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254.xml" ContentType="application/vnd.openxmlformats-officedocument.presentationml.tags+xml"/>
  <Override PartName="/ppt/tags/tag25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charts/chart14.xml" ContentType="application/vnd.openxmlformats-officedocument.drawingml.chart+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charts/chart15.xml" ContentType="application/vnd.openxmlformats-officedocument.drawingml.chart+xml"/>
  <Override PartName="/ppt/tags/tag324.xml" ContentType="application/vnd.openxmlformats-officedocument.presentationml.tags+xml"/>
  <Override PartName="/ppt/tags/tag32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charts/chart20.xml" ContentType="application/vnd.openxmlformats-officedocument.drawingml.chart+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charts/chart21.xml" ContentType="application/vnd.openxmlformats-officedocument.drawingml.chart+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charts/chart22.xml" ContentType="application/vnd.openxmlformats-officedocument.drawingml.chart+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charts/chart23.xml" ContentType="application/vnd.openxmlformats-officedocument.drawingml.chart+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charts/chart24.xml" ContentType="application/vnd.openxmlformats-officedocument.drawingml.chart+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52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30.xml" ContentType="application/vnd.openxmlformats-officedocument.presentationml.tags+xml"/>
  <Override PartName="/ppt/tags/tag531.xml" ContentType="application/vnd.openxmlformats-officedocument.presentationml.tags+xml"/>
  <Override PartName="/ppt/notesSlides/notesSlide1.xml" ContentType="application/vnd.openxmlformats-officedocument.presentationml.notesSlide+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charts/chart27.xml" ContentType="application/vnd.openxmlformats-officedocument.drawingml.chart+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charts/chart28.xml" ContentType="application/vnd.openxmlformats-officedocument.drawingml.chart+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charts/chart29.xml" ContentType="application/vnd.openxmlformats-officedocument.drawingml.chart+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charts/chart30.xml" ContentType="application/vnd.openxmlformats-officedocument.drawingml.chart+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charts/chart44.xml" ContentType="application/vnd.openxmlformats-officedocument.drawingml.chart+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charts/chart47.xml" ContentType="application/vnd.openxmlformats-officedocument.drawingml.chart+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charts/chart48.xml" ContentType="application/vnd.openxmlformats-officedocument.drawingml.chart+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charts/chart49.xml" ContentType="application/vnd.openxmlformats-officedocument.drawingml.chart+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charts/chart50.xml" ContentType="application/vnd.openxmlformats-officedocument.drawingml.chart+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charts/chart51.xml" ContentType="application/vnd.openxmlformats-officedocument.drawingml.chart+xml"/>
  <Override PartName="/ppt/tags/tag69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charts/chart52.xml" ContentType="application/vnd.openxmlformats-officedocument.drawingml.chart+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charts/chart53.xml" ContentType="application/vnd.openxmlformats-officedocument.drawingml.chart+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charts/chart54.xml" ContentType="application/vnd.openxmlformats-officedocument.drawingml.chart+xml"/>
  <Override PartName="/ppt/charts/chart55.xml" ContentType="application/vnd.openxmlformats-officedocument.drawingml.chart+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charts/chart56.xml" ContentType="application/vnd.openxmlformats-officedocument.drawingml.chart+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notesSlides/notesSlide4.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tags/tag955.xml" ContentType="application/vnd.openxmlformats-officedocument.presentationml.tags+xml"/>
  <Override PartName="/ppt/notesSlides/notesSlide5.xml" ContentType="application/vnd.openxmlformats-officedocument.presentationml.notesSlide+xml"/>
  <Override PartName="/ppt/tags/tag956.xml" ContentType="application/vnd.openxmlformats-officedocument.presentationml.tags+xml"/>
  <Override PartName="/ppt/notesSlides/notesSlide6.xml" ContentType="application/vnd.openxmlformats-officedocument.presentationml.notesSlide+xml"/>
  <Override PartName="/ppt/tags/tag957.xml" ContentType="application/vnd.openxmlformats-officedocument.presentationml.tags+xml"/>
  <Override PartName="/ppt/notesSlides/notesSlide7.xml" ContentType="application/vnd.openxmlformats-officedocument.presentationml.notesSlide+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notesSlides/notesSlide8.xml" ContentType="application/vnd.openxmlformats-officedocument.presentationml.notesSlide+xml"/>
  <Override PartName="/ppt/charts/chart62.xml" ContentType="application/vnd.openxmlformats-officedocument.drawingml.chart+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notesSlides/notesSlide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000.xml" ContentType="application/vnd.openxmlformats-officedocument.presentationml.tags+xml"/>
  <Override PartName="/ppt/notesSlides/notesSlide10.xml" ContentType="application/vnd.openxmlformats-officedocument.presentationml.notesSlide+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notesSlides/notesSlide11.xml" ContentType="application/vnd.openxmlformats-officedocument.presentationml.notesSlide+xml"/>
  <Override PartName="/ppt/tags/tag1004.xml" ContentType="application/vnd.openxmlformats-officedocument.presentationml.tags+xml"/>
  <Override PartName="/ppt/tags/tag1005.xml" ContentType="application/vnd.openxmlformats-officedocument.presentationml.tags+xml"/>
  <Override PartName="/ppt/notesSlides/notesSlide12.xml" ContentType="application/vnd.openxmlformats-officedocument.presentationml.notesSlide+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charts/chart65.xml" ContentType="application/vnd.openxmlformats-officedocument.drawingml.chart+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66.xml" ContentType="application/vnd.openxmlformats-officedocument.drawingml.chart+xml"/>
  <Override PartName="/ppt/charts/chart67.xml" ContentType="application/vnd.openxmlformats-officedocument.drawingml.chart+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charts/chart68.xml" ContentType="application/vnd.openxmlformats-officedocument.drawingml.chart+xml"/>
  <Override PartName="/ppt/charts/chart69.xml" ContentType="application/vnd.openxmlformats-officedocument.drawingml.chart+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charts/chart73.xml" ContentType="application/vnd.openxmlformats-officedocument.drawingml.chart+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4"/>
    <p:sldMasterId id="2147483717" r:id="rId5"/>
  </p:sldMasterIdLst>
  <p:notesMasterIdLst>
    <p:notesMasterId r:id="rId115"/>
  </p:notesMasterIdLst>
  <p:sldIdLst>
    <p:sldId id="321" r:id="rId6"/>
    <p:sldId id="2147483636" r:id="rId7"/>
    <p:sldId id="2147483637" r:id="rId8"/>
    <p:sldId id="2147483638" r:id="rId9"/>
    <p:sldId id="2147483639" r:id="rId10"/>
    <p:sldId id="2147483641" r:id="rId11"/>
    <p:sldId id="256" r:id="rId12"/>
    <p:sldId id="257" r:id="rId13"/>
    <p:sldId id="291" r:id="rId14"/>
    <p:sldId id="259" r:id="rId15"/>
    <p:sldId id="260" r:id="rId16"/>
    <p:sldId id="340" r:id="rId17"/>
    <p:sldId id="265" r:id="rId18"/>
    <p:sldId id="267" r:id="rId19"/>
    <p:sldId id="268" r:id="rId20"/>
    <p:sldId id="276" r:id="rId21"/>
    <p:sldId id="300" r:id="rId22"/>
    <p:sldId id="302" r:id="rId23"/>
    <p:sldId id="278" r:id="rId24"/>
    <p:sldId id="269" r:id="rId25"/>
    <p:sldId id="280" r:id="rId26"/>
    <p:sldId id="261" r:id="rId27"/>
    <p:sldId id="336" r:id="rId28"/>
    <p:sldId id="273" r:id="rId29"/>
    <p:sldId id="311" r:id="rId30"/>
    <p:sldId id="346" r:id="rId31"/>
    <p:sldId id="279" r:id="rId32"/>
    <p:sldId id="282" r:id="rId33"/>
    <p:sldId id="316" r:id="rId34"/>
    <p:sldId id="320" r:id="rId35"/>
    <p:sldId id="345" r:id="rId36"/>
    <p:sldId id="322" r:id="rId37"/>
    <p:sldId id="297" r:id="rId38"/>
    <p:sldId id="312" r:id="rId39"/>
    <p:sldId id="314" r:id="rId40"/>
    <p:sldId id="315" r:id="rId41"/>
    <p:sldId id="347" r:id="rId42"/>
    <p:sldId id="348" r:id="rId43"/>
    <p:sldId id="277" r:id="rId44"/>
    <p:sldId id="344" r:id="rId45"/>
    <p:sldId id="338" r:id="rId46"/>
    <p:sldId id="285" r:id="rId47"/>
    <p:sldId id="296" r:id="rId48"/>
    <p:sldId id="298" r:id="rId49"/>
    <p:sldId id="263" r:id="rId50"/>
    <p:sldId id="264" r:id="rId51"/>
    <p:sldId id="334" r:id="rId52"/>
    <p:sldId id="284" r:id="rId53"/>
    <p:sldId id="272" r:id="rId54"/>
    <p:sldId id="292" r:id="rId55"/>
    <p:sldId id="328" r:id="rId56"/>
    <p:sldId id="2147483645" r:id="rId57"/>
    <p:sldId id="2147483646" r:id="rId58"/>
    <p:sldId id="339" r:id="rId59"/>
    <p:sldId id="306" r:id="rId60"/>
    <p:sldId id="309" r:id="rId61"/>
    <p:sldId id="270" r:id="rId62"/>
    <p:sldId id="327" r:id="rId63"/>
    <p:sldId id="335" r:id="rId64"/>
    <p:sldId id="281" r:id="rId65"/>
    <p:sldId id="354" r:id="rId66"/>
    <p:sldId id="301" r:id="rId67"/>
    <p:sldId id="283" r:id="rId68"/>
    <p:sldId id="353" r:id="rId69"/>
    <p:sldId id="341" r:id="rId70"/>
    <p:sldId id="2147483378" r:id="rId71"/>
    <p:sldId id="286" r:id="rId72"/>
    <p:sldId id="303" r:id="rId73"/>
    <p:sldId id="352" r:id="rId74"/>
    <p:sldId id="351" r:id="rId75"/>
    <p:sldId id="350" r:id="rId76"/>
    <p:sldId id="337" r:id="rId77"/>
    <p:sldId id="342" r:id="rId78"/>
    <p:sldId id="343" r:id="rId79"/>
    <p:sldId id="331" r:id="rId80"/>
    <p:sldId id="349" r:id="rId81"/>
    <p:sldId id="305" r:id="rId82"/>
    <p:sldId id="271" r:id="rId83"/>
    <p:sldId id="288" r:id="rId84"/>
    <p:sldId id="2147483647" r:id="rId85"/>
    <p:sldId id="262" r:id="rId86"/>
    <p:sldId id="274" r:id="rId87"/>
    <p:sldId id="294" r:id="rId88"/>
    <p:sldId id="290" r:id="rId89"/>
    <p:sldId id="293" r:id="rId90"/>
    <p:sldId id="266" r:id="rId91"/>
    <p:sldId id="319" r:id="rId92"/>
    <p:sldId id="324" r:id="rId93"/>
    <p:sldId id="287" r:id="rId94"/>
    <p:sldId id="325" r:id="rId95"/>
    <p:sldId id="326" r:id="rId96"/>
    <p:sldId id="258" r:id="rId97"/>
    <p:sldId id="295" r:id="rId98"/>
    <p:sldId id="307" r:id="rId99"/>
    <p:sldId id="317" r:id="rId100"/>
    <p:sldId id="289" r:id="rId101"/>
    <p:sldId id="310" r:id="rId102"/>
    <p:sldId id="304" r:id="rId103"/>
    <p:sldId id="318" r:id="rId104"/>
    <p:sldId id="332" r:id="rId105"/>
    <p:sldId id="299" r:id="rId106"/>
    <p:sldId id="333" r:id="rId107"/>
    <p:sldId id="313" r:id="rId108"/>
    <p:sldId id="355" r:id="rId109"/>
    <p:sldId id="275" r:id="rId110"/>
    <p:sldId id="330" r:id="rId111"/>
    <p:sldId id="323" r:id="rId112"/>
    <p:sldId id="2147483643" r:id="rId113"/>
    <p:sldId id="2147483642" r:id="rId114"/>
  </p:sldIdLst>
  <p:sldSz cx="12192000" cy="6858000"/>
  <p:notesSz cx="6797675" cy="9926638"/>
  <p:custDataLst>
    <p:tags r:id="rId116"/>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321"/>
          </p14:sldIdLst>
        </p14:section>
        <p14:section name="1. Geothermal Opportunity" id="{9525678B-A9E5-324B-9509-8F3D7EC3D316}">
          <p14:sldIdLst>
            <p14:sldId id="2147483636"/>
            <p14:sldId id="2147483637"/>
            <p14:sldId id="2147483638"/>
            <p14:sldId id="2147483639"/>
            <p14:sldId id="2147483641"/>
            <p14:sldId id="256"/>
            <p14:sldId id="257"/>
            <p14:sldId id="291"/>
            <p14:sldId id="259"/>
            <p14:sldId id="260"/>
            <p14:sldId id="340"/>
            <p14:sldId id="265"/>
            <p14:sldId id="267"/>
            <p14:sldId id="268"/>
            <p14:sldId id="276"/>
            <p14:sldId id="300"/>
            <p14:sldId id="302"/>
          </p14:sldIdLst>
        </p14:section>
        <p14:section name="2. Geothermal Power Technology" id="{1825B970-A68E-8C43-97C7-E852438F992F}">
          <p14:sldIdLst>
            <p14:sldId id="278"/>
            <p14:sldId id="269"/>
            <p14:sldId id="280"/>
            <p14:sldId id="261"/>
            <p14:sldId id="336"/>
          </p14:sldIdLst>
        </p14:section>
        <p14:section name="Technology: Power Generation - Conventional" id="{E9F99DD6-DE1A-4767-9CA1-EADD097F87DC}">
          <p14:sldIdLst>
            <p14:sldId id="273"/>
            <p14:sldId id="311"/>
            <p14:sldId id="346"/>
            <p14:sldId id="279"/>
            <p14:sldId id="282"/>
            <p14:sldId id="316"/>
            <p14:sldId id="320"/>
            <p14:sldId id="345"/>
          </p14:sldIdLst>
        </p14:section>
        <p14:section name="Technology: Power Generation - Next-generation &amp; Frontier" id="{14584574-CEDC-4511-A854-99321D56E7FB}">
          <p14:sldIdLst>
            <p14:sldId id="322"/>
            <p14:sldId id="297"/>
            <p14:sldId id="312"/>
            <p14:sldId id="314"/>
            <p14:sldId id="315"/>
            <p14:sldId id="347"/>
            <p14:sldId id="348"/>
          </p14:sldIdLst>
        </p14:section>
        <p14:section name="Technology: Storage" id="{3BD337ED-EE5A-A044-921E-A38AE177A37E}">
          <p14:sldIdLst>
            <p14:sldId id="277"/>
            <p14:sldId id="344"/>
          </p14:sldIdLst>
        </p14:section>
        <p14:section name="Technology: Drilling" id="{C5F40F51-02D0-4BE7-99B2-D414D4C2E45D}">
          <p14:sldIdLst>
            <p14:sldId id="338"/>
            <p14:sldId id="285"/>
            <p14:sldId id="296"/>
            <p14:sldId id="298"/>
            <p14:sldId id="263"/>
            <p14:sldId id="264"/>
            <p14:sldId id="334"/>
          </p14:sldIdLst>
        </p14:section>
        <p14:section name="3. Global Policy" id="{0D7D3987-BEA2-8541-B5B3-A91B74B45928}">
          <p14:sldIdLst>
            <p14:sldId id="284"/>
            <p14:sldId id="272"/>
            <p14:sldId id="292"/>
            <p14:sldId id="328"/>
            <p14:sldId id="2147483645"/>
            <p14:sldId id="2147483646"/>
            <p14:sldId id="339"/>
            <p14:sldId id="306"/>
            <p14:sldId id="309"/>
            <p14:sldId id="270"/>
            <p14:sldId id="327"/>
            <p14:sldId id="335"/>
            <p14:sldId id="281"/>
            <p14:sldId id="354"/>
            <p14:sldId id="301"/>
            <p14:sldId id="283"/>
            <p14:sldId id="353"/>
            <p14:sldId id="341"/>
          </p14:sldIdLst>
        </p14:section>
        <p14:section name="4. Finance" id="{AADE721A-405F-9341-B161-802FE949B007}">
          <p14:sldIdLst>
            <p14:sldId id="2147483378"/>
            <p14:sldId id="286"/>
            <p14:sldId id="303"/>
            <p14:sldId id="352"/>
            <p14:sldId id="351"/>
            <p14:sldId id="350"/>
            <p14:sldId id="337"/>
            <p14:sldId id="342"/>
            <p14:sldId id="343"/>
            <p14:sldId id="331"/>
            <p14:sldId id="349"/>
            <p14:sldId id="305"/>
          </p14:sldIdLst>
        </p14:section>
        <p14:section name="5. Deployment" id="{23A7B42C-466B-AC41-9DDC-A5E4B2B27D69}">
          <p14:sldIdLst>
            <p14:sldId id="271"/>
            <p14:sldId id="288"/>
            <p14:sldId id="2147483647"/>
            <p14:sldId id="262"/>
            <p14:sldId id="274"/>
            <p14:sldId id="294"/>
            <p14:sldId id="290"/>
            <p14:sldId id="293"/>
            <p14:sldId id="266"/>
            <p14:sldId id="319"/>
            <p14:sldId id="324"/>
            <p14:sldId id="287"/>
            <p14:sldId id="325"/>
            <p14:sldId id="326"/>
            <p14:sldId id="258"/>
            <p14:sldId id="295"/>
            <p14:sldId id="307"/>
            <p14:sldId id="317"/>
            <p14:sldId id="289"/>
            <p14:sldId id="310"/>
            <p14:sldId id="304"/>
            <p14:sldId id="318"/>
            <p14:sldId id="332"/>
            <p14:sldId id="299"/>
            <p14:sldId id="333"/>
          </p14:sldIdLst>
        </p14:section>
        <p14:section name="Team" id="{733FF37B-0BDC-4B48-A70D-6342A09E5500}">
          <p14:sldIdLst>
            <p14:sldId id="313"/>
            <p14:sldId id="355"/>
            <p14:sldId id="275"/>
            <p14:sldId id="330"/>
          </p14:sldIdLst>
        </p14:section>
        <p14:section name="Appendix" id="{FE1532ED-8DFB-40E5-83E8-89D2F85DD0EE}">
          <p14:sldIdLst>
            <p14:sldId id="323"/>
            <p14:sldId id="2147483643"/>
            <p14:sldId id="21474836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8DFF02-BCF9-EBA0-68F8-295BE6F7D6D5}" name="Nour Ghadanfar" initials="NG" userId="S::nour.ghadanfar@fervoenergy.com::934c94d9-78d4-4b47-acfd-e7b0eefb97ac" providerId="AD"/>
  <p188:author id="{0075010A-C945-AD21-3E5D-022A6FF92A1F}" name="Monica Sambataro" initials="MS" userId="1dbdc88c86a000e4" providerId="Windows Live"/>
  <p188:author id="{CF65B712-A8C9-95AF-BF59-C67F3640B80F}" name="Abha Nirula" initials="AN" userId="Abha Nirula" providerId="None"/>
  <p188:author id="{3ACBC215-70C1-8AC5-476A-DD86FAFEB11C}" name="Smith, Thomas" initials="TS" userId="S::tes2148@gsb.columbia.edu::c647e682-a707-4d00-b5ad-bfe01666d4c1" providerId="AD"/>
  <p188:author id="{1E9C9F17-05C8-2077-67BE-77161B493794}" name="Isabel Hoyos" initials="IH" userId="R5eVIiNu+G3RtUhixS3Ma/YW1PnaDPM4b2qCIjSgG/c=" providerId="None"/>
  <p188:author id="{15114D1D-1162-D01F-4DE9-B5E951AFA525}" name="Hoyos Arango, Isabel" initials="IH" userId="S::ih2428@gsb.columbia.edu::2eb9eb3d-728e-4687-aac9-9fb314f3da00" providerId="AD"/>
  <p188:author id="{6965D725-AA63-A710-61A2-BC2DDC2A5AE1}" name="Houwink, Quint" initials="QH" userId="S::qbh2001@gsb.columbia.edu::4a9923a0-4504-4a38-9726-9d65b7016178" providerId="AD"/>
  <p188:author id="{63E0E339-2211-58FC-7A16-929C3F0EC403}" name="Multi User 2" initials="MU2" userId="S::admin2@karbone.onmicrosoft.com::bd802b5f-c507-4f34-a1fb-991d77d734eb" providerId="AD"/>
  <p188:author id="{D3CECC4B-249E-F3CF-3EE4-B49AC7878613}" name="Gernot Wagner" initials="GW" userId="33ee3ac88b4c2f16" providerId="Windows Live"/>
  <p188:author id="{FF5A1560-83F7-7B65-D303-281ECD5B4C52}" name="Hartel, Heather" initials="HH" userId="S::hfh2119@gsb.columbia.edu::f19d9520-c42b-4a9c-a03e-d82f5981d479" providerId="AD"/>
  <p188:author id="{A4AE1461-028A-6BB1-2AEE-5A54216E0989}" name="uo2126" initials="u" userId="S::uo2126@adcu.columbia.edu::1228f11d-3aaa-487f-bf6f-3671c542153b" providerId="AD"/>
  <p188:author id="{B5FB0362-B61E-5A4B-4E29-675E7DA9B7A3}" name="Hyae Ryung" initials="HR" userId="S::hk2901@adcu.columbia.edu::98652124-d7bd-4e60-8447-ffbea6868795" providerId="AD"/>
  <p188:author id="{A0709D72-49AD-616F-8102-58667E9DE23B}" name="stilkicioglu16@gmail.com" initials="s" userId="c06a430590756d9a" providerId="Windows Live"/>
  <p188:author id="{6ABD9479-549D-BE3D-44E4-30852EEC93CF}" name="Shubhangi Prasad" initials="" userId="S::sp4401@sipa.columbia.edu::a12f9866-9421-42ba-bd4b-3b1cb5179f56" providerId="AD"/>
  <p188:author id="{F830C279-7BD8-058E-2CA5-F72EFB30E693}" name="Picone,  Kyle" initials="KP" userId="S::kp2615@gsb.columbia.edu::b2f99201-e3c8-45f9-a46f-ffd2d7a20f6e" providerId="AD"/>
  <p188:author id="{705F0D85-8BB9-32CF-1BBF-9A91217B36C3}" name="Wagner, Gernot" initials="GW" userId="S::gw2245@gsb.columbia.edu::85791fa1-7c7a-445e-be8a-2777572de9b0"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05A4A99-5A7C-8599-B785-3925B00138E9}" name="Pia Morrow" initials="PM" userId="d90efd3a3b262c68" providerId="Windows Live"/>
  <p188:author id="{593175A1-CE45-CB77-4EB2-F96F7E364AE9}" name="Zach Thurston" initials="ZT" userId="f6b220278e694a29" providerId="Windows Live"/>
  <p188:author id="{32AD3ECE-8854-1308-1972-7EADDDA3C178}" name="Zacharia Thurston" initials="ZT" userId="WwTdqhpLV9vBAAxQJ2LIvfAMj4rQfbz09FT1doh8qLE=" providerId="None"/>
  <p188:author id="{8CB7D2CE-9C27-BD6A-62C9-4B8DB7A82F30}" name="Faradisa Anintya" initials="FA" userId="c00bab1ec7f1e844" providerId="Windows Live"/>
  <p188:author id="{7D73BFD7-093A-3D5F-BA6A-976BB7C9AA89}" name="Thomas Smith" initials="TS" userId="6qKNI7c1IpbgLgrcfsZASlVjNljfPlQhx0nT6pvZKzI=" providerId="None"/>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 id="{F2CEBBFF-25B1-CE6B-1174-9EF590E49778}" name="Pia Morrow" initials="PM" userId="Nzvq4uLoKhxfVLfOx4DrmTJz4hF1bA+CzLl4BMPgqJQ="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647B"/>
    <a:srgbClr val="E5E9EF"/>
    <a:srgbClr val="A7E2DD"/>
    <a:srgbClr val="D0227C"/>
    <a:srgbClr val="009BDC"/>
    <a:srgbClr val="E875B2"/>
    <a:srgbClr val="46647B"/>
    <a:srgbClr val="D9F2FE"/>
    <a:srgbClr val="F5BBD9"/>
    <a:srgbClr val="95C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730004-673E-44EA-94AA-F2B709A6813F}" v="6" dt="2026-02-17T14:50:38.262"/>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32" autoAdjust="0"/>
    <p:restoredTop sz="96255" autoAdjust="0"/>
  </p:normalViewPr>
  <p:slideViewPr>
    <p:cSldViewPr snapToGrid="0">
      <p:cViewPr varScale="1">
        <p:scale>
          <a:sx n="74" d="100"/>
          <a:sy n="74" d="100"/>
        </p:scale>
        <p:origin x="660" y="56"/>
      </p:cViewPr>
      <p:guideLst/>
    </p:cSldViewPr>
  </p:slideViewPr>
  <p:notesTextViewPr>
    <p:cViewPr>
      <p:scale>
        <a:sx n="75" d="100"/>
        <a:sy n="75" d="100"/>
      </p:scale>
      <p:origin x="0" y="0"/>
    </p:cViewPr>
  </p:notesTextViewPr>
  <p:sorterViewPr>
    <p:cViewPr>
      <p:scale>
        <a:sx n="135" d="100"/>
        <a:sy n="135"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presProps" Target="presProp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microsoft.com/office/2018/10/relationships/authors" Target="author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viewProps" Target="view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theme" Target="theme/theme1.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notesMaster" Target="notesMasters/notesMaster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microsoft.com/office/2016/11/relationships/changesInfo" Target="changesInfos/changesInfo1.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a Morrow" userId="Nzvq4uLoKhxfVLfOx4DrmTJz4hF1bA+CzLl4BMPgqJQ=" providerId="None" clId="Web-{FB730004-673E-44EA-94AA-F2B709A6813F}"/>
    <pc:docChg chg="modSld">
      <pc:chgData name="Pia Morrow" userId="Nzvq4uLoKhxfVLfOx4DrmTJz4hF1bA+CzLl4BMPgqJQ=" providerId="None" clId="Web-{FB730004-673E-44EA-94AA-F2B709A6813F}" dt="2026-02-17T14:50:37.746" v="1" actId="20577"/>
      <pc:docMkLst>
        <pc:docMk/>
      </pc:docMkLst>
      <pc:sldChg chg="modSp">
        <pc:chgData name="Pia Morrow" userId="Nzvq4uLoKhxfVLfOx4DrmTJz4hF1bA+CzLl4BMPgqJQ=" providerId="None" clId="Web-{FB730004-673E-44EA-94AA-F2B709A6813F}" dt="2026-02-17T14:50:37.746" v="1" actId="20577"/>
        <pc:sldMkLst>
          <pc:docMk/>
          <pc:sldMk cId="3327887243" sldId="350"/>
        </pc:sldMkLst>
        <pc:spChg chg="mod">
          <ac:chgData name="Pia Morrow" userId="Nzvq4uLoKhxfVLfOx4DrmTJz4hF1bA+CzLl4BMPgqJQ=" providerId="None" clId="Web-{FB730004-673E-44EA-94AA-F2B709A6813F}" dt="2026-02-17T14:50:37.746" v="1" actId="20577"/>
          <ac:spMkLst>
            <pc:docMk/>
            <pc:sldMk cId="3327887243" sldId="350"/>
            <ac:spMk id="478" creationId="{99BF2CA0-4BF9-EE5E-E85D-E9E478665511}"/>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29229406554472E-2"/>
          <c:y val="2.9312288613303268E-2"/>
          <c:w val="0.95394154118689101"/>
          <c:h val="0.94137542277339348"/>
        </c:manualLayout>
      </c:layout>
      <c:barChart>
        <c:barDir val="bar"/>
        <c:grouping val="stacked"/>
        <c:varyColors val="0"/>
        <c:ser>
          <c:idx val="0"/>
          <c:order val="0"/>
          <c:spPr>
            <a:solidFill>
              <a:schemeClr val="accent1"/>
            </a:solidFill>
            <a:ln>
              <a:noFill/>
            </a:ln>
          </c:spPr>
          <c:invertIfNegative val="0"/>
          <c:val>
            <c:numRef>
              <c:f>Sheet1!$A$1:$K$1</c:f>
              <c:numCache>
                <c:formatCode>General</c:formatCode>
                <c:ptCount val="11"/>
                <c:pt idx="0">
                  <c:v>620.84025403028818</c:v>
                </c:pt>
                <c:pt idx="1">
                  <c:v>590</c:v>
                </c:pt>
                <c:pt idx="2">
                  <c:v>220</c:v>
                </c:pt>
                <c:pt idx="3">
                  <c:v>110</c:v>
                </c:pt>
                <c:pt idx="4">
                  <c:v>60</c:v>
                </c:pt>
                <c:pt idx="5">
                  <c:v>50</c:v>
                </c:pt>
                <c:pt idx="6">
                  <c:v>50</c:v>
                </c:pt>
                <c:pt idx="7">
                  <c:v>30</c:v>
                </c:pt>
                <c:pt idx="8">
                  <c:v>30</c:v>
                </c:pt>
                <c:pt idx="9">
                  <c:v>20</c:v>
                </c:pt>
                <c:pt idx="10">
                  <c:v>20</c:v>
                </c:pt>
              </c:numCache>
            </c:numRef>
          </c:val>
          <c:extLst>
            <c:ext xmlns:c16="http://schemas.microsoft.com/office/drawing/2014/chart" uri="{C3380CC4-5D6E-409C-BE32-E72D297353CC}">
              <c16:uniqueId val="{00000000-29E2-EC42-80A3-D0907D6A06CD}"/>
            </c:ext>
          </c:extLst>
        </c:ser>
        <c:dLbls>
          <c:showLegendKey val="0"/>
          <c:showVal val="0"/>
          <c:showCatName val="0"/>
          <c:showSerName val="0"/>
          <c:showPercent val="0"/>
          <c:showBubbleSize val="0"/>
        </c:dLbls>
        <c:gapWidth val="80"/>
        <c:overlap val="100"/>
        <c:axId val="1621277887"/>
        <c:axId val="1"/>
      </c:barChart>
      <c:catAx>
        <c:axId val="162127788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20.84025403028818"/>
          <c:min val="0"/>
        </c:scaling>
        <c:delete val="0"/>
        <c:axPos val="t"/>
        <c:majorGridlines>
          <c:spPr>
            <a:ln>
              <a:noFill/>
            </a:ln>
          </c:spPr>
        </c:majorGridlines>
        <c:numFmt formatCode="General" sourceLinked="1"/>
        <c:majorTickMark val="none"/>
        <c:minorTickMark val="none"/>
        <c:tickLblPos val="none"/>
        <c:spPr>
          <a:ln>
            <a:noFill/>
          </a:ln>
        </c:spPr>
        <c:crossAx val="162127788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294117647058822"/>
          <c:y val="7.546337157987644E-2"/>
          <c:w val="0.37333333333333335"/>
          <c:h val="0.87290379523389228"/>
        </c:manualLayout>
      </c:layout>
      <c:barChart>
        <c:barDir val="col"/>
        <c:grouping val="cluster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EB77-A947-B686-905A7BA702E0}"/>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1-EB77-A947-B686-905A7BA702E0}"/>
            </c:ext>
          </c:extLst>
        </c:ser>
        <c:ser>
          <c:idx val="2"/>
          <c:order val="2"/>
          <c:spPr>
            <a:solidFill>
              <a:schemeClr val="accent1"/>
            </a:solidFill>
            <a:ln>
              <a:noFill/>
            </a:ln>
          </c:spPr>
          <c:invertIfNegative val="0"/>
          <c:dLbls>
            <c:dLbl>
              <c:idx val="0"/>
              <c:layout>
                <c:manualLayout>
                  <c:x val="0"/>
                  <c:y val="-0.46072374227714036"/>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77-A947-B686-905A7BA702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257</c:v>
                </c:pt>
              </c:numCache>
            </c:numRef>
          </c:val>
          <c:extLst>
            <c:ext xmlns:c16="http://schemas.microsoft.com/office/drawing/2014/chart" uri="{C3380CC4-5D6E-409C-BE32-E72D297353CC}">
              <c16:uniqueId val="{00000003-EB77-A947-B686-905A7BA702E0}"/>
            </c:ext>
          </c:extLst>
        </c:ser>
        <c:dLbls>
          <c:showLegendKey val="0"/>
          <c:showVal val="0"/>
          <c:showCatName val="0"/>
          <c:showSerName val="0"/>
          <c:showPercent val="0"/>
          <c:showBubbleSize val="0"/>
        </c:dLbls>
        <c:gapWidth val="80"/>
        <c:axId val="112236879"/>
        <c:axId val="1"/>
      </c:barChart>
      <c:catAx>
        <c:axId val="112236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57"/>
          <c:min val="0"/>
        </c:scaling>
        <c:delete val="0"/>
        <c:axPos val="l"/>
        <c:majorGridlines>
          <c:spPr>
            <a:ln>
              <a:noFill/>
            </a:ln>
          </c:spPr>
        </c:majorGridlines>
        <c:numFmt formatCode="General" sourceLinked="1"/>
        <c:majorTickMark val="none"/>
        <c:minorTickMark val="none"/>
        <c:tickLblPos val="none"/>
        <c:spPr>
          <a:ln>
            <a:noFill/>
          </a:ln>
        </c:spPr>
        <c:crossAx val="11223687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72463768115943"/>
          <c:y val="0.11845102505694761"/>
          <c:w val="0.6985507246376812"/>
          <c:h val="0.7630979498861048"/>
        </c:manualLayout>
      </c:layout>
      <c:barChart>
        <c:barDir val="col"/>
        <c:grouping val="stack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AAF9-7C43-A462-F0A32D5AB731}"/>
            </c:ext>
          </c:extLst>
        </c:ser>
        <c:dLbls>
          <c:showLegendKey val="0"/>
          <c:showVal val="0"/>
          <c:showCatName val="0"/>
          <c:showSerName val="0"/>
          <c:showPercent val="0"/>
          <c:showBubbleSize val="0"/>
        </c:dLbls>
        <c:gapWidth val="80"/>
        <c:overlap val="100"/>
        <c:axId val="112653615"/>
        <c:axId val="1"/>
      </c:barChart>
      <c:catAx>
        <c:axId val="1126536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499999999999998"/>
          <c:min val="0"/>
        </c:scaling>
        <c:delete val="0"/>
        <c:axPos val="l"/>
        <c:majorGridlines>
          <c:spPr>
            <a:ln>
              <a:noFill/>
            </a:ln>
          </c:spPr>
        </c:majorGridlines>
        <c:numFmt formatCode="General" sourceLinked="1"/>
        <c:majorTickMark val="none"/>
        <c:minorTickMark val="none"/>
        <c:tickLblPos val="none"/>
        <c:spPr>
          <a:ln>
            <a:noFill/>
          </a:ln>
        </c:spPr>
        <c:crossAx val="11265361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2335766423361E-2"/>
          <c:y val="2.4761904761904763E-2"/>
          <c:w val="0.84671532846715325"/>
          <c:h val="0.86285714285714288"/>
        </c:manualLayout>
      </c:layout>
      <c:scatterChart>
        <c:scatterStyle val="lineMarker"/>
        <c:varyColors val="0"/>
        <c:ser>
          <c:idx val="0"/>
          <c:order val="0"/>
          <c:spPr>
            <a:ln w="19050" cmpd="sng" algn="ctr">
              <a:solidFill>
                <a:schemeClr val="accent3"/>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2:$G$2</c:f>
              <c:numCache>
                <c:formatCode>General</c:formatCode>
                <c:ptCount val="7"/>
                <c:pt idx="0">
                  <c:v>10000</c:v>
                </c:pt>
                <c:pt idx="1">
                  <c:v>15000</c:v>
                </c:pt>
                <c:pt idx="2">
                  <c:v>14850</c:v>
                </c:pt>
                <c:pt idx="3">
                  <c:v>22000</c:v>
                </c:pt>
                <c:pt idx="4">
                  <c:v>31000</c:v>
                </c:pt>
                <c:pt idx="5">
                  <c:v>40000</c:v>
                </c:pt>
                <c:pt idx="6">
                  <c:v>56000</c:v>
                </c:pt>
              </c:numCache>
            </c:numRef>
          </c:yVal>
          <c:smooth val="0"/>
          <c:extLst>
            <c:ext xmlns:c16="http://schemas.microsoft.com/office/drawing/2014/chart" uri="{C3380CC4-5D6E-409C-BE32-E72D297353CC}">
              <c16:uniqueId val="{00000000-EFC3-7C41-971B-487AD4B4F0C2}"/>
            </c:ext>
          </c:extLst>
        </c:ser>
        <c:ser>
          <c:idx val="1"/>
          <c:order val="1"/>
          <c:spPr>
            <a:ln w="19050" cmpd="sng" algn="ctr">
              <a:solidFill>
                <a:schemeClr val="accent6"/>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3:$G$3</c:f>
              <c:numCache>
                <c:formatCode>General</c:formatCode>
                <c:ptCount val="7"/>
                <c:pt idx="2">
                  <c:v>14850</c:v>
                </c:pt>
                <c:pt idx="3">
                  <c:v>25810</c:v>
                </c:pt>
                <c:pt idx="4">
                  <c:v>39630</c:v>
                </c:pt>
                <c:pt idx="5">
                  <c:v>52860</c:v>
                </c:pt>
                <c:pt idx="6">
                  <c:v>83340</c:v>
                </c:pt>
              </c:numCache>
            </c:numRef>
          </c:yVal>
          <c:smooth val="0"/>
          <c:extLst>
            <c:ext xmlns:c16="http://schemas.microsoft.com/office/drawing/2014/chart" uri="{C3380CC4-5D6E-409C-BE32-E72D297353CC}">
              <c16:uniqueId val="{00000001-EFC3-7C41-971B-487AD4B4F0C2}"/>
            </c:ext>
          </c:extLst>
        </c:ser>
        <c:ser>
          <c:idx val="2"/>
          <c:order val="2"/>
          <c:spPr>
            <a:ln w="19050" cmpd="sng" algn="ctr">
              <a:solidFill>
                <a:schemeClr val="accent5"/>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4:$G$4</c:f>
              <c:numCache>
                <c:formatCode>General</c:formatCode>
                <c:ptCount val="7"/>
                <c:pt idx="2">
                  <c:v>14850</c:v>
                </c:pt>
                <c:pt idx="3">
                  <c:v>29000</c:v>
                </c:pt>
                <c:pt idx="4">
                  <c:v>44250</c:v>
                </c:pt>
                <c:pt idx="5">
                  <c:v>59500</c:v>
                </c:pt>
                <c:pt idx="6">
                  <c:v>90000</c:v>
                </c:pt>
              </c:numCache>
            </c:numRef>
          </c:yVal>
          <c:smooth val="0"/>
          <c:extLst>
            <c:ext xmlns:c16="http://schemas.microsoft.com/office/drawing/2014/chart" uri="{C3380CC4-5D6E-409C-BE32-E72D297353CC}">
              <c16:uniqueId val="{00000002-EFC3-7C41-971B-487AD4B4F0C2}"/>
            </c:ext>
          </c:extLst>
        </c:ser>
        <c:ser>
          <c:idx val="3"/>
          <c:order val="3"/>
          <c:spPr>
            <a:ln w="19050" cmpd="sng" algn="ctr">
              <a:solidFill>
                <a:schemeClr val="accent1"/>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5:$G$5</c:f>
              <c:numCache>
                <c:formatCode>General</c:formatCode>
                <c:ptCount val="7"/>
                <c:pt idx="2">
                  <c:v>14850</c:v>
                </c:pt>
                <c:pt idx="3">
                  <c:v>38660</c:v>
                </c:pt>
                <c:pt idx="4">
                  <c:v>61080</c:v>
                </c:pt>
                <c:pt idx="5">
                  <c:v>79630</c:v>
                </c:pt>
                <c:pt idx="6">
                  <c:v>111120</c:v>
                </c:pt>
              </c:numCache>
            </c:numRef>
          </c:yVal>
          <c:smooth val="0"/>
          <c:extLst>
            <c:ext xmlns:c16="http://schemas.microsoft.com/office/drawing/2014/chart" uri="{C3380CC4-5D6E-409C-BE32-E72D297353CC}">
              <c16:uniqueId val="{00000003-EFC3-7C41-971B-487AD4B4F0C2}"/>
            </c:ext>
          </c:extLst>
        </c:ser>
        <c:dLbls>
          <c:showLegendKey val="0"/>
          <c:showVal val="0"/>
          <c:showCatName val="0"/>
          <c:showSerName val="0"/>
          <c:showPercent val="0"/>
          <c:showBubbleSize val="0"/>
        </c:dLbls>
        <c:axId val="4"/>
        <c:axId val="5"/>
      </c:scatterChart>
      <c:valAx>
        <c:axId val="4"/>
        <c:scaling>
          <c:orientation val="minMax"/>
          <c:max val="2050"/>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76616915422883E-2"/>
          <c:y val="0.15662650602409639"/>
          <c:w val="0.87064676616915426"/>
          <c:h val="0.68674698795180722"/>
        </c:manualLayout>
      </c:layout>
      <c:areaChart>
        <c:grouping val="stacked"/>
        <c:varyColors val="0"/>
        <c:ser>
          <c:idx val="0"/>
          <c:order val="0"/>
          <c:spPr>
            <a:solidFill>
              <a:srgbClr val="364D6E"/>
            </a:solidFill>
            <a:ln>
              <a:noFill/>
            </a:ln>
          </c:spPr>
          <c:val>
            <c:numRef>
              <c:f>Sheet1!$A$1:$O$1</c:f>
              <c:numCache>
                <c:formatCode>General</c:formatCode>
                <c:ptCount val="15"/>
                <c:pt idx="0">
                  <c:v>2405</c:v>
                </c:pt>
                <c:pt idx="1">
                  <c:v>2409</c:v>
                </c:pt>
                <c:pt idx="2">
                  <c:v>2592</c:v>
                </c:pt>
                <c:pt idx="3">
                  <c:v>2607</c:v>
                </c:pt>
                <c:pt idx="4">
                  <c:v>2514</c:v>
                </c:pt>
                <c:pt idx="5">
                  <c:v>2542</c:v>
                </c:pt>
                <c:pt idx="6">
                  <c:v>2517</c:v>
                </c:pt>
                <c:pt idx="7">
                  <c:v>2483.3000000000002</c:v>
                </c:pt>
                <c:pt idx="8">
                  <c:v>2444.3000000000002</c:v>
                </c:pt>
                <c:pt idx="9">
                  <c:v>2555.4</c:v>
                </c:pt>
                <c:pt idx="10">
                  <c:v>2571.9</c:v>
                </c:pt>
                <c:pt idx="11">
                  <c:v>2596.6999999999998</c:v>
                </c:pt>
                <c:pt idx="12">
                  <c:v>2648.6</c:v>
                </c:pt>
                <c:pt idx="13">
                  <c:v>2695.8</c:v>
                </c:pt>
                <c:pt idx="14">
                  <c:v>2725</c:v>
                </c:pt>
              </c:numCache>
            </c:numRef>
          </c:val>
          <c:extLst>
            <c:ext xmlns:c16="http://schemas.microsoft.com/office/drawing/2014/chart" uri="{C3380CC4-5D6E-409C-BE32-E72D297353CC}">
              <c16:uniqueId val="{00000000-7A4B-FC43-B100-0ADB1826E507}"/>
            </c:ext>
          </c:extLst>
        </c:ser>
        <c:ser>
          <c:idx val="1"/>
          <c:order val="1"/>
          <c:spPr>
            <a:solidFill>
              <a:srgbClr val="4C6C9C"/>
            </a:solidFill>
            <a:ln>
              <a:noFill/>
            </a:ln>
          </c:spPr>
          <c:val>
            <c:numRef>
              <c:f>Sheet1!$A$2:$O$2</c:f>
              <c:numCache>
                <c:formatCode>General</c:formatCode>
                <c:ptCount val="15"/>
                <c:pt idx="0">
                  <c:v>1189</c:v>
                </c:pt>
                <c:pt idx="1">
                  <c:v>1226</c:v>
                </c:pt>
                <c:pt idx="2">
                  <c:v>1336</c:v>
                </c:pt>
                <c:pt idx="3">
                  <c:v>1343.5</c:v>
                </c:pt>
                <c:pt idx="4">
                  <c:v>1403.5</c:v>
                </c:pt>
                <c:pt idx="5">
                  <c:v>1438.3000000000002</c:v>
                </c:pt>
                <c:pt idx="6">
                  <c:v>1533.3000000000002</c:v>
                </c:pt>
                <c:pt idx="7">
                  <c:v>1808.3000000000002</c:v>
                </c:pt>
                <c:pt idx="8">
                  <c:v>1948.3000000000002</c:v>
                </c:pt>
                <c:pt idx="9">
                  <c:v>2130.7000000000003</c:v>
                </c:pt>
                <c:pt idx="10">
                  <c:v>2130.7000000000003</c:v>
                </c:pt>
                <c:pt idx="11">
                  <c:v>2286.0500000000002</c:v>
                </c:pt>
                <c:pt idx="12">
                  <c:v>2360.3300000000004</c:v>
                </c:pt>
                <c:pt idx="13">
                  <c:v>2597.5100000000002</c:v>
                </c:pt>
                <c:pt idx="14">
                  <c:v>2638.8</c:v>
                </c:pt>
              </c:numCache>
            </c:numRef>
          </c:val>
          <c:extLst>
            <c:ext xmlns:c16="http://schemas.microsoft.com/office/drawing/2014/chart" uri="{C3380CC4-5D6E-409C-BE32-E72D297353CC}">
              <c16:uniqueId val="{00000001-7A4B-FC43-B100-0ADB1826E507}"/>
            </c:ext>
          </c:extLst>
        </c:ser>
        <c:ser>
          <c:idx val="2"/>
          <c:order val="2"/>
          <c:spPr>
            <a:solidFill>
              <a:srgbClr val="6F8DB9"/>
            </a:solidFill>
            <a:ln>
              <a:noFill/>
            </a:ln>
          </c:spPr>
          <c:val>
            <c:numRef>
              <c:f>Sheet1!$A$3:$O$3</c:f>
              <c:numCache>
                <c:formatCode>General</c:formatCode>
                <c:ptCount val="15"/>
                <c:pt idx="0">
                  <c:v>1846.6999999999998</c:v>
                </c:pt>
                <c:pt idx="1">
                  <c:v>1846.6999999999998</c:v>
                </c:pt>
                <c:pt idx="2">
                  <c:v>1846.6999999999998</c:v>
                </c:pt>
                <c:pt idx="3">
                  <c:v>1846.6999999999998</c:v>
                </c:pt>
                <c:pt idx="4">
                  <c:v>1916.1000000000004</c:v>
                </c:pt>
                <c:pt idx="5">
                  <c:v>1916.0999999999995</c:v>
                </c:pt>
                <c:pt idx="6">
                  <c:v>1916.0999999999995</c:v>
                </c:pt>
                <c:pt idx="7">
                  <c:v>1916.1000000000004</c:v>
                </c:pt>
                <c:pt idx="8">
                  <c:v>1928.1000000000004</c:v>
                </c:pt>
                <c:pt idx="9">
                  <c:v>1928.1000000000004</c:v>
                </c:pt>
                <c:pt idx="10">
                  <c:v>1928.1000000000004</c:v>
                </c:pt>
                <c:pt idx="11">
                  <c:v>1928.1000000000004</c:v>
                </c:pt>
                <c:pt idx="12">
                  <c:v>1932</c:v>
                </c:pt>
                <c:pt idx="13">
                  <c:v>1951.8000000000002</c:v>
                </c:pt>
                <c:pt idx="14">
                  <c:v>1951.8000000000002</c:v>
                </c:pt>
              </c:numCache>
            </c:numRef>
          </c:val>
          <c:extLst>
            <c:ext xmlns:c16="http://schemas.microsoft.com/office/drawing/2014/chart" uri="{C3380CC4-5D6E-409C-BE32-E72D297353CC}">
              <c16:uniqueId val="{00000002-7A4B-FC43-B100-0ADB1826E507}"/>
            </c:ext>
          </c:extLst>
        </c:ser>
        <c:ser>
          <c:idx val="3"/>
          <c:order val="3"/>
          <c:spPr>
            <a:solidFill>
              <a:srgbClr val="9DB1CF"/>
            </a:solidFill>
            <a:ln>
              <a:noFill/>
            </a:ln>
          </c:spPr>
          <c:val>
            <c:numRef>
              <c:f>Sheet1!$A$4:$O$4</c:f>
              <c:numCache>
                <c:formatCode>General</c:formatCode>
                <c:ptCount val="15"/>
                <c:pt idx="0">
                  <c:v>94</c:v>
                </c:pt>
                <c:pt idx="1">
                  <c:v>114</c:v>
                </c:pt>
                <c:pt idx="2">
                  <c:v>162</c:v>
                </c:pt>
                <c:pt idx="3">
                  <c:v>311</c:v>
                </c:pt>
                <c:pt idx="4">
                  <c:v>405</c:v>
                </c:pt>
                <c:pt idx="5">
                  <c:v>624</c:v>
                </c:pt>
                <c:pt idx="6">
                  <c:v>821</c:v>
                </c:pt>
                <c:pt idx="7">
                  <c:v>1063.6999999999998</c:v>
                </c:pt>
                <c:pt idx="8">
                  <c:v>1282.518</c:v>
                </c:pt>
                <c:pt idx="9">
                  <c:v>1514.6880000000001</c:v>
                </c:pt>
                <c:pt idx="10">
                  <c:v>1613.1880000000001</c:v>
                </c:pt>
                <c:pt idx="11">
                  <c:v>1676.17</c:v>
                </c:pt>
                <c:pt idx="12">
                  <c:v>1691.3379999999997</c:v>
                </c:pt>
                <c:pt idx="13">
                  <c:v>1691.3379999999997</c:v>
                </c:pt>
                <c:pt idx="14">
                  <c:v>1734.3379999999997</c:v>
                </c:pt>
              </c:numCache>
            </c:numRef>
          </c:val>
          <c:extLst>
            <c:ext xmlns:c16="http://schemas.microsoft.com/office/drawing/2014/chart" uri="{C3380CC4-5D6E-409C-BE32-E72D297353CC}">
              <c16:uniqueId val="{00000003-7A4B-FC43-B100-0ADB1826E507}"/>
            </c:ext>
          </c:extLst>
        </c:ser>
        <c:ser>
          <c:idx val="4"/>
          <c:order val="4"/>
          <c:spPr>
            <a:solidFill>
              <a:srgbClr val="C3CFE1"/>
            </a:solidFill>
            <a:ln>
              <a:noFill/>
            </a:ln>
          </c:spPr>
          <c:val>
            <c:numRef>
              <c:f>Sheet1!$A$5:$O$5</c:f>
              <c:numCache>
                <c:formatCode>General</c:formatCode>
                <c:ptCount val="15"/>
                <c:pt idx="0">
                  <c:v>742</c:v>
                </c:pt>
                <c:pt idx="1">
                  <c:v>742</c:v>
                </c:pt>
                <c:pt idx="2">
                  <c:v>768</c:v>
                </c:pt>
                <c:pt idx="3">
                  <c:v>840</c:v>
                </c:pt>
                <c:pt idx="4">
                  <c:v>966</c:v>
                </c:pt>
                <c:pt idx="5">
                  <c:v>990</c:v>
                </c:pt>
                <c:pt idx="6">
                  <c:v>985</c:v>
                </c:pt>
                <c:pt idx="7">
                  <c:v>985.00000000000091</c:v>
                </c:pt>
                <c:pt idx="8">
                  <c:v>1009</c:v>
                </c:pt>
                <c:pt idx="9">
                  <c:v>1009</c:v>
                </c:pt>
                <c:pt idx="10">
                  <c:v>1043</c:v>
                </c:pt>
                <c:pt idx="11">
                  <c:v>1043</c:v>
                </c:pt>
                <c:pt idx="12">
                  <c:v>1050</c:v>
                </c:pt>
                <c:pt idx="13">
                  <c:v>1050</c:v>
                </c:pt>
                <c:pt idx="14">
                  <c:v>1275.3999999999996</c:v>
                </c:pt>
              </c:numCache>
            </c:numRef>
          </c:val>
          <c:extLst>
            <c:ext xmlns:c16="http://schemas.microsoft.com/office/drawing/2014/chart" uri="{C3380CC4-5D6E-409C-BE32-E72D297353CC}">
              <c16:uniqueId val="{00000004-7A4B-FC43-B100-0ADB1826E507}"/>
            </c:ext>
          </c:extLst>
        </c:ser>
        <c:ser>
          <c:idx val="5"/>
          <c:order val="5"/>
          <c:spPr>
            <a:solidFill>
              <a:srgbClr val="DFE5EF"/>
            </a:solidFill>
            <a:ln>
              <a:noFill/>
            </a:ln>
          </c:spPr>
          <c:val>
            <c:numRef>
              <c:f>Sheet1!$A$6:$O$6</c:f>
              <c:numCache>
                <c:formatCode>General</c:formatCode>
                <c:ptCount val="15"/>
                <c:pt idx="0">
                  <c:v>883</c:v>
                </c:pt>
                <c:pt idx="1">
                  <c:v>808</c:v>
                </c:pt>
                <c:pt idx="2">
                  <c:v>833</c:v>
                </c:pt>
                <c:pt idx="3">
                  <c:v>858</c:v>
                </c:pt>
                <c:pt idx="4">
                  <c:v>868</c:v>
                </c:pt>
                <c:pt idx="5">
                  <c:v>898</c:v>
                </c:pt>
                <c:pt idx="6">
                  <c:v>923.5</c:v>
                </c:pt>
                <c:pt idx="7">
                  <c:v>948.5</c:v>
                </c:pt>
                <c:pt idx="8">
                  <c:v>948.5</c:v>
                </c:pt>
                <c:pt idx="9">
                  <c:v>973.5</c:v>
                </c:pt>
                <c:pt idx="10">
                  <c:v>973.5</c:v>
                </c:pt>
                <c:pt idx="11">
                  <c:v>998.5</c:v>
                </c:pt>
                <c:pt idx="12">
                  <c:v>998.5</c:v>
                </c:pt>
                <c:pt idx="13">
                  <c:v>998.5</c:v>
                </c:pt>
                <c:pt idx="14">
                  <c:v>998.5</c:v>
                </c:pt>
              </c:numCache>
            </c:numRef>
          </c:val>
          <c:extLst>
            <c:ext xmlns:c16="http://schemas.microsoft.com/office/drawing/2014/chart" uri="{C3380CC4-5D6E-409C-BE32-E72D297353CC}">
              <c16:uniqueId val="{00000005-7A4B-FC43-B100-0ADB1826E507}"/>
            </c:ext>
          </c:extLst>
        </c:ser>
        <c:ser>
          <c:idx val="6"/>
          <c:order val="6"/>
          <c:spPr>
            <a:solidFill>
              <a:srgbClr val="C0C0C0"/>
            </a:solidFill>
            <a:ln>
              <a:noFill/>
            </a:ln>
          </c:spPr>
          <c:val>
            <c:numRef>
              <c:f>Sheet1!$A$7:$O$7</c:f>
              <c:numCache>
                <c:formatCode>General</c:formatCode>
                <c:ptCount val="15"/>
                <c:pt idx="0">
                  <c:v>198</c:v>
                </c:pt>
                <c:pt idx="1">
                  <c:v>198</c:v>
                </c:pt>
                <c:pt idx="2">
                  <c:v>205.5</c:v>
                </c:pt>
                <c:pt idx="3">
                  <c:v>205.5</c:v>
                </c:pt>
                <c:pt idx="4">
                  <c:v>366.10000000000036</c:v>
                </c:pt>
                <c:pt idx="5">
                  <c:v>618.89999999999964</c:v>
                </c:pt>
                <c:pt idx="6">
                  <c:v>652.89999999999964</c:v>
                </c:pt>
                <c:pt idx="7">
                  <c:v>672.89999999999964</c:v>
                </c:pt>
                <c:pt idx="8">
                  <c:v>683.79999999999927</c:v>
                </c:pt>
                <c:pt idx="9">
                  <c:v>683.79999999999927</c:v>
                </c:pt>
                <c:pt idx="10">
                  <c:v>863.1299999999992</c:v>
                </c:pt>
                <c:pt idx="11">
                  <c:v>863.1299999999992</c:v>
                </c:pt>
                <c:pt idx="12">
                  <c:v>949.72999999999956</c:v>
                </c:pt>
                <c:pt idx="13">
                  <c:v>984.72999999999956</c:v>
                </c:pt>
                <c:pt idx="14">
                  <c:v>939.72999999999956</c:v>
                </c:pt>
              </c:numCache>
            </c:numRef>
          </c:val>
          <c:extLst>
            <c:ext xmlns:c16="http://schemas.microsoft.com/office/drawing/2014/chart" uri="{C3380CC4-5D6E-409C-BE32-E72D297353CC}">
              <c16:uniqueId val="{00000006-7A4B-FC43-B100-0ADB1826E507}"/>
            </c:ext>
          </c:extLst>
        </c:ser>
        <c:ser>
          <c:idx val="7"/>
          <c:order val="7"/>
          <c:spPr>
            <a:solidFill>
              <a:srgbClr val="969696"/>
            </a:solidFill>
            <a:ln>
              <a:noFill/>
            </a:ln>
          </c:spPr>
          <c:val>
            <c:numRef>
              <c:f>Sheet1!$A$8:$O$8</c:f>
              <c:numCache>
                <c:formatCode>General</c:formatCode>
                <c:ptCount val="15"/>
                <c:pt idx="0">
                  <c:v>575</c:v>
                </c:pt>
                <c:pt idx="1">
                  <c:v>665</c:v>
                </c:pt>
                <c:pt idx="2">
                  <c:v>665.00000000000091</c:v>
                </c:pt>
                <c:pt idx="3">
                  <c:v>665.00000000000091</c:v>
                </c:pt>
                <c:pt idx="4">
                  <c:v>665</c:v>
                </c:pt>
                <c:pt idx="5">
                  <c:v>665</c:v>
                </c:pt>
                <c:pt idx="6">
                  <c:v>665</c:v>
                </c:pt>
                <c:pt idx="7">
                  <c:v>709.95800000000054</c:v>
                </c:pt>
                <c:pt idx="8">
                  <c:v>755.5580000000009</c:v>
                </c:pt>
                <c:pt idx="9">
                  <c:v>755.55799999999908</c:v>
                </c:pt>
                <c:pt idx="10">
                  <c:v>756.15799999999945</c:v>
                </c:pt>
                <c:pt idx="11">
                  <c:v>756.20800000000054</c:v>
                </c:pt>
                <c:pt idx="12">
                  <c:v>757.57999999999993</c:v>
                </c:pt>
                <c:pt idx="13">
                  <c:v>787.57999999999993</c:v>
                </c:pt>
                <c:pt idx="14">
                  <c:v>787.57999999999993</c:v>
                </c:pt>
              </c:numCache>
            </c:numRef>
          </c:val>
          <c:extLst>
            <c:ext xmlns:c16="http://schemas.microsoft.com/office/drawing/2014/chart" uri="{C3380CC4-5D6E-409C-BE32-E72D297353CC}">
              <c16:uniqueId val="{00000007-7A4B-FC43-B100-0ADB1826E507}"/>
            </c:ext>
          </c:extLst>
        </c:ser>
        <c:ser>
          <c:idx val="8"/>
          <c:order val="8"/>
          <c:spPr>
            <a:solidFill>
              <a:srgbClr val="808080"/>
            </a:solidFill>
            <a:ln>
              <a:noFill/>
            </a:ln>
          </c:spPr>
          <c:val>
            <c:numRef>
              <c:f>Sheet1!$A$9:$O$9</c:f>
              <c:numCache>
                <c:formatCode>General</c:formatCode>
                <c:ptCount val="15"/>
                <c:pt idx="0">
                  <c:v>728.00000000000091</c:v>
                </c:pt>
                <c:pt idx="1">
                  <c:v>728.00000000000091</c:v>
                </c:pt>
                <c:pt idx="2">
                  <c:v>728</c:v>
                </c:pt>
                <c:pt idx="3">
                  <c:v>729</c:v>
                </c:pt>
                <c:pt idx="4">
                  <c:v>768</c:v>
                </c:pt>
                <c:pt idx="5">
                  <c:v>768</c:v>
                </c:pt>
                <c:pt idx="6">
                  <c:v>767</c:v>
                </c:pt>
                <c:pt idx="7">
                  <c:v>767.19000000000051</c:v>
                </c:pt>
                <c:pt idx="8">
                  <c:v>767.19000000000051</c:v>
                </c:pt>
                <c:pt idx="9">
                  <c:v>767.19000000000051</c:v>
                </c:pt>
                <c:pt idx="10">
                  <c:v>771.79000000000087</c:v>
                </c:pt>
                <c:pt idx="11">
                  <c:v>771.79000000000087</c:v>
                </c:pt>
                <c:pt idx="12">
                  <c:v>771.78999999999905</c:v>
                </c:pt>
                <c:pt idx="13">
                  <c:v>771.78999999999905</c:v>
                </c:pt>
                <c:pt idx="14">
                  <c:v>771.78999999999905</c:v>
                </c:pt>
              </c:numCache>
            </c:numRef>
          </c:val>
          <c:extLst>
            <c:ext xmlns:c16="http://schemas.microsoft.com/office/drawing/2014/chart" uri="{C3380CC4-5D6E-409C-BE32-E72D297353CC}">
              <c16:uniqueId val="{00000008-7A4B-FC43-B100-0ADB1826E507}"/>
            </c:ext>
          </c:extLst>
        </c:ser>
        <c:ser>
          <c:idx val="9"/>
          <c:order val="9"/>
          <c:spPr>
            <a:solidFill>
              <a:schemeClr val="tx2"/>
            </a:solidFill>
            <a:ln>
              <a:noFill/>
            </a:ln>
          </c:spPr>
          <c:val>
            <c:numRef>
              <c:f>Sheet1!$A$10:$O$10</c:f>
              <c:numCache>
                <c:formatCode>General</c:formatCode>
                <c:ptCount val="15"/>
                <c:pt idx="0">
                  <c:v>537</c:v>
                </c:pt>
                <c:pt idx="1">
                  <c:v>537</c:v>
                </c:pt>
                <c:pt idx="2">
                  <c:v>512</c:v>
                </c:pt>
                <c:pt idx="3">
                  <c:v>512</c:v>
                </c:pt>
                <c:pt idx="4">
                  <c:v>508</c:v>
                </c:pt>
                <c:pt idx="5">
                  <c:v>516</c:v>
                </c:pt>
                <c:pt idx="6">
                  <c:v>526</c:v>
                </c:pt>
                <c:pt idx="7">
                  <c:v>471.36599999999999</c:v>
                </c:pt>
                <c:pt idx="8">
                  <c:v>473.11499999999978</c:v>
                </c:pt>
                <c:pt idx="9">
                  <c:v>480.71399999999994</c:v>
                </c:pt>
                <c:pt idx="10">
                  <c:v>487.00400000000081</c:v>
                </c:pt>
                <c:pt idx="11">
                  <c:v>486.81400000000031</c:v>
                </c:pt>
                <c:pt idx="12">
                  <c:v>436.81400000000031</c:v>
                </c:pt>
                <c:pt idx="13">
                  <c:v>456.05400000000009</c:v>
                </c:pt>
                <c:pt idx="14">
                  <c:v>489.05400000000009</c:v>
                </c:pt>
              </c:numCache>
            </c:numRef>
          </c:val>
          <c:extLst>
            <c:ext xmlns:c16="http://schemas.microsoft.com/office/drawing/2014/chart" uri="{C3380CC4-5D6E-409C-BE32-E72D297353CC}">
              <c16:uniqueId val="{00000009-7A4B-FC43-B100-0ADB1826E507}"/>
            </c:ext>
          </c:extLst>
        </c:ser>
        <c:ser>
          <c:idx val="10"/>
          <c:order val="10"/>
          <c:spPr>
            <a:solidFill>
              <a:schemeClr val="bg2"/>
            </a:solidFill>
            <a:ln>
              <a:noFill/>
            </a:ln>
          </c:spPr>
          <c:val>
            <c:numRef>
              <c:f>Sheet1!$A$11:$O$11</c:f>
              <c:numCache>
                <c:formatCode>General</c:formatCode>
                <c:ptCount val="15"/>
                <c:pt idx="0">
                  <c:v>165.71099999999933</c:v>
                </c:pt>
                <c:pt idx="1">
                  <c:v>217.46099999999933</c:v>
                </c:pt>
                <c:pt idx="2">
                  <c:v>217.46099999999933</c:v>
                </c:pt>
                <c:pt idx="3">
                  <c:v>217.46099999999933</c:v>
                </c:pt>
                <c:pt idx="4">
                  <c:v>217.46099999999933</c:v>
                </c:pt>
                <c:pt idx="5">
                  <c:v>217.36100000000079</c:v>
                </c:pt>
                <c:pt idx="6">
                  <c:v>206.86000000000058</c:v>
                </c:pt>
                <c:pt idx="7">
                  <c:v>206.86000000000058</c:v>
                </c:pt>
                <c:pt idx="8">
                  <c:v>206.86000000000058</c:v>
                </c:pt>
                <c:pt idx="9">
                  <c:v>261.86000000000058</c:v>
                </c:pt>
                <c:pt idx="10">
                  <c:v>261.86000000000058</c:v>
                </c:pt>
                <c:pt idx="11">
                  <c:v>258.84000000000015</c:v>
                </c:pt>
                <c:pt idx="12">
                  <c:v>262.65999999999985</c:v>
                </c:pt>
                <c:pt idx="13">
                  <c:v>262.65999999999985</c:v>
                </c:pt>
                <c:pt idx="14">
                  <c:v>262.65999999999985</c:v>
                </c:pt>
              </c:numCache>
            </c:numRef>
          </c:val>
          <c:extLst>
            <c:ext xmlns:c16="http://schemas.microsoft.com/office/drawing/2014/chart" uri="{C3380CC4-5D6E-409C-BE32-E72D297353CC}">
              <c16:uniqueId val="{0000000A-7A4B-FC43-B100-0ADB1826E507}"/>
            </c:ext>
          </c:extLst>
        </c:ser>
        <c:dLbls>
          <c:showLegendKey val="0"/>
          <c:showVal val="0"/>
          <c:showCatName val="0"/>
          <c:showSerName val="0"/>
          <c:showPercent val="0"/>
          <c:showBubbleSize val="0"/>
        </c:dLbls>
        <c:axId val="114953616"/>
        <c:axId val="1"/>
      </c:areaChart>
      <c:catAx>
        <c:axId val="114953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74.651999999998"/>
          <c:min val="0"/>
        </c:scaling>
        <c:delete val="0"/>
        <c:axPos val="l"/>
        <c:majorGridlines>
          <c:spPr>
            <a:ln>
              <a:noFill/>
            </a:ln>
          </c:spPr>
        </c:majorGridlines>
        <c:numFmt formatCode="General" sourceLinked="1"/>
        <c:majorTickMark val="none"/>
        <c:minorTickMark val="none"/>
        <c:tickLblPos val="none"/>
        <c:spPr>
          <a:ln>
            <a:noFill/>
          </a:ln>
        </c:spPr>
        <c:crossAx val="114953616"/>
        <c:crosses val="min"/>
        <c:crossBetween val="midCat"/>
      </c:valAx>
    </c:plotArea>
    <c:plotVisOnly val="0"/>
    <c:dispBlanksAs val="zero"/>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14141414141416E-2"/>
          <c:y val="2.5390625E-2"/>
          <c:w val="0.96717171717171713"/>
          <c:h val="0.94921875"/>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5.8560000000000008E-2</c:v>
                </c:pt>
                <c:pt idx="1">
                  <c:v>2.9280000000000004</c:v>
                </c:pt>
                <c:pt idx="2">
                  <c:v>58.56</c:v>
                </c:pt>
                <c:pt idx="3">
                  <c:v>146.4</c:v>
                </c:pt>
                <c:pt idx="4">
                  <c:v>240</c:v>
                </c:pt>
                <c:pt idx="5">
                  <c:v>300</c:v>
                </c:pt>
              </c:numCache>
            </c:numRef>
          </c:val>
          <c:extLst>
            <c:ext xmlns:c16="http://schemas.microsoft.com/office/drawing/2014/chart" uri="{C3380CC4-5D6E-409C-BE32-E72D297353CC}">
              <c16:uniqueId val="{00000000-76E0-464F-8A59-847BFB24375D}"/>
            </c:ext>
          </c:extLst>
        </c:ser>
        <c:ser>
          <c:idx val="1"/>
          <c:order val="1"/>
          <c:spPr>
            <a:solidFill>
              <a:schemeClr val="accent2"/>
            </a:solidFill>
            <a:ln>
              <a:noFill/>
            </a:ln>
          </c:spPr>
          <c:invertIfNegative val="0"/>
          <c:val>
            <c:numRef>
              <c:f>Sheet1!$A$2:$F$2</c:f>
              <c:numCache>
                <c:formatCode>General</c:formatCode>
                <c:ptCount val="6"/>
                <c:pt idx="0">
                  <c:v>3.9039999999999998E-2</c:v>
                </c:pt>
                <c:pt idx="1">
                  <c:v>1.9520000000000004</c:v>
                </c:pt>
                <c:pt idx="2">
                  <c:v>39.039999999999992</c:v>
                </c:pt>
                <c:pt idx="3">
                  <c:v>97.6</c:v>
                </c:pt>
                <c:pt idx="4">
                  <c:v>160</c:v>
                </c:pt>
                <c:pt idx="5">
                  <c:v>200</c:v>
                </c:pt>
              </c:numCache>
            </c:numRef>
          </c:val>
          <c:extLst>
            <c:ext xmlns:c16="http://schemas.microsoft.com/office/drawing/2014/chart" uri="{C3380CC4-5D6E-409C-BE32-E72D297353CC}">
              <c16:uniqueId val="{00000001-76E0-464F-8A59-847BFB24375D}"/>
            </c:ext>
          </c:extLst>
        </c:ser>
        <c:ser>
          <c:idx val="2"/>
          <c:order val="2"/>
          <c:spPr>
            <a:solidFill>
              <a:schemeClr val="accent3"/>
            </a:solidFill>
            <a:ln>
              <a:noFill/>
            </a:ln>
          </c:spPr>
          <c:invertIfNegative val="0"/>
          <c:val>
            <c:numRef>
              <c:f>Sheet1!$A$3:$F$3</c:f>
              <c:numCache>
                <c:formatCode>General</c:formatCode>
                <c:ptCount val="6"/>
                <c:pt idx="0">
                  <c:v>1.9519999999999996E-2</c:v>
                </c:pt>
                <c:pt idx="1">
                  <c:v>0.97599999999999998</c:v>
                </c:pt>
                <c:pt idx="2">
                  <c:v>19.519999999999996</c:v>
                </c:pt>
                <c:pt idx="3">
                  <c:v>48.800000000000011</c:v>
                </c:pt>
                <c:pt idx="4">
                  <c:v>80</c:v>
                </c:pt>
                <c:pt idx="5">
                  <c:v>100</c:v>
                </c:pt>
              </c:numCache>
            </c:numRef>
          </c:val>
          <c:extLst>
            <c:ext xmlns:c16="http://schemas.microsoft.com/office/drawing/2014/chart" uri="{C3380CC4-5D6E-409C-BE32-E72D297353CC}">
              <c16:uniqueId val="{00000002-76E0-464F-8A59-847BFB24375D}"/>
            </c:ext>
          </c:extLst>
        </c:ser>
        <c:ser>
          <c:idx val="3"/>
          <c:order val="3"/>
          <c:spPr>
            <a:solidFill>
              <a:schemeClr val="accent4"/>
            </a:solidFill>
            <a:ln>
              <a:noFill/>
            </a:ln>
          </c:spPr>
          <c:invertIfNegative val="0"/>
          <c:val>
            <c:numRef>
              <c:f>Sheet1!$A$4:$F$4</c:f>
              <c:numCache>
                <c:formatCode>General</c:formatCode>
                <c:ptCount val="6"/>
                <c:pt idx="0">
                  <c:v>1.5615999999999991E-2</c:v>
                </c:pt>
                <c:pt idx="1">
                  <c:v>0.78080000000000016</c:v>
                </c:pt>
                <c:pt idx="2">
                  <c:v>15.616</c:v>
                </c:pt>
                <c:pt idx="3">
                  <c:v>39.04000000000002</c:v>
                </c:pt>
                <c:pt idx="4">
                  <c:v>64</c:v>
                </c:pt>
                <c:pt idx="5">
                  <c:v>80</c:v>
                </c:pt>
              </c:numCache>
            </c:numRef>
          </c:val>
          <c:extLst>
            <c:ext xmlns:c16="http://schemas.microsoft.com/office/drawing/2014/chart" uri="{C3380CC4-5D6E-409C-BE32-E72D297353CC}">
              <c16:uniqueId val="{00000003-76E0-464F-8A59-847BFB24375D}"/>
            </c:ext>
          </c:extLst>
        </c:ser>
        <c:ser>
          <c:idx val="4"/>
          <c:order val="4"/>
          <c:spPr>
            <a:solidFill>
              <a:schemeClr val="accent5"/>
            </a:solidFill>
            <a:ln>
              <a:noFill/>
            </a:ln>
          </c:spPr>
          <c:invertIfNegative val="0"/>
          <c:val>
            <c:numRef>
              <c:f>Sheet1!$A$5:$F$5</c:f>
              <c:numCache>
                <c:formatCode>General</c:formatCode>
                <c:ptCount val="6"/>
                <c:pt idx="0">
                  <c:v>9.7599999999999909E-3</c:v>
                </c:pt>
                <c:pt idx="1">
                  <c:v>0.48799999999999955</c:v>
                </c:pt>
                <c:pt idx="2">
                  <c:v>9.7599999999999909</c:v>
                </c:pt>
                <c:pt idx="3">
                  <c:v>24.399999999999977</c:v>
                </c:pt>
                <c:pt idx="4">
                  <c:v>40</c:v>
                </c:pt>
                <c:pt idx="5">
                  <c:v>50</c:v>
                </c:pt>
              </c:numCache>
            </c:numRef>
          </c:val>
          <c:extLst>
            <c:ext xmlns:c16="http://schemas.microsoft.com/office/drawing/2014/chart" uri="{C3380CC4-5D6E-409C-BE32-E72D297353CC}">
              <c16:uniqueId val="{00000004-76E0-464F-8A59-847BFB24375D}"/>
            </c:ext>
          </c:extLst>
        </c:ser>
        <c:ser>
          <c:idx val="5"/>
          <c:order val="5"/>
          <c:spPr>
            <a:solidFill>
              <a:schemeClr val="accent6"/>
            </a:solidFill>
            <a:ln>
              <a:noFill/>
            </a:ln>
          </c:spPr>
          <c:invertIfNegative val="0"/>
          <c:val>
            <c:numRef>
              <c:f>Sheet1!$A$6:$F$6</c:f>
              <c:numCache>
                <c:formatCode>General</c:formatCode>
                <c:ptCount val="6"/>
                <c:pt idx="0">
                  <c:v>1.952000000000001E-2</c:v>
                </c:pt>
                <c:pt idx="1">
                  <c:v>0.97599999999999909</c:v>
                </c:pt>
                <c:pt idx="2">
                  <c:v>19.52000000000001</c:v>
                </c:pt>
                <c:pt idx="3">
                  <c:v>48.800000000000011</c:v>
                </c:pt>
                <c:pt idx="4">
                  <c:v>80</c:v>
                </c:pt>
                <c:pt idx="5">
                  <c:v>100</c:v>
                </c:pt>
              </c:numCache>
            </c:numRef>
          </c:val>
          <c:extLst>
            <c:ext xmlns:c16="http://schemas.microsoft.com/office/drawing/2014/chart" uri="{C3380CC4-5D6E-409C-BE32-E72D297353CC}">
              <c16:uniqueId val="{00000005-76E0-464F-8A59-847BFB24375D}"/>
            </c:ext>
          </c:extLst>
        </c:ser>
        <c:dLbls>
          <c:showLegendKey val="0"/>
          <c:showVal val="0"/>
          <c:showCatName val="0"/>
          <c:showSerName val="0"/>
          <c:showPercent val="0"/>
          <c:showBubbleSize val="0"/>
        </c:dLbls>
        <c:gapWidth val="80"/>
        <c:overlap val="100"/>
        <c:axId val="350578432"/>
        <c:axId val="1"/>
      </c:barChart>
      <c:catAx>
        <c:axId val="350578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General" sourceLinked="1"/>
        <c:majorTickMark val="none"/>
        <c:minorTickMark val="none"/>
        <c:tickLblPos val="none"/>
        <c:spPr>
          <a:ln>
            <a:noFill/>
          </a:ln>
        </c:spPr>
        <c:crossAx val="35057843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1835035944003"/>
          <c:y val="5.5492638731596829E-2"/>
          <c:w val="0.87514188422247441"/>
          <c:h val="0.88901472253680636"/>
        </c:manualLayout>
      </c:layout>
      <c:areaChart>
        <c:grouping val="stacked"/>
        <c:varyColors val="0"/>
        <c:ser>
          <c:idx val="0"/>
          <c:order val="0"/>
          <c:spPr>
            <a:solidFill>
              <a:srgbClr val="091D79"/>
            </a:solidFill>
            <a:ln>
              <a:noFill/>
            </a:ln>
          </c:spPr>
          <c:val>
            <c:numRef>
              <c:f>Sheet1!$A$1:$G$1</c:f>
              <c:numCache>
                <c:formatCode>General</c:formatCode>
                <c:ptCount val="7"/>
                <c:pt idx="0">
                  <c:v>24.5</c:v>
                </c:pt>
                <c:pt idx="1">
                  <c:v>25</c:v>
                </c:pt>
                <c:pt idx="2">
                  <c:v>40</c:v>
                </c:pt>
                <c:pt idx="3">
                  <c:v>24.5</c:v>
                </c:pt>
                <c:pt idx="4">
                  <c:v>24.5</c:v>
                </c:pt>
                <c:pt idx="5">
                  <c:v>24.5</c:v>
                </c:pt>
                <c:pt idx="6">
                  <c:v>24.5</c:v>
                </c:pt>
              </c:numCache>
            </c:numRef>
          </c:val>
          <c:extLst>
            <c:ext xmlns:c16="http://schemas.microsoft.com/office/drawing/2014/chart" uri="{C3380CC4-5D6E-409C-BE32-E72D297353CC}">
              <c16:uniqueId val="{00000000-6CE7-3E46-A100-4891FE0B3218}"/>
            </c:ext>
          </c:extLst>
        </c:ser>
        <c:ser>
          <c:idx val="1"/>
          <c:order val="1"/>
          <c:spPr>
            <a:solidFill>
              <a:srgbClr val="13AAF5"/>
            </a:solidFill>
            <a:ln>
              <a:noFill/>
            </a:ln>
          </c:spPr>
          <c:val>
            <c:numRef>
              <c:f>Sheet1!$A$2:$G$2</c:f>
              <c:numCache>
                <c:formatCode>General</c:formatCode>
                <c:ptCount val="7"/>
                <c:pt idx="0">
                  <c:v>100</c:v>
                </c:pt>
                <c:pt idx="1">
                  <c:v>115</c:v>
                </c:pt>
                <c:pt idx="2">
                  <c:v>125</c:v>
                </c:pt>
                <c:pt idx="3">
                  <c:v>120</c:v>
                </c:pt>
                <c:pt idx="4">
                  <c:v>140</c:v>
                </c:pt>
                <c:pt idx="5">
                  <c:v>125</c:v>
                </c:pt>
                <c:pt idx="6">
                  <c:v>105</c:v>
                </c:pt>
              </c:numCache>
            </c:numRef>
          </c:val>
          <c:extLst>
            <c:ext xmlns:c16="http://schemas.microsoft.com/office/drawing/2014/chart" uri="{C3380CC4-5D6E-409C-BE32-E72D297353CC}">
              <c16:uniqueId val="{00000001-6CE7-3E46-A100-4891FE0B3218}"/>
            </c:ext>
          </c:extLst>
        </c:ser>
        <c:ser>
          <c:idx val="2"/>
          <c:order val="2"/>
          <c:spPr>
            <a:solidFill>
              <a:srgbClr val="1ED9CA"/>
            </a:solidFill>
            <a:ln>
              <a:noFill/>
            </a:ln>
          </c:spPr>
          <c:val>
            <c:numRef>
              <c:f>Sheet1!$A$3:$G$3</c:f>
              <c:numCache>
                <c:formatCode>General</c:formatCode>
                <c:ptCount val="7"/>
                <c:pt idx="0">
                  <c:v>45</c:v>
                </c:pt>
                <c:pt idx="1">
                  <c:v>77.5</c:v>
                </c:pt>
                <c:pt idx="2">
                  <c:v>110</c:v>
                </c:pt>
                <c:pt idx="3">
                  <c:v>90</c:v>
                </c:pt>
                <c:pt idx="4">
                  <c:v>120</c:v>
                </c:pt>
                <c:pt idx="5">
                  <c:v>110</c:v>
                </c:pt>
                <c:pt idx="6">
                  <c:v>98</c:v>
                </c:pt>
              </c:numCache>
            </c:numRef>
          </c:val>
          <c:extLst>
            <c:ext xmlns:c16="http://schemas.microsoft.com/office/drawing/2014/chart" uri="{C3380CC4-5D6E-409C-BE32-E72D297353CC}">
              <c16:uniqueId val="{00000002-6CE7-3E46-A100-4891FE0B3218}"/>
            </c:ext>
          </c:extLst>
        </c:ser>
        <c:ser>
          <c:idx val="3"/>
          <c:order val="3"/>
          <c:spPr>
            <a:solidFill>
              <a:srgbClr val="004FDD"/>
            </a:solidFill>
            <a:ln>
              <a:noFill/>
            </a:ln>
          </c:spPr>
          <c:val>
            <c:numRef>
              <c:f>Sheet1!$A$4:$G$4</c:f>
              <c:numCache>
                <c:formatCode>General</c:formatCode>
                <c:ptCount val="7"/>
                <c:pt idx="0">
                  <c:v>35</c:v>
                </c:pt>
                <c:pt idx="1">
                  <c:v>40</c:v>
                </c:pt>
                <c:pt idx="2">
                  <c:v>45</c:v>
                </c:pt>
                <c:pt idx="3">
                  <c:v>37</c:v>
                </c:pt>
                <c:pt idx="4">
                  <c:v>31</c:v>
                </c:pt>
                <c:pt idx="5">
                  <c:v>25</c:v>
                </c:pt>
                <c:pt idx="6">
                  <c:v>21</c:v>
                </c:pt>
              </c:numCache>
            </c:numRef>
          </c:val>
          <c:extLst>
            <c:ext xmlns:c16="http://schemas.microsoft.com/office/drawing/2014/chart" uri="{C3380CC4-5D6E-409C-BE32-E72D297353CC}">
              <c16:uniqueId val="{00000003-6CE7-3E46-A100-4891FE0B3218}"/>
            </c:ext>
          </c:extLst>
        </c:ser>
        <c:ser>
          <c:idx val="4"/>
          <c:order val="4"/>
          <c:spPr>
            <a:solidFill>
              <a:srgbClr val="149187"/>
            </a:solidFill>
            <a:ln>
              <a:noFill/>
            </a:ln>
          </c:spPr>
          <c:val>
            <c:numRef>
              <c:f>Sheet1!$A$5:$G$5</c:f>
              <c:numCache>
                <c:formatCode>General</c:formatCode>
                <c:ptCount val="7"/>
                <c:pt idx="0">
                  <c:v>2</c:v>
                </c:pt>
                <c:pt idx="1">
                  <c:v>8</c:v>
                </c:pt>
                <c:pt idx="2">
                  <c:v>10</c:v>
                </c:pt>
                <c:pt idx="3">
                  <c:v>12</c:v>
                </c:pt>
                <c:pt idx="4">
                  <c:v>16</c:v>
                </c:pt>
                <c:pt idx="5">
                  <c:v>18</c:v>
                </c:pt>
                <c:pt idx="6">
                  <c:v>21</c:v>
                </c:pt>
              </c:numCache>
            </c:numRef>
          </c:val>
          <c:extLst>
            <c:ext xmlns:c16="http://schemas.microsoft.com/office/drawing/2014/chart" uri="{C3380CC4-5D6E-409C-BE32-E72D297353CC}">
              <c16:uniqueId val="{00000004-6CE7-3E46-A100-4891FE0B3218}"/>
            </c:ext>
          </c:extLst>
        </c:ser>
        <c:ser>
          <c:idx val="5"/>
          <c:order val="5"/>
          <c:spPr>
            <a:solidFill>
              <a:srgbClr val="0C79C4"/>
            </a:solidFill>
            <a:ln>
              <a:noFill/>
            </a:ln>
          </c:spPr>
          <c:val>
            <c:numRef>
              <c:f>Sheet1!$A$6:$G$6</c:f>
              <c:numCache>
                <c:formatCode>General</c:formatCode>
                <c:ptCount val="7"/>
                <c:pt idx="0">
                  <c:v>35</c:v>
                </c:pt>
                <c:pt idx="1">
                  <c:v>37.5</c:v>
                </c:pt>
                <c:pt idx="2">
                  <c:v>40</c:v>
                </c:pt>
                <c:pt idx="3">
                  <c:v>50</c:v>
                </c:pt>
                <c:pt idx="4">
                  <c:v>100</c:v>
                </c:pt>
                <c:pt idx="5">
                  <c:v>120</c:v>
                </c:pt>
                <c:pt idx="6">
                  <c:v>150</c:v>
                </c:pt>
              </c:numCache>
            </c:numRef>
          </c:val>
          <c:extLst>
            <c:ext xmlns:c16="http://schemas.microsoft.com/office/drawing/2014/chart" uri="{C3380CC4-5D6E-409C-BE32-E72D297353CC}">
              <c16:uniqueId val="{00000005-6CE7-3E46-A100-4891FE0B3218}"/>
            </c:ext>
          </c:extLst>
        </c:ser>
        <c:ser>
          <c:idx val="6"/>
          <c:order val="6"/>
          <c:spPr>
            <a:solidFill>
              <a:schemeClr val="tx2"/>
            </a:solidFill>
            <a:ln>
              <a:noFill/>
            </a:ln>
          </c:spPr>
          <c:val>
            <c:numRef>
              <c:f>Sheet1!$A$7:$G$7</c:f>
              <c:numCache>
                <c:formatCode>General</c:formatCode>
                <c:ptCount val="7"/>
                <c:pt idx="0">
                  <c:v>10</c:v>
                </c:pt>
                <c:pt idx="1">
                  <c:v>11.833333333333314</c:v>
                </c:pt>
                <c:pt idx="2">
                  <c:v>13.666666666666686</c:v>
                </c:pt>
                <c:pt idx="3">
                  <c:v>15.5</c:v>
                </c:pt>
                <c:pt idx="4">
                  <c:v>17.333333333333314</c:v>
                </c:pt>
                <c:pt idx="5">
                  <c:v>19.166666666666686</c:v>
                </c:pt>
                <c:pt idx="6">
                  <c:v>21</c:v>
                </c:pt>
              </c:numCache>
            </c:numRef>
          </c:val>
          <c:extLst>
            <c:ext xmlns:c16="http://schemas.microsoft.com/office/drawing/2014/chart" uri="{C3380CC4-5D6E-409C-BE32-E72D297353CC}">
              <c16:uniqueId val="{00000006-6CE7-3E46-A100-4891FE0B3218}"/>
            </c:ext>
          </c:extLst>
        </c:ser>
        <c:dLbls>
          <c:showLegendKey val="0"/>
          <c:showVal val="0"/>
          <c:showCatName val="0"/>
          <c:showSerName val="0"/>
          <c:showPercent val="0"/>
          <c:showBubbleSize val="0"/>
        </c:dLbls>
        <c:axId val="336769248"/>
        <c:axId val="1"/>
      </c:areaChart>
      <c:catAx>
        <c:axId val="336769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36769248"/>
        <c:crosses val="min"/>
        <c:crossBetween val="midCat"/>
        <c:majorUnit val="50"/>
      </c:valAx>
    </c:plotArea>
    <c:plotVisOnly val="0"/>
    <c:dispBlanksAs val="zero"/>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547071905114902E-2"/>
          <c:y val="4.3046357615894038E-2"/>
          <c:w val="0.92290585618977017"/>
          <c:h val="0.91390728476821192"/>
        </c:manualLayout>
      </c:layout>
      <c:barChart>
        <c:barDir val="bar"/>
        <c:grouping val="clustered"/>
        <c:varyColors val="0"/>
        <c:ser>
          <c:idx val="0"/>
          <c:order val="0"/>
          <c:spPr>
            <a:solidFill>
              <a:schemeClr val="accent2"/>
            </a:solidFill>
            <a:ln>
              <a:noFill/>
            </a:ln>
          </c:spPr>
          <c:invertIfNegative val="0"/>
          <c:val>
            <c:numRef>
              <c:f>Sheet1!$A$1:$F$1</c:f>
              <c:numCache>
                <c:formatCode>General</c:formatCode>
                <c:ptCount val="6"/>
                <c:pt idx="0">
                  <c:v>5</c:v>
                </c:pt>
                <c:pt idx="1">
                  <c:v>8</c:v>
                </c:pt>
                <c:pt idx="2">
                  <c:v>5</c:v>
                </c:pt>
                <c:pt idx="3">
                  <c:v>4</c:v>
                </c:pt>
                <c:pt idx="4">
                  <c:v>6</c:v>
                </c:pt>
                <c:pt idx="5">
                  <c:v>8</c:v>
                </c:pt>
              </c:numCache>
            </c:numRef>
          </c:val>
          <c:extLst>
            <c:ext xmlns:c16="http://schemas.microsoft.com/office/drawing/2014/chart" uri="{C3380CC4-5D6E-409C-BE32-E72D297353CC}">
              <c16:uniqueId val="{00000000-0751-9C48-BE19-C104067A8C6C}"/>
            </c:ext>
          </c:extLst>
        </c:ser>
        <c:ser>
          <c:idx val="1"/>
          <c:order val="1"/>
          <c:spPr>
            <a:solidFill>
              <a:schemeClr val="accent1"/>
            </a:solidFill>
            <a:ln>
              <a:noFill/>
            </a:ln>
          </c:spPr>
          <c:invertIfNegative val="0"/>
          <c:val>
            <c:numRef>
              <c:f>Sheet1!$A$2:$F$2</c:f>
              <c:numCache>
                <c:formatCode>General</c:formatCode>
                <c:ptCount val="6"/>
                <c:pt idx="0">
                  <c:v>5</c:v>
                </c:pt>
                <c:pt idx="1">
                  <c:v>8</c:v>
                </c:pt>
                <c:pt idx="2">
                  <c:v>4</c:v>
                </c:pt>
                <c:pt idx="3">
                  <c:v>6</c:v>
                </c:pt>
                <c:pt idx="4">
                  <c:v>8</c:v>
                </c:pt>
                <c:pt idx="5">
                  <c:v>4</c:v>
                </c:pt>
              </c:numCache>
            </c:numRef>
          </c:val>
          <c:extLst>
            <c:ext xmlns:c16="http://schemas.microsoft.com/office/drawing/2014/chart" uri="{C3380CC4-5D6E-409C-BE32-E72D297353CC}">
              <c16:uniqueId val="{00000001-0751-9C48-BE19-C104067A8C6C}"/>
            </c:ext>
          </c:extLst>
        </c:ser>
        <c:dLbls>
          <c:showLegendKey val="0"/>
          <c:showVal val="0"/>
          <c:showCatName val="0"/>
          <c:showSerName val="0"/>
          <c:showPercent val="0"/>
          <c:showBubbleSize val="0"/>
        </c:dLbls>
        <c:gapWidth val="80"/>
        <c:axId val="1938691695"/>
        <c:axId val="1"/>
      </c:barChart>
      <c:catAx>
        <c:axId val="19386916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b"/>
        <c:majorGridlines>
          <c:spPr>
            <a:ln>
              <a:noFill/>
            </a:ln>
          </c:spPr>
        </c:majorGridlines>
        <c:numFmt formatCode="General" sourceLinked="1"/>
        <c:majorTickMark val="none"/>
        <c:minorTickMark val="none"/>
        <c:tickLblPos val="none"/>
        <c:spPr>
          <a:ln>
            <a:noFill/>
          </a:ln>
        </c:spPr>
        <c:crossAx val="1938691695"/>
        <c:crosses val="max"/>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E183-E64B-89D8-785738395E03}"/>
              </c:ext>
            </c:extLst>
          </c:dPt>
          <c:dPt>
            <c:idx val="1"/>
            <c:bubble3D val="0"/>
            <c:spPr>
              <a:solidFill>
                <a:schemeClr val="accent2"/>
              </a:solidFill>
              <a:ln>
                <a:noFill/>
              </a:ln>
            </c:spPr>
            <c:extLst>
              <c:ext xmlns:c16="http://schemas.microsoft.com/office/drawing/2014/chart" uri="{C3380CC4-5D6E-409C-BE32-E72D297353CC}">
                <c16:uniqueId val="{00000001-E183-E64B-89D8-785738395E03}"/>
              </c:ext>
            </c:extLst>
          </c:dPt>
          <c:dPt>
            <c:idx val="2"/>
            <c:bubble3D val="0"/>
            <c:spPr>
              <a:solidFill>
                <a:schemeClr val="accent3"/>
              </a:solidFill>
              <a:ln>
                <a:noFill/>
              </a:ln>
            </c:spPr>
            <c:extLst>
              <c:ext xmlns:c16="http://schemas.microsoft.com/office/drawing/2014/chart" uri="{C3380CC4-5D6E-409C-BE32-E72D297353CC}">
                <c16:uniqueId val="{00000002-E183-E64B-89D8-785738395E03}"/>
              </c:ext>
            </c:extLst>
          </c:dPt>
          <c:dPt>
            <c:idx val="3"/>
            <c:bubble3D val="0"/>
            <c:spPr>
              <a:solidFill>
                <a:schemeClr val="accent1"/>
              </a:solidFill>
              <a:ln>
                <a:noFill/>
              </a:ln>
            </c:spPr>
            <c:extLst>
              <c:ext xmlns:c16="http://schemas.microsoft.com/office/drawing/2014/chart" uri="{C3380CC4-5D6E-409C-BE32-E72D297353CC}">
                <c16:uniqueId val="{00000003-E183-E64B-89D8-785738395E03}"/>
              </c:ext>
            </c:extLst>
          </c:dPt>
          <c:val>
            <c:numRef>
              <c:f>Sheet1!$A$1:$A$4</c:f>
              <c:numCache>
                <c:formatCode>General</c:formatCode>
                <c:ptCount val="4"/>
                <c:pt idx="0">
                  <c:v>12</c:v>
                </c:pt>
                <c:pt idx="1">
                  <c:v>37</c:v>
                </c:pt>
                <c:pt idx="2">
                  <c:v>11</c:v>
                </c:pt>
                <c:pt idx="3">
                  <c:v>40</c:v>
                </c:pt>
              </c:numCache>
            </c:numRef>
          </c:val>
          <c:extLst>
            <c:ext xmlns:c16="http://schemas.microsoft.com/office/drawing/2014/chart" uri="{C3380CC4-5D6E-409C-BE32-E72D297353CC}">
              <c16:uniqueId val="{00000004-E183-E64B-89D8-785738395E03}"/>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75BC-E248-AD85-F4B01B52B6E7}"/>
              </c:ext>
            </c:extLst>
          </c:dPt>
          <c:dPt>
            <c:idx val="1"/>
            <c:bubble3D val="0"/>
            <c:spPr>
              <a:solidFill>
                <a:schemeClr val="accent2"/>
              </a:solidFill>
              <a:ln>
                <a:noFill/>
              </a:ln>
            </c:spPr>
            <c:extLst>
              <c:ext xmlns:c16="http://schemas.microsoft.com/office/drawing/2014/chart" uri="{C3380CC4-5D6E-409C-BE32-E72D297353CC}">
                <c16:uniqueId val="{00000001-75BC-E248-AD85-F4B01B52B6E7}"/>
              </c:ext>
            </c:extLst>
          </c:dPt>
          <c:dPt>
            <c:idx val="2"/>
            <c:bubble3D val="0"/>
            <c:spPr>
              <a:solidFill>
                <a:schemeClr val="accent3"/>
              </a:solidFill>
              <a:ln>
                <a:noFill/>
              </a:ln>
            </c:spPr>
            <c:extLst>
              <c:ext xmlns:c16="http://schemas.microsoft.com/office/drawing/2014/chart" uri="{C3380CC4-5D6E-409C-BE32-E72D297353CC}">
                <c16:uniqueId val="{00000002-75BC-E248-AD85-F4B01B52B6E7}"/>
              </c:ext>
            </c:extLst>
          </c:dPt>
          <c:dPt>
            <c:idx val="3"/>
            <c:bubble3D val="0"/>
            <c:spPr>
              <a:solidFill>
                <a:schemeClr val="accent1"/>
              </a:solidFill>
              <a:ln>
                <a:noFill/>
              </a:ln>
            </c:spPr>
            <c:extLst>
              <c:ext xmlns:c16="http://schemas.microsoft.com/office/drawing/2014/chart" uri="{C3380CC4-5D6E-409C-BE32-E72D297353CC}">
                <c16:uniqueId val="{00000003-75BC-E248-AD85-F4B01B52B6E7}"/>
              </c:ext>
            </c:extLst>
          </c:dPt>
          <c:val>
            <c:numRef>
              <c:f>Sheet1!$A$1:$A$4</c:f>
              <c:numCache>
                <c:formatCode>General</c:formatCode>
                <c:ptCount val="4"/>
                <c:pt idx="0">
                  <c:v>12</c:v>
                </c:pt>
                <c:pt idx="1">
                  <c:v>24</c:v>
                </c:pt>
                <c:pt idx="2">
                  <c:v>7.0000000000000009</c:v>
                </c:pt>
                <c:pt idx="3">
                  <c:v>56.999999999999993</c:v>
                </c:pt>
              </c:numCache>
            </c:numRef>
          </c:val>
          <c:extLst>
            <c:ext xmlns:c16="http://schemas.microsoft.com/office/drawing/2014/chart" uri="{C3380CC4-5D6E-409C-BE32-E72D297353CC}">
              <c16:uniqueId val="{00000004-75BC-E248-AD85-F4B01B52B6E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83068783068779E-2"/>
          <c:y val="7.3033707865168537E-2"/>
          <c:w val="0.86243386243386244"/>
          <c:h val="0.8539325842696629"/>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B672-3D42-A613-CC38FCF0EE5E}"/>
              </c:ext>
            </c:extLst>
          </c:dPt>
          <c:dPt>
            <c:idx val="1"/>
            <c:bubble3D val="0"/>
            <c:spPr>
              <a:solidFill>
                <a:schemeClr val="accent2"/>
              </a:solidFill>
              <a:ln>
                <a:noFill/>
              </a:ln>
            </c:spPr>
            <c:extLst>
              <c:ext xmlns:c16="http://schemas.microsoft.com/office/drawing/2014/chart" uri="{C3380CC4-5D6E-409C-BE32-E72D297353CC}">
                <c16:uniqueId val="{00000001-B672-3D42-A613-CC38FCF0EE5E}"/>
              </c:ext>
            </c:extLst>
          </c:dPt>
          <c:dPt>
            <c:idx val="2"/>
            <c:bubble3D val="0"/>
            <c:spPr>
              <a:solidFill>
                <a:schemeClr val="accent3"/>
              </a:solidFill>
              <a:ln>
                <a:noFill/>
              </a:ln>
            </c:spPr>
            <c:extLst>
              <c:ext xmlns:c16="http://schemas.microsoft.com/office/drawing/2014/chart" uri="{C3380CC4-5D6E-409C-BE32-E72D297353CC}">
                <c16:uniqueId val="{00000002-B672-3D42-A613-CC38FCF0EE5E}"/>
              </c:ext>
            </c:extLst>
          </c:dPt>
          <c:dPt>
            <c:idx val="3"/>
            <c:bubble3D val="0"/>
            <c:spPr>
              <a:solidFill>
                <a:schemeClr val="accent1"/>
              </a:solidFill>
              <a:ln>
                <a:noFill/>
              </a:ln>
            </c:spPr>
            <c:extLst>
              <c:ext xmlns:c16="http://schemas.microsoft.com/office/drawing/2014/chart" uri="{C3380CC4-5D6E-409C-BE32-E72D297353CC}">
                <c16:uniqueId val="{00000003-B672-3D42-A613-CC38FCF0EE5E}"/>
              </c:ext>
            </c:extLst>
          </c:dPt>
          <c:val>
            <c:numRef>
              <c:f>Sheet1!$A$1:$A$4</c:f>
              <c:numCache>
                <c:formatCode>General</c:formatCode>
                <c:ptCount val="4"/>
                <c:pt idx="0">
                  <c:v>6</c:v>
                </c:pt>
                <c:pt idx="1">
                  <c:v>18</c:v>
                </c:pt>
                <c:pt idx="2">
                  <c:v>11</c:v>
                </c:pt>
                <c:pt idx="3">
                  <c:v>65</c:v>
                </c:pt>
              </c:numCache>
            </c:numRef>
          </c:val>
          <c:extLst>
            <c:ext xmlns:c16="http://schemas.microsoft.com/office/drawing/2014/chart" uri="{C3380CC4-5D6E-409C-BE32-E72D297353CC}">
              <c16:uniqueId val="{00000004-B672-3D42-A613-CC38FCF0EE5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72799127827746E-2"/>
          <c:y val="3.4098360655737708E-2"/>
          <c:w val="0.97165440174434448"/>
          <c:h val="0.93180327868852464"/>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C7D6-FF49-884A-506ACFBDE5DB}"/>
              </c:ext>
            </c:extLst>
          </c:dPt>
          <c:dPt>
            <c:idx val="6"/>
            <c:invertIfNegative val="0"/>
            <c:bubble3D val="0"/>
            <c:spPr>
              <a:solidFill>
                <a:schemeClr val="accent3"/>
              </a:solidFill>
              <a:ln>
                <a:noFill/>
              </a:ln>
            </c:spPr>
            <c:extLst>
              <c:ext xmlns:c16="http://schemas.microsoft.com/office/drawing/2014/chart" uri="{C3380CC4-5D6E-409C-BE32-E72D297353CC}">
                <c16:uniqueId val="{00000001-C7D6-FF49-884A-506ACFBDE5DB}"/>
              </c:ext>
            </c:extLst>
          </c:dPt>
          <c:val>
            <c:numRef>
              <c:f>Sheet1!$A$1:$G$1</c:f>
              <c:numCache>
                <c:formatCode>General</c:formatCode>
                <c:ptCount val="7"/>
                <c:pt idx="0">
                  <c:v>100</c:v>
                </c:pt>
                <c:pt idx="1">
                  <c:v>58.129999999999995</c:v>
                </c:pt>
                <c:pt idx="2">
                  <c:v>32.059999999999995</c:v>
                </c:pt>
                <c:pt idx="3">
                  <c:v>24.949999999999996</c:v>
                </c:pt>
                <c:pt idx="4">
                  <c:v>21.79</c:v>
                </c:pt>
                <c:pt idx="5">
                  <c:v>21</c:v>
                </c:pt>
                <c:pt idx="6">
                  <c:v>21</c:v>
                </c:pt>
              </c:numCache>
            </c:numRef>
          </c:val>
          <c:extLst>
            <c:ext xmlns:c16="http://schemas.microsoft.com/office/drawing/2014/chart" uri="{C3380CC4-5D6E-409C-BE32-E72D297353CC}">
              <c16:uniqueId val="{00000002-C7D6-FF49-884A-506ACFBDE5DB}"/>
            </c:ext>
          </c:extLst>
        </c:ser>
        <c:ser>
          <c:idx val="1"/>
          <c:order val="1"/>
          <c:spPr>
            <a:solidFill>
              <a:schemeClr val="accent2"/>
            </a:solidFill>
            <a:ln>
              <a:noFill/>
            </a:ln>
          </c:spPr>
          <c:invertIfNegative val="0"/>
          <c:val>
            <c:numRef>
              <c:f>Sheet1!$A$2:$G$2</c:f>
              <c:numCache>
                <c:formatCode>General</c:formatCode>
                <c:ptCount val="7"/>
                <c:pt idx="1">
                  <c:v>41.870000000000005</c:v>
                </c:pt>
                <c:pt idx="2">
                  <c:v>26.07</c:v>
                </c:pt>
                <c:pt idx="3">
                  <c:v>7.1099999999999994</c:v>
                </c:pt>
                <c:pt idx="4">
                  <c:v>3.16</c:v>
                </c:pt>
                <c:pt idx="5">
                  <c:v>0.78999999999999915</c:v>
                </c:pt>
              </c:numCache>
            </c:numRef>
          </c:val>
          <c:extLst>
            <c:ext xmlns:c16="http://schemas.microsoft.com/office/drawing/2014/chart" uri="{C3380CC4-5D6E-409C-BE32-E72D297353CC}">
              <c16:uniqueId val="{00000003-C7D6-FF49-884A-506ACFBDE5DB}"/>
            </c:ext>
          </c:extLst>
        </c:ser>
        <c:dLbls>
          <c:showLegendKey val="0"/>
          <c:showVal val="0"/>
          <c:showCatName val="0"/>
          <c:showSerName val="0"/>
          <c:showPercent val="0"/>
          <c:showBubbleSize val="0"/>
        </c:dLbls>
        <c:gapWidth val="80"/>
        <c:overlap val="100"/>
        <c:axId val="1656120495"/>
        <c:axId val="1"/>
      </c:barChart>
      <c:catAx>
        <c:axId val="16561204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65612049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99867783164388E-2"/>
          <c:y val="2.1848739495798318E-2"/>
          <c:w val="0.90260026443367125"/>
          <c:h val="0.86092436974789921"/>
        </c:manualLayout>
      </c:layout>
      <c:scatterChart>
        <c:scatterStyle val="lineMarker"/>
        <c:varyColors val="0"/>
        <c:ser>
          <c:idx val="0"/>
          <c:order val="0"/>
          <c:spPr>
            <a:ln w="19050" cmpd="sng" algn="ctr">
              <a:solidFill>
                <a:srgbClr val="004FDD"/>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2:$Y$2</c:f>
              <c:numCache>
                <c:formatCode>General</c:formatCode>
                <c:ptCount val="25"/>
                <c:pt idx="0">
                  <c:v>2793</c:v>
                </c:pt>
                <c:pt idx="1">
                  <c:v>2216</c:v>
                </c:pt>
                <c:pt idx="2">
                  <c:v>2252</c:v>
                </c:pt>
                <c:pt idx="3">
                  <c:v>2133</c:v>
                </c:pt>
                <c:pt idx="4">
                  <c:v>2152</c:v>
                </c:pt>
                <c:pt idx="5">
                  <c:v>2285</c:v>
                </c:pt>
                <c:pt idx="6">
                  <c:v>2274</c:v>
                </c:pt>
                <c:pt idx="7">
                  <c:v>2214</c:v>
                </c:pt>
                <c:pt idx="8">
                  <c:v>2229</c:v>
                </c:pt>
                <c:pt idx="9">
                  <c:v>2382</c:v>
                </c:pt>
                <c:pt idx="10">
                  <c:v>2405</c:v>
                </c:pt>
                <c:pt idx="11">
                  <c:v>2409</c:v>
                </c:pt>
                <c:pt idx="12">
                  <c:v>2592</c:v>
                </c:pt>
                <c:pt idx="13">
                  <c:v>2607</c:v>
                </c:pt>
                <c:pt idx="14">
                  <c:v>2514</c:v>
                </c:pt>
                <c:pt idx="15">
                  <c:v>2542</c:v>
                </c:pt>
                <c:pt idx="16">
                  <c:v>2517</c:v>
                </c:pt>
                <c:pt idx="17">
                  <c:v>2483.3000000000002</c:v>
                </c:pt>
                <c:pt idx="18">
                  <c:v>2444.3000000000002</c:v>
                </c:pt>
                <c:pt idx="19">
                  <c:v>2555.4</c:v>
                </c:pt>
                <c:pt idx="20">
                  <c:v>2571.9</c:v>
                </c:pt>
                <c:pt idx="21">
                  <c:v>2596.6999999999998</c:v>
                </c:pt>
                <c:pt idx="22">
                  <c:v>2648.6</c:v>
                </c:pt>
                <c:pt idx="23">
                  <c:v>2695.8</c:v>
                </c:pt>
                <c:pt idx="24">
                  <c:v>2725</c:v>
                </c:pt>
              </c:numCache>
            </c:numRef>
          </c:yVal>
          <c:smooth val="0"/>
          <c:extLst>
            <c:ext xmlns:c16="http://schemas.microsoft.com/office/drawing/2014/chart" uri="{C3380CC4-5D6E-409C-BE32-E72D297353CC}">
              <c16:uniqueId val="{00000000-8371-BA45-A3CD-77D66208F4A0}"/>
            </c:ext>
          </c:extLst>
        </c:ser>
        <c:ser>
          <c:idx val="1"/>
          <c:order val="1"/>
          <c:spPr>
            <a:ln w="19050" cmpd="sng" algn="ctr">
              <a:solidFill>
                <a:schemeClr val="accent5"/>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3:$Y$3</c:f>
              <c:numCache>
                <c:formatCode>General</c:formatCode>
                <c:ptCount val="25"/>
                <c:pt idx="0">
                  <c:v>1846.7</c:v>
                </c:pt>
                <c:pt idx="1">
                  <c:v>1846.7</c:v>
                </c:pt>
                <c:pt idx="2">
                  <c:v>1846.7</c:v>
                </c:pt>
                <c:pt idx="3">
                  <c:v>1846.7</c:v>
                </c:pt>
                <c:pt idx="4">
                  <c:v>1846.7</c:v>
                </c:pt>
                <c:pt idx="5">
                  <c:v>1846.7</c:v>
                </c:pt>
                <c:pt idx="6">
                  <c:v>1846.7</c:v>
                </c:pt>
                <c:pt idx="7">
                  <c:v>1846.7</c:v>
                </c:pt>
                <c:pt idx="8">
                  <c:v>1846.7</c:v>
                </c:pt>
                <c:pt idx="9">
                  <c:v>1846.7</c:v>
                </c:pt>
                <c:pt idx="10">
                  <c:v>1846.7</c:v>
                </c:pt>
                <c:pt idx="11">
                  <c:v>1846.7</c:v>
                </c:pt>
                <c:pt idx="12">
                  <c:v>1846.7</c:v>
                </c:pt>
                <c:pt idx="13">
                  <c:v>1846.7</c:v>
                </c:pt>
                <c:pt idx="14">
                  <c:v>1916.1</c:v>
                </c:pt>
                <c:pt idx="15">
                  <c:v>1916.1</c:v>
                </c:pt>
                <c:pt idx="16">
                  <c:v>1916.1</c:v>
                </c:pt>
                <c:pt idx="17">
                  <c:v>1916.1</c:v>
                </c:pt>
                <c:pt idx="18">
                  <c:v>1928.1</c:v>
                </c:pt>
                <c:pt idx="19">
                  <c:v>1928.1</c:v>
                </c:pt>
                <c:pt idx="20">
                  <c:v>1928.1</c:v>
                </c:pt>
                <c:pt idx="21">
                  <c:v>1928.1</c:v>
                </c:pt>
                <c:pt idx="22">
                  <c:v>1932</c:v>
                </c:pt>
                <c:pt idx="23">
                  <c:v>1951.8</c:v>
                </c:pt>
                <c:pt idx="24">
                  <c:v>1951.8</c:v>
                </c:pt>
              </c:numCache>
            </c:numRef>
          </c:yVal>
          <c:smooth val="0"/>
          <c:extLst>
            <c:ext xmlns:c16="http://schemas.microsoft.com/office/drawing/2014/chart" uri="{C3380CC4-5D6E-409C-BE32-E72D297353CC}">
              <c16:uniqueId val="{00000001-8371-BA45-A3CD-77D66208F4A0}"/>
            </c:ext>
          </c:extLst>
        </c:ser>
        <c:ser>
          <c:idx val="2"/>
          <c:order val="2"/>
          <c:spPr>
            <a:ln w="19050" cmpd="sng" algn="ctr">
              <a:solidFill>
                <a:srgbClr val="6BCCF5"/>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4:$Y$4</c:f>
              <c:numCache>
                <c:formatCode>General</c:formatCode>
                <c:ptCount val="25"/>
                <c:pt idx="0">
                  <c:v>525</c:v>
                </c:pt>
                <c:pt idx="1">
                  <c:v>785</c:v>
                </c:pt>
                <c:pt idx="2">
                  <c:v>785</c:v>
                </c:pt>
                <c:pt idx="3">
                  <c:v>805</c:v>
                </c:pt>
                <c:pt idx="4">
                  <c:v>820</c:v>
                </c:pt>
                <c:pt idx="5">
                  <c:v>850</c:v>
                </c:pt>
                <c:pt idx="6">
                  <c:v>850</c:v>
                </c:pt>
                <c:pt idx="7">
                  <c:v>980</c:v>
                </c:pt>
                <c:pt idx="8">
                  <c:v>1052</c:v>
                </c:pt>
                <c:pt idx="9">
                  <c:v>1189</c:v>
                </c:pt>
                <c:pt idx="10">
                  <c:v>1189</c:v>
                </c:pt>
                <c:pt idx="11">
                  <c:v>1226</c:v>
                </c:pt>
                <c:pt idx="12">
                  <c:v>1336</c:v>
                </c:pt>
                <c:pt idx="13">
                  <c:v>1343.5</c:v>
                </c:pt>
                <c:pt idx="14">
                  <c:v>1403.5</c:v>
                </c:pt>
                <c:pt idx="15">
                  <c:v>1438.3</c:v>
                </c:pt>
                <c:pt idx="16">
                  <c:v>1533.3</c:v>
                </c:pt>
                <c:pt idx="17">
                  <c:v>1808.3</c:v>
                </c:pt>
                <c:pt idx="18">
                  <c:v>1948.3</c:v>
                </c:pt>
                <c:pt idx="19">
                  <c:v>2130.6999999999998</c:v>
                </c:pt>
                <c:pt idx="20">
                  <c:v>2130.6999999999998</c:v>
                </c:pt>
                <c:pt idx="21">
                  <c:v>2286.0500000000002</c:v>
                </c:pt>
                <c:pt idx="22">
                  <c:v>2360.33</c:v>
                </c:pt>
                <c:pt idx="23">
                  <c:v>2597.5100000000002</c:v>
                </c:pt>
                <c:pt idx="24">
                  <c:v>2638.8</c:v>
                </c:pt>
              </c:numCache>
            </c:numRef>
          </c:yVal>
          <c:smooth val="0"/>
          <c:extLst>
            <c:ext xmlns:c16="http://schemas.microsoft.com/office/drawing/2014/chart" uri="{C3380CC4-5D6E-409C-BE32-E72D297353CC}">
              <c16:uniqueId val="{00000002-8371-BA45-A3CD-77D66208F4A0}"/>
            </c:ext>
          </c:extLst>
        </c:ser>
        <c:ser>
          <c:idx val="3"/>
          <c:order val="3"/>
          <c:spPr>
            <a:ln w="19050" cmpd="sng" algn="ctr">
              <a:solidFill>
                <a:schemeClr val="tx2"/>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5:$Y$5</c:f>
              <c:numCache>
                <c:formatCode>General</c:formatCode>
                <c:ptCount val="25"/>
                <c:pt idx="0">
                  <c:v>843</c:v>
                </c:pt>
                <c:pt idx="1">
                  <c:v>843</c:v>
                </c:pt>
                <c:pt idx="2">
                  <c:v>853</c:v>
                </c:pt>
                <c:pt idx="3">
                  <c:v>953</c:v>
                </c:pt>
                <c:pt idx="4">
                  <c:v>953</c:v>
                </c:pt>
                <c:pt idx="5">
                  <c:v>953</c:v>
                </c:pt>
                <c:pt idx="6">
                  <c:v>953</c:v>
                </c:pt>
                <c:pt idx="7">
                  <c:v>958</c:v>
                </c:pt>
                <c:pt idx="8">
                  <c:v>958</c:v>
                </c:pt>
                <c:pt idx="9">
                  <c:v>958</c:v>
                </c:pt>
                <c:pt idx="10">
                  <c:v>883</c:v>
                </c:pt>
                <c:pt idx="11">
                  <c:v>808</c:v>
                </c:pt>
                <c:pt idx="12">
                  <c:v>833</c:v>
                </c:pt>
                <c:pt idx="13">
                  <c:v>858</c:v>
                </c:pt>
                <c:pt idx="14">
                  <c:v>868</c:v>
                </c:pt>
                <c:pt idx="15">
                  <c:v>898</c:v>
                </c:pt>
                <c:pt idx="16">
                  <c:v>923.5</c:v>
                </c:pt>
                <c:pt idx="17">
                  <c:v>948.5</c:v>
                </c:pt>
                <c:pt idx="18">
                  <c:v>948.5</c:v>
                </c:pt>
                <c:pt idx="19">
                  <c:v>973.5</c:v>
                </c:pt>
                <c:pt idx="20">
                  <c:v>973.5</c:v>
                </c:pt>
                <c:pt idx="21">
                  <c:v>998.5</c:v>
                </c:pt>
                <c:pt idx="22">
                  <c:v>998.5</c:v>
                </c:pt>
                <c:pt idx="23">
                  <c:v>998.5</c:v>
                </c:pt>
                <c:pt idx="24">
                  <c:v>998.5</c:v>
                </c:pt>
              </c:numCache>
            </c:numRef>
          </c:yVal>
          <c:smooth val="0"/>
          <c:extLst>
            <c:ext xmlns:c16="http://schemas.microsoft.com/office/drawing/2014/chart" uri="{C3380CC4-5D6E-409C-BE32-E72D297353CC}">
              <c16:uniqueId val="{00000003-8371-BA45-A3CD-77D66208F4A0}"/>
            </c:ext>
          </c:extLst>
        </c:ser>
        <c:ser>
          <c:idx val="4"/>
          <c:order val="4"/>
          <c:spPr>
            <a:ln w="19050" cmpd="sng" algn="ctr">
              <a:solidFill>
                <a:schemeClr val="tx2"/>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6:$Y$6</c:f>
              <c:numCache>
                <c:formatCode>General</c:formatCode>
                <c:ptCount val="25"/>
                <c:pt idx="0">
                  <c:v>418</c:v>
                </c:pt>
                <c:pt idx="1">
                  <c:v>417</c:v>
                </c:pt>
                <c:pt idx="2">
                  <c:v>372</c:v>
                </c:pt>
                <c:pt idx="3">
                  <c:v>382</c:v>
                </c:pt>
                <c:pt idx="4">
                  <c:v>382</c:v>
                </c:pt>
                <c:pt idx="5">
                  <c:v>437</c:v>
                </c:pt>
                <c:pt idx="6">
                  <c:v>437</c:v>
                </c:pt>
                <c:pt idx="7">
                  <c:v>456</c:v>
                </c:pt>
                <c:pt idx="8">
                  <c:v>578</c:v>
                </c:pt>
                <c:pt idx="9">
                  <c:v>617</c:v>
                </c:pt>
                <c:pt idx="10">
                  <c:v>742</c:v>
                </c:pt>
                <c:pt idx="11">
                  <c:v>742</c:v>
                </c:pt>
                <c:pt idx="12">
                  <c:v>768</c:v>
                </c:pt>
                <c:pt idx="13">
                  <c:v>840</c:v>
                </c:pt>
                <c:pt idx="14">
                  <c:v>966</c:v>
                </c:pt>
                <c:pt idx="15">
                  <c:v>990</c:v>
                </c:pt>
                <c:pt idx="16">
                  <c:v>985</c:v>
                </c:pt>
                <c:pt idx="17">
                  <c:v>985</c:v>
                </c:pt>
                <c:pt idx="18">
                  <c:v>1009</c:v>
                </c:pt>
                <c:pt idx="19">
                  <c:v>1009</c:v>
                </c:pt>
                <c:pt idx="20">
                  <c:v>1043</c:v>
                </c:pt>
                <c:pt idx="21">
                  <c:v>1043</c:v>
                </c:pt>
                <c:pt idx="22">
                  <c:v>1050</c:v>
                </c:pt>
                <c:pt idx="23">
                  <c:v>1050</c:v>
                </c:pt>
                <c:pt idx="24">
                  <c:v>1275.4000000000001</c:v>
                </c:pt>
              </c:numCache>
            </c:numRef>
          </c:yVal>
          <c:smooth val="0"/>
          <c:extLst>
            <c:ext xmlns:c16="http://schemas.microsoft.com/office/drawing/2014/chart" uri="{C3380CC4-5D6E-409C-BE32-E72D297353CC}">
              <c16:uniqueId val="{00000004-8371-BA45-A3CD-77D66208F4A0}"/>
            </c:ext>
          </c:extLst>
        </c:ser>
        <c:ser>
          <c:idx val="5"/>
          <c:order val="5"/>
          <c:spPr>
            <a:ln w="19050" cmpd="sng" algn="ctr">
              <a:solidFill>
                <a:schemeClr val="tx2"/>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7:$Y$7</c:f>
              <c:numCache>
                <c:formatCode>General</c:formatCode>
                <c:ptCount val="25"/>
                <c:pt idx="0">
                  <c:v>590</c:v>
                </c:pt>
                <c:pt idx="1">
                  <c:v>573</c:v>
                </c:pt>
                <c:pt idx="2">
                  <c:v>666</c:v>
                </c:pt>
                <c:pt idx="3">
                  <c:v>707</c:v>
                </c:pt>
                <c:pt idx="4">
                  <c:v>642</c:v>
                </c:pt>
                <c:pt idx="5">
                  <c:v>671</c:v>
                </c:pt>
                <c:pt idx="6">
                  <c:v>671</c:v>
                </c:pt>
                <c:pt idx="7">
                  <c:v>671</c:v>
                </c:pt>
                <c:pt idx="8">
                  <c:v>671</c:v>
                </c:pt>
                <c:pt idx="9">
                  <c:v>695</c:v>
                </c:pt>
                <c:pt idx="10">
                  <c:v>728</c:v>
                </c:pt>
                <c:pt idx="11">
                  <c:v>728</c:v>
                </c:pt>
                <c:pt idx="12">
                  <c:v>728</c:v>
                </c:pt>
                <c:pt idx="13">
                  <c:v>729</c:v>
                </c:pt>
                <c:pt idx="14">
                  <c:v>768</c:v>
                </c:pt>
                <c:pt idx="15">
                  <c:v>768</c:v>
                </c:pt>
                <c:pt idx="16">
                  <c:v>767</c:v>
                </c:pt>
                <c:pt idx="17">
                  <c:v>767.19</c:v>
                </c:pt>
                <c:pt idx="18">
                  <c:v>767.19</c:v>
                </c:pt>
                <c:pt idx="19">
                  <c:v>767.19</c:v>
                </c:pt>
                <c:pt idx="20">
                  <c:v>771.79</c:v>
                </c:pt>
                <c:pt idx="21">
                  <c:v>771.79</c:v>
                </c:pt>
                <c:pt idx="22">
                  <c:v>771.79</c:v>
                </c:pt>
                <c:pt idx="23">
                  <c:v>771.79</c:v>
                </c:pt>
                <c:pt idx="24">
                  <c:v>771.79</c:v>
                </c:pt>
              </c:numCache>
            </c:numRef>
          </c:yVal>
          <c:smooth val="0"/>
          <c:extLst>
            <c:ext xmlns:c16="http://schemas.microsoft.com/office/drawing/2014/chart" uri="{C3380CC4-5D6E-409C-BE32-E72D297353CC}">
              <c16:uniqueId val="{00000005-8371-BA45-A3CD-77D66208F4A0}"/>
            </c:ext>
          </c:extLst>
        </c:ser>
        <c:ser>
          <c:idx val="6"/>
          <c:order val="6"/>
          <c:spPr>
            <a:ln w="28575" cmpd="sng" algn="ctr">
              <a:solidFill>
                <a:schemeClr val="accent1"/>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8:$Y$8</c:f>
              <c:numCache>
                <c:formatCode>General</c:formatCode>
                <c:ptCount val="25"/>
                <c:pt idx="0">
                  <c:v>18</c:v>
                </c:pt>
                <c:pt idx="1">
                  <c:v>18</c:v>
                </c:pt>
                <c:pt idx="2">
                  <c:v>18</c:v>
                </c:pt>
                <c:pt idx="3">
                  <c:v>15</c:v>
                </c:pt>
                <c:pt idx="4">
                  <c:v>15</c:v>
                </c:pt>
                <c:pt idx="5">
                  <c:v>15</c:v>
                </c:pt>
                <c:pt idx="6">
                  <c:v>23</c:v>
                </c:pt>
                <c:pt idx="7">
                  <c:v>23</c:v>
                </c:pt>
                <c:pt idx="8">
                  <c:v>30</c:v>
                </c:pt>
                <c:pt idx="9">
                  <c:v>77</c:v>
                </c:pt>
                <c:pt idx="10">
                  <c:v>94</c:v>
                </c:pt>
                <c:pt idx="11">
                  <c:v>114</c:v>
                </c:pt>
                <c:pt idx="12">
                  <c:v>162</c:v>
                </c:pt>
                <c:pt idx="13">
                  <c:v>311</c:v>
                </c:pt>
                <c:pt idx="14">
                  <c:v>405</c:v>
                </c:pt>
                <c:pt idx="15">
                  <c:v>624</c:v>
                </c:pt>
                <c:pt idx="16">
                  <c:v>821</c:v>
                </c:pt>
                <c:pt idx="17">
                  <c:v>1063.7</c:v>
                </c:pt>
                <c:pt idx="18">
                  <c:v>1282.518</c:v>
                </c:pt>
                <c:pt idx="19">
                  <c:v>1514.6880000000001</c:v>
                </c:pt>
                <c:pt idx="20">
                  <c:v>1613.1880000000001</c:v>
                </c:pt>
                <c:pt idx="21">
                  <c:v>1676.17</c:v>
                </c:pt>
                <c:pt idx="22">
                  <c:v>1691.338</c:v>
                </c:pt>
                <c:pt idx="23">
                  <c:v>1691.338</c:v>
                </c:pt>
                <c:pt idx="24">
                  <c:v>1734.338</c:v>
                </c:pt>
              </c:numCache>
            </c:numRef>
          </c:yVal>
          <c:smooth val="0"/>
          <c:extLst>
            <c:ext xmlns:c16="http://schemas.microsoft.com/office/drawing/2014/chart" uri="{C3380CC4-5D6E-409C-BE32-E72D297353CC}">
              <c16:uniqueId val="{00000006-8371-BA45-A3CD-77D66208F4A0}"/>
            </c:ext>
          </c:extLst>
        </c:ser>
        <c:ser>
          <c:idx val="7"/>
          <c:order val="7"/>
          <c:spPr>
            <a:ln w="28575" cmpd="sng" algn="ctr">
              <a:solidFill>
                <a:srgbClr val="FDDB0D"/>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9:$Y$9</c:f>
              <c:numCache>
                <c:formatCode>General</c:formatCode>
                <c:ptCount val="25"/>
                <c:pt idx="0">
                  <c:v>172</c:v>
                </c:pt>
                <c:pt idx="1">
                  <c:v>202</c:v>
                </c:pt>
                <c:pt idx="2">
                  <c:v>202</c:v>
                </c:pt>
                <c:pt idx="3">
                  <c:v>202</c:v>
                </c:pt>
                <c:pt idx="4">
                  <c:v>202</c:v>
                </c:pt>
                <c:pt idx="5">
                  <c:v>232</c:v>
                </c:pt>
                <c:pt idx="6">
                  <c:v>422</c:v>
                </c:pt>
                <c:pt idx="7">
                  <c:v>485</c:v>
                </c:pt>
                <c:pt idx="8">
                  <c:v>575</c:v>
                </c:pt>
                <c:pt idx="9">
                  <c:v>575</c:v>
                </c:pt>
                <c:pt idx="10">
                  <c:v>575</c:v>
                </c:pt>
                <c:pt idx="11">
                  <c:v>665</c:v>
                </c:pt>
                <c:pt idx="12">
                  <c:v>665</c:v>
                </c:pt>
                <c:pt idx="13">
                  <c:v>665</c:v>
                </c:pt>
                <c:pt idx="14">
                  <c:v>665</c:v>
                </c:pt>
                <c:pt idx="15">
                  <c:v>665</c:v>
                </c:pt>
                <c:pt idx="16">
                  <c:v>665</c:v>
                </c:pt>
                <c:pt idx="17">
                  <c:v>709.95799999999997</c:v>
                </c:pt>
                <c:pt idx="18">
                  <c:v>755.55799999999999</c:v>
                </c:pt>
                <c:pt idx="19">
                  <c:v>755.55799999999999</c:v>
                </c:pt>
                <c:pt idx="20">
                  <c:v>756.15800000000002</c:v>
                </c:pt>
                <c:pt idx="21">
                  <c:v>756.20799999999997</c:v>
                </c:pt>
                <c:pt idx="22">
                  <c:v>757.58</c:v>
                </c:pt>
                <c:pt idx="23">
                  <c:v>787.58</c:v>
                </c:pt>
                <c:pt idx="24">
                  <c:v>787.58</c:v>
                </c:pt>
              </c:numCache>
            </c:numRef>
          </c:yVal>
          <c:smooth val="0"/>
          <c:extLst>
            <c:ext xmlns:c16="http://schemas.microsoft.com/office/drawing/2014/chart" uri="{C3380CC4-5D6E-409C-BE32-E72D297353CC}">
              <c16:uniqueId val="{00000007-8371-BA45-A3CD-77D66208F4A0}"/>
            </c:ext>
          </c:extLst>
        </c:ser>
        <c:ser>
          <c:idx val="8"/>
          <c:order val="8"/>
          <c:spPr>
            <a:ln w="28575" cmpd="sng" algn="ctr">
              <a:solidFill>
                <a:schemeClr val="tx2"/>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10:$Y$10</c:f>
              <c:numCache>
                <c:formatCode>General</c:formatCode>
                <c:ptCount val="25"/>
                <c:pt idx="0">
                  <c:v>533</c:v>
                </c:pt>
                <c:pt idx="1">
                  <c:v>533</c:v>
                </c:pt>
                <c:pt idx="2">
                  <c:v>533</c:v>
                </c:pt>
                <c:pt idx="3">
                  <c:v>535</c:v>
                </c:pt>
                <c:pt idx="4">
                  <c:v>535</c:v>
                </c:pt>
                <c:pt idx="5">
                  <c:v>535</c:v>
                </c:pt>
                <c:pt idx="6">
                  <c:v>532</c:v>
                </c:pt>
                <c:pt idx="7">
                  <c:v>532</c:v>
                </c:pt>
                <c:pt idx="8">
                  <c:v>532</c:v>
                </c:pt>
                <c:pt idx="9">
                  <c:v>535</c:v>
                </c:pt>
                <c:pt idx="10">
                  <c:v>537</c:v>
                </c:pt>
                <c:pt idx="11">
                  <c:v>537</c:v>
                </c:pt>
                <c:pt idx="12">
                  <c:v>512</c:v>
                </c:pt>
                <c:pt idx="13">
                  <c:v>512</c:v>
                </c:pt>
                <c:pt idx="14">
                  <c:v>508</c:v>
                </c:pt>
                <c:pt idx="15">
                  <c:v>516</c:v>
                </c:pt>
                <c:pt idx="16">
                  <c:v>526</c:v>
                </c:pt>
                <c:pt idx="17">
                  <c:v>471.36599999999999</c:v>
                </c:pt>
                <c:pt idx="18">
                  <c:v>473.11500000000001</c:v>
                </c:pt>
                <c:pt idx="19">
                  <c:v>480.714</c:v>
                </c:pt>
                <c:pt idx="20">
                  <c:v>487.00400000000002</c:v>
                </c:pt>
                <c:pt idx="21">
                  <c:v>486.81400000000002</c:v>
                </c:pt>
                <c:pt idx="22">
                  <c:v>436.81400000000002</c:v>
                </c:pt>
                <c:pt idx="23">
                  <c:v>456.05399999999997</c:v>
                </c:pt>
                <c:pt idx="24">
                  <c:v>489.05399999999997</c:v>
                </c:pt>
              </c:numCache>
            </c:numRef>
          </c:yVal>
          <c:smooth val="0"/>
          <c:extLst>
            <c:ext xmlns:c16="http://schemas.microsoft.com/office/drawing/2014/chart" uri="{C3380CC4-5D6E-409C-BE32-E72D297353CC}">
              <c16:uniqueId val="{00000008-8371-BA45-A3CD-77D66208F4A0}"/>
            </c:ext>
          </c:extLst>
        </c:ser>
        <c:ser>
          <c:idx val="9"/>
          <c:order val="9"/>
          <c:spPr>
            <a:ln w="28575" cmpd="sng" algn="ctr">
              <a:solidFill>
                <a:srgbClr val="FF8200"/>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11:$Y$11</c:f>
              <c:numCache>
                <c:formatCode>General</c:formatCode>
                <c:ptCount val="25"/>
                <c:pt idx="0">
                  <c:v>58</c:v>
                </c:pt>
                <c:pt idx="1">
                  <c:v>58</c:v>
                </c:pt>
                <c:pt idx="2">
                  <c:v>58</c:v>
                </c:pt>
                <c:pt idx="3">
                  <c:v>58</c:v>
                </c:pt>
                <c:pt idx="4">
                  <c:v>128</c:v>
                </c:pt>
                <c:pt idx="5">
                  <c:v>128</c:v>
                </c:pt>
                <c:pt idx="6">
                  <c:v>128</c:v>
                </c:pt>
                <c:pt idx="7">
                  <c:v>128</c:v>
                </c:pt>
                <c:pt idx="8">
                  <c:v>128</c:v>
                </c:pt>
                <c:pt idx="9">
                  <c:v>163</c:v>
                </c:pt>
                <c:pt idx="10">
                  <c:v>198</c:v>
                </c:pt>
                <c:pt idx="11">
                  <c:v>198</c:v>
                </c:pt>
                <c:pt idx="12">
                  <c:v>205.5</c:v>
                </c:pt>
                <c:pt idx="13">
                  <c:v>205.5</c:v>
                </c:pt>
                <c:pt idx="14">
                  <c:v>366.1</c:v>
                </c:pt>
                <c:pt idx="15">
                  <c:v>618.9</c:v>
                </c:pt>
                <c:pt idx="16">
                  <c:v>652.9</c:v>
                </c:pt>
                <c:pt idx="17">
                  <c:v>672.9</c:v>
                </c:pt>
                <c:pt idx="18">
                  <c:v>683.8</c:v>
                </c:pt>
                <c:pt idx="19">
                  <c:v>683.8</c:v>
                </c:pt>
                <c:pt idx="20">
                  <c:v>863.13</c:v>
                </c:pt>
                <c:pt idx="21">
                  <c:v>863.13</c:v>
                </c:pt>
                <c:pt idx="22">
                  <c:v>949.73</c:v>
                </c:pt>
                <c:pt idx="23">
                  <c:v>984.73</c:v>
                </c:pt>
                <c:pt idx="24">
                  <c:v>939.73</c:v>
                </c:pt>
              </c:numCache>
            </c:numRef>
          </c:yVal>
          <c:smooth val="0"/>
          <c:extLst>
            <c:ext xmlns:c16="http://schemas.microsoft.com/office/drawing/2014/chart" uri="{C3380CC4-5D6E-409C-BE32-E72D297353CC}">
              <c16:uniqueId val="{00000009-8371-BA45-A3CD-77D66208F4A0}"/>
            </c:ext>
          </c:extLst>
        </c:ser>
        <c:ser>
          <c:idx val="10"/>
          <c:order val="10"/>
          <c:spPr>
            <a:ln w="28575" cmpd="sng" algn="ctr">
              <a:solidFill>
                <a:schemeClr val="tx2"/>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12:$Y$12</c:f>
              <c:numCache>
                <c:formatCode>General</c:formatCode>
                <c:ptCount val="25"/>
                <c:pt idx="0">
                  <c:v>476</c:v>
                </c:pt>
                <c:pt idx="1">
                  <c:v>469</c:v>
                </c:pt>
                <c:pt idx="2">
                  <c:v>527.5</c:v>
                </c:pt>
                <c:pt idx="3">
                  <c:v>551.4</c:v>
                </c:pt>
                <c:pt idx="4">
                  <c:v>533.1</c:v>
                </c:pt>
                <c:pt idx="5">
                  <c:v>603.11599999999999</c:v>
                </c:pt>
                <c:pt idx="6">
                  <c:v>622.01599999999996</c:v>
                </c:pt>
                <c:pt idx="7">
                  <c:v>719.03599999999994</c:v>
                </c:pt>
                <c:pt idx="8">
                  <c:v>719.31600000000003</c:v>
                </c:pt>
                <c:pt idx="9">
                  <c:v>716.71600000000001</c:v>
                </c:pt>
                <c:pt idx="10">
                  <c:v>717.01599999999996</c:v>
                </c:pt>
                <c:pt idx="11">
                  <c:v>784.76599999999996</c:v>
                </c:pt>
                <c:pt idx="12">
                  <c:v>869.36599999999999</c:v>
                </c:pt>
                <c:pt idx="13">
                  <c:v>868.66600000000005</c:v>
                </c:pt>
                <c:pt idx="14">
                  <c:v>864.71600000000001</c:v>
                </c:pt>
                <c:pt idx="15">
                  <c:v>867.16600000000005</c:v>
                </c:pt>
                <c:pt idx="16">
                  <c:v>862.57399999999996</c:v>
                </c:pt>
                <c:pt idx="17">
                  <c:v>927.66499999999996</c:v>
                </c:pt>
                <c:pt idx="18">
                  <c:v>956.09500000000003</c:v>
                </c:pt>
                <c:pt idx="19">
                  <c:v>1025.105</c:v>
                </c:pt>
                <c:pt idx="20">
                  <c:v>1026.3050000000001</c:v>
                </c:pt>
                <c:pt idx="21">
                  <c:v>1044.52</c:v>
                </c:pt>
                <c:pt idx="22">
                  <c:v>1098.9590000000001</c:v>
                </c:pt>
                <c:pt idx="23">
                  <c:v>1106.4190000000001</c:v>
                </c:pt>
                <c:pt idx="24">
                  <c:v>1099.6189999999999</c:v>
                </c:pt>
              </c:numCache>
            </c:numRef>
          </c:yVal>
          <c:smooth val="0"/>
          <c:extLst>
            <c:ext xmlns:c16="http://schemas.microsoft.com/office/drawing/2014/chart" uri="{C3380CC4-5D6E-409C-BE32-E72D297353CC}">
              <c16:uniqueId val="{0000000A-8371-BA45-A3CD-77D66208F4A0}"/>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2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2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181102362204724E-2"/>
          <c:y val="6.2308029837648091E-2"/>
          <c:w val="0.80708661417322836"/>
          <c:h val="0.87538394032470379"/>
        </c:manualLayout>
      </c:layout>
      <c:barChart>
        <c:barDir val="bar"/>
        <c:grouping val="stacked"/>
        <c:varyColors val="0"/>
        <c:ser>
          <c:idx val="0"/>
          <c:order val="0"/>
          <c:spPr>
            <a:solidFill>
              <a:schemeClr val="accent1"/>
            </a:solidFill>
            <a:ln>
              <a:noFill/>
            </a:ln>
          </c:spPr>
          <c:invertIfNegative val="0"/>
          <c:dLbls>
            <c:dLbl>
              <c:idx val="0"/>
              <c:layout>
                <c:manualLayout>
                  <c:x val="0.47342519685039369"/>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A2-704F-9310-704742E065FC}"/>
                </c:ext>
              </c:extLst>
            </c:dLbl>
            <c:dLbl>
              <c:idx val="1"/>
              <c:layout>
                <c:manualLayout>
                  <c:x val="0.42125984251968501"/>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A2-704F-9310-704742E065FC}"/>
                </c:ext>
              </c:extLst>
            </c:dLbl>
            <c:dLbl>
              <c:idx val="2"/>
              <c:layout>
                <c:manualLayout>
                  <c:x val="0.3671259842519685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A2-704F-9310-704742E065FC}"/>
                </c:ext>
              </c:extLst>
            </c:dLbl>
            <c:dLbl>
              <c:idx val="3"/>
              <c:layout>
                <c:manualLayout>
                  <c:x val="0.36318897637795278"/>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A2-704F-9310-704742E065FC}"/>
                </c:ext>
              </c:extLst>
            </c:dLbl>
            <c:dLbl>
              <c:idx val="4"/>
              <c:layout>
                <c:manualLayout>
                  <c:x val="0.34547244094488189"/>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A2-704F-9310-704742E065FC}"/>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A2-704F-9310-704742E065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4.4</c:v>
                </c:pt>
                <c:pt idx="1">
                  <c:v>38.6</c:v>
                </c:pt>
                <c:pt idx="2">
                  <c:v>32.700000000000003</c:v>
                </c:pt>
                <c:pt idx="3">
                  <c:v>32.200000000000003</c:v>
                </c:pt>
                <c:pt idx="4">
                  <c:v>30.4</c:v>
                </c:pt>
                <c:pt idx="5">
                  <c:v>10</c:v>
                </c:pt>
              </c:numCache>
            </c:numRef>
          </c:val>
          <c:extLst>
            <c:ext xmlns:c16="http://schemas.microsoft.com/office/drawing/2014/chart" uri="{C3380CC4-5D6E-409C-BE32-E72D297353CC}">
              <c16:uniqueId val="{00000006-C2A2-704F-9310-704742E065FC}"/>
            </c:ext>
          </c:extLst>
        </c:ser>
        <c:ser>
          <c:idx val="1"/>
          <c:order val="1"/>
          <c:spPr>
            <a:noFill/>
            <a:ln>
              <a:noFill/>
            </a:ln>
          </c:spPr>
          <c:invertIfNegative val="0"/>
          <c:dLbls>
            <c:dLbl>
              <c:idx val="5"/>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A2-704F-9310-704742E065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5">
                  <c:v>30</c:v>
                </c:pt>
              </c:numCache>
            </c:numRef>
          </c:val>
          <c:extLst>
            <c:ext xmlns:c16="http://schemas.microsoft.com/office/drawing/2014/chart" uri="{C3380CC4-5D6E-409C-BE32-E72D297353CC}">
              <c16:uniqueId val="{00000008-C2A2-704F-9310-704742E065FC}"/>
            </c:ext>
          </c:extLst>
        </c:ser>
        <c:dLbls>
          <c:showLegendKey val="0"/>
          <c:showVal val="0"/>
          <c:showCatName val="0"/>
          <c:showSerName val="0"/>
          <c:showPercent val="0"/>
          <c:showBubbleSize val="0"/>
        </c:dLbls>
        <c:gapWidth val="80"/>
        <c:overlap val="100"/>
        <c:axId val="199101231"/>
        <c:axId val="1"/>
      </c:barChart>
      <c:catAx>
        <c:axId val="19910123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4.4"/>
          <c:min val="0"/>
        </c:scaling>
        <c:delete val="0"/>
        <c:axPos val="t"/>
        <c:majorGridlines>
          <c:spPr>
            <a:ln>
              <a:noFill/>
            </a:ln>
          </c:spPr>
        </c:majorGridlines>
        <c:numFmt formatCode="General" sourceLinked="1"/>
        <c:majorTickMark val="none"/>
        <c:minorTickMark val="none"/>
        <c:tickLblPos val="none"/>
        <c:spPr>
          <a:ln>
            <a:noFill/>
          </a:ln>
        </c:spPr>
        <c:crossAx val="199101231"/>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18769787426504E-2"/>
          <c:y val="2.1302744776730848E-2"/>
          <c:w val="0.95296246042514698"/>
          <c:h val="0.95739451044653834"/>
        </c:manualLayout>
      </c:layout>
      <c:barChart>
        <c:barDir val="bar"/>
        <c:grouping val="stacked"/>
        <c:varyColors val="0"/>
        <c:ser>
          <c:idx val="0"/>
          <c:order val="0"/>
          <c:spPr>
            <a:solidFill>
              <a:schemeClr val="accent1"/>
            </a:solidFill>
            <a:ln>
              <a:noFill/>
            </a:ln>
          </c:spPr>
          <c:invertIfNegative val="0"/>
          <c:val>
            <c:numRef>
              <c:f>Sheet1!$A$1:$C$1</c:f>
              <c:numCache>
                <c:formatCode>General</c:formatCode>
                <c:ptCount val="3"/>
                <c:pt idx="0">
                  <c:v>201403</c:v>
                </c:pt>
                <c:pt idx="1">
                  <c:v>133145</c:v>
                </c:pt>
                <c:pt idx="2">
                  <c:v>5432.1623223510696</c:v>
                </c:pt>
              </c:numCache>
            </c:numRef>
          </c:val>
          <c:extLst>
            <c:ext xmlns:c16="http://schemas.microsoft.com/office/drawing/2014/chart" uri="{C3380CC4-5D6E-409C-BE32-E72D297353CC}">
              <c16:uniqueId val="{00000000-46FB-F84B-8C24-80D11CAF62C9}"/>
            </c:ext>
          </c:extLst>
        </c:ser>
        <c:ser>
          <c:idx val="1"/>
          <c:order val="1"/>
          <c:spPr>
            <a:noFill/>
            <a:ln>
              <a:noFill/>
            </a:ln>
          </c:spPr>
          <c:invertIfNegative val="0"/>
          <c:val>
            <c:numRef>
              <c:f>Sheet1!$A$2:$C$2</c:f>
              <c:numCache>
                <c:formatCode>General</c:formatCode>
                <c:ptCount val="3"/>
                <c:pt idx="2">
                  <c:v>102574.83767764893</c:v>
                </c:pt>
              </c:numCache>
            </c:numRef>
          </c:val>
          <c:extLst>
            <c:ext xmlns:c16="http://schemas.microsoft.com/office/drawing/2014/chart" uri="{C3380CC4-5D6E-409C-BE32-E72D297353CC}">
              <c16:uniqueId val="{00000001-46FB-F84B-8C24-80D11CAF62C9}"/>
            </c:ext>
          </c:extLst>
        </c:ser>
        <c:dLbls>
          <c:showLegendKey val="0"/>
          <c:showVal val="0"/>
          <c:showCatName val="0"/>
          <c:showSerName val="0"/>
          <c:showPercent val="0"/>
          <c:showBubbleSize val="0"/>
        </c:dLbls>
        <c:gapWidth val="80"/>
        <c:overlap val="100"/>
        <c:axId val="2100379552"/>
        <c:axId val="1"/>
      </c:barChart>
      <c:catAx>
        <c:axId val="21003795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1403"/>
          <c:min val="0"/>
        </c:scaling>
        <c:delete val="0"/>
        <c:axPos val="t"/>
        <c:majorGridlines>
          <c:spPr>
            <a:ln>
              <a:noFill/>
            </a:ln>
          </c:spPr>
        </c:majorGridlines>
        <c:numFmt formatCode="General" sourceLinked="1"/>
        <c:majorTickMark val="none"/>
        <c:minorTickMark val="none"/>
        <c:tickLblPos val="none"/>
        <c:spPr>
          <a:ln>
            <a:noFill/>
          </a:ln>
        </c:spPr>
        <c:crossAx val="210037955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8817413905133E-2"/>
          <c:y val="1.714474118034949E-2"/>
          <c:w val="0.93242365172189734"/>
          <c:h val="0.96571051763930105"/>
        </c:manualLayout>
      </c:layout>
      <c:barChart>
        <c:barDir val="bar"/>
        <c:grouping val="stacked"/>
        <c:varyColors val="0"/>
        <c:ser>
          <c:idx val="0"/>
          <c:order val="0"/>
          <c:spPr>
            <a:noFill/>
            <a:ln>
              <a:noFill/>
            </a:ln>
          </c:spPr>
          <c:invertIfNegative val="0"/>
          <c:dPt>
            <c:idx val="0"/>
            <c:invertIfNegative val="0"/>
            <c:bubble3D val="0"/>
            <c:spPr>
              <a:solidFill>
                <a:srgbClr val="B29DDF"/>
              </a:solidFill>
              <a:ln>
                <a:noFill/>
              </a:ln>
            </c:spPr>
            <c:extLst>
              <c:ext xmlns:c16="http://schemas.microsoft.com/office/drawing/2014/chart" uri="{C3380CC4-5D6E-409C-BE32-E72D297353CC}">
                <c16:uniqueId val="{00000001-5A35-4242-9929-5F50922B52A6}"/>
              </c:ext>
            </c:extLst>
          </c:dPt>
          <c:dPt>
            <c:idx val="3"/>
            <c:invertIfNegative val="0"/>
            <c:bubble3D val="0"/>
            <c:spPr>
              <a:solidFill>
                <a:srgbClr val="B29DDF"/>
              </a:solidFill>
              <a:ln>
                <a:noFill/>
              </a:ln>
            </c:spPr>
            <c:extLst>
              <c:ext xmlns:c16="http://schemas.microsoft.com/office/drawing/2014/chart" uri="{C3380CC4-5D6E-409C-BE32-E72D297353CC}">
                <c16:uniqueId val="{00000003-5A35-4242-9929-5F50922B52A6}"/>
              </c:ext>
            </c:extLst>
          </c:dPt>
          <c:val>
            <c:numRef>
              <c:f>Sheet1!$A$1:$D$1</c:f>
              <c:numCache>
                <c:formatCode>General</c:formatCode>
                <c:ptCount val="4"/>
                <c:pt idx="0">
                  <c:v>3349.5769399999999</c:v>
                </c:pt>
                <c:pt idx="1">
                  <c:v>3349.5769399999999</c:v>
                </c:pt>
                <c:pt idx="2">
                  <c:v>19441.801240000001</c:v>
                </c:pt>
                <c:pt idx="3">
                  <c:v>36660.952403942181</c:v>
                </c:pt>
              </c:numCache>
            </c:numRef>
          </c:val>
          <c:extLst>
            <c:ext xmlns:c16="http://schemas.microsoft.com/office/drawing/2014/chart" uri="{C3380CC4-5D6E-409C-BE32-E72D297353CC}">
              <c16:uniqueId val="{00000004-5A35-4242-9929-5F50922B52A6}"/>
            </c:ext>
          </c:extLst>
        </c:ser>
        <c:ser>
          <c:idx val="1"/>
          <c:order val="1"/>
          <c:spPr>
            <a:solidFill>
              <a:srgbClr val="B29DDF"/>
            </a:solidFill>
            <a:ln>
              <a:noFill/>
            </a:ln>
          </c:spPr>
          <c:invertIfNegative val="0"/>
          <c:val>
            <c:numRef>
              <c:f>Sheet1!$A$2:$D$2</c:f>
              <c:numCache>
                <c:formatCode>General</c:formatCode>
                <c:ptCount val="4"/>
                <c:pt idx="1">
                  <c:v>16092.224300000002</c:v>
                </c:pt>
                <c:pt idx="2">
                  <c:v>17219.151163942181</c:v>
                </c:pt>
              </c:numCache>
            </c:numRef>
          </c:val>
          <c:extLst>
            <c:ext xmlns:c16="http://schemas.microsoft.com/office/drawing/2014/chart" uri="{C3380CC4-5D6E-409C-BE32-E72D297353CC}">
              <c16:uniqueId val="{00000005-5A35-4242-9929-5F50922B52A6}"/>
            </c:ext>
          </c:extLst>
        </c:ser>
        <c:dLbls>
          <c:showLegendKey val="0"/>
          <c:showVal val="0"/>
          <c:showCatName val="0"/>
          <c:showSerName val="0"/>
          <c:showPercent val="0"/>
          <c:showBubbleSize val="0"/>
        </c:dLbls>
        <c:gapWidth val="80"/>
        <c:overlap val="100"/>
        <c:axId val="198776175"/>
        <c:axId val="1"/>
      </c:barChart>
      <c:catAx>
        <c:axId val="1987761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660.952403942181"/>
          <c:min val="0"/>
        </c:scaling>
        <c:delete val="0"/>
        <c:axPos val="t"/>
        <c:majorGridlines>
          <c:spPr>
            <a:ln>
              <a:noFill/>
            </a:ln>
          </c:spPr>
        </c:majorGridlines>
        <c:numFmt formatCode="General" sourceLinked="1"/>
        <c:majorTickMark val="none"/>
        <c:minorTickMark val="none"/>
        <c:tickLblPos val="none"/>
        <c:spPr>
          <a:ln>
            <a:noFill/>
          </a:ln>
        </c:spPr>
        <c:crossAx val="19877617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94684385382059E-2"/>
          <c:y val="2.1035598705501618E-2"/>
          <c:w val="0.95681063122923593"/>
          <c:h val="0.95792880258899671"/>
        </c:manualLayout>
      </c:layout>
      <c:barChart>
        <c:barDir val="col"/>
        <c:grouping val="stacked"/>
        <c:varyColors val="0"/>
        <c:ser>
          <c:idx val="0"/>
          <c:order val="0"/>
          <c:spPr>
            <a:solidFill>
              <a:schemeClr val="accent2"/>
            </a:solidFill>
            <a:ln>
              <a:noFill/>
            </a:ln>
          </c:spPr>
          <c:invertIfNegative val="0"/>
          <c:val>
            <c:numRef>
              <c:f>Sheet1!$A$1:$C$1</c:f>
              <c:numCache>
                <c:formatCode>General</c:formatCode>
                <c:ptCount val="3"/>
                <c:pt idx="0">
                  <c:v>51</c:v>
                </c:pt>
                <c:pt idx="1">
                  <c:v>25.5</c:v>
                </c:pt>
                <c:pt idx="2">
                  <c:v>22.3</c:v>
                </c:pt>
              </c:numCache>
            </c:numRef>
          </c:val>
          <c:extLst>
            <c:ext xmlns:c16="http://schemas.microsoft.com/office/drawing/2014/chart" uri="{C3380CC4-5D6E-409C-BE32-E72D297353CC}">
              <c16:uniqueId val="{00000000-F4D6-F14A-AE5B-58ABC706DA31}"/>
            </c:ext>
          </c:extLst>
        </c:ser>
        <c:ser>
          <c:idx val="1"/>
          <c:order val="1"/>
          <c:spPr>
            <a:solidFill>
              <a:schemeClr val="accent1"/>
            </a:solidFill>
            <a:ln>
              <a:noFill/>
            </a:ln>
          </c:spPr>
          <c:invertIfNegative val="0"/>
          <c:val>
            <c:numRef>
              <c:f>Sheet1!$A$2:$C$2</c:f>
              <c:numCache>
                <c:formatCode>General</c:formatCode>
                <c:ptCount val="3"/>
                <c:pt idx="0">
                  <c:v>59.900000000000006</c:v>
                </c:pt>
                <c:pt idx="1">
                  <c:v>25.5</c:v>
                </c:pt>
                <c:pt idx="2">
                  <c:v>7.5</c:v>
                </c:pt>
              </c:numCache>
            </c:numRef>
          </c:val>
          <c:extLst>
            <c:ext xmlns:c16="http://schemas.microsoft.com/office/drawing/2014/chart" uri="{C3380CC4-5D6E-409C-BE32-E72D297353CC}">
              <c16:uniqueId val="{00000001-F4D6-F14A-AE5B-58ABC706DA31}"/>
            </c:ext>
          </c:extLst>
        </c:ser>
        <c:dLbls>
          <c:showLegendKey val="0"/>
          <c:showVal val="0"/>
          <c:showCatName val="0"/>
          <c:showSerName val="0"/>
          <c:showPercent val="0"/>
          <c:showBubbleSize val="0"/>
        </c:dLbls>
        <c:gapWidth val="80"/>
        <c:overlap val="100"/>
        <c:axId val="2131448832"/>
        <c:axId val="1"/>
      </c:barChart>
      <c:catAx>
        <c:axId val="2131448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9"/>
          <c:min val="0"/>
        </c:scaling>
        <c:delete val="0"/>
        <c:axPos val="l"/>
        <c:majorGridlines>
          <c:spPr>
            <a:ln>
              <a:noFill/>
            </a:ln>
          </c:spPr>
        </c:majorGridlines>
        <c:numFmt formatCode="General" sourceLinked="1"/>
        <c:majorTickMark val="none"/>
        <c:minorTickMark val="none"/>
        <c:tickLblPos val="none"/>
        <c:spPr>
          <a:ln>
            <a:noFill/>
          </a:ln>
        </c:spPr>
        <c:crossAx val="2131448832"/>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03151157065487E-2"/>
          <c:y val="3.1496062992125984E-2"/>
          <c:w val="0.94879369768586908"/>
          <c:h val="0.93700787401574803"/>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0-8DA2-F041-8E54-BFE7F27BAF1E}"/>
              </c:ext>
            </c:extLst>
          </c:dPt>
          <c:val>
            <c:numRef>
              <c:f>Sheet1!$A$1:$B$1</c:f>
              <c:numCache>
                <c:formatCode>General</c:formatCode>
                <c:ptCount val="2"/>
                <c:pt idx="0">
                  <c:v>0.9</c:v>
                </c:pt>
                <c:pt idx="1">
                  <c:v>3</c:v>
                </c:pt>
              </c:numCache>
            </c:numRef>
          </c:val>
          <c:extLst>
            <c:ext xmlns:c16="http://schemas.microsoft.com/office/drawing/2014/chart" uri="{C3380CC4-5D6E-409C-BE32-E72D297353CC}">
              <c16:uniqueId val="{00000001-8DA2-F041-8E54-BFE7F27BAF1E}"/>
            </c:ext>
          </c:extLst>
        </c:ser>
        <c:ser>
          <c:idx val="1"/>
          <c:order val="1"/>
          <c:spPr>
            <a:solidFill>
              <a:schemeClr val="accent2"/>
            </a:solidFill>
            <a:ln>
              <a:noFill/>
            </a:ln>
          </c:spPr>
          <c:invertIfNegative val="0"/>
          <c:val>
            <c:numRef>
              <c:f>Sheet1!$A$2:$B$2</c:f>
              <c:numCache>
                <c:formatCode>General</c:formatCode>
                <c:ptCount val="2"/>
                <c:pt idx="1">
                  <c:v>0.89999999999999991</c:v>
                </c:pt>
              </c:numCache>
            </c:numRef>
          </c:val>
          <c:extLst>
            <c:ext xmlns:c16="http://schemas.microsoft.com/office/drawing/2014/chart" uri="{C3380CC4-5D6E-409C-BE32-E72D297353CC}">
              <c16:uniqueId val="{00000002-8DA2-F041-8E54-BFE7F27BAF1E}"/>
            </c:ext>
          </c:extLst>
        </c:ser>
        <c:ser>
          <c:idx val="2"/>
          <c:order val="2"/>
          <c:spPr>
            <a:solidFill>
              <a:schemeClr val="accent6"/>
            </a:solidFill>
            <a:ln>
              <a:noFill/>
            </a:ln>
          </c:spPr>
          <c:invertIfNegative val="0"/>
          <c:val>
            <c:numRef>
              <c:f>Sheet1!$A$3:$B$3</c:f>
              <c:numCache>
                <c:formatCode>General</c:formatCode>
                <c:ptCount val="2"/>
                <c:pt idx="1">
                  <c:v>0.39999999999999991</c:v>
                </c:pt>
              </c:numCache>
            </c:numRef>
          </c:val>
          <c:extLst>
            <c:ext xmlns:c16="http://schemas.microsoft.com/office/drawing/2014/chart" uri="{C3380CC4-5D6E-409C-BE32-E72D297353CC}">
              <c16:uniqueId val="{00000003-8DA2-F041-8E54-BFE7F27BAF1E}"/>
            </c:ext>
          </c:extLst>
        </c:ser>
        <c:dLbls>
          <c:showLegendKey val="0"/>
          <c:showVal val="0"/>
          <c:showCatName val="0"/>
          <c:showSerName val="0"/>
          <c:showPercent val="0"/>
          <c:showBubbleSize val="0"/>
        </c:dLbls>
        <c:gapWidth val="80"/>
        <c:overlap val="100"/>
        <c:axId val="1986538256"/>
        <c:axId val="1"/>
      </c:barChart>
      <c:catAx>
        <c:axId val="198653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
          <c:min val="0"/>
        </c:scaling>
        <c:delete val="0"/>
        <c:axPos val="l"/>
        <c:majorGridlines>
          <c:spPr>
            <a:ln>
              <a:noFill/>
            </a:ln>
          </c:spPr>
        </c:majorGridlines>
        <c:numFmt formatCode="General" sourceLinked="1"/>
        <c:majorTickMark val="none"/>
        <c:minorTickMark val="none"/>
        <c:tickLblPos val="none"/>
        <c:spPr>
          <a:ln>
            <a:noFill/>
          </a:ln>
        </c:spPr>
        <c:crossAx val="1986538256"/>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20286085825751E-2"/>
          <c:y val="4.6973803071364048E-2"/>
          <c:w val="0.86475942782834847"/>
          <c:h val="0.90605239385727188"/>
        </c:manualLayout>
      </c:layout>
      <c:barChart>
        <c:barDir val="bar"/>
        <c:grouping val="stacked"/>
        <c:varyColors val="0"/>
        <c:ser>
          <c:idx val="0"/>
          <c:order val="0"/>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E2A7-C148-BC88-DF1420FCDB75}"/>
              </c:ext>
            </c:extLst>
          </c:dPt>
          <c:dPt>
            <c:idx val="1"/>
            <c:invertIfNegative val="0"/>
            <c:bubble3D val="0"/>
            <c:spPr>
              <a:solidFill>
                <a:schemeClr val="accent4"/>
              </a:solidFill>
              <a:ln>
                <a:noFill/>
              </a:ln>
            </c:spPr>
            <c:extLst>
              <c:ext xmlns:c16="http://schemas.microsoft.com/office/drawing/2014/chart" uri="{C3380CC4-5D6E-409C-BE32-E72D297353CC}">
                <c16:uniqueId val="{00000001-E2A7-C148-BC88-DF1420FCDB75}"/>
              </c:ext>
            </c:extLst>
          </c:dPt>
          <c:val>
            <c:numRef>
              <c:f>Sheet1!$A$1:$D$1</c:f>
              <c:numCache>
                <c:formatCode>General</c:formatCode>
                <c:ptCount val="4"/>
                <c:pt idx="0">
                  <c:v>66</c:v>
                </c:pt>
                <c:pt idx="1">
                  <c:v>45</c:v>
                </c:pt>
                <c:pt idx="2">
                  <c:v>150</c:v>
                </c:pt>
                <c:pt idx="3">
                  <c:v>20</c:v>
                </c:pt>
              </c:numCache>
            </c:numRef>
          </c:val>
          <c:extLst>
            <c:ext xmlns:c16="http://schemas.microsoft.com/office/drawing/2014/chart" uri="{C3380CC4-5D6E-409C-BE32-E72D297353CC}">
              <c16:uniqueId val="{00000002-E2A7-C148-BC88-DF1420FCDB75}"/>
            </c:ext>
          </c:extLst>
        </c:ser>
        <c:ser>
          <c:idx val="1"/>
          <c:order val="1"/>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3-E2A7-C148-BC88-DF1420FCDB75}"/>
              </c:ext>
            </c:extLst>
          </c:dPt>
          <c:dPt>
            <c:idx val="1"/>
            <c:invertIfNegative val="0"/>
            <c:bubble3D val="0"/>
            <c:spPr>
              <a:solidFill>
                <a:schemeClr val="accent4"/>
              </a:solidFill>
              <a:ln>
                <a:noFill/>
              </a:ln>
            </c:spPr>
            <c:extLst>
              <c:ext xmlns:c16="http://schemas.microsoft.com/office/drawing/2014/chart" uri="{C3380CC4-5D6E-409C-BE32-E72D297353CC}">
                <c16:uniqueId val="{00000004-E2A7-C148-BC88-DF1420FCDB75}"/>
              </c:ext>
            </c:extLst>
          </c:dPt>
          <c:val>
            <c:numRef>
              <c:f>Sheet1!$A$2:$D$2</c:f>
              <c:numCache>
                <c:formatCode>General</c:formatCode>
                <c:ptCount val="4"/>
                <c:pt idx="0">
                  <c:v>43</c:v>
                </c:pt>
                <c:pt idx="1">
                  <c:v>30</c:v>
                </c:pt>
                <c:pt idx="2">
                  <c:v>150</c:v>
                </c:pt>
                <c:pt idx="3">
                  <c:v>15</c:v>
                </c:pt>
              </c:numCache>
            </c:numRef>
          </c:val>
          <c:extLst>
            <c:ext xmlns:c16="http://schemas.microsoft.com/office/drawing/2014/chart" uri="{C3380CC4-5D6E-409C-BE32-E72D297353CC}">
              <c16:uniqueId val="{00000005-E2A7-C148-BC88-DF1420FCDB75}"/>
            </c:ext>
          </c:extLst>
        </c:ser>
        <c:dLbls>
          <c:showLegendKey val="0"/>
          <c:showVal val="0"/>
          <c:showCatName val="0"/>
          <c:showSerName val="0"/>
          <c:showPercent val="0"/>
          <c:showBubbleSize val="0"/>
        </c:dLbls>
        <c:gapWidth val="80"/>
        <c:overlap val="100"/>
        <c:axId val="724673423"/>
        <c:axId val="1"/>
      </c:barChart>
      <c:catAx>
        <c:axId val="72467342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t"/>
        <c:majorGridlines>
          <c:spPr>
            <a:ln>
              <a:noFill/>
            </a:ln>
          </c:spPr>
        </c:majorGridlines>
        <c:numFmt formatCode="General" sourceLinked="1"/>
        <c:majorTickMark val="none"/>
        <c:minorTickMark val="none"/>
        <c:tickLblPos val="none"/>
        <c:spPr>
          <a:ln>
            <a:noFill/>
          </a:ln>
        </c:spPr>
        <c:crossAx val="724673423"/>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11023622047244"/>
          <c:y val="0.13715710723192021"/>
          <c:w val="0.76377952755905509"/>
          <c:h val="0.7256857855361595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9D6-0E4F-BC9C-8F1B465D896A}"/>
              </c:ext>
            </c:extLst>
          </c:dPt>
          <c:dPt>
            <c:idx val="1"/>
            <c:bubble3D val="0"/>
            <c:spPr>
              <a:solidFill>
                <a:schemeClr val="accent2"/>
              </a:solidFill>
              <a:ln>
                <a:noFill/>
              </a:ln>
            </c:spPr>
            <c:extLst>
              <c:ext xmlns:c16="http://schemas.microsoft.com/office/drawing/2014/chart" uri="{C3380CC4-5D6E-409C-BE32-E72D297353CC}">
                <c16:uniqueId val="{00000001-B9D6-0E4F-BC9C-8F1B465D896A}"/>
              </c:ext>
            </c:extLst>
          </c:dPt>
          <c:dPt>
            <c:idx val="2"/>
            <c:bubble3D val="0"/>
            <c:spPr>
              <a:solidFill>
                <a:schemeClr val="accent3"/>
              </a:solidFill>
              <a:ln>
                <a:noFill/>
              </a:ln>
            </c:spPr>
            <c:extLst>
              <c:ext xmlns:c16="http://schemas.microsoft.com/office/drawing/2014/chart" uri="{C3380CC4-5D6E-409C-BE32-E72D297353CC}">
                <c16:uniqueId val="{00000002-B9D6-0E4F-BC9C-8F1B465D896A}"/>
              </c:ext>
            </c:extLst>
          </c:dPt>
          <c:dPt>
            <c:idx val="3"/>
            <c:bubble3D val="0"/>
            <c:spPr>
              <a:solidFill>
                <a:schemeClr val="accent6"/>
              </a:solidFill>
              <a:ln>
                <a:noFill/>
              </a:ln>
            </c:spPr>
            <c:extLst>
              <c:ext xmlns:c16="http://schemas.microsoft.com/office/drawing/2014/chart" uri="{C3380CC4-5D6E-409C-BE32-E72D297353CC}">
                <c16:uniqueId val="{00000003-B9D6-0E4F-BC9C-8F1B465D896A}"/>
              </c:ext>
            </c:extLst>
          </c:dPt>
          <c:dPt>
            <c:idx val="4"/>
            <c:bubble3D val="0"/>
            <c:spPr>
              <a:solidFill>
                <a:schemeClr val="accent5"/>
              </a:solidFill>
              <a:ln>
                <a:noFill/>
              </a:ln>
            </c:spPr>
            <c:extLst>
              <c:ext xmlns:c16="http://schemas.microsoft.com/office/drawing/2014/chart" uri="{C3380CC4-5D6E-409C-BE32-E72D297353CC}">
                <c16:uniqueId val="{00000004-B9D6-0E4F-BC9C-8F1B465D896A}"/>
              </c:ext>
            </c:extLst>
          </c:dPt>
          <c:dLbls>
            <c:dLbl>
              <c:idx val="0"/>
              <c:layout>
                <c:manualLayout>
                  <c:x val="3.4120734908136482E-2"/>
                  <c:y val="-0.1259351620947631"/>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D6-0E4F-BC9C-8F1B465D896A}"/>
                </c:ext>
              </c:extLst>
            </c:dLbl>
            <c:dLbl>
              <c:idx val="1"/>
              <c:layout>
                <c:manualLayout>
                  <c:x val="8.2020997375328086E-2"/>
                  <c:y val="-9.3516209476309231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D6-0E4F-BC9C-8F1B465D896A}"/>
                </c:ext>
              </c:extLst>
            </c:dLbl>
            <c:dLbl>
              <c:idx val="2"/>
              <c:layout>
                <c:manualLayout>
                  <c:x val="0.10498687664041995"/>
                  <c:y val="3.9276807980049878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D6-0E4F-BC9C-8F1B465D896A}"/>
                </c:ext>
              </c:extLst>
            </c:dLbl>
            <c:dLbl>
              <c:idx val="3"/>
              <c:layout>
                <c:manualLayout>
                  <c:x val="-8.5301837270341213E-2"/>
                  <c:y val="7.1695760598503744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D6-0E4F-BC9C-8F1B465D896A}"/>
                </c:ext>
              </c:extLst>
            </c:dLbl>
            <c:dLbl>
              <c:idx val="4"/>
              <c:layout>
                <c:manualLayout>
                  <c:x val="-7.217847769028872E-2"/>
                  <c:y val="-8.790523690773068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D6-0E4F-BC9C-8F1B465D89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8</c:v>
                </c:pt>
                <c:pt idx="1">
                  <c:v>6</c:v>
                </c:pt>
                <c:pt idx="2">
                  <c:v>34</c:v>
                </c:pt>
                <c:pt idx="3">
                  <c:v>31</c:v>
                </c:pt>
                <c:pt idx="4">
                  <c:v>21</c:v>
                </c:pt>
              </c:numCache>
            </c:numRef>
          </c:val>
          <c:extLst>
            <c:ext xmlns:c16="http://schemas.microsoft.com/office/drawing/2014/chart" uri="{C3380CC4-5D6E-409C-BE32-E72D297353CC}">
              <c16:uniqueId val="{00000005-B9D6-0E4F-BC9C-8F1B465D896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01292407108238E-2"/>
          <c:y val="8.4523809523809529E-2"/>
          <c:w val="0.96639741518578348"/>
          <c:h val="0.830952380952381"/>
        </c:manualLayout>
      </c:layout>
      <c:barChart>
        <c:barDir val="col"/>
        <c:grouping val="stacked"/>
        <c:varyColors val="0"/>
        <c:ser>
          <c:idx val="0"/>
          <c:order val="0"/>
          <c:spPr>
            <a:solidFill>
              <a:schemeClr val="accent1"/>
            </a:solidFill>
            <a:ln>
              <a:noFill/>
            </a:ln>
          </c:spPr>
          <c:invertIfNegative val="0"/>
          <c:dLbls>
            <c:dLbl>
              <c:idx val="0"/>
              <c:layout>
                <c:manualLayout>
                  <c:x val="0"/>
                  <c:y val="-8.8690476190476195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49-704A-B7D2-EEF962292D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374671</c:v>
                </c:pt>
                <c:pt idx="1">
                  <c:v>4374671</c:v>
                </c:pt>
              </c:numCache>
            </c:numRef>
          </c:val>
          <c:extLst>
            <c:ext xmlns:c16="http://schemas.microsoft.com/office/drawing/2014/chart" uri="{C3380CC4-5D6E-409C-BE32-E72D297353CC}">
              <c16:uniqueId val="{00000001-0249-704A-B7D2-EEF962292D28}"/>
            </c:ext>
          </c:extLst>
        </c:ser>
        <c:ser>
          <c:idx val="1"/>
          <c:order val="1"/>
          <c:spPr>
            <a:solidFill>
              <a:schemeClr val="accent5"/>
            </a:solidFill>
            <a:ln>
              <a:noFill/>
            </a:ln>
          </c:spPr>
          <c:invertIfNegative val="0"/>
          <c:val>
            <c:numRef>
              <c:f>Sheet1!$A$2:$B$2</c:f>
              <c:numCache>
                <c:formatCode>General</c:formatCode>
                <c:ptCount val="2"/>
                <c:pt idx="1">
                  <c:v>31336521</c:v>
                </c:pt>
              </c:numCache>
            </c:numRef>
          </c:val>
          <c:extLst>
            <c:ext xmlns:c16="http://schemas.microsoft.com/office/drawing/2014/chart" uri="{C3380CC4-5D6E-409C-BE32-E72D297353CC}">
              <c16:uniqueId val="{00000002-0249-704A-B7D2-EEF962292D28}"/>
            </c:ext>
          </c:extLst>
        </c:ser>
        <c:dLbls>
          <c:showLegendKey val="0"/>
          <c:showVal val="0"/>
          <c:showCatName val="0"/>
          <c:showSerName val="0"/>
          <c:showPercent val="0"/>
          <c:showBubbleSize val="0"/>
        </c:dLbls>
        <c:gapWidth val="500"/>
        <c:overlap val="100"/>
        <c:axId val="1752315551"/>
        <c:axId val="1"/>
      </c:barChart>
      <c:catAx>
        <c:axId val="1752315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711192"/>
          <c:min val="0"/>
        </c:scaling>
        <c:delete val="1"/>
        <c:axPos val="l"/>
        <c:numFmt formatCode="General" sourceLinked="1"/>
        <c:majorTickMark val="out"/>
        <c:minorTickMark val="none"/>
        <c:tickLblPos val="nextTo"/>
        <c:crossAx val="1752315551"/>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06072874493926E-2"/>
          <c:y val="0.12351543942992874"/>
          <c:w val="0.94898785425101218"/>
          <c:h val="0.31591448931116389"/>
        </c:manualLayout>
      </c:layout>
      <c:scatterChart>
        <c:scatterStyle val="lineMarker"/>
        <c:varyColors val="0"/>
        <c:ser>
          <c:idx val="0"/>
          <c:order val="0"/>
          <c:smooth val="0"/>
          <c:extLst>
            <c:ext xmlns:c16="http://schemas.microsoft.com/office/drawing/2014/chart" uri="{C3380CC4-5D6E-409C-BE32-E72D297353CC}">
              <c16:uniqueId val="{00000000-DD38-6442-9023-202473B99AC3}"/>
            </c:ext>
          </c:extLst>
        </c:ser>
        <c:dLbls>
          <c:showLegendKey val="0"/>
          <c:showVal val="0"/>
          <c:showCatName val="0"/>
          <c:showSerName val="0"/>
          <c:showPercent val="0"/>
          <c:showBubbleSize val="0"/>
        </c:dLbls>
        <c:axId val="4"/>
        <c:axId val="5"/>
      </c:scatterChart>
      <c:valAx>
        <c:axId val="4"/>
        <c:scaling>
          <c:orientation val="minMax"/>
          <c:max val="2033"/>
          <c:min val="202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
          <c:min val="0"/>
        </c:scaling>
        <c:delete val="0"/>
        <c:axPos val="l"/>
        <c:majorGridlines>
          <c:spPr>
            <a:ln>
              <a:noFill/>
            </a:ln>
          </c:spPr>
        </c:majorGridlines>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69821240799159E-2"/>
          <c:y val="3.4643570952698204E-2"/>
          <c:w val="0.97266035751840163"/>
          <c:h val="0.93071285809460358"/>
        </c:manualLayout>
      </c:layout>
      <c:barChart>
        <c:barDir val="col"/>
        <c:grouping val="clustered"/>
        <c:varyColors val="0"/>
        <c:ser>
          <c:idx val="0"/>
          <c:order val="0"/>
          <c:spPr>
            <a:solidFill>
              <a:schemeClr val="accent1"/>
            </a:solidFill>
            <a:ln>
              <a:noFill/>
            </a:ln>
          </c:spPr>
          <c:invertIfNegative val="0"/>
          <c:val>
            <c:numRef>
              <c:f>Sheet1!$A$1:$G$1</c:f>
              <c:numCache>
                <c:formatCode>General</c:formatCode>
                <c:ptCount val="7"/>
                <c:pt idx="0">
                  <c:v>1106</c:v>
                </c:pt>
                <c:pt idx="1">
                  <c:v>600</c:v>
                </c:pt>
                <c:pt idx="2">
                  <c:v>160</c:v>
                </c:pt>
                <c:pt idx="3">
                  <c:v>135</c:v>
                </c:pt>
                <c:pt idx="4">
                  <c:v>145</c:v>
                </c:pt>
                <c:pt idx="5">
                  <c:v>35</c:v>
                </c:pt>
                <c:pt idx="6">
                  <c:v>31</c:v>
                </c:pt>
              </c:numCache>
            </c:numRef>
          </c:val>
          <c:extLst>
            <c:ext xmlns:c16="http://schemas.microsoft.com/office/drawing/2014/chart" uri="{C3380CC4-5D6E-409C-BE32-E72D297353CC}">
              <c16:uniqueId val="{00000000-A732-6A42-8BB2-E7C133646878}"/>
            </c:ext>
          </c:extLst>
        </c:ser>
        <c:ser>
          <c:idx val="1"/>
          <c:order val="1"/>
          <c:spPr>
            <a:solidFill>
              <a:schemeClr val="accent2"/>
            </a:solidFill>
            <a:ln>
              <a:noFill/>
            </a:ln>
          </c:spPr>
          <c:invertIfNegative val="0"/>
          <c:val>
            <c:numRef>
              <c:f>Sheet1!$A$2:$G$2</c:f>
              <c:numCache>
                <c:formatCode>General</c:formatCode>
                <c:ptCount val="7"/>
                <c:pt idx="0">
                  <c:v>2000</c:v>
                </c:pt>
                <c:pt idx="1">
                  <c:v>1250</c:v>
                </c:pt>
                <c:pt idx="2">
                  <c:v>240</c:v>
                </c:pt>
                <c:pt idx="3">
                  <c:v>185</c:v>
                </c:pt>
                <c:pt idx="4">
                  <c:v>175</c:v>
                </c:pt>
                <c:pt idx="5">
                  <c:v>55</c:v>
                </c:pt>
                <c:pt idx="6">
                  <c:v>41</c:v>
                </c:pt>
              </c:numCache>
            </c:numRef>
          </c:val>
          <c:extLst>
            <c:ext xmlns:c16="http://schemas.microsoft.com/office/drawing/2014/chart" uri="{C3380CC4-5D6E-409C-BE32-E72D297353CC}">
              <c16:uniqueId val="{00000001-A732-6A42-8BB2-E7C133646878}"/>
            </c:ext>
          </c:extLst>
        </c:ser>
        <c:dLbls>
          <c:showLegendKey val="0"/>
          <c:showVal val="0"/>
          <c:showCatName val="0"/>
          <c:showSerName val="0"/>
          <c:showPercent val="0"/>
          <c:showBubbleSize val="0"/>
        </c:dLbls>
        <c:gapWidth val="80"/>
        <c:axId val="1598748703"/>
        <c:axId val="1"/>
      </c:barChart>
      <c:catAx>
        <c:axId val="1598748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598748703"/>
        <c:crosses val="min"/>
        <c:crossBetween val="between"/>
        <c:majorUnit val="5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69788519639E-2"/>
          <c:y val="9.6075778078484442E-2"/>
          <c:w val="0.96858006042296074"/>
          <c:h val="0.80784844384303112"/>
        </c:manualLayout>
      </c:layout>
      <c:barChart>
        <c:barDir val="col"/>
        <c:grouping val="stacked"/>
        <c:varyColors val="0"/>
        <c:ser>
          <c:idx val="0"/>
          <c:order val="0"/>
          <c:spPr>
            <a:solidFill>
              <a:schemeClr val="accent1"/>
            </a:solidFill>
            <a:ln>
              <a:noFill/>
            </a:ln>
          </c:spPr>
          <c:invertIfNegative val="0"/>
          <c:dLbls>
            <c:dLbl>
              <c:idx val="0"/>
              <c:layout>
                <c:manualLayout>
                  <c:x val="0"/>
                  <c:y val="-9.6075778078484442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8C-0A47-8DD0-030D0FFE6A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515878</c:v>
                </c:pt>
                <c:pt idx="1">
                  <c:v>11515878</c:v>
                </c:pt>
              </c:numCache>
            </c:numRef>
          </c:val>
          <c:extLst>
            <c:ext xmlns:c16="http://schemas.microsoft.com/office/drawing/2014/chart" uri="{C3380CC4-5D6E-409C-BE32-E72D297353CC}">
              <c16:uniqueId val="{00000001-4C8C-0A47-8DD0-030D0FFE6A58}"/>
            </c:ext>
          </c:extLst>
        </c:ser>
        <c:ser>
          <c:idx val="1"/>
          <c:order val="1"/>
          <c:spPr>
            <a:solidFill>
              <a:srgbClr val="D0227C"/>
            </a:solidFill>
            <a:ln>
              <a:noFill/>
            </a:ln>
          </c:spPr>
          <c:invertIfNegative val="0"/>
          <c:val>
            <c:numRef>
              <c:f>Sheet1!$A$2:$B$2</c:f>
              <c:numCache>
                <c:formatCode>General</c:formatCode>
                <c:ptCount val="2"/>
                <c:pt idx="1">
                  <c:v>75969417</c:v>
                </c:pt>
              </c:numCache>
            </c:numRef>
          </c:val>
          <c:extLst>
            <c:ext xmlns:c16="http://schemas.microsoft.com/office/drawing/2014/chart" uri="{C3380CC4-5D6E-409C-BE32-E72D297353CC}">
              <c16:uniqueId val="{00000002-4C8C-0A47-8DD0-030D0FFE6A58}"/>
            </c:ext>
          </c:extLst>
        </c:ser>
        <c:dLbls>
          <c:showLegendKey val="0"/>
          <c:showVal val="0"/>
          <c:showCatName val="0"/>
          <c:showSerName val="0"/>
          <c:showPercent val="0"/>
          <c:showBubbleSize val="0"/>
        </c:dLbls>
        <c:gapWidth val="500"/>
        <c:overlap val="100"/>
        <c:axId val="2098136560"/>
        <c:axId val="1"/>
      </c:barChart>
      <c:catAx>
        <c:axId val="2098136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7485295"/>
          <c:min val="0"/>
        </c:scaling>
        <c:delete val="0"/>
        <c:axPos val="l"/>
        <c:majorGridlines>
          <c:spPr>
            <a:ln>
              <a:noFill/>
            </a:ln>
          </c:spPr>
        </c:majorGridlines>
        <c:numFmt formatCode="General" sourceLinked="1"/>
        <c:majorTickMark val="none"/>
        <c:minorTickMark val="none"/>
        <c:tickLblPos val="none"/>
        <c:spPr>
          <a:ln>
            <a:noFill/>
          </a:ln>
        </c:spPr>
        <c:crossAx val="2098136560"/>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69538729329851"/>
          <c:y val="5.9322033898305086E-2"/>
          <c:w val="0.76805918189730205"/>
          <c:h val="0.79782082324455206"/>
        </c:manualLayout>
      </c:layout>
      <c:scatterChart>
        <c:scatterStyle val="lineMarker"/>
        <c:varyColors val="0"/>
        <c:ser>
          <c:idx val="0"/>
          <c:order val="0"/>
          <c:spPr>
            <a:ln w="19050" cmpd="sng" algn="ctr">
              <a:solidFill>
                <a:schemeClr val="accent1"/>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2:$Y$2</c:f>
              <c:numCache>
                <c:formatCode>General</c:formatCode>
                <c:ptCount val="25"/>
                <c:pt idx="0">
                  <c:v>65.3</c:v>
                </c:pt>
                <c:pt idx="1">
                  <c:v>65.3</c:v>
                </c:pt>
                <c:pt idx="2">
                  <c:v>65.3</c:v>
                </c:pt>
                <c:pt idx="3">
                  <c:v>65.3</c:v>
                </c:pt>
                <c:pt idx="4">
                  <c:v>135.30000000000001</c:v>
                </c:pt>
                <c:pt idx="5">
                  <c:v>135.30000000000001</c:v>
                </c:pt>
                <c:pt idx="6">
                  <c:v>135.30000000000001</c:v>
                </c:pt>
                <c:pt idx="7">
                  <c:v>135.30000000000001</c:v>
                </c:pt>
                <c:pt idx="8">
                  <c:v>135.30000000000001</c:v>
                </c:pt>
                <c:pt idx="9">
                  <c:v>170.3</c:v>
                </c:pt>
                <c:pt idx="10">
                  <c:v>205.3</c:v>
                </c:pt>
                <c:pt idx="11">
                  <c:v>205.3</c:v>
                </c:pt>
                <c:pt idx="12">
                  <c:v>212.8</c:v>
                </c:pt>
                <c:pt idx="13">
                  <c:v>212.8</c:v>
                </c:pt>
                <c:pt idx="14">
                  <c:v>373.4</c:v>
                </c:pt>
                <c:pt idx="15">
                  <c:v>626.20000000000005</c:v>
                </c:pt>
                <c:pt idx="16">
                  <c:v>660.2</c:v>
                </c:pt>
                <c:pt idx="17">
                  <c:v>680.2</c:v>
                </c:pt>
                <c:pt idx="18">
                  <c:v>691.1</c:v>
                </c:pt>
                <c:pt idx="19">
                  <c:v>691.1</c:v>
                </c:pt>
                <c:pt idx="20">
                  <c:v>870.43</c:v>
                </c:pt>
                <c:pt idx="21">
                  <c:v>870.43</c:v>
                </c:pt>
                <c:pt idx="22">
                  <c:v>957.02997000000005</c:v>
                </c:pt>
                <c:pt idx="23">
                  <c:v>992.02997000000005</c:v>
                </c:pt>
                <c:pt idx="24">
                  <c:v>947.02997000000005</c:v>
                </c:pt>
              </c:numCache>
            </c:numRef>
          </c:yVal>
          <c:smooth val="0"/>
          <c:extLst>
            <c:ext xmlns:c16="http://schemas.microsoft.com/office/drawing/2014/chart" uri="{C3380CC4-5D6E-409C-BE32-E72D297353CC}">
              <c16:uniqueId val="{00000000-6902-8341-A426-19C1191B9824}"/>
            </c:ext>
          </c:extLst>
        </c:ser>
        <c:dLbls>
          <c:showLegendKey val="0"/>
          <c:showVal val="0"/>
          <c:showCatName val="0"/>
          <c:showSerName val="0"/>
          <c:showPercent val="0"/>
          <c:showBubbleSize val="0"/>
        </c:dLbls>
        <c:axId val="4"/>
        <c:axId val="5"/>
      </c:scatterChart>
      <c:valAx>
        <c:axId val="4"/>
        <c:scaling>
          <c:orientation val="minMax"/>
          <c:max val="2025"/>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888563049853373"/>
          <c:y val="0.22505800464037123"/>
          <c:w val="0.64296187683284456"/>
          <c:h val="0.54988399071925753"/>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3AF5-344C-A8E0-0677E07921B4}"/>
              </c:ext>
            </c:extLst>
          </c:dPt>
          <c:dPt>
            <c:idx val="1"/>
            <c:bubble3D val="0"/>
            <c:spPr>
              <a:solidFill>
                <a:schemeClr val="accent2"/>
              </a:solidFill>
              <a:ln>
                <a:noFill/>
              </a:ln>
            </c:spPr>
            <c:extLst>
              <c:ext xmlns:c16="http://schemas.microsoft.com/office/drawing/2014/chart" uri="{C3380CC4-5D6E-409C-BE32-E72D297353CC}">
                <c16:uniqueId val="{00000003-3AF5-344C-A8E0-0677E07921B4}"/>
              </c:ext>
            </c:extLst>
          </c:dPt>
          <c:dLbls>
            <c:dLbl>
              <c:idx val="0"/>
              <c:layout>
                <c:manualLayout>
                  <c:x val="0"/>
                  <c:y val="-1.5081206496519721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F5-344C-A8E0-0677E07921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99.2</c:v>
                </c:pt>
                <c:pt idx="1">
                  <c:v>0.8</c:v>
                </c:pt>
              </c:numCache>
            </c:numRef>
          </c:val>
          <c:extLst>
            <c:ext xmlns:c16="http://schemas.microsoft.com/office/drawing/2014/chart" uri="{C3380CC4-5D6E-409C-BE32-E72D297353CC}">
              <c16:uniqueId val="{00000004-3AF5-344C-A8E0-0677E07921B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83333333333334E-2"/>
          <c:y val="0.25432098765432098"/>
          <c:w val="0.9458333333333333"/>
          <c:h val="0.57037037037037042"/>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1-1E44-D14C-A6CB-65CD704B9921}"/>
              </c:ext>
            </c:extLst>
          </c:dPt>
          <c:dLbls>
            <c:dLbl>
              <c:idx val="0"/>
              <c:layout>
                <c:manualLayout>
                  <c:x val="0"/>
                  <c:y val="-0.27530864197530863"/>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44-D14C-A6CB-65CD704B9921}"/>
                </c:ext>
              </c:extLst>
            </c:dLbl>
            <c:dLbl>
              <c:idx val="1"/>
              <c:layout>
                <c:manualLayout>
                  <c:x val="0"/>
                  <c:y val="-0.36419753086419754"/>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44-D14C-A6CB-65CD704B99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5</c:v>
                </c:pt>
                <c:pt idx="1">
                  <c:v>12.4</c:v>
                </c:pt>
              </c:numCache>
            </c:numRef>
          </c:val>
          <c:extLst>
            <c:ext xmlns:c16="http://schemas.microsoft.com/office/drawing/2014/chart" uri="{C3380CC4-5D6E-409C-BE32-E72D297353CC}">
              <c16:uniqueId val="{00000003-1E44-D14C-A6CB-65CD704B9921}"/>
            </c:ext>
          </c:extLst>
        </c:ser>
        <c:dLbls>
          <c:showLegendKey val="0"/>
          <c:showVal val="0"/>
          <c:showCatName val="0"/>
          <c:showSerName val="0"/>
          <c:showPercent val="0"/>
          <c:showBubbleSize val="0"/>
        </c:dLbls>
        <c:gapWidth val="500"/>
        <c:overlap val="100"/>
        <c:axId val="495903280"/>
        <c:axId val="1"/>
      </c:barChart>
      <c:catAx>
        <c:axId val="4959032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4"/>
          <c:min val="0"/>
        </c:scaling>
        <c:delete val="0"/>
        <c:axPos val="l"/>
        <c:majorGridlines>
          <c:spPr>
            <a:ln>
              <a:noFill/>
            </a:ln>
          </c:spPr>
        </c:majorGridlines>
        <c:numFmt formatCode="General" sourceLinked="1"/>
        <c:majorTickMark val="none"/>
        <c:minorTickMark val="none"/>
        <c:tickLblPos val="none"/>
        <c:spPr>
          <a:ln>
            <a:noFill/>
          </a:ln>
        </c:spPr>
        <c:crossAx val="495903280"/>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74001268230815E-2"/>
          <c:y val="0.31555555555555553"/>
          <c:w val="0.80596068484464167"/>
          <c:h val="0.36888888888888888"/>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943A-304A-B35E-D7DB89D1284F}"/>
              </c:ext>
            </c:extLst>
          </c:dPt>
          <c:dLbls>
            <c:dLbl>
              <c:idx val="0"/>
              <c:layout>
                <c:manualLayout>
                  <c:x val="0.48319594166138236"/>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3A-304A-B35E-D7DB89D1284F}"/>
                </c:ext>
              </c:extLst>
            </c:dLbl>
            <c:dLbl>
              <c:idx val="1"/>
              <c:layout>
                <c:manualLayout>
                  <c:x val="0.22003804692454026"/>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3A-304A-B35E-D7DB89D128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00</c:v>
                </c:pt>
                <c:pt idx="1">
                  <c:v>800</c:v>
                </c:pt>
              </c:numCache>
            </c:numRef>
          </c:val>
          <c:extLst>
            <c:ext xmlns:c16="http://schemas.microsoft.com/office/drawing/2014/chart" uri="{C3380CC4-5D6E-409C-BE32-E72D297353CC}">
              <c16:uniqueId val="{00000003-943A-304A-B35E-D7DB89D1284F}"/>
            </c:ext>
          </c:extLst>
        </c:ser>
        <c:dLbls>
          <c:showLegendKey val="0"/>
          <c:showVal val="0"/>
          <c:showCatName val="0"/>
          <c:showSerName val="0"/>
          <c:showPercent val="0"/>
          <c:showBubbleSize val="0"/>
        </c:dLbls>
        <c:gapWidth val="500"/>
        <c:overlap val="100"/>
        <c:axId val="495690640"/>
        <c:axId val="1"/>
      </c:barChart>
      <c:catAx>
        <c:axId val="49569064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t"/>
        <c:majorGridlines>
          <c:spPr>
            <a:ln>
              <a:noFill/>
            </a:ln>
          </c:spPr>
        </c:majorGridlines>
        <c:numFmt formatCode="General" sourceLinked="1"/>
        <c:majorTickMark val="none"/>
        <c:minorTickMark val="none"/>
        <c:tickLblPos val="none"/>
        <c:spPr>
          <a:ln>
            <a:noFill/>
          </a:ln>
        </c:spPr>
        <c:crossAx val="495690640"/>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66666666666665E-2"/>
          <c:y val="0.33809523809523812"/>
          <c:w val="0.79600000000000004"/>
          <c:h val="0.32380952380952382"/>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4A9A-5B40-A5B9-2441BE8E3149}"/>
              </c:ext>
            </c:extLst>
          </c:dPt>
          <c:dLbls>
            <c:dLbl>
              <c:idx val="0"/>
              <c:layout>
                <c:manualLayout>
                  <c:x val="0.48199999999999998"/>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9A-5B40-A5B9-2441BE8E3149}"/>
                </c:ext>
              </c:extLst>
            </c:dLbl>
            <c:dLbl>
              <c:idx val="1"/>
              <c:layout>
                <c:manualLayout>
                  <c:x val="0.34933333333333333"/>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9A-5B40-A5B9-2441BE8E31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800</c:v>
                </c:pt>
                <c:pt idx="1">
                  <c:v>1200</c:v>
                </c:pt>
              </c:numCache>
            </c:numRef>
          </c:val>
          <c:extLst>
            <c:ext xmlns:c16="http://schemas.microsoft.com/office/drawing/2014/chart" uri="{C3380CC4-5D6E-409C-BE32-E72D297353CC}">
              <c16:uniqueId val="{00000003-4A9A-5B40-A5B9-2441BE8E3149}"/>
            </c:ext>
          </c:extLst>
        </c:ser>
        <c:dLbls>
          <c:showLegendKey val="0"/>
          <c:showVal val="0"/>
          <c:showCatName val="0"/>
          <c:showSerName val="0"/>
          <c:showPercent val="0"/>
          <c:showBubbleSize val="0"/>
        </c:dLbls>
        <c:gapWidth val="500"/>
        <c:overlap val="100"/>
        <c:axId val="199168415"/>
        <c:axId val="1"/>
      </c:barChart>
      <c:catAx>
        <c:axId val="19916841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
          <c:min val="0"/>
        </c:scaling>
        <c:delete val="0"/>
        <c:axPos val="t"/>
        <c:majorGridlines>
          <c:spPr>
            <a:ln>
              <a:noFill/>
            </a:ln>
          </c:spPr>
        </c:majorGridlines>
        <c:numFmt formatCode="General" sourceLinked="1"/>
        <c:majorTickMark val="none"/>
        <c:minorTickMark val="none"/>
        <c:tickLblPos val="none"/>
        <c:spPr>
          <a:ln>
            <a:noFill/>
          </a:ln>
        </c:spPr>
        <c:crossAx val="199168415"/>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26460481099657"/>
          <c:y val="0.33729216152019004"/>
          <c:w val="0.55395189003436429"/>
          <c:h val="0.32541567695961993"/>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FB44-0947-9A8D-1CB8A8053672}"/>
              </c:ext>
            </c:extLst>
          </c:dPt>
          <c:dLbls>
            <c:dLbl>
              <c:idx val="0"/>
              <c:layout>
                <c:manualLayout>
                  <c:x val="0.36357388316151201"/>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44-0947-9A8D-1CB8A8053672}"/>
                </c:ext>
              </c:extLst>
            </c:dLbl>
            <c:dLbl>
              <c:idx val="1"/>
              <c:layout>
                <c:manualLayout>
                  <c:x val="0.14432989690721648"/>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44-0947-9A8D-1CB8A80536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00</c:v>
                </c:pt>
                <c:pt idx="1">
                  <c:v>350</c:v>
                </c:pt>
              </c:numCache>
            </c:numRef>
          </c:val>
          <c:extLst>
            <c:ext xmlns:c16="http://schemas.microsoft.com/office/drawing/2014/chart" uri="{C3380CC4-5D6E-409C-BE32-E72D297353CC}">
              <c16:uniqueId val="{00000003-FB44-0947-9A8D-1CB8A8053672}"/>
            </c:ext>
          </c:extLst>
        </c:ser>
        <c:dLbls>
          <c:showLegendKey val="0"/>
          <c:showVal val="0"/>
          <c:showCatName val="0"/>
          <c:showSerName val="0"/>
          <c:showPercent val="0"/>
          <c:showBubbleSize val="0"/>
        </c:dLbls>
        <c:gapWidth val="500"/>
        <c:overlap val="100"/>
        <c:axId val="199214111"/>
        <c:axId val="1"/>
      </c:barChart>
      <c:catAx>
        <c:axId val="19921411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t"/>
        <c:majorGridlines>
          <c:spPr>
            <a:ln>
              <a:noFill/>
            </a:ln>
          </c:spPr>
        </c:majorGridlines>
        <c:numFmt formatCode="General" sourceLinked="1"/>
        <c:majorTickMark val="none"/>
        <c:minorTickMark val="none"/>
        <c:tickLblPos val="none"/>
        <c:spPr>
          <a:ln>
            <a:noFill/>
          </a:ln>
        </c:spPr>
        <c:crossAx val="199214111"/>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76632302405499"/>
          <c:y val="0.31555555555555553"/>
          <c:w val="0.56494845360824741"/>
          <c:h val="0.36888888888888888"/>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03E5-0148-B383-1802029368DC}"/>
              </c:ext>
            </c:extLst>
          </c:dPt>
          <c:dLbls>
            <c:dLbl>
              <c:idx val="0"/>
              <c:layout>
                <c:manualLayout>
                  <c:x val="0.36907216494845363"/>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E5-0148-B383-1802029368DC}"/>
                </c:ext>
              </c:extLst>
            </c:dLbl>
            <c:dLbl>
              <c:idx val="1"/>
              <c:layout>
                <c:manualLayout>
                  <c:x val="0.20481099656357388"/>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E5-0148-B383-1802029368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00</c:v>
                </c:pt>
                <c:pt idx="1">
                  <c:v>550</c:v>
                </c:pt>
              </c:numCache>
            </c:numRef>
          </c:val>
          <c:extLst>
            <c:ext xmlns:c16="http://schemas.microsoft.com/office/drawing/2014/chart" uri="{C3380CC4-5D6E-409C-BE32-E72D297353CC}">
              <c16:uniqueId val="{00000003-03E5-0148-B383-1802029368DC}"/>
            </c:ext>
          </c:extLst>
        </c:ser>
        <c:dLbls>
          <c:showLegendKey val="0"/>
          <c:showVal val="0"/>
          <c:showCatName val="0"/>
          <c:showSerName val="0"/>
          <c:showPercent val="0"/>
          <c:showBubbleSize val="0"/>
        </c:dLbls>
        <c:gapWidth val="500"/>
        <c:overlap val="100"/>
        <c:axId val="199068559"/>
        <c:axId val="1"/>
      </c:barChart>
      <c:catAx>
        <c:axId val="1990685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0"/>
        <c:axPos val="t"/>
        <c:majorGridlines>
          <c:spPr>
            <a:ln>
              <a:noFill/>
            </a:ln>
          </c:spPr>
        </c:majorGridlines>
        <c:numFmt formatCode="General" sourceLinked="1"/>
        <c:majorTickMark val="none"/>
        <c:minorTickMark val="none"/>
        <c:tickLblPos val="none"/>
        <c:spPr>
          <a:ln>
            <a:noFill/>
          </a:ln>
        </c:spPr>
        <c:crossAx val="199068559"/>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38831615120275"/>
          <c:y val="0.33971291866028708"/>
          <c:w val="0.54570446735395184"/>
          <c:h val="0.32057416267942584"/>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7AE4-3E44-A1F9-641359DE5D95}"/>
              </c:ext>
            </c:extLst>
          </c:dPt>
          <c:dLbls>
            <c:dLbl>
              <c:idx val="0"/>
              <c:layout>
                <c:manualLayout>
                  <c:x val="0.35945017182130584"/>
                  <c:y val="4.0669856459330141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E4-3E44-A1F9-641359DE5D95}"/>
                </c:ext>
              </c:extLst>
            </c:dLbl>
            <c:dLbl>
              <c:idx val="1"/>
              <c:layout>
                <c:manualLayout>
                  <c:x val="0.28178694158075601"/>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E4-3E44-A1F9-641359DE5D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800</c:v>
                </c:pt>
              </c:numCache>
            </c:numRef>
          </c:val>
          <c:extLst>
            <c:ext xmlns:c16="http://schemas.microsoft.com/office/drawing/2014/chart" uri="{C3380CC4-5D6E-409C-BE32-E72D297353CC}">
              <c16:uniqueId val="{00000003-7AE4-3E44-A1F9-641359DE5D95}"/>
            </c:ext>
          </c:extLst>
        </c:ser>
        <c:dLbls>
          <c:showLegendKey val="0"/>
          <c:showVal val="0"/>
          <c:showCatName val="0"/>
          <c:showSerName val="0"/>
          <c:showPercent val="0"/>
          <c:showBubbleSize val="0"/>
        </c:dLbls>
        <c:gapWidth val="500"/>
        <c:overlap val="100"/>
        <c:axId val="199117727"/>
        <c:axId val="1"/>
      </c:barChart>
      <c:catAx>
        <c:axId val="1991177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t"/>
        <c:majorGridlines>
          <c:spPr>
            <a:ln>
              <a:noFill/>
            </a:ln>
          </c:spPr>
        </c:majorGridlines>
        <c:numFmt formatCode="General" sourceLinked="1"/>
        <c:majorTickMark val="none"/>
        <c:minorTickMark val="none"/>
        <c:tickLblPos val="none"/>
        <c:spPr>
          <a:ln>
            <a:noFill/>
          </a:ln>
        </c:spPr>
        <c:crossAx val="199117727"/>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38831615120275"/>
          <c:y val="0.3446601941747573"/>
          <c:w val="0.54570446735395184"/>
          <c:h val="0.31067961165048541"/>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51C1-4645-84A9-83F931F17E72}"/>
              </c:ext>
            </c:extLst>
          </c:dPt>
          <c:dLbls>
            <c:dLbl>
              <c:idx val="0"/>
              <c:layout>
                <c:manualLayout>
                  <c:x val="0.35945017182130584"/>
                  <c:y val="4.8543689320388349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C1-4645-84A9-83F931F17E72}"/>
                </c:ext>
              </c:extLst>
            </c:dLbl>
            <c:dLbl>
              <c:idx val="1"/>
              <c:layout>
                <c:manualLayout>
                  <c:x val="0.28178694158075601"/>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C1-4645-84A9-83F931F17E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800</c:v>
                </c:pt>
              </c:numCache>
            </c:numRef>
          </c:val>
          <c:extLst>
            <c:ext xmlns:c16="http://schemas.microsoft.com/office/drawing/2014/chart" uri="{C3380CC4-5D6E-409C-BE32-E72D297353CC}">
              <c16:uniqueId val="{00000003-51C1-4645-84A9-83F931F17E72}"/>
            </c:ext>
          </c:extLst>
        </c:ser>
        <c:dLbls>
          <c:showLegendKey val="0"/>
          <c:showVal val="0"/>
          <c:showCatName val="0"/>
          <c:showSerName val="0"/>
          <c:showPercent val="0"/>
          <c:showBubbleSize val="0"/>
        </c:dLbls>
        <c:gapWidth val="500"/>
        <c:overlap val="100"/>
        <c:axId val="199025375"/>
        <c:axId val="1"/>
      </c:barChart>
      <c:catAx>
        <c:axId val="1990253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t"/>
        <c:majorGridlines>
          <c:spPr>
            <a:ln>
              <a:noFill/>
            </a:ln>
          </c:spPr>
        </c:majorGridlines>
        <c:numFmt formatCode="General" sourceLinked="1"/>
        <c:majorTickMark val="none"/>
        <c:minorTickMark val="none"/>
        <c:tickLblPos val="none"/>
        <c:spPr>
          <a:ln>
            <a:noFill/>
          </a:ln>
        </c:spPr>
        <c:crossAx val="19902537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76633840644583E-2"/>
          <c:y val="3.1044776119402984E-2"/>
          <c:w val="0.9534467323187108"/>
          <c:h val="0.93791044776119403"/>
        </c:manualLayout>
      </c:layout>
      <c:barChart>
        <c:barDir val="col"/>
        <c:grouping val="stacked"/>
        <c:varyColors val="0"/>
        <c:ser>
          <c:idx val="0"/>
          <c:order val="0"/>
          <c:spPr>
            <a:no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4226-D74F-BC42-C955B4CC28C1}"/>
              </c:ext>
            </c:extLst>
          </c:dPt>
          <c:dPt>
            <c:idx val="3"/>
            <c:invertIfNegative val="0"/>
            <c:bubble3D val="0"/>
            <c:spPr>
              <a:solidFill>
                <a:schemeClr val="accent3"/>
              </a:solidFill>
              <a:ln>
                <a:noFill/>
              </a:ln>
            </c:spPr>
            <c:extLst>
              <c:ext xmlns:c16="http://schemas.microsoft.com/office/drawing/2014/chart" uri="{C3380CC4-5D6E-409C-BE32-E72D297353CC}">
                <c16:uniqueId val="{00000001-4226-D74F-BC42-C955B4CC28C1}"/>
              </c:ext>
            </c:extLst>
          </c:dPt>
          <c:val>
            <c:numRef>
              <c:f>Sheet1!$A$1:$D$1</c:f>
              <c:numCache>
                <c:formatCode>General</c:formatCode>
                <c:ptCount val="4"/>
                <c:pt idx="0">
                  <c:v>101</c:v>
                </c:pt>
                <c:pt idx="1">
                  <c:v>12</c:v>
                </c:pt>
                <c:pt idx="2">
                  <c:v>6</c:v>
                </c:pt>
                <c:pt idx="3">
                  <c:v>6</c:v>
                </c:pt>
              </c:numCache>
            </c:numRef>
          </c:val>
          <c:extLst>
            <c:ext xmlns:c16="http://schemas.microsoft.com/office/drawing/2014/chart" uri="{C3380CC4-5D6E-409C-BE32-E72D297353CC}">
              <c16:uniqueId val="{00000002-4226-D74F-BC42-C955B4CC28C1}"/>
            </c:ext>
          </c:extLst>
        </c:ser>
        <c:ser>
          <c:idx val="1"/>
          <c:order val="1"/>
          <c:spPr>
            <a:solidFill>
              <a:schemeClr val="accent3"/>
            </a:solidFill>
            <a:ln>
              <a:noFill/>
            </a:ln>
          </c:spPr>
          <c:invertIfNegative val="0"/>
          <c:val>
            <c:numRef>
              <c:f>Sheet1!$A$2:$D$2</c:f>
              <c:numCache>
                <c:formatCode>General</c:formatCode>
                <c:ptCount val="4"/>
                <c:pt idx="1">
                  <c:v>89</c:v>
                </c:pt>
                <c:pt idx="2">
                  <c:v>6</c:v>
                </c:pt>
              </c:numCache>
            </c:numRef>
          </c:val>
          <c:extLst>
            <c:ext xmlns:c16="http://schemas.microsoft.com/office/drawing/2014/chart" uri="{C3380CC4-5D6E-409C-BE32-E72D297353CC}">
              <c16:uniqueId val="{00000003-4226-D74F-BC42-C955B4CC28C1}"/>
            </c:ext>
          </c:extLst>
        </c:ser>
        <c:dLbls>
          <c:showLegendKey val="0"/>
          <c:showVal val="0"/>
          <c:showCatName val="0"/>
          <c:showSerName val="0"/>
          <c:showPercent val="0"/>
          <c:showBubbleSize val="0"/>
        </c:dLbls>
        <c:gapWidth val="80"/>
        <c:overlap val="100"/>
        <c:axId val="1598616063"/>
        <c:axId val="1"/>
      </c:barChart>
      <c:catAx>
        <c:axId val="1598616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
          <c:min val="0"/>
        </c:scaling>
        <c:delete val="0"/>
        <c:axPos val="l"/>
        <c:majorGridlines>
          <c:spPr>
            <a:ln>
              <a:noFill/>
            </a:ln>
          </c:spPr>
        </c:majorGridlines>
        <c:numFmt formatCode="General" sourceLinked="1"/>
        <c:majorTickMark val="none"/>
        <c:minorTickMark val="none"/>
        <c:tickLblPos val="none"/>
        <c:spPr>
          <a:ln>
            <a:noFill/>
          </a:ln>
        </c:spPr>
        <c:crossAx val="1598616063"/>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488888888888891"/>
          <c:y val="0.3631713554987212"/>
          <c:w val="0.18933333333333333"/>
          <c:h val="0.27365728900255754"/>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CF25-C544-96A7-E2559F1C787A}"/>
              </c:ext>
            </c:extLst>
          </c:dPt>
          <c:dLbls>
            <c:dLbl>
              <c:idx val="0"/>
              <c:layout>
                <c:manualLayout>
                  <c:x val="0.1768888888888889"/>
                  <c:y val="6.6496163682864456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25-C544-96A7-E2559F1C787A}"/>
                </c:ext>
              </c:extLst>
            </c:dLbl>
            <c:dLbl>
              <c:idx val="1"/>
              <c:layout>
                <c:manualLayout>
                  <c:x val="0.14577777777777778"/>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25-C544-96A7-E2559F1C78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00</c:v>
                </c:pt>
                <c:pt idx="1">
                  <c:v>200</c:v>
                </c:pt>
              </c:numCache>
            </c:numRef>
          </c:val>
          <c:extLst>
            <c:ext xmlns:c16="http://schemas.microsoft.com/office/drawing/2014/chart" uri="{C3380CC4-5D6E-409C-BE32-E72D297353CC}">
              <c16:uniqueId val="{00000003-CF25-C544-96A7-E2559F1C787A}"/>
            </c:ext>
          </c:extLst>
        </c:ser>
        <c:dLbls>
          <c:showLegendKey val="0"/>
          <c:showVal val="0"/>
          <c:showCatName val="0"/>
          <c:showSerName val="0"/>
          <c:showPercent val="0"/>
          <c:showBubbleSize val="0"/>
        </c:dLbls>
        <c:gapWidth val="500"/>
        <c:overlap val="100"/>
        <c:axId val="198972543"/>
        <c:axId val="1"/>
      </c:barChart>
      <c:catAx>
        <c:axId val="19897254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t"/>
        <c:majorGridlines>
          <c:spPr>
            <a:ln>
              <a:noFill/>
            </a:ln>
          </c:spPr>
        </c:majorGridlines>
        <c:numFmt formatCode="General" sourceLinked="1"/>
        <c:majorTickMark val="none"/>
        <c:minorTickMark val="none"/>
        <c:tickLblPos val="none"/>
        <c:spPr>
          <a:ln>
            <a:noFill/>
          </a:ln>
        </c:spPr>
        <c:crossAx val="198972543"/>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488888888888891"/>
          <c:y val="0.35858585858585856"/>
          <c:w val="0.18933333333333333"/>
          <c:h val="0.28282828282828282"/>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FD85-104C-B9AF-21F449C80BBE}"/>
              </c:ext>
            </c:extLst>
          </c:dPt>
          <c:dLbls>
            <c:dLbl>
              <c:idx val="0"/>
              <c:layout>
                <c:manualLayout>
                  <c:x val="0.1768888888888889"/>
                  <c:y val="6.3131313131313135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85-104C-B9AF-21F449C80BBE}"/>
                </c:ext>
              </c:extLst>
            </c:dLbl>
            <c:dLbl>
              <c:idx val="1"/>
              <c:layout>
                <c:manualLayout>
                  <c:x val="0.14577777777777778"/>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85-104C-B9AF-21F449C80B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00</c:v>
                </c:pt>
                <c:pt idx="1">
                  <c:v>200</c:v>
                </c:pt>
              </c:numCache>
            </c:numRef>
          </c:val>
          <c:extLst>
            <c:ext xmlns:c16="http://schemas.microsoft.com/office/drawing/2014/chart" uri="{C3380CC4-5D6E-409C-BE32-E72D297353CC}">
              <c16:uniqueId val="{00000003-FD85-104C-B9AF-21F449C80BBE}"/>
            </c:ext>
          </c:extLst>
        </c:ser>
        <c:dLbls>
          <c:showLegendKey val="0"/>
          <c:showVal val="0"/>
          <c:showCatName val="0"/>
          <c:showSerName val="0"/>
          <c:showPercent val="0"/>
          <c:showBubbleSize val="0"/>
        </c:dLbls>
        <c:gapWidth val="500"/>
        <c:overlap val="100"/>
        <c:axId val="198948543"/>
        <c:axId val="1"/>
      </c:barChart>
      <c:catAx>
        <c:axId val="19894854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t"/>
        <c:majorGridlines>
          <c:spPr>
            <a:ln>
              <a:noFill/>
            </a:ln>
          </c:spPr>
        </c:majorGridlines>
        <c:numFmt formatCode="General" sourceLinked="1"/>
        <c:majorTickMark val="none"/>
        <c:minorTickMark val="none"/>
        <c:tickLblPos val="none"/>
        <c:spPr>
          <a:ln>
            <a:noFill/>
          </a:ln>
        </c:spPr>
        <c:crossAx val="198948543"/>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444444444444446"/>
          <c:y val="0.33971291866028708"/>
          <c:w val="0.14933333333333335"/>
          <c:h val="0.32057416267942584"/>
        </c:manualLayout>
      </c:layout>
      <c:barChart>
        <c:barDir val="bar"/>
        <c:grouping val="stacked"/>
        <c:varyColors val="0"/>
        <c:ser>
          <c:idx val="0"/>
          <c:order val="0"/>
          <c:spPr>
            <a:solidFill>
              <a:srgbClr val="FCBD79"/>
            </a:solidFill>
            <a:ln>
              <a:noFill/>
            </a:ln>
          </c:spPr>
          <c:invertIfNegative val="0"/>
          <c:dPt>
            <c:idx val="1"/>
            <c:invertIfNegative val="0"/>
            <c:bubble3D val="0"/>
            <c:spPr>
              <a:solidFill>
                <a:srgbClr val="FD6A7D"/>
              </a:solidFill>
              <a:ln>
                <a:noFill/>
              </a:ln>
            </c:spPr>
            <c:extLst>
              <c:ext xmlns:c16="http://schemas.microsoft.com/office/drawing/2014/chart" uri="{C3380CC4-5D6E-409C-BE32-E72D297353CC}">
                <c16:uniqueId val="{00000001-659E-7443-B73A-A25E00E17F91}"/>
              </c:ext>
            </c:extLst>
          </c:dPt>
          <c:dLbls>
            <c:dLbl>
              <c:idx val="0"/>
              <c:layout>
                <c:manualLayout>
                  <c:x val="0.15733333333333333"/>
                  <c:y val="4.0669856459330141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9E-7443-B73A-A25E00E17F91}"/>
                </c:ext>
              </c:extLst>
            </c:dLbl>
            <c:dLbl>
              <c:idx val="1"/>
              <c:layout>
                <c:manualLayout>
                  <c:x val="0.13600000000000001"/>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9E-7443-B73A-A25E00E17F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80</c:v>
                </c:pt>
                <c:pt idx="1">
                  <c:v>200</c:v>
                </c:pt>
              </c:numCache>
            </c:numRef>
          </c:val>
          <c:extLst>
            <c:ext xmlns:c16="http://schemas.microsoft.com/office/drawing/2014/chart" uri="{C3380CC4-5D6E-409C-BE32-E72D297353CC}">
              <c16:uniqueId val="{00000003-659E-7443-B73A-A25E00E17F91}"/>
            </c:ext>
          </c:extLst>
        </c:ser>
        <c:dLbls>
          <c:showLegendKey val="0"/>
          <c:showVal val="0"/>
          <c:showCatName val="0"/>
          <c:showSerName val="0"/>
          <c:showPercent val="0"/>
          <c:showBubbleSize val="0"/>
        </c:dLbls>
        <c:gapWidth val="500"/>
        <c:overlap val="100"/>
        <c:axId val="198874127"/>
        <c:axId val="1"/>
      </c:barChart>
      <c:catAx>
        <c:axId val="1988741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
          <c:min val="0"/>
        </c:scaling>
        <c:delete val="0"/>
        <c:axPos val="t"/>
        <c:majorGridlines>
          <c:spPr>
            <a:ln>
              <a:noFill/>
            </a:ln>
          </c:spPr>
        </c:majorGridlines>
        <c:numFmt formatCode="General" sourceLinked="1"/>
        <c:majorTickMark val="none"/>
        <c:minorTickMark val="none"/>
        <c:tickLblPos val="none"/>
        <c:spPr>
          <a:ln>
            <a:noFill/>
          </a:ln>
        </c:spPr>
        <c:crossAx val="198874127"/>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088888888888887"/>
          <c:y val="0.34803921568627449"/>
          <c:w val="0.15733333333333333"/>
          <c:h val="0.30392156862745096"/>
        </c:manualLayout>
      </c:layout>
      <c:barChart>
        <c:barDir val="bar"/>
        <c:grouping val="stacked"/>
        <c:varyColors val="0"/>
        <c:ser>
          <c:idx val="0"/>
          <c:order val="0"/>
          <c:spPr>
            <a:solidFill>
              <a:srgbClr val="FCBD79"/>
            </a:solidFill>
            <a:ln>
              <a:noFill/>
            </a:ln>
          </c:spPr>
          <c:invertIfNegative val="0"/>
          <c:dLbls>
            <c:dLbl>
              <c:idx val="0"/>
              <c:layout>
                <c:manualLayout>
                  <c:x val="0.16177777777777777"/>
                  <c:y val="0"/>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6F-EE4E-8B5F-559395AC5D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70</c:v>
                </c:pt>
              </c:numCache>
            </c:numRef>
          </c:val>
          <c:extLst>
            <c:ext xmlns:c16="http://schemas.microsoft.com/office/drawing/2014/chart" uri="{C3380CC4-5D6E-409C-BE32-E72D297353CC}">
              <c16:uniqueId val="{00000001-706F-EE4E-8B5F-559395AC5DA9}"/>
            </c:ext>
          </c:extLst>
        </c:ser>
        <c:dLbls>
          <c:showLegendKey val="0"/>
          <c:showVal val="0"/>
          <c:showCatName val="0"/>
          <c:showSerName val="0"/>
          <c:showPercent val="0"/>
          <c:showBubbleSize val="0"/>
        </c:dLbls>
        <c:gapWidth val="500"/>
        <c:overlap val="100"/>
        <c:axId val="198799119"/>
        <c:axId val="1"/>
      </c:barChart>
      <c:catAx>
        <c:axId val="1987991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0"/>
          <c:min val="0"/>
        </c:scaling>
        <c:delete val="0"/>
        <c:axPos val="t"/>
        <c:majorGridlines>
          <c:spPr>
            <a:ln>
              <a:noFill/>
            </a:ln>
          </c:spPr>
        </c:majorGridlines>
        <c:numFmt formatCode="General" sourceLinked="1"/>
        <c:majorTickMark val="none"/>
        <c:minorTickMark val="none"/>
        <c:tickLblPos val="none"/>
        <c:spPr>
          <a:ln>
            <a:noFill/>
          </a:ln>
        </c:spPr>
        <c:crossAx val="198799119"/>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92548647365922"/>
          <c:y val="4.6674445740956826E-2"/>
          <c:w val="0.82439487422876123"/>
          <c:h val="0.90606767794632437"/>
        </c:manualLayout>
      </c:layout>
      <c:barChart>
        <c:barDir val="col"/>
        <c:grouping val="clustered"/>
        <c:varyColors val="0"/>
        <c:ser>
          <c:idx val="0"/>
          <c:order val="0"/>
          <c:spPr>
            <a:solidFill>
              <a:schemeClr val="accent1"/>
            </a:solidFill>
            <a:ln w="9525" cmpd="sng" algn="ctr">
              <a:solidFill>
                <a:schemeClr val="tx1"/>
              </a:solidFill>
              <a:prstDash val="solid"/>
            </a:ln>
          </c:spPr>
          <c:invertIfNegative val="0"/>
          <c:val>
            <c:numRef>
              <c:f>Sheet1!$A$1:$F$1</c:f>
              <c:numCache>
                <c:formatCode>General</c:formatCode>
                <c:ptCount val="6"/>
                <c:pt idx="1">
                  <c:v>7.3</c:v>
                </c:pt>
                <c:pt idx="3">
                  <c:v>985</c:v>
                </c:pt>
              </c:numCache>
            </c:numRef>
          </c:val>
          <c:extLst>
            <c:ext xmlns:c16="http://schemas.microsoft.com/office/drawing/2014/chart" uri="{C3380CC4-5D6E-409C-BE32-E72D297353CC}">
              <c16:uniqueId val="{00000000-24AF-954B-9237-2E299DC260F9}"/>
            </c:ext>
          </c:extLst>
        </c:ser>
        <c:ser>
          <c:idx val="1"/>
          <c:order val="1"/>
          <c:spPr>
            <a:solidFill>
              <a:schemeClr val="accent6"/>
            </a:solidFill>
            <a:ln w="9525" cmpd="sng" algn="ctr">
              <a:solidFill>
                <a:schemeClr val="tx1"/>
              </a:solidFill>
              <a:prstDash val="solid"/>
            </a:ln>
          </c:spPr>
          <c:invertIfNegative val="0"/>
          <c:val>
            <c:numRef>
              <c:f>Sheet1!$A$2:$F$2</c:f>
              <c:numCache>
                <c:formatCode>General</c:formatCode>
                <c:ptCount val="6"/>
                <c:pt idx="0">
                  <c:v>50</c:v>
                </c:pt>
                <c:pt idx="1">
                  <c:v>10000</c:v>
                </c:pt>
                <c:pt idx="2">
                  <c:v>1000</c:v>
                </c:pt>
                <c:pt idx="3">
                  <c:v>10000</c:v>
                </c:pt>
                <c:pt idx="4">
                  <c:v>500</c:v>
                </c:pt>
                <c:pt idx="5">
                  <c:v>4500</c:v>
                </c:pt>
              </c:numCache>
            </c:numRef>
          </c:val>
          <c:extLst>
            <c:ext xmlns:c16="http://schemas.microsoft.com/office/drawing/2014/chart" uri="{C3380CC4-5D6E-409C-BE32-E72D297353CC}">
              <c16:uniqueId val="{00000001-24AF-954B-9237-2E299DC260F9}"/>
            </c:ext>
          </c:extLst>
        </c:ser>
        <c:dLbls>
          <c:showLegendKey val="0"/>
          <c:showVal val="0"/>
          <c:showCatName val="0"/>
          <c:showSerName val="0"/>
          <c:showPercent val="0"/>
          <c:showBubbleSize val="0"/>
        </c:dLbls>
        <c:gapWidth val="80"/>
        <c:axId val="1443514592"/>
        <c:axId val="1"/>
      </c:barChart>
      <c:catAx>
        <c:axId val="1443514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443514592"/>
        <c:crosses val="min"/>
        <c:crossBetween val="between"/>
        <c:majorUnit val="1000"/>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7117840204305E-2"/>
          <c:y val="9.3791281373844126E-2"/>
          <c:w val="0.96205764319591391"/>
          <c:h val="0.81241743725231175"/>
        </c:manualLayout>
      </c:layout>
      <c:barChart>
        <c:barDir val="col"/>
        <c:grouping val="stacked"/>
        <c:varyColors val="0"/>
        <c:ser>
          <c:idx val="0"/>
          <c:order val="0"/>
          <c:spPr>
            <a:solidFill>
              <a:schemeClr val="accent1"/>
            </a:solidFill>
            <a:ln>
              <a:noFill/>
            </a:ln>
          </c:spPr>
          <c:invertIfNegative val="0"/>
          <c:dLbls>
            <c:dLbl>
              <c:idx val="0"/>
              <c:layout>
                <c:manualLayout>
                  <c:x val="0"/>
                  <c:y val="-4.623513870541611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0F-D748-A33A-4B6497625D0C}"/>
                </c:ext>
              </c:extLst>
            </c:dLbl>
            <c:dLbl>
              <c:idx val="1"/>
              <c:layout>
                <c:manualLayout>
                  <c:x val="0"/>
                  <c:y val="-6.274768824306473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0F-D748-A33A-4B6497625D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375</c:v>
                </c:pt>
                <c:pt idx="1">
                  <c:v>63694</c:v>
                </c:pt>
                <c:pt idx="2">
                  <c:v>63694</c:v>
                </c:pt>
              </c:numCache>
            </c:numRef>
          </c:val>
          <c:extLst>
            <c:ext xmlns:c16="http://schemas.microsoft.com/office/drawing/2014/chart" uri="{C3380CC4-5D6E-409C-BE32-E72D297353CC}">
              <c16:uniqueId val="{00000002-660F-D748-A33A-4B6497625D0C}"/>
            </c:ext>
          </c:extLst>
        </c:ser>
        <c:ser>
          <c:idx val="1"/>
          <c:order val="1"/>
          <c:spPr>
            <a:solidFill>
              <a:schemeClr val="accent5"/>
            </a:solidFill>
            <a:ln>
              <a:noFill/>
            </a:ln>
          </c:spPr>
          <c:invertIfNegative val="0"/>
          <c:val>
            <c:numRef>
              <c:f>Sheet1!$A$2:$C$2</c:f>
              <c:numCache>
                <c:formatCode>General</c:formatCode>
                <c:ptCount val="3"/>
                <c:pt idx="2">
                  <c:v>1209299</c:v>
                </c:pt>
              </c:numCache>
            </c:numRef>
          </c:val>
          <c:extLst>
            <c:ext xmlns:c16="http://schemas.microsoft.com/office/drawing/2014/chart" uri="{C3380CC4-5D6E-409C-BE32-E72D297353CC}">
              <c16:uniqueId val="{00000003-660F-D748-A33A-4B6497625D0C}"/>
            </c:ext>
          </c:extLst>
        </c:ser>
        <c:dLbls>
          <c:showLegendKey val="0"/>
          <c:showVal val="0"/>
          <c:showCatName val="0"/>
          <c:showSerName val="0"/>
          <c:showPercent val="0"/>
          <c:showBubbleSize val="0"/>
        </c:dLbls>
        <c:gapWidth val="150"/>
        <c:overlap val="100"/>
        <c:axId val="479688368"/>
        <c:axId val="1"/>
      </c:barChart>
      <c:catAx>
        <c:axId val="479688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72993"/>
          <c:min val="0"/>
        </c:scaling>
        <c:delete val="1"/>
        <c:axPos val="l"/>
        <c:numFmt formatCode="General" sourceLinked="1"/>
        <c:majorTickMark val="out"/>
        <c:minorTickMark val="none"/>
        <c:tickLblPos val="nextTo"/>
        <c:crossAx val="479688368"/>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762475049900199"/>
          <c:y val="0.14109347442680775"/>
          <c:w val="0.70791749833666007"/>
          <c:h val="0.52557319223985888"/>
        </c:manualLayout>
      </c:layout>
      <c:scatterChart>
        <c:scatterStyle val="lineMarker"/>
        <c:varyColors val="0"/>
        <c:ser>
          <c:idx val="0"/>
          <c:order val="0"/>
          <c:spPr>
            <a:ln w="19050" cmpd="sng" algn="ctr">
              <a:solidFill>
                <a:schemeClr val="accent1"/>
              </a:solidFill>
              <a:prstDash val="solid"/>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2:$Y$2</c:f>
              <c:numCache>
                <c:formatCode>General</c:formatCode>
                <c:ptCount val="25"/>
                <c:pt idx="0">
                  <c:v>58</c:v>
                </c:pt>
                <c:pt idx="1">
                  <c:v>58</c:v>
                </c:pt>
                <c:pt idx="2">
                  <c:v>58</c:v>
                </c:pt>
                <c:pt idx="3">
                  <c:v>58</c:v>
                </c:pt>
                <c:pt idx="4">
                  <c:v>128</c:v>
                </c:pt>
                <c:pt idx="5">
                  <c:v>128</c:v>
                </c:pt>
                <c:pt idx="6">
                  <c:v>128</c:v>
                </c:pt>
                <c:pt idx="7">
                  <c:v>128</c:v>
                </c:pt>
                <c:pt idx="8">
                  <c:v>128</c:v>
                </c:pt>
                <c:pt idx="9">
                  <c:v>163</c:v>
                </c:pt>
                <c:pt idx="10">
                  <c:v>198</c:v>
                </c:pt>
                <c:pt idx="11">
                  <c:v>198</c:v>
                </c:pt>
                <c:pt idx="12">
                  <c:v>205.5</c:v>
                </c:pt>
                <c:pt idx="13">
                  <c:v>205.5</c:v>
                </c:pt>
                <c:pt idx="14">
                  <c:v>366.1</c:v>
                </c:pt>
                <c:pt idx="15">
                  <c:v>618.9</c:v>
                </c:pt>
                <c:pt idx="16">
                  <c:v>652.9</c:v>
                </c:pt>
                <c:pt idx="17">
                  <c:v>672.9</c:v>
                </c:pt>
                <c:pt idx="18">
                  <c:v>683.8</c:v>
                </c:pt>
                <c:pt idx="19">
                  <c:v>683.8</c:v>
                </c:pt>
                <c:pt idx="20">
                  <c:v>863.13</c:v>
                </c:pt>
                <c:pt idx="21">
                  <c:v>863.13</c:v>
                </c:pt>
                <c:pt idx="22">
                  <c:v>949.73</c:v>
                </c:pt>
                <c:pt idx="23">
                  <c:v>984.73</c:v>
                </c:pt>
                <c:pt idx="24">
                  <c:v>939.73</c:v>
                </c:pt>
              </c:numCache>
            </c:numRef>
          </c:yVal>
          <c:smooth val="0"/>
          <c:extLst>
            <c:ext xmlns:c16="http://schemas.microsoft.com/office/drawing/2014/chart" uri="{C3380CC4-5D6E-409C-BE32-E72D297353CC}">
              <c16:uniqueId val="{00000000-1C7E-8C4E-A84D-19E05BF80743}"/>
            </c:ext>
          </c:extLst>
        </c:ser>
        <c:dLbls>
          <c:showLegendKey val="0"/>
          <c:showVal val="0"/>
          <c:showCatName val="0"/>
          <c:showSerName val="0"/>
          <c:showPercent val="0"/>
          <c:showBubbleSize val="0"/>
        </c:dLbls>
        <c:axId val="4"/>
        <c:axId val="5"/>
      </c:scatterChart>
      <c:valAx>
        <c:axId val="4"/>
        <c:scaling>
          <c:orientation val="minMax"/>
          <c:max val="2025"/>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73415724428083E-2"/>
          <c:y val="4.9760765550239235E-2"/>
          <c:w val="0.97265316855114381"/>
          <c:h val="0.90047846889952154"/>
        </c:manualLayout>
      </c:layout>
      <c:barChart>
        <c:barDir val="col"/>
        <c:grouping val="stacked"/>
        <c:varyColors val="0"/>
        <c:ser>
          <c:idx val="0"/>
          <c:order val="0"/>
          <c:spPr>
            <a:solidFill>
              <a:schemeClr val="accent1"/>
            </a:solidFill>
            <a:ln>
              <a:noFill/>
            </a:ln>
          </c:spPr>
          <c:invertIfNegative val="0"/>
          <c:dPt>
            <c:idx val="7"/>
            <c:invertIfNegative val="0"/>
            <c:bubble3D val="0"/>
            <c:spPr>
              <a:noFill/>
              <a:ln>
                <a:noFill/>
              </a:ln>
            </c:spPr>
            <c:extLst>
              <c:ext xmlns:c16="http://schemas.microsoft.com/office/drawing/2014/chart" uri="{C3380CC4-5D6E-409C-BE32-E72D297353CC}">
                <c16:uniqueId val="{00000000-042E-AA43-9438-0F16716E8797}"/>
              </c:ext>
            </c:extLst>
          </c:dPt>
          <c:val>
            <c:numRef>
              <c:f>Sheet1!$A$1:$H$1</c:f>
              <c:numCache>
                <c:formatCode>General</c:formatCode>
                <c:ptCount val="8"/>
                <c:pt idx="0">
                  <c:v>18</c:v>
                </c:pt>
                <c:pt idx="1">
                  <c:v>15</c:v>
                </c:pt>
                <c:pt idx="2">
                  <c:v>94</c:v>
                </c:pt>
                <c:pt idx="3">
                  <c:v>624</c:v>
                </c:pt>
                <c:pt idx="4">
                  <c:v>1613.1880000000001</c:v>
                </c:pt>
                <c:pt idx="5">
                  <c:v>1734.338</c:v>
                </c:pt>
                <c:pt idx="7">
                  <c:v>4000</c:v>
                </c:pt>
              </c:numCache>
            </c:numRef>
          </c:val>
          <c:extLst>
            <c:ext xmlns:c16="http://schemas.microsoft.com/office/drawing/2014/chart" uri="{C3380CC4-5D6E-409C-BE32-E72D297353CC}">
              <c16:uniqueId val="{00000001-042E-AA43-9438-0F16716E8797}"/>
            </c:ext>
          </c:extLst>
        </c:ser>
        <c:dLbls>
          <c:showLegendKey val="0"/>
          <c:showVal val="0"/>
          <c:showCatName val="0"/>
          <c:showSerName val="0"/>
          <c:showPercent val="0"/>
          <c:showBubbleSize val="0"/>
        </c:dLbls>
        <c:gapWidth val="80"/>
        <c:overlap val="100"/>
        <c:axId val="2101040256"/>
        <c:axId val="1"/>
      </c:barChart>
      <c:catAx>
        <c:axId val="2101040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none"/>
        <c:minorTickMark val="none"/>
        <c:tickLblPos val="none"/>
        <c:spPr>
          <a:ln>
            <a:noFill/>
          </a:ln>
        </c:spPr>
        <c:crossAx val="2101040256"/>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1111111111111E-2"/>
          <c:y val="2.7069234773555439E-2"/>
          <c:w val="0.95377777777777772"/>
          <c:h val="0.94586153045288912"/>
        </c:manualLayout>
      </c:layout>
      <c:barChart>
        <c:barDir val="col"/>
        <c:grouping val="stacked"/>
        <c:varyColors val="0"/>
        <c:ser>
          <c:idx val="0"/>
          <c:order val="0"/>
          <c:spPr>
            <a:solidFill>
              <a:schemeClr val="accent1"/>
            </a:solidFill>
            <a:ln>
              <a:noFill/>
            </a:ln>
          </c:spPr>
          <c:invertIfNegative val="0"/>
          <c:dPt>
            <c:idx val="7"/>
            <c:invertIfNegative val="0"/>
            <c:bubble3D val="0"/>
            <c:spPr>
              <a:noFill/>
              <a:ln>
                <a:noFill/>
              </a:ln>
            </c:spPr>
            <c:extLst>
              <c:ext xmlns:c16="http://schemas.microsoft.com/office/drawing/2014/chart" uri="{C3380CC4-5D6E-409C-BE32-E72D297353CC}">
                <c16:uniqueId val="{00000000-BD99-3745-80C3-5BE7BC5B519B}"/>
              </c:ext>
            </c:extLst>
          </c:dPt>
          <c:val>
            <c:numRef>
              <c:f>Sheet1!$A$1:$H$1</c:f>
              <c:numCache>
                <c:formatCode>General</c:formatCode>
                <c:ptCount val="8"/>
                <c:pt idx="0">
                  <c:v>590</c:v>
                </c:pt>
                <c:pt idx="1">
                  <c:v>671</c:v>
                </c:pt>
                <c:pt idx="2">
                  <c:v>728</c:v>
                </c:pt>
                <c:pt idx="3">
                  <c:v>768</c:v>
                </c:pt>
                <c:pt idx="4">
                  <c:v>771.79</c:v>
                </c:pt>
                <c:pt idx="5">
                  <c:v>771.79</c:v>
                </c:pt>
                <c:pt idx="7">
                  <c:v>1000</c:v>
                </c:pt>
              </c:numCache>
            </c:numRef>
          </c:val>
          <c:extLst>
            <c:ext xmlns:c16="http://schemas.microsoft.com/office/drawing/2014/chart" uri="{C3380CC4-5D6E-409C-BE32-E72D297353CC}">
              <c16:uniqueId val="{00000001-BD99-3745-80C3-5BE7BC5B519B}"/>
            </c:ext>
          </c:extLst>
        </c:ser>
        <c:dLbls>
          <c:showLegendKey val="0"/>
          <c:showVal val="0"/>
          <c:showCatName val="0"/>
          <c:showSerName val="0"/>
          <c:showPercent val="0"/>
          <c:showBubbleSize val="0"/>
        </c:dLbls>
        <c:gapWidth val="150"/>
        <c:overlap val="100"/>
        <c:axId val="1925556096"/>
        <c:axId val="1"/>
      </c:barChart>
      <c:catAx>
        <c:axId val="1925556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a:noFill/>
          </a:ln>
        </c:spPr>
        <c:crossAx val="1925556096"/>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6.7493112947658404E-2"/>
          <c:w val="0.86221294363256784"/>
          <c:h val="0.86501377410468316"/>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5"/>
            <c:invertIfNegative val="0"/>
            <c:bubble3D val="0"/>
            <c:spPr>
              <a:solidFill>
                <a:schemeClr val="accent6"/>
              </a:solidFill>
              <a:ln w="9525" cmpd="sng" algn="ctr">
                <a:solidFill>
                  <a:schemeClr val="tx1"/>
                </a:solidFill>
                <a:prstDash val="solid"/>
              </a:ln>
            </c:spPr>
            <c:extLst>
              <c:ext xmlns:c16="http://schemas.microsoft.com/office/drawing/2014/chart" uri="{C3380CC4-5D6E-409C-BE32-E72D297353CC}">
                <c16:uniqueId val="{00000001-208A-2E4E-AAB7-B230E51D393D}"/>
              </c:ext>
            </c:extLst>
          </c:dPt>
          <c:val>
            <c:numRef>
              <c:f>Sheet1!$A$1:$F$1</c:f>
              <c:numCache>
                <c:formatCode>General</c:formatCode>
                <c:ptCount val="6"/>
                <c:pt idx="0">
                  <c:v>145</c:v>
                </c:pt>
                <c:pt idx="1">
                  <c:v>1000</c:v>
                </c:pt>
                <c:pt idx="2">
                  <c:v>1375</c:v>
                </c:pt>
                <c:pt idx="3">
                  <c:v>2000</c:v>
                </c:pt>
                <c:pt idx="4">
                  <c:v>2250</c:v>
                </c:pt>
                <c:pt idx="5">
                  <c:v>3300</c:v>
                </c:pt>
              </c:numCache>
            </c:numRef>
          </c:val>
          <c:extLst>
            <c:ext xmlns:c16="http://schemas.microsoft.com/office/drawing/2014/chart" uri="{C3380CC4-5D6E-409C-BE32-E72D297353CC}">
              <c16:uniqueId val="{00000002-208A-2E4E-AAB7-B230E51D393D}"/>
            </c:ext>
          </c:extLst>
        </c:ser>
        <c:dLbls>
          <c:showLegendKey val="0"/>
          <c:showVal val="0"/>
          <c:showCatName val="0"/>
          <c:showSerName val="0"/>
          <c:showPercent val="0"/>
          <c:showBubbleSize val="0"/>
        </c:dLbls>
        <c:gapWidth val="80"/>
        <c:overlap val="100"/>
        <c:axId val="2097559568"/>
        <c:axId val="1"/>
      </c:barChart>
      <c:catAx>
        <c:axId val="2097559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ea"/>
                <a:cs typeface="+mn-cs"/>
              </a:defRPr>
            </a:pPr>
            <a:endParaRPr lang="en-US"/>
          </a:p>
        </c:txPr>
        <c:crossAx val="2097559568"/>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3636739760033"/>
          <c:y val="5.3146853146853149E-2"/>
          <c:w val="0.79520066197765826"/>
          <c:h val="0.81678321678321675"/>
        </c:manualLayout>
      </c:layout>
      <c:scatterChart>
        <c:scatterStyle val="lineMarker"/>
        <c:varyColors val="0"/>
        <c:ser>
          <c:idx val="0"/>
          <c:order val="0"/>
          <c:spPr>
            <a:ln w="19050" cmpd="sng" algn="ctr">
              <a:solidFill>
                <a:srgbClr val="C0C0C0"/>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2:$H$2</c:f>
              <c:numCache>
                <c:formatCode>General</c:formatCode>
                <c:ptCount val="8"/>
                <c:pt idx="1">
                  <c:v>25</c:v>
                </c:pt>
                <c:pt idx="2">
                  <c:v>25</c:v>
                </c:pt>
                <c:pt idx="3">
                  <c:v>28</c:v>
                </c:pt>
                <c:pt idx="4">
                  <c:v>32</c:v>
                </c:pt>
                <c:pt idx="5">
                  <c:v>36</c:v>
                </c:pt>
                <c:pt idx="6">
                  <c:v>41</c:v>
                </c:pt>
                <c:pt idx="7">
                  <c:v>46</c:v>
                </c:pt>
              </c:numCache>
            </c:numRef>
          </c:yVal>
          <c:smooth val="0"/>
          <c:extLst>
            <c:ext xmlns:c16="http://schemas.microsoft.com/office/drawing/2014/chart" uri="{C3380CC4-5D6E-409C-BE32-E72D297353CC}">
              <c16:uniqueId val="{00000000-92F5-3746-A379-242EA1357A65}"/>
            </c:ext>
          </c:extLst>
        </c:ser>
        <c:ser>
          <c:idx val="1"/>
          <c:order val="1"/>
          <c:spPr>
            <a:ln w="28575" cmpd="sng" algn="ctr">
              <a:solidFill>
                <a:schemeClr val="accent1"/>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3:$H$3</c:f>
              <c:numCache>
                <c:formatCode>General</c:formatCode>
                <c:ptCount val="8"/>
                <c:pt idx="1">
                  <c:v>11</c:v>
                </c:pt>
                <c:pt idx="2">
                  <c:v>11</c:v>
                </c:pt>
                <c:pt idx="3">
                  <c:v>12</c:v>
                </c:pt>
                <c:pt idx="4">
                  <c:v>14</c:v>
                </c:pt>
                <c:pt idx="5">
                  <c:v>16</c:v>
                </c:pt>
                <c:pt idx="6">
                  <c:v>18</c:v>
                </c:pt>
                <c:pt idx="7">
                  <c:v>20</c:v>
                </c:pt>
              </c:numCache>
            </c:numRef>
          </c:yVal>
          <c:smooth val="0"/>
          <c:extLst>
            <c:ext xmlns:c16="http://schemas.microsoft.com/office/drawing/2014/chart" uri="{C3380CC4-5D6E-409C-BE32-E72D297353CC}">
              <c16:uniqueId val="{00000001-92F5-3746-A379-242EA1357A65}"/>
            </c:ext>
          </c:extLst>
        </c:ser>
        <c:ser>
          <c:idx val="2"/>
          <c:order val="2"/>
          <c:spPr>
            <a:ln w="28575" cmpd="sng" algn="ctr">
              <a:solidFill>
                <a:schemeClr val="accent4"/>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4:$H$4</c:f>
              <c:numCache>
                <c:formatCode>General</c:formatCode>
                <c:ptCount val="8"/>
                <c:pt idx="1">
                  <c:v>1</c:v>
                </c:pt>
                <c:pt idx="2">
                  <c:v>1</c:v>
                </c:pt>
                <c:pt idx="3">
                  <c:v>2</c:v>
                </c:pt>
                <c:pt idx="4">
                  <c:v>3</c:v>
                </c:pt>
                <c:pt idx="5">
                  <c:v>4.5</c:v>
                </c:pt>
                <c:pt idx="6">
                  <c:v>6</c:v>
                </c:pt>
                <c:pt idx="7">
                  <c:v>8</c:v>
                </c:pt>
              </c:numCache>
            </c:numRef>
          </c:yVal>
          <c:smooth val="0"/>
          <c:extLst>
            <c:ext xmlns:c16="http://schemas.microsoft.com/office/drawing/2014/chart" uri="{C3380CC4-5D6E-409C-BE32-E72D297353CC}">
              <c16:uniqueId val="{00000002-92F5-3746-A379-242EA1357A65}"/>
            </c:ext>
          </c:extLst>
        </c:ser>
        <c:ser>
          <c:idx val="3"/>
          <c:order val="3"/>
          <c:spPr>
            <a:ln w="28575" cmpd="sng" algn="ctr">
              <a:solidFill>
                <a:schemeClr val="bg2"/>
              </a:solidFill>
              <a:prstDash val="lgDash"/>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5:$H$5</c:f>
              <c:numCache>
                <c:formatCode>General</c:formatCode>
                <c:ptCount val="8"/>
                <c:pt idx="1">
                  <c:v>1</c:v>
                </c:pt>
                <c:pt idx="2">
                  <c:v>1</c:v>
                </c:pt>
                <c:pt idx="3">
                  <c:v>2.5</c:v>
                </c:pt>
                <c:pt idx="4">
                  <c:v>4.5</c:v>
                </c:pt>
                <c:pt idx="5">
                  <c:v>8</c:v>
                </c:pt>
                <c:pt idx="6">
                  <c:v>13</c:v>
                </c:pt>
                <c:pt idx="7">
                  <c:v>20</c:v>
                </c:pt>
              </c:numCache>
            </c:numRef>
          </c:yVal>
          <c:smooth val="0"/>
          <c:extLst>
            <c:ext xmlns:c16="http://schemas.microsoft.com/office/drawing/2014/chart" uri="{C3380CC4-5D6E-409C-BE32-E72D297353CC}">
              <c16:uniqueId val="{00000003-92F5-3746-A379-242EA1357A65}"/>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56475300400534E-2"/>
          <c:y val="9.4666666666666663E-2"/>
          <c:w val="0.96528704939919896"/>
          <c:h val="0.81066666666666665"/>
        </c:manualLayout>
      </c:layout>
      <c:barChart>
        <c:barDir val="col"/>
        <c:grouping val="stacked"/>
        <c:varyColors val="0"/>
        <c:ser>
          <c:idx val="0"/>
          <c:order val="0"/>
          <c:spPr>
            <a:solidFill>
              <a:schemeClr val="accent1"/>
            </a:solidFill>
            <a:ln>
              <a:noFill/>
            </a:ln>
          </c:spPr>
          <c:invertIfNegative val="0"/>
          <c:dLbls>
            <c:dLbl>
              <c:idx val="0"/>
              <c:layout>
                <c:manualLayout>
                  <c:x val="0"/>
                  <c:y val="-4.5333333333333337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C6-FC4A-B3F4-6B5B127C05FB}"/>
                </c:ext>
              </c:extLst>
            </c:dLbl>
            <c:dLbl>
              <c:idx val="1"/>
              <c:layout>
                <c:manualLayout>
                  <c:x val="0"/>
                  <c:y val="-4.8000000000000001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C6-FC4A-B3F4-6B5B127C0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8015</c:v>
                </c:pt>
                <c:pt idx="1">
                  <c:v>167029</c:v>
                </c:pt>
                <c:pt idx="2">
                  <c:v>167029</c:v>
                </c:pt>
              </c:numCache>
            </c:numRef>
          </c:val>
          <c:extLst>
            <c:ext xmlns:c16="http://schemas.microsoft.com/office/drawing/2014/chart" uri="{C3380CC4-5D6E-409C-BE32-E72D297353CC}">
              <c16:uniqueId val="{00000002-8DC6-FC4A-B3F4-6B5B127C05FB}"/>
            </c:ext>
          </c:extLst>
        </c:ser>
        <c:ser>
          <c:idx val="1"/>
          <c:order val="1"/>
          <c:spPr>
            <a:solidFill>
              <a:srgbClr val="D0227C"/>
            </a:solidFill>
            <a:ln>
              <a:noFill/>
            </a:ln>
          </c:spPr>
          <c:invertIfNegative val="0"/>
          <c:val>
            <c:numRef>
              <c:f>Sheet1!$A$2:$C$2</c:f>
              <c:numCache>
                <c:formatCode>General</c:formatCode>
                <c:ptCount val="3"/>
                <c:pt idx="2">
                  <c:v>11528016</c:v>
                </c:pt>
              </c:numCache>
            </c:numRef>
          </c:val>
          <c:extLst>
            <c:ext xmlns:c16="http://schemas.microsoft.com/office/drawing/2014/chart" uri="{C3380CC4-5D6E-409C-BE32-E72D297353CC}">
              <c16:uniqueId val="{00000003-8DC6-FC4A-B3F4-6B5B127C05FB}"/>
            </c:ext>
          </c:extLst>
        </c:ser>
        <c:dLbls>
          <c:showLegendKey val="0"/>
          <c:showVal val="0"/>
          <c:showCatName val="0"/>
          <c:showSerName val="0"/>
          <c:showPercent val="0"/>
          <c:showBubbleSize val="0"/>
        </c:dLbls>
        <c:gapWidth val="500"/>
        <c:overlap val="100"/>
        <c:axId val="1702674624"/>
        <c:axId val="1"/>
      </c:barChart>
      <c:catAx>
        <c:axId val="17026746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695045"/>
          <c:min val="0"/>
        </c:scaling>
        <c:delete val="0"/>
        <c:axPos val="l"/>
        <c:majorGridlines>
          <c:spPr>
            <a:ln>
              <a:noFill/>
            </a:ln>
          </c:spPr>
        </c:majorGridlines>
        <c:numFmt formatCode="General" sourceLinked="1"/>
        <c:majorTickMark val="none"/>
        <c:minorTickMark val="none"/>
        <c:tickLblPos val="none"/>
        <c:spPr>
          <a:ln>
            <a:noFill/>
          </a:ln>
        </c:spPr>
        <c:crossAx val="1702674624"/>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82831154064803E-2"/>
          <c:y val="6.5639651707970523E-2"/>
          <c:w val="0.88743604320636726"/>
          <c:h val="0.86872069658405893"/>
        </c:manualLayout>
      </c:layout>
      <c:barChart>
        <c:barDir val="col"/>
        <c:grouping val="stacked"/>
        <c:varyColors val="0"/>
        <c:ser>
          <c:idx val="0"/>
          <c:order val="0"/>
          <c:spPr>
            <a:solidFill>
              <a:schemeClr val="accent1"/>
            </a:solidFill>
            <a:ln>
              <a:noFill/>
            </a:ln>
          </c:spPr>
          <c:invertIfNegative val="0"/>
          <c:dPt>
            <c:idx val="7"/>
            <c:invertIfNegative val="0"/>
            <c:bubble3D val="0"/>
            <c:spPr>
              <a:solidFill>
                <a:schemeClr val="accent6"/>
              </a:solidFill>
              <a:ln>
                <a:noFill/>
              </a:ln>
            </c:spPr>
            <c:extLst>
              <c:ext xmlns:c16="http://schemas.microsoft.com/office/drawing/2014/chart" uri="{C3380CC4-5D6E-409C-BE32-E72D297353CC}">
                <c16:uniqueId val="{00000000-95A2-CD47-9959-2C1E5A46DB03}"/>
              </c:ext>
            </c:extLst>
          </c:dPt>
          <c:val>
            <c:numRef>
              <c:f>Sheet1!$A$1:$H$1</c:f>
              <c:numCache>
                <c:formatCode>General</c:formatCode>
                <c:ptCount val="8"/>
                <c:pt idx="0">
                  <c:v>40</c:v>
                </c:pt>
                <c:pt idx="1">
                  <c:v>130</c:v>
                </c:pt>
                <c:pt idx="2">
                  <c:v>230</c:v>
                </c:pt>
                <c:pt idx="3">
                  <c:v>500</c:v>
                </c:pt>
                <c:pt idx="4">
                  <c:v>530</c:v>
                </c:pt>
                <c:pt idx="5">
                  <c:v>520</c:v>
                </c:pt>
                <c:pt idx="6">
                  <c:v>520</c:v>
                </c:pt>
                <c:pt idx="7">
                  <c:v>1500</c:v>
                </c:pt>
              </c:numCache>
            </c:numRef>
          </c:val>
          <c:extLst>
            <c:ext xmlns:c16="http://schemas.microsoft.com/office/drawing/2014/chart" uri="{C3380CC4-5D6E-409C-BE32-E72D297353CC}">
              <c16:uniqueId val="{00000001-95A2-CD47-9959-2C1E5A46DB03}"/>
            </c:ext>
          </c:extLst>
        </c:ser>
        <c:dLbls>
          <c:showLegendKey val="0"/>
          <c:showVal val="0"/>
          <c:showCatName val="0"/>
          <c:showSerName val="0"/>
          <c:showPercent val="0"/>
          <c:showBubbleSize val="0"/>
        </c:dLbls>
        <c:gapWidth val="80"/>
        <c:overlap val="100"/>
        <c:axId val="260754399"/>
        <c:axId val="1"/>
      </c:barChart>
      <c:catAx>
        <c:axId val="2607543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60754399"/>
        <c:crosses val="min"/>
        <c:crossBetween val="between"/>
        <c:majorUnit val="500"/>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43801652892562E-2"/>
          <c:y val="2.6026026026026026E-2"/>
          <c:w val="0.97851239669421486"/>
          <c:h val="0.9479479479479479"/>
        </c:manualLayout>
      </c:layout>
      <c:scatterChart>
        <c:scatterStyle val="lineMarker"/>
        <c:varyColors val="0"/>
        <c:ser>
          <c:idx val="0"/>
          <c:order val="0"/>
          <c:spPr>
            <a:ln w="28575" cmpd="sng" algn="ctr">
              <a:solidFill>
                <a:schemeClr val="accent5"/>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2:$AC$2</c:f>
              <c:numCache>
                <c:formatCode>General</c:formatCode>
                <c:ptCount val="29"/>
                <c:pt idx="0">
                  <c:v>2574.3766071436357</c:v>
                </c:pt>
                <c:pt idx="1">
                  <c:v>2372.2610430889144</c:v>
                </c:pt>
                <c:pt idx="2">
                  <c:v>2181.5636315481624</c:v>
                </c:pt>
                <c:pt idx="3">
                  <c:v>2001.184010920676</c:v>
                </c:pt>
                <c:pt idx="4">
                  <c:v>1830.1658436855951</c:v>
                </c:pt>
                <c:pt idx="5">
                  <c:v>1667.6734003855645</c:v>
                </c:pt>
                <c:pt idx="6">
                  <c:v>1512.9726385677668</c:v>
                </c:pt>
                <c:pt idx="7">
                  <c:v>1365.4157908957059</c:v>
                </c:pt>
                <c:pt idx="8">
                  <c:v>1224.4287180147221</c:v>
                </c:pt>
                <c:pt idx="9">
                  <c:v>1089.5004582526453</c:v>
                </c:pt>
                <c:pt idx="10">
                  <c:v>960.17453675497018</c:v>
                </c:pt>
                <c:pt idx="11">
                  <c:v>836.04169418246147</c:v>
                </c:pt>
                <c:pt idx="12">
                  <c:v>716.7337686892979</c:v>
                </c:pt>
                <c:pt idx="13">
                  <c:v>601.91852044249845</c:v>
                </c:pt>
                <c:pt idx="14">
                  <c:v>576.38947603558518</c:v>
                </c:pt>
                <c:pt idx="15">
                  <c:v>550.98807685070733</c:v>
                </c:pt>
                <c:pt idx="16">
                  <c:v>525.71368466175409</c:v>
                </c:pt>
                <c:pt idx="17">
                  <c:v>500.56566443374504</c:v>
                </c:pt>
                <c:pt idx="18">
                  <c:v>475.54338430687585</c:v>
                </c:pt>
                <c:pt idx="19">
                  <c:v>450.64621558064118</c:v>
                </c:pt>
                <c:pt idx="20">
                  <c:v>425.87353269803771</c:v>
                </c:pt>
                <c:pt idx="21">
                  <c:v>401.22471322984711</c:v>
                </c:pt>
                <c:pt idx="22">
                  <c:v>376.69913785899826</c:v>
                </c:pt>
                <c:pt idx="23">
                  <c:v>352.29619036500299</c:v>
                </c:pt>
                <c:pt idx="24">
                  <c:v>328.01525760847744</c:v>
                </c:pt>
                <c:pt idx="25">
                  <c:v>303.85572951573522</c:v>
                </c:pt>
                <c:pt idx="26">
                  <c:v>279.81699906345602</c:v>
                </c:pt>
                <c:pt idx="27">
                  <c:v>255.89846226343889</c:v>
                </c:pt>
                <c:pt idx="28">
                  <c:v>232.09951814742089</c:v>
                </c:pt>
              </c:numCache>
            </c:numRef>
          </c:yVal>
          <c:smooth val="0"/>
          <c:extLst>
            <c:ext xmlns:c16="http://schemas.microsoft.com/office/drawing/2014/chart" uri="{C3380CC4-5D6E-409C-BE32-E72D297353CC}">
              <c16:uniqueId val="{00000000-7AD1-1548-806D-39E3BAC1B4F6}"/>
            </c:ext>
          </c:extLst>
        </c:ser>
        <c:ser>
          <c:idx val="1"/>
          <c:order val="1"/>
          <c:spPr>
            <a:ln w="28575" cmpd="sng" algn="ctr">
              <a:solidFill>
                <a:schemeClr val="accent4"/>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3:$AC$3</c:f>
              <c:numCache>
                <c:formatCode>General</c:formatCode>
                <c:ptCount val="29"/>
                <c:pt idx="0">
                  <c:v>2574.3766071436357</c:v>
                </c:pt>
                <c:pt idx="1">
                  <c:v>2457.7036539301071</c:v>
                </c:pt>
                <c:pt idx="2">
                  <c:v>2350.4020841656948</c:v>
                </c:pt>
                <c:pt idx="3">
                  <c:v>2251.119054821992</c:v>
                </c:pt>
                <c:pt idx="4">
                  <c:v>2158.7690628296723</c:v>
                </c:pt>
                <c:pt idx="5">
                  <c:v>2072.4685776643901</c:v>
                </c:pt>
                <c:pt idx="6">
                  <c:v>1991.4893828601953</c:v>
                </c:pt>
                <c:pt idx="7">
                  <c:v>1915.2245731198036</c:v>
                </c:pt>
                <c:pt idx="8">
                  <c:v>1843.1633158736486</c:v>
                </c:pt>
                <c:pt idx="9">
                  <c:v>1774.8718101598133</c:v>
                </c:pt>
                <c:pt idx="10">
                  <c:v>1709.9787096908749</c:v>
                </c:pt>
                <c:pt idx="11">
                  <c:v>1648.1638156625095</c:v>
                </c:pt>
                <c:pt idx="12">
                  <c:v>1589.1492007180968</c:v>
                </c:pt>
                <c:pt idx="13">
                  <c:v>1532.692165860276</c:v>
                </c:pt>
                <c:pt idx="14">
                  <c:v>1502.5632787515997</c:v>
                </c:pt>
                <c:pt idx="15">
                  <c:v>1472.5850360784689</c:v>
                </c:pt>
                <c:pt idx="16">
                  <c:v>1442.7566846187019</c:v>
                </c:pt>
                <c:pt idx="17">
                  <c:v>1413.0774749162338</c:v>
                </c:pt>
                <c:pt idx="18">
                  <c:v>1383.5466612622786</c:v>
                </c:pt>
                <c:pt idx="19">
                  <c:v>1354.163501676594</c:v>
                </c:pt>
                <c:pt idx="20">
                  <c:v>1324.9272578888367</c:v>
                </c:pt>
                <c:pt idx="21">
                  <c:v>1295.8371953200185</c:v>
                </c:pt>
                <c:pt idx="22">
                  <c:v>1266.8925830640446</c:v>
                </c:pt>
                <c:pt idx="23">
                  <c:v>1238.0926938693501</c:v>
                </c:pt>
                <c:pt idx="24">
                  <c:v>1209.4368041206289</c:v>
                </c:pt>
                <c:pt idx="25">
                  <c:v>1180.9241938206524</c:v>
                </c:pt>
                <c:pt idx="26">
                  <c:v>1152.5541465721753</c:v>
                </c:pt>
                <c:pt idx="27">
                  <c:v>1124.3259495599405</c:v>
                </c:pt>
                <c:pt idx="28">
                  <c:v>1096.2388935327663</c:v>
                </c:pt>
              </c:numCache>
            </c:numRef>
          </c:yVal>
          <c:smooth val="0"/>
          <c:extLst>
            <c:ext xmlns:c16="http://schemas.microsoft.com/office/drawing/2014/chart" uri="{C3380CC4-5D6E-409C-BE32-E72D297353CC}">
              <c16:uniqueId val="{00000001-7AD1-1548-806D-39E3BAC1B4F6}"/>
            </c:ext>
          </c:extLst>
        </c:ser>
        <c:ser>
          <c:idx val="2"/>
          <c:order val="2"/>
          <c:spPr>
            <a:ln w="28575" cmpd="sng" algn="ctr">
              <a:solidFill>
                <a:schemeClr val="accent3"/>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4:$AC$4</c:f>
              <c:numCache>
                <c:formatCode>General</c:formatCode>
                <c:ptCount val="29"/>
                <c:pt idx="0">
                  <c:v>2574.3766071436357</c:v>
                </c:pt>
                <c:pt idx="1">
                  <c:v>2539.0515020817165</c:v>
                </c:pt>
                <c:pt idx="2">
                  <c:v>2503.9030225451061</c:v>
                </c:pt>
                <c:pt idx="3">
                  <c:v>2468.9302854061789</c:v>
                </c:pt>
                <c:pt idx="4">
                  <c:v>2434.1324119529463</c:v>
                </c:pt>
                <c:pt idx="5">
                  <c:v>2399.5085278669794</c:v>
                </c:pt>
                <c:pt idx="6">
                  <c:v>2365.057763201442</c:v>
                </c:pt>
                <c:pt idx="7">
                  <c:v>2330.7792523592334</c:v>
                </c:pt>
                <c:pt idx="8">
                  <c:v>2296.6721340712356</c:v>
                </c:pt>
                <c:pt idx="9">
                  <c:v>2262.7355513746779</c:v>
                </c:pt>
                <c:pt idx="10">
                  <c:v>2228.9686515916028</c:v>
                </c:pt>
                <c:pt idx="11">
                  <c:v>2195.3705863074429</c:v>
                </c:pt>
                <c:pt idx="12">
                  <c:v>2161.9405113497041</c:v>
                </c:pt>
                <c:pt idx="13">
                  <c:v>2128.6775867667538</c:v>
                </c:pt>
                <c:pt idx="14">
                  <c:v>2095.5809768067184</c:v>
                </c:pt>
                <c:pt idx="15">
                  <c:v>2062.6498498964838</c:v>
                </c:pt>
                <c:pt idx="16">
                  <c:v>2029.8833786208006</c:v>
                </c:pt>
                <c:pt idx="17">
                  <c:v>1997.280739701494</c:v>
                </c:pt>
                <c:pt idx="18">
                  <c:v>1964.841113976785</c:v>
                </c:pt>
                <c:pt idx="19">
                  <c:v>1932.5636863806994</c:v>
                </c:pt>
                <c:pt idx="20">
                  <c:v>1900.4476459225934</c:v>
                </c:pt>
                <c:pt idx="21">
                  <c:v>1868.4921856667797</c:v>
                </c:pt>
                <c:pt idx="22">
                  <c:v>1836.6965027122442</c:v>
                </c:pt>
                <c:pt idx="23">
                  <c:v>1805.0597981724814</c:v>
                </c:pt>
                <c:pt idx="24">
                  <c:v>1773.5812771554174</c:v>
                </c:pt>
                <c:pt idx="25">
                  <c:v>1742.2601487434376</c:v>
                </c:pt>
                <c:pt idx="26">
                  <c:v>1711.0956259735185</c:v>
                </c:pt>
                <c:pt idx="27">
                  <c:v>1680.0869258174498</c:v>
                </c:pt>
                <c:pt idx="28">
                  <c:v>1649.2332691621614</c:v>
                </c:pt>
              </c:numCache>
            </c:numRef>
          </c:yVal>
          <c:smooth val="0"/>
          <c:extLst>
            <c:ext xmlns:c16="http://schemas.microsoft.com/office/drawing/2014/chart" uri="{C3380CC4-5D6E-409C-BE32-E72D297353CC}">
              <c16:uniqueId val="{00000002-7AD1-1548-806D-39E3BAC1B4F6}"/>
            </c:ext>
          </c:extLst>
        </c:ser>
        <c:ser>
          <c:idx val="3"/>
          <c:order val="3"/>
          <c:spPr>
            <a:ln w="28575" cmpd="sng" algn="ctr">
              <a:solidFill>
                <a:schemeClr val="accent6"/>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5:$AC$5</c:f>
              <c:numCache>
                <c:formatCode>General</c:formatCode>
                <c:ptCount val="29"/>
                <c:pt idx="0">
                  <c:v>4933.8722795964923</c:v>
                </c:pt>
                <c:pt idx="1">
                  <c:v>4584.1192879032069</c:v>
                </c:pt>
                <c:pt idx="2">
                  <c:v>4262.0889480716896</c:v>
                </c:pt>
                <c:pt idx="3">
                  <c:v>3964.1490170395891</c:v>
                </c:pt>
                <c:pt idx="4">
                  <c:v>3687.3036484204395</c:v>
                </c:pt>
                <c:pt idx="5">
                  <c:v>3429.0566599394706</c:v>
                </c:pt>
                <c:pt idx="6">
                  <c:v>3187.3090915103467</c:v>
                </c:pt>
                <c:pt idx="7">
                  <c:v>2960.2813310709653</c:v>
                </c:pt>
                <c:pt idx="8">
                  <c:v>2746.4531338404267</c:v>
                </c:pt>
                <c:pt idx="9">
                  <c:v>2544.5168692645584</c:v>
                </c:pt>
                <c:pt idx="10">
                  <c:v>2353.3406798011783</c:v>
                </c:pt>
                <c:pt idx="11">
                  <c:v>2171.9391593495784</c:v>
                </c:pt>
                <c:pt idx="12">
                  <c:v>1999.4498015933768</c:v>
                </c:pt>
                <c:pt idx="13">
                  <c:v>1835.1139218686003</c:v>
                </c:pt>
                <c:pt idx="14">
                  <c:v>1803.4189004545578</c:v>
                </c:pt>
                <c:pt idx="15">
                  <c:v>1771.8823541475849</c:v>
                </c:pt>
                <c:pt idx="16">
                  <c:v>1740.5034905721468</c:v>
                </c:pt>
                <c:pt idx="17">
                  <c:v>1709.2815213145859</c:v>
                </c:pt>
                <c:pt idx="18">
                  <c:v>1678.2156619033121</c:v>
                </c:pt>
                <c:pt idx="19">
                  <c:v>1647.3051317890959</c:v>
                </c:pt>
                <c:pt idx="20">
                  <c:v>1616.5491543254502</c:v>
                </c:pt>
                <c:pt idx="21">
                  <c:v>1585.9469567491233</c:v>
                </c:pt>
                <c:pt idx="22">
                  <c:v>1555.4977701606776</c:v>
                </c:pt>
                <c:pt idx="23">
                  <c:v>1525.2008295051746</c:v>
                </c:pt>
                <c:pt idx="24">
                  <c:v>1495.0553735529484</c:v>
                </c:pt>
                <c:pt idx="25">
                  <c:v>1465.0606448804838</c:v>
                </c:pt>
                <c:pt idx="26">
                  <c:v>1435.2158898513817</c:v>
                </c:pt>
                <c:pt idx="27">
                  <c:v>1405.5203585974241</c:v>
                </c:pt>
                <c:pt idx="28">
                  <c:v>1375.9733049997367</c:v>
                </c:pt>
              </c:numCache>
            </c:numRef>
          </c:yVal>
          <c:smooth val="0"/>
          <c:extLst>
            <c:ext xmlns:c16="http://schemas.microsoft.com/office/drawing/2014/chart" uri="{C3380CC4-5D6E-409C-BE32-E72D297353CC}">
              <c16:uniqueId val="{00000003-7AD1-1548-806D-39E3BAC1B4F6}"/>
            </c:ext>
          </c:extLst>
        </c:ser>
        <c:ser>
          <c:idx val="4"/>
          <c:order val="4"/>
          <c:spPr>
            <a:ln w="28575" cmpd="sng" algn="ctr">
              <a:solidFill>
                <a:schemeClr val="accent1"/>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6:$AC$6</c:f>
              <c:numCache>
                <c:formatCode>General</c:formatCode>
                <c:ptCount val="29"/>
                <c:pt idx="0">
                  <c:v>4933.8722795964923</c:v>
                </c:pt>
                <c:pt idx="1">
                  <c:v>4723.3501797835515</c:v>
                </c:pt>
                <c:pt idx="2">
                  <c:v>4535.9416557114755</c:v>
                </c:pt>
                <c:pt idx="3">
                  <c:v>4367.2459429753571</c:v>
                </c:pt>
                <c:pt idx="4">
                  <c:v>4213.9864649765541</c:v>
                </c:pt>
                <c:pt idx="5">
                  <c:v>4073.6614831731067</c:v>
                </c:pt>
                <c:pt idx="6">
                  <c:v>3944.3199618061162</c:v>
                </c:pt>
                <c:pt idx="7">
                  <c:v>3824.4125690414376</c:v>
                </c:pt>
                <c:pt idx="8">
                  <c:v>3712.6895918975379</c:v>
                </c:pt>
                <c:pt idx="9">
                  <c:v>3608.1291530327426</c:v>
                </c:pt>
                <c:pt idx="10">
                  <c:v>3509.885581015008</c:v>
                </c:pt>
                <c:pt idx="11">
                  <c:v>3417.2515313169879</c:v>
                </c:pt>
                <c:pt idx="12">
                  <c:v>3329.6297029114567</c:v>
                </c:pt>
                <c:pt idx="13">
                  <c:v>3246.5113862850694</c:v>
                </c:pt>
                <c:pt idx="14">
                  <c:v>3207.8134030742694</c:v>
                </c:pt>
                <c:pt idx="15">
                  <c:v>3169.3089097795246</c:v>
                </c:pt>
                <c:pt idx="16">
                  <c:v>3130.9969389512526</c:v>
                </c:pt>
                <c:pt idx="17">
                  <c:v>3092.8765279771224</c:v>
                </c:pt>
                <c:pt idx="18">
                  <c:v>3054.9467190578625</c:v>
                </c:pt>
                <c:pt idx="19">
                  <c:v>3017.2065591831988</c:v>
                </c:pt>
                <c:pt idx="20">
                  <c:v>2979.6551001079088</c:v>
                </c:pt>
                <c:pt idx="21">
                  <c:v>2942.291398327995</c:v>
                </c:pt>
                <c:pt idx="22">
                  <c:v>2905.114515056981</c:v>
                </c:pt>
                <c:pt idx="23">
                  <c:v>2868.1235162023222</c:v>
                </c:pt>
                <c:pt idx="24">
                  <c:v>2831.3174723419361</c:v>
                </c:pt>
                <c:pt idx="25">
                  <c:v>2794.6954587008522</c:v>
                </c:pt>
                <c:pt idx="26">
                  <c:v>2758.256555127974</c:v>
                </c:pt>
                <c:pt idx="27">
                  <c:v>2721.9998460729603</c:v>
                </c:pt>
                <c:pt idx="28">
                  <c:v>2685.9244205632203</c:v>
                </c:pt>
              </c:numCache>
            </c:numRef>
          </c:yVal>
          <c:smooth val="0"/>
          <c:extLst>
            <c:ext xmlns:c16="http://schemas.microsoft.com/office/drawing/2014/chart" uri="{C3380CC4-5D6E-409C-BE32-E72D297353CC}">
              <c16:uniqueId val="{00000004-7AD1-1548-806D-39E3BAC1B4F6}"/>
            </c:ext>
          </c:extLst>
        </c:ser>
        <c:ser>
          <c:idx val="5"/>
          <c:order val="5"/>
          <c:spPr>
            <a:ln w="28575" cmpd="sng" algn="ctr">
              <a:solidFill>
                <a:srgbClr val="364D6E"/>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7:$AC$7</c:f>
              <c:numCache>
                <c:formatCode>General</c:formatCode>
                <c:ptCount val="29"/>
                <c:pt idx="0">
                  <c:v>4933.8722795964923</c:v>
                </c:pt>
                <c:pt idx="1">
                  <c:v>4886.7496961723091</c:v>
                </c:pt>
                <c:pt idx="2">
                  <c:v>4839.8627256652444</c:v>
                </c:pt>
                <c:pt idx="3">
                  <c:v>4793.2101900107164</c:v>
                </c:pt>
                <c:pt idx="4">
                  <c:v>4746.7909170344619</c:v>
                </c:pt>
                <c:pt idx="5">
                  <c:v>4700.6037404230874</c:v>
                </c:pt>
                <c:pt idx="6">
                  <c:v>4654.64749969477</c:v>
                </c:pt>
                <c:pt idx="7">
                  <c:v>4608.9210401700939</c:v>
                </c:pt>
                <c:pt idx="8">
                  <c:v>4563.4232129430429</c:v>
                </c:pt>
                <c:pt idx="9">
                  <c:v>4518.1528748521259</c:v>
                </c:pt>
                <c:pt idx="10">
                  <c:v>4473.1088884516639</c:v>
                </c:pt>
                <c:pt idx="11">
                  <c:v>4428.2901219832029</c:v>
                </c:pt>
                <c:pt idx="12">
                  <c:v>4383.6954493470848</c:v>
                </c:pt>
                <c:pt idx="13">
                  <c:v>4339.3237500741479</c:v>
                </c:pt>
                <c:pt idx="14">
                  <c:v>4295.1739092975758</c:v>
                </c:pt>
                <c:pt idx="15">
                  <c:v>4251.2448177248871</c:v>
                </c:pt>
                <c:pt idx="16">
                  <c:v>4207.535371610059</c:v>
                </c:pt>
                <c:pt idx="17">
                  <c:v>4164.0444727258082</c:v>
                </c:pt>
                <c:pt idx="18">
                  <c:v>4120.7710283359766</c:v>
                </c:pt>
                <c:pt idx="19">
                  <c:v>4077.7139511680953</c:v>
                </c:pt>
                <c:pt idx="20">
                  <c:v>4034.8721593860528</c:v>
                </c:pt>
                <c:pt idx="21">
                  <c:v>3992.2445765629209</c:v>
                </c:pt>
                <c:pt idx="22">
                  <c:v>3949.8301316539046</c:v>
                </c:pt>
                <c:pt idx="23">
                  <c:v>3907.6277589694337</c:v>
                </c:pt>
                <c:pt idx="24">
                  <c:v>3865.6363981483855</c:v>
                </c:pt>
                <c:pt idx="25">
                  <c:v>3823.8549941314423</c:v>
                </c:pt>
                <c:pt idx="26">
                  <c:v>3782.2824971345826</c:v>
                </c:pt>
                <c:pt idx="27">
                  <c:v>3740.9178626227085</c:v>
                </c:pt>
                <c:pt idx="28">
                  <c:v>3699.7600512833933</c:v>
                </c:pt>
              </c:numCache>
            </c:numRef>
          </c:yVal>
          <c:smooth val="0"/>
          <c:extLst>
            <c:ext xmlns:c16="http://schemas.microsoft.com/office/drawing/2014/chart" uri="{C3380CC4-5D6E-409C-BE32-E72D297353CC}">
              <c16:uniqueId val="{00000005-7AD1-1548-806D-39E3BAC1B4F6}"/>
            </c:ext>
          </c:extLst>
        </c:ser>
        <c:dLbls>
          <c:showLegendKey val="0"/>
          <c:showVal val="0"/>
          <c:showCatName val="0"/>
          <c:showSerName val="0"/>
          <c:showPercent val="0"/>
          <c:showBubbleSize val="0"/>
        </c:dLbls>
        <c:axId val="4"/>
        <c:axId val="5"/>
      </c:scatterChart>
      <c:valAx>
        <c:axId val="4"/>
        <c:scaling>
          <c:orientation val="minMax"/>
          <c:max val="2050"/>
          <c:min val="202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360.90446800042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682539682539684"/>
          <c:y val="6.9767441860465115E-2"/>
          <c:w val="0.50714285714285712"/>
          <c:h val="0.86046511627906974"/>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8</c:v>
                </c:pt>
              </c:numCache>
            </c:numRef>
          </c:val>
          <c:extLst>
            <c:ext xmlns:c16="http://schemas.microsoft.com/office/drawing/2014/chart" uri="{C3380CC4-5D6E-409C-BE32-E72D297353CC}">
              <c16:uniqueId val="{00000001-70A3-5543-84BF-0B47384C1692}"/>
            </c:ext>
          </c:extLst>
        </c:ser>
        <c:ser>
          <c:idx val="1"/>
          <c:order val="1"/>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92</c:v>
                </c:pt>
              </c:numCache>
            </c:numRef>
          </c:val>
          <c:extLst>
            <c:ext xmlns:c16="http://schemas.microsoft.com/office/drawing/2014/chart" uri="{C3380CC4-5D6E-409C-BE32-E72D297353CC}">
              <c16:uniqueId val="{00000003-70A3-5543-84BF-0B47384C1692}"/>
            </c:ext>
          </c:extLst>
        </c:ser>
        <c:ser>
          <c:idx val="2"/>
          <c:order val="2"/>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50</c:v>
                </c:pt>
              </c:numCache>
            </c:numRef>
          </c:val>
          <c:extLst>
            <c:ext xmlns:c16="http://schemas.microsoft.com/office/drawing/2014/chart" uri="{C3380CC4-5D6E-409C-BE32-E72D297353CC}">
              <c16:uniqueId val="{00000005-70A3-5543-84BF-0B47384C1692}"/>
            </c:ext>
          </c:extLst>
        </c:ser>
        <c:ser>
          <c:idx val="3"/>
          <c:order val="3"/>
          <c:spPr>
            <a:solidFill>
              <a:schemeClr val="accent4"/>
            </a:solidFill>
            <a:ln>
              <a:noFill/>
            </a:ln>
          </c:spPr>
          <c:invertIfNegative val="0"/>
          <c:dLbls>
            <c:dLbl>
              <c:idx val="0"/>
              <c:layout>
                <c:manualLayout>
                  <c:x val="0"/>
                  <c:y val="-4.1528239202657808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28</c:v>
                </c:pt>
              </c:numCache>
            </c:numRef>
          </c:val>
          <c:extLst>
            <c:ext xmlns:c16="http://schemas.microsoft.com/office/drawing/2014/chart" uri="{C3380CC4-5D6E-409C-BE32-E72D297353CC}">
              <c16:uniqueId val="{00000007-70A3-5543-84BF-0B47384C1692}"/>
            </c:ext>
          </c:extLst>
        </c:ser>
        <c:ser>
          <c:idx val="4"/>
          <c:order val="4"/>
          <c:spPr>
            <a:solidFill>
              <a:schemeClr val="accent3"/>
            </a:solidFill>
            <a:ln>
              <a:noFill/>
            </a:ln>
          </c:spPr>
          <c:invertIfNegative val="0"/>
          <c:val>
            <c:numRef>
              <c:f>Sheet1!$A$5</c:f>
              <c:numCache>
                <c:formatCode>General</c:formatCode>
                <c:ptCount val="1"/>
                <c:pt idx="0">
                  <c:v>20</c:v>
                </c:pt>
              </c:numCache>
            </c:numRef>
          </c:val>
          <c:extLst>
            <c:ext xmlns:c16="http://schemas.microsoft.com/office/drawing/2014/chart" uri="{C3380CC4-5D6E-409C-BE32-E72D297353CC}">
              <c16:uniqueId val="{00000008-70A3-5543-84BF-0B47384C1692}"/>
            </c:ext>
          </c:extLst>
        </c:ser>
        <c:ser>
          <c:idx val="5"/>
          <c:order val="5"/>
          <c:spPr>
            <a:solidFill>
              <a:schemeClr val="accent2"/>
            </a:solidFill>
            <a:ln>
              <a:noFill/>
            </a:ln>
          </c:spPr>
          <c:invertIfNegative val="0"/>
          <c:dLbls>
            <c:dLbl>
              <c:idx val="0"/>
              <c:layout>
                <c:manualLayout>
                  <c:x val="7.0634920634920634E-2"/>
                  <c:y val="-4.1528239202657808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80</c:v>
                </c:pt>
              </c:numCache>
            </c:numRef>
          </c:val>
          <c:extLst>
            <c:ext xmlns:c16="http://schemas.microsoft.com/office/drawing/2014/chart" uri="{C3380CC4-5D6E-409C-BE32-E72D297353CC}">
              <c16:uniqueId val="{0000000A-70A3-5543-84BF-0B47384C1692}"/>
            </c:ext>
          </c:extLst>
        </c:ser>
        <c:ser>
          <c:idx val="6"/>
          <c:order val="6"/>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A3-5543-84BF-0B47384C1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352</c:v>
                </c:pt>
              </c:numCache>
            </c:numRef>
          </c:val>
          <c:extLst>
            <c:ext xmlns:c16="http://schemas.microsoft.com/office/drawing/2014/chart" uri="{C3380CC4-5D6E-409C-BE32-E72D297353CC}">
              <c16:uniqueId val="{0000000C-70A3-5543-84BF-0B47384C1692}"/>
            </c:ext>
          </c:extLst>
        </c:ser>
        <c:dLbls>
          <c:showLegendKey val="0"/>
          <c:showVal val="0"/>
          <c:showCatName val="0"/>
          <c:showSerName val="0"/>
          <c:showPercent val="0"/>
          <c:showBubbleSize val="0"/>
        </c:dLbls>
        <c:gapWidth val="80"/>
        <c:overlap val="100"/>
        <c:axId val="198552271"/>
        <c:axId val="1"/>
      </c:barChart>
      <c:catAx>
        <c:axId val="198552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General" sourceLinked="1"/>
        <c:majorTickMark val="none"/>
        <c:minorTickMark val="none"/>
        <c:tickLblPos val="none"/>
        <c:spPr>
          <a:ln>
            <a:noFill/>
          </a:ln>
        </c:spPr>
        <c:crossAx val="198552271"/>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5935392261271E-2"/>
          <c:y val="2.4963994239078253E-2"/>
          <c:w val="0.96308129215477456"/>
          <c:h val="0.9500720115218435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C23-014B-8CA4-DDE8A4913464}"/>
              </c:ext>
            </c:extLst>
          </c:dPt>
          <c:dPt>
            <c:idx val="6"/>
            <c:invertIfNegative val="0"/>
            <c:bubble3D val="0"/>
            <c:spPr>
              <a:solidFill>
                <a:schemeClr val="accent1"/>
              </a:solidFill>
              <a:ln>
                <a:noFill/>
              </a:ln>
            </c:spPr>
            <c:extLst>
              <c:ext xmlns:c16="http://schemas.microsoft.com/office/drawing/2014/chart" uri="{C3380CC4-5D6E-409C-BE32-E72D297353CC}">
                <c16:uniqueId val="{00000001-2C23-014B-8CA4-DDE8A4913464}"/>
              </c:ext>
            </c:extLst>
          </c:dPt>
          <c:val>
            <c:numRef>
              <c:f>Sheet1!$A$1:$G$1</c:f>
              <c:numCache>
                <c:formatCode>General</c:formatCode>
                <c:ptCount val="7"/>
                <c:pt idx="0">
                  <c:v>99.999999999999986</c:v>
                </c:pt>
                <c:pt idx="1">
                  <c:v>93.333333333333329</c:v>
                </c:pt>
                <c:pt idx="2">
                  <c:v>63.333333333333329</c:v>
                </c:pt>
                <c:pt idx="3">
                  <c:v>41.333333333333329</c:v>
                </c:pt>
                <c:pt idx="4">
                  <c:v>27.333333333333332</c:v>
                </c:pt>
                <c:pt idx="5">
                  <c:v>20</c:v>
                </c:pt>
                <c:pt idx="6">
                  <c:v>20</c:v>
                </c:pt>
              </c:numCache>
            </c:numRef>
          </c:val>
          <c:extLst>
            <c:ext xmlns:c16="http://schemas.microsoft.com/office/drawing/2014/chart" uri="{C3380CC4-5D6E-409C-BE32-E72D297353CC}">
              <c16:uniqueId val="{00000002-2C23-014B-8CA4-DDE8A4913464}"/>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3-2C23-014B-8CA4-DDE8A4913464}"/>
              </c:ext>
            </c:extLst>
          </c:dPt>
          <c:dPt>
            <c:idx val="3"/>
            <c:invertIfNegative val="0"/>
            <c:bubble3D val="0"/>
            <c:spPr>
              <a:solidFill>
                <a:schemeClr val="accent4"/>
              </a:solidFill>
              <a:ln>
                <a:noFill/>
              </a:ln>
            </c:spPr>
            <c:extLst>
              <c:ext xmlns:c16="http://schemas.microsoft.com/office/drawing/2014/chart" uri="{C3380CC4-5D6E-409C-BE32-E72D297353CC}">
                <c16:uniqueId val="{00000004-2C23-014B-8CA4-DDE8A4913464}"/>
              </c:ext>
            </c:extLst>
          </c:dPt>
          <c:dPt>
            <c:idx val="4"/>
            <c:invertIfNegative val="0"/>
            <c:bubble3D val="0"/>
            <c:spPr>
              <a:solidFill>
                <a:schemeClr val="accent5"/>
              </a:solidFill>
              <a:ln>
                <a:noFill/>
              </a:ln>
            </c:spPr>
            <c:extLst>
              <c:ext xmlns:c16="http://schemas.microsoft.com/office/drawing/2014/chart" uri="{C3380CC4-5D6E-409C-BE32-E72D297353CC}">
                <c16:uniqueId val="{00000005-2C23-014B-8CA4-DDE8A4913464}"/>
              </c:ext>
            </c:extLst>
          </c:dPt>
          <c:dPt>
            <c:idx val="5"/>
            <c:invertIfNegative val="0"/>
            <c:bubble3D val="0"/>
            <c:spPr>
              <a:solidFill>
                <a:schemeClr val="accent6"/>
              </a:solidFill>
              <a:ln>
                <a:noFill/>
              </a:ln>
            </c:spPr>
            <c:extLst>
              <c:ext xmlns:c16="http://schemas.microsoft.com/office/drawing/2014/chart" uri="{C3380CC4-5D6E-409C-BE32-E72D297353CC}">
                <c16:uniqueId val="{00000006-2C23-014B-8CA4-DDE8A4913464}"/>
              </c:ext>
            </c:extLst>
          </c:dPt>
          <c:val>
            <c:numRef>
              <c:f>Sheet1!$A$2:$G$2</c:f>
              <c:numCache>
                <c:formatCode>General</c:formatCode>
                <c:ptCount val="7"/>
                <c:pt idx="1">
                  <c:v>6.6666666666666714</c:v>
                </c:pt>
                <c:pt idx="2">
                  <c:v>30</c:v>
                </c:pt>
                <c:pt idx="3">
                  <c:v>22</c:v>
                </c:pt>
                <c:pt idx="4">
                  <c:v>14.000000000000004</c:v>
                </c:pt>
                <c:pt idx="5">
                  <c:v>7.3333333333333321</c:v>
                </c:pt>
              </c:numCache>
            </c:numRef>
          </c:val>
          <c:extLst>
            <c:ext xmlns:c16="http://schemas.microsoft.com/office/drawing/2014/chart" uri="{C3380CC4-5D6E-409C-BE32-E72D297353CC}">
              <c16:uniqueId val="{00000007-2C23-014B-8CA4-DDE8A4913464}"/>
            </c:ext>
          </c:extLst>
        </c:ser>
        <c:dLbls>
          <c:showLegendKey val="0"/>
          <c:showVal val="0"/>
          <c:showCatName val="0"/>
          <c:showSerName val="0"/>
          <c:showPercent val="0"/>
          <c:showBubbleSize val="0"/>
        </c:dLbls>
        <c:gapWidth val="80"/>
        <c:overlap val="100"/>
        <c:axId val="2035978544"/>
        <c:axId val="1"/>
      </c:barChart>
      <c:catAx>
        <c:axId val="2035978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2035978544"/>
        <c:crosses val="min"/>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203761755485892"/>
          <c:y val="6.5018315018315023E-2"/>
          <c:w val="0.79780564263322884"/>
          <c:h val="0.86996336996336998"/>
        </c:manualLayout>
      </c:layout>
      <c:lineChart>
        <c:grouping val="standard"/>
        <c:varyColors val="0"/>
        <c:ser>
          <c:idx val="0"/>
          <c:order val="0"/>
          <c:spPr>
            <a:ln w="28575" cmpd="sng" algn="ctr">
              <a:solidFill>
                <a:schemeClr val="accent1"/>
              </a:solidFill>
              <a:prstDash val="solid"/>
            </a:ln>
          </c:spPr>
          <c:marker>
            <c:symbol val="none"/>
          </c:marker>
          <c:dLbls>
            <c:dLbl>
              <c:idx val="5"/>
              <c:layout>
                <c:manualLayout>
                  <c:x val="0"/>
                  <c:y val="-3.70879120879120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FF-B84B-9BB9-F304CE2DEE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000</c:v>
                </c:pt>
                <c:pt idx="1">
                  <c:v>9500</c:v>
                </c:pt>
                <c:pt idx="2">
                  <c:v>7500</c:v>
                </c:pt>
                <c:pt idx="3">
                  <c:v>6500</c:v>
                </c:pt>
                <c:pt idx="4">
                  <c:v>6000</c:v>
                </c:pt>
                <c:pt idx="5">
                  <c:v>5700</c:v>
                </c:pt>
              </c:numCache>
            </c:numRef>
          </c:val>
          <c:smooth val="0"/>
          <c:extLst>
            <c:ext xmlns:c16="http://schemas.microsoft.com/office/drawing/2014/chart" uri="{C3380CC4-5D6E-409C-BE32-E72D297353CC}">
              <c16:uniqueId val="{00000001-06FF-B84B-9BB9-F304CE2DEEEF}"/>
            </c:ext>
          </c:extLst>
        </c:ser>
        <c:ser>
          <c:idx val="1"/>
          <c:order val="1"/>
          <c:spPr>
            <a:ln w="28575" cmpd="sng" algn="ctr">
              <a:solidFill>
                <a:schemeClr val="bg2"/>
              </a:solidFill>
              <a:prstDash val="solid"/>
            </a:ln>
          </c:spPr>
          <c:marker>
            <c:symbol val="none"/>
          </c:marker>
          <c:dLbls>
            <c:dLbl>
              <c:idx val="5"/>
              <c:layout>
                <c:manualLayout>
                  <c:x val="0"/>
                  <c:y val="-3.70879120879120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FF-B84B-9BB9-F304CE2DEE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000</c:v>
                </c:pt>
                <c:pt idx="1">
                  <c:v>7000</c:v>
                </c:pt>
                <c:pt idx="2">
                  <c:v>4000</c:v>
                </c:pt>
                <c:pt idx="3">
                  <c:v>3000</c:v>
                </c:pt>
                <c:pt idx="4">
                  <c:v>2500</c:v>
                </c:pt>
                <c:pt idx="5">
                  <c:v>2300</c:v>
                </c:pt>
              </c:numCache>
            </c:numRef>
          </c:val>
          <c:smooth val="0"/>
          <c:extLst>
            <c:ext xmlns:c16="http://schemas.microsoft.com/office/drawing/2014/chart" uri="{C3380CC4-5D6E-409C-BE32-E72D297353CC}">
              <c16:uniqueId val="{00000003-06FF-B84B-9BB9-F304CE2DEEEF}"/>
            </c:ext>
          </c:extLst>
        </c:ser>
        <c:dLbls>
          <c:showLegendKey val="0"/>
          <c:showVal val="0"/>
          <c:showCatName val="0"/>
          <c:showSerName val="0"/>
          <c:showPercent val="0"/>
          <c:showBubbleSize val="0"/>
        </c:dLbls>
        <c:smooth val="0"/>
        <c:axId val="2012069424"/>
        <c:axId val="1"/>
      </c:lineChart>
      <c:catAx>
        <c:axId val="20120694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012069424"/>
        <c:crosses val="min"/>
        <c:crossBetween val="midCat"/>
        <c:majorUnit val="1000"/>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07077072224915E-2"/>
          <c:y val="5.4911059551430781E-2"/>
          <c:w val="0.90838584585555016"/>
          <c:h val="0.85382830626450112"/>
        </c:manualLayout>
      </c:layout>
      <c:scatterChart>
        <c:scatterStyle val="lineMarker"/>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EE08-1D45-85F0-45FB9944307C}"/>
              </c:ext>
            </c:extLst>
          </c:dPt>
          <c:dPt>
            <c:idx val="1"/>
            <c:marker>
              <c:symbol val="none"/>
            </c:marker>
            <c:bubble3D val="0"/>
            <c:extLst>
              <c:ext xmlns:c16="http://schemas.microsoft.com/office/drawing/2014/chart" uri="{C3380CC4-5D6E-409C-BE32-E72D297353CC}">
                <c16:uniqueId val="{00000001-EE08-1D45-85F0-45FB9944307C}"/>
              </c:ext>
            </c:extLst>
          </c:dPt>
          <c:dPt>
            <c:idx val="2"/>
            <c:marker>
              <c:symbol val="none"/>
            </c:marker>
            <c:bubble3D val="0"/>
            <c:extLst>
              <c:ext xmlns:c16="http://schemas.microsoft.com/office/drawing/2014/chart" uri="{C3380CC4-5D6E-409C-BE32-E72D297353CC}">
                <c16:uniqueId val="{00000002-EE08-1D45-85F0-45FB9944307C}"/>
              </c:ext>
            </c:extLst>
          </c:dPt>
          <c:dPt>
            <c:idx val="3"/>
            <c:marker>
              <c:symbol val="none"/>
            </c:marker>
            <c:bubble3D val="0"/>
            <c:extLst>
              <c:ext xmlns:c16="http://schemas.microsoft.com/office/drawing/2014/chart" uri="{C3380CC4-5D6E-409C-BE32-E72D297353CC}">
                <c16:uniqueId val="{00000003-EE08-1D45-85F0-45FB9944307C}"/>
              </c:ext>
            </c:extLst>
          </c:dPt>
          <c:dPt>
            <c:idx val="4"/>
            <c:marker>
              <c:symbol val="none"/>
            </c:marker>
            <c:bubble3D val="0"/>
            <c:extLst>
              <c:ext xmlns:c16="http://schemas.microsoft.com/office/drawing/2014/chart" uri="{C3380CC4-5D6E-409C-BE32-E72D297353CC}">
                <c16:uniqueId val="{00000004-EE08-1D45-85F0-45FB9944307C}"/>
              </c:ext>
            </c:extLst>
          </c:dPt>
          <c:dPt>
            <c:idx val="5"/>
            <c:marker>
              <c:symbol val="none"/>
            </c:marker>
            <c:bubble3D val="0"/>
            <c:extLst>
              <c:ext xmlns:c16="http://schemas.microsoft.com/office/drawing/2014/chart" uri="{C3380CC4-5D6E-409C-BE32-E72D297353CC}">
                <c16:uniqueId val="{00000005-EE08-1D45-85F0-45FB9944307C}"/>
              </c:ext>
            </c:extLst>
          </c:dPt>
          <c:dPt>
            <c:idx val="6"/>
            <c:marker>
              <c:symbol val="none"/>
            </c:marker>
            <c:bubble3D val="0"/>
            <c:extLst>
              <c:ext xmlns:c16="http://schemas.microsoft.com/office/drawing/2014/chart" uri="{C3380CC4-5D6E-409C-BE32-E72D297353CC}">
                <c16:uniqueId val="{00000006-EE08-1D45-85F0-45FB9944307C}"/>
              </c:ext>
            </c:extLst>
          </c:dPt>
          <c:dPt>
            <c:idx val="7"/>
            <c:marker>
              <c:symbol val="none"/>
            </c:marker>
            <c:bubble3D val="0"/>
            <c:extLst>
              <c:ext xmlns:c16="http://schemas.microsoft.com/office/drawing/2014/chart" uri="{C3380CC4-5D6E-409C-BE32-E72D297353CC}">
                <c16:uniqueId val="{00000007-EE08-1D45-85F0-45FB9944307C}"/>
              </c:ext>
            </c:extLst>
          </c:dPt>
          <c:dPt>
            <c:idx val="8"/>
            <c:marker>
              <c:symbol val="none"/>
            </c:marker>
            <c:bubble3D val="0"/>
            <c:extLst>
              <c:ext xmlns:c16="http://schemas.microsoft.com/office/drawing/2014/chart" uri="{C3380CC4-5D6E-409C-BE32-E72D297353CC}">
                <c16:uniqueId val="{00000008-EE08-1D45-85F0-45FB9944307C}"/>
              </c:ext>
            </c:extLst>
          </c:dPt>
          <c:dPt>
            <c:idx val="9"/>
            <c:marker>
              <c:symbol val="none"/>
            </c:marker>
            <c:bubble3D val="0"/>
            <c:extLst>
              <c:ext xmlns:c16="http://schemas.microsoft.com/office/drawing/2014/chart" uri="{C3380CC4-5D6E-409C-BE32-E72D297353CC}">
                <c16:uniqueId val="{00000009-EE08-1D45-85F0-45FB9944307C}"/>
              </c:ext>
            </c:extLst>
          </c:dPt>
          <c:dPt>
            <c:idx val="10"/>
            <c:marker>
              <c:symbol val="none"/>
            </c:marker>
            <c:bubble3D val="0"/>
            <c:extLst>
              <c:ext xmlns:c16="http://schemas.microsoft.com/office/drawing/2014/chart" uri="{C3380CC4-5D6E-409C-BE32-E72D297353CC}">
                <c16:uniqueId val="{0000000A-EE08-1D45-85F0-45FB9944307C}"/>
              </c:ext>
            </c:extLst>
          </c:dPt>
          <c:dPt>
            <c:idx val="11"/>
            <c:marker>
              <c:symbol val="none"/>
            </c:marker>
            <c:bubble3D val="0"/>
            <c:extLst>
              <c:ext xmlns:c16="http://schemas.microsoft.com/office/drawing/2014/chart" uri="{C3380CC4-5D6E-409C-BE32-E72D297353CC}">
                <c16:uniqueId val="{0000000B-EE08-1D45-85F0-45FB9944307C}"/>
              </c:ext>
            </c:extLst>
          </c:dPt>
          <c:dPt>
            <c:idx val="12"/>
            <c:marker>
              <c:symbol val="none"/>
            </c:marker>
            <c:bubble3D val="0"/>
            <c:extLst>
              <c:ext xmlns:c16="http://schemas.microsoft.com/office/drawing/2014/chart" uri="{C3380CC4-5D6E-409C-BE32-E72D297353CC}">
                <c16:uniqueId val="{0000000C-EE08-1D45-85F0-45FB9944307C}"/>
              </c:ext>
            </c:extLst>
          </c:dPt>
          <c:dPt>
            <c:idx val="13"/>
            <c:marker>
              <c:symbol val="none"/>
            </c:marker>
            <c:bubble3D val="0"/>
            <c:extLst>
              <c:ext xmlns:c16="http://schemas.microsoft.com/office/drawing/2014/chart" uri="{C3380CC4-5D6E-409C-BE32-E72D297353CC}">
                <c16:uniqueId val="{0000000D-EE08-1D45-85F0-45FB9944307C}"/>
              </c:ext>
            </c:extLst>
          </c:dPt>
          <c:dPt>
            <c:idx val="14"/>
            <c:marker>
              <c:symbol val="none"/>
            </c:marker>
            <c:bubble3D val="0"/>
            <c:extLst>
              <c:ext xmlns:c16="http://schemas.microsoft.com/office/drawing/2014/chart" uri="{C3380CC4-5D6E-409C-BE32-E72D297353CC}">
                <c16:uniqueId val="{0000000E-EE08-1D45-85F0-45FB9944307C}"/>
              </c:ext>
            </c:extLst>
          </c:dPt>
          <c:dPt>
            <c:idx val="15"/>
            <c:marker>
              <c:symbol val="none"/>
            </c:marker>
            <c:bubble3D val="0"/>
            <c:extLst>
              <c:ext xmlns:c16="http://schemas.microsoft.com/office/drawing/2014/chart" uri="{C3380CC4-5D6E-409C-BE32-E72D297353CC}">
                <c16:uniqueId val="{0000000F-EE08-1D45-85F0-45FB9944307C}"/>
              </c:ext>
            </c:extLst>
          </c:dPt>
          <c:dPt>
            <c:idx val="16"/>
            <c:marker>
              <c:symbol val="none"/>
            </c:marker>
            <c:bubble3D val="0"/>
            <c:extLst>
              <c:ext xmlns:c16="http://schemas.microsoft.com/office/drawing/2014/chart" uri="{C3380CC4-5D6E-409C-BE32-E72D297353CC}">
                <c16:uniqueId val="{00000010-EE08-1D45-85F0-45FB9944307C}"/>
              </c:ext>
            </c:extLst>
          </c:dPt>
          <c:dPt>
            <c:idx val="17"/>
            <c:marker>
              <c:symbol val="none"/>
            </c:marker>
            <c:bubble3D val="0"/>
            <c:extLst>
              <c:ext xmlns:c16="http://schemas.microsoft.com/office/drawing/2014/chart" uri="{C3380CC4-5D6E-409C-BE32-E72D297353CC}">
                <c16:uniqueId val="{00000011-EE08-1D45-85F0-45FB9944307C}"/>
              </c:ext>
            </c:extLst>
          </c:dPt>
          <c:dPt>
            <c:idx val="18"/>
            <c:marker>
              <c:symbol val="none"/>
            </c:marker>
            <c:bubble3D val="0"/>
            <c:extLst>
              <c:ext xmlns:c16="http://schemas.microsoft.com/office/drawing/2014/chart" uri="{C3380CC4-5D6E-409C-BE32-E72D297353CC}">
                <c16:uniqueId val="{00000012-EE08-1D45-85F0-45FB9944307C}"/>
              </c:ext>
            </c:extLst>
          </c:dPt>
          <c:dPt>
            <c:idx val="19"/>
            <c:marker>
              <c:symbol val="none"/>
            </c:marker>
            <c:bubble3D val="0"/>
            <c:extLst>
              <c:ext xmlns:c16="http://schemas.microsoft.com/office/drawing/2014/chart" uri="{C3380CC4-5D6E-409C-BE32-E72D297353CC}">
                <c16:uniqueId val="{00000013-EE08-1D45-85F0-45FB9944307C}"/>
              </c:ext>
            </c:extLst>
          </c:dPt>
          <c:dPt>
            <c:idx val="20"/>
            <c:marker>
              <c:symbol val="none"/>
            </c:marker>
            <c:bubble3D val="0"/>
            <c:extLst>
              <c:ext xmlns:c16="http://schemas.microsoft.com/office/drawing/2014/chart" uri="{C3380CC4-5D6E-409C-BE32-E72D297353CC}">
                <c16:uniqueId val="{00000014-EE08-1D45-85F0-45FB9944307C}"/>
              </c:ext>
            </c:extLst>
          </c:dPt>
          <c:dPt>
            <c:idx val="21"/>
            <c:marker>
              <c:symbol val="none"/>
            </c:marker>
            <c:bubble3D val="0"/>
            <c:extLst>
              <c:ext xmlns:c16="http://schemas.microsoft.com/office/drawing/2014/chart" uri="{C3380CC4-5D6E-409C-BE32-E72D297353CC}">
                <c16:uniqueId val="{00000015-EE08-1D45-85F0-45FB9944307C}"/>
              </c:ext>
            </c:extLst>
          </c:dPt>
          <c:dPt>
            <c:idx val="22"/>
            <c:marker>
              <c:symbol val="none"/>
            </c:marker>
            <c:bubble3D val="0"/>
            <c:extLst>
              <c:ext xmlns:c16="http://schemas.microsoft.com/office/drawing/2014/chart" uri="{C3380CC4-5D6E-409C-BE32-E72D297353CC}">
                <c16:uniqueId val="{00000016-EE08-1D45-85F0-45FB9944307C}"/>
              </c:ext>
            </c:extLst>
          </c:dPt>
          <c:dPt>
            <c:idx val="23"/>
            <c:marker>
              <c:symbol val="none"/>
            </c:marker>
            <c:bubble3D val="0"/>
            <c:extLst>
              <c:ext xmlns:c16="http://schemas.microsoft.com/office/drawing/2014/chart" uri="{C3380CC4-5D6E-409C-BE32-E72D297353CC}">
                <c16:uniqueId val="{00000017-EE08-1D45-85F0-45FB9944307C}"/>
              </c:ext>
            </c:extLst>
          </c:dPt>
          <c:dPt>
            <c:idx val="24"/>
            <c:marker>
              <c:symbol val="none"/>
            </c:marker>
            <c:bubble3D val="0"/>
            <c:extLst>
              <c:ext xmlns:c16="http://schemas.microsoft.com/office/drawing/2014/chart" uri="{C3380CC4-5D6E-409C-BE32-E72D297353CC}">
                <c16:uniqueId val="{00000018-EE08-1D45-85F0-45FB9944307C}"/>
              </c:ext>
            </c:extLst>
          </c:dPt>
          <c:dPt>
            <c:idx val="25"/>
            <c:marker>
              <c:symbol val="none"/>
            </c:marker>
            <c:bubble3D val="0"/>
            <c:extLst>
              <c:ext xmlns:c16="http://schemas.microsoft.com/office/drawing/2014/chart" uri="{C3380CC4-5D6E-409C-BE32-E72D297353CC}">
                <c16:uniqueId val="{00000019-EE08-1D45-85F0-45FB9944307C}"/>
              </c:ext>
            </c:extLst>
          </c:dPt>
          <c:dPt>
            <c:idx val="26"/>
            <c:marker>
              <c:symbol val="none"/>
            </c:marker>
            <c:bubble3D val="0"/>
            <c:extLst>
              <c:ext xmlns:c16="http://schemas.microsoft.com/office/drawing/2014/chart" uri="{C3380CC4-5D6E-409C-BE32-E72D297353CC}">
                <c16:uniqueId val="{0000001A-EE08-1D45-85F0-45FB9944307C}"/>
              </c:ext>
            </c:extLst>
          </c:dPt>
          <c:dPt>
            <c:idx val="27"/>
            <c:marker>
              <c:symbol val="none"/>
            </c:marker>
            <c:bubble3D val="0"/>
            <c:extLst>
              <c:ext xmlns:c16="http://schemas.microsoft.com/office/drawing/2014/chart" uri="{C3380CC4-5D6E-409C-BE32-E72D297353CC}">
                <c16:uniqueId val="{0000001B-EE08-1D45-85F0-45FB9944307C}"/>
              </c:ext>
            </c:extLst>
          </c:dPt>
          <c:dPt>
            <c:idx val="28"/>
            <c:marker>
              <c:symbol val="none"/>
            </c:marker>
            <c:bubble3D val="0"/>
            <c:extLst>
              <c:ext xmlns:c16="http://schemas.microsoft.com/office/drawing/2014/chart" uri="{C3380CC4-5D6E-409C-BE32-E72D297353CC}">
                <c16:uniqueId val="{0000001C-EE08-1D45-85F0-45FB9944307C}"/>
              </c:ext>
            </c:extLst>
          </c:dPt>
          <c:dLbls>
            <c:dLbl>
              <c:idx val="28"/>
              <c:layout>
                <c:manualLayout>
                  <c:x val="2.1570528356761997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E08-1D45-85F0-45FB994430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2:$AC$2</c:f>
              <c:numCache>
                <c:formatCode>General</c:formatCode>
                <c:ptCount val="29"/>
                <c:pt idx="0">
                  <c:v>71.282390959188334</c:v>
                </c:pt>
                <c:pt idx="1">
                  <c:v>69.621456998721172</c:v>
                </c:pt>
                <c:pt idx="2">
                  <c:v>68.049038688274109</c:v>
                </c:pt>
                <c:pt idx="3">
                  <c:v>66.55660581928457</c:v>
                </c:pt>
                <c:pt idx="4">
                  <c:v>65.13674468474575</c:v>
                </c:pt>
                <c:pt idx="5">
                  <c:v>63.782976553876296</c:v>
                </c:pt>
                <c:pt idx="6">
                  <c:v>62.489610992538623</c:v>
                </c:pt>
                <c:pt idx="7">
                  <c:v>61.251626387404137</c:v>
                </c:pt>
                <c:pt idx="8">
                  <c:v>60.064571903005607</c:v>
                </c:pt>
                <c:pt idx="9">
                  <c:v>58.924486469065485</c:v>
                </c:pt>
                <c:pt idx="10">
                  <c:v>57.827831407289281</c:v>
                </c:pt>
                <c:pt idx="11">
                  <c:v>56.771434062871847</c:v>
                </c:pt>
                <c:pt idx="12">
                  <c:v>55.752440376449776</c:v>
                </c:pt>
                <c:pt idx="13">
                  <c:v>54.768274762809718</c:v>
                </c:pt>
                <c:pt idx="14">
                  <c:v>54.570368844378045</c:v>
                </c:pt>
                <c:pt idx="15">
                  <c:v>54.373452455538519</c:v>
                </c:pt>
                <c:pt idx="16">
                  <c:v>54.17752064864321</c:v>
                </c:pt>
                <c:pt idx="17">
                  <c:v>53.982568500782364</c:v>
                </c:pt>
                <c:pt idx="18">
                  <c:v>53.788591113660836</c:v>
                </c:pt>
                <c:pt idx="19">
                  <c:v>53.595583613474901</c:v>
                </c:pt>
                <c:pt idx="20">
                  <c:v>53.403541150789906</c:v>
                </c:pt>
                <c:pt idx="21">
                  <c:v>53.212458900418333</c:v>
                </c:pt>
                <c:pt idx="22">
                  <c:v>53.02233206129862</c:v>
                </c:pt>
                <c:pt idx="23">
                  <c:v>52.833155856374496</c:v>
                </c:pt>
                <c:pt idx="24">
                  <c:v>52.644925532475</c:v>
                </c:pt>
                <c:pt idx="25">
                  <c:v>52.457636360195004</c:v>
                </c:pt>
                <c:pt idx="26">
                  <c:v>52.271283633776406</c:v>
                </c:pt>
                <c:pt idx="27">
                  <c:v>52.085862670989897</c:v>
                </c:pt>
                <c:pt idx="28">
                  <c:v>51.901368813017321</c:v>
                </c:pt>
              </c:numCache>
            </c:numRef>
          </c:yVal>
          <c:smooth val="0"/>
          <c:extLst>
            <c:ext xmlns:c16="http://schemas.microsoft.com/office/drawing/2014/chart" uri="{C3380CC4-5D6E-409C-BE32-E72D297353CC}">
              <c16:uniqueId val="{0000001D-EE08-1D45-85F0-45FB9944307C}"/>
            </c:ext>
          </c:extLst>
        </c:ser>
        <c:ser>
          <c:idx val="1"/>
          <c:order val="1"/>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1E-EE08-1D45-85F0-45FB9944307C}"/>
              </c:ext>
            </c:extLst>
          </c:dPt>
          <c:dPt>
            <c:idx val="1"/>
            <c:marker>
              <c:symbol val="none"/>
            </c:marker>
            <c:bubble3D val="0"/>
            <c:extLst>
              <c:ext xmlns:c16="http://schemas.microsoft.com/office/drawing/2014/chart" uri="{C3380CC4-5D6E-409C-BE32-E72D297353CC}">
                <c16:uniqueId val="{0000001F-EE08-1D45-85F0-45FB9944307C}"/>
              </c:ext>
            </c:extLst>
          </c:dPt>
          <c:dPt>
            <c:idx val="2"/>
            <c:marker>
              <c:symbol val="none"/>
            </c:marker>
            <c:bubble3D val="0"/>
            <c:extLst>
              <c:ext xmlns:c16="http://schemas.microsoft.com/office/drawing/2014/chart" uri="{C3380CC4-5D6E-409C-BE32-E72D297353CC}">
                <c16:uniqueId val="{00000020-EE08-1D45-85F0-45FB9944307C}"/>
              </c:ext>
            </c:extLst>
          </c:dPt>
          <c:dPt>
            <c:idx val="3"/>
            <c:marker>
              <c:symbol val="none"/>
            </c:marker>
            <c:bubble3D val="0"/>
            <c:extLst>
              <c:ext xmlns:c16="http://schemas.microsoft.com/office/drawing/2014/chart" uri="{C3380CC4-5D6E-409C-BE32-E72D297353CC}">
                <c16:uniqueId val="{00000021-EE08-1D45-85F0-45FB9944307C}"/>
              </c:ext>
            </c:extLst>
          </c:dPt>
          <c:dPt>
            <c:idx val="4"/>
            <c:marker>
              <c:symbol val="none"/>
            </c:marker>
            <c:bubble3D val="0"/>
            <c:extLst>
              <c:ext xmlns:c16="http://schemas.microsoft.com/office/drawing/2014/chart" uri="{C3380CC4-5D6E-409C-BE32-E72D297353CC}">
                <c16:uniqueId val="{00000022-EE08-1D45-85F0-45FB9944307C}"/>
              </c:ext>
            </c:extLst>
          </c:dPt>
          <c:dPt>
            <c:idx val="5"/>
            <c:marker>
              <c:symbol val="none"/>
            </c:marker>
            <c:bubble3D val="0"/>
            <c:extLst>
              <c:ext xmlns:c16="http://schemas.microsoft.com/office/drawing/2014/chart" uri="{C3380CC4-5D6E-409C-BE32-E72D297353CC}">
                <c16:uniqueId val="{00000023-EE08-1D45-85F0-45FB9944307C}"/>
              </c:ext>
            </c:extLst>
          </c:dPt>
          <c:dPt>
            <c:idx val="6"/>
            <c:marker>
              <c:symbol val="none"/>
            </c:marker>
            <c:bubble3D val="0"/>
            <c:extLst>
              <c:ext xmlns:c16="http://schemas.microsoft.com/office/drawing/2014/chart" uri="{C3380CC4-5D6E-409C-BE32-E72D297353CC}">
                <c16:uniqueId val="{00000024-EE08-1D45-85F0-45FB9944307C}"/>
              </c:ext>
            </c:extLst>
          </c:dPt>
          <c:dPt>
            <c:idx val="7"/>
            <c:marker>
              <c:symbol val="none"/>
            </c:marker>
            <c:bubble3D val="0"/>
            <c:extLst>
              <c:ext xmlns:c16="http://schemas.microsoft.com/office/drawing/2014/chart" uri="{C3380CC4-5D6E-409C-BE32-E72D297353CC}">
                <c16:uniqueId val="{00000025-EE08-1D45-85F0-45FB9944307C}"/>
              </c:ext>
            </c:extLst>
          </c:dPt>
          <c:dPt>
            <c:idx val="8"/>
            <c:marker>
              <c:symbol val="none"/>
            </c:marker>
            <c:bubble3D val="0"/>
            <c:extLst>
              <c:ext xmlns:c16="http://schemas.microsoft.com/office/drawing/2014/chart" uri="{C3380CC4-5D6E-409C-BE32-E72D297353CC}">
                <c16:uniqueId val="{00000026-EE08-1D45-85F0-45FB9944307C}"/>
              </c:ext>
            </c:extLst>
          </c:dPt>
          <c:dPt>
            <c:idx val="9"/>
            <c:marker>
              <c:symbol val="none"/>
            </c:marker>
            <c:bubble3D val="0"/>
            <c:extLst>
              <c:ext xmlns:c16="http://schemas.microsoft.com/office/drawing/2014/chart" uri="{C3380CC4-5D6E-409C-BE32-E72D297353CC}">
                <c16:uniqueId val="{00000027-EE08-1D45-85F0-45FB9944307C}"/>
              </c:ext>
            </c:extLst>
          </c:dPt>
          <c:dPt>
            <c:idx val="10"/>
            <c:marker>
              <c:symbol val="none"/>
            </c:marker>
            <c:bubble3D val="0"/>
            <c:extLst>
              <c:ext xmlns:c16="http://schemas.microsoft.com/office/drawing/2014/chart" uri="{C3380CC4-5D6E-409C-BE32-E72D297353CC}">
                <c16:uniqueId val="{00000028-EE08-1D45-85F0-45FB9944307C}"/>
              </c:ext>
            </c:extLst>
          </c:dPt>
          <c:dPt>
            <c:idx val="11"/>
            <c:marker>
              <c:symbol val="none"/>
            </c:marker>
            <c:bubble3D val="0"/>
            <c:extLst>
              <c:ext xmlns:c16="http://schemas.microsoft.com/office/drawing/2014/chart" uri="{C3380CC4-5D6E-409C-BE32-E72D297353CC}">
                <c16:uniqueId val="{00000029-EE08-1D45-85F0-45FB9944307C}"/>
              </c:ext>
            </c:extLst>
          </c:dPt>
          <c:dPt>
            <c:idx val="12"/>
            <c:marker>
              <c:symbol val="none"/>
            </c:marker>
            <c:bubble3D val="0"/>
            <c:extLst>
              <c:ext xmlns:c16="http://schemas.microsoft.com/office/drawing/2014/chart" uri="{C3380CC4-5D6E-409C-BE32-E72D297353CC}">
                <c16:uniqueId val="{0000002A-EE08-1D45-85F0-45FB9944307C}"/>
              </c:ext>
            </c:extLst>
          </c:dPt>
          <c:dPt>
            <c:idx val="13"/>
            <c:marker>
              <c:symbol val="none"/>
            </c:marker>
            <c:bubble3D val="0"/>
            <c:extLst>
              <c:ext xmlns:c16="http://schemas.microsoft.com/office/drawing/2014/chart" uri="{C3380CC4-5D6E-409C-BE32-E72D297353CC}">
                <c16:uniqueId val="{0000002B-EE08-1D45-85F0-45FB9944307C}"/>
              </c:ext>
            </c:extLst>
          </c:dPt>
          <c:dPt>
            <c:idx val="14"/>
            <c:marker>
              <c:symbol val="none"/>
            </c:marker>
            <c:bubble3D val="0"/>
            <c:extLst>
              <c:ext xmlns:c16="http://schemas.microsoft.com/office/drawing/2014/chart" uri="{C3380CC4-5D6E-409C-BE32-E72D297353CC}">
                <c16:uniqueId val="{0000002C-EE08-1D45-85F0-45FB9944307C}"/>
              </c:ext>
            </c:extLst>
          </c:dPt>
          <c:dPt>
            <c:idx val="15"/>
            <c:marker>
              <c:symbol val="none"/>
            </c:marker>
            <c:bubble3D val="0"/>
            <c:extLst>
              <c:ext xmlns:c16="http://schemas.microsoft.com/office/drawing/2014/chart" uri="{C3380CC4-5D6E-409C-BE32-E72D297353CC}">
                <c16:uniqueId val="{0000002D-EE08-1D45-85F0-45FB9944307C}"/>
              </c:ext>
            </c:extLst>
          </c:dPt>
          <c:dPt>
            <c:idx val="16"/>
            <c:marker>
              <c:symbol val="none"/>
            </c:marker>
            <c:bubble3D val="0"/>
            <c:extLst>
              <c:ext xmlns:c16="http://schemas.microsoft.com/office/drawing/2014/chart" uri="{C3380CC4-5D6E-409C-BE32-E72D297353CC}">
                <c16:uniqueId val="{0000002E-EE08-1D45-85F0-45FB9944307C}"/>
              </c:ext>
            </c:extLst>
          </c:dPt>
          <c:dPt>
            <c:idx val="17"/>
            <c:marker>
              <c:symbol val="none"/>
            </c:marker>
            <c:bubble3D val="0"/>
            <c:extLst>
              <c:ext xmlns:c16="http://schemas.microsoft.com/office/drawing/2014/chart" uri="{C3380CC4-5D6E-409C-BE32-E72D297353CC}">
                <c16:uniqueId val="{0000002F-EE08-1D45-85F0-45FB9944307C}"/>
              </c:ext>
            </c:extLst>
          </c:dPt>
          <c:dPt>
            <c:idx val="18"/>
            <c:marker>
              <c:symbol val="none"/>
            </c:marker>
            <c:bubble3D val="0"/>
            <c:extLst>
              <c:ext xmlns:c16="http://schemas.microsoft.com/office/drawing/2014/chart" uri="{C3380CC4-5D6E-409C-BE32-E72D297353CC}">
                <c16:uniqueId val="{00000030-EE08-1D45-85F0-45FB9944307C}"/>
              </c:ext>
            </c:extLst>
          </c:dPt>
          <c:dPt>
            <c:idx val="19"/>
            <c:marker>
              <c:symbol val="none"/>
            </c:marker>
            <c:bubble3D val="0"/>
            <c:extLst>
              <c:ext xmlns:c16="http://schemas.microsoft.com/office/drawing/2014/chart" uri="{C3380CC4-5D6E-409C-BE32-E72D297353CC}">
                <c16:uniqueId val="{00000031-EE08-1D45-85F0-45FB9944307C}"/>
              </c:ext>
            </c:extLst>
          </c:dPt>
          <c:dPt>
            <c:idx val="20"/>
            <c:marker>
              <c:symbol val="none"/>
            </c:marker>
            <c:bubble3D val="0"/>
            <c:extLst>
              <c:ext xmlns:c16="http://schemas.microsoft.com/office/drawing/2014/chart" uri="{C3380CC4-5D6E-409C-BE32-E72D297353CC}">
                <c16:uniqueId val="{00000032-EE08-1D45-85F0-45FB9944307C}"/>
              </c:ext>
            </c:extLst>
          </c:dPt>
          <c:dPt>
            <c:idx val="21"/>
            <c:marker>
              <c:symbol val="none"/>
            </c:marker>
            <c:bubble3D val="0"/>
            <c:extLst>
              <c:ext xmlns:c16="http://schemas.microsoft.com/office/drawing/2014/chart" uri="{C3380CC4-5D6E-409C-BE32-E72D297353CC}">
                <c16:uniqueId val="{00000033-EE08-1D45-85F0-45FB9944307C}"/>
              </c:ext>
            </c:extLst>
          </c:dPt>
          <c:dPt>
            <c:idx val="22"/>
            <c:marker>
              <c:symbol val="none"/>
            </c:marker>
            <c:bubble3D val="0"/>
            <c:extLst>
              <c:ext xmlns:c16="http://schemas.microsoft.com/office/drawing/2014/chart" uri="{C3380CC4-5D6E-409C-BE32-E72D297353CC}">
                <c16:uniqueId val="{00000034-EE08-1D45-85F0-45FB9944307C}"/>
              </c:ext>
            </c:extLst>
          </c:dPt>
          <c:dPt>
            <c:idx val="23"/>
            <c:marker>
              <c:symbol val="none"/>
            </c:marker>
            <c:bubble3D val="0"/>
            <c:extLst>
              <c:ext xmlns:c16="http://schemas.microsoft.com/office/drawing/2014/chart" uri="{C3380CC4-5D6E-409C-BE32-E72D297353CC}">
                <c16:uniqueId val="{00000035-EE08-1D45-85F0-45FB9944307C}"/>
              </c:ext>
            </c:extLst>
          </c:dPt>
          <c:dPt>
            <c:idx val="24"/>
            <c:marker>
              <c:symbol val="none"/>
            </c:marker>
            <c:bubble3D val="0"/>
            <c:extLst>
              <c:ext xmlns:c16="http://schemas.microsoft.com/office/drawing/2014/chart" uri="{C3380CC4-5D6E-409C-BE32-E72D297353CC}">
                <c16:uniqueId val="{00000036-EE08-1D45-85F0-45FB9944307C}"/>
              </c:ext>
            </c:extLst>
          </c:dPt>
          <c:dPt>
            <c:idx val="25"/>
            <c:marker>
              <c:symbol val="none"/>
            </c:marker>
            <c:bubble3D val="0"/>
            <c:extLst>
              <c:ext xmlns:c16="http://schemas.microsoft.com/office/drawing/2014/chart" uri="{C3380CC4-5D6E-409C-BE32-E72D297353CC}">
                <c16:uniqueId val="{00000037-EE08-1D45-85F0-45FB9944307C}"/>
              </c:ext>
            </c:extLst>
          </c:dPt>
          <c:dPt>
            <c:idx val="26"/>
            <c:marker>
              <c:symbol val="none"/>
            </c:marker>
            <c:bubble3D val="0"/>
            <c:extLst>
              <c:ext xmlns:c16="http://schemas.microsoft.com/office/drawing/2014/chart" uri="{C3380CC4-5D6E-409C-BE32-E72D297353CC}">
                <c16:uniqueId val="{00000038-EE08-1D45-85F0-45FB9944307C}"/>
              </c:ext>
            </c:extLst>
          </c:dPt>
          <c:dPt>
            <c:idx val="27"/>
            <c:marker>
              <c:symbol val="none"/>
            </c:marker>
            <c:bubble3D val="0"/>
            <c:extLst>
              <c:ext xmlns:c16="http://schemas.microsoft.com/office/drawing/2014/chart" uri="{C3380CC4-5D6E-409C-BE32-E72D297353CC}">
                <c16:uniqueId val="{00000039-EE08-1D45-85F0-45FB9944307C}"/>
              </c:ext>
            </c:extLst>
          </c:dPt>
          <c:dPt>
            <c:idx val="28"/>
            <c:marker>
              <c:symbol val="none"/>
            </c:marker>
            <c:bubble3D val="0"/>
            <c:extLst>
              <c:ext xmlns:c16="http://schemas.microsoft.com/office/drawing/2014/chart" uri="{C3380CC4-5D6E-409C-BE32-E72D297353CC}">
                <c16:uniqueId val="{0000003A-EE08-1D45-85F0-45FB9944307C}"/>
              </c:ext>
            </c:extLst>
          </c:dPt>
          <c:dLbls>
            <c:dLbl>
              <c:idx val="28"/>
              <c:layout>
                <c:manualLayout>
                  <c:x val="2.1570528356761997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EE08-1D45-85F0-45FB994430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3:$AC$3</c:f>
              <c:numCache>
                <c:formatCode>General</c:formatCode>
                <c:ptCount val="29"/>
                <c:pt idx="0">
                  <c:v>105.64277559290684</c:v>
                </c:pt>
                <c:pt idx="1">
                  <c:v>92.774979340122826</c:v>
                </c:pt>
                <c:pt idx="2">
                  <c:v>83.55022235786727</c:v>
                </c:pt>
                <c:pt idx="3">
                  <c:v>76.493944973101435</c:v>
                </c:pt>
                <c:pt idx="4">
                  <c:v>70.846838416601273</c:v>
                </c:pt>
                <c:pt idx="5">
                  <c:v>66.1741215338496</c:v>
                </c:pt>
                <c:pt idx="6">
                  <c:v>62.207107715306179</c:v>
                </c:pt>
                <c:pt idx="7">
                  <c:v>58.769903786649692</c:v>
                </c:pt>
                <c:pt idx="8">
                  <c:v>55.742044105032718</c:v>
                </c:pt>
                <c:pt idx="9">
                  <c:v>53.037967659272269</c:v>
                </c:pt>
                <c:pt idx="10">
                  <c:v>50.595056786933533</c:v>
                </c:pt>
                <c:pt idx="11">
                  <c:v>48.366319892361076</c:v>
                </c:pt>
                <c:pt idx="12">
                  <c:v>46.315730956987359</c:v>
                </c:pt>
                <c:pt idx="13">
                  <c:v>44.415158194677929</c:v>
                </c:pt>
                <c:pt idx="14">
                  <c:v>44.261042240108353</c:v>
                </c:pt>
                <c:pt idx="15">
                  <c:v>44.107696865311617</c:v>
                </c:pt>
                <c:pt idx="16">
                  <c:v>43.955118217388872</c:v>
                </c:pt>
                <c:pt idx="17">
                  <c:v>43.803302462705744</c:v>
                </c:pt>
                <c:pt idx="18">
                  <c:v>43.652245786796023</c:v>
                </c:pt>
                <c:pt idx="19">
                  <c:v>43.501944394265855</c:v>
                </c:pt>
                <c:pt idx="20">
                  <c:v>43.352394508698332</c:v>
                </c:pt>
                <c:pt idx="21">
                  <c:v>43.203592372558653</c:v>
                </c:pt>
                <c:pt idx="22">
                  <c:v>43.055534247099672</c:v>
                </c:pt>
                <c:pt idx="23">
                  <c:v>42.908216412267983</c:v>
                </c:pt>
                <c:pt idx="24">
                  <c:v>42.761635166610453</c:v>
                </c:pt>
                <c:pt idx="25">
                  <c:v>42.615786827181211</c:v>
                </c:pt>
                <c:pt idx="26">
                  <c:v>42.470667729449119</c:v>
                </c:pt>
                <c:pt idx="27">
                  <c:v>42.32627422720568</c:v>
                </c:pt>
                <c:pt idx="28">
                  <c:v>42.182602692473473</c:v>
                </c:pt>
              </c:numCache>
            </c:numRef>
          </c:yVal>
          <c:smooth val="0"/>
          <c:extLst>
            <c:ext xmlns:c16="http://schemas.microsoft.com/office/drawing/2014/chart" uri="{C3380CC4-5D6E-409C-BE32-E72D297353CC}">
              <c16:uniqueId val="{0000003B-EE08-1D45-85F0-45FB9944307C}"/>
            </c:ext>
          </c:extLst>
        </c:ser>
        <c:ser>
          <c:idx val="2"/>
          <c:order val="2"/>
          <c:spPr>
            <a:ln w="19050"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3C-EE08-1D45-85F0-45FB9944307C}"/>
              </c:ext>
            </c:extLst>
          </c:dPt>
          <c:dPt>
            <c:idx val="1"/>
            <c:marker>
              <c:symbol val="none"/>
            </c:marker>
            <c:bubble3D val="0"/>
            <c:extLst>
              <c:ext xmlns:c16="http://schemas.microsoft.com/office/drawing/2014/chart" uri="{C3380CC4-5D6E-409C-BE32-E72D297353CC}">
                <c16:uniqueId val="{0000003D-EE08-1D45-85F0-45FB9944307C}"/>
              </c:ext>
            </c:extLst>
          </c:dPt>
          <c:dPt>
            <c:idx val="2"/>
            <c:marker>
              <c:symbol val="none"/>
            </c:marker>
            <c:bubble3D val="0"/>
            <c:extLst>
              <c:ext xmlns:c16="http://schemas.microsoft.com/office/drawing/2014/chart" uri="{C3380CC4-5D6E-409C-BE32-E72D297353CC}">
                <c16:uniqueId val="{0000003E-EE08-1D45-85F0-45FB9944307C}"/>
              </c:ext>
            </c:extLst>
          </c:dPt>
          <c:dPt>
            <c:idx val="3"/>
            <c:marker>
              <c:symbol val="none"/>
            </c:marker>
            <c:bubble3D val="0"/>
            <c:extLst>
              <c:ext xmlns:c16="http://schemas.microsoft.com/office/drawing/2014/chart" uri="{C3380CC4-5D6E-409C-BE32-E72D297353CC}">
                <c16:uniqueId val="{0000003F-EE08-1D45-85F0-45FB9944307C}"/>
              </c:ext>
            </c:extLst>
          </c:dPt>
          <c:dPt>
            <c:idx val="4"/>
            <c:marker>
              <c:symbol val="none"/>
            </c:marker>
            <c:bubble3D val="0"/>
            <c:extLst>
              <c:ext xmlns:c16="http://schemas.microsoft.com/office/drawing/2014/chart" uri="{C3380CC4-5D6E-409C-BE32-E72D297353CC}">
                <c16:uniqueId val="{00000040-EE08-1D45-85F0-45FB9944307C}"/>
              </c:ext>
            </c:extLst>
          </c:dPt>
          <c:dPt>
            <c:idx val="5"/>
            <c:marker>
              <c:symbol val="none"/>
            </c:marker>
            <c:bubble3D val="0"/>
            <c:extLst>
              <c:ext xmlns:c16="http://schemas.microsoft.com/office/drawing/2014/chart" uri="{C3380CC4-5D6E-409C-BE32-E72D297353CC}">
                <c16:uniqueId val="{00000041-EE08-1D45-85F0-45FB9944307C}"/>
              </c:ext>
            </c:extLst>
          </c:dPt>
          <c:dPt>
            <c:idx val="6"/>
            <c:marker>
              <c:symbol val="none"/>
            </c:marker>
            <c:bubble3D val="0"/>
            <c:extLst>
              <c:ext xmlns:c16="http://schemas.microsoft.com/office/drawing/2014/chart" uri="{C3380CC4-5D6E-409C-BE32-E72D297353CC}">
                <c16:uniqueId val="{00000042-EE08-1D45-85F0-45FB9944307C}"/>
              </c:ext>
            </c:extLst>
          </c:dPt>
          <c:dPt>
            <c:idx val="7"/>
            <c:marker>
              <c:symbol val="none"/>
            </c:marker>
            <c:bubble3D val="0"/>
            <c:extLst>
              <c:ext xmlns:c16="http://schemas.microsoft.com/office/drawing/2014/chart" uri="{C3380CC4-5D6E-409C-BE32-E72D297353CC}">
                <c16:uniqueId val="{00000043-EE08-1D45-85F0-45FB9944307C}"/>
              </c:ext>
            </c:extLst>
          </c:dPt>
          <c:dPt>
            <c:idx val="8"/>
            <c:marker>
              <c:symbol val="none"/>
            </c:marker>
            <c:bubble3D val="0"/>
            <c:extLst>
              <c:ext xmlns:c16="http://schemas.microsoft.com/office/drawing/2014/chart" uri="{C3380CC4-5D6E-409C-BE32-E72D297353CC}">
                <c16:uniqueId val="{00000044-EE08-1D45-85F0-45FB9944307C}"/>
              </c:ext>
            </c:extLst>
          </c:dPt>
          <c:dPt>
            <c:idx val="9"/>
            <c:marker>
              <c:symbol val="none"/>
            </c:marker>
            <c:bubble3D val="0"/>
            <c:extLst>
              <c:ext xmlns:c16="http://schemas.microsoft.com/office/drawing/2014/chart" uri="{C3380CC4-5D6E-409C-BE32-E72D297353CC}">
                <c16:uniqueId val="{00000045-EE08-1D45-85F0-45FB9944307C}"/>
              </c:ext>
            </c:extLst>
          </c:dPt>
          <c:dPt>
            <c:idx val="10"/>
            <c:marker>
              <c:symbol val="none"/>
            </c:marker>
            <c:bubble3D val="0"/>
            <c:extLst>
              <c:ext xmlns:c16="http://schemas.microsoft.com/office/drawing/2014/chart" uri="{C3380CC4-5D6E-409C-BE32-E72D297353CC}">
                <c16:uniqueId val="{00000046-EE08-1D45-85F0-45FB9944307C}"/>
              </c:ext>
            </c:extLst>
          </c:dPt>
          <c:dPt>
            <c:idx val="11"/>
            <c:marker>
              <c:symbol val="none"/>
            </c:marker>
            <c:bubble3D val="0"/>
            <c:extLst>
              <c:ext xmlns:c16="http://schemas.microsoft.com/office/drawing/2014/chart" uri="{C3380CC4-5D6E-409C-BE32-E72D297353CC}">
                <c16:uniqueId val="{00000047-EE08-1D45-85F0-45FB9944307C}"/>
              </c:ext>
            </c:extLst>
          </c:dPt>
          <c:dPt>
            <c:idx val="12"/>
            <c:marker>
              <c:symbol val="none"/>
            </c:marker>
            <c:bubble3D val="0"/>
            <c:extLst>
              <c:ext xmlns:c16="http://schemas.microsoft.com/office/drawing/2014/chart" uri="{C3380CC4-5D6E-409C-BE32-E72D297353CC}">
                <c16:uniqueId val="{00000048-EE08-1D45-85F0-45FB9944307C}"/>
              </c:ext>
            </c:extLst>
          </c:dPt>
          <c:dPt>
            <c:idx val="13"/>
            <c:marker>
              <c:symbol val="none"/>
            </c:marker>
            <c:bubble3D val="0"/>
            <c:extLst>
              <c:ext xmlns:c16="http://schemas.microsoft.com/office/drawing/2014/chart" uri="{C3380CC4-5D6E-409C-BE32-E72D297353CC}">
                <c16:uniqueId val="{00000049-EE08-1D45-85F0-45FB9944307C}"/>
              </c:ext>
            </c:extLst>
          </c:dPt>
          <c:dPt>
            <c:idx val="14"/>
            <c:marker>
              <c:symbol val="none"/>
            </c:marker>
            <c:bubble3D val="0"/>
            <c:extLst>
              <c:ext xmlns:c16="http://schemas.microsoft.com/office/drawing/2014/chart" uri="{C3380CC4-5D6E-409C-BE32-E72D297353CC}">
                <c16:uniqueId val="{0000004A-EE08-1D45-85F0-45FB9944307C}"/>
              </c:ext>
            </c:extLst>
          </c:dPt>
          <c:dPt>
            <c:idx val="15"/>
            <c:marker>
              <c:symbol val="none"/>
            </c:marker>
            <c:bubble3D val="0"/>
            <c:extLst>
              <c:ext xmlns:c16="http://schemas.microsoft.com/office/drawing/2014/chart" uri="{C3380CC4-5D6E-409C-BE32-E72D297353CC}">
                <c16:uniqueId val="{0000004B-EE08-1D45-85F0-45FB9944307C}"/>
              </c:ext>
            </c:extLst>
          </c:dPt>
          <c:dPt>
            <c:idx val="16"/>
            <c:marker>
              <c:symbol val="none"/>
            </c:marker>
            <c:bubble3D val="0"/>
            <c:extLst>
              <c:ext xmlns:c16="http://schemas.microsoft.com/office/drawing/2014/chart" uri="{C3380CC4-5D6E-409C-BE32-E72D297353CC}">
                <c16:uniqueId val="{0000004C-EE08-1D45-85F0-45FB9944307C}"/>
              </c:ext>
            </c:extLst>
          </c:dPt>
          <c:dPt>
            <c:idx val="17"/>
            <c:marker>
              <c:symbol val="none"/>
            </c:marker>
            <c:bubble3D val="0"/>
            <c:extLst>
              <c:ext xmlns:c16="http://schemas.microsoft.com/office/drawing/2014/chart" uri="{C3380CC4-5D6E-409C-BE32-E72D297353CC}">
                <c16:uniqueId val="{0000004D-EE08-1D45-85F0-45FB9944307C}"/>
              </c:ext>
            </c:extLst>
          </c:dPt>
          <c:dPt>
            <c:idx val="18"/>
            <c:marker>
              <c:symbol val="none"/>
            </c:marker>
            <c:bubble3D val="0"/>
            <c:extLst>
              <c:ext xmlns:c16="http://schemas.microsoft.com/office/drawing/2014/chart" uri="{C3380CC4-5D6E-409C-BE32-E72D297353CC}">
                <c16:uniqueId val="{0000004E-EE08-1D45-85F0-45FB9944307C}"/>
              </c:ext>
            </c:extLst>
          </c:dPt>
          <c:dPt>
            <c:idx val="19"/>
            <c:marker>
              <c:symbol val="none"/>
            </c:marker>
            <c:bubble3D val="0"/>
            <c:extLst>
              <c:ext xmlns:c16="http://schemas.microsoft.com/office/drawing/2014/chart" uri="{C3380CC4-5D6E-409C-BE32-E72D297353CC}">
                <c16:uniqueId val="{0000004F-EE08-1D45-85F0-45FB9944307C}"/>
              </c:ext>
            </c:extLst>
          </c:dPt>
          <c:dPt>
            <c:idx val="20"/>
            <c:marker>
              <c:symbol val="none"/>
            </c:marker>
            <c:bubble3D val="0"/>
            <c:extLst>
              <c:ext xmlns:c16="http://schemas.microsoft.com/office/drawing/2014/chart" uri="{C3380CC4-5D6E-409C-BE32-E72D297353CC}">
                <c16:uniqueId val="{00000050-EE08-1D45-85F0-45FB9944307C}"/>
              </c:ext>
            </c:extLst>
          </c:dPt>
          <c:dPt>
            <c:idx val="21"/>
            <c:marker>
              <c:symbol val="none"/>
            </c:marker>
            <c:bubble3D val="0"/>
            <c:extLst>
              <c:ext xmlns:c16="http://schemas.microsoft.com/office/drawing/2014/chart" uri="{C3380CC4-5D6E-409C-BE32-E72D297353CC}">
                <c16:uniqueId val="{00000051-EE08-1D45-85F0-45FB9944307C}"/>
              </c:ext>
            </c:extLst>
          </c:dPt>
          <c:dPt>
            <c:idx val="22"/>
            <c:marker>
              <c:symbol val="none"/>
            </c:marker>
            <c:bubble3D val="0"/>
            <c:extLst>
              <c:ext xmlns:c16="http://schemas.microsoft.com/office/drawing/2014/chart" uri="{C3380CC4-5D6E-409C-BE32-E72D297353CC}">
                <c16:uniqueId val="{00000052-EE08-1D45-85F0-45FB9944307C}"/>
              </c:ext>
            </c:extLst>
          </c:dPt>
          <c:dPt>
            <c:idx val="23"/>
            <c:marker>
              <c:symbol val="none"/>
            </c:marker>
            <c:bubble3D val="0"/>
            <c:extLst>
              <c:ext xmlns:c16="http://schemas.microsoft.com/office/drawing/2014/chart" uri="{C3380CC4-5D6E-409C-BE32-E72D297353CC}">
                <c16:uniqueId val="{00000053-EE08-1D45-85F0-45FB9944307C}"/>
              </c:ext>
            </c:extLst>
          </c:dPt>
          <c:dPt>
            <c:idx val="24"/>
            <c:marker>
              <c:symbol val="none"/>
            </c:marker>
            <c:bubble3D val="0"/>
            <c:extLst>
              <c:ext xmlns:c16="http://schemas.microsoft.com/office/drawing/2014/chart" uri="{C3380CC4-5D6E-409C-BE32-E72D297353CC}">
                <c16:uniqueId val="{00000054-EE08-1D45-85F0-45FB9944307C}"/>
              </c:ext>
            </c:extLst>
          </c:dPt>
          <c:dPt>
            <c:idx val="25"/>
            <c:marker>
              <c:symbol val="none"/>
            </c:marker>
            <c:bubble3D val="0"/>
            <c:extLst>
              <c:ext xmlns:c16="http://schemas.microsoft.com/office/drawing/2014/chart" uri="{C3380CC4-5D6E-409C-BE32-E72D297353CC}">
                <c16:uniqueId val="{00000055-EE08-1D45-85F0-45FB9944307C}"/>
              </c:ext>
            </c:extLst>
          </c:dPt>
          <c:dPt>
            <c:idx val="26"/>
            <c:marker>
              <c:symbol val="none"/>
            </c:marker>
            <c:bubble3D val="0"/>
            <c:extLst>
              <c:ext xmlns:c16="http://schemas.microsoft.com/office/drawing/2014/chart" uri="{C3380CC4-5D6E-409C-BE32-E72D297353CC}">
                <c16:uniqueId val="{00000056-EE08-1D45-85F0-45FB9944307C}"/>
              </c:ext>
            </c:extLst>
          </c:dPt>
          <c:dPt>
            <c:idx val="27"/>
            <c:marker>
              <c:symbol val="none"/>
            </c:marker>
            <c:bubble3D val="0"/>
            <c:extLst>
              <c:ext xmlns:c16="http://schemas.microsoft.com/office/drawing/2014/chart" uri="{C3380CC4-5D6E-409C-BE32-E72D297353CC}">
                <c16:uniqueId val="{00000057-EE08-1D45-85F0-45FB9944307C}"/>
              </c:ext>
            </c:extLst>
          </c:dPt>
          <c:dPt>
            <c:idx val="28"/>
            <c:marker>
              <c:symbol val="none"/>
            </c:marker>
            <c:bubble3D val="0"/>
            <c:extLst>
              <c:ext xmlns:c16="http://schemas.microsoft.com/office/drawing/2014/chart" uri="{C3380CC4-5D6E-409C-BE32-E72D297353CC}">
                <c16:uniqueId val="{00000058-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4:$AC$4</c:f>
              <c:numCache>
                <c:formatCode>General</c:formatCode>
                <c:ptCount val="29"/>
                <c:pt idx="0">
                  <c:v>68.925546800304403</c:v>
                </c:pt>
                <c:pt idx="1">
                  <c:v>68.925546800304403</c:v>
                </c:pt>
                <c:pt idx="2">
                  <c:v>68.925546800304403</c:v>
                </c:pt>
                <c:pt idx="3">
                  <c:v>68.925546800304403</c:v>
                </c:pt>
                <c:pt idx="4">
                  <c:v>68.925546800304403</c:v>
                </c:pt>
                <c:pt idx="5">
                  <c:v>68.925546800304403</c:v>
                </c:pt>
                <c:pt idx="6">
                  <c:v>68.925546800304403</c:v>
                </c:pt>
                <c:pt idx="7">
                  <c:v>68.925546800304403</c:v>
                </c:pt>
                <c:pt idx="8">
                  <c:v>68.925546800304403</c:v>
                </c:pt>
                <c:pt idx="9">
                  <c:v>66.942978506643072</c:v>
                </c:pt>
                <c:pt idx="10">
                  <c:v>64.96041021298177</c:v>
                </c:pt>
                <c:pt idx="11">
                  <c:v>62.977841919320454</c:v>
                </c:pt>
                <c:pt idx="12">
                  <c:v>60.995273625659138</c:v>
                </c:pt>
                <c:pt idx="13">
                  <c:v>59.012705331997829</c:v>
                </c:pt>
                <c:pt idx="14">
                  <c:v>57.426650697068773</c:v>
                </c:pt>
                <c:pt idx="15">
                  <c:v>55.840596062139731</c:v>
                </c:pt>
                <c:pt idx="16">
                  <c:v>54.254541427210675</c:v>
                </c:pt>
                <c:pt idx="17">
                  <c:v>52.66848679228162</c:v>
                </c:pt>
                <c:pt idx="18">
                  <c:v>51.082432157352564</c:v>
                </c:pt>
                <c:pt idx="19">
                  <c:v>50.28940483988805</c:v>
                </c:pt>
                <c:pt idx="20">
                  <c:v>49.496377522423515</c:v>
                </c:pt>
                <c:pt idx="21">
                  <c:v>48.703350204958994</c:v>
                </c:pt>
                <c:pt idx="22">
                  <c:v>47.910322887494466</c:v>
                </c:pt>
                <c:pt idx="23">
                  <c:v>47.117295570029945</c:v>
                </c:pt>
                <c:pt idx="24">
                  <c:v>46.720781911297678</c:v>
                </c:pt>
                <c:pt idx="25">
                  <c:v>46.324268252565425</c:v>
                </c:pt>
                <c:pt idx="26">
                  <c:v>45.927754593833157</c:v>
                </c:pt>
                <c:pt idx="27">
                  <c:v>45.53124093510089</c:v>
                </c:pt>
                <c:pt idx="28">
                  <c:v>45.134727276368629</c:v>
                </c:pt>
              </c:numCache>
            </c:numRef>
          </c:yVal>
          <c:smooth val="0"/>
          <c:extLst>
            <c:ext xmlns:c16="http://schemas.microsoft.com/office/drawing/2014/chart" uri="{C3380CC4-5D6E-409C-BE32-E72D297353CC}">
              <c16:uniqueId val="{00000059-EE08-1D45-85F0-45FB9944307C}"/>
            </c:ext>
          </c:extLst>
        </c:ser>
        <c:ser>
          <c:idx val="3"/>
          <c:order val="3"/>
          <c:spPr>
            <a:ln w="19050" cmpd="sng" algn="ctr">
              <a:solidFill>
                <a:schemeClr val="accent4"/>
              </a:solidFill>
              <a:prstDash val="sysDot"/>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5A-EE08-1D45-85F0-45FB9944307C}"/>
              </c:ext>
            </c:extLst>
          </c:dPt>
          <c:dPt>
            <c:idx val="1"/>
            <c:marker>
              <c:symbol val="none"/>
            </c:marker>
            <c:bubble3D val="0"/>
            <c:extLst>
              <c:ext xmlns:c16="http://schemas.microsoft.com/office/drawing/2014/chart" uri="{C3380CC4-5D6E-409C-BE32-E72D297353CC}">
                <c16:uniqueId val="{0000005B-EE08-1D45-85F0-45FB9944307C}"/>
              </c:ext>
            </c:extLst>
          </c:dPt>
          <c:dPt>
            <c:idx val="2"/>
            <c:marker>
              <c:symbol val="none"/>
            </c:marker>
            <c:bubble3D val="0"/>
            <c:extLst>
              <c:ext xmlns:c16="http://schemas.microsoft.com/office/drawing/2014/chart" uri="{C3380CC4-5D6E-409C-BE32-E72D297353CC}">
                <c16:uniqueId val="{0000005C-EE08-1D45-85F0-45FB9944307C}"/>
              </c:ext>
            </c:extLst>
          </c:dPt>
          <c:dPt>
            <c:idx val="3"/>
            <c:marker>
              <c:symbol val="none"/>
            </c:marker>
            <c:bubble3D val="0"/>
            <c:extLst>
              <c:ext xmlns:c16="http://schemas.microsoft.com/office/drawing/2014/chart" uri="{C3380CC4-5D6E-409C-BE32-E72D297353CC}">
                <c16:uniqueId val="{0000005D-EE08-1D45-85F0-45FB9944307C}"/>
              </c:ext>
            </c:extLst>
          </c:dPt>
          <c:dPt>
            <c:idx val="4"/>
            <c:marker>
              <c:symbol val="none"/>
            </c:marker>
            <c:bubble3D val="0"/>
            <c:extLst>
              <c:ext xmlns:c16="http://schemas.microsoft.com/office/drawing/2014/chart" uri="{C3380CC4-5D6E-409C-BE32-E72D297353CC}">
                <c16:uniqueId val="{0000005E-EE08-1D45-85F0-45FB9944307C}"/>
              </c:ext>
            </c:extLst>
          </c:dPt>
          <c:dPt>
            <c:idx val="5"/>
            <c:marker>
              <c:symbol val="none"/>
            </c:marker>
            <c:bubble3D val="0"/>
            <c:extLst>
              <c:ext xmlns:c16="http://schemas.microsoft.com/office/drawing/2014/chart" uri="{C3380CC4-5D6E-409C-BE32-E72D297353CC}">
                <c16:uniqueId val="{0000005F-EE08-1D45-85F0-45FB9944307C}"/>
              </c:ext>
            </c:extLst>
          </c:dPt>
          <c:dPt>
            <c:idx val="6"/>
            <c:marker>
              <c:symbol val="none"/>
            </c:marker>
            <c:bubble3D val="0"/>
            <c:extLst>
              <c:ext xmlns:c16="http://schemas.microsoft.com/office/drawing/2014/chart" uri="{C3380CC4-5D6E-409C-BE32-E72D297353CC}">
                <c16:uniqueId val="{00000060-EE08-1D45-85F0-45FB9944307C}"/>
              </c:ext>
            </c:extLst>
          </c:dPt>
          <c:dPt>
            <c:idx val="7"/>
            <c:marker>
              <c:symbol val="none"/>
            </c:marker>
            <c:bubble3D val="0"/>
            <c:extLst>
              <c:ext xmlns:c16="http://schemas.microsoft.com/office/drawing/2014/chart" uri="{C3380CC4-5D6E-409C-BE32-E72D297353CC}">
                <c16:uniqueId val="{00000061-EE08-1D45-85F0-45FB9944307C}"/>
              </c:ext>
            </c:extLst>
          </c:dPt>
          <c:dPt>
            <c:idx val="8"/>
            <c:marker>
              <c:symbol val="none"/>
            </c:marker>
            <c:bubble3D val="0"/>
            <c:extLst>
              <c:ext xmlns:c16="http://schemas.microsoft.com/office/drawing/2014/chart" uri="{C3380CC4-5D6E-409C-BE32-E72D297353CC}">
                <c16:uniqueId val="{00000062-EE08-1D45-85F0-45FB9944307C}"/>
              </c:ext>
            </c:extLst>
          </c:dPt>
          <c:dPt>
            <c:idx val="9"/>
            <c:marker>
              <c:symbol val="none"/>
            </c:marker>
            <c:bubble3D val="0"/>
            <c:extLst>
              <c:ext xmlns:c16="http://schemas.microsoft.com/office/drawing/2014/chart" uri="{C3380CC4-5D6E-409C-BE32-E72D297353CC}">
                <c16:uniqueId val="{00000063-EE08-1D45-85F0-45FB9944307C}"/>
              </c:ext>
            </c:extLst>
          </c:dPt>
          <c:dPt>
            <c:idx val="10"/>
            <c:marker>
              <c:symbol val="none"/>
            </c:marker>
            <c:bubble3D val="0"/>
            <c:extLst>
              <c:ext xmlns:c16="http://schemas.microsoft.com/office/drawing/2014/chart" uri="{C3380CC4-5D6E-409C-BE32-E72D297353CC}">
                <c16:uniqueId val="{00000064-EE08-1D45-85F0-45FB9944307C}"/>
              </c:ext>
            </c:extLst>
          </c:dPt>
          <c:dPt>
            <c:idx val="11"/>
            <c:marker>
              <c:symbol val="none"/>
            </c:marker>
            <c:bubble3D val="0"/>
            <c:extLst>
              <c:ext xmlns:c16="http://schemas.microsoft.com/office/drawing/2014/chart" uri="{C3380CC4-5D6E-409C-BE32-E72D297353CC}">
                <c16:uniqueId val="{00000065-EE08-1D45-85F0-45FB9944307C}"/>
              </c:ext>
            </c:extLst>
          </c:dPt>
          <c:dPt>
            <c:idx val="12"/>
            <c:marker>
              <c:symbol val="none"/>
            </c:marker>
            <c:bubble3D val="0"/>
            <c:extLst>
              <c:ext xmlns:c16="http://schemas.microsoft.com/office/drawing/2014/chart" uri="{C3380CC4-5D6E-409C-BE32-E72D297353CC}">
                <c16:uniqueId val="{00000066-EE08-1D45-85F0-45FB9944307C}"/>
              </c:ext>
            </c:extLst>
          </c:dPt>
          <c:dPt>
            <c:idx val="13"/>
            <c:marker>
              <c:symbol val="none"/>
            </c:marker>
            <c:bubble3D val="0"/>
            <c:extLst>
              <c:ext xmlns:c16="http://schemas.microsoft.com/office/drawing/2014/chart" uri="{C3380CC4-5D6E-409C-BE32-E72D297353CC}">
                <c16:uniqueId val="{00000067-EE08-1D45-85F0-45FB9944307C}"/>
              </c:ext>
            </c:extLst>
          </c:dPt>
          <c:dPt>
            <c:idx val="14"/>
            <c:marker>
              <c:symbol val="none"/>
            </c:marker>
            <c:bubble3D val="0"/>
            <c:extLst>
              <c:ext xmlns:c16="http://schemas.microsoft.com/office/drawing/2014/chart" uri="{C3380CC4-5D6E-409C-BE32-E72D297353CC}">
                <c16:uniqueId val="{00000068-EE08-1D45-85F0-45FB9944307C}"/>
              </c:ext>
            </c:extLst>
          </c:dPt>
          <c:dPt>
            <c:idx val="15"/>
            <c:marker>
              <c:symbol val="none"/>
            </c:marker>
            <c:bubble3D val="0"/>
            <c:extLst>
              <c:ext xmlns:c16="http://schemas.microsoft.com/office/drawing/2014/chart" uri="{C3380CC4-5D6E-409C-BE32-E72D297353CC}">
                <c16:uniqueId val="{00000069-EE08-1D45-85F0-45FB9944307C}"/>
              </c:ext>
            </c:extLst>
          </c:dPt>
          <c:dPt>
            <c:idx val="16"/>
            <c:marker>
              <c:symbol val="none"/>
            </c:marker>
            <c:bubble3D val="0"/>
            <c:extLst>
              <c:ext xmlns:c16="http://schemas.microsoft.com/office/drawing/2014/chart" uri="{C3380CC4-5D6E-409C-BE32-E72D297353CC}">
                <c16:uniqueId val="{0000006A-EE08-1D45-85F0-45FB9944307C}"/>
              </c:ext>
            </c:extLst>
          </c:dPt>
          <c:dPt>
            <c:idx val="17"/>
            <c:marker>
              <c:symbol val="none"/>
            </c:marker>
            <c:bubble3D val="0"/>
            <c:extLst>
              <c:ext xmlns:c16="http://schemas.microsoft.com/office/drawing/2014/chart" uri="{C3380CC4-5D6E-409C-BE32-E72D297353CC}">
                <c16:uniqueId val="{0000006B-EE08-1D45-85F0-45FB9944307C}"/>
              </c:ext>
            </c:extLst>
          </c:dPt>
          <c:dPt>
            <c:idx val="18"/>
            <c:marker>
              <c:symbol val="none"/>
            </c:marker>
            <c:bubble3D val="0"/>
            <c:extLst>
              <c:ext xmlns:c16="http://schemas.microsoft.com/office/drawing/2014/chart" uri="{C3380CC4-5D6E-409C-BE32-E72D297353CC}">
                <c16:uniqueId val="{0000006C-EE08-1D45-85F0-45FB9944307C}"/>
              </c:ext>
            </c:extLst>
          </c:dPt>
          <c:dPt>
            <c:idx val="19"/>
            <c:marker>
              <c:symbol val="none"/>
            </c:marker>
            <c:bubble3D val="0"/>
            <c:extLst>
              <c:ext xmlns:c16="http://schemas.microsoft.com/office/drawing/2014/chart" uri="{C3380CC4-5D6E-409C-BE32-E72D297353CC}">
                <c16:uniqueId val="{0000006D-EE08-1D45-85F0-45FB9944307C}"/>
              </c:ext>
            </c:extLst>
          </c:dPt>
          <c:dPt>
            <c:idx val="20"/>
            <c:marker>
              <c:symbol val="none"/>
            </c:marker>
            <c:bubble3D val="0"/>
            <c:extLst>
              <c:ext xmlns:c16="http://schemas.microsoft.com/office/drawing/2014/chart" uri="{C3380CC4-5D6E-409C-BE32-E72D297353CC}">
                <c16:uniqueId val="{0000006E-EE08-1D45-85F0-45FB9944307C}"/>
              </c:ext>
            </c:extLst>
          </c:dPt>
          <c:dPt>
            <c:idx val="21"/>
            <c:marker>
              <c:symbol val="none"/>
            </c:marker>
            <c:bubble3D val="0"/>
            <c:extLst>
              <c:ext xmlns:c16="http://schemas.microsoft.com/office/drawing/2014/chart" uri="{C3380CC4-5D6E-409C-BE32-E72D297353CC}">
                <c16:uniqueId val="{0000006F-EE08-1D45-85F0-45FB9944307C}"/>
              </c:ext>
            </c:extLst>
          </c:dPt>
          <c:dPt>
            <c:idx val="22"/>
            <c:marker>
              <c:symbol val="none"/>
            </c:marker>
            <c:bubble3D val="0"/>
            <c:extLst>
              <c:ext xmlns:c16="http://schemas.microsoft.com/office/drawing/2014/chart" uri="{C3380CC4-5D6E-409C-BE32-E72D297353CC}">
                <c16:uniqueId val="{00000070-EE08-1D45-85F0-45FB9944307C}"/>
              </c:ext>
            </c:extLst>
          </c:dPt>
          <c:dPt>
            <c:idx val="23"/>
            <c:marker>
              <c:symbol val="none"/>
            </c:marker>
            <c:bubble3D val="0"/>
            <c:extLst>
              <c:ext xmlns:c16="http://schemas.microsoft.com/office/drawing/2014/chart" uri="{C3380CC4-5D6E-409C-BE32-E72D297353CC}">
                <c16:uniqueId val="{00000071-EE08-1D45-85F0-45FB9944307C}"/>
              </c:ext>
            </c:extLst>
          </c:dPt>
          <c:dPt>
            <c:idx val="24"/>
            <c:marker>
              <c:symbol val="none"/>
            </c:marker>
            <c:bubble3D val="0"/>
            <c:extLst>
              <c:ext xmlns:c16="http://schemas.microsoft.com/office/drawing/2014/chart" uri="{C3380CC4-5D6E-409C-BE32-E72D297353CC}">
                <c16:uniqueId val="{00000072-EE08-1D45-85F0-45FB9944307C}"/>
              </c:ext>
            </c:extLst>
          </c:dPt>
          <c:dPt>
            <c:idx val="25"/>
            <c:marker>
              <c:symbol val="none"/>
            </c:marker>
            <c:bubble3D val="0"/>
            <c:extLst>
              <c:ext xmlns:c16="http://schemas.microsoft.com/office/drawing/2014/chart" uri="{C3380CC4-5D6E-409C-BE32-E72D297353CC}">
                <c16:uniqueId val="{00000073-EE08-1D45-85F0-45FB9944307C}"/>
              </c:ext>
            </c:extLst>
          </c:dPt>
          <c:dPt>
            <c:idx val="26"/>
            <c:marker>
              <c:symbol val="none"/>
            </c:marker>
            <c:bubble3D val="0"/>
            <c:extLst>
              <c:ext xmlns:c16="http://schemas.microsoft.com/office/drawing/2014/chart" uri="{C3380CC4-5D6E-409C-BE32-E72D297353CC}">
                <c16:uniqueId val="{00000074-EE08-1D45-85F0-45FB9944307C}"/>
              </c:ext>
            </c:extLst>
          </c:dPt>
          <c:dPt>
            <c:idx val="27"/>
            <c:marker>
              <c:symbol val="none"/>
            </c:marker>
            <c:bubble3D val="0"/>
            <c:extLst>
              <c:ext xmlns:c16="http://schemas.microsoft.com/office/drawing/2014/chart" uri="{C3380CC4-5D6E-409C-BE32-E72D297353CC}">
                <c16:uniqueId val="{00000075-EE08-1D45-85F0-45FB9944307C}"/>
              </c:ext>
            </c:extLst>
          </c:dPt>
          <c:dPt>
            <c:idx val="28"/>
            <c:marker>
              <c:symbol val="none"/>
            </c:marker>
            <c:bubble3D val="0"/>
            <c:extLst>
              <c:ext xmlns:c16="http://schemas.microsoft.com/office/drawing/2014/chart" uri="{C3380CC4-5D6E-409C-BE32-E72D297353CC}">
                <c16:uniqueId val="{00000076-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5:$AC$5</c:f>
              <c:numCache>
                <c:formatCode>General</c:formatCode>
                <c:ptCount val="29"/>
                <c:pt idx="0">
                  <c:v>78.247485457462318</c:v>
                </c:pt>
                <c:pt idx="1">
                  <c:v>78.247485457462318</c:v>
                </c:pt>
                <c:pt idx="2">
                  <c:v>78.247485457462318</c:v>
                </c:pt>
                <c:pt idx="3">
                  <c:v>78.247485457462318</c:v>
                </c:pt>
                <c:pt idx="4">
                  <c:v>77.79012205707599</c:v>
                </c:pt>
                <c:pt idx="5">
                  <c:v>77.317513210010134</c:v>
                </c:pt>
                <c:pt idx="6">
                  <c:v>76.86014980962382</c:v>
                </c:pt>
                <c:pt idx="7">
                  <c:v>76.387540962557964</c:v>
                </c:pt>
                <c:pt idx="8">
                  <c:v>75.930177562171636</c:v>
                </c:pt>
                <c:pt idx="9">
                  <c:v>73.804170931207253</c:v>
                </c:pt>
                <c:pt idx="10">
                  <c:v>73.407789317539098</c:v>
                </c:pt>
                <c:pt idx="11">
                  <c:v>72.996162257191415</c:v>
                </c:pt>
                <c:pt idx="12">
                  <c:v>72.599780643523275</c:v>
                </c:pt>
                <c:pt idx="13">
                  <c:v>72.203399029855134</c:v>
                </c:pt>
                <c:pt idx="14">
                  <c:v>71.807017416186994</c:v>
                </c:pt>
                <c:pt idx="15">
                  <c:v>71.41063580251884</c:v>
                </c:pt>
                <c:pt idx="16">
                  <c:v>70.999008742171171</c:v>
                </c:pt>
                <c:pt idx="17">
                  <c:v>70.602627128503016</c:v>
                </c:pt>
                <c:pt idx="18">
                  <c:v>70.206245514834876</c:v>
                </c:pt>
                <c:pt idx="19">
                  <c:v>67.438845487160876</c:v>
                </c:pt>
                <c:pt idx="20">
                  <c:v>67.438845487160876</c:v>
                </c:pt>
                <c:pt idx="21">
                  <c:v>67.438845487160876</c:v>
                </c:pt>
                <c:pt idx="22">
                  <c:v>67.438845487160876</c:v>
                </c:pt>
                <c:pt idx="23">
                  <c:v>67.438845487160876</c:v>
                </c:pt>
                <c:pt idx="24">
                  <c:v>67.438845487160876</c:v>
                </c:pt>
                <c:pt idx="25">
                  <c:v>67.438845487160876</c:v>
                </c:pt>
                <c:pt idx="26">
                  <c:v>67.438845487160876</c:v>
                </c:pt>
                <c:pt idx="27">
                  <c:v>67.438845487160876</c:v>
                </c:pt>
                <c:pt idx="28">
                  <c:v>67.438845487160876</c:v>
                </c:pt>
              </c:numCache>
            </c:numRef>
          </c:yVal>
          <c:smooth val="0"/>
          <c:extLst>
            <c:ext xmlns:c16="http://schemas.microsoft.com/office/drawing/2014/chart" uri="{C3380CC4-5D6E-409C-BE32-E72D297353CC}">
              <c16:uniqueId val="{00000077-EE08-1D45-85F0-45FB9944307C}"/>
            </c:ext>
          </c:extLst>
        </c:ser>
        <c:ser>
          <c:idx val="4"/>
          <c:order val="4"/>
          <c:spPr>
            <a:ln w="19050" cmpd="sng" algn="ctr">
              <a:solidFill>
                <a:schemeClr val="accent5"/>
              </a:solidFill>
              <a:prstDash val="sysDot"/>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78-EE08-1D45-85F0-45FB9944307C}"/>
              </c:ext>
            </c:extLst>
          </c:dPt>
          <c:dPt>
            <c:idx val="1"/>
            <c:marker>
              <c:symbol val="none"/>
            </c:marker>
            <c:bubble3D val="0"/>
            <c:extLst>
              <c:ext xmlns:c16="http://schemas.microsoft.com/office/drawing/2014/chart" uri="{C3380CC4-5D6E-409C-BE32-E72D297353CC}">
                <c16:uniqueId val="{00000079-EE08-1D45-85F0-45FB9944307C}"/>
              </c:ext>
            </c:extLst>
          </c:dPt>
          <c:dPt>
            <c:idx val="2"/>
            <c:marker>
              <c:symbol val="none"/>
            </c:marker>
            <c:bubble3D val="0"/>
            <c:extLst>
              <c:ext xmlns:c16="http://schemas.microsoft.com/office/drawing/2014/chart" uri="{C3380CC4-5D6E-409C-BE32-E72D297353CC}">
                <c16:uniqueId val="{0000007A-EE08-1D45-85F0-45FB9944307C}"/>
              </c:ext>
            </c:extLst>
          </c:dPt>
          <c:dPt>
            <c:idx val="3"/>
            <c:marker>
              <c:symbol val="none"/>
            </c:marker>
            <c:bubble3D val="0"/>
            <c:extLst>
              <c:ext xmlns:c16="http://schemas.microsoft.com/office/drawing/2014/chart" uri="{C3380CC4-5D6E-409C-BE32-E72D297353CC}">
                <c16:uniqueId val="{0000007B-EE08-1D45-85F0-45FB9944307C}"/>
              </c:ext>
            </c:extLst>
          </c:dPt>
          <c:dPt>
            <c:idx val="4"/>
            <c:marker>
              <c:symbol val="none"/>
            </c:marker>
            <c:bubble3D val="0"/>
            <c:extLst>
              <c:ext xmlns:c16="http://schemas.microsoft.com/office/drawing/2014/chart" uri="{C3380CC4-5D6E-409C-BE32-E72D297353CC}">
                <c16:uniqueId val="{0000007C-EE08-1D45-85F0-45FB9944307C}"/>
              </c:ext>
            </c:extLst>
          </c:dPt>
          <c:dPt>
            <c:idx val="5"/>
            <c:marker>
              <c:symbol val="none"/>
            </c:marker>
            <c:bubble3D val="0"/>
            <c:extLst>
              <c:ext xmlns:c16="http://schemas.microsoft.com/office/drawing/2014/chart" uri="{C3380CC4-5D6E-409C-BE32-E72D297353CC}">
                <c16:uniqueId val="{0000007D-EE08-1D45-85F0-45FB9944307C}"/>
              </c:ext>
            </c:extLst>
          </c:dPt>
          <c:dPt>
            <c:idx val="6"/>
            <c:marker>
              <c:symbol val="none"/>
            </c:marker>
            <c:bubble3D val="0"/>
            <c:extLst>
              <c:ext xmlns:c16="http://schemas.microsoft.com/office/drawing/2014/chart" uri="{C3380CC4-5D6E-409C-BE32-E72D297353CC}">
                <c16:uniqueId val="{0000007E-EE08-1D45-85F0-45FB9944307C}"/>
              </c:ext>
            </c:extLst>
          </c:dPt>
          <c:dPt>
            <c:idx val="7"/>
            <c:marker>
              <c:symbol val="none"/>
            </c:marker>
            <c:bubble3D val="0"/>
            <c:extLst>
              <c:ext xmlns:c16="http://schemas.microsoft.com/office/drawing/2014/chart" uri="{C3380CC4-5D6E-409C-BE32-E72D297353CC}">
                <c16:uniqueId val="{0000007F-EE08-1D45-85F0-45FB9944307C}"/>
              </c:ext>
            </c:extLst>
          </c:dPt>
          <c:dPt>
            <c:idx val="8"/>
            <c:marker>
              <c:symbol val="none"/>
            </c:marker>
            <c:bubble3D val="0"/>
            <c:extLst>
              <c:ext xmlns:c16="http://schemas.microsoft.com/office/drawing/2014/chart" uri="{C3380CC4-5D6E-409C-BE32-E72D297353CC}">
                <c16:uniqueId val="{00000080-EE08-1D45-85F0-45FB9944307C}"/>
              </c:ext>
            </c:extLst>
          </c:dPt>
          <c:dPt>
            <c:idx val="9"/>
            <c:marker>
              <c:symbol val="none"/>
            </c:marker>
            <c:bubble3D val="0"/>
            <c:extLst>
              <c:ext xmlns:c16="http://schemas.microsoft.com/office/drawing/2014/chart" uri="{C3380CC4-5D6E-409C-BE32-E72D297353CC}">
                <c16:uniqueId val="{00000081-EE08-1D45-85F0-45FB9944307C}"/>
              </c:ext>
            </c:extLst>
          </c:dPt>
          <c:dPt>
            <c:idx val="10"/>
            <c:marker>
              <c:symbol val="none"/>
            </c:marker>
            <c:bubble3D val="0"/>
            <c:extLst>
              <c:ext xmlns:c16="http://schemas.microsoft.com/office/drawing/2014/chart" uri="{C3380CC4-5D6E-409C-BE32-E72D297353CC}">
                <c16:uniqueId val="{00000082-EE08-1D45-85F0-45FB9944307C}"/>
              </c:ext>
            </c:extLst>
          </c:dPt>
          <c:dPt>
            <c:idx val="11"/>
            <c:marker>
              <c:symbol val="none"/>
            </c:marker>
            <c:bubble3D val="0"/>
            <c:extLst>
              <c:ext xmlns:c16="http://schemas.microsoft.com/office/drawing/2014/chart" uri="{C3380CC4-5D6E-409C-BE32-E72D297353CC}">
                <c16:uniqueId val="{00000083-EE08-1D45-85F0-45FB9944307C}"/>
              </c:ext>
            </c:extLst>
          </c:dPt>
          <c:dPt>
            <c:idx val="12"/>
            <c:marker>
              <c:symbol val="none"/>
            </c:marker>
            <c:bubble3D val="0"/>
            <c:extLst>
              <c:ext xmlns:c16="http://schemas.microsoft.com/office/drawing/2014/chart" uri="{C3380CC4-5D6E-409C-BE32-E72D297353CC}">
                <c16:uniqueId val="{00000084-EE08-1D45-85F0-45FB9944307C}"/>
              </c:ext>
            </c:extLst>
          </c:dPt>
          <c:dPt>
            <c:idx val="13"/>
            <c:marker>
              <c:symbol val="none"/>
            </c:marker>
            <c:bubble3D val="0"/>
            <c:extLst>
              <c:ext xmlns:c16="http://schemas.microsoft.com/office/drawing/2014/chart" uri="{C3380CC4-5D6E-409C-BE32-E72D297353CC}">
                <c16:uniqueId val="{00000085-EE08-1D45-85F0-45FB9944307C}"/>
              </c:ext>
            </c:extLst>
          </c:dPt>
          <c:dPt>
            <c:idx val="14"/>
            <c:marker>
              <c:symbol val="none"/>
            </c:marker>
            <c:bubble3D val="0"/>
            <c:extLst>
              <c:ext xmlns:c16="http://schemas.microsoft.com/office/drawing/2014/chart" uri="{C3380CC4-5D6E-409C-BE32-E72D297353CC}">
                <c16:uniqueId val="{00000086-EE08-1D45-85F0-45FB9944307C}"/>
              </c:ext>
            </c:extLst>
          </c:dPt>
          <c:dPt>
            <c:idx val="15"/>
            <c:marker>
              <c:symbol val="none"/>
            </c:marker>
            <c:bubble3D val="0"/>
            <c:extLst>
              <c:ext xmlns:c16="http://schemas.microsoft.com/office/drawing/2014/chart" uri="{C3380CC4-5D6E-409C-BE32-E72D297353CC}">
                <c16:uniqueId val="{00000087-EE08-1D45-85F0-45FB9944307C}"/>
              </c:ext>
            </c:extLst>
          </c:dPt>
          <c:dPt>
            <c:idx val="16"/>
            <c:marker>
              <c:symbol val="none"/>
            </c:marker>
            <c:bubble3D val="0"/>
            <c:extLst>
              <c:ext xmlns:c16="http://schemas.microsoft.com/office/drawing/2014/chart" uri="{C3380CC4-5D6E-409C-BE32-E72D297353CC}">
                <c16:uniqueId val="{00000088-EE08-1D45-85F0-45FB9944307C}"/>
              </c:ext>
            </c:extLst>
          </c:dPt>
          <c:dPt>
            <c:idx val="17"/>
            <c:marker>
              <c:symbol val="none"/>
            </c:marker>
            <c:bubble3D val="0"/>
            <c:extLst>
              <c:ext xmlns:c16="http://schemas.microsoft.com/office/drawing/2014/chart" uri="{C3380CC4-5D6E-409C-BE32-E72D297353CC}">
                <c16:uniqueId val="{00000089-EE08-1D45-85F0-45FB9944307C}"/>
              </c:ext>
            </c:extLst>
          </c:dPt>
          <c:dPt>
            <c:idx val="18"/>
            <c:marker>
              <c:symbol val="none"/>
            </c:marker>
            <c:bubble3D val="0"/>
            <c:extLst>
              <c:ext xmlns:c16="http://schemas.microsoft.com/office/drawing/2014/chart" uri="{C3380CC4-5D6E-409C-BE32-E72D297353CC}">
                <c16:uniqueId val="{0000008A-EE08-1D45-85F0-45FB9944307C}"/>
              </c:ext>
            </c:extLst>
          </c:dPt>
          <c:dPt>
            <c:idx val="19"/>
            <c:marker>
              <c:symbol val="none"/>
            </c:marker>
            <c:bubble3D val="0"/>
            <c:extLst>
              <c:ext xmlns:c16="http://schemas.microsoft.com/office/drawing/2014/chart" uri="{C3380CC4-5D6E-409C-BE32-E72D297353CC}">
                <c16:uniqueId val="{0000008B-EE08-1D45-85F0-45FB9944307C}"/>
              </c:ext>
            </c:extLst>
          </c:dPt>
          <c:dPt>
            <c:idx val="20"/>
            <c:marker>
              <c:symbol val="none"/>
            </c:marker>
            <c:bubble3D val="0"/>
            <c:extLst>
              <c:ext xmlns:c16="http://schemas.microsoft.com/office/drawing/2014/chart" uri="{C3380CC4-5D6E-409C-BE32-E72D297353CC}">
                <c16:uniqueId val="{0000008C-EE08-1D45-85F0-45FB9944307C}"/>
              </c:ext>
            </c:extLst>
          </c:dPt>
          <c:dPt>
            <c:idx val="21"/>
            <c:marker>
              <c:symbol val="none"/>
            </c:marker>
            <c:bubble3D val="0"/>
            <c:extLst>
              <c:ext xmlns:c16="http://schemas.microsoft.com/office/drawing/2014/chart" uri="{C3380CC4-5D6E-409C-BE32-E72D297353CC}">
                <c16:uniqueId val="{0000008D-EE08-1D45-85F0-45FB9944307C}"/>
              </c:ext>
            </c:extLst>
          </c:dPt>
          <c:dPt>
            <c:idx val="22"/>
            <c:marker>
              <c:symbol val="none"/>
            </c:marker>
            <c:bubble3D val="0"/>
            <c:extLst>
              <c:ext xmlns:c16="http://schemas.microsoft.com/office/drawing/2014/chart" uri="{C3380CC4-5D6E-409C-BE32-E72D297353CC}">
                <c16:uniqueId val="{0000008E-EE08-1D45-85F0-45FB9944307C}"/>
              </c:ext>
            </c:extLst>
          </c:dPt>
          <c:dPt>
            <c:idx val="23"/>
            <c:marker>
              <c:symbol val="none"/>
            </c:marker>
            <c:bubble3D val="0"/>
            <c:extLst>
              <c:ext xmlns:c16="http://schemas.microsoft.com/office/drawing/2014/chart" uri="{C3380CC4-5D6E-409C-BE32-E72D297353CC}">
                <c16:uniqueId val="{0000008F-EE08-1D45-85F0-45FB9944307C}"/>
              </c:ext>
            </c:extLst>
          </c:dPt>
          <c:dPt>
            <c:idx val="24"/>
            <c:marker>
              <c:symbol val="none"/>
            </c:marker>
            <c:bubble3D val="0"/>
            <c:extLst>
              <c:ext xmlns:c16="http://schemas.microsoft.com/office/drawing/2014/chart" uri="{C3380CC4-5D6E-409C-BE32-E72D297353CC}">
                <c16:uniqueId val="{00000090-EE08-1D45-85F0-45FB9944307C}"/>
              </c:ext>
            </c:extLst>
          </c:dPt>
          <c:dPt>
            <c:idx val="25"/>
            <c:marker>
              <c:symbol val="none"/>
            </c:marker>
            <c:bubble3D val="0"/>
            <c:extLst>
              <c:ext xmlns:c16="http://schemas.microsoft.com/office/drawing/2014/chart" uri="{C3380CC4-5D6E-409C-BE32-E72D297353CC}">
                <c16:uniqueId val="{00000091-EE08-1D45-85F0-45FB9944307C}"/>
              </c:ext>
            </c:extLst>
          </c:dPt>
          <c:dPt>
            <c:idx val="26"/>
            <c:marker>
              <c:symbol val="none"/>
            </c:marker>
            <c:bubble3D val="0"/>
            <c:extLst>
              <c:ext xmlns:c16="http://schemas.microsoft.com/office/drawing/2014/chart" uri="{C3380CC4-5D6E-409C-BE32-E72D297353CC}">
                <c16:uniqueId val="{00000092-EE08-1D45-85F0-45FB9944307C}"/>
              </c:ext>
            </c:extLst>
          </c:dPt>
          <c:dPt>
            <c:idx val="27"/>
            <c:marker>
              <c:symbol val="none"/>
            </c:marker>
            <c:bubble3D val="0"/>
            <c:extLst>
              <c:ext xmlns:c16="http://schemas.microsoft.com/office/drawing/2014/chart" uri="{C3380CC4-5D6E-409C-BE32-E72D297353CC}">
                <c16:uniqueId val="{00000093-EE08-1D45-85F0-45FB9944307C}"/>
              </c:ext>
            </c:extLst>
          </c:dPt>
          <c:dPt>
            <c:idx val="28"/>
            <c:marker>
              <c:symbol val="none"/>
            </c:marker>
            <c:bubble3D val="0"/>
            <c:extLst>
              <c:ext xmlns:c16="http://schemas.microsoft.com/office/drawing/2014/chart" uri="{C3380CC4-5D6E-409C-BE32-E72D297353CC}">
                <c16:uniqueId val="{00000094-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6:$AC$6</c:f>
              <c:numCache>
                <c:formatCode>General</c:formatCode>
                <c:ptCount val="29"/>
                <c:pt idx="0">
                  <c:v>87.743852985385701</c:v>
                </c:pt>
                <c:pt idx="1">
                  <c:v>88.667829204495476</c:v>
                </c:pt>
                <c:pt idx="2">
                  <c:v>81.338115468527107</c:v>
                </c:pt>
                <c:pt idx="3">
                  <c:v>74.157257696181659</c:v>
                </c:pt>
                <c:pt idx="4">
                  <c:v>70.7099150709697</c:v>
                </c:pt>
                <c:pt idx="5">
                  <c:v>67.332235528362816</c:v>
                </c:pt>
                <c:pt idx="6">
                  <c:v>64.021676523694538</c:v>
                </c:pt>
                <c:pt idx="7">
                  <c:v>60.77622542379855</c:v>
                </c:pt>
                <c:pt idx="8">
                  <c:v>57.594502834115744</c:v>
                </c:pt>
                <c:pt idx="9">
                  <c:v>54.908382246646397</c:v>
                </c:pt>
                <c:pt idx="10">
                  <c:v>52.273789139529441</c:v>
                </c:pt>
                <c:pt idx="11">
                  <c:v>49.688846094316212</c:v>
                </c:pt>
                <c:pt idx="12">
                  <c:v>47.152869475909284</c:v>
                </c:pt>
                <c:pt idx="13">
                  <c:v>44.664491081646382</c:v>
                </c:pt>
                <c:pt idx="14">
                  <c:v>44.181077730394051</c:v>
                </c:pt>
                <c:pt idx="15">
                  <c:v>43.700396418687305</c:v>
                </c:pt>
                <c:pt idx="16">
                  <c:v>43.222226478669313</c:v>
                </c:pt>
                <c:pt idx="17">
                  <c:v>42.746547713842574</c:v>
                </c:pt>
                <c:pt idx="18">
                  <c:v>42.273139964712868</c:v>
                </c:pt>
                <c:pt idx="19">
                  <c:v>41.802384511231089</c:v>
                </c:pt>
                <c:pt idx="20">
                  <c:v>41.334274129150103</c:v>
                </c:pt>
                <c:pt idx="21">
                  <c:v>40.868362889251614</c:v>
                </c:pt>
                <c:pt idx="22">
                  <c:v>40.40464537267632</c:v>
                </c:pt>
                <c:pt idx="23">
                  <c:v>39.943502957666816</c:v>
                </c:pt>
                <c:pt idx="24">
                  <c:v>39.48471653171552</c:v>
                </c:pt>
                <c:pt idx="25">
                  <c:v>39.028267624014298</c:v>
                </c:pt>
                <c:pt idx="26">
                  <c:v>38.573936386325627</c:v>
                </c:pt>
                <c:pt idx="27">
                  <c:v>38.122108438472381</c:v>
                </c:pt>
                <c:pt idx="28">
                  <c:v>37.672779316496928</c:v>
                </c:pt>
              </c:numCache>
            </c:numRef>
          </c:yVal>
          <c:smooth val="0"/>
          <c:extLst>
            <c:ext xmlns:c16="http://schemas.microsoft.com/office/drawing/2014/chart" uri="{C3380CC4-5D6E-409C-BE32-E72D297353CC}">
              <c16:uniqueId val="{00000095-EE08-1D45-85F0-45FB9944307C}"/>
            </c:ext>
          </c:extLst>
        </c:ser>
        <c:dLbls>
          <c:showLegendKey val="0"/>
          <c:showVal val="0"/>
          <c:showCatName val="0"/>
          <c:showSerName val="0"/>
          <c:showPercent val="0"/>
          <c:showBubbleSize val="0"/>
        </c:dLbls>
        <c:axId val="4"/>
        <c:axId val="5"/>
      </c:scatterChart>
      <c:valAx>
        <c:axId val="4"/>
        <c:scaling>
          <c:orientation val="minMax"/>
          <c:max val="2050"/>
          <c:min val="202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1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5479091208429E-2"/>
          <c:y val="5.3262316910785618E-2"/>
          <c:w val="0.89002304906157392"/>
          <c:h val="0.89280958721704395"/>
        </c:manualLayout>
      </c:layout>
      <c:areaChart>
        <c:grouping val="stacked"/>
        <c:varyColors val="0"/>
        <c:ser>
          <c:idx val="0"/>
          <c:order val="0"/>
          <c:spPr>
            <a:solidFill>
              <a:schemeClr val="accent1"/>
            </a:solidFill>
            <a:ln>
              <a:noFill/>
            </a:ln>
          </c:spPr>
          <c:val>
            <c:numRef>
              <c:f>Sheet1!$A$1:$Z$1</c:f>
              <c:numCache>
                <c:formatCode>General</c:formatCode>
                <c:ptCount val="26"/>
                <c:pt idx="0">
                  <c:v>9.6999999999999993</c:v>
                </c:pt>
                <c:pt idx="1">
                  <c:v>21</c:v>
                </c:pt>
                <c:pt idx="2">
                  <c:v>31.9</c:v>
                </c:pt>
                <c:pt idx="3">
                  <c:v>48.1</c:v>
                </c:pt>
                <c:pt idx="4">
                  <c:v>73.3</c:v>
                </c:pt>
                <c:pt idx="5">
                  <c:v>109.9</c:v>
                </c:pt>
                <c:pt idx="6">
                  <c:v>159.6</c:v>
                </c:pt>
                <c:pt idx="7">
                  <c:v>219.1</c:v>
                </c:pt>
                <c:pt idx="8">
                  <c:v>283.3</c:v>
                </c:pt>
                <c:pt idx="9">
                  <c:v>343</c:v>
                </c:pt>
                <c:pt idx="10">
                  <c:v>396.3</c:v>
                </c:pt>
                <c:pt idx="11">
                  <c:v>441.8</c:v>
                </c:pt>
                <c:pt idx="12">
                  <c:v>480</c:v>
                </c:pt>
                <c:pt idx="13">
                  <c:v>510.7</c:v>
                </c:pt>
                <c:pt idx="14">
                  <c:v>537.4</c:v>
                </c:pt>
                <c:pt idx="15">
                  <c:v>559.6</c:v>
                </c:pt>
                <c:pt idx="16">
                  <c:v>577.1</c:v>
                </c:pt>
                <c:pt idx="17">
                  <c:v>590.5</c:v>
                </c:pt>
                <c:pt idx="18">
                  <c:v>600.5</c:v>
                </c:pt>
                <c:pt idx="19">
                  <c:v>607.6</c:v>
                </c:pt>
                <c:pt idx="20">
                  <c:v>612.70000000000005</c:v>
                </c:pt>
                <c:pt idx="21">
                  <c:v>616.6</c:v>
                </c:pt>
                <c:pt idx="22">
                  <c:v>620</c:v>
                </c:pt>
                <c:pt idx="23">
                  <c:v>623.4</c:v>
                </c:pt>
                <c:pt idx="24">
                  <c:v>626.9</c:v>
                </c:pt>
                <c:pt idx="25">
                  <c:v>630.29999999999995</c:v>
                </c:pt>
              </c:numCache>
            </c:numRef>
          </c:val>
          <c:extLst>
            <c:ext xmlns:c16="http://schemas.microsoft.com/office/drawing/2014/chart" uri="{C3380CC4-5D6E-409C-BE32-E72D297353CC}">
              <c16:uniqueId val="{00000000-9548-1746-B4CF-A844C02D36A2}"/>
            </c:ext>
          </c:extLst>
        </c:ser>
        <c:ser>
          <c:idx val="1"/>
          <c:order val="1"/>
          <c:spPr>
            <a:solidFill>
              <a:schemeClr val="accent5"/>
            </a:solidFill>
            <a:ln>
              <a:noFill/>
            </a:ln>
          </c:spPr>
          <c:val>
            <c:numRef>
              <c:f>Sheet1!$A$2:$Z$2</c:f>
              <c:numCache>
                <c:formatCode>General</c:formatCode>
                <c:ptCount val="26"/>
                <c:pt idx="0">
                  <c:v>2.0999999999999996</c:v>
                </c:pt>
                <c:pt idx="1">
                  <c:v>4.1999999999999993</c:v>
                </c:pt>
                <c:pt idx="2">
                  <c:v>7.3999999999999986</c:v>
                </c:pt>
                <c:pt idx="3">
                  <c:v>11.800000000000004</c:v>
                </c:pt>
                <c:pt idx="4">
                  <c:v>16.899999999999991</c:v>
                </c:pt>
                <c:pt idx="5">
                  <c:v>22.099999999999994</c:v>
                </c:pt>
                <c:pt idx="6">
                  <c:v>27.199999999999989</c:v>
                </c:pt>
                <c:pt idx="7">
                  <c:v>32.799999999999983</c:v>
                </c:pt>
                <c:pt idx="8">
                  <c:v>38.5</c:v>
                </c:pt>
                <c:pt idx="9">
                  <c:v>44.199999999999989</c:v>
                </c:pt>
                <c:pt idx="10">
                  <c:v>49.5</c:v>
                </c:pt>
                <c:pt idx="11">
                  <c:v>53.899999999999977</c:v>
                </c:pt>
                <c:pt idx="12">
                  <c:v>57.799999999999955</c:v>
                </c:pt>
                <c:pt idx="13">
                  <c:v>61.000000000000057</c:v>
                </c:pt>
                <c:pt idx="14">
                  <c:v>63.899999999999977</c:v>
                </c:pt>
                <c:pt idx="15">
                  <c:v>66.5</c:v>
                </c:pt>
                <c:pt idx="16">
                  <c:v>69.100000000000023</c:v>
                </c:pt>
                <c:pt idx="17">
                  <c:v>71.700000000000045</c:v>
                </c:pt>
                <c:pt idx="18">
                  <c:v>74.299999999999955</c:v>
                </c:pt>
                <c:pt idx="19">
                  <c:v>76.600000000000023</c:v>
                </c:pt>
                <c:pt idx="20">
                  <c:v>78.700000000000045</c:v>
                </c:pt>
                <c:pt idx="21">
                  <c:v>80.600000000000023</c:v>
                </c:pt>
                <c:pt idx="22">
                  <c:v>82.5</c:v>
                </c:pt>
                <c:pt idx="23">
                  <c:v>83.700000000000045</c:v>
                </c:pt>
                <c:pt idx="24">
                  <c:v>84.299999999999955</c:v>
                </c:pt>
                <c:pt idx="25">
                  <c:v>84.299999999999955</c:v>
                </c:pt>
              </c:numCache>
            </c:numRef>
          </c:val>
          <c:extLst>
            <c:ext xmlns:c16="http://schemas.microsoft.com/office/drawing/2014/chart" uri="{C3380CC4-5D6E-409C-BE32-E72D297353CC}">
              <c16:uniqueId val="{00000001-9548-1746-B4CF-A844C02D36A2}"/>
            </c:ext>
          </c:extLst>
        </c:ser>
        <c:ser>
          <c:idx val="2"/>
          <c:order val="2"/>
          <c:spPr>
            <a:solidFill>
              <a:srgbClr val="BDEEFF"/>
            </a:solidFill>
            <a:ln>
              <a:noFill/>
            </a:ln>
          </c:spPr>
          <c:val>
            <c:numRef>
              <c:f>Sheet1!$A$3:$Z$3</c:f>
              <c:numCache>
                <c:formatCode>General</c:formatCode>
                <c:ptCount val="26"/>
                <c:pt idx="0">
                  <c:v>14.6</c:v>
                </c:pt>
                <c:pt idx="1">
                  <c:v>15.400000000000002</c:v>
                </c:pt>
                <c:pt idx="2">
                  <c:v>17</c:v>
                </c:pt>
                <c:pt idx="3">
                  <c:v>25.700000000000003</c:v>
                </c:pt>
                <c:pt idx="4">
                  <c:v>49.5</c:v>
                </c:pt>
                <c:pt idx="5">
                  <c:v>100.69999999999999</c:v>
                </c:pt>
                <c:pt idx="6">
                  <c:v>184.1</c:v>
                </c:pt>
                <c:pt idx="7">
                  <c:v>296.30000000000007</c:v>
                </c:pt>
                <c:pt idx="8">
                  <c:v>425.60000000000008</c:v>
                </c:pt>
                <c:pt idx="9">
                  <c:v>558.79999999999995</c:v>
                </c:pt>
                <c:pt idx="10">
                  <c:v>690.90000000000009</c:v>
                </c:pt>
                <c:pt idx="11">
                  <c:v>825</c:v>
                </c:pt>
                <c:pt idx="12">
                  <c:v>966.5</c:v>
                </c:pt>
                <c:pt idx="13">
                  <c:v>1110</c:v>
                </c:pt>
                <c:pt idx="14">
                  <c:v>1248.7</c:v>
                </c:pt>
                <c:pt idx="15">
                  <c:v>1372.8000000000002</c:v>
                </c:pt>
                <c:pt idx="16">
                  <c:v>1483.9000000000003</c:v>
                </c:pt>
                <c:pt idx="17">
                  <c:v>1577.4000000000003</c:v>
                </c:pt>
                <c:pt idx="18">
                  <c:v>1657.7</c:v>
                </c:pt>
                <c:pt idx="19">
                  <c:v>1726.9000000000003</c:v>
                </c:pt>
                <c:pt idx="20">
                  <c:v>1792.7999999999997</c:v>
                </c:pt>
                <c:pt idx="21">
                  <c:v>1854.8</c:v>
                </c:pt>
                <c:pt idx="22">
                  <c:v>1916.6</c:v>
                </c:pt>
                <c:pt idx="23">
                  <c:v>1977.9</c:v>
                </c:pt>
                <c:pt idx="24">
                  <c:v>2039.5</c:v>
                </c:pt>
                <c:pt idx="25">
                  <c:v>2101</c:v>
                </c:pt>
              </c:numCache>
            </c:numRef>
          </c:val>
          <c:extLst>
            <c:ext xmlns:c16="http://schemas.microsoft.com/office/drawing/2014/chart" uri="{C3380CC4-5D6E-409C-BE32-E72D297353CC}">
              <c16:uniqueId val="{00000002-9548-1746-B4CF-A844C02D36A2}"/>
            </c:ext>
          </c:extLst>
        </c:ser>
        <c:dLbls>
          <c:showLegendKey val="0"/>
          <c:showVal val="0"/>
          <c:showCatName val="0"/>
          <c:showSerName val="0"/>
          <c:showPercent val="0"/>
          <c:showBubbleSize val="0"/>
        </c:dLbls>
        <c:axId val="208332800"/>
        <c:axId val="1"/>
      </c:areaChart>
      <c:catAx>
        <c:axId val="2083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ea"/>
                <a:cs typeface="+mn-cs"/>
              </a:defRPr>
            </a:pPr>
            <a:endParaRPr lang="en-US"/>
          </a:p>
        </c:txPr>
        <c:crossAx val="208332800"/>
        <c:crosses val="min"/>
        <c:crossBetween val="midCat"/>
        <c:majorUnit val="500"/>
      </c:valAx>
    </c:plotArea>
    <c:plotVisOnly val="0"/>
    <c:dispBlanksAs val="zero"/>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5479091208429E-2"/>
          <c:y val="5.3262316910785618E-2"/>
          <c:w val="0.89002304906157392"/>
          <c:h val="0.89280958721704395"/>
        </c:manualLayout>
      </c:layout>
      <c:areaChart>
        <c:grouping val="stacked"/>
        <c:varyColors val="0"/>
        <c:ser>
          <c:idx val="0"/>
          <c:order val="0"/>
          <c:spPr>
            <a:solidFill>
              <a:schemeClr val="accent2"/>
            </a:solidFill>
            <a:ln>
              <a:noFill/>
            </a:ln>
          </c:spPr>
          <c:val>
            <c:numRef>
              <c:f>Sheet1!$A$1:$Z$1</c:f>
              <c:numCache>
                <c:formatCode>General</c:formatCode>
                <c:ptCount val="26"/>
                <c:pt idx="0">
                  <c:v>5</c:v>
                </c:pt>
                <c:pt idx="1">
                  <c:v>9</c:v>
                </c:pt>
                <c:pt idx="2">
                  <c:v>13</c:v>
                </c:pt>
                <c:pt idx="3">
                  <c:v>17</c:v>
                </c:pt>
                <c:pt idx="4">
                  <c:v>21</c:v>
                </c:pt>
                <c:pt idx="5">
                  <c:v>25</c:v>
                </c:pt>
                <c:pt idx="6">
                  <c:v>57.25</c:v>
                </c:pt>
                <c:pt idx="7">
                  <c:v>89.5</c:v>
                </c:pt>
                <c:pt idx="8">
                  <c:v>121.75</c:v>
                </c:pt>
                <c:pt idx="9">
                  <c:v>154</c:v>
                </c:pt>
                <c:pt idx="10">
                  <c:v>186.25</c:v>
                </c:pt>
                <c:pt idx="11">
                  <c:v>218.5</c:v>
                </c:pt>
                <c:pt idx="12">
                  <c:v>250.74999999999997</c:v>
                </c:pt>
                <c:pt idx="13">
                  <c:v>283</c:v>
                </c:pt>
                <c:pt idx="14">
                  <c:v>315.25</c:v>
                </c:pt>
                <c:pt idx="15">
                  <c:v>347.5</c:v>
                </c:pt>
                <c:pt idx="16">
                  <c:v>379.75000000000006</c:v>
                </c:pt>
                <c:pt idx="17">
                  <c:v>412</c:v>
                </c:pt>
                <c:pt idx="18">
                  <c:v>444.25</c:v>
                </c:pt>
                <c:pt idx="19">
                  <c:v>476.49999999999994</c:v>
                </c:pt>
                <c:pt idx="20">
                  <c:v>508.75</c:v>
                </c:pt>
                <c:pt idx="21">
                  <c:v>541</c:v>
                </c:pt>
                <c:pt idx="22">
                  <c:v>573.25</c:v>
                </c:pt>
                <c:pt idx="23">
                  <c:v>605.5</c:v>
                </c:pt>
                <c:pt idx="24">
                  <c:v>637.75</c:v>
                </c:pt>
                <c:pt idx="25">
                  <c:v>670</c:v>
                </c:pt>
              </c:numCache>
            </c:numRef>
          </c:val>
          <c:extLst>
            <c:ext xmlns:c16="http://schemas.microsoft.com/office/drawing/2014/chart" uri="{C3380CC4-5D6E-409C-BE32-E72D297353CC}">
              <c16:uniqueId val="{00000000-2C58-094B-8FB7-1A1996B33988}"/>
            </c:ext>
          </c:extLst>
        </c:ser>
        <c:ser>
          <c:idx val="1"/>
          <c:order val="1"/>
          <c:spPr>
            <a:solidFill>
              <a:schemeClr val="accent1"/>
            </a:solidFill>
            <a:ln>
              <a:noFill/>
            </a:ln>
          </c:spPr>
          <c:val>
            <c:numRef>
              <c:f>Sheet1!$A$2:$Z$2</c:f>
              <c:numCache>
                <c:formatCode>General</c:formatCode>
                <c:ptCount val="26"/>
                <c:pt idx="0">
                  <c:v>60</c:v>
                </c:pt>
                <c:pt idx="1">
                  <c:v>57</c:v>
                </c:pt>
                <c:pt idx="2">
                  <c:v>54</c:v>
                </c:pt>
                <c:pt idx="3">
                  <c:v>51</c:v>
                </c:pt>
                <c:pt idx="4">
                  <c:v>48</c:v>
                </c:pt>
                <c:pt idx="5">
                  <c:v>45</c:v>
                </c:pt>
                <c:pt idx="6">
                  <c:v>92.75</c:v>
                </c:pt>
                <c:pt idx="7">
                  <c:v>140.5</c:v>
                </c:pt>
                <c:pt idx="8">
                  <c:v>188.25</c:v>
                </c:pt>
                <c:pt idx="9">
                  <c:v>236</c:v>
                </c:pt>
                <c:pt idx="10">
                  <c:v>283.75</c:v>
                </c:pt>
                <c:pt idx="11">
                  <c:v>331.5</c:v>
                </c:pt>
                <c:pt idx="12">
                  <c:v>379.25</c:v>
                </c:pt>
                <c:pt idx="13">
                  <c:v>427</c:v>
                </c:pt>
                <c:pt idx="14">
                  <c:v>474.75</c:v>
                </c:pt>
                <c:pt idx="15">
                  <c:v>522.5</c:v>
                </c:pt>
                <c:pt idx="16">
                  <c:v>570.25</c:v>
                </c:pt>
                <c:pt idx="17">
                  <c:v>618</c:v>
                </c:pt>
                <c:pt idx="18">
                  <c:v>665.75</c:v>
                </c:pt>
                <c:pt idx="19">
                  <c:v>713.5</c:v>
                </c:pt>
                <c:pt idx="20">
                  <c:v>761.25</c:v>
                </c:pt>
                <c:pt idx="21">
                  <c:v>809</c:v>
                </c:pt>
                <c:pt idx="22">
                  <c:v>856.75</c:v>
                </c:pt>
                <c:pt idx="23">
                  <c:v>904.5</c:v>
                </c:pt>
                <c:pt idx="24">
                  <c:v>952.25</c:v>
                </c:pt>
                <c:pt idx="25">
                  <c:v>1000</c:v>
                </c:pt>
              </c:numCache>
            </c:numRef>
          </c:val>
          <c:extLst>
            <c:ext xmlns:c16="http://schemas.microsoft.com/office/drawing/2014/chart" uri="{C3380CC4-5D6E-409C-BE32-E72D297353CC}">
              <c16:uniqueId val="{00000001-2C58-094B-8FB7-1A1996B33988}"/>
            </c:ext>
          </c:extLst>
        </c:ser>
        <c:dLbls>
          <c:showLegendKey val="0"/>
          <c:showVal val="0"/>
          <c:showCatName val="0"/>
          <c:showSerName val="0"/>
          <c:showPercent val="0"/>
          <c:showBubbleSize val="0"/>
        </c:dLbls>
        <c:axId val="1539496735"/>
        <c:axId val="1"/>
      </c:areaChart>
      <c:catAx>
        <c:axId val="1539496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ea"/>
                <a:cs typeface="+mn-cs"/>
              </a:defRPr>
            </a:pPr>
            <a:endParaRPr lang="en-US"/>
          </a:p>
        </c:txPr>
        <c:crossAx val="1539496735"/>
        <c:crosses val="min"/>
        <c:crossBetween val="midCat"/>
        <c:majorUnit val="500"/>
      </c:valAx>
    </c:plotArea>
    <c:plotVisOnly val="0"/>
    <c:dispBlanksAs val="zero"/>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07751937984496E-2"/>
          <c:y val="5.4260603744745894E-2"/>
          <c:w val="0.93798449612403101"/>
          <c:h val="0.89147879251050821"/>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65-AA47-A010-0714F8E6259C}"/>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65-AA47-A010-0714F8E6259C}"/>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65-AA47-A010-0714F8E6259C}"/>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65-AA47-A010-0714F8E6259C}"/>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65-AA47-A010-0714F8E625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0</c:v>
                </c:pt>
                <c:pt idx="1">
                  <c:v>130</c:v>
                </c:pt>
                <c:pt idx="2">
                  <c:v>450</c:v>
                </c:pt>
                <c:pt idx="3">
                  <c:v>400</c:v>
                </c:pt>
                <c:pt idx="4">
                  <c:v>900</c:v>
                </c:pt>
              </c:numCache>
            </c:numRef>
          </c:val>
          <c:extLst>
            <c:ext xmlns:c16="http://schemas.microsoft.com/office/drawing/2014/chart" uri="{C3380CC4-5D6E-409C-BE32-E72D297353CC}">
              <c16:uniqueId val="{00000005-8765-AA47-A010-0714F8E6259C}"/>
            </c:ext>
          </c:extLst>
        </c:ser>
        <c:ser>
          <c:idx val="1"/>
          <c:order val="1"/>
          <c:spPr>
            <a:noFill/>
            <a:ln>
              <a:noFill/>
            </a:ln>
          </c:spPr>
          <c:invertIfNegative val="0"/>
          <c:val>
            <c:numRef>
              <c:f>Sheet1!$A$2:$E$2</c:f>
              <c:numCache>
                <c:formatCode>General</c:formatCode>
                <c:ptCount val="5"/>
                <c:pt idx="0">
                  <c:v>40</c:v>
                </c:pt>
                <c:pt idx="1">
                  <c:v>40</c:v>
                </c:pt>
                <c:pt idx="2">
                  <c:v>200</c:v>
                </c:pt>
                <c:pt idx="3">
                  <c:v>300</c:v>
                </c:pt>
                <c:pt idx="4">
                  <c:v>300</c:v>
                </c:pt>
              </c:numCache>
            </c:numRef>
          </c:val>
          <c:extLst>
            <c:ext xmlns:c16="http://schemas.microsoft.com/office/drawing/2014/chart" uri="{C3380CC4-5D6E-409C-BE32-E72D297353CC}">
              <c16:uniqueId val="{00000006-8765-AA47-A010-0714F8E6259C}"/>
            </c:ext>
          </c:extLst>
        </c:ser>
        <c:dLbls>
          <c:showLegendKey val="0"/>
          <c:showVal val="0"/>
          <c:showCatName val="0"/>
          <c:showSerName val="0"/>
          <c:showPercent val="0"/>
          <c:showBubbleSize val="0"/>
        </c:dLbls>
        <c:gapWidth val="80"/>
        <c:overlap val="100"/>
        <c:axId val="2100761872"/>
        <c:axId val="1"/>
      </c:barChart>
      <c:catAx>
        <c:axId val="2100761872"/>
        <c:scaling>
          <c:orientation val="maxMin"/>
        </c:scaling>
        <c:delete val="0"/>
        <c:axPos val="l"/>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200"/>
          <c:min val="0"/>
        </c:scaling>
        <c:delete val="0"/>
        <c:axPos val="t"/>
        <c:majorGridlines>
          <c:spPr>
            <a:ln>
              <a:noFill/>
            </a:ln>
          </c:spPr>
        </c:majorGridlines>
        <c:numFmt formatCode="General" sourceLinked="1"/>
        <c:majorTickMark val="none"/>
        <c:minorTickMark val="none"/>
        <c:tickLblPos val="none"/>
        <c:spPr>
          <a:ln>
            <a:noFill/>
          </a:ln>
        </c:spPr>
        <c:crossAx val="21007618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2031122031122"/>
          <c:y val="5.3146853146853149E-2"/>
          <c:w val="0.79729729729729726"/>
          <c:h val="0.81678321678321675"/>
        </c:manualLayout>
      </c:layout>
      <c:scatterChart>
        <c:scatterStyle val="lineMarker"/>
        <c:varyColors val="0"/>
        <c:ser>
          <c:idx val="0"/>
          <c:order val="0"/>
          <c:spPr>
            <a:ln w="19050" cmpd="sng" algn="ctr">
              <a:solidFill>
                <a:srgbClr val="C0C0C0"/>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2:$H$2</c:f>
              <c:numCache>
                <c:formatCode>General</c:formatCode>
                <c:ptCount val="8"/>
                <c:pt idx="1">
                  <c:v>18</c:v>
                </c:pt>
                <c:pt idx="2">
                  <c:v>18</c:v>
                </c:pt>
                <c:pt idx="3">
                  <c:v>20</c:v>
                </c:pt>
                <c:pt idx="4">
                  <c:v>23</c:v>
                </c:pt>
                <c:pt idx="5">
                  <c:v>26</c:v>
                </c:pt>
                <c:pt idx="6">
                  <c:v>29</c:v>
                </c:pt>
                <c:pt idx="7">
                  <c:v>32</c:v>
                </c:pt>
              </c:numCache>
            </c:numRef>
          </c:yVal>
          <c:smooth val="0"/>
          <c:extLst>
            <c:ext xmlns:c16="http://schemas.microsoft.com/office/drawing/2014/chart" uri="{C3380CC4-5D6E-409C-BE32-E72D297353CC}">
              <c16:uniqueId val="{00000000-D537-C544-9794-9D1E223D199F}"/>
            </c:ext>
          </c:extLst>
        </c:ser>
        <c:ser>
          <c:idx val="1"/>
          <c:order val="1"/>
          <c:spPr>
            <a:ln w="28575" cmpd="sng" algn="ctr">
              <a:solidFill>
                <a:schemeClr val="accent1"/>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3:$H$3</c:f>
              <c:numCache>
                <c:formatCode>General</c:formatCode>
                <c:ptCount val="8"/>
                <c:pt idx="1">
                  <c:v>8</c:v>
                </c:pt>
                <c:pt idx="2">
                  <c:v>8</c:v>
                </c:pt>
                <c:pt idx="3">
                  <c:v>9</c:v>
                </c:pt>
                <c:pt idx="4">
                  <c:v>10</c:v>
                </c:pt>
                <c:pt idx="5">
                  <c:v>12</c:v>
                </c:pt>
                <c:pt idx="6">
                  <c:v>14</c:v>
                </c:pt>
                <c:pt idx="7">
                  <c:v>16</c:v>
                </c:pt>
              </c:numCache>
            </c:numRef>
          </c:yVal>
          <c:smooth val="0"/>
          <c:extLst>
            <c:ext xmlns:c16="http://schemas.microsoft.com/office/drawing/2014/chart" uri="{C3380CC4-5D6E-409C-BE32-E72D297353CC}">
              <c16:uniqueId val="{00000001-D537-C544-9794-9D1E223D199F}"/>
            </c:ext>
          </c:extLst>
        </c:ser>
        <c:ser>
          <c:idx val="2"/>
          <c:order val="2"/>
          <c:spPr>
            <a:ln w="28575" cmpd="sng" algn="ctr">
              <a:solidFill>
                <a:schemeClr val="accent4"/>
              </a:solidFill>
              <a:prstDash val="solid"/>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4:$H$4</c:f>
              <c:numCache>
                <c:formatCode>General</c:formatCode>
                <c:ptCount val="8"/>
                <c:pt idx="1">
                  <c:v>0.5</c:v>
                </c:pt>
                <c:pt idx="2">
                  <c:v>0.5</c:v>
                </c:pt>
                <c:pt idx="3">
                  <c:v>1</c:v>
                </c:pt>
                <c:pt idx="4">
                  <c:v>1.5</c:v>
                </c:pt>
                <c:pt idx="5">
                  <c:v>2</c:v>
                </c:pt>
                <c:pt idx="6">
                  <c:v>3</c:v>
                </c:pt>
                <c:pt idx="7">
                  <c:v>4</c:v>
                </c:pt>
              </c:numCache>
            </c:numRef>
          </c:yVal>
          <c:smooth val="0"/>
          <c:extLst>
            <c:ext xmlns:c16="http://schemas.microsoft.com/office/drawing/2014/chart" uri="{C3380CC4-5D6E-409C-BE32-E72D297353CC}">
              <c16:uniqueId val="{00000002-D537-C544-9794-9D1E223D199F}"/>
            </c:ext>
          </c:extLst>
        </c:ser>
        <c:ser>
          <c:idx val="3"/>
          <c:order val="3"/>
          <c:spPr>
            <a:ln w="28575" cmpd="sng" algn="ctr">
              <a:solidFill>
                <a:schemeClr val="bg2"/>
              </a:solidFill>
              <a:prstDash val="lgDash"/>
            </a:ln>
          </c:spPr>
          <c:marker>
            <c:symbol val="none"/>
          </c:marker>
          <c:xVal>
            <c:numRef>
              <c:f>Sheet1!$A$1:$H$1</c:f>
              <c:numCache>
                <c:formatCode>General</c:formatCode>
                <c:ptCount val="8"/>
                <c:pt idx="0">
                  <c:v>2020</c:v>
                </c:pt>
                <c:pt idx="1">
                  <c:v>2023</c:v>
                </c:pt>
                <c:pt idx="2">
                  <c:v>2025</c:v>
                </c:pt>
                <c:pt idx="3">
                  <c:v>2030</c:v>
                </c:pt>
                <c:pt idx="4">
                  <c:v>2035</c:v>
                </c:pt>
                <c:pt idx="5">
                  <c:v>2040</c:v>
                </c:pt>
                <c:pt idx="6">
                  <c:v>2045</c:v>
                </c:pt>
                <c:pt idx="7">
                  <c:v>2050</c:v>
                </c:pt>
              </c:numCache>
            </c:numRef>
          </c:xVal>
          <c:yVal>
            <c:numRef>
              <c:f>Sheet1!$A$5:$H$5</c:f>
              <c:numCache>
                <c:formatCode>General</c:formatCode>
                <c:ptCount val="8"/>
                <c:pt idx="1">
                  <c:v>0.5</c:v>
                </c:pt>
                <c:pt idx="2">
                  <c:v>0.5</c:v>
                </c:pt>
                <c:pt idx="3">
                  <c:v>0.8</c:v>
                </c:pt>
                <c:pt idx="4">
                  <c:v>2</c:v>
                </c:pt>
                <c:pt idx="5">
                  <c:v>4</c:v>
                </c:pt>
                <c:pt idx="6">
                  <c:v>8</c:v>
                </c:pt>
                <c:pt idx="7">
                  <c:v>16</c:v>
                </c:pt>
              </c:numCache>
            </c:numRef>
          </c:yVal>
          <c:smooth val="0"/>
          <c:extLst>
            <c:ext xmlns:c16="http://schemas.microsoft.com/office/drawing/2014/chart" uri="{C3380CC4-5D6E-409C-BE32-E72D297353CC}">
              <c16:uniqueId val="{00000003-D537-C544-9794-9D1E223D199F}"/>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983425414364635E-2"/>
          <c:y val="5.4260603744745894E-2"/>
          <c:w val="0.8729281767955801"/>
          <c:h val="0.89147879251050821"/>
        </c:manualLayout>
      </c:layout>
      <c:barChart>
        <c:barDir val="bar"/>
        <c:grouping val="stacked"/>
        <c:varyColors val="0"/>
        <c:ser>
          <c:idx val="0"/>
          <c:order val="0"/>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D0-9E4D-9DD8-BB6BBC3FDE22}"/>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D0-9E4D-9DD8-BB6BBC3FDE22}"/>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D0-9E4D-9DD8-BB6BBC3FDE22}"/>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D0-9E4D-9DD8-BB6BBC3FDE22}"/>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D0-9E4D-9DD8-BB6BBC3FDE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3</c:v>
                </c:pt>
                <c:pt idx="2">
                  <c:v>8</c:v>
                </c:pt>
                <c:pt idx="3">
                  <c:v>10</c:v>
                </c:pt>
                <c:pt idx="4">
                  <c:v>12</c:v>
                </c:pt>
              </c:numCache>
            </c:numRef>
          </c:val>
          <c:extLst>
            <c:ext xmlns:c16="http://schemas.microsoft.com/office/drawing/2014/chart" uri="{C3380CC4-5D6E-409C-BE32-E72D297353CC}">
              <c16:uniqueId val="{00000005-15D0-9E4D-9DD8-BB6BBC3FDE22}"/>
            </c:ext>
          </c:extLst>
        </c:ser>
        <c:ser>
          <c:idx val="1"/>
          <c:order val="1"/>
          <c:spPr>
            <a:noFill/>
            <a:ln>
              <a:noFill/>
            </a:ln>
          </c:spPr>
          <c:invertIfNegative val="0"/>
          <c:val>
            <c:numRef>
              <c:f>Sheet1!$A$2:$E$2</c:f>
              <c:numCache>
                <c:formatCode>General</c:formatCode>
                <c:ptCount val="5"/>
                <c:pt idx="0">
                  <c:v>1</c:v>
                </c:pt>
                <c:pt idx="1">
                  <c:v>2</c:v>
                </c:pt>
                <c:pt idx="2">
                  <c:v>4</c:v>
                </c:pt>
                <c:pt idx="3">
                  <c:v>5</c:v>
                </c:pt>
                <c:pt idx="4">
                  <c:v>6</c:v>
                </c:pt>
              </c:numCache>
            </c:numRef>
          </c:val>
          <c:extLst>
            <c:ext xmlns:c16="http://schemas.microsoft.com/office/drawing/2014/chart" uri="{C3380CC4-5D6E-409C-BE32-E72D297353CC}">
              <c16:uniqueId val="{00000006-15D0-9E4D-9DD8-BB6BBC3FDE22}"/>
            </c:ext>
          </c:extLst>
        </c:ser>
        <c:dLbls>
          <c:showLegendKey val="0"/>
          <c:showVal val="0"/>
          <c:showCatName val="0"/>
          <c:showSerName val="0"/>
          <c:showPercent val="0"/>
          <c:showBubbleSize val="0"/>
        </c:dLbls>
        <c:gapWidth val="80"/>
        <c:overlap val="100"/>
        <c:axId val="198893455"/>
        <c:axId val="1"/>
      </c:barChart>
      <c:catAx>
        <c:axId val="198893455"/>
        <c:scaling>
          <c:orientation val="maxMin"/>
        </c:scaling>
        <c:delete val="0"/>
        <c:axPos val="l"/>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20"/>
          <c:min val="0"/>
        </c:scaling>
        <c:delete val="0"/>
        <c:axPos val="t"/>
        <c:majorGridlines>
          <c:spPr>
            <a:ln>
              <a:noFill/>
            </a:ln>
          </c:spPr>
        </c:majorGridlines>
        <c:numFmt formatCode="General" sourceLinked="1"/>
        <c:majorTickMark val="none"/>
        <c:minorTickMark val="none"/>
        <c:tickLblPos val="none"/>
        <c:spPr>
          <a:ln>
            <a:noFill/>
          </a:ln>
        </c:spPr>
        <c:crossAx val="198893455"/>
        <c:crosses val="min"/>
        <c:crossBetween val="between"/>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059149722735672E-2"/>
          <c:y val="5.4260603744745894E-2"/>
          <c:w val="0.90388170055452866"/>
          <c:h val="0.89147879251050821"/>
        </c:manualLayout>
      </c:layout>
      <c:barChart>
        <c:barDir val="bar"/>
        <c:grouping val="stacked"/>
        <c:varyColors val="0"/>
        <c:ser>
          <c:idx val="0"/>
          <c:order val="0"/>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38-E54C-B166-DEF291CC78D3}"/>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38-E54C-B166-DEF291CC78D3}"/>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38-E54C-B166-DEF291CC78D3}"/>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38-E54C-B166-DEF291CC78D3}"/>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138-E54C-B166-DEF291CC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20</c:v>
                </c:pt>
                <c:pt idx="2">
                  <c:v>30</c:v>
                </c:pt>
                <c:pt idx="3">
                  <c:v>60</c:v>
                </c:pt>
                <c:pt idx="4">
                  <c:v>60</c:v>
                </c:pt>
              </c:numCache>
            </c:numRef>
          </c:val>
          <c:extLst>
            <c:ext xmlns:c16="http://schemas.microsoft.com/office/drawing/2014/chart" uri="{C3380CC4-5D6E-409C-BE32-E72D297353CC}">
              <c16:uniqueId val="{00000005-4138-E54C-B166-DEF291CC78D3}"/>
            </c:ext>
          </c:extLst>
        </c:ser>
        <c:ser>
          <c:idx val="1"/>
          <c:order val="1"/>
          <c:spPr>
            <a:noFill/>
            <a:ln>
              <a:noFill/>
            </a:ln>
          </c:spPr>
          <c:invertIfNegative val="0"/>
          <c:val>
            <c:numRef>
              <c:f>Sheet1!$A$2:$E$2</c:f>
              <c:numCache>
                <c:formatCode>General</c:formatCode>
                <c:ptCount val="5"/>
                <c:pt idx="0">
                  <c:v>5</c:v>
                </c:pt>
                <c:pt idx="1">
                  <c:v>5</c:v>
                </c:pt>
                <c:pt idx="2">
                  <c:v>20</c:v>
                </c:pt>
                <c:pt idx="4">
                  <c:v>20</c:v>
                </c:pt>
              </c:numCache>
            </c:numRef>
          </c:val>
          <c:extLst>
            <c:ext xmlns:c16="http://schemas.microsoft.com/office/drawing/2014/chart" uri="{C3380CC4-5D6E-409C-BE32-E72D297353CC}">
              <c16:uniqueId val="{00000006-4138-E54C-B166-DEF291CC78D3}"/>
            </c:ext>
          </c:extLst>
        </c:ser>
        <c:dLbls>
          <c:showLegendKey val="0"/>
          <c:showVal val="0"/>
          <c:showCatName val="0"/>
          <c:showSerName val="0"/>
          <c:showPercent val="0"/>
          <c:showBubbleSize val="0"/>
        </c:dLbls>
        <c:gapWidth val="500"/>
        <c:overlap val="100"/>
        <c:axId val="199185247"/>
        <c:axId val="1"/>
      </c:barChart>
      <c:catAx>
        <c:axId val="199185247"/>
        <c:scaling>
          <c:orientation val="maxMin"/>
        </c:scaling>
        <c:delete val="0"/>
        <c:axPos val="l"/>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80"/>
          <c:min val="0"/>
        </c:scaling>
        <c:delete val="0"/>
        <c:axPos val="t"/>
        <c:majorGridlines>
          <c:spPr>
            <a:ln>
              <a:noFill/>
            </a:ln>
          </c:spPr>
        </c:majorGridlines>
        <c:numFmt formatCode="General" sourceLinked="1"/>
        <c:majorTickMark val="none"/>
        <c:minorTickMark val="none"/>
        <c:tickLblPos val="none"/>
        <c:spPr>
          <a:ln>
            <a:noFill/>
          </a:ln>
        </c:spPr>
        <c:crossAx val="199185247"/>
        <c:crosses val="min"/>
        <c:crossBetween val="between"/>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001328021248336E-2"/>
          <c:y val="5.4234459741343347E-2"/>
          <c:w val="0.86144311642319615"/>
          <c:h val="0.8122653316645807"/>
        </c:manualLayout>
      </c:layout>
      <c:scatterChart>
        <c:scatterStyle val="lineMarker"/>
        <c:varyColors val="0"/>
        <c:ser>
          <c:idx val="0"/>
          <c:order val="0"/>
          <c:spPr>
            <a:ln w="19050" cmpd="sng" algn="ctr">
              <a:solidFill>
                <a:schemeClr val="accent1"/>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2:$E$2</c:f>
              <c:numCache>
                <c:formatCode>General</c:formatCode>
                <c:ptCount val="5"/>
                <c:pt idx="0">
                  <c:v>3.9</c:v>
                </c:pt>
                <c:pt idx="1">
                  <c:v>5</c:v>
                </c:pt>
                <c:pt idx="2">
                  <c:v>6</c:v>
                </c:pt>
                <c:pt idx="3">
                  <c:v>15</c:v>
                </c:pt>
                <c:pt idx="4">
                  <c:v>25</c:v>
                </c:pt>
              </c:numCache>
            </c:numRef>
          </c:yVal>
          <c:smooth val="0"/>
          <c:extLst>
            <c:ext xmlns:c16="http://schemas.microsoft.com/office/drawing/2014/chart" uri="{C3380CC4-5D6E-409C-BE32-E72D297353CC}">
              <c16:uniqueId val="{00000000-559D-FD4F-8C71-379A3F5E32A7}"/>
            </c:ext>
          </c:extLst>
        </c:ser>
        <c:ser>
          <c:idx val="1"/>
          <c:order val="1"/>
          <c:spPr>
            <a:ln w="28575" cmpd="sng" algn="ctr">
              <a:solidFill>
                <a:schemeClr val="accent1"/>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3:$E$3</c:f>
              <c:numCache>
                <c:formatCode>General</c:formatCode>
                <c:ptCount val="5"/>
                <c:pt idx="0">
                  <c:v>3.9</c:v>
                </c:pt>
                <c:pt idx="1">
                  <c:v>5</c:v>
                </c:pt>
                <c:pt idx="2">
                  <c:v>8</c:v>
                </c:pt>
                <c:pt idx="3">
                  <c:v>25</c:v>
                </c:pt>
                <c:pt idx="4">
                  <c:v>40</c:v>
                </c:pt>
              </c:numCache>
            </c:numRef>
          </c:yVal>
          <c:smooth val="0"/>
          <c:extLst>
            <c:ext xmlns:c16="http://schemas.microsoft.com/office/drawing/2014/chart" uri="{C3380CC4-5D6E-409C-BE32-E72D297353CC}">
              <c16:uniqueId val="{00000001-559D-FD4F-8C71-379A3F5E32A7}"/>
            </c:ext>
          </c:extLst>
        </c:ser>
        <c:ser>
          <c:idx val="2"/>
          <c:order val="2"/>
          <c:spPr>
            <a:ln w="19050" cmpd="sng" algn="ctr">
              <a:solidFill>
                <a:schemeClr val="accent1"/>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4:$E$4</c:f>
              <c:numCache>
                <c:formatCode>General</c:formatCode>
                <c:ptCount val="5"/>
                <c:pt idx="0">
                  <c:v>3.9</c:v>
                </c:pt>
                <c:pt idx="1">
                  <c:v>5</c:v>
                </c:pt>
                <c:pt idx="2">
                  <c:v>10</c:v>
                </c:pt>
                <c:pt idx="3">
                  <c:v>40</c:v>
                </c:pt>
                <c:pt idx="4">
                  <c:v>60</c:v>
                </c:pt>
              </c:numCache>
            </c:numRef>
          </c:yVal>
          <c:smooth val="0"/>
          <c:extLst>
            <c:ext xmlns:c16="http://schemas.microsoft.com/office/drawing/2014/chart" uri="{C3380CC4-5D6E-409C-BE32-E72D297353CC}">
              <c16:uniqueId val="{00000002-559D-FD4F-8C71-379A3F5E32A7}"/>
            </c:ext>
          </c:extLst>
        </c:ser>
        <c:ser>
          <c:idx val="3"/>
          <c:order val="3"/>
          <c:spPr>
            <a:ln w="19050" cmpd="sng" algn="ctr">
              <a:solidFill>
                <a:schemeClr val="accent5"/>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5:$E$5</c:f>
              <c:numCache>
                <c:formatCode>General</c:formatCode>
                <c:ptCount val="5"/>
                <c:pt idx="0">
                  <c:v>97</c:v>
                </c:pt>
                <c:pt idx="1">
                  <c:v>97.7</c:v>
                </c:pt>
                <c:pt idx="2">
                  <c:v>94</c:v>
                </c:pt>
                <c:pt idx="3">
                  <c:v>94</c:v>
                </c:pt>
                <c:pt idx="4">
                  <c:v>92</c:v>
                </c:pt>
              </c:numCache>
            </c:numRef>
          </c:yVal>
          <c:smooth val="0"/>
          <c:extLst>
            <c:ext xmlns:c16="http://schemas.microsoft.com/office/drawing/2014/chart" uri="{C3380CC4-5D6E-409C-BE32-E72D297353CC}">
              <c16:uniqueId val="{00000003-559D-FD4F-8C71-379A3F5E32A7}"/>
            </c:ext>
          </c:extLst>
        </c:ser>
        <c:ser>
          <c:idx val="4"/>
          <c:order val="4"/>
          <c:spPr>
            <a:ln w="28575" cmpd="sng" algn="ctr">
              <a:solidFill>
                <a:schemeClr val="accent5"/>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6:$E$6</c:f>
              <c:numCache>
                <c:formatCode>General</c:formatCode>
                <c:ptCount val="5"/>
                <c:pt idx="0">
                  <c:v>97</c:v>
                </c:pt>
                <c:pt idx="1">
                  <c:v>97.7</c:v>
                </c:pt>
                <c:pt idx="2">
                  <c:v>105</c:v>
                </c:pt>
                <c:pt idx="3">
                  <c:v>115</c:v>
                </c:pt>
                <c:pt idx="4">
                  <c:v>150</c:v>
                </c:pt>
              </c:numCache>
            </c:numRef>
          </c:yVal>
          <c:smooth val="0"/>
          <c:extLst>
            <c:ext xmlns:c16="http://schemas.microsoft.com/office/drawing/2014/chart" uri="{C3380CC4-5D6E-409C-BE32-E72D297353CC}">
              <c16:uniqueId val="{00000004-559D-FD4F-8C71-379A3F5E32A7}"/>
            </c:ext>
          </c:extLst>
        </c:ser>
        <c:ser>
          <c:idx val="5"/>
          <c:order val="5"/>
          <c:spPr>
            <a:ln w="19050" cmpd="sng" algn="ctr">
              <a:solidFill>
                <a:schemeClr val="accent5"/>
              </a:solidFill>
              <a:prstDash val="solid"/>
            </a:ln>
          </c:spPr>
          <c:marker>
            <c:symbol val="none"/>
          </c:marker>
          <c:xVal>
            <c:numRef>
              <c:f>Sheet1!$A$1:$E$1</c:f>
              <c:numCache>
                <c:formatCode>General</c:formatCode>
                <c:ptCount val="5"/>
                <c:pt idx="0">
                  <c:v>2025</c:v>
                </c:pt>
                <c:pt idx="1">
                  <c:v>2028</c:v>
                </c:pt>
                <c:pt idx="2">
                  <c:v>2030</c:v>
                </c:pt>
                <c:pt idx="3">
                  <c:v>2035</c:v>
                </c:pt>
                <c:pt idx="4">
                  <c:v>2040</c:v>
                </c:pt>
              </c:numCache>
            </c:numRef>
          </c:xVal>
          <c:yVal>
            <c:numRef>
              <c:f>Sheet1!$A$7:$E$7</c:f>
              <c:numCache>
                <c:formatCode>General</c:formatCode>
                <c:ptCount val="5"/>
                <c:pt idx="0">
                  <c:v>97</c:v>
                </c:pt>
                <c:pt idx="1">
                  <c:v>97.7</c:v>
                </c:pt>
                <c:pt idx="2">
                  <c:v>105</c:v>
                </c:pt>
                <c:pt idx="3">
                  <c:v>135</c:v>
                </c:pt>
                <c:pt idx="4">
                  <c:v>210</c:v>
                </c:pt>
              </c:numCache>
            </c:numRef>
          </c:yVal>
          <c:smooth val="0"/>
          <c:extLst>
            <c:ext xmlns:c16="http://schemas.microsoft.com/office/drawing/2014/chart" uri="{C3380CC4-5D6E-409C-BE32-E72D297353CC}">
              <c16:uniqueId val="{00000005-559D-FD4F-8C71-379A3F5E32A7}"/>
            </c:ext>
          </c:extLst>
        </c:ser>
        <c:dLbls>
          <c:showLegendKey val="0"/>
          <c:showVal val="0"/>
          <c:showCatName val="0"/>
          <c:showSerName val="0"/>
          <c:showPercent val="0"/>
          <c:showBubbleSize val="0"/>
        </c:dLbls>
        <c:axId val="4"/>
        <c:axId val="5"/>
      </c:scatterChart>
      <c:valAx>
        <c:axId val="4"/>
        <c:scaling>
          <c:orientation val="minMax"/>
          <c:max val="2040"/>
          <c:min val="202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2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20"/>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2270124621085"/>
          <c:y val="4.8399106478034248E-2"/>
          <c:w val="0.81003704951162003"/>
          <c:h val="0.83246463142218918"/>
        </c:manualLayout>
      </c:layout>
      <c:scatterChart>
        <c:scatterStyle val="lineMarker"/>
        <c:varyColors val="0"/>
        <c:ser>
          <c:idx val="0"/>
          <c:order val="0"/>
          <c:spPr>
            <a:ln w="19050" cmpd="sng" algn="ctr">
              <a:solidFill>
                <a:schemeClr val="accent3"/>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2:$Q$2</c:f>
              <c:numCache>
                <c:formatCode>General</c:formatCode>
                <c:ptCount val="17"/>
                <c:pt idx="0">
                  <c:v>5.70776255707763</c:v>
                </c:pt>
                <c:pt idx="1">
                  <c:v>6.8493150684931496</c:v>
                </c:pt>
                <c:pt idx="2">
                  <c:v>7.9908675799086799</c:v>
                </c:pt>
                <c:pt idx="3">
                  <c:v>9.1324200913241995</c:v>
                </c:pt>
                <c:pt idx="4">
                  <c:v>11.415525114155299</c:v>
                </c:pt>
                <c:pt idx="5">
                  <c:v>13.698630136986299</c:v>
                </c:pt>
                <c:pt idx="6">
                  <c:v>17.123287671232902</c:v>
                </c:pt>
                <c:pt idx="7">
                  <c:v>20.5479452054795</c:v>
                </c:pt>
                <c:pt idx="8">
                  <c:v>25.1141552511416</c:v>
                </c:pt>
                <c:pt idx="9">
                  <c:v>29.6803652968037</c:v>
                </c:pt>
                <c:pt idx="10">
                  <c:v>34.246575342465803</c:v>
                </c:pt>
              </c:numCache>
            </c:numRef>
          </c:yVal>
          <c:smooth val="0"/>
          <c:extLst>
            <c:ext xmlns:c16="http://schemas.microsoft.com/office/drawing/2014/chart" uri="{C3380CC4-5D6E-409C-BE32-E72D297353CC}">
              <c16:uniqueId val="{00000000-5D30-B549-86C7-8AA53A46A8B8}"/>
            </c:ext>
          </c:extLst>
        </c:ser>
        <c:ser>
          <c:idx val="1"/>
          <c:order val="1"/>
          <c:spPr>
            <a:ln w="19050" cmpd="sng" algn="ctr">
              <a:solidFill>
                <a:schemeClr val="accent5"/>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3:$Q$3</c:f>
              <c:numCache>
                <c:formatCode>General</c:formatCode>
                <c:ptCount val="17"/>
                <c:pt idx="16">
                  <c:v>66.210045662100498</c:v>
                </c:pt>
              </c:numCache>
            </c:numRef>
          </c:yVal>
          <c:smooth val="0"/>
          <c:extLst>
            <c:ext xmlns:c16="http://schemas.microsoft.com/office/drawing/2014/chart" uri="{C3380CC4-5D6E-409C-BE32-E72D297353CC}">
              <c16:uniqueId val="{00000001-5D30-B549-86C7-8AA53A46A8B8}"/>
            </c:ext>
          </c:extLst>
        </c:ser>
        <c:ser>
          <c:idx val="2"/>
          <c:order val="2"/>
          <c:spPr>
            <a:ln w="19050" cmpd="sng" algn="ctr">
              <a:solidFill>
                <a:schemeClr val="accent1"/>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4:$Q$4</c:f>
              <c:numCache>
                <c:formatCode>General</c:formatCode>
                <c:ptCount val="17"/>
                <c:pt idx="16">
                  <c:v>37.100456621004597</c:v>
                </c:pt>
              </c:numCache>
            </c:numRef>
          </c:yVal>
          <c:smooth val="0"/>
          <c:extLst>
            <c:ext xmlns:c16="http://schemas.microsoft.com/office/drawing/2014/chart" uri="{C3380CC4-5D6E-409C-BE32-E72D297353CC}">
              <c16:uniqueId val="{00000002-5D30-B549-86C7-8AA53A46A8B8}"/>
            </c:ext>
          </c:extLst>
        </c:ser>
        <c:dLbls>
          <c:showLegendKey val="0"/>
          <c:showVal val="0"/>
          <c:showCatName val="0"/>
          <c:showSerName val="0"/>
          <c:showPercent val="0"/>
          <c:showBubbleSize val="0"/>
        </c:dLbls>
        <c:axId val="4"/>
        <c:axId val="5"/>
      </c:scatterChart>
      <c:valAx>
        <c:axId val="4"/>
        <c:scaling>
          <c:orientation val="minMax"/>
          <c:max val="2030"/>
          <c:min val="2014"/>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7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14828897338403E-2"/>
          <c:y val="0.10930693069306931"/>
          <c:w val="0.95057034220532322"/>
          <c:h val="0.814257425742574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E0C8-654F-9759-A183D3A6F6DF}"/>
              </c:ext>
            </c:extLst>
          </c:dPt>
          <c:dPt>
            <c:idx val="2"/>
            <c:invertIfNegative val="0"/>
            <c:bubble3D val="0"/>
            <c:spPr>
              <a:solidFill>
                <a:schemeClr val="accent4"/>
              </a:solidFill>
              <a:ln>
                <a:noFill/>
              </a:ln>
            </c:spPr>
            <c:extLst>
              <c:ext xmlns:c16="http://schemas.microsoft.com/office/drawing/2014/chart" uri="{C3380CC4-5D6E-409C-BE32-E72D297353CC}">
                <c16:uniqueId val="{00000001-E0C8-654F-9759-A183D3A6F6DF}"/>
              </c:ext>
            </c:extLst>
          </c:dPt>
          <c:dLbls>
            <c:dLbl>
              <c:idx val="0"/>
              <c:layout>
                <c:manualLayout>
                  <c:x val="0"/>
                  <c:y val="-0.1413861386138613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C8-654F-9759-A183D3A6F6DF}"/>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C8-654F-9759-A183D3A6F6DF}"/>
                </c:ext>
              </c:extLst>
            </c:dLbl>
            <c:dLbl>
              <c:idx val="2"/>
              <c:layout>
                <c:manualLayout>
                  <c:x val="0"/>
                  <c:y val="-0.4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C8-654F-9759-A183D3A6F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c:v>
                </c:pt>
                <c:pt idx="1">
                  <c:v>6</c:v>
                </c:pt>
                <c:pt idx="2">
                  <c:v>15</c:v>
                </c:pt>
              </c:numCache>
            </c:numRef>
          </c:val>
          <c:extLst>
            <c:ext xmlns:c16="http://schemas.microsoft.com/office/drawing/2014/chart" uri="{C3380CC4-5D6E-409C-BE32-E72D297353CC}">
              <c16:uniqueId val="{00000003-E0C8-654F-9759-A183D3A6F6DF}"/>
            </c:ext>
          </c:extLst>
        </c:ser>
        <c:ser>
          <c:idx val="1"/>
          <c:order val="1"/>
          <c:spPr>
            <a:solidFill>
              <a:schemeClr val="accent1"/>
            </a:solidFill>
            <a:ln>
              <a:noFill/>
            </a:ln>
          </c:spPr>
          <c:invertIfNegative val="0"/>
          <c:dLbls>
            <c:dLbl>
              <c:idx val="1"/>
              <c:layout>
                <c:manualLayout>
                  <c:x val="0"/>
                  <c:y val="-3.9603960396039607E-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C8-654F-9759-A183D3A6F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2</c:v>
                </c:pt>
              </c:numCache>
            </c:numRef>
          </c:val>
          <c:extLst>
            <c:ext xmlns:c16="http://schemas.microsoft.com/office/drawing/2014/chart" uri="{C3380CC4-5D6E-409C-BE32-E72D297353CC}">
              <c16:uniqueId val="{00000005-E0C8-654F-9759-A183D3A6F6DF}"/>
            </c:ext>
          </c:extLst>
        </c:ser>
        <c:dLbls>
          <c:showLegendKey val="0"/>
          <c:showVal val="0"/>
          <c:showCatName val="0"/>
          <c:showSerName val="0"/>
          <c:showPercent val="0"/>
          <c:showBubbleSize val="0"/>
        </c:dLbls>
        <c:gapWidth val="80"/>
        <c:overlap val="100"/>
        <c:axId val="1600116815"/>
        <c:axId val="1"/>
      </c:barChart>
      <c:catAx>
        <c:axId val="16001168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General" sourceLinked="1"/>
        <c:majorTickMark val="none"/>
        <c:minorTickMark val="none"/>
        <c:tickLblPos val="none"/>
        <c:spPr>
          <a:ln>
            <a:noFill/>
          </a:ln>
        </c:spPr>
        <c:crossAx val="1600116815"/>
        <c:crosses val="min"/>
        <c:crossBetween val="between"/>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1891315929675E-2"/>
          <c:y val="0.16448152562574495"/>
          <c:w val="0.97229621736814065"/>
          <c:h val="0.72050059594755667"/>
        </c:manualLayout>
      </c:layout>
      <c:barChart>
        <c:barDir val="col"/>
        <c:grouping val="stacked"/>
        <c:varyColors val="0"/>
        <c:ser>
          <c:idx val="0"/>
          <c:order val="0"/>
          <c:spPr>
            <a:solidFill>
              <a:schemeClr val="accent1"/>
            </a:solidFill>
            <a:ln>
              <a:noFill/>
            </a:ln>
          </c:spPr>
          <c:invertIfNegative val="0"/>
          <c:dPt>
            <c:idx val="5"/>
            <c:invertIfNegative val="0"/>
            <c:bubble3D val="0"/>
            <c:spPr>
              <a:solidFill>
                <a:schemeClr val="tx2"/>
              </a:solidFill>
              <a:ln>
                <a:noFill/>
              </a:ln>
            </c:spPr>
            <c:extLst>
              <c:ext xmlns:c16="http://schemas.microsoft.com/office/drawing/2014/chart" uri="{C3380CC4-5D6E-409C-BE32-E72D297353CC}">
                <c16:uniqueId val="{00000000-31A2-B242-8A97-A4C6D92071D9}"/>
              </c:ext>
            </c:extLst>
          </c:dPt>
          <c:dLbls>
            <c:dLbl>
              <c:idx val="0"/>
              <c:layout>
                <c:manualLayout>
                  <c:x val="0"/>
                  <c:y val="-0.222288438617401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A2-B242-8A97-A4C6D92071D9}"/>
                </c:ext>
              </c:extLst>
            </c:dLbl>
            <c:dLbl>
              <c:idx val="1"/>
              <c:layout>
                <c:manualLayout>
                  <c:x val="0"/>
                  <c:y val="-0.2318235995232419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A2-B242-8A97-A4C6D92071D9}"/>
                </c:ext>
              </c:extLst>
            </c:dLbl>
            <c:dLbl>
              <c:idx val="2"/>
              <c:layout>
                <c:manualLayout>
                  <c:x val="0"/>
                  <c:y val="-0.2258641239570917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A2-B242-8A97-A4C6D92071D9}"/>
                </c:ext>
              </c:extLst>
            </c:dLbl>
            <c:dLbl>
              <c:idx val="3"/>
              <c:layout>
                <c:manualLayout>
                  <c:x val="0"/>
                  <c:y val="-0.4100119189511323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A2-B242-8A97-A4C6D92071D9}"/>
                </c:ext>
              </c:extLst>
            </c:dLbl>
            <c:dLbl>
              <c:idx val="4"/>
              <c:layout>
                <c:manualLayout>
                  <c:x val="0"/>
                  <c:y val="-0.328963051251489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A2-B242-8A97-A4C6D92071D9}"/>
                </c:ext>
              </c:extLst>
            </c:dLbl>
            <c:dLbl>
              <c:idx val="5"/>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A2-B242-8A97-A4C6D92071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4</c:v>
                </c:pt>
                <c:pt idx="1">
                  <c:v>99</c:v>
                </c:pt>
                <c:pt idx="2">
                  <c:v>96</c:v>
                </c:pt>
                <c:pt idx="3">
                  <c:v>196</c:v>
                </c:pt>
                <c:pt idx="4">
                  <c:v>152</c:v>
                </c:pt>
                <c:pt idx="5">
                  <c:v>50</c:v>
                </c:pt>
              </c:numCache>
            </c:numRef>
          </c:val>
          <c:extLst>
            <c:ext xmlns:c16="http://schemas.microsoft.com/office/drawing/2014/chart" uri="{C3380CC4-5D6E-409C-BE32-E72D297353CC}">
              <c16:uniqueId val="{00000006-31A2-B242-8A97-A4C6D92071D9}"/>
            </c:ext>
          </c:extLst>
        </c:ser>
        <c:ser>
          <c:idx val="1"/>
          <c:order val="1"/>
          <c:spPr>
            <a:solidFill>
              <a:srgbClr val="364D6E"/>
            </a:solidFill>
            <a:ln>
              <a:noFill/>
            </a:ln>
          </c:spPr>
          <c:invertIfNegative val="0"/>
          <c:val>
            <c:numRef>
              <c:f>Sheet1!$A$2:$F$2</c:f>
              <c:numCache>
                <c:formatCode>General</c:formatCode>
                <c:ptCount val="6"/>
                <c:pt idx="5">
                  <c:v>7</c:v>
                </c:pt>
              </c:numCache>
            </c:numRef>
          </c:val>
          <c:extLst>
            <c:ext xmlns:c16="http://schemas.microsoft.com/office/drawing/2014/chart" uri="{C3380CC4-5D6E-409C-BE32-E72D297353CC}">
              <c16:uniqueId val="{00000007-31A2-B242-8A97-A4C6D92071D9}"/>
            </c:ext>
          </c:extLst>
        </c:ser>
        <c:ser>
          <c:idx val="2"/>
          <c:order val="2"/>
          <c:spPr>
            <a:solidFill>
              <a:srgbClr val="6F8DB9"/>
            </a:solidFill>
            <a:ln>
              <a:noFill/>
            </a:ln>
          </c:spPr>
          <c:invertIfNegative val="0"/>
          <c:val>
            <c:numRef>
              <c:f>Sheet1!$A$3:$F$3</c:f>
              <c:numCache>
                <c:formatCode>General</c:formatCode>
                <c:ptCount val="6"/>
                <c:pt idx="5">
                  <c:v>9</c:v>
                </c:pt>
              </c:numCache>
            </c:numRef>
          </c:val>
          <c:extLst>
            <c:ext xmlns:c16="http://schemas.microsoft.com/office/drawing/2014/chart" uri="{C3380CC4-5D6E-409C-BE32-E72D297353CC}">
              <c16:uniqueId val="{00000008-31A2-B242-8A97-A4C6D92071D9}"/>
            </c:ext>
          </c:extLst>
        </c:ser>
        <c:ser>
          <c:idx val="3"/>
          <c:order val="3"/>
          <c:spPr>
            <a:solidFill>
              <a:srgbClr val="9DB1CF"/>
            </a:solidFill>
            <a:ln>
              <a:noFill/>
            </a:ln>
          </c:spPr>
          <c:invertIfNegative val="0"/>
          <c:dLbls>
            <c:dLbl>
              <c:idx val="5"/>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A2-B242-8A97-A4C6D92071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5">
                  <c:v>94</c:v>
                </c:pt>
              </c:numCache>
            </c:numRef>
          </c:val>
          <c:extLst>
            <c:ext xmlns:c16="http://schemas.microsoft.com/office/drawing/2014/chart" uri="{C3380CC4-5D6E-409C-BE32-E72D297353CC}">
              <c16:uniqueId val="{0000000A-31A2-B242-8A97-A4C6D92071D9}"/>
            </c:ext>
          </c:extLst>
        </c:ser>
        <c:dLbls>
          <c:showLegendKey val="0"/>
          <c:showVal val="0"/>
          <c:showCatName val="0"/>
          <c:showSerName val="0"/>
          <c:showPercent val="0"/>
          <c:showBubbleSize val="0"/>
        </c:dLbls>
        <c:gapWidth val="80"/>
        <c:overlap val="100"/>
        <c:axId val="349326336"/>
        <c:axId val="1"/>
      </c:barChart>
      <c:catAx>
        <c:axId val="34932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6"/>
          <c:min val="0"/>
        </c:scaling>
        <c:delete val="0"/>
        <c:axPos val="l"/>
        <c:majorGridlines>
          <c:spPr>
            <a:ln>
              <a:noFill/>
            </a:ln>
          </c:spPr>
        </c:majorGridlines>
        <c:numFmt formatCode="General" sourceLinked="1"/>
        <c:majorTickMark val="none"/>
        <c:minorTickMark val="none"/>
        <c:tickLblPos val="none"/>
        <c:spPr>
          <a:ln>
            <a:noFill/>
          </a:ln>
        </c:spPr>
        <c:crossAx val="349326336"/>
        <c:crosses val="min"/>
        <c:crossBetween val="between"/>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77928232904535"/>
          <c:y val="9.0764331210191077E-2"/>
          <c:w val="0.84461746784021663"/>
          <c:h val="0.8176751592356688"/>
        </c:manualLayout>
      </c:layout>
      <c:barChart>
        <c:barDir val="col"/>
        <c:grouping val="stacked"/>
        <c:varyColors val="0"/>
        <c:ser>
          <c:idx val="0"/>
          <c:order val="0"/>
          <c:spPr>
            <a:solidFill>
              <a:schemeClr val="accent1"/>
            </a:solidFill>
            <a:ln>
              <a:noFill/>
            </a:ln>
          </c:spPr>
          <c:invertIfNegative val="0"/>
          <c:dPt>
            <c:idx val="6"/>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0-A1F6-774D-9329-64F56A83676C}"/>
              </c:ext>
            </c:extLst>
          </c:dPt>
          <c:val>
            <c:numRef>
              <c:f>Sheet1!$A$1:$G$1</c:f>
              <c:numCache>
                <c:formatCode>General</c:formatCode>
                <c:ptCount val="7"/>
                <c:pt idx="0">
                  <c:v>1700</c:v>
                </c:pt>
                <c:pt idx="1">
                  <c:v>1350</c:v>
                </c:pt>
                <c:pt idx="2">
                  <c:v>850</c:v>
                </c:pt>
                <c:pt idx="3">
                  <c:v>650</c:v>
                </c:pt>
                <c:pt idx="4">
                  <c:v>200</c:v>
                </c:pt>
                <c:pt idx="5">
                  <c:v>30</c:v>
                </c:pt>
                <c:pt idx="6">
                  <c:v>80</c:v>
                </c:pt>
              </c:numCache>
            </c:numRef>
          </c:val>
          <c:extLst>
            <c:ext xmlns:c16="http://schemas.microsoft.com/office/drawing/2014/chart" uri="{C3380CC4-5D6E-409C-BE32-E72D297353CC}">
              <c16:uniqueId val="{00000001-A1F6-774D-9329-64F56A83676C}"/>
            </c:ext>
          </c:extLst>
        </c:ser>
        <c:ser>
          <c:idx val="1"/>
          <c:order val="1"/>
          <c:spPr>
            <a:pattFill prst="ltUpDiag">
              <a:fgClr>
                <a:schemeClr val="tx1"/>
              </a:fgClr>
              <a:bgClr>
                <a:schemeClr val="bg1"/>
              </a:bgClr>
            </a:pattFill>
            <a:ln>
              <a:noFill/>
            </a:ln>
          </c:spPr>
          <c:invertIfNegative val="0"/>
          <c:val>
            <c:numRef>
              <c:f>Sheet1!$A$2:$G$2</c:f>
              <c:numCache>
                <c:formatCode>General</c:formatCode>
                <c:ptCount val="7"/>
                <c:pt idx="0">
                  <c:v>600</c:v>
                </c:pt>
                <c:pt idx="1">
                  <c:v>750</c:v>
                </c:pt>
                <c:pt idx="2">
                  <c:v>1700</c:v>
                </c:pt>
                <c:pt idx="3">
                  <c:v>650</c:v>
                </c:pt>
                <c:pt idx="4">
                  <c:v>550</c:v>
                </c:pt>
                <c:pt idx="5">
                  <c:v>80</c:v>
                </c:pt>
              </c:numCache>
            </c:numRef>
          </c:val>
          <c:extLst>
            <c:ext xmlns:c16="http://schemas.microsoft.com/office/drawing/2014/chart" uri="{C3380CC4-5D6E-409C-BE32-E72D297353CC}">
              <c16:uniqueId val="{00000002-A1F6-774D-9329-64F56A83676C}"/>
            </c:ext>
          </c:extLst>
        </c:ser>
        <c:dLbls>
          <c:showLegendKey val="0"/>
          <c:showVal val="0"/>
          <c:showCatName val="0"/>
          <c:showSerName val="0"/>
          <c:showPercent val="0"/>
          <c:showBubbleSize val="0"/>
        </c:dLbls>
        <c:gapWidth val="80"/>
        <c:overlap val="100"/>
        <c:axId val="724785167"/>
        <c:axId val="1"/>
      </c:barChart>
      <c:barChart>
        <c:barDir val="col"/>
        <c:grouping val="clustered"/>
        <c:varyColors val="0"/>
        <c:ser>
          <c:idx val="2"/>
          <c:order val="2"/>
          <c:invertIfNegative val="0"/>
          <c:extLst>
            <c:ext xmlns:c16="http://schemas.microsoft.com/office/drawing/2014/chart" uri="{C3380CC4-5D6E-409C-BE32-E72D297353CC}">
              <c16:uniqueId val="{00000003-A1F6-774D-9329-64F56A83676C}"/>
            </c:ext>
          </c:extLst>
        </c:ser>
        <c:dLbls>
          <c:showLegendKey val="0"/>
          <c:showVal val="0"/>
          <c:showCatName val="0"/>
          <c:showSerName val="0"/>
          <c:showPercent val="0"/>
          <c:showBubbleSize val="0"/>
        </c:dLbls>
        <c:gapWidth val="150"/>
        <c:axId val="2"/>
        <c:axId val="3"/>
      </c:barChart>
      <c:catAx>
        <c:axId val="724785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724785167"/>
        <c:crosses val="min"/>
        <c:crossBetween val="between"/>
        <c:majorUnit val="5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2"/>
        <c:crosses val="max"/>
        <c:crossBetween val="between"/>
        <c:majorUnit val="0.2"/>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77928232904535"/>
          <c:y val="7.9221681723419035E-2"/>
          <c:w val="0.78740690589031825"/>
          <c:h val="0.7268936761640028"/>
        </c:manualLayout>
      </c:layout>
      <c:scatterChart>
        <c:scatterStyle val="lineMarker"/>
        <c:varyColors val="0"/>
        <c:ser>
          <c:idx val="0"/>
          <c:order val="0"/>
          <c:spPr>
            <a:ln w="19050" cmpd="sng" algn="ctr">
              <a:solidFill>
                <a:schemeClr val="accent1"/>
              </a:solidFill>
              <a:prstDash val="solid"/>
            </a:ln>
          </c:spPr>
          <c:marker>
            <c:symbol val="none"/>
          </c:marker>
          <c:xVal>
            <c:numRef>
              <c:f>Sheet1!$A$1:$M$1</c:f>
              <c:numCache>
                <c:formatCode>General</c:formatCode>
                <c:ptCount val="13"/>
                <c:pt idx="0">
                  <c:v>2010</c:v>
                </c:pt>
                <c:pt idx="1">
                  <c:v>2015</c:v>
                </c:pt>
                <c:pt idx="2">
                  <c:v>2020</c:v>
                </c:pt>
                <c:pt idx="3">
                  <c:v>2021</c:v>
                </c:pt>
                <c:pt idx="4">
                  <c:v>2022</c:v>
                </c:pt>
                <c:pt idx="5">
                  <c:v>2023</c:v>
                </c:pt>
                <c:pt idx="6">
                  <c:v>2024</c:v>
                </c:pt>
                <c:pt idx="7">
                  <c:v>2025</c:v>
                </c:pt>
                <c:pt idx="8">
                  <c:v>2026</c:v>
                </c:pt>
                <c:pt idx="9">
                  <c:v>2027</c:v>
                </c:pt>
                <c:pt idx="10">
                  <c:v>2028</c:v>
                </c:pt>
                <c:pt idx="11">
                  <c:v>2029</c:v>
                </c:pt>
                <c:pt idx="12">
                  <c:v>2030</c:v>
                </c:pt>
              </c:numCache>
            </c:numRef>
          </c:xVal>
          <c:yVal>
            <c:numRef>
              <c:f>Sheet1!$A$2:$M$2</c:f>
              <c:numCache>
                <c:formatCode>General</c:formatCode>
                <c:ptCount val="13"/>
                <c:pt idx="0">
                  <c:v>100</c:v>
                </c:pt>
                <c:pt idx="1">
                  <c:v>100</c:v>
                </c:pt>
                <c:pt idx="2">
                  <c:v>100</c:v>
                </c:pt>
                <c:pt idx="3">
                  <c:v>200</c:v>
                </c:pt>
                <c:pt idx="4">
                  <c:v>300</c:v>
                </c:pt>
                <c:pt idx="5">
                  <c:v>400</c:v>
                </c:pt>
                <c:pt idx="6">
                  <c:v>500</c:v>
                </c:pt>
                <c:pt idx="7">
                  <c:v>600</c:v>
                </c:pt>
                <c:pt idx="8">
                  <c:v>1220</c:v>
                </c:pt>
                <c:pt idx="9">
                  <c:v>1840</c:v>
                </c:pt>
                <c:pt idx="10">
                  <c:v>2460</c:v>
                </c:pt>
                <c:pt idx="11">
                  <c:v>3080</c:v>
                </c:pt>
                <c:pt idx="12">
                  <c:v>3700</c:v>
                </c:pt>
              </c:numCache>
            </c:numRef>
          </c:yVal>
          <c:smooth val="0"/>
          <c:extLst>
            <c:ext xmlns:c16="http://schemas.microsoft.com/office/drawing/2014/chart" uri="{C3380CC4-5D6E-409C-BE32-E72D297353CC}">
              <c16:uniqueId val="{00000000-FF9D-C04B-8788-BCFAD4B3768B}"/>
            </c:ext>
          </c:extLst>
        </c:ser>
        <c:ser>
          <c:idx val="1"/>
          <c:order val="1"/>
          <c:spPr>
            <a:ln w="19050" cmpd="sng" algn="ctr">
              <a:solidFill>
                <a:schemeClr val="accent2"/>
              </a:solidFill>
              <a:prstDash val="solid"/>
            </a:ln>
          </c:spPr>
          <c:marker>
            <c:symbol val="none"/>
          </c:marker>
          <c:xVal>
            <c:numRef>
              <c:f>Sheet1!$A$1:$M$1</c:f>
              <c:numCache>
                <c:formatCode>General</c:formatCode>
                <c:ptCount val="13"/>
                <c:pt idx="0">
                  <c:v>2010</c:v>
                </c:pt>
                <c:pt idx="1">
                  <c:v>2015</c:v>
                </c:pt>
                <c:pt idx="2">
                  <c:v>2020</c:v>
                </c:pt>
                <c:pt idx="3">
                  <c:v>2021</c:v>
                </c:pt>
                <c:pt idx="4">
                  <c:v>2022</c:v>
                </c:pt>
                <c:pt idx="5">
                  <c:v>2023</c:v>
                </c:pt>
                <c:pt idx="6">
                  <c:v>2024</c:v>
                </c:pt>
                <c:pt idx="7">
                  <c:v>2025</c:v>
                </c:pt>
                <c:pt idx="8">
                  <c:v>2026</c:v>
                </c:pt>
                <c:pt idx="9">
                  <c:v>2027</c:v>
                </c:pt>
                <c:pt idx="10">
                  <c:v>2028</c:v>
                </c:pt>
                <c:pt idx="11">
                  <c:v>2029</c:v>
                </c:pt>
                <c:pt idx="12">
                  <c:v>2030</c:v>
                </c:pt>
              </c:numCache>
            </c:numRef>
          </c:xVal>
          <c:yVal>
            <c:numRef>
              <c:f>Sheet1!$A$3:$M$3</c:f>
              <c:numCache>
                <c:formatCode>General</c:formatCode>
                <c:ptCount val="13"/>
                <c:pt idx="0">
                  <c:v>200</c:v>
                </c:pt>
                <c:pt idx="1">
                  <c:v>200</c:v>
                </c:pt>
                <c:pt idx="2">
                  <c:v>200</c:v>
                </c:pt>
                <c:pt idx="3">
                  <c:v>200</c:v>
                </c:pt>
                <c:pt idx="4">
                  <c:v>200</c:v>
                </c:pt>
                <c:pt idx="5">
                  <c:v>200</c:v>
                </c:pt>
                <c:pt idx="6">
                  <c:v>200</c:v>
                </c:pt>
                <c:pt idx="7">
                  <c:v>200</c:v>
                </c:pt>
                <c:pt idx="8">
                  <c:v>200</c:v>
                </c:pt>
                <c:pt idx="9">
                  <c:v>200</c:v>
                </c:pt>
                <c:pt idx="10">
                  <c:v>200</c:v>
                </c:pt>
                <c:pt idx="11">
                  <c:v>200</c:v>
                </c:pt>
                <c:pt idx="12">
                  <c:v>200</c:v>
                </c:pt>
              </c:numCache>
            </c:numRef>
          </c:yVal>
          <c:smooth val="0"/>
          <c:extLst>
            <c:ext xmlns:c16="http://schemas.microsoft.com/office/drawing/2014/chart" uri="{C3380CC4-5D6E-409C-BE32-E72D297353CC}">
              <c16:uniqueId val="{00000001-FF9D-C04B-8788-BCFAD4B3768B}"/>
            </c:ext>
          </c:extLst>
        </c:ser>
        <c:dLbls>
          <c:showLegendKey val="0"/>
          <c:showVal val="0"/>
          <c:showCatName val="0"/>
          <c:showSerName val="0"/>
          <c:showPercent val="0"/>
          <c:showBubbleSize val="0"/>
        </c:dLbls>
        <c:axId val="4"/>
        <c:axId val="5"/>
      </c:scatterChart>
      <c:valAx>
        <c:axId val="4"/>
        <c:scaling>
          <c:orientation val="minMax"/>
          <c:max val="2030"/>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00"/>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46823799942513E-2"/>
          <c:y val="0.11353711790393013"/>
          <c:w val="0.970106352400115"/>
          <c:h val="0.77292576419213976"/>
        </c:manualLayout>
      </c:layout>
      <c:barChart>
        <c:barDir val="bar"/>
        <c:grouping val="stacked"/>
        <c:varyColors val="0"/>
        <c:ser>
          <c:idx val="0"/>
          <c:order val="0"/>
          <c:spPr>
            <a:solidFill>
              <a:schemeClr val="accent6"/>
            </a:solidFill>
            <a:ln>
              <a:noFill/>
            </a:ln>
          </c:spPr>
          <c:invertIfNegative val="0"/>
          <c:val>
            <c:numRef>
              <c:f>Sheet1!$A$1</c:f>
              <c:numCache>
                <c:formatCode>General</c:formatCode>
                <c:ptCount val="1"/>
                <c:pt idx="0">
                  <c:v>66.3</c:v>
                </c:pt>
              </c:numCache>
            </c:numRef>
          </c:val>
          <c:extLst>
            <c:ext xmlns:c16="http://schemas.microsoft.com/office/drawing/2014/chart" uri="{C3380CC4-5D6E-409C-BE32-E72D297353CC}">
              <c16:uniqueId val="{00000000-279F-7443-ADE7-DF1396624F2E}"/>
            </c:ext>
          </c:extLst>
        </c:ser>
        <c:ser>
          <c:idx val="1"/>
          <c:order val="1"/>
          <c:spPr>
            <a:solidFill>
              <a:schemeClr val="accent1"/>
            </a:solidFill>
            <a:ln>
              <a:noFill/>
            </a:ln>
          </c:spPr>
          <c:invertIfNegative val="0"/>
          <c:val>
            <c:numRef>
              <c:f>Sheet1!$A$2</c:f>
              <c:numCache>
                <c:formatCode>General</c:formatCode>
                <c:ptCount val="1"/>
                <c:pt idx="0">
                  <c:v>53.199999999999989</c:v>
                </c:pt>
              </c:numCache>
            </c:numRef>
          </c:val>
          <c:extLst>
            <c:ext xmlns:c16="http://schemas.microsoft.com/office/drawing/2014/chart" uri="{C3380CC4-5D6E-409C-BE32-E72D297353CC}">
              <c16:uniqueId val="{00000001-279F-7443-ADE7-DF1396624F2E}"/>
            </c:ext>
          </c:extLst>
        </c:ser>
        <c:ser>
          <c:idx val="2"/>
          <c:order val="2"/>
          <c:spPr>
            <a:solidFill>
              <a:schemeClr val="accent3"/>
            </a:solidFill>
            <a:ln>
              <a:noFill/>
            </a:ln>
          </c:spPr>
          <c:invertIfNegative val="0"/>
          <c:val>
            <c:numRef>
              <c:f>Sheet1!$A$3</c:f>
              <c:numCache>
                <c:formatCode>General</c:formatCode>
                <c:ptCount val="1"/>
                <c:pt idx="0">
                  <c:v>39.900000000000006</c:v>
                </c:pt>
              </c:numCache>
            </c:numRef>
          </c:val>
          <c:extLst>
            <c:ext xmlns:c16="http://schemas.microsoft.com/office/drawing/2014/chart" uri="{C3380CC4-5D6E-409C-BE32-E72D297353CC}">
              <c16:uniqueId val="{00000002-279F-7443-ADE7-DF1396624F2E}"/>
            </c:ext>
          </c:extLst>
        </c:ser>
        <c:ser>
          <c:idx val="3"/>
          <c:order val="3"/>
          <c:spPr>
            <a:solidFill>
              <a:srgbClr val="DFE5EF"/>
            </a:solidFill>
            <a:ln>
              <a:noFill/>
            </a:ln>
          </c:spPr>
          <c:invertIfNegative val="0"/>
          <c:val>
            <c:numRef>
              <c:f>Sheet1!$A$4</c:f>
              <c:numCache>
                <c:formatCode>General</c:formatCode>
                <c:ptCount val="1"/>
                <c:pt idx="0">
                  <c:v>30.000000000000004</c:v>
                </c:pt>
              </c:numCache>
            </c:numRef>
          </c:val>
          <c:extLst>
            <c:ext xmlns:c16="http://schemas.microsoft.com/office/drawing/2014/chart" uri="{C3380CC4-5D6E-409C-BE32-E72D297353CC}">
              <c16:uniqueId val="{00000003-279F-7443-ADE7-DF1396624F2E}"/>
            </c:ext>
          </c:extLst>
        </c:ser>
        <c:ser>
          <c:idx val="4"/>
          <c:order val="4"/>
          <c:spPr>
            <a:solidFill>
              <a:schemeClr val="accent4"/>
            </a:solidFill>
            <a:ln>
              <a:noFill/>
            </a:ln>
          </c:spPr>
          <c:invertIfNegative val="0"/>
          <c:val>
            <c:numRef>
              <c:f>Sheet1!$A$5</c:f>
              <c:numCache>
                <c:formatCode>General</c:formatCode>
                <c:ptCount val="1"/>
                <c:pt idx="0">
                  <c:v>24.499999999999989</c:v>
                </c:pt>
              </c:numCache>
            </c:numRef>
          </c:val>
          <c:extLst>
            <c:ext xmlns:c16="http://schemas.microsoft.com/office/drawing/2014/chart" uri="{C3380CC4-5D6E-409C-BE32-E72D297353CC}">
              <c16:uniqueId val="{00000004-279F-7443-ADE7-DF1396624F2E}"/>
            </c:ext>
          </c:extLst>
        </c:ser>
        <c:ser>
          <c:idx val="5"/>
          <c:order val="5"/>
          <c:spPr>
            <a:solidFill>
              <a:schemeClr val="accent5"/>
            </a:solidFill>
            <a:ln>
              <a:noFill/>
            </a:ln>
          </c:spPr>
          <c:invertIfNegative val="0"/>
          <c:val>
            <c:numRef>
              <c:f>Sheet1!$A$6</c:f>
              <c:numCache>
                <c:formatCode>General</c:formatCode>
                <c:ptCount val="1"/>
                <c:pt idx="0">
                  <c:v>13.3</c:v>
                </c:pt>
              </c:numCache>
            </c:numRef>
          </c:val>
          <c:extLst>
            <c:ext xmlns:c16="http://schemas.microsoft.com/office/drawing/2014/chart" uri="{C3380CC4-5D6E-409C-BE32-E72D297353CC}">
              <c16:uniqueId val="{00000005-279F-7443-ADE7-DF1396624F2E}"/>
            </c:ext>
          </c:extLst>
        </c:ser>
        <c:ser>
          <c:idx val="6"/>
          <c:order val="6"/>
          <c:spPr>
            <a:solidFill>
              <a:schemeClr val="accent2"/>
            </a:solidFill>
            <a:ln>
              <a:noFill/>
            </a:ln>
          </c:spPr>
          <c:invertIfNegative val="0"/>
          <c:val>
            <c:numRef>
              <c:f>Sheet1!$A$7</c:f>
              <c:numCache>
                <c:formatCode>General</c:formatCode>
                <c:ptCount val="1"/>
                <c:pt idx="0">
                  <c:v>8.8999999999999968</c:v>
                </c:pt>
              </c:numCache>
            </c:numRef>
          </c:val>
          <c:extLst>
            <c:ext xmlns:c16="http://schemas.microsoft.com/office/drawing/2014/chart" uri="{C3380CC4-5D6E-409C-BE32-E72D297353CC}">
              <c16:uniqueId val="{00000006-279F-7443-ADE7-DF1396624F2E}"/>
            </c:ext>
          </c:extLst>
        </c:ser>
        <c:ser>
          <c:idx val="7"/>
          <c:order val="7"/>
          <c:spPr>
            <a:solidFill>
              <a:srgbClr val="6F8DB9"/>
            </a:solidFill>
            <a:ln>
              <a:noFill/>
            </a:ln>
          </c:spPr>
          <c:invertIfNegative val="0"/>
          <c:val>
            <c:numRef>
              <c:f>Sheet1!$A$8</c:f>
              <c:numCache>
                <c:formatCode>General</c:formatCode>
                <c:ptCount val="1"/>
                <c:pt idx="0">
                  <c:v>0</c:v>
                </c:pt>
              </c:numCache>
            </c:numRef>
          </c:val>
          <c:extLst>
            <c:ext xmlns:c16="http://schemas.microsoft.com/office/drawing/2014/chart" uri="{C3380CC4-5D6E-409C-BE32-E72D297353CC}">
              <c16:uniqueId val="{00000007-279F-7443-ADE7-DF1396624F2E}"/>
            </c:ext>
          </c:extLst>
        </c:ser>
        <c:dLbls>
          <c:showLegendKey val="0"/>
          <c:showVal val="0"/>
          <c:showCatName val="0"/>
          <c:showSerName val="0"/>
          <c:showPercent val="0"/>
          <c:showBubbleSize val="0"/>
        </c:dLbls>
        <c:gapWidth val="80"/>
        <c:overlap val="100"/>
        <c:axId val="566945551"/>
        <c:axId val="1"/>
      </c:barChart>
      <c:catAx>
        <c:axId val="56694555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0000000000003"/>
          <c:min val="0"/>
        </c:scaling>
        <c:delete val="0"/>
        <c:axPos val="t"/>
        <c:majorGridlines>
          <c:spPr>
            <a:ln>
              <a:noFill/>
            </a:ln>
          </c:spPr>
        </c:majorGridlines>
        <c:numFmt formatCode="General" sourceLinked="1"/>
        <c:majorTickMark val="none"/>
        <c:minorTickMark val="none"/>
        <c:tickLblPos val="none"/>
        <c:spPr>
          <a:ln>
            <a:noFill/>
          </a:ln>
        </c:spPr>
        <c:crossAx val="566945551"/>
        <c:crosses val="min"/>
        <c:crossBetween val="between"/>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18027509511267E-2"/>
          <c:y val="0.11685393258426967"/>
          <c:w val="0.96956394498097742"/>
          <c:h val="0.76629213483146064"/>
        </c:manualLayout>
      </c:layout>
      <c:barChart>
        <c:barDir val="bar"/>
        <c:grouping val="stacked"/>
        <c:varyColors val="0"/>
        <c:ser>
          <c:idx val="0"/>
          <c:order val="0"/>
          <c:spPr>
            <a:solidFill>
              <a:srgbClr val="6F8DB9"/>
            </a:solidFill>
            <a:ln>
              <a:noFill/>
            </a:ln>
          </c:spPr>
          <c:invertIfNegative val="0"/>
          <c:val>
            <c:numRef>
              <c:f>Sheet1!$A$1</c:f>
              <c:numCache>
                <c:formatCode>General</c:formatCode>
                <c:ptCount val="1"/>
                <c:pt idx="0">
                  <c:v>7.0000000000000009</c:v>
                </c:pt>
              </c:numCache>
            </c:numRef>
          </c:val>
          <c:extLst>
            <c:ext xmlns:c16="http://schemas.microsoft.com/office/drawing/2014/chart" uri="{C3380CC4-5D6E-409C-BE32-E72D297353CC}">
              <c16:uniqueId val="{00000000-5EB1-0C4F-9951-F653E3963119}"/>
            </c:ext>
          </c:extLst>
        </c:ser>
        <c:ser>
          <c:idx val="1"/>
          <c:order val="1"/>
          <c:spPr>
            <a:solidFill>
              <a:schemeClr val="accent1"/>
            </a:solidFill>
            <a:ln>
              <a:noFill/>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1-5EB1-0C4F-9951-F653E3963119}"/>
            </c:ext>
          </c:extLst>
        </c:ser>
        <c:ser>
          <c:idx val="2"/>
          <c:order val="2"/>
          <c:spPr>
            <a:solidFill>
              <a:schemeClr val="accent3"/>
            </a:solidFill>
            <a:ln>
              <a:noFill/>
            </a:ln>
          </c:spPr>
          <c:invertIfNegative val="0"/>
          <c:val>
            <c:numRef>
              <c:f>Sheet1!$A$3</c:f>
              <c:numCache>
                <c:formatCode>General</c:formatCode>
                <c:ptCount val="1"/>
                <c:pt idx="0">
                  <c:v>42.000000000000007</c:v>
                </c:pt>
              </c:numCache>
            </c:numRef>
          </c:val>
          <c:extLst>
            <c:ext xmlns:c16="http://schemas.microsoft.com/office/drawing/2014/chart" uri="{C3380CC4-5D6E-409C-BE32-E72D297353CC}">
              <c16:uniqueId val="{00000002-5EB1-0C4F-9951-F653E3963119}"/>
            </c:ext>
          </c:extLst>
        </c:ser>
        <c:ser>
          <c:idx val="3"/>
          <c:order val="3"/>
          <c:spPr>
            <a:solidFill>
              <a:srgbClr val="DFE5EF"/>
            </a:solidFill>
            <a:ln>
              <a:noFill/>
            </a:ln>
          </c:spPr>
          <c:invertIfNegative val="0"/>
          <c:val>
            <c:numRef>
              <c:f>Sheet1!$A$4</c:f>
              <c:numCache>
                <c:formatCode>General</c:formatCode>
                <c:ptCount val="1"/>
                <c:pt idx="0">
                  <c:v>18.999999999999993</c:v>
                </c:pt>
              </c:numCache>
            </c:numRef>
          </c:val>
          <c:extLst>
            <c:ext xmlns:c16="http://schemas.microsoft.com/office/drawing/2014/chart" uri="{C3380CC4-5D6E-409C-BE32-E72D297353CC}">
              <c16:uniqueId val="{00000003-5EB1-0C4F-9951-F653E3963119}"/>
            </c:ext>
          </c:extLst>
        </c:ser>
        <c:ser>
          <c:idx val="4"/>
          <c:order val="4"/>
          <c:spPr>
            <a:solidFill>
              <a:schemeClr val="accent4"/>
            </a:solidFill>
            <a:ln>
              <a:noFill/>
            </a:ln>
          </c:spPr>
          <c:invertIfNegative val="0"/>
          <c:val>
            <c:numRef>
              <c:f>Sheet1!$A$5</c:f>
              <c:numCache>
                <c:formatCode>General</c:formatCode>
                <c:ptCount val="1"/>
                <c:pt idx="0">
                  <c:v>4.0000000000000036</c:v>
                </c:pt>
              </c:numCache>
            </c:numRef>
          </c:val>
          <c:extLst>
            <c:ext xmlns:c16="http://schemas.microsoft.com/office/drawing/2014/chart" uri="{C3380CC4-5D6E-409C-BE32-E72D297353CC}">
              <c16:uniqueId val="{00000004-5EB1-0C4F-9951-F653E3963119}"/>
            </c:ext>
          </c:extLst>
        </c:ser>
        <c:ser>
          <c:idx val="5"/>
          <c:order val="5"/>
          <c:spPr>
            <a:solidFill>
              <a:schemeClr val="accent5"/>
            </a:solidFill>
            <a:ln>
              <a:noFill/>
            </a:ln>
          </c:spPr>
          <c:invertIfNegative val="0"/>
          <c:val>
            <c:numRef>
              <c:f>Sheet1!$A$6</c:f>
              <c:numCache>
                <c:formatCode>General</c:formatCode>
                <c:ptCount val="1"/>
                <c:pt idx="0">
                  <c:v>4.0000000000000036</c:v>
                </c:pt>
              </c:numCache>
            </c:numRef>
          </c:val>
          <c:extLst>
            <c:ext xmlns:c16="http://schemas.microsoft.com/office/drawing/2014/chart" uri="{C3380CC4-5D6E-409C-BE32-E72D297353CC}">
              <c16:uniqueId val="{00000005-5EB1-0C4F-9951-F653E3963119}"/>
            </c:ext>
          </c:extLst>
        </c:ser>
        <c:ser>
          <c:idx val="6"/>
          <c:order val="6"/>
          <c:spPr>
            <a:solidFill>
              <a:schemeClr val="accent2"/>
            </a:solidFill>
            <a:ln>
              <a:noFill/>
            </a:ln>
          </c:spPr>
          <c:invertIfNegative val="0"/>
          <c:val>
            <c:numRef>
              <c:f>Sheet1!$A$7</c:f>
              <c:numCache>
                <c:formatCode>General</c:formatCode>
                <c:ptCount val="1"/>
                <c:pt idx="0">
                  <c:v>20.999999999999996</c:v>
                </c:pt>
              </c:numCache>
            </c:numRef>
          </c:val>
          <c:extLst>
            <c:ext xmlns:c16="http://schemas.microsoft.com/office/drawing/2014/chart" uri="{C3380CC4-5D6E-409C-BE32-E72D297353CC}">
              <c16:uniqueId val="{00000006-5EB1-0C4F-9951-F653E3963119}"/>
            </c:ext>
          </c:extLst>
        </c:ser>
        <c:dLbls>
          <c:showLegendKey val="0"/>
          <c:showVal val="0"/>
          <c:showCatName val="0"/>
          <c:showSerName val="0"/>
          <c:showPercent val="0"/>
          <c:showBubbleSize val="0"/>
        </c:dLbls>
        <c:gapWidth val="80"/>
        <c:overlap val="100"/>
        <c:axId val="2042388416"/>
        <c:axId val="1"/>
      </c:barChart>
      <c:catAx>
        <c:axId val="204238841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t"/>
        <c:majorGridlines>
          <c:spPr>
            <a:ln>
              <a:noFill/>
            </a:ln>
          </c:spPr>
        </c:majorGridlines>
        <c:numFmt formatCode="General" sourceLinked="1"/>
        <c:majorTickMark val="none"/>
        <c:minorTickMark val="none"/>
        <c:tickLblPos val="none"/>
        <c:spPr>
          <a:ln>
            <a:noFill/>
          </a:ln>
        </c:spPr>
        <c:crossAx val="204238841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83150183150183"/>
          <c:y val="4.3439716312056738E-2"/>
          <c:w val="0.87912087912087911"/>
          <c:h val="0.91312056737588654"/>
        </c:manualLayout>
      </c:layout>
      <c:areaChart>
        <c:grouping val="stacked"/>
        <c:varyColors val="0"/>
        <c:ser>
          <c:idx val="0"/>
          <c:order val="0"/>
          <c:spPr>
            <a:solidFill>
              <a:schemeClr val="bg2"/>
            </a:solidFill>
            <a:ln>
              <a:noFill/>
            </a:ln>
          </c:spPr>
          <c:val>
            <c:numRef>
              <c:f>Sheet1!$A$1:$BI$1</c:f>
              <c:numCache>
                <c:formatCode>General</c:formatCode>
                <c:ptCount val="61"/>
                <c:pt idx="0">
                  <c:v>20</c:v>
                </c:pt>
                <c:pt idx="1">
                  <c:v>19.994117647058822</c:v>
                </c:pt>
                <c:pt idx="2">
                  <c:v>19.988235294117647</c:v>
                </c:pt>
                <c:pt idx="3">
                  <c:v>19.982352941176469</c:v>
                </c:pt>
                <c:pt idx="4">
                  <c:v>19.976470588235294</c:v>
                </c:pt>
                <c:pt idx="5">
                  <c:v>19.970588235294116</c:v>
                </c:pt>
                <c:pt idx="6">
                  <c:v>19.964705882352941</c:v>
                </c:pt>
                <c:pt idx="7">
                  <c:v>19.958823529411763</c:v>
                </c:pt>
                <c:pt idx="8">
                  <c:v>19.952941176470588</c:v>
                </c:pt>
                <c:pt idx="9">
                  <c:v>19.94705882352941</c:v>
                </c:pt>
                <c:pt idx="10">
                  <c:v>19.941176470588236</c:v>
                </c:pt>
                <c:pt idx="11">
                  <c:v>19.935294117647057</c:v>
                </c:pt>
                <c:pt idx="12">
                  <c:v>19.929411764705883</c:v>
                </c:pt>
                <c:pt idx="13">
                  <c:v>19.923529411764704</c:v>
                </c:pt>
                <c:pt idx="14">
                  <c:v>19.91764705882353</c:v>
                </c:pt>
                <c:pt idx="15">
                  <c:v>19.911764705882351</c:v>
                </c:pt>
                <c:pt idx="16">
                  <c:v>19.905882352941177</c:v>
                </c:pt>
                <c:pt idx="17">
                  <c:v>19.899999999999999</c:v>
                </c:pt>
                <c:pt idx="18">
                  <c:v>19.801928830726421</c:v>
                </c:pt>
                <c:pt idx="19">
                  <c:v>19.70385766145284</c:v>
                </c:pt>
                <c:pt idx="20">
                  <c:v>19.605786492179263</c:v>
                </c:pt>
                <c:pt idx="21">
                  <c:v>19.507715322905682</c:v>
                </c:pt>
                <c:pt idx="22">
                  <c:v>19.409644153632104</c:v>
                </c:pt>
                <c:pt idx="23">
                  <c:v>19.311572984358527</c:v>
                </c:pt>
                <c:pt idx="24">
                  <c:v>19.213501815084946</c:v>
                </c:pt>
                <c:pt idx="25">
                  <c:v>19.115430645811369</c:v>
                </c:pt>
                <c:pt idx="26">
                  <c:v>19.017359476537788</c:v>
                </c:pt>
                <c:pt idx="27">
                  <c:v>18.91928830726421</c:v>
                </c:pt>
                <c:pt idx="28">
                  <c:v>18.821217137990629</c:v>
                </c:pt>
                <c:pt idx="29">
                  <c:v>18.723145968717052</c:v>
                </c:pt>
                <c:pt idx="30">
                  <c:v>17.7869886702812</c:v>
                </c:pt>
                <c:pt idx="31">
                  <c:v>18.153980162835644</c:v>
                </c:pt>
                <c:pt idx="32">
                  <c:v>17.992051697557624</c:v>
                </c:pt>
                <c:pt idx="33">
                  <c:v>17.831567589254334</c:v>
                </c:pt>
                <c:pt idx="34">
                  <c:v>17.672514954662372</c:v>
                </c:pt>
                <c:pt idx="35">
                  <c:v>17.514881025433471</c:v>
                </c:pt>
                <c:pt idx="36">
                  <c:v>17.358653147109486</c:v>
                </c:pt>
                <c:pt idx="37">
                  <c:v>17.203818778106527</c:v>
                </c:pt>
                <c:pt idx="38">
                  <c:v>17.050365488708152</c:v>
                </c:pt>
                <c:pt idx="39">
                  <c:v>16.898280960067545</c:v>
                </c:pt>
                <c:pt idx="40">
                  <c:v>16.747552983218579</c:v>
                </c:pt>
                <c:pt idx="41">
                  <c:v>16.598169458095718</c:v>
                </c:pt>
                <c:pt idx="42">
                  <c:v>16.450118392562654</c:v>
                </c:pt>
                <c:pt idx="43">
                  <c:v>16.303387901449607</c:v>
                </c:pt>
                <c:pt idx="44">
                  <c:v>16.157966205599216</c:v>
                </c:pt>
                <c:pt idx="45">
                  <c:v>16.013841630920929</c:v>
                </c:pt>
                <c:pt idx="46">
                  <c:v>15.871002607453846</c:v>
                </c:pt>
                <c:pt idx="47">
                  <c:v>15.729437668437905</c:v>
                </c:pt>
                <c:pt idx="48">
                  <c:v>15.589135449393364</c:v>
                </c:pt>
                <c:pt idx="49">
                  <c:v>15.450084687208488</c:v>
                </c:pt>
                <c:pt idx="50">
                  <c:v>15.31227421923537</c:v>
                </c:pt>
                <c:pt idx="51">
                  <c:v>15.175692982393825</c:v>
                </c:pt>
                <c:pt idx="52">
                  <c:v>15.040330012283276</c:v>
                </c:pt>
                <c:pt idx="53">
                  <c:v>14.906174442302552</c:v>
                </c:pt>
                <c:pt idx="54">
                  <c:v>14.773215502777553</c:v>
                </c:pt>
                <c:pt idx="55">
                  <c:v>14.641442520096684</c:v>
                </c:pt>
                <c:pt idx="56">
                  <c:v>14.510844915853998</c:v>
                </c:pt>
                <c:pt idx="57">
                  <c:v>14.381412205999998</c:v>
                </c:pt>
                <c:pt idx="58">
                  <c:v>14.253133999999999</c:v>
                </c:pt>
                <c:pt idx="59">
                  <c:v>14.125999999999999</c:v>
                </c:pt>
                <c:pt idx="60">
                  <c:v>14</c:v>
                </c:pt>
              </c:numCache>
            </c:numRef>
          </c:val>
          <c:extLst>
            <c:ext xmlns:c16="http://schemas.microsoft.com/office/drawing/2014/chart" uri="{C3380CC4-5D6E-409C-BE32-E72D297353CC}">
              <c16:uniqueId val="{00000000-9C1F-A646-92DD-0DE77EBCE760}"/>
            </c:ext>
          </c:extLst>
        </c:ser>
        <c:ser>
          <c:idx val="1"/>
          <c:order val="1"/>
          <c:spPr>
            <a:solidFill>
              <a:srgbClr val="969696"/>
            </a:solidFill>
            <a:ln>
              <a:noFill/>
            </a:ln>
          </c:spPr>
          <c:val>
            <c:numRef>
              <c:f>Sheet1!$A$2:$BI$2</c:f>
              <c:numCache>
                <c:formatCode>General</c:formatCode>
                <c:ptCount val="61"/>
                <c:pt idx="0">
                  <c:v>80</c:v>
                </c:pt>
                <c:pt idx="1">
                  <c:v>79.976470588235287</c:v>
                </c:pt>
                <c:pt idx="2">
                  <c:v>79.952941176470588</c:v>
                </c:pt>
                <c:pt idx="3">
                  <c:v>79.929411764705875</c:v>
                </c:pt>
                <c:pt idx="4">
                  <c:v>79.905882352941177</c:v>
                </c:pt>
                <c:pt idx="5">
                  <c:v>79.882352941176464</c:v>
                </c:pt>
                <c:pt idx="6">
                  <c:v>79.858823529411765</c:v>
                </c:pt>
                <c:pt idx="7">
                  <c:v>79.835294117647052</c:v>
                </c:pt>
                <c:pt idx="8">
                  <c:v>79.811764705882354</c:v>
                </c:pt>
                <c:pt idx="9">
                  <c:v>79.788235294117641</c:v>
                </c:pt>
                <c:pt idx="10">
                  <c:v>79.764705882352942</c:v>
                </c:pt>
                <c:pt idx="11">
                  <c:v>79.741176470588229</c:v>
                </c:pt>
                <c:pt idx="12">
                  <c:v>79.71764705882353</c:v>
                </c:pt>
                <c:pt idx="13">
                  <c:v>79.694117647058818</c:v>
                </c:pt>
                <c:pt idx="14">
                  <c:v>79.670588235294119</c:v>
                </c:pt>
                <c:pt idx="15">
                  <c:v>79.647058823529406</c:v>
                </c:pt>
                <c:pt idx="16">
                  <c:v>79.623529411764707</c:v>
                </c:pt>
                <c:pt idx="17">
                  <c:v>79.599999999999994</c:v>
                </c:pt>
                <c:pt idx="18">
                  <c:v>77.492771448887268</c:v>
                </c:pt>
                <c:pt idx="19">
                  <c:v>75.385542897774542</c:v>
                </c:pt>
                <c:pt idx="20">
                  <c:v>73.278314346661816</c:v>
                </c:pt>
                <c:pt idx="21">
                  <c:v>71.171085795549089</c:v>
                </c:pt>
                <c:pt idx="22">
                  <c:v>69.063857244436363</c:v>
                </c:pt>
                <c:pt idx="23">
                  <c:v>66.956628693323637</c:v>
                </c:pt>
                <c:pt idx="24">
                  <c:v>64.849400142210897</c:v>
                </c:pt>
                <c:pt idx="25">
                  <c:v>62.742171591098185</c:v>
                </c:pt>
                <c:pt idx="26">
                  <c:v>60.634943039985458</c:v>
                </c:pt>
                <c:pt idx="27">
                  <c:v>58.527714488872732</c:v>
                </c:pt>
                <c:pt idx="28">
                  <c:v>56.420485937760006</c:v>
                </c:pt>
                <c:pt idx="29">
                  <c:v>54.31325738664728</c:v>
                </c:pt>
                <c:pt idx="30">
                  <c:v>51.597594517314917</c:v>
                </c:pt>
                <c:pt idx="31">
                  <c:v>51.830417347312341</c:v>
                </c:pt>
                <c:pt idx="32">
                  <c:v>51.778638708603737</c:v>
                </c:pt>
                <c:pt idx="33">
                  <c:v>51.726911796806931</c:v>
                </c:pt>
                <c:pt idx="34">
                  <c:v>51.675236560246674</c:v>
                </c:pt>
                <c:pt idx="35">
                  <c:v>51.623612947299378</c:v>
                </c:pt>
                <c:pt idx="36">
                  <c:v>51.572040906392978</c:v>
                </c:pt>
                <c:pt idx="37">
                  <c:v>51.520520386006979</c:v>
                </c:pt>
                <c:pt idx="38">
                  <c:v>51.469051334672301</c:v>
                </c:pt>
                <c:pt idx="39">
                  <c:v>51.417633700971329</c:v>
                </c:pt>
                <c:pt idx="40">
                  <c:v>51.3662674335378</c:v>
                </c:pt>
                <c:pt idx="41">
                  <c:v>51.314952481056743</c:v>
                </c:pt>
                <c:pt idx="42">
                  <c:v>51.263688792264475</c:v>
                </c:pt>
                <c:pt idx="43">
                  <c:v>51.212476315948535</c:v>
                </c:pt>
                <c:pt idx="44">
                  <c:v>51.161315000947589</c:v>
                </c:pt>
                <c:pt idx="45">
                  <c:v>51.110204796151429</c:v>
                </c:pt>
                <c:pt idx="46">
                  <c:v>51.059145650500938</c:v>
                </c:pt>
                <c:pt idx="47">
                  <c:v>51.00813751298795</c:v>
                </c:pt>
                <c:pt idx="48">
                  <c:v>50.957180332655298</c:v>
                </c:pt>
                <c:pt idx="49">
                  <c:v>50.906274058596694</c:v>
                </c:pt>
                <c:pt idx="50">
                  <c:v>50.855418639956746</c:v>
                </c:pt>
                <c:pt idx="51">
                  <c:v>50.804614025930817</c:v>
                </c:pt>
                <c:pt idx="52">
                  <c:v>50.753860165765047</c:v>
                </c:pt>
                <c:pt idx="53">
                  <c:v>50.7031570087563</c:v>
                </c:pt>
                <c:pt idx="54">
                  <c:v>50.652504504252057</c:v>
                </c:pt>
                <c:pt idx="55">
                  <c:v>50.601902601650401</c:v>
                </c:pt>
                <c:pt idx="56">
                  <c:v>50.551351250400003</c:v>
                </c:pt>
                <c:pt idx="57">
                  <c:v>50.500850399999997</c:v>
                </c:pt>
                <c:pt idx="58">
                  <c:v>50.450400000000002</c:v>
                </c:pt>
                <c:pt idx="59">
                  <c:v>50.4</c:v>
                </c:pt>
                <c:pt idx="60">
                  <c:v>50</c:v>
                </c:pt>
              </c:numCache>
            </c:numRef>
          </c:val>
          <c:extLst>
            <c:ext xmlns:c16="http://schemas.microsoft.com/office/drawing/2014/chart" uri="{C3380CC4-5D6E-409C-BE32-E72D297353CC}">
              <c16:uniqueId val="{00000001-9C1F-A646-92DD-0DE77EBCE760}"/>
            </c:ext>
          </c:extLst>
        </c:ser>
        <c:ser>
          <c:idx val="2"/>
          <c:order val="2"/>
          <c:spPr>
            <a:solidFill>
              <a:srgbClr val="C0C0C0"/>
            </a:solidFill>
            <a:ln>
              <a:noFill/>
            </a:ln>
          </c:spPr>
          <c:val>
            <c:numRef>
              <c:f>Sheet1!$A$3:$BI$3</c:f>
              <c:numCache>
                <c:formatCode>General</c:formatCode>
                <c:ptCount val="61"/>
                <c:pt idx="0">
                  <c:v>180</c:v>
                </c:pt>
                <c:pt idx="1">
                  <c:v>179.94705882352937</c:v>
                </c:pt>
                <c:pt idx="2">
                  <c:v>179.89411764705886</c:v>
                </c:pt>
                <c:pt idx="3">
                  <c:v>179.84117647058824</c:v>
                </c:pt>
                <c:pt idx="4">
                  <c:v>179.78823529411761</c:v>
                </c:pt>
                <c:pt idx="5">
                  <c:v>179.73529411764704</c:v>
                </c:pt>
                <c:pt idx="6">
                  <c:v>179.68235294117648</c:v>
                </c:pt>
                <c:pt idx="7">
                  <c:v>179.62941176470585</c:v>
                </c:pt>
                <c:pt idx="8">
                  <c:v>179.57647058823528</c:v>
                </c:pt>
                <c:pt idx="9">
                  <c:v>179.52352941176471</c:v>
                </c:pt>
                <c:pt idx="10">
                  <c:v>179.47058823529414</c:v>
                </c:pt>
                <c:pt idx="11">
                  <c:v>179.41764705882349</c:v>
                </c:pt>
                <c:pt idx="12">
                  <c:v>179.36470588235292</c:v>
                </c:pt>
                <c:pt idx="13">
                  <c:v>179.31176470588235</c:v>
                </c:pt>
                <c:pt idx="14">
                  <c:v>179.25882352941179</c:v>
                </c:pt>
                <c:pt idx="15">
                  <c:v>179.20588235294116</c:v>
                </c:pt>
                <c:pt idx="16">
                  <c:v>179.15294117647059</c:v>
                </c:pt>
                <c:pt idx="17">
                  <c:v>179.10000000000002</c:v>
                </c:pt>
                <c:pt idx="18">
                  <c:v>176.31061844732901</c:v>
                </c:pt>
                <c:pt idx="19">
                  <c:v>173.52123689465799</c:v>
                </c:pt>
                <c:pt idx="20">
                  <c:v>170.73185534198703</c:v>
                </c:pt>
                <c:pt idx="21">
                  <c:v>167.94247378931607</c:v>
                </c:pt>
                <c:pt idx="22">
                  <c:v>165.15309223664505</c:v>
                </c:pt>
                <c:pt idx="23">
                  <c:v>162.36371068397403</c:v>
                </c:pt>
                <c:pt idx="24">
                  <c:v>159.57432913130305</c:v>
                </c:pt>
                <c:pt idx="25">
                  <c:v>156.78494757863206</c:v>
                </c:pt>
                <c:pt idx="26">
                  <c:v>153.99556602596107</c:v>
                </c:pt>
                <c:pt idx="27">
                  <c:v>151.20618447329008</c:v>
                </c:pt>
                <c:pt idx="28">
                  <c:v>148.41680292061909</c:v>
                </c:pt>
                <c:pt idx="29">
                  <c:v>145.6274213679481</c:v>
                </c:pt>
                <c:pt idx="30">
                  <c:v>138.34605029955071</c:v>
                </c:pt>
                <c:pt idx="31">
                  <c:v>138.97030651248133</c:v>
                </c:pt>
                <c:pt idx="32">
                  <c:v>138.83147503744385</c:v>
                </c:pt>
                <c:pt idx="33">
                  <c:v>138.69278225518866</c:v>
                </c:pt>
                <c:pt idx="34">
                  <c:v>138.55422802716149</c:v>
                </c:pt>
                <c:pt idx="35">
                  <c:v>138.41581221494653</c:v>
                </c:pt>
                <c:pt idx="36">
                  <c:v>138.27753468026626</c:v>
                </c:pt>
                <c:pt idx="37">
                  <c:v>138.13939528498128</c:v>
                </c:pt>
                <c:pt idx="38">
                  <c:v>138.00139389109017</c:v>
                </c:pt>
                <c:pt idx="39">
                  <c:v>137.86353036072944</c:v>
                </c:pt>
                <c:pt idx="40">
                  <c:v>137.72580455617327</c:v>
                </c:pt>
                <c:pt idx="41">
                  <c:v>137.58821633983345</c:v>
                </c:pt>
                <c:pt idx="42">
                  <c:v>137.45076557425915</c:v>
                </c:pt>
                <c:pt idx="43">
                  <c:v>137.31345212213705</c:v>
                </c:pt>
                <c:pt idx="44">
                  <c:v>137.17627584629076</c:v>
                </c:pt>
                <c:pt idx="45">
                  <c:v>137.03923660968107</c:v>
                </c:pt>
                <c:pt idx="46">
                  <c:v>136.90233427540565</c:v>
                </c:pt>
                <c:pt idx="47">
                  <c:v>136.76556870669896</c:v>
                </c:pt>
                <c:pt idx="48">
                  <c:v>136.62893976693204</c:v>
                </c:pt>
                <c:pt idx="49">
                  <c:v>136.49244731961241</c:v>
                </c:pt>
                <c:pt idx="50">
                  <c:v>136.356091228384</c:v>
                </c:pt>
                <c:pt idx="51">
                  <c:v>136.21987135702702</c:v>
                </c:pt>
                <c:pt idx="52">
                  <c:v>136.08378756945757</c:v>
                </c:pt>
                <c:pt idx="53">
                  <c:v>135.94783972972783</c:v>
                </c:pt>
                <c:pt idx="54">
                  <c:v>135.8120277020258</c:v>
                </c:pt>
                <c:pt idx="55">
                  <c:v>135.67635135067513</c:v>
                </c:pt>
                <c:pt idx="56">
                  <c:v>135.540810540135</c:v>
                </c:pt>
                <c:pt idx="57">
                  <c:v>135.40540513500002</c:v>
                </c:pt>
                <c:pt idx="58">
                  <c:v>135.27013499999998</c:v>
                </c:pt>
                <c:pt idx="59">
                  <c:v>135.13499999999999</c:v>
                </c:pt>
                <c:pt idx="60">
                  <c:v>135</c:v>
                </c:pt>
              </c:numCache>
            </c:numRef>
          </c:val>
          <c:extLst>
            <c:ext xmlns:c16="http://schemas.microsoft.com/office/drawing/2014/chart" uri="{C3380CC4-5D6E-409C-BE32-E72D297353CC}">
              <c16:uniqueId val="{00000002-9C1F-A646-92DD-0DE77EBCE760}"/>
            </c:ext>
          </c:extLst>
        </c:ser>
        <c:ser>
          <c:idx val="3"/>
          <c:order val="3"/>
          <c:spPr>
            <a:solidFill>
              <a:schemeClr val="accent1"/>
            </a:solidFill>
            <a:ln>
              <a:noFill/>
            </a:ln>
          </c:spPr>
          <c:val>
            <c:numRef>
              <c:f>Sheet1!$A$4:$BI$4</c:f>
              <c:numCache>
                <c:formatCode>General</c:formatCode>
                <c:ptCount val="61"/>
                <c:pt idx="0">
                  <c:v>35</c:v>
                </c:pt>
                <c:pt idx="1">
                  <c:v>36.75</c:v>
                </c:pt>
                <c:pt idx="2">
                  <c:v>38.5</c:v>
                </c:pt>
                <c:pt idx="3">
                  <c:v>40.25</c:v>
                </c:pt>
                <c:pt idx="4">
                  <c:v>42</c:v>
                </c:pt>
                <c:pt idx="5">
                  <c:v>43.75</c:v>
                </c:pt>
                <c:pt idx="6">
                  <c:v>45.5</c:v>
                </c:pt>
                <c:pt idx="7">
                  <c:v>47.25</c:v>
                </c:pt>
                <c:pt idx="8">
                  <c:v>49</c:v>
                </c:pt>
                <c:pt idx="9">
                  <c:v>50.75</c:v>
                </c:pt>
                <c:pt idx="10">
                  <c:v>52.5</c:v>
                </c:pt>
                <c:pt idx="11">
                  <c:v>54.25</c:v>
                </c:pt>
                <c:pt idx="12">
                  <c:v>56</c:v>
                </c:pt>
                <c:pt idx="13">
                  <c:v>57.75</c:v>
                </c:pt>
                <c:pt idx="14">
                  <c:v>59.5</c:v>
                </c:pt>
                <c:pt idx="15">
                  <c:v>61.25</c:v>
                </c:pt>
                <c:pt idx="16">
                  <c:v>63</c:v>
                </c:pt>
                <c:pt idx="17">
                  <c:v>64.75</c:v>
                </c:pt>
                <c:pt idx="18">
                  <c:v>69.400454553837051</c:v>
                </c:pt>
                <c:pt idx="19">
                  <c:v>74.050909107674102</c:v>
                </c:pt>
                <c:pt idx="20">
                  <c:v>78.701363661511209</c:v>
                </c:pt>
                <c:pt idx="21">
                  <c:v>83.35181821534826</c:v>
                </c:pt>
                <c:pt idx="22">
                  <c:v>88.002272769185367</c:v>
                </c:pt>
                <c:pt idx="23">
                  <c:v>92.652727323022418</c:v>
                </c:pt>
                <c:pt idx="24">
                  <c:v>97.303181876859441</c:v>
                </c:pt>
                <c:pt idx="25">
                  <c:v>101.95363643069652</c:v>
                </c:pt>
                <c:pt idx="26">
                  <c:v>106.60409098453357</c:v>
                </c:pt>
                <c:pt idx="27">
                  <c:v>111.25454553837068</c:v>
                </c:pt>
                <c:pt idx="28">
                  <c:v>115.90500009220773</c:v>
                </c:pt>
                <c:pt idx="29">
                  <c:v>120.55545464604478</c:v>
                </c:pt>
                <c:pt idx="30">
                  <c:v>114.52768191374255</c:v>
                </c:pt>
                <c:pt idx="31">
                  <c:v>125.63464630100049</c:v>
                </c:pt>
                <c:pt idx="32">
                  <c:v>126.26597618191005</c:v>
                </c:pt>
                <c:pt idx="33">
                  <c:v>126.90047857478396</c:v>
                </c:pt>
                <c:pt idx="34">
                  <c:v>127.53816942189349</c:v>
                </c:pt>
                <c:pt idx="35">
                  <c:v>128.17906474562156</c:v>
                </c:pt>
                <c:pt idx="36">
                  <c:v>128.82318064886587</c:v>
                </c:pt>
                <c:pt idx="37">
                  <c:v>129.47053331544313</c:v>
                </c:pt>
                <c:pt idx="38">
                  <c:v>130.12113901049563</c:v>
                </c:pt>
                <c:pt idx="39">
                  <c:v>130.77501408090009</c:v>
                </c:pt>
                <c:pt idx="40">
                  <c:v>131.43217495567848</c:v>
                </c:pt>
                <c:pt idx="41">
                  <c:v>132.09263814641056</c:v>
                </c:pt>
                <c:pt idx="42">
                  <c:v>132.7564202476488</c:v>
                </c:pt>
                <c:pt idx="43">
                  <c:v>133.42353793733542</c:v>
                </c:pt>
                <c:pt idx="44">
                  <c:v>134.09400797722157</c:v>
                </c:pt>
                <c:pt idx="45">
                  <c:v>134.76784721328798</c:v>
                </c:pt>
                <c:pt idx="46">
                  <c:v>135.44507257616888</c:v>
                </c:pt>
                <c:pt idx="47">
                  <c:v>136.12570108157675</c:v>
                </c:pt>
                <c:pt idx="48">
                  <c:v>136.80974983073037</c:v>
                </c:pt>
                <c:pt idx="49">
                  <c:v>137.49723601078432</c:v>
                </c:pt>
                <c:pt idx="50">
                  <c:v>138.18817689526065</c:v>
                </c:pt>
                <c:pt idx="51">
                  <c:v>138.88258984448308</c:v>
                </c:pt>
                <c:pt idx="52">
                  <c:v>139.58049230601313</c:v>
                </c:pt>
                <c:pt idx="53">
                  <c:v>140.28190181508853</c:v>
                </c:pt>
                <c:pt idx="54">
                  <c:v>140.98683599506384</c:v>
                </c:pt>
                <c:pt idx="55">
                  <c:v>141.69531255785313</c:v>
                </c:pt>
                <c:pt idx="56">
                  <c:v>142.40734930437497</c:v>
                </c:pt>
                <c:pt idx="57">
                  <c:v>143.12296412500001</c:v>
                </c:pt>
                <c:pt idx="58">
                  <c:v>143.842175</c:v>
                </c:pt>
                <c:pt idx="59">
                  <c:v>144.565</c:v>
                </c:pt>
                <c:pt idx="60">
                  <c:v>145</c:v>
                </c:pt>
              </c:numCache>
            </c:numRef>
          </c:val>
          <c:extLst>
            <c:ext xmlns:c16="http://schemas.microsoft.com/office/drawing/2014/chart" uri="{C3380CC4-5D6E-409C-BE32-E72D297353CC}">
              <c16:uniqueId val="{00000003-9C1F-A646-92DD-0DE77EBCE760}"/>
            </c:ext>
          </c:extLst>
        </c:ser>
        <c:ser>
          <c:idx val="4"/>
          <c:order val="4"/>
          <c:spPr>
            <a:solidFill>
              <a:srgbClr val="90C2DB"/>
            </a:solidFill>
            <a:ln>
              <a:noFill/>
            </a:ln>
          </c:spPr>
          <c:val>
            <c:numRef>
              <c:f>Sheet1!$A$5:$BI$5</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9.1706242426867561</c:v>
                </c:pt>
                <c:pt idx="19">
                  <c:v>9.0912484853735123</c:v>
                </c:pt>
                <c:pt idx="20">
                  <c:v>9.0118727280602684</c:v>
                </c:pt>
                <c:pt idx="21">
                  <c:v>8.9324969707470814</c:v>
                </c:pt>
                <c:pt idx="22">
                  <c:v>8.8531212134338375</c:v>
                </c:pt>
                <c:pt idx="23">
                  <c:v>8.7737454561205936</c:v>
                </c:pt>
                <c:pt idx="24">
                  <c:v>8.6943696988073498</c:v>
                </c:pt>
                <c:pt idx="25">
                  <c:v>8.6149939414941059</c:v>
                </c:pt>
                <c:pt idx="26">
                  <c:v>8.535618184180862</c:v>
                </c:pt>
                <c:pt idx="27">
                  <c:v>8.4562424268676182</c:v>
                </c:pt>
                <c:pt idx="28">
                  <c:v>8.3768666695544312</c:v>
                </c:pt>
                <c:pt idx="29">
                  <c:v>8.2974909122411873</c:v>
                </c:pt>
                <c:pt idx="30">
                  <c:v>7.8826163666291222</c:v>
                </c:pt>
                <c:pt idx="31">
                  <c:v>8.6470773056753387</c:v>
                </c:pt>
                <c:pt idx="32">
                  <c:v>8.6905299554525755</c:v>
                </c:pt>
                <c:pt idx="33">
                  <c:v>8.7342009602538724</c:v>
                </c:pt>
                <c:pt idx="34">
                  <c:v>8.7780914173405904</c:v>
                </c:pt>
                <c:pt idx="35">
                  <c:v>8.8222024294880157</c:v>
                </c:pt>
                <c:pt idx="36">
                  <c:v>8.8665351050130994</c:v>
                </c:pt>
                <c:pt idx="37">
                  <c:v>8.9110905578020834</c:v>
                </c:pt>
                <c:pt idx="38">
                  <c:v>8.9558699073387515</c:v>
                </c:pt>
                <c:pt idx="39">
                  <c:v>9.0008742787324536</c:v>
                </c:pt>
                <c:pt idx="40">
                  <c:v>9.0461048027461857</c:v>
                </c:pt>
                <c:pt idx="41">
                  <c:v>9.0915626158252962</c:v>
                </c:pt>
                <c:pt idx="42">
                  <c:v>9.1372488601259079</c:v>
                </c:pt>
                <c:pt idx="43">
                  <c:v>9.1831646835436231</c:v>
                </c:pt>
                <c:pt idx="44">
                  <c:v>9.2293112397423442</c:v>
                </c:pt>
                <c:pt idx="45">
                  <c:v>9.2756896881832631</c:v>
                </c:pt>
                <c:pt idx="46">
                  <c:v>9.3223011941540221</c:v>
                </c:pt>
                <c:pt idx="47">
                  <c:v>9.3691469287980453</c:v>
                </c:pt>
                <c:pt idx="48">
                  <c:v>9.4162280691437559</c:v>
                </c:pt>
                <c:pt idx="49">
                  <c:v>9.4635457981344189</c:v>
                </c:pt>
                <c:pt idx="50">
                  <c:v>9.5111013046577</c:v>
                </c:pt>
                <c:pt idx="51">
                  <c:v>9.5588957835756219</c:v>
                </c:pt>
                <c:pt idx="52">
                  <c:v>9.6069304357543501</c:v>
                </c:pt>
                <c:pt idx="53">
                  <c:v>9.655206468094832</c:v>
                </c:pt>
                <c:pt idx="54">
                  <c:v>9.7037250935626389</c:v>
                </c:pt>
                <c:pt idx="55">
                  <c:v>9.752487531218776</c:v>
                </c:pt>
                <c:pt idx="56">
                  <c:v>9.8014950062499793</c:v>
                </c:pt>
                <c:pt idx="57">
                  <c:v>9.8507487499999797</c:v>
                </c:pt>
                <c:pt idx="58">
                  <c:v>9.9002500000000282</c:v>
                </c:pt>
                <c:pt idx="59">
                  <c:v>9.9499999999999886</c:v>
                </c:pt>
                <c:pt idx="60">
                  <c:v>10</c:v>
                </c:pt>
              </c:numCache>
            </c:numRef>
          </c:val>
          <c:extLst>
            <c:ext xmlns:c16="http://schemas.microsoft.com/office/drawing/2014/chart" uri="{C3380CC4-5D6E-409C-BE32-E72D297353CC}">
              <c16:uniqueId val="{00000004-9C1F-A646-92DD-0DE77EBCE760}"/>
            </c:ext>
          </c:extLst>
        </c:ser>
        <c:ser>
          <c:idx val="5"/>
          <c:order val="5"/>
          <c:spPr>
            <a:solidFill>
              <a:srgbClr val="2FAEDB"/>
            </a:solidFill>
            <a:ln>
              <a:noFill/>
            </a:ln>
          </c:spPr>
          <c:val>
            <c:numRef>
              <c:f>Sheet1!$A$6:$BI$6</c:f>
              <c:numCache>
                <c:formatCode>General</c:formatCode>
                <c:ptCount val="61"/>
                <c:pt idx="0">
                  <c:v>60</c:v>
                </c:pt>
                <c:pt idx="1">
                  <c:v>63</c:v>
                </c:pt>
                <c:pt idx="2">
                  <c:v>66</c:v>
                </c:pt>
                <c:pt idx="3">
                  <c:v>69</c:v>
                </c:pt>
                <c:pt idx="4">
                  <c:v>72</c:v>
                </c:pt>
                <c:pt idx="5">
                  <c:v>75</c:v>
                </c:pt>
                <c:pt idx="6">
                  <c:v>78</c:v>
                </c:pt>
                <c:pt idx="7">
                  <c:v>81</c:v>
                </c:pt>
                <c:pt idx="8">
                  <c:v>84</c:v>
                </c:pt>
                <c:pt idx="9">
                  <c:v>87</c:v>
                </c:pt>
                <c:pt idx="10">
                  <c:v>90</c:v>
                </c:pt>
                <c:pt idx="11">
                  <c:v>93</c:v>
                </c:pt>
                <c:pt idx="12">
                  <c:v>96</c:v>
                </c:pt>
                <c:pt idx="13">
                  <c:v>99</c:v>
                </c:pt>
                <c:pt idx="14">
                  <c:v>102</c:v>
                </c:pt>
                <c:pt idx="15">
                  <c:v>105</c:v>
                </c:pt>
                <c:pt idx="16">
                  <c:v>108</c:v>
                </c:pt>
                <c:pt idx="17">
                  <c:v>111</c:v>
                </c:pt>
                <c:pt idx="18">
                  <c:v>110.39321970025122</c:v>
                </c:pt>
                <c:pt idx="19">
                  <c:v>109.78643940050245</c:v>
                </c:pt>
                <c:pt idx="20">
                  <c:v>109.17965910075367</c:v>
                </c:pt>
                <c:pt idx="21">
                  <c:v>108.57287880100489</c:v>
                </c:pt>
                <c:pt idx="22">
                  <c:v>107.96609850125611</c:v>
                </c:pt>
                <c:pt idx="23">
                  <c:v>107.35931820150734</c:v>
                </c:pt>
                <c:pt idx="24">
                  <c:v>106.75253790175856</c:v>
                </c:pt>
                <c:pt idx="25">
                  <c:v>106.14575760200978</c:v>
                </c:pt>
                <c:pt idx="26">
                  <c:v>105.53897730226106</c:v>
                </c:pt>
                <c:pt idx="27">
                  <c:v>104.93219700251223</c:v>
                </c:pt>
                <c:pt idx="28">
                  <c:v>104.32541670276345</c:v>
                </c:pt>
                <c:pt idx="29">
                  <c:v>103.71863640301467</c:v>
                </c:pt>
                <c:pt idx="30">
                  <c:v>98.532704582863971</c:v>
                </c:pt>
                <c:pt idx="31">
                  <c:v>108.08846632094173</c:v>
                </c:pt>
                <c:pt idx="32">
                  <c:v>108.63162444315748</c:v>
                </c:pt>
                <c:pt idx="33">
                  <c:v>109.17751200317338</c:v>
                </c:pt>
                <c:pt idx="34">
                  <c:v>109.72614271675712</c:v>
                </c:pt>
                <c:pt idx="35">
                  <c:v>110.27753036860014</c:v>
                </c:pt>
                <c:pt idx="36">
                  <c:v>110.83168881266346</c:v>
                </c:pt>
                <c:pt idx="37">
                  <c:v>111.38863197252607</c:v>
                </c:pt>
                <c:pt idx="38">
                  <c:v>111.94837384173479</c:v>
                </c:pt>
                <c:pt idx="39">
                  <c:v>112.51092848415556</c:v>
                </c:pt>
                <c:pt idx="40">
                  <c:v>113.07631003432721</c:v>
                </c:pt>
                <c:pt idx="41">
                  <c:v>113.64453269781626</c:v>
                </c:pt>
                <c:pt idx="42">
                  <c:v>114.21561075157416</c:v>
                </c:pt>
                <c:pt idx="43">
                  <c:v>114.78955854429563</c:v>
                </c:pt>
                <c:pt idx="44">
                  <c:v>115.3663904967795</c:v>
                </c:pt>
                <c:pt idx="45">
                  <c:v>115.94612110229099</c:v>
                </c:pt>
                <c:pt idx="46">
                  <c:v>116.52876492692559</c:v>
                </c:pt>
                <c:pt idx="47">
                  <c:v>117.11433660997551</c:v>
                </c:pt>
                <c:pt idx="48">
                  <c:v>117.70285086429698</c:v>
                </c:pt>
                <c:pt idx="49">
                  <c:v>118.29432247668035</c:v>
                </c:pt>
                <c:pt idx="50">
                  <c:v>118.88876630822148</c:v>
                </c:pt>
                <c:pt idx="51">
                  <c:v>119.48619729469499</c:v>
                </c:pt>
                <c:pt idx="52">
                  <c:v>120.08663044692963</c:v>
                </c:pt>
                <c:pt idx="53">
                  <c:v>120.69008085118554</c:v>
                </c:pt>
                <c:pt idx="54">
                  <c:v>121.29656366953321</c:v>
                </c:pt>
                <c:pt idx="55">
                  <c:v>121.90609414023436</c:v>
                </c:pt>
                <c:pt idx="56">
                  <c:v>122.51868757812497</c:v>
                </c:pt>
                <c:pt idx="57">
                  <c:v>123.13435937500003</c:v>
                </c:pt>
                <c:pt idx="58">
                  <c:v>123.75312500000001</c:v>
                </c:pt>
                <c:pt idx="59">
                  <c:v>124.375</c:v>
                </c:pt>
                <c:pt idx="60">
                  <c:v>125</c:v>
                </c:pt>
              </c:numCache>
            </c:numRef>
          </c:val>
          <c:extLst>
            <c:ext xmlns:c16="http://schemas.microsoft.com/office/drawing/2014/chart" uri="{C3380CC4-5D6E-409C-BE32-E72D297353CC}">
              <c16:uniqueId val="{00000005-9C1F-A646-92DD-0DE77EBCE760}"/>
            </c:ext>
          </c:extLst>
        </c:ser>
        <c:ser>
          <c:idx val="6"/>
          <c:order val="6"/>
          <c:spPr>
            <a:solidFill>
              <a:srgbClr val="84ADFF"/>
            </a:solidFill>
            <a:ln>
              <a:noFill/>
            </a:ln>
          </c:spPr>
          <c:val>
            <c:numRef>
              <c:f>Sheet1!$A$7:$BI$7</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1.305504215942449</c:v>
                </c:pt>
                <c:pt idx="19">
                  <c:v>13.361008431884898</c:v>
                </c:pt>
                <c:pt idx="20">
                  <c:v>15.41651264782729</c:v>
                </c:pt>
                <c:pt idx="21">
                  <c:v>17.472016863769738</c:v>
                </c:pt>
                <c:pt idx="22">
                  <c:v>19.527521079712187</c:v>
                </c:pt>
                <c:pt idx="23">
                  <c:v>21.583025295654636</c:v>
                </c:pt>
                <c:pt idx="24">
                  <c:v>23.638529511597028</c:v>
                </c:pt>
                <c:pt idx="25">
                  <c:v>25.694033727539477</c:v>
                </c:pt>
                <c:pt idx="26">
                  <c:v>27.749537943481926</c:v>
                </c:pt>
                <c:pt idx="27">
                  <c:v>29.805042159424374</c:v>
                </c:pt>
                <c:pt idx="28">
                  <c:v>31.860546375366766</c:v>
                </c:pt>
                <c:pt idx="29">
                  <c:v>33.916050591309215</c:v>
                </c:pt>
                <c:pt idx="30">
                  <c:v>32.220248061743746</c:v>
                </c:pt>
                <c:pt idx="31">
                  <c:v>35.273977854773477</c:v>
                </c:pt>
                <c:pt idx="32">
                  <c:v>35.486899250275144</c:v>
                </c:pt>
                <c:pt idx="33">
                  <c:v>35.701105885588618</c:v>
                </c:pt>
                <c:pt idx="34">
                  <c:v>35.916605518700862</c:v>
                </c:pt>
                <c:pt idx="35">
                  <c:v>36.133405954427417</c:v>
                </c:pt>
                <c:pt idx="36">
                  <c:v>36.351515044695589</c:v>
                </c:pt>
                <c:pt idx="37">
                  <c:v>36.570940688828557</c:v>
                </c:pt>
                <c:pt idx="38">
                  <c:v>36.791690833831524</c:v>
                </c:pt>
                <c:pt idx="39">
                  <c:v>37.013773474679624</c:v>
                </c:pt>
                <c:pt idx="40">
                  <c:v>37.23719665460726</c:v>
                </c:pt>
                <c:pt idx="41">
                  <c:v>37.46196846539965</c:v>
                </c:pt>
                <c:pt idx="42">
                  <c:v>37.688097047685801</c:v>
                </c:pt>
                <c:pt idx="43">
                  <c:v>37.915590591233183</c:v>
                </c:pt>
                <c:pt idx="44">
                  <c:v>38.144457335244624</c:v>
                </c:pt>
                <c:pt idx="45">
                  <c:v>38.374705568656566</c:v>
                </c:pt>
                <c:pt idx="46">
                  <c:v>38.606343630439198</c:v>
                </c:pt>
                <c:pt idx="47">
                  <c:v>38.839379909898582</c:v>
                </c:pt>
                <c:pt idx="48">
                  <c:v>39.073822846980477</c:v>
                </c:pt>
                <c:pt idx="49">
                  <c:v>39.30968093257593</c:v>
                </c:pt>
                <c:pt idx="50">
                  <c:v>39.546962708828914</c:v>
                </c:pt>
                <c:pt idx="51">
                  <c:v>39.785676769445558</c:v>
                </c:pt>
                <c:pt idx="52">
                  <c:v>40.025831760005644</c:v>
                </c:pt>
                <c:pt idx="53">
                  <c:v>40.267436378275306</c:v>
                </c:pt>
                <c:pt idx="54">
                  <c:v>40.510499374522453</c:v>
                </c:pt>
                <c:pt idx="55">
                  <c:v>40.755029551833445</c:v>
                </c:pt>
                <c:pt idx="56">
                  <c:v>41.001035766431983</c:v>
                </c:pt>
                <c:pt idx="57">
                  <c:v>41.248526928000047</c:v>
                </c:pt>
                <c:pt idx="58">
                  <c:v>41.497511999999972</c:v>
                </c:pt>
                <c:pt idx="59">
                  <c:v>41.74799999999999</c:v>
                </c:pt>
                <c:pt idx="60">
                  <c:v>42</c:v>
                </c:pt>
              </c:numCache>
            </c:numRef>
          </c:val>
          <c:extLst>
            <c:ext xmlns:c16="http://schemas.microsoft.com/office/drawing/2014/chart" uri="{C3380CC4-5D6E-409C-BE32-E72D297353CC}">
              <c16:uniqueId val="{00000006-9C1F-A646-92DD-0DE77EBCE760}"/>
            </c:ext>
          </c:extLst>
        </c:ser>
        <c:ser>
          <c:idx val="7"/>
          <c:order val="7"/>
          <c:spPr>
            <a:solidFill>
              <a:srgbClr val="187BDB"/>
            </a:solidFill>
            <a:ln>
              <a:noFill/>
            </a:ln>
          </c:spPr>
          <c:val>
            <c:numRef>
              <c:f>Sheet1!$A$8:$BI$8</c:f>
              <c:numCache>
                <c:formatCode>General</c:formatCode>
                <c:ptCount val="61"/>
                <c:pt idx="0">
                  <c:v>10</c:v>
                </c:pt>
                <c:pt idx="1">
                  <c:v>10.5</c:v>
                </c:pt>
                <c:pt idx="2">
                  <c:v>11</c:v>
                </c:pt>
                <c:pt idx="3">
                  <c:v>11.5</c:v>
                </c:pt>
                <c:pt idx="4">
                  <c:v>12</c:v>
                </c:pt>
                <c:pt idx="5">
                  <c:v>12.5</c:v>
                </c:pt>
                <c:pt idx="6">
                  <c:v>13</c:v>
                </c:pt>
                <c:pt idx="7">
                  <c:v>13.5</c:v>
                </c:pt>
                <c:pt idx="8">
                  <c:v>14</c:v>
                </c:pt>
                <c:pt idx="9">
                  <c:v>14.5</c:v>
                </c:pt>
                <c:pt idx="10">
                  <c:v>15</c:v>
                </c:pt>
                <c:pt idx="11">
                  <c:v>15.5</c:v>
                </c:pt>
                <c:pt idx="12">
                  <c:v>16</c:v>
                </c:pt>
                <c:pt idx="13">
                  <c:v>16.5</c:v>
                </c:pt>
                <c:pt idx="14">
                  <c:v>17</c:v>
                </c:pt>
                <c:pt idx="15">
                  <c:v>17.5</c:v>
                </c:pt>
                <c:pt idx="16">
                  <c:v>18</c:v>
                </c:pt>
                <c:pt idx="17">
                  <c:v>18.5</c:v>
                </c:pt>
                <c:pt idx="18">
                  <c:v>19.493122858537447</c:v>
                </c:pt>
                <c:pt idx="19">
                  <c:v>20.486245717074894</c:v>
                </c:pt>
                <c:pt idx="20">
                  <c:v>21.479368575612341</c:v>
                </c:pt>
                <c:pt idx="21">
                  <c:v>22.472491434149788</c:v>
                </c:pt>
                <c:pt idx="22">
                  <c:v>23.465614292687235</c:v>
                </c:pt>
                <c:pt idx="23">
                  <c:v>24.458737151224739</c:v>
                </c:pt>
                <c:pt idx="24">
                  <c:v>25.451860009762186</c:v>
                </c:pt>
                <c:pt idx="25">
                  <c:v>26.444982868299633</c:v>
                </c:pt>
                <c:pt idx="26">
                  <c:v>27.43810572683708</c:v>
                </c:pt>
                <c:pt idx="27">
                  <c:v>28.431228585374527</c:v>
                </c:pt>
                <c:pt idx="28">
                  <c:v>29.424351443911974</c:v>
                </c:pt>
                <c:pt idx="29">
                  <c:v>30.417474302449421</c:v>
                </c:pt>
                <c:pt idx="30">
                  <c:v>28.896600587326986</c:v>
                </c:pt>
                <c:pt idx="31">
                  <c:v>31.381227961927095</c:v>
                </c:pt>
                <c:pt idx="32">
                  <c:v>31.698210062552562</c:v>
                </c:pt>
                <c:pt idx="33">
                  <c:v>32.018394002578361</c:v>
                </c:pt>
                <c:pt idx="34">
                  <c:v>32.341812123816567</c:v>
                </c:pt>
                <c:pt idx="35">
                  <c:v>32.66849709476412</c:v>
                </c:pt>
                <c:pt idx="36">
                  <c:v>32.998481913903163</c:v>
                </c:pt>
                <c:pt idx="37">
                  <c:v>33.331799913033535</c:v>
                </c:pt>
                <c:pt idx="38">
                  <c:v>33.668484760639956</c:v>
                </c:pt>
                <c:pt idx="39">
                  <c:v>34.008570465292848</c:v>
                </c:pt>
                <c:pt idx="40">
                  <c:v>34.352091379083674</c:v>
                </c:pt>
                <c:pt idx="41">
                  <c:v>34.699082201094654</c:v>
                </c:pt>
                <c:pt idx="42">
                  <c:v>35.049577980903678</c:v>
                </c:pt>
                <c:pt idx="43">
                  <c:v>35.403614122124964</c:v>
                </c:pt>
                <c:pt idx="44">
                  <c:v>35.761226385984742</c:v>
                </c:pt>
                <c:pt idx="45">
                  <c:v>36.122450894934161</c:v>
                </c:pt>
                <c:pt idx="46">
                  <c:v>36.487324136297104</c:v>
                </c:pt>
                <c:pt idx="47">
                  <c:v>36.85588296595671</c:v>
                </c:pt>
                <c:pt idx="48">
                  <c:v>37.228164612077478</c:v>
                </c:pt>
                <c:pt idx="49">
                  <c:v>37.604206678866149</c:v>
                </c:pt>
                <c:pt idx="50">
                  <c:v>37.984047150369804</c:v>
                </c:pt>
                <c:pt idx="51">
                  <c:v>38.367724394312972</c:v>
                </c:pt>
                <c:pt idx="52">
                  <c:v>38.755277165972643</c:v>
                </c:pt>
                <c:pt idx="53">
                  <c:v>39.146744612093585</c:v>
                </c:pt>
                <c:pt idx="54">
                  <c:v>39.542166274841975</c:v>
                </c:pt>
                <c:pt idx="55">
                  <c:v>39.941582095799959</c:v>
                </c:pt>
                <c:pt idx="56">
                  <c:v>40.345032420000052</c:v>
                </c:pt>
                <c:pt idx="57">
                  <c:v>40.752558000000022</c:v>
                </c:pt>
                <c:pt idx="58">
                  <c:v>41.164200000000051</c:v>
                </c:pt>
                <c:pt idx="59">
                  <c:v>41.580000000000041</c:v>
                </c:pt>
                <c:pt idx="60">
                  <c:v>42</c:v>
                </c:pt>
              </c:numCache>
            </c:numRef>
          </c:val>
          <c:extLst>
            <c:ext xmlns:c16="http://schemas.microsoft.com/office/drawing/2014/chart" uri="{C3380CC4-5D6E-409C-BE32-E72D297353CC}">
              <c16:uniqueId val="{00000007-9C1F-A646-92DD-0DE77EBCE760}"/>
            </c:ext>
          </c:extLst>
        </c:ser>
        <c:ser>
          <c:idx val="8"/>
          <c:order val="8"/>
          <c:spPr>
            <a:solidFill>
              <a:srgbClr val="87DBEB"/>
            </a:solidFill>
            <a:ln>
              <a:noFill/>
            </a:ln>
          </c:spPr>
          <c:val>
            <c:numRef>
              <c:f>Sheet1!$A$9:$BI$9</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0.879265652936681</c:v>
                </c:pt>
                <c:pt idx="19">
                  <c:v>12.508531305873362</c:v>
                </c:pt>
                <c:pt idx="20">
                  <c:v>14.137796958810043</c:v>
                </c:pt>
                <c:pt idx="21">
                  <c:v>15.767062611746667</c:v>
                </c:pt>
                <c:pt idx="22">
                  <c:v>17.396328264683348</c:v>
                </c:pt>
                <c:pt idx="23">
                  <c:v>19.025593917620029</c:v>
                </c:pt>
                <c:pt idx="24">
                  <c:v>20.65485957055671</c:v>
                </c:pt>
                <c:pt idx="25">
                  <c:v>22.28412522349339</c:v>
                </c:pt>
                <c:pt idx="26">
                  <c:v>23.913390876430128</c:v>
                </c:pt>
                <c:pt idx="27">
                  <c:v>25.542656529366752</c:v>
                </c:pt>
                <c:pt idx="28">
                  <c:v>27.171922182303433</c:v>
                </c:pt>
                <c:pt idx="29">
                  <c:v>28.801187835240057</c:v>
                </c:pt>
                <c:pt idx="30">
                  <c:v>27.361128443478094</c:v>
                </c:pt>
                <c:pt idx="31">
                  <c:v>29.593796524465915</c:v>
                </c:pt>
                <c:pt idx="32">
                  <c:v>29.953235348649741</c:v>
                </c:pt>
                <c:pt idx="33">
                  <c:v>30.317039826568589</c:v>
                </c:pt>
                <c:pt idx="34">
                  <c:v>30.68526298235679</c:v>
                </c:pt>
                <c:pt idx="35">
                  <c:v>31.057958484166875</c:v>
                </c:pt>
                <c:pt idx="36">
                  <c:v>31.435180651990663</c:v>
                </c:pt>
                <c:pt idx="37">
                  <c:v>31.816984465577661</c:v>
                </c:pt>
                <c:pt idx="38">
                  <c:v>32.203425572447031</c:v>
                </c:pt>
                <c:pt idx="39">
                  <c:v>32.594560295999031</c:v>
                </c:pt>
                <c:pt idx="40">
                  <c:v>32.99044564372366</c:v>
                </c:pt>
                <c:pt idx="41">
                  <c:v>33.391139315509804</c:v>
                </c:pt>
                <c:pt idx="42">
                  <c:v>33.796699712054419</c:v>
                </c:pt>
                <c:pt idx="43">
                  <c:v>34.207185943374952</c:v>
                </c:pt>
                <c:pt idx="44">
                  <c:v>34.622657837424072</c:v>
                </c:pt>
                <c:pt idx="45">
                  <c:v>35.04317594880979</c:v>
                </c:pt>
                <c:pt idx="46">
                  <c:v>35.468801567621199</c:v>
                </c:pt>
                <c:pt idx="47">
                  <c:v>35.89959672836153</c:v>
                </c:pt>
                <c:pt idx="48">
                  <c:v>36.335624218989437</c:v>
                </c:pt>
                <c:pt idx="49">
                  <c:v>36.776947590070222</c:v>
                </c:pt>
                <c:pt idx="50">
                  <c:v>37.223631164038693</c:v>
                </c:pt>
                <c:pt idx="51">
                  <c:v>37.675740044573558</c:v>
                </c:pt>
                <c:pt idx="52">
                  <c:v>38.133340126086637</c:v>
                </c:pt>
                <c:pt idx="53">
                  <c:v>38.596498103326553</c:v>
                </c:pt>
                <c:pt idx="54">
                  <c:v>39.06528148109976</c:v>
                </c:pt>
                <c:pt idx="55">
                  <c:v>39.539758584109109</c:v>
                </c:pt>
                <c:pt idx="56">
                  <c:v>40.019998566912022</c:v>
                </c:pt>
                <c:pt idx="57">
                  <c:v>40.50607142399997</c:v>
                </c:pt>
                <c:pt idx="58">
                  <c:v>40.99804800000004</c:v>
                </c:pt>
                <c:pt idx="59">
                  <c:v>41.495999999999981</c:v>
                </c:pt>
                <c:pt idx="60">
                  <c:v>42</c:v>
                </c:pt>
              </c:numCache>
            </c:numRef>
          </c:val>
          <c:extLst>
            <c:ext xmlns:c16="http://schemas.microsoft.com/office/drawing/2014/chart" uri="{C3380CC4-5D6E-409C-BE32-E72D297353CC}">
              <c16:uniqueId val="{00000008-9C1F-A646-92DD-0DE77EBCE760}"/>
            </c:ext>
          </c:extLst>
        </c:ser>
        <c:ser>
          <c:idx val="9"/>
          <c:order val="9"/>
          <c:spPr>
            <a:solidFill>
              <a:srgbClr val="BDEEFF"/>
            </a:solidFill>
            <a:ln>
              <a:noFill/>
            </a:ln>
          </c:spPr>
          <c:val>
            <c:numRef>
              <c:f>Sheet1!$A$10:$BI$10</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2.491704912419152</c:v>
                </c:pt>
                <c:pt idx="19">
                  <c:v>15.733409824838304</c:v>
                </c:pt>
                <c:pt idx="20">
                  <c:v>18.975114737257513</c:v>
                </c:pt>
                <c:pt idx="21">
                  <c:v>22.216819649676722</c:v>
                </c:pt>
                <c:pt idx="22">
                  <c:v>25.458524562095931</c:v>
                </c:pt>
                <c:pt idx="23">
                  <c:v>28.700229474515027</c:v>
                </c:pt>
                <c:pt idx="24">
                  <c:v>31.941934386934236</c:v>
                </c:pt>
                <c:pt idx="25">
                  <c:v>35.183639299353445</c:v>
                </c:pt>
                <c:pt idx="26">
                  <c:v>38.42534421177254</c:v>
                </c:pt>
                <c:pt idx="27">
                  <c:v>41.667049124191749</c:v>
                </c:pt>
                <c:pt idx="28">
                  <c:v>44.908754036610958</c:v>
                </c:pt>
                <c:pt idx="29">
                  <c:v>48.150458949030053</c:v>
                </c:pt>
                <c:pt idx="30">
                  <c:v>45.742936001578641</c:v>
                </c:pt>
                <c:pt idx="31">
                  <c:v>48.380009926482899</c:v>
                </c:pt>
                <c:pt idx="32">
                  <c:v>49.518945677055171</c:v>
                </c:pt>
                <c:pt idx="33">
                  <c:v>50.684693630557945</c:v>
                </c:pt>
                <c:pt idx="34">
                  <c:v>51.877884985217975</c:v>
                </c:pt>
                <c:pt idx="35">
                  <c:v>53.099165798585432</c:v>
                </c:pt>
                <c:pt idx="36">
                  <c:v>54.349197337344435</c:v>
                </c:pt>
                <c:pt idx="37">
                  <c:v>55.628656435357584</c:v>
                </c:pt>
                <c:pt idx="38">
                  <c:v>56.938235860140821</c:v>
                </c:pt>
                <c:pt idx="39">
                  <c:v>58.278644687964061</c:v>
                </c:pt>
                <c:pt idx="40">
                  <c:v>59.650608687783006</c:v>
                </c:pt>
                <c:pt idx="41">
                  <c:v>61.054870714209869</c:v>
                </c:pt>
                <c:pt idx="42">
                  <c:v>62.492191109733767</c:v>
                </c:pt>
                <c:pt idx="43">
                  <c:v>63.963348116411225</c:v>
                </c:pt>
                <c:pt idx="44">
                  <c:v>65.469138297247923</c:v>
                </c:pt>
                <c:pt idx="45">
                  <c:v>67.010376967500406</c:v>
                </c:pt>
                <c:pt idx="46">
                  <c:v>68.587898636131399</c:v>
                </c:pt>
                <c:pt idx="47">
                  <c:v>70.202557457657576</c:v>
                </c:pt>
                <c:pt idx="48">
                  <c:v>71.855227694634209</c:v>
                </c:pt>
                <c:pt idx="49">
                  <c:v>73.546804191027832</c:v>
                </c:pt>
                <c:pt idx="50">
                  <c:v>75.278202856732605</c:v>
                </c:pt>
                <c:pt idx="51">
                  <c:v>77.050361163492994</c:v>
                </c:pt>
                <c:pt idx="52">
                  <c:v>78.864238652500489</c:v>
                </c:pt>
                <c:pt idx="53">
                  <c:v>80.720817453941095</c:v>
                </c:pt>
                <c:pt idx="54">
                  <c:v>82.621102818772897</c:v>
                </c:pt>
                <c:pt idx="55">
                  <c:v>84.566123663022381</c:v>
                </c:pt>
                <c:pt idx="56">
                  <c:v>86.556933124894954</c:v>
                </c:pt>
                <c:pt idx="57">
                  <c:v>88.594609135000042</c:v>
                </c:pt>
                <c:pt idx="58">
                  <c:v>90.680254999999988</c:v>
                </c:pt>
                <c:pt idx="59">
                  <c:v>92.815000000000055</c:v>
                </c:pt>
                <c:pt idx="60">
                  <c:v>95</c:v>
                </c:pt>
              </c:numCache>
            </c:numRef>
          </c:val>
          <c:extLst>
            <c:ext xmlns:c16="http://schemas.microsoft.com/office/drawing/2014/chart" uri="{C3380CC4-5D6E-409C-BE32-E72D297353CC}">
              <c16:uniqueId val="{00000009-9C1F-A646-92DD-0DE77EBCE760}"/>
            </c:ext>
          </c:extLst>
        </c:ser>
        <c:dLbls>
          <c:showLegendKey val="0"/>
          <c:showVal val="0"/>
          <c:showCatName val="0"/>
          <c:showSerName val="0"/>
          <c:showPercent val="0"/>
          <c:showBubbleSize val="0"/>
        </c:dLbls>
        <c:axId val="1580666768"/>
        <c:axId val="1"/>
      </c:areaChart>
      <c:catAx>
        <c:axId val="1580666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580666768"/>
        <c:crosses val="min"/>
        <c:crossBetween val="midCat"/>
        <c:majorUnit val="50"/>
      </c:valAx>
    </c:plotArea>
    <c:plotVisOnly val="0"/>
    <c:dispBlanksAs val="zero"/>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00399042298484E-2"/>
          <c:y val="0.10132689987937274"/>
          <c:w val="0.91699920191540307"/>
          <c:h val="0.79734620024125458"/>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EA8E-C545-AA6A-97DBA0FD350F}"/>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8E-C545-AA6A-97DBA0FD350F}"/>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8E-C545-AA6A-97DBA0FD3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5</c:v>
                </c:pt>
                <c:pt idx="1">
                  <c:v>30.9</c:v>
                </c:pt>
              </c:numCache>
            </c:numRef>
          </c:val>
          <c:extLst>
            <c:ext xmlns:c16="http://schemas.microsoft.com/office/drawing/2014/chart" uri="{C3380CC4-5D6E-409C-BE32-E72D297353CC}">
              <c16:uniqueId val="{00000002-EA8E-C545-AA6A-97DBA0FD350F}"/>
            </c:ext>
          </c:extLst>
        </c:ser>
        <c:ser>
          <c:idx val="1"/>
          <c:order val="1"/>
          <c:spPr>
            <a:solidFill>
              <a:schemeClr val="accent3"/>
            </a:solidFill>
            <a:ln>
              <a:noFill/>
            </a:ln>
          </c:spPr>
          <c:invertIfNegative val="0"/>
          <c:dPt>
            <c:idx val="0"/>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3-EA8E-C545-AA6A-97DBA0FD350F}"/>
              </c:ext>
            </c:extLst>
          </c:dPt>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8E-C545-AA6A-97DBA0FD3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c:v>
                </c:pt>
                <c:pt idx="1">
                  <c:v>11.5</c:v>
                </c:pt>
              </c:numCache>
            </c:numRef>
          </c:val>
          <c:extLst>
            <c:ext xmlns:c16="http://schemas.microsoft.com/office/drawing/2014/chart" uri="{C3380CC4-5D6E-409C-BE32-E72D297353CC}">
              <c16:uniqueId val="{00000005-EA8E-C545-AA6A-97DBA0FD350F}"/>
            </c:ext>
          </c:extLst>
        </c:ser>
        <c:ser>
          <c:idx val="2"/>
          <c:order val="2"/>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6-EA8E-C545-AA6A-97DBA0FD350F}"/>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A8E-C545-AA6A-97DBA0FD3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3000000000000007</c:v>
                </c:pt>
                <c:pt idx="1">
                  <c:v>0</c:v>
                </c:pt>
              </c:numCache>
            </c:numRef>
          </c:val>
          <c:extLst>
            <c:ext xmlns:c16="http://schemas.microsoft.com/office/drawing/2014/chart" uri="{C3380CC4-5D6E-409C-BE32-E72D297353CC}">
              <c16:uniqueId val="{00000008-EA8E-C545-AA6A-97DBA0FD350F}"/>
            </c:ext>
          </c:extLst>
        </c:ser>
        <c:ser>
          <c:idx val="3"/>
          <c:order val="3"/>
          <c:spPr>
            <a:solidFill>
              <a:schemeClr val="accent1"/>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9-EA8E-C545-AA6A-97DBA0FD350F}"/>
              </c:ext>
            </c:extLst>
          </c:dPt>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8E-C545-AA6A-97DBA0FD35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c:v>
                </c:pt>
                <c:pt idx="1">
                  <c:v>3.7000000000000028</c:v>
                </c:pt>
              </c:numCache>
            </c:numRef>
          </c:val>
          <c:extLst>
            <c:ext xmlns:c16="http://schemas.microsoft.com/office/drawing/2014/chart" uri="{C3380CC4-5D6E-409C-BE32-E72D297353CC}">
              <c16:uniqueId val="{0000000B-EA8E-C545-AA6A-97DBA0FD350F}"/>
            </c:ext>
          </c:extLst>
        </c:ser>
        <c:dLbls>
          <c:showLegendKey val="0"/>
          <c:showVal val="0"/>
          <c:showCatName val="0"/>
          <c:showSerName val="0"/>
          <c:showPercent val="0"/>
          <c:showBubbleSize val="0"/>
        </c:dLbls>
        <c:gapWidth val="80"/>
        <c:overlap val="100"/>
        <c:axId val="566953647"/>
        <c:axId val="1"/>
      </c:barChart>
      <c:catAx>
        <c:axId val="5669536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1"/>
          <c:min val="0"/>
        </c:scaling>
        <c:delete val="0"/>
        <c:axPos val="l"/>
        <c:majorGridlines>
          <c:spPr>
            <a:ln>
              <a:noFill/>
            </a:ln>
          </c:spPr>
        </c:majorGridlines>
        <c:numFmt formatCode="General" sourceLinked="1"/>
        <c:majorTickMark val="none"/>
        <c:minorTickMark val="none"/>
        <c:tickLblPos val="none"/>
        <c:spPr>
          <a:ln>
            <a:noFill/>
          </a:ln>
        </c:spPr>
        <c:crossAx val="566953647"/>
        <c:crosses val="min"/>
        <c:crossBetween val="between"/>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956043956043959E-2"/>
          <c:y val="0.100418410041841"/>
          <c:w val="0.91208791208791207"/>
          <c:h val="0.79916317991631802"/>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0FAD-E445-949C-CCB82F58E196}"/>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AD-E445-949C-CCB82F58E196}"/>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AD-E445-949C-CCB82F58E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5</c:v>
                </c:pt>
                <c:pt idx="1">
                  <c:v>30.9</c:v>
                </c:pt>
              </c:numCache>
            </c:numRef>
          </c:val>
          <c:extLst>
            <c:ext xmlns:c16="http://schemas.microsoft.com/office/drawing/2014/chart" uri="{C3380CC4-5D6E-409C-BE32-E72D297353CC}">
              <c16:uniqueId val="{00000002-0FAD-E445-949C-CCB82F58E196}"/>
            </c:ext>
          </c:extLst>
        </c:ser>
        <c:ser>
          <c:idx val="1"/>
          <c:order val="1"/>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3-0FAD-E445-949C-CCB82F58E196}"/>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AD-E445-949C-CCB82F58E196}"/>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AD-E445-949C-CCB82F58E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3000000000000007</c:v>
                </c:pt>
                <c:pt idx="1">
                  <c:v>11.5</c:v>
                </c:pt>
              </c:numCache>
            </c:numRef>
          </c:val>
          <c:extLst>
            <c:ext xmlns:c16="http://schemas.microsoft.com/office/drawing/2014/chart" uri="{C3380CC4-5D6E-409C-BE32-E72D297353CC}">
              <c16:uniqueId val="{00000005-0FAD-E445-949C-CCB82F58E196}"/>
            </c:ext>
          </c:extLst>
        </c:ser>
        <c:ser>
          <c:idx val="2"/>
          <c:order val="2"/>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6-0FAD-E445-949C-CCB82F58E196}"/>
              </c:ext>
            </c:extLst>
          </c:dPt>
          <c:dLbls>
            <c:dLbl>
              <c:idx val="0"/>
              <c:layout>
                <c:manualLayout>
                  <c:x val="0"/>
                  <c:y val="-5.977286312014345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AD-E445-949C-CCB82F58E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3000000000000007</c:v>
                </c:pt>
                <c:pt idx="1">
                  <c:v>0</c:v>
                </c:pt>
              </c:numCache>
            </c:numRef>
          </c:val>
          <c:extLst>
            <c:ext xmlns:c16="http://schemas.microsoft.com/office/drawing/2014/chart" uri="{C3380CC4-5D6E-409C-BE32-E72D297353CC}">
              <c16:uniqueId val="{00000008-0FAD-E445-949C-CCB82F58E196}"/>
            </c:ext>
          </c:extLst>
        </c:ser>
        <c:ser>
          <c:idx val="3"/>
          <c:order val="3"/>
          <c:spPr>
            <a:solidFill>
              <a:schemeClr val="accent1"/>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9-0FAD-E445-949C-CCB82F58E196}"/>
              </c:ext>
            </c:extLst>
          </c:dPt>
          <c:dLbls>
            <c:dLbl>
              <c:idx val="1"/>
              <c:layout>
                <c:manualLayout>
                  <c:x val="0"/>
                  <c:y val="-5.977286312014345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AD-E445-949C-CCB82F58E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c:v>
                </c:pt>
                <c:pt idx="1">
                  <c:v>3.7000000000000028</c:v>
                </c:pt>
              </c:numCache>
            </c:numRef>
          </c:val>
          <c:extLst>
            <c:ext xmlns:c16="http://schemas.microsoft.com/office/drawing/2014/chart" uri="{C3380CC4-5D6E-409C-BE32-E72D297353CC}">
              <c16:uniqueId val="{0000000B-0FAD-E445-949C-CCB82F58E196}"/>
            </c:ext>
          </c:extLst>
        </c:ser>
        <c:dLbls>
          <c:showLegendKey val="0"/>
          <c:showVal val="0"/>
          <c:showCatName val="0"/>
          <c:showSerName val="0"/>
          <c:showPercent val="0"/>
          <c:showBubbleSize val="0"/>
        </c:dLbls>
        <c:gapWidth val="80"/>
        <c:overlap val="100"/>
        <c:axId val="1547470335"/>
        <c:axId val="1"/>
      </c:barChart>
      <c:catAx>
        <c:axId val="1547470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1"/>
          <c:min val="0"/>
        </c:scaling>
        <c:delete val="0"/>
        <c:axPos val="l"/>
        <c:majorGridlines>
          <c:spPr>
            <a:ln>
              <a:noFill/>
            </a:ln>
          </c:spPr>
        </c:majorGridlines>
        <c:numFmt formatCode="General" sourceLinked="1"/>
        <c:majorTickMark val="none"/>
        <c:minorTickMark val="none"/>
        <c:tickLblPos val="none"/>
        <c:spPr>
          <a:ln>
            <a:noFill/>
          </a:ln>
        </c:spPr>
        <c:crossAx val="1547470335"/>
        <c:crosses val="min"/>
        <c:crossBetween val="between"/>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973803071364048E-2"/>
          <c:y val="8.7591240875912413E-2"/>
          <c:w val="0.90605239385727188"/>
          <c:h val="0.82481751824817517"/>
        </c:manualLayout>
      </c:layout>
      <c:barChart>
        <c:barDir val="col"/>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8A-5340-9A7C-C74933F6C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2</c:v>
                </c:pt>
                <c:pt idx="1">
                  <c:v>3.1</c:v>
                </c:pt>
              </c:numCache>
            </c:numRef>
          </c:val>
          <c:extLst>
            <c:ext xmlns:c16="http://schemas.microsoft.com/office/drawing/2014/chart" uri="{C3380CC4-5D6E-409C-BE32-E72D297353CC}">
              <c16:uniqueId val="{00000001-978A-5340-9A7C-C74933F6C8D3}"/>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8A-5340-9A7C-C74933F6C8D3}"/>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8A-5340-9A7C-C74933F6C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5</c:v>
                </c:pt>
                <c:pt idx="1">
                  <c:v>71.5</c:v>
                </c:pt>
              </c:numCache>
            </c:numRef>
          </c:val>
          <c:extLst>
            <c:ext xmlns:c16="http://schemas.microsoft.com/office/drawing/2014/chart" uri="{C3380CC4-5D6E-409C-BE32-E72D297353CC}">
              <c16:uniqueId val="{00000004-978A-5340-9A7C-C74933F6C8D3}"/>
            </c:ext>
          </c:extLst>
        </c:ser>
        <c:ser>
          <c:idx val="2"/>
          <c:order val="2"/>
          <c:spPr>
            <a:solidFill>
              <a:srgbClr val="364D6E"/>
            </a:solidFill>
            <a:ln>
              <a:noFill/>
            </a:ln>
          </c:spPr>
          <c:invertIfNegative val="0"/>
          <c:val>
            <c:numRef>
              <c:f>Sheet1!$A$3:$B$3</c:f>
              <c:numCache>
                <c:formatCode>General</c:formatCode>
                <c:ptCount val="2"/>
                <c:pt idx="0">
                  <c:v>1.0000000000000036</c:v>
                </c:pt>
                <c:pt idx="1">
                  <c:v>0.59999999999999432</c:v>
                </c:pt>
              </c:numCache>
            </c:numRef>
          </c:val>
          <c:extLst>
            <c:ext xmlns:c16="http://schemas.microsoft.com/office/drawing/2014/chart" uri="{C3380CC4-5D6E-409C-BE32-E72D297353CC}">
              <c16:uniqueId val="{00000005-978A-5340-9A7C-C74933F6C8D3}"/>
            </c:ext>
          </c:extLst>
        </c:ser>
        <c:dLbls>
          <c:showLegendKey val="0"/>
          <c:showVal val="0"/>
          <c:showCatName val="0"/>
          <c:showSerName val="0"/>
          <c:showPercent val="0"/>
          <c:showBubbleSize val="0"/>
        </c:dLbls>
        <c:gapWidth val="80"/>
        <c:overlap val="100"/>
        <c:axId val="1237702960"/>
        <c:axId val="1"/>
      </c:barChart>
      <c:catAx>
        <c:axId val="1237702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199999999999989"/>
          <c:min val="0"/>
        </c:scaling>
        <c:delete val="0"/>
        <c:axPos val="l"/>
        <c:majorGridlines>
          <c:spPr>
            <a:ln>
              <a:noFill/>
            </a:ln>
          </c:spPr>
        </c:majorGridlines>
        <c:numFmt formatCode="General" sourceLinked="1"/>
        <c:majorTickMark val="none"/>
        <c:minorTickMark val="none"/>
        <c:tickLblPos val="none"/>
        <c:spPr>
          <a:ln>
            <a:noFill/>
          </a:ln>
        </c:spPr>
        <c:crossAx val="1237702960"/>
        <c:crosses val="min"/>
        <c:crossBetween val="between"/>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6110019646365E-2"/>
          <c:y val="2.5390625E-2"/>
          <c:w val="0.97956777996070732"/>
          <c:h val="0.94921875"/>
        </c:manualLayout>
      </c:layout>
      <c:barChart>
        <c:barDir val="col"/>
        <c:grouping val="stacked"/>
        <c:varyColors val="0"/>
        <c:ser>
          <c:idx val="0"/>
          <c:order val="0"/>
          <c:spPr>
            <a:pattFill prst="pct10">
              <a:fgClr>
                <a:schemeClr val="tx1"/>
              </a:fgClr>
              <a:bgClr>
                <a:schemeClr val="bg1"/>
              </a:bgClr>
            </a:pattFill>
            <a:ln>
              <a:noFill/>
            </a:ln>
          </c:spPr>
          <c:invertIfNegative val="0"/>
          <c:dPt>
            <c:idx val="0"/>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0-1363-534E-9C1A-39E27DF32368}"/>
              </c:ext>
            </c:extLst>
          </c:dPt>
          <c:dPt>
            <c:idx val="2"/>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1-1363-534E-9C1A-39E27DF32368}"/>
              </c:ext>
            </c:extLst>
          </c:dPt>
          <c:dPt>
            <c:idx val="5"/>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2-1363-534E-9C1A-39E27DF32368}"/>
              </c:ext>
            </c:extLst>
          </c:dPt>
          <c:val>
            <c:numRef>
              <c:f>Sheet1!$A$1:$F$1</c:f>
              <c:numCache>
                <c:formatCode>General</c:formatCode>
                <c:ptCount val="6"/>
                <c:pt idx="0">
                  <c:v>4.647679999904633</c:v>
                </c:pt>
                <c:pt idx="1">
                  <c:v>1.712</c:v>
                </c:pt>
                <c:pt idx="2">
                  <c:v>3.7805499999999999</c:v>
                </c:pt>
                <c:pt idx="3">
                  <c:v>6.3888999999999996</c:v>
                </c:pt>
                <c:pt idx="4">
                  <c:v>6.6884999999999994</c:v>
                </c:pt>
                <c:pt idx="5">
                  <c:v>10.239582999835013</c:v>
                </c:pt>
              </c:numCache>
            </c:numRef>
          </c:val>
          <c:extLst>
            <c:ext xmlns:c16="http://schemas.microsoft.com/office/drawing/2014/chart" uri="{C3380CC4-5D6E-409C-BE32-E72D297353CC}">
              <c16:uniqueId val="{00000003-1363-534E-9C1A-39E27DF32368}"/>
            </c:ext>
          </c:extLst>
        </c:ser>
        <c:ser>
          <c:idx val="1"/>
          <c:order val="1"/>
          <c:spPr>
            <a:pattFill prst="wdDnDiag">
              <a:fgClr>
                <a:schemeClr val="tx1"/>
              </a:fgClr>
              <a:bgClr>
                <a:schemeClr val="bg1"/>
              </a:bgClr>
            </a:patt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4-1363-534E-9C1A-39E27DF32368}"/>
              </c:ext>
            </c:extLst>
          </c:dPt>
          <c:dPt>
            <c:idx val="2"/>
            <c:invertIfNegative val="0"/>
            <c:bubble3D val="0"/>
            <c:spPr>
              <a:solidFill>
                <a:schemeClr val="hlink"/>
              </a:solidFill>
              <a:ln>
                <a:noFill/>
              </a:ln>
            </c:spPr>
            <c:extLst>
              <c:ext xmlns:c16="http://schemas.microsoft.com/office/drawing/2014/chart" uri="{C3380CC4-5D6E-409C-BE32-E72D297353CC}">
                <c16:uniqueId val="{00000005-1363-534E-9C1A-39E27DF32368}"/>
              </c:ext>
            </c:extLst>
          </c:dPt>
          <c:val>
            <c:numRef>
              <c:f>Sheet1!$A$2:$F$2</c:f>
              <c:numCache>
                <c:formatCode>General</c:formatCode>
                <c:ptCount val="6"/>
                <c:pt idx="0">
                  <c:v>0.48029999999999973</c:v>
                </c:pt>
                <c:pt idx="1">
                  <c:v>0</c:v>
                </c:pt>
                <c:pt idx="2">
                  <c:v>2.4673999999999996</c:v>
                </c:pt>
                <c:pt idx="3">
                  <c:v>0</c:v>
                </c:pt>
                <c:pt idx="4">
                  <c:v>0</c:v>
                </c:pt>
                <c:pt idx="5">
                  <c:v>12.725163999938014</c:v>
                </c:pt>
              </c:numCache>
            </c:numRef>
          </c:val>
          <c:extLst>
            <c:ext xmlns:c16="http://schemas.microsoft.com/office/drawing/2014/chart" uri="{C3380CC4-5D6E-409C-BE32-E72D297353CC}">
              <c16:uniqueId val="{00000006-1363-534E-9C1A-39E27DF32368}"/>
            </c:ext>
          </c:extLst>
        </c:ser>
        <c:ser>
          <c:idx val="2"/>
          <c:order val="2"/>
          <c:spPr>
            <a:solidFill>
              <a:schemeClr val="hlink"/>
            </a:solidFill>
            <a:ln>
              <a:noFill/>
            </a:ln>
          </c:spPr>
          <c:invertIfNegative val="0"/>
          <c:dPt>
            <c:idx val="1"/>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7-1363-534E-9C1A-39E27DF32368}"/>
              </c:ext>
            </c:extLst>
          </c:dPt>
          <c:dPt>
            <c:idx val="3"/>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8-1363-534E-9C1A-39E27DF32368}"/>
              </c:ext>
            </c:extLst>
          </c:dPt>
          <c:dPt>
            <c:idx val="4"/>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09-1363-534E-9C1A-39E27DF32368}"/>
              </c:ext>
            </c:extLst>
          </c:dPt>
          <c:val>
            <c:numRef>
              <c:f>Sheet1!$A$3:$F$3</c:f>
              <c:numCache>
                <c:formatCode>General</c:formatCode>
                <c:ptCount val="6"/>
                <c:pt idx="0">
                  <c:v>76.726334002723689</c:v>
                </c:pt>
                <c:pt idx="1">
                  <c:v>2.2232900000000004</c:v>
                </c:pt>
                <c:pt idx="2">
                  <c:v>72.575500000000005</c:v>
                </c:pt>
                <c:pt idx="3">
                  <c:v>3.4084000000000003</c:v>
                </c:pt>
                <c:pt idx="4">
                  <c:v>13.078549999999998</c:v>
                </c:pt>
                <c:pt idx="5">
                  <c:v>12.871772998428341</c:v>
                </c:pt>
              </c:numCache>
            </c:numRef>
          </c:val>
          <c:extLst>
            <c:ext xmlns:c16="http://schemas.microsoft.com/office/drawing/2014/chart" uri="{C3380CC4-5D6E-409C-BE32-E72D297353CC}">
              <c16:uniqueId val="{0000000A-1363-534E-9C1A-39E27DF32368}"/>
            </c:ext>
          </c:extLst>
        </c:ser>
        <c:ser>
          <c:idx val="3"/>
          <c:order val="3"/>
          <c:spPr>
            <a:solidFill>
              <a:schemeClr val="hlink"/>
            </a:solid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B-1363-534E-9C1A-39E27DF32368}"/>
              </c:ext>
            </c:extLst>
          </c:dPt>
          <c:dPt>
            <c:idx val="2"/>
            <c:invertIfNegative val="0"/>
            <c:bubble3D val="0"/>
            <c:spPr>
              <a:solidFill>
                <a:schemeClr val="tx1"/>
              </a:solidFill>
              <a:ln>
                <a:noFill/>
              </a:ln>
            </c:spPr>
            <c:extLst>
              <c:ext xmlns:c16="http://schemas.microsoft.com/office/drawing/2014/chart" uri="{C3380CC4-5D6E-409C-BE32-E72D297353CC}">
                <c16:uniqueId val="{0000000C-1363-534E-9C1A-39E27DF32368}"/>
              </c:ext>
            </c:extLst>
          </c:dPt>
          <c:val>
            <c:numRef>
              <c:f>Sheet1!$A$4:$F$4</c:f>
              <c:numCache>
                <c:formatCode>General</c:formatCode>
                <c:ptCount val="6"/>
                <c:pt idx="0">
                  <c:v>4.9999999999997158E-2</c:v>
                </c:pt>
                <c:pt idx="1">
                  <c:v>2.109</c:v>
                </c:pt>
                <c:pt idx="2">
                  <c:v>0.94299999999999784</c:v>
                </c:pt>
                <c:pt idx="3">
                  <c:v>0.42839999999999989</c:v>
                </c:pt>
                <c:pt idx="4">
                  <c:v>9.6023999999999994</c:v>
                </c:pt>
                <c:pt idx="5">
                  <c:v>123.35280799997332</c:v>
                </c:pt>
              </c:numCache>
            </c:numRef>
          </c:val>
          <c:extLst>
            <c:ext xmlns:c16="http://schemas.microsoft.com/office/drawing/2014/chart" uri="{C3380CC4-5D6E-409C-BE32-E72D297353CC}">
              <c16:uniqueId val="{0000000D-1363-534E-9C1A-39E27DF32368}"/>
            </c:ext>
          </c:extLst>
        </c:ser>
        <c:ser>
          <c:idx val="4"/>
          <c:order val="4"/>
          <c:spPr>
            <a:solidFill>
              <a:schemeClr val="hlink"/>
            </a:solidFill>
            <a:ln>
              <a:noFill/>
            </a:ln>
          </c:spPr>
          <c:invertIfNegative val="0"/>
          <c:dPt>
            <c:idx val="0"/>
            <c:invertIfNegative val="0"/>
            <c:bubble3D val="0"/>
            <c:spPr>
              <a:solidFill>
                <a:srgbClr val="C30C3E"/>
              </a:solidFill>
              <a:ln>
                <a:noFill/>
              </a:ln>
            </c:spPr>
            <c:extLst>
              <c:ext xmlns:c16="http://schemas.microsoft.com/office/drawing/2014/chart" uri="{C3380CC4-5D6E-409C-BE32-E72D297353CC}">
                <c16:uniqueId val="{0000000E-1363-534E-9C1A-39E27DF32368}"/>
              </c:ext>
            </c:extLst>
          </c:dPt>
          <c:dPt>
            <c:idx val="2"/>
            <c:invertIfNegative val="0"/>
            <c:bubble3D val="0"/>
            <c:spPr>
              <a:solidFill>
                <a:srgbClr val="C30C3E"/>
              </a:solidFill>
              <a:ln>
                <a:noFill/>
              </a:ln>
            </c:spPr>
            <c:extLst>
              <c:ext xmlns:c16="http://schemas.microsoft.com/office/drawing/2014/chart" uri="{C3380CC4-5D6E-409C-BE32-E72D297353CC}">
                <c16:uniqueId val="{0000000F-1363-534E-9C1A-39E27DF32368}"/>
              </c:ext>
            </c:extLst>
          </c:dPt>
          <c:dPt>
            <c:idx val="5"/>
            <c:invertIfNegative val="0"/>
            <c:bubble3D val="0"/>
            <c:spPr>
              <a:solidFill>
                <a:schemeClr val="tx1"/>
              </a:solidFill>
              <a:ln>
                <a:noFill/>
              </a:ln>
            </c:spPr>
            <c:extLst>
              <c:ext xmlns:c16="http://schemas.microsoft.com/office/drawing/2014/chart" uri="{C3380CC4-5D6E-409C-BE32-E72D297353CC}">
                <c16:uniqueId val="{00000010-1363-534E-9C1A-39E27DF32368}"/>
              </c:ext>
            </c:extLst>
          </c:dPt>
          <c:val>
            <c:numRef>
              <c:f>Sheet1!$A$5:$F$5</c:f>
              <c:numCache>
                <c:formatCode>General</c:formatCode>
                <c:ptCount val="6"/>
                <c:pt idx="0">
                  <c:v>0</c:v>
                </c:pt>
                <c:pt idx="1">
                  <c:v>71.881</c:v>
                </c:pt>
                <c:pt idx="2">
                  <c:v>2.4960999999999984</c:v>
                </c:pt>
                <c:pt idx="3">
                  <c:v>69.452600000000004</c:v>
                </c:pt>
                <c:pt idx="4">
                  <c:v>69.602999999999994</c:v>
                </c:pt>
                <c:pt idx="5">
                  <c:v>1.4588999999999999</c:v>
                </c:pt>
              </c:numCache>
            </c:numRef>
          </c:val>
          <c:extLst>
            <c:ext xmlns:c16="http://schemas.microsoft.com/office/drawing/2014/chart" uri="{C3380CC4-5D6E-409C-BE32-E72D297353CC}">
              <c16:uniqueId val="{00000011-1363-534E-9C1A-39E27DF32368}"/>
            </c:ext>
          </c:extLst>
        </c:ser>
        <c:ser>
          <c:idx val="5"/>
          <c:order val="5"/>
          <c:spPr>
            <a:solidFill>
              <a:schemeClr val="tx1"/>
            </a:solidFill>
            <a:ln>
              <a:noFill/>
            </a:ln>
          </c:spPr>
          <c:invertIfNegative val="0"/>
          <c:dPt>
            <c:idx val="0"/>
            <c:invertIfNegative val="0"/>
            <c:bubble3D val="0"/>
            <c:spPr>
              <a:solidFill>
                <a:srgbClr val="BC7D00"/>
              </a:solidFill>
              <a:ln>
                <a:noFill/>
              </a:ln>
            </c:spPr>
            <c:extLst>
              <c:ext xmlns:c16="http://schemas.microsoft.com/office/drawing/2014/chart" uri="{C3380CC4-5D6E-409C-BE32-E72D297353CC}">
                <c16:uniqueId val="{00000012-1363-534E-9C1A-39E27DF32368}"/>
              </c:ext>
            </c:extLst>
          </c:dPt>
          <c:dPt>
            <c:idx val="2"/>
            <c:invertIfNegative val="0"/>
            <c:bubble3D val="0"/>
            <c:spPr>
              <a:solidFill>
                <a:srgbClr val="BC7D00"/>
              </a:solidFill>
              <a:ln>
                <a:noFill/>
              </a:ln>
            </c:spPr>
            <c:extLst>
              <c:ext xmlns:c16="http://schemas.microsoft.com/office/drawing/2014/chart" uri="{C3380CC4-5D6E-409C-BE32-E72D297353CC}">
                <c16:uniqueId val="{00000013-1363-534E-9C1A-39E27DF32368}"/>
              </c:ext>
            </c:extLst>
          </c:dPt>
          <c:dPt>
            <c:idx val="5"/>
            <c:invertIfNegative val="0"/>
            <c:bubble3D val="0"/>
            <c:spPr>
              <a:solidFill>
                <a:srgbClr val="C30C3E"/>
              </a:solidFill>
              <a:ln>
                <a:noFill/>
              </a:ln>
            </c:spPr>
            <c:extLst>
              <c:ext xmlns:c16="http://schemas.microsoft.com/office/drawing/2014/chart" uri="{C3380CC4-5D6E-409C-BE32-E72D297353CC}">
                <c16:uniqueId val="{00000014-1363-534E-9C1A-39E27DF32368}"/>
              </c:ext>
            </c:extLst>
          </c:dPt>
          <c:val>
            <c:numRef>
              <c:f>Sheet1!$A$6:$F$6</c:f>
              <c:numCache>
                <c:formatCode>General</c:formatCode>
                <c:ptCount val="6"/>
                <c:pt idx="0">
                  <c:v>0</c:v>
                </c:pt>
                <c:pt idx="1">
                  <c:v>0.13070000000000448</c:v>
                </c:pt>
                <c:pt idx="2">
                  <c:v>4.2197599999999937</c:v>
                </c:pt>
                <c:pt idx="3">
                  <c:v>1.4586999999999932</c:v>
                </c:pt>
                <c:pt idx="4">
                  <c:v>1.5156999999999954</c:v>
                </c:pt>
                <c:pt idx="5">
                  <c:v>1.7708100000000115</c:v>
                </c:pt>
              </c:numCache>
            </c:numRef>
          </c:val>
          <c:extLst>
            <c:ext xmlns:c16="http://schemas.microsoft.com/office/drawing/2014/chart" uri="{C3380CC4-5D6E-409C-BE32-E72D297353CC}">
              <c16:uniqueId val="{00000015-1363-534E-9C1A-39E27DF32368}"/>
            </c:ext>
          </c:extLst>
        </c:ser>
        <c:ser>
          <c:idx val="6"/>
          <c:order val="6"/>
          <c:spPr>
            <a:solidFill>
              <a:srgbClr val="C30C3E"/>
            </a:solidFill>
            <a:ln>
              <a:noFill/>
            </a:ln>
          </c:spPr>
          <c:invertIfNegative val="0"/>
          <c:dPt>
            <c:idx val="0"/>
            <c:invertIfNegative val="0"/>
            <c:bubble3D val="0"/>
            <c:spPr>
              <a:solidFill>
                <a:srgbClr val="B94C19"/>
              </a:solidFill>
              <a:ln>
                <a:noFill/>
              </a:ln>
            </c:spPr>
            <c:extLst>
              <c:ext xmlns:c16="http://schemas.microsoft.com/office/drawing/2014/chart" uri="{C3380CC4-5D6E-409C-BE32-E72D297353CC}">
                <c16:uniqueId val="{00000016-1363-534E-9C1A-39E27DF32368}"/>
              </c:ext>
            </c:extLst>
          </c:dPt>
          <c:dPt>
            <c:idx val="2"/>
            <c:invertIfNegative val="0"/>
            <c:bubble3D val="0"/>
            <c:spPr>
              <a:solidFill>
                <a:srgbClr val="B94C19"/>
              </a:solidFill>
              <a:ln>
                <a:noFill/>
              </a:ln>
            </c:spPr>
            <c:extLst>
              <c:ext xmlns:c16="http://schemas.microsoft.com/office/drawing/2014/chart" uri="{C3380CC4-5D6E-409C-BE32-E72D297353CC}">
                <c16:uniqueId val="{00000017-1363-534E-9C1A-39E27DF32368}"/>
              </c:ext>
            </c:extLst>
          </c:dPt>
          <c:dPt>
            <c:idx val="5"/>
            <c:invertIfNegative val="0"/>
            <c:bubble3D val="0"/>
            <c:spPr>
              <a:solidFill>
                <a:srgbClr val="BC7D00"/>
              </a:solidFill>
              <a:ln>
                <a:noFill/>
              </a:ln>
            </c:spPr>
            <c:extLst>
              <c:ext xmlns:c16="http://schemas.microsoft.com/office/drawing/2014/chart" uri="{C3380CC4-5D6E-409C-BE32-E72D297353CC}">
                <c16:uniqueId val="{00000018-1363-534E-9C1A-39E27DF32368}"/>
              </c:ext>
            </c:extLst>
          </c:dPt>
          <c:val>
            <c:numRef>
              <c:f>Sheet1!$A$7:$F$7</c:f>
              <c:numCache>
                <c:formatCode>General</c:formatCode>
                <c:ptCount val="6"/>
                <c:pt idx="0">
                  <c:v>6.1754999999999995</c:v>
                </c:pt>
                <c:pt idx="1">
                  <c:v>1.243300000000005</c:v>
                </c:pt>
                <c:pt idx="2">
                  <c:v>6.3242999999999938</c:v>
                </c:pt>
                <c:pt idx="3">
                  <c:v>2.1521000000000043</c:v>
                </c:pt>
                <c:pt idx="4">
                  <c:v>1.7113999999999976</c:v>
                </c:pt>
                <c:pt idx="5">
                  <c:v>4.46696500076294</c:v>
                </c:pt>
              </c:numCache>
            </c:numRef>
          </c:val>
          <c:extLst>
            <c:ext xmlns:c16="http://schemas.microsoft.com/office/drawing/2014/chart" uri="{C3380CC4-5D6E-409C-BE32-E72D297353CC}">
              <c16:uniqueId val="{00000019-1363-534E-9C1A-39E27DF32368}"/>
            </c:ext>
          </c:extLst>
        </c:ser>
        <c:ser>
          <c:idx val="7"/>
          <c:order val="7"/>
          <c:spPr>
            <a:solidFill>
              <a:srgbClr val="BC7D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1A-1363-534E-9C1A-39E27DF32368}"/>
              </c:ext>
            </c:extLst>
          </c:dPt>
          <c:dPt>
            <c:idx val="2"/>
            <c:invertIfNegative val="0"/>
            <c:bubble3D val="0"/>
            <c:spPr>
              <a:solidFill>
                <a:schemeClr val="accent1"/>
              </a:solidFill>
              <a:ln>
                <a:noFill/>
              </a:ln>
            </c:spPr>
            <c:extLst>
              <c:ext xmlns:c16="http://schemas.microsoft.com/office/drawing/2014/chart" uri="{C3380CC4-5D6E-409C-BE32-E72D297353CC}">
                <c16:uniqueId val="{0000001B-1363-534E-9C1A-39E27DF32368}"/>
              </c:ext>
            </c:extLst>
          </c:dPt>
          <c:dPt>
            <c:idx val="5"/>
            <c:invertIfNegative val="0"/>
            <c:bubble3D val="0"/>
            <c:spPr>
              <a:solidFill>
                <a:srgbClr val="B94C19"/>
              </a:solidFill>
              <a:ln>
                <a:noFill/>
              </a:ln>
            </c:spPr>
            <c:extLst>
              <c:ext xmlns:c16="http://schemas.microsoft.com/office/drawing/2014/chart" uri="{C3380CC4-5D6E-409C-BE32-E72D297353CC}">
                <c16:uniqueId val="{0000001C-1363-534E-9C1A-39E27DF32368}"/>
              </c:ext>
            </c:extLst>
          </c:dPt>
          <c:val>
            <c:numRef>
              <c:f>Sheet1!$A$8:$F$8</c:f>
              <c:numCache>
                <c:formatCode>General</c:formatCode>
                <c:ptCount val="6"/>
                <c:pt idx="0">
                  <c:v>0</c:v>
                </c:pt>
                <c:pt idx="1">
                  <c:v>2.7768399999999929</c:v>
                </c:pt>
                <c:pt idx="2">
                  <c:v>77.203299999999999</c:v>
                </c:pt>
                <c:pt idx="3">
                  <c:v>5.4540599999999984</c:v>
                </c:pt>
                <c:pt idx="4">
                  <c:v>5.7457100000000025</c:v>
                </c:pt>
                <c:pt idx="5">
                  <c:v>5.3171000000000106</c:v>
                </c:pt>
              </c:numCache>
            </c:numRef>
          </c:val>
          <c:extLst>
            <c:ext xmlns:c16="http://schemas.microsoft.com/office/drawing/2014/chart" uri="{C3380CC4-5D6E-409C-BE32-E72D297353CC}">
              <c16:uniqueId val="{0000001D-1363-534E-9C1A-39E27DF32368}"/>
            </c:ext>
          </c:extLst>
        </c:ser>
        <c:ser>
          <c:idx val="8"/>
          <c:order val="8"/>
          <c:spPr>
            <a:solidFill>
              <a:srgbClr val="B94C19"/>
            </a:solidFill>
            <a:ln>
              <a:noFill/>
            </a:ln>
          </c:spPr>
          <c:invertIfNegative val="0"/>
          <c:dPt>
            <c:idx val="0"/>
            <c:invertIfNegative val="0"/>
            <c:bubble3D val="0"/>
            <c:spPr>
              <a:solidFill>
                <a:srgbClr val="006FBB"/>
              </a:solidFill>
              <a:ln>
                <a:noFill/>
              </a:ln>
            </c:spPr>
            <c:extLst>
              <c:ext xmlns:c16="http://schemas.microsoft.com/office/drawing/2014/chart" uri="{C3380CC4-5D6E-409C-BE32-E72D297353CC}">
                <c16:uniqueId val="{0000001E-1363-534E-9C1A-39E27DF32368}"/>
              </c:ext>
            </c:extLst>
          </c:dPt>
          <c:dPt>
            <c:idx val="2"/>
            <c:invertIfNegative val="0"/>
            <c:bubble3D val="0"/>
            <c:spPr>
              <a:solidFill>
                <a:srgbClr val="006FBB"/>
              </a:solidFill>
              <a:ln>
                <a:noFill/>
              </a:ln>
            </c:spPr>
            <c:extLst>
              <c:ext xmlns:c16="http://schemas.microsoft.com/office/drawing/2014/chart" uri="{C3380CC4-5D6E-409C-BE32-E72D297353CC}">
                <c16:uniqueId val="{0000001F-1363-534E-9C1A-39E27DF32368}"/>
              </c:ext>
            </c:extLst>
          </c:dPt>
          <c:dPt>
            <c:idx val="5"/>
            <c:invertIfNegative val="0"/>
            <c:bubble3D val="0"/>
            <c:spPr>
              <a:solidFill>
                <a:schemeClr val="accent1"/>
              </a:solidFill>
              <a:ln>
                <a:noFill/>
              </a:ln>
            </c:spPr>
            <c:extLst>
              <c:ext xmlns:c16="http://schemas.microsoft.com/office/drawing/2014/chart" uri="{C3380CC4-5D6E-409C-BE32-E72D297353CC}">
                <c16:uniqueId val="{00000020-1363-534E-9C1A-39E27DF32368}"/>
              </c:ext>
            </c:extLst>
          </c:dPt>
          <c:val>
            <c:numRef>
              <c:f>Sheet1!$A$9:$F$9</c:f>
              <c:numCache>
                <c:formatCode>General</c:formatCode>
                <c:ptCount val="6"/>
                <c:pt idx="0">
                  <c:v>10.70689999999999</c:v>
                </c:pt>
                <c:pt idx="1">
                  <c:v>6.3092999999999932</c:v>
                </c:pt>
                <c:pt idx="2">
                  <c:v>16.545999999999992</c:v>
                </c:pt>
                <c:pt idx="3">
                  <c:v>6.4569999999999936</c:v>
                </c:pt>
                <c:pt idx="4">
                  <c:v>9.992999999999995</c:v>
                </c:pt>
                <c:pt idx="5">
                  <c:v>58.563294999999982</c:v>
                </c:pt>
              </c:numCache>
            </c:numRef>
          </c:val>
          <c:extLst>
            <c:ext xmlns:c16="http://schemas.microsoft.com/office/drawing/2014/chart" uri="{C3380CC4-5D6E-409C-BE32-E72D297353CC}">
              <c16:uniqueId val="{00000021-1363-534E-9C1A-39E27DF32368}"/>
            </c:ext>
          </c:extLst>
        </c:ser>
        <c:ser>
          <c:idx val="9"/>
          <c:order val="9"/>
          <c:spPr>
            <a:solidFill>
              <a:schemeClr val="accent1"/>
            </a:solidFill>
            <a:ln>
              <a:noFill/>
            </a:ln>
          </c:spPr>
          <c:invertIfNegative val="0"/>
          <c:dPt>
            <c:idx val="5"/>
            <c:invertIfNegative val="0"/>
            <c:bubble3D val="0"/>
            <c:spPr>
              <a:solidFill>
                <a:srgbClr val="006FBB"/>
              </a:solidFill>
              <a:ln>
                <a:noFill/>
              </a:ln>
            </c:spPr>
            <c:extLst>
              <c:ext xmlns:c16="http://schemas.microsoft.com/office/drawing/2014/chart" uri="{C3380CC4-5D6E-409C-BE32-E72D297353CC}">
                <c16:uniqueId val="{00000022-1363-534E-9C1A-39E27DF32368}"/>
              </c:ext>
            </c:extLst>
          </c:dPt>
          <c:val>
            <c:numRef>
              <c:f>Sheet1!$A$10:$F$10</c:f>
              <c:numCache>
                <c:formatCode>General</c:formatCode>
                <c:ptCount val="6"/>
                <c:pt idx="0">
                  <c:v>214.58882399866488</c:v>
                </c:pt>
                <c:pt idx="1">
                  <c:v>60.979300000000009</c:v>
                </c:pt>
                <c:pt idx="2">
                  <c:v>153.34472</c:v>
                </c:pt>
                <c:pt idx="3">
                  <c:v>111.7873</c:v>
                </c:pt>
                <c:pt idx="4">
                  <c:v>119.8014</c:v>
                </c:pt>
                <c:pt idx="5">
                  <c:v>22.804363999999993</c:v>
                </c:pt>
              </c:numCache>
            </c:numRef>
          </c:val>
          <c:extLst>
            <c:ext xmlns:c16="http://schemas.microsoft.com/office/drawing/2014/chart" uri="{C3380CC4-5D6E-409C-BE32-E72D297353CC}">
              <c16:uniqueId val="{00000023-1363-534E-9C1A-39E27DF32368}"/>
            </c:ext>
          </c:extLst>
        </c:ser>
        <c:ser>
          <c:idx val="10"/>
          <c:order val="10"/>
          <c:spPr>
            <a:solidFill>
              <a:srgbClr val="006FBB"/>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24-1363-534E-9C1A-39E27DF32368}"/>
              </c:ext>
            </c:extLst>
          </c:dPt>
          <c:dPt>
            <c:idx val="2"/>
            <c:invertIfNegative val="0"/>
            <c:bubble3D val="0"/>
            <c:spPr>
              <a:solidFill>
                <a:schemeClr val="accent4"/>
              </a:solidFill>
              <a:ln>
                <a:noFill/>
              </a:ln>
            </c:spPr>
            <c:extLst>
              <c:ext xmlns:c16="http://schemas.microsoft.com/office/drawing/2014/chart" uri="{C3380CC4-5D6E-409C-BE32-E72D297353CC}">
                <c16:uniqueId val="{00000025-1363-534E-9C1A-39E27DF32368}"/>
              </c:ext>
            </c:extLst>
          </c:dPt>
          <c:dPt>
            <c:idx val="5"/>
            <c:invertIfNegative val="0"/>
            <c:bubble3D val="0"/>
            <c:spPr>
              <a:solidFill>
                <a:schemeClr val="accent1"/>
              </a:solidFill>
              <a:ln>
                <a:noFill/>
              </a:ln>
            </c:spPr>
            <c:extLst>
              <c:ext xmlns:c16="http://schemas.microsoft.com/office/drawing/2014/chart" uri="{C3380CC4-5D6E-409C-BE32-E72D297353CC}">
                <c16:uniqueId val="{00000026-1363-534E-9C1A-39E27DF32368}"/>
              </c:ext>
            </c:extLst>
          </c:dPt>
          <c:val>
            <c:numRef>
              <c:f>Sheet1!$A$11:$F$11</c:f>
              <c:numCache>
                <c:formatCode>General</c:formatCode>
                <c:ptCount val="6"/>
                <c:pt idx="0">
                  <c:v>56.273319000000015</c:v>
                </c:pt>
                <c:pt idx="1">
                  <c:v>11.323000000000008</c:v>
                </c:pt>
                <c:pt idx="2">
                  <c:v>220.73345000000006</c:v>
                </c:pt>
                <c:pt idx="3">
                  <c:v>25.99199999999999</c:v>
                </c:pt>
                <c:pt idx="4">
                  <c:v>47.284999999999997</c:v>
                </c:pt>
                <c:pt idx="5">
                  <c:v>189.59913288703004</c:v>
                </c:pt>
              </c:numCache>
            </c:numRef>
          </c:val>
          <c:extLst>
            <c:ext xmlns:c16="http://schemas.microsoft.com/office/drawing/2014/chart" uri="{C3380CC4-5D6E-409C-BE32-E72D297353CC}">
              <c16:uniqueId val="{00000027-1363-534E-9C1A-39E27DF32368}"/>
            </c:ext>
          </c:extLst>
        </c:ser>
        <c:ser>
          <c:idx val="11"/>
          <c:order val="11"/>
          <c:spPr>
            <a:solidFill>
              <a:schemeClr val="accent1"/>
            </a:solidFill>
            <a:ln>
              <a:noFill/>
            </a:ln>
          </c:spPr>
          <c:invertIfNegative val="0"/>
          <c:dPt>
            <c:idx val="0"/>
            <c:invertIfNegative val="0"/>
            <c:bubble3D val="0"/>
            <c:spPr>
              <a:solidFill>
                <a:srgbClr val="D32B96"/>
              </a:solidFill>
              <a:ln>
                <a:noFill/>
              </a:ln>
            </c:spPr>
            <c:extLst>
              <c:ext xmlns:c16="http://schemas.microsoft.com/office/drawing/2014/chart" uri="{C3380CC4-5D6E-409C-BE32-E72D297353CC}">
                <c16:uniqueId val="{00000028-1363-534E-9C1A-39E27DF32368}"/>
              </c:ext>
            </c:extLst>
          </c:dPt>
          <c:dPt>
            <c:idx val="2"/>
            <c:invertIfNegative val="0"/>
            <c:bubble3D val="0"/>
            <c:spPr>
              <a:solidFill>
                <a:srgbClr val="D32B96"/>
              </a:solidFill>
              <a:ln>
                <a:noFill/>
              </a:ln>
            </c:spPr>
            <c:extLst>
              <c:ext xmlns:c16="http://schemas.microsoft.com/office/drawing/2014/chart" uri="{C3380CC4-5D6E-409C-BE32-E72D297353CC}">
                <c16:uniqueId val="{00000029-1363-534E-9C1A-39E27DF32368}"/>
              </c:ext>
            </c:extLst>
          </c:dPt>
          <c:dPt>
            <c:idx val="5"/>
            <c:invertIfNegative val="0"/>
            <c:bubble3D val="0"/>
            <c:spPr>
              <a:solidFill>
                <a:schemeClr val="accent4"/>
              </a:solidFill>
              <a:ln>
                <a:noFill/>
              </a:ln>
            </c:spPr>
            <c:extLst>
              <c:ext xmlns:c16="http://schemas.microsoft.com/office/drawing/2014/chart" uri="{C3380CC4-5D6E-409C-BE32-E72D297353CC}">
                <c16:uniqueId val="{0000002A-1363-534E-9C1A-39E27DF32368}"/>
              </c:ext>
            </c:extLst>
          </c:dPt>
          <c:val>
            <c:numRef>
              <c:f>Sheet1!$A$12:$F$12</c:f>
              <c:numCache>
                <c:formatCode>General</c:formatCode>
                <c:ptCount val="6"/>
                <c:pt idx="0">
                  <c:v>0</c:v>
                </c:pt>
                <c:pt idx="1">
                  <c:v>134.93051999999997</c:v>
                </c:pt>
                <c:pt idx="2">
                  <c:v>207.56156999999996</c:v>
                </c:pt>
                <c:pt idx="3">
                  <c:v>164.56621999999996</c:v>
                </c:pt>
                <c:pt idx="4">
                  <c:v>198.40691999999996</c:v>
                </c:pt>
                <c:pt idx="5">
                  <c:v>466.75385617616837</c:v>
                </c:pt>
              </c:numCache>
            </c:numRef>
          </c:val>
          <c:extLst>
            <c:ext xmlns:c16="http://schemas.microsoft.com/office/drawing/2014/chart" uri="{C3380CC4-5D6E-409C-BE32-E72D297353CC}">
              <c16:uniqueId val="{0000002B-1363-534E-9C1A-39E27DF32368}"/>
            </c:ext>
          </c:extLst>
        </c:ser>
        <c:ser>
          <c:idx val="12"/>
          <c:order val="12"/>
          <c:spPr>
            <a:solidFill>
              <a:schemeClr val="accent4"/>
            </a:solidFill>
            <a:ln>
              <a:noFill/>
            </a:ln>
          </c:spPr>
          <c:invertIfNegative val="0"/>
          <c:dPt>
            <c:idx val="0"/>
            <c:invertIfNegative val="0"/>
            <c:bubble3D val="0"/>
            <c:spPr>
              <a:solidFill>
                <a:srgbClr val="007770"/>
              </a:solidFill>
              <a:ln>
                <a:noFill/>
              </a:ln>
            </c:spPr>
            <c:extLst>
              <c:ext xmlns:c16="http://schemas.microsoft.com/office/drawing/2014/chart" uri="{C3380CC4-5D6E-409C-BE32-E72D297353CC}">
                <c16:uniqueId val="{0000002C-1363-534E-9C1A-39E27DF32368}"/>
              </c:ext>
            </c:extLst>
          </c:dPt>
          <c:dPt>
            <c:idx val="2"/>
            <c:invertIfNegative val="0"/>
            <c:bubble3D val="0"/>
            <c:spPr>
              <a:solidFill>
                <a:srgbClr val="007770"/>
              </a:solidFill>
              <a:ln>
                <a:noFill/>
              </a:ln>
            </c:spPr>
            <c:extLst>
              <c:ext xmlns:c16="http://schemas.microsoft.com/office/drawing/2014/chart" uri="{C3380CC4-5D6E-409C-BE32-E72D297353CC}">
                <c16:uniqueId val="{0000002D-1363-534E-9C1A-39E27DF32368}"/>
              </c:ext>
            </c:extLst>
          </c:dPt>
          <c:dPt>
            <c:idx val="5"/>
            <c:invertIfNegative val="0"/>
            <c:bubble3D val="0"/>
            <c:spPr>
              <a:solidFill>
                <a:srgbClr val="D32B96"/>
              </a:solidFill>
              <a:ln>
                <a:noFill/>
              </a:ln>
            </c:spPr>
            <c:extLst>
              <c:ext xmlns:c16="http://schemas.microsoft.com/office/drawing/2014/chart" uri="{C3380CC4-5D6E-409C-BE32-E72D297353CC}">
                <c16:uniqueId val="{0000002E-1363-534E-9C1A-39E27DF32368}"/>
              </c:ext>
            </c:extLst>
          </c:dPt>
          <c:val>
            <c:numRef>
              <c:f>Sheet1!$A$13:$F$13</c:f>
              <c:numCache>
                <c:formatCode>General</c:formatCode>
                <c:ptCount val="6"/>
                <c:pt idx="0">
                  <c:v>98.261714400000017</c:v>
                </c:pt>
                <c:pt idx="1">
                  <c:v>94.102149999999995</c:v>
                </c:pt>
                <c:pt idx="2">
                  <c:v>285.19839999999988</c:v>
                </c:pt>
                <c:pt idx="3">
                  <c:v>326.62376999999992</c:v>
                </c:pt>
                <c:pt idx="4">
                  <c:v>502.97630000000004</c:v>
                </c:pt>
                <c:pt idx="5">
                  <c:v>423.98000637218411</c:v>
                </c:pt>
              </c:numCache>
            </c:numRef>
          </c:val>
          <c:extLst>
            <c:ext xmlns:c16="http://schemas.microsoft.com/office/drawing/2014/chart" uri="{C3380CC4-5D6E-409C-BE32-E72D297353CC}">
              <c16:uniqueId val="{0000002F-1363-534E-9C1A-39E27DF32368}"/>
            </c:ext>
          </c:extLst>
        </c:ser>
        <c:ser>
          <c:idx val="13"/>
          <c:order val="13"/>
          <c:spPr>
            <a:solidFill>
              <a:srgbClr val="D32B96"/>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30-1363-534E-9C1A-39E27DF32368}"/>
              </c:ext>
            </c:extLst>
          </c:dPt>
          <c:dPt>
            <c:idx val="2"/>
            <c:invertIfNegative val="0"/>
            <c:bubble3D val="0"/>
            <c:spPr>
              <a:solidFill>
                <a:schemeClr val="accent6"/>
              </a:solidFill>
              <a:ln>
                <a:noFill/>
              </a:ln>
            </c:spPr>
            <c:extLst>
              <c:ext xmlns:c16="http://schemas.microsoft.com/office/drawing/2014/chart" uri="{C3380CC4-5D6E-409C-BE32-E72D297353CC}">
                <c16:uniqueId val="{00000031-1363-534E-9C1A-39E27DF32368}"/>
              </c:ext>
            </c:extLst>
          </c:dPt>
          <c:dPt>
            <c:idx val="5"/>
            <c:invertIfNegative val="0"/>
            <c:bubble3D val="0"/>
            <c:spPr>
              <a:solidFill>
                <a:srgbClr val="007770"/>
              </a:solidFill>
              <a:ln>
                <a:noFill/>
              </a:ln>
            </c:spPr>
            <c:extLst>
              <c:ext xmlns:c16="http://schemas.microsoft.com/office/drawing/2014/chart" uri="{C3380CC4-5D6E-409C-BE32-E72D297353CC}">
                <c16:uniqueId val="{00000032-1363-534E-9C1A-39E27DF32368}"/>
              </c:ext>
            </c:extLst>
          </c:dPt>
          <c:val>
            <c:numRef>
              <c:f>Sheet1!$A$14:$F$14</c:f>
              <c:numCache>
                <c:formatCode>General</c:formatCode>
                <c:ptCount val="6"/>
                <c:pt idx="0">
                  <c:v>265.28352100030514</c:v>
                </c:pt>
                <c:pt idx="1">
                  <c:v>111.730391</c:v>
                </c:pt>
                <c:pt idx="2">
                  <c:v>390.07926999999995</c:v>
                </c:pt>
                <c:pt idx="3">
                  <c:v>357.79156000000012</c:v>
                </c:pt>
                <c:pt idx="4">
                  <c:v>525.04836</c:v>
                </c:pt>
                <c:pt idx="5">
                  <c:v>451.46015638341714</c:v>
                </c:pt>
              </c:numCache>
            </c:numRef>
          </c:val>
          <c:extLst>
            <c:ext xmlns:c16="http://schemas.microsoft.com/office/drawing/2014/chart" uri="{C3380CC4-5D6E-409C-BE32-E72D297353CC}">
              <c16:uniqueId val="{00000033-1363-534E-9C1A-39E27DF32368}"/>
            </c:ext>
          </c:extLst>
        </c:ser>
        <c:ser>
          <c:idx val="14"/>
          <c:order val="14"/>
          <c:spPr>
            <a:solidFill>
              <a:srgbClr val="007770"/>
            </a:solidFill>
            <a:ln>
              <a:noFill/>
            </a:ln>
          </c:spPr>
          <c:invertIfNegative val="0"/>
          <c:dPt>
            <c:idx val="0"/>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34-1363-534E-9C1A-39E27DF32368}"/>
              </c:ext>
            </c:extLst>
          </c:dPt>
          <c:dPt>
            <c:idx val="2"/>
            <c:invertIfNegative val="0"/>
            <c:bubble3D val="0"/>
            <c:spPr>
              <a:pattFill prst="wdDnDiag">
                <a:fgClr>
                  <a:schemeClr val="tx1"/>
                </a:fgClr>
                <a:bgClr>
                  <a:schemeClr val="bg1"/>
                </a:bgClr>
              </a:pattFill>
              <a:ln>
                <a:noFill/>
              </a:ln>
            </c:spPr>
            <c:extLst>
              <c:ext xmlns:c16="http://schemas.microsoft.com/office/drawing/2014/chart" uri="{C3380CC4-5D6E-409C-BE32-E72D297353CC}">
                <c16:uniqueId val="{00000035-1363-534E-9C1A-39E27DF32368}"/>
              </c:ext>
            </c:extLst>
          </c:dPt>
          <c:dPt>
            <c:idx val="5"/>
            <c:invertIfNegative val="0"/>
            <c:bubble3D val="0"/>
            <c:spPr>
              <a:solidFill>
                <a:schemeClr val="accent6"/>
              </a:solidFill>
              <a:ln>
                <a:noFill/>
              </a:ln>
            </c:spPr>
            <c:extLst>
              <c:ext xmlns:c16="http://schemas.microsoft.com/office/drawing/2014/chart" uri="{C3380CC4-5D6E-409C-BE32-E72D297353CC}">
                <c16:uniqueId val="{00000036-1363-534E-9C1A-39E27DF32368}"/>
              </c:ext>
            </c:extLst>
          </c:dPt>
          <c:val>
            <c:numRef>
              <c:f>Sheet1!$A$15:$F$15</c:f>
              <c:numCache>
                <c:formatCode>General</c:formatCode>
                <c:ptCount val="6"/>
                <c:pt idx="0">
                  <c:v>0</c:v>
                </c:pt>
                <c:pt idx="1">
                  <c:v>159.86760000000004</c:v>
                </c:pt>
                <c:pt idx="2">
                  <c:v>0</c:v>
                </c:pt>
                <c:pt idx="3">
                  <c:v>438.96540000000005</c:v>
                </c:pt>
                <c:pt idx="4">
                  <c:v>561.54369999999972</c:v>
                </c:pt>
                <c:pt idx="5">
                  <c:v>505.02264753603413</c:v>
                </c:pt>
              </c:numCache>
            </c:numRef>
          </c:val>
          <c:extLst>
            <c:ext xmlns:c16="http://schemas.microsoft.com/office/drawing/2014/chart" uri="{C3380CC4-5D6E-409C-BE32-E72D297353CC}">
              <c16:uniqueId val="{00000037-1363-534E-9C1A-39E27DF32368}"/>
            </c:ext>
          </c:extLst>
        </c:ser>
        <c:ser>
          <c:idx val="15"/>
          <c:order val="15"/>
          <c:spPr>
            <a:solidFill>
              <a:schemeClr val="accent6"/>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38-1363-534E-9C1A-39E27DF32368}"/>
              </c:ext>
            </c:extLst>
          </c:dPt>
          <c:dPt>
            <c:idx val="2"/>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39-1363-534E-9C1A-39E27DF32368}"/>
              </c:ext>
            </c:extLst>
          </c:dPt>
          <c:dPt>
            <c:idx val="5"/>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3A-1363-534E-9C1A-39E27DF32368}"/>
              </c:ext>
            </c:extLst>
          </c:dPt>
          <c:val>
            <c:numRef>
              <c:f>Sheet1!$A$16:$F$16</c:f>
              <c:numCache>
                <c:formatCode>General</c:formatCode>
                <c:ptCount val="6"/>
                <c:pt idx="0">
                  <c:v>0</c:v>
                </c:pt>
                <c:pt idx="1">
                  <c:v>303.17610999999999</c:v>
                </c:pt>
                <c:pt idx="2">
                  <c:v>0</c:v>
                </c:pt>
                <c:pt idx="3">
                  <c:v>490.83477999999991</c:v>
                </c:pt>
                <c:pt idx="4">
                  <c:v>525.20089999999982</c:v>
                </c:pt>
                <c:pt idx="5">
                  <c:v>0</c:v>
                </c:pt>
              </c:numCache>
            </c:numRef>
          </c:val>
          <c:extLst>
            <c:ext xmlns:c16="http://schemas.microsoft.com/office/drawing/2014/chart" uri="{C3380CC4-5D6E-409C-BE32-E72D297353CC}">
              <c16:uniqueId val="{0000003B-1363-534E-9C1A-39E27DF32368}"/>
            </c:ext>
          </c:extLst>
        </c:ser>
        <c:dLbls>
          <c:showLegendKey val="0"/>
          <c:showVal val="0"/>
          <c:showCatName val="0"/>
          <c:showSerName val="0"/>
          <c:showPercent val="0"/>
          <c:showBubbleSize val="0"/>
        </c:dLbls>
        <c:gapWidth val="80"/>
        <c:overlap val="100"/>
        <c:axId val="1210243616"/>
        <c:axId val="1"/>
      </c:barChart>
      <c:catAx>
        <c:axId val="1210243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98.2008399999995"/>
          <c:min val="0"/>
        </c:scaling>
        <c:delete val="0"/>
        <c:axPos val="l"/>
        <c:majorGridlines>
          <c:spPr>
            <a:ln>
              <a:noFill/>
            </a:ln>
          </c:spPr>
        </c:majorGridlines>
        <c:numFmt formatCode="General" sourceLinked="1"/>
        <c:majorTickMark val="none"/>
        <c:minorTickMark val="none"/>
        <c:tickLblPos val="none"/>
        <c:spPr>
          <a:ln>
            <a:noFill/>
          </a:ln>
        </c:spPr>
        <c:crossAx val="121024361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87833827893175E-2"/>
          <c:y val="8.8940092165898613E-2"/>
          <c:w val="0.96142433234421365"/>
          <c:h val="0.8221198156682028"/>
        </c:manualLayout>
      </c:layout>
      <c:barChart>
        <c:barDir val="col"/>
        <c:grouping val="stacked"/>
        <c:varyColors val="0"/>
        <c:ser>
          <c:idx val="0"/>
          <c:order val="0"/>
          <c:spPr>
            <a:solidFill>
              <a:schemeClr val="accent2"/>
            </a:solidFill>
            <a:ln>
              <a:noFill/>
            </a:ln>
          </c:spPr>
          <c:invertIfNegative val="0"/>
          <c:dLbls>
            <c:dLbl>
              <c:idx val="1"/>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11.5</c:v>
                </c:pt>
                <c:pt idx="2">
                  <c:v>13</c:v>
                </c:pt>
                <c:pt idx="4">
                  <c:v>20</c:v>
                </c:pt>
              </c:numCache>
            </c:numRef>
          </c:val>
          <c:extLst>
            <c:ext xmlns:c16="http://schemas.microsoft.com/office/drawing/2014/chart" uri="{C3380CC4-5D6E-409C-BE32-E72D297353CC}">
              <c16:uniqueId val="{00000003-069B-E248-AD8F-EE8D9402BC4E}"/>
            </c:ext>
          </c:extLst>
        </c:ser>
        <c:ser>
          <c:idx val="1"/>
          <c:order val="1"/>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11.5</c:v>
                </c:pt>
                <c:pt idx="2">
                  <c:v>13</c:v>
                </c:pt>
                <c:pt idx="4">
                  <c:v>20</c:v>
                </c:pt>
              </c:numCache>
            </c:numRef>
          </c:val>
          <c:extLst>
            <c:ext xmlns:c16="http://schemas.microsoft.com/office/drawing/2014/chart" uri="{C3380CC4-5D6E-409C-BE32-E72D297353CC}">
              <c16:uniqueId val="{00000007-069B-E248-AD8F-EE8D9402BC4E}"/>
            </c:ext>
          </c:extLst>
        </c:ser>
        <c:ser>
          <c:idx val="2"/>
          <c:order val="2"/>
          <c:spPr>
            <a:solidFill>
              <a:schemeClr val="accent3"/>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0.75</c:v>
                </c:pt>
                <c:pt idx="2">
                  <c:v>1</c:v>
                </c:pt>
                <c:pt idx="4">
                  <c:v>10</c:v>
                </c:pt>
              </c:numCache>
            </c:numRef>
          </c:val>
          <c:extLst>
            <c:ext xmlns:c16="http://schemas.microsoft.com/office/drawing/2014/chart" uri="{C3380CC4-5D6E-409C-BE32-E72D297353CC}">
              <c16:uniqueId val="{00000009-069B-E248-AD8F-EE8D9402BC4E}"/>
            </c:ext>
          </c:extLst>
        </c:ser>
        <c:ser>
          <c:idx val="3"/>
          <c:order val="3"/>
          <c:spPr>
            <a:solidFill>
              <a:schemeClr val="accent4"/>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1">
                  <c:v>0.75</c:v>
                </c:pt>
                <c:pt idx="2">
                  <c:v>2</c:v>
                </c:pt>
                <c:pt idx="4">
                  <c:v>6</c:v>
                </c:pt>
              </c:numCache>
            </c:numRef>
          </c:val>
          <c:extLst>
            <c:ext xmlns:c16="http://schemas.microsoft.com/office/drawing/2014/chart" uri="{C3380CC4-5D6E-409C-BE32-E72D297353CC}">
              <c16:uniqueId val="{0000000B-069B-E248-AD8F-EE8D9402BC4E}"/>
            </c:ext>
          </c:extLst>
        </c:ser>
        <c:ser>
          <c:idx val="4"/>
          <c:order val="4"/>
          <c:spPr>
            <a:solidFill>
              <a:schemeClr val="accent6"/>
            </a:solidFill>
            <a:ln>
              <a:noFill/>
            </a:ln>
          </c:spPr>
          <c:invertIfNegative val="0"/>
          <c:dLbls>
            <c:dLbl>
              <c:idx val="1"/>
              <c:layout>
                <c:manualLayout>
                  <c:x val="7.6409495548961426E-2"/>
                  <c:y val="-4.608294930875576E-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9B-E248-AD8F-EE8D9402BC4E}"/>
                </c:ext>
              </c:extLst>
            </c:dLbl>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1">
                  <c:v>0.75</c:v>
                </c:pt>
                <c:pt idx="2">
                  <c:v>2</c:v>
                </c:pt>
                <c:pt idx="4">
                  <c:v>8</c:v>
                </c:pt>
              </c:numCache>
            </c:numRef>
          </c:val>
          <c:extLst>
            <c:ext xmlns:c16="http://schemas.microsoft.com/office/drawing/2014/chart" uri="{C3380CC4-5D6E-409C-BE32-E72D297353CC}">
              <c16:uniqueId val="{0000000E-069B-E248-AD8F-EE8D9402BC4E}"/>
            </c:ext>
          </c:extLst>
        </c:ser>
        <c:dLbls>
          <c:showLegendKey val="0"/>
          <c:showVal val="0"/>
          <c:showCatName val="0"/>
          <c:showSerName val="0"/>
          <c:showPercent val="0"/>
          <c:showBubbleSize val="0"/>
        </c:dLbls>
        <c:gapWidth val="80"/>
        <c:overlap val="100"/>
        <c:axId val="1580791632"/>
        <c:axId val="1"/>
      </c:barChart>
      <c:catAx>
        <c:axId val="158079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0"/>
        <c:axPos val="l"/>
        <c:majorGridlines>
          <c:spPr>
            <a:ln>
              <a:noFill/>
            </a:ln>
          </c:spPr>
        </c:majorGridlines>
        <c:numFmt formatCode="General" sourceLinked="1"/>
        <c:majorTickMark val="none"/>
        <c:minorTickMark val="none"/>
        <c:tickLblPos val="none"/>
        <c:spPr>
          <a:ln>
            <a:noFill/>
          </a:ln>
        </c:spPr>
        <c:crossAx val="158079163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87082884822389E-2"/>
          <c:y val="2.4975984630163303E-2"/>
          <c:w val="0.94402583423035524"/>
          <c:h val="0.95004803073967337"/>
        </c:manualLayout>
      </c:layout>
      <c:areaChart>
        <c:grouping val="stacked"/>
        <c:varyColors val="0"/>
        <c:ser>
          <c:idx val="0"/>
          <c:order val="0"/>
          <c:spPr>
            <a:solidFill>
              <a:srgbClr val="364D6E"/>
            </a:solidFill>
            <a:ln>
              <a:noFill/>
            </a:ln>
          </c:spPr>
          <c:val>
            <c:numRef>
              <c:f>Sheet1!$A$1:$Y$1</c:f>
              <c:numCache>
                <c:formatCode>General</c:formatCode>
                <c:ptCount val="25"/>
                <c:pt idx="0">
                  <c:v>2793</c:v>
                </c:pt>
                <c:pt idx="1">
                  <c:v>2216</c:v>
                </c:pt>
                <c:pt idx="2">
                  <c:v>2252</c:v>
                </c:pt>
                <c:pt idx="3">
                  <c:v>2133</c:v>
                </c:pt>
                <c:pt idx="4">
                  <c:v>2152</c:v>
                </c:pt>
                <c:pt idx="5">
                  <c:v>2285</c:v>
                </c:pt>
                <c:pt idx="6">
                  <c:v>2274</c:v>
                </c:pt>
                <c:pt idx="7">
                  <c:v>2214</c:v>
                </c:pt>
                <c:pt idx="8">
                  <c:v>2229</c:v>
                </c:pt>
                <c:pt idx="9">
                  <c:v>2382</c:v>
                </c:pt>
                <c:pt idx="10">
                  <c:v>2405</c:v>
                </c:pt>
                <c:pt idx="11">
                  <c:v>2409</c:v>
                </c:pt>
                <c:pt idx="12">
                  <c:v>2592</c:v>
                </c:pt>
                <c:pt idx="13">
                  <c:v>2607</c:v>
                </c:pt>
                <c:pt idx="14">
                  <c:v>2514</c:v>
                </c:pt>
                <c:pt idx="15">
                  <c:v>2542</c:v>
                </c:pt>
                <c:pt idx="16">
                  <c:v>2517</c:v>
                </c:pt>
                <c:pt idx="17">
                  <c:v>2483.3000000000002</c:v>
                </c:pt>
                <c:pt idx="18">
                  <c:v>2444.3000000000002</c:v>
                </c:pt>
                <c:pt idx="19">
                  <c:v>2555.4</c:v>
                </c:pt>
                <c:pt idx="20">
                  <c:v>2571.9</c:v>
                </c:pt>
                <c:pt idx="21">
                  <c:v>2596.6999999999998</c:v>
                </c:pt>
                <c:pt idx="22">
                  <c:v>2648.6</c:v>
                </c:pt>
                <c:pt idx="23">
                  <c:v>2695.8</c:v>
                </c:pt>
                <c:pt idx="24">
                  <c:v>2725</c:v>
                </c:pt>
              </c:numCache>
            </c:numRef>
          </c:val>
          <c:extLst>
            <c:ext xmlns:c16="http://schemas.microsoft.com/office/drawing/2014/chart" uri="{C3380CC4-5D6E-409C-BE32-E72D297353CC}">
              <c16:uniqueId val="{00000000-CAC2-F343-A59D-0483348D026F}"/>
            </c:ext>
          </c:extLst>
        </c:ser>
        <c:ser>
          <c:idx val="1"/>
          <c:order val="1"/>
          <c:spPr>
            <a:solidFill>
              <a:srgbClr val="4C6C9C"/>
            </a:solidFill>
            <a:ln>
              <a:noFill/>
            </a:ln>
          </c:spPr>
          <c:val>
            <c:numRef>
              <c:f>Sheet1!$A$2:$Y$2</c:f>
              <c:numCache>
                <c:formatCode>General</c:formatCode>
                <c:ptCount val="25"/>
                <c:pt idx="0">
                  <c:v>525</c:v>
                </c:pt>
                <c:pt idx="1">
                  <c:v>785</c:v>
                </c:pt>
                <c:pt idx="2">
                  <c:v>785</c:v>
                </c:pt>
                <c:pt idx="3">
                  <c:v>805</c:v>
                </c:pt>
                <c:pt idx="4">
                  <c:v>820</c:v>
                </c:pt>
                <c:pt idx="5">
                  <c:v>850</c:v>
                </c:pt>
                <c:pt idx="6">
                  <c:v>850</c:v>
                </c:pt>
                <c:pt idx="7">
                  <c:v>980</c:v>
                </c:pt>
                <c:pt idx="8">
                  <c:v>1052</c:v>
                </c:pt>
                <c:pt idx="9">
                  <c:v>1189</c:v>
                </c:pt>
                <c:pt idx="10">
                  <c:v>1189</c:v>
                </c:pt>
                <c:pt idx="11">
                  <c:v>1226</c:v>
                </c:pt>
                <c:pt idx="12">
                  <c:v>1336</c:v>
                </c:pt>
                <c:pt idx="13">
                  <c:v>1343.5</c:v>
                </c:pt>
                <c:pt idx="14">
                  <c:v>1403.5</c:v>
                </c:pt>
                <c:pt idx="15">
                  <c:v>1438.3000000000002</c:v>
                </c:pt>
                <c:pt idx="16">
                  <c:v>1533.3000000000002</c:v>
                </c:pt>
                <c:pt idx="17">
                  <c:v>1808.3000000000002</c:v>
                </c:pt>
                <c:pt idx="18">
                  <c:v>1948.3000000000002</c:v>
                </c:pt>
                <c:pt idx="19">
                  <c:v>2130.7000000000003</c:v>
                </c:pt>
                <c:pt idx="20">
                  <c:v>2130.7000000000003</c:v>
                </c:pt>
                <c:pt idx="21">
                  <c:v>2286.0500000000002</c:v>
                </c:pt>
                <c:pt idx="22">
                  <c:v>2360.3300000000004</c:v>
                </c:pt>
                <c:pt idx="23">
                  <c:v>2597.5100000000002</c:v>
                </c:pt>
                <c:pt idx="24">
                  <c:v>2638.8</c:v>
                </c:pt>
              </c:numCache>
            </c:numRef>
          </c:val>
          <c:extLst>
            <c:ext xmlns:c16="http://schemas.microsoft.com/office/drawing/2014/chart" uri="{C3380CC4-5D6E-409C-BE32-E72D297353CC}">
              <c16:uniqueId val="{00000001-CAC2-F343-A59D-0483348D026F}"/>
            </c:ext>
          </c:extLst>
        </c:ser>
        <c:ser>
          <c:idx val="2"/>
          <c:order val="2"/>
          <c:spPr>
            <a:solidFill>
              <a:srgbClr val="6F8DB9"/>
            </a:solidFill>
            <a:ln>
              <a:noFill/>
            </a:ln>
          </c:spPr>
          <c:val>
            <c:numRef>
              <c:f>Sheet1!$A$3:$Y$3</c:f>
              <c:numCache>
                <c:formatCode>General</c:formatCode>
                <c:ptCount val="25"/>
                <c:pt idx="0">
                  <c:v>1846.6999999999998</c:v>
                </c:pt>
                <c:pt idx="1">
                  <c:v>1846.6999999999998</c:v>
                </c:pt>
                <c:pt idx="2">
                  <c:v>1846.6999999999998</c:v>
                </c:pt>
                <c:pt idx="3">
                  <c:v>1846.6999999999998</c:v>
                </c:pt>
                <c:pt idx="4">
                  <c:v>1846.6999999999998</c:v>
                </c:pt>
                <c:pt idx="5">
                  <c:v>1846.6999999999998</c:v>
                </c:pt>
                <c:pt idx="6">
                  <c:v>1846.6999999999998</c:v>
                </c:pt>
                <c:pt idx="7">
                  <c:v>1846.6999999999998</c:v>
                </c:pt>
                <c:pt idx="8">
                  <c:v>1846.6999999999998</c:v>
                </c:pt>
                <c:pt idx="9">
                  <c:v>1846.6999999999998</c:v>
                </c:pt>
                <c:pt idx="10">
                  <c:v>1846.6999999999998</c:v>
                </c:pt>
                <c:pt idx="11">
                  <c:v>1846.6999999999998</c:v>
                </c:pt>
                <c:pt idx="12">
                  <c:v>1846.6999999999998</c:v>
                </c:pt>
                <c:pt idx="13">
                  <c:v>1846.6999999999998</c:v>
                </c:pt>
                <c:pt idx="14">
                  <c:v>1916.1000000000004</c:v>
                </c:pt>
                <c:pt idx="15">
                  <c:v>1916.0999999999995</c:v>
                </c:pt>
                <c:pt idx="16">
                  <c:v>1916.0999999999995</c:v>
                </c:pt>
                <c:pt idx="17">
                  <c:v>1916.1000000000004</c:v>
                </c:pt>
                <c:pt idx="18">
                  <c:v>1928.1000000000004</c:v>
                </c:pt>
                <c:pt idx="19">
                  <c:v>1928.1000000000004</c:v>
                </c:pt>
                <c:pt idx="20">
                  <c:v>1928.1000000000004</c:v>
                </c:pt>
                <c:pt idx="21">
                  <c:v>1928.1000000000004</c:v>
                </c:pt>
                <c:pt idx="22">
                  <c:v>1932</c:v>
                </c:pt>
                <c:pt idx="23">
                  <c:v>1951.8000000000002</c:v>
                </c:pt>
                <c:pt idx="24">
                  <c:v>1951.8000000000002</c:v>
                </c:pt>
              </c:numCache>
            </c:numRef>
          </c:val>
          <c:extLst>
            <c:ext xmlns:c16="http://schemas.microsoft.com/office/drawing/2014/chart" uri="{C3380CC4-5D6E-409C-BE32-E72D297353CC}">
              <c16:uniqueId val="{00000002-CAC2-F343-A59D-0483348D026F}"/>
            </c:ext>
          </c:extLst>
        </c:ser>
        <c:ser>
          <c:idx val="3"/>
          <c:order val="3"/>
          <c:spPr>
            <a:solidFill>
              <a:srgbClr val="9DB1CF"/>
            </a:solidFill>
            <a:ln>
              <a:noFill/>
            </a:ln>
          </c:spPr>
          <c:val>
            <c:numRef>
              <c:f>Sheet1!$A$4:$Y$4</c:f>
              <c:numCache>
                <c:formatCode>General</c:formatCode>
                <c:ptCount val="25"/>
                <c:pt idx="0">
                  <c:v>18</c:v>
                </c:pt>
                <c:pt idx="1">
                  <c:v>18</c:v>
                </c:pt>
                <c:pt idx="2">
                  <c:v>18</c:v>
                </c:pt>
                <c:pt idx="3">
                  <c:v>15</c:v>
                </c:pt>
                <c:pt idx="4">
                  <c:v>15</c:v>
                </c:pt>
                <c:pt idx="5">
                  <c:v>15</c:v>
                </c:pt>
                <c:pt idx="6">
                  <c:v>23</c:v>
                </c:pt>
                <c:pt idx="7">
                  <c:v>23</c:v>
                </c:pt>
                <c:pt idx="8">
                  <c:v>30</c:v>
                </c:pt>
                <c:pt idx="9">
                  <c:v>77</c:v>
                </c:pt>
                <c:pt idx="10">
                  <c:v>94</c:v>
                </c:pt>
                <c:pt idx="11">
                  <c:v>114</c:v>
                </c:pt>
                <c:pt idx="12">
                  <c:v>162</c:v>
                </c:pt>
                <c:pt idx="13">
                  <c:v>311</c:v>
                </c:pt>
                <c:pt idx="14">
                  <c:v>405</c:v>
                </c:pt>
                <c:pt idx="15">
                  <c:v>624</c:v>
                </c:pt>
                <c:pt idx="16">
                  <c:v>821</c:v>
                </c:pt>
                <c:pt idx="17">
                  <c:v>1063.6999999999998</c:v>
                </c:pt>
                <c:pt idx="18">
                  <c:v>1282.518</c:v>
                </c:pt>
                <c:pt idx="19">
                  <c:v>1514.6880000000001</c:v>
                </c:pt>
                <c:pt idx="20">
                  <c:v>1613.1880000000001</c:v>
                </c:pt>
                <c:pt idx="21">
                  <c:v>1676.17</c:v>
                </c:pt>
                <c:pt idx="22">
                  <c:v>1691.3379999999997</c:v>
                </c:pt>
                <c:pt idx="23">
                  <c:v>1691.3379999999997</c:v>
                </c:pt>
                <c:pt idx="24">
                  <c:v>1734.3379999999997</c:v>
                </c:pt>
              </c:numCache>
            </c:numRef>
          </c:val>
          <c:extLst>
            <c:ext xmlns:c16="http://schemas.microsoft.com/office/drawing/2014/chart" uri="{C3380CC4-5D6E-409C-BE32-E72D297353CC}">
              <c16:uniqueId val="{00000003-CAC2-F343-A59D-0483348D026F}"/>
            </c:ext>
          </c:extLst>
        </c:ser>
        <c:ser>
          <c:idx val="4"/>
          <c:order val="4"/>
          <c:spPr>
            <a:solidFill>
              <a:srgbClr val="C3CFE1"/>
            </a:solidFill>
            <a:ln>
              <a:noFill/>
            </a:ln>
          </c:spPr>
          <c:val>
            <c:numRef>
              <c:f>Sheet1!$A$5:$Y$5</c:f>
              <c:numCache>
                <c:formatCode>General</c:formatCode>
                <c:ptCount val="25"/>
                <c:pt idx="0">
                  <c:v>418</c:v>
                </c:pt>
                <c:pt idx="1">
                  <c:v>417</c:v>
                </c:pt>
                <c:pt idx="2">
                  <c:v>372</c:v>
                </c:pt>
                <c:pt idx="3">
                  <c:v>382</c:v>
                </c:pt>
                <c:pt idx="4">
                  <c:v>382</c:v>
                </c:pt>
                <c:pt idx="5">
                  <c:v>437</c:v>
                </c:pt>
                <c:pt idx="6">
                  <c:v>437</c:v>
                </c:pt>
                <c:pt idx="7">
                  <c:v>456</c:v>
                </c:pt>
                <c:pt idx="8">
                  <c:v>578</c:v>
                </c:pt>
                <c:pt idx="9">
                  <c:v>617</c:v>
                </c:pt>
                <c:pt idx="10">
                  <c:v>742</c:v>
                </c:pt>
                <c:pt idx="11">
                  <c:v>742</c:v>
                </c:pt>
                <c:pt idx="12">
                  <c:v>768</c:v>
                </c:pt>
                <c:pt idx="13">
                  <c:v>840</c:v>
                </c:pt>
                <c:pt idx="14">
                  <c:v>966</c:v>
                </c:pt>
                <c:pt idx="15">
                  <c:v>990</c:v>
                </c:pt>
                <c:pt idx="16">
                  <c:v>985</c:v>
                </c:pt>
                <c:pt idx="17">
                  <c:v>985.00000000000091</c:v>
                </c:pt>
                <c:pt idx="18">
                  <c:v>1009</c:v>
                </c:pt>
                <c:pt idx="19">
                  <c:v>1009</c:v>
                </c:pt>
                <c:pt idx="20">
                  <c:v>1043</c:v>
                </c:pt>
                <c:pt idx="21">
                  <c:v>1043</c:v>
                </c:pt>
                <c:pt idx="22">
                  <c:v>1050</c:v>
                </c:pt>
                <c:pt idx="23">
                  <c:v>1050</c:v>
                </c:pt>
                <c:pt idx="24">
                  <c:v>1275.3999999999996</c:v>
                </c:pt>
              </c:numCache>
            </c:numRef>
          </c:val>
          <c:extLst>
            <c:ext xmlns:c16="http://schemas.microsoft.com/office/drawing/2014/chart" uri="{C3380CC4-5D6E-409C-BE32-E72D297353CC}">
              <c16:uniqueId val="{00000004-CAC2-F343-A59D-0483348D026F}"/>
            </c:ext>
          </c:extLst>
        </c:ser>
        <c:ser>
          <c:idx val="5"/>
          <c:order val="5"/>
          <c:spPr>
            <a:solidFill>
              <a:srgbClr val="DFE5EF"/>
            </a:solidFill>
            <a:ln>
              <a:noFill/>
            </a:ln>
          </c:spPr>
          <c:val>
            <c:numRef>
              <c:f>Sheet1!$A$6:$Y$6</c:f>
              <c:numCache>
                <c:formatCode>General</c:formatCode>
                <c:ptCount val="25"/>
                <c:pt idx="0">
                  <c:v>843</c:v>
                </c:pt>
                <c:pt idx="1">
                  <c:v>843</c:v>
                </c:pt>
                <c:pt idx="2">
                  <c:v>853</c:v>
                </c:pt>
                <c:pt idx="3">
                  <c:v>953</c:v>
                </c:pt>
                <c:pt idx="4">
                  <c:v>953</c:v>
                </c:pt>
                <c:pt idx="5">
                  <c:v>953</c:v>
                </c:pt>
                <c:pt idx="6">
                  <c:v>953</c:v>
                </c:pt>
                <c:pt idx="7">
                  <c:v>958</c:v>
                </c:pt>
                <c:pt idx="8">
                  <c:v>958</c:v>
                </c:pt>
                <c:pt idx="9">
                  <c:v>958</c:v>
                </c:pt>
                <c:pt idx="10">
                  <c:v>883</c:v>
                </c:pt>
                <c:pt idx="11">
                  <c:v>808</c:v>
                </c:pt>
                <c:pt idx="12">
                  <c:v>833</c:v>
                </c:pt>
                <c:pt idx="13">
                  <c:v>858</c:v>
                </c:pt>
                <c:pt idx="14">
                  <c:v>868</c:v>
                </c:pt>
                <c:pt idx="15">
                  <c:v>898</c:v>
                </c:pt>
                <c:pt idx="16">
                  <c:v>923.5</c:v>
                </c:pt>
                <c:pt idx="17">
                  <c:v>948.5</c:v>
                </c:pt>
                <c:pt idx="18">
                  <c:v>948.5</c:v>
                </c:pt>
                <c:pt idx="19">
                  <c:v>973.5</c:v>
                </c:pt>
                <c:pt idx="20">
                  <c:v>973.5</c:v>
                </c:pt>
                <c:pt idx="21">
                  <c:v>998.5</c:v>
                </c:pt>
                <c:pt idx="22">
                  <c:v>998.5</c:v>
                </c:pt>
                <c:pt idx="23">
                  <c:v>998.5</c:v>
                </c:pt>
                <c:pt idx="24">
                  <c:v>998.5</c:v>
                </c:pt>
              </c:numCache>
            </c:numRef>
          </c:val>
          <c:extLst>
            <c:ext xmlns:c16="http://schemas.microsoft.com/office/drawing/2014/chart" uri="{C3380CC4-5D6E-409C-BE32-E72D297353CC}">
              <c16:uniqueId val="{00000005-CAC2-F343-A59D-0483348D026F}"/>
            </c:ext>
          </c:extLst>
        </c:ser>
        <c:ser>
          <c:idx val="6"/>
          <c:order val="6"/>
          <c:spPr>
            <a:solidFill>
              <a:srgbClr val="C0C0C0"/>
            </a:solidFill>
            <a:ln>
              <a:noFill/>
            </a:ln>
          </c:spPr>
          <c:val>
            <c:numRef>
              <c:f>Sheet1!$A$7:$Y$7</c:f>
              <c:numCache>
                <c:formatCode>General</c:formatCode>
                <c:ptCount val="25"/>
                <c:pt idx="0">
                  <c:v>58</c:v>
                </c:pt>
                <c:pt idx="1">
                  <c:v>58</c:v>
                </c:pt>
                <c:pt idx="2">
                  <c:v>58</c:v>
                </c:pt>
                <c:pt idx="3">
                  <c:v>58</c:v>
                </c:pt>
                <c:pt idx="4">
                  <c:v>128</c:v>
                </c:pt>
                <c:pt idx="5">
                  <c:v>128</c:v>
                </c:pt>
                <c:pt idx="6">
                  <c:v>128</c:v>
                </c:pt>
                <c:pt idx="7">
                  <c:v>128</c:v>
                </c:pt>
                <c:pt idx="8">
                  <c:v>128</c:v>
                </c:pt>
                <c:pt idx="9">
                  <c:v>163</c:v>
                </c:pt>
                <c:pt idx="10">
                  <c:v>198</c:v>
                </c:pt>
                <c:pt idx="11">
                  <c:v>198</c:v>
                </c:pt>
                <c:pt idx="12">
                  <c:v>205.5</c:v>
                </c:pt>
                <c:pt idx="13">
                  <c:v>205.5</c:v>
                </c:pt>
                <c:pt idx="14">
                  <c:v>366.10000000000036</c:v>
                </c:pt>
                <c:pt idx="15">
                  <c:v>618.89999999999964</c:v>
                </c:pt>
                <c:pt idx="16">
                  <c:v>652.89999999999964</c:v>
                </c:pt>
                <c:pt idx="17">
                  <c:v>672.89999999999964</c:v>
                </c:pt>
                <c:pt idx="18">
                  <c:v>683.79999999999927</c:v>
                </c:pt>
                <c:pt idx="19">
                  <c:v>683.79999999999927</c:v>
                </c:pt>
                <c:pt idx="20">
                  <c:v>863.1299999999992</c:v>
                </c:pt>
                <c:pt idx="21">
                  <c:v>863.1299999999992</c:v>
                </c:pt>
                <c:pt idx="22">
                  <c:v>949.72999999999956</c:v>
                </c:pt>
                <c:pt idx="23">
                  <c:v>984.72999999999956</c:v>
                </c:pt>
                <c:pt idx="24">
                  <c:v>939.72999999999956</c:v>
                </c:pt>
              </c:numCache>
            </c:numRef>
          </c:val>
          <c:extLst>
            <c:ext xmlns:c16="http://schemas.microsoft.com/office/drawing/2014/chart" uri="{C3380CC4-5D6E-409C-BE32-E72D297353CC}">
              <c16:uniqueId val="{00000006-CAC2-F343-A59D-0483348D026F}"/>
            </c:ext>
          </c:extLst>
        </c:ser>
        <c:ser>
          <c:idx val="7"/>
          <c:order val="7"/>
          <c:spPr>
            <a:solidFill>
              <a:srgbClr val="969696"/>
            </a:solidFill>
            <a:ln>
              <a:noFill/>
            </a:ln>
          </c:spPr>
          <c:val>
            <c:numRef>
              <c:f>Sheet1!$A$8:$Y$8</c:f>
              <c:numCache>
                <c:formatCode>General</c:formatCode>
                <c:ptCount val="25"/>
                <c:pt idx="0">
                  <c:v>172</c:v>
                </c:pt>
                <c:pt idx="1">
                  <c:v>202</c:v>
                </c:pt>
                <c:pt idx="2">
                  <c:v>202</c:v>
                </c:pt>
                <c:pt idx="3">
                  <c:v>202</c:v>
                </c:pt>
                <c:pt idx="4">
                  <c:v>202</c:v>
                </c:pt>
                <c:pt idx="5">
                  <c:v>232</c:v>
                </c:pt>
                <c:pt idx="6">
                  <c:v>422</c:v>
                </c:pt>
                <c:pt idx="7">
                  <c:v>485</c:v>
                </c:pt>
                <c:pt idx="8">
                  <c:v>575</c:v>
                </c:pt>
                <c:pt idx="9">
                  <c:v>575</c:v>
                </c:pt>
                <c:pt idx="10">
                  <c:v>575</c:v>
                </c:pt>
                <c:pt idx="11">
                  <c:v>665</c:v>
                </c:pt>
                <c:pt idx="12">
                  <c:v>665.00000000000091</c:v>
                </c:pt>
                <c:pt idx="13">
                  <c:v>665.00000000000091</c:v>
                </c:pt>
                <c:pt idx="14">
                  <c:v>665</c:v>
                </c:pt>
                <c:pt idx="15">
                  <c:v>665</c:v>
                </c:pt>
                <c:pt idx="16">
                  <c:v>665</c:v>
                </c:pt>
                <c:pt idx="17">
                  <c:v>709.95800000000054</c:v>
                </c:pt>
                <c:pt idx="18">
                  <c:v>755.5580000000009</c:v>
                </c:pt>
                <c:pt idx="19">
                  <c:v>755.55799999999908</c:v>
                </c:pt>
                <c:pt idx="20">
                  <c:v>756.15799999999945</c:v>
                </c:pt>
                <c:pt idx="21">
                  <c:v>756.20800000000054</c:v>
                </c:pt>
                <c:pt idx="22">
                  <c:v>757.57999999999993</c:v>
                </c:pt>
                <c:pt idx="23">
                  <c:v>787.57999999999993</c:v>
                </c:pt>
                <c:pt idx="24">
                  <c:v>787.57999999999993</c:v>
                </c:pt>
              </c:numCache>
            </c:numRef>
          </c:val>
          <c:extLst>
            <c:ext xmlns:c16="http://schemas.microsoft.com/office/drawing/2014/chart" uri="{C3380CC4-5D6E-409C-BE32-E72D297353CC}">
              <c16:uniqueId val="{00000007-CAC2-F343-A59D-0483348D026F}"/>
            </c:ext>
          </c:extLst>
        </c:ser>
        <c:ser>
          <c:idx val="8"/>
          <c:order val="8"/>
          <c:spPr>
            <a:solidFill>
              <a:srgbClr val="808080"/>
            </a:solidFill>
            <a:ln>
              <a:noFill/>
            </a:ln>
          </c:spPr>
          <c:val>
            <c:numRef>
              <c:f>Sheet1!$A$9:$Y$9</c:f>
              <c:numCache>
                <c:formatCode>General</c:formatCode>
                <c:ptCount val="25"/>
                <c:pt idx="0">
                  <c:v>590</c:v>
                </c:pt>
                <c:pt idx="1">
                  <c:v>573</c:v>
                </c:pt>
                <c:pt idx="2">
                  <c:v>666</c:v>
                </c:pt>
                <c:pt idx="3">
                  <c:v>707</c:v>
                </c:pt>
                <c:pt idx="4">
                  <c:v>642</c:v>
                </c:pt>
                <c:pt idx="5">
                  <c:v>671</c:v>
                </c:pt>
                <c:pt idx="6">
                  <c:v>671</c:v>
                </c:pt>
                <c:pt idx="7">
                  <c:v>671</c:v>
                </c:pt>
                <c:pt idx="8">
                  <c:v>671</c:v>
                </c:pt>
                <c:pt idx="9">
                  <c:v>695.00000000000091</c:v>
                </c:pt>
                <c:pt idx="10">
                  <c:v>728.00000000000091</c:v>
                </c:pt>
                <c:pt idx="11">
                  <c:v>728.00000000000091</c:v>
                </c:pt>
                <c:pt idx="12">
                  <c:v>728</c:v>
                </c:pt>
                <c:pt idx="13">
                  <c:v>729</c:v>
                </c:pt>
                <c:pt idx="14">
                  <c:v>768</c:v>
                </c:pt>
                <c:pt idx="15">
                  <c:v>768</c:v>
                </c:pt>
                <c:pt idx="16">
                  <c:v>767</c:v>
                </c:pt>
                <c:pt idx="17">
                  <c:v>767.19000000000051</c:v>
                </c:pt>
                <c:pt idx="18">
                  <c:v>767.19000000000051</c:v>
                </c:pt>
                <c:pt idx="19">
                  <c:v>767.19000000000051</c:v>
                </c:pt>
                <c:pt idx="20">
                  <c:v>771.79000000000087</c:v>
                </c:pt>
                <c:pt idx="21">
                  <c:v>771.79000000000087</c:v>
                </c:pt>
                <c:pt idx="22">
                  <c:v>771.78999999999905</c:v>
                </c:pt>
                <c:pt idx="23">
                  <c:v>771.78999999999905</c:v>
                </c:pt>
                <c:pt idx="24">
                  <c:v>771.78999999999905</c:v>
                </c:pt>
              </c:numCache>
            </c:numRef>
          </c:val>
          <c:extLst>
            <c:ext xmlns:c16="http://schemas.microsoft.com/office/drawing/2014/chart" uri="{C3380CC4-5D6E-409C-BE32-E72D297353CC}">
              <c16:uniqueId val="{00000008-CAC2-F343-A59D-0483348D026F}"/>
            </c:ext>
          </c:extLst>
        </c:ser>
        <c:ser>
          <c:idx val="9"/>
          <c:order val="9"/>
          <c:spPr>
            <a:solidFill>
              <a:schemeClr val="bg2"/>
            </a:solidFill>
            <a:ln>
              <a:noFill/>
            </a:ln>
          </c:spPr>
          <c:val>
            <c:numRef>
              <c:f>Sheet1!$A$10:$Y$10</c:f>
              <c:numCache>
                <c:formatCode>General</c:formatCode>
                <c:ptCount val="25"/>
                <c:pt idx="0">
                  <c:v>533</c:v>
                </c:pt>
                <c:pt idx="1">
                  <c:v>533</c:v>
                </c:pt>
                <c:pt idx="2">
                  <c:v>533</c:v>
                </c:pt>
                <c:pt idx="3">
                  <c:v>535</c:v>
                </c:pt>
                <c:pt idx="4">
                  <c:v>535</c:v>
                </c:pt>
                <c:pt idx="5">
                  <c:v>535</c:v>
                </c:pt>
                <c:pt idx="6">
                  <c:v>532</c:v>
                </c:pt>
                <c:pt idx="7">
                  <c:v>532.00000000000091</c:v>
                </c:pt>
                <c:pt idx="8">
                  <c:v>532.00000000000091</c:v>
                </c:pt>
                <c:pt idx="9">
                  <c:v>535</c:v>
                </c:pt>
                <c:pt idx="10">
                  <c:v>537</c:v>
                </c:pt>
                <c:pt idx="11">
                  <c:v>537</c:v>
                </c:pt>
                <c:pt idx="12">
                  <c:v>512</c:v>
                </c:pt>
                <c:pt idx="13">
                  <c:v>512</c:v>
                </c:pt>
                <c:pt idx="14">
                  <c:v>508</c:v>
                </c:pt>
                <c:pt idx="15">
                  <c:v>516</c:v>
                </c:pt>
                <c:pt idx="16">
                  <c:v>526</c:v>
                </c:pt>
                <c:pt idx="17">
                  <c:v>471.36599999999999</c:v>
                </c:pt>
                <c:pt idx="18">
                  <c:v>473.11499999999978</c:v>
                </c:pt>
                <c:pt idx="19">
                  <c:v>480.71399999999994</c:v>
                </c:pt>
                <c:pt idx="20">
                  <c:v>487.00400000000081</c:v>
                </c:pt>
                <c:pt idx="21">
                  <c:v>486.81400000000031</c:v>
                </c:pt>
                <c:pt idx="22">
                  <c:v>436.81400000000031</c:v>
                </c:pt>
                <c:pt idx="23">
                  <c:v>456.05400000000009</c:v>
                </c:pt>
                <c:pt idx="24">
                  <c:v>489.05400000000009</c:v>
                </c:pt>
              </c:numCache>
            </c:numRef>
          </c:val>
          <c:extLst>
            <c:ext xmlns:c16="http://schemas.microsoft.com/office/drawing/2014/chart" uri="{C3380CC4-5D6E-409C-BE32-E72D297353CC}">
              <c16:uniqueId val="{00000009-CAC2-F343-A59D-0483348D026F}"/>
            </c:ext>
          </c:extLst>
        </c:ser>
        <c:ser>
          <c:idx val="10"/>
          <c:order val="10"/>
          <c:spPr>
            <a:solidFill>
              <a:schemeClr val="tx2"/>
            </a:solidFill>
            <a:ln>
              <a:noFill/>
            </a:ln>
          </c:spPr>
          <c:val>
            <c:numRef>
              <c:f>Sheet1!$A$11:$Y$11</c:f>
              <c:numCache>
                <c:formatCode>General</c:formatCode>
                <c:ptCount val="25"/>
                <c:pt idx="0">
                  <c:v>144.71000000000004</c:v>
                </c:pt>
                <c:pt idx="1">
                  <c:v>144.71000000000004</c:v>
                </c:pt>
                <c:pt idx="2">
                  <c:v>144.71000000000004</c:v>
                </c:pt>
                <c:pt idx="3">
                  <c:v>162.71000000000004</c:v>
                </c:pt>
                <c:pt idx="4">
                  <c:v>165.71000000000004</c:v>
                </c:pt>
                <c:pt idx="5">
                  <c:v>165.71100000000024</c:v>
                </c:pt>
                <c:pt idx="6">
                  <c:v>165.71100000000024</c:v>
                </c:pt>
                <c:pt idx="7">
                  <c:v>165.71099999999933</c:v>
                </c:pt>
                <c:pt idx="8">
                  <c:v>165.71099999999933</c:v>
                </c:pt>
                <c:pt idx="9">
                  <c:v>165.71099999999933</c:v>
                </c:pt>
                <c:pt idx="10">
                  <c:v>165.71099999999933</c:v>
                </c:pt>
                <c:pt idx="11">
                  <c:v>217.46099999999933</c:v>
                </c:pt>
                <c:pt idx="12">
                  <c:v>217.46099999999933</c:v>
                </c:pt>
                <c:pt idx="13">
                  <c:v>217.46099999999933</c:v>
                </c:pt>
                <c:pt idx="14">
                  <c:v>217.46099999999933</c:v>
                </c:pt>
                <c:pt idx="15">
                  <c:v>217.36100000000079</c:v>
                </c:pt>
                <c:pt idx="16">
                  <c:v>206.86000000000058</c:v>
                </c:pt>
                <c:pt idx="17">
                  <c:v>206.86000000000058</c:v>
                </c:pt>
                <c:pt idx="18">
                  <c:v>206.86000000000058</c:v>
                </c:pt>
                <c:pt idx="19">
                  <c:v>261.86000000000058</c:v>
                </c:pt>
                <c:pt idx="20">
                  <c:v>261.86000000000058</c:v>
                </c:pt>
                <c:pt idx="21">
                  <c:v>258.84000000000015</c:v>
                </c:pt>
                <c:pt idx="22">
                  <c:v>262.65999999999985</c:v>
                </c:pt>
                <c:pt idx="23">
                  <c:v>262.65999999999985</c:v>
                </c:pt>
                <c:pt idx="24">
                  <c:v>262.65999999999985</c:v>
                </c:pt>
              </c:numCache>
            </c:numRef>
          </c:val>
          <c:extLst>
            <c:ext xmlns:c16="http://schemas.microsoft.com/office/drawing/2014/chart" uri="{C3380CC4-5D6E-409C-BE32-E72D297353CC}">
              <c16:uniqueId val="{0000000A-CAC2-F343-A59D-0483348D026F}"/>
            </c:ext>
          </c:extLst>
        </c:ser>
        <c:ser>
          <c:idx val="11"/>
          <c:order val="11"/>
          <c:spPr>
            <a:solidFill>
              <a:srgbClr val="C0C0C0"/>
            </a:solidFill>
            <a:ln>
              <a:noFill/>
            </a:ln>
          </c:spPr>
          <c:val>
            <c:numRef>
              <c:f>Sheet1!$A$12:$Y$12</c:f>
              <c:numCache>
                <c:formatCode>General</c:formatCode>
                <c:ptCount val="25"/>
                <c:pt idx="0">
                  <c:v>332</c:v>
                </c:pt>
                <c:pt idx="1">
                  <c:v>377.54166666666697</c:v>
                </c:pt>
                <c:pt idx="2">
                  <c:v>423.08333333333303</c:v>
                </c:pt>
                <c:pt idx="3">
                  <c:v>468.625</c:v>
                </c:pt>
                <c:pt idx="4">
                  <c:v>514.16666666666606</c:v>
                </c:pt>
                <c:pt idx="5">
                  <c:v>559.70833333333394</c:v>
                </c:pt>
                <c:pt idx="6">
                  <c:v>605.25</c:v>
                </c:pt>
                <c:pt idx="7">
                  <c:v>650.79166666666606</c:v>
                </c:pt>
                <c:pt idx="8">
                  <c:v>696.33333333333394</c:v>
                </c:pt>
                <c:pt idx="9">
                  <c:v>741.875</c:v>
                </c:pt>
                <c:pt idx="10">
                  <c:v>787.41666666666606</c:v>
                </c:pt>
                <c:pt idx="11">
                  <c:v>832.95833333333394</c:v>
                </c:pt>
                <c:pt idx="12">
                  <c:v>878.5</c:v>
                </c:pt>
                <c:pt idx="13">
                  <c:v>924.04166666666606</c:v>
                </c:pt>
                <c:pt idx="14">
                  <c:v>969.58333333333394</c:v>
                </c:pt>
                <c:pt idx="15">
                  <c:v>1015.125</c:v>
                </c:pt>
                <c:pt idx="16">
                  <c:v>1060.6666666666661</c:v>
                </c:pt>
                <c:pt idx="17">
                  <c:v>1106.2083333333339</c:v>
                </c:pt>
                <c:pt idx="18">
                  <c:v>1151.75</c:v>
                </c:pt>
                <c:pt idx="19">
                  <c:v>1197.2916666666661</c:v>
                </c:pt>
                <c:pt idx="20">
                  <c:v>1242.8333333333339</c:v>
                </c:pt>
                <c:pt idx="21">
                  <c:v>1288.375</c:v>
                </c:pt>
                <c:pt idx="22">
                  <c:v>1333.9166666666661</c:v>
                </c:pt>
                <c:pt idx="23">
                  <c:v>1379.4583333333339</c:v>
                </c:pt>
                <c:pt idx="24">
                  <c:v>1425</c:v>
                </c:pt>
              </c:numCache>
            </c:numRef>
          </c:val>
          <c:extLst>
            <c:ext xmlns:c16="http://schemas.microsoft.com/office/drawing/2014/chart" uri="{C3380CC4-5D6E-409C-BE32-E72D297353CC}">
              <c16:uniqueId val="{0000000B-CAC2-F343-A59D-0483348D026F}"/>
            </c:ext>
          </c:extLst>
        </c:ser>
        <c:dLbls>
          <c:showLegendKey val="0"/>
          <c:showVal val="0"/>
          <c:showCatName val="0"/>
          <c:showSerName val="0"/>
          <c:showPercent val="0"/>
          <c:showBubbleSize val="0"/>
        </c:dLbls>
        <c:axId val="112403279"/>
        <c:axId val="1"/>
      </c:areaChart>
      <c:catAx>
        <c:axId val="112403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12403279"/>
        <c:crosses val="min"/>
        <c:crossBetween val="midCat"/>
        <c:majorUnit val="1000"/>
      </c:valAx>
    </c:plotArea>
    <c:plotVisOnly val="0"/>
    <c:dispBlanksAs val="zero"/>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Breakthrough Energy</cx:pt>
          <cx:pt idx="1">Mercuria</cx:pt>
          <cx:pt idx="2">XRL</cx:pt>
          <cx:pt idx="3">Total Financing</cx:pt>
        </cx:lvl>
      </cx:strDim>
      <cx:numDim type="val">
        <cx:f>Sheet1!$B$2:$B$5</cx:f>
        <cx:lvl ptCount="4" formatCode="General">
          <cx:pt idx="0">100</cx:pt>
          <cx:pt idx="1">60</cx:pt>
          <cx:pt idx="2">45.600000000000001</cx:pt>
          <cx:pt idx="3">206</cx:pt>
        </cx:lvl>
      </cx:numDim>
    </cx:data>
  </cx:chartData>
  <cx:chart>
    <cx:title pos="t" align="ctr" overlay="0">
      <cx:txPr>
        <a:bodyPr spcFirstLastPara="1" vertOverflow="ellipsis" horzOverflow="overflow" wrap="square" lIns="0" tIns="0" rIns="0" bIns="0" anchor="ctr" anchorCtr="1"/>
        <a:lstStyle/>
        <a:p>
          <a:pPr algn="ctr" rtl="0">
            <a:defRPr/>
          </a:pPr>
          <a:endParaRPr lang="en-US" sz="1862" b="0" i="0" u="none" strike="noStrike" baseline="0" dirty="0">
            <a:solidFill>
              <a:srgbClr val="000000">
                <a:lumMod val="65000"/>
                <a:lumOff val="35000"/>
              </a:srgbClr>
            </a:solidFill>
            <a:latin typeface="Arial"/>
          </a:endParaRPr>
        </a:p>
      </cx:txPr>
    </cx:title>
    <cx:plotArea>
      <cx:plotAreaRegion>
        <cx:plotSurface>
          <cx:spPr>
            <a:ln w="9525">
              <a:solidFill>
                <a:schemeClr val="bg1"/>
              </a:solidFill>
            </a:ln>
          </cx:spPr>
        </cx:plotSurface>
        <cx:series layoutId="waterfall" uniqueId="{2D0D6957-BE3E-C640-A5F6-646B0F08C0FD}">
          <cx:tx>
            <cx:txData>
              <cx:f>Sheet1!$B$1</cx:f>
              <cx:v>Series1</cx:v>
            </cx:txData>
          </cx:tx>
          <cx:dataPt idx="0">
            <cx:spPr>
              <a:solidFill>
                <a:srgbClr val="33A398"/>
              </a:solidFill>
            </cx:spPr>
          </cx:dataPt>
          <cx:dataPt idx="1">
            <cx:spPr>
              <a:solidFill>
                <a:srgbClr val="A93CA7"/>
              </a:solidFill>
            </cx:spPr>
          </cx:dataPt>
          <cx:dataPt idx="2">
            <cx:spPr>
              <a:solidFill>
                <a:srgbClr val="009BDB"/>
              </a:solidFill>
            </cx:spPr>
          </cx:dataPt>
          <cx:dataPt idx="3">
            <cx:spPr>
              <a:solidFill>
                <a:srgbClr val="7E5BCA"/>
              </a:solidFill>
            </cx:spPr>
          </cx:dataPt>
          <cx:dataLabels/>
          <cx:dataId val="0"/>
          <cx:layoutPr>
            <cx:visibility connectorLines="1"/>
            <cx:subtotals>
              <cx:idx val="3"/>
            </cx:subtotals>
          </cx:layoutPr>
        </cx:series>
      </cx:plotAreaRegion>
      <cx:axis id="0">
        <cx:catScaling gapWidth="0.5"/>
        <cx:tickLabels/>
        <cx:txPr>
          <a:bodyPr spcFirstLastPara="1" vertOverflow="ellipsis" horzOverflow="overflow" wrap="square" lIns="0" tIns="0" rIns="0" bIns="0" anchor="ctr" anchorCtr="1"/>
          <a:lstStyle/>
          <a:p>
            <a:pPr algn="ctr" rtl="0">
              <a:defRPr sz="800">
                <a:solidFill>
                  <a:schemeClr val="tx1"/>
                </a:solidFill>
              </a:defRPr>
            </a:pPr>
            <a:endParaRPr lang="en-US" sz="800" b="0" i="0" u="none" strike="noStrike" baseline="0">
              <a:solidFill>
                <a:schemeClr val="tx1"/>
              </a:solidFill>
              <a:latin typeface="Arial"/>
            </a:endParaRPr>
          </a:p>
        </cx:txPr>
      </cx:axis>
      <cx:axis id="1" hidden="1">
        <cx:valScaling/>
        <cx:tickLabels/>
      </cx:axis>
    </cx:plotArea>
  </cx:chart>
  <cx:fmtOvrs>
    <cx:fmtOvr idx="2">
      <cx:spPr>
        <a:solidFill>
          <a:srgbClr val="00B050"/>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7E5EE8-3FCA-6A46-8B30-4AC59D102838}" type="doc">
      <dgm:prSet loTypeId="urn:microsoft.com/office/officeart/2005/8/layout/chevron1" loCatId="" qsTypeId="urn:microsoft.com/office/officeart/2005/8/quickstyle/simple1" qsCatId="simple" csTypeId="urn:microsoft.com/office/officeart/2005/8/colors/accent5_5" csCatId="accent5" phldr="1"/>
      <dgm:spPr/>
      <dgm:t>
        <a:bodyPr/>
        <a:lstStyle/>
        <a:p>
          <a:endParaRPr lang="en-US"/>
        </a:p>
      </dgm:t>
    </dgm:pt>
    <dgm:pt modelId="{E43E7AA4-338D-9B40-B426-B7489EE7E23C}">
      <dgm:prSet phldrT="[Text]"/>
      <dgm:spPr>
        <a:solidFill>
          <a:schemeClr val="accent1">
            <a:lumMod val="75000"/>
          </a:schemeClr>
        </a:solidFill>
      </dgm:spPr>
      <dgm:t>
        <a:bodyPr/>
        <a:lstStyle/>
        <a:p>
          <a:r>
            <a:rPr lang="en-US" dirty="0"/>
            <a:t>Rainfall flows from higher elevations into the ground.</a:t>
          </a:r>
        </a:p>
      </dgm:t>
    </dgm:pt>
    <dgm:pt modelId="{6EF847EF-FDEA-4B4D-95C3-E90541F6EE65}" type="parTrans" cxnId="{1584F718-62FA-AC42-BC53-E70E02A4FB90}">
      <dgm:prSet/>
      <dgm:spPr/>
      <dgm:t>
        <a:bodyPr/>
        <a:lstStyle/>
        <a:p>
          <a:endParaRPr lang="en-US"/>
        </a:p>
      </dgm:t>
    </dgm:pt>
    <dgm:pt modelId="{F69C1AD5-C409-4547-854A-90E023F08001}" type="sibTrans" cxnId="{1584F718-62FA-AC42-BC53-E70E02A4FB90}">
      <dgm:prSet/>
      <dgm:spPr/>
      <dgm:t>
        <a:bodyPr/>
        <a:lstStyle/>
        <a:p>
          <a:endParaRPr lang="en-US"/>
        </a:p>
      </dgm:t>
    </dgm:pt>
    <dgm:pt modelId="{3F2104C0-67AC-CF41-BEC0-9684A3A03C7A}">
      <dgm:prSet phldrT="[Text]"/>
      <dgm:spPr>
        <a:solidFill>
          <a:schemeClr val="accent1">
            <a:lumMod val="75000"/>
          </a:schemeClr>
        </a:solidFill>
      </dgm:spPr>
      <dgm:t>
        <a:bodyPr/>
        <a:lstStyle/>
        <a:p>
          <a:r>
            <a:rPr lang="en-US" dirty="0"/>
            <a:t>Water is heated by surrounding rock.</a:t>
          </a:r>
        </a:p>
      </dgm:t>
    </dgm:pt>
    <dgm:pt modelId="{A9A1199E-F3C4-5247-A990-08917A97E38B}" type="parTrans" cxnId="{9E83213F-C432-1641-9295-D0EB8DB5ACC2}">
      <dgm:prSet/>
      <dgm:spPr/>
      <dgm:t>
        <a:bodyPr/>
        <a:lstStyle/>
        <a:p>
          <a:endParaRPr lang="en-US"/>
        </a:p>
      </dgm:t>
    </dgm:pt>
    <dgm:pt modelId="{1E29638E-E4F2-5346-BC64-048DC08FEB1E}" type="sibTrans" cxnId="{9E83213F-C432-1641-9295-D0EB8DB5ACC2}">
      <dgm:prSet/>
      <dgm:spPr/>
      <dgm:t>
        <a:bodyPr/>
        <a:lstStyle/>
        <a:p>
          <a:endParaRPr lang="en-US"/>
        </a:p>
      </dgm:t>
    </dgm:pt>
    <dgm:pt modelId="{7CEE035F-B967-9046-929C-10D48652242E}">
      <dgm:prSet phldrT="[Text]"/>
      <dgm:spPr>
        <a:solidFill>
          <a:schemeClr val="accent1">
            <a:lumMod val="75000"/>
          </a:schemeClr>
        </a:solidFill>
      </dgm:spPr>
      <dgm:t>
        <a:bodyPr/>
        <a:lstStyle/>
        <a:p>
          <a:r>
            <a:rPr lang="en-US" dirty="0"/>
            <a:t>Water travels through faults and fractures.</a:t>
          </a:r>
        </a:p>
      </dgm:t>
    </dgm:pt>
    <dgm:pt modelId="{8731644A-5F3F-7B45-82BC-5E7ADD29A8A9}" type="parTrans" cxnId="{6189674D-EE60-8E41-B302-7BB10BB2CBFF}">
      <dgm:prSet/>
      <dgm:spPr/>
      <dgm:t>
        <a:bodyPr/>
        <a:lstStyle/>
        <a:p>
          <a:endParaRPr lang="en-US"/>
        </a:p>
      </dgm:t>
    </dgm:pt>
    <dgm:pt modelId="{F3526743-1534-A44B-B1E7-1CA772D0295F}" type="sibTrans" cxnId="{6189674D-EE60-8E41-B302-7BB10BB2CBFF}">
      <dgm:prSet/>
      <dgm:spPr/>
      <dgm:t>
        <a:bodyPr/>
        <a:lstStyle/>
        <a:p>
          <a:endParaRPr lang="en-US"/>
        </a:p>
      </dgm:t>
    </dgm:pt>
    <dgm:pt modelId="{86A8C032-F93E-4E47-B504-2FB3B51320E0}">
      <dgm:prSet phldrT="[Text]"/>
      <dgm:spPr>
        <a:solidFill>
          <a:schemeClr val="accent1">
            <a:lumMod val="75000"/>
          </a:schemeClr>
        </a:solidFill>
      </dgm:spPr>
      <dgm:t>
        <a:bodyPr/>
        <a:lstStyle/>
        <a:p>
          <a:r>
            <a:rPr lang="en-US" dirty="0"/>
            <a:t>Permeable rock traps and stores rising hot water or steam.</a:t>
          </a:r>
        </a:p>
      </dgm:t>
    </dgm:pt>
    <dgm:pt modelId="{9DD84BC1-0E8D-E741-BAE8-DB165C7EB6C4}" type="parTrans" cxnId="{F8E493D9-9E33-5248-A41A-9BE878E1495B}">
      <dgm:prSet/>
      <dgm:spPr/>
      <dgm:t>
        <a:bodyPr/>
        <a:lstStyle/>
        <a:p>
          <a:endParaRPr lang="en-US"/>
        </a:p>
      </dgm:t>
    </dgm:pt>
    <dgm:pt modelId="{B01AA6C9-4A19-9B4C-A1DE-D2175102EA88}" type="sibTrans" cxnId="{F8E493D9-9E33-5248-A41A-9BE878E1495B}">
      <dgm:prSet/>
      <dgm:spPr/>
      <dgm:t>
        <a:bodyPr/>
        <a:lstStyle/>
        <a:p>
          <a:endParaRPr lang="en-US"/>
        </a:p>
      </dgm:t>
    </dgm:pt>
    <dgm:pt modelId="{61393001-E87E-8345-A5D1-AA88C7180D2A}">
      <dgm:prSet phldrT="[Text]"/>
      <dgm:spPr>
        <a:solidFill>
          <a:schemeClr val="accent1">
            <a:lumMod val="75000"/>
          </a:schemeClr>
        </a:solidFill>
      </dgm:spPr>
      <dgm:t>
        <a:bodyPr/>
        <a:lstStyle/>
        <a:p>
          <a:r>
            <a:rPr lang="en-US" dirty="0"/>
            <a:t>Geothermal reservoir is formed.</a:t>
          </a:r>
        </a:p>
      </dgm:t>
    </dgm:pt>
    <dgm:pt modelId="{529F1284-F1C0-AA4B-A88C-D8FC22E26519}" type="parTrans" cxnId="{E067433B-1FC8-1948-BB1C-0E214869C2F7}">
      <dgm:prSet/>
      <dgm:spPr/>
      <dgm:t>
        <a:bodyPr/>
        <a:lstStyle/>
        <a:p>
          <a:endParaRPr lang="en-US"/>
        </a:p>
      </dgm:t>
    </dgm:pt>
    <dgm:pt modelId="{62BF0C4C-E6E8-7B47-BAA0-45E591FCA5CC}" type="sibTrans" cxnId="{E067433B-1FC8-1948-BB1C-0E214869C2F7}">
      <dgm:prSet/>
      <dgm:spPr/>
      <dgm:t>
        <a:bodyPr/>
        <a:lstStyle/>
        <a:p>
          <a:endParaRPr lang="en-US"/>
        </a:p>
      </dgm:t>
    </dgm:pt>
    <dgm:pt modelId="{F290A5D2-B669-4C41-A020-16BF2DA8962A}" type="pres">
      <dgm:prSet presAssocID="{B57E5EE8-3FCA-6A46-8B30-4AC59D102838}" presName="Name0" presStyleCnt="0">
        <dgm:presLayoutVars>
          <dgm:dir/>
          <dgm:animLvl val="lvl"/>
          <dgm:resizeHandles val="exact"/>
        </dgm:presLayoutVars>
      </dgm:prSet>
      <dgm:spPr/>
    </dgm:pt>
    <dgm:pt modelId="{D9AB4323-7DF9-7940-B151-16230AE4B9AC}" type="pres">
      <dgm:prSet presAssocID="{E43E7AA4-338D-9B40-B426-B7489EE7E23C}" presName="parTxOnly" presStyleLbl="node1" presStyleIdx="0" presStyleCnt="5" custLinFactNeighborX="48921" custLinFactNeighborY="1530">
        <dgm:presLayoutVars>
          <dgm:chMax val="0"/>
          <dgm:chPref val="0"/>
          <dgm:bulletEnabled val="1"/>
        </dgm:presLayoutVars>
      </dgm:prSet>
      <dgm:spPr/>
    </dgm:pt>
    <dgm:pt modelId="{03DCCA57-F43D-7C4C-805A-36FBE000D880}" type="pres">
      <dgm:prSet presAssocID="{F69C1AD5-C409-4547-854A-90E023F08001}" presName="parTxOnlySpace" presStyleCnt="0"/>
      <dgm:spPr/>
    </dgm:pt>
    <dgm:pt modelId="{AAB212BA-FC7F-A549-A581-07D841A7D58A}" type="pres">
      <dgm:prSet presAssocID="{3F2104C0-67AC-CF41-BEC0-9684A3A03C7A}" presName="parTxOnly" presStyleLbl="node1" presStyleIdx="1" presStyleCnt="5">
        <dgm:presLayoutVars>
          <dgm:chMax val="0"/>
          <dgm:chPref val="0"/>
          <dgm:bulletEnabled val="1"/>
        </dgm:presLayoutVars>
      </dgm:prSet>
      <dgm:spPr/>
    </dgm:pt>
    <dgm:pt modelId="{2145F0ED-CC9B-5349-B648-E49E3F32252D}" type="pres">
      <dgm:prSet presAssocID="{1E29638E-E4F2-5346-BC64-048DC08FEB1E}" presName="parTxOnlySpace" presStyleCnt="0"/>
      <dgm:spPr/>
    </dgm:pt>
    <dgm:pt modelId="{3A6B3280-F41C-6347-B823-F30CF2127F32}" type="pres">
      <dgm:prSet presAssocID="{7CEE035F-B967-9046-929C-10D48652242E}" presName="parTxOnly" presStyleLbl="node1" presStyleIdx="2" presStyleCnt="5">
        <dgm:presLayoutVars>
          <dgm:chMax val="0"/>
          <dgm:chPref val="0"/>
          <dgm:bulletEnabled val="1"/>
        </dgm:presLayoutVars>
      </dgm:prSet>
      <dgm:spPr/>
    </dgm:pt>
    <dgm:pt modelId="{F8DE6A0D-A106-3444-B2EE-296C4C5F7CAD}" type="pres">
      <dgm:prSet presAssocID="{F3526743-1534-A44B-B1E7-1CA772D0295F}" presName="parTxOnlySpace" presStyleCnt="0"/>
      <dgm:spPr/>
    </dgm:pt>
    <dgm:pt modelId="{324E8D2E-A5BD-2848-BB9B-DCA7E4A8210E}" type="pres">
      <dgm:prSet presAssocID="{86A8C032-F93E-4E47-B504-2FB3B51320E0}" presName="parTxOnly" presStyleLbl="node1" presStyleIdx="3" presStyleCnt="5">
        <dgm:presLayoutVars>
          <dgm:chMax val="0"/>
          <dgm:chPref val="0"/>
          <dgm:bulletEnabled val="1"/>
        </dgm:presLayoutVars>
      </dgm:prSet>
      <dgm:spPr/>
    </dgm:pt>
    <dgm:pt modelId="{C175815F-9F17-7144-A1DD-B0C79131C38D}" type="pres">
      <dgm:prSet presAssocID="{B01AA6C9-4A19-9B4C-A1DE-D2175102EA88}" presName="parTxOnlySpace" presStyleCnt="0"/>
      <dgm:spPr/>
    </dgm:pt>
    <dgm:pt modelId="{2E84441D-AD1E-A440-97CE-540566178320}" type="pres">
      <dgm:prSet presAssocID="{61393001-E87E-8345-A5D1-AA88C7180D2A}" presName="parTxOnly" presStyleLbl="node1" presStyleIdx="4" presStyleCnt="5">
        <dgm:presLayoutVars>
          <dgm:chMax val="0"/>
          <dgm:chPref val="0"/>
          <dgm:bulletEnabled val="1"/>
        </dgm:presLayoutVars>
      </dgm:prSet>
      <dgm:spPr/>
    </dgm:pt>
  </dgm:ptLst>
  <dgm:cxnLst>
    <dgm:cxn modelId="{1584F718-62FA-AC42-BC53-E70E02A4FB90}" srcId="{B57E5EE8-3FCA-6A46-8B30-4AC59D102838}" destId="{E43E7AA4-338D-9B40-B426-B7489EE7E23C}" srcOrd="0" destOrd="0" parTransId="{6EF847EF-FDEA-4B4D-95C3-E90541F6EE65}" sibTransId="{F69C1AD5-C409-4547-854A-90E023F08001}"/>
    <dgm:cxn modelId="{E067433B-1FC8-1948-BB1C-0E214869C2F7}" srcId="{B57E5EE8-3FCA-6A46-8B30-4AC59D102838}" destId="{61393001-E87E-8345-A5D1-AA88C7180D2A}" srcOrd="4" destOrd="0" parTransId="{529F1284-F1C0-AA4B-A88C-D8FC22E26519}" sibTransId="{62BF0C4C-E6E8-7B47-BAA0-45E591FCA5CC}"/>
    <dgm:cxn modelId="{9E83213F-C432-1641-9295-D0EB8DB5ACC2}" srcId="{B57E5EE8-3FCA-6A46-8B30-4AC59D102838}" destId="{3F2104C0-67AC-CF41-BEC0-9684A3A03C7A}" srcOrd="1" destOrd="0" parTransId="{A9A1199E-F3C4-5247-A990-08917A97E38B}" sibTransId="{1E29638E-E4F2-5346-BC64-048DC08FEB1E}"/>
    <dgm:cxn modelId="{6189674D-EE60-8E41-B302-7BB10BB2CBFF}" srcId="{B57E5EE8-3FCA-6A46-8B30-4AC59D102838}" destId="{7CEE035F-B967-9046-929C-10D48652242E}" srcOrd="2" destOrd="0" parTransId="{8731644A-5F3F-7B45-82BC-5E7ADD29A8A9}" sibTransId="{F3526743-1534-A44B-B1E7-1CA772D0295F}"/>
    <dgm:cxn modelId="{3F5F578A-FBF2-D343-A51C-D7D969CABEF4}" type="presOf" srcId="{86A8C032-F93E-4E47-B504-2FB3B51320E0}" destId="{324E8D2E-A5BD-2848-BB9B-DCA7E4A8210E}" srcOrd="0" destOrd="0" presId="urn:microsoft.com/office/officeart/2005/8/layout/chevron1"/>
    <dgm:cxn modelId="{36CCB58A-5E0C-9F46-A49B-7E12673B872D}" type="presOf" srcId="{61393001-E87E-8345-A5D1-AA88C7180D2A}" destId="{2E84441D-AD1E-A440-97CE-540566178320}" srcOrd="0" destOrd="0" presId="urn:microsoft.com/office/officeart/2005/8/layout/chevron1"/>
    <dgm:cxn modelId="{26F72391-9058-BB44-8005-C58C1ECD8DAC}" type="presOf" srcId="{E43E7AA4-338D-9B40-B426-B7489EE7E23C}" destId="{D9AB4323-7DF9-7940-B151-16230AE4B9AC}" srcOrd="0" destOrd="0" presId="urn:microsoft.com/office/officeart/2005/8/layout/chevron1"/>
    <dgm:cxn modelId="{476DCC91-BA80-134F-997B-EBBED5DFDA60}" type="presOf" srcId="{B57E5EE8-3FCA-6A46-8B30-4AC59D102838}" destId="{F290A5D2-B669-4C41-A020-16BF2DA8962A}" srcOrd="0" destOrd="0" presId="urn:microsoft.com/office/officeart/2005/8/layout/chevron1"/>
    <dgm:cxn modelId="{A738D1BB-7D04-A245-BBA5-DD444CB24057}" type="presOf" srcId="{7CEE035F-B967-9046-929C-10D48652242E}" destId="{3A6B3280-F41C-6347-B823-F30CF2127F32}" srcOrd="0" destOrd="0" presId="urn:microsoft.com/office/officeart/2005/8/layout/chevron1"/>
    <dgm:cxn modelId="{F8E493D9-9E33-5248-A41A-9BE878E1495B}" srcId="{B57E5EE8-3FCA-6A46-8B30-4AC59D102838}" destId="{86A8C032-F93E-4E47-B504-2FB3B51320E0}" srcOrd="3" destOrd="0" parTransId="{9DD84BC1-0E8D-E741-BAE8-DB165C7EB6C4}" sibTransId="{B01AA6C9-4A19-9B4C-A1DE-D2175102EA88}"/>
    <dgm:cxn modelId="{29455CEE-602F-5146-AB91-BCD04C18BFC9}" type="presOf" srcId="{3F2104C0-67AC-CF41-BEC0-9684A3A03C7A}" destId="{AAB212BA-FC7F-A549-A581-07D841A7D58A}" srcOrd="0" destOrd="0" presId="urn:microsoft.com/office/officeart/2005/8/layout/chevron1"/>
    <dgm:cxn modelId="{90DD48DB-7E3D-D346-BB3A-D32CBCE9A5FD}" type="presParOf" srcId="{F290A5D2-B669-4C41-A020-16BF2DA8962A}" destId="{D9AB4323-7DF9-7940-B151-16230AE4B9AC}" srcOrd="0" destOrd="0" presId="urn:microsoft.com/office/officeart/2005/8/layout/chevron1"/>
    <dgm:cxn modelId="{B72C3D83-A328-B745-B7F8-81735B0A5B11}" type="presParOf" srcId="{F290A5D2-B669-4C41-A020-16BF2DA8962A}" destId="{03DCCA57-F43D-7C4C-805A-36FBE000D880}" srcOrd="1" destOrd="0" presId="urn:microsoft.com/office/officeart/2005/8/layout/chevron1"/>
    <dgm:cxn modelId="{5BDEEE5A-11B5-894E-A15F-32CEC3324AE5}" type="presParOf" srcId="{F290A5D2-B669-4C41-A020-16BF2DA8962A}" destId="{AAB212BA-FC7F-A549-A581-07D841A7D58A}" srcOrd="2" destOrd="0" presId="urn:microsoft.com/office/officeart/2005/8/layout/chevron1"/>
    <dgm:cxn modelId="{B03AF47A-ABA9-8444-83E4-425F4BAC568E}" type="presParOf" srcId="{F290A5D2-B669-4C41-A020-16BF2DA8962A}" destId="{2145F0ED-CC9B-5349-B648-E49E3F32252D}" srcOrd="3" destOrd="0" presId="urn:microsoft.com/office/officeart/2005/8/layout/chevron1"/>
    <dgm:cxn modelId="{EFB536A3-F83B-4646-8ACF-C0CE9659DF76}" type="presParOf" srcId="{F290A5D2-B669-4C41-A020-16BF2DA8962A}" destId="{3A6B3280-F41C-6347-B823-F30CF2127F32}" srcOrd="4" destOrd="0" presId="urn:microsoft.com/office/officeart/2005/8/layout/chevron1"/>
    <dgm:cxn modelId="{EB2D9427-4A91-4344-941A-F96E54DE3D97}" type="presParOf" srcId="{F290A5D2-B669-4C41-A020-16BF2DA8962A}" destId="{F8DE6A0D-A106-3444-B2EE-296C4C5F7CAD}" srcOrd="5" destOrd="0" presId="urn:microsoft.com/office/officeart/2005/8/layout/chevron1"/>
    <dgm:cxn modelId="{AFC1B5BF-876E-0E4A-BE98-7151085788B9}" type="presParOf" srcId="{F290A5D2-B669-4C41-A020-16BF2DA8962A}" destId="{324E8D2E-A5BD-2848-BB9B-DCA7E4A8210E}" srcOrd="6" destOrd="0" presId="urn:microsoft.com/office/officeart/2005/8/layout/chevron1"/>
    <dgm:cxn modelId="{3D445D19-DD87-0349-9E3E-89E4BCB3EC38}" type="presParOf" srcId="{F290A5D2-B669-4C41-A020-16BF2DA8962A}" destId="{C175815F-9F17-7144-A1DD-B0C79131C38D}" srcOrd="7" destOrd="0" presId="urn:microsoft.com/office/officeart/2005/8/layout/chevron1"/>
    <dgm:cxn modelId="{EEE306D7-2CAF-8F44-A33C-C6F7B77A6593}" type="presParOf" srcId="{F290A5D2-B669-4C41-A020-16BF2DA8962A}" destId="{2E84441D-AD1E-A440-97CE-540566178320}" srcOrd="8" destOrd="0" presId="urn:microsoft.com/office/officeart/2005/8/layout/chevron1"/>
  </dgm:cxnLst>
  <dgm:bg/>
  <dgm:whole/>
  <dgm:extLst>
    <a:ext uri="http://schemas.microsoft.com/office/drawing/2008/diagram">
      <dsp:dataModelExt xmlns:dsp="http://schemas.microsoft.com/office/drawing/2008/diagram" relId="rId3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341FF5-548A-4AD5-B7D9-15EEE9178955}" type="doc">
      <dgm:prSet loTypeId="urn:microsoft.com/office/officeart/2005/8/layout/hChevron3" loCatId="process" qsTypeId="urn:microsoft.com/office/officeart/2005/8/quickstyle/simple1" qsCatId="simple" csTypeId="urn:microsoft.com/office/officeart/2005/8/colors/accent1_3" csCatId="accent1" phldr="1"/>
      <dgm:spPr/>
      <dgm:t>
        <a:bodyPr/>
        <a:lstStyle/>
        <a:p>
          <a:endParaRPr lang="en-US"/>
        </a:p>
      </dgm:t>
    </dgm:pt>
    <dgm:pt modelId="{8E56B099-E9E4-4ED0-B24E-AFEC07F8FF4D}">
      <dgm:prSet phldrT="[Text]" phldr="0" custT="1"/>
      <dgm:spPr/>
      <dgm:t>
        <a:bodyPr/>
        <a:lstStyle/>
        <a:p>
          <a:pPr rtl="0"/>
          <a:r>
            <a:rPr lang="en-US" sz="900" dirty="0">
              <a:latin typeface="Arial"/>
            </a:rPr>
            <a:t> Years 1-2</a:t>
          </a:r>
          <a:endParaRPr lang="en-US" sz="900" dirty="0"/>
        </a:p>
      </dgm:t>
    </dgm:pt>
    <dgm:pt modelId="{6B3E483F-BF45-44C0-AB36-F928A8DFDE54}" type="parTrans" cxnId="{373FFC30-6557-43A2-AC7A-77195CC9F061}">
      <dgm:prSet/>
      <dgm:spPr/>
      <dgm:t>
        <a:bodyPr/>
        <a:lstStyle/>
        <a:p>
          <a:endParaRPr lang="en-US" sz="900"/>
        </a:p>
      </dgm:t>
    </dgm:pt>
    <dgm:pt modelId="{79AF3205-2777-491D-BB84-949ECF5EAC50}" type="sibTrans" cxnId="{373FFC30-6557-43A2-AC7A-77195CC9F061}">
      <dgm:prSet/>
      <dgm:spPr/>
      <dgm:t>
        <a:bodyPr/>
        <a:lstStyle/>
        <a:p>
          <a:endParaRPr lang="en-US" sz="900"/>
        </a:p>
      </dgm:t>
    </dgm:pt>
    <dgm:pt modelId="{AAC531F1-E417-4191-A51D-67CF09788798}">
      <dgm:prSet phldrT="[Text]" phldr="0" custT="1"/>
      <dgm:spPr/>
      <dgm:t>
        <a:bodyPr/>
        <a:lstStyle/>
        <a:p>
          <a:pPr rtl="0"/>
          <a:r>
            <a:rPr lang="en-US" sz="900" dirty="0">
              <a:latin typeface="Arial"/>
            </a:rPr>
            <a:t> Years 2-3 </a:t>
          </a:r>
          <a:endParaRPr lang="en-US" sz="900" dirty="0"/>
        </a:p>
      </dgm:t>
    </dgm:pt>
    <dgm:pt modelId="{0E410774-6E73-4A5D-A5CD-7CF420534712}" type="parTrans" cxnId="{ED357570-060A-4DFD-807A-DB4CD3791A62}">
      <dgm:prSet/>
      <dgm:spPr/>
      <dgm:t>
        <a:bodyPr/>
        <a:lstStyle/>
        <a:p>
          <a:endParaRPr lang="en-US" sz="900"/>
        </a:p>
      </dgm:t>
    </dgm:pt>
    <dgm:pt modelId="{DFA3BF56-CC0E-45E0-9705-758625CF84C1}" type="sibTrans" cxnId="{ED357570-060A-4DFD-807A-DB4CD3791A62}">
      <dgm:prSet/>
      <dgm:spPr/>
      <dgm:t>
        <a:bodyPr/>
        <a:lstStyle/>
        <a:p>
          <a:endParaRPr lang="en-US" sz="900"/>
        </a:p>
      </dgm:t>
    </dgm:pt>
    <dgm:pt modelId="{BC12A800-743B-40B5-BF51-1FD818EF83F7}">
      <dgm:prSet phldr="0" custT="1"/>
      <dgm:spPr/>
      <dgm:t>
        <a:bodyPr/>
        <a:lstStyle/>
        <a:p>
          <a:pPr rtl="0"/>
          <a:r>
            <a:rPr lang="en-US" sz="900" dirty="0">
              <a:latin typeface="Arial"/>
            </a:rPr>
            <a:t> Years 4-6</a:t>
          </a:r>
        </a:p>
      </dgm:t>
    </dgm:pt>
    <dgm:pt modelId="{3FBF8CEA-F9B2-4C4D-9999-3D1AEA700C87}" type="parTrans" cxnId="{CA620202-07A2-4C72-BB44-BF124CB2282F}">
      <dgm:prSet/>
      <dgm:spPr/>
      <dgm:t>
        <a:bodyPr/>
        <a:lstStyle/>
        <a:p>
          <a:endParaRPr lang="en-US" sz="900"/>
        </a:p>
      </dgm:t>
    </dgm:pt>
    <dgm:pt modelId="{57029A8F-1619-4496-86C7-45DC47178859}" type="sibTrans" cxnId="{CA620202-07A2-4C72-BB44-BF124CB2282F}">
      <dgm:prSet/>
      <dgm:spPr/>
      <dgm:t>
        <a:bodyPr/>
        <a:lstStyle/>
        <a:p>
          <a:endParaRPr lang="en-US" sz="900"/>
        </a:p>
      </dgm:t>
    </dgm:pt>
    <dgm:pt modelId="{7AA5DFCC-ECB2-4A39-AB92-CDC479345327}">
      <dgm:prSet phldr="0" custT="1"/>
      <dgm:spPr/>
      <dgm:t>
        <a:bodyPr/>
        <a:lstStyle/>
        <a:p>
          <a:pPr rtl="0"/>
          <a:r>
            <a:rPr lang="en-US" sz="900" dirty="0">
              <a:latin typeface="Arial"/>
            </a:rPr>
            <a:t> Years 6-8</a:t>
          </a:r>
        </a:p>
      </dgm:t>
    </dgm:pt>
    <dgm:pt modelId="{1CA19265-3912-4D88-8EDF-4C061897756D}" type="parTrans" cxnId="{84FBD54A-42C6-42AA-8C2F-AC361DE2FE5B}">
      <dgm:prSet/>
      <dgm:spPr/>
      <dgm:t>
        <a:bodyPr/>
        <a:lstStyle/>
        <a:p>
          <a:endParaRPr lang="en-US" sz="900"/>
        </a:p>
      </dgm:t>
    </dgm:pt>
    <dgm:pt modelId="{F331ADDA-04AA-4185-889B-96E120590CAD}" type="sibTrans" cxnId="{84FBD54A-42C6-42AA-8C2F-AC361DE2FE5B}">
      <dgm:prSet/>
      <dgm:spPr/>
      <dgm:t>
        <a:bodyPr/>
        <a:lstStyle/>
        <a:p>
          <a:endParaRPr lang="en-US" sz="900"/>
        </a:p>
      </dgm:t>
    </dgm:pt>
    <dgm:pt modelId="{F14CA5AB-06EC-449C-AA86-92B473EDF773}">
      <dgm:prSet phldr="0" custT="1"/>
      <dgm:spPr/>
      <dgm:t>
        <a:bodyPr/>
        <a:lstStyle/>
        <a:p>
          <a:pPr rtl="0"/>
          <a:r>
            <a:rPr lang="en-US" sz="900" dirty="0">
              <a:latin typeface="Arial"/>
            </a:rPr>
            <a:t> Years 8+</a:t>
          </a:r>
        </a:p>
      </dgm:t>
    </dgm:pt>
    <dgm:pt modelId="{EAF27522-7BE3-4D93-A7D3-8FD34EB3DCE0}" type="parTrans" cxnId="{62B87B87-5E67-4B12-8EC4-385F2E64CDFB}">
      <dgm:prSet/>
      <dgm:spPr/>
      <dgm:t>
        <a:bodyPr/>
        <a:lstStyle/>
        <a:p>
          <a:endParaRPr lang="en-US" sz="900"/>
        </a:p>
      </dgm:t>
    </dgm:pt>
    <dgm:pt modelId="{37392A84-6BC4-483F-A14C-57ECAEE87670}" type="sibTrans" cxnId="{62B87B87-5E67-4B12-8EC4-385F2E64CDFB}">
      <dgm:prSet/>
      <dgm:spPr/>
      <dgm:t>
        <a:bodyPr/>
        <a:lstStyle/>
        <a:p>
          <a:endParaRPr lang="en-US" sz="900"/>
        </a:p>
      </dgm:t>
    </dgm:pt>
    <dgm:pt modelId="{B927994F-8D90-4FF0-8C06-B693EDF7D54E}" type="pres">
      <dgm:prSet presAssocID="{DA341FF5-548A-4AD5-B7D9-15EEE9178955}" presName="Name0" presStyleCnt="0">
        <dgm:presLayoutVars>
          <dgm:dir/>
          <dgm:resizeHandles val="exact"/>
        </dgm:presLayoutVars>
      </dgm:prSet>
      <dgm:spPr/>
    </dgm:pt>
    <dgm:pt modelId="{9D48D5E5-7CDB-4909-833B-D95AF62917DD}" type="pres">
      <dgm:prSet presAssocID="{8E56B099-E9E4-4ED0-B24E-AFEC07F8FF4D}" presName="parTxOnly" presStyleLbl="node1" presStyleIdx="0" presStyleCnt="5">
        <dgm:presLayoutVars>
          <dgm:bulletEnabled val="1"/>
        </dgm:presLayoutVars>
      </dgm:prSet>
      <dgm:spPr/>
    </dgm:pt>
    <dgm:pt modelId="{CD8B69F3-E25E-4139-9EC5-28601B5C30A8}" type="pres">
      <dgm:prSet presAssocID="{79AF3205-2777-491D-BB84-949ECF5EAC50}" presName="parSpace" presStyleCnt="0"/>
      <dgm:spPr/>
    </dgm:pt>
    <dgm:pt modelId="{F8CFA174-FCE7-4527-A334-5E2BD2D9A7D5}" type="pres">
      <dgm:prSet presAssocID="{AAC531F1-E417-4191-A51D-67CF09788798}" presName="parTxOnly" presStyleLbl="node1" presStyleIdx="1" presStyleCnt="5">
        <dgm:presLayoutVars>
          <dgm:bulletEnabled val="1"/>
        </dgm:presLayoutVars>
      </dgm:prSet>
      <dgm:spPr/>
    </dgm:pt>
    <dgm:pt modelId="{7406062E-57F9-4CA8-A46D-2B0763C844F0}" type="pres">
      <dgm:prSet presAssocID="{DFA3BF56-CC0E-45E0-9705-758625CF84C1}" presName="parSpace" presStyleCnt="0"/>
      <dgm:spPr/>
    </dgm:pt>
    <dgm:pt modelId="{F6D7840B-F120-466E-B5D3-D69554FB63CA}" type="pres">
      <dgm:prSet presAssocID="{BC12A800-743B-40B5-BF51-1FD818EF83F7}" presName="parTxOnly" presStyleLbl="node1" presStyleIdx="2" presStyleCnt="5">
        <dgm:presLayoutVars>
          <dgm:bulletEnabled val="1"/>
        </dgm:presLayoutVars>
      </dgm:prSet>
      <dgm:spPr/>
    </dgm:pt>
    <dgm:pt modelId="{00265384-4A22-439B-BE77-C3BE2BBB3FA0}" type="pres">
      <dgm:prSet presAssocID="{57029A8F-1619-4496-86C7-45DC47178859}" presName="parSpace" presStyleCnt="0"/>
      <dgm:spPr/>
    </dgm:pt>
    <dgm:pt modelId="{2FD4898E-9BDD-4B90-A4BD-4877E95587DE}" type="pres">
      <dgm:prSet presAssocID="{7AA5DFCC-ECB2-4A39-AB92-CDC479345327}" presName="parTxOnly" presStyleLbl="node1" presStyleIdx="3" presStyleCnt="5">
        <dgm:presLayoutVars>
          <dgm:bulletEnabled val="1"/>
        </dgm:presLayoutVars>
      </dgm:prSet>
      <dgm:spPr/>
    </dgm:pt>
    <dgm:pt modelId="{62B0C9EB-9DDC-4B83-86AE-8B20ED151CB4}" type="pres">
      <dgm:prSet presAssocID="{F331ADDA-04AA-4185-889B-96E120590CAD}" presName="parSpace" presStyleCnt="0"/>
      <dgm:spPr/>
    </dgm:pt>
    <dgm:pt modelId="{DDCE2634-C9C4-47F2-A8AE-976951B88788}" type="pres">
      <dgm:prSet presAssocID="{F14CA5AB-06EC-449C-AA86-92B473EDF773}" presName="parTxOnly" presStyleLbl="node1" presStyleIdx="4" presStyleCnt="5" custLinFactNeighborX="-3996" custLinFactNeighborY="0">
        <dgm:presLayoutVars>
          <dgm:bulletEnabled val="1"/>
        </dgm:presLayoutVars>
      </dgm:prSet>
      <dgm:spPr/>
    </dgm:pt>
  </dgm:ptLst>
  <dgm:cxnLst>
    <dgm:cxn modelId="{CA620202-07A2-4C72-BB44-BF124CB2282F}" srcId="{DA341FF5-548A-4AD5-B7D9-15EEE9178955}" destId="{BC12A800-743B-40B5-BF51-1FD818EF83F7}" srcOrd="2" destOrd="0" parTransId="{3FBF8CEA-F9B2-4C4D-9999-3D1AEA700C87}" sibTransId="{57029A8F-1619-4496-86C7-45DC47178859}"/>
    <dgm:cxn modelId="{F639E615-6FA4-4928-B715-DEF098C87631}" type="presOf" srcId="{BC12A800-743B-40B5-BF51-1FD818EF83F7}" destId="{F6D7840B-F120-466E-B5D3-D69554FB63CA}" srcOrd="0" destOrd="0" presId="urn:microsoft.com/office/officeart/2005/8/layout/hChevron3"/>
    <dgm:cxn modelId="{373FFC30-6557-43A2-AC7A-77195CC9F061}" srcId="{DA341FF5-548A-4AD5-B7D9-15EEE9178955}" destId="{8E56B099-E9E4-4ED0-B24E-AFEC07F8FF4D}" srcOrd="0" destOrd="0" parTransId="{6B3E483F-BF45-44C0-AB36-F928A8DFDE54}" sibTransId="{79AF3205-2777-491D-BB84-949ECF5EAC50}"/>
    <dgm:cxn modelId="{7A924135-0930-4AD8-BDB9-3821549DDC57}" type="presOf" srcId="{F14CA5AB-06EC-449C-AA86-92B473EDF773}" destId="{DDCE2634-C9C4-47F2-A8AE-976951B88788}" srcOrd="0" destOrd="0" presId="urn:microsoft.com/office/officeart/2005/8/layout/hChevron3"/>
    <dgm:cxn modelId="{C66BFD39-9435-4C98-9C9E-23E407340986}" type="presOf" srcId="{DA341FF5-548A-4AD5-B7D9-15EEE9178955}" destId="{B927994F-8D90-4FF0-8C06-B693EDF7D54E}" srcOrd="0" destOrd="0" presId="urn:microsoft.com/office/officeart/2005/8/layout/hChevron3"/>
    <dgm:cxn modelId="{250C5866-EA39-4022-8FA9-F5B0684B1C80}" type="presOf" srcId="{8E56B099-E9E4-4ED0-B24E-AFEC07F8FF4D}" destId="{9D48D5E5-7CDB-4909-833B-D95AF62917DD}" srcOrd="0" destOrd="0" presId="urn:microsoft.com/office/officeart/2005/8/layout/hChevron3"/>
    <dgm:cxn modelId="{84FBD54A-42C6-42AA-8C2F-AC361DE2FE5B}" srcId="{DA341FF5-548A-4AD5-B7D9-15EEE9178955}" destId="{7AA5DFCC-ECB2-4A39-AB92-CDC479345327}" srcOrd="3" destOrd="0" parTransId="{1CA19265-3912-4D88-8EDF-4C061897756D}" sibTransId="{F331ADDA-04AA-4185-889B-96E120590CAD}"/>
    <dgm:cxn modelId="{ED357570-060A-4DFD-807A-DB4CD3791A62}" srcId="{DA341FF5-548A-4AD5-B7D9-15EEE9178955}" destId="{AAC531F1-E417-4191-A51D-67CF09788798}" srcOrd="1" destOrd="0" parTransId="{0E410774-6E73-4A5D-A5CD-7CF420534712}" sibTransId="{DFA3BF56-CC0E-45E0-9705-758625CF84C1}"/>
    <dgm:cxn modelId="{62B87B87-5E67-4B12-8EC4-385F2E64CDFB}" srcId="{DA341FF5-548A-4AD5-B7D9-15EEE9178955}" destId="{F14CA5AB-06EC-449C-AA86-92B473EDF773}" srcOrd="4" destOrd="0" parTransId="{EAF27522-7BE3-4D93-A7D3-8FD34EB3DCE0}" sibTransId="{37392A84-6BC4-483F-A14C-57ECAEE87670}"/>
    <dgm:cxn modelId="{23FBCF9F-EB98-4A8F-AC4C-79A84C0E87BD}" type="presOf" srcId="{7AA5DFCC-ECB2-4A39-AB92-CDC479345327}" destId="{2FD4898E-9BDD-4B90-A4BD-4877E95587DE}" srcOrd="0" destOrd="0" presId="urn:microsoft.com/office/officeart/2005/8/layout/hChevron3"/>
    <dgm:cxn modelId="{DCD743EA-6E61-40D4-BCD9-E79CBDFD0D1D}" type="presOf" srcId="{AAC531F1-E417-4191-A51D-67CF09788798}" destId="{F8CFA174-FCE7-4527-A334-5E2BD2D9A7D5}" srcOrd="0" destOrd="0" presId="urn:microsoft.com/office/officeart/2005/8/layout/hChevron3"/>
    <dgm:cxn modelId="{CB8B8A11-6527-410A-8DD4-FA69F952EC9E}" type="presParOf" srcId="{B927994F-8D90-4FF0-8C06-B693EDF7D54E}" destId="{9D48D5E5-7CDB-4909-833B-D95AF62917DD}" srcOrd="0" destOrd="0" presId="urn:microsoft.com/office/officeart/2005/8/layout/hChevron3"/>
    <dgm:cxn modelId="{57081EEC-1E25-48D2-8C78-09876D4C406C}" type="presParOf" srcId="{B927994F-8D90-4FF0-8C06-B693EDF7D54E}" destId="{CD8B69F3-E25E-4139-9EC5-28601B5C30A8}" srcOrd="1" destOrd="0" presId="urn:microsoft.com/office/officeart/2005/8/layout/hChevron3"/>
    <dgm:cxn modelId="{E89D2ED6-42B7-4072-8F43-9107C3C57B23}" type="presParOf" srcId="{B927994F-8D90-4FF0-8C06-B693EDF7D54E}" destId="{F8CFA174-FCE7-4527-A334-5E2BD2D9A7D5}" srcOrd="2" destOrd="0" presId="urn:microsoft.com/office/officeart/2005/8/layout/hChevron3"/>
    <dgm:cxn modelId="{7A086065-862F-484B-A9D2-8A521660C6FE}" type="presParOf" srcId="{B927994F-8D90-4FF0-8C06-B693EDF7D54E}" destId="{7406062E-57F9-4CA8-A46D-2B0763C844F0}" srcOrd="3" destOrd="0" presId="urn:microsoft.com/office/officeart/2005/8/layout/hChevron3"/>
    <dgm:cxn modelId="{E978FB58-7B83-41B7-A2DE-1EE08ECED100}" type="presParOf" srcId="{B927994F-8D90-4FF0-8C06-B693EDF7D54E}" destId="{F6D7840B-F120-466E-B5D3-D69554FB63CA}" srcOrd="4" destOrd="0" presId="urn:microsoft.com/office/officeart/2005/8/layout/hChevron3"/>
    <dgm:cxn modelId="{FA31AD1F-9A40-4A57-A487-5E6F811D32DD}" type="presParOf" srcId="{B927994F-8D90-4FF0-8C06-B693EDF7D54E}" destId="{00265384-4A22-439B-BE77-C3BE2BBB3FA0}" srcOrd="5" destOrd="0" presId="urn:microsoft.com/office/officeart/2005/8/layout/hChevron3"/>
    <dgm:cxn modelId="{9F146539-46F7-4418-9961-62F1095ED182}" type="presParOf" srcId="{B927994F-8D90-4FF0-8C06-B693EDF7D54E}" destId="{2FD4898E-9BDD-4B90-A4BD-4877E95587DE}" srcOrd="6" destOrd="0" presId="urn:microsoft.com/office/officeart/2005/8/layout/hChevron3"/>
    <dgm:cxn modelId="{EF73ED0A-EE6B-47EE-9CBB-46B4575A4745}" type="presParOf" srcId="{B927994F-8D90-4FF0-8C06-B693EDF7D54E}" destId="{62B0C9EB-9DDC-4B83-86AE-8B20ED151CB4}" srcOrd="7" destOrd="0" presId="urn:microsoft.com/office/officeart/2005/8/layout/hChevron3"/>
    <dgm:cxn modelId="{F3CD890E-92B5-46DE-BCD7-30BBDCB9A339}" type="presParOf" srcId="{B927994F-8D90-4FF0-8C06-B693EDF7D54E}" destId="{DDCE2634-C9C4-47F2-A8AE-976951B88788}" srcOrd="8" destOrd="0" presId="urn:microsoft.com/office/officeart/2005/8/layout/hChevron3"/>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AF3D16-02D8-3F45-B126-0DE6E818BFEF}" type="doc">
      <dgm:prSet loTypeId="urn:microsoft.com/office/officeart/2005/8/layout/process2" loCatId="" qsTypeId="urn:microsoft.com/office/officeart/2005/8/quickstyle/simple1" qsCatId="simple" csTypeId="urn:microsoft.com/office/officeart/2005/8/colors/accent1_2" csCatId="accent1" phldr="1"/>
      <dgm:spPr/>
      <dgm:t>
        <a:bodyPr/>
        <a:lstStyle/>
        <a:p>
          <a:endParaRPr lang="en-US"/>
        </a:p>
      </dgm:t>
    </dgm:pt>
    <dgm:pt modelId="{FA4CF2C7-77B6-9748-961D-69DB70CC870E}">
      <dgm:prSet phldrT="[Text]" custT="1"/>
      <dgm:spPr>
        <a:solidFill>
          <a:srgbClr val="33A398"/>
        </a:solidFill>
      </dgm:spPr>
      <dgm:t>
        <a:bodyPr/>
        <a:lstStyle/>
        <a:p>
          <a:pPr>
            <a:buNone/>
          </a:pPr>
          <a:r>
            <a:rPr lang="en-US" sz="1200" dirty="0">
              <a:solidFill>
                <a:schemeClr val="bg1"/>
              </a:solidFill>
            </a:rPr>
            <a:t>Satellite collects thermal imaging of geological area.</a:t>
          </a:r>
        </a:p>
      </dgm:t>
    </dgm:pt>
    <dgm:pt modelId="{16C61B14-FB98-AD44-9B50-DB0FFCB63260}" type="parTrans" cxnId="{C2B87AFB-D65F-BF4F-8707-9B9A2DACA4A8}">
      <dgm:prSet/>
      <dgm:spPr/>
      <dgm:t>
        <a:bodyPr/>
        <a:lstStyle/>
        <a:p>
          <a:endParaRPr lang="en-US"/>
        </a:p>
      </dgm:t>
    </dgm:pt>
    <dgm:pt modelId="{E9743775-ECE1-5B4D-A9EF-CFB758AE7159}" type="sibTrans" cxnId="{C2B87AFB-D65F-BF4F-8707-9B9A2DACA4A8}">
      <dgm:prSet/>
      <dgm:spPr/>
      <dgm:t>
        <a:bodyPr/>
        <a:lstStyle/>
        <a:p>
          <a:endParaRPr lang="en-US" dirty="0"/>
        </a:p>
      </dgm:t>
    </dgm:pt>
    <dgm:pt modelId="{14B6E056-772E-3C44-BE8E-EE1771F19CE1}">
      <dgm:prSet phldrT="[Text]" custT="1"/>
      <dgm:spPr>
        <a:solidFill>
          <a:srgbClr val="A83DA7"/>
        </a:solidFill>
      </dgm:spPr>
      <dgm:t>
        <a:bodyPr/>
        <a:lstStyle/>
        <a:p>
          <a:r>
            <a:rPr lang="en-US" sz="1200" dirty="0"/>
            <a:t>AI models detect promising geological resources.</a:t>
          </a:r>
        </a:p>
      </dgm:t>
    </dgm:pt>
    <dgm:pt modelId="{00CFFC0A-A0AE-4241-AA28-EB9566CE375F}" type="parTrans" cxnId="{19F2CA4F-00E8-6D45-9111-5C00701A4DB4}">
      <dgm:prSet/>
      <dgm:spPr/>
      <dgm:t>
        <a:bodyPr/>
        <a:lstStyle/>
        <a:p>
          <a:endParaRPr lang="en-US"/>
        </a:p>
      </dgm:t>
    </dgm:pt>
    <dgm:pt modelId="{7A3D9285-A31A-9E46-BBB5-3EAA9B66A7C5}" type="sibTrans" cxnId="{19F2CA4F-00E8-6D45-9111-5C00701A4DB4}">
      <dgm:prSet/>
      <dgm:spPr/>
      <dgm:t>
        <a:bodyPr/>
        <a:lstStyle/>
        <a:p>
          <a:endParaRPr lang="en-US" dirty="0"/>
        </a:p>
      </dgm:t>
    </dgm:pt>
    <dgm:pt modelId="{8520C06F-CE3E-2D40-BB05-043824F6B49F}">
      <dgm:prSet phldrT="[Text]" custT="1"/>
      <dgm:spPr>
        <a:solidFill>
          <a:srgbClr val="009BDB"/>
        </a:solidFill>
      </dgm:spPr>
      <dgm:t>
        <a:bodyPr/>
        <a:lstStyle/>
        <a:p>
          <a:r>
            <a:rPr lang="en-US" sz="1200" dirty="0"/>
            <a:t>Models are generated with reservoirs with a high probability of success.</a:t>
          </a:r>
        </a:p>
      </dgm:t>
    </dgm:pt>
    <dgm:pt modelId="{424D939D-EE4B-CF46-88C5-49AF80DE8C2F}" type="parTrans" cxnId="{F2A1BEFD-B057-5A4F-A9BA-7927BF2C256C}">
      <dgm:prSet/>
      <dgm:spPr/>
      <dgm:t>
        <a:bodyPr/>
        <a:lstStyle/>
        <a:p>
          <a:endParaRPr lang="en-US"/>
        </a:p>
      </dgm:t>
    </dgm:pt>
    <dgm:pt modelId="{75E8D6F6-622C-7F48-BF81-794EBD06EAAD}" type="sibTrans" cxnId="{F2A1BEFD-B057-5A4F-A9BA-7927BF2C256C}">
      <dgm:prSet/>
      <dgm:spPr/>
      <dgm:t>
        <a:bodyPr/>
        <a:lstStyle/>
        <a:p>
          <a:endParaRPr lang="en-US" dirty="0"/>
        </a:p>
      </dgm:t>
    </dgm:pt>
    <dgm:pt modelId="{EEF6C47E-4497-9C4F-BB21-445207F9B587}">
      <dgm:prSet custT="1"/>
      <dgm:spPr>
        <a:solidFill>
          <a:srgbClr val="7F5BCA"/>
        </a:solidFill>
      </dgm:spPr>
      <dgm:t>
        <a:bodyPr/>
        <a:lstStyle/>
        <a:p>
          <a:r>
            <a:rPr lang="en-US" sz="1200" dirty="0"/>
            <a:t>Models are consistently improved based on new and existing data</a:t>
          </a:r>
        </a:p>
      </dgm:t>
    </dgm:pt>
    <dgm:pt modelId="{408AA730-281F-0D40-AED6-1AB2E561F8F3}" type="parTrans" cxnId="{8ACEE3C8-A49D-E44A-8188-483825FA187A}">
      <dgm:prSet/>
      <dgm:spPr/>
      <dgm:t>
        <a:bodyPr/>
        <a:lstStyle/>
        <a:p>
          <a:endParaRPr lang="en-US"/>
        </a:p>
      </dgm:t>
    </dgm:pt>
    <dgm:pt modelId="{A7893041-FBD9-E744-A459-A85831D36112}" type="sibTrans" cxnId="{8ACEE3C8-A49D-E44A-8188-483825FA187A}">
      <dgm:prSet/>
      <dgm:spPr/>
      <dgm:t>
        <a:bodyPr/>
        <a:lstStyle/>
        <a:p>
          <a:endParaRPr lang="en-US"/>
        </a:p>
      </dgm:t>
    </dgm:pt>
    <dgm:pt modelId="{8E9C9E22-F372-7448-8C61-B3C44C8EA18F}" type="pres">
      <dgm:prSet presAssocID="{C3AF3D16-02D8-3F45-B126-0DE6E818BFEF}" presName="linearFlow" presStyleCnt="0">
        <dgm:presLayoutVars>
          <dgm:resizeHandles val="exact"/>
        </dgm:presLayoutVars>
      </dgm:prSet>
      <dgm:spPr/>
    </dgm:pt>
    <dgm:pt modelId="{E70C1F8F-0A71-9F49-987E-36B9D3648361}" type="pres">
      <dgm:prSet presAssocID="{FA4CF2C7-77B6-9748-961D-69DB70CC870E}" presName="node" presStyleLbl="node1" presStyleIdx="0" presStyleCnt="4">
        <dgm:presLayoutVars>
          <dgm:bulletEnabled val="1"/>
        </dgm:presLayoutVars>
      </dgm:prSet>
      <dgm:spPr/>
    </dgm:pt>
    <dgm:pt modelId="{CF48A1CB-0C78-9842-B89E-EED435D1D264}" type="pres">
      <dgm:prSet presAssocID="{E9743775-ECE1-5B4D-A9EF-CFB758AE7159}" presName="sibTrans" presStyleLbl="sibTrans2D1" presStyleIdx="0" presStyleCnt="3"/>
      <dgm:spPr/>
    </dgm:pt>
    <dgm:pt modelId="{625471B6-6D69-0045-A057-F6F08E7E2A5E}" type="pres">
      <dgm:prSet presAssocID="{E9743775-ECE1-5B4D-A9EF-CFB758AE7159}" presName="connectorText" presStyleLbl="sibTrans2D1" presStyleIdx="0" presStyleCnt="3"/>
      <dgm:spPr/>
    </dgm:pt>
    <dgm:pt modelId="{0AE633DC-8E0B-034C-AF2C-4228810F371C}" type="pres">
      <dgm:prSet presAssocID="{14B6E056-772E-3C44-BE8E-EE1771F19CE1}" presName="node" presStyleLbl="node1" presStyleIdx="1" presStyleCnt="4">
        <dgm:presLayoutVars>
          <dgm:bulletEnabled val="1"/>
        </dgm:presLayoutVars>
      </dgm:prSet>
      <dgm:spPr/>
    </dgm:pt>
    <dgm:pt modelId="{42D0D1DD-F85D-2D4E-BC02-4F628EBAEFDC}" type="pres">
      <dgm:prSet presAssocID="{7A3D9285-A31A-9E46-BBB5-3EAA9B66A7C5}" presName="sibTrans" presStyleLbl="sibTrans2D1" presStyleIdx="1" presStyleCnt="3"/>
      <dgm:spPr/>
    </dgm:pt>
    <dgm:pt modelId="{99D31B98-99D3-4F47-95AD-53A5B0ADCC21}" type="pres">
      <dgm:prSet presAssocID="{7A3D9285-A31A-9E46-BBB5-3EAA9B66A7C5}" presName="connectorText" presStyleLbl="sibTrans2D1" presStyleIdx="1" presStyleCnt="3"/>
      <dgm:spPr/>
    </dgm:pt>
    <dgm:pt modelId="{AFF0975E-F986-B547-9C2E-47444859468E}" type="pres">
      <dgm:prSet presAssocID="{8520C06F-CE3E-2D40-BB05-043824F6B49F}" presName="node" presStyleLbl="node1" presStyleIdx="2" presStyleCnt="4">
        <dgm:presLayoutVars>
          <dgm:bulletEnabled val="1"/>
        </dgm:presLayoutVars>
      </dgm:prSet>
      <dgm:spPr/>
    </dgm:pt>
    <dgm:pt modelId="{19EA89E7-03CD-414D-8935-EB9B356EF908}" type="pres">
      <dgm:prSet presAssocID="{75E8D6F6-622C-7F48-BF81-794EBD06EAAD}" presName="sibTrans" presStyleLbl="sibTrans2D1" presStyleIdx="2" presStyleCnt="3"/>
      <dgm:spPr/>
    </dgm:pt>
    <dgm:pt modelId="{FC14B0D1-BCC3-FC4F-87BD-176A2E758A40}" type="pres">
      <dgm:prSet presAssocID="{75E8D6F6-622C-7F48-BF81-794EBD06EAAD}" presName="connectorText" presStyleLbl="sibTrans2D1" presStyleIdx="2" presStyleCnt="3"/>
      <dgm:spPr/>
    </dgm:pt>
    <dgm:pt modelId="{C42F53E9-15AD-5E4B-995A-94F4602FA275}" type="pres">
      <dgm:prSet presAssocID="{EEF6C47E-4497-9C4F-BB21-445207F9B587}" presName="node" presStyleLbl="node1" presStyleIdx="3" presStyleCnt="4">
        <dgm:presLayoutVars>
          <dgm:bulletEnabled val="1"/>
        </dgm:presLayoutVars>
      </dgm:prSet>
      <dgm:spPr/>
    </dgm:pt>
  </dgm:ptLst>
  <dgm:cxnLst>
    <dgm:cxn modelId="{6AA7EC01-8DA4-2D42-AD50-10320AE35A1A}" type="presOf" srcId="{14B6E056-772E-3C44-BE8E-EE1771F19CE1}" destId="{0AE633DC-8E0B-034C-AF2C-4228810F371C}" srcOrd="0" destOrd="0" presId="urn:microsoft.com/office/officeart/2005/8/layout/process2"/>
    <dgm:cxn modelId="{A043A623-C2F1-1149-B431-642B8CB11794}" type="presOf" srcId="{8520C06F-CE3E-2D40-BB05-043824F6B49F}" destId="{AFF0975E-F986-B547-9C2E-47444859468E}" srcOrd="0" destOrd="0" presId="urn:microsoft.com/office/officeart/2005/8/layout/process2"/>
    <dgm:cxn modelId="{45AE132F-1073-5D46-AC52-B6432C2D2838}" type="presOf" srcId="{E9743775-ECE1-5B4D-A9EF-CFB758AE7159}" destId="{CF48A1CB-0C78-9842-B89E-EED435D1D264}" srcOrd="0" destOrd="0" presId="urn:microsoft.com/office/officeart/2005/8/layout/process2"/>
    <dgm:cxn modelId="{19F2CA4F-00E8-6D45-9111-5C00701A4DB4}" srcId="{C3AF3D16-02D8-3F45-B126-0DE6E818BFEF}" destId="{14B6E056-772E-3C44-BE8E-EE1771F19CE1}" srcOrd="1" destOrd="0" parTransId="{00CFFC0A-A0AE-4241-AA28-EB9566CE375F}" sibTransId="{7A3D9285-A31A-9E46-BBB5-3EAA9B66A7C5}"/>
    <dgm:cxn modelId="{35327783-B84B-1E49-8FE2-3A4A2E9F3E58}" type="presOf" srcId="{EEF6C47E-4497-9C4F-BB21-445207F9B587}" destId="{C42F53E9-15AD-5E4B-995A-94F4602FA275}" srcOrd="0" destOrd="0" presId="urn:microsoft.com/office/officeart/2005/8/layout/process2"/>
    <dgm:cxn modelId="{8FFD8B94-5596-4E40-9563-5C690BBFC543}" type="presOf" srcId="{75E8D6F6-622C-7F48-BF81-794EBD06EAAD}" destId="{19EA89E7-03CD-414D-8935-EB9B356EF908}" srcOrd="0" destOrd="0" presId="urn:microsoft.com/office/officeart/2005/8/layout/process2"/>
    <dgm:cxn modelId="{F00EDF98-7E30-4E48-8664-9124726161ED}" type="presOf" srcId="{75E8D6F6-622C-7F48-BF81-794EBD06EAAD}" destId="{FC14B0D1-BCC3-FC4F-87BD-176A2E758A40}" srcOrd="1" destOrd="0" presId="urn:microsoft.com/office/officeart/2005/8/layout/process2"/>
    <dgm:cxn modelId="{7F7266A1-909F-2B4F-9138-A9F66A8F8B5D}" type="presOf" srcId="{7A3D9285-A31A-9E46-BBB5-3EAA9B66A7C5}" destId="{99D31B98-99D3-4F47-95AD-53A5B0ADCC21}" srcOrd="1" destOrd="0" presId="urn:microsoft.com/office/officeart/2005/8/layout/process2"/>
    <dgm:cxn modelId="{053AEDBB-9865-D042-A4C4-A71D5ED30698}" type="presOf" srcId="{FA4CF2C7-77B6-9748-961D-69DB70CC870E}" destId="{E70C1F8F-0A71-9F49-987E-36B9D3648361}" srcOrd="0" destOrd="0" presId="urn:microsoft.com/office/officeart/2005/8/layout/process2"/>
    <dgm:cxn modelId="{C83573C7-703B-F445-B2D4-3B3C4F918D8B}" type="presOf" srcId="{C3AF3D16-02D8-3F45-B126-0DE6E818BFEF}" destId="{8E9C9E22-F372-7448-8C61-B3C44C8EA18F}" srcOrd="0" destOrd="0" presId="urn:microsoft.com/office/officeart/2005/8/layout/process2"/>
    <dgm:cxn modelId="{8ACEE3C8-A49D-E44A-8188-483825FA187A}" srcId="{C3AF3D16-02D8-3F45-B126-0DE6E818BFEF}" destId="{EEF6C47E-4497-9C4F-BB21-445207F9B587}" srcOrd="3" destOrd="0" parTransId="{408AA730-281F-0D40-AED6-1AB2E561F8F3}" sibTransId="{A7893041-FBD9-E744-A459-A85831D36112}"/>
    <dgm:cxn modelId="{F3032BD1-9701-7042-8CA2-8A93268F8AD2}" type="presOf" srcId="{7A3D9285-A31A-9E46-BBB5-3EAA9B66A7C5}" destId="{42D0D1DD-F85D-2D4E-BC02-4F628EBAEFDC}" srcOrd="0" destOrd="0" presId="urn:microsoft.com/office/officeart/2005/8/layout/process2"/>
    <dgm:cxn modelId="{B43E14E7-37C4-B44C-808B-509EF978D809}" type="presOf" srcId="{E9743775-ECE1-5B4D-A9EF-CFB758AE7159}" destId="{625471B6-6D69-0045-A057-F6F08E7E2A5E}" srcOrd="1" destOrd="0" presId="urn:microsoft.com/office/officeart/2005/8/layout/process2"/>
    <dgm:cxn modelId="{C2B87AFB-D65F-BF4F-8707-9B9A2DACA4A8}" srcId="{C3AF3D16-02D8-3F45-B126-0DE6E818BFEF}" destId="{FA4CF2C7-77B6-9748-961D-69DB70CC870E}" srcOrd="0" destOrd="0" parTransId="{16C61B14-FB98-AD44-9B50-DB0FFCB63260}" sibTransId="{E9743775-ECE1-5B4D-A9EF-CFB758AE7159}"/>
    <dgm:cxn modelId="{F2A1BEFD-B057-5A4F-A9BA-7927BF2C256C}" srcId="{C3AF3D16-02D8-3F45-B126-0DE6E818BFEF}" destId="{8520C06F-CE3E-2D40-BB05-043824F6B49F}" srcOrd="2" destOrd="0" parTransId="{424D939D-EE4B-CF46-88C5-49AF80DE8C2F}" sibTransId="{75E8D6F6-622C-7F48-BF81-794EBD06EAAD}"/>
    <dgm:cxn modelId="{AB5EAF56-5E9E-304E-9BB2-D6ABF9CBD80C}" type="presParOf" srcId="{8E9C9E22-F372-7448-8C61-B3C44C8EA18F}" destId="{E70C1F8F-0A71-9F49-987E-36B9D3648361}" srcOrd="0" destOrd="0" presId="urn:microsoft.com/office/officeart/2005/8/layout/process2"/>
    <dgm:cxn modelId="{3F4289C8-A4F4-8A4A-AC72-946ED5D160B2}" type="presParOf" srcId="{8E9C9E22-F372-7448-8C61-B3C44C8EA18F}" destId="{CF48A1CB-0C78-9842-B89E-EED435D1D264}" srcOrd="1" destOrd="0" presId="urn:microsoft.com/office/officeart/2005/8/layout/process2"/>
    <dgm:cxn modelId="{9D5AEB80-77AE-9247-B950-5BC2A524DB99}" type="presParOf" srcId="{CF48A1CB-0C78-9842-B89E-EED435D1D264}" destId="{625471B6-6D69-0045-A057-F6F08E7E2A5E}" srcOrd="0" destOrd="0" presId="urn:microsoft.com/office/officeart/2005/8/layout/process2"/>
    <dgm:cxn modelId="{3D49761A-2F5E-894B-BDE9-41FA2AF5E6E9}" type="presParOf" srcId="{8E9C9E22-F372-7448-8C61-B3C44C8EA18F}" destId="{0AE633DC-8E0B-034C-AF2C-4228810F371C}" srcOrd="2" destOrd="0" presId="urn:microsoft.com/office/officeart/2005/8/layout/process2"/>
    <dgm:cxn modelId="{0ABFE5D8-C80E-3C4F-BB28-7DC08695FE6B}" type="presParOf" srcId="{8E9C9E22-F372-7448-8C61-B3C44C8EA18F}" destId="{42D0D1DD-F85D-2D4E-BC02-4F628EBAEFDC}" srcOrd="3" destOrd="0" presId="urn:microsoft.com/office/officeart/2005/8/layout/process2"/>
    <dgm:cxn modelId="{E11F9DD2-939A-534C-B263-27A19720C80A}" type="presParOf" srcId="{42D0D1DD-F85D-2D4E-BC02-4F628EBAEFDC}" destId="{99D31B98-99D3-4F47-95AD-53A5B0ADCC21}" srcOrd="0" destOrd="0" presId="urn:microsoft.com/office/officeart/2005/8/layout/process2"/>
    <dgm:cxn modelId="{AE6C4AD5-97F2-D345-91A0-316C34E465E9}" type="presParOf" srcId="{8E9C9E22-F372-7448-8C61-B3C44C8EA18F}" destId="{AFF0975E-F986-B547-9C2E-47444859468E}" srcOrd="4" destOrd="0" presId="urn:microsoft.com/office/officeart/2005/8/layout/process2"/>
    <dgm:cxn modelId="{EBA7B34C-648A-D54D-99E5-0A6BDA04EE32}" type="presParOf" srcId="{8E9C9E22-F372-7448-8C61-B3C44C8EA18F}" destId="{19EA89E7-03CD-414D-8935-EB9B356EF908}" srcOrd="5" destOrd="0" presId="urn:microsoft.com/office/officeart/2005/8/layout/process2"/>
    <dgm:cxn modelId="{E29655B4-3FB0-324E-94EE-C64E4DD44CDB}" type="presParOf" srcId="{19EA89E7-03CD-414D-8935-EB9B356EF908}" destId="{FC14B0D1-BCC3-FC4F-87BD-176A2E758A40}" srcOrd="0" destOrd="0" presId="urn:microsoft.com/office/officeart/2005/8/layout/process2"/>
    <dgm:cxn modelId="{80FEB38E-1317-9C4D-A2D5-7D0A9A60AFE3}" type="presParOf" srcId="{8E9C9E22-F372-7448-8C61-B3C44C8EA18F}" destId="{C42F53E9-15AD-5E4B-995A-94F4602FA275}" srcOrd="6" destOrd="0" presId="urn:microsoft.com/office/officeart/2005/8/layout/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42AAFC-F2F9-1F4C-98FE-3989EAB5082B}" type="doc">
      <dgm:prSet loTypeId="urn:microsoft.com/office/officeart/2005/8/layout/cycle3" loCatId="" qsTypeId="urn:microsoft.com/office/officeart/2005/8/quickstyle/simple1" qsCatId="simple" csTypeId="urn:microsoft.com/office/officeart/2005/8/colors/accent1_2" csCatId="accent1" phldr="1"/>
      <dgm:spPr/>
      <dgm:t>
        <a:bodyPr/>
        <a:lstStyle/>
        <a:p>
          <a:endParaRPr lang="en-US"/>
        </a:p>
      </dgm:t>
    </dgm:pt>
    <dgm:pt modelId="{B30C0CCD-A5B3-614F-A164-F6D8CEE1E3F9}">
      <dgm:prSet phldrT="[Text]" custT="1"/>
      <dgm:spPr>
        <a:solidFill>
          <a:schemeClr val="bg1"/>
        </a:solidFill>
        <a:ln>
          <a:solidFill>
            <a:schemeClr val="accent1"/>
          </a:solidFill>
        </a:ln>
      </dgm:spPr>
      <dgm:t>
        <a:bodyPr anchor="b"/>
        <a:lstStyle/>
        <a:p>
          <a:r>
            <a:rPr lang="en-US" sz="800" dirty="0">
              <a:solidFill>
                <a:schemeClr val="tx1"/>
              </a:solidFill>
            </a:rPr>
            <a:t>Profits from tourism </a:t>
          </a:r>
          <a:r>
            <a:rPr lang="en-US" sz="700" dirty="0">
              <a:solidFill>
                <a:schemeClr val="tx1"/>
              </a:solidFill>
            </a:rPr>
            <a:t>(spa, medicine, etc.) </a:t>
          </a:r>
        </a:p>
        <a:p>
          <a:r>
            <a:rPr lang="en-US" sz="800" dirty="0">
              <a:solidFill>
                <a:schemeClr val="tx1"/>
              </a:solidFill>
            </a:rPr>
            <a:t>700K annual visitors</a:t>
          </a:r>
        </a:p>
      </dgm:t>
    </dgm:pt>
    <dgm:pt modelId="{7BA07337-06BF-134A-BAE3-D4F345A1CEF4}" type="parTrans" cxnId="{514355C6-5BA0-B240-BF3B-F25C1CAFE183}">
      <dgm:prSet/>
      <dgm:spPr/>
      <dgm:t>
        <a:bodyPr/>
        <a:lstStyle/>
        <a:p>
          <a:endParaRPr lang="en-US" sz="800"/>
        </a:p>
      </dgm:t>
    </dgm:pt>
    <dgm:pt modelId="{C9169029-4500-0C43-8A6C-59A96BBBD66F}" type="sibTrans" cxnId="{514355C6-5BA0-B240-BF3B-F25C1CAFE183}">
      <dgm:prSet/>
      <dgm:spPr/>
      <dgm:t>
        <a:bodyPr/>
        <a:lstStyle/>
        <a:p>
          <a:endParaRPr lang="en-US" sz="800"/>
        </a:p>
      </dgm:t>
    </dgm:pt>
    <dgm:pt modelId="{24DBC3A1-21CE-2242-879D-818CAFFA844B}">
      <dgm:prSet phldrT="[Text]" custT="1"/>
      <dgm:spPr>
        <a:solidFill>
          <a:schemeClr val="bg1"/>
        </a:solidFill>
        <a:ln>
          <a:solidFill>
            <a:schemeClr val="accent1"/>
          </a:solidFill>
        </a:ln>
      </dgm:spPr>
      <dgm:t>
        <a:bodyPr anchor="b"/>
        <a:lstStyle/>
        <a:p>
          <a:r>
            <a:rPr lang="en-US" sz="800" dirty="0">
              <a:solidFill>
                <a:schemeClr val="tx1"/>
              </a:solidFill>
            </a:rPr>
            <a:t>Pays HS Orka through dividends </a:t>
          </a:r>
        </a:p>
      </dgm:t>
    </dgm:pt>
    <dgm:pt modelId="{549D9245-DCBB-674C-9A7D-9184FCA9C923}" type="parTrans" cxnId="{BF96FAA0-8937-AF4A-9B16-387157BCDCD5}">
      <dgm:prSet/>
      <dgm:spPr/>
      <dgm:t>
        <a:bodyPr/>
        <a:lstStyle/>
        <a:p>
          <a:endParaRPr lang="en-US" sz="800"/>
        </a:p>
      </dgm:t>
    </dgm:pt>
    <dgm:pt modelId="{7BA1B72C-A46E-8A43-9C31-2345E06C2710}" type="sibTrans" cxnId="{BF96FAA0-8937-AF4A-9B16-387157BCDCD5}">
      <dgm:prSet/>
      <dgm:spPr/>
      <dgm:t>
        <a:bodyPr/>
        <a:lstStyle/>
        <a:p>
          <a:endParaRPr lang="en-US" sz="800"/>
        </a:p>
      </dgm:t>
    </dgm:pt>
    <dgm:pt modelId="{249B3402-6BF5-1F44-B991-C4CCF48ED9DE}">
      <dgm:prSet phldrT="[Text]" custT="1"/>
      <dgm:spPr>
        <a:solidFill>
          <a:schemeClr val="bg1"/>
        </a:solidFill>
        <a:ln>
          <a:solidFill>
            <a:schemeClr val="accent5"/>
          </a:solidFill>
        </a:ln>
      </dgm:spPr>
      <dgm:t>
        <a:bodyPr anchor="b"/>
        <a:lstStyle/>
        <a:p>
          <a:r>
            <a:rPr lang="en-US" sz="800" dirty="0">
              <a:solidFill>
                <a:schemeClr val="tx1"/>
              </a:solidFill>
            </a:rPr>
            <a:t>Project development for geothermal power plants</a:t>
          </a:r>
        </a:p>
      </dgm:t>
    </dgm:pt>
    <dgm:pt modelId="{065A5EE1-41AB-DE4D-9834-37C2796EF664}" type="parTrans" cxnId="{DA4E210A-CB66-FA4B-9B9D-00F26363B1AC}">
      <dgm:prSet/>
      <dgm:spPr/>
      <dgm:t>
        <a:bodyPr/>
        <a:lstStyle/>
        <a:p>
          <a:endParaRPr lang="en-US" sz="800"/>
        </a:p>
      </dgm:t>
    </dgm:pt>
    <dgm:pt modelId="{74DC1FC0-BBEF-8C47-BEFE-C6296BDF048E}" type="sibTrans" cxnId="{DA4E210A-CB66-FA4B-9B9D-00F26363B1AC}">
      <dgm:prSet/>
      <dgm:spPr>
        <a:gradFill rotWithShape="0">
          <a:gsLst>
            <a:gs pos="53000">
              <a:schemeClr val="accent1"/>
            </a:gs>
            <a:gs pos="11000">
              <a:schemeClr val="accent5"/>
            </a:gs>
            <a:gs pos="91000">
              <a:schemeClr val="accent1"/>
            </a:gs>
          </a:gsLst>
          <a:lin ang="5400000" scaled="1"/>
        </a:gradFill>
      </dgm:spPr>
      <dgm:t>
        <a:bodyPr/>
        <a:lstStyle/>
        <a:p>
          <a:endParaRPr lang="en-US" sz="800"/>
        </a:p>
      </dgm:t>
    </dgm:pt>
    <dgm:pt modelId="{DFABF4EE-DA62-9045-93B9-95DE224080BC}">
      <dgm:prSet phldrT="[Text]" custT="1"/>
      <dgm:spPr>
        <a:solidFill>
          <a:schemeClr val="bg1"/>
        </a:solidFill>
        <a:ln>
          <a:solidFill>
            <a:schemeClr val="accent5"/>
          </a:solidFill>
        </a:ln>
      </dgm:spPr>
      <dgm:t>
        <a:bodyPr anchor="b"/>
        <a:lstStyle/>
        <a:p>
          <a:pPr algn="ctr"/>
          <a:r>
            <a:rPr lang="en-US" sz="800" dirty="0">
              <a:solidFill>
                <a:schemeClr val="tx1"/>
              </a:solidFill>
            </a:rPr>
            <a:t>Heated geothermal water transferred to Blue Lagoon </a:t>
          </a:r>
        </a:p>
      </dgm:t>
    </dgm:pt>
    <dgm:pt modelId="{C610FA77-006C-7645-BE80-E401892BB643}" type="parTrans" cxnId="{49663629-F95D-E844-93BF-02817DE3DE48}">
      <dgm:prSet/>
      <dgm:spPr/>
      <dgm:t>
        <a:bodyPr/>
        <a:lstStyle/>
        <a:p>
          <a:endParaRPr lang="en-US" sz="800"/>
        </a:p>
      </dgm:t>
    </dgm:pt>
    <dgm:pt modelId="{8B665FB1-8593-3E4A-8875-0CB874CA4532}" type="sibTrans" cxnId="{49663629-F95D-E844-93BF-02817DE3DE48}">
      <dgm:prSet/>
      <dgm:spPr/>
      <dgm:t>
        <a:bodyPr/>
        <a:lstStyle/>
        <a:p>
          <a:endParaRPr lang="en-US" sz="800"/>
        </a:p>
      </dgm:t>
    </dgm:pt>
    <dgm:pt modelId="{2D9229D9-0AF0-C649-91CC-B81BD0AB446E}" type="pres">
      <dgm:prSet presAssocID="{AF42AAFC-F2F9-1F4C-98FE-3989EAB5082B}" presName="Name0" presStyleCnt="0">
        <dgm:presLayoutVars>
          <dgm:dir/>
          <dgm:resizeHandles val="exact"/>
        </dgm:presLayoutVars>
      </dgm:prSet>
      <dgm:spPr/>
    </dgm:pt>
    <dgm:pt modelId="{639626B4-65F1-7847-BB20-C7D83508EF18}" type="pres">
      <dgm:prSet presAssocID="{AF42AAFC-F2F9-1F4C-98FE-3989EAB5082B}" presName="cycle" presStyleCnt="0"/>
      <dgm:spPr/>
    </dgm:pt>
    <dgm:pt modelId="{97AE718B-15D1-D741-B8C3-CA6BFB472FD2}" type="pres">
      <dgm:prSet presAssocID="{249B3402-6BF5-1F44-B991-C4CCF48ED9DE}" presName="nodeFirstNode" presStyleLbl="node1" presStyleIdx="0" presStyleCnt="4" custRadScaleRad="101335" custRadScaleInc="-797">
        <dgm:presLayoutVars>
          <dgm:bulletEnabled val="1"/>
        </dgm:presLayoutVars>
      </dgm:prSet>
      <dgm:spPr/>
    </dgm:pt>
    <dgm:pt modelId="{88FBFEDB-8EE9-D749-9D59-4ECECAE03FEF}" type="pres">
      <dgm:prSet presAssocID="{74DC1FC0-BBEF-8C47-BEFE-C6296BDF048E}" presName="sibTransFirstNode" presStyleLbl="bgShp" presStyleIdx="0" presStyleCnt="1"/>
      <dgm:spPr/>
    </dgm:pt>
    <dgm:pt modelId="{F3F2538B-8236-A94E-A95E-7FA5C145DEFA}" type="pres">
      <dgm:prSet presAssocID="{DFABF4EE-DA62-9045-93B9-95DE224080BC}" presName="nodeFollowingNodes" presStyleLbl="node1" presStyleIdx="1" presStyleCnt="4" custRadScaleRad="117948" custRadScaleInc="448">
        <dgm:presLayoutVars>
          <dgm:bulletEnabled val="1"/>
        </dgm:presLayoutVars>
      </dgm:prSet>
      <dgm:spPr/>
    </dgm:pt>
    <dgm:pt modelId="{1939980F-F198-124E-BEE8-182C1F59B9C6}" type="pres">
      <dgm:prSet presAssocID="{B30C0CCD-A5B3-614F-A164-F6D8CEE1E3F9}" presName="nodeFollowingNodes" presStyleLbl="node1" presStyleIdx="2" presStyleCnt="4">
        <dgm:presLayoutVars>
          <dgm:bulletEnabled val="1"/>
        </dgm:presLayoutVars>
      </dgm:prSet>
      <dgm:spPr/>
    </dgm:pt>
    <dgm:pt modelId="{FEFA0D5E-9CC2-E14F-A7DC-62DA145DC56A}" type="pres">
      <dgm:prSet presAssocID="{24DBC3A1-21CE-2242-879D-818CAFFA844B}" presName="nodeFollowingNodes" presStyleLbl="node1" presStyleIdx="3" presStyleCnt="4" custRadScaleRad="114211" custRadScaleInc="-463">
        <dgm:presLayoutVars>
          <dgm:bulletEnabled val="1"/>
        </dgm:presLayoutVars>
      </dgm:prSet>
      <dgm:spPr/>
    </dgm:pt>
  </dgm:ptLst>
  <dgm:cxnLst>
    <dgm:cxn modelId="{DA4E210A-CB66-FA4B-9B9D-00F26363B1AC}" srcId="{AF42AAFC-F2F9-1F4C-98FE-3989EAB5082B}" destId="{249B3402-6BF5-1F44-B991-C4CCF48ED9DE}" srcOrd="0" destOrd="0" parTransId="{065A5EE1-41AB-DE4D-9834-37C2796EF664}" sibTransId="{74DC1FC0-BBEF-8C47-BEFE-C6296BDF048E}"/>
    <dgm:cxn modelId="{F2FB8714-23B4-4B41-98D3-E7F75B5CF7C7}" type="presOf" srcId="{24DBC3A1-21CE-2242-879D-818CAFFA844B}" destId="{FEFA0D5E-9CC2-E14F-A7DC-62DA145DC56A}" srcOrd="0" destOrd="0" presId="urn:microsoft.com/office/officeart/2005/8/layout/cycle3"/>
    <dgm:cxn modelId="{49663629-F95D-E844-93BF-02817DE3DE48}" srcId="{AF42AAFC-F2F9-1F4C-98FE-3989EAB5082B}" destId="{DFABF4EE-DA62-9045-93B9-95DE224080BC}" srcOrd="1" destOrd="0" parTransId="{C610FA77-006C-7645-BE80-E401892BB643}" sibTransId="{8B665FB1-8593-3E4A-8875-0CB874CA4532}"/>
    <dgm:cxn modelId="{10AC4842-DBA6-204B-8FBC-BD95D44A6DDC}" type="presOf" srcId="{AF42AAFC-F2F9-1F4C-98FE-3989EAB5082B}" destId="{2D9229D9-0AF0-C649-91CC-B81BD0AB446E}" srcOrd="0" destOrd="0" presId="urn:microsoft.com/office/officeart/2005/8/layout/cycle3"/>
    <dgm:cxn modelId="{73F34174-987C-AD44-AFE6-C2878C819F41}" type="presOf" srcId="{B30C0CCD-A5B3-614F-A164-F6D8CEE1E3F9}" destId="{1939980F-F198-124E-BEE8-182C1F59B9C6}" srcOrd="0" destOrd="0" presId="urn:microsoft.com/office/officeart/2005/8/layout/cycle3"/>
    <dgm:cxn modelId="{BF96FAA0-8937-AF4A-9B16-387157BCDCD5}" srcId="{AF42AAFC-F2F9-1F4C-98FE-3989EAB5082B}" destId="{24DBC3A1-21CE-2242-879D-818CAFFA844B}" srcOrd="3" destOrd="0" parTransId="{549D9245-DCBB-674C-9A7D-9184FCA9C923}" sibTransId="{7BA1B72C-A46E-8A43-9C31-2345E06C2710}"/>
    <dgm:cxn modelId="{83E7C1A3-D2BC-0049-BD89-97B23B2BBB4B}" type="presOf" srcId="{249B3402-6BF5-1F44-B991-C4CCF48ED9DE}" destId="{97AE718B-15D1-D741-B8C3-CA6BFB472FD2}" srcOrd="0" destOrd="0" presId="urn:microsoft.com/office/officeart/2005/8/layout/cycle3"/>
    <dgm:cxn modelId="{514355C6-5BA0-B240-BF3B-F25C1CAFE183}" srcId="{AF42AAFC-F2F9-1F4C-98FE-3989EAB5082B}" destId="{B30C0CCD-A5B3-614F-A164-F6D8CEE1E3F9}" srcOrd="2" destOrd="0" parTransId="{7BA07337-06BF-134A-BAE3-D4F345A1CEF4}" sibTransId="{C9169029-4500-0C43-8A6C-59A96BBBD66F}"/>
    <dgm:cxn modelId="{7C67E0F9-4DB7-F247-8B76-1FBA5DC92355}" type="presOf" srcId="{74DC1FC0-BBEF-8C47-BEFE-C6296BDF048E}" destId="{88FBFEDB-8EE9-D749-9D59-4ECECAE03FEF}" srcOrd="0" destOrd="0" presId="urn:microsoft.com/office/officeart/2005/8/layout/cycle3"/>
    <dgm:cxn modelId="{351BECFF-BF56-C24B-9406-AAE4041FD854}" type="presOf" srcId="{DFABF4EE-DA62-9045-93B9-95DE224080BC}" destId="{F3F2538B-8236-A94E-A95E-7FA5C145DEFA}" srcOrd="0" destOrd="0" presId="urn:microsoft.com/office/officeart/2005/8/layout/cycle3"/>
    <dgm:cxn modelId="{AFF4F5FC-4FC1-5D41-B712-8F8B29079E07}" type="presParOf" srcId="{2D9229D9-0AF0-C649-91CC-B81BD0AB446E}" destId="{639626B4-65F1-7847-BB20-C7D83508EF18}" srcOrd="0" destOrd="0" presId="urn:microsoft.com/office/officeart/2005/8/layout/cycle3"/>
    <dgm:cxn modelId="{08DDFCE1-427A-CB40-8373-8475F800C054}" type="presParOf" srcId="{639626B4-65F1-7847-BB20-C7D83508EF18}" destId="{97AE718B-15D1-D741-B8C3-CA6BFB472FD2}" srcOrd="0" destOrd="0" presId="urn:microsoft.com/office/officeart/2005/8/layout/cycle3"/>
    <dgm:cxn modelId="{8E47FA58-5B8B-A244-B25E-215D3B9AB762}" type="presParOf" srcId="{639626B4-65F1-7847-BB20-C7D83508EF18}" destId="{88FBFEDB-8EE9-D749-9D59-4ECECAE03FEF}" srcOrd="1" destOrd="0" presId="urn:microsoft.com/office/officeart/2005/8/layout/cycle3"/>
    <dgm:cxn modelId="{02FB96D5-C1A1-5044-861F-58B689477A61}" type="presParOf" srcId="{639626B4-65F1-7847-BB20-C7D83508EF18}" destId="{F3F2538B-8236-A94E-A95E-7FA5C145DEFA}" srcOrd="2" destOrd="0" presId="urn:microsoft.com/office/officeart/2005/8/layout/cycle3"/>
    <dgm:cxn modelId="{CE523399-6E37-B442-9C05-BAD850E5DDB3}" type="presParOf" srcId="{639626B4-65F1-7847-BB20-C7D83508EF18}" destId="{1939980F-F198-124E-BEE8-182C1F59B9C6}" srcOrd="3" destOrd="0" presId="urn:microsoft.com/office/officeart/2005/8/layout/cycle3"/>
    <dgm:cxn modelId="{DFEDDCD9-40F7-EB49-B436-08E51312F321}" type="presParOf" srcId="{639626B4-65F1-7847-BB20-C7D83508EF18}" destId="{FEFA0D5E-9CC2-E14F-A7DC-62DA145DC56A}" srcOrd="4" destOrd="0" presId="urn:microsoft.com/office/officeart/2005/8/layout/cycle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B4323-7DF9-7940-B151-16230AE4B9AC}">
      <dsp:nvSpPr>
        <dsp:cNvPr id="0" name=""/>
        <dsp:cNvSpPr/>
      </dsp:nvSpPr>
      <dsp:spPr>
        <a:xfrm>
          <a:off x="64526" y="188141"/>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Rainfall flows from higher elevations into the ground.</a:t>
          </a:r>
        </a:p>
      </dsp:txBody>
      <dsp:txXfrm>
        <a:off x="322403" y="188141"/>
        <a:ext cx="773632" cy="515754"/>
      </dsp:txXfrm>
    </dsp:sp>
    <dsp:sp modelId="{AAB212BA-FC7F-A549-A581-07D841A7D58A}">
      <dsp:nvSpPr>
        <dsp:cNvPr id="0" name=""/>
        <dsp:cNvSpPr/>
      </dsp:nvSpPr>
      <dsp:spPr>
        <a:xfrm>
          <a:off x="1161896"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Water is heated by surrounding rock.</a:t>
          </a:r>
        </a:p>
      </dsp:txBody>
      <dsp:txXfrm>
        <a:off x="1419773" y="180250"/>
        <a:ext cx="773632" cy="515754"/>
      </dsp:txXfrm>
    </dsp:sp>
    <dsp:sp modelId="{3A6B3280-F41C-6347-B823-F30CF2127F32}">
      <dsp:nvSpPr>
        <dsp:cNvPr id="0" name=""/>
        <dsp:cNvSpPr/>
      </dsp:nvSpPr>
      <dsp:spPr>
        <a:xfrm>
          <a:off x="2322344"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Water travels through faults and fractures.</a:t>
          </a:r>
        </a:p>
      </dsp:txBody>
      <dsp:txXfrm>
        <a:off x="2580221" y="180250"/>
        <a:ext cx="773632" cy="515754"/>
      </dsp:txXfrm>
    </dsp:sp>
    <dsp:sp modelId="{324E8D2E-A5BD-2848-BB9B-DCA7E4A8210E}">
      <dsp:nvSpPr>
        <dsp:cNvPr id="0" name=""/>
        <dsp:cNvSpPr/>
      </dsp:nvSpPr>
      <dsp:spPr>
        <a:xfrm>
          <a:off x="3482792"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Permeable rock traps and stores rising hot water or steam.</a:t>
          </a:r>
        </a:p>
      </dsp:txBody>
      <dsp:txXfrm>
        <a:off x="3740669" y="180250"/>
        <a:ext cx="773632" cy="515754"/>
      </dsp:txXfrm>
    </dsp:sp>
    <dsp:sp modelId="{2E84441D-AD1E-A440-97CE-540566178320}">
      <dsp:nvSpPr>
        <dsp:cNvPr id="0" name=""/>
        <dsp:cNvSpPr/>
      </dsp:nvSpPr>
      <dsp:spPr>
        <a:xfrm>
          <a:off x="4643240" y="180250"/>
          <a:ext cx="1289386" cy="515754"/>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800" kern="1200" dirty="0"/>
            <a:t>Geothermal reservoir is formed.</a:t>
          </a:r>
        </a:p>
      </dsp:txBody>
      <dsp:txXfrm>
        <a:off x="4901117" y="180250"/>
        <a:ext cx="773632" cy="5157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8D5E5-7CDB-4909-833B-D95AF62917DD}">
      <dsp:nvSpPr>
        <dsp:cNvPr id="0" name=""/>
        <dsp:cNvSpPr/>
      </dsp:nvSpPr>
      <dsp:spPr>
        <a:xfrm>
          <a:off x="586" y="0"/>
          <a:ext cx="1144159" cy="392146"/>
        </a:xfrm>
        <a:prstGeom prst="homePlat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1-2</a:t>
          </a:r>
          <a:endParaRPr lang="en-US" sz="900" kern="1200" dirty="0"/>
        </a:p>
      </dsp:txBody>
      <dsp:txXfrm>
        <a:off x="586" y="0"/>
        <a:ext cx="1046123" cy="392146"/>
      </dsp:txXfrm>
    </dsp:sp>
    <dsp:sp modelId="{F8CFA174-FCE7-4527-A334-5E2BD2D9A7D5}">
      <dsp:nvSpPr>
        <dsp:cNvPr id="0" name=""/>
        <dsp:cNvSpPr/>
      </dsp:nvSpPr>
      <dsp:spPr>
        <a:xfrm>
          <a:off x="915914" y="0"/>
          <a:ext cx="1144159" cy="392146"/>
        </a:xfrm>
        <a:prstGeom prst="chevron">
          <a:avLst/>
        </a:prstGeom>
        <a:solidFill>
          <a:schemeClr val="accent1">
            <a:shade val="80000"/>
            <a:hueOff val="156166"/>
            <a:satOff val="-9351"/>
            <a:lumOff val="8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2-3 </a:t>
          </a:r>
          <a:endParaRPr lang="en-US" sz="900" kern="1200" dirty="0"/>
        </a:p>
      </dsp:txBody>
      <dsp:txXfrm>
        <a:off x="1111987" y="0"/>
        <a:ext cx="752013" cy="392146"/>
      </dsp:txXfrm>
    </dsp:sp>
    <dsp:sp modelId="{F6D7840B-F120-466E-B5D3-D69554FB63CA}">
      <dsp:nvSpPr>
        <dsp:cNvPr id="0" name=""/>
        <dsp:cNvSpPr/>
      </dsp:nvSpPr>
      <dsp:spPr>
        <a:xfrm>
          <a:off x="1831241" y="0"/>
          <a:ext cx="1144159" cy="392146"/>
        </a:xfrm>
        <a:prstGeom prst="chevron">
          <a:avLst/>
        </a:prstGeom>
        <a:solidFill>
          <a:schemeClr val="accent1">
            <a:shade val="80000"/>
            <a:hueOff val="312331"/>
            <a:satOff val="-18703"/>
            <a:lumOff val="177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4-6</a:t>
          </a:r>
        </a:p>
      </dsp:txBody>
      <dsp:txXfrm>
        <a:off x="2027314" y="0"/>
        <a:ext cx="752013" cy="392146"/>
      </dsp:txXfrm>
    </dsp:sp>
    <dsp:sp modelId="{2FD4898E-9BDD-4B90-A4BD-4877E95587DE}">
      <dsp:nvSpPr>
        <dsp:cNvPr id="0" name=""/>
        <dsp:cNvSpPr/>
      </dsp:nvSpPr>
      <dsp:spPr>
        <a:xfrm>
          <a:off x="2746568" y="0"/>
          <a:ext cx="1144159" cy="392146"/>
        </a:xfrm>
        <a:prstGeom prst="chevron">
          <a:avLst/>
        </a:prstGeom>
        <a:solidFill>
          <a:schemeClr val="accent1">
            <a:shade val="80000"/>
            <a:hueOff val="468497"/>
            <a:satOff val="-28054"/>
            <a:lumOff val="266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6-8</a:t>
          </a:r>
        </a:p>
      </dsp:txBody>
      <dsp:txXfrm>
        <a:off x="2942641" y="0"/>
        <a:ext cx="752013" cy="392146"/>
      </dsp:txXfrm>
    </dsp:sp>
    <dsp:sp modelId="{DDCE2634-C9C4-47F2-A8AE-976951B88788}">
      <dsp:nvSpPr>
        <dsp:cNvPr id="0" name=""/>
        <dsp:cNvSpPr/>
      </dsp:nvSpPr>
      <dsp:spPr>
        <a:xfrm>
          <a:off x="3652751" y="0"/>
          <a:ext cx="1144159" cy="392146"/>
        </a:xfrm>
        <a:prstGeom prst="chevron">
          <a:avLst/>
        </a:prstGeom>
        <a:solidFill>
          <a:schemeClr val="accent1">
            <a:shade val="80000"/>
            <a:hueOff val="624662"/>
            <a:satOff val="-37405"/>
            <a:lumOff val="355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rtl="0">
            <a:lnSpc>
              <a:spcPct val="90000"/>
            </a:lnSpc>
            <a:spcBef>
              <a:spcPct val="0"/>
            </a:spcBef>
            <a:spcAft>
              <a:spcPct val="35000"/>
            </a:spcAft>
            <a:buNone/>
          </a:pPr>
          <a:r>
            <a:rPr lang="en-US" sz="900" kern="1200" dirty="0">
              <a:latin typeface="Arial"/>
            </a:rPr>
            <a:t> Years 8+</a:t>
          </a:r>
        </a:p>
      </dsp:txBody>
      <dsp:txXfrm>
        <a:off x="3848824" y="0"/>
        <a:ext cx="752013" cy="3921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0C1F8F-0A71-9F49-987E-36B9D3648361}">
      <dsp:nvSpPr>
        <dsp:cNvPr id="0" name=""/>
        <dsp:cNvSpPr/>
      </dsp:nvSpPr>
      <dsp:spPr>
        <a:xfrm>
          <a:off x="2393339" y="2048"/>
          <a:ext cx="1906044" cy="761971"/>
        </a:xfrm>
        <a:prstGeom prst="roundRect">
          <a:avLst>
            <a:gd name="adj" fmla="val 10000"/>
          </a:avLst>
        </a:prstGeom>
        <a:solidFill>
          <a:srgbClr val="33A39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Satellite collects thermal imaging of geological area.</a:t>
          </a:r>
        </a:p>
      </dsp:txBody>
      <dsp:txXfrm>
        <a:off x="2415656" y="24365"/>
        <a:ext cx="1861410" cy="717337"/>
      </dsp:txXfrm>
    </dsp:sp>
    <dsp:sp modelId="{CF48A1CB-0C78-9842-B89E-EED435D1D264}">
      <dsp:nvSpPr>
        <dsp:cNvPr id="0" name=""/>
        <dsp:cNvSpPr/>
      </dsp:nvSpPr>
      <dsp:spPr>
        <a:xfrm rot="5400000">
          <a:off x="3203491" y="783068"/>
          <a:ext cx="285739" cy="3428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rot="-5400000">
        <a:off x="3243494" y="811642"/>
        <a:ext cx="205733" cy="200017"/>
      </dsp:txXfrm>
    </dsp:sp>
    <dsp:sp modelId="{0AE633DC-8E0B-034C-AF2C-4228810F371C}">
      <dsp:nvSpPr>
        <dsp:cNvPr id="0" name=""/>
        <dsp:cNvSpPr/>
      </dsp:nvSpPr>
      <dsp:spPr>
        <a:xfrm>
          <a:off x="2393339" y="1145005"/>
          <a:ext cx="1906044" cy="761971"/>
        </a:xfrm>
        <a:prstGeom prst="roundRect">
          <a:avLst>
            <a:gd name="adj" fmla="val 10000"/>
          </a:avLst>
        </a:prstGeom>
        <a:solidFill>
          <a:srgbClr val="A83DA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I models detect promising geological resources.</a:t>
          </a:r>
        </a:p>
      </dsp:txBody>
      <dsp:txXfrm>
        <a:off x="2415656" y="1167322"/>
        <a:ext cx="1861410" cy="717337"/>
      </dsp:txXfrm>
    </dsp:sp>
    <dsp:sp modelId="{42D0D1DD-F85D-2D4E-BC02-4F628EBAEFDC}">
      <dsp:nvSpPr>
        <dsp:cNvPr id="0" name=""/>
        <dsp:cNvSpPr/>
      </dsp:nvSpPr>
      <dsp:spPr>
        <a:xfrm rot="5400000">
          <a:off x="3203491" y="1926025"/>
          <a:ext cx="285739" cy="3428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rot="-5400000">
        <a:off x="3243494" y="1954599"/>
        <a:ext cx="205733" cy="200017"/>
      </dsp:txXfrm>
    </dsp:sp>
    <dsp:sp modelId="{AFF0975E-F986-B547-9C2E-47444859468E}">
      <dsp:nvSpPr>
        <dsp:cNvPr id="0" name=""/>
        <dsp:cNvSpPr/>
      </dsp:nvSpPr>
      <dsp:spPr>
        <a:xfrm>
          <a:off x="2393339" y="2287961"/>
          <a:ext cx="1906044" cy="761971"/>
        </a:xfrm>
        <a:prstGeom prst="roundRect">
          <a:avLst>
            <a:gd name="adj" fmla="val 10000"/>
          </a:avLst>
        </a:prstGeom>
        <a:solidFill>
          <a:srgbClr val="009BD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odels are generated with reservoirs with a high probability of success.</a:t>
          </a:r>
        </a:p>
      </dsp:txBody>
      <dsp:txXfrm>
        <a:off x="2415656" y="2310278"/>
        <a:ext cx="1861410" cy="717337"/>
      </dsp:txXfrm>
    </dsp:sp>
    <dsp:sp modelId="{19EA89E7-03CD-414D-8935-EB9B356EF908}">
      <dsp:nvSpPr>
        <dsp:cNvPr id="0" name=""/>
        <dsp:cNvSpPr/>
      </dsp:nvSpPr>
      <dsp:spPr>
        <a:xfrm rot="5400000">
          <a:off x="3203491" y="3068982"/>
          <a:ext cx="285739" cy="3428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rot="-5400000">
        <a:off x="3243494" y="3097556"/>
        <a:ext cx="205733" cy="200017"/>
      </dsp:txXfrm>
    </dsp:sp>
    <dsp:sp modelId="{C42F53E9-15AD-5E4B-995A-94F4602FA275}">
      <dsp:nvSpPr>
        <dsp:cNvPr id="0" name=""/>
        <dsp:cNvSpPr/>
      </dsp:nvSpPr>
      <dsp:spPr>
        <a:xfrm>
          <a:off x="2393339" y="3430918"/>
          <a:ext cx="1906044" cy="761971"/>
        </a:xfrm>
        <a:prstGeom prst="roundRect">
          <a:avLst>
            <a:gd name="adj" fmla="val 10000"/>
          </a:avLst>
        </a:prstGeom>
        <a:solidFill>
          <a:srgbClr val="7F5BC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odels are consistently improved based on new and existing data</a:t>
          </a:r>
        </a:p>
      </dsp:txBody>
      <dsp:txXfrm>
        <a:off x="2415656" y="3453235"/>
        <a:ext cx="1861410" cy="7173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FBFEDB-8EE9-D749-9D59-4ECECAE03FEF}">
      <dsp:nvSpPr>
        <dsp:cNvPr id="0" name=""/>
        <dsp:cNvSpPr/>
      </dsp:nvSpPr>
      <dsp:spPr>
        <a:xfrm>
          <a:off x="917928" y="-22330"/>
          <a:ext cx="2006037" cy="2006037"/>
        </a:xfrm>
        <a:prstGeom prst="circularArrow">
          <a:avLst>
            <a:gd name="adj1" fmla="val 4668"/>
            <a:gd name="adj2" fmla="val 272909"/>
            <a:gd name="adj3" fmla="val 13213009"/>
            <a:gd name="adj4" fmla="val 17776416"/>
            <a:gd name="adj5" fmla="val 4847"/>
          </a:avLst>
        </a:prstGeom>
        <a:gradFill rotWithShape="0">
          <a:gsLst>
            <a:gs pos="53000">
              <a:schemeClr val="accent1"/>
            </a:gs>
            <a:gs pos="11000">
              <a:schemeClr val="accent5"/>
            </a:gs>
            <a:gs pos="91000">
              <a:schemeClr val="accent1"/>
            </a:gs>
          </a:gsLst>
          <a:lin ang="5400000" scaled="1"/>
        </a:gradFill>
        <a:ln>
          <a:noFill/>
        </a:ln>
        <a:effectLst/>
      </dsp:spPr>
      <dsp:style>
        <a:lnRef idx="0">
          <a:scrgbClr r="0" g="0" b="0"/>
        </a:lnRef>
        <a:fillRef idx="1">
          <a:scrgbClr r="0" g="0" b="0"/>
        </a:fillRef>
        <a:effectRef idx="0">
          <a:scrgbClr r="0" g="0" b="0"/>
        </a:effectRef>
        <a:fontRef idx="minor"/>
      </dsp:style>
    </dsp:sp>
    <dsp:sp modelId="{97AE718B-15D1-D741-B8C3-CA6BFB472FD2}">
      <dsp:nvSpPr>
        <dsp:cNvPr id="0" name=""/>
        <dsp:cNvSpPr/>
      </dsp:nvSpPr>
      <dsp:spPr>
        <a:xfrm>
          <a:off x="1320249" y="0"/>
          <a:ext cx="1201394" cy="600697"/>
        </a:xfrm>
        <a:prstGeom prst="roundRect">
          <a:avLst/>
        </a:prstGeom>
        <a:solidFill>
          <a:schemeClr val="bg1"/>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b"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roject development for geothermal power plants</a:t>
          </a:r>
        </a:p>
      </dsp:txBody>
      <dsp:txXfrm>
        <a:off x="1349573" y="29324"/>
        <a:ext cx="1142746" cy="542049"/>
      </dsp:txXfrm>
    </dsp:sp>
    <dsp:sp modelId="{F3F2538B-8236-A94E-A95E-7FA5C145DEFA}">
      <dsp:nvSpPr>
        <dsp:cNvPr id="0" name=""/>
        <dsp:cNvSpPr/>
      </dsp:nvSpPr>
      <dsp:spPr>
        <a:xfrm>
          <a:off x="2177126" y="725357"/>
          <a:ext cx="1201394" cy="600697"/>
        </a:xfrm>
        <a:prstGeom prst="roundRect">
          <a:avLst/>
        </a:prstGeom>
        <a:solidFill>
          <a:schemeClr val="bg1"/>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b"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Heated geothermal water transferred to Blue Lagoon </a:t>
          </a:r>
        </a:p>
      </dsp:txBody>
      <dsp:txXfrm>
        <a:off x="2206450" y="754681"/>
        <a:ext cx="1142746" cy="542049"/>
      </dsp:txXfrm>
    </dsp:sp>
    <dsp:sp modelId="{1939980F-F198-124E-BEE8-182C1F59B9C6}">
      <dsp:nvSpPr>
        <dsp:cNvPr id="0" name=""/>
        <dsp:cNvSpPr/>
      </dsp:nvSpPr>
      <dsp:spPr>
        <a:xfrm>
          <a:off x="1327560" y="1440875"/>
          <a:ext cx="1201394" cy="600697"/>
        </a:xfrm>
        <a:prstGeom prst="roundRect">
          <a:avLst/>
        </a:prstGeom>
        <a:solidFill>
          <a:schemeClr val="bg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b"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rofits from tourism </a:t>
          </a:r>
          <a:r>
            <a:rPr lang="en-US" sz="700" kern="1200" dirty="0">
              <a:solidFill>
                <a:schemeClr val="tx1"/>
              </a:solidFill>
            </a:rPr>
            <a:t>(spa, medicine, etc.) </a:t>
          </a:r>
        </a:p>
        <a:p>
          <a:pPr marL="0" lvl="0" indent="0" algn="ctr" defTabSz="355600">
            <a:lnSpc>
              <a:spcPct val="90000"/>
            </a:lnSpc>
            <a:spcBef>
              <a:spcPct val="0"/>
            </a:spcBef>
            <a:spcAft>
              <a:spcPct val="35000"/>
            </a:spcAft>
            <a:buNone/>
          </a:pPr>
          <a:r>
            <a:rPr lang="en-US" sz="800" kern="1200" dirty="0">
              <a:solidFill>
                <a:schemeClr val="tx1"/>
              </a:solidFill>
            </a:rPr>
            <a:t>700K annual visitors</a:t>
          </a:r>
        </a:p>
      </dsp:txBody>
      <dsp:txXfrm>
        <a:off x="1356884" y="1470199"/>
        <a:ext cx="1142746" cy="542049"/>
      </dsp:txXfrm>
    </dsp:sp>
    <dsp:sp modelId="{FEFA0D5E-9CC2-E14F-A7DC-62DA145DC56A}">
      <dsp:nvSpPr>
        <dsp:cNvPr id="0" name=""/>
        <dsp:cNvSpPr/>
      </dsp:nvSpPr>
      <dsp:spPr>
        <a:xfrm>
          <a:off x="504911" y="725360"/>
          <a:ext cx="1201394" cy="600697"/>
        </a:xfrm>
        <a:prstGeom prst="roundRect">
          <a:avLst/>
        </a:prstGeom>
        <a:solidFill>
          <a:schemeClr val="bg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b"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ays HS Orka through dividends </a:t>
          </a:r>
        </a:p>
      </dsp:txBody>
      <dsp:txXfrm>
        <a:off x="534235" y="754684"/>
        <a:ext cx="1142746" cy="54204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3/16/2026</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dirty="0"/>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9</a:t>
            </a:fld>
            <a:endParaRPr lang="en-US" dirty="0"/>
          </a:p>
        </p:txBody>
      </p:sp>
    </p:spTree>
    <p:extLst>
      <p:ext uri="{BB962C8B-B14F-4D97-AF65-F5344CB8AC3E}">
        <p14:creationId xmlns:p14="http://schemas.microsoft.com/office/powerpoint/2010/main" val="3102343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4</a:t>
            </a:fld>
            <a:endParaRPr lang="en-US" dirty="0"/>
          </a:p>
        </p:txBody>
      </p:sp>
    </p:spTree>
    <p:extLst>
      <p:ext uri="{BB962C8B-B14F-4D97-AF65-F5344CB8AC3E}">
        <p14:creationId xmlns:p14="http://schemas.microsoft.com/office/powerpoint/2010/main" val="130499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7</a:t>
            </a:fld>
            <a:endParaRPr lang="en-US" dirty="0"/>
          </a:p>
        </p:txBody>
      </p:sp>
    </p:spTree>
    <p:extLst>
      <p:ext uri="{BB962C8B-B14F-4D97-AF65-F5344CB8AC3E}">
        <p14:creationId xmlns:p14="http://schemas.microsoft.com/office/powerpoint/2010/main" val="4105451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8</a:t>
            </a:fld>
            <a:endParaRPr lang="en-US" dirty="0"/>
          </a:p>
        </p:txBody>
      </p:sp>
    </p:spTree>
    <p:extLst>
      <p:ext uri="{BB962C8B-B14F-4D97-AF65-F5344CB8AC3E}">
        <p14:creationId xmlns:p14="http://schemas.microsoft.com/office/powerpoint/2010/main" val="2011711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CAA84-95CA-EFE1-29E4-F9DFD0B4D4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4410B-8195-1282-CEB2-9BA33DA0960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7B964B3-B090-A113-F6B5-446AEDD478B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3E5E5B6-E880-2DE1-FBC0-4414AECFC09C}"/>
              </a:ext>
            </a:extLst>
          </p:cNvPr>
          <p:cNvSpPr>
            <a:spLocks noGrp="1"/>
          </p:cNvSpPr>
          <p:nvPr>
            <p:ph type="sldNum" sz="quarter" idx="5"/>
          </p:nvPr>
        </p:nvSpPr>
        <p:spPr/>
        <p:txBody>
          <a:bodyPr/>
          <a:lstStyle/>
          <a:p>
            <a:fld id="{7C7120ED-20B9-4CC8-A606-12D10436DCAF}" type="slidenum">
              <a:rPr lang="en-US" smtClean="0"/>
              <a:t>66</a:t>
            </a:fld>
            <a:endParaRPr lang="en-US" dirty="0"/>
          </a:p>
        </p:txBody>
      </p:sp>
    </p:spTree>
    <p:extLst>
      <p:ext uri="{BB962C8B-B14F-4D97-AF65-F5344CB8AC3E}">
        <p14:creationId xmlns:p14="http://schemas.microsoft.com/office/powerpoint/2010/main" val="1686153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dirty="0"/>
          </a:p>
        </p:txBody>
      </p:sp>
    </p:spTree>
    <p:extLst>
      <p:ext uri="{BB962C8B-B14F-4D97-AF65-F5344CB8AC3E}">
        <p14:creationId xmlns:p14="http://schemas.microsoft.com/office/powerpoint/2010/main" val="1849960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3487D1-02BA-9234-A1BA-580B134044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7D486B-8E72-EA35-7C6F-1E97FE0CB1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C6DF9-7514-C7D0-CA02-0CEB6EAB4DD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6290315-6E52-8B97-AF32-AF93AFD2EF11}"/>
              </a:ext>
            </a:extLst>
          </p:cNvPr>
          <p:cNvSpPr>
            <a:spLocks noGrp="1"/>
          </p:cNvSpPr>
          <p:nvPr>
            <p:ph type="sldNum" sz="quarter" idx="5"/>
          </p:nvPr>
        </p:nvSpPr>
        <p:spPr/>
        <p:txBody>
          <a:bodyPr/>
          <a:lstStyle/>
          <a:p>
            <a:fld id="{7C7120ED-20B9-4CC8-A606-12D10436DCAF}" type="slidenum">
              <a:rPr lang="en-US" smtClean="0"/>
              <a:t>77</a:t>
            </a:fld>
            <a:endParaRPr lang="en-US" dirty="0"/>
          </a:p>
        </p:txBody>
      </p:sp>
    </p:spTree>
    <p:extLst>
      <p:ext uri="{BB962C8B-B14F-4D97-AF65-F5344CB8AC3E}">
        <p14:creationId xmlns:p14="http://schemas.microsoft.com/office/powerpoint/2010/main" val="2975261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FF718-D352-5289-3F74-4C81D1B675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227379-3968-4CF0-0121-6D0F49AF713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E4E0607-050C-E222-7EB5-D8F64153AA6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22E7C00-4E16-B3D0-9C12-EA81D95BF48D}"/>
              </a:ext>
            </a:extLst>
          </p:cNvPr>
          <p:cNvSpPr>
            <a:spLocks noGrp="1"/>
          </p:cNvSpPr>
          <p:nvPr>
            <p:ph type="sldNum" sz="quarter" idx="5"/>
          </p:nvPr>
        </p:nvSpPr>
        <p:spPr/>
        <p:txBody>
          <a:bodyPr/>
          <a:lstStyle/>
          <a:p>
            <a:fld id="{7C7120ED-20B9-4CC8-A606-12D10436DCAF}" type="slidenum">
              <a:rPr lang="en-US" smtClean="0"/>
              <a:t>78</a:t>
            </a:fld>
            <a:endParaRPr lang="en-US" dirty="0"/>
          </a:p>
        </p:txBody>
      </p:sp>
    </p:spTree>
    <p:extLst>
      <p:ext uri="{BB962C8B-B14F-4D97-AF65-F5344CB8AC3E}">
        <p14:creationId xmlns:p14="http://schemas.microsoft.com/office/powerpoint/2010/main" val="1549573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0</a:t>
            </a:fld>
            <a:endParaRPr lang="en-US" dirty="0"/>
          </a:p>
        </p:txBody>
      </p:sp>
    </p:spTree>
    <p:extLst>
      <p:ext uri="{BB962C8B-B14F-4D97-AF65-F5344CB8AC3E}">
        <p14:creationId xmlns:p14="http://schemas.microsoft.com/office/powerpoint/2010/main" val="78060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1</a:t>
            </a:fld>
            <a:endParaRPr lang="en-US" dirty="0"/>
          </a:p>
        </p:txBody>
      </p:sp>
    </p:spTree>
    <p:extLst>
      <p:ext uri="{BB962C8B-B14F-4D97-AF65-F5344CB8AC3E}">
        <p14:creationId xmlns:p14="http://schemas.microsoft.com/office/powerpoint/2010/main" val="1843191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2</a:t>
            </a:fld>
            <a:endParaRPr lang="en-US" dirty="0"/>
          </a:p>
        </p:txBody>
      </p:sp>
    </p:spTree>
    <p:extLst>
      <p:ext uri="{BB962C8B-B14F-4D97-AF65-F5344CB8AC3E}">
        <p14:creationId xmlns:p14="http://schemas.microsoft.com/office/powerpoint/2010/main" val="2186058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83</a:t>
            </a:fld>
            <a:endParaRPr lang="en-US" dirty="0"/>
          </a:p>
        </p:txBody>
      </p:sp>
    </p:spTree>
    <p:extLst>
      <p:ext uri="{BB962C8B-B14F-4D97-AF65-F5344CB8AC3E}">
        <p14:creationId xmlns:p14="http://schemas.microsoft.com/office/powerpoint/2010/main" val="35789671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mailto:gwagner@columbia.edu" TargetMode="External"/><Relationship Id="rId3" Type="http://schemas.openxmlformats.org/officeDocument/2006/relationships/oleObject" Target="../embeddings/oleObject23.bin"/><Relationship Id="rId7" Type="http://schemas.openxmlformats.org/officeDocument/2006/relationships/image" Target="../media/image12.jpeg"/><Relationship Id="rId12" Type="http://schemas.openxmlformats.org/officeDocument/2006/relationships/hyperlink" Target="mailto:pm3346@columbia.edu" TargetMode="External"/><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2.png"/><Relationship Id="rId11" Type="http://schemas.openxmlformats.org/officeDocument/2006/relationships/hyperlink" Target="mailto:af3487@columbia.edu" TargetMode="External"/><Relationship Id="rId5" Type="http://schemas.openxmlformats.org/officeDocument/2006/relationships/image" Target="../media/image11.jpeg"/><Relationship Id="rId10" Type="http://schemas.openxmlformats.org/officeDocument/2006/relationships/hyperlink" Target="mailto:ih2428@columbia.edu" TargetMode="External"/><Relationship Id="rId4" Type="http://schemas.openxmlformats.org/officeDocument/2006/relationships/image" Target="../media/image4.emf"/><Relationship Id="rId9"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mailto:gwagner@columbia.edu" TargetMode="External"/><Relationship Id="rId3" Type="http://schemas.openxmlformats.org/officeDocument/2006/relationships/oleObject" Target="../embeddings/oleObject24.bin"/><Relationship Id="rId7" Type="http://schemas.openxmlformats.org/officeDocument/2006/relationships/image" Target="../media/image12.jpeg"/><Relationship Id="rId12" Type="http://schemas.openxmlformats.org/officeDocument/2006/relationships/hyperlink" Target="mailto:pm3346@columbia.edu" TargetMode="External"/><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2.png"/><Relationship Id="rId11" Type="http://schemas.openxmlformats.org/officeDocument/2006/relationships/hyperlink" Target="mailto:af3487@columbia.edu" TargetMode="External"/><Relationship Id="rId5" Type="http://schemas.openxmlformats.org/officeDocument/2006/relationships/image" Target="../media/image11.jpeg"/><Relationship Id="rId10" Type="http://schemas.openxmlformats.org/officeDocument/2006/relationships/hyperlink" Target="mailto:ih2428@columbia.edu" TargetMode="External"/><Relationship Id="rId4" Type="http://schemas.openxmlformats.org/officeDocument/2006/relationships/image" Target="../media/image4.emf"/><Relationship Id="rId9"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a:prstGeom prst="rect">
            <a:avLst/>
          </a:prstGeom>
        </p:spPr>
        <p:txBody>
          <a:bodyPr/>
          <a:lstStyle>
            <a:lvl1pPr marL="0">
              <a:defRPr/>
            </a:lvl1pPr>
          </a:lstStyle>
          <a:p>
            <a:r>
              <a:rPr lang="en-US" dirty="0"/>
              <a:t>Click icon to add picture</a:t>
            </a: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498106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4">
            <a:extLst>
              <a:ext uri="{FF2B5EF4-FFF2-40B4-BE49-F238E27FC236}">
                <a16:creationId xmlns:a16="http://schemas.microsoft.com/office/drawing/2014/main" id="{F8E3FE2A-C8FA-E15E-73E2-8DCE607136B1}"/>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4" name="Content Placeholder 3">
            <a:extLst>
              <a:ext uri="{FF2B5EF4-FFF2-40B4-BE49-F238E27FC236}">
                <a16:creationId xmlns:a16="http://schemas.microsoft.com/office/drawing/2014/main" id="{CE74C9EC-1A5B-0243-D83E-2EB318287464}"/>
              </a:ext>
            </a:extLst>
          </p:cNvPr>
          <p:cNvSpPr>
            <a:spLocks noGrp="1"/>
          </p:cNvSpPr>
          <p:nvPr>
            <p:ph sz="quarter" idx="14" hasCustomPrompt="1"/>
          </p:nvPr>
        </p:nvSpPr>
        <p:spPr>
          <a:xfrm>
            <a:off x="501445" y="4305300"/>
            <a:ext cx="3165987" cy="1295400"/>
          </a:xfrm>
          <a:prstGeom prst="rect">
            <a:avLst/>
          </a:prstGeom>
        </p:spPr>
        <p:txBody>
          <a:bodyPr>
            <a:noAutofit/>
          </a:bodyPr>
          <a:lstStyle>
            <a:lvl1pPr marL="0">
              <a:buNone/>
              <a:defRPr sz="2800" b="1"/>
            </a:lvl1pPr>
          </a:lstStyle>
          <a:p>
            <a:pPr lvl="0"/>
            <a:r>
              <a:rPr lang="en-US" dirty="0"/>
              <a:t>Key message title</a:t>
            </a:r>
          </a:p>
        </p:txBody>
      </p:sp>
    </p:spTree>
    <p:extLst>
      <p:ext uri="{BB962C8B-B14F-4D97-AF65-F5344CB8AC3E}">
        <p14:creationId xmlns:p14="http://schemas.microsoft.com/office/powerpoint/2010/main" val="480894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3"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261384"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2613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261384"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2473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0FE3CE2-F5EA-5AAC-D0C3-977F6C440E29}"/>
              </a:ext>
            </a:extLst>
          </p:cNvPr>
          <p:cNvSpPr>
            <a:spLocks noGrp="1"/>
          </p:cNvSpPr>
          <p:nvPr>
            <p:ph type="body" sz="quarter" idx="15" hasCustomPrompt="1"/>
          </p:nvPr>
        </p:nvSpPr>
        <p:spPr>
          <a:xfrm>
            <a:off x="0" y="0"/>
            <a:ext cx="3886200" cy="320040"/>
          </a:xfrm>
          <a:prstGeom prst="rect">
            <a:avLst/>
          </a:prstGeom>
          <a:solidFill>
            <a:schemeClr val="accent1">
              <a:lumMod val="20000"/>
              <a:lumOff val="80000"/>
            </a:schemeClr>
          </a:solidFill>
        </p:spPr>
        <p:txBody>
          <a:bodyPr anchor="ctr"/>
          <a:lstStyle>
            <a:lvl1pPr marL="0" algn="ctr">
              <a:buNone/>
              <a:defRPr sz="1600" b="1"/>
            </a:lvl1pPr>
            <a:lvl2pPr marL="0" algn="ctr">
              <a:buNone/>
              <a:defRPr sz="1600" b="1"/>
            </a:lvl2pPr>
            <a:lvl3pPr marL="0" algn="ctr">
              <a:buNone/>
              <a:defRPr sz="1600" b="1"/>
            </a:lvl3pPr>
            <a:lvl4pPr marL="0" algn="ctr">
              <a:buNone/>
              <a:defRPr sz="1600" b="1"/>
            </a:lvl4pPr>
            <a:lvl5pPr marL="0" algn="ctr">
              <a:buNone/>
              <a:defRPr sz="1600" b="1"/>
            </a:lvl5pPr>
          </a:lstStyle>
          <a:p>
            <a:pPr lvl="1"/>
            <a:r>
              <a:rPr lang="en-US" dirty="0"/>
              <a:t>Case study: [Title]</a:t>
            </a:r>
          </a:p>
        </p:txBody>
      </p:sp>
      <p:sp>
        <p:nvSpPr>
          <p:cNvPr id="7" name="Title 1">
            <a:extLst>
              <a:ext uri="{FF2B5EF4-FFF2-40B4-BE49-F238E27FC236}">
                <a16:creationId xmlns:a16="http://schemas.microsoft.com/office/drawing/2014/main" id="{D945D548-844D-AF2E-E504-2AD04B308E0E}"/>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1" name="Content Placeholder 7">
            <a:extLst>
              <a:ext uri="{FF2B5EF4-FFF2-40B4-BE49-F238E27FC236}">
                <a16:creationId xmlns:a16="http://schemas.microsoft.com/office/drawing/2014/main" id="{1A8FF605-FCA8-C618-E525-9FB2DAC5FB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323827EC-3F8A-3555-30A8-C7F9A0ABB5A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7956979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tegorization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5">
            <a:extLst>
              <a:ext uri="{FF2B5EF4-FFF2-40B4-BE49-F238E27FC236}">
                <a16:creationId xmlns:a16="http://schemas.microsoft.com/office/drawing/2014/main" id="{6DFBE172-0623-1731-5367-7D1F9B8DBC0F}"/>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a:t>
            </a:r>
          </a:p>
        </p:txBody>
      </p:sp>
      <p:sp>
        <p:nvSpPr>
          <p:cNvPr id="6" name="Title 1">
            <a:extLst>
              <a:ext uri="{FF2B5EF4-FFF2-40B4-BE49-F238E27FC236}">
                <a16:creationId xmlns:a16="http://schemas.microsoft.com/office/drawing/2014/main" id="{A2B1C33E-CE88-B7EB-F37D-FDFC37E87FBB}"/>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Content Placeholder 7">
            <a:extLst>
              <a:ext uri="{FF2B5EF4-FFF2-40B4-BE49-F238E27FC236}">
                <a16:creationId xmlns:a16="http://schemas.microsoft.com/office/drawing/2014/main" id="{B9F17211-F61F-9B5F-C555-8C53CDF2D3E5}"/>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633926D0-42C6-B9FE-790A-4FB9F3B8A5E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3549077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tegorization + deep dive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5364330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B6A2BC62-EE2B-093C-9005-0521D19B9612}"/>
              </a:ext>
            </a:extLst>
          </p:cNvPr>
          <p:cNvSpPr/>
          <p:nvPr userDrawn="1"/>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ext Placeholder 5">
            <a:extLst>
              <a:ext uri="{FF2B5EF4-FFF2-40B4-BE49-F238E27FC236}">
                <a16:creationId xmlns:a16="http://schemas.microsoft.com/office/drawing/2014/main" id="{E13B7D00-51B3-15AC-93A3-D0ECB74B4F02}"/>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 + Deep Dive</a:t>
            </a:r>
          </a:p>
        </p:txBody>
      </p:sp>
      <p:sp>
        <p:nvSpPr>
          <p:cNvPr id="13" name="Text Placeholder 12">
            <a:extLst>
              <a:ext uri="{FF2B5EF4-FFF2-40B4-BE49-F238E27FC236}">
                <a16:creationId xmlns:a16="http://schemas.microsoft.com/office/drawing/2014/main" id="{28633F30-8062-8C93-AF78-0F6592B36BF0}"/>
              </a:ext>
            </a:extLst>
          </p:cNvPr>
          <p:cNvSpPr>
            <a:spLocks noGrp="1"/>
          </p:cNvSpPr>
          <p:nvPr>
            <p:ph type="body" sz="quarter" idx="16" hasCustomPrompt="1"/>
          </p:nvPr>
        </p:nvSpPr>
        <p:spPr>
          <a:xfrm>
            <a:off x="54864" y="552234"/>
            <a:ext cx="274320" cy="274320"/>
          </a:xfrm>
          <a:prstGeom prst="rect">
            <a:avLst/>
          </a:prstGeom>
        </p:spPr>
        <p:txBody>
          <a:bodyPr anchor="ctr"/>
          <a:lstStyle>
            <a:lvl1pPr algn="ctr">
              <a:buNone/>
              <a:defRPr sz="1200" b="1">
                <a:solidFill>
                  <a:schemeClr val="bg1"/>
                </a:solidFill>
              </a:defRPr>
            </a:lvl1pPr>
            <a:lvl2pPr>
              <a:buNone/>
              <a:defRPr sz="1200" b="1"/>
            </a:lvl2pPr>
            <a:lvl3pPr>
              <a:buNone/>
              <a:defRPr sz="1200" b="1"/>
            </a:lvl3pPr>
            <a:lvl4pPr>
              <a:buNone/>
              <a:defRPr sz="1200" b="1"/>
            </a:lvl4pPr>
            <a:lvl5pPr>
              <a:buNone/>
              <a:defRPr sz="1200" b="1"/>
            </a:lvl5pPr>
          </a:lstStyle>
          <a:p>
            <a:pPr lvl="0"/>
            <a:r>
              <a:rPr lang="en-US" dirty="0"/>
              <a:t>A</a:t>
            </a:r>
          </a:p>
        </p:txBody>
      </p:sp>
      <p:sp>
        <p:nvSpPr>
          <p:cNvPr id="14" name="Title 1">
            <a:extLst>
              <a:ext uri="{FF2B5EF4-FFF2-40B4-BE49-F238E27FC236}">
                <a16:creationId xmlns:a16="http://schemas.microsoft.com/office/drawing/2014/main" id="{4A5DA9AF-2E21-26EA-3767-A3E69A3972E7}"/>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5" name="Content Placeholder 7">
            <a:extLst>
              <a:ext uri="{FF2B5EF4-FFF2-40B4-BE49-F238E27FC236}">
                <a16:creationId xmlns:a16="http://schemas.microsoft.com/office/drawing/2014/main" id="{DEFE85CD-E31A-5D43-0B84-9BE5C90FF1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1B6516F5-4F27-D74B-7043-01C691494662}"/>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9342785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71794569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35493381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4090282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a:prstGeom prst="rect">
            <a:avLst/>
          </a:prstGeom>
        </p:spPr>
        <p:txBody>
          <a:bodyPr vert="horz" lIns="0" tIns="91440" rIns="0" bIns="0" anchor="t" anchorCtr="0">
            <a:noAutofit/>
          </a:bodyPr>
          <a:lstStyle>
            <a:lvl1pPr>
              <a:lnSpc>
                <a:spcPts val="3600"/>
              </a:lnSpc>
              <a:defRPr sz="4800">
                <a:solidFill>
                  <a:srgbClr val="F1F4F7"/>
                </a:solidFill>
              </a:defRPr>
            </a:lvl1pPr>
          </a:lstStyle>
          <a:p>
            <a:r>
              <a:rPr lang="en-US" dirty="0"/>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330541"/>
          </a:xfrm>
          <a:prstGeom prst="rect">
            <a:avLst/>
          </a:prstGeom>
        </p:spPr>
        <p:txBody>
          <a:bodyPr lIns="0">
            <a:no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Authors in form of “Lead author et al.”</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a:prstGeom prst="rect">
            <a:avLst/>
          </a:prstGeom>
        </p:spPr>
        <p:txBody>
          <a:bodyPr wrap="square">
            <a:noAutofit/>
          </a:bodyPr>
          <a:lstStyle>
            <a:lvl1pPr marL="0" indent="0">
              <a:buNone/>
              <a:defRPr sz="1800" b="1" i="0">
                <a:solidFill>
                  <a:schemeClr val="bg1"/>
                </a:solidFill>
                <a:latin typeface="Arial" panose="020B0604020202020204" pitchFamily="34" charset="0"/>
              </a:defRPr>
            </a:lvl1pPr>
          </a:lstStyle>
          <a:p>
            <a:pPr lvl="0"/>
            <a:r>
              <a:rPr lang="en-US" dirty="0"/>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8">
            <a:extLst>
              <a:ext uri="{FF2B5EF4-FFF2-40B4-BE49-F238E27FC236}">
                <a16:creationId xmlns:a16="http://schemas.microsoft.com/office/drawing/2014/main" id="{BA2289A3-013E-4D53-1C0B-46D992933E0B}"/>
              </a:ext>
            </a:extLst>
          </p:cNvPr>
          <p:cNvSpPr>
            <a:spLocks noGrp="1"/>
          </p:cNvSpPr>
          <p:nvPr>
            <p:ph type="body" sz="quarter" idx="13" hasCustomPrompt="1"/>
          </p:nvPr>
        </p:nvSpPr>
        <p:spPr>
          <a:xfrm>
            <a:off x="5280951" y="1046371"/>
            <a:ext cx="6580849"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pPr lvl="0"/>
            <a:r>
              <a:rPr lang="en-US" dirty="0"/>
              <a:t>Originally Published: </a:t>
            </a:r>
            <a:r>
              <a:rPr lang="en-US" i="1" dirty="0"/>
              <a:t>Insert date of originally published deck</a:t>
            </a:r>
            <a:endParaRPr lang="en-US" dirty="0"/>
          </a:p>
        </p:txBody>
      </p:sp>
      <p:sp>
        <p:nvSpPr>
          <p:cNvPr id="7" name="Text Placeholder 8">
            <a:extLst>
              <a:ext uri="{FF2B5EF4-FFF2-40B4-BE49-F238E27FC236}">
                <a16:creationId xmlns:a16="http://schemas.microsoft.com/office/drawing/2014/main" id="{6FFBB5DA-1299-663D-F35D-52A8B19F2485}"/>
              </a:ext>
            </a:extLst>
          </p:cNvPr>
          <p:cNvSpPr>
            <a:spLocks noGrp="1"/>
          </p:cNvSpPr>
          <p:nvPr>
            <p:ph type="body" sz="quarter" idx="14" hasCustomPrompt="1"/>
          </p:nvPr>
        </p:nvSpPr>
        <p:spPr>
          <a:xfrm>
            <a:off x="391451" y="5868151"/>
            <a:ext cx="4703063"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r>
              <a:rPr lang="en-US" sz="1400" dirty="0">
                <a:latin typeface="Arial"/>
                <a:cs typeface="Arial"/>
              </a:rPr>
              <a:t>Cite as:</a:t>
            </a:r>
            <a:r>
              <a:rPr lang="en-US" sz="1400" i="1" dirty="0">
                <a:latin typeface="Arial"/>
                <a:cs typeface="Arial"/>
              </a:rPr>
              <a:t> Lead author et al</a:t>
            </a:r>
            <a:r>
              <a:rPr lang="en-US" sz="1400" dirty="0">
                <a:latin typeface="Arial"/>
                <a:cs typeface="Arial"/>
              </a:rPr>
              <a:t>. ”Deck Title," Columbia Business School Climate Knowledge Initiative (Date).</a:t>
            </a:r>
            <a:endParaRPr lang="en-US" sz="1400" b="0" dirty="0">
              <a:solidFill>
                <a:srgbClr val="000000"/>
              </a:solidFill>
              <a:latin typeface="Arial"/>
              <a:cs typeface="Arial"/>
            </a:endParaRPr>
          </a:p>
        </p:txBody>
      </p:sp>
    </p:spTree>
    <p:extLst>
      <p:ext uri="{BB962C8B-B14F-4D97-AF65-F5344CB8AC3E}">
        <p14:creationId xmlns:p14="http://schemas.microsoft.com/office/powerpoint/2010/main" val="15061022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712095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p:cNvGraphicFramePr>
          <p:nvPr userDrawn="1">
            <p:custDataLst>
              <p:tags r:id="rId1"/>
            </p:custDataLst>
            <p:extLst>
              <p:ext uri="{D42A27DB-BD31-4B8C-83A1-F6EECF244321}">
                <p14:modId xmlns:p14="http://schemas.microsoft.com/office/powerpoint/2010/main" val="3146285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3" name="Picture 2">
            <a:extLst>
              <a:ext uri="{FF2B5EF4-FFF2-40B4-BE49-F238E27FC236}">
                <a16:creationId xmlns:a16="http://schemas.microsoft.com/office/drawing/2014/main" id="{81E98BC0-8AD9-CE70-E7E5-85E56971ABB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9" name="Content Placeholder 7">
            <a:extLst>
              <a:ext uri="{FF2B5EF4-FFF2-40B4-BE49-F238E27FC236}">
                <a16:creationId xmlns:a16="http://schemas.microsoft.com/office/drawing/2014/main" id="{AB0FB424-AEAA-0694-F370-78FFA842F81D}"/>
              </a:ext>
            </a:extLst>
          </p:cNvPr>
          <p:cNvSpPr>
            <a:spLocks noGrp="1"/>
          </p:cNvSpPr>
          <p:nvPr>
            <p:ph sz="quarter" idx="10" hasCustomPrompt="1"/>
          </p:nvPr>
        </p:nvSpPr>
        <p:spPr>
          <a:xfrm>
            <a:off x="334964" y="1549400"/>
            <a:ext cx="8219692" cy="4546600"/>
          </a:xfrm>
          <a:prstGeom prst="rect">
            <a:avLst/>
          </a:prstGeom>
        </p:spPr>
        <p:txBody>
          <a:bodyPr/>
          <a:lstStyle>
            <a:lvl1pPr>
              <a:defRPr sz="1800"/>
            </a:lvl1pPr>
          </a:lstStyle>
          <a:p>
            <a:pPr lvl="0"/>
            <a:r>
              <a:rPr lang="en-US" dirty="0"/>
              <a:t>Single talking points</a:t>
            </a:r>
          </a:p>
        </p:txBody>
      </p:sp>
      <p:sp>
        <p:nvSpPr>
          <p:cNvPr id="10" name="Title 1">
            <a:extLst>
              <a:ext uri="{FF2B5EF4-FFF2-40B4-BE49-F238E27FC236}">
                <a16:creationId xmlns:a16="http://schemas.microsoft.com/office/drawing/2014/main" id="{38707BE8-B042-8868-9EE1-7EF563E1D330}"/>
              </a:ext>
            </a:extLst>
          </p:cNvPr>
          <p:cNvSpPr>
            <a:spLocks noGrp="1"/>
          </p:cNvSpPr>
          <p:nvPr>
            <p:ph type="title" hasCustomPrompt="1"/>
          </p:nvPr>
        </p:nvSpPr>
        <p:spPr>
          <a:xfrm>
            <a:off x="334963" y="513568"/>
            <a:ext cx="8219692"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Tree>
    <p:extLst>
      <p:ext uri="{BB962C8B-B14F-4D97-AF65-F5344CB8AC3E}">
        <p14:creationId xmlns:p14="http://schemas.microsoft.com/office/powerpoint/2010/main" val="3750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5290332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pic>
        <p:nvPicPr>
          <p:cNvPr id="2" name="Picture 1">
            <a:extLst>
              <a:ext uri="{FF2B5EF4-FFF2-40B4-BE49-F238E27FC236}">
                <a16:creationId xmlns:a16="http://schemas.microsoft.com/office/drawing/2014/main" id="{86459B82-446C-127A-714D-2EFB0B9A060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0999204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ctions Items Lis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976044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912BC789-652B-24D3-1691-9FE570C848A0}"/>
              </a:ext>
            </a:extLst>
          </p:cNvPr>
          <p:cNvSpPr>
            <a:spLocks noGrp="1"/>
          </p:cNvSpPr>
          <p:nvPr>
            <p:ph type="tbl" sz="quarter" idx="11"/>
          </p:nvPr>
        </p:nvSpPr>
        <p:spPr>
          <a:xfrm>
            <a:off x="334963" y="2195551"/>
            <a:ext cx="11521440" cy="3904488"/>
          </a:xfrm>
        </p:spPr>
        <p:txBody>
          <a:bodyPr/>
          <a:lstStyle/>
          <a:p>
            <a:endParaRPr lang="en-US"/>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Action Items List – Team [insert topic]</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6" name="Text Placeholder 6">
            <a:extLst>
              <a:ext uri="{FF2B5EF4-FFF2-40B4-BE49-F238E27FC236}">
                <a16:creationId xmlns:a16="http://schemas.microsoft.com/office/drawing/2014/main" id="{7B0532E4-3B5D-F9C8-81C4-3E089BD7EF1F}"/>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Week of [insert date]</a:t>
            </a:r>
          </a:p>
        </p:txBody>
      </p:sp>
      <p:cxnSp>
        <p:nvCxnSpPr>
          <p:cNvPr id="9" name="btfpColumnHeaderBoxLine984923">
            <a:extLst>
              <a:ext uri="{FF2B5EF4-FFF2-40B4-BE49-F238E27FC236}">
                <a16:creationId xmlns:a16="http://schemas.microsoft.com/office/drawing/2014/main" id="{C98100D3-07F0-A4A3-F359-C34DFF8A2942}"/>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94766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KI Team Slide - Current Fellow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Curren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Current Fellow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739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KI Team Slide - Alumni">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Alumni (Pas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795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71894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descr="A person in a suit&#10;&#10;AI-generated content may be incorrect.">
            <a:extLst>
              <a:ext uri="{FF2B5EF4-FFF2-40B4-BE49-F238E27FC236}">
                <a16:creationId xmlns:a16="http://schemas.microsoft.com/office/drawing/2014/main" id="{08C23092-A909-AAB0-4A30-467684F21E69}"/>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329184" y="4176189"/>
            <a:ext cx="914623" cy="914400"/>
          </a:xfrm>
          <a:prstGeom prst="ellipse">
            <a:avLst/>
          </a:prstGeom>
        </p:spPr>
      </p:pic>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32"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Faculty, and Advisor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0"/>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1"/>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2"/>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3"/>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 and Advisors</a:t>
            </a:r>
          </a:p>
        </p:txBody>
      </p:sp>
    </p:spTree>
    <p:extLst>
      <p:ext uri="{BB962C8B-B14F-4D97-AF65-F5344CB8AC3E}">
        <p14:creationId xmlns:p14="http://schemas.microsoft.com/office/powerpoint/2010/main" val="2288733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71894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descr="A person in a suit&#10;&#10;AI-generated content may be incorrect.">
            <a:extLst>
              <a:ext uri="{FF2B5EF4-FFF2-40B4-BE49-F238E27FC236}">
                <a16:creationId xmlns:a16="http://schemas.microsoft.com/office/drawing/2014/main" id="{08C23092-A909-AAB0-4A30-467684F21E69}"/>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329184" y="4176189"/>
            <a:ext cx="914623" cy="914400"/>
          </a:xfrm>
          <a:prstGeom prst="ellipse">
            <a:avLst/>
          </a:prstGeom>
        </p:spPr>
      </p:pic>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dirty="0"/>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endParaRPr lang="en-US" dirty="0"/>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p:nvPr>
        </p:nvSpPr>
        <p:spPr>
          <a:xfrm>
            <a:off x="7443127" y="5307018"/>
            <a:ext cx="3886200" cy="914400"/>
          </a:xfrm>
          <a:prstGeom prst="rect">
            <a:avLst/>
          </a:prstGeom>
        </p:spPr>
        <p:txBody>
          <a:bodyPr anchor="ctr">
            <a:noAutofit/>
          </a:bodyPr>
          <a:lstStyle>
            <a:lvl1pPr marL="0" indent="0">
              <a:spcBef>
                <a:spcPts val="600"/>
              </a:spcBef>
              <a:buNone/>
              <a:defRPr sz="1200" b="0"/>
            </a:lvl1pPr>
            <a:lvl2pPr>
              <a:buNone/>
              <a:defRPr sz="1200"/>
            </a:lvl2pPr>
            <a:lvl3pPr>
              <a:buNone/>
              <a:defRPr sz="1200"/>
            </a:lvl3pPr>
            <a:lvl4pPr>
              <a:buNone/>
              <a:defRPr sz="1200"/>
            </a:lvl4pPr>
            <a:lvl5pPr>
              <a:buNone/>
              <a:defRPr sz="1200"/>
            </a:lvl5pPr>
          </a:lstStyle>
          <a:p>
            <a:pPr marL="0" indent="0">
              <a:buNone/>
            </a:pPr>
            <a:endParaRPr lang="en-US" dirty="0"/>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Faculty, and 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0"/>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1"/>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2"/>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3"/>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a:t>
            </a:r>
          </a:p>
        </p:txBody>
      </p:sp>
      <p:cxnSp>
        <p:nvCxnSpPr>
          <p:cNvPr id="2" name="btfpColumnHeaderBoxLine984923">
            <a:extLst>
              <a:ext uri="{FF2B5EF4-FFF2-40B4-BE49-F238E27FC236}">
                <a16:creationId xmlns:a16="http://schemas.microsoft.com/office/drawing/2014/main" id="{055BF588-272C-2141-CB51-5D2943C0BDD7}"/>
              </a:ext>
            </a:extLst>
          </p:cNvPr>
          <p:cNvCxnSpPr>
            <a:cxnSpLocks/>
          </p:cNvCxnSpPr>
          <p:nvPr userDrawn="1"/>
        </p:nvCxnSpPr>
        <p:spPr bwMode="gray">
          <a:xfrm flipV="1">
            <a:off x="6208532" y="3959492"/>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D00171-AA6C-02D0-80A3-CBDF0233FCA0}"/>
              </a:ext>
            </a:extLst>
          </p:cNvPr>
          <p:cNvSpPr txBox="1"/>
          <p:nvPr userDrawn="1"/>
        </p:nvSpPr>
        <p:spPr bwMode="gray">
          <a:xfrm>
            <a:off x="6208532" y="3621432"/>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Alumna</a:t>
            </a:r>
          </a:p>
        </p:txBody>
      </p:sp>
    </p:spTree>
    <p:extLst>
      <p:ext uri="{BB962C8B-B14F-4D97-AF65-F5344CB8AC3E}">
        <p14:creationId xmlns:p14="http://schemas.microsoft.com/office/powerpoint/2010/main" val="402367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679647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5A0740-5308-CBF0-81F8-92FACC0E5FD5}"/>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2195551"/>
            <a:ext cx="11522075"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btfpColumnHeaderBoxLine984923">
            <a:extLst>
              <a:ext uri="{FF2B5EF4-FFF2-40B4-BE49-F238E27FC236}">
                <a16:creationId xmlns:a16="http://schemas.microsoft.com/office/drawing/2014/main" id="{E72DFAE3-4892-5F57-4AB8-649E2B0A9BE4}"/>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D5CF8F52-E9D4-90AB-9F09-6D9707D6F69C}"/>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186058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Content Placeholder 7">
            <a:extLst>
              <a:ext uri="{FF2B5EF4-FFF2-40B4-BE49-F238E27FC236}">
                <a16:creationId xmlns:a16="http://schemas.microsoft.com/office/drawing/2014/main" id="{AE98D010-549A-A025-29B5-49A6F329B63C}"/>
              </a:ext>
            </a:extLst>
          </p:cNvPr>
          <p:cNvSpPr>
            <a:spLocks noGrp="1"/>
          </p:cNvSpPr>
          <p:nvPr>
            <p:ph sz="quarter" idx="10"/>
          </p:nvPr>
        </p:nvSpPr>
        <p:spPr>
          <a:xfrm>
            <a:off x="334963" y="1549400"/>
            <a:ext cx="8707437" cy="4546600"/>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a:extLst>
              <a:ext uri="{FF2B5EF4-FFF2-40B4-BE49-F238E27FC236}">
                <a16:creationId xmlns:a16="http://schemas.microsoft.com/office/drawing/2014/main" id="{B3271FAA-0686-C771-4C7B-680159526E9D}"/>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spcBef>
                <a:spcPts val="0"/>
              </a:spcBef>
              <a:defRPr sz="12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a:extLst>
              <a:ext uri="{FF2B5EF4-FFF2-40B4-BE49-F238E27FC236}">
                <a16:creationId xmlns:a16="http://schemas.microsoft.com/office/drawing/2014/main" id="{8EFBAF13-868F-823F-B62A-D77B0C5CA198}"/>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2" name="Footer Placeholder 4">
            <a:extLst>
              <a:ext uri="{FF2B5EF4-FFF2-40B4-BE49-F238E27FC236}">
                <a16:creationId xmlns:a16="http://schemas.microsoft.com/office/drawing/2014/main" id="{632ABF13-B84D-B6C8-EE75-A4EACBD400FF}"/>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560250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FFF6FD58-FC49-7EB0-3AEE-3FEA7DD44A55}"/>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E958387B-91EE-08AB-952A-D9B8293F4CD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4" name="Text Placeholder 6">
            <a:extLst>
              <a:ext uri="{FF2B5EF4-FFF2-40B4-BE49-F238E27FC236}">
                <a16:creationId xmlns:a16="http://schemas.microsoft.com/office/drawing/2014/main" id="{F68152B3-A76C-656C-D2A8-3EDB6FD9FA90}"/>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5" name="btfpColumnHeaderBoxLine984923">
            <a:extLst>
              <a:ext uri="{FF2B5EF4-FFF2-40B4-BE49-F238E27FC236}">
                <a16:creationId xmlns:a16="http://schemas.microsoft.com/office/drawing/2014/main" id="{BC58DB62-0D37-3013-F7F2-3C333396ABC5}"/>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Content Placeholder 7">
            <a:extLst>
              <a:ext uri="{FF2B5EF4-FFF2-40B4-BE49-F238E27FC236}">
                <a16:creationId xmlns:a16="http://schemas.microsoft.com/office/drawing/2014/main" id="{7EA99EA0-90F1-5D82-C56B-2EBDE2D41DE3}"/>
              </a:ext>
            </a:extLst>
          </p:cNvPr>
          <p:cNvSpPr>
            <a:spLocks noGrp="1"/>
          </p:cNvSpPr>
          <p:nvPr>
            <p:ph sz="quarter" idx="15"/>
          </p:nvPr>
        </p:nvSpPr>
        <p:spPr>
          <a:xfrm>
            <a:off x="334963" y="2195551"/>
            <a:ext cx="8707437"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661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s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81596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818888"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81596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84E519E3-5A3C-AE16-2EA0-D7C52ADA84B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4335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subtitle + two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34963"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6197600"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47B89370-0262-673C-4390-4D6F6ECB8481}"/>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89F895AC-DA10-B557-FEC7-3A2279464D1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2" name="Text Placeholder 6">
            <a:extLst>
              <a:ext uri="{FF2B5EF4-FFF2-40B4-BE49-F238E27FC236}">
                <a16:creationId xmlns:a16="http://schemas.microsoft.com/office/drawing/2014/main" id="{136C0F39-69D0-8082-884C-B96604981F85}"/>
              </a:ext>
            </a:extLst>
          </p:cNvPr>
          <p:cNvSpPr>
            <a:spLocks noGrp="1"/>
          </p:cNvSpPr>
          <p:nvPr>
            <p:ph type="body" sz="quarter" idx="13" hasCustomPrompt="1"/>
          </p:nvPr>
        </p:nvSpPr>
        <p:spPr>
          <a:xfrm>
            <a:off x="329184"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4" name="btfpColumnHeaderBoxLine984923">
            <a:extLst>
              <a:ext uri="{FF2B5EF4-FFF2-40B4-BE49-F238E27FC236}">
                <a16:creationId xmlns:a16="http://schemas.microsoft.com/office/drawing/2014/main" id="{B4A14286-A8E6-6C25-EA20-6C2C4DF0A514}"/>
              </a:ext>
            </a:extLst>
          </p:cNvPr>
          <p:cNvCxnSpPr>
            <a:cxnSpLocks/>
          </p:cNvCxnSpPr>
          <p:nvPr userDrawn="1"/>
        </p:nvCxnSpPr>
        <p:spPr bwMode="gray">
          <a:xfrm flipV="1">
            <a:off x="323332"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88D35EC9-D7E8-0768-C34D-1B9BD2692793}"/>
              </a:ext>
            </a:extLst>
          </p:cNvPr>
          <p:cNvSpPr>
            <a:spLocks noGrp="1"/>
          </p:cNvSpPr>
          <p:nvPr>
            <p:ph type="body" sz="quarter" idx="16" hasCustomPrompt="1"/>
          </p:nvPr>
        </p:nvSpPr>
        <p:spPr>
          <a:xfrm>
            <a:off x="6197600"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8" name="btfpColumnHeaderBoxLine984923">
            <a:extLst>
              <a:ext uri="{FF2B5EF4-FFF2-40B4-BE49-F238E27FC236}">
                <a16:creationId xmlns:a16="http://schemas.microsoft.com/office/drawing/2014/main" id="{DA240AAE-F7E0-B45E-27F6-B687731CB1B0}"/>
              </a:ext>
            </a:extLst>
          </p:cNvPr>
          <p:cNvCxnSpPr>
            <a:cxnSpLocks/>
          </p:cNvCxnSpPr>
          <p:nvPr userDrawn="1"/>
        </p:nvCxnSpPr>
        <p:spPr bwMode="gray">
          <a:xfrm flipV="1">
            <a:off x="6197600"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06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ubtitle + two graphs (irregular)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7595651"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7589799"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a:off x="323332" y="2046645"/>
            <a:ext cx="75956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018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hyperlink" Target="https://business.columbia.edu/insights/climate/cki" TargetMode="Externa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hyperlink" Target="https://business.columbia.edu/faculty/people/gernot-wagner"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6.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19.xml"/><Relationship Id="rId5" Type="http://schemas.openxmlformats.org/officeDocument/2006/relationships/slideLayout" Target="../slideLayouts/slideLayout20.xml"/><Relationship Id="rId10" Type="http://schemas.openxmlformats.org/officeDocument/2006/relationships/tags" Target="../tags/tag18.xml"/><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8"/>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102</a:t>
            </a:r>
          </a:p>
        </p:txBody>
      </p:sp>
      <p:pic>
        <p:nvPicPr>
          <p:cNvPr id="12" name="Picture 11"/>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4" name="Footer Placeholder 4">
            <a:extLst>
              <a:ext uri="{FF2B5EF4-FFF2-40B4-BE49-F238E27FC236}">
                <a16:creationId xmlns:a16="http://schemas.microsoft.com/office/drawing/2014/main" id="{81ECB5BF-3801-F73D-99D7-E439D56BCDFD}"/>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marL="0" indent="0" algn="l">
              <a:spcBef>
                <a:spcPts val="0"/>
              </a:spcBef>
              <a:buNone/>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22"/>
              </a:rPr>
              <a:t>Gernot Wagner</a:t>
            </a:r>
            <a:r>
              <a:rPr lang="en-US" dirty="0"/>
              <a:t>. </a:t>
            </a:r>
            <a:r>
              <a:rPr lang="en-US" dirty="0">
                <a:solidFill>
                  <a:schemeClr val="tx1"/>
                </a:solidFill>
              </a:rPr>
              <a:t>Share with </a:t>
            </a:r>
            <a:r>
              <a:rPr lang="en-US" u="sng" dirty="0">
                <a:solidFill>
                  <a:schemeClr val="tx1"/>
                </a:solidFill>
                <a:hlinkClick r:id="rId23"/>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custDataLst>
      <p:tags r:id="rId17"/>
    </p:custDataLst>
    <p:extLst>
      <p:ext uri="{BB962C8B-B14F-4D97-AF65-F5344CB8AC3E}">
        <p14:creationId xmlns:p14="http://schemas.microsoft.com/office/powerpoint/2010/main" val="77350936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39" r:id="rId14"/>
    <p:sldLayoutId id="2147483742" r:id="rId1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192">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294635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2" name="Text Placeholder 10">
            <a:extLst>
              <a:ext uri="{FF2B5EF4-FFF2-40B4-BE49-F238E27FC236}">
                <a16:creationId xmlns:a16="http://schemas.microsoft.com/office/drawing/2014/main" id="{6F76E689-2599-906D-6418-FF0DB8B678E4}"/>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10"/>
    </p:custDataLst>
    <p:extLst>
      <p:ext uri="{BB962C8B-B14F-4D97-AF65-F5344CB8AC3E}">
        <p14:creationId xmlns:p14="http://schemas.microsoft.com/office/powerpoint/2010/main" val="261782047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8"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6.xml"/><Relationship Id="rId1" Type="http://schemas.openxmlformats.org/officeDocument/2006/relationships/tags" Target="../tags/tag28.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26" Type="http://schemas.openxmlformats.org/officeDocument/2006/relationships/tags" Target="../tags/tag209.xml"/><Relationship Id="rId21" Type="http://schemas.openxmlformats.org/officeDocument/2006/relationships/tags" Target="../tags/tag204.xml"/><Relationship Id="rId42" Type="http://schemas.openxmlformats.org/officeDocument/2006/relationships/tags" Target="../tags/tag225.xml"/><Relationship Id="rId47" Type="http://schemas.openxmlformats.org/officeDocument/2006/relationships/tags" Target="../tags/tag230.xml"/><Relationship Id="rId63" Type="http://schemas.openxmlformats.org/officeDocument/2006/relationships/tags" Target="../tags/tag246.xml"/><Relationship Id="rId68" Type="http://schemas.openxmlformats.org/officeDocument/2006/relationships/tags" Target="../tags/tag251.xml"/><Relationship Id="rId84" Type="http://schemas.openxmlformats.org/officeDocument/2006/relationships/chart" Target="../charts/chart11.xml"/><Relationship Id="rId16" Type="http://schemas.openxmlformats.org/officeDocument/2006/relationships/tags" Target="../tags/tag199.xml"/><Relationship Id="rId11" Type="http://schemas.openxmlformats.org/officeDocument/2006/relationships/tags" Target="../tags/tag194.xml"/><Relationship Id="rId32" Type="http://schemas.openxmlformats.org/officeDocument/2006/relationships/tags" Target="../tags/tag215.xml"/><Relationship Id="rId37" Type="http://schemas.openxmlformats.org/officeDocument/2006/relationships/tags" Target="../tags/tag220.xml"/><Relationship Id="rId53" Type="http://schemas.openxmlformats.org/officeDocument/2006/relationships/tags" Target="../tags/tag236.xml"/><Relationship Id="rId58" Type="http://schemas.openxmlformats.org/officeDocument/2006/relationships/tags" Target="../tags/tag241.xml"/><Relationship Id="rId74" Type="http://schemas.openxmlformats.org/officeDocument/2006/relationships/hyperlink" Target="https://iea.blob.core.windows.net/assets/5e9122fc-9d5b-4f18-8438-dac8b39b702a/WorldEnergyOutlook2024.pdf" TargetMode="External"/><Relationship Id="rId79" Type="http://schemas.openxmlformats.org/officeDocument/2006/relationships/hyperlink" Target="https://igshpa.org/wp-content/uploads/LIFTOFF_DOE_Geothermal_HC.pdf" TargetMode="External"/><Relationship Id="rId5" Type="http://schemas.openxmlformats.org/officeDocument/2006/relationships/tags" Target="../tags/tag188.xml"/><Relationship Id="rId19" Type="http://schemas.openxmlformats.org/officeDocument/2006/relationships/tags" Target="../tags/tag202.xml"/><Relationship Id="rId14" Type="http://schemas.openxmlformats.org/officeDocument/2006/relationships/tags" Target="../tags/tag197.xml"/><Relationship Id="rId22" Type="http://schemas.openxmlformats.org/officeDocument/2006/relationships/tags" Target="../tags/tag205.xml"/><Relationship Id="rId27" Type="http://schemas.openxmlformats.org/officeDocument/2006/relationships/tags" Target="../tags/tag210.xml"/><Relationship Id="rId30" Type="http://schemas.openxmlformats.org/officeDocument/2006/relationships/tags" Target="../tags/tag213.xml"/><Relationship Id="rId35" Type="http://schemas.openxmlformats.org/officeDocument/2006/relationships/tags" Target="../tags/tag218.xml"/><Relationship Id="rId43" Type="http://schemas.openxmlformats.org/officeDocument/2006/relationships/tags" Target="../tags/tag226.xml"/><Relationship Id="rId48" Type="http://schemas.openxmlformats.org/officeDocument/2006/relationships/tags" Target="../tags/tag231.xml"/><Relationship Id="rId56" Type="http://schemas.openxmlformats.org/officeDocument/2006/relationships/tags" Target="../tags/tag239.xml"/><Relationship Id="rId64" Type="http://schemas.openxmlformats.org/officeDocument/2006/relationships/tags" Target="../tags/tag247.xml"/><Relationship Id="rId69" Type="http://schemas.openxmlformats.org/officeDocument/2006/relationships/tags" Target="../tags/tag252.xml"/><Relationship Id="rId77" Type="http://schemas.openxmlformats.org/officeDocument/2006/relationships/hyperlink" Target="https://ourworldindata.org/grapher/installed-geothermal-capacity" TargetMode="External"/><Relationship Id="rId8" Type="http://schemas.openxmlformats.org/officeDocument/2006/relationships/tags" Target="../tags/tag191.xml"/><Relationship Id="rId51" Type="http://schemas.openxmlformats.org/officeDocument/2006/relationships/tags" Target="../tags/tag234.xml"/><Relationship Id="rId72" Type="http://schemas.openxmlformats.org/officeDocument/2006/relationships/oleObject" Target="../embeddings/oleObject33.bin"/><Relationship Id="rId80" Type="http://schemas.openxmlformats.org/officeDocument/2006/relationships/hyperlink" Target="https://business.columbia.edu/faculty/people/gernot-wagner" TargetMode="External"/><Relationship Id="rId85" Type="http://schemas.openxmlformats.org/officeDocument/2006/relationships/chart" Target="../charts/chart12.xml"/><Relationship Id="rId3" Type="http://schemas.openxmlformats.org/officeDocument/2006/relationships/tags" Target="../tags/tag186.xml"/><Relationship Id="rId12" Type="http://schemas.openxmlformats.org/officeDocument/2006/relationships/tags" Target="../tags/tag195.xml"/><Relationship Id="rId17" Type="http://schemas.openxmlformats.org/officeDocument/2006/relationships/tags" Target="../tags/tag200.xml"/><Relationship Id="rId25" Type="http://schemas.openxmlformats.org/officeDocument/2006/relationships/tags" Target="../tags/tag208.xml"/><Relationship Id="rId33" Type="http://schemas.openxmlformats.org/officeDocument/2006/relationships/tags" Target="../tags/tag216.xml"/><Relationship Id="rId38" Type="http://schemas.openxmlformats.org/officeDocument/2006/relationships/tags" Target="../tags/tag221.xml"/><Relationship Id="rId46" Type="http://schemas.openxmlformats.org/officeDocument/2006/relationships/tags" Target="../tags/tag229.xml"/><Relationship Id="rId59" Type="http://schemas.openxmlformats.org/officeDocument/2006/relationships/tags" Target="../tags/tag242.xml"/><Relationship Id="rId67" Type="http://schemas.openxmlformats.org/officeDocument/2006/relationships/tags" Target="../tags/tag250.xml"/><Relationship Id="rId20" Type="http://schemas.openxmlformats.org/officeDocument/2006/relationships/tags" Target="../tags/tag203.xml"/><Relationship Id="rId41" Type="http://schemas.openxmlformats.org/officeDocument/2006/relationships/tags" Target="../tags/tag224.xml"/><Relationship Id="rId54" Type="http://schemas.openxmlformats.org/officeDocument/2006/relationships/tags" Target="../tags/tag237.xml"/><Relationship Id="rId62" Type="http://schemas.openxmlformats.org/officeDocument/2006/relationships/tags" Target="../tags/tag245.xml"/><Relationship Id="rId70" Type="http://schemas.openxmlformats.org/officeDocument/2006/relationships/tags" Target="../tags/tag253.xml"/><Relationship Id="rId75" Type="http://schemas.openxmlformats.org/officeDocument/2006/relationships/hyperlink" Target="https://www.usgs.gov/publications/tapping-earths-natural-heat" TargetMode="External"/><Relationship Id="rId83" Type="http://schemas.openxmlformats.org/officeDocument/2006/relationships/chart" Target="../charts/chart10.xml"/><Relationship Id="rId1" Type="http://schemas.openxmlformats.org/officeDocument/2006/relationships/tags" Target="../tags/tag184.xml"/><Relationship Id="rId6" Type="http://schemas.openxmlformats.org/officeDocument/2006/relationships/tags" Target="../tags/tag189.xml"/><Relationship Id="rId15" Type="http://schemas.openxmlformats.org/officeDocument/2006/relationships/tags" Target="../tags/tag198.xml"/><Relationship Id="rId23" Type="http://schemas.openxmlformats.org/officeDocument/2006/relationships/tags" Target="../tags/tag206.xml"/><Relationship Id="rId28" Type="http://schemas.openxmlformats.org/officeDocument/2006/relationships/tags" Target="../tags/tag211.xml"/><Relationship Id="rId36" Type="http://schemas.openxmlformats.org/officeDocument/2006/relationships/tags" Target="../tags/tag219.xml"/><Relationship Id="rId49" Type="http://schemas.openxmlformats.org/officeDocument/2006/relationships/tags" Target="../tags/tag232.xml"/><Relationship Id="rId57" Type="http://schemas.openxmlformats.org/officeDocument/2006/relationships/tags" Target="../tags/tag240.xml"/><Relationship Id="rId10" Type="http://schemas.openxmlformats.org/officeDocument/2006/relationships/tags" Target="../tags/tag193.xml"/><Relationship Id="rId31" Type="http://schemas.openxmlformats.org/officeDocument/2006/relationships/tags" Target="../tags/tag214.xml"/><Relationship Id="rId44" Type="http://schemas.openxmlformats.org/officeDocument/2006/relationships/tags" Target="../tags/tag227.xml"/><Relationship Id="rId52" Type="http://schemas.openxmlformats.org/officeDocument/2006/relationships/tags" Target="../tags/tag235.xml"/><Relationship Id="rId60" Type="http://schemas.openxmlformats.org/officeDocument/2006/relationships/tags" Target="../tags/tag243.xml"/><Relationship Id="rId65" Type="http://schemas.openxmlformats.org/officeDocument/2006/relationships/tags" Target="../tags/tag248.xml"/><Relationship Id="rId73" Type="http://schemas.openxmlformats.org/officeDocument/2006/relationships/image" Target="../media/image26.emf"/><Relationship Id="rId78" Type="http://schemas.openxmlformats.org/officeDocument/2006/relationships/hyperlink" Target="https://geothermal-energy-journal.springeropen.com/articles/10.1186/s40517-024-00290-w" TargetMode="External"/><Relationship Id="rId81" Type="http://schemas.openxmlformats.org/officeDocument/2006/relationships/hyperlink" Target="https://business.columbia.edu/insights/climate/cki" TargetMode="External"/><Relationship Id="rId86" Type="http://schemas.openxmlformats.org/officeDocument/2006/relationships/chart" Target="../charts/chart13.xml"/><Relationship Id="rId4" Type="http://schemas.openxmlformats.org/officeDocument/2006/relationships/tags" Target="../tags/tag187.xml"/><Relationship Id="rId9" Type="http://schemas.openxmlformats.org/officeDocument/2006/relationships/tags" Target="../tags/tag192.xml"/><Relationship Id="rId13" Type="http://schemas.openxmlformats.org/officeDocument/2006/relationships/tags" Target="../tags/tag196.xml"/><Relationship Id="rId18" Type="http://schemas.openxmlformats.org/officeDocument/2006/relationships/tags" Target="../tags/tag201.xml"/><Relationship Id="rId39" Type="http://schemas.openxmlformats.org/officeDocument/2006/relationships/tags" Target="../tags/tag222.xml"/><Relationship Id="rId34" Type="http://schemas.openxmlformats.org/officeDocument/2006/relationships/tags" Target="../tags/tag217.xml"/><Relationship Id="rId50" Type="http://schemas.openxmlformats.org/officeDocument/2006/relationships/tags" Target="../tags/tag233.xml"/><Relationship Id="rId55" Type="http://schemas.openxmlformats.org/officeDocument/2006/relationships/tags" Target="../tags/tag238.xml"/><Relationship Id="rId76" Type="http://schemas.openxmlformats.org/officeDocument/2006/relationships/hyperlink" Target="https://www.e-education.psu.edu/earth104/node/1298" TargetMode="External"/><Relationship Id="rId7" Type="http://schemas.openxmlformats.org/officeDocument/2006/relationships/tags" Target="../tags/tag190.xml"/><Relationship Id="rId71" Type="http://schemas.openxmlformats.org/officeDocument/2006/relationships/slideLayout" Target="../slideLayouts/slideLayout10.xml"/><Relationship Id="rId2" Type="http://schemas.openxmlformats.org/officeDocument/2006/relationships/tags" Target="../tags/tag185.xml"/><Relationship Id="rId29" Type="http://schemas.openxmlformats.org/officeDocument/2006/relationships/tags" Target="../tags/tag212.xml"/><Relationship Id="rId24" Type="http://schemas.openxmlformats.org/officeDocument/2006/relationships/tags" Target="../tags/tag207.xml"/><Relationship Id="rId40" Type="http://schemas.openxmlformats.org/officeDocument/2006/relationships/tags" Target="../tags/tag223.xml"/><Relationship Id="rId45" Type="http://schemas.openxmlformats.org/officeDocument/2006/relationships/tags" Target="../tags/tag228.xml"/><Relationship Id="rId66" Type="http://schemas.openxmlformats.org/officeDocument/2006/relationships/tags" Target="../tags/tag249.xml"/><Relationship Id="rId61" Type="http://schemas.openxmlformats.org/officeDocument/2006/relationships/tags" Target="../tags/tag244.xml"/><Relationship Id="rId82" Type="http://schemas.openxmlformats.org/officeDocument/2006/relationships/chart" Target="../charts/chart9.xml"/></Relationships>
</file>

<file path=ppt/slides/_rels/slide100.xml.rels><?xml version="1.0" encoding="UTF-8" standalone="yes"?>
<Relationships xmlns="http://schemas.openxmlformats.org/package/2006/relationships"><Relationship Id="rId13" Type="http://schemas.openxmlformats.org/officeDocument/2006/relationships/tags" Target="../tags/tag1160.xml"/><Relationship Id="rId18" Type="http://schemas.openxmlformats.org/officeDocument/2006/relationships/tags" Target="../tags/tag1165.xml"/><Relationship Id="rId26" Type="http://schemas.openxmlformats.org/officeDocument/2006/relationships/tags" Target="../tags/tag1173.xml"/><Relationship Id="rId39" Type="http://schemas.openxmlformats.org/officeDocument/2006/relationships/tags" Target="../tags/tag1186.xml"/><Relationship Id="rId21" Type="http://schemas.openxmlformats.org/officeDocument/2006/relationships/tags" Target="../tags/tag1168.xml"/><Relationship Id="rId34" Type="http://schemas.openxmlformats.org/officeDocument/2006/relationships/tags" Target="../tags/tag1181.xml"/><Relationship Id="rId42" Type="http://schemas.openxmlformats.org/officeDocument/2006/relationships/tags" Target="../tags/tag1189.xml"/><Relationship Id="rId47" Type="http://schemas.openxmlformats.org/officeDocument/2006/relationships/slideLayout" Target="../slideLayouts/slideLayout6.xml"/><Relationship Id="rId50" Type="http://schemas.openxmlformats.org/officeDocument/2006/relationships/hyperlink" Target="https://emp.lbl.gov/publications/grid-connection-barriers-renewable" TargetMode="External"/><Relationship Id="rId55" Type="http://schemas.openxmlformats.org/officeDocument/2006/relationships/chart" Target="../charts/chart73.xml"/><Relationship Id="rId7" Type="http://schemas.openxmlformats.org/officeDocument/2006/relationships/tags" Target="../tags/tag1154.xml"/><Relationship Id="rId2" Type="http://schemas.openxmlformats.org/officeDocument/2006/relationships/tags" Target="../tags/tag1149.xml"/><Relationship Id="rId16" Type="http://schemas.openxmlformats.org/officeDocument/2006/relationships/tags" Target="../tags/tag1163.xml"/><Relationship Id="rId29" Type="http://schemas.openxmlformats.org/officeDocument/2006/relationships/tags" Target="../tags/tag1176.xml"/><Relationship Id="rId11" Type="http://schemas.openxmlformats.org/officeDocument/2006/relationships/tags" Target="../tags/tag1158.xml"/><Relationship Id="rId24" Type="http://schemas.openxmlformats.org/officeDocument/2006/relationships/tags" Target="../tags/tag1171.xml"/><Relationship Id="rId32" Type="http://schemas.openxmlformats.org/officeDocument/2006/relationships/tags" Target="../tags/tag1179.xml"/><Relationship Id="rId37" Type="http://schemas.openxmlformats.org/officeDocument/2006/relationships/tags" Target="../tags/tag1184.xml"/><Relationship Id="rId40" Type="http://schemas.openxmlformats.org/officeDocument/2006/relationships/tags" Target="../tags/tag1187.xml"/><Relationship Id="rId45" Type="http://schemas.openxmlformats.org/officeDocument/2006/relationships/tags" Target="../tags/tag1192.xml"/><Relationship Id="rId53" Type="http://schemas.openxmlformats.org/officeDocument/2006/relationships/hyperlink" Target="https://business.columbia.edu/faculty/people/gernot-wagner" TargetMode="External"/><Relationship Id="rId5" Type="http://schemas.openxmlformats.org/officeDocument/2006/relationships/tags" Target="../tags/tag1152.xml"/><Relationship Id="rId10" Type="http://schemas.openxmlformats.org/officeDocument/2006/relationships/tags" Target="../tags/tag1157.xml"/><Relationship Id="rId19" Type="http://schemas.openxmlformats.org/officeDocument/2006/relationships/tags" Target="../tags/tag1166.xml"/><Relationship Id="rId31" Type="http://schemas.openxmlformats.org/officeDocument/2006/relationships/tags" Target="../tags/tag1178.xml"/><Relationship Id="rId44" Type="http://schemas.openxmlformats.org/officeDocument/2006/relationships/tags" Target="../tags/tag1191.xml"/><Relationship Id="rId52" Type="http://schemas.openxmlformats.org/officeDocument/2006/relationships/hyperlink" Target="https://www.blm.gov/press-release/doi-implements-emergency-permitting-procedures-accelerate-geothermal-energy" TargetMode="External"/><Relationship Id="rId4" Type="http://schemas.openxmlformats.org/officeDocument/2006/relationships/tags" Target="../tags/tag1151.xml"/><Relationship Id="rId9" Type="http://schemas.openxmlformats.org/officeDocument/2006/relationships/tags" Target="../tags/tag1156.xml"/><Relationship Id="rId14" Type="http://schemas.openxmlformats.org/officeDocument/2006/relationships/tags" Target="../tags/tag1161.xml"/><Relationship Id="rId22" Type="http://schemas.openxmlformats.org/officeDocument/2006/relationships/tags" Target="../tags/tag1169.xml"/><Relationship Id="rId27" Type="http://schemas.openxmlformats.org/officeDocument/2006/relationships/tags" Target="../tags/tag1174.xml"/><Relationship Id="rId30" Type="http://schemas.openxmlformats.org/officeDocument/2006/relationships/tags" Target="../tags/tag1177.xml"/><Relationship Id="rId35" Type="http://schemas.openxmlformats.org/officeDocument/2006/relationships/tags" Target="../tags/tag1182.xml"/><Relationship Id="rId43" Type="http://schemas.openxmlformats.org/officeDocument/2006/relationships/tags" Target="../tags/tag1190.xml"/><Relationship Id="rId48" Type="http://schemas.openxmlformats.org/officeDocument/2006/relationships/oleObject" Target="../embeddings/oleObject119.bin"/><Relationship Id="rId8" Type="http://schemas.openxmlformats.org/officeDocument/2006/relationships/tags" Target="../tags/tag1155.xml"/><Relationship Id="rId51" Type="http://schemas.openxmlformats.org/officeDocument/2006/relationships/hyperlink" Target="https://emp.lbl.gov/generation-storage-and-hybrid-capacity" TargetMode="External"/><Relationship Id="rId3" Type="http://schemas.openxmlformats.org/officeDocument/2006/relationships/tags" Target="../tags/tag1150.xml"/><Relationship Id="rId12" Type="http://schemas.openxmlformats.org/officeDocument/2006/relationships/tags" Target="../tags/tag1159.xml"/><Relationship Id="rId17" Type="http://schemas.openxmlformats.org/officeDocument/2006/relationships/tags" Target="../tags/tag1164.xml"/><Relationship Id="rId25" Type="http://schemas.openxmlformats.org/officeDocument/2006/relationships/tags" Target="../tags/tag1172.xml"/><Relationship Id="rId33" Type="http://schemas.openxmlformats.org/officeDocument/2006/relationships/tags" Target="../tags/tag1180.xml"/><Relationship Id="rId38" Type="http://schemas.openxmlformats.org/officeDocument/2006/relationships/tags" Target="../tags/tag1185.xml"/><Relationship Id="rId46" Type="http://schemas.openxmlformats.org/officeDocument/2006/relationships/tags" Target="../tags/tag1193.xml"/><Relationship Id="rId20" Type="http://schemas.openxmlformats.org/officeDocument/2006/relationships/tags" Target="../tags/tag1167.xml"/><Relationship Id="rId41" Type="http://schemas.openxmlformats.org/officeDocument/2006/relationships/tags" Target="../tags/tag1188.xml"/><Relationship Id="rId54" Type="http://schemas.openxmlformats.org/officeDocument/2006/relationships/hyperlink" Target="https://business.columbia.edu/insights/climate/cki" TargetMode="External"/><Relationship Id="rId1" Type="http://schemas.openxmlformats.org/officeDocument/2006/relationships/tags" Target="../tags/tag1148.xml"/><Relationship Id="rId6" Type="http://schemas.openxmlformats.org/officeDocument/2006/relationships/tags" Target="../tags/tag1153.xml"/><Relationship Id="rId15" Type="http://schemas.openxmlformats.org/officeDocument/2006/relationships/tags" Target="../tags/tag1162.xml"/><Relationship Id="rId23" Type="http://schemas.openxmlformats.org/officeDocument/2006/relationships/tags" Target="../tags/tag1170.xml"/><Relationship Id="rId28" Type="http://schemas.openxmlformats.org/officeDocument/2006/relationships/tags" Target="../tags/tag1175.xml"/><Relationship Id="rId36" Type="http://schemas.openxmlformats.org/officeDocument/2006/relationships/tags" Target="../tags/tag1183.xml"/><Relationship Id="rId49" Type="http://schemas.openxmlformats.org/officeDocument/2006/relationships/image" Target="../media/image321.emf"/></Relationships>
</file>

<file path=ppt/slides/_rels/slide101.xml.rels><?xml version="1.0" encoding="UTF-8" standalone="yes"?>
<Relationships xmlns="http://schemas.openxmlformats.org/package/2006/relationships"><Relationship Id="rId8" Type="http://schemas.openxmlformats.org/officeDocument/2006/relationships/tags" Target="../tags/tag1201.xml"/><Relationship Id="rId13" Type="http://schemas.openxmlformats.org/officeDocument/2006/relationships/oleObject" Target="../embeddings/oleObject120.bin"/><Relationship Id="rId18" Type="http://schemas.openxmlformats.org/officeDocument/2006/relationships/hyperlink" Target="https://www.nrel.gov/grid/news/program/2023/clearing-the-path-for-renewable-geothermal-project-development" TargetMode="External"/><Relationship Id="rId3" Type="http://schemas.openxmlformats.org/officeDocument/2006/relationships/tags" Target="../tags/tag1196.xml"/><Relationship Id="rId21" Type="http://schemas.openxmlformats.org/officeDocument/2006/relationships/hyperlink" Target="https://business.columbia.edu/insights/climate/cki" TargetMode="External"/><Relationship Id="rId7" Type="http://schemas.openxmlformats.org/officeDocument/2006/relationships/tags" Target="../tags/tag1200.xml"/><Relationship Id="rId12" Type="http://schemas.openxmlformats.org/officeDocument/2006/relationships/slideLayout" Target="../slideLayouts/slideLayout3.xml"/><Relationship Id="rId17" Type="http://schemas.openxmlformats.org/officeDocument/2006/relationships/hyperlink" Target="https://sustainabilitydialogue.uchicago.edu/news/how-the-interconnection-queue-backlog-is-slowing-energy-growth/" TargetMode="External"/><Relationship Id="rId2" Type="http://schemas.openxmlformats.org/officeDocument/2006/relationships/tags" Target="../tags/tag1195.xml"/><Relationship Id="rId16" Type="http://schemas.openxmlformats.org/officeDocument/2006/relationships/hyperlink" Target="https://www.mckinsey.com/industries/electric-power-and-natural-gas/our-insights/is-geothermal-energy-ready-to-make-its-mark-in-the-us-power-mix"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194.xml"/><Relationship Id="rId6" Type="http://schemas.openxmlformats.org/officeDocument/2006/relationships/tags" Target="../tags/tag1199.xml"/><Relationship Id="rId11" Type="http://schemas.openxmlformats.org/officeDocument/2006/relationships/tags" Target="../tags/tag1204.xml"/><Relationship Id="rId5" Type="http://schemas.openxmlformats.org/officeDocument/2006/relationships/tags" Target="../tags/tag1198.xml"/><Relationship Id="rId15" Type="http://schemas.openxmlformats.org/officeDocument/2006/relationships/hyperlink" Target="https://www.blm.gov/press-release/doi-implements-emergency-permitting-procedures-accelerate-geothermal-energy" TargetMode="External"/><Relationship Id="rId10" Type="http://schemas.openxmlformats.org/officeDocument/2006/relationships/tags" Target="../tags/tag1203.xml"/><Relationship Id="rId19" Type="http://schemas.openxmlformats.org/officeDocument/2006/relationships/hyperlink" Target="https://cresenergy.com/publications/issue-brief-untapped-potential-of-geothermal-energy/#:~:text=Market%20Conditions:%20Given%20the%20high,transmission%20costs%20depending%20on%20location." TargetMode="External"/><Relationship Id="rId4" Type="http://schemas.openxmlformats.org/officeDocument/2006/relationships/tags" Target="../tags/tag1197.xml"/><Relationship Id="rId9" Type="http://schemas.openxmlformats.org/officeDocument/2006/relationships/tags" Target="../tags/tag1202.xml"/><Relationship Id="rId14" Type="http://schemas.openxmlformats.org/officeDocument/2006/relationships/image" Target="../media/image322.emf"/></Relationships>
</file>

<file path=ppt/slides/_rels/slide102.xml.rels><?xml version="1.0" encoding="UTF-8" standalone="yes"?>
<Relationships xmlns="http://schemas.openxmlformats.org/package/2006/relationships"><Relationship Id="rId8" Type="http://schemas.openxmlformats.org/officeDocument/2006/relationships/hyperlink" Target="https://www.ipcc.ch/site/assets/uploads/2018/03/Chapter4-1.pdf" TargetMode="External"/><Relationship Id="rId3" Type="http://schemas.openxmlformats.org/officeDocument/2006/relationships/oleObject" Target="../embeddings/oleObject121.bin"/><Relationship Id="rId7" Type="http://schemas.openxmlformats.org/officeDocument/2006/relationships/hyperlink" Target="https://www.energy.gov/eere/geothermal/geovision" TargetMode="External"/><Relationship Id="rId2" Type="http://schemas.openxmlformats.org/officeDocument/2006/relationships/slideLayout" Target="../slideLayouts/slideLayout4.xml"/><Relationship Id="rId1" Type="http://schemas.openxmlformats.org/officeDocument/2006/relationships/tags" Target="../tags/tag1205.xml"/><Relationship Id="rId6" Type="http://schemas.openxmlformats.org/officeDocument/2006/relationships/hyperlink" Target="https://www.iea.org/reports/technology-roadmap-geothermal-heat-and-power" TargetMode="External"/><Relationship Id="rId5" Type="http://schemas.openxmlformats.org/officeDocument/2006/relationships/hyperlink" Target="https://igshpa.org/wp-content/uploads/LIFTOFF_DOE_Geothermal_HC.pdf"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323.emf"/><Relationship Id="rId9" Type="http://schemas.openxmlformats.org/officeDocument/2006/relationships/hyperlink" Target="https://business.columbia.edu/faculty/people/gernot-wagner" TargetMode="Externa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17.xml"/><Relationship Id="rId1" Type="http://schemas.openxmlformats.org/officeDocument/2006/relationships/tags" Target="../tags/tag1206.xml"/><Relationship Id="rId4" Type="http://schemas.openxmlformats.org/officeDocument/2006/relationships/image" Target="../media/image324.emf"/></Relationships>
</file>

<file path=ppt/slides/_rels/slide104.xml.rels><?xml version="1.0" encoding="UTF-8" standalone="yes"?>
<Relationships xmlns="http://schemas.openxmlformats.org/package/2006/relationships"><Relationship Id="rId8" Type="http://schemas.openxmlformats.org/officeDocument/2006/relationships/image" Target="../media/image330.jpeg"/><Relationship Id="rId3" Type="http://schemas.openxmlformats.org/officeDocument/2006/relationships/image" Target="../media/image325.jpeg"/><Relationship Id="rId7" Type="http://schemas.openxmlformats.org/officeDocument/2006/relationships/image" Target="../media/image329.jpeg"/><Relationship Id="rId2" Type="http://schemas.openxmlformats.org/officeDocument/2006/relationships/hyperlink" Target="https://business.columbia.edu/insights/climate/cki" TargetMode="External"/><Relationship Id="rId1" Type="http://schemas.openxmlformats.org/officeDocument/2006/relationships/slideLayout" Target="../slideLayouts/slideLayout20.xml"/><Relationship Id="rId6" Type="http://schemas.openxmlformats.org/officeDocument/2006/relationships/image" Target="../media/image328.jpeg"/><Relationship Id="rId5" Type="http://schemas.openxmlformats.org/officeDocument/2006/relationships/image" Target="../media/image327.jpeg"/><Relationship Id="rId10" Type="http://schemas.openxmlformats.org/officeDocument/2006/relationships/image" Target="../media/image332.jpeg"/><Relationship Id="rId4" Type="http://schemas.openxmlformats.org/officeDocument/2006/relationships/image" Target="../media/image326.jpeg"/><Relationship Id="rId9" Type="http://schemas.openxmlformats.org/officeDocument/2006/relationships/image" Target="../media/image331.jpeg"/></Relationships>
</file>

<file path=ppt/slides/_rels/slide105.xml.rels><?xml version="1.0" encoding="UTF-8" standalone="yes"?>
<Relationships xmlns="http://schemas.openxmlformats.org/package/2006/relationships"><Relationship Id="rId3" Type="http://schemas.openxmlformats.org/officeDocument/2006/relationships/image" Target="../media/image333.jpeg"/><Relationship Id="rId2" Type="http://schemas.openxmlformats.org/officeDocument/2006/relationships/hyperlink" Target="https://business.columbia.edu/insights/climate/cki" TargetMode="External"/><Relationship Id="rId1" Type="http://schemas.openxmlformats.org/officeDocument/2006/relationships/slideLayout" Target="../slideLayouts/slideLayout20.xml"/><Relationship Id="rId4" Type="http://schemas.openxmlformats.org/officeDocument/2006/relationships/image" Target="../media/image334.jpeg"/></Relationships>
</file>

<file path=ppt/slides/_rels/slide106.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335.jpeg"/><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17.xml"/><Relationship Id="rId1" Type="http://schemas.openxmlformats.org/officeDocument/2006/relationships/tags" Target="../tags/tag1207.xml"/><Relationship Id="rId4" Type="http://schemas.openxmlformats.org/officeDocument/2006/relationships/image" Target="../media/image324.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4.xml"/><Relationship Id="rId1" Type="http://schemas.openxmlformats.org/officeDocument/2006/relationships/tags" Target="../tags/tag120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336.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4.xml"/><Relationship Id="rId1" Type="http://schemas.openxmlformats.org/officeDocument/2006/relationships/tags" Target="../tags/tag120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337.emf"/></Relationships>
</file>

<file path=ppt/slides/_rels/slide11.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4.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6.xml"/><Relationship Id="rId1" Type="http://schemas.openxmlformats.org/officeDocument/2006/relationships/tags" Target="../tags/tag254.xml"/><Relationship Id="rId6" Type="http://schemas.openxmlformats.org/officeDocument/2006/relationships/hyperlink" Target="https://www.sciencedirect.com/science/article/pii/S0959652620319211" TargetMode="External"/><Relationship Id="rId5" Type="http://schemas.openxmlformats.org/officeDocument/2006/relationships/hyperlink" Target="https://ourworldindata.org/grapher/installed-geothermal-capacity#explore-the-data" TargetMode="External"/><Relationship Id="rId4" Type="http://schemas.openxmlformats.org/officeDocument/2006/relationships/image" Target="../media/image27.emf"/><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hyperlink" Target="https://www.bgs.ac.uk/geology-projects/geothermal-energy/geothermal-technologies/" TargetMode="External"/><Relationship Id="rId13" Type="http://schemas.openxmlformats.org/officeDocument/2006/relationships/hyperlink" Target="https://geoconvention.com/wp-content/uploads/abstracts/2021/67287-temperatures-are-rising-an-introduction-to-geoth.pdf" TargetMode="External"/><Relationship Id="rId18" Type="http://schemas.openxmlformats.org/officeDocument/2006/relationships/image" Target="../media/image32.png"/><Relationship Id="rId26" Type="http://schemas.openxmlformats.org/officeDocument/2006/relationships/diagramData" Target="../diagrams/data1.xml"/><Relationship Id="rId3" Type="http://schemas.openxmlformats.org/officeDocument/2006/relationships/oleObject" Target="../embeddings/oleObject35.bin"/><Relationship Id="rId21" Type="http://schemas.openxmlformats.org/officeDocument/2006/relationships/image" Target="../media/image35.svg"/><Relationship Id="rId7" Type="http://schemas.openxmlformats.org/officeDocument/2006/relationships/hyperlink" Target="https://www.sciencedirect.com/science/article/pii/S2666202723000423#:~:text=Geothermal%20energy%20can%20be%20extracted,of%20various%20components%20%5B18%5D." TargetMode="External"/><Relationship Id="rId12" Type="http://schemas.openxmlformats.org/officeDocument/2006/relationships/hyperlink" Target="https://cleantechnica.com/2025/03/24/deep-geothermal-energy-production-progress-in-utah/#:~:text=Earlier%20this%20year%2C%20Fervo%20said,more%20than%20two%20miles%20long." TargetMode="External"/><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slideLayout" Target="../slideLayouts/slideLayout8.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diagramColors" Target="../diagrams/colors1.xml"/><Relationship Id="rId1" Type="http://schemas.openxmlformats.org/officeDocument/2006/relationships/tags" Target="../tags/tag255.xml"/><Relationship Id="rId6" Type="http://schemas.openxmlformats.org/officeDocument/2006/relationships/hyperlink" Target="https://www.geothermalnextgeneration.com/updates/what-is-a-geothermal-reservoir" TargetMode="External"/><Relationship Id="rId11" Type="http://schemas.openxmlformats.org/officeDocument/2006/relationships/hyperlink" Target="https://www.eia.gov/todayinenergy/detail.php?id=44576" TargetMode="External"/><Relationship Id="rId24" Type="http://schemas.openxmlformats.org/officeDocument/2006/relationships/image" Target="../media/image38.png"/><Relationship Id="rId5" Type="http://schemas.openxmlformats.org/officeDocument/2006/relationships/hyperlink" Target="https://www.energy.ca.gov/data-reports/energy-almanac/data-renewable-energy-markets-and-resources/types-geothermal-power" TargetMode="External"/><Relationship Id="rId15" Type="http://schemas.openxmlformats.org/officeDocument/2006/relationships/hyperlink" Target="https://business.columbia.edu/insights/climate/cki" TargetMode="External"/><Relationship Id="rId23" Type="http://schemas.openxmlformats.org/officeDocument/2006/relationships/image" Target="../media/image37.svg"/><Relationship Id="rId28" Type="http://schemas.openxmlformats.org/officeDocument/2006/relationships/diagramQuickStyle" Target="../diagrams/quickStyle1.xml"/><Relationship Id="rId10" Type="http://schemas.openxmlformats.org/officeDocument/2006/relationships/hyperlink" Target="https://energyeducation.ca/encyclopedia/Geothermal_gradient" TargetMode="External"/><Relationship Id="rId19" Type="http://schemas.openxmlformats.org/officeDocument/2006/relationships/image" Target="../media/image33.svg"/><Relationship Id="rId31" Type="http://schemas.openxmlformats.org/officeDocument/2006/relationships/image" Target="../media/image40.png"/><Relationship Id="rId4" Type="http://schemas.openxmlformats.org/officeDocument/2006/relationships/image" Target="../media/image29.emf"/><Relationship Id="rId9" Type="http://schemas.openxmlformats.org/officeDocument/2006/relationships/hyperlink" Target="https://www.researchgate.net/publication/313903650_Power_Density_in_Geothermal_Fields" TargetMode="External"/><Relationship Id="rId14" Type="http://schemas.openxmlformats.org/officeDocument/2006/relationships/hyperlink" Target="https://business.columbia.edu/faculty/people/gernot-wagner" TargetMode="External"/><Relationship Id="rId22" Type="http://schemas.openxmlformats.org/officeDocument/2006/relationships/image" Target="../media/image36.png"/><Relationship Id="rId27" Type="http://schemas.openxmlformats.org/officeDocument/2006/relationships/diagramLayout" Target="../diagrams/layout1.xml"/><Relationship Id="rId30" Type="http://schemas.microsoft.com/office/2007/relationships/diagramDrawing" Target="../diagrams/drawing1.xml"/></Relationships>
</file>

<file path=ppt/slides/_rels/slide13.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oleObject" Target="../embeddings/oleObject36.bin"/><Relationship Id="rId50" Type="http://schemas.openxmlformats.org/officeDocument/2006/relationships/hyperlink" Target="https://iea.blob.core.windows.net/assets/cbe6ad3a-eb3e-463f-8b2a-5d1fa4ce39bf/TheFutureofGeothermal.pdf" TargetMode="External"/><Relationship Id="rId55" Type="http://schemas.openxmlformats.org/officeDocument/2006/relationships/chart" Target="../charts/chart14.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hyperlink" Target="https://business.columbia.edu/faculty/people/gernot-wagner" TargetMode="External"/><Relationship Id="rId5" Type="http://schemas.openxmlformats.org/officeDocument/2006/relationships/tags" Target="../tags/tag260.xml"/><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hyperlink" Target="https://projectinnerspace.org/news/Powering-the-AI-Revolution-Press-Release.pdf" TargetMode="Externa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image" Target="../media/image29.emf"/><Relationship Id="rId8" Type="http://schemas.openxmlformats.org/officeDocument/2006/relationships/tags" Target="../tags/tag263.xml"/><Relationship Id="rId51" Type="http://schemas.openxmlformats.org/officeDocument/2006/relationships/hyperlink" Target="https://africaoilgasreport.com/2025/05/energy-transition/east-africas-geothermal-energy-politics-of-illusions-opportunities-and-optimism/#:~:text=Even%20Rystad%20Energy%20anticipates%20that,1%20GW%2C%20located%20in%20Kenya." TargetMode="Externa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slideLayout" Target="../slideLayouts/slideLayout8.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hyperlink" Target="https://business.columbia.edu/insights/climate/cki" TargetMode="External"/><Relationship Id="rId1" Type="http://schemas.openxmlformats.org/officeDocument/2006/relationships/tags" Target="../tags/tag256.x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hyperlink" Target="https://www.catf.us/2025/03/introduction-next-clean-energy-frontier-superhot-rock-future-geothermal/"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image" Target="../media/image41.emf"/><Relationship Id="rId39" Type="http://schemas.openxmlformats.org/officeDocument/2006/relationships/chart" Target="../charts/chart15.xml"/><Relationship Id="rId21" Type="http://schemas.openxmlformats.org/officeDocument/2006/relationships/tags" Target="../tags/tag321.xml"/><Relationship Id="rId34" Type="http://schemas.openxmlformats.org/officeDocument/2006/relationships/image" Target="../media/image43.svg"/><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oleObject" Target="../embeddings/oleObject37.bin"/><Relationship Id="rId33" Type="http://schemas.openxmlformats.org/officeDocument/2006/relationships/image" Target="../media/image42.png"/><Relationship Id="rId38" Type="http://schemas.openxmlformats.org/officeDocument/2006/relationships/image" Target="../media/image47.svg"/><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29" Type="http://schemas.openxmlformats.org/officeDocument/2006/relationships/hyperlink" Target="https://energyeducation.ca/encyclopedia/Baseload_power" TargetMode="External"/><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slideLayout" Target="../slideLayouts/slideLayout8.xml"/><Relationship Id="rId32" Type="http://schemas.openxmlformats.org/officeDocument/2006/relationships/hyperlink" Target="https://business.columbia.edu/insights/climate/cki" TargetMode="External"/><Relationship Id="rId37" Type="http://schemas.openxmlformats.org/officeDocument/2006/relationships/image" Target="../media/image46.png"/><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hyperlink" Target="https://www.power-eng.com/renewables/the-duck-pond/" TargetMode="External"/><Relationship Id="rId36" Type="http://schemas.openxmlformats.org/officeDocument/2006/relationships/image" Target="../media/image45.svg"/><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hyperlink" Target="https://business.columbia.edu/faculty/people/gernot-wagner" TargetMode="Externa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hyperlink" Target="https://www.iea.org/data-and-statistics/charts/cumulative-investment-for-next-generation-geothermal-2025-2050" TargetMode="External"/><Relationship Id="rId30" Type="http://schemas.openxmlformats.org/officeDocument/2006/relationships/hyperlink" Target="https://www.mckinsey.com/industries/energy-and-materials/our-insights/global-energy-perspective" TargetMode="External"/><Relationship Id="rId35" Type="http://schemas.openxmlformats.org/officeDocument/2006/relationships/image" Target="../media/image44.png"/><Relationship Id="rId8" Type="http://schemas.openxmlformats.org/officeDocument/2006/relationships/tags" Target="../tags/tag308.xml"/><Relationship Id="rId3" Type="http://schemas.openxmlformats.org/officeDocument/2006/relationships/tags" Target="../tags/tag303.xml"/></Relationships>
</file>

<file path=ppt/slides/_rels/slide15.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8.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4.xml"/><Relationship Id="rId1" Type="http://schemas.openxmlformats.org/officeDocument/2006/relationships/tags" Target="../tags/tag324.xml"/><Relationship Id="rId6" Type="http://schemas.openxmlformats.org/officeDocument/2006/relationships/hyperlink" Target="https://www.worldgeothermal.org/pdf/IGAstandard/WGC/2020/31027.pdf?" TargetMode="External"/><Relationship Id="rId5" Type="http://schemas.openxmlformats.org/officeDocument/2006/relationships/hyperlink" Target="https://docs.nrel.gov/docs/fy23osti/84822.pdf?" TargetMode="External"/><Relationship Id="rId4" Type="http://schemas.openxmlformats.org/officeDocument/2006/relationships/image" Target="../media/image48.emf"/></Relationships>
</file>

<file path=ppt/slides/_rels/slide16.xml.rels><?xml version="1.0" encoding="UTF-8" standalone="yes"?>
<Relationships xmlns="http://schemas.openxmlformats.org/package/2006/relationships"><Relationship Id="rId8" Type="http://schemas.openxmlformats.org/officeDocument/2006/relationships/hyperlink" Target="https://www.thinkgeoenergy.com/zanskar-raises-30-million-to-support-ai-led-geothermal-exploration-technology/" TargetMode="External"/><Relationship Id="rId13" Type="http://schemas.openxmlformats.org/officeDocument/2006/relationships/diagramQuickStyle" Target="../diagrams/quickStyle2.xml"/><Relationship Id="rId3" Type="http://schemas.openxmlformats.org/officeDocument/2006/relationships/oleObject" Target="../embeddings/oleObject39.bin"/><Relationship Id="rId7" Type="http://schemas.openxmlformats.org/officeDocument/2006/relationships/hyperlink" Target="https://zanskar.com/ourwork" TargetMode="External"/><Relationship Id="rId12" Type="http://schemas.openxmlformats.org/officeDocument/2006/relationships/diagramLayout" Target="../diagrams/layout2.xml"/><Relationship Id="rId2" Type="http://schemas.openxmlformats.org/officeDocument/2006/relationships/slideLayout" Target="../slideLayouts/slideLayout8.xml"/><Relationship Id="rId16" Type="http://schemas.openxmlformats.org/officeDocument/2006/relationships/image" Target="../media/image50.png"/><Relationship Id="rId1" Type="http://schemas.openxmlformats.org/officeDocument/2006/relationships/tags" Target="../tags/tag325.xml"/><Relationship Id="rId6" Type="http://schemas.openxmlformats.org/officeDocument/2006/relationships/hyperlink" Target="https://www.eia.gov/outlooks/aeo/IIF_carbonfee/" TargetMode="External"/><Relationship Id="rId11" Type="http://schemas.openxmlformats.org/officeDocument/2006/relationships/diagramData" Target="../diagrams/data2.xml"/><Relationship Id="rId5" Type="http://schemas.openxmlformats.org/officeDocument/2006/relationships/hyperlink" Target="https://www.ctvc.co/the-heat-beneath-our-feet/" TargetMode="External"/><Relationship Id="rId15" Type="http://schemas.microsoft.com/office/2007/relationships/diagramDrawing" Target="../diagrams/drawing2.xml"/><Relationship Id="rId10" Type="http://schemas.openxmlformats.org/officeDocument/2006/relationships/hyperlink" Target="https://business.columbia.edu/insights/climate/cki" TargetMode="External"/><Relationship Id="rId4" Type="http://schemas.openxmlformats.org/officeDocument/2006/relationships/image" Target="../media/image49.emf"/><Relationship Id="rId9" Type="http://schemas.openxmlformats.org/officeDocument/2006/relationships/hyperlink" Target="https://business.columbia.edu/faculty/people/gernot-wagner" TargetMode="External"/><Relationship Id="rId14" Type="http://schemas.openxmlformats.org/officeDocument/2006/relationships/diagramColors" Target="../diagrams/colors2.xml"/></Relationships>
</file>

<file path=ppt/slides/_rels/slide17.xml.rels><?xml version="1.0" encoding="UTF-8" standalone="yes"?>
<Relationships xmlns="http://schemas.openxmlformats.org/package/2006/relationships"><Relationship Id="rId26" Type="http://schemas.openxmlformats.org/officeDocument/2006/relationships/tags" Target="../tags/tag351.xml"/><Relationship Id="rId21" Type="http://schemas.openxmlformats.org/officeDocument/2006/relationships/tags" Target="../tags/tag346.xml"/><Relationship Id="rId42" Type="http://schemas.openxmlformats.org/officeDocument/2006/relationships/tags" Target="../tags/tag367.xml"/><Relationship Id="rId47" Type="http://schemas.openxmlformats.org/officeDocument/2006/relationships/tags" Target="../tags/tag372.xml"/><Relationship Id="rId63" Type="http://schemas.openxmlformats.org/officeDocument/2006/relationships/hyperlink" Target="https://business.columbia.edu/insights/climate/cki" TargetMode="External"/><Relationship Id="rId68" Type="http://schemas.openxmlformats.org/officeDocument/2006/relationships/image" Target="../media/image55.svg"/><Relationship Id="rId2" Type="http://schemas.openxmlformats.org/officeDocument/2006/relationships/tags" Target="../tags/tag327.xml"/><Relationship Id="rId16" Type="http://schemas.openxmlformats.org/officeDocument/2006/relationships/tags" Target="../tags/tag341.xml"/><Relationship Id="rId29" Type="http://schemas.openxmlformats.org/officeDocument/2006/relationships/tags" Target="../tags/tag354.xml"/><Relationship Id="rId11" Type="http://schemas.openxmlformats.org/officeDocument/2006/relationships/tags" Target="../tags/tag336.xml"/><Relationship Id="rId24" Type="http://schemas.openxmlformats.org/officeDocument/2006/relationships/tags" Target="../tags/tag349.xml"/><Relationship Id="rId32" Type="http://schemas.openxmlformats.org/officeDocument/2006/relationships/tags" Target="../tags/tag357.xml"/><Relationship Id="rId37" Type="http://schemas.openxmlformats.org/officeDocument/2006/relationships/tags" Target="../tags/tag362.xml"/><Relationship Id="rId40" Type="http://schemas.openxmlformats.org/officeDocument/2006/relationships/tags" Target="../tags/tag365.xml"/><Relationship Id="rId45" Type="http://schemas.openxmlformats.org/officeDocument/2006/relationships/tags" Target="../tags/tag370.xml"/><Relationship Id="rId53" Type="http://schemas.openxmlformats.org/officeDocument/2006/relationships/tags" Target="../tags/tag378.xml"/><Relationship Id="rId58" Type="http://schemas.openxmlformats.org/officeDocument/2006/relationships/image" Target="../media/image51.emf"/><Relationship Id="rId66" Type="http://schemas.openxmlformats.org/officeDocument/2006/relationships/image" Target="../media/image53.svg"/><Relationship Id="rId74" Type="http://schemas.openxmlformats.org/officeDocument/2006/relationships/hyperlink" Target="https://sco.wikipedia.org/wiki/Unitit_States" TargetMode="External"/><Relationship Id="rId5" Type="http://schemas.openxmlformats.org/officeDocument/2006/relationships/tags" Target="../tags/tag330.xml"/><Relationship Id="rId61" Type="http://schemas.openxmlformats.org/officeDocument/2006/relationships/hyperlink" Target="https://www.geode.energy/" TargetMode="External"/><Relationship Id="rId19" Type="http://schemas.openxmlformats.org/officeDocument/2006/relationships/tags" Target="../tags/tag344.xml"/><Relationship Id="rId14" Type="http://schemas.openxmlformats.org/officeDocument/2006/relationships/tags" Target="../tags/tag339.xml"/><Relationship Id="rId22" Type="http://schemas.openxmlformats.org/officeDocument/2006/relationships/tags" Target="../tags/tag347.xml"/><Relationship Id="rId27" Type="http://schemas.openxmlformats.org/officeDocument/2006/relationships/tags" Target="../tags/tag352.xml"/><Relationship Id="rId30" Type="http://schemas.openxmlformats.org/officeDocument/2006/relationships/tags" Target="../tags/tag355.xml"/><Relationship Id="rId35" Type="http://schemas.openxmlformats.org/officeDocument/2006/relationships/tags" Target="../tags/tag360.xml"/><Relationship Id="rId43" Type="http://schemas.openxmlformats.org/officeDocument/2006/relationships/tags" Target="../tags/tag368.xml"/><Relationship Id="rId48" Type="http://schemas.openxmlformats.org/officeDocument/2006/relationships/tags" Target="../tags/tag373.xml"/><Relationship Id="rId56" Type="http://schemas.openxmlformats.org/officeDocument/2006/relationships/slideLayout" Target="../slideLayouts/slideLayout3.xml"/><Relationship Id="rId64" Type="http://schemas.openxmlformats.org/officeDocument/2006/relationships/chart" Target="../charts/chart16.xml"/><Relationship Id="rId69" Type="http://schemas.openxmlformats.org/officeDocument/2006/relationships/chart" Target="../charts/chart17.xml"/><Relationship Id="rId8" Type="http://schemas.openxmlformats.org/officeDocument/2006/relationships/tags" Target="../tags/tag333.xml"/><Relationship Id="rId51" Type="http://schemas.openxmlformats.org/officeDocument/2006/relationships/tags" Target="../tags/tag376.xml"/><Relationship Id="rId72" Type="http://schemas.openxmlformats.org/officeDocument/2006/relationships/image" Target="../media/image56.png"/><Relationship Id="rId3" Type="http://schemas.openxmlformats.org/officeDocument/2006/relationships/tags" Target="../tags/tag328.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tags" Target="../tags/tag350.xml"/><Relationship Id="rId33" Type="http://schemas.openxmlformats.org/officeDocument/2006/relationships/tags" Target="../tags/tag358.xml"/><Relationship Id="rId38" Type="http://schemas.openxmlformats.org/officeDocument/2006/relationships/tags" Target="../tags/tag363.xml"/><Relationship Id="rId46" Type="http://schemas.openxmlformats.org/officeDocument/2006/relationships/tags" Target="../tags/tag371.xml"/><Relationship Id="rId59" Type="http://schemas.openxmlformats.org/officeDocument/2006/relationships/hyperlink" Target="https://www.esmap.org/Geothermal_Socioeconomic_Benefits?title=socio&amp;year=all&amp;created=&amp;created_1=&amp;sort_by=field_published_on_value&amp;sort_order=DESC" TargetMode="External"/><Relationship Id="rId67" Type="http://schemas.openxmlformats.org/officeDocument/2006/relationships/image" Target="../media/image54.png"/><Relationship Id="rId20" Type="http://schemas.openxmlformats.org/officeDocument/2006/relationships/tags" Target="../tags/tag345.xml"/><Relationship Id="rId41" Type="http://schemas.openxmlformats.org/officeDocument/2006/relationships/tags" Target="../tags/tag366.xml"/><Relationship Id="rId54" Type="http://schemas.openxmlformats.org/officeDocument/2006/relationships/tags" Target="../tags/tag379.xml"/><Relationship Id="rId62" Type="http://schemas.openxmlformats.org/officeDocument/2006/relationships/hyperlink" Target="https://business.columbia.edu/faculty/people/gernot-wagner" TargetMode="External"/><Relationship Id="rId70" Type="http://schemas.openxmlformats.org/officeDocument/2006/relationships/chart" Target="../charts/chart18.xml"/><Relationship Id="rId75" Type="http://schemas.openxmlformats.org/officeDocument/2006/relationships/image" Target="../media/image58.png"/><Relationship Id="rId1" Type="http://schemas.openxmlformats.org/officeDocument/2006/relationships/tags" Target="../tags/tag326.xml"/><Relationship Id="rId6" Type="http://schemas.openxmlformats.org/officeDocument/2006/relationships/tags" Target="../tags/tag331.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tags" Target="../tags/tag353.xml"/><Relationship Id="rId36" Type="http://schemas.openxmlformats.org/officeDocument/2006/relationships/tags" Target="../tags/tag361.xml"/><Relationship Id="rId49" Type="http://schemas.openxmlformats.org/officeDocument/2006/relationships/tags" Target="../tags/tag374.xml"/><Relationship Id="rId57" Type="http://schemas.openxmlformats.org/officeDocument/2006/relationships/oleObject" Target="../embeddings/oleObject40.bin"/><Relationship Id="rId10" Type="http://schemas.openxmlformats.org/officeDocument/2006/relationships/tags" Target="../tags/tag335.xml"/><Relationship Id="rId31" Type="http://schemas.openxmlformats.org/officeDocument/2006/relationships/tags" Target="../tags/tag356.xml"/><Relationship Id="rId44" Type="http://schemas.openxmlformats.org/officeDocument/2006/relationships/tags" Target="../tags/tag369.xml"/><Relationship Id="rId52" Type="http://schemas.openxmlformats.org/officeDocument/2006/relationships/tags" Target="../tags/tag377.xml"/><Relationship Id="rId60" Type="http://schemas.openxmlformats.org/officeDocument/2006/relationships/hyperlink" Target="https://www.iea.org/reports/the-future-of-geothermal-energy" TargetMode="External"/><Relationship Id="rId65" Type="http://schemas.openxmlformats.org/officeDocument/2006/relationships/image" Target="../media/image52.png"/><Relationship Id="rId73" Type="http://schemas.openxmlformats.org/officeDocument/2006/relationships/image" Target="../media/image57.png"/><Relationship Id="rId4" Type="http://schemas.openxmlformats.org/officeDocument/2006/relationships/tags" Target="../tags/tag329.xml"/><Relationship Id="rId9" Type="http://schemas.openxmlformats.org/officeDocument/2006/relationships/tags" Target="../tags/tag334.xml"/><Relationship Id="rId13" Type="http://schemas.openxmlformats.org/officeDocument/2006/relationships/tags" Target="../tags/tag338.xml"/><Relationship Id="rId18" Type="http://schemas.openxmlformats.org/officeDocument/2006/relationships/tags" Target="../tags/tag343.xml"/><Relationship Id="rId39" Type="http://schemas.openxmlformats.org/officeDocument/2006/relationships/tags" Target="../tags/tag364.xml"/><Relationship Id="rId34" Type="http://schemas.openxmlformats.org/officeDocument/2006/relationships/tags" Target="../tags/tag359.xml"/><Relationship Id="rId50" Type="http://schemas.openxmlformats.org/officeDocument/2006/relationships/tags" Target="../tags/tag375.xml"/><Relationship Id="rId55" Type="http://schemas.openxmlformats.org/officeDocument/2006/relationships/tags" Target="../tags/tag380.xml"/><Relationship Id="rId76" Type="http://schemas.openxmlformats.org/officeDocument/2006/relationships/hyperlink" Target="https://en.wikipedia.org/wiki/List_of_Icelandic_flags" TargetMode="External"/><Relationship Id="rId7" Type="http://schemas.openxmlformats.org/officeDocument/2006/relationships/tags" Target="../tags/tag332.xml"/><Relationship Id="rId71" Type="http://schemas.openxmlformats.org/officeDocument/2006/relationships/chart" Target="../charts/chart19.xml"/></Relationships>
</file>

<file path=ppt/slides/_rels/slide1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41.bin"/><Relationship Id="rId7" Type="http://schemas.openxmlformats.org/officeDocument/2006/relationships/hyperlink" Target="https://business.columbia.edu/faculty/people/gernot-wagner" TargetMode="External"/><Relationship Id="rId12"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381.xml"/><Relationship Id="rId6" Type="http://schemas.openxmlformats.org/officeDocument/2006/relationships/hyperlink" Target="https://www.nrel.gov/news/detail/program/2025/reducing-data-center-peak-cooling-demand-and-energy-costs-with-underground-thermal-energy-storage" TargetMode="External"/><Relationship Id="rId11" Type="http://schemas.openxmlformats.org/officeDocument/2006/relationships/image" Target="../media/image36.png"/><Relationship Id="rId5" Type="http://schemas.openxmlformats.org/officeDocument/2006/relationships/hyperlink" Target="https://pangea.stanford.edu/ERE/db/GeoConf/papers/SGW/2025/Winick.pdf" TargetMode="External"/><Relationship Id="rId10" Type="http://schemas.openxmlformats.org/officeDocument/2006/relationships/image" Target="../media/image61.svg"/><Relationship Id="rId4" Type="http://schemas.openxmlformats.org/officeDocument/2006/relationships/image" Target="../media/image59.emf"/><Relationship Id="rId9" Type="http://schemas.openxmlformats.org/officeDocument/2006/relationships/image" Target="../media/image60.png"/></Relationships>
</file>

<file path=ppt/slides/_rels/slide19.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slideLayout" Target="../slideLayouts/slideLayout14.xml"/><Relationship Id="rId1" Type="http://schemas.openxmlformats.org/officeDocument/2006/relationships/tags" Target="../tags/tag382.xml"/><Relationship Id="rId5" Type="http://schemas.openxmlformats.org/officeDocument/2006/relationships/image" Target="../media/image63.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14.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oleObject" Target="../embeddings/oleObject26.bin"/></Relationships>
</file>

<file path=ppt/slides/_rels/slide20.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64.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70.png"/><Relationship Id="rId3" Type="http://schemas.openxmlformats.org/officeDocument/2006/relationships/oleObject" Target="../embeddings/oleObject43.bin"/><Relationship Id="rId7" Type="http://schemas.openxmlformats.org/officeDocument/2006/relationships/hyperlink" Target="https://business.columbia.edu/faculty/people/gernot-wagner" TargetMode="External"/><Relationship Id="rId12" Type="http://schemas.openxmlformats.org/officeDocument/2006/relationships/image" Target="../media/image69.svg"/><Relationship Id="rId2" Type="http://schemas.openxmlformats.org/officeDocument/2006/relationships/slideLayout" Target="../slideLayouts/slideLayout12.xml"/><Relationship Id="rId1" Type="http://schemas.openxmlformats.org/officeDocument/2006/relationships/tags" Target="../tags/tag383.xml"/><Relationship Id="rId6" Type="http://schemas.openxmlformats.org/officeDocument/2006/relationships/hyperlink" Target="https://doi.org/10.1016/j.rser.2024.115185" TargetMode="External"/><Relationship Id="rId11" Type="http://schemas.openxmlformats.org/officeDocument/2006/relationships/image" Target="../media/image68.png"/><Relationship Id="rId5" Type="http://schemas.openxmlformats.org/officeDocument/2006/relationships/hyperlink" Target="https://www.iea.org/reports/the-future-of-geothermal-energy" TargetMode="External"/><Relationship Id="rId10" Type="http://schemas.openxmlformats.org/officeDocument/2006/relationships/image" Target="../media/image67.svg"/><Relationship Id="rId4" Type="http://schemas.openxmlformats.org/officeDocument/2006/relationships/image" Target="../media/image65.emf"/><Relationship Id="rId9" Type="http://schemas.openxmlformats.org/officeDocument/2006/relationships/image" Target="../media/image66.png"/><Relationship Id="rId14" Type="http://schemas.openxmlformats.org/officeDocument/2006/relationships/image" Target="../media/image71.svg"/></Relationships>
</file>

<file path=ppt/slides/_rels/slide22.xml.rels><?xml version="1.0" encoding="UTF-8" standalone="yes"?>
<Relationships xmlns="http://schemas.openxmlformats.org/package/2006/relationships"><Relationship Id="rId8" Type="http://schemas.openxmlformats.org/officeDocument/2006/relationships/hyperlink" Target="https://www.wri.org/insights/next-generation-geothermal-energy-explained#:~:text=Geothermal%20power%20has%20been%20in,clean%20energy%20around%20the%20world." TargetMode="External"/><Relationship Id="rId3" Type="http://schemas.openxmlformats.org/officeDocument/2006/relationships/oleObject" Target="../embeddings/oleObject44.bin"/><Relationship Id="rId7" Type="http://schemas.openxmlformats.org/officeDocument/2006/relationships/hyperlink" Target="https://ifp.org/hot-rocks-part-three-barriers-to-next-gen-geothermal/"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3.xml"/><Relationship Id="rId1" Type="http://schemas.openxmlformats.org/officeDocument/2006/relationships/tags" Target="../tags/tag384.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irena.org/Publications/2023/Feb/Global-geothermal-market-and-technology-assessment" TargetMode="External"/><Relationship Id="rId10" Type="http://schemas.openxmlformats.org/officeDocument/2006/relationships/hyperlink" Target="https://igshpa.org/wp-content/uploads/LIFTOFF_DOE_Geothermal_HC.pdf" TargetMode="External"/><Relationship Id="rId4" Type="http://schemas.openxmlformats.org/officeDocument/2006/relationships/image" Target="../media/image72.emf"/><Relationship Id="rId9" Type="http://schemas.openxmlformats.org/officeDocument/2006/relationships/hyperlink" Target="https://www.wri.org/research/next-generation-geothermal-considerations-and-opportunities-responsible-development#:~:text=Whereas%20conventional%20geothermal%20facilities%20drill,naturally%20occurring%20fluid%20or%20permeability."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www.thinkgeoenergy.com/california-geothermal-lithium-project-secures-1-36-billion-direct-loan/" TargetMode="External"/><Relationship Id="rId13" Type="http://schemas.openxmlformats.org/officeDocument/2006/relationships/hyperlink" Target="https://www.energy.gov/eere/geothermal/articles/doe-announces-142-million-advance-enhanced-geothermal-systems" TargetMode="External"/><Relationship Id="rId3" Type="http://schemas.openxmlformats.org/officeDocument/2006/relationships/oleObject" Target="../embeddings/oleObject45.bin"/><Relationship Id="rId7" Type="http://schemas.openxmlformats.org/officeDocument/2006/relationships/hyperlink" Target="https://www.thinkgeoenergy.com/hephae-energy-raises-4-million-funding-to-support-field-trials-of-high-t-drilling-technology/" TargetMode="External"/><Relationship Id="rId12" Type="http://schemas.openxmlformats.org/officeDocument/2006/relationships/hyperlink" Target="https://www.mckinsey.com/industries/electric-power-and-natural-gas/our-insights/is-geothermal-energy-ready-to-make-its-mark-in-the-us-power-mix" TargetMode="External"/><Relationship Id="rId2" Type="http://schemas.openxmlformats.org/officeDocument/2006/relationships/slideLayout" Target="../slideLayouts/slideLayout3.xml"/><Relationship Id="rId16" Type="http://schemas.openxmlformats.org/officeDocument/2006/relationships/hyperlink" Target="https://business.columbia.edu/insights/climate/cki" TargetMode="External"/><Relationship Id="rId1" Type="http://schemas.openxmlformats.org/officeDocument/2006/relationships/tags" Target="../tags/tag385.xml"/><Relationship Id="rId6" Type="http://schemas.openxmlformats.org/officeDocument/2006/relationships/hyperlink" Target="$10M%20to%20drill%20into%20science%20of%20one%20of%20worlds%20hottest" TargetMode="External"/><Relationship Id="rId11" Type="http://schemas.openxmlformats.org/officeDocument/2006/relationships/hyperlink" Target="https://utahforge.com/utah_forge_news/us-doe-announces-44-million-funding-for-egs-innovation-projects/#:~:text=in%20the%20News-,US%20DOE%20announces%20$44%20million%20funding%20for%20EGS%20innovation%20projects,Read%20Full%20Article" TargetMode="External"/><Relationship Id="rId5" Type="http://schemas.openxmlformats.org/officeDocument/2006/relationships/hyperlink" Target="https://www.energy-transition-institute.com/factbooks/geothermal-energy-turning-up-the-heat" TargetMode="External"/><Relationship Id="rId15" Type="http://schemas.openxmlformats.org/officeDocument/2006/relationships/hyperlink" Target="https://business.columbia.edu/faculty/people/gernot-wagner" TargetMode="External"/><Relationship Id="rId10" Type="http://schemas.openxmlformats.org/officeDocument/2006/relationships/hyperlink" Target="https://climateprogramportal.org/wp-content/uploads/2025/01/A_41007a.pdf" TargetMode="External"/><Relationship Id="rId4" Type="http://schemas.openxmlformats.org/officeDocument/2006/relationships/image" Target="../media/image73.emf"/><Relationship Id="rId9" Type="http://schemas.openxmlformats.org/officeDocument/2006/relationships/hyperlink" Target="https://www.baseloadcap.com/why-ai-is-turning-to-geothermal-and-vice-versa/#:~:text=Tech%20giants%20are%20now%20seeing,for%20operations%20in%20the%20US." TargetMode="External"/><Relationship Id="rId14" Type="http://schemas.openxmlformats.org/officeDocument/2006/relationships/hyperlink" Target="https://www.energy.gov/articles/doe-invest-165-million-advance-domestic-geothermal-energy-deployment"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9" Type="http://schemas.openxmlformats.org/officeDocument/2006/relationships/hyperlink" Target="https://business.columbia.edu/faculty/people/gernot-wagner" TargetMode="External"/><Relationship Id="rId21" Type="http://schemas.openxmlformats.org/officeDocument/2006/relationships/tags" Target="../tags/tag406.xml"/><Relationship Id="rId34" Type="http://schemas.openxmlformats.org/officeDocument/2006/relationships/tags" Target="../tags/tag419.xml"/><Relationship Id="rId7" Type="http://schemas.openxmlformats.org/officeDocument/2006/relationships/tags" Target="../tags/tag392.xml"/><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tags" Target="../tags/tag405.xml"/><Relationship Id="rId29" Type="http://schemas.openxmlformats.org/officeDocument/2006/relationships/tags" Target="../tags/tag414.xml"/><Relationship Id="rId41" Type="http://schemas.openxmlformats.org/officeDocument/2006/relationships/chart" Target="../charts/chart20.xml"/><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tags" Target="../tags/tag417.xml"/><Relationship Id="rId37" Type="http://schemas.openxmlformats.org/officeDocument/2006/relationships/image" Target="../media/image74.emf"/><Relationship Id="rId40" Type="http://schemas.openxmlformats.org/officeDocument/2006/relationships/hyperlink" Target="https://business.columbia.edu/insights/climate/cki" TargetMode="Externa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tags" Target="../tags/tag413.xml"/><Relationship Id="rId36" Type="http://schemas.openxmlformats.org/officeDocument/2006/relationships/oleObject" Target="../embeddings/oleObject46.bin"/><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tags" Target="../tags/tag416.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tags" Target="../tags/tag415.xml"/><Relationship Id="rId35" Type="http://schemas.openxmlformats.org/officeDocument/2006/relationships/slideLayout" Target="../slideLayouts/slideLayout6.xml"/><Relationship Id="rId8" Type="http://schemas.openxmlformats.org/officeDocument/2006/relationships/tags" Target="../tags/tag393.xml"/><Relationship Id="rId3" Type="http://schemas.openxmlformats.org/officeDocument/2006/relationships/tags" Target="../tags/tag388.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tags" Target="../tags/tag418.xml"/><Relationship Id="rId38" Type="http://schemas.openxmlformats.org/officeDocument/2006/relationships/hyperlink" Target="https://ourworldindata.org/"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47.bin"/><Relationship Id="rId7" Type="http://schemas.openxmlformats.org/officeDocument/2006/relationships/hyperlink" Target="https://business.columbia.edu/faculty/people/gernot-wagner" TargetMode="External"/><Relationship Id="rId12"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20.xml"/><Relationship Id="rId6" Type="http://schemas.openxmlformats.org/officeDocument/2006/relationships/hyperlink" Target="https://doi.org/10.1016/j.rser.2024.115185" TargetMode="External"/><Relationship Id="rId11" Type="http://schemas.openxmlformats.org/officeDocument/2006/relationships/image" Target="../media/image78.png"/><Relationship Id="rId5" Type="http://schemas.openxmlformats.org/officeDocument/2006/relationships/hyperlink" Target="https://atb.nrel.gov/electricity/2024/geothermal" TargetMode="External"/><Relationship Id="rId10" Type="http://schemas.openxmlformats.org/officeDocument/2006/relationships/image" Target="../media/image77.svg"/><Relationship Id="rId4" Type="http://schemas.openxmlformats.org/officeDocument/2006/relationships/image" Target="../media/image75.emf"/><Relationship Id="rId9" Type="http://schemas.openxmlformats.org/officeDocument/2006/relationships/image" Target="../media/image76.png"/></Relationships>
</file>

<file path=ppt/slides/_rels/slide26.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84.svg"/><Relationship Id="rId18" Type="http://schemas.openxmlformats.org/officeDocument/2006/relationships/image" Target="../media/image89.png"/><Relationship Id="rId3" Type="http://schemas.openxmlformats.org/officeDocument/2006/relationships/oleObject" Target="../embeddings/oleObject48.bin"/><Relationship Id="rId21" Type="http://schemas.openxmlformats.org/officeDocument/2006/relationships/image" Target="../media/image92.svg"/><Relationship Id="rId7" Type="http://schemas.openxmlformats.org/officeDocument/2006/relationships/hyperlink" Target="https://www.sciencedirect.com/science/article/pii/S0306261919307706?via%3Dihub" TargetMode="External"/><Relationship Id="rId12" Type="http://schemas.openxmlformats.org/officeDocument/2006/relationships/image" Target="../media/image83.png"/><Relationship Id="rId17" Type="http://schemas.openxmlformats.org/officeDocument/2006/relationships/image" Target="../media/image88.svg"/><Relationship Id="rId25" Type="http://schemas.openxmlformats.org/officeDocument/2006/relationships/image" Target="../media/image96.svg"/><Relationship Id="rId2" Type="http://schemas.openxmlformats.org/officeDocument/2006/relationships/slideLayout" Target="../slideLayouts/slideLayout3.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tags" Target="../tags/tag421.xml"/><Relationship Id="rId6" Type="http://schemas.openxmlformats.org/officeDocument/2006/relationships/hyperlink" Target="https://doi.org/10.1016/j.rser.2024.115185" TargetMode="External"/><Relationship Id="rId11" Type="http://schemas.openxmlformats.org/officeDocument/2006/relationships/image" Target="../media/image82.svg"/><Relationship Id="rId24" Type="http://schemas.openxmlformats.org/officeDocument/2006/relationships/image" Target="../media/image95.png"/><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86.svg"/><Relationship Id="rId23" Type="http://schemas.openxmlformats.org/officeDocument/2006/relationships/image" Target="../media/image94.svg"/><Relationship Id="rId10" Type="http://schemas.openxmlformats.org/officeDocument/2006/relationships/image" Target="../media/image81.png"/><Relationship Id="rId19" Type="http://schemas.openxmlformats.org/officeDocument/2006/relationships/image" Target="../media/image90.svg"/><Relationship Id="rId4" Type="http://schemas.openxmlformats.org/officeDocument/2006/relationships/image" Target="../media/image80.emf"/><Relationship Id="rId9" Type="http://schemas.openxmlformats.org/officeDocument/2006/relationships/hyperlink" Target="https://business.columbia.edu/insights/climate/cki" TargetMode="External"/><Relationship Id="rId14" Type="http://schemas.openxmlformats.org/officeDocument/2006/relationships/image" Target="../media/image85.png"/><Relationship Id="rId22" Type="http://schemas.openxmlformats.org/officeDocument/2006/relationships/image" Target="../media/image93.png"/></Relationships>
</file>

<file path=ppt/slides/_rels/slide27.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84.svg"/><Relationship Id="rId18" Type="http://schemas.openxmlformats.org/officeDocument/2006/relationships/image" Target="../media/image85.png"/><Relationship Id="rId26" Type="http://schemas.openxmlformats.org/officeDocument/2006/relationships/image" Target="../media/image95.png"/><Relationship Id="rId3" Type="http://schemas.openxmlformats.org/officeDocument/2006/relationships/oleObject" Target="../embeddings/oleObject49.bin"/><Relationship Id="rId21" Type="http://schemas.openxmlformats.org/officeDocument/2006/relationships/image" Target="../media/image98.svg"/><Relationship Id="rId7" Type="http://schemas.openxmlformats.org/officeDocument/2006/relationships/hyperlink" Target="https://www.sciencedirect.com/science/article/pii/S0306261919307706?via%3Dihub" TargetMode="External"/><Relationship Id="rId12" Type="http://schemas.openxmlformats.org/officeDocument/2006/relationships/image" Target="../media/image83.png"/><Relationship Id="rId17" Type="http://schemas.openxmlformats.org/officeDocument/2006/relationships/image" Target="../media/image90.svg"/><Relationship Id="rId25" Type="http://schemas.openxmlformats.org/officeDocument/2006/relationships/image" Target="../media/image94.svg"/><Relationship Id="rId2" Type="http://schemas.openxmlformats.org/officeDocument/2006/relationships/slideLayout" Target="../slideLayouts/slideLayout3.xml"/><Relationship Id="rId16" Type="http://schemas.openxmlformats.org/officeDocument/2006/relationships/image" Target="../media/image89.png"/><Relationship Id="rId20" Type="http://schemas.openxmlformats.org/officeDocument/2006/relationships/image" Target="../media/image97.png"/><Relationship Id="rId1" Type="http://schemas.openxmlformats.org/officeDocument/2006/relationships/tags" Target="../tags/tag422.xml"/><Relationship Id="rId6" Type="http://schemas.openxmlformats.org/officeDocument/2006/relationships/hyperlink" Target="https://doi.org/10.1016/j.rser.2024.115185" TargetMode="External"/><Relationship Id="rId11" Type="http://schemas.openxmlformats.org/officeDocument/2006/relationships/image" Target="../media/image82.svg"/><Relationship Id="rId24" Type="http://schemas.openxmlformats.org/officeDocument/2006/relationships/image" Target="../media/image93.png"/><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88.svg"/><Relationship Id="rId23" Type="http://schemas.openxmlformats.org/officeDocument/2006/relationships/image" Target="../media/image92.svg"/><Relationship Id="rId10" Type="http://schemas.openxmlformats.org/officeDocument/2006/relationships/image" Target="../media/image81.png"/><Relationship Id="rId19" Type="http://schemas.openxmlformats.org/officeDocument/2006/relationships/image" Target="../media/image86.svg"/><Relationship Id="rId4" Type="http://schemas.openxmlformats.org/officeDocument/2006/relationships/image" Target="../media/image80.emf"/><Relationship Id="rId9" Type="http://schemas.openxmlformats.org/officeDocument/2006/relationships/hyperlink" Target="https://business.columbia.edu/insights/climate/cki" TargetMode="External"/><Relationship Id="rId14" Type="http://schemas.openxmlformats.org/officeDocument/2006/relationships/image" Target="../media/image87.png"/><Relationship Id="rId22" Type="http://schemas.openxmlformats.org/officeDocument/2006/relationships/image" Target="../media/image91.png"/><Relationship Id="rId27" Type="http://schemas.openxmlformats.org/officeDocument/2006/relationships/image" Target="../media/image96.svg"/></Relationships>
</file>

<file path=ppt/slides/_rels/slide28.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84.svg"/><Relationship Id="rId18" Type="http://schemas.openxmlformats.org/officeDocument/2006/relationships/image" Target="../media/image97.png"/><Relationship Id="rId26" Type="http://schemas.openxmlformats.org/officeDocument/2006/relationships/image" Target="../media/image89.png"/><Relationship Id="rId3" Type="http://schemas.openxmlformats.org/officeDocument/2006/relationships/oleObject" Target="../embeddings/oleObject50.bin"/><Relationship Id="rId21" Type="http://schemas.openxmlformats.org/officeDocument/2006/relationships/image" Target="../media/image92.svg"/><Relationship Id="rId7" Type="http://schemas.openxmlformats.org/officeDocument/2006/relationships/hyperlink" Target="https://www.sciencedirect.com/science/article/pii/S0306261919307706?via%3Dihub" TargetMode="External"/><Relationship Id="rId12" Type="http://schemas.openxmlformats.org/officeDocument/2006/relationships/image" Target="../media/image83.png"/><Relationship Id="rId17" Type="http://schemas.openxmlformats.org/officeDocument/2006/relationships/image" Target="../media/image86.svg"/><Relationship Id="rId25" Type="http://schemas.openxmlformats.org/officeDocument/2006/relationships/image" Target="../media/image96.svg"/><Relationship Id="rId2" Type="http://schemas.openxmlformats.org/officeDocument/2006/relationships/slideLayout" Target="../slideLayouts/slideLayout3.xml"/><Relationship Id="rId16" Type="http://schemas.openxmlformats.org/officeDocument/2006/relationships/image" Target="../media/image85.png"/><Relationship Id="rId20" Type="http://schemas.openxmlformats.org/officeDocument/2006/relationships/image" Target="../media/image91.png"/><Relationship Id="rId1" Type="http://schemas.openxmlformats.org/officeDocument/2006/relationships/tags" Target="../tags/tag423.xml"/><Relationship Id="rId6" Type="http://schemas.openxmlformats.org/officeDocument/2006/relationships/hyperlink" Target="https://doi.org/10.1016/j.rser.2024.115185" TargetMode="External"/><Relationship Id="rId11" Type="http://schemas.openxmlformats.org/officeDocument/2006/relationships/image" Target="../media/image82.svg"/><Relationship Id="rId24" Type="http://schemas.openxmlformats.org/officeDocument/2006/relationships/image" Target="../media/image95.png"/><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88.svg"/><Relationship Id="rId23" Type="http://schemas.openxmlformats.org/officeDocument/2006/relationships/image" Target="../media/image94.svg"/><Relationship Id="rId10" Type="http://schemas.openxmlformats.org/officeDocument/2006/relationships/image" Target="../media/image81.png"/><Relationship Id="rId19" Type="http://schemas.openxmlformats.org/officeDocument/2006/relationships/image" Target="../media/image98.svg"/><Relationship Id="rId4" Type="http://schemas.openxmlformats.org/officeDocument/2006/relationships/image" Target="../media/image80.emf"/><Relationship Id="rId9" Type="http://schemas.openxmlformats.org/officeDocument/2006/relationships/hyperlink" Target="https://business.columbia.edu/insights/climate/cki" TargetMode="External"/><Relationship Id="rId14" Type="http://schemas.openxmlformats.org/officeDocument/2006/relationships/image" Target="../media/image87.png"/><Relationship Id="rId22" Type="http://schemas.openxmlformats.org/officeDocument/2006/relationships/image" Target="../media/image93.png"/><Relationship Id="rId27" Type="http://schemas.openxmlformats.org/officeDocument/2006/relationships/image" Target="../media/image90.svg"/></Relationships>
</file>

<file path=ppt/slides/_rels/slide29.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image" Target="../media/image99.emf"/><Relationship Id="rId18" Type="http://schemas.openxmlformats.org/officeDocument/2006/relationships/hyperlink" Target="https://business.columbia.edu/insights/climate/cki" TargetMode="External"/><Relationship Id="rId26" Type="http://schemas.openxmlformats.org/officeDocument/2006/relationships/image" Target="../media/image106.svg"/><Relationship Id="rId3" Type="http://schemas.openxmlformats.org/officeDocument/2006/relationships/tags" Target="../tags/tag426.xml"/><Relationship Id="rId21" Type="http://schemas.openxmlformats.org/officeDocument/2006/relationships/image" Target="../media/image101.svg"/><Relationship Id="rId7" Type="http://schemas.openxmlformats.org/officeDocument/2006/relationships/tags" Target="../tags/tag430.xml"/><Relationship Id="rId12" Type="http://schemas.openxmlformats.org/officeDocument/2006/relationships/oleObject" Target="../embeddings/oleObject51.bin"/><Relationship Id="rId17" Type="http://schemas.openxmlformats.org/officeDocument/2006/relationships/hyperlink" Target="https://business.columbia.edu/faculty/people/gernot-wagner" TargetMode="External"/><Relationship Id="rId25" Type="http://schemas.openxmlformats.org/officeDocument/2006/relationships/image" Target="../media/image105.png"/><Relationship Id="rId2" Type="http://schemas.openxmlformats.org/officeDocument/2006/relationships/tags" Target="../tags/tag425.xml"/><Relationship Id="rId16" Type="http://schemas.openxmlformats.org/officeDocument/2006/relationships/hyperlink" Target="https://www.sciencedirect.com/science/article/pii/S0959652620340543" TargetMode="External"/><Relationship Id="rId20" Type="http://schemas.openxmlformats.org/officeDocument/2006/relationships/image" Target="../media/image100.png"/><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slideLayout" Target="../slideLayouts/slideLayout3.xml"/><Relationship Id="rId24" Type="http://schemas.openxmlformats.org/officeDocument/2006/relationships/image" Target="../media/image104.png"/><Relationship Id="rId5" Type="http://schemas.openxmlformats.org/officeDocument/2006/relationships/tags" Target="../tags/tag428.xml"/><Relationship Id="rId15" Type="http://schemas.openxmlformats.org/officeDocument/2006/relationships/hyperlink" Target="https://documents1.worldbank.org/curated/en/305681468168834775/pdf/782300WP0Succe00Box0377330B0PUBLIC0.pdf?utm" TargetMode="External"/><Relationship Id="rId23" Type="http://schemas.openxmlformats.org/officeDocument/2006/relationships/image" Target="../media/image103.svg"/><Relationship Id="rId10" Type="http://schemas.openxmlformats.org/officeDocument/2006/relationships/tags" Target="../tags/tag433.xml"/><Relationship Id="rId19" Type="http://schemas.openxmlformats.org/officeDocument/2006/relationships/chart" Target="../charts/chart21.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hyperlink" Target="https://visualizingenergy.org/power-plant-efficiency-since-1900/" TargetMode="External"/><Relationship Id="rId22" Type="http://schemas.openxmlformats.org/officeDocument/2006/relationships/image" Target="../media/image102.png"/></Relationships>
</file>

<file path=ppt/slides/_rels/slide3.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52.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3.xml"/><Relationship Id="rId1" Type="http://schemas.openxmlformats.org/officeDocument/2006/relationships/tags" Target="../tags/tag434.xml"/><Relationship Id="rId6" Type="http://schemas.openxmlformats.org/officeDocument/2006/relationships/hyperlink" Target="https://publications.mygeoenergynow.org/grc/1034038.pdf?utm" TargetMode="External"/><Relationship Id="rId11" Type="http://schemas.openxmlformats.org/officeDocument/2006/relationships/image" Target="../media/image110.svg"/><Relationship Id="rId5" Type="http://schemas.openxmlformats.org/officeDocument/2006/relationships/hyperlink" Target="https://www.zorluenerji.com.tr/en/our-sustainability-approach/sustainability-reports" TargetMode="External"/><Relationship Id="rId10" Type="http://schemas.openxmlformats.org/officeDocument/2006/relationships/image" Target="../media/image109.png"/><Relationship Id="rId4" Type="http://schemas.openxmlformats.org/officeDocument/2006/relationships/image" Target="../media/image107.emf"/><Relationship Id="rId9" Type="http://schemas.openxmlformats.org/officeDocument/2006/relationships/image" Target="../media/image108.jpeg"/></Relationships>
</file>

<file path=ppt/slides/_rels/slide3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53.bin"/><Relationship Id="rId7" Type="http://schemas.openxmlformats.org/officeDocument/2006/relationships/hyperlink" Target="https://www.mhi.com/news/241028.html" TargetMode="External"/><Relationship Id="rId12" Type="http://schemas.openxmlformats.org/officeDocument/2006/relationships/image" Target="../media/image110.svg"/><Relationship Id="rId2" Type="http://schemas.openxmlformats.org/officeDocument/2006/relationships/slideLayout" Target="../slideLayouts/slideLayout3.xml"/><Relationship Id="rId1" Type="http://schemas.openxmlformats.org/officeDocument/2006/relationships/tags" Target="../tags/tag435.xml"/><Relationship Id="rId6" Type="http://schemas.openxmlformats.org/officeDocument/2006/relationships/hyperlink" Target="https://www.sciencedirect.com/science/article/abs/pii/S0375650518304152" TargetMode="External"/><Relationship Id="rId11" Type="http://schemas.openxmlformats.org/officeDocument/2006/relationships/image" Target="../media/image109.png"/><Relationship Id="rId5" Type="http://schemas.openxmlformats.org/officeDocument/2006/relationships/hyperlink" Target="https://www.starenergygeothermal.co.id/darajat/" TargetMode="External"/><Relationship Id="rId10" Type="http://schemas.openxmlformats.org/officeDocument/2006/relationships/image" Target="../media/image112.jpeg"/><Relationship Id="rId4" Type="http://schemas.openxmlformats.org/officeDocument/2006/relationships/image" Target="../media/image111.emf"/><Relationship Id="rId9" Type="http://schemas.openxmlformats.org/officeDocument/2006/relationships/hyperlink" Target="https://business.columbia.edu/insights/climate/cki"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54.bin"/><Relationship Id="rId7" Type="http://schemas.openxmlformats.org/officeDocument/2006/relationships/hyperlink" Target="https://business.columbia.edu/faculty/people/gernot-wagner" TargetMode="External"/><Relationship Id="rId12"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36.xml"/><Relationship Id="rId6" Type="http://schemas.openxmlformats.org/officeDocument/2006/relationships/hyperlink" Target="https://cdn.catf.us/wp-content/uploads/2022/10/21171446/superhot-rock-energy-report.pdf" TargetMode="External"/><Relationship Id="rId11" Type="http://schemas.openxmlformats.org/officeDocument/2006/relationships/image" Target="../media/image78.png"/><Relationship Id="rId5" Type="http://schemas.openxmlformats.org/officeDocument/2006/relationships/hyperlink" Target="https://www.iea.org/reports/the-future-of-geothermal-energy" TargetMode="External"/><Relationship Id="rId10" Type="http://schemas.openxmlformats.org/officeDocument/2006/relationships/image" Target="../media/image77.svg"/><Relationship Id="rId4" Type="http://schemas.openxmlformats.org/officeDocument/2006/relationships/image" Target="../media/image113.emf"/><Relationship Id="rId9" Type="http://schemas.openxmlformats.org/officeDocument/2006/relationships/image" Target="../media/image76.png"/></Relationships>
</file>

<file path=ppt/slides/_rels/slide33.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82.svg"/><Relationship Id="rId18" Type="http://schemas.openxmlformats.org/officeDocument/2006/relationships/image" Target="../media/image85.png"/><Relationship Id="rId26" Type="http://schemas.openxmlformats.org/officeDocument/2006/relationships/image" Target="../media/image89.png"/><Relationship Id="rId3" Type="http://schemas.openxmlformats.org/officeDocument/2006/relationships/oleObject" Target="../embeddings/oleObject55.bin"/><Relationship Id="rId21" Type="http://schemas.openxmlformats.org/officeDocument/2006/relationships/image" Target="../media/image98.svg"/><Relationship Id="rId7" Type="http://schemas.openxmlformats.org/officeDocument/2006/relationships/hyperlink" Target="https://www.thinkgeoenergy.com/geothermal/advanced-geothermal-technologies/" TargetMode="External"/><Relationship Id="rId12" Type="http://schemas.openxmlformats.org/officeDocument/2006/relationships/image" Target="../media/image81.png"/><Relationship Id="rId17" Type="http://schemas.openxmlformats.org/officeDocument/2006/relationships/image" Target="../media/image88.svg"/><Relationship Id="rId25" Type="http://schemas.openxmlformats.org/officeDocument/2006/relationships/image" Target="../media/image115.svg"/><Relationship Id="rId2" Type="http://schemas.openxmlformats.org/officeDocument/2006/relationships/slideLayout" Target="../slideLayouts/slideLayout3.xml"/><Relationship Id="rId16" Type="http://schemas.openxmlformats.org/officeDocument/2006/relationships/image" Target="../media/image87.png"/><Relationship Id="rId20" Type="http://schemas.openxmlformats.org/officeDocument/2006/relationships/image" Target="../media/image97.png"/><Relationship Id="rId29" Type="http://schemas.openxmlformats.org/officeDocument/2006/relationships/image" Target="../media/image92.svg"/><Relationship Id="rId1" Type="http://schemas.openxmlformats.org/officeDocument/2006/relationships/tags" Target="../tags/tag437.xml"/><Relationship Id="rId6" Type="http://schemas.openxmlformats.org/officeDocument/2006/relationships/hyperlink" Target="https://geothermal-energy-journal.springeropen.com/articles/10.1186/2195-9706-1-4" TargetMode="External"/><Relationship Id="rId11" Type="http://schemas.openxmlformats.org/officeDocument/2006/relationships/image" Target="../media/image94.svg"/><Relationship Id="rId24" Type="http://schemas.openxmlformats.org/officeDocument/2006/relationships/image" Target="../media/image114.png"/><Relationship Id="rId5" Type="http://schemas.openxmlformats.org/officeDocument/2006/relationships/hyperlink" Target="https://www.iea.org/reports/the-future-of-geothermal-energy" TargetMode="External"/><Relationship Id="rId15" Type="http://schemas.openxmlformats.org/officeDocument/2006/relationships/image" Target="../media/image84.svg"/><Relationship Id="rId23" Type="http://schemas.openxmlformats.org/officeDocument/2006/relationships/image" Target="../media/image96.svg"/><Relationship Id="rId28" Type="http://schemas.openxmlformats.org/officeDocument/2006/relationships/image" Target="../media/image91.png"/><Relationship Id="rId10" Type="http://schemas.openxmlformats.org/officeDocument/2006/relationships/image" Target="../media/image93.png"/><Relationship Id="rId19" Type="http://schemas.openxmlformats.org/officeDocument/2006/relationships/image" Target="../media/image86.svg"/><Relationship Id="rId4" Type="http://schemas.openxmlformats.org/officeDocument/2006/relationships/image" Target="../media/image80.emf"/><Relationship Id="rId9" Type="http://schemas.openxmlformats.org/officeDocument/2006/relationships/hyperlink" Target="https://business.columbia.edu/insights/climate/cki" TargetMode="External"/><Relationship Id="rId14" Type="http://schemas.openxmlformats.org/officeDocument/2006/relationships/image" Target="../media/image83.png"/><Relationship Id="rId22" Type="http://schemas.openxmlformats.org/officeDocument/2006/relationships/image" Target="../media/image95.png"/><Relationship Id="rId27" Type="http://schemas.openxmlformats.org/officeDocument/2006/relationships/image" Target="../media/image90.svg"/></Relationships>
</file>

<file path=ppt/slides/_rels/slide34.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image" Target="../media/image80.emf"/><Relationship Id="rId3" Type="http://schemas.openxmlformats.org/officeDocument/2006/relationships/tags" Target="../tags/tag440.xml"/><Relationship Id="rId21" Type="http://schemas.openxmlformats.org/officeDocument/2006/relationships/chart" Target="../charts/chart22.xml"/><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oleObject" Target="../embeddings/oleObject56.bin"/><Relationship Id="rId2" Type="http://schemas.openxmlformats.org/officeDocument/2006/relationships/tags" Target="../tags/tag439.xml"/><Relationship Id="rId16" Type="http://schemas.openxmlformats.org/officeDocument/2006/relationships/slideLayout" Target="../slideLayouts/slideLayout3.xml"/><Relationship Id="rId20" Type="http://schemas.openxmlformats.org/officeDocument/2006/relationships/hyperlink" Target="https://business.columbia.edu/insights/climate/cki" TargetMode="External"/><Relationship Id="rId1" Type="http://schemas.openxmlformats.org/officeDocument/2006/relationships/tags" Target="../tags/tag438.xml"/><Relationship Id="rId6" Type="http://schemas.openxmlformats.org/officeDocument/2006/relationships/tags" Target="../tags/tag443.xml"/><Relationship Id="rId11" Type="http://schemas.openxmlformats.org/officeDocument/2006/relationships/tags" Target="../tags/tag448.xml"/><Relationship Id="rId5" Type="http://schemas.openxmlformats.org/officeDocument/2006/relationships/tags" Target="../tags/tag442.xml"/><Relationship Id="rId15" Type="http://schemas.openxmlformats.org/officeDocument/2006/relationships/tags" Target="../tags/tag452.xml"/><Relationship Id="rId10" Type="http://schemas.openxmlformats.org/officeDocument/2006/relationships/tags" Target="../tags/tag447.xml"/><Relationship Id="rId19" Type="http://schemas.openxmlformats.org/officeDocument/2006/relationships/hyperlink" Target="https://business.columbia.edu/faculty/people/gernot-wagner" TargetMode="Externa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s>
</file>

<file path=ppt/slides/_rels/slide35.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87.png"/><Relationship Id="rId18" Type="http://schemas.openxmlformats.org/officeDocument/2006/relationships/image" Target="../media/image98.svg"/><Relationship Id="rId26" Type="http://schemas.openxmlformats.org/officeDocument/2006/relationships/image" Target="../media/image92.svg"/><Relationship Id="rId3" Type="http://schemas.openxmlformats.org/officeDocument/2006/relationships/oleObject" Target="../embeddings/oleObject57.bin"/><Relationship Id="rId21" Type="http://schemas.openxmlformats.org/officeDocument/2006/relationships/image" Target="../media/image89.png"/><Relationship Id="rId7" Type="http://schemas.openxmlformats.org/officeDocument/2006/relationships/hyperlink" Target="https://business.columbia.edu/faculty/people/gernot-wagner" TargetMode="External"/><Relationship Id="rId12" Type="http://schemas.openxmlformats.org/officeDocument/2006/relationships/image" Target="../media/image84.svg"/><Relationship Id="rId17" Type="http://schemas.openxmlformats.org/officeDocument/2006/relationships/image" Target="../media/image97.png"/><Relationship Id="rId25" Type="http://schemas.openxmlformats.org/officeDocument/2006/relationships/image" Target="../media/image91.png"/><Relationship Id="rId2" Type="http://schemas.openxmlformats.org/officeDocument/2006/relationships/slideLayout" Target="../slideLayouts/slideLayout3.xml"/><Relationship Id="rId16" Type="http://schemas.openxmlformats.org/officeDocument/2006/relationships/image" Target="../media/image86.svg"/><Relationship Id="rId20" Type="http://schemas.openxmlformats.org/officeDocument/2006/relationships/image" Target="../media/image96.svg"/><Relationship Id="rId1" Type="http://schemas.openxmlformats.org/officeDocument/2006/relationships/tags" Target="../tags/tag453.xml"/><Relationship Id="rId6" Type="http://schemas.openxmlformats.org/officeDocument/2006/relationships/hyperlink" Target="https://www.thinkgeoenergy.com/geothermal/advanced-geothermal-technologies/" TargetMode="External"/><Relationship Id="rId11" Type="http://schemas.openxmlformats.org/officeDocument/2006/relationships/image" Target="../media/image83.png"/><Relationship Id="rId24" Type="http://schemas.openxmlformats.org/officeDocument/2006/relationships/image" Target="../media/image115.svg"/><Relationship Id="rId5" Type="http://schemas.openxmlformats.org/officeDocument/2006/relationships/hyperlink" Target="https://www.iea.org/reports/the-future-of-geothermal-energy" TargetMode="External"/><Relationship Id="rId15" Type="http://schemas.openxmlformats.org/officeDocument/2006/relationships/image" Target="../media/image85.png"/><Relationship Id="rId23" Type="http://schemas.openxmlformats.org/officeDocument/2006/relationships/image" Target="../media/image114.png"/><Relationship Id="rId28" Type="http://schemas.openxmlformats.org/officeDocument/2006/relationships/image" Target="../media/image94.svg"/><Relationship Id="rId10" Type="http://schemas.openxmlformats.org/officeDocument/2006/relationships/image" Target="../media/image82.svg"/><Relationship Id="rId19" Type="http://schemas.openxmlformats.org/officeDocument/2006/relationships/image" Target="../media/image95.png"/><Relationship Id="rId4" Type="http://schemas.openxmlformats.org/officeDocument/2006/relationships/image" Target="../media/image80.emf"/><Relationship Id="rId9" Type="http://schemas.openxmlformats.org/officeDocument/2006/relationships/image" Target="../media/image81.png"/><Relationship Id="rId14" Type="http://schemas.openxmlformats.org/officeDocument/2006/relationships/image" Target="../media/image88.svg"/><Relationship Id="rId22" Type="http://schemas.openxmlformats.org/officeDocument/2006/relationships/image" Target="../media/image90.svg"/><Relationship Id="rId27"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c3newsmag.com/xgs-and-meta-announce-150-mw-geothermal-power-deal-in-new-mexico/" TargetMode="External"/><Relationship Id="rId13" Type="http://schemas.openxmlformats.org/officeDocument/2006/relationships/hyperlink" Target="https://business.columbia.edu/faculty/people/gernot-wagner" TargetMode="External"/><Relationship Id="rId3" Type="http://schemas.openxmlformats.org/officeDocument/2006/relationships/oleObject" Target="../embeddings/oleObject58.bin"/><Relationship Id="rId7" Type="http://schemas.openxmlformats.org/officeDocument/2006/relationships/hyperlink" Target="https://mazamaenergy.com/" TargetMode="External"/><Relationship Id="rId12" Type="http://schemas.openxmlformats.org/officeDocument/2006/relationships/hyperlink" Target="https://pangea.stanford.edu/ERE/pdf/IGAstandard/SGW/2018/Mouchot.pdf" TargetMode="External"/><Relationship Id="rId2" Type="http://schemas.openxmlformats.org/officeDocument/2006/relationships/slideLayout" Target="../slideLayouts/slideLayout3.xml"/><Relationship Id="rId1" Type="http://schemas.openxmlformats.org/officeDocument/2006/relationships/tags" Target="../tags/tag454.xml"/><Relationship Id="rId6" Type="http://schemas.openxmlformats.org/officeDocument/2006/relationships/hyperlink" Target="https://sonomacleanpower.org/uploads/documents/Enhanced-Geothermal-Systems-Flyer.pdf?utm" TargetMode="External"/><Relationship Id="rId11" Type="http://schemas.openxmlformats.org/officeDocument/2006/relationships/hyperlink" Target="https://pangea.stanford.edu/ERE/db/GeoConf/papers/SGW/2025/Olver.pdf?utm" TargetMode="External"/><Relationship Id="rId5" Type="http://schemas.openxmlformats.org/officeDocument/2006/relationships/hyperlink" Target="https://www.energy.gov/eere/geothermal/enhanced-geothermal-systems-egs-pilot-demonstrations" TargetMode="External"/><Relationship Id="rId10" Type="http://schemas.openxmlformats.org/officeDocument/2006/relationships/hyperlink" Target="https://eavor.de/en/projekt-geretsried/" TargetMode="External"/><Relationship Id="rId4" Type="http://schemas.openxmlformats.org/officeDocument/2006/relationships/image" Target="../media/image80.emf"/><Relationship Id="rId9" Type="http://schemas.openxmlformats.org/officeDocument/2006/relationships/hyperlink" Target="https://fervoenergy.com/fervo-secures-new-financing-to-accelerate-development/" TargetMode="External"/><Relationship Id="rId14" Type="http://schemas.openxmlformats.org/officeDocument/2006/relationships/hyperlink" Target="https://business.columbia.edu/insights/climate/cki" TargetMode="External"/></Relationships>
</file>

<file path=ppt/slides/_rels/slide37.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tags" Target="../tags/tag467.xml"/><Relationship Id="rId18" Type="http://schemas.openxmlformats.org/officeDocument/2006/relationships/tags" Target="../tags/tag472.xml"/><Relationship Id="rId26" Type="http://schemas.openxmlformats.org/officeDocument/2006/relationships/image" Target="../media/image89.png"/><Relationship Id="rId3" Type="http://schemas.openxmlformats.org/officeDocument/2006/relationships/tags" Target="../tags/tag457.xml"/><Relationship Id="rId21" Type="http://schemas.openxmlformats.org/officeDocument/2006/relationships/image" Target="../media/image80.emf"/><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tags" Target="../tags/tag471.xml"/><Relationship Id="rId25" Type="http://schemas.openxmlformats.org/officeDocument/2006/relationships/hyperlink" Target="https://business.columbia.edu/insights/climate/cki" TargetMode="External"/><Relationship Id="rId2" Type="http://schemas.openxmlformats.org/officeDocument/2006/relationships/tags" Target="../tags/tag456.xml"/><Relationship Id="rId16" Type="http://schemas.openxmlformats.org/officeDocument/2006/relationships/tags" Target="../tags/tag470.xml"/><Relationship Id="rId20" Type="http://schemas.openxmlformats.org/officeDocument/2006/relationships/oleObject" Target="../embeddings/oleObject59.bin"/><Relationship Id="rId1" Type="http://schemas.openxmlformats.org/officeDocument/2006/relationships/tags" Target="../tags/tag455.xml"/><Relationship Id="rId6" Type="http://schemas.openxmlformats.org/officeDocument/2006/relationships/tags" Target="../tags/tag460.xml"/><Relationship Id="rId11" Type="http://schemas.openxmlformats.org/officeDocument/2006/relationships/tags" Target="../tags/tag465.xml"/><Relationship Id="rId24" Type="http://schemas.openxmlformats.org/officeDocument/2006/relationships/hyperlink" Target="https://business.columbia.edu/faculty/people/gernot-wagner" TargetMode="External"/><Relationship Id="rId5" Type="http://schemas.openxmlformats.org/officeDocument/2006/relationships/tags" Target="../tags/tag459.xml"/><Relationship Id="rId15" Type="http://schemas.openxmlformats.org/officeDocument/2006/relationships/tags" Target="../tags/tag469.xml"/><Relationship Id="rId23" Type="http://schemas.openxmlformats.org/officeDocument/2006/relationships/hyperlink" Target="https://www.thinkgeoenergy.com/geothermal/advanced-geothermal-technologies/" TargetMode="External"/><Relationship Id="rId28" Type="http://schemas.openxmlformats.org/officeDocument/2006/relationships/chart" Target="../charts/chart23.xml"/><Relationship Id="rId10" Type="http://schemas.openxmlformats.org/officeDocument/2006/relationships/tags" Target="../tags/tag464.xml"/><Relationship Id="rId19" Type="http://schemas.openxmlformats.org/officeDocument/2006/relationships/slideLayout" Target="../slideLayouts/slideLayout3.xml"/><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tags" Target="../tags/tag468.xml"/><Relationship Id="rId22" Type="http://schemas.openxmlformats.org/officeDocument/2006/relationships/hyperlink" Target="https://www.iea.org/reports/the-future-of-geothermal-energy" TargetMode="External"/><Relationship Id="rId27" Type="http://schemas.openxmlformats.org/officeDocument/2006/relationships/image" Target="../media/image90.svg"/></Relationships>
</file>

<file path=ppt/slides/_rels/slide3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60.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3.xml"/><Relationship Id="rId1" Type="http://schemas.openxmlformats.org/officeDocument/2006/relationships/tags" Target="../tags/tag473.xml"/><Relationship Id="rId6" Type="http://schemas.openxmlformats.org/officeDocument/2006/relationships/hyperlink" Target="https://www.researchgate.net/publication/390853194_Corrosion_Damage_of_Injection_String_from_the_Deep_Geothermal_Well_IDDP-2_in_Reykjanes_Iceland" TargetMode="External"/><Relationship Id="rId11" Type="http://schemas.openxmlformats.org/officeDocument/2006/relationships/image" Target="../media/image118.jpeg"/><Relationship Id="rId5" Type="http://schemas.openxmlformats.org/officeDocument/2006/relationships/hyperlink" Target="https://www.worldgeothermal.org/pdf/IGAstandard/WGC/2020/37000.pdf" TargetMode="External"/><Relationship Id="rId10" Type="http://schemas.openxmlformats.org/officeDocument/2006/relationships/image" Target="../media/image117.svg"/><Relationship Id="rId4" Type="http://schemas.openxmlformats.org/officeDocument/2006/relationships/image" Target="../media/image107.emf"/><Relationship Id="rId9" Type="http://schemas.openxmlformats.org/officeDocument/2006/relationships/image" Target="../media/image116.png"/></Relationships>
</file>

<file path=ppt/slides/_rels/slide39.xml.rels><?xml version="1.0" encoding="UTF-8" standalone="yes"?>
<Relationships xmlns="http://schemas.openxmlformats.org/package/2006/relationships"><Relationship Id="rId8" Type="http://schemas.openxmlformats.org/officeDocument/2006/relationships/hyperlink" Target="https://www.sagegeosystems.com/" TargetMode="External"/><Relationship Id="rId3" Type="http://schemas.openxmlformats.org/officeDocument/2006/relationships/oleObject" Target="../embeddings/oleObject61.bin"/><Relationship Id="rId7" Type="http://schemas.openxmlformats.org/officeDocument/2006/relationships/hyperlink" Target="https://quidnetenergy.com/technology/" TargetMode="External"/><Relationship Id="rId2" Type="http://schemas.openxmlformats.org/officeDocument/2006/relationships/slideLayout" Target="../slideLayouts/slideLayout3.xml"/><Relationship Id="rId1" Type="http://schemas.openxmlformats.org/officeDocument/2006/relationships/tags" Target="../tags/tag474.xml"/><Relationship Id="rId6" Type="http://schemas.openxmlformats.org/officeDocument/2006/relationships/hyperlink" Target="https://www.earthbridgeenergy.com/" TargetMode="External"/><Relationship Id="rId5" Type="http://schemas.openxmlformats.org/officeDocument/2006/relationships/hyperlink" Target="https://www.sciencedirect.com/science/article/pii/S1364032125004344"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119.emf"/><Relationship Id="rId9" Type="http://schemas.openxmlformats.org/officeDocument/2006/relationships/hyperlink" Target="https://business.columbia.edu/faculty/people/gernot-wagner"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27.bin"/><Relationship Id="rId7" Type="http://schemas.openxmlformats.org/officeDocument/2006/relationships/hyperlink" Target="https://www.iea.org/reports/the-future-of-geothermal-energy" TargetMode="External"/><Relationship Id="rId2" Type="http://schemas.openxmlformats.org/officeDocument/2006/relationships/slideLayout" Target="../slideLayouts/slideLayout12.xml"/><Relationship Id="rId1" Type="http://schemas.openxmlformats.org/officeDocument/2006/relationships/tags" Target="../tags/tag30.xml"/><Relationship Id="rId6" Type="http://schemas.openxmlformats.org/officeDocument/2006/relationships/hyperlink" Target="https://igshpa.org/wp-content/uploads/LIFTOFF_DOE_Geothermal_HC.pdf" TargetMode="External"/><Relationship Id="rId5" Type="http://schemas.openxmlformats.org/officeDocument/2006/relationships/hyperlink" Target="https://link.springer.com/chapter/10.1007/978-1-4471-4273-7_2" TargetMode="External"/><Relationship Id="rId4" Type="http://schemas.openxmlformats.org/officeDocument/2006/relationships/image" Target="../media/image19.emf"/><Relationship Id="rId9" Type="http://schemas.openxmlformats.org/officeDocument/2006/relationships/hyperlink" Target="https://business.columbia.edu/insights/climate/cki" TargetMode="External"/></Relationships>
</file>

<file path=ppt/slides/_rels/slide40.xml.rels><?xml version="1.0" encoding="UTF-8" standalone="yes"?>
<Relationships xmlns="http://schemas.openxmlformats.org/package/2006/relationships"><Relationship Id="rId8" Type="http://schemas.openxmlformats.org/officeDocument/2006/relationships/hyperlink" Target="https://www.forbes.com/sites/ianpalmer/2025/07/26/sage-geosystems-next-gen-geothermal-source-driven-by-earths-pressure/" TargetMode="External"/><Relationship Id="rId3" Type="http://schemas.openxmlformats.org/officeDocument/2006/relationships/oleObject" Target="../embeddings/oleObject62.bin"/><Relationship Id="rId7" Type="http://schemas.openxmlformats.org/officeDocument/2006/relationships/hyperlink" Target="https://www.canarymedia.com/articles/geothermal/sage-geosystems-raises-17m-for-geothermal-energy-storage" TargetMode="External"/><Relationship Id="rId12" Type="http://schemas.openxmlformats.org/officeDocument/2006/relationships/image" Target="../media/image121.jpeg"/><Relationship Id="rId2" Type="http://schemas.openxmlformats.org/officeDocument/2006/relationships/slideLayout" Target="../slideLayouts/slideLayout3.xml"/><Relationship Id="rId1" Type="http://schemas.openxmlformats.org/officeDocument/2006/relationships/tags" Target="../tags/tag475.xml"/><Relationship Id="rId6" Type="http://schemas.openxmlformats.org/officeDocument/2006/relationships/hyperlink" Target="https://www.prnewswire.com/news-releases/sage-geosystems-landmark-full-scale-commercial-pilot-301923885.html"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www.sagegeosystems.com/technology" TargetMode="External"/><Relationship Id="rId10" Type="http://schemas.openxmlformats.org/officeDocument/2006/relationships/hyperlink" Target="https://business.columbia.edu/faculty/people/gernot-wagner" TargetMode="External"/><Relationship Id="rId4" Type="http://schemas.openxmlformats.org/officeDocument/2006/relationships/image" Target="../media/image120.emf"/><Relationship Id="rId9" Type="http://schemas.openxmlformats.org/officeDocument/2006/relationships/hyperlink" Target="https://www.powermag.com/sages-first-3-mw-geothermal-power-and-energy-storage-project-will-feed-ercot/"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jpeg"/><Relationship Id="rId3" Type="http://schemas.openxmlformats.org/officeDocument/2006/relationships/oleObject" Target="../embeddings/oleObject63.bin"/><Relationship Id="rId7" Type="http://schemas.openxmlformats.org/officeDocument/2006/relationships/hyperlink" Target="https://business.columbia.edu/insights/climate/cki" TargetMode="External"/><Relationship Id="rId12" Type="http://schemas.openxmlformats.org/officeDocument/2006/relationships/image" Target="../media/image127.png"/><Relationship Id="rId2" Type="http://schemas.openxmlformats.org/officeDocument/2006/relationships/slideLayout" Target="../slideLayouts/slideLayout8.xml"/><Relationship Id="rId16" Type="http://schemas.openxmlformats.org/officeDocument/2006/relationships/image" Target="../media/image131.png"/><Relationship Id="rId1" Type="http://schemas.openxmlformats.org/officeDocument/2006/relationships/tags" Target="../tags/tag476.xml"/><Relationship Id="rId6" Type="http://schemas.openxmlformats.org/officeDocument/2006/relationships/hyperlink" Target="https://business.columbia.edu/faculty/people/gernot-wagner" TargetMode="External"/><Relationship Id="rId11" Type="http://schemas.openxmlformats.org/officeDocument/2006/relationships/image" Target="../media/image126.png"/><Relationship Id="rId5" Type="http://schemas.openxmlformats.org/officeDocument/2006/relationships/hyperlink" Target="https://cdn.catf.us/wp-content/uploads/2022/10/21171446/superhot-rock-energy-report.pdf" TargetMode="External"/><Relationship Id="rId15" Type="http://schemas.openxmlformats.org/officeDocument/2006/relationships/image" Target="../media/image130.png"/><Relationship Id="rId10" Type="http://schemas.openxmlformats.org/officeDocument/2006/relationships/image" Target="../media/image125.png"/><Relationship Id="rId4" Type="http://schemas.openxmlformats.org/officeDocument/2006/relationships/image" Target="../media/image122.emf"/><Relationship Id="rId9" Type="http://schemas.openxmlformats.org/officeDocument/2006/relationships/image" Target="../media/image124.png"/><Relationship Id="rId14" Type="http://schemas.openxmlformats.org/officeDocument/2006/relationships/image" Target="../media/image129.png"/></Relationships>
</file>

<file path=ppt/slides/_rels/slide42.xml.rels><?xml version="1.0" encoding="UTF-8" standalone="yes"?>
<Relationships xmlns="http://schemas.openxmlformats.org/package/2006/relationships"><Relationship Id="rId13" Type="http://schemas.openxmlformats.org/officeDocument/2006/relationships/tags" Target="../tags/tag489.xml"/><Relationship Id="rId18" Type="http://schemas.openxmlformats.org/officeDocument/2006/relationships/tags" Target="../tags/tag494.xml"/><Relationship Id="rId26" Type="http://schemas.openxmlformats.org/officeDocument/2006/relationships/hyperlink" Target="https://www.iea.org/reports/the-future-of-geothermal-energy" TargetMode="External"/><Relationship Id="rId21" Type="http://schemas.openxmlformats.org/officeDocument/2006/relationships/tags" Target="../tags/tag497.xml"/><Relationship Id="rId34" Type="http://schemas.openxmlformats.org/officeDocument/2006/relationships/image" Target="../media/image133.jpeg"/><Relationship Id="rId7" Type="http://schemas.openxmlformats.org/officeDocument/2006/relationships/tags" Target="../tags/tag483.xml"/><Relationship Id="rId12" Type="http://schemas.openxmlformats.org/officeDocument/2006/relationships/tags" Target="../tags/tag488.xml"/><Relationship Id="rId17" Type="http://schemas.openxmlformats.org/officeDocument/2006/relationships/tags" Target="../tags/tag493.xml"/><Relationship Id="rId25" Type="http://schemas.openxmlformats.org/officeDocument/2006/relationships/image" Target="../media/image132.emf"/><Relationship Id="rId33" Type="http://schemas.openxmlformats.org/officeDocument/2006/relationships/hyperlink" Target="https://business.columbia.edu/insights/climate/cki" TargetMode="External"/><Relationship Id="rId38" Type="http://schemas.openxmlformats.org/officeDocument/2006/relationships/chart" Target="../charts/chart24.xml"/><Relationship Id="rId2" Type="http://schemas.openxmlformats.org/officeDocument/2006/relationships/tags" Target="../tags/tag478.xml"/><Relationship Id="rId16" Type="http://schemas.openxmlformats.org/officeDocument/2006/relationships/tags" Target="../tags/tag492.xml"/><Relationship Id="rId20" Type="http://schemas.openxmlformats.org/officeDocument/2006/relationships/tags" Target="../tags/tag496.xml"/><Relationship Id="rId29" Type="http://schemas.openxmlformats.org/officeDocument/2006/relationships/hyperlink" Target="https://www.nrel.gov/news/detail/program/2020/new-high-rate-drilling-system-could-revolutionize-high-temperature-power-electronics-for-geothermal-industry-and-beyond" TargetMode="Externa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tags" Target="../tags/tag487.xml"/><Relationship Id="rId24" Type="http://schemas.openxmlformats.org/officeDocument/2006/relationships/oleObject" Target="../embeddings/oleObject64.bin"/><Relationship Id="rId32" Type="http://schemas.openxmlformats.org/officeDocument/2006/relationships/hyperlink" Target="https://business.columbia.edu/faculty/people/gernot-wagner" TargetMode="External"/><Relationship Id="rId37" Type="http://schemas.openxmlformats.org/officeDocument/2006/relationships/image" Target="../media/image136.jpeg"/><Relationship Id="rId5" Type="http://schemas.openxmlformats.org/officeDocument/2006/relationships/tags" Target="../tags/tag481.xml"/><Relationship Id="rId15" Type="http://schemas.openxmlformats.org/officeDocument/2006/relationships/tags" Target="../tags/tag491.xml"/><Relationship Id="rId23" Type="http://schemas.openxmlformats.org/officeDocument/2006/relationships/slideLayout" Target="../slideLayouts/slideLayout9.xml"/><Relationship Id="rId28" Type="http://schemas.openxmlformats.org/officeDocument/2006/relationships/hyperlink" Target="https://www.azocleantech.com/news.aspx?newsID=35771" TargetMode="External"/><Relationship Id="rId36" Type="http://schemas.openxmlformats.org/officeDocument/2006/relationships/image" Target="../media/image135.png"/><Relationship Id="rId10" Type="http://schemas.openxmlformats.org/officeDocument/2006/relationships/tags" Target="../tags/tag486.xml"/><Relationship Id="rId19" Type="http://schemas.openxmlformats.org/officeDocument/2006/relationships/tags" Target="../tags/tag495.xml"/><Relationship Id="rId31" Type="http://schemas.openxmlformats.org/officeDocument/2006/relationships/hyperlink" Target="https://www.orchyd.eu/project/" TargetMode="External"/><Relationship Id="rId4" Type="http://schemas.openxmlformats.org/officeDocument/2006/relationships/tags" Target="../tags/tag480.xml"/><Relationship Id="rId9" Type="http://schemas.openxmlformats.org/officeDocument/2006/relationships/tags" Target="../tags/tag485.xml"/><Relationship Id="rId14" Type="http://schemas.openxmlformats.org/officeDocument/2006/relationships/tags" Target="../tags/tag490.xml"/><Relationship Id="rId22" Type="http://schemas.openxmlformats.org/officeDocument/2006/relationships/tags" Target="../tags/tag498.xml"/><Relationship Id="rId27" Type="http://schemas.openxmlformats.org/officeDocument/2006/relationships/hyperlink" Target="https://www.irena.org/Publications/2023/Feb/Global-geothermal-market-and-technology-assessment" TargetMode="External"/><Relationship Id="rId30" Type="http://schemas.openxmlformats.org/officeDocument/2006/relationships/hyperlink" Target="https://www.tno.nl/en/sustainable/subsurface/geo-energy/deploi-geothermal-drillling-steel-shot/" TargetMode="External"/><Relationship Id="rId35" Type="http://schemas.openxmlformats.org/officeDocument/2006/relationships/image" Target="../media/image134.jpeg"/><Relationship Id="rId8" Type="http://schemas.openxmlformats.org/officeDocument/2006/relationships/tags" Target="../tags/tag484.xml"/><Relationship Id="rId3" Type="http://schemas.openxmlformats.org/officeDocument/2006/relationships/tags" Target="../tags/tag479.xml"/></Relationships>
</file>

<file path=ppt/slides/_rels/slide43.xml.rels><?xml version="1.0" encoding="UTF-8" standalone="yes"?>
<Relationships xmlns="http://schemas.openxmlformats.org/package/2006/relationships"><Relationship Id="rId8" Type="http://schemas.openxmlformats.org/officeDocument/2006/relationships/tags" Target="../tags/tag506.xml"/><Relationship Id="rId13" Type="http://schemas.openxmlformats.org/officeDocument/2006/relationships/oleObject" Target="../embeddings/oleObject65.bin"/><Relationship Id="rId18" Type="http://schemas.openxmlformats.org/officeDocument/2006/relationships/image" Target="../media/image141.png"/><Relationship Id="rId3" Type="http://schemas.openxmlformats.org/officeDocument/2006/relationships/tags" Target="../tags/tag501.xml"/><Relationship Id="rId21" Type="http://schemas.openxmlformats.org/officeDocument/2006/relationships/hyperlink" Target="https://cdn.catf.us/wp-content/uploads/2022/10/21171446/superhot-rock-energy-report.pdf" TargetMode="External"/><Relationship Id="rId7" Type="http://schemas.openxmlformats.org/officeDocument/2006/relationships/tags" Target="../tags/tag505.xml"/><Relationship Id="rId12" Type="http://schemas.openxmlformats.org/officeDocument/2006/relationships/slideLayout" Target="../slideLayouts/slideLayout3.xml"/><Relationship Id="rId17" Type="http://schemas.openxmlformats.org/officeDocument/2006/relationships/image" Target="../media/image140.png"/><Relationship Id="rId2" Type="http://schemas.openxmlformats.org/officeDocument/2006/relationships/tags" Target="../tags/tag500.xml"/><Relationship Id="rId16" Type="http://schemas.openxmlformats.org/officeDocument/2006/relationships/image" Target="../media/image139.png"/><Relationship Id="rId20" Type="http://schemas.openxmlformats.org/officeDocument/2006/relationships/image" Target="../media/image143.jpeg"/><Relationship Id="rId1" Type="http://schemas.openxmlformats.org/officeDocument/2006/relationships/tags" Target="../tags/tag499.xml"/><Relationship Id="rId6" Type="http://schemas.openxmlformats.org/officeDocument/2006/relationships/tags" Target="../tags/tag504.xml"/><Relationship Id="rId11" Type="http://schemas.openxmlformats.org/officeDocument/2006/relationships/tags" Target="../tags/tag509.xml"/><Relationship Id="rId24" Type="http://schemas.openxmlformats.org/officeDocument/2006/relationships/hyperlink" Target="https://business.columbia.edu/insights/climate/cki" TargetMode="External"/><Relationship Id="rId5" Type="http://schemas.openxmlformats.org/officeDocument/2006/relationships/tags" Target="../tags/tag503.xml"/><Relationship Id="rId15" Type="http://schemas.openxmlformats.org/officeDocument/2006/relationships/image" Target="../media/image138.jpeg"/><Relationship Id="rId23" Type="http://schemas.openxmlformats.org/officeDocument/2006/relationships/hyperlink" Target="https://business.columbia.edu/faculty/people/gernot-wagner" TargetMode="External"/><Relationship Id="rId10" Type="http://schemas.openxmlformats.org/officeDocument/2006/relationships/tags" Target="../tags/tag508.xml"/><Relationship Id="rId19" Type="http://schemas.openxmlformats.org/officeDocument/2006/relationships/image" Target="../media/image142.png"/><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image" Target="../media/image137.emf"/><Relationship Id="rId22" Type="http://schemas.openxmlformats.org/officeDocument/2006/relationships/hyperlink" Target="https://app.dealroom.co/lists/47149/list"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oleObject" Target="../embeddings/oleObject66.bin"/><Relationship Id="rId7" Type="http://schemas.openxmlformats.org/officeDocument/2006/relationships/hyperlink" Target="https://business.columbia.edu/insights/climate/cki" TargetMode="External"/><Relationship Id="rId12" Type="http://schemas.openxmlformats.org/officeDocument/2006/relationships/image" Target="../media/image149.svg"/><Relationship Id="rId2" Type="http://schemas.openxmlformats.org/officeDocument/2006/relationships/slideLayout" Target="../slideLayouts/slideLayout4.xml"/><Relationship Id="rId1" Type="http://schemas.openxmlformats.org/officeDocument/2006/relationships/tags" Target="../tags/tag510.xml"/><Relationship Id="rId6" Type="http://schemas.openxmlformats.org/officeDocument/2006/relationships/hyperlink" Target="https://business.columbia.edu/faculty/people/gernot-wagner" TargetMode="External"/><Relationship Id="rId11" Type="http://schemas.openxmlformats.org/officeDocument/2006/relationships/image" Target="../media/image148.png"/><Relationship Id="rId5" Type="http://schemas.openxmlformats.org/officeDocument/2006/relationships/hyperlink" Target="https://www.primemoverslab.com/ideas/superhot-rock-geothermal" TargetMode="External"/><Relationship Id="rId10" Type="http://schemas.openxmlformats.org/officeDocument/2006/relationships/image" Target="../media/image147.svg"/><Relationship Id="rId4" Type="http://schemas.openxmlformats.org/officeDocument/2006/relationships/image" Target="../media/image144.emf"/><Relationship Id="rId9" Type="http://schemas.openxmlformats.org/officeDocument/2006/relationships/image" Target="../media/image146.png"/></Relationships>
</file>

<file path=ppt/slides/_rels/slide45.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tags" Target="../tags/tag523.xml"/><Relationship Id="rId18" Type="http://schemas.openxmlformats.org/officeDocument/2006/relationships/tags" Target="../tags/tag528.xml"/><Relationship Id="rId26" Type="http://schemas.openxmlformats.org/officeDocument/2006/relationships/hyperlink" Target="https://cdn.catf.us/wp-content/uploads/2024/05/30140241/bridging-gaps-shr-workshop.pdf?_gl=1*mry10c*_gcl_au*MTcyNTY0ODA1LjE3NTgzOTc1NzQ.*_ga*R0ExLjEuR0ExLjEuR0ExLjEuMTcyNjQ0MzQwNC4xNzU4Mzk3NTc0*_ga_88025VJ2M0*czE3NTk2ODUxNjkkbzMkZzEkdDE3NTk2ODUzMjYkajU4JGwwJGgxMzQ0MDIyNDM2*_fplc*NnBDNmx2ekZ3UVZ6Z0RGaFB4aWdrWUtnanlmS0l1T1dlNGwyMnp6aHBkV2dmS1YlMkJ2TmpwdDlheDJsRzR6Y0dKZHRJNkFTJTJGJTJGQ2xqMTYyZHJRTGJiQWh4bzhXZ0QwNDFNdE5wZlZNMzNkWjNLWGNqWG5FWVBmRkF4MXFZMDZBJTNEJTNE" TargetMode="External"/><Relationship Id="rId3" Type="http://schemas.openxmlformats.org/officeDocument/2006/relationships/tags" Target="../tags/tag513.xml"/><Relationship Id="rId21" Type="http://schemas.openxmlformats.org/officeDocument/2006/relationships/image" Target="../media/image150.emf"/><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tags" Target="../tags/tag527.xml"/><Relationship Id="rId25" Type="http://schemas.openxmlformats.org/officeDocument/2006/relationships/hyperlink" Target="https://spectrum.ieee.org/geothermal-energy-gyrotron-quaise" TargetMode="External"/><Relationship Id="rId2" Type="http://schemas.openxmlformats.org/officeDocument/2006/relationships/tags" Target="../tags/tag512.xml"/><Relationship Id="rId16" Type="http://schemas.openxmlformats.org/officeDocument/2006/relationships/tags" Target="../tags/tag526.xml"/><Relationship Id="rId20" Type="http://schemas.openxmlformats.org/officeDocument/2006/relationships/oleObject" Target="../embeddings/oleObject67.bin"/><Relationship Id="rId29" Type="http://schemas.openxmlformats.org/officeDocument/2006/relationships/chart" Target="../charts/chart25.xml"/><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tags" Target="../tags/tag521.xml"/><Relationship Id="rId24" Type="http://schemas.openxmlformats.org/officeDocument/2006/relationships/hyperlink" Target="https://impact.ornl.gov/en/publications/unlocking-deep-superhot-rock-resources-through-millimeter-wave-dr" TargetMode="External"/><Relationship Id="rId5" Type="http://schemas.openxmlformats.org/officeDocument/2006/relationships/tags" Target="../tags/tag515.xml"/><Relationship Id="rId15" Type="http://schemas.openxmlformats.org/officeDocument/2006/relationships/tags" Target="../tags/tag525.xml"/><Relationship Id="rId23" Type="http://schemas.openxmlformats.org/officeDocument/2006/relationships/hyperlink" Target="https://www.catf.us/superhot-rock/heat-mapping/us/" TargetMode="External"/><Relationship Id="rId28" Type="http://schemas.openxmlformats.org/officeDocument/2006/relationships/hyperlink" Target="https://business.columbia.edu/insights/climate/cki" TargetMode="External"/><Relationship Id="rId10" Type="http://schemas.openxmlformats.org/officeDocument/2006/relationships/tags" Target="../tags/tag520.xml"/><Relationship Id="rId19" Type="http://schemas.openxmlformats.org/officeDocument/2006/relationships/slideLayout" Target="../slideLayouts/slideLayout7.xml"/><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 Id="rId22" Type="http://schemas.openxmlformats.org/officeDocument/2006/relationships/hyperlink" Target="https://www.catf.us/resource/preliminary-techno-economic-model-superhot-rock-energy/" TargetMode="External"/><Relationship Id="rId27" Type="http://schemas.openxmlformats.org/officeDocument/2006/relationships/hyperlink" Target="https://business.columbia.edu/faculty/people/gernot-wagner" TargetMode="External"/><Relationship Id="rId30" Type="http://schemas.openxmlformats.org/officeDocument/2006/relationships/chart" Target="../charts/chart26.xml"/></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152.png"/><Relationship Id="rId18" Type="http://schemas.openxmlformats.org/officeDocument/2006/relationships/image" Target="../media/image157.svg"/><Relationship Id="rId3" Type="http://schemas.openxmlformats.org/officeDocument/2006/relationships/oleObject" Target="../embeddings/oleObject68.bin"/><Relationship Id="rId7" Type="http://schemas.openxmlformats.org/officeDocument/2006/relationships/hyperlink" Target="https://business.columbia.edu/insights/climate/cki" TargetMode="External"/><Relationship Id="rId12" Type="http://schemas.microsoft.com/office/2007/relationships/diagramDrawing" Target="../diagrams/drawing3.xml"/><Relationship Id="rId17" Type="http://schemas.openxmlformats.org/officeDocument/2006/relationships/image" Target="../media/image156.png"/><Relationship Id="rId2" Type="http://schemas.openxmlformats.org/officeDocument/2006/relationships/slideLayout" Target="../slideLayouts/slideLayout3.xml"/><Relationship Id="rId16" Type="http://schemas.openxmlformats.org/officeDocument/2006/relationships/image" Target="../media/image155.svg"/><Relationship Id="rId1" Type="http://schemas.openxmlformats.org/officeDocument/2006/relationships/tags" Target="../tags/tag529.xml"/><Relationship Id="rId6" Type="http://schemas.openxmlformats.org/officeDocument/2006/relationships/hyperlink" Target="https://business.columbia.edu/faculty/people/gernot-wagner" TargetMode="External"/><Relationship Id="rId11" Type="http://schemas.openxmlformats.org/officeDocument/2006/relationships/diagramColors" Target="../diagrams/colors3.xml"/><Relationship Id="rId5" Type="http://schemas.openxmlformats.org/officeDocument/2006/relationships/hyperlink" Target="https://www.osti.gov/servlets/purl/1867408" TargetMode="External"/><Relationship Id="rId15" Type="http://schemas.openxmlformats.org/officeDocument/2006/relationships/image" Target="../media/image154.png"/><Relationship Id="rId10" Type="http://schemas.openxmlformats.org/officeDocument/2006/relationships/diagramQuickStyle" Target="../diagrams/quickStyle3.xml"/><Relationship Id="rId4" Type="http://schemas.openxmlformats.org/officeDocument/2006/relationships/image" Target="../media/image151.emf"/><Relationship Id="rId9" Type="http://schemas.openxmlformats.org/officeDocument/2006/relationships/diagramLayout" Target="../diagrams/layout3.xml"/><Relationship Id="rId14" Type="http://schemas.openxmlformats.org/officeDocument/2006/relationships/image" Target="../media/image153.svg"/></Relationships>
</file>

<file path=ppt/slides/_rels/slide47.xml.rels><?xml version="1.0" encoding="UTF-8" standalone="yes"?>
<Relationships xmlns="http://schemas.openxmlformats.org/package/2006/relationships"><Relationship Id="rId8" Type="http://schemas.openxmlformats.org/officeDocument/2006/relationships/hyperlink" Target="https://iea.blob.core.windows.net/assets/cbe6ad3a-eb3e-463f-8b2a-5d1fa4ce39bf/TheFutureofGeothermal.pdf" TargetMode="External"/><Relationship Id="rId3" Type="http://schemas.openxmlformats.org/officeDocument/2006/relationships/oleObject" Target="../embeddings/oleObject69.bin"/><Relationship Id="rId7" Type="http://schemas.openxmlformats.org/officeDocument/2006/relationships/hyperlink" Target="https://pangea.stanford.edu/ERE/db/GeoConf/papers/SGW/2024/Ekeopara.pdf"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8.xml"/><Relationship Id="rId1" Type="http://schemas.openxmlformats.org/officeDocument/2006/relationships/tags" Target="../tags/tag530.xml"/><Relationship Id="rId6" Type="http://schemas.openxmlformats.org/officeDocument/2006/relationships/hyperlink" Target="https://www.energy.gov/eere/geothermal/geothermal-faqs"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osti.gov/servlets/purl/1867408" TargetMode="External"/><Relationship Id="rId10" Type="http://schemas.openxmlformats.org/officeDocument/2006/relationships/hyperlink" Target="https://www.sciencedirect.com/science/article/abs/pii/S221313882300543X" TargetMode="External"/><Relationship Id="rId4" Type="http://schemas.openxmlformats.org/officeDocument/2006/relationships/image" Target="../media/image158.emf"/><Relationship Id="rId9" Type="http://schemas.openxmlformats.org/officeDocument/2006/relationships/hyperlink" Target="https://www.esmap.org/sites/default/files/esmap-files/Flovenz%20Day%201%20-WB-2-phases-final.pdf"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159.jpg"/><Relationship Id="rId2" Type="http://schemas.openxmlformats.org/officeDocument/2006/relationships/slideLayout" Target="../slideLayouts/slideLayout17.xml"/><Relationship Id="rId1" Type="http://schemas.openxmlformats.org/officeDocument/2006/relationships/tags" Target="../tags/tag531.xml"/><Relationship Id="rId5" Type="http://schemas.openxmlformats.org/officeDocument/2006/relationships/image" Target="../media/image160.emf"/><Relationship Id="rId4" Type="http://schemas.openxmlformats.org/officeDocument/2006/relationships/oleObject" Target="../embeddings/oleObject70.bin"/></Relationships>
</file>

<file path=ppt/slides/_rels/slide49.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business.columbia.edu/insights/climate/cki"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tags" Target="../tags/tag72.xml"/><Relationship Id="rId47" Type="http://schemas.openxmlformats.org/officeDocument/2006/relationships/tags" Target="../tags/tag77.xml"/><Relationship Id="rId50" Type="http://schemas.openxmlformats.org/officeDocument/2006/relationships/tags" Target="../tags/tag80.xml"/><Relationship Id="rId55" Type="http://schemas.openxmlformats.org/officeDocument/2006/relationships/image" Target="../media/image20.emf"/><Relationship Id="rId7" Type="http://schemas.openxmlformats.org/officeDocument/2006/relationships/tags" Target="../tags/tag37.xml"/><Relationship Id="rId2" Type="http://schemas.openxmlformats.org/officeDocument/2006/relationships/tags" Target="../tags/tag32.xml"/><Relationship Id="rId16" Type="http://schemas.openxmlformats.org/officeDocument/2006/relationships/tags" Target="../tags/tag46.xml"/><Relationship Id="rId29" Type="http://schemas.openxmlformats.org/officeDocument/2006/relationships/tags" Target="../tags/tag59.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3" Type="http://schemas.openxmlformats.org/officeDocument/2006/relationships/slideLayout" Target="../slideLayouts/slideLayout8.xml"/><Relationship Id="rId58" Type="http://schemas.openxmlformats.org/officeDocument/2006/relationships/hyperlink" Target="https://business.columbia.edu/insights/climate/cki" TargetMode="External"/><Relationship Id="rId5" Type="http://schemas.openxmlformats.org/officeDocument/2006/relationships/tags" Target="../tags/tag35.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tags" Target="../tags/tag78.xml"/><Relationship Id="rId56" Type="http://schemas.openxmlformats.org/officeDocument/2006/relationships/hyperlink" Target="https://www.iea.org/reports/the-future-of-geothermal-energy" TargetMode="External"/><Relationship Id="rId8" Type="http://schemas.openxmlformats.org/officeDocument/2006/relationships/tags" Target="../tags/tag38.xml"/><Relationship Id="rId51" Type="http://schemas.openxmlformats.org/officeDocument/2006/relationships/tags" Target="../tags/tag81.xml"/><Relationship Id="rId3" Type="http://schemas.openxmlformats.org/officeDocument/2006/relationships/tags" Target="../tags/tag33.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tags" Target="../tags/tag76.xml"/><Relationship Id="rId59" Type="http://schemas.openxmlformats.org/officeDocument/2006/relationships/chart" Target="../charts/chart1.xml"/><Relationship Id="rId20" Type="http://schemas.openxmlformats.org/officeDocument/2006/relationships/tags" Target="../tags/tag50.xml"/><Relationship Id="rId41" Type="http://schemas.openxmlformats.org/officeDocument/2006/relationships/tags" Target="../tags/tag71.xml"/><Relationship Id="rId54" Type="http://schemas.openxmlformats.org/officeDocument/2006/relationships/oleObject" Target="../embeddings/oleObject28.bin"/><Relationship Id="rId1" Type="http://schemas.openxmlformats.org/officeDocument/2006/relationships/tags" Target="../tags/tag31.xml"/><Relationship Id="rId6" Type="http://schemas.openxmlformats.org/officeDocument/2006/relationships/tags" Target="../tags/tag36.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tags" Target="../tags/tag79.xml"/><Relationship Id="rId57" Type="http://schemas.openxmlformats.org/officeDocument/2006/relationships/hyperlink" Target="https://business.columbia.edu/faculty/people/gernot-wagner" TargetMode="External"/><Relationship Id="rId10" Type="http://schemas.openxmlformats.org/officeDocument/2006/relationships/tags" Target="../tags/tag40.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tags" Target="../tags/tag82.xml"/><Relationship Id="rId60" Type="http://schemas.openxmlformats.org/officeDocument/2006/relationships/chart" Target="../charts/chart2.xml"/></Relationships>
</file>

<file path=ppt/slides/_rels/slide50.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167.png"/><Relationship Id="rId3" Type="http://schemas.openxmlformats.org/officeDocument/2006/relationships/oleObject" Target="../embeddings/oleObject71.bin"/><Relationship Id="rId7" Type="http://schemas.openxmlformats.org/officeDocument/2006/relationships/hyperlink" Target="https://business.columbia.edu/faculty/people/gernot-wagner" TargetMode="External"/><Relationship Id="rId12" Type="http://schemas.openxmlformats.org/officeDocument/2006/relationships/image" Target="../media/image166.svg"/><Relationship Id="rId2" Type="http://schemas.openxmlformats.org/officeDocument/2006/relationships/slideLayout" Target="../slideLayouts/slideLayout5.xml"/><Relationship Id="rId16" Type="http://schemas.openxmlformats.org/officeDocument/2006/relationships/image" Target="../media/image170.svg"/><Relationship Id="rId1" Type="http://schemas.openxmlformats.org/officeDocument/2006/relationships/tags" Target="../tags/tag532.xml"/><Relationship Id="rId6" Type="http://schemas.openxmlformats.org/officeDocument/2006/relationships/hyperlink" Target="https://www.irena.org/Publications/2023/Feb/Global-geothermal-market-and-technology-assessment" TargetMode="External"/><Relationship Id="rId11" Type="http://schemas.openxmlformats.org/officeDocument/2006/relationships/image" Target="../media/image165.png"/><Relationship Id="rId5" Type="http://schemas.openxmlformats.org/officeDocument/2006/relationships/hyperlink" Target="https://www.iea.org/reports/the-future-of-geothermal-energy" TargetMode="External"/><Relationship Id="rId15" Type="http://schemas.openxmlformats.org/officeDocument/2006/relationships/image" Target="../media/image169.png"/><Relationship Id="rId10" Type="http://schemas.openxmlformats.org/officeDocument/2006/relationships/image" Target="../media/image164.svg"/><Relationship Id="rId4" Type="http://schemas.openxmlformats.org/officeDocument/2006/relationships/image" Target="../media/image162.emf"/><Relationship Id="rId9" Type="http://schemas.openxmlformats.org/officeDocument/2006/relationships/image" Target="../media/image163.png"/><Relationship Id="rId14" Type="http://schemas.openxmlformats.org/officeDocument/2006/relationships/image" Target="../media/image168.svg"/></Relationships>
</file>

<file path=ppt/slides/_rels/slide5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72.bin"/><Relationship Id="rId7" Type="http://schemas.openxmlformats.org/officeDocument/2006/relationships/hyperlink" Target="https://www.irena.org/Publications/2023/Feb/Global-geothermal-market-and-technology-assessment" TargetMode="External"/><Relationship Id="rId2" Type="http://schemas.openxmlformats.org/officeDocument/2006/relationships/slideLayout" Target="../slideLayouts/slideLayout6.xml"/><Relationship Id="rId1" Type="http://schemas.openxmlformats.org/officeDocument/2006/relationships/tags" Target="../tags/tag533.xml"/><Relationship Id="rId6" Type="http://schemas.openxmlformats.org/officeDocument/2006/relationships/hyperlink" Target="https://www.iea.org/reports/the-future-of-geothermal-energy" TargetMode="External"/><Relationship Id="rId5" Type="http://schemas.openxmlformats.org/officeDocument/2006/relationships/hyperlink" Target="https://worldgeothermal.org/geothermal-data/geothermal-energy-database" TargetMode="External"/><Relationship Id="rId10" Type="http://schemas.openxmlformats.org/officeDocument/2006/relationships/image" Target="../media/image172.png"/><Relationship Id="rId4" Type="http://schemas.openxmlformats.org/officeDocument/2006/relationships/image" Target="../media/image171.emf"/><Relationship Id="rId9" Type="http://schemas.openxmlformats.org/officeDocument/2006/relationships/hyperlink" Target="https://business.columbia.edu/insights/climate/cki"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www.geothermica.eu/project/joint-call-2021" TargetMode="External"/><Relationship Id="rId13" Type="http://schemas.openxmlformats.org/officeDocument/2006/relationships/image" Target="../media/image169.png"/><Relationship Id="rId18" Type="http://schemas.openxmlformats.org/officeDocument/2006/relationships/image" Target="../media/image176.png"/><Relationship Id="rId3" Type="http://schemas.openxmlformats.org/officeDocument/2006/relationships/oleObject" Target="../embeddings/oleObject73.bin"/><Relationship Id="rId21" Type="http://schemas.openxmlformats.org/officeDocument/2006/relationships/image" Target="../media/image179.png"/><Relationship Id="rId7" Type="http://schemas.openxmlformats.org/officeDocument/2006/relationships/hyperlink" Target="https://www.jica.go.jp/english/overseas/kenya/others/__icsFiles/afieldfile/2025/01/30/brochure_01.pdf" TargetMode="External"/><Relationship Id="rId12" Type="http://schemas.openxmlformats.org/officeDocument/2006/relationships/hyperlink" Target="https://business.columbia.edu/insights/climate/cki" TargetMode="External"/><Relationship Id="rId17" Type="http://schemas.openxmlformats.org/officeDocument/2006/relationships/image" Target="../media/image175.png"/><Relationship Id="rId2" Type="http://schemas.openxmlformats.org/officeDocument/2006/relationships/slideLayout" Target="../slideLayouts/slideLayout5.xml"/><Relationship Id="rId16" Type="http://schemas.openxmlformats.org/officeDocument/2006/relationships/image" Target="../media/image174.png"/><Relationship Id="rId20" Type="http://schemas.openxmlformats.org/officeDocument/2006/relationships/image" Target="../media/image178.png"/><Relationship Id="rId1" Type="http://schemas.openxmlformats.org/officeDocument/2006/relationships/tags" Target="../tags/tag534.xml"/><Relationship Id="rId6" Type="http://schemas.openxmlformats.org/officeDocument/2006/relationships/hyperlink" Target="https://grmf-eastafrica.org/"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173.png"/><Relationship Id="rId10" Type="http://schemas.openxmlformats.org/officeDocument/2006/relationships/hyperlink" Target="https://www.worldbank.org/en/results/2020/11/10/the-global-geothermal-development-plan-mitigating-upstream-cost-and-risk?utm_source=chatgpt.com" TargetMode="External"/><Relationship Id="rId19" Type="http://schemas.openxmlformats.org/officeDocument/2006/relationships/image" Target="../media/image177.png"/><Relationship Id="rId4" Type="http://schemas.openxmlformats.org/officeDocument/2006/relationships/image" Target="../media/image162.emf"/><Relationship Id="rId9" Type="http://schemas.openxmlformats.org/officeDocument/2006/relationships/hyperlink" Target="https://www.esmap.org/GGDP" TargetMode="External"/><Relationship Id="rId14" Type="http://schemas.openxmlformats.org/officeDocument/2006/relationships/image" Target="../media/image170.svg"/></Relationships>
</file>

<file path=ppt/slides/_rels/slide53.xml.rels><?xml version="1.0" encoding="UTF-8" standalone="yes"?>
<Relationships xmlns="http://schemas.openxmlformats.org/package/2006/relationships"><Relationship Id="rId8" Type="http://schemas.openxmlformats.org/officeDocument/2006/relationships/tags" Target="../tags/tag542.xml"/><Relationship Id="rId13" Type="http://schemas.openxmlformats.org/officeDocument/2006/relationships/chart" Target="../charts/chart27.xml"/><Relationship Id="rId18" Type="http://schemas.openxmlformats.org/officeDocument/2006/relationships/image" Target="../media/image185.png"/><Relationship Id="rId26" Type="http://schemas.openxmlformats.org/officeDocument/2006/relationships/hyperlink" Target="https://business.columbia.edu/faculty/people/gernot-wagner" TargetMode="External"/><Relationship Id="rId3" Type="http://schemas.openxmlformats.org/officeDocument/2006/relationships/tags" Target="../tags/tag537.xml"/><Relationship Id="rId21" Type="http://schemas.openxmlformats.org/officeDocument/2006/relationships/image" Target="../media/image188.svg"/><Relationship Id="rId7" Type="http://schemas.openxmlformats.org/officeDocument/2006/relationships/tags" Target="../tags/tag541.xml"/><Relationship Id="rId12" Type="http://schemas.openxmlformats.org/officeDocument/2006/relationships/image" Target="../media/image180.emf"/><Relationship Id="rId17" Type="http://schemas.openxmlformats.org/officeDocument/2006/relationships/image" Target="../media/image184.svg"/><Relationship Id="rId25" Type="http://schemas.openxmlformats.org/officeDocument/2006/relationships/hyperlink" Target="https://www.thinkgeoenergy.com/eur-195m-guarantee-fund-approved-for-deep-geothermal-projects-in-france/" TargetMode="External"/><Relationship Id="rId2" Type="http://schemas.openxmlformats.org/officeDocument/2006/relationships/tags" Target="../tags/tag536.xml"/><Relationship Id="rId16" Type="http://schemas.openxmlformats.org/officeDocument/2006/relationships/image" Target="../media/image183.png"/><Relationship Id="rId20" Type="http://schemas.openxmlformats.org/officeDocument/2006/relationships/image" Target="../media/image187.png"/><Relationship Id="rId1" Type="http://schemas.openxmlformats.org/officeDocument/2006/relationships/tags" Target="../tags/tag535.xml"/><Relationship Id="rId6" Type="http://schemas.openxmlformats.org/officeDocument/2006/relationships/tags" Target="../tags/tag540.xml"/><Relationship Id="rId11" Type="http://schemas.openxmlformats.org/officeDocument/2006/relationships/oleObject" Target="../embeddings/oleObject74.bin"/><Relationship Id="rId24" Type="http://schemas.openxmlformats.org/officeDocument/2006/relationships/hyperlink" Target="https://www.thinkgeoenergy.com/france-launches-54m-geothermal-risk-mitigation-fund/" TargetMode="External"/><Relationship Id="rId5" Type="http://schemas.openxmlformats.org/officeDocument/2006/relationships/tags" Target="../tags/tag539.xml"/><Relationship Id="rId15" Type="http://schemas.openxmlformats.org/officeDocument/2006/relationships/image" Target="../media/image182.svg"/><Relationship Id="rId23" Type="http://schemas.openxmlformats.org/officeDocument/2006/relationships/hyperlink" Target="https://eurogeologists.eu/european-geologist-journal-43-boissavy-the-successful-geothermal-risk-mitigation-system-in-france-from-1980-to-2015/#:~:text=In%201982%2C%20when%20the%20French,as%20shown%20in%20Figure%201." TargetMode="External"/><Relationship Id="rId10" Type="http://schemas.openxmlformats.org/officeDocument/2006/relationships/slideLayout" Target="../slideLayouts/slideLayout9.xml"/><Relationship Id="rId19" Type="http://schemas.openxmlformats.org/officeDocument/2006/relationships/image" Target="../media/image186.svg"/><Relationship Id="rId4" Type="http://schemas.openxmlformats.org/officeDocument/2006/relationships/tags" Target="../tags/tag538.xml"/><Relationship Id="rId9" Type="http://schemas.openxmlformats.org/officeDocument/2006/relationships/tags" Target="../tags/tag543.xml"/><Relationship Id="rId14" Type="http://schemas.openxmlformats.org/officeDocument/2006/relationships/image" Target="../media/image181.png"/><Relationship Id="rId22" Type="http://schemas.openxmlformats.org/officeDocument/2006/relationships/hyperlink" Target="https://www.iea.org/reports/the-future-of-geothermal-energy" TargetMode="External"/><Relationship Id="rId27" Type="http://schemas.openxmlformats.org/officeDocument/2006/relationships/hyperlink" Target="https://business.columbia.edu/insights/climate/cki"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189.emf"/><Relationship Id="rId13" Type="http://schemas.openxmlformats.org/officeDocument/2006/relationships/hyperlink" Target="https://projectinnerspace.org/news/Powering-the-AI-Revolution-Press-Release.pdf" TargetMode="External"/><Relationship Id="rId3" Type="http://schemas.openxmlformats.org/officeDocument/2006/relationships/tags" Target="../tags/tag546.xml"/><Relationship Id="rId7" Type="http://schemas.openxmlformats.org/officeDocument/2006/relationships/oleObject" Target="../embeddings/oleObject75.bin"/><Relationship Id="rId12" Type="http://schemas.openxmlformats.org/officeDocument/2006/relationships/hyperlink" Target="https://www.iea.org/countries/united-states" TargetMode="External"/><Relationship Id="rId17" Type="http://schemas.openxmlformats.org/officeDocument/2006/relationships/image" Target="../media/image190.png"/><Relationship Id="rId2" Type="http://schemas.openxmlformats.org/officeDocument/2006/relationships/tags" Target="../tags/tag545.xml"/><Relationship Id="rId16" Type="http://schemas.openxmlformats.org/officeDocument/2006/relationships/chart" Target="../charts/chart28.xml"/><Relationship Id="rId1" Type="http://schemas.openxmlformats.org/officeDocument/2006/relationships/tags" Target="../tags/tag544.xml"/><Relationship Id="rId6" Type="http://schemas.openxmlformats.org/officeDocument/2006/relationships/slideLayout" Target="../slideLayouts/slideLayout8.xml"/><Relationship Id="rId11" Type="http://schemas.openxmlformats.org/officeDocument/2006/relationships/hyperlink" Target="https://vividmaps.com/us-block-level-population-density/" TargetMode="External"/><Relationship Id="rId5" Type="http://schemas.openxmlformats.org/officeDocument/2006/relationships/tags" Target="../tags/tag548.xml"/><Relationship Id="rId15" Type="http://schemas.openxmlformats.org/officeDocument/2006/relationships/hyperlink" Target="https://business.columbia.edu/insights/climate/cki" TargetMode="External"/><Relationship Id="rId10" Type="http://schemas.openxmlformats.org/officeDocument/2006/relationships/hyperlink" Target="https://ourworldindata.org/grapher/cumulative-co-emissions?tab=discrete-bar&amp;time=latest" TargetMode="External"/><Relationship Id="rId4" Type="http://schemas.openxmlformats.org/officeDocument/2006/relationships/tags" Target="../tags/tag547.xml"/><Relationship Id="rId9" Type="http://schemas.openxmlformats.org/officeDocument/2006/relationships/hyperlink" Target="https://www.catf.us/2025/03/introduction-next-clean-energy-frontier-superhot-rock-future-geothermal/" TargetMode="External"/><Relationship Id="rId14" Type="http://schemas.openxmlformats.org/officeDocument/2006/relationships/hyperlink" Target="https://business.columbia.edu/faculty/people/gernot-wagner" TargetMode="External"/></Relationships>
</file>

<file path=ppt/slides/_rels/slide55.xml.rels><?xml version="1.0" encoding="UTF-8" standalone="yes"?>
<Relationships xmlns="http://schemas.openxmlformats.org/package/2006/relationships"><Relationship Id="rId8" Type="http://schemas.openxmlformats.org/officeDocument/2006/relationships/tags" Target="../tags/tag556.xml"/><Relationship Id="rId13" Type="http://schemas.openxmlformats.org/officeDocument/2006/relationships/hyperlink" Target="https://www.whitehouse.gov/presidential-actions/2025/01/declaring-a-national-energy-emergency/"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551.xml"/><Relationship Id="rId7" Type="http://schemas.openxmlformats.org/officeDocument/2006/relationships/tags" Target="../tags/tag555.xml"/><Relationship Id="rId12" Type="http://schemas.openxmlformats.org/officeDocument/2006/relationships/hyperlink" Target="https://www.americanactionforum.org/insight/evaluating-the-obbbas-energy-provisions/" TargetMode="External"/><Relationship Id="rId17" Type="http://schemas.openxmlformats.org/officeDocument/2006/relationships/hyperlink" Target="https://www.energy.gov/eere/geothermal/geothermal-technologies-office" TargetMode="External"/><Relationship Id="rId2" Type="http://schemas.openxmlformats.org/officeDocument/2006/relationships/tags" Target="../tags/tag550.xml"/><Relationship Id="rId16" Type="http://schemas.openxmlformats.org/officeDocument/2006/relationships/hyperlink" Target="https://www.energy.gov/eere/geothermal/articles/geothermal-technologies-office-multi-year-program-plan-fy-2022-2026" TargetMode="External"/><Relationship Id="rId20" Type="http://schemas.openxmlformats.org/officeDocument/2006/relationships/chart" Target="../charts/chart29.xml"/><Relationship Id="rId1" Type="http://schemas.openxmlformats.org/officeDocument/2006/relationships/tags" Target="../tags/tag549.xml"/><Relationship Id="rId6" Type="http://schemas.openxmlformats.org/officeDocument/2006/relationships/tags" Target="../tags/tag554.xml"/><Relationship Id="rId11" Type="http://schemas.openxmlformats.org/officeDocument/2006/relationships/image" Target="../media/image191.emf"/><Relationship Id="rId5" Type="http://schemas.openxmlformats.org/officeDocument/2006/relationships/tags" Target="../tags/tag553.xml"/><Relationship Id="rId15" Type="http://schemas.openxmlformats.org/officeDocument/2006/relationships/hyperlink" Target="https://www.energy.gov/articles/secretary-wright-acts-unleash-golden-era-american-energy-dominance" TargetMode="External"/><Relationship Id="rId10" Type="http://schemas.openxmlformats.org/officeDocument/2006/relationships/oleObject" Target="../embeddings/oleObject76.bin"/><Relationship Id="rId19" Type="http://schemas.openxmlformats.org/officeDocument/2006/relationships/hyperlink" Target="https://business.columbia.edu/insights/climate/cki" TargetMode="External"/><Relationship Id="rId4" Type="http://schemas.openxmlformats.org/officeDocument/2006/relationships/tags" Target="../tags/tag552.xml"/><Relationship Id="rId9" Type="http://schemas.openxmlformats.org/officeDocument/2006/relationships/slideLayout" Target="../slideLayouts/slideLayout3.xml"/><Relationship Id="rId14" Type="http://schemas.openxmlformats.org/officeDocument/2006/relationships/hyperlink" Target="https://www.whitehouse.gov/presidential-actions/2025/04/protecting-american-energy-from-state-overreach/"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iratracker.org/programs/ira-section-13102-renewable-energy-investment-tax-credit/" TargetMode="External"/><Relationship Id="rId3" Type="http://schemas.openxmlformats.org/officeDocument/2006/relationships/oleObject" Target="../embeddings/oleObject77.bin"/><Relationship Id="rId7" Type="http://schemas.openxmlformats.org/officeDocument/2006/relationships/hyperlink" Target="https://www.energy.gov/eere/geothermal/forge" TargetMode="External"/><Relationship Id="rId2" Type="http://schemas.openxmlformats.org/officeDocument/2006/relationships/slideLayout" Target="../slideLayouts/slideLayout3.xml"/><Relationship Id="rId1" Type="http://schemas.openxmlformats.org/officeDocument/2006/relationships/tags" Target="../tags/tag557.xml"/><Relationship Id="rId6" Type="http://schemas.openxmlformats.org/officeDocument/2006/relationships/hyperlink" Target="https://bidenwhitehouse.archives.gov/briefing-room/presidential-actions/2021/01/27/executive-order-on-tackling-the-climate-crisis-at-home-and-abroad" TargetMode="External"/><Relationship Id="rId5" Type="http://schemas.openxmlformats.org/officeDocument/2006/relationships/hyperlink" Target="https://www.diu.mil/latest/u-s-air-force-u-s-army-the-defense-innovation-unit-and-industry-advance-dod"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192.emf"/><Relationship Id="rId9" Type="http://schemas.openxmlformats.org/officeDocument/2006/relationships/hyperlink" Target="https://business.columbia.edu/faculty/people/gernot-wagner"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193.emf"/><Relationship Id="rId13" Type="http://schemas.openxmlformats.org/officeDocument/2006/relationships/hyperlink" Target="https://www.prnewswire.com/news-releases/wgc2023-publishes-beijing-declaration-and-the-worlds-first-geothermal-industry-standard-301932791.html?" TargetMode="External"/><Relationship Id="rId18" Type="http://schemas.openxmlformats.org/officeDocument/2006/relationships/chart" Target="../charts/chart30.xml"/><Relationship Id="rId3" Type="http://schemas.openxmlformats.org/officeDocument/2006/relationships/tags" Target="../tags/tag560.xml"/><Relationship Id="rId7" Type="http://schemas.openxmlformats.org/officeDocument/2006/relationships/oleObject" Target="../embeddings/oleObject78.bin"/><Relationship Id="rId12" Type="http://schemas.openxmlformats.org/officeDocument/2006/relationships/hyperlink" Target="https://english.mofcom.gov.cn/Policies/LawsRegulations/art/2013/art_f1de59700ebd47c69367af1013f6daef.html?"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59.xml"/><Relationship Id="rId16" Type="http://schemas.openxmlformats.org/officeDocument/2006/relationships/hyperlink" Target="https://business.columbia.edu/faculty/people/gernot-wagner" TargetMode="External"/><Relationship Id="rId1" Type="http://schemas.openxmlformats.org/officeDocument/2006/relationships/tags" Target="../tags/tag558.xml"/><Relationship Id="rId6" Type="http://schemas.openxmlformats.org/officeDocument/2006/relationships/slideLayout" Target="../slideLayouts/slideLayout8.xml"/><Relationship Id="rId11" Type="http://schemas.openxmlformats.org/officeDocument/2006/relationships/hyperlink" Target="https://www.iea.org/countries/china/energy-mix" TargetMode="External"/><Relationship Id="rId5" Type="http://schemas.openxmlformats.org/officeDocument/2006/relationships/tags" Target="../tags/tag562.xml"/><Relationship Id="rId15" Type="http://schemas.openxmlformats.org/officeDocument/2006/relationships/hyperlink" Target="https://www.visualcapitalist.com/chinas-population-density-3d-map/" TargetMode="External"/><Relationship Id="rId10" Type="http://schemas.openxmlformats.org/officeDocument/2006/relationships/hyperlink" Target="https://www.spglobal.com/commodity-insights/en/news-research/latest-news/energy-transition/090721-feature-chinas-net-zero-2060-plan-will-need-full-power-grid-overhaul" TargetMode="External"/><Relationship Id="rId19" Type="http://schemas.openxmlformats.org/officeDocument/2006/relationships/image" Target="../media/image194.png"/><Relationship Id="rId4" Type="http://schemas.openxmlformats.org/officeDocument/2006/relationships/tags" Target="../tags/tag561.xml"/><Relationship Id="rId9" Type="http://schemas.openxmlformats.org/officeDocument/2006/relationships/hyperlink" Target="https://www.catf.us/2025/03/introduction-next-clean-energy-frontier-superhot-rock-future-geothermal/" TargetMode="External"/><Relationship Id="rId14" Type="http://schemas.openxmlformats.org/officeDocument/2006/relationships/hyperlink" Target="https://chinaeucn.com/carbon-neutrality-china/?"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575.xml"/><Relationship Id="rId18" Type="http://schemas.openxmlformats.org/officeDocument/2006/relationships/tags" Target="../tags/tag580.xml"/><Relationship Id="rId26" Type="http://schemas.openxmlformats.org/officeDocument/2006/relationships/hyperlink" Target="https://ourworldindata.org/data-insights/the-un-projects-that-africas-population-will-double-by-2070" TargetMode="External"/><Relationship Id="rId39" Type="http://schemas.openxmlformats.org/officeDocument/2006/relationships/chart" Target="../charts/chart40.xml"/><Relationship Id="rId21" Type="http://schemas.openxmlformats.org/officeDocument/2006/relationships/slideLayout" Target="../slideLayouts/slideLayout8.xml"/><Relationship Id="rId34" Type="http://schemas.openxmlformats.org/officeDocument/2006/relationships/chart" Target="../charts/chart35.xml"/><Relationship Id="rId42" Type="http://schemas.openxmlformats.org/officeDocument/2006/relationships/chart" Target="../charts/chart43.xml"/><Relationship Id="rId7" Type="http://schemas.openxmlformats.org/officeDocument/2006/relationships/tags" Target="../tags/tag569.xml"/><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tags" Target="../tags/tag582.xml"/><Relationship Id="rId29" Type="http://schemas.openxmlformats.org/officeDocument/2006/relationships/image" Target="../media/image196.png"/><Relationship Id="rId41" Type="http://schemas.openxmlformats.org/officeDocument/2006/relationships/chart" Target="../charts/chart42.xml"/><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hyperlink" Target="https://www.catf.us/2025/03/introduction-next-clean-energy-frontier-superhot-rock-future-geothermal/" TargetMode="External"/><Relationship Id="rId32" Type="http://schemas.openxmlformats.org/officeDocument/2006/relationships/chart" Target="../charts/chart33.xml"/><Relationship Id="rId37" Type="http://schemas.openxmlformats.org/officeDocument/2006/relationships/chart" Target="../charts/chart38.xml"/><Relationship Id="rId40" Type="http://schemas.openxmlformats.org/officeDocument/2006/relationships/chart" Target="../charts/chart41.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image" Target="../media/image195.emf"/><Relationship Id="rId28" Type="http://schemas.openxmlformats.org/officeDocument/2006/relationships/hyperlink" Target="https://business.columbia.edu/insights/climate/cki" TargetMode="External"/><Relationship Id="rId36" Type="http://schemas.openxmlformats.org/officeDocument/2006/relationships/chart" Target="../charts/chart37.xml"/><Relationship Id="rId10" Type="http://schemas.openxmlformats.org/officeDocument/2006/relationships/tags" Target="../tags/tag572.xml"/><Relationship Id="rId19" Type="http://schemas.openxmlformats.org/officeDocument/2006/relationships/tags" Target="../tags/tag581.xml"/><Relationship Id="rId31" Type="http://schemas.openxmlformats.org/officeDocument/2006/relationships/chart" Target="../charts/chart32.xml"/><Relationship Id="rId44" Type="http://schemas.openxmlformats.org/officeDocument/2006/relationships/image" Target="../media/image198.svg"/><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oleObject" Target="../embeddings/oleObject79.bin"/><Relationship Id="rId27" Type="http://schemas.openxmlformats.org/officeDocument/2006/relationships/hyperlink" Target="https://business.columbia.edu/faculty/people/gernot-wagner" TargetMode="External"/><Relationship Id="rId30" Type="http://schemas.openxmlformats.org/officeDocument/2006/relationships/chart" Target="../charts/chart31.xml"/><Relationship Id="rId35" Type="http://schemas.openxmlformats.org/officeDocument/2006/relationships/chart" Target="../charts/chart36.xml"/><Relationship Id="rId43" Type="http://schemas.openxmlformats.org/officeDocument/2006/relationships/image" Target="../media/image197.png"/><Relationship Id="rId8" Type="http://schemas.openxmlformats.org/officeDocument/2006/relationships/tags" Target="../tags/tag570.xml"/><Relationship Id="rId3" Type="http://schemas.openxmlformats.org/officeDocument/2006/relationships/tags" Target="../tags/tag565.xml"/><Relationship Id="rId12" Type="http://schemas.openxmlformats.org/officeDocument/2006/relationships/tags" Target="../tags/tag574.xml"/><Relationship Id="rId17" Type="http://schemas.openxmlformats.org/officeDocument/2006/relationships/tags" Target="../tags/tag579.xml"/><Relationship Id="rId25" Type="http://schemas.openxmlformats.org/officeDocument/2006/relationships/hyperlink" Target="https://iea.blob.core.windows.net/assets/cbe6ad3a-eb3e-463f-8b2a-5d1fa4ce39bf/TheFutureofGeothermal.pdf" TargetMode="External"/><Relationship Id="rId33" Type="http://schemas.openxmlformats.org/officeDocument/2006/relationships/chart" Target="../charts/chart34.xml"/><Relationship Id="rId38" Type="http://schemas.openxmlformats.org/officeDocument/2006/relationships/chart" Target="../charts/chart39.xml"/></Relationships>
</file>

<file path=ppt/slides/_rels/slide59.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tags" Target="../tags/tag595.xml"/><Relationship Id="rId18" Type="http://schemas.openxmlformats.org/officeDocument/2006/relationships/hyperlink" Target="https://jpt.spe.org/africa-to-overtake-europe-in-geothermal-capacity-by-2030" TargetMode="External"/><Relationship Id="rId26" Type="http://schemas.openxmlformats.org/officeDocument/2006/relationships/chart" Target="../charts/chart44.xml"/><Relationship Id="rId3" Type="http://schemas.openxmlformats.org/officeDocument/2006/relationships/tags" Target="../tags/tag585.xml"/><Relationship Id="rId21" Type="http://schemas.openxmlformats.org/officeDocument/2006/relationships/hyperlink" Target="https://africaclimateinsights.org/inside-east-africas-untapped-geothermal-goldmine/" TargetMode="External"/><Relationship Id="rId7" Type="http://schemas.openxmlformats.org/officeDocument/2006/relationships/tags" Target="../tags/tag589.xml"/><Relationship Id="rId12" Type="http://schemas.openxmlformats.org/officeDocument/2006/relationships/tags" Target="../tags/tag594.xml"/><Relationship Id="rId17" Type="http://schemas.openxmlformats.org/officeDocument/2006/relationships/image" Target="../media/image199.emf"/><Relationship Id="rId25" Type="http://schemas.openxmlformats.org/officeDocument/2006/relationships/hyperlink" Target="https://business.columbia.edu/insights/climate/cki" TargetMode="External"/><Relationship Id="rId2" Type="http://schemas.openxmlformats.org/officeDocument/2006/relationships/tags" Target="../tags/tag584.xml"/><Relationship Id="rId16" Type="http://schemas.openxmlformats.org/officeDocument/2006/relationships/oleObject" Target="../embeddings/oleObject80.bin"/><Relationship Id="rId20" Type="http://schemas.openxmlformats.org/officeDocument/2006/relationships/hyperlink" Target="https://gogn.orkustofnun.is/unu-gtp-40-ann/UNU-GTP-40-A-1-Meseret-Teklemariam.pdf" TargetMode="External"/><Relationship Id="rId1" Type="http://schemas.openxmlformats.org/officeDocument/2006/relationships/tags" Target="../tags/tag583.xml"/><Relationship Id="rId6" Type="http://schemas.openxmlformats.org/officeDocument/2006/relationships/tags" Target="../tags/tag588.xml"/><Relationship Id="rId11" Type="http://schemas.openxmlformats.org/officeDocument/2006/relationships/tags" Target="../tags/tag593.xml"/><Relationship Id="rId24" Type="http://schemas.openxmlformats.org/officeDocument/2006/relationships/hyperlink" Target="https://business.columbia.edu/faculty/people/gernot-wagner" TargetMode="External"/><Relationship Id="rId5" Type="http://schemas.openxmlformats.org/officeDocument/2006/relationships/tags" Target="../tags/tag587.xml"/><Relationship Id="rId15" Type="http://schemas.openxmlformats.org/officeDocument/2006/relationships/slideLayout" Target="../slideLayouts/slideLayout3.xml"/><Relationship Id="rId23" Type="http://schemas.openxmlformats.org/officeDocument/2006/relationships/hyperlink" Target="https://www.sciencedirect.com/science/article/pii/S2211467X23001074" TargetMode="External"/><Relationship Id="rId10" Type="http://schemas.openxmlformats.org/officeDocument/2006/relationships/tags" Target="../tags/tag592.xml"/><Relationship Id="rId19" Type="http://schemas.openxmlformats.org/officeDocument/2006/relationships/hyperlink" Target="https://www.project-syndicate.org/commentary/geothermal-key-to-improving-energy-access-in-africa-by-mugwe-manga-2025-10" TargetMode="Externa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tags" Target="../tags/tag596.xml"/><Relationship Id="rId22" Type="http://schemas.openxmlformats.org/officeDocument/2006/relationships/hyperlink" Target="https://www.irena.org/Publications/2020/Nov/Geothermal-development-in-Eastern-Africa" TargetMode="External"/></Relationships>
</file>

<file path=ppt/slides/_rels/slide6.xml.rels><?xml version="1.0" encoding="UTF-8" standalone="yes"?>
<Relationships xmlns="http://schemas.openxmlformats.org/package/2006/relationships"><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9" Type="http://schemas.openxmlformats.org/officeDocument/2006/relationships/hyperlink" Target="https://business.columbia.edu/insights/climate/cki" TargetMode="External"/><Relationship Id="rId21" Type="http://schemas.openxmlformats.org/officeDocument/2006/relationships/tags" Target="../tags/tag103.xml"/><Relationship Id="rId34" Type="http://schemas.openxmlformats.org/officeDocument/2006/relationships/slideLayout" Target="../slideLayouts/slideLayout9.xml"/><Relationship Id="rId7" Type="http://schemas.openxmlformats.org/officeDocument/2006/relationships/tags" Target="../tags/tag8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tags" Target="../tags/tag111.xml"/><Relationship Id="rId41" Type="http://schemas.openxmlformats.org/officeDocument/2006/relationships/chart" Target="../charts/chart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hyperlink" Target="https://www.iea.org/reports/the-future-of-geothermal-energy" TargetMode="External"/><Relationship Id="rId40" Type="http://schemas.openxmlformats.org/officeDocument/2006/relationships/chart" Target="../charts/chart3.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image" Target="../media/image21.emf"/><Relationship Id="rId10" Type="http://schemas.openxmlformats.org/officeDocument/2006/relationships/tags" Target="../tags/tag92.xml"/><Relationship Id="rId19" Type="http://schemas.openxmlformats.org/officeDocument/2006/relationships/tags" Target="../tags/tag101.xml"/><Relationship Id="rId31" Type="http://schemas.openxmlformats.org/officeDocument/2006/relationships/tags" Target="../tags/tag113.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oleObject" Target="../embeddings/oleObject29.bin"/><Relationship Id="rId8" Type="http://schemas.openxmlformats.org/officeDocument/2006/relationships/tags" Target="../tags/tag90.xml"/><Relationship Id="rId3" Type="http://schemas.openxmlformats.org/officeDocument/2006/relationships/tags" Target="../tags/tag85.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hyperlink" Target="https://business.columbia.edu/faculty/people/gernot-wagner" TargetMode="External"/></Relationships>
</file>

<file path=ppt/slides/_rels/slide60.xml.rels><?xml version="1.0" encoding="UTF-8" standalone="yes"?>
<Relationships xmlns="http://schemas.openxmlformats.org/package/2006/relationships"><Relationship Id="rId8" Type="http://schemas.openxmlformats.org/officeDocument/2006/relationships/tags" Target="../tags/tag604.xml"/><Relationship Id="rId13" Type="http://schemas.openxmlformats.org/officeDocument/2006/relationships/image" Target="../media/image200.emf"/><Relationship Id="rId18" Type="http://schemas.openxmlformats.org/officeDocument/2006/relationships/hyperlink" Target="https://business.columbia.edu/faculty/people/gernot-wagner" TargetMode="External"/><Relationship Id="rId3" Type="http://schemas.openxmlformats.org/officeDocument/2006/relationships/tags" Target="../tags/tag599.xml"/><Relationship Id="rId21" Type="http://schemas.openxmlformats.org/officeDocument/2006/relationships/chart" Target="../charts/chart46.xml"/><Relationship Id="rId7" Type="http://schemas.openxmlformats.org/officeDocument/2006/relationships/tags" Target="../tags/tag603.xml"/><Relationship Id="rId12" Type="http://schemas.openxmlformats.org/officeDocument/2006/relationships/oleObject" Target="../embeddings/oleObject81.bin"/><Relationship Id="rId17" Type="http://schemas.openxmlformats.org/officeDocument/2006/relationships/hyperlink" Target="https://eie.uonbi.ac.ke/sites/default/files/cae/engineering/eie/AN%20OVERVIEW%20OF%20GEOTHERMAL%20ENERGY%20IN%20KENYA-PROJECT.pdf" TargetMode="External"/><Relationship Id="rId2" Type="http://schemas.openxmlformats.org/officeDocument/2006/relationships/tags" Target="../tags/tag598.xml"/><Relationship Id="rId16" Type="http://schemas.openxmlformats.org/officeDocument/2006/relationships/hyperlink" Target="https://www.grocentre.is/static/files/GTP/ShortCourses/Kenya/SC-30/0906rolegeothermalenergymixxs3001.pdf" TargetMode="External"/><Relationship Id="rId20" Type="http://schemas.openxmlformats.org/officeDocument/2006/relationships/chart" Target="../charts/chart45.xml"/><Relationship Id="rId1" Type="http://schemas.openxmlformats.org/officeDocument/2006/relationships/tags" Target="../tags/tag597.xml"/><Relationship Id="rId6" Type="http://schemas.openxmlformats.org/officeDocument/2006/relationships/tags" Target="../tags/tag602.xml"/><Relationship Id="rId11" Type="http://schemas.openxmlformats.org/officeDocument/2006/relationships/slideLayout" Target="../slideLayouts/slideLayout8.xml"/><Relationship Id="rId5" Type="http://schemas.openxmlformats.org/officeDocument/2006/relationships/tags" Target="../tags/tag601.xml"/><Relationship Id="rId15" Type="http://schemas.openxmlformats.org/officeDocument/2006/relationships/hyperlink" Target="https://www.thinkgeoenergy.com/10-years-in-kenya-the-geothermal-success-story-of-geg/" TargetMode="External"/><Relationship Id="rId10" Type="http://schemas.openxmlformats.org/officeDocument/2006/relationships/tags" Target="../tags/tag606.xml"/><Relationship Id="rId19" Type="http://schemas.openxmlformats.org/officeDocument/2006/relationships/hyperlink" Target="https://business.columbia.edu/insights/climate/cki" TargetMode="External"/><Relationship Id="rId4" Type="http://schemas.openxmlformats.org/officeDocument/2006/relationships/tags" Target="../tags/tag600.xml"/><Relationship Id="rId9" Type="http://schemas.openxmlformats.org/officeDocument/2006/relationships/tags" Target="../tags/tag605.xml"/><Relationship Id="rId14" Type="http://schemas.openxmlformats.org/officeDocument/2006/relationships/hyperlink" Target="https://reasonstobecheerful.world/kenya-geothermal-energy-world-leader/" TargetMode="External"/></Relationships>
</file>

<file path=ppt/slides/_rels/slide61.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hyperlink" Target="https://www.enerji-dunyasi.com/yayin/324/jeotermal-sektorunde-yekdem-2040-talebi_36252.html" TargetMode="External"/><Relationship Id="rId21" Type="http://schemas.openxmlformats.org/officeDocument/2006/relationships/tags" Target="../tags/tag627.xml"/><Relationship Id="rId34" Type="http://schemas.openxmlformats.org/officeDocument/2006/relationships/oleObject" Target="../embeddings/oleObject82.bin"/><Relationship Id="rId42" Type="http://schemas.openxmlformats.org/officeDocument/2006/relationships/chart" Target="../charts/chart47.xml"/><Relationship Id="rId7" Type="http://schemas.openxmlformats.org/officeDocument/2006/relationships/tags" Target="../tags/tag613.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41" Type="http://schemas.openxmlformats.org/officeDocument/2006/relationships/hyperlink" Target="https://business.columbia.edu/insights/climate/cki" TargetMode="Externa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tags" Target="../tags/tag638.xml"/><Relationship Id="rId37" Type="http://schemas.openxmlformats.org/officeDocument/2006/relationships/hyperlink" Target="https://documents.worldbank.org/en/publication/documents-reports/documentdetail/276131478224869921/turkey-geothermal-development-project"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hyperlink" Target="https://resmigazete.gov.tr/eskiler/2005/05/20050518-1.htm" TargetMode="Externa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tags" Target="../tags/tag637.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image" Target="../media/image201.emf"/><Relationship Id="rId43" Type="http://schemas.openxmlformats.org/officeDocument/2006/relationships/image" Target="../media/image202.png"/><Relationship Id="rId8" Type="http://schemas.openxmlformats.org/officeDocument/2006/relationships/tags" Target="../tags/tag614.xml"/><Relationship Id="rId3" Type="http://schemas.openxmlformats.org/officeDocument/2006/relationships/tags" Target="../tags/tag609.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Layout" Target="../slideLayouts/slideLayout8.xml"/><Relationship Id="rId38" Type="http://schemas.openxmlformats.org/officeDocument/2006/relationships/hyperlink" Target="https://cdn.climatepolicyradar.org/navigator/TUR/2023/decree-7189-feed-in-tariff-subsidies-to-incentivise-renewable-energy_8fbd20c519a5964e429dac03b815a3a0.pdf" TargetMode="External"/></Relationships>
</file>

<file path=ppt/slides/_rels/slide62.xml.rels><?xml version="1.0" encoding="UTF-8" standalone="yes"?>
<Relationships xmlns="http://schemas.openxmlformats.org/package/2006/relationships"><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tags" Target="../tags/tag664.xml"/><Relationship Id="rId39" Type="http://schemas.openxmlformats.org/officeDocument/2006/relationships/hyperlink" Target="https://business.columbia.edu/insights/climate/cki" TargetMode="External"/><Relationship Id="rId21" Type="http://schemas.openxmlformats.org/officeDocument/2006/relationships/tags" Target="../tags/tag659.xml"/><Relationship Id="rId34" Type="http://schemas.openxmlformats.org/officeDocument/2006/relationships/oleObject" Target="../embeddings/oleObject83.bin"/><Relationship Id="rId7" Type="http://schemas.openxmlformats.org/officeDocument/2006/relationships/tags" Target="../tags/tag645.xml"/><Relationship Id="rId2" Type="http://schemas.openxmlformats.org/officeDocument/2006/relationships/tags" Target="../tags/tag640.xml"/><Relationship Id="rId16" Type="http://schemas.openxmlformats.org/officeDocument/2006/relationships/tags" Target="../tags/tag654.xml"/><Relationship Id="rId20" Type="http://schemas.openxmlformats.org/officeDocument/2006/relationships/tags" Target="../tags/tag658.xml"/><Relationship Id="rId29" Type="http://schemas.openxmlformats.org/officeDocument/2006/relationships/tags" Target="../tags/tag667.xml"/><Relationship Id="rId41" Type="http://schemas.openxmlformats.org/officeDocument/2006/relationships/image" Target="../media/image204.png"/><Relationship Id="rId1" Type="http://schemas.openxmlformats.org/officeDocument/2006/relationships/tags" Target="../tags/tag639.xml"/><Relationship Id="rId6" Type="http://schemas.openxmlformats.org/officeDocument/2006/relationships/tags" Target="../tags/tag644.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tags" Target="../tags/tag670.xml"/><Relationship Id="rId37" Type="http://schemas.openxmlformats.org/officeDocument/2006/relationships/hyperlink" Target="https://clean-energy-islands.ec.europa.eu/countries/italy/legal/electricity-support/auctions-fer1-decree" TargetMode="External"/><Relationship Id="rId40" Type="http://schemas.openxmlformats.org/officeDocument/2006/relationships/chart" Target="../charts/chart48.xml"/><Relationship Id="rId5" Type="http://schemas.openxmlformats.org/officeDocument/2006/relationships/tags" Target="../tags/tag643.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tags" Target="../tags/tag666.xml"/><Relationship Id="rId36" Type="http://schemas.openxmlformats.org/officeDocument/2006/relationships/hyperlink" Target="https://www.thinkgeoenergy.com/italy-looks-to-end-decade-long-drought-of-new-geothermal-power-stations/" TargetMode="External"/><Relationship Id="rId10" Type="http://schemas.openxmlformats.org/officeDocument/2006/relationships/tags" Target="../tags/tag648.xml"/><Relationship Id="rId19" Type="http://schemas.openxmlformats.org/officeDocument/2006/relationships/tags" Target="../tags/tag657.xml"/><Relationship Id="rId31" Type="http://schemas.openxmlformats.org/officeDocument/2006/relationships/tags" Target="../tags/tag669.xm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tags" Target="../tags/tag665.xml"/><Relationship Id="rId30" Type="http://schemas.openxmlformats.org/officeDocument/2006/relationships/tags" Target="../tags/tag668.xml"/><Relationship Id="rId35" Type="http://schemas.openxmlformats.org/officeDocument/2006/relationships/image" Target="../media/image203.emf"/><Relationship Id="rId8" Type="http://schemas.openxmlformats.org/officeDocument/2006/relationships/tags" Target="../tags/tag646.xml"/><Relationship Id="rId3" Type="http://schemas.openxmlformats.org/officeDocument/2006/relationships/tags" Target="../tags/tag641.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slideLayout" Target="../slideLayouts/slideLayout8.xml"/><Relationship Id="rId38" Type="http://schemas.openxmlformats.org/officeDocument/2006/relationships/hyperlink" Target="https://business.columbia.edu/faculty/people/gernot-wagner" TargetMode="External"/></Relationships>
</file>

<file path=ppt/slides/_rels/slide63.xml.rels><?xml version="1.0" encoding="UTF-8" standalone="yes"?>
<Relationships xmlns="http://schemas.openxmlformats.org/package/2006/relationships"><Relationship Id="rId8" Type="http://schemas.openxmlformats.org/officeDocument/2006/relationships/tags" Target="../tags/tag678.xml"/><Relationship Id="rId13" Type="http://schemas.openxmlformats.org/officeDocument/2006/relationships/hyperlink" Target="https://new.abb.com/news/detail/126257/harnessing-geothermal-energy-to-power-indonesias-renewable-future?"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hyperlink" Target="https://www.iea.org/reports/the-future-of-geothermal-energy"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672.xml"/><Relationship Id="rId16" Type="http://schemas.openxmlformats.org/officeDocument/2006/relationships/hyperlink" Target="https://energytracker.asia/geothermal-energy-indonesia/?" TargetMode="External"/><Relationship Id="rId1" Type="http://schemas.openxmlformats.org/officeDocument/2006/relationships/tags" Target="../tags/tag671.xml"/><Relationship Id="rId6" Type="http://schemas.openxmlformats.org/officeDocument/2006/relationships/tags" Target="../tags/tag676.xml"/><Relationship Id="rId11" Type="http://schemas.openxmlformats.org/officeDocument/2006/relationships/image" Target="../media/image205.emf"/><Relationship Id="rId5" Type="http://schemas.openxmlformats.org/officeDocument/2006/relationships/tags" Target="../tags/tag675.xml"/><Relationship Id="rId15" Type="http://schemas.openxmlformats.org/officeDocument/2006/relationships/hyperlink" Target="https://pangea.stanford.edu/ERE/db/GeoConf/papers/SGW/2023/Habibi.pdf?" TargetMode="External"/><Relationship Id="rId10" Type="http://schemas.openxmlformats.org/officeDocument/2006/relationships/oleObject" Target="../embeddings/oleObject84.bin"/><Relationship Id="rId19" Type="http://schemas.openxmlformats.org/officeDocument/2006/relationships/chart" Target="../charts/chart49.xml"/><Relationship Id="rId4" Type="http://schemas.openxmlformats.org/officeDocument/2006/relationships/tags" Target="../tags/tag674.xml"/><Relationship Id="rId9" Type="http://schemas.openxmlformats.org/officeDocument/2006/relationships/slideLayout" Target="../slideLayouts/slideLayout8.xml"/><Relationship Id="rId14" Type="http://schemas.openxmlformats.org/officeDocument/2006/relationships/hyperlink" Target="https://www.thinkgeoenergy.com/indonesia-issues-new-regulation-to-entice-investments-on-geothermal-power-plants/?" TargetMode="Externa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85.bin"/><Relationship Id="rId13" Type="http://schemas.openxmlformats.org/officeDocument/2006/relationships/hyperlink" Target="https://www.cne.cl/nuestros-servicios/licitaciones-y-suministros/" TargetMode="External"/><Relationship Id="rId18" Type="http://schemas.openxmlformats.org/officeDocument/2006/relationships/image" Target="../media/image207.png"/><Relationship Id="rId3" Type="http://schemas.openxmlformats.org/officeDocument/2006/relationships/tags" Target="../tags/tag681.xml"/><Relationship Id="rId7" Type="http://schemas.openxmlformats.org/officeDocument/2006/relationships/slideLayout" Target="../slideLayouts/slideLayout8.xml"/><Relationship Id="rId12" Type="http://schemas.openxmlformats.org/officeDocument/2006/relationships/hyperlink" Target="https://www.sciltp.com/journals/see/articles/2507000887" TargetMode="External"/><Relationship Id="rId17" Type="http://schemas.openxmlformats.org/officeDocument/2006/relationships/chart" Target="../charts/chart50.xml"/><Relationship Id="rId2" Type="http://schemas.openxmlformats.org/officeDocument/2006/relationships/tags" Target="../tags/tag680.xml"/><Relationship Id="rId16" Type="http://schemas.openxmlformats.org/officeDocument/2006/relationships/hyperlink" Target="https://business.columbia.edu/insights/climate/cki" TargetMode="External"/><Relationship Id="rId1" Type="http://schemas.openxmlformats.org/officeDocument/2006/relationships/tags" Target="../tags/tag679.xml"/><Relationship Id="rId6" Type="http://schemas.openxmlformats.org/officeDocument/2006/relationships/tags" Target="../tags/tag684.xml"/><Relationship Id="rId11" Type="http://schemas.openxmlformats.org/officeDocument/2006/relationships/hyperlink" Target="https://www.thinkgeoenergy.com/transmark-issued-2-geothermal-exploration-licenses-in-chile/" TargetMode="External"/><Relationship Id="rId5" Type="http://schemas.openxmlformats.org/officeDocument/2006/relationships/tags" Target="../tags/tag683.xml"/><Relationship Id="rId15" Type="http://schemas.openxmlformats.org/officeDocument/2006/relationships/hyperlink" Target="https://business.columbia.edu/faculty/people/gernot-wagner" TargetMode="External"/><Relationship Id="rId10" Type="http://schemas.openxmlformats.org/officeDocument/2006/relationships/hyperlink" Target="https://www.catf.us/2025/03/introduction-next-clean-energy-frontier-superhot-rock-future-geothermal/" TargetMode="External"/><Relationship Id="rId4" Type="http://schemas.openxmlformats.org/officeDocument/2006/relationships/tags" Target="../tags/tag682.xml"/><Relationship Id="rId9" Type="http://schemas.openxmlformats.org/officeDocument/2006/relationships/image" Target="../media/image206.emf"/><Relationship Id="rId14" Type="http://schemas.openxmlformats.org/officeDocument/2006/relationships/hyperlink" Target="https://www.iea.org/reports/the-future-of-geothermal-energy" TargetMode="External"/></Relationships>
</file>

<file path=ppt/slides/_rels/slide65.xml.rels><?xml version="1.0" encoding="UTF-8" standalone="yes"?>
<Relationships xmlns="http://schemas.openxmlformats.org/package/2006/relationships"><Relationship Id="rId8" Type="http://schemas.openxmlformats.org/officeDocument/2006/relationships/tags" Target="../tags/tag692.xml"/><Relationship Id="rId13" Type="http://schemas.openxmlformats.org/officeDocument/2006/relationships/image" Target="../media/image208.emf"/><Relationship Id="rId18" Type="http://schemas.openxmlformats.org/officeDocument/2006/relationships/hyperlink" Target="https://business.columbia.edu/faculty/people/gernot-wagner" TargetMode="External"/><Relationship Id="rId3" Type="http://schemas.openxmlformats.org/officeDocument/2006/relationships/tags" Target="../tags/tag687.xml"/><Relationship Id="rId7" Type="http://schemas.openxmlformats.org/officeDocument/2006/relationships/tags" Target="../tags/tag691.xml"/><Relationship Id="rId12" Type="http://schemas.openxmlformats.org/officeDocument/2006/relationships/oleObject" Target="../embeddings/oleObject86.bin"/><Relationship Id="rId17" Type="http://schemas.openxmlformats.org/officeDocument/2006/relationships/hyperlink" Target="https://www.iea.org/reports/the-future-of-geothermal-energy" TargetMode="External"/><Relationship Id="rId2" Type="http://schemas.openxmlformats.org/officeDocument/2006/relationships/tags" Target="../tags/tag686.xml"/><Relationship Id="rId16" Type="http://schemas.openxmlformats.org/officeDocument/2006/relationships/hyperlink" Target="https://www.irena.org/news/articles/2009/Apr/Unlocking-geothermal-potential-in-Japan-through-small-scale-generation" TargetMode="External"/><Relationship Id="rId20" Type="http://schemas.openxmlformats.org/officeDocument/2006/relationships/chart" Target="../charts/chart51.xml"/><Relationship Id="rId1" Type="http://schemas.openxmlformats.org/officeDocument/2006/relationships/tags" Target="../tags/tag685.xml"/><Relationship Id="rId6" Type="http://schemas.openxmlformats.org/officeDocument/2006/relationships/tags" Target="../tags/tag690.xml"/><Relationship Id="rId11" Type="http://schemas.openxmlformats.org/officeDocument/2006/relationships/slideLayout" Target="../slideLayouts/slideLayout8.xml"/><Relationship Id="rId5" Type="http://schemas.openxmlformats.org/officeDocument/2006/relationships/tags" Target="../tags/tag689.xml"/><Relationship Id="rId15" Type="http://schemas.openxmlformats.org/officeDocument/2006/relationships/hyperlink" Target="https://www.argusmedia.com/en/news-and-insights/latest-market-news/2679011-japan-to-develop-geothermal-power-under-net-zero-plan" TargetMode="External"/><Relationship Id="rId10" Type="http://schemas.openxmlformats.org/officeDocument/2006/relationships/tags" Target="../tags/tag694.xml"/><Relationship Id="rId19" Type="http://schemas.openxmlformats.org/officeDocument/2006/relationships/hyperlink" Target="https://business.columbia.edu/insights/climate/cki" TargetMode="External"/><Relationship Id="rId4" Type="http://schemas.openxmlformats.org/officeDocument/2006/relationships/tags" Target="../tags/tag688.xml"/><Relationship Id="rId9" Type="http://schemas.openxmlformats.org/officeDocument/2006/relationships/tags" Target="../tags/tag693.xml"/><Relationship Id="rId14" Type="http://schemas.openxmlformats.org/officeDocument/2006/relationships/hyperlink" Target="https://drive.google.com/file/d/1lyK0HFcn4aljycOTHC_RsuVoOAqPq2DW/view" TargetMode="Externa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695.xml"/><Relationship Id="rId6" Type="http://schemas.openxmlformats.org/officeDocument/2006/relationships/image" Target="../media/image210.emf"/><Relationship Id="rId5" Type="http://schemas.openxmlformats.org/officeDocument/2006/relationships/oleObject" Target="../embeddings/oleObject87.bin"/><Relationship Id="rId4" Type="http://schemas.openxmlformats.org/officeDocument/2006/relationships/image" Target="../media/image209.jpeg"/></Relationships>
</file>

<file path=ppt/slides/_rels/slide67.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https://business.columbia.edu/insights/climate/cki"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708.xml"/><Relationship Id="rId18" Type="http://schemas.openxmlformats.org/officeDocument/2006/relationships/tags" Target="../tags/tag713.xml"/><Relationship Id="rId26" Type="http://schemas.openxmlformats.org/officeDocument/2006/relationships/tags" Target="../tags/tag721.xml"/><Relationship Id="rId39" Type="http://schemas.openxmlformats.org/officeDocument/2006/relationships/tags" Target="../tags/tag734.xml"/><Relationship Id="rId21" Type="http://schemas.openxmlformats.org/officeDocument/2006/relationships/tags" Target="../tags/tag716.xml"/><Relationship Id="rId34" Type="http://schemas.openxmlformats.org/officeDocument/2006/relationships/tags" Target="../tags/tag729.xml"/><Relationship Id="rId42" Type="http://schemas.openxmlformats.org/officeDocument/2006/relationships/tags" Target="../tags/tag737.xml"/><Relationship Id="rId47" Type="http://schemas.openxmlformats.org/officeDocument/2006/relationships/tags" Target="../tags/tag742.xml"/><Relationship Id="rId50" Type="http://schemas.openxmlformats.org/officeDocument/2006/relationships/tags" Target="../tags/tag745.xml"/><Relationship Id="rId55" Type="http://schemas.openxmlformats.org/officeDocument/2006/relationships/image" Target="../media/image212.emf"/><Relationship Id="rId7" Type="http://schemas.openxmlformats.org/officeDocument/2006/relationships/tags" Target="../tags/tag702.xml"/><Relationship Id="rId2" Type="http://schemas.openxmlformats.org/officeDocument/2006/relationships/tags" Target="../tags/tag697.xml"/><Relationship Id="rId16" Type="http://schemas.openxmlformats.org/officeDocument/2006/relationships/tags" Target="../tags/tag711.xml"/><Relationship Id="rId29" Type="http://schemas.openxmlformats.org/officeDocument/2006/relationships/tags" Target="../tags/tag724.xml"/><Relationship Id="rId11" Type="http://schemas.openxmlformats.org/officeDocument/2006/relationships/tags" Target="../tags/tag706.xml"/><Relationship Id="rId24" Type="http://schemas.openxmlformats.org/officeDocument/2006/relationships/tags" Target="../tags/tag719.xml"/><Relationship Id="rId32" Type="http://schemas.openxmlformats.org/officeDocument/2006/relationships/tags" Target="../tags/tag727.xml"/><Relationship Id="rId37" Type="http://schemas.openxmlformats.org/officeDocument/2006/relationships/tags" Target="../tags/tag732.xml"/><Relationship Id="rId40" Type="http://schemas.openxmlformats.org/officeDocument/2006/relationships/tags" Target="../tags/tag735.xml"/><Relationship Id="rId45" Type="http://schemas.openxmlformats.org/officeDocument/2006/relationships/tags" Target="../tags/tag740.xml"/><Relationship Id="rId53" Type="http://schemas.openxmlformats.org/officeDocument/2006/relationships/slideLayout" Target="../slideLayouts/slideLayout6.xml"/><Relationship Id="rId58" Type="http://schemas.openxmlformats.org/officeDocument/2006/relationships/hyperlink" Target="https://business.columbia.edu/insights/climate/cki" TargetMode="External"/><Relationship Id="rId5" Type="http://schemas.openxmlformats.org/officeDocument/2006/relationships/tags" Target="../tags/tag700.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tags" Target="../tags/tag717.xml"/><Relationship Id="rId27" Type="http://schemas.openxmlformats.org/officeDocument/2006/relationships/tags" Target="../tags/tag722.xml"/><Relationship Id="rId30" Type="http://schemas.openxmlformats.org/officeDocument/2006/relationships/tags" Target="../tags/tag725.xml"/><Relationship Id="rId35" Type="http://schemas.openxmlformats.org/officeDocument/2006/relationships/tags" Target="../tags/tag730.xml"/><Relationship Id="rId43" Type="http://schemas.openxmlformats.org/officeDocument/2006/relationships/tags" Target="../tags/tag738.xml"/><Relationship Id="rId48" Type="http://schemas.openxmlformats.org/officeDocument/2006/relationships/tags" Target="../tags/tag743.xml"/><Relationship Id="rId56" Type="http://schemas.openxmlformats.org/officeDocument/2006/relationships/hyperlink" Target="https://atb.nrel.gov/electricity/2024/geothermal" TargetMode="External"/><Relationship Id="rId8" Type="http://schemas.openxmlformats.org/officeDocument/2006/relationships/tags" Target="../tags/tag703.xml"/><Relationship Id="rId51" Type="http://schemas.openxmlformats.org/officeDocument/2006/relationships/tags" Target="../tags/tag746.xml"/><Relationship Id="rId3" Type="http://schemas.openxmlformats.org/officeDocument/2006/relationships/tags" Target="../tags/tag698.xml"/><Relationship Id="rId12" Type="http://schemas.openxmlformats.org/officeDocument/2006/relationships/tags" Target="../tags/tag707.xml"/><Relationship Id="rId17" Type="http://schemas.openxmlformats.org/officeDocument/2006/relationships/tags" Target="../tags/tag712.xml"/><Relationship Id="rId25" Type="http://schemas.openxmlformats.org/officeDocument/2006/relationships/tags" Target="../tags/tag720.xml"/><Relationship Id="rId33" Type="http://schemas.openxmlformats.org/officeDocument/2006/relationships/tags" Target="../tags/tag728.xml"/><Relationship Id="rId38" Type="http://schemas.openxmlformats.org/officeDocument/2006/relationships/tags" Target="../tags/tag733.xml"/><Relationship Id="rId46" Type="http://schemas.openxmlformats.org/officeDocument/2006/relationships/tags" Target="../tags/tag741.xml"/><Relationship Id="rId59" Type="http://schemas.openxmlformats.org/officeDocument/2006/relationships/chart" Target="../charts/chart52.xml"/><Relationship Id="rId20" Type="http://schemas.openxmlformats.org/officeDocument/2006/relationships/tags" Target="../tags/tag715.xml"/><Relationship Id="rId41" Type="http://schemas.openxmlformats.org/officeDocument/2006/relationships/tags" Target="../tags/tag736.xml"/><Relationship Id="rId54" Type="http://schemas.openxmlformats.org/officeDocument/2006/relationships/oleObject" Target="../embeddings/oleObject88.bin"/><Relationship Id="rId1" Type="http://schemas.openxmlformats.org/officeDocument/2006/relationships/tags" Target="../tags/tag696.xml"/><Relationship Id="rId6" Type="http://schemas.openxmlformats.org/officeDocument/2006/relationships/tags" Target="../tags/tag701.xml"/><Relationship Id="rId15" Type="http://schemas.openxmlformats.org/officeDocument/2006/relationships/tags" Target="../tags/tag710.xml"/><Relationship Id="rId23" Type="http://schemas.openxmlformats.org/officeDocument/2006/relationships/tags" Target="../tags/tag718.xml"/><Relationship Id="rId28" Type="http://schemas.openxmlformats.org/officeDocument/2006/relationships/tags" Target="../tags/tag723.xml"/><Relationship Id="rId36" Type="http://schemas.openxmlformats.org/officeDocument/2006/relationships/tags" Target="../tags/tag731.xml"/><Relationship Id="rId49" Type="http://schemas.openxmlformats.org/officeDocument/2006/relationships/tags" Target="../tags/tag744.xml"/><Relationship Id="rId57" Type="http://schemas.openxmlformats.org/officeDocument/2006/relationships/hyperlink" Target="https://business.columbia.edu/faculty/people/gernot-wagner" TargetMode="External"/><Relationship Id="rId10" Type="http://schemas.openxmlformats.org/officeDocument/2006/relationships/tags" Target="../tags/tag705.xml"/><Relationship Id="rId31" Type="http://schemas.openxmlformats.org/officeDocument/2006/relationships/tags" Target="../tags/tag726.xml"/><Relationship Id="rId44" Type="http://schemas.openxmlformats.org/officeDocument/2006/relationships/tags" Target="../tags/tag739.xml"/><Relationship Id="rId52" Type="http://schemas.openxmlformats.org/officeDocument/2006/relationships/tags" Target="../tags/tag747.xml"/></Relationships>
</file>

<file path=ppt/slides/_rels/slide69.xml.rels><?xml version="1.0" encoding="UTF-8" standalone="yes"?>
<Relationships xmlns="http://schemas.openxmlformats.org/package/2006/relationships"><Relationship Id="rId8" Type="http://schemas.openxmlformats.org/officeDocument/2006/relationships/hyperlink" Target="https://techcrunch.com/2025/06/11/fervo-energy-lands-206m-in-financing-to-build-massive-geothermal-power-plant/" TargetMode="External"/><Relationship Id="rId3" Type="http://schemas.openxmlformats.org/officeDocument/2006/relationships/oleObject" Target="../embeddings/oleObject89.bin"/><Relationship Id="rId7" Type="http://schemas.openxmlformats.org/officeDocument/2006/relationships/hyperlink" Target="https://www.esmap.org/sites/esmap.org/files/DocumentLibrary/FINAL_Geothermal%20Handbook_TR002-12_Reduced.pdf" TargetMode="External"/><Relationship Id="rId2" Type="http://schemas.openxmlformats.org/officeDocument/2006/relationships/slideLayout" Target="../slideLayouts/slideLayout3.xml"/><Relationship Id="rId1" Type="http://schemas.openxmlformats.org/officeDocument/2006/relationships/tags" Target="../tags/tag748.xml"/><Relationship Id="rId6" Type="http://schemas.openxmlformats.org/officeDocument/2006/relationships/hyperlink" Target="https://www.irena.org/publications/2021/Oct/Renewable-Energy-Auctions-Kenya" TargetMode="External"/><Relationship Id="rId5" Type="http://schemas.openxmlformats.org/officeDocument/2006/relationships/hyperlink" Target="https://thedocs.worldbank.org/en/doc/877101532398187778-0090022018/render/072018CIFSeminarHiroakiKanazawa.pdf"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213.emf"/><Relationship Id="rId9" Type="http://schemas.openxmlformats.org/officeDocument/2006/relationships/hyperlink" Target="https://business.columbia.edu/faculty/people/gernot-wagner"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data.worldbank.org/indicator/SP.POP.TOTL?end=2023&amp;start=1960&amp;view=chart" TargetMode="External"/><Relationship Id="rId3" Type="http://schemas.openxmlformats.org/officeDocument/2006/relationships/oleObject" Target="../embeddings/oleObject30.bin"/><Relationship Id="rId7" Type="http://schemas.openxmlformats.org/officeDocument/2006/relationships/hyperlink" Target="https://www.irena.org/Publications/2023/Feb/Global-geothermal-market-and-technology-assessment" TargetMode="External"/><Relationship Id="rId12"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116.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insights/climate/cki" TargetMode="External"/><Relationship Id="rId5" Type="http://schemas.openxmlformats.org/officeDocument/2006/relationships/hyperlink" Target="https://worldgeothermal.org/geothermal-data/geothermal-energy-database" TargetMode="External"/><Relationship Id="rId10" Type="http://schemas.openxmlformats.org/officeDocument/2006/relationships/hyperlink" Target="https://business.columbia.edu/faculty/people/gernot-wagner" TargetMode="External"/><Relationship Id="rId4" Type="http://schemas.openxmlformats.org/officeDocument/2006/relationships/image" Target="../media/image22.emf"/><Relationship Id="rId9" Type="http://schemas.openxmlformats.org/officeDocument/2006/relationships/hyperlink" Target="https://energy.ec.europa.eu/topics/renewable-energy/geothermal-energy_en" TargetMode="External"/></Relationships>
</file>

<file path=ppt/slides/_rels/slide70.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90.bin"/><Relationship Id="rId7" Type="http://schemas.openxmlformats.org/officeDocument/2006/relationships/hyperlink" Target="https://taxfoundation.org/blog/big-beautiful-bill-green-energy-tax-credit-changes" TargetMode="External"/><Relationship Id="rId2" Type="http://schemas.openxmlformats.org/officeDocument/2006/relationships/slideLayout" Target="../slideLayouts/slideLayout8.xml"/><Relationship Id="rId1" Type="http://schemas.openxmlformats.org/officeDocument/2006/relationships/tags" Target="../tags/tag749.xml"/><Relationship Id="rId6" Type="http://schemas.openxmlformats.org/officeDocument/2006/relationships/hyperlink" Target="https://www.energy.gov/articles/doe-launches-84-million-program-demonstrate-enhanced-geothermal-energy-systems" TargetMode="External"/><Relationship Id="rId5" Type="http://schemas.openxmlformats.org/officeDocument/2006/relationships/hyperlink" Target="https://igshpa.org/wp-content/uploads/LIFTOFF_DOE_Geothermal_HC.pdf" TargetMode="External"/><Relationship Id="rId4" Type="http://schemas.openxmlformats.org/officeDocument/2006/relationships/image" Target="../media/image214.emf"/><Relationship Id="rId9" Type="http://schemas.openxmlformats.org/officeDocument/2006/relationships/hyperlink" Target="https://business.columbia.edu/insights/climate/cki" TargetMode="External"/></Relationships>
</file>

<file path=ppt/slides/_rels/slide71.xml.rels><?xml version="1.0" encoding="UTF-8" standalone="yes"?>
<Relationships xmlns="http://schemas.openxmlformats.org/package/2006/relationships"><Relationship Id="rId8" Type="http://schemas.openxmlformats.org/officeDocument/2006/relationships/hyperlink" Target="https://www.businesswire.com/news/home/20220822005182/en/Fervo-Energy-Raises-%24138-Million-for-247-Carbon-Free-Next-Generation-Geothermal-Energy" TargetMode="External"/><Relationship Id="rId13" Type="http://schemas.openxmlformats.org/officeDocument/2006/relationships/hyperlink" Target="https://business.columbia.edu/faculty/people/gernot-wagner" TargetMode="External"/><Relationship Id="rId3" Type="http://schemas.openxmlformats.org/officeDocument/2006/relationships/oleObject" Target="../embeddings/oleObject91.bin"/><Relationship Id="rId7" Type="http://schemas.openxmlformats.org/officeDocument/2006/relationships/hyperlink" Target="https://siliconvalley.um.dk/insights/bridging-the-valley-of-death-for-climate-technologies" TargetMode="External"/><Relationship Id="rId12" Type="http://schemas.openxmlformats.org/officeDocument/2006/relationships/hyperlink" Target="https://pitchbook.com/profiles/company/471946-87" TargetMode="External"/><Relationship Id="rId2" Type="http://schemas.openxmlformats.org/officeDocument/2006/relationships/slideLayout" Target="../slideLayouts/slideLayout7.xml"/><Relationship Id="rId16" Type="http://schemas.openxmlformats.org/officeDocument/2006/relationships/image" Target="../media/image214.png"/><Relationship Id="rId1" Type="http://schemas.openxmlformats.org/officeDocument/2006/relationships/tags" Target="../tags/tag750.xml"/><Relationship Id="rId6" Type="http://schemas.openxmlformats.org/officeDocument/2006/relationships/hyperlink" Target="https://fervoenergy.com/fervo-energy-secures-additional-255-million-funding/" TargetMode="External"/><Relationship Id="rId11" Type="http://schemas.openxmlformats.org/officeDocument/2006/relationships/hyperlink" Target="https://www.axios.com/pro/climate-deals/2025/10/01/fervo-energy-geothermal-300-million-series-e-ipo" TargetMode="External"/><Relationship Id="rId5" Type="http://schemas.openxmlformats.org/officeDocument/2006/relationships/hyperlink" Target="https://fervoenergy.com/fervo-secures-new-financing-to-accelerate-development/" TargetMode="External"/><Relationship Id="rId15" Type="http://schemas.microsoft.com/office/2014/relationships/chartEx" Target="../charts/chartEx1.xml"/><Relationship Id="rId10" Type="http://schemas.openxmlformats.org/officeDocument/2006/relationships/hyperlink" Target="https://fervoenergy.com/fervo-energy-raises-244-million-to-accelerate-deployment-of-next-generation-geothermal/" TargetMode="External"/><Relationship Id="rId4" Type="http://schemas.openxmlformats.org/officeDocument/2006/relationships/image" Target="../media/image215.emf"/><Relationship Id="rId9" Type="http://schemas.openxmlformats.org/officeDocument/2006/relationships/hyperlink" Target="https://fervoenergy.com/wp-content/uploads/2022/08/SeriesBFunraiseAnnouncement.pdf" TargetMode="External"/><Relationship Id="rId14" Type="http://schemas.openxmlformats.org/officeDocument/2006/relationships/hyperlink" Target="https://business.columbia.edu/insights/climate/cki" TargetMode="External"/></Relationships>
</file>

<file path=ppt/slides/_rels/slide72.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92.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5.xml"/><Relationship Id="rId1" Type="http://schemas.openxmlformats.org/officeDocument/2006/relationships/tags" Target="../tags/tag751.xml"/><Relationship Id="rId6" Type="http://schemas.openxmlformats.org/officeDocument/2006/relationships/hyperlink" Target="https://www.cif.org/sites/default/files/knowledge-documents/150601_final_olkaria_forweb_2.pdf" TargetMode="External"/><Relationship Id="rId5" Type="http://schemas.openxmlformats.org/officeDocument/2006/relationships/hyperlink" Target="https://www.eib.org/en/press/all/2010-237-european-investment-bank-and-agence-francaise-de-developpement-agree-crucial-financing-for-olkaria-geothermal-power-plant-extension" TargetMode="External"/><Relationship Id="rId4" Type="http://schemas.openxmlformats.org/officeDocument/2006/relationships/image" Target="../media/image216.emf"/></Relationships>
</file>

<file path=ppt/slides/_rels/slide73.xml.rels><?xml version="1.0" encoding="UTF-8" standalone="yes"?>
<Relationships xmlns="http://schemas.openxmlformats.org/package/2006/relationships"><Relationship Id="rId8" Type="http://schemas.openxmlformats.org/officeDocument/2006/relationships/tags" Target="../tags/tag759.xml"/><Relationship Id="rId13" Type="http://schemas.openxmlformats.org/officeDocument/2006/relationships/tags" Target="../tags/tag764.xml"/><Relationship Id="rId18" Type="http://schemas.openxmlformats.org/officeDocument/2006/relationships/hyperlink" Target="https://www.jbic.go.jp/en/information/press/press-2013/0331-19526.html" TargetMode="External"/><Relationship Id="rId3" Type="http://schemas.openxmlformats.org/officeDocument/2006/relationships/tags" Target="../tags/tag754.xml"/><Relationship Id="rId21" Type="http://schemas.openxmlformats.org/officeDocument/2006/relationships/hyperlink" Target="https://business.columbia.edu/faculty/people/gernot-wagner" TargetMode="External"/><Relationship Id="rId7" Type="http://schemas.openxmlformats.org/officeDocument/2006/relationships/tags" Target="../tags/tag758.xml"/><Relationship Id="rId12" Type="http://schemas.openxmlformats.org/officeDocument/2006/relationships/tags" Target="../tags/tag763.xml"/><Relationship Id="rId17" Type="http://schemas.openxmlformats.org/officeDocument/2006/relationships/hyperlink" Target="https://www.ijglobal.com/articles/91557/sarulla-geothermal-indonesia" TargetMode="External"/><Relationship Id="rId2" Type="http://schemas.openxmlformats.org/officeDocument/2006/relationships/tags" Target="../tags/tag753.xml"/><Relationship Id="rId16" Type="http://schemas.openxmlformats.org/officeDocument/2006/relationships/image" Target="../media/image217.emf"/><Relationship Id="rId20" Type="http://schemas.openxmlformats.org/officeDocument/2006/relationships/hyperlink" Target="https://thedocs.worldbank.org/en/doc/877101532398187778-0090022018/render/072018CIFSeminarHiroakiKanazawa.pdf" TargetMode="Externa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tags" Target="../tags/tag762.xml"/><Relationship Id="rId5" Type="http://schemas.openxmlformats.org/officeDocument/2006/relationships/tags" Target="../tags/tag756.xml"/><Relationship Id="rId15" Type="http://schemas.openxmlformats.org/officeDocument/2006/relationships/oleObject" Target="../embeddings/oleObject93.bin"/><Relationship Id="rId23" Type="http://schemas.openxmlformats.org/officeDocument/2006/relationships/chart" Target="../charts/chart53.xml"/><Relationship Id="rId10" Type="http://schemas.openxmlformats.org/officeDocument/2006/relationships/tags" Target="../tags/tag761.xml"/><Relationship Id="rId19" Type="http://schemas.openxmlformats.org/officeDocument/2006/relationships/hyperlink" Target="https://investor.ormat.com/news-events/news/news-details/2017/Sarulla-Geothermal-Power-Plant-Capacity-Expands-to-220-MW-With-Second-Unit-Commencing-Commercial-Operation/default.aspx" TargetMode="External"/><Relationship Id="rId4" Type="http://schemas.openxmlformats.org/officeDocument/2006/relationships/tags" Target="../tags/tag755.xml"/><Relationship Id="rId9" Type="http://schemas.openxmlformats.org/officeDocument/2006/relationships/tags" Target="../tags/tag760.xml"/><Relationship Id="rId14" Type="http://schemas.openxmlformats.org/officeDocument/2006/relationships/slideLayout" Target="../slideLayouts/slideLayout7.xml"/><Relationship Id="rId22" Type="http://schemas.openxmlformats.org/officeDocument/2006/relationships/hyperlink" Target="https://business.columbia.edu/insights/climate/cki" TargetMode="External"/></Relationships>
</file>

<file path=ppt/slides/_rels/slide74.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9" Type="http://schemas.openxmlformats.org/officeDocument/2006/relationships/hyperlink" Target="https://www.iea.org/reports/the-future-of-geothermal-energy" TargetMode="External"/><Relationship Id="rId21" Type="http://schemas.openxmlformats.org/officeDocument/2006/relationships/tags" Target="../tags/tag785.xml"/><Relationship Id="rId34" Type="http://schemas.openxmlformats.org/officeDocument/2006/relationships/tags" Target="../tags/tag798.xml"/><Relationship Id="rId42" Type="http://schemas.openxmlformats.org/officeDocument/2006/relationships/chart" Target="../charts/chart54.xml"/><Relationship Id="rId7" Type="http://schemas.openxmlformats.org/officeDocument/2006/relationships/tags" Target="../tags/tag771.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tags" Target="../tags/tag793.xml"/><Relationship Id="rId41" Type="http://schemas.openxmlformats.org/officeDocument/2006/relationships/hyperlink" Target="https://business.columbia.edu/insights/climate/cki" TargetMode="Externa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tags" Target="../tags/tag796.xml"/><Relationship Id="rId37" Type="http://schemas.openxmlformats.org/officeDocument/2006/relationships/oleObject" Target="../embeddings/oleObject94.bin"/><Relationship Id="rId40" Type="http://schemas.openxmlformats.org/officeDocument/2006/relationships/hyperlink" Target="https://business.columbia.edu/faculty/people/gernot-wagner" TargetMode="Externa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tags" Target="../tags/tag792.xml"/><Relationship Id="rId36" Type="http://schemas.openxmlformats.org/officeDocument/2006/relationships/slideLayout" Target="../slideLayouts/slideLayout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tags" Target="../tags/tag795.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tags" Target="../tags/tag794.xml"/><Relationship Id="rId35" Type="http://schemas.openxmlformats.org/officeDocument/2006/relationships/tags" Target="../tags/tag799.xml"/><Relationship Id="rId43" Type="http://schemas.openxmlformats.org/officeDocument/2006/relationships/chart" Target="../charts/chart55.xml"/><Relationship Id="rId8" Type="http://schemas.openxmlformats.org/officeDocument/2006/relationships/tags" Target="../tags/tag772.xml"/><Relationship Id="rId3" Type="http://schemas.openxmlformats.org/officeDocument/2006/relationships/tags" Target="../tags/tag767.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tags" Target="../tags/tag797.xml"/><Relationship Id="rId38" Type="http://schemas.openxmlformats.org/officeDocument/2006/relationships/image" Target="../media/image218.emf"/></Relationships>
</file>

<file path=ppt/slides/_rels/slide75.xml.rels><?xml version="1.0" encoding="UTF-8" standalone="yes"?>
<Relationships xmlns="http://schemas.openxmlformats.org/package/2006/relationships"><Relationship Id="rId13" Type="http://schemas.openxmlformats.org/officeDocument/2006/relationships/tags" Target="../tags/tag812.xml"/><Relationship Id="rId18" Type="http://schemas.openxmlformats.org/officeDocument/2006/relationships/tags" Target="../tags/tag817.xml"/><Relationship Id="rId26" Type="http://schemas.openxmlformats.org/officeDocument/2006/relationships/tags" Target="../tags/tag825.xml"/><Relationship Id="rId3" Type="http://schemas.openxmlformats.org/officeDocument/2006/relationships/tags" Target="../tags/tag802.xml"/><Relationship Id="rId21" Type="http://schemas.openxmlformats.org/officeDocument/2006/relationships/tags" Target="../tags/tag820.xml"/><Relationship Id="rId34" Type="http://schemas.openxmlformats.org/officeDocument/2006/relationships/hyperlink" Target="https://business.columbia.edu/faculty/people/gernot-wagner" TargetMode="External"/><Relationship Id="rId7" Type="http://schemas.openxmlformats.org/officeDocument/2006/relationships/tags" Target="../tags/tag806.xml"/><Relationship Id="rId12" Type="http://schemas.openxmlformats.org/officeDocument/2006/relationships/tags" Target="../tags/tag811.xml"/><Relationship Id="rId17" Type="http://schemas.openxmlformats.org/officeDocument/2006/relationships/tags" Target="../tags/tag816.xml"/><Relationship Id="rId25" Type="http://schemas.openxmlformats.org/officeDocument/2006/relationships/tags" Target="../tags/tag824.xml"/><Relationship Id="rId33" Type="http://schemas.openxmlformats.org/officeDocument/2006/relationships/hyperlink" Target="https://data.openei.org/submissions/6006" TargetMode="External"/><Relationship Id="rId2" Type="http://schemas.openxmlformats.org/officeDocument/2006/relationships/tags" Target="../tags/tag801.xml"/><Relationship Id="rId16" Type="http://schemas.openxmlformats.org/officeDocument/2006/relationships/tags" Target="../tags/tag815.xml"/><Relationship Id="rId20" Type="http://schemas.openxmlformats.org/officeDocument/2006/relationships/tags" Target="../tags/tag819.xml"/><Relationship Id="rId29" Type="http://schemas.openxmlformats.org/officeDocument/2006/relationships/tags" Target="../tags/tag828.xml"/><Relationship Id="rId1" Type="http://schemas.openxmlformats.org/officeDocument/2006/relationships/tags" Target="../tags/tag800.xml"/><Relationship Id="rId6" Type="http://schemas.openxmlformats.org/officeDocument/2006/relationships/tags" Target="../tags/tag805.xml"/><Relationship Id="rId11" Type="http://schemas.openxmlformats.org/officeDocument/2006/relationships/tags" Target="../tags/tag810.xml"/><Relationship Id="rId24" Type="http://schemas.openxmlformats.org/officeDocument/2006/relationships/tags" Target="../tags/tag823.xml"/><Relationship Id="rId32" Type="http://schemas.openxmlformats.org/officeDocument/2006/relationships/image" Target="../media/image219.emf"/><Relationship Id="rId5" Type="http://schemas.openxmlformats.org/officeDocument/2006/relationships/tags" Target="../tags/tag804.xml"/><Relationship Id="rId15" Type="http://schemas.openxmlformats.org/officeDocument/2006/relationships/tags" Target="../tags/tag814.xml"/><Relationship Id="rId23" Type="http://schemas.openxmlformats.org/officeDocument/2006/relationships/tags" Target="../tags/tag822.xml"/><Relationship Id="rId28" Type="http://schemas.openxmlformats.org/officeDocument/2006/relationships/tags" Target="../tags/tag827.xml"/><Relationship Id="rId36" Type="http://schemas.openxmlformats.org/officeDocument/2006/relationships/chart" Target="../charts/chart56.xml"/><Relationship Id="rId10" Type="http://schemas.openxmlformats.org/officeDocument/2006/relationships/tags" Target="../tags/tag809.xml"/><Relationship Id="rId19" Type="http://schemas.openxmlformats.org/officeDocument/2006/relationships/tags" Target="../tags/tag818.xml"/><Relationship Id="rId31" Type="http://schemas.openxmlformats.org/officeDocument/2006/relationships/oleObject" Target="../embeddings/oleObject95.bin"/><Relationship Id="rId4" Type="http://schemas.openxmlformats.org/officeDocument/2006/relationships/tags" Target="../tags/tag803.xml"/><Relationship Id="rId9" Type="http://schemas.openxmlformats.org/officeDocument/2006/relationships/tags" Target="../tags/tag808.xml"/><Relationship Id="rId14" Type="http://schemas.openxmlformats.org/officeDocument/2006/relationships/tags" Target="../tags/tag813.xml"/><Relationship Id="rId22" Type="http://schemas.openxmlformats.org/officeDocument/2006/relationships/tags" Target="../tags/tag821.xml"/><Relationship Id="rId27" Type="http://schemas.openxmlformats.org/officeDocument/2006/relationships/tags" Target="../tags/tag826.xml"/><Relationship Id="rId30" Type="http://schemas.openxmlformats.org/officeDocument/2006/relationships/slideLayout" Target="../slideLayouts/slideLayout6.xml"/><Relationship Id="rId35" Type="http://schemas.openxmlformats.org/officeDocument/2006/relationships/hyperlink" Target="https://business.columbia.edu/insights/climate/cki" TargetMode="External"/><Relationship Id="rId8" Type="http://schemas.openxmlformats.org/officeDocument/2006/relationships/tags" Target="../tags/tag807.xml"/></Relationships>
</file>

<file path=ppt/slides/_rels/slide76.xml.rels><?xml version="1.0" encoding="UTF-8" standalone="yes"?>
<Relationships xmlns="http://schemas.openxmlformats.org/package/2006/relationships"><Relationship Id="rId26" Type="http://schemas.openxmlformats.org/officeDocument/2006/relationships/tags" Target="../tags/tag854.xml"/><Relationship Id="rId21" Type="http://schemas.openxmlformats.org/officeDocument/2006/relationships/tags" Target="../tags/tag849.xml"/><Relationship Id="rId42" Type="http://schemas.openxmlformats.org/officeDocument/2006/relationships/tags" Target="../tags/tag870.xml"/><Relationship Id="rId47" Type="http://schemas.openxmlformats.org/officeDocument/2006/relationships/tags" Target="../tags/tag875.xml"/><Relationship Id="rId63" Type="http://schemas.openxmlformats.org/officeDocument/2006/relationships/tags" Target="../tags/tag891.xml"/><Relationship Id="rId68" Type="http://schemas.openxmlformats.org/officeDocument/2006/relationships/image" Target="../media/image220.emf"/><Relationship Id="rId2" Type="http://schemas.openxmlformats.org/officeDocument/2006/relationships/tags" Target="../tags/tag830.xml"/><Relationship Id="rId16" Type="http://schemas.openxmlformats.org/officeDocument/2006/relationships/tags" Target="../tags/tag844.xml"/><Relationship Id="rId29" Type="http://schemas.openxmlformats.org/officeDocument/2006/relationships/tags" Target="../tags/tag857.xml"/><Relationship Id="rId11" Type="http://schemas.openxmlformats.org/officeDocument/2006/relationships/tags" Target="../tags/tag839.xml"/><Relationship Id="rId24" Type="http://schemas.openxmlformats.org/officeDocument/2006/relationships/tags" Target="../tags/tag852.xml"/><Relationship Id="rId32" Type="http://schemas.openxmlformats.org/officeDocument/2006/relationships/tags" Target="../tags/tag860.xml"/><Relationship Id="rId37" Type="http://schemas.openxmlformats.org/officeDocument/2006/relationships/tags" Target="../tags/tag865.xml"/><Relationship Id="rId40" Type="http://schemas.openxmlformats.org/officeDocument/2006/relationships/tags" Target="../tags/tag868.xml"/><Relationship Id="rId45" Type="http://schemas.openxmlformats.org/officeDocument/2006/relationships/tags" Target="../tags/tag873.xml"/><Relationship Id="rId53" Type="http://schemas.openxmlformats.org/officeDocument/2006/relationships/tags" Target="../tags/tag881.xml"/><Relationship Id="rId58" Type="http://schemas.openxmlformats.org/officeDocument/2006/relationships/tags" Target="../tags/tag886.xml"/><Relationship Id="rId66" Type="http://schemas.openxmlformats.org/officeDocument/2006/relationships/slideLayout" Target="../slideLayouts/slideLayout3.xml"/><Relationship Id="rId74" Type="http://schemas.openxmlformats.org/officeDocument/2006/relationships/hyperlink" Target="https://www.morganstanley.com/insights/articles/nuclear-energy-investment-renaissance-2050" TargetMode="External"/><Relationship Id="rId5" Type="http://schemas.openxmlformats.org/officeDocument/2006/relationships/tags" Target="../tags/tag833.xml"/><Relationship Id="rId61" Type="http://schemas.openxmlformats.org/officeDocument/2006/relationships/tags" Target="../tags/tag889.xml"/><Relationship Id="rId19" Type="http://schemas.openxmlformats.org/officeDocument/2006/relationships/tags" Target="../tags/tag847.xml"/><Relationship Id="rId14" Type="http://schemas.openxmlformats.org/officeDocument/2006/relationships/tags" Target="../tags/tag842.xml"/><Relationship Id="rId22" Type="http://schemas.openxmlformats.org/officeDocument/2006/relationships/tags" Target="../tags/tag850.xml"/><Relationship Id="rId27" Type="http://schemas.openxmlformats.org/officeDocument/2006/relationships/tags" Target="../tags/tag855.xml"/><Relationship Id="rId30" Type="http://schemas.openxmlformats.org/officeDocument/2006/relationships/tags" Target="../tags/tag858.xml"/><Relationship Id="rId35" Type="http://schemas.openxmlformats.org/officeDocument/2006/relationships/tags" Target="../tags/tag863.xml"/><Relationship Id="rId43" Type="http://schemas.openxmlformats.org/officeDocument/2006/relationships/tags" Target="../tags/tag871.xml"/><Relationship Id="rId48" Type="http://schemas.openxmlformats.org/officeDocument/2006/relationships/tags" Target="../tags/tag876.xml"/><Relationship Id="rId56" Type="http://schemas.openxmlformats.org/officeDocument/2006/relationships/tags" Target="../tags/tag884.xml"/><Relationship Id="rId64" Type="http://schemas.openxmlformats.org/officeDocument/2006/relationships/tags" Target="../tags/tag892.xml"/><Relationship Id="rId69" Type="http://schemas.openxmlformats.org/officeDocument/2006/relationships/chart" Target="../charts/chart57.xml"/><Relationship Id="rId8" Type="http://schemas.openxmlformats.org/officeDocument/2006/relationships/tags" Target="../tags/tag836.xml"/><Relationship Id="rId51" Type="http://schemas.openxmlformats.org/officeDocument/2006/relationships/tags" Target="../tags/tag879.xml"/><Relationship Id="rId72" Type="http://schemas.openxmlformats.org/officeDocument/2006/relationships/hyperlink" Target="https://market.us/report/geothermal-energy-market/#overview" TargetMode="External"/><Relationship Id="rId3" Type="http://schemas.openxmlformats.org/officeDocument/2006/relationships/tags" Target="../tags/tag831.xml"/><Relationship Id="rId12" Type="http://schemas.openxmlformats.org/officeDocument/2006/relationships/tags" Target="../tags/tag840.xml"/><Relationship Id="rId17" Type="http://schemas.openxmlformats.org/officeDocument/2006/relationships/tags" Target="../tags/tag845.xml"/><Relationship Id="rId25" Type="http://schemas.openxmlformats.org/officeDocument/2006/relationships/tags" Target="../tags/tag853.xml"/><Relationship Id="rId33" Type="http://schemas.openxmlformats.org/officeDocument/2006/relationships/tags" Target="../tags/tag861.xml"/><Relationship Id="rId38" Type="http://schemas.openxmlformats.org/officeDocument/2006/relationships/tags" Target="../tags/tag866.xml"/><Relationship Id="rId46" Type="http://schemas.openxmlformats.org/officeDocument/2006/relationships/tags" Target="../tags/tag874.xml"/><Relationship Id="rId59" Type="http://schemas.openxmlformats.org/officeDocument/2006/relationships/tags" Target="../tags/tag887.xml"/><Relationship Id="rId67" Type="http://schemas.openxmlformats.org/officeDocument/2006/relationships/oleObject" Target="../embeddings/oleObject96.bin"/><Relationship Id="rId20" Type="http://schemas.openxmlformats.org/officeDocument/2006/relationships/tags" Target="../tags/tag848.xml"/><Relationship Id="rId41" Type="http://schemas.openxmlformats.org/officeDocument/2006/relationships/tags" Target="../tags/tag869.xml"/><Relationship Id="rId54" Type="http://schemas.openxmlformats.org/officeDocument/2006/relationships/tags" Target="../tags/tag882.xml"/><Relationship Id="rId62" Type="http://schemas.openxmlformats.org/officeDocument/2006/relationships/tags" Target="../tags/tag890.xml"/><Relationship Id="rId70" Type="http://schemas.openxmlformats.org/officeDocument/2006/relationships/chart" Target="../charts/chart58.xml"/><Relationship Id="rId75" Type="http://schemas.openxmlformats.org/officeDocument/2006/relationships/hyperlink" Target="https://business.columbia.edu/faculty/people/gernot-wagner" TargetMode="External"/><Relationship Id="rId1" Type="http://schemas.openxmlformats.org/officeDocument/2006/relationships/tags" Target="../tags/tag829.xml"/><Relationship Id="rId6" Type="http://schemas.openxmlformats.org/officeDocument/2006/relationships/tags" Target="../tags/tag834.xml"/><Relationship Id="rId15" Type="http://schemas.openxmlformats.org/officeDocument/2006/relationships/tags" Target="../tags/tag843.xml"/><Relationship Id="rId23" Type="http://schemas.openxmlformats.org/officeDocument/2006/relationships/tags" Target="../tags/tag851.xml"/><Relationship Id="rId28" Type="http://schemas.openxmlformats.org/officeDocument/2006/relationships/tags" Target="../tags/tag856.xml"/><Relationship Id="rId36" Type="http://schemas.openxmlformats.org/officeDocument/2006/relationships/tags" Target="../tags/tag864.xml"/><Relationship Id="rId49" Type="http://schemas.openxmlformats.org/officeDocument/2006/relationships/tags" Target="../tags/tag877.xml"/><Relationship Id="rId57" Type="http://schemas.openxmlformats.org/officeDocument/2006/relationships/tags" Target="../tags/tag885.xml"/><Relationship Id="rId10" Type="http://schemas.openxmlformats.org/officeDocument/2006/relationships/tags" Target="../tags/tag838.xml"/><Relationship Id="rId31" Type="http://schemas.openxmlformats.org/officeDocument/2006/relationships/tags" Target="../tags/tag859.xml"/><Relationship Id="rId44" Type="http://schemas.openxmlformats.org/officeDocument/2006/relationships/tags" Target="../tags/tag872.xml"/><Relationship Id="rId52" Type="http://schemas.openxmlformats.org/officeDocument/2006/relationships/tags" Target="../tags/tag880.xml"/><Relationship Id="rId60" Type="http://schemas.openxmlformats.org/officeDocument/2006/relationships/tags" Target="../tags/tag888.xml"/><Relationship Id="rId65" Type="http://schemas.openxmlformats.org/officeDocument/2006/relationships/tags" Target="../tags/tag893.xml"/><Relationship Id="rId73" Type="http://schemas.openxmlformats.org/officeDocument/2006/relationships/hyperlink" Target="https://www.iea.org/reports/the-path-to-a-new-era-for-nuclear-energy/outlook-for-nuclear-investment" TargetMode="External"/><Relationship Id="rId4" Type="http://schemas.openxmlformats.org/officeDocument/2006/relationships/tags" Target="../tags/tag832.xml"/><Relationship Id="rId9" Type="http://schemas.openxmlformats.org/officeDocument/2006/relationships/tags" Target="../tags/tag837.xml"/><Relationship Id="rId13" Type="http://schemas.openxmlformats.org/officeDocument/2006/relationships/tags" Target="../tags/tag841.xml"/><Relationship Id="rId18" Type="http://schemas.openxmlformats.org/officeDocument/2006/relationships/tags" Target="../tags/tag846.xml"/><Relationship Id="rId39" Type="http://schemas.openxmlformats.org/officeDocument/2006/relationships/tags" Target="../tags/tag867.xml"/><Relationship Id="rId34" Type="http://schemas.openxmlformats.org/officeDocument/2006/relationships/tags" Target="../tags/tag862.xml"/><Relationship Id="rId50" Type="http://schemas.openxmlformats.org/officeDocument/2006/relationships/tags" Target="../tags/tag878.xml"/><Relationship Id="rId55" Type="http://schemas.openxmlformats.org/officeDocument/2006/relationships/tags" Target="../tags/tag883.xml"/><Relationship Id="rId76" Type="http://schemas.openxmlformats.org/officeDocument/2006/relationships/hyperlink" Target="https://business.columbia.edu/insights/climate/cki" TargetMode="External"/><Relationship Id="rId7" Type="http://schemas.openxmlformats.org/officeDocument/2006/relationships/tags" Target="../tags/tag835.xml"/><Relationship Id="rId71" Type="http://schemas.openxmlformats.org/officeDocument/2006/relationships/hyperlink" Target="https://www.iea.org/data-and-statistics/charts/cumulative-investment-for-next-generation-geothermal-2025-2050" TargetMode="External"/></Relationships>
</file>

<file path=ppt/slides/_rels/slide77.xml.rels><?xml version="1.0" encoding="UTF-8" standalone="yes"?>
<Relationships xmlns="http://schemas.openxmlformats.org/package/2006/relationships"><Relationship Id="rId26" Type="http://schemas.openxmlformats.org/officeDocument/2006/relationships/tags" Target="../tags/tag919.xml"/><Relationship Id="rId21" Type="http://schemas.openxmlformats.org/officeDocument/2006/relationships/tags" Target="../tags/tag914.xml"/><Relationship Id="rId42" Type="http://schemas.openxmlformats.org/officeDocument/2006/relationships/tags" Target="../tags/tag935.xml"/><Relationship Id="rId47" Type="http://schemas.openxmlformats.org/officeDocument/2006/relationships/tags" Target="../tags/tag940.xml"/><Relationship Id="rId63" Type="http://schemas.openxmlformats.org/officeDocument/2006/relationships/notesSlide" Target="../notesSlides/notesSlide4.xml"/><Relationship Id="rId68" Type="http://schemas.openxmlformats.org/officeDocument/2006/relationships/chart" Target="../charts/chart61.xml"/><Relationship Id="rId16" Type="http://schemas.openxmlformats.org/officeDocument/2006/relationships/tags" Target="../tags/tag909.xml"/><Relationship Id="rId11" Type="http://schemas.openxmlformats.org/officeDocument/2006/relationships/tags" Target="../tags/tag904.xml"/><Relationship Id="rId24" Type="http://schemas.openxmlformats.org/officeDocument/2006/relationships/tags" Target="../tags/tag917.xml"/><Relationship Id="rId32" Type="http://schemas.openxmlformats.org/officeDocument/2006/relationships/tags" Target="../tags/tag925.xml"/><Relationship Id="rId37" Type="http://schemas.openxmlformats.org/officeDocument/2006/relationships/tags" Target="../tags/tag930.xml"/><Relationship Id="rId40" Type="http://schemas.openxmlformats.org/officeDocument/2006/relationships/tags" Target="../tags/tag933.xml"/><Relationship Id="rId45" Type="http://schemas.openxmlformats.org/officeDocument/2006/relationships/tags" Target="../tags/tag938.xml"/><Relationship Id="rId53" Type="http://schemas.openxmlformats.org/officeDocument/2006/relationships/tags" Target="../tags/tag946.xml"/><Relationship Id="rId58" Type="http://schemas.openxmlformats.org/officeDocument/2006/relationships/tags" Target="../tags/tag951.xml"/><Relationship Id="rId66" Type="http://schemas.openxmlformats.org/officeDocument/2006/relationships/chart" Target="../charts/chart59.xml"/><Relationship Id="rId74" Type="http://schemas.openxmlformats.org/officeDocument/2006/relationships/hyperlink" Target="https://www.irena.org/Publications/2025/Jun/Renewable-Power-Generation-Costs-in-2024" TargetMode="External"/><Relationship Id="rId79" Type="http://schemas.openxmlformats.org/officeDocument/2006/relationships/hyperlink" Target="https://business.columbia.edu/faculty/people/gernot-wagner" TargetMode="External"/><Relationship Id="rId5" Type="http://schemas.openxmlformats.org/officeDocument/2006/relationships/tags" Target="../tags/tag898.xml"/><Relationship Id="rId61" Type="http://schemas.openxmlformats.org/officeDocument/2006/relationships/tags" Target="../tags/tag954.xml"/><Relationship Id="rId19" Type="http://schemas.openxmlformats.org/officeDocument/2006/relationships/tags" Target="../tags/tag912.xml"/><Relationship Id="rId14" Type="http://schemas.openxmlformats.org/officeDocument/2006/relationships/tags" Target="../tags/tag907.xml"/><Relationship Id="rId22" Type="http://schemas.openxmlformats.org/officeDocument/2006/relationships/tags" Target="../tags/tag915.xml"/><Relationship Id="rId27" Type="http://schemas.openxmlformats.org/officeDocument/2006/relationships/tags" Target="../tags/tag920.xml"/><Relationship Id="rId30" Type="http://schemas.openxmlformats.org/officeDocument/2006/relationships/tags" Target="../tags/tag923.xml"/><Relationship Id="rId35" Type="http://schemas.openxmlformats.org/officeDocument/2006/relationships/tags" Target="../tags/tag928.xml"/><Relationship Id="rId43" Type="http://schemas.openxmlformats.org/officeDocument/2006/relationships/tags" Target="../tags/tag936.xml"/><Relationship Id="rId48" Type="http://schemas.openxmlformats.org/officeDocument/2006/relationships/tags" Target="../tags/tag941.xml"/><Relationship Id="rId56" Type="http://schemas.openxmlformats.org/officeDocument/2006/relationships/tags" Target="../tags/tag949.xml"/><Relationship Id="rId64" Type="http://schemas.openxmlformats.org/officeDocument/2006/relationships/oleObject" Target="../embeddings/oleObject97.bin"/><Relationship Id="rId69" Type="http://schemas.openxmlformats.org/officeDocument/2006/relationships/hyperlink" Target="https://igshpa.org/wp-content/uploads/LIFTOFF_DOE_Geothermal_HC.pdf" TargetMode="External"/><Relationship Id="rId77" Type="http://schemas.openxmlformats.org/officeDocument/2006/relationships/hyperlink" Target="https://energy.mit.edu/research/future-nuclear-power/" TargetMode="External"/><Relationship Id="rId8" Type="http://schemas.openxmlformats.org/officeDocument/2006/relationships/tags" Target="../tags/tag901.xml"/><Relationship Id="rId51" Type="http://schemas.openxmlformats.org/officeDocument/2006/relationships/tags" Target="../tags/tag944.xml"/><Relationship Id="rId72" Type="http://schemas.openxmlformats.org/officeDocument/2006/relationships/hyperlink" Target="https://www.irena.org/Energy-Transition/Technology/Geothermal-energy" TargetMode="External"/><Relationship Id="rId80" Type="http://schemas.openxmlformats.org/officeDocument/2006/relationships/hyperlink" Target="https://business.columbia.edu/insights/climate/cki" TargetMode="External"/><Relationship Id="rId3" Type="http://schemas.openxmlformats.org/officeDocument/2006/relationships/tags" Target="../tags/tag896.xml"/><Relationship Id="rId12" Type="http://schemas.openxmlformats.org/officeDocument/2006/relationships/tags" Target="../tags/tag905.xml"/><Relationship Id="rId17" Type="http://schemas.openxmlformats.org/officeDocument/2006/relationships/tags" Target="../tags/tag910.xml"/><Relationship Id="rId25" Type="http://schemas.openxmlformats.org/officeDocument/2006/relationships/tags" Target="../tags/tag918.xml"/><Relationship Id="rId33" Type="http://schemas.openxmlformats.org/officeDocument/2006/relationships/tags" Target="../tags/tag926.xml"/><Relationship Id="rId38" Type="http://schemas.openxmlformats.org/officeDocument/2006/relationships/tags" Target="../tags/tag931.xml"/><Relationship Id="rId46" Type="http://schemas.openxmlformats.org/officeDocument/2006/relationships/tags" Target="../tags/tag939.xml"/><Relationship Id="rId59" Type="http://schemas.openxmlformats.org/officeDocument/2006/relationships/tags" Target="../tags/tag952.xml"/><Relationship Id="rId67" Type="http://schemas.openxmlformats.org/officeDocument/2006/relationships/chart" Target="../charts/chart60.xml"/><Relationship Id="rId20" Type="http://schemas.openxmlformats.org/officeDocument/2006/relationships/tags" Target="../tags/tag913.xml"/><Relationship Id="rId41" Type="http://schemas.openxmlformats.org/officeDocument/2006/relationships/tags" Target="../tags/tag934.xml"/><Relationship Id="rId54" Type="http://schemas.openxmlformats.org/officeDocument/2006/relationships/tags" Target="../tags/tag947.xml"/><Relationship Id="rId62" Type="http://schemas.openxmlformats.org/officeDocument/2006/relationships/slideLayout" Target="../slideLayouts/slideLayout6.xml"/><Relationship Id="rId70" Type="http://schemas.openxmlformats.org/officeDocument/2006/relationships/hyperlink" Target="https://www.iea.org/reports/renewables-2025" TargetMode="External"/><Relationship Id="rId75" Type="http://schemas.openxmlformats.org/officeDocument/2006/relationships/hyperlink" Target="https://atb.nrel.gov/electricity/2024/data" TargetMode="External"/><Relationship Id="rId1" Type="http://schemas.openxmlformats.org/officeDocument/2006/relationships/tags" Target="../tags/tag894.xml"/><Relationship Id="rId6" Type="http://schemas.openxmlformats.org/officeDocument/2006/relationships/tags" Target="../tags/tag899.xml"/><Relationship Id="rId15" Type="http://schemas.openxmlformats.org/officeDocument/2006/relationships/tags" Target="../tags/tag908.xml"/><Relationship Id="rId23" Type="http://schemas.openxmlformats.org/officeDocument/2006/relationships/tags" Target="../tags/tag916.xml"/><Relationship Id="rId28" Type="http://schemas.openxmlformats.org/officeDocument/2006/relationships/tags" Target="../tags/tag921.xml"/><Relationship Id="rId36" Type="http://schemas.openxmlformats.org/officeDocument/2006/relationships/tags" Target="../tags/tag929.xml"/><Relationship Id="rId49" Type="http://schemas.openxmlformats.org/officeDocument/2006/relationships/tags" Target="../tags/tag942.xml"/><Relationship Id="rId57" Type="http://schemas.openxmlformats.org/officeDocument/2006/relationships/tags" Target="../tags/tag950.xml"/><Relationship Id="rId10" Type="http://schemas.openxmlformats.org/officeDocument/2006/relationships/tags" Target="../tags/tag903.xml"/><Relationship Id="rId31" Type="http://schemas.openxmlformats.org/officeDocument/2006/relationships/tags" Target="../tags/tag924.xml"/><Relationship Id="rId44" Type="http://schemas.openxmlformats.org/officeDocument/2006/relationships/tags" Target="../tags/tag937.xml"/><Relationship Id="rId52" Type="http://schemas.openxmlformats.org/officeDocument/2006/relationships/tags" Target="../tags/tag945.xml"/><Relationship Id="rId60" Type="http://schemas.openxmlformats.org/officeDocument/2006/relationships/tags" Target="../tags/tag953.xml"/><Relationship Id="rId65" Type="http://schemas.openxmlformats.org/officeDocument/2006/relationships/image" Target="../media/image221.emf"/><Relationship Id="rId73" Type="http://schemas.openxmlformats.org/officeDocument/2006/relationships/hyperlink" Target="https://www.iea.org/reports/the-future-of-geothermal-energy" TargetMode="External"/><Relationship Id="rId78" Type="http://schemas.openxmlformats.org/officeDocument/2006/relationships/hyperlink" Target="https://www.energy.gov/lpo/vogtle" TargetMode="External"/><Relationship Id="rId4" Type="http://schemas.openxmlformats.org/officeDocument/2006/relationships/tags" Target="../tags/tag897.xml"/><Relationship Id="rId9" Type="http://schemas.openxmlformats.org/officeDocument/2006/relationships/tags" Target="../tags/tag902.xml"/><Relationship Id="rId13" Type="http://schemas.openxmlformats.org/officeDocument/2006/relationships/tags" Target="../tags/tag906.xml"/><Relationship Id="rId18" Type="http://schemas.openxmlformats.org/officeDocument/2006/relationships/tags" Target="../tags/tag911.xml"/><Relationship Id="rId39" Type="http://schemas.openxmlformats.org/officeDocument/2006/relationships/tags" Target="../tags/tag932.xml"/><Relationship Id="rId34" Type="http://schemas.openxmlformats.org/officeDocument/2006/relationships/tags" Target="../tags/tag927.xml"/><Relationship Id="rId50" Type="http://schemas.openxmlformats.org/officeDocument/2006/relationships/tags" Target="../tags/tag943.xml"/><Relationship Id="rId55" Type="http://schemas.openxmlformats.org/officeDocument/2006/relationships/tags" Target="../tags/tag948.xml"/><Relationship Id="rId76" Type="http://schemas.openxmlformats.org/officeDocument/2006/relationships/hyperlink" Target="https://www.energy.gov/eere/geothermal/geovision" TargetMode="External"/><Relationship Id="rId7" Type="http://schemas.openxmlformats.org/officeDocument/2006/relationships/tags" Target="../tags/tag900.xml"/><Relationship Id="rId71" Type="http://schemas.openxmlformats.org/officeDocument/2006/relationships/hyperlink" Target="https://www.lazard.com/research-insights/levelized-cost-of-energyplus-lcoeplus/" TargetMode="External"/><Relationship Id="rId2" Type="http://schemas.openxmlformats.org/officeDocument/2006/relationships/tags" Target="../tags/tag895.xml"/><Relationship Id="rId29" Type="http://schemas.openxmlformats.org/officeDocument/2006/relationships/tags" Target="../tags/tag92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955.xml"/><Relationship Id="rId6" Type="http://schemas.openxmlformats.org/officeDocument/2006/relationships/image" Target="../media/image210.emf"/><Relationship Id="rId5" Type="http://schemas.openxmlformats.org/officeDocument/2006/relationships/oleObject" Target="../embeddings/oleObject98.bin"/><Relationship Id="rId4" Type="http://schemas.openxmlformats.org/officeDocument/2006/relationships/image" Target="../media/image222.png"/></Relationships>
</file>

<file path=ppt/slides/_rels/slide79.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223.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oleObject" Target="../embeddings/oleObject31.bin"/><Relationship Id="rId18" Type="http://schemas.openxmlformats.org/officeDocument/2006/relationships/hyperlink" Target="https://business.columbia.edu/insights/climate/cki" TargetMode="Externa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slideLayout" Target="../slideLayouts/slideLayout7.xml"/><Relationship Id="rId17" Type="http://schemas.openxmlformats.org/officeDocument/2006/relationships/hyperlink" Target="https://business.columbia.edu/faculty/people/gernot-wagner" TargetMode="External"/><Relationship Id="rId2" Type="http://schemas.openxmlformats.org/officeDocument/2006/relationships/tags" Target="../tags/tag118.xml"/><Relationship Id="rId16" Type="http://schemas.openxmlformats.org/officeDocument/2006/relationships/hyperlink" Target="https://www.canarymedia.com/articles/heat-pumps/the-loophole-that-could-give-clean-heat-a-boost-under-trump-thermal-energy-storage-heat-pump#:~:text=It's%20a%20rare%20and%20under,could%20help%20soften%20the%20blow." TargetMode="External"/><Relationship Id="rId20" Type="http://schemas.openxmlformats.org/officeDocument/2006/relationships/chart" Target="../charts/chart6.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hyperlink" Target="https://igshpa.org/wp-content/uploads/LIFTOFF_DOE_Geothermal_HC.pdf" TargetMode="External"/><Relationship Id="rId10" Type="http://schemas.openxmlformats.org/officeDocument/2006/relationships/tags" Target="../tags/tag126.xml"/><Relationship Id="rId19" Type="http://schemas.openxmlformats.org/officeDocument/2006/relationships/chart" Target="../charts/chart5.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image" Target="../media/image24.emf"/></Relationships>
</file>

<file path=ppt/slides/_rels/slide80.xml.rels><?xml version="1.0" encoding="UTF-8" standalone="yes"?>
<Relationships xmlns="http://schemas.openxmlformats.org/package/2006/relationships"><Relationship Id="rId8" Type="http://schemas.openxmlformats.org/officeDocument/2006/relationships/hyperlink" Target="https://www.energy.gov/eere/geothermal/geothermal-basics" TargetMode="External"/><Relationship Id="rId3" Type="http://schemas.openxmlformats.org/officeDocument/2006/relationships/notesSlide" Target="../notesSlides/notesSlide6.xml"/><Relationship Id="rId7" Type="http://schemas.openxmlformats.org/officeDocument/2006/relationships/hyperlink" Target="https://www.eia.gov/outlooks/aeo/pdf/electricity_generation.pdf" TargetMode="External"/><Relationship Id="rId2" Type="http://schemas.openxmlformats.org/officeDocument/2006/relationships/slideLayout" Target="../slideLayouts/slideLayout12.xml"/><Relationship Id="rId1" Type="http://schemas.openxmlformats.org/officeDocument/2006/relationships/tags" Target="../tags/tag956.xml"/><Relationship Id="rId6" Type="http://schemas.openxmlformats.org/officeDocument/2006/relationships/hyperlink" Target="https://www.lazard.com/media/eijnqja3/lazards-lcoeplus-june-2025.pdf"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224.emf"/><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99.bin"/><Relationship Id="rId9" Type="http://schemas.openxmlformats.org/officeDocument/2006/relationships/hyperlink" Target="https://www.slb.com/resource-library/insights-articles/beyond-lcoe-what's-the-true-value-of-geothermal-energy" TargetMode="External"/></Relationships>
</file>

<file path=ppt/slides/_rels/slide81.xml.rels><?xml version="1.0" encoding="UTF-8" standalone="yes"?>
<Relationships xmlns="http://schemas.openxmlformats.org/package/2006/relationships"><Relationship Id="rId8" Type="http://schemas.openxmlformats.org/officeDocument/2006/relationships/hyperlink" Target="https://rhg.com/research/geothermal-data-center-electricity-demand/" TargetMode="External"/><Relationship Id="rId13" Type="http://schemas.openxmlformats.org/officeDocument/2006/relationships/hyperlink" Target="https://business.columbia.edu/faculty/people/gernot-wagner" TargetMode="External"/><Relationship Id="rId3" Type="http://schemas.openxmlformats.org/officeDocument/2006/relationships/notesSlide" Target="../notesSlides/notesSlide7.xml"/><Relationship Id="rId7" Type="http://schemas.openxmlformats.org/officeDocument/2006/relationships/hyperlink" Target="https://igshpa.org/wp-content/uploads/LIFTOFF_DOE_Geothermal_HC.pdf" TargetMode="External"/><Relationship Id="rId12" Type="http://schemas.openxmlformats.org/officeDocument/2006/relationships/hyperlink" Target="https://www.nlr.gov/geothermal" TargetMode="External"/><Relationship Id="rId2" Type="http://schemas.openxmlformats.org/officeDocument/2006/relationships/slideLayout" Target="../slideLayouts/slideLayout4.xml"/><Relationship Id="rId1" Type="http://schemas.openxmlformats.org/officeDocument/2006/relationships/tags" Target="../tags/tag957.xml"/><Relationship Id="rId6" Type="http://schemas.openxmlformats.org/officeDocument/2006/relationships/hyperlink" Target="https://static1.squarespace.com/static/67f555826ee1df58205ff806/t/6827ab9fd57ac312a5658550/1747430314063/Liftoff_DOE_Advanced%2BNuclear%2B%28UPDATE%29_Sep%2B2024.pdf" TargetMode="External"/><Relationship Id="rId11" Type="http://schemas.openxmlformats.org/officeDocument/2006/relationships/hyperlink" Target="https://world-nuclear.org/information-library/country-profiles/countries-t-z/usa-nuclear-power" TargetMode="External"/><Relationship Id="rId5" Type="http://schemas.openxmlformats.org/officeDocument/2006/relationships/image" Target="../media/image225.emf"/><Relationship Id="rId10" Type="http://schemas.openxmlformats.org/officeDocument/2006/relationships/hyperlink" Target="https://www.iea.org/reports/net-zero-roadmap-a-global-pathway-to-keep-the-15-c-goal-in-reach" TargetMode="External"/><Relationship Id="rId4" Type="http://schemas.openxmlformats.org/officeDocument/2006/relationships/oleObject" Target="../embeddings/oleObject100.bin"/><Relationship Id="rId9" Type="http://schemas.openxmlformats.org/officeDocument/2006/relationships/hyperlink" Target="https://www.iea.org/reports/the-future-of-geothermal-energy" TargetMode="External"/><Relationship Id="rId14" Type="http://schemas.openxmlformats.org/officeDocument/2006/relationships/hyperlink" Target="https://business.columbia.edu/insights/climate/cki" TargetMode="External"/></Relationships>
</file>

<file path=ppt/slides/_rels/slide82.xml.rels><?xml version="1.0" encoding="UTF-8" standalone="yes"?>
<Relationships xmlns="http://schemas.openxmlformats.org/package/2006/relationships"><Relationship Id="rId13" Type="http://schemas.openxmlformats.org/officeDocument/2006/relationships/tags" Target="../tags/tag970.xml"/><Relationship Id="rId18" Type="http://schemas.openxmlformats.org/officeDocument/2006/relationships/tags" Target="../tags/tag975.xml"/><Relationship Id="rId26" Type="http://schemas.openxmlformats.org/officeDocument/2006/relationships/tags" Target="../tags/tag983.xml"/><Relationship Id="rId39" Type="http://schemas.openxmlformats.org/officeDocument/2006/relationships/hyperlink" Target="https://www.energy.gov/ne/articles/us-sets-targets-triple-nuclear-energy-capacity-2050" TargetMode="External"/><Relationship Id="rId21" Type="http://schemas.openxmlformats.org/officeDocument/2006/relationships/tags" Target="../tags/tag978.xml"/><Relationship Id="rId34" Type="http://schemas.openxmlformats.org/officeDocument/2006/relationships/hyperlink" Target="https://www.eia.gov/todayinenergy/detail.php?id=65104" TargetMode="External"/><Relationship Id="rId42" Type="http://schemas.openxmlformats.org/officeDocument/2006/relationships/hyperlink" Target="https://business.columbia.edu/insights/climate/cki" TargetMode="External"/><Relationship Id="rId7" Type="http://schemas.openxmlformats.org/officeDocument/2006/relationships/tags" Target="../tags/tag964.xml"/><Relationship Id="rId2" Type="http://schemas.openxmlformats.org/officeDocument/2006/relationships/tags" Target="../tags/tag959.xml"/><Relationship Id="rId16" Type="http://schemas.openxmlformats.org/officeDocument/2006/relationships/tags" Target="../tags/tag973.xml"/><Relationship Id="rId20" Type="http://schemas.openxmlformats.org/officeDocument/2006/relationships/tags" Target="../tags/tag977.xml"/><Relationship Id="rId29" Type="http://schemas.openxmlformats.org/officeDocument/2006/relationships/slideLayout" Target="../slideLayouts/slideLayout6.xml"/><Relationship Id="rId41" Type="http://schemas.openxmlformats.org/officeDocument/2006/relationships/hyperlink" Target="https://business.columbia.edu/faculty/people/gernot-wagner" TargetMode="External"/><Relationship Id="rId1" Type="http://schemas.openxmlformats.org/officeDocument/2006/relationships/tags" Target="../tags/tag958.xml"/><Relationship Id="rId6" Type="http://schemas.openxmlformats.org/officeDocument/2006/relationships/tags" Target="../tags/tag963.xml"/><Relationship Id="rId11" Type="http://schemas.openxmlformats.org/officeDocument/2006/relationships/tags" Target="../tags/tag968.xml"/><Relationship Id="rId24" Type="http://schemas.openxmlformats.org/officeDocument/2006/relationships/tags" Target="../tags/tag981.xml"/><Relationship Id="rId32" Type="http://schemas.openxmlformats.org/officeDocument/2006/relationships/image" Target="../media/image221.emf"/><Relationship Id="rId37" Type="http://schemas.openxmlformats.org/officeDocument/2006/relationships/hyperlink" Target="https://www.mckinsey.com/industries/electric-power-and-natural-gas/our-insights/is-geothermal-energy-ready-to-make-its-mark-in-the-us-power-mix" TargetMode="External"/><Relationship Id="rId40" Type="http://schemas.openxmlformats.org/officeDocument/2006/relationships/hyperlink" Target="https://www.energy.gov/ne/articles/doe-report-finds-more-60-gigawatts-new-nuclear-capacity-could-be-built-existing-nuclear" TargetMode="External"/><Relationship Id="rId5" Type="http://schemas.openxmlformats.org/officeDocument/2006/relationships/tags" Target="../tags/tag962.xml"/><Relationship Id="rId15" Type="http://schemas.openxmlformats.org/officeDocument/2006/relationships/tags" Target="../tags/tag972.xml"/><Relationship Id="rId23" Type="http://schemas.openxmlformats.org/officeDocument/2006/relationships/tags" Target="../tags/tag980.xml"/><Relationship Id="rId28" Type="http://schemas.openxmlformats.org/officeDocument/2006/relationships/tags" Target="../tags/tag985.xml"/><Relationship Id="rId36" Type="http://schemas.openxmlformats.org/officeDocument/2006/relationships/hyperlink" Target="https://fervoenergy.com/fervo-energy-breaks-ground-on-the-worlds-largest-next-gen-geothermal-project/" TargetMode="External"/><Relationship Id="rId10" Type="http://schemas.openxmlformats.org/officeDocument/2006/relationships/tags" Target="../tags/tag967.xml"/><Relationship Id="rId19" Type="http://schemas.openxmlformats.org/officeDocument/2006/relationships/tags" Target="../tags/tag976.xml"/><Relationship Id="rId31" Type="http://schemas.openxmlformats.org/officeDocument/2006/relationships/oleObject" Target="../embeddings/oleObject101.bin"/><Relationship Id="rId4" Type="http://schemas.openxmlformats.org/officeDocument/2006/relationships/tags" Target="../tags/tag961.xml"/><Relationship Id="rId9" Type="http://schemas.openxmlformats.org/officeDocument/2006/relationships/tags" Target="../tags/tag966.xml"/><Relationship Id="rId14" Type="http://schemas.openxmlformats.org/officeDocument/2006/relationships/tags" Target="../tags/tag971.xml"/><Relationship Id="rId22" Type="http://schemas.openxmlformats.org/officeDocument/2006/relationships/tags" Target="../tags/tag979.xml"/><Relationship Id="rId27" Type="http://schemas.openxmlformats.org/officeDocument/2006/relationships/tags" Target="../tags/tag984.xml"/><Relationship Id="rId30" Type="http://schemas.openxmlformats.org/officeDocument/2006/relationships/notesSlide" Target="../notesSlides/notesSlide8.xml"/><Relationship Id="rId35" Type="http://schemas.openxmlformats.org/officeDocument/2006/relationships/hyperlink" Target="https://www.investor.nexteraenergy.com/news-and-events/news-releases/2025/10-27-2025-203948689" TargetMode="External"/><Relationship Id="rId43" Type="http://schemas.openxmlformats.org/officeDocument/2006/relationships/chart" Target="../charts/chart62.xml"/><Relationship Id="rId8" Type="http://schemas.openxmlformats.org/officeDocument/2006/relationships/tags" Target="../tags/tag965.xml"/><Relationship Id="rId3" Type="http://schemas.openxmlformats.org/officeDocument/2006/relationships/tags" Target="../tags/tag960.xml"/><Relationship Id="rId12" Type="http://schemas.openxmlformats.org/officeDocument/2006/relationships/tags" Target="../tags/tag969.xml"/><Relationship Id="rId17" Type="http://schemas.openxmlformats.org/officeDocument/2006/relationships/tags" Target="../tags/tag974.xml"/><Relationship Id="rId25" Type="http://schemas.openxmlformats.org/officeDocument/2006/relationships/tags" Target="../tags/tag982.xml"/><Relationship Id="rId33" Type="http://schemas.openxmlformats.org/officeDocument/2006/relationships/hyperlink" Target="https://igshpa.org/wp-content/uploads/LIFTOFF_DOE_Geothermal_HC.pdf" TargetMode="External"/><Relationship Id="rId38" Type="http://schemas.openxmlformats.org/officeDocument/2006/relationships/hyperlink" Target="https://atb.nrel.gov/electricity/2024/geothermal" TargetMode="External"/></Relationships>
</file>

<file path=ppt/slides/_rels/slide83.xml.rels><?xml version="1.0" encoding="UTF-8" standalone="yes"?>
<Relationships xmlns="http://schemas.openxmlformats.org/package/2006/relationships"><Relationship Id="rId8" Type="http://schemas.openxmlformats.org/officeDocument/2006/relationships/tags" Target="../tags/tag993.xml"/><Relationship Id="rId13" Type="http://schemas.openxmlformats.org/officeDocument/2006/relationships/tags" Target="../tags/tag998.xml"/><Relationship Id="rId18" Type="http://schemas.openxmlformats.org/officeDocument/2006/relationships/image" Target="../media/image226.emf"/><Relationship Id="rId26" Type="http://schemas.openxmlformats.org/officeDocument/2006/relationships/hyperlink" Target="https://business.columbia.edu/faculty/people/gernot-wagner" TargetMode="External"/><Relationship Id="rId3" Type="http://schemas.openxmlformats.org/officeDocument/2006/relationships/tags" Target="../tags/tag988.xml"/><Relationship Id="rId21" Type="http://schemas.openxmlformats.org/officeDocument/2006/relationships/hyperlink" Target="https://igshpa.org/wp-content/uploads/LIFTOFF_DOE_Geothermal_HC.pdf" TargetMode="External"/><Relationship Id="rId7" Type="http://schemas.openxmlformats.org/officeDocument/2006/relationships/tags" Target="../tags/tag992.xml"/><Relationship Id="rId12" Type="http://schemas.openxmlformats.org/officeDocument/2006/relationships/tags" Target="../tags/tag997.xml"/><Relationship Id="rId17" Type="http://schemas.openxmlformats.org/officeDocument/2006/relationships/oleObject" Target="../embeddings/oleObject102.bin"/><Relationship Id="rId25" Type="http://schemas.openxmlformats.org/officeDocument/2006/relationships/hyperlink" Target="https://www.iea.org/reports/world-energy-outlook-2024" TargetMode="External"/><Relationship Id="rId2" Type="http://schemas.openxmlformats.org/officeDocument/2006/relationships/tags" Target="../tags/tag987.xml"/><Relationship Id="rId16" Type="http://schemas.openxmlformats.org/officeDocument/2006/relationships/notesSlide" Target="../notesSlides/notesSlide9.xml"/><Relationship Id="rId20" Type="http://schemas.openxmlformats.org/officeDocument/2006/relationships/hyperlink" Target="https://escholarship.org/uc/item/32d6m0d1" TargetMode="External"/><Relationship Id="rId29" Type="http://schemas.openxmlformats.org/officeDocument/2006/relationships/chart" Target="../charts/chart64.xml"/><Relationship Id="rId1" Type="http://schemas.openxmlformats.org/officeDocument/2006/relationships/tags" Target="../tags/tag986.xml"/><Relationship Id="rId6" Type="http://schemas.openxmlformats.org/officeDocument/2006/relationships/tags" Target="../tags/tag991.xml"/><Relationship Id="rId11" Type="http://schemas.openxmlformats.org/officeDocument/2006/relationships/tags" Target="../tags/tag996.xml"/><Relationship Id="rId24" Type="http://schemas.openxmlformats.org/officeDocument/2006/relationships/hyperlink" Target="https://www.utilitydive.com/news/constellation-three-mile-island-nuclear-power-plant-microsoft-data-center-ppa/727652/" TargetMode="External"/><Relationship Id="rId5" Type="http://schemas.openxmlformats.org/officeDocument/2006/relationships/tags" Target="../tags/tag990.xml"/><Relationship Id="rId15" Type="http://schemas.openxmlformats.org/officeDocument/2006/relationships/slideLayout" Target="../slideLayouts/slideLayout7.xml"/><Relationship Id="rId23" Type="http://schemas.openxmlformats.org/officeDocument/2006/relationships/hyperlink" Target="https://www.energy.gov/lpo/holtec-palisades" TargetMode="External"/><Relationship Id="rId28" Type="http://schemas.openxmlformats.org/officeDocument/2006/relationships/chart" Target="../charts/chart63.xml"/><Relationship Id="rId10" Type="http://schemas.openxmlformats.org/officeDocument/2006/relationships/tags" Target="../tags/tag995.xml"/><Relationship Id="rId19" Type="http://schemas.openxmlformats.org/officeDocument/2006/relationships/hyperlink" Target="https://rhg.com/wp-content/uploads/2025/03/The-Potential-for-Geothermal-Energy-to-Meet-Growing-Data-Center-Electricity-Demand.pdf" TargetMode="External"/><Relationship Id="rId4" Type="http://schemas.openxmlformats.org/officeDocument/2006/relationships/tags" Target="../tags/tag989.xml"/><Relationship Id="rId9" Type="http://schemas.openxmlformats.org/officeDocument/2006/relationships/tags" Target="../tags/tag994.xml"/><Relationship Id="rId14" Type="http://schemas.openxmlformats.org/officeDocument/2006/relationships/tags" Target="../tags/tag999.xml"/><Relationship Id="rId22" Type="http://schemas.openxmlformats.org/officeDocument/2006/relationships/hyperlink" Target="https://www.iea.org/reports/the-future-of-geothermal-energy" TargetMode="External"/><Relationship Id="rId27" Type="http://schemas.openxmlformats.org/officeDocument/2006/relationships/hyperlink" Target="https://business.columbia.edu/insights/climate/cki"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www.energy.gov/sites/default/files/2019/06/f63/GeoVision-full-report-opt.pdf" TargetMode="External"/><Relationship Id="rId13" Type="http://schemas.openxmlformats.org/officeDocument/2006/relationships/image" Target="../media/image89.png"/><Relationship Id="rId18" Type="http://schemas.openxmlformats.org/officeDocument/2006/relationships/image" Target="../media/image231.svg"/><Relationship Id="rId3" Type="http://schemas.openxmlformats.org/officeDocument/2006/relationships/notesSlide" Target="../notesSlides/notesSlide10.xml"/><Relationship Id="rId7" Type="http://schemas.openxmlformats.org/officeDocument/2006/relationships/hyperlink" Target="https://www.nrel.gov/news/detail/program/2025/reducing-data-center-peak-cooling-demand-and-energy-costs-with-underground-thermal-energy-storage" TargetMode="External"/><Relationship Id="rId12" Type="http://schemas.openxmlformats.org/officeDocument/2006/relationships/hyperlink" Target="https://business.columbia.edu/insights/climate/cki" TargetMode="External"/><Relationship Id="rId17" Type="http://schemas.openxmlformats.org/officeDocument/2006/relationships/image" Target="../media/image230.png"/><Relationship Id="rId2" Type="http://schemas.openxmlformats.org/officeDocument/2006/relationships/slideLayout" Target="../slideLayouts/slideLayout5.xml"/><Relationship Id="rId16" Type="http://schemas.openxmlformats.org/officeDocument/2006/relationships/image" Target="../media/image229.svg"/><Relationship Id="rId20" Type="http://schemas.openxmlformats.org/officeDocument/2006/relationships/image" Target="../media/image233.svg"/><Relationship Id="rId1" Type="http://schemas.openxmlformats.org/officeDocument/2006/relationships/tags" Target="../tags/tag1000.xml"/><Relationship Id="rId6" Type="http://schemas.openxmlformats.org/officeDocument/2006/relationships/hyperlink" Target="https://www.mckinsey.com/industries/electric-power-and-natural-gas/our-insights/is-geothermal-energy-ready-to-make-its-mark-in-the-us-power-mix" TargetMode="External"/><Relationship Id="rId11" Type="http://schemas.openxmlformats.org/officeDocument/2006/relationships/hyperlink" Target="https://business.columbia.edu/faculty/people/gernot-wagner" TargetMode="External"/><Relationship Id="rId5" Type="http://schemas.openxmlformats.org/officeDocument/2006/relationships/image" Target="../media/image227.emf"/><Relationship Id="rId15" Type="http://schemas.openxmlformats.org/officeDocument/2006/relationships/image" Target="../media/image228.png"/><Relationship Id="rId10" Type="http://schemas.openxmlformats.org/officeDocument/2006/relationships/hyperlink" Target="https://www.iea.org/reports/the-future-of-geothermal-energy/global-geothermal-potential-for-electricity-generation-using-egs-technologies" TargetMode="External"/><Relationship Id="rId19" Type="http://schemas.openxmlformats.org/officeDocument/2006/relationships/image" Target="../media/image232.png"/><Relationship Id="rId4" Type="http://schemas.openxmlformats.org/officeDocument/2006/relationships/oleObject" Target="../embeddings/oleObject103.bin"/><Relationship Id="rId9" Type="http://schemas.openxmlformats.org/officeDocument/2006/relationships/hyperlink" Target="https://fervoenergy.com/geothermal-mythbusting-water-use-and-impacts/" TargetMode="External"/><Relationship Id="rId14" Type="http://schemas.openxmlformats.org/officeDocument/2006/relationships/image" Target="../media/image90.svg"/></Relationships>
</file>

<file path=ppt/slides/_rels/slide85.xml.rels><?xml version="1.0" encoding="UTF-8" standalone="yes"?>
<Relationships xmlns="http://schemas.openxmlformats.org/package/2006/relationships"><Relationship Id="rId8" Type="http://schemas.openxmlformats.org/officeDocument/2006/relationships/hyperlink" Target="https://www.esgdive.com/news/meta-inks-geothermal-deal-with-sage-geosystems-data-centers-clean-energy/725531/"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238.png"/><Relationship Id="rId26" Type="http://schemas.openxmlformats.org/officeDocument/2006/relationships/image" Target="../media/image246.png"/><Relationship Id="rId3" Type="http://schemas.openxmlformats.org/officeDocument/2006/relationships/oleObject" Target="../embeddings/oleObject104.bin"/><Relationship Id="rId21" Type="http://schemas.openxmlformats.org/officeDocument/2006/relationships/image" Target="../media/image241.png"/><Relationship Id="rId7" Type="http://schemas.openxmlformats.org/officeDocument/2006/relationships/hyperlink" Target="https://time.com/7023537/tim-latimer/?utm_source=chatgpt.com" TargetMode="External"/><Relationship Id="rId12" Type="http://schemas.openxmlformats.org/officeDocument/2006/relationships/hyperlink" Target="https://esgnews.com/amazon-unveils-geothermal-solar-powered-fulfillment-center-in-japan/" TargetMode="External"/><Relationship Id="rId17" Type="http://schemas.openxmlformats.org/officeDocument/2006/relationships/image" Target="../media/image237.png"/><Relationship Id="rId25" Type="http://schemas.openxmlformats.org/officeDocument/2006/relationships/image" Target="../media/image245.png"/><Relationship Id="rId2" Type="http://schemas.openxmlformats.org/officeDocument/2006/relationships/slideLayout" Target="../slideLayouts/slideLayout5.xml"/><Relationship Id="rId16" Type="http://schemas.openxmlformats.org/officeDocument/2006/relationships/image" Target="../media/image236.png"/><Relationship Id="rId20" Type="http://schemas.openxmlformats.org/officeDocument/2006/relationships/image" Target="../media/image240.png"/><Relationship Id="rId1" Type="http://schemas.openxmlformats.org/officeDocument/2006/relationships/tags" Target="../tags/tag1001.xml"/><Relationship Id="rId6" Type="http://schemas.openxmlformats.org/officeDocument/2006/relationships/hyperlink" Target="https://www.reuters.com/business/energy/google-partners-with-nevada-utility-geothermal-power-data-centers-2024-06-13/?utm_source=chatgpt.com" TargetMode="External"/><Relationship Id="rId11" Type="http://schemas.openxmlformats.org/officeDocument/2006/relationships/hyperlink" Target="https://news.microsoft.com/source/features/sustainability/unusual-machine-in-the-woods-taps-clean-energy-deep-underground-new-microsoft-campus/" TargetMode="External"/><Relationship Id="rId24" Type="http://schemas.openxmlformats.org/officeDocument/2006/relationships/image" Target="../media/image244.png"/><Relationship Id="rId5" Type="http://schemas.openxmlformats.org/officeDocument/2006/relationships/hyperlink" Target="https://blog.google/around-the-globe/google-asia/geothermal-taiwan/" TargetMode="External"/><Relationship Id="rId15" Type="http://schemas.openxmlformats.org/officeDocument/2006/relationships/image" Target="../media/image235.png"/><Relationship Id="rId23" Type="http://schemas.openxmlformats.org/officeDocument/2006/relationships/image" Target="../media/image243.png"/><Relationship Id="rId10" Type="http://schemas.openxmlformats.org/officeDocument/2006/relationships/hyperlink" Target="https://contact.co.nz/investor-centre/news/2023/contact-signs-ten-year-renewable-energy-agreement-with-Microsoft" TargetMode="External"/><Relationship Id="rId19" Type="http://schemas.openxmlformats.org/officeDocument/2006/relationships/image" Target="../media/image239.png"/><Relationship Id="rId4" Type="http://schemas.openxmlformats.org/officeDocument/2006/relationships/image" Target="../media/image234.emf"/><Relationship Id="rId9" Type="http://schemas.openxmlformats.org/officeDocument/2006/relationships/hyperlink" Target="https://news.microsoft.com/source/2024/05/22/microsoft-and-g42-announce-1-billion-comprehensive-digital-ecosystem-initiative-for-kenya/" TargetMode="External"/><Relationship Id="rId14" Type="http://schemas.openxmlformats.org/officeDocument/2006/relationships/hyperlink" Target="https://business.columbia.edu/insights/climate/cki" TargetMode="External"/><Relationship Id="rId22" Type="http://schemas.openxmlformats.org/officeDocument/2006/relationships/image" Target="../media/image242.png"/><Relationship Id="rId27" Type="http://schemas.openxmlformats.org/officeDocument/2006/relationships/image" Target="../media/image247.png"/></Relationships>
</file>

<file path=ppt/slides/_rels/slide86.xml.rels><?xml version="1.0" encoding="UTF-8" standalone="yes"?>
<Relationships xmlns="http://schemas.openxmlformats.org/package/2006/relationships"><Relationship Id="rId8" Type="http://schemas.openxmlformats.org/officeDocument/2006/relationships/hyperlink" Target="https://www.reuters.com/world/asia-pacific/taiwan-plans-ai-projects-boost-economy-by-510-billion-2025-07-23/" TargetMode="External"/><Relationship Id="rId13" Type="http://schemas.openxmlformats.org/officeDocument/2006/relationships/hyperlink" Target="https://business.columbia.edu/insights/climate/cki" TargetMode="External"/><Relationship Id="rId3" Type="http://schemas.openxmlformats.org/officeDocument/2006/relationships/oleObject" Target="../embeddings/oleObject105.bin"/><Relationship Id="rId7" Type="http://schemas.openxmlformats.org/officeDocument/2006/relationships/hyperlink" Target="https://service.cca.gov.tw/File/Get/climatetalks/zh-tw/by7VooDlpQXzlN1" TargetMode="External"/><Relationship Id="rId12" Type="http://schemas.openxmlformats.org/officeDocument/2006/relationships/hyperlink" Target="https://business.columbia.edu/faculty/people/gernot-wagner" TargetMode="External"/><Relationship Id="rId2" Type="http://schemas.openxmlformats.org/officeDocument/2006/relationships/slideLayout" Target="../slideLayouts/slideLayout8.xml"/><Relationship Id="rId1" Type="http://schemas.openxmlformats.org/officeDocument/2006/relationships/tags" Target="../tags/tag1002.xml"/><Relationship Id="rId6" Type="http://schemas.openxmlformats.org/officeDocument/2006/relationships/hyperlink" Target="https://www.iea.org/countries/chinese-taipei/energy-mix" TargetMode="External"/><Relationship Id="rId11" Type="http://schemas.openxmlformats.org/officeDocument/2006/relationships/hyperlink" Target="https://blog.google/intl/en-au/company-news/outreach-initiatives/geothermal-energy/" TargetMode="External"/><Relationship Id="rId5" Type="http://schemas.openxmlformats.org/officeDocument/2006/relationships/hyperlink" Target="https://blog.google/around-the-globe/google-asia/geothermal-taiwan/" TargetMode="External"/><Relationship Id="rId15" Type="http://schemas.openxmlformats.org/officeDocument/2006/relationships/image" Target="../media/image250.png"/><Relationship Id="rId10" Type="http://schemas.openxmlformats.org/officeDocument/2006/relationships/hyperlink" Target="https://euroview.ecct.com.tw/category-inside.php?id=2341" TargetMode="External"/><Relationship Id="rId4" Type="http://schemas.openxmlformats.org/officeDocument/2006/relationships/image" Target="../media/image248.emf"/><Relationship Id="rId9" Type="http://schemas.openxmlformats.org/officeDocument/2006/relationships/hyperlink" Target="https://ui.adsabs.harvard.edu/abs/2016EGUGA..18.3376S/abstract" TargetMode="External"/><Relationship Id="rId14" Type="http://schemas.openxmlformats.org/officeDocument/2006/relationships/image" Target="../media/image249.png"/></Relationships>
</file>

<file path=ppt/slides/_rels/slide87.xml.rels><?xml version="1.0" encoding="UTF-8" standalone="yes"?>
<Relationships xmlns="http://schemas.openxmlformats.org/package/2006/relationships"><Relationship Id="rId8" Type="http://schemas.openxmlformats.org/officeDocument/2006/relationships/hyperlink" Target="https://about.fb.com/news/2024/08/new-geothermal-energy-project-to-support-our-data-centers/" TargetMode="External"/><Relationship Id="rId13" Type="http://schemas.openxmlformats.org/officeDocument/2006/relationships/image" Target="../media/image251.png"/><Relationship Id="rId3" Type="http://schemas.openxmlformats.org/officeDocument/2006/relationships/notesSlide" Target="../notesSlides/notesSlide11.xml"/><Relationship Id="rId7" Type="http://schemas.openxmlformats.org/officeDocument/2006/relationships/hyperlink" Target="https://www.xgsenergy.com/"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8.xml"/><Relationship Id="rId1" Type="http://schemas.openxmlformats.org/officeDocument/2006/relationships/tags" Target="../tags/tag1003.xml"/><Relationship Id="rId6" Type="http://schemas.openxmlformats.org/officeDocument/2006/relationships/hyperlink" Target="https://www.businesswire.com/news/home/20250612778008/en/XGS-Energy-and-Meta-to-Partner-on-150-MW-Advanced-Geothermal-Project" TargetMode="External"/><Relationship Id="rId11" Type="http://schemas.openxmlformats.org/officeDocument/2006/relationships/hyperlink" Target="https://business.columbia.edu/faculty/people/gernot-wagner" TargetMode="External"/><Relationship Id="rId5" Type="http://schemas.openxmlformats.org/officeDocument/2006/relationships/image" Target="../media/image248.emf"/><Relationship Id="rId10" Type="http://schemas.openxmlformats.org/officeDocument/2006/relationships/hyperlink" Target="https://projectinnerspace.org/resources/Future-of-Geothermal-in-New-Mexico.pdf" TargetMode="External"/><Relationship Id="rId4" Type="http://schemas.openxmlformats.org/officeDocument/2006/relationships/oleObject" Target="../embeddings/oleObject106.bin"/><Relationship Id="rId9" Type="http://schemas.openxmlformats.org/officeDocument/2006/relationships/hyperlink" Target="https://www.canarymedia.com/articles/geothermal/xgs-energy-advanced-tech-scale-up-meta" TargetMode="External"/><Relationship Id="rId14" Type="http://schemas.openxmlformats.org/officeDocument/2006/relationships/image" Target="../media/image252.png"/></Relationships>
</file>

<file path=ppt/slides/_rels/slide88.xml.rels><?xml version="1.0" encoding="UTF-8" standalone="yes"?>
<Relationships xmlns="http://schemas.openxmlformats.org/package/2006/relationships"><Relationship Id="rId8" Type="http://schemas.openxmlformats.org/officeDocument/2006/relationships/hyperlink" Target="https://fervoenergy.com/fervo-energy-announces-technology-breakthrough-in-next-generation-geothermal/" TargetMode="External"/><Relationship Id="rId13" Type="http://schemas.openxmlformats.org/officeDocument/2006/relationships/hyperlink" Target="https://fervoenergy.com/fervo-energy-pushes-envelope/" TargetMode="External"/><Relationship Id="rId18" Type="http://schemas.openxmlformats.org/officeDocument/2006/relationships/image" Target="../media/image256.png"/><Relationship Id="rId3" Type="http://schemas.openxmlformats.org/officeDocument/2006/relationships/slideLayout" Target="../slideLayouts/slideLayout5.xml"/><Relationship Id="rId7" Type="http://schemas.openxmlformats.org/officeDocument/2006/relationships/hyperlink" Target="https://www.canarymedia.com/articles/corporate-procurement/google-taps-geothermal-for-corporate-clean-energy" TargetMode="External"/><Relationship Id="rId12" Type="http://schemas.openxmlformats.org/officeDocument/2006/relationships/hyperlink" Target="https://fervoenergy.com/fervo-energy-drilling-results-show-rapid-advancement-of-geothermal-performance/" TargetMode="External"/><Relationship Id="rId17" Type="http://schemas.openxmlformats.org/officeDocument/2006/relationships/image" Target="../media/image255.jpeg"/><Relationship Id="rId2" Type="http://schemas.openxmlformats.org/officeDocument/2006/relationships/tags" Target="../tags/tag1005.xml"/><Relationship Id="rId16" Type="http://schemas.openxmlformats.org/officeDocument/2006/relationships/image" Target="../media/image254.jpeg"/><Relationship Id="rId1" Type="http://schemas.openxmlformats.org/officeDocument/2006/relationships/tags" Target="../tags/tag1004.xml"/><Relationship Id="rId6" Type="http://schemas.openxmlformats.org/officeDocument/2006/relationships/image" Target="../media/image253.emf"/><Relationship Id="rId11" Type="http://schemas.openxmlformats.org/officeDocument/2006/relationships/hyperlink" Target="https://blog.google/outreach-initiatives/sustainability/google-fervo-geothermal-energy-partnership/" TargetMode="External"/><Relationship Id="rId5" Type="http://schemas.openxmlformats.org/officeDocument/2006/relationships/oleObject" Target="../embeddings/oleObject107.bin"/><Relationship Id="rId15" Type="http://schemas.openxmlformats.org/officeDocument/2006/relationships/hyperlink" Target="https://business.columbia.edu/insights/climate/cki" TargetMode="External"/><Relationship Id="rId10" Type="http://schemas.openxmlformats.org/officeDocument/2006/relationships/hyperlink" Target="https://fervoenergy.com/wp-content/uploads/2025/07/Fervo_UIPA_The-Enhanced-Geothermal-Data-Center-Corridor_July-2025.pdf" TargetMode="External"/><Relationship Id="rId19" Type="http://schemas.openxmlformats.org/officeDocument/2006/relationships/image" Target="../media/image257.png"/><Relationship Id="rId4" Type="http://schemas.openxmlformats.org/officeDocument/2006/relationships/notesSlide" Target="../notesSlides/notesSlide12.xml"/><Relationship Id="rId9" Type="http://schemas.openxmlformats.org/officeDocument/2006/relationships/hyperlink" Target="https://fervoenergy.com/fervo-energy-breaks-ground-on-the-worlds-largest-next-gen-geothermal-project/" TargetMode="External"/><Relationship Id="rId14" Type="http://schemas.openxmlformats.org/officeDocument/2006/relationships/hyperlink" Target="https://business.columbia.edu/faculty/people/gernot-wagner" TargetMode="External"/></Relationships>
</file>

<file path=ppt/slides/_rels/slide89.xml.rels><?xml version="1.0" encoding="UTF-8" standalone="yes"?>
<Relationships xmlns="http://schemas.openxmlformats.org/package/2006/relationships"><Relationship Id="rId8" Type="http://schemas.openxmlformats.org/officeDocument/2006/relationships/hyperlink" Target="https://www.iea.org/reports/the-future-of-geothermal-energy"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008.xml"/><Relationship Id="rId7" Type="http://schemas.openxmlformats.org/officeDocument/2006/relationships/image" Target="../media/image258.emf"/><Relationship Id="rId12" Type="http://schemas.openxmlformats.org/officeDocument/2006/relationships/hyperlink" Target="https://business.columbia.edu/faculty/people/gernot-wagner" TargetMode="External"/><Relationship Id="rId17" Type="http://schemas.openxmlformats.org/officeDocument/2006/relationships/image" Target="../media/image262.png"/><Relationship Id="rId2" Type="http://schemas.openxmlformats.org/officeDocument/2006/relationships/tags" Target="../tags/tag1007.xml"/><Relationship Id="rId16" Type="http://schemas.openxmlformats.org/officeDocument/2006/relationships/image" Target="../media/image261.jpeg"/><Relationship Id="rId1" Type="http://schemas.openxmlformats.org/officeDocument/2006/relationships/tags" Target="../tags/tag1006.xml"/><Relationship Id="rId6" Type="http://schemas.openxmlformats.org/officeDocument/2006/relationships/oleObject" Target="../embeddings/oleObject108.bin"/><Relationship Id="rId11" Type="http://schemas.openxmlformats.org/officeDocument/2006/relationships/hyperlink" Target="https://www.tuwharetoageothermal.co.nz/geothermal-operations" TargetMode="External"/><Relationship Id="rId5" Type="http://schemas.openxmlformats.org/officeDocument/2006/relationships/slideLayout" Target="../slideLayouts/slideLayout8.xml"/><Relationship Id="rId15" Type="http://schemas.openxmlformats.org/officeDocument/2006/relationships/image" Target="../media/image260.jpeg"/><Relationship Id="rId10" Type="http://schemas.openxmlformats.org/officeDocument/2006/relationships/hyperlink" Target="https://www.nzgeothermal.org.nz/geothermal-in-nz/nz-geothermal-fields/kawerau/" TargetMode="External"/><Relationship Id="rId4" Type="http://schemas.openxmlformats.org/officeDocument/2006/relationships/tags" Target="../tags/tag1009.xml"/><Relationship Id="rId9" Type="http://schemas.openxmlformats.org/officeDocument/2006/relationships/hyperlink" Target="https://www.irena.org/Publications/2023/Feb/Global-geothermal-market-and-technology-assessment" TargetMode="External"/><Relationship Id="rId14" Type="http://schemas.openxmlformats.org/officeDocument/2006/relationships/image" Target="../media/image259.jpeg"/></Relationships>
</file>

<file path=ppt/slides/_rels/slide9.xml.rels><?xml version="1.0" encoding="UTF-8" standalone="yes"?>
<Relationships xmlns="http://schemas.openxmlformats.org/package/2006/relationships"><Relationship Id="rId26" Type="http://schemas.openxmlformats.org/officeDocument/2006/relationships/tags" Target="../tags/tag153.xml"/><Relationship Id="rId21" Type="http://schemas.openxmlformats.org/officeDocument/2006/relationships/tags" Target="../tags/tag148.xml"/><Relationship Id="rId34" Type="http://schemas.openxmlformats.org/officeDocument/2006/relationships/tags" Target="../tags/tag161.xml"/><Relationship Id="rId42" Type="http://schemas.openxmlformats.org/officeDocument/2006/relationships/tags" Target="../tags/tag169.xml"/><Relationship Id="rId47" Type="http://schemas.openxmlformats.org/officeDocument/2006/relationships/tags" Target="../tags/tag174.xml"/><Relationship Id="rId50" Type="http://schemas.openxmlformats.org/officeDocument/2006/relationships/tags" Target="../tags/tag177.xml"/><Relationship Id="rId55" Type="http://schemas.openxmlformats.org/officeDocument/2006/relationships/tags" Target="../tags/tag182.xml"/><Relationship Id="rId63" Type="http://schemas.openxmlformats.org/officeDocument/2006/relationships/hyperlink" Target="https://business.columbia.edu/insights/climate/cki" TargetMode="External"/><Relationship Id="rId7" Type="http://schemas.openxmlformats.org/officeDocument/2006/relationships/tags" Target="../tags/tag134.xml"/><Relationship Id="rId2" Type="http://schemas.openxmlformats.org/officeDocument/2006/relationships/tags" Target="../tags/tag129.xml"/><Relationship Id="rId16" Type="http://schemas.openxmlformats.org/officeDocument/2006/relationships/tags" Target="../tags/tag143.xml"/><Relationship Id="rId29" Type="http://schemas.openxmlformats.org/officeDocument/2006/relationships/tags" Target="../tags/tag156.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tags" Target="../tags/tag164.xml"/><Relationship Id="rId40" Type="http://schemas.openxmlformats.org/officeDocument/2006/relationships/tags" Target="../tags/tag167.xml"/><Relationship Id="rId45" Type="http://schemas.openxmlformats.org/officeDocument/2006/relationships/tags" Target="../tags/tag172.xml"/><Relationship Id="rId53" Type="http://schemas.openxmlformats.org/officeDocument/2006/relationships/tags" Target="../tags/tag180.xml"/><Relationship Id="rId58" Type="http://schemas.openxmlformats.org/officeDocument/2006/relationships/oleObject" Target="../embeddings/oleObject32.bin"/><Relationship Id="rId5" Type="http://schemas.openxmlformats.org/officeDocument/2006/relationships/tags" Target="../tags/tag132.xml"/><Relationship Id="rId61" Type="http://schemas.openxmlformats.org/officeDocument/2006/relationships/hyperlink" Target="https://www.iea.org/data-and-statistics/charts/cumulative-investment-for-next-generation-geothermal-2025-2050" TargetMode="External"/><Relationship Id="rId19" Type="http://schemas.openxmlformats.org/officeDocument/2006/relationships/tags" Target="../tags/tag14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56" Type="http://schemas.openxmlformats.org/officeDocument/2006/relationships/tags" Target="../tags/tag183.xml"/><Relationship Id="rId64" Type="http://schemas.openxmlformats.org/officeDocument/2006/relationships/chart" Target="../charts/chart7.xml"/><Relationship Id="rId8" Type="http://schemas.openxmlformats.org/officeDocument/2006/relationships/tags" Target="../tags/tag135.xml"/><Relationship Id="rId51" Type="http://schemas.openxmlformats.org/officeDocument/2006/relationships/tags" Target="../tags/tag178.xml"/><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image" Target="../media/image25.emf"/><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hyperlink" Target="https://business.columbia.edu/faculty/people/gernot-wagner" TargetMode="External"/><Relationship Id="rId1" Type="http://schemas.openxmlformats.org/officeDocument/2006/relationships/tags" Target="../tags/tag128.x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slideLayout" Target="../slideLayouts/slideLayout7.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hyperlink" Target="https://www.mckinsey.com/industries/energy-and-materials/our-insights/global-energy-perspective" TargetMode="External"/><Relationship Id="rId65" Type="http://schemas.openxmlformats.org/officeDocument/2006/relationships/chart" Target="../charts/chart8.xml"/><Relationship Id="rId4" Type="http://schemas.openxmlformats.org/officeDocument/2006/relationships/tags" Target="../tags/tag131.xml"/><Relationship Id="rId9" Type="http://schemas.openxmlformats.org/officeDocument/2006/relationships/tags" Target="../tags/tag136.xml"/><Relationship Id="rId13" Type="http://schemas.openxmlformats.org/officeDocument/2006/relationships/tags" Target="../tags/tag140.xml"/><Relationship Id="rId18" Type="http://schemas.openxmlformats.org/officeDocument/2006/relationships/tags" Target="../tags/tag145.xml"/><Relationship Id="rId39" Type="http://schemas.openxmlformats.org/officeDocument/2006/relationships/tags" Target="../tags/tag166.xml"/></Relationships>
</file>

<file path=ppt/slides/_rels/slide90.xml.rels><?xml version="1.0" encoding="UTF-8" standalone="yes"?>
<Relationships xmlns="http://schemas.openxmlformats.org/package/2006/relationships"><Relationship Id="rId8" Type="http://schemas.openxmlformats.org/officeDocument/2006/relationships/hyperlink" Target="https://www.ipcc.ch/site/assets/uploads/2018/03/Chapter4-1.pdf" TargetMode="External"/><Relationship Id="rId13" Type="http://schemas.openxmlformats.org/officeDocument/2006/relationships/image" Target="../media/image266.png"/><Relationship Id="rId3" Type="http://schemas.openxmlformats.org/officeDocument/2006/relationships/oleObject" Target="../embeddings/oleObject109.bin"/><Relationship Id="rId7" Type="http://schemas.openxmlformats.org/officeDocument/2006/relationships/hyperlink" Target="https://www.energy.gov/eere/geothermal/geovision" TargetMode="External"/><Relationship Id="rId12" Type="http://schemas.openxmlformats.org/officeDocument/2006/relationships/image" Target="../media/image265.png"/><Relationship Id="rId2" Type="http://schemas.openxmlformats.org/officeDocument/2006/relationships/slideLayout" Target="../slideLayouts/slideLayout3.xml"/><Relationship Id="rId16" Type="http://schemas.openxmlformats.org/officeDocument/2006/relationships/image" Target="../media/image269.png"/><Relationship Id="rId1" Type="http://schemas.openxmlformats.org/officeDocument/2006/relationships/tags" Target="../tags/tag1010.xml"/><Relationship Id="rId6" Type="http://schemas.openxmlformats.org/officeDocument/2006/relationships/hyperlink" Target="https://www.iea.org/reports/technology-roadmap-geothermal-heat-and-power" TargetMode="External"/><Relationship Id="rId11" Type="http://schemas.openxmlformats.org/officeDocument/2006/relationships/image" Target="../media/image264.png"/><Relationship Id="rId5" Type="http://schemas.openxmlformats.org/officeDocument/2006/relationships/hyperlink" Target="https://igshpa.org/wp-content/uploads/LIFTOFF_DOE_Geothermal_HC.pdf" TargetMode="External"/><Relationship Id="rId15" Type="http://schemas.openxmlformats.org/officeDocument/2006/relationships/image" Target="../media/image268.png"/><Relationship Id="rId10" Type="http://schemas.openxmlformats.org/officeDocument/2006/relationships/hyperlink" Target="https://business.columbia.edu/insights/climate/cki" TargetMode="External"/><Relationship Id="rId4" Type="http://schemas.openxmlformats.org/officeDocument/2006/relationships/image" Target="../media/image263.emf"/><Relationship Id="rId9" Type="http://schemas.openxmlformats.org/officeDocument/2006/relationships/hyperlink" Target="https://business.columbia.edu/faculty/people/gernot-wagner" TargetMode="External"/><Relationship Id="rId14" Type="http://schemas.openxmlformats.org/officeDocument/2006/relationships/image" Target="../media/image267.png"/></Relationships>
</file>

<file path=ppt/slides/_rels/slide91.xml.rels><?xml version="1.0" encoding="UTF-8" standalone="yes"?>
<Relationships xmlns="http://schemas.openxmlformats.org/package/2006/relationships"><Relationship Id="rId8" Type="http://schemas.openxmlformats.org/officeDocument/2006/relationships/hyperlink" Target="https://www.thinkgeoenergy.com/how-spa-operations-lifts-profits-for-icelandic-geothermal-power-company/#:~:text=While%20showcasing%20the%20highlights%20below,only%20power%20generating%20geothermal%20plants." TargetMode="External"/><Relationship Id="rId13" Type="http://schemas.openxmlformats.org/officeDocument/2006/relationships/diagramData" Target="../diagrams/data4.xml"/><Relationship Id="rId18" Type="http://schemas.openxmlformats.org/officeDocument/2006/relationships/image" Target="../media/image273.png"/><Relationship Id="rId3" Type="http://schemas.openxmlformats.org/officeDocument/2006/relationships/oleObject" Target="../embeddings/oleObject110.bin"/><Relationship Id="rId21" Type="http://schemas.openxmlformats.org/officeDocument/2006/relationships/image" Target="../media/image147.svg"/><Relationship Id="rId7" Type="http://schemas.openxmlformats.org/officeDocument/2006/relationships/hyperlink" Target="https://www.businessinsider.com/iceland-blue-lagoon-alternative-iceland-less-touristy-places-2023-9" TargetMode="External"/><Relationship Id="rId12" Type="http://schemas.openxmlformats.org/officeDocument/2006/relationships/image" Target="../media/image272.png"/><Relationship Id="rId17" Type="http://schemas.microsoft.com/office/2007/relationships/diagramDrawing" Target="../diagrams/drawing4.xml"/><Relationship Id="rId2" Type="http://schemas.openxmlformats.org/officeDocument/2006/relationships/slideLayout" Target="../slideLayouts/slideLayout9.xml"/><Relationship Id="rId16" Type="http://schemas.openxmlformats.org/officeDocument/2006/relationships/diagramColors" Target="../diagrams/colors4.xml"/><Relationship Id="rId20" Type="http://schemas.openxmlformats.org/officeDocument/2006/relationships/image" Target="../media/image146.png"/><Relationship Id="rId1" Type="http://schemas.openxmlformats.org/officeDocument/2006/relationships/tags" Target="../tags/tag1011.xml"/><Relationship Id="rId6" Type="http://schemas.openxmlformats.org/officeDocument/2006/relationships/hyperlink" Target="https://us.skincare.bluelagoon.com/pages/origin-story" TargetMode="External"/><Relationship Id="rId11" Type="http://schemas.openxmlformats.org/officeDocument/2006/relationships/image" Target="../media/image271.png"/><Relationship Id="rId5" Type="http://schemas.openxmlformats.org/officeDocument/2006/relationships/hyperlink" Target="https://www.hsorka.is/en/about-hs-orka/the-business/our-power-plants/svartsengi-power-plant/" TargetMode="External"/><Relationship Id="rId15" Type="http://schemas.openxmlformats.org/officeDocument/2006/relationships/diagramQuickStyle" Target="../diagrams/quickStyle4.xml"/><Relationship Id="rId23" Type="http://schemas.openxmlformats.org/officeDocument/2006/relationships/image" Target="../media/image276.svg"/><Relationship Id="rId10" Type="http://schemas.openxmlformats.org/officeDocument/2006/relationships/hyperlink" Target="https://business.columbia.edu/insights/climate/cki" TargetMode="External"/><Relationship Id="rId19" Type="http://schemas.openxmlformats.org/officeDocument/2006/relationships/image" Target="../media/image274.png"/><Relationship Id="rId4" Type="http://schemas.openxmlformats.org/officeDocument/2006/relationships/image" Target="../media/image270.emf"/><Relationship Id="rId9" Type="http://schemas.openxmlformats.org/officeDocument/2006/relationships/hyperlink" Target="https://business.columbia.edu/faculty/people/gernot-wagner" TargetMode="External"/><Relationship Id="rId14" Type="http://schemas.openxmlformats.org/officeDocument/2006/relationships/diagramLayout" Target="../diagrams/layout4.xml"/><Relationship Id="rId22" Type="http://schemas.openxmlformats.org/officeDocument/2006/relationships/image" Target="../media/image275.png"/></Relationships>
</file>

<file path=ppt/slides/_rels/slide92.xml.rels><?xml version="1.0" encoding="UTF-8" standalone="yes"?>
<Relationships xmlns="http://schemas.openxmlformats.org/package/2006/relationships"><Relationship Id="rId8" Type="http://schemas.openxmlformats.org/officeDocument/2006/relationships/hyperlink" Target="https://ifp.org/hot-rocks-part-three-barriers-to-next-gen-geothermal/" TargetMode="External"/><Relationship Id="rId13" Type="http://schemas.openxmlformats.org/officeDocument/2006/relationships/image" Target="../media/image279.svg"/><Relationship Id="rId3" Type="http://schemas.openxmlformats.org/officeDocument/2006/relationships/slideLayout" Target="../slideLayouts/slideLayout3.xml"/><Relationship Id="rId7" Type="http://schemas.openxmlformats.org/officeDocument/2006/relationships/hyperlink" Target="https://www.irena.org/Publications/2023/Feb/Global-geothermal-market-and-technology-assessment" TargetMode="External"/><Relationship Id="rId12" Type="http://schemas.openxmlformats.org/officeDocument/2006/relationships/image" Target="../media/image278.png"/><Relationship Id="rId17" Type="http://schemas.openxmlformats.org/officeDocument/2006/relationships/image" Target="../media/image283.svg"/><Relationship Id="rId2" Type="http://schemas.openxmlformats.org/officeDocument/2006/relationships/tags" Target="../tags/tag1013.xml"/><Relationship Id="rId16" Type="http://schemas.openxmlformats.org/officeDocument/2006/relationships/image" Target="../media/image282.png"/><Relationship Id="rId1" Type="http://schemas.openxmlformats.org/officeDocument/2006/relationships/tags" Target="../tags/tag1012.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277.emf"/><Relationship Id="rId15" Type="http://schemas.openxmlformats.org/officeDocument/2006/relationships/image" Target="../media/image281.svg"/><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111.bin"/><Relationship Id="rId9" Type="http://schemas.openxmlformats.org/officeDocument/2006/relationships/hyperlink" Target="https://www.latitudemedia.com/news/can-zanskar-use-ai-to-de-risk-conventional-geothermal/#:~:text=Last%20year%2C%20the%20Lightning%20Dock,grid%20%E2%80%94%20and%20tripled%20its%20production." TargetMode="External"/><Relationship Id="rId14" Type="http://schemas.openxmlformats.org/officeDocument/2006/relationships/image" Target="../media/image280.png"/></Relationships>
</file>

<file path=ppt/slides/_rels/slide93.xml.rels><?xml version="1.0" encoding="UTF-8" standalone="yes"?>
<Relationships xmlns="http://schemas.openxmlformats.org/package/2006/relationships"><Relationship Id="rId13" Type="http://schemas.openxmlformats.org/officeDocument/2006/relationships/tags" Target="../tags/tag1026.xml"/><Relationship Id="rId18" Type="http://schemas.openxmlformats.org/officeDocument/2006/relationships/image" Target="../media/image284.emf"/><Relationship Id="rId26" Type="http://schemas.openxmlformats.org/officeDocument/2006/relationships/image" Target="../media/image286.svg"/><Relationship Id="rId21" Type="http://schemas.openxmlformats.org/officeDocument/2006/relationships/hyperlink" Target="https://liftoff.energy.gov/wp-content/uploads/2025/01/LIFTOFF_DOE_Geothermal_HC.pdf" TargetMode="External"/><Relationship Id="rId34" Type="http://schemas.openxmlformats.org/officeDocument/2006/relationships/image" Target="../media/image293.jpeg"/><Relationship Id="rId7" Type="http://schemas.openxmlformats.org/officeDocument/2006/relationships/tags" Target="../tags/tag1020.xml"/><Relationship Id="rId12" Type="http://schemas.openxmlformats.org/officeDocument/2006/relationships/tags" Target="../tags/tag1025.xml"/><Relationship Id="rId17" Type="http://schemas.openxmlformats.org/officeDocument/2006/relationships/oleObject" Target="../embeddings/oleObject112.bin"/><Relationship Id="rId25" Type="http://schemas.openxmlformats.org/officeDocument/2006/relationships/image" Target="../media/image285.png"/><Relationship Id="rId33" Type="http://schemas.openxmlformats.org/officeDocument/2006/relationships/chart" Target="../charts/chart65.xml"/><Relationship Id="rId38" Type="http://schemas.openxmlformats.org/officeDocument/2006/relationships/image" Target="../media/image297.svg"/><Relationship Id="rId2" Type="http://schemas.openxmlformats.org/officeDocument/2006/relationships/tags" Target="../tags/tag1015.xml"/><Relationship Id="rId16" Type="http://schemas.openxmlformats.org/officeDocument/2006/relationships/slideLayout" Target="../slideLayouts/slideLayout6.xml"/><Relationship Id="rId20" Type="http://schemas.openxmlformats.org/officeDocument/2006/relationships/hyperlink" Target="https://www.statista.com/statistics/1552296/geothermal-energy-employment-worldwide/" TargetMode="External"/><Relationship Id="rId29" Type="http://schemas.openxmlformats.org/officeDocument/2006/relationships/image" Target="../media/image289.png"/><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tags" Target="../tags/tag1024.xml"/><Relationship Id="rId24" Type="http://schemas.openxmlformats.org/officeDocument/2006/relationships/hyperlink" Target="https://business.columbia.edu/insights/climate/cki" TargetMode="External"/><Relationship Id="rId32" Type="http://schemas.openxmlformats.org/officeDocument/2006/relationships/image" Target="../media/image292.svg"/><Relationship Id="rId37" Type="http://schemas.openxmlformats.org/officeDocument/2006/relationships/image" Target="../media/image296.png"/><Relationship Id="rId5" Type="http://schemas.openxmlformats.org/officeDocument/2006/relationships/tags" Target="../tags/tag1018.xml"/><Relationship Id="rId15" Type="http://schemas.openxmlformats.org/officeDocument/2006/relationships/tags" Target="../tags/tag1028.xml"/><Relationship Id="rId23" Type="http://schemas.openxmlformats.org/officeDocument/2006/relationships/hyperlink" Target="https://business.columbia.edu/faculty/people/gernot-wagner" TargetMode="External"/><Relationship Id="rId28" Type="http://schemas.openxmlformats.org/officeDocument/2006/relationships/image" Target="../media/image288.svg"/><Relationship Id="rId36" Type="http://schemas.openxmlformats.org/officeDocument/2006/relationships/image" Target="../media/image295.jpeg"/><Relationship Id="rId10" Type="http://schemas.openxmlformats.org/officeDocument/2006/relationships/tags" Target="../tags/tag1023.xml"/><Relationship Id="rId19" Type="http://schemas.openxmlformats.org/officeDocument/2006/relationships/hyperlink" Target="https://www.statista.com/statistics/243271/worldwide-estimated-geothermal-energy-related-jobs/" TargetMode="External"/><Relationship Id="rId31" Type="http://schemas.openxmlformats.org/officeDocument/2006/relationships/image" Target="../media/image291.png"/><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tags" Target="../tags/tag1027.xml"/><Relationship Id="rId22" Type="http://schemas.openxmlformats.org/officeDocument/2006/relationships/hyperlink" Target="https://iea.blob.core.windows.net/assets/0d5103ce-19f1-4112-8e32-316130743b97/WorldEnergyEmployment2024.pdf" TargetMode="External"/><Relationship Id="rId27" Type="http://schemas.openxmlformats.org/officeDocument/2006/relationships/image" Target="../media/image287.png"/><Relationship Id="rId30" Type="http://schemas.openxmlformats.org/officeDocument/2006/relationships/image" Target="../media/image290.svg"/><Relationship Id="rId35" Type="http://schemas.openxmlformats.org/officeDocument/2006/relationships/image" Target="../media/image294.png"/><Relationship Id="rId8" Type="http://schemas.openxmlformats.org/officeDocument/2006/relationships/tags" Target="../tags/tag1021.xml"/><Relationship Id="rId3" Type="http://schemas.openxmlformats.org/officeDocument/2006/relationships/tags" Target="../tags/tag1016.xml"/></Relationships>
</file>

<file path=ppt/slides/_rels/slide94.xml.rels><?xml version="1.0" encoding="UTF-8" standalone="yes"?>
<Relationships xmlns="http://schemas.openxmlformats.org/package/2006/relationships"><Relationship Id="rId13" Type="http://schemas.openxmlformats.org/officeDocument/2006/relationships/tags" Target="../tags/tag1041.xml"/><Relationship Id="rId18" Type="http://schemas.openxmlformats.org/officeDocument/2006/relationships/tags" Target="../tags/tag1046.xml"/><Relationship Id="rId26" Type="http://schemas.openxmlformats.org/officeDocument/2006/relationships/slideLayout" Target="../slideLayouts/slideLayout4.xml"/><Relationship Id="rId3" Type="http://schemas.openxmlformats.org/officeDocument/2006/relationships/tags" Target="../tags/tag1031.xml"/><Relationship Id="rId21" Type="http://schemas.openxmlformats.org/officeDocument/2006/relationships/tags" Target="../tags/tag1049.xml"/><Relationship Id="rId34" Type="http://schemas.openxmlformats.org/officeDocument/2006/relationships/chart" Target="../charts/chart67.xml"/><Relationship Id="rId7" Type="http://schemas.openxmlformats.org/officeDocument/2006/relationships/tags" Target="../tags/tag1035.xml"/><Relationship Id="rId12" Type="http://schemas.openxmlformats.org/officeDocument/2006/relationships/tags" Target="../tags/tag1040.xml"/><Relationship Id="rId17" Type="http://schemas.openxmlformats.org/officeDocument/2006/relationships/tags" Target="../tags/tag1045.xml"/><Relationship Id="rId25" Type="http://schemas.openxmlformats.org/officeDocument/2006/relationships/tags" Target="../tags/tag1053.xml"/><Relationship Id="rId33" Type="http://schemas.openxmlformats.org/officeDocument/2006/relationships/chart" Target="../charts/chart66.xml"/><Relationship Id="rId2" Type="http://schemas.openxmlformats.org/officeDocument/2006/relationships/tags" Target="../tags/tag1030.xml"/><Relationship Id="rId16" Type="http://schemas.openxmlformats.org/officeDocument/2006/relationships/tags" Target="../tags/tag1044.xml"/><Relationship Id="rId20" Type="http://schemas.openxmlformats.org/officeDocument/2006/relationships/tags" Target="../tags/tag1048.xml"/><Relationship Id="rId29" Type="http://schemas.openxmlformats.org/officeDocument/2006/relationships/hyperlink" Target="https://www.westwoodenergy.com/reports/world-land-drilling-rig-market-forecast-2025-2029#:~:text=Rig%20demand%20is%20forecast%20to,was%20in%20the%20hindcast%20period." TargetMode="External"/><Relationship Id="rId1" Type="http://schemas.openxmlformats.org/officeDocument/2006/relationships/tags" Target="../tags/tag1029.xml"/><Relationship Id="rId6" Type="http://schemas.openxmlformats.org/officeDocument/2006/relationships/tags" Target="../tags/tag1034.xml"/><Relationship Id="rId11" Type="http://schemas.openxmlformats.org/officeDocument/2006/relationships/tags" Target="../tags/tag1039.xml"/><Relationship Id="rId24" Type="http://schemas.openxmlformats.org/officeDocument/2006/relationships/tags" Target="../tags/tag1052.xml"/><Relationship Id="rId32" Type="http://schemas.openxmlformats.org/officeDocument/2006/relationships/hyperlink" Target="https://business.columbia.edu/insights/climate/cki" TargetMode="External"/><Relationship Id="rId5" Type="http://schemas.openxmlformats.org/officeDocument/2006/relationships/tags" Target="../tags/tag1033.xml"/><Relationship Id="rId15" Type="http://schemas.openxmlformats.org/officeDocument/2006/relationships/tags" Target="../tags/tag1043.xml"/><Relationship Id="rId23" Type="http://schemas.openxmlformats.org/officeDocument/2006/relationships/tags" Target="../tags/tag1051.xml"/><Relationship Id="rId28" Type="http://schemas.openxmlformats.org/officeDocument/2006/relationships/image" Target="../media/image298.emf"/><Relationship Id="rId10" Type="http://schemas.openxmlformats.org/officeDocument/2006/relationships/tags" Target="../tags/tag1038.xml"/><Relationship Id="rId19" Type="http://schemas.openxmlformats.org/officeDocument/2006/relationships/tags" Target="../tags/tag1047.xml"/><Relationship Id="rId31" Type="http://schemas.openxmlformats.org/officeDocument/2006/relationships/hyperlink" Target="https://business.columbia.edu/faculty/people/gernot-wagner" TargetMode="External"/><Relationship Id="rId4" Type="http://schemas.openxmlformats.org/officeDocument/2006/relationships/tags" Target="../tags/tag1032.xml"/><Relationship Id="rId9" Type="http://schemas.openxmlformats.org/officeDocument/2006/relationships/tags" Target="../tags/tag1037.xml"/><Relationship Id="rId14" Type="http://schemas.openxmlformats.org/officeDocument/2006/relationships/tags" Target="../tags/tag1042.xml"/><Relationship Id="rId22" Type="http://schemas.openxmlformats.org/officeDocument/2006/relationships/tags" Target="../tags/tag1050.xml"/><Relationship Id="rId27" Type="http://schemas.openxmlformats.org/officeDocument/2006/relationships/oleObject" Target="../embeddings/oleObject113.bin"/><Relationship Id="rId30" Type="http://schemas.openxmlformats.org/officeDocument/2006/relationships/hyperlink" Target="https://publications.mygeoenergynow.org/grc/1030282.pdf" TargetMode="External"/><Relationship Id="rId8" Type="http://schemas.openxmlformats.org/officeDocument/2006/relationships/tags" Target="../tags/tag1036.xml"/></Relationships>
</file>

<file path=ppt/slides/_rels/slide95.xml.rels><?xml version="1.0" encoding="UTF-8" standalone="yes"?>
<Relationships xmlns="http://schemas.openxmlformats.org/package/2006/relationships"><Relationship Id="rId8" Type="http://schemas.openxmlformats.org/officeDocument/2006/relationships/hyperlink" Target="https://www.slb.com/-/media/files/integrated-projects/industry-article/202106-ep-increasing-renewable-electricity-generation-turkey.pdf" TargetMode="External"/><Relationship Id="rId13" Type="http://schemas.openxmlformats.org/officeDocument/2006/relationships/hyperlink" Target="https://eavor.com/blog/alberta-government-announces-50m-investment-in-first-ever-canadian-drilling-test-site/" TargetMode="External"/><Relationship Id="rId18" Type="http://schemas.openxmlformats.org/officeDocument/2006/relationships/hyperlink" Target="https://business.columbia.edu/faculty/people/gernot-wagner" TargetMode="External"/><Relationship Id="rId26" Type="http://schemas.openxmlformats.org/officeDocument/2006/relationships/image" Target="../media/image306.jpeg"/><Relationship Id="rId3" Type="http://schemas.openxmlformats.org/officeDocument/2006/relationships/oleObject" Target="../embeddings/oleObject114.bin"/><Relationship Id="rId21" Type="http://schemas.openxmlformats.org/officeDocument/2006/relationships/image" Target="../media/image301.png"/><Relationship Id="rId7" Type="http://schemas.openxmlformats.org/officeDocument/2006/relationships/hyperlink" Target="https://www.slb.com/news-and-insights/newsroom/press-release/2025/pr-2025-1002-slb-ormat-geothermal-asset-development" TargetMode="External"/><Relationship Id="rId12" Type="http://schemas.openxmlformats.org/officeDocument/2006/relationships/hyperlink" Target="https://www.cthermal.com/latest-news/ctr-and-baker-hughes-join-forces-on-500-mw-geothermal-project-to-power-americas-surging-data-center-and-ai-growth" TargetMode="External"/><Relationship Id="rId17" Type="http://schemas.openxmlformats.org/officeDocument/2006/relationships/hyperlink" Target="https://cdn.bfldr.com/XG3NESCC/as/553sxx7snc53tcp9bsf46/Geothermal_Brochure_-_2025" TargetMode="External"/><Relationship Id="rId25" Type="http://schemas.openxmlformats.org/officeDocument/2006/relationships/image" Target="../media/image305.jpeg"/><Relationship Id="rId2" Type="http://schemas.openxmlformats.org/officeDocument/2006/relationships/slideLayout" Target="../slideLayouts/slideLayout3.xml"/><Relationship Id="rId16" Type="http://schemas.openxmlformats.org/officeDocument/2006/relationships/hyperlink" Target="https://www.halliburton.com/en/about-us/press-release/ceraphi-energy-halliburton-agreement-geothermal-energy-aspirations" TargetMode="External"/><Relationship Id="rId20" Type="http://schemas.openxmlformats.org/officeDocument/2006/relationships/image" Target="../media/image300.png"/><Relationship Id="rId29" Type="http://schemas.openxmlformats.org/officeDocument/2006/relationships/image" Target="../media/image309.png"/><Relationship Id="rId1" Type="http://schemas.openxmlformats.org/officeDocument/2006/relationships/tags" Target="../tags/tag1054.xml"/><Relationship Id="rId6" Type="http://schemas.openxmlformats.org/officeDocument/2006/relationships/hyperlink" Target="https://www.slb.com/news-and-insights/newsroom/press-release/2025/slb-and-star-energy-geothermal-announce-technology-collaboration" TargetMode="External"/><Relationship Id="rId11" Type="http://schemas.openxmlformats.org/officeDocument/2006/relationships/hyperlink" Target="https://dam.bakerhughes.com/m/62fb1fd650a95cb1/original/Geothermal-Solutions-Brochure.pdf" TargetMode="External"/><Relationship Id="rId24" Type="http://schemas.openxmlformats.org/officeDocument/2006/relationships/image" Target="../media/image304.jpeg"/><Relationship Id="rId5" Type="http://schemas.openxmlformats.org/officeDocument/2006/relationships/hyperlink" Target="https://www.slb.com/solutions/geothermal" TargetMode="External"/><Relationship Id="rId15" Type="http://schemas.openxmlformats.org/officeDocument/2006/relationships/hyperlink" Target="https://www.halliburton.com/en/about-us/press-release/halliburton-awarded-lithium-well-project-by-geoframe-energy" TargetMode="External"/><Relationship Id="rId23" Type="http://schemas.openxmlformats.org/officeDocument/2006/relationships/image" Target="../media/image303.png"/><Relationship Id="rId28" Type="http://schemas.openxmlformats.org/officeDocument/2006/relationships/image" Target="../media/image308.png"/><Relationship Id="rId10" Type="http://schemas.openxmlformats.org/officeDocument/2006/relationships/hyperlink" Target="https://www.bakerhughes.com/sites/bakerhughes/files/2021-01/300C%20directional%20drilling%20system%20drilled%20deepest%20well%20Iceland%20cs.pdf" TargetMode="External"/><Relationship Id="rId19" Type="http://schemas.openxmlformats.org/officeDocument/2006/relationships/hyperlink" Target="https://business.columbia.edu/insights/climate/cki" TargetMode="External"/><Relationship Id="rId31" Type="http://schemas.openxmlformats.org/officeDocument/2006/relationships/image" Target="../media/image311.jpeg"/><Relationship Id="rId4" Type="http://schemas.openxmlformats.org/officeDocument/2006/relationships/image" Target="../media/image299.emf"/><Relationship Id="rId9" Type="http://schemas.openxmlformats.org/officeDocument/2006/relationships/hyperlink" Target="https://investors.bakerhughes.com/news-releases/news-release-details/baker-hughes-selected-fervo-energy-deliver-geothermal-power" TargetMode="External"/><Relationship Id="rId14" Type="http://schemas.openxmlformats.org/officeDocument/2006/relationships/hyperlink" Target="https://www.thinkgeoenergy.com/scientific-approach-to-well-design-powers-fervo-energys-cape-station/" TargetMode="External"/><Relationship Id="rId22" Type="http://schemas.openxmlformats.org/officeDocument/2006/relationships/image" Target="../media/image302.png"/><Relationship Id="rId27" Type="http://schemas.openxmlformats.org/officeDocument/2006/relationships/image" Target="../media/image307.png"/><Relationship Id="rId30" Type="http://schemas.openxmlformats.org/officeDocument/2006/relationships/image" Target="../media/image310.jpeg"/></Relationships>
</file>

<file path=ppt/slides/_rels/slide96.xml.rels><?xml version="1.0" encoding="UTF-8" standalone="yes"?>
<Relationships xmlns="http://schemas.openxmlformats.org/package/2006/relationships"><Relationship Id="rId8" Type="http://schemas.openxmlformats.org/officeDocument/2006/relationships/tags" Target="../tags/tag1062.xml"/><Relationship Id="rId13" Type="http://schemas.openxmlformats.org/officeDocument/2006/relationships/tags" Target="../tags/tag1067.xml"/><Relationship Id="rId18" Type="http://schemas.openxmlformats.org/officeDocument/2006/relationships/slideLayout" Target="../slideLayouts/slideLayout4.xml"/><Relationship Id="rId26" Type="http://schemas.openxmlformats.org/officeDocument/2006/relationships/image" Target="../media/image36.png"/><Relationship Id="rId3" Type="http://schemas.openxmlformats.org/officeDocument/2006/relationships/tags" Target="../tags/tag1057.xml"/><Relationship Id="rId21" Type="http://schemas.openxmlformats.org/officeDocument/2006/relationships/hyperlink" Target="https://www.energy.ca.gov/sites/default/files/2024-03/CEC-500-2024-020.pdf" TargetMode="External"/><Relationship Id="rId7" Type="http://schemas.openxmlformats.org/officeDocument/2006/relationships/tags" Target="../tags/tag1061.xml"/><Relationship Id="rId12" Type="http://schemas.openxmlformats.org/officeDocument/2006/relationships/tags" Target="../tags/tag1066.xml"/><Relationship Id="rId17" Type="http://schemas.openxmlformats.org/officeDocument/2006/relationships/tags" Target="../tags/tag1071.xml"/><Relationship Id="rId25" Type="http://schemas.openxmlformats.org/officeDocument/2006/relationships/image" Target="../media/image313.svg"/><Relationship Id="rId2" Type="http://schemas.openxmlformats.org/officeDocument/2006/relationships/tags" Target="../tags/tag1056.xml"/><Relationship Id="rId16" Type="http://schemas.openxmlformats.org/officeDocument/2006/relationships/tags" Target="../tags/tag1070.xml"/><Relationship Id="rId20" Type="http://schemas.openxmlformats.org/officeDocument/2006/relationships/image" Target="../media/image312.emf"/><Relationship Id="rId1" Type="http://schemas.openxmlformats.org/officeDocument/2006/relationships/tags" Target="../tags/tag1055.xml"/><Relationship Id="rId6" Type="http://schemas.openxmlformats.org/officeDocument/2006/relationships/tags" Target="../tags/tag1060.xml"/><Relationship Id="rId11" Type="http://schemas.openxmlformats.org/officeDocument/2006/relationships/tags" Target="../tags/tag1065.xml"/><Relationship Id="rId24" Type="http://schemas.openxmlformats.org/officeDocument/2006/relationships/image" Target="../media/image30.png"/><Relationship Id="rId5" Type="http://schemas.openxmlformats.org/officeDocument/2006/relationships/tags" Target="../tags/tag1059.xml"/><Relationship Id="rId15" Type="http://schemas.openxmlformats.org/officeDocument/2006/relationships/tags" Target="../tags/tag1069.xml"/><Relationship Id="rId23" Type="http://schemas.openxmlformats.org/officeDocument/2006/relationships/hyperlink" Target="https://business.columbia.edu/insights/climate/cki" TargetMode="External"/><Relationship Id="rId28" Type="http://schemas.openxmlformats.org/officeDocument/2006/relationships/image" Target="../media/image314.jpeg"/><Relationship Id="rId10" Type="http://schemas.openxmlformats.org/officeDocument/2006/relationships/tags" Target="../tags/tag1064.xml"/><Relationship Id="rId19" Type="http://schemas.openxmlformats.org/officeDocument/2006/relationships/oleObject" Target="../embeddings/oleObject115.bin"/><Relationship Id="rId4" Type="http://schemas.openxmlformats.org/officeDocument/2006/relationships/tags" Target="../tags/tag1058.xml"/><Relationship Id="rId9" Type="http://schemas.openxmlformats.org/officeDocument/2006/relationships/tags" Target="../tags/tag1063.xml"/><Relationship Id="rId14" Type="http://schemas.openxmlformats.org/officeDocument/2006/relationships/tags" Target="../tags/tag1068.xml"/><Relationship Id="rId22" Type="http://schemas.openxmlformats.org/officeDocument/2006/relationships/hyperlink" Target="https://business.columbia.edu/faculty/people/gernot-wagner" TargetMode="External"/><Relationship Id="rId27" Type="http://schemas.openxmlformats.org/officeDocument/2006/relationships/image" Target="../media/image37.svg"/></Relationships>
</file>

<file path=ppt/slides/_rels/slide9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116.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6.xml"/><Relationship Id="rId1" Type="http://schemas.openxmlformats.org/officeDocument/2006/relationships/tags" Target="../tags/tag1072.xml"/><Relationship Id="rId6" Type="http://schemas.openxmlformats.org/officeDocument/2006/relationships/hyperlink" Target="https://gis.data.ca.gov/datasets/d639eb012fe142c89ea8ac779a665ca5_1/explore?location=33.258254%2C-115.655401%2C10.36" TargetMode="External"/><Relationship Id="rId5" Type="http://schemas.openxmlformats.org/officeDocument/2006/relationships/hyperlink" Target="https://eta-publications.lbl.gov/sites/default/files/escholarship_uc_item_4x8868mf.pdf" TargetMode="External"/><Relationship Id="rId10" Type="http://schemas.openxmlformats.org/officeDocument/2006/relationships/image" Target="../media/image317.png"/><Relationship Id="rId4" Type="http://schemas.openxmlformats.org/officeDocument/2006/relationships/image" Target="../media/image315.emf"/><Relationship Id="rId9" Type="http://schemas.openxmlformats.org/officeDocument/2006/relationships/image" Target="../media/image316.png"/></Relationships>
</file>

<file path=ppt/slides/_rels/slide98.xml.rels><?xml version="1.0" encoding="UTF-8" standalone="yes"?>
<Relationships xmlns="http://schemas.openxmlformats.org/package/2006/relationships"><Relationship Id="rId13" Type="http://schemas.openxmlformats.org/officeDocument/2006/relationships/tags" Target="../tags/tag1085.xml"/><Relationship Id="rId18" Type="http://schemas.openxmlformats.org/officeDocument/2006/relationships/tags" Target="../tags/tag1090.xml"/><Relationship Id="rId26" Type="http://schemas.openxmlformats.org/officeDocument/2006/relationships/tags" Target="../tags/tag1098.xml"/><Relationship Id="rId39" Type="http://schemas.openxmlformats.org/officeDocument/2006/relationships/hyperlink" Target="https://www.iea.org/data-and-statistics/charts/minerals-used-in-electric-cars-compared-to-conventional-cars" TargetMode="External"/><Relationship Id="rId21" Type="http://schemas.openxmlformats.org/officeDocument/2006/relationships/tags" Target="../tags/tag1093.xml"/><Relationship Id="rId34" Type="http://schemas.openxmlformats.org/officeDocument/2006/relationships/slideLayout" Target="../slideLayouts/slideLayout3.xml"/><Relationship Id="rId42" Type="http://schemas.openxmlformats.org/officeDocument/2006/relationships/hyperlink" Target="https://www.mckinsey.com/industries/metals-and-mining/our-insights/toward-security-in-sustainable-battery-raw-material-supply" TargetMode="External"/><Relationship Id="rId47" Type="http://schemas.openxmlformats.org/officeDocument/2006/relationships/chart" Target="../charts/chart69.xml"/><Relationship Id="rId7" Type="http://schemas.openxmlformats.org/officeDocument/2006/relationships/tags" Target="../tags/tag1079.xml"/><Relationship Id="rId2" Type="http://schemas.openxmlformats.org/officeDocument/2006/relationships/tags" Target="../tags/tag1074.xml"/><Relationship Id="rId16" Type="http://schemas.openxmlformats.org/officeDocument/2006/relationships/tags" Target="../tags/tag1088.xml"/><Relationship Id="rId29" Type="http://schemas.openxmlformats.org/officeDocument/2006/relationships/tags" Target="../tags/tag1101.xml"/><Relationship Id="rId11" Type="http://schemas.openxmlformats.org/officeDocument/2006/relationships/tags" Target="../tags/tag1083.xml"/><Relationship Id="rId24" Type="http://schemas.openxmlformats.org/officeDocument/2006/relationships/tags" Target="../tags/tag1096.xml"/><Relationship Id="rId32" Type="http://schemas.openxmlformats.org/officeDocument/2006/relationships/tags" Target="../tags/tag1104.xml"/><Relationship Id="rId37" Type="http://schemas.openxmlformats.org/officeDocument/2006/relationships/hyperlink" Target="https://gatrik.esdm.go.id/assets/uploads/download_index/files/c4d42-technology-data-for-the-indonesian-power-sector-2024-annoteret-af-kb-.pdf" TargetMode="External"/><Relationship Id="rId40" Type="http://schemas.openxmlformats.org/officeDocument/2006/relationships/hyperlink" Target="https://www.deloitte.com/southeast-asia/en/services/consulting/perspectives/indonesia-geothermal-energy.html"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1077.xml"/><Relationship Id="rId15" Type="http://schemas.openxmlformats.org/officeDocument/2006/relationships/tags" Target="../tags/tag1087.xml"/><Relationship Id="rId23" Type="http://schemas.openxmlformats.org/officeDocument/2006/relationships/tags" Target="../tags/tag1095.xml"/><Relationship Id="rId28" Type="http://schemas.openxmlformats.org/officeDocument/2006/relationships/tags" Target="../tags/tag1100.xml"/><Relationship Id="rId36" Type="http://schemas.openxmlformats.org/officeDocument/2006/relationships/image" Target="../media/image318.emf"/><Relationship Id="rId49" Type="http://schemas.openxmlformats.org/officeDocument/2006/relationships/hyperlink" Target="https://openclipart.org/detail/183848/indonesian%20flag" TargetMode="External"/><Relationship Id="rId10" Type="http://schemas.openxmlformats.org/officeDocument/2006/relationships/tags" Target="../tags/tag1082.xml"/><Relationship Id="rId19" Type="http://schemas.openxmlformats.org/officeDocument/2006/relationships/tags" Target="../tags/tag1091.xml"/><Relationship Id="rId31" Type="http://schemas.openxmlformats.org/officeDocument/2006/relationships/tags" Target="../tags/tag1103.xml"/><Relationship Id="rId44" Type="http://schemas.openxmlformats.org/officeDocument/2006/relationships/hyperlink" Target="https://business.columbia.edu/faculty/people/gernot-wagner" TargetMode="External"/><Relationship Id="rId4" Type="http://schemas.openxmlformats.org/officeDocument/2006/relationships/tags" Target="../tags/tag1076.xml"/><Relationship Id="rId9" Type="http://schemas.openxmlformats.org/officeDocument/2006/relationships/tags" Target="../tags/tag1081.xml"/><Relationship Id="rId14" Type="http://schemas.openxmlformats.org/officeDocument/2006/relationships/tags" Target="../tags/tag1086.xml"/><Relationship Id="rId22" Type="http://schemas.openxmlformats.org/officeDocument/2006/relationships/tags" Target="../tags/tag1094.xml"/><Relationship Id="rId27" Type="http://schemas.openxmlformats.org/officeDocument/2006/relationships/tags" Target="../tags/tag1099.xml"/><Relationship Id="rId30" Type="http://schemas.openxmlformats.org/officeDocument/2006/relationships/tags" Target="../tags/tag1102.xml"/><Relationship Id="rId35" Type="http://schemas.openxmlformats.org/officeDocument/2006/relationships/oleObject" Target="../embeddings/oleObject117.bin"/><Relationship Id="rId43" Type="http://schemas.openxmlformats.org/officeDocument/2006/relationships/hyperlink" Target="https://www.iea.org/data-and-statistics/charts/geographical-distribution-of-the-nickel-based-lithium-ion-battery-supply-chain-2024" TargetMode="External"/><Relationship Id="rId48" Type="http://schemas.openxmlformats.org/officeDocument/2006/relationships/image" Target="../media/image319.png"/><Relationship Id="rId8" Type="http://schemas.openxmlformats.org/officeDocument/2006/relationships/tags" Target="../tags/tag1080.xml"/><Relationship Id="rId3" Type="http://schemas.openxmlformats.org/officeDocument/2006/relationships/tags" Target="../tags/tag1075.xml"/><Relationship Id="rId12" Type="http://schemas.openxmlformats.org/officeDocument/2006/relationships/tags" Target="../tags/tag1084.xml"/><Relationship Id="rId17" Type="http://schemas.openxmlformats.org/officeDocument/2006/relationships/tags" Target="../tags/tag1089.xml"/><Relationship Id="rId25" Type="http://schemas.openxmlformats.org/officeDocument/2006/relationships/tags" Target="../tags/tag1097.xml"/><Relationship Id="rId33" Type="http://schemas.openxmlformats.org/officeDocument/2006/relationships/tags" Target="../tags/tag1105.xml"/><Relationship Id="rId38" Type="http://schemas.openxmlformats.org/officeDocument/2006/relationships/hyperlink" Target="https://www.iea.org/data-and-statistics/charts/material-content-in-different-anode-and-cathodes" TargetMode="External"/><Relationship Id="rId46" Type="http://schemas.openxmlformats.org/officeDocument/2006/relationships/chart" Target="../charts/chart68.xml"/><Relationship Id="rId20" Type="http://schemas.openxmlformats.org/officeDocument/2006/relationships/tags" Target="../tags/tag1092.xml"/><Relationship Id="rId41" Type="http://schemas.openxmlformats.org/officeDocument/2006/relationships/hyperlink" Target="https://www.spglobal.com/market-intelligence/en/news-insights/research/indonesia-mining-by-the-numbers-2023" TargetMode="External"/><Relationship Id="rId1" Type="http://schemas.openxmlformats.org/officeDocument/2006/relationships/tags" Target="../tags/tag1073.xml"/><Relationship Id="rId6" Type="http://schemas.openxmlformats.org/officeDocument/2006/relationships/tags" Target="../tags/tag1078.xml"/></Relationships>
</file>

<file path=ppt/slides/_rels/slide99.xml.rels><?xml version="1.0" encoding="UTF-8" standalone="yes"?>
<Relationships xmlns="http://schemas.openxmlformats.org/package/2006/relationships"><Relationship Id="rId13" Type="http://schemas.openxmlformats.org/officeDocument/2006/relationships/tags" Target="../tags/tag1118.xml"/><Relationship Id="rId18" Type="http://schemas.openxmlformats.org/officeDocument/2006/relationships/tags" Target="../tags/tag1123.xml"/><Relationship Id="rId26" Type="http://schemas.openxmlformats.org/officeDocument/2006/relationships/tags" Target="../tags/tag1131.xml"/><Relationship Id="rId39" Type="http://schemas.openxmlformats.org/officeDocument/2006/relationships/tags" Target="../tags/tag1144.xml"/><Relationship Id="rId21" Type="http://schemas.openxmlformats.org/officeDocument/2006/relationships/tags" Target="../tags/tag1126.xml"/><Relationship Id="rId34" Type="http://schemas.openxmlformats.org/officeDocument/2006/relationships/tags" Target="../tags/tag1139.xml"/><Relationship Id="rId42" Type="http://schemas.openxmlformats.org/officeDocument/2006/relationships/tags" Target="../tags/tag1147.xml"/><Relationship Id="rId47" Type="http://schemas.openxmlformats.org/officeDocument/2006/relationships/hyperlink" Target="https://www.iea.org/data-and-statistics/charts/comparison-of-global-average-lifecycle-emissions-by-powertrain-in-the-stated-policies-and-announced-pledges-scenarios-2023-2035" TargetMode="External"/><Relationship Id="rId50" Type="http://schemas.openxmlformats.org/officeDocument/2006/relationships/chart" Target="../charts/chart70.xml"/><Relationship Id="rId7" Type="http://schemas.openxmlformats.org/officeDocument/2006/relationships/tags" Target="../tags/tag1112.xml"/><Relationship Id="rId2" Type="http://schemas.openxmlformats.org/officeDocument/2006/relationships/tags" Target="../tags/tag1107.xml"/><Relationship Id="rId16" Type="http://schemas.openxmlformats.org/officeDocument/2006/relationships/tags" Target="../tags/tag1121.xml"/><Relationship Id="rId29" Type="http://schemas.openxmlformats.org/officeDocument/2006/relationships/tags" Target="../tags/tag1134.xml"/><Relationship Id="rId11" Type="http://schemas.openxmlformats.org/officeDocument/2006/relationships/tags" Target="../tags/tag1116.xml"/><Relationship Id="rId24" Type="http://schemas.openxmlformats.org/officeDocument/2006/relationships/tags" Target="../tags/tag1129.xml"/><Relationship Id="rId32" Type="http://schemas.openxmlformats.org/officeDocument/2006/relationships/tags" Target="../tags/tag1137.xml"/><Relationship Id="rId37" Type="http://schemas.openxmlformats.org/officeDocument/2006/relationships/tags" Target="../tags/tag1142.xml"/><Relationship Id="rId40" Type="http://schemas.openxmlformats.org/officeDocument/2006/relationships/tags" Target="../tags/tag1145.xml"/><Relationship Id="rId45" Type="http://schemas.openxmlformats.org/officeDocument/2006/relationships/image" Target="../media/image320.emf"/><Relationship Id="rId5" Type="http://schemas.openxmlformats.org/officeDocument/2006/relationships/tags" Target="../tags/tag1110.xml"/><Relationship Id="rId15" Type="http://schemas.openxmlformats.org/officeDocument/2006/relationships/tags" Target="../tags/tag1120.xml"/><Relationship Id="rId23" Type="http://schemas.openxmlformats.org/officeDocument/2006/relationships/tags" Target="../tags/tag1128.xml"/><Relationship Id="rId28" Type="http://schemas.openxmlformats.org/officeDocument/2006/relationships/tags" Target="../tags/tag1133.xml"/><Relationship Id="rId36" Type="http://schemas.openxmlformats.org/officeDocument/2006/relationships/tags" Target="../tags/tag1141.xml"/><Relationship Id="rId49" Type="http://schemas.openxmlformats.org/officeDocument/2006/relationships/hyperlink" Target="https://business.columbia.edu/insights/climate/cki" TargetMode="External"/><Relationship Id="rId10" Type="http://schemas.openxmlformats.org/officeDocument/2006/relationships/tags" Target="../tags/tag1115.xml"/><Relationship Id="rId19" Type="http://schemas.openxmlformats.org/officeDocument/2006/relationships/tags" Target="../tags/tag1124.xml"/><Relationship Id="rId31" Type="http://schemas.openxmlformats.org/officeDocument/2006/relationships/tags" Target="../tags/tag1136.xml"/><Relationship Id="rId44" Type="http://schemas.openxmlformats.org/officeDocument/2006/relationships/oleObject" Target="../embeddings/oleObject118.bin"/><Relationship Id="rId52" Type="http://schemas.openxmlformats.org/officeDocument/2006/relationships/chart" Target="../charts/chart72.xml"/><Relationship Id="rId4" Type="http://schemas.openxmlformats.org/officeDocument/2006/relationships/tags" Target="../tags/tag1109.xml"/><Relationship Id="rId9" Type="http://schemas.openxmlformats.org/officeDocument/2006/relationships/tags" Target="../tags/tag1114.xml"/><Relationship Id="rId14" Type="http://schemas.openxmlformats.org/officeDocument/2006/relationships/tags" Target="../tags/tag1119.xml"/><Relationship Id="rId22" Type="http://schemas.openxmlformats.org/officeDocument/2006/relationships/tags" Target="../tags/tag1127.xml"/><Relationship Id="rId27" Type="http://schemas.openxmlformats.org/officeDocument/2006/relationships/tags" Target="../tags/tag1132.xml"/><Relationship Id="rId30" Type="http://schemas.openxmlformats.org/officeDocument/2006/relationships/tags" Target="../tags/tag1135.xml"/><Relationship Id="rId35" Type="http://schemas.openxmlformats.org/officeDocument/2006/relationships/tags" Target="../tags/tag1140.xml"/><Relationship Id="rId43" Type="http://schemas.openxmlformats.org/officeDocument/2006/relationships/slideLayout" Target="../slideLayouts/slideLayout10.xml"/><Relationship Id="rId48" Type="http://schemas.openxmlformats.org/officeDocument/2006/relationships/hyperlink" Target="https://business.columbia.edu/faculty/people/gernot-wagner" TargetMode="External"/><Relationship Id="rId8" Type="http://schemas.openxmlformats.org/officeDocument/2006/relationships/tags" Target="../tags/tag1113.xml"/><Relationship Id="rId51" Type="http://schemas.openxmlformats.org/officeDocument/2006/relationships/chart" Target="../charts/chart71.xml"/><Relationship Id="rId3" Type="http://schemas.openxmlformats.org/officeDocument/2006/relationships/tags" Target="../tags/tag1108.xml"/><Relationship Id="rId12" Type="http://schemas.openxmlformats.org/officeDocument/2006/relationships/tags" Target="../tags/tag1117.xml"/><Relationship Id="rId17" Type="http://schemas.openxmlformats.org/officeDocument/2006/relationships/tags" Target="../tags/tag1122.xml"/><Relationship Id="rId25" Type="http://schemas.openxmlformats.org/officeDocument/2006/relationships/tags" Target="../tags/tag1130.xml"/><Relationship Id="rId33" Type="http://schemas.openxmlformats.org/officeDocument/2006/relationships/tags" Target="../tags/tag1138.xml"/><Relationship Id="rId38" Type="http://schemas.openxmlformats.org/officeDocument/2006/relationships/tags" Target="../tags/tag1143.xml"/><Relationship Id="rId46" Type="http://schemas.openxmlformats.org/officeDocument/2006/relationships/hyperlink" Target="https://www.mckinsey.com/industries/metals-and-mining/our-insights/toward-security-in-sustainable-battery-raw-material-supply" TargetMode="External"/><Relationship Id="rId20" Type="http://schemas.openxmlformats.org/officeDocument/2006/relationships/tags" Target="../tags/tag1125.xml"/><Relationship Id="rId41" Type="http://schemas.openxmlformats.org/officeDocument/2006/relationships/tags" Target="../tags/tag1146.xml"/><Relationship Id="rId1" Type="http://schemas.openxmlformats.org/officeDocument/2006/relationships/tags" Target="../tags/tag1106.xml"/><Relationship Id="rId6" Type="http://schemas.openxmlformats.org/officeDocument/2006/relationships/tags" Target="../tags/tag1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7F894F-7107-5E73-03B2-BB516FB4B0F3}"/>
              </a:ext>
            </a:extLst>
          </p:cNvPr>
          <p:cNvGraphicFramePr>
            <a:graphicFrameLocks/>
          </p:cNvGraphicFramePr>
          <p:nvPr>
            <p:custDataLst>
              <p:tags r:id="rId1"/>
            </p:custDataLst>
            <p:extLst>
              <p:ext uri="{D42A27DB-BD31-4B8C-83A1-F6EECF244321}">
                <p14:modId xmlns:p14="http://schemas.microsoft.com/office/powerpoint/2010/main" val="34091067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9F869F-BE98-642D-2162-7B253109BDA4}"/>
              </a:ext>
            </a:extLst>
          </p:cNvPr>
          <p:cNvSpPr>
            <a:spLocks noGrp="1"/>
          </p:cNvSpPr>
          <p:nvPr>
            <p:ph type="title"/>
          </p:nvPr>
        </p:nvSpPr>
        <p:spPr/>
        <p:txBody>
          <a:bodyPr vert="horz" rIns="0"/>
          <a:lstStyle/>
          <a:p>
            <a:r>
              <a:rPr lang="en-US" dirty="0"/>
              <a:t>Geothermal</a:t>
            </a:r>
            <a:br>
              <a:rPr lang="en-US" dirty="0"/>
            </a:br>
            <a:r>
              <a:rPr lang="en-US" dirty="0">
                <a:cs typeface="Arial"/>
              </a:rPr>
              <a:t>Power</a:t>
            </a:r>
            <a:endParaRPr lang="en-US" dirty="0"/>
          </a:p>
        </p:txBody>
      </p:sp>
      <p:sp>
        <p:nvSpPr>
          <p:cNvPr id="3" name="Text Placeholder 2">
            <a:extLst>
              <a:ext uri="{FF2B5EF4-FFF2-40B4-BE49-F238E27FC236}">
                <a16:creationId xmlns:a16="http://schemas.microsoft.com/office/drawing/2014/main" id="{0E26286D-5EFC-45B0-597D-B95079CBFBCF}"/>
              </a:ext>
            </a:extLst>
          </p:cNvPr>
          <p:cNvSpPr>
            <a:spLocks noGrp="1"/>
          </p:cNvSpPr>
          <p:nvPr>
            <p:ph type="body" sz="quarter" idx="10"/>
          </p:nvPr>
        </p:nvSpPr>
        <p:spPr/>
        <p:txBody>
          <a:bodyPr/>
          <a:lstStyle/>
          <a:p>
            <a:r>
              <a:rPr lang="en-US" sz="1600" dirty="0">
                <a:latin typeface="Arial"/>
                <a:cs typeface="Arial"/>
              </a:rPr>
              <a:t>Gernot Wagner, Zacharia Thurston, Pia Doris Morrow, Sevgi Helin </a:t>
            </a:r>
            <a:r>
              <a:rPr lang="en-US" sz="1600" dirty="0" err="1">
                <a:latin typeface="Arial"/>
                <a:cs typeface="Arial"/>
              </a:rPr>
              <a:t>Tilkicioglu</a:t>
            </a:r>
            <a:r>
              <a:rPr lang="en-US" sz="1600" dirty="0">
                <a:latin typeface="Arial"/>
                <a:cs typeface="Arial"/>
              </a:rPr>
              <a:t>, Heather Hartel, Stephanie Chen, Shubhangi Prasad, </a:t>
            </a:r>
            <a:r>
              <a:rPr lang="en-US" sz="1600" dirty="0" err="1">
                <a:latin typeface="Arial"/>
                <a:cs typeface="Arial"/>
              </a:rPr>
              <a:t>Faradisa</a:t>
            </a:r>
            <a:r>
              <a:rPr lang="en-US" sz="1600" dirty="0">
                <a:latin typeface="Arial"/>
                <a:cs typeface="Arial"/>
              </a:rPr>
              <a:t> </a:t>
            </a:r>
            <a:r>
              <a:rPr lang="en-US" sz="1600" dirty="0" err="1">
                <a:latin typeface="Arial"/>
                <a:cs typeface="Arial"/>
              </a:rPr>
              <a:t>Anintya</a:t>
            </a:r>
            <a:r>
              <a:rPr lang="en-US" sz="1600" dirty="0">
                <a:latin typeface="Arial"/>
                <a:cs typeface="Arial"/>
              </a:rPr>
              <a:t>, Una </a:t>
            </a:r>
            <a:r>
              <a:rPr lang="en-US" sz="1600" dirty="0" err="1">
                <a:latin typeface="Arial"/>
                <a:cs typeface="Arial"/>
              </a:rPr>
              <a:t>Oljaca</a:t>
            </a:r>
            <a:r>
              <a:rPr lang="en-US" sz="1600" dirty="0">
                <a:latin typeface="Arial"/>
                <a:cs typeface="Arial"/>
              </a:rPr>
              <a:t>, Thomas Smith, Leo Gordon, Ariela Farchi Behar, </a:t>
            </a:r>
            <a:r>
              <a:rPr lang="en-US" sz="1600" dirty="0" err="1">
                <a:latin typeface="Arial"/>
                <a:cs typeface="Arial"/>
              </a:rPr>
              <a:t>Hyae</a:t>
            </a:r>
            <a:r>
              <a:rPr lang="en-US" sz="1600" dirty="0">
                <a:latin typeface="Arial"/>
                <a:cs typeface="Arial"/>
              </a:rPr>
              <a:t> Ryung Kim, and Isabel Hoyos</a:t>
            </a:r>
            <a:endParaRPr lang="en-US" sz="1600" dirty="0">
              <a:cs typeface="Arial"/>
            </a:endParaRPr>
          </a:p>
        </p:txBody>
      </p:sp>
      <p:sp>
        <p:nvSpPr>
          <p:cNvPr id="4" name="Text Placeholder 3">
            <a:extLst>
              <a:ext uri="{FF2B5EF4-FFF2-40B4-BE49-F238E27FC236}">
                <a16:creationId xmlns:a16="http://schemas.microsoft.com/office/drawing/2014/main" id="{094EAD28-4E33-F6A8-E012-0C791CCDA115}"/>
              </a:ext>
            </a:extLst>
          </p:cNvPr>
          <p:cNvSpPr>
            <a:spLocks noGrp="1"/>
          </p:cNvSpPr>
          <p:nvPr>
            <p:ph type="body" sz="quarter" idx="12"/>
          </p:nvPr>
        </p:nvSpPr>
        <p:spPr/>
        <p:txBody>
          <a:bodyPr/>
          <a:lstStyle/>
          <a:p>
            <a:r>
              <a:rPr lang="en-US" dirty="0"/>
              <a:t>10 March 2026</a:t>
            </a:r>
          </a:p>
        </p:txBody>
      </p:sp>
      <p:sp>
        <p:nvSpPr>
          <p:cNvPr id="5" name="Text Placeholder 4">
            <a:extLst>
              <a:ext uri="{FF2B5EF4-FFF2-40B4-BE49-F238E27FC236}">
                <a16:creationId xmlns:a16="http://schemas.microsoft.com/office/drawing/2014/main" id="{0436E364-2C3C-B17E-D984-8BA5F0B6F4AB}"/>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66D8F6C7-C57C-2A27-64A0-FE66EAF540DD}"/>
              </a:ext>
            </a:extLst>
          </p:cNvPr>
          <p:cNvSpPr>
            <a:spLocks noGrp="1"/>
          </p:cNvSpPr>
          <p:nvPr>
            <p:ph type="body" sz="quarter" idx="14"/>
          </p:nvPr>
        </p:nvSpPr>
        <p:spPr/>
        <p:txBody>
          <a:bodyPr/>
          <a:lstStyle/>
          <a:p>
            <a:r>
              <a:rPr lang="en-US" dirty="0"/>
              <a:t>Cite as: Wagner </a:t>
            </a:r>
            <a:r>
              <a:rPr lang="en-US" i="1" dirty="0"/>
              <a:t>et al. </a:t>
            </a:r>
            <a:r>
              <a:rPr lang="en-US" dirty="0"/>
              <a:t>“Geothermal Power,” Columbia Business School Climate Knowledge Initiative (10 March 2026).</a:t>
            </a:r>
          </a:p>
        </p:txBody>
      </p:sp>
    </p:spTree>
    <p:extLst>
      <p:ext uri="{BB962C8B-B14F-4D97-AF65-F5344CB8AC3E}">
        <p14:creationId xmlns:p14="http://schemas.microsoft.com/office/powerpoint/2010/main" val="1604409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74A1EA8-D9E0-0566-0C0C-6B5409C74ED0}"/>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2" imgW="7772400" imgH="10058400" progId="TCLayout.ActiveDocument.1">
                  <p:embed/>
                </p:oleObj>
              </mc:Choice>
              <mc:Fallback>
                <p:oleObj name="think-cell Slide" r:id="rId72" imgW="7772400" imgH="10058400" progId="TCLayout.ActiveDocument.1">
                  <p:embed/>
                  <p:pic>
                    <p:nvPicPr>
                      <p:cNvPr id="12" name="think-cell data - do not delete" hidden="1">
                        <a:extLst>
                          <a:ext uri="{FF2B5EF4-FFF2-40B4-BE49-F238E27FC236}">
                            <a16:creationId xmlns:a16="http://schemas.microsoft.com/office/drawing/2014/main" id="{E74A1EA8-D9E0-0566-0C0C-6B5409C74ED0}"/>
                          </a:ext>
                        </a:extLst>
                      </p:cNvPr>
                      <p:cNvPicPr/>
                      <p:nvPr/>
                    </p:nvPicPr>
                    <p:blipFill>
                      <a:blip r:embed="rId73"/>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845453D-9456-235E-62DF-C1EC568CFA38}"/>
              </a:ext>
            </a:extLst>
          </p:cNvPr>
          <p:cNvSpPr>
            <a:spLocks noGrp="1"/>
          </p:cNvSpPr>
          <p:nvPr>
            <p:ph type="title"/>
          </p:nvPr>
        </p:nvSpPr>
        <p:spPr/>
        <p:txBody>
          <a:bodyPr vert="horz" rIns="91440"/>
          <a:lstStyle/>
          <a:p>
            <a:r>
              <a:rPr lang="en-US" dirty="0"/>
              <a:t>With vast untapped thermal resources and emerging technological advancements, geothermal power is primed for a breakout decade</a:t>
            </a:r>
          </a:p>
        </p:txBody>
      </p:sp>
      <p:sp>
        <p:nvSpPr>
          <p:cNvPr id="7" name="Footer Placeholder 6">
            <a:extLst>
              <a:ext uri="{FF2B5EF4-FFF2-40B4-BE49-F238E27FC236}">
                <a16:creationId xmlns:a16="http://schemas.microsoft.com/office/drawing/2014/main" id="{88361968-97E2-6CD0-7DF2-32A7E134940D}"/>
              </a:ext>
            </a:extLst>
          </p:cNvPr>
          <p:cNvSpPr>
            <a:spLocks noGrp="1"/>
          </p:cNvSpPr>
          <p:nvPr>
            <p:ph type="ftr" sz="quarter" idx="3"/>
          </p:nvPr>
        </p:nvSpPr>
        <p:spPr>
          <a:xfrm>
            <a:off x="339692" y="6053138"/>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One barrel of oil/gas is roughly equivalent to 1.7 MWh. There are about 1.5 trillion proven reserves of oil/gas x 1.7 MWh = 2.55 trillion MWh of potential fossil energy remaining (50-year supply remain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4"/>
              </a:rPr>
              <a:t>World Energy Outlook 2024</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Tapping the Earth’s Natural Heat</a:t>
            </a:r>
            <a:r>
              <a:rPr kumimoji="0" lang="en-US" sz="800" b="0" i="0" u="none" strike="noStrike" kern="1200" cap="none" spc="0" normalizeH="0" baseline="0" noProof="0" dirty="0">
                <a:ln>
                  <a:noFill/>
                </a:ln>
                <a:solidFill>
                  <a:srgbClr val="000000"/>
                </a:solidFill>
                <a:effectLst/>
                <a:uLnTx/>
                <a:uFillTx/>
                <a:latin typeface="Arial"/>
                <a:ea typeface="+mn-ea"/>
                <a:cs typeface="+mn-cs"/>
              </a:rPr>
              <a:t> (USGS, 199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Oil and Gas Reserves</a:t>
            </a:r>
            <a:r>
              <a:rPr kumimoji="0" lang="en-US" sz="800" b="0" i="0" u="none" strike="noStrike" kern="1200" cap="none" spc="0" normalizeH="0" baseline="0" noProof="0" dirty="0">
                <a:ln>
                  <a:noFill/>
                </a:ln>
                <a:solidFill>
                  <a:srgbClr val="000000"/>
                </a:solidFill>
                <a:effectLst/>
                <a:uLnTx/>
                <a:uFillTx/>
                <a:latin typeface="Arial"/>
                <a:ea typeface="+mn-ea"/>
                <a:cs typeface="+mn-cs"/>
              </a:rPr>
              <a:t> (Penn State University,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Total Geothermal C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Our World in Dat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Evolution of Worldwide Geothermal Power 2020-2023</a:t>
            </a:r>
            <a:r>
              <a:rPr kumimoji="0" lang="en-US" sz="800" b="0" i="0" u="none" strike="noStrike" kern="1200" cap="none" spc="0" normalizeH="0" baseline="0" noProof="0" dirty="0">
                <a:ln>
                  <a:noFill/>
                </a:ln>
                <a:solidFill>
                  <a:srgbClr val="000000"/>
                </a:solidFill>
                <a:effectLst/>
                <a:uLnTx/>
                <a:uFillTx/>
                <a:latin typeface="Arial"/>
                <a:ea typeface="+mn-ea"/>
                <a:cs typeface="+mn-cs"/>
              </a:rPr>
              <a:t> (Geothermal Energy, 2024);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79"/>
              </a:rPr>
              <a:t>Pathways to Commercial Liftoff: Geothermal Heating and Cooling</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E,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80"/>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8" name="Text Placeholder 7">
            <a:extLst>
              <a:ext uri="{FF2B5EF4-FFF2-40B4-BE49-F238E27FC236}">
                <a16:creationId xmlns:a16="http://schemas.microsoft.com/office/drawing/2014/main" id="{9158B333-7D8A-4DC9-EBB9-B2128EBD91CA}"/>
              </a:ext>
            </a:extLst>
          </p:cNvPr>
          <p:cNvSpPr>
            <a:spLocks noGrp="1"/>
          </p:cNvSpPr>
          <p:nvPr>
            <p:ph type="body" sz="quarter" idx="13"/>
          </p:nvPr>
        </p:nvSpPr>
        <p:spPr/>
        <p:txBody>
          <a:bodyPr rIns="0"/>
          <a:lstStyle/>
          <a:p>
            <a:r>
              <a:rPr lang="en-US" sz="1420" dirty="0"/>
              <a:t>Potential of proven oil &amp; gas reserves vs. 1% geothermal resources*, trillion MWh</a:t>
            </a:r>
          </a:p>
        </p:txBody>
      </p:sp>
      <p:sp>
        <p:nvSpPr>
          <p:cNvPr id="9" name="Text Placeholder 8">
            <a:extLst>
              <a:ext uri="{FF2B5EF4-FFF2-40B4-BE49-F238E27FC236}">
                <a16:creationId xmlns:a16="http://schemas.microsoft.com/office/drawing/2014/main" id="{D012190D-DA05-9B4D-71A1-43A31160D8A3}"/>
              </a:ext>
            </a:extLst>
          </p:cNvPr>
          <p:cNvSpPr>
            <a:spLocks noGrp="1"/>
          </p:cNvSpPr>
          <p:nvPr>
            <p:ph type="body" sz="quarter" idx="18"/>
          </p:nvPr>
        </p:nvSpPr>
        <p:spPr/>
        <p:txBody>
          <a:bodyPr/>
          <a:lstStyle/>
          <a:p>
            <a:r>
              <a:rPr lang="en-US" sz="1420" dirty="0"/>
              <a:t>Projected global geothermal under different scenarios, GW</a:t>
            </a:r>
          </a:p>
        </p:txBody>
      </p:sp>
      <p:sp>
        <p:nvSpPr>
          <p:cNvPr id="10" name="Text Placeholder 9">
            <a:extLst>
              <a:ext uri="{FF2B5EF4-FFF2-40B4-BE49-F238E27FC236}">
                <a16:creationId xmlns:a16="http://schemas.microsoft.com/office/drawing/2014/main" id="{3E073FCE-B623-0494-C1A7-3D3E5B567B58}"/>
              </a:ext>
            </a:extLst>
          </p:cNvPr>
          <p:cNvSpPr>
            <a:spLocks noGrp="1"/>
          </p:cNvSpPr>
          <p:nvPr>
            <p:ph type="body" sz="quarter" idx="19"/>
          </p:nvPr>
        </p:nvSpPr>
        <p:spPr/>
        <p:txBody>
          <a:bodyPr/>
          <a:lstStyle/>
          <a:p>
            <a:r>
              <a:rPr lang="en-US" sz="1420" dirty="0"/>
              <a:t>Historical installed geothermal capacity by country, GW</a:t>
            </a:r>
          </a:p>
        </p:txBody>
      </p:sp>
      <p:sp>
        <p:nvSpPr>
          <p:cNvPr id="11" name="Text Placeholder 1">
            <a:extLst>
              <a:ext uri="{FF2B5EF4-FFF2-40B4-BE49-F238E27FC236}">
                <a16:creationId xmlns:a16="http://schemas.microsoft.com/office/drawing/2014/main" id="{FB6986CD-E74A-217A-AC10-796FF129A5CC}"/>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sp>
        <p:nvSpPr>
          <p:cNvPr id="95" name="Triangle 73">
            <a:extLst>
              <a:ext uri="{FF2B5EF4-FFF2-40B4-BE49-F238E27FC236}">
                <a16:creationId xmlns:a16="http://schemas.microsoft.com/office/drawing/2014/main" id="{5725A8F7-9FB6-DA37-C2D9-B2F3522EDB94}"/>
              </a:ext>
            </a:extLst>
          </p:cNvPr>
          <p:cNvSpPr/>
          <p:nvPr/>
        </p:nvSpPr>
        <p:spPr bwMode="gray">
          <a:xfrm rot="5400000">
            <a:off x="6200988" y="3355760"/>
            <a:ext cx="3180920" cy="1231901"/>
          </a:xfrm>
          <a:prstGeom prst="triangle">
            <a:avLst>
              <a:gd name="adj" fmla="val 94189"/>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3647C773-882C-DC07-054A-FC58BF1D7554}"/>
              </a:ext>
            </a:extLst>
          </p:cNvPr>
          <p:cNvSpPr/>
          <p:nvPr/>
        </p:nvSpPr>
        <p:spPr bwMode="gray">
          <a:xfrm>
            <a:off x="704850" y="4557713"/>
            <a:ext cx="787400" cy="966788"/>
          </a:xfrm>
          <a:prstGeom prst="rect">
            <a:avLst/>
          </a:prstGeom>
          <a:solidFill>
            <a:schemeClr val="bg1">
              <a:lumMod val="95000"/>
              <a:alpha val="67223"/>
            </a:schemeClr>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78" name="Chart 177">
            <a:extLst>
              <a:ext uri="{FF2B5EF4-FFF2-40B4-BE49-F238E27FC236}">
                <a16:creationId xmlns:a16="http://schemas.microsoft.com/office/drawing/2014/main" id="{CEE8ABC8-0C33-F523-FE7C-8C93DEB2A567}"/>
              </a:ext>
            </a:extLst>
          </p:cNvPr>
          <p:cNvGraphicFramePr/>
          <p:nvPr>
            <p:custDataLst>
              <p:tags r:id="rId2"/>
            </p:custDataLst>
          </p:nvPr>
        </p:nvGraphicFramePr>
        <p:xfrm>
          <a:off x="4221163" y="2339975"/>
          <a:ext cx="2949575" cy="3305175"/>
        </p:xfrm>
        <a:graphic>
          <a:graphicData uri="http://schemas.openxmlformats.org/drawingml/2006/chart">
            <c:chart xmlns:c="http://schemas.openxmlformats.org/drawingml/2006/chart" xmlns:r="http://schemas.openxmlformats.org/officeDocument/2006/relationships" r:id="rId82"/>
          </a:graphicData>
        </a:graphic>
      </p:graphicFrame>
      <p:sp>
        <p:nvSpPr>
          <p:cNvPr id="114" name="Text Placeholder 10">
            <a:extLst>
              <a:ext uri="{FF2B5EF4-FFF2-40B4-BE49-F238E27FC236}">
                <a16:creationId xmlns:a16="http://schemas.microsoft.com/office/drawing/2014/main" id="{A93504CA-A588-ECD5-2873-BDE923CA4DEF}"/>
              </a:ext>
            </a:extLst>
          </p:cNvPr>
          <p:cNvSpPr>
            <a:spLocks/>
          </p:cNvSpPr>
          <p:nvPr>
            <p:custDataLst>
              <p:tags r:id="rId3"/>
            </p:custDataLst>
          </p:nvPr>
        </p:nvSpPr>
        <p:spPr bwMode="gray">
          <a:xfrm>
            <a:off x="4105275" y="54864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AC17C5-2AED-4DFB-B95D-E577BF6A9097}"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Text Placeholder 10">
            <a:extLst>
              <a:ext uri="{FF2B5EF4-FFF2-40B4-BE49-F238E27FC236}">
                <a16:creationId xmlns:a16="http://schemas.microsoft.com/office/drawing/2014/main" id="{C192FB2F-704C-8CF0-8B2F-9FF02146CCF8}"/>
              </a:ext>
            </a:extLst>
          </p:cNvPr>
          <p:cNvSpPr>
            <a:spLocks/>
          </p:cNvSpPr>
          <p:nvPr>
            <p:custDataLst>
              <p:tags r:id="rId4"/>
            </p:custDataLst>
          </p:nvPr>
        </p:nvSpPr>
        <p:spPr bwMode="gray">
          <a:xfrm>
            <a:off x="4105275" y="5289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28A0F3-00BF-4C0F-B416-08CB8871BE84}"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Text Placeholder 10">
            <a:extLst>
              <a:ext uri="{FF2B5EF4-FFF2-40B4-BE49-F238E27FC236}">
                <a16:creationId xmlns:a16="http://schemas.microsoft.com/office/drawing/2014/main" id="{9C68CDBB-2639-7656-FB86-A22BD2C14BA9}"/>
              </a:ext>
            </a:extLst>
          </p:cNvPr>
          <p:cNvSpPr>
            <a:spLocks/>
          </p:cNvSpPr>
          <p:nvPr>
            <p:custDataLst>
              <p:tags r:id="rId5"/>
            </p:custDataLst>
          </p:nvPr>
        </p:nvSpPr>
        <p:spPr bwMode="gray">
          <a:xfrm>
            <a:off x="4105275" y="48974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3287764-3AEC-4247-A00B-45474B87654C}"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9D60478A-1763-14E4-0D71-4CA597BBA4EB}"/>
              </a:ext>
            </a:extLst>
          </p:cNvPr>
          <p:cNvSpPr>
            <a:spLocks/>
          </p:cNvSpPr>
          <p:nvPr>
            <p:custDataLst>
              <p:tags r:id="rId6"/>
            </p:custDataLst>
          </p:nvPr>
        </p:nvSpPr>
        <p:spPr bwMode="gray">
          <a:xfrm>
            <a:off x="4105275" y="47021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206F5B-CC84-42F1-8C71-15F883F11A83}"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Text Placeholder 10">
            <a:extLst>
              <a:ext uri="{FF2B5EF4-FFF2-40B4-BE49-F238E27FC236}">
                <a16:creationId xmlns:a16="http://schemas.microsoft.com/office/drawing/2014/main" id="{1957F4EF-C2D5-8878-CADA-6490036FA21E}"/>
              </a:ext>
            </a:extLst>
          </p:cNvPr>
          <p:cNvSpPr>
            <a:spLocks/>
          </p:cNvSpPr>
          <p:nvPr>
            <p:custDataLst>
              <p:tags r:id="rId7"/>
            </p:custDataLst>
          </p:nvPr>
        </p:nvSpPr>
        <p:spPr bwMode="gray">
          <a:xfrm>
            <a:off x="4105275" y="450532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E9CF03-6880-4B22-9673-7B4F8C6A21A2}"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Text Placeholder 10">
            <a:extLst>
              <a:ext uri="{FF2B5EF4-FFF2-40B4-BE49-F238E27FC236}">
                <a16:creationId xmlns:a16="http://schemas.microsoft.com/office/drawing/2014/main" id="{4B7E5592-7619-3C71-B340-771E24665DA9}"/>
              </a:ext>
            </a:extLst>
          </p:cNvPr>
          <p:cNvSpPr>
            <a:spLocks/>
          </p:cNvSpPr>
          <p:nvPr>
            <p:custDataLst>
              <p:tags r:id="rId8"/>
            </p:custDataLst>
          </p:nvPr>
        </p:nvSpPr>
        <p:spPr bwMode="gray">
          <a:xfrm>
            <a:off x="4105275" y="43084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32CC66E-E3A9-4437-B62F-9A56B29B2D1E}" type="datetime'''''''''''''''''''''''''''''''''''''''''''''''''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 Placeholder 10">
            <a:extLst>
              <a:ext uri="{FF2B5EF4-FFF2-40B4-BE49-F238E27FC236}">
                <a16:creationId xmlns:a16="http://schemas.microsoft.com/office/drawing/2014/main" id="{63B1E0C0-AA30-BBCD-DA18-A2E055C86707}"/>
              </a:ext>
            </a:extLst>
          </p:cNvPr>
          <p:cNvSpPr>
            <a:spLocks/>
          </p:cNvSpPr>
          <p:nvPr>
            <p:custDataLst>
              <p:tags r:id="rId9"/>
            </p:custDataLst>
          </p:nvPr>
        </p:nvSpPr>
        <p:spPr bwMode="gray">
          <a:xfrm>
            <a:off x="4105275" y="41132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527405-76B1-4542-A98E-69149B223773}" type="datetime'''''''''''''''''''''''''''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C48DFBCD-2AE0-7B75-CF1B-AA4D9E3EE285}"/>
              </a:ext>
            </a:extLst>
          </p:cNvPr>
          <p:cNvSpPr>
            <a:spLocks/>
          </p:cNvSpPr>
          <p:nvPr>
            <p:custDataLst>
              <p:tags r:id="rId10"/>
            </p:custDataLst>
          </p:nvPr>
        </p:nvSpPr>
        <p:spPr bwMode="gray">
          <a:xfrm>
            <a:off x="4105275" y="39163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C76360-ABEE-46F4-93E2-99F7814949DE}" type="datetime'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Text Placeholder 10">
            <a:extLst>
              <a:ext uri="{FF2B5EF4-FFF2-40B4-BE49-F238E27FC236}">
                <a16:creationId xmlns:a16="http://schemas.microsoft.com/office/drawing/2014/main" id="{BE589F4C-C0BB-0D78-6C07-52B9DAB4A972}"/>
              </a:ext>
            </a:extLst>
          </p:cNvPr>
          <p:cNvSpPr>
            <a:spLocks/>
          </p:cNvSpPr>
          <p:nvPr>
            <p:custDataLst>
              <p:tags r:id="rId11"/>
            </p:custDataLst>
          </p:nvPr>
        </p:nvSpPr>
        <p:spPr bwMode="gray">
          <a:xfrm>
            <a:off x="4105275" y="37195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AB741B-4B97-442B-8A83-87E5248207EC}" type="datetime'''''''''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858EFB49-AD13-C2D5-5D19-971522AB0127}"/>
              </a:ext>
            </a:extLst>
          </p:cNvPr>
          <p:cNvSpPr>
            <a:spLocks/>
          </p:cNvSpPr>
          <p:nvPr>
            <p:custDataLst>
              <p:tags r:id="rId12"/>
            </p:custDataLst>
          </p:nvPr>
        </p:nvSpPr>
        <p:spPr bwMode="gray">
          <a:xfrm>
            <a:off x="4035425" y="35242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8FECDC-5063-4AA4-A766-F15E9E414ED1}"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A65A351B-63DE-D4CC-D9B9-512F2A2E09D1}"/>
              </a:ext>
            </a:extLst>
          </p:cNvPr>
          <p:cNvSpPr>
            <a:spLocks/>
          </p:cNvSpPr>
          <p:nvPr>
            <p:custDataLst>
              <p:tags r:id="rId13"/>
            </p:custDataLst>
          </p:nvPr>
        </p:nvSpPr>
        <p:spPr bwMode="gray">
          <a:xfrm>
            <a:off x="4035425" y="33274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CBCC0C-4C1C-49AF-8FDB-EBB07960E07C}" type="datetime'''''''''''''''''''''''1''''''''''''''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 Placeholder 10">
            <a:extLst>
              <a:ext uri="{FF2B5EF4-FFF2-40B4-BE49-F238E27FC236}">
                <a16:creationId xmlns:a16="http://schemas.microsoft.com/office/drawing/2014/main" id="{16760160-4D83-F7B9-44E3-5AAC3834B777}"/>
              </a:ext>
            </a:extLst>
          </p:cNvPr>
          <p:cNvSpPr>
            <a:spLocks/>
          </p:cNvSpPr>
          <p:nvPr>
            <p:custDataLst>
              <p:tags r:id="rId14"/>
            </p:custDataLst>
          </p:nvPr>
        </p:nvSpPr>
        <p:spPr bwMode="gray">
          <a:xfrm>
            <a:off x="4035425" y="31321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071BF9-83F7-4C20-B676-B17617FAF615}" type="datetime'''''''''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0B5D457E-7A44-BD22-05DB-19F84BD92B9B}"/>
              </a:ext>
            </a:extLst>
          </p:cNvPr>
          <p:cNvSpPr>
            <a:spLocks/>
          </p:cNvSpPr>
          <p:nvPr>
            <p:custDataLst>
              <p:tags r:id="rId15"/>
            </p:custDataLst>
          </p:nvPr>
        </p:nvSpPr>
        <p:spPr bwMode="gray">
          <a:xfrm>
            <a:off x="4035425" y="29352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167B73-BE3C-4A3C-AED1-48623755A151}" type="datetime'''''''''''''''''''''''''''''''1''''''''''''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Text Placeholder 10">
            <a:extLst>
              <a:ext uri="{FF2B5EF4-FFF2-40B4-BE49-F238E27FC236}">
                <a16:creationId xmlns:a16="http://schemas.microsoft.com/office/drawing/2014/main" id="{F393D3AA-ADBD-637B-059F-A32976E2BC6D}"/>
              </a:ext>
            </a:extLst>
          </p:cNvPr>
          <p:cNvSpPr>
            <a:spLocks/>
          </p:cNvSpPr>
          <p:nvPr>
            <p:custDataLst>
              <p:tags r:id="rId16"/>
            </p:custDataLst>
          </p:nvPr>
        </p:nvSpPr>
        <p:spPr bwMode="gray">
          <a:xfrm>
            <a:off x="4035425" y="27384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3FA6F3-1C48-4A5F-84F8-D80A8B1A7B6B}" type="datetime'''''''1''''''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77D0E894-D39E-7351-A052-C5EC450332AC}"/>
              </a:ext>
            </a:extLst>
          </p:cNvPr>
          <p:cNvSpPr>
            <a:spLocks/>
          </p:cNvSpPr>
          <p:nvPr>
            <p:custDataLst>
              <p:tags r:id="rId17"/>
            </p:custDataLst>
          </p:nvPr>
        </p:nvSpPr>
        <p:spPr bwMode="gray">
          <a:xfrm>
            <a:off x="4035425" y="25431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E3F313-03A6-4BBE-A1BF-4E1C58FCAFD5}" type="datetime'''''''''''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Text Placeholder 10">
            <a:extLst>
              <a:ext uri="{FF2B5EF4-FFF2-40B4-BE49-F238E27FC236}">
                <a16:creationId xmlns:a16="http://schemas.microsoft.com/office/drawing/2014/main" id="{F3CE02FE-7EFF-BA42-E76E-88DE45088968}"/>
              </a:ext>
            </a:extLst>
          </p:cNvPr>
          <p:cNvSpPr txBox="1">
            <a:spLocks/>
          </p:cNvSpPr>
          <p:nvPr>
            <p:custDataLst>
              <p:tags r:id="rId18"/>
            </p:custDataLst>
          </p:nvPr>
        </p:nvSpPr>
        <p:spPr bwMode="gray">
          <a:xfrm>
            <a:off x="4035425" y="2346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6C89C50-D8C3-4F69-8BE8-955830CCE429}" type="datetime'''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Text Placeholder 10">
            <a:extLst>
              <a:ext uri="{FF2B5EF4-FFF2-40B4-BE49-F238E27FC236}">
                <a16:creationId xmlns:a16="http://schemas.microsoft.com/office/drawing/2014/main" id="{07B444D2-1A8B-A633-CEFC-487964C2583B}"/>
              </a:ext>
            </a:extLst>
          </p:cNvPr>
          <p:cNvSpPr>
            <a:spLocks/>
          </p:cNvSpPr>
          <p:nvPr>
            <p:custDataLst>
              <p:tags r:id="rId19"/>
            </p:custDataLst>
          </p:nvPr>
        </p:nvSpPr>
        <p:spPr bwMode="gray">
          <a:xfrm>
            <a:off x="4105275" y="509428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013511-54AB-47D0-BC14-AFE0C412CA34}"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5" name="Straight Connector 114">
            <a:extLst>
              <a:ext uri="{FF2B5EF4-FFF2-40B4-BE49-F238E27FC236}">
                <a16:creationId xmlns:a16="http://schemas.microsoft.com/office/drawing/2014/main" id="{B8616ADB-3C31-78D4-A085-007C58A55404}"/>
              </a:ext>
            </a:extLst>
          </p:cNvPr>
          <p:cNvCxnSpPr/>
          <p:nvPr>
            <p:custDataLst>
              <p:tags r:id="rId20"/>
            </p:custDataLst>
          </p:nvPr>
        </p:nvCxnSpPr>
        <p:spPr bwMode="auto">
          <a:xfrm flipH="1">
            <a:off x="7126288" y="2667000"/>
            <a:ext cx="79375"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4" name="Text Placeholder 10">
            <a:extLst>
              <a:ext uri="{FF2B5EF4-FFF2-40B4-BE49-F238E27FC236}">
                <a16:creationId xmlns:a16="http://schemas.microsoft.com/office/drawing/2014/main" id="{C5B2AEE1-EBDE-2D63-6B66-C21208F8D3D0}"/>
              </a:ext>
            </a:extLst>
          </p:cNvPr>
          <p:cNvSpPr txBox="1">
            <a:spLocks/>
          </p:cNvSpPr>
          <p:nvPr>
            <p:custDataLst>
              <p:tags r:id="rId21"/>
            </p:custDataLst>
          </p:nvPr>
        </p:nvSpPr>
        <p:spPr bwMode="auto">
          <a:xfrm>
            <a:off x="554990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F8FFE8-E22C-490D-957E-E17031E5D288}" type="datetime'''''''''''''''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Text Placeholder 10">
            <a:extLst>
              <a:ext uri="{FF2B5EF4-FFF2-40B4-BE49-F238E27FC236}">
                <a16:creationId xmlns:a16="http://schemas.microsoft.com/office/drawing/2014/main" id="{D33C3796-C148-F87E-2B7C-504DA88F8725}"/>
              </a:ext>
            </a:extLst>
          </p:cNvPr>
          <p:cNvSpPr txBox="1">
            <a:spLocks/>
          </p:cNvSpPr>
          <p:nvPr>
            <p:custDataLst>
              <p:tags r:id="rId22"/>
            </p:custDataLst>
          </p:nvPr>
        </p:nvSpPr>
        <p:spPr bwMode="auto">
          <a:xfrm>
            <a:off x="462121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01197C-A5A3-46EE-B20F-68B599DA496C}" type="datetime'''''''''''''20''''''''''''''''''''0''''''''''''''''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Text Placeholder 10">
            <a:extLst>
              <a:ext uri="{FF2B5EF4-FFF2-40B4-BE49-F238E27FC236}">
                <a16:creationId xmlns:a16="http://schemas.microsoft.com/office/drawing/2014/main" id="{83292DAD-5AD2-23F5-A112-90B6AD6D79E4}"/>
              </a:ext>
            </a:extLst>
          </p:cNvPr>
          <p:cNvSpPr txBox="1">
            <a:spLocks/>
          </p:cNvSpPr>
          <p:nvPr>
            <p:custDataLst>
              <p:tags r:id="rId23"/>
            </p:custDataLst>
          </p:nvPr>
        </p:nvSpPr>
        <p:spPr bwMode="auto">
          <a:xfrm>
            <a:off x="60134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F69E378-DC28-49BB-83F3-B02B3FF760AF}" type="datetime'''''''''''''''20''''''''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Text Placeholder 10">
            <a:extLst>
              <a:ext uri="{FF2B5EF4-FFF2-40B4-BE49-F238E27FC236}">
                <a16:creationId xmlns:a16="http://schemas.microsoft.com/office/drawing/2014/main" id="{8DB26DBF-4C8D-B9FA-0BD5-7E56CF6CE625}"/>
              </a:ext>
            </a:extLst>
          </p:cNvPr>
          <p:cNvSpPr txBox="1">
            <a:spLocks/>
          </p:cNvSpPr>
          <p:nvPr>
            <p:custDataLst>
              <p:tags r:id="rId24"/>
            </p:custDataLst>
          </p:nvPr>
        </p:nvSpPr>
        <p:spPr bwMode="auto">
          <a:xfrm>
            <a:off x="647858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D7D6AC-DE7A-43F1-9DAE-C370BA8969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Text Placeholder 10">
            <a:extLst>
              <a:ext uri="{FF2B5EF4-FFF2-40B4-BE49-F238E27FC236}">
                <a16:creationId xmlns:a16="http://schemas.microsoft.com/office/drawing/2014/main" id="{F8DDD34D-9483-185C-D369-3D32DC948BA9}"/>
              </a:ext>
            </a:extLst>
          </p:cNvPr>
          <p:cNvSpPr txBox="1">
            <a:spLocks/>
          </p:cNvSpPr>
          <p:nvPr>
            <p:custDataLst>
              <p:tags r:id="rId25"/>
            </p:custDataLst>
          </p:nvPr>
        </p:nvSpPr>
        <p:spPr bwMode="auto">
          <a:xfrm>
            <a:off x="694213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D5A3AE3-082B-43B3-8BD5-291A5B7AC292}"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Text Placeholder 10">
            <a:extLst>
              <a:ext uri="{FF2B5EF4-FFF2-40B4-BE49-F238E27FC236}">
                <a16:creationId xmlns:a16="http://schemas.microsoft.com/office/drawing/2014/main" id="{9ED7ED38-2F4B-A7D5-654B-5ACBA54E67A0}"/>
              </a:ext>
            </a:extLst>
          </p:cNvPr>
          <p:cNvSpPr txBox="1">
            <a:spLocks/>
          </p:cNvSpPr>
          <p:nvPr>
            <p:custDataLst>
              <p:tags r:id="rId26"/>
            </p:custDataLst>
          </p:nvPr>
        </p:nvSpPr>
        <p:spPr bwMode="auto">
          <a:xfrm>
            <a:off x="7231063" y="5241925"/>
            <a:ext cx="5334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703213-BD59-4105-BE81-9F80C044AD6A}" type="datetime'U''''n''it''ed ''''''''S''''''''''''t''''a''t''''''es'">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Text Placeholder 10">
            <a:extLst>
              <a:ext uri="{FF2B5EF4-FFF2-40B4-BE49-F238E27FC236}">
                <a16:creationId xmlns:a16="http://schemas.microsoft.com/office/drawing/2014/main" id="{2EC32BF4-1461-F4E8-50AA-321052373B79}"/>
              </a:ext>
            </a:extLst>
          </p:cNvPr>
          <p:cNvSpPr txBox="1">
            <a:spLocks/>
          </p:cNvSpPr>
          <p:nvPr>
            <p:custDataLst>
              <p:tags r:id="rId27"/>
            </p:custDataLst>
          </p:nvPr>
        </p:nvSpPr>
        <p:spPr bwMode="auto">
          <a:xfrm>
            <a:off x="7231063" y="4716463"/>
            <a:ext cx="38417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84B094-8B77-43B8-9791-3C40A8B82141}" type="datetime'''''I''''''''''''''''n''d''on''es''i''''''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onesi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Text Placeholder 10">
            <a:extLst>
              <a:ext uri="{FF2B5EF4-FFF2-40B4-BE49-F238E27FC236}">
                <a16:creationId xmlns:a16="http://schemas.microsoft.com/office/drawing/2014/main" id="{7C25370B-D276-594C-9A86-DD5750D2793A}"/>
              </a:ext>
            </a:extLst>
          </p:cNvPr>
          <p:cNvSpPr txBox="1">
            <a:spLocks/>
          </p:cNvSpPr>
          <p:nvPr>
            <p:custDataLst>
              <p:tags r:id="rId28"/>
            </p:custDataLst>
          </p:nvPr>
        </p:nvSpPr>
        <p:spPr bwMode="auto">
          <a:xfrm>
            <a:off x="7231063" y="4265613"/>
            <a:ext cx="4254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dirty="0">
                <a:ln>
                  <a:noFill/>
                </a:ln>
                <a:solidFill>
                  <a:srgbClr val="000000"/>
                </a:solidFill>
                <a:effectLst/>
                <a:uLnTx/>
                <a:uFillTx/>
                <a:latin typeface="Arial"/>
                <a:ea typeface="+mn-ea"/>
                <a:cs typeface="+mn-cs"/>
              </a:rPr>
              <a:t>Philippine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Text Placeholder 10">
            <a:extLst>
              <a:ext uri="{FF2B5EF4-FFF2-40B4-BE49-F238E27FC236}">
                <a16:creationId xmlns:a16="http://schemas.microsoft.com/office/drawing/2014/main" id="{E1195FD4-E3DA-6282-A13D-433AE018B849}"/>
              </a:ext>
            </a:extLst>
          </p:cNvPr>
          <p:cNvSpPr txBox="1">
            <a:spLocks/>
          </p:cNvSpPr>
          <p:nvPr>
            <p:custDataLst>
              <p:tags r:id="rId29"/>
            </p:custDataLst>
          </p:nvPr>
        </p:nvSpPr>
        <p:spPr bwMode="auto">
          <a:xfrm>
            <a:off x="7231063" y="3903663"/>
            <a:ext cx="271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CA9AFD-63C6-4422-A696-82C1200FCE90}" type="datetime'''T''''''''''''''''''''''''''u''''''''''rk''''''''''e''''y'">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Text Placeholder 10">
            <a:extLst>
              <a:ext uri="{FF2B5EF4-FFF2-40B4-BE49-F238E27FC236}">
                <a16:creationId xmlns:a16="http://schemas.microsoft.com/office/drawing/2014/main" id="{D30A2233-002E-A568-8140-404980F4321A}"/>
              </a:ext>
            </a:extLst>
          </p:cNvPr>
          <p:cNvSpPr txBox="1">
            <a:spLocks/>
          </p:cNvSpPr>
          <p:nvPr>
            <p:custDataLst>
              <p:tags r:id="rId30"/>
            </p:custDataLst>
          </p:nvPr>
        </p:nvSpPr>
        <p:spPr bwMode="auto">
          <a:xfrm>
            <a:off x="7231063" y="3608388"/>
            <a:ext cx="5207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E24AE6-4B7A-4E43-9232-FD1AE6E42A93}" type="datetime'Ne''''''w ''''''''''Z''e''''a''''l''''a''n''''d'''''''''''''''">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Zealand</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Text Placeholder 10">
            <a:extLst>
              <a:ext uri="{FF2B5EF4-FFF2-40B4-BE49-F238E27FC236}">
                <a16:creationId xmlns:a16="http://schemas.microsoft.com/office/drawing/2014/main" id="{B233474B-8F3A-4564-98E8-9BB5A25043B8}"/>
              </a:ext>
            </a:extLst>
          </p:cNvPr>
          <p:cNvSpPr txBox="1">
            <a:spLocks/>
          </p:cNvSpPr>
          <p:nvPr>
            <p:custDataLst>
              <p:tags r:id="rId31"/>
            </p:custDataLst>
          </p:nvPr>
        </p:nvSpPr>
        <p:spPr bwMode="auto">
          <a:xfrm>
            <a:off x="7231063" y="3400425"/>
            <a:ext cx="2809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D60845F-8410-45D8-837E-3584BFD50594}" type="datetime'''''M''''''''''e''''x''''''''''''''''''ic''''''o'">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exico</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5F7366CA-34E3-B2D7-C071-BE2374D7B5C3}"/>
              </a:ext>
            </a:extLst>
          </p:cNvPr>
          <p:cNvSpPr txBox="1">
            <a:spLocks/>
          </p:cNvSpPr>
          <p:nvPr>
            <p:custDataLst>
              <p:tags r:id="rId32"/>
            </p:custDataLst>
          </p:nvPr>
        </p:nvSpPr>
        <p:spPr bwMode="auto">
          <a:xfrm>
            <a:off x="7231063" y="3243263"/>
            <a:ext cx="2508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DC2AAA-08B9-471B-9995-38C18D7D3BDD}" type="datetime'''''''''K''''e''''''''''''''''''''''ny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Keny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Text Placeholder 10">
            <a:extLst>
              <a:ext uri="{FF2B5EF4-FFF2-40B4-BE49-F238E27FC236}">
                <a16:creationId xmlns:a16="http://schemas.microsoft.com/office/drawing/2014/main" id="{81A43B72-52E8-417E-A703-FC5322A3B71C}"/>
              </a:ext>
            </a:extLst>
          </p:cNvPr>
          <p:cNvSpPr txBox="1">
            <a:spLocks/>
          </p:cNvSpPr>
          <p:nvPr>
            <p:custDataLst>
              <p:tags r:id="rId33"/>
            </p:custDataLst>
          </p:nvPr>
        </p:nvSpPr>
        <p:spPr bwMode="auto">
          <a:xfrm>
            <a:off x="7231063" y="3086100"/>
            <a:ext cx="285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Iceland</a:t>
            </a:r>
          </a:p>
        </p:txBody>
      </p:sp>
      <p:sp>
        <p:nvSpPr>
          <p:cNvPr id="128" name="Text Placeholder 10">
            <a:extLst>
              <a:ext uri="{FF2B5EF4-FFF2-40B4-BE49-F238E27FC236}">
                <a16:creationId xmlns:a16="http://schemas.microsoft.com/office/drawing/2014/main" id="{27ABE98F-1C0A-0E9C-EC06-C724571E121D}"/>
              </a:ext>
            </a:extLst>
          </p:cNvPr>
          <p:cNvSpPr txBox="1">
            <a:spLocks/>
          </p:cNvSpPr>
          <p:nvPr>
            <p:custDataLst>
              <p:tags r:id="rId34"/>
            </p:custDataLst>
          </p:nvPr>
        </p:nvSpPr>
        <p:spPr bwMode="auto">
          <a:xfrm>
            <a:off x="7231063" y="2928938"/>
            <a:ext cx="16351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3ABF767-184A-444D-8D49-BBA7748DAF58}" type="datetime'''''''''''''''''''''''I''''''t''''''''a''''l''''y'''''">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aly</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Text Placeholder 10">
            <a:extLst>
              <a:ext uri="{FF2B5EF4-FFF2-40B4-BE49-F238E27FC236}">
                <a16:creationId xmlns:a16="http://schemas.microsoft.com/office/drawing/2014/main" id="{504964FA-02D1-6717-ED9C-B562E4BEFBB9}"/>
              </a:ext>
            </a:extLst>
          </p:cNvPr>
          <p:cNvSpPr txBox="1">
            <a:spLocks/>
          </p:cNvSpPr>
          <p:nvPr>
            <p:custDataLst>
              <p:tags r:id="rId35"/>
            </p:custDataLst>
          </p:nvPr>
        </p:nvSpPr>
        <p:spPr bwMode="auto">
          <a:xfrm>
            <a:off x="7231063" y="2771775"/>
            <a:ext cx="2413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401AAC-209F-4FF3-AEED-AED652CE32F4}" type="datetime'''''''''''''''''''Ja''''p''''''''''''''''a''''''''''''n'''">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Text Placeholder 10">
            <a:extLst>
              <a:ext uri="{FF2B5EF4-FFF2-40B4-BE49-F238E27FC236}">
                <a16:creationId xmlns:a16="http://schemas.microsoft.com/office/drawing/2014/main" id="{D1E62C52-97F9-4AE5-4C68-34034C4F3527}"/>
              </a:ext>
            </a:extLst>
          </p:cNvPr>
          <p:cNvSpPr txBox="1">
            <a:spLocks/>
          </p:cNvSpPr>
          <p:nvPr>
            <p:custDataLst>
              <p:tags r:id="rId36"/>
            </p:custDataLst>
          </p:nvPr>
        </p:nvSpPr>
        <p:spPr bwMode="auto">
          <a:xfrm>
            <a:off x="7231063" y="2614613"/>
            <a:ext cx="4333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32364C-585F-4368-B91B-47A955AE78BC}" type="datetime'''''''C''''''''''''os''''''''ta ''''''Ric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sta Ric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Text Placeholder 10">
            <a:extLst>
              <a:ext uri="{FF2B5EF4-FFF2-40B4-BE49-F238E27FC236}">
                <a16:creationId xmlns:a16="http://schemas.microsoft.com/office/drawing/2014/main" id="{0CD77CBB-972A-F5FB-5AFD-000EE7E66608}"/>
              </a:ext>
            </a:extLst>
          </p:cNvPr>
          <p:cNvSpPr txBox="1">
            <a:spLocks/>
          </p:cNvSpPr>
          <p:nvPr>
            <p:custDataLst>
              <p:tags r:id="rId37"/>
            </p:custDataLst>
          </p:nvPr>
        </p:nvSpPr>
        <p:spPr bwMode="auto">
          <a:xfrm>
            <a:off x="415766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CB23BD-79B8-43C5-9B2C-F24B64597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Text Placeholder 10">
            <a:extLst>
              <a:ext uri="{FF2B5EF4-FFF2-40B4-BE49-F238E27FC236}">
                <a16:creationId xmlns:a16="http://schemas.microsoft.com/office/drawing/2014/main" id="{E23BD6A5-E65E-143A-5910-DFD7997E087A}"/>
              </a:ext>
            </a:extLst>
          </p:cNvPr>
          <p:cNvSpPr txBox="1">
            <a:spLocks/>
          </p:cNvSpPr>
          <p:nvPr>
            <p:custDataLst>
              <p:tags r:id="rId38"/>
            </p:custDataLst>
          </p:nvPr>
        </p:nvSpPr>
        <p:spPr bwMode="auto">
          <a:xfrm>
            <a:off x="7231063" y="2457450"/>
            <a:ext cx="539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8815BF-58C7-4B02-8CFE-27FBB2532A86}" type="datetime'''R''es''t'' o''''f W''''''o''''''''''r''l''''''''d'''''''">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World</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Text Placeholder 10">
            <a:extLst>
              <a:ext uri="{FF2B5EF4-FFF2-40B4-BE49-F238E27FC236}">
                <a16:creationId xmlns:a16="http://schemas.microsoft.com/office/drawing/2014/main" id="{23B67F22-B055-7A61-2549-5378F7AB9BD7}"/>
              </a:ext>
            </a:extLst>
          </p:cNvPr>
          <p:cNvSpPr txBox="1">
            <a:spLocks/>
          </p:cNvSpPr>
          <p:nvPr>
            <p:custDataLst>
              <p:tags r:id="rId39"/>
            </p:custDataLst>
          </p:nvPr>
        </p:nvSpPr>
        <p:spPr bwMode="auto">
          <a:xfrm>
            <a:off x="50863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765D65-E133-44F2-A557-14019C16074A}" type="datetime'''''''''''''''''''''''''''''''2''00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79" name="Chart 178">
            <a:extLst>
              <a:ext uri="{FF2B5EF4-FFF2-40B4-BE49-F238E27FC236}">
                <a16:creationId xmlns:a16="http://schemas.microsoft.com/office/drawing/2014/main" id="{3F6FA72F-A4B5-FFC6-4746-C03AEDCABC7D}"/>
              </a:ext>
            </a:extLst>
          </p:cNvPr>
          <p:cNvGraphicFramePr/>
          <p:nvPr>
            <p:custDataLst>
              <p:tags r:id="rId40"/>
            </p:custDataLst>
          </p:nvPr>
        </p:nvGraphicFramePr>
        <p:xfrm>
          <a:off x="1790700" y="2097088"/>
          <a:ext cx="2024063" cy="3597275"/>
        </p:xfrm>
        <a:graphic>
          <a:graphicData uri="http://schemas.openxmlformats.org/drawingml/2006/chart">
            <c:chart xmlns:c="http://schemas.openxmlformats.org/drawingml/2006/chart" xmlns:r="http://schemas.openxmlformats.org/officeDocument/2006/relationships" r:id="rId83"/>
          </a:graphicData>
        </a:graphic>
      </p:graphicFrame>
      <p:sp>
        <p:nvSpPr>
          <p:cNvPr id="136" name="Text Placeholder 10">
            <a:extLst>
              <a:ext uri="{FF2B5EF4-FFF2-40B4-BE49-F238E27FC236}">
                <a16:creationId xmlns:a16="http://schemas.microsoft.com/office/drawing/2014/main" id="{BFC4DF99-A0D6-3FA3-AF45-BCE2C8DEDF97}"/>
              </a:ext>
            </a:extLst>
          </p:cNvPr>
          <p:cNvSpPr txBox="1">
            <a:spLocks/>
          </p:cNvSpPr>
          <p:nvPr>
            <p:custDataLst>
              <p:tags r:id="rId41"/>
            </p:custDataLst>
          </p:nvPr>
        </p:nvSpPr>
        <p:spPr bwMode="gray">
          <a:xfrm>
            <a:off x="2473325" y="53546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dirty="0">
                <a:ln>
                  <a:noFill/>
                </a:ln>
                <a:solidFill>
                  <a:srgbClr val="000000"/>
                </a:solidFill>
                <a:effectLst/>
                <a:uLnTx/>
                <a:uFillTx/>
                <a:latin typeface="Arial"/>
                <a:ea typeface="+mn-ea"/>
                <a:cs typeface="+mn-cs"/>
              </a:rPr>
              <a:t>2.55 </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74754768-80A9-2953-E9CF-9EDBCC2A4701}"/>
              </a:ext>
            </a:extLst>
          </p:cNvPr>
          <p:cNvSpPr/>
          <p:nvPr>
            <p:custDataLst>
              <p:tags r:id="rId42"/>
            </p:custDataLst>
          </p:nvPr>
        </p:nvSpPr>
        <p:spPr bwMode="auto">
          <a:xfrm>
            <a:off x="357188" y="2373313"/>
            <a:ext cx="179388" cy="13335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FB40ECFA-CB3F-8CF0-A892-415BBC987543}"/>
              </a:ext>
            </a:extLst>
          </p:cNvPr>
          <p:cNvSpPr/>
          <p:nvPr>
            <p:custDataLst>
              <p:tags r:id="rId43"/>
            </p:custDataLst>
          </p:nvPr>
        </p:nvSpPr>
        <p:spPr bwMode="auto">
          <a:xfrm>
            <a:off x="357188" y="2576513"/>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Text Placeholder 10">
            <a:extLst>
              <a:ext uri="{FF2B5EF4-FFF2-40B4-BE49-F238E27FC236}">
                <a16:creationId xmlns:a16="http://schemas.microsoft.com/office/drawing/2014/main" id="{EEC70CCD-85E4-543A-F395-F71C899C99DA}"/>
              </a:ext>
            </a:extLst>
          </p:cNvPr>
          <p:cNvSpPr txBox="1">
            <a:spLocks/>
          </p:cNvSpPr>
          <p:nvPr>
            <p:custDataLst>
              <p:tags r:id="rId44"/>
            </p:custDataLst>
          </p:nvPr>
        </p:nvSpPr>
        <p:spPr bwMode="auto">
          <a:xfrm>
            <a:off x="587375" y="2368550"/>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9ACFE7-81E5-4EF0-AE71-D8203E31A0EB}" type="datetime'''P''''''r''''''''''''o''''''''''v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roven</a:t>
            </a:fld>
            <a:r>
              <a:rPr kumimoji="0" lang="en-US" altLang="en-US" sz="1000" b="0" i="0" u="none" strike="noStrike" kern="1200" cap="none" spc="0" normalizeH="0" baseline="0" noProof="0">
                <a:ln>
                  <a:noFill/>
                </a:ln>
                <a:solidFill>
                  <a:srgbClr val="000000"/>
                </a:solidFill>
                <a:effectLst/>
                <a:uLnTx/>
                <a:uFillTx/>
                <a:latin typeface="Arial"/>
                <a:ea typeface="+mn-ea"/>
                <a:cs typeface="+mn-cs"/>
              </a:rPr>
              <a:t> </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fossil reserv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Text Placeholder 10">
            <a:extLst>
              <a:ext uri="{FF2B5EF4-FFF2-40B4-BE49-F238E27FC236}">
                <a16:creationId xmlns:a16="http://schemas.microsoft.com/office/drawing/2014/main" id="{8273EF87-4306-85BF-1176-F2C7DCFCAC39}"/>
              </a:ext>
            </a:extLst>
          </p:cNvPr>
          <p:cNvSpPr txBox="1">
            <a:spLocks/>
          </p:cNvSpPr>
          <p:nvPr>
            <p:custDataLst>
              <p:tags r:id="rId45"/>
            </p:custDataLst>
          </p:nvPr>
        </p:nvSpPr>
        <p:spPr bwMode="auto">
          <a:xfrm>
            <a:off x="587375" y="2571750"/>
            <a:ext cx="143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1% geothermal resourc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80" name="Chart 179">
            <a:extLst>
              <a:ext uri="{FF2B5EF4-FFF2-40B4-BE49-F238E27FC236}">
                <a16:creationId xmlns:a16="http://schemas.microsoft.com/office/drawing/2014/main" id="{96BBE6EC-802C-AE51-4B15-70D420578374}"/>
              </a:ext>
            </a:extLst>
          </p:cNvPr>
          <p:cNvGraphicFramePr/>
          <p:nvPr>
            <p:custDataLst>
              <p:tags r:id="rId46"/>
            </p:custDataLst>
          </p:nvPr>
        </p:nvGraphicFramePr>
        <p:xfrm>
          <a:off x="830263" y="4714875"/>
          <a:ext cx="547687" cy="696913"/>
        </p:xfrm>
        <a:graphic>
          <a:graphicData uri="http://schemas.openxmlformats.org/drawingml/2006/chart">
            <c:chart xmlns:c="http://schemas.openxmlformats.org/drawingml/2006/chart" xmlns:r="http://schemas.openxmlformats.org/officeDocument/2006/relationships" r:id="rId84"/>
          </a:graphicData>
        </a:graphic>
      </p:graphicFrame>
      <p:sp>
        <p:nvSpPr>
          <p:cNvPr id="142" name="Text Placeholder 10">
            <a:extLst>
              <a:ext uri="{FF2B5EF4-FFF2-40B4-BE49-F238E27FC236}">
                <a16:creationId xmlns:a16="http://schemas.microsoft.com/office/drawing/2014/main" id="{CC86ED57-AA76-0B20-2ED2-1FECD14B2F20}"/>
              </a:ext>
            </a:extLst>
          </p:cNvPr>
          <p:cNvSpPr txBox="1">
            <a:spLocks/>
          </p:cNvSpPr>
          <p:nvPr>
            <p:custDataLst>
              <p:tags r:id="rId47"/>
            </p:custDataLst>
          </p:nvPr>
        </p:nvSpPr>
        <p:spPr bwMode="gray">
          <a:xfrm>
            <a:off x="974725" y="464978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dirty="0">
                <a:ln>
                  <a:noFill/>
                </a:ln>
                <a:solidFill>
                  <a:srgbClr val="000000"/>
                </a:solidFill>
                <a:effectLst/>
                <a:uLnTx/>
                <a:uFillTx/>
                <a:latin typeface="Arial"/>
                <a:ea typeface="+mn-ea"/>
                <a:cs typeface="+mn-cs"/>
              </a:rPr>
              <a:t>2.55 </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Triangle 142">
            <a:extLst>
              <a:ext uri="{FF2B5EF4-FFF2-40B4-BE49-F238E27FC236}">
                <a16:creationId xmlns:a16="http://schemas.microsoft.com/office/drawing/2014/main" id="{BDDEB411-A3AB-B268-7A0B-034060E01775}"/>
              </a:ext>
            </a:extLst>
          </p:cNvPr>
          <p:cNvSpPr/>
          <p:nvPr/>
        </p:nvSpPr>
        <p:spPr bwMode="gray">
          <a:xfrm rot="5400000">
            <a:off x="1409700" y="4691063"/>
            <a:ext cx="1095375" cy="623888"/>
          </a:xfrm>
          <a:prstGeom prst="triangle">
            <a:avLst>
              <a:gd name="adj" fmla="val 92498"/>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Left Brace 143">
            <a:extLst>
              <a:ext uri="{FF2B5EF4-FFF2-40B4-BE49-F238E27FC236}">
                <a16:creationId xmlns:a16="http://schemas.microsoft.com/office/drawing/2014/main" id="{2A755D40-3248-276F-3801-1BF7F0914EAA}"/>
              </a:ext>
            </a:extLst>
          </p:cNvPr>
          <p:cNvSpPr/>
          <p:nvPr/>
        </p:nvSpPr>
        <p:spPr bwMode="gray">
          <a:xfrm>
            <a:off x="2225675" y="2381250"/>
            <a:ext cx="254000" cy="3130550"/>
          </a:xfrm>
          <a:prstGeom prst="leftBrace">
            <a:avLst>
              <a:gd name="adj1" fmla="val 0"/>
              <a:gd name="adj2" fmla="val 50000"/>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Rectangle 144">
            <a:extLst>
              <a:ext uri="{FF2B5EF4-FFF2-40B4-BE49-F238E27FC236}">
                <a16:creationId xmlns:a16="http://schemas.microsoft.com/office/drawing/2014/main" id="{54D316C7-7078-73B5-A08F-A9D2539F14AF}"/>
              </a:ext>
            </a:extLst>
          </p:cNvPr>
          <p:cNvSpPr/>
          <p:nvPr/>
        </p:nvSpPr>
        <p:spPr bwMode="gray">
          <a:xfrm>
            <a:off x="407986" y="3486086"/>
            <a:ext cx="1712914" cy="654115"/>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BDB"/>
                </a:solidFill>
                <a:effectLst/>
                <a:uLnTx/>
                <a:uFillTx/>
                <a:latin typeface="Arial"/>
                <a:ea typeface="+mn-ea"/>
                <a:cs typeface="+mn-cs"/>
              </a:rPr>
              <a:t>500x</a:t>
            </a:r>
            <a:r>
              <a:rPr kumimoji="0" lang="en-US" sz="1600" b="0" i="0" u="none" strike="noStrike" kern="1200" cap="none" spc="0" normalizeH="0" baseline="0" noProof="0" dirty="0">
                <a:ln>
                  <a:noFill/>
                </a:ln>
                <a:solidFill>
                  <a:srgbClr val="009BDB"/>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9BDB"/>
                </a:solidFill>
                <a:effectLst/>
                <a:uLnTx/>
                <a:uFillTx/>
                <a:latin typeface="Arial"/>
                <a:ea typeface="+mn-ea"/>
                <a:cs typeface="+mn-cs"/>
              </a:rPr>
              <a:t>potential 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9BDB"/>
                </a:solidFill>
                <a:effectLst/>
                <a:uLnTx/>
                <a:uFillTx/>
                <a:latin typeface="Arial"/>
                <a:ea typeface="+mn-ea"/>
                <a:cs typeface="+mn-cs"/>
              </a:rPr>
              <a:t>(all geothermal resources)</a:t>
            </a:r>
            <a:endParaRPr kumimoji="0" lang="en-US" sz="1600" b="0" i="0" u="none" strike="noStrike" kern="1200" cap="none" spc="0" normalizeH="0" baseline="0" noProof="0" dirty="0">
              <a:ln>
                <a:noFill/>
              </a:ln>
              <a:solidFill>
                <a:srgbClr val="009BDB"/>
              </a:solidFill>
              <a:effectLst/>
              <a:uLnTx/>
              <a:uFillTx/>
              <a:latin typeface="Arial"/>
              <a:ea typeface="+mn-ea"/>
              <a:cs typeface="+mn-cs"/>
            </a:endParaRPr>
          </a:p>
        </p:txBody>
      </p:sp>
      <p:graphicFrame>
        <p:nvGraphicFramePr>
          <p:cNvPr id="181" name="Chart 180">
            <a:extLst>
              <a:ext uri="{FF2B5EF4-FFF2-40B4-BE49-F238E27FC236}">
                <a16:creationId xmlns:a16="http://schemas.microsoft.com/office/drawing/2014/main" id="{450814ED-E795-740F-756D-3881743BCE37}"/>
              </a:ext>
            </a:extLst>
          </p:cNvPr>
          <p:cNvGraphicFramePr/>
          <p:nvPr>
            <p:custDataLst>
              <p:tags r:id="rId48"/>
            </p:custDataLst>
          </p:nvPr>
        </p:nvGraphicFramePr>
        <p:xfrm>
          <a:off x="8189913" y="2286000"/>
          <a:ext cx="3914775" cy="3333750"/>
        </p:xfrm>
        <a:graphic>
          <a:graphicData uri="http://schemas.openxmlformats.org/drawingml/2006/chart">
            <c:chart xmlns:c="http://schemas.openxmlformats.org/drawingml/2006/chart" xmlns:r="http://schemas.openxmlformats.org/officeDocument/2006/relationships" r:id="rId85"/>
          </a:graphicData>
        </a:graphic>
      </p:graphicFrame>
      <p:sp>
        <p:nvSpPr>
          <p:cNvPr id="153" name="Text Placeholder 10">
            <a:extLst>
              <a:ext uri="{FF2B5EF4-FFF2-40B4-BE49-F238E27FC236}">
                <a16:creationId xmlns:a16="http://schemas.microsoft.com/office/drawing/2014/main" id="{318C8610-CFD5-91B4-7FA0-B6EC60284AF2}"/>
              </a:ext>
            </a:extLst>
          </p:cNvPr>
          <p:cNvSpPr>
            <a:spLocks/>
          </p:cNvSpPr>
          <p:nvPr>
            <p:custDataLst>
              <p:tags r:id="rId49"/>
            </p:custDataLst>
          </p:nvPr>
        </p:nvSpPr>
        <p:spPr bwMode="gray">
          <a:xfrm>
            <a:off x="8291512" y="51689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46482E-12D4-451A-A0A5-7418ABF5773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Text Placeholder 10">
            <a:extLst>
              <a:ext uri="{FF2B5EF4-FFF2-40B4-BE49-F238E27FC236}">
                <a16:creationId xmlns:a16="http://schemas.microsoft.com/office/drawing/2014/main" id="{7C73C3B2-4B57-73C2-BD18-8A313D566C87}"/>
              </a:ext>
            </a:extLst>
          </p:cNvPr>
          <p:cNvSpPr>
            <a:spLocks/>
          </p:cNvSpPr>
          <p:nvPr>
            <p:custDataLst>
              <p:tags r:id="rId50"/>
            </p:custDataLst>
          </p:nvPr>
        </p:nvSpPr>
        <p:spPr bwMode="gray">
          <a:xfrm>
            <a:off x="8221662" y="49291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6A01AB-D322-4FB1-9160-A8BBAD699F02}"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Text Placeholder 10">
            <a:extLst>
              <a:ext uri="{FF2B5EF4-FFF2-40B4-BE49-F238E27FC236}">
                <a16:creationId xmlns:a16="http://schemas.microsoft.com/office/drawing/2014/main" id="{5371A37C-A5E6-B28A-6F93-73D427FC4B51}"/>
              </a:ext>
            </a:extLst>
          </p:cNvPr>
          <p:cNvSpPr>
            <a:spLocks/>
          </p:cNvSpPr>
          <p:nvPr>
            <p:custDataLst>
              <p:tags r:id="rId51"/>
            </p:custDataLst>
          </p:nvPr>
        </p:nvSpPr>
        <p:spPr bwMode="gray">
          <a:xfrm>
            <a:off x="8221662" y="46894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858C1AC-242C-438E-91DC-5320E4E606E6}"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Text Placeholder 10">
            <a:extLst>
              <a:ext uri="{FF2B5EF4-FFF2-40B4-BE49-F238E27FC236}">
                <a16:creationId xmlns:a16="http://schemas.microsoft.com/office/drawing/2014/main" id="{66EAA87C-6537-947E-3874-459B15002AEC}"/>
              </a:ext>
            </a:extLst>
          </p:cNvPr>
          <p:cNvSpPr>
            <a:spLocks/>
          </p:cNvSpPr>
          <p:nvPr>
            <p:custDataLst>
              <p:tags r:id="rId52"/>
            </p:custDataLst>
          </p:nvPr>
        </p:nvSpPr>
        <p:spPr bwMode="gray">
          <a:xfrm>
            <a:off x="8221662" y="44497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78A8D8-40DA-4E92-98C0-A6A5C1494AFC}"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Text Placeholder 10">
            <a:extLst>
              <a:ext uri="{FF2B5EF4-FFF2-40B4-BE49-F238E27FC236}">
                <a16:creationId xmlns:a16="http://schemas.microsoft.com/office/drawing/2014/main" id="{E7911FE1-C2E9-98B3-F149-86BE9AAB978F}"/>
              </a:ext>
            </a:extLst>
          </p:cNvPr>
          <p:cNvSpPr>
            <a:spLocks/>
          </p:cNvSpPr>
          <p:nvPr>
            <p:custDataLst>
              <p:tags r:id="rId53"/>
            </p:custDataLst>
          </p:nvPr>
        </p:nvSpPr>
        <p:spPr bwMode="gray">
          <a:xfrm>
            <a:off x="8221662" y="42100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DB549A-1927-4A65-A9A8-AEBEC3858F6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Text Placeholder 10">
            <a:extLst>
              <a:ext uri="{FF2B5EF4-FFF2-40B4-BE49-F238E27FC236}">
                <a16:creationId xmlns:a16="http://schemas.microsoft.com/office/drawing/2014/main" id="{509E5D3D-97DD-3E43-4FE7-6D4C801879B1}"/>
              </a:ext>
            </a:extLst>
          </p:cNvPr>
          <p:cNvSpPr>
            <a:spLocks/>
          </p:cNvSpPr>
          <p:nvPr>
            <p:custDataLst>
              <p:tags r:id="rId54"/>
            </p:custDataLst>
          </p:nvPr>
        </p:nvSpPr>
        <p:spPr bwMode="gray">
          <a:xfrm>
            <a:off x="8221662" y="39703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A41898-969E-431B-BD6B-8E85E8AB880C}"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Text Placeholder 10">
            <a:extLst>
              <a:ext uri="{FF2B5EF4-FFF2-40B4-BE49-F238E27FC236}">
                <a16:creationId xmlns:a16="http://schemas.microsoft.com/office/drawing/2014/main" id="{E53255DA-4026-A8BA-8A24-EA1B3523BE0E}"/>
              </a:ext>
            </a:extLst>
          </p:cNvPr>
          <p:cNvSpPr>
            <a:spLocks/>
          </p:cNvSpPr>
          <p:nvPr>
            <p:custDataLst>
              <p:tags r:id="rId55"/>
            </p:custDataLst>
          </p:nvPr>
        </p:nvSpPr>
        <p:spPr bwMode="gray">
          <a:xfrm>
            <a:off x="8221662" y="37306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179BAD-C15E-4374-970B-ADF12543F135}"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94F97870-F331-7188-8965-FF452BD67088}"/>
              </a:ext>
            </a:extLst>
          </p:cNvPr>
          <p:cNvSpPr>
            <a:spLocks/>
          </p:cNvSpPr>
          <p:nvPr>
            <p:custDataLst>
              <p:tags r:id="rId56"/>
            </p:custDataLst>
          </p:nvPr>
        </p:nvSpPr>
        <p:spPr bwMode="gray">
          <a:xfrm>
            <a:off x="8221662" y="34909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14ABC0-2CDC-4D23-8FDF-AA935289159D}"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Text Placeholder 10">
            <a:extLst>
              <a:ext uri="{FF2B5EF4-FFF2-40B4-BE49-F238E27FC236}">
                <a16:creationId xmlns:a16="http://schemas.microsoft.com/office/drawing/2014/main" id="{C64FE4F4-75DB-39B8-33E5-EB3ED25CCB80}"/>
              </a:ext>
            </a:extLst>
          </p:cNvPr>
          <p:cNvSpPr>
            <a:spLocks/>
          </p:cNvSpPr>
          <p:nvPr>
            <p:custDataLst>
              <p:tags r:id="rId57"/>
            </p:custDataLst>
          </p:nvPr>
        </p:nvSpPr>
        <p:spPr bwMode="gray">
          <a:xfrm>
            <a:off x="8221662" y="32512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FF57BB-087B-4DF4-B4C5-E95890B9D984}"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Text Placeholder 10">
            <a:extLst>
              <a:ext uri="{FF2B5EF4-FFF2-40B4-BE49-F238E27FC236}">
                <a16:creationId xmlns:a16="http://schemas.microsoft.com/office/drawing/2014/main" id="{1172C89F-BD9B-C32C-35A7-9176D7D39767}"/>
              </a:ext>
            </a:extLst>
          </p:cNvPr>
          <p:cNvSpPr>
            <a:spLocks/>
          </p:cNvSpPr>
          <p:nvPr>
            <p:custDataLst>
              <p:tags r:id="rId58"/>
            </p:custDataLst>
          </p:nvPr>
        </p:nvSpPr>
        <p:spPr bwMode="gray">
          <a:xfrm>
            <a:off x="8221662" y="30114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3CD0E15-4305-4BEE-8CD0-9F95DDF48000}"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Text Placeholder 10">
            <a:extLst>
              <a:ext uri="{FF2B5EF4-FFF2-40B4-BE49-F238E27FC236}">
                <a16:creationId xmlns:a16="http://schemas.microsoft.com/office/drawing/2014/main" id="{B5C02C15-EAAA-3BB6-6558-1C59E784A4B6}"/>
              </a:ext>
            </a:extLst>
          </p:cNvPr>
          <p:cNvSpPr>
            <a:spLocks/>
          </p:cNvSpPr>
          <p:nvPr>
            <p:custDataLst>
              <p:tags r:id="rId59"/>
            </p:custDataLst>
          </p:nvPr>
        </p:nvSpPr>
        <p:spPr bwMode="gray">
          <a:xfrm>
            <a:off x="8151813" y="27717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949294-B062-4298-B4A3-D812C199447A}"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7" name="Text Placeholder 10">
            <a:extLst>
              <a:ext uri="{FF2B5EF4-FFF2-40B4-BE49-F238E27FC236}">
                <a16:creationId xmlns:a16="http://schemas.microsoft.com/office/drawing/2014/main" id="{3B7438B8-BBDD-D318-0372-8297DA3B912B}"/>
              </a:ext>
            </a:extLst>
          </p:cNvPr>
          <p:cNvSpPr>
            <a:spLocks/>
          </p:cNvSpPr>
          <p:nvPr>
            <p:custDataLst>
              <p:tags r:id="rId60"/>
            </p:custDataLst>
          </p:nvPr>
        </p:nvSpPr>
        <p:spPr bwMode="gray">
          <a:xfrm>
            <a:off x="8151813" y="25320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418221-98AB-46F1-9A9C-CB03E34AD2FA}" type="datetime'1''''''''''''''''''''''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Text Placeholder 10">
            <a:extLst>
              <a:ext uri="{FF2B5EF4-FFF2-40B4-BE49-F238E27FC236}">
                <a16:creationId xmlns:a16="http://schemas.microsoft.com/office/drawing/2014/main" id="{55656670-1181-1782-638C-3CDBF4E2E353}"/>
              </a:ext>
            </a:extLst>
          </p:cNvPr>
          <p:cNvSpPr>
            <a:spLocks/>
          </p:cNvSpPr>
          <p:nvPr>
            <p:custDataLst>
              <p:tags r:id="rId61"/>
            </p:custDataLst>
          </p:nvPr>
        </p:nvSpPr>
        <p:spPr bwMode="gray">
          <a:xfrm>
            <a:off x="8151813" y="22923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6ACEFE-33CA-4938-AEFB-2A208F0414B7}" type="datetime'''''''''''''1''''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82" name="Chart 181">
            <a:extLst>
              <a:ext uri="{FF2B5EF4-FFF2-40B4-BE49-F238E27FC236}">
                <a16:creationId xmlns:a16="http://schemas.microsoft.com/office/drawing/2014/main" id="{A4893912-21F2-9E47-D619-2E08576E4D2E}"/>
              </a:ext>
            </a:extLst>
          </p:cNvPr>
          <p:cNvGraphicFramePr/>
          <p:nvPr>
            <p:custDataLst>
              <p:tags r:id="rId62"/>
            </p:custDataLst>
          </p:nvPr>
        </p:nvGraphicFramePr>
        <p:xfrm>
          <a:off x="8407400" y="4800600"/>
          <a:ext cx="1276350" cy="527050"/>
        </p:xfrm>
        <a:graphic>
          <a:graphicData uri="http://schemas.openxmlformats.org/drawingml/2006/chart">
            <c:chart xmlns:c="http://schemas.openxmlformats.org/drawingml/2006/chart" xmlns:r="http://schemas.openxmlformats.org/officeDocument/2006/relationships" r:id="rId86"/>
          </a:graphicData>
        </a:graphic>
      </p:graphicFrame>
      <p:sp>
        <p:nvSpPr>
          <p:cNvPr id="161" name="Rectangle 160">
            <a:extLst>
              <a:ext uri="{FF2B5EF4-FFF2-40B4-BE49-F238E27FC236}">
                <a16:creationId xmlns:a16="http://schemas.microsoft.com/office/drawing/2014/main" id="{68946EFF-EA04-EC4E-C1D2-7F544AD44FCB}"/>
              </a:ext>
            </a:extLst>
          </p:cNvPr>
          <p:cNvSpPr/>
          <p:nvPr/>
        </p:nvSpPr>
        <p:spPr bwMode="gray">
          <a:xfrm>
            <a:off x="9807575" y="2333702"/>
            <a:ext cx="1163943" cy="211791"/>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805BC9"/>
                </a:solidFill>
                <a:effectLst/>
                <a:uLnTx/>
                <a:uFillTx/>
                <a:latin typeface="Arial"/>
                <a:ea typeface="+mn-ea"/>
                <a:cs typeface="+mn-cs"/>
              </a:rPr>
              <a:t>3.5x</a:t>
            </a:r>
            <a:r>
              <a:rPr kumimoji="0" lang="en-US" sz="800" b="0" i="0" u="none" strike="noStrike" kern="1200" cap="none" spc="0" normalizeH="0" baseline="0" noProof="0" dirty="0">
                <a:ln>
                  <a:noFill/>
                </a:ln>
                <a:solidFill>
                  <a:srgbClr val="805BC9"/>
                </a:solidFill>
                <a:effectLst/>
                <a:uLnTx/>
                <a:uFillTx/>
                <a:latin typeface="Arial"/>
                <a:ea typeface="+mn-ea"/>
                <a:cs typeface="+mn-cs"/>
              </a:rPr>
              <a:t> by 2050 </a:t>
            </a:r>
            <a:r>
              <a:rPr kumimoji="0" lang="en-US" sz="800" b="1" i="0" u="none" strike="noStrike" kern="1200" cap="none" spc="0" normalizeH="0" baseline="0" noProof="0" dirty="0">
                <a:ln>
                  <a:noFill/>
                </a:ln>
                <a:solidFill>
                  <a:srgbClr val="805BC9"/>
                </a:solidFill>
                <a:effectLst/>
                <a:uLnTx/>
                <a:uFillTx/>
                <a:latin typeface="Arial"/>
                <a:ea typeface="+mn-ea"/>
                <a:cs typeface="+mn-cs"/>
              </a:rPr>
              <a:t>(56 GW)</a:t>
            </a:r>
          </a:p>
        </p:txBody>
      </p:sp>
      <p:sp>
        <p:nvSpPr>
          <p:cNvPr id="162" name="Rectangle 161">
            <a:extLst>
              <a:ext uri="{FF2B5EF4-FFF2-40B4-BE49-F238E27FC236}">
                <a16:creationId xmlns:a16="http://schemas.microsoft.com/office/drawing/2014/main" id="{0FDBEE43-08B0-218A-BE4B-997E90E55DE5}"/>
              </a:ext>
            </a:extLst>
          </p:cNvPr>
          <p:cNvSpPr/>
          <p:nvPr/>
        </p:nvSpPr>
        <p:spPr bwMode="gray">
          <a:xfrm>
            <a:off x="9807575" y="2579311"/>
            <a:ext cx="1163943" cy="210304"/>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4A398"/>
                </a:solidFill>
                <a:effectLst/>
                <a:uLnTx/>
                <a:uFillTx/>
                <a:latin typeface="Arial"/>
                <a:ea typeface="+mn-ea"/>
                <a:cs typeface="+mn-cs"/>
              </a:rPr>
              <a:t>5.2x</a:t>
            </a:r>
            <a:r>
              <a:rPr kumimoji="0" lang="en-US" sz="800" b="0" i="0" u="none" strike="noStrike" kern="1200" cap="none" spc="0" normalizeH="0" baseline="0" noProof="0" dirty="0">
                <a:ln>
                  <a:noFill/>
                </a:ln>
                <a:solidFill>
                  <a:srgbClr val="34A398"/>
                </a:solidFill>
                <a:effectLst/>
                <a:uLnTx/>
                <a:uFillTx/>
                <a:latin typeface="Arial"/>
                <a:ea typeface="+mn-ea"/>
                <a:cs typeface="+mn-cs"/>
              </a:rPr>
              <a:t> by 2050 </a:t>
            </a:r>
            <a:r>
              <a:rPr kumimoji="0" lang="en-US" sz="800" b="1" i="0" u="none" strike="noStrike" kern="1200" cap="none" spc="0" normalizeH="0" baseline="0" noProof="0" dirty="0">
                <a:ln>
                  <a:noFill/>
                </a:ln>
                <a:solidFill>
                  <a:srgbClr val="34A398"/>
                </a:solidFill>
                <a:effectLst/>
                <a:uLnTx/>
                <a:uFillTx/>
                <a:latin typeface="Arial"/>
                <a:ea typeface="+mn-ea"/>
                <a:cs typeface="+mn-cs"/>
              </a:rPr>
              <a:t>(83 GW)</a:t>
            </a:r>
          </a:p>
        </p:txBody>
      </p:sp>
      <p:sp>
        <p:nvSpPr>
          <p:cNvPr id="163" name="Rectangle 162">
            <a:extLst>
              <a:ext uri="{FF2B5EF4-FFF2-40B4-BE49-F238E27FC236}">
                <a16:creationId xmlns:a16="http://schemas.microsoft.com/office/drawing/2014/main" id="{07708AD2-4A6A-07C4-6D6F-D93EE9C45E7C}"/>
              </a:ext>
            </a:extLst>
          </p:cNvPr>
          <p:cNvSpPr/>
          <p:nvPr/>
        </p:nvSpPr>
        <p:spPr bwMode="gray">
          <a:xfrm>
            <a:off x="9807575" y="2825574"/>
            <a:ext cx="1163943" cy="192416"/>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0227C"/>
                </a:solidFill>
                <a:effectLst/>
                <a:uLnTx/>
                <a:uFillTx/>
                <a:latin typeface="Arial"/>
                <a:ea typeface="+mn-ea"/>
                <a:cs typeface="+mn-cs"/>
              </a:rPr>
              <a:t>5.6x</a:t>
            </a:r>
            <a:r>
              <a:rPr kumimoji="0" lang="en-US" sz="800" b="0" i="0" u="none" strike="noStrike" kern="1200" cap="none" spc="0" normalizeH="0" baseline="0" noProof="0" dirty="0">
                <a:ln>
                  <a:noFill/>
                </a:ln>
                <a:solidFill>
                  <a:srgbClr val="D0227C"/>
                </a:solidFill>
                <a:effectLst/>
                <a:uLnTx/>
                <a:uFillTx/>
                <a:latin typeface="Arial"/>
                <a:ea typeface="+mn-ea"/>
                <a:cs typeface="+mn-cs"/>
              </a:rPr>
              <a:t> by 2050 </a:t>
            </a:r>
            <a:r>
              <a:rPr kumimoji="0" lang="en-US" sz="800" b="1" i="0" u="none" strike="noStrike" kern="1200" cap="none" spc="0" normalizeH="0" baseline="0" noProof="0" dirty="0">
                <a:ln>
                  <a:noFill/>
                </a:ln>
                <a:solidFill>
                  <a:srgbClr val="D0227C"/>
                </a:solidFill>
                <a:effectLst/>
                <a:uLnTx/>
                <a:uFillTx/>
                <a:latin typeface="Arial"/>
                <a:ea typeface="+mn-ea"/>
                <a:cs typeface="+mn-cs"/>
              </a:rPr>
              <a:t>(90 GW)</a:t>
            </a:r>
          </a:p>
        </p:txBody>
      </p:sp>
      <p:cxnSp>
        <p:nvCxnSpPr>
          <p:cNvPr id="165" name="Straight Connector 164">
            <a:extLst>
              <a:ext uri="{FF2B5EF4-FFF2-40B4-BE49-F238E27FC236}">
                <a16:creationId xmlns:a16="http://schemas.microsoft.com/office/drawing/2014/main" id="{A02B4EB5-E30D-C01C-1EF1-7FD3FCB74C5F}"/>
              </a:ext>
            </a:extLst>
          </p:cNvPr>
          <p:cNvCxnSpPr/>
          <p:nvPr>
            <p:custDataLst>
              <p:tags r:id="rId63"/>
            </p:custDataLst>
          </p:nvPr>
        </p:nvCxnSpPr>
        <p:spPr bwMode="gray">
          <a:xfrm>
            <a:off x="8545513" y="2478088"/>
            <a:ext cx="14128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70409FA9-CFDC-4854-9A53-8677BD1D0E80}"/>
              </a:ext>
            </a:extLst>
          </p:cNvPr>
          <p:cNvCxnSpPr/>
          <p:nvPr>
            <p:custDataLst>
              <p:tags r:id="rId64"/>
            </p:custDataLst>
          </p:nvPr>
        </p:nvCxnSpPr>
        <p:spPr bwMode="gray">
          <a:xfrm>
            <a:off x="8545513" y="2665413"/>
            <a:ext cx="14128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78318DBB-286B-15E5-A1AF-015B79DA4D1B}"/>
              </a:ext>
            </a:extLst>
          </p:cNvPr>
          <p:cNvCxnSpPr/>
          <p:nvPr>
            <p:custDataLst>
              <p:tags r:id="rId65"/>
            </p:custDataLst>
          </p:nvPr>
        </p:nvCxnSpPr>
        <p:spPr bwMode="gray">
          <a:xfrm>
            <a:off x="8545513" y="2852738"/>
            <a:ext cx="141287"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7FDE980F-C44B-9A89-079C-69BB3D36160F}"/>
              </a:ext>
            </a:extLst>
          </p:cNvPr>
          <p:cNvCxnSpPr/>
          <p:nvPr>
            <p:custDataLst>
              <p:tags r:id="rId66"/>
            </p:custDataLst>
          </p:nvPr>
        </p:nvCxnSpPr>
        <p:spPr bwMode="gray">
          <a:xfrm>
            <a:off x="8545513" y="3040063"/>
            <a:ext cx="1412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68" name="Text Placeholder 10">
            <a:extLst>
              <a:ext uri="{FF2B5EF4-FFF2-40B4-BE49-F238E27FC236}">
                <a16:creationId xmlns:a16="http://schemas.microsoft.com/office/drawing/2014/main" id="{B1A4BCC4-FB65-1A59-D199-ECD531783E24}"/>
              </a:ext>
            </a:extLst>
          </p:cNvPr>
          <p:cNvSpPr txBox="1">
            <a:spLocks/>
          </p:cNvSpPr>
          <p:nvPr>
            <p:custDataLst>
              <p:tags r:id="rId67"/>
            </p:custDataLst>
          </p:nvPr>
        </p:nvSpPr>
        <p:spPr bwMode="auto">
          <a:xfrm>
            <a:off x="8747125" y="2414589"/>
            <a:ext cx="755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8990D7-DE32-41FD-A878-85096EE67FA6}" type="datetime'Sta''''t''ed'''''' P''''''o''''licie''''''''''s'''''''''''''''">
              <a:rPr kumimoji="0" lang="en-US" altLang="en-US" sz="900" b="0" i="0" u="none" strike="noStrike" kern="1200" cap="none" spc="0" normalizeH="0" baseline="0" noProof="0" smtClean="0">
                <a:ln>
                  <a:noFill/>
                </a:ln>
                <a:solidFill>
                  <a:srgbClr val="805BC9"/>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ated Policies</a:t>
            </a:fld>
            <a:endParaRPr kumimoji="0" lang="en-US" sz="900" b="0" i="0" u="none" strike="noStrike" kern="1200" cap="none" spc="0" normalizeH="0" baseline="0" noProof="0" dirty="0">
              <a:ln>
                <a:noFill/>
              </a:ln>
              <a:solidFill>
                <a:srgbClr val="805BC9"/>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65F5CE31-9DE3-8445-9388-03B91AF882EA}"/>
              </a:ext>
            </a:extLst>
          </p:cNvPr>
          <p:cNvSpPr txBox="1">
            <a:spLocks/>
          </p:cNvSpPr>
          <p:nvPr>
            <p:custDataLst>
              <p:tags r:id="rId68"/>
            </p:custDataLst>
          </p:nvPr>
        </p:nvSpPr>
        <p:spPr bwMode="auto">
          <a:xfrm>
            <a:off x="8747125" y="2601914"/>
            <a:ext cx="1022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4618BBB-22AD-45D8-9C6E-D5670D3100B6}" type="datetime'A''n''''''nou''''''''nce''d ''''''''P''l''ed''g''''''''es'''">
              <a:rPr kumimoji="0" lang="en-US" altLang="en-US" sz="900" b="0" i="0" u="none" strike="noStrike" kern="1200" cap="none" spc="0" normalizeH="0" baseline="0" noProof="0" smtClean="0">
                <a:ln>
                  <a:noFill/>
                </a:ln>
                <a:solidFill>
                  <a:srgbClr val="34A398"/>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Pledges</a:t>
            </a:fld>
            <a:endParaRPr kumimoji="0" lang="en-US" sz="900" b="0" i="0" u="none" strike="noStrike" kern="1200" cap="none" spc="0" normalizeH="0" baseline="0" noProof="0" dirty="0">
              <a:ln>
                <a:noFill/>
              </a:ln>
              <a:solidFill>
                <a:srgbClr val="34A398"/>
              </a:solidFill>
              <a:effectLst/>
              <a:uLnTx/>
              <a:uFillTx/>
              <a:latin typeface="Arial"/>
              <a:ea typeface="+mn-ea"/>
              <a:cs typeface="+mn-cs"/>
            </a:endParaRPr>
          </a:p>
        </p:txBody>
      </p:sp>
      <p:sp>
        <p:nvSpPr>
          <p:cNvPr id="170" name="Text Placeholder 10">
            <a:extLst>
              <a:ext uri="{FF2B5EF4-FFF2-40B4-BE49-F238E27FC236}">
                <a16:creationId xmlns:a16="http://schemas.microsoft.com/office/drawing/2014/main" id="{5445F31E-2A51-3203-30C8-C4D8199597AE}"/>
              </a:ext>
            </a:extLst>
          </p:cNvPr>
          <p:cNvSpPr txBox="1">
            <a:spLocks/>
          </p:cNvSpPr>
          <p:nvPr>
            <p:custDataLst>
              <p:tags r:id="rId69"/>
            </p:custDataLst>
          </p:nvPr>
        </p:nvSpPr>
        <p:spPr bwMode="auto">
          <a:xfrm>
            <a:off x="8747125" y="2789238"/>
            <a:ext cx="558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DA5C57-688D-46A6-B1D9-D3C59F74D9F5}" type="datetime'''D''OE'''''' ''''''''''''L''''''''if''''''''tof''f'''''">
              <a:rPr kumimoji="0" lang="en-US" altLang="en-US" sz="900" b="0" i="0" u="none" strike="noStrike" kern="1200" cap="none" spc="0" normalizeH="0" baseline="0" noProof="0" smtClean="0">
                <a:ln>
                  <a:noFill/>
                </a:ln>
                <a:solidFill>
                  <a:srgbClr val="D0227C"/>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OE Liftoff</a:t>
            </a:fld>
            <a:endParaRPr kumimoji="0" lang="en-US" sz="900" b="0" i="0" u="none" strike="noStrike" kern="1200" cap="none" spc="0" normalizeH="0" baseline="0" noProof="0" dirty="0">
              <a:ln>
                <a:noFill/>
              </a:ln>
              <a:solidFill>
                <a:srgbClr val="D0227C"/>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C600FBA7-F9CF-9279-1FB0-5DDAD5C36773}"/>
              </a:ext>
            </a:extLst>
          </p:cNvPr>
          <p:cNvSpPr txBox="1">
            <a:spLocks/>
          </p:cNvSpPr>
          <p:nvPr>
            <p:custDataLst>
              <p:tags r:id="rId70"/>
            </p:custDataLst>
          </p:nvPr>
        </p:nvSpPr>
        <p:spPr bwMode="auto">
          <a:xfrm>
            <a:off x="8747125" y="2976563"/>
            <a:ext cx="996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B36503-18F0-4616-B17D-83718B830135}" type="datetime'''Net'' ''Ze''''''ro Em''i''''s''''''''s''i''''o''ns'''">
              <a:rPr kumimoji="0" lang="en-US" altLang="en-US" sz="900" b="0" i="0" u="none" strike="noStrike" kern="1200" cap="none" spc="0" normalizeH="0" baseline="0" noProof="0" smtClean="0">
                <a:ln>
                  <a:noFill/>
                </a:ln>
                <a:solidFill>
                  <a:srgbClr val="009BDB"/>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t Zero Emissions</a:t>
            </a:fld>
            <a:endParaRPr kumimoji="0" lang="en-US" sz="900" b="0" i="0" u="none" strike="noStrike" kern="1200" cap="none" spc="0" normalizeH="0" baseline="0" noProof="0" dirty="0">
              <a:ln>
                <a:noFill/>
              </a:ln>
              <a:solidFill>
                <a:srgbClr val="009BDB"/>
              </a:solidFill>
              <a:effectLst/>
              <a:uLnTx/>
              <a:uFillTx/>
              <a:latin typeface="Arial"/>
              <a:ea typeface="+mn-ea"/>
              <a:cs typeface="+mn-cs"/>
            </a:endParaRPr>
          </a:p>
        </p:txBody>
      </p:sp>
      <p:sp>
        <p:nvSpPr>
          <p:cNvPr id="172" name="Rectangular Callout 171">
            <a:extLst>
              <a:ext uri="{FF2B5EF4-FFF2-40B4-BE49-F238E27FC236}">
                <a16:creationId xmlns:a16="http://schemas.microsoft.com/office/drawing/2014/main" id="{0D3808DB-FB17-30E0-8FC1-BF2D044EE19E}"/>
              </a:ext>
            </a:extLst>
          </p:cNvPr>
          <p:cNvSpPr/>
          <p:nvPr/>
        </p:nvSpPr>
        <p:spPr bwMode="gray">
          <a:xfrm>
            <a:off x="9110545" y="5645150"/>
            <a:ext cx="2703631" cy="624694"/>
          </a:xfrm>
          <a:prstGeom prst="wedgeRectCallout">
            <a:avLst>
              <a:gd name="adj1" fmla="val -14572"/>
              <a:gd name="adj2" fmla="val -76427"/>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In 2025, 32 countries had geothermal power, for a total of ~16 GW global capacity, from 3,700 production wells with an average 3 MWh capacity per well.</a:t>
            </a:r>
          </a:p>
        </p:txBody>
      </p:sp>
      <p:sp>
        <p:nvSpPr>
          <p:cNvPr id="176" name="Rectangle 175">
            <a:extLst>
              <a:ext uri="{FF2B5EF4-FFF2-40B4-BE49-F238E27FC236}">
                <a16:creationId xmlns:a16="http://schemas.microsoft.com/office/drawing/2014/main" id="{0FA52438-0854-9C64-E4C1-FA302569C10D}"/>
              </a:ext>
            </a:extLst>
          </p:cNvPr>
          <p:cNvSpPr/>
          <p:nvPr/>
        </p:nvSpPr>
        <p:spPr bwMode="gray">
          <a:xfrm>
            <a:off x="9819328" y="3058784"/>
            <a:ext cx="1163943" cy="19241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9BDB"/>
                </a:solidFill>
                <a:effectLst/>
                <a:uLnTx/>
                <a:uFillTx/>
                <a:latin typeface="Arial"/>
                <a:ea typeface="+mn-ea"/>
                <a:cs typeface="+mn-cs"/>
              </a:rPr>
              <a:t>6.9x</a:t>
            </a:r>
            <a:r>
              <a:rPr kumimoji="0" lang="en-US" sz="800" b="0" i="0" u="none" strike="noStrike" kern="1200" cap="none" spc="0" normalizeH="0" baseline="0" noProof="0" dirty="0">
                <a:ln>
                  <a:noFill/>
                </a:ln>
                <a:solidFill>
                  <a:srgbClr val="009BDB"/>
                </a:solidFill>
                <a:effectLst/>
                <a:uLnTx/>
                <a:uFillTx/>
                <a:latin typeface="Arial"/>
                <a:ea typeface="+mn-ea"/>
                <a:cs typeface="+mn-cs"/>
              </a:rPr>
              <a:t> by 2050 </a:t>
            </a:r>
            <a:r>
              <a:rPr kumimoji="0" lang="en-US" sz="800" b="1" i="0" u="none" strike="noStrike" kern="1200" cap="none" spc="0" normalizeH="0" baseline="0" noProof="0" dirty="0">
                <a:ln>
                  <a:noFill/>
                </a:ln>
                <a:solidFill>
                  <a:srgbClr val="009BDB"/>
                </a:solidFill>
                <a:effectLst/>
                <a:uLnTx/>
                <a:uFillTx/>
                <a:latin typeface="Arial"/>
                <a:ea typeface="+mn-ea"/>
                <a:cs typeface="+mn-cs"/>
              </a:rPr>
              <a:t>(111 GW)</a:t>
            </a:r>
          </a:p>
        </p:txBody>
      </p:sp>
    </p:spTree>
    <p:extLst>
      <p:ext uri="{BB962C8B-B14F-4D97-AF65-F5344CB8AC3E}">
        <p14:creationId xmlns:p14="http://schemas.microsoft.com/office/powerpoint/2010/main" val="38322561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AA048FC-8EDE-A8FF-5C25-FBC5D9C9EFE5}"/>
              </a:ext>
            </a:extLst>
          </p:cNvPr>
          <p:cNvGraphicFramePr>
            <a:graphicFrameLocks/>
          </p:cNvGraphicFramePr>
          <p:nvPr>
            <p:custDataLst>
              <p:tags r:id="rId1"/>
            </p:custDataLst>
            <p:extLst>
              <p:ext uri="{D42A27DB-BD31-4B8C-83A1-F6EECF244321}">
                <p14:modId xmlns:p14="http://schemas.microsoft.com/office/powerpoint/2010/main" val="4043570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0" name=""/>
                      <p:cNvPicPr/>
                      <p:nvPr/>
                    </p:nvPicPr>
                    <p:blipFill>
                      <a:blip r:embed="rId49"/>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A7555DE-7033-1097-7758-6BB741D0B1D1}"/>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900" dirty="0"/>
              <a:t>Data centers, electrification, and reshoring are pushing load growth 10 times faster than in the previous decade, but the grid has not expanded in parallel.</a:t>
            </a:r>
          </a:p>
          <a:p>
            <a:r>
              <a:rPr lang="en-US" sz="900" dirty="0"/>
              <a:t>LBNL finds 2.6 TW of queued capacity vs. 1.28 TW installed — driven overwhelmingly by solar, hybrids, and storage.</a:t>
            </a:r>
          </a:p>
          <a:p>
            <a:r>
              <a:rPr lang="en-US" sz="900" dirty="0"/>
              <a:t>Projects took &lt;2 years in 2008, ~3 years in 2015, and nearly 5 years in 2023, with costs rising 44% in the past five years.</a:t>
            </a:r>
          </a:p>
          <a:p>
            <a:r>
              <a:rPr lang="en-US" sz="900" dirty="0"/>
              <a:t>Only 20% of projects (2000 to 2018) reached COD; &gt;70% withdrew, often because transmission upgrades triggered by other projects caused cascading restudies.</a:t>
            </a:r>
          </a:p>
          <a:p>
            <a:r>
              <a:rPr lang="en-US" sz="900" dirty="0"/>
              <a:t>Outdated lines, limited hosting capacity, and project-by-project upgrade triggers create multiyear delays irrespective of technology.</a:t>
            </a:r>
          </a:p>
          <a:p>
            <a:r>
              <a:rPr lang="en-US" sz="900" dirty="0"/>
              <a:t>Recent BLM emergency permitting procedures have fast-tracked geothermal projects, helping offset the long delays created by the interconnection backlog</a:t>
            </a:r>
          </a:p>
        </p:txBody>
      </p:sp>
      <p:sp>
        <p:nvSpPr>
          <p:cNvPr id="3" name="Title 2">
            <a:extLst>
              <a:ext uri="{FF2B5EF4-FFF2-40B4-BE49-F238E27FC236}">
                <a16:creationId xmlns:a16="http://schemas.microsoft.com/office/drawing/2014/main" id="{3775D74A-9DBB-3B91-7E46-8CD5F4C3C537}"/>
              </a:ext>
            </a:extLst>
          </p:cNvPr>
          <p:cNvSpPr>
            <a:spLocks noGrp="1"/>
          </p:cNvSpPr>
          <p:nvPr>
            <p:ph type="title"/>
          </p:nvPr>
        </p:nvSpPr>
        <p:spPr/>
        <p:txBody>
          <a:bodyPr vert="horz" rIns="91440"/>
          <a:lstStyle/>
          <a:p>
            <a:r>
              <a:rPr lang="en-US" sz="2600" dirty="0"/>
              <a:t>Queue composition (95% variable renewables, &lt;1% firm resources) highlights structural interconnection barriers to geothermal scalability</a:t>
            </a:r>
          </a:p>
        </p:txBody>
      </p:sp>
      <p:sp>
        <p:nvSpPr>
          <p:cNvPr id="4" name="Footer Placeholder 3">
            <a:extLst>
              <a:ext uri="{FF2B5EF4-FFF2-40B4-BE49-F238E27FC236}">
                <a16:creationId xmlns:a16="http://schemas.microsoft.com/office/drawing/2014/main" id="{68E659F6-F147-3C4E-4C0E-22260E0C9DAA}"/>
              </a:ext>
            </a:extLst>
          </p:cNvPr>
          <p:cNvSpPr>
            <a:spLocks noGrp="1"/>
          </p:cNvSpPr>
          <p:nvPr>
            <p:ph type="ftr" sz="quarter" idx="3"/>
          </p:nvPr>
        </p:nvSpPr>
        <p:spPr/>
        <p:txBody>
          <a:bodyPr/>
          <a:lstStyle/>
          <a:p>
            <a:pPr marL="0" indent="0">
              <a:buNone/>
            </a:pPr>
            <a:r>
              <a:rPr lang="en-US" dirty="0">
                <a:solidFill>
                  <a:srgbClr val="000000"/>
                </a:solidFill>
              </a:rPr>
              <a:t>Sources: </a:t>
            </a:r>
            <a:r>
              <a:rPr lang="en-US" dirty="0">
                <a:solidFill>
                  <a:srgbClr val="000000"/>
                </a:solidFill>
                <a:hlinkClick r:id="rId50"/>
              </a:rPr>
              <a:t>Grid connection barriers to renewable energy deployment in the United States</a:t>
            </a:r>
            <a:r>
              <a:rPr lang="en-US" dirty="0">
                <a:solidFill>
                  <a:srgbClr val="000000"/>
                </a:solidFill>
              </a:rPr>
              <a:t> (Berkeley Lab, 2024); </a:t>
            </a:r>
            <a:r>
              <a:rPr lang="en-US" dirty="0">
                <a:solidFill>
                  <a:srgbClr val="000000"/>
                </a:solidFill>
                <a:hlinkClick r:id="rId51"/>
              </a:rPr>
              <a:t>Generation, Storage, and Hybrid Capacity in Interconnection Queues</a:t>
            </a:r>
            <a:r>
              <a:rPr lang="en-US" dirty="0">
                <a:solidFill>
                  <a:srgbClr val="000000"/>
                </a:solidFill>
              </a:rPr>
              <a:t> (Berkeley Lab, 2025); </a:t>
            </a:r>
            <a:r>
              <a:rPr lang="en-US" dirty="0">
                <a:solidFill>
                  <a:srgbClr val="000000"/>
                </a:solidFill>
                <a:hlinkClick r:id="rId52"/>
              </a:rPr>
              <a:t>Emergency Permitting for Geothermal </a:t>
            </a:r>
            <a:r>
              <a:rPr lang="en-US" dirty="0">
                <a:solidFill>
                  <a:srgbClr val="000000"/>
                </a:solidFill>
              </a:rPr>
              <a:t>(Bureau of Land Management, 2025).</a:t>
            </a:r>
            <a:br>
              <a:rPr lang="en-US" dirty="0">
                <a:solidFill>
                  <a:srgbClr val="000000"/>
                </a:solidFill>
              </a:rPr>
            </a:br>
            <a:r>
              <a:rPr lang="en-US" dirty="0">
                <a:solidFill>
                  <a:srgbClr val="000000"/>
                </a:solidFill>
              </a:rPr>
              <a:t>Credit: </a:t>
            </a:r>
            <a:r>
              <a:rPr lang="en-US" dirty="0">
                <a:solidFill>
                  <a:srgbClr val="000000"/>
                </a:solidFill>
                <a:ea typeface="+mn-lt"/>
                <a:cs typeface="+mn-lt"/>
              </a:rPr>
              <a:t>Shubhangi Prasad, and </a:t>
            </a:r>
            <a:r>
              <a:rPr lang="en-US" dirty="0">
                <a:solidFill>
                  <a:srgbClr val="000000">
                    <a:tint val="82000"/>
                  </a:srgbClr>
                </a:solidFill>
                <a:hlinkClick r:id="rId53"/>
              </a:rPr>
              <a:t>Gernot Wagner.</a:t>
            </a:r>
            <a:r>
              <a:rPr lang="en-US" dirty="0">
                <a:solidFill>
                  <a:srgbClr val="000000">
                    <a:tint val="82000"/>
                  </a:srgbClr>
                </a:solidFill>
              </a:rPr>
              <a:t> </a:t>
            </a:r>
            <a:r>
              <a:rPr lang="en-US" dirty="0">
                <a:solidFill>
                  <a:srgbClr val="000000">
                    <a:tint val="82000"/>
                  </a:srgbClr>
                </a:solidFill>
                <a:hlinkClick r:id="rId54"/>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4">
            <a:extLst>
              <a:ext uri="{FF2B5EF4-FFF2-40B4-BE49-F238E27FC236}">
                <a16:creationId xmlns:a16="http://schemas.microsoft.com/office/drawing/2014/main" id="{3945EF98-28F7-F27C-86BA-38732136F882}"/>
              </a:ext>
            </a:extLst>
          </p:cNvPr>
          <p:cNvSpPr>
            <a:spLocks noGrp="1"/>
          </p:cNvSpPr>
          <p:nvPr>
            <p:ph type="body" sz="quarter" idx="13"/>
          </p:nvPr>
        </p:nvSpPr>
        <p:spPr/>
        <p:txBody>
          <a:bodyPr/>
          <a:lstStyle/>
          <a:p>
            <a:r>
              <a:rPr lang="en-US" dirty="0">
                <a:solidFill>
                  <a:srgbClr val="000000"/>
                </a:solidFill>
                <a:latin typeface="Arial" panose="020B0604020202020204" pitchFamily="34" charset="0"/>
              </a:rPr>
              <a:t>U.S. interconnection queue by energy sources,</a:t>
            </a:r>
            <a:r>
              <a:rPr lang="en-US" b="0" dirty="0">
                <a:solidFill>
                  <a:srgbClr val="000000"/>
                </a:solidFill>
                <a:latin typeface="Arial" panose="020B0604020202020204" pitchFamily="34" charset="0"/>
              </a:rPr>
              <a:t> cumulative GW​</a:t>
            </a:r>
            <a:endParaRPr lang="en-US" dirty="0"/>
          </a:p>
        </p:txBody>
      </p:sp>
      <p:sp>
        <p:nvSpPr>
          <p:cNvPr id="7" name="Text Placeholder 1">
            <a:extLst>
              <a:ext uri="{FF2B5EF4-FFF2-40B4-BE49-F238E27FC236}">
                <a16:creationId xmlns:a16="http://schemas.microsoft.com/office/drawing/2014/main" id="{82347964-A075-5791-564D-43714C2DB6C5}"/>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Interconnection</a:t>
            </a:r>
          </a:p>
        </p:txBody>
      </p:sp>
      <p:graphicFrame>
        <p:nvGraphicFramePr>
          <p:cNvPr id="57" name="Chart 56">
            <a:extLst>
              <a:ext uri="{FF2B5EF4-FFF2-40B4-BE49-F238E27FC236}">
                <a16:creationId xmlns:a16="http://schemas.microsoft.com/office/drawing/2014/main" id="{A3DDBDF5-A695-42E4-C552-96CE811B9A2D}"/>
              </a:ext>
            </a:extLst>
          </p:cNvPr>
          <p:cNvGraphicFramePr/>
          <p:nvPr>
            <p:custDataLst>
              <p:tags r:id="rId2"/>
            </p:custDataLst>
            <p:extLst>
              <p:ext uri="{D42A27DB-BD31-4B8C-83A1-F6EECF244321}">
                <p14:modId xmlns:p14="http://schemas.microsoft.com/office/powerpoint/2010/main" val="3544497656"/>
              </p:ext>
            </p:extLst>
          </p:nvPr>
        </p:nvGraphicFramePr>
        <p:xfrm>
          <a:off x="268288" y="2435225"/>
          <a:ext cx="8080375" cy="3251200"/>
        </p:xfrm>
        <a:graphic>
          <a:graphicData uri="http://schemas.openxmlformats.org/drawingml/2006/chart">
            <c:chart xmlns:c="http://schemas.openxmlformats.org/drawingml/2006/chart" xmlns:r="http://schemas.openxmlformats.org/officeDocument/2006/relationships" r:id="rId55"/>
          </a:graphicData>
        </a:graphic>
      </p:graphicFrame>
      <p:sp>
        <p:nvSpPr>
          <p:cNvPr id="11" name="Text Placeholder 10">
            <a:extLst>
              <a:ext uri="{FF2B5EF4-FFF2-40B4-BE49-F238E27FC236}">
                <a16:creationId xmlns:a16="http://schemas.microsoft.com/office/drawing/2014/main" id="{D643D002-2811-E21C-7A07-66BECB44CB3F}"/>
              </a:ext>
            </a:extLst>
          </p:cNvPr>
          <p:cNvSpPr txBox="1">
            <a:spLocks/>
          </p:cNvSpPr>
          <p:nvPr>
            <p:custDataLst>
              <p:tags r:id="rId3"/>
            </p:custDataLst>
          </p:nvPr>
        </p:nvSpPr>
        <p:spPr bwMode="auto">
          <a:xfrm>
            <a:off x="889000"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C7DA9-C38D-4B13-8D7A-C5023BC02F63}" type="datetime'''2''''''''''''0''''''''''''1''''''''''9'''''''''''">
              <a:rPr lang="en-US" altLang="en-US" sz="800" smtClean="0"/>
              <a:pPr marL="0" indent="0" algn="ctr">
                <a:spcBef>
                  <a:spcPct val="0"/>
                </a:spcBef>
                <a:spcAft>
                  <a:spcPct val="0"/>
                </a:spcAft>
                <a:buNone/>
              </a:pPr>
              <a:t>2019</a:t>
            </a:fld>
            <a:endParaRPr lang="en-US" sz="800" dirty="0"/>
          </a:p>
        </p:txBody>
      </p:sp>
      <p:sp>
        <p:nvSpPr>
          <p:cNvPr id="12" name="Text Placeholder 10">
            <a:extLst>
              <a:ext uri="{FF2B5EF4-FFF2-40B4-BE49-F238E27FC236}">
                <a16:creationId xmlns:a16="http://schemas.microsoft.com/office/drawing/2014/main" id="{5848C861-62A1-2829-45E4-BE1546A536D2}"/>
              </a:ext>
            </a:extLst>
          </p:cNvPr>
          <p:cNvSpPr txBox="1">
            <a:spLocks/>
          </p:cNvSpPr>
          <p:nvPr>
            <p:custDataLst>
              <p:tags r:id="rId4"/>
            </p:custDataLst>
          </p:nvPr>
        </p:nvSpPr>
        <p:spPr bwMode="auto">
          <a:xfrm>
            <a:off x="2208213"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7AEE3D-80EC-4F31-B32F-30469DBAEA9D}" type="datetime'''''''''''2''02''''''''''''''0'''''''''''''''''">
              <a:rPr lang="en-US" altLang="en-US" sz="800" smtClean="0"/>
              <a:pPr marL="0" indent="0" algn="ctr">
                <a:spcBef>
                  <a:spcPct val="0"/>
                </a:spcBef>
                <a:spcAft>
                  <a:spcPct val="0"/>
                </a:spcAft>
                <a:buNone/>
              </a:pPr>
              <a:t>2020</a:t>
            </a:fld>
            <a:endParaRPr lang="en-US" sz="800" dirty="0"/>
          </a:p>
        </p:txBody>
      </p:sp>
      <p:sp>
        <p:nvSpPr>
          <p:cNvPr id="13" name="Text Placeholder 10">
            <a:extLst>
              <a:ext uri="{FF2B5EF4-FFF2-40B4-BE49-F238E27FC236}">
                <a16:creationId xmlns:a16="http://schemas.microsoft.com/office/drawing/2014/main" id="{7065DD7B-183C-5108-80FE-D257BD1E7592}"/>
              </a:ext>
            </a:extLst>
          </p:cNvPr>
          <p:cNvSpPr txBox="1">
            <a:spLocks/>
          </p:cNvSpPr>
          <p:nvPr>
            <p:custDataLst>
              <p:tags r:id="rId5"/>
            </p:custDataLst>
          </p:nvPr>
        </p:nvSpPr>
        <p:spPr bwMode="auto">
          <a:xfrm>
            <a:off x="3527425"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8A4726-A16C-4266-BDB2-03EC5942B57A}" type="datetime'''''''''2''''''''''''''''''''''''''''0''''2''1'''">
              <a:rPr lang="en-US" altLang="en-US" sz="800" smtClean="0"/>
              <a:pPr marL="0" indent="0" algn="ctr">
                <a:spcBef>
                  <a:spcPct val="0"/>
                </a:spcBef>
                <a:spcAft>
                  <a:spcPct val="0"/>
                </a:spcAft>
                <a:buNone/>
              </a:pPr>
              <a:t>2021</a:t>
            </a:fld>
            <a:endParaRPr lang="en-US" sz="800" dirty="0"/>
          </a:p>
        </p:txBody>
      </p:sp>
      <p:sp>
        <p:nvSpPr>
          <p:cNvPr id="14" name="Text Placeholder 10">
            <a:extLst>
              <a:ext uri="{FF2B5EF4-FFF2-40B4-BE49-F238E27FC236}">
                <a16:creationId xmlns:a16="http://schemas.microsoft.com/office/drawing/2014/main" id="{756A767F-080B-9AFB-B447-8EE0B521E72F}"/>
              </a:ext>
            </a:extLst>
          </p:cNvPr>
          <p:cNvSpPr txBox="1">
            <a:spLocks/>
          </p:cNvSpPr>
          <p:nvPr>
            <p:custDataLst>
              <p:tags r:id="rId6"/>
            </p:custDataLst>
          </p:nvPr>
        </p:nvSpPr>
        <p:spPr bwMode="auto">
          <a:xfrm>
            <a:off x="4846638"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77A3DE-E785-4085-BC44-63BAFB64FA57}" type="datetime'''''''''''2''0''''''''''''2''''''''''''''''''''2'''''''">
              <a:rPr lang="en-US" altLang="en-US" sz="800" smtClean="0"/>
              <a:pPr marL="0" indent="0" algn="ctr">
                <a:spcBef>
                  <a:spcPct val="0"/>
                </a:spcBef>
                <a:spcAft>
                  <a:spcPct val="0"/>
                </a:spcAft>
                <a:buNone/>
              </a:pPr>
              <a:t>2022</a:t>
            </a:fld>
            <a:endParaRPr lang="en-US" sz="800" dirty="0"/>
          </a:p>
        </p:txBody>
      </p:sp>
      <p:sp>
        <p:nvSpPr>
          <p:cNvPr id="15" name="Text Placeholder 10">
            <a:extLst>
              <a:ext uri="{FF2B5EF4-FFF2-40B4-BE49-F238E27FC236}">
                <a16:creationId xmlns:a16="http://schemas.microsoft.com/office/drawing/2014/main" id="{585D4A98-9B5E-6872-3AD9-BC321294A3D9}"/>
              </a:ext>
            </a:extLst>
          </p:cNvPr>
          <p:cNvSpPr txBox="1">
            <a:spLocks/>
          </p:cNvSpPr>
          <p:nvPr>
            <p:custDataLst>
              <p:tags r:id="rId7"/>
            </p:custDataLst>
          </p:nvPr>
        </p:nvSpPr>
        <p:spPr bwMode="auto">
          <a:xfrm>
            <a:off x="6165850"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533836-B0D1-4463-BBCC-A06A675E8B9D}" type="datetime'''''''20''''''''''''''''''''''2''''''''''''''''3'''''''">
              <a:rPr lang="en-US" altLang="en-US" sz="800" smtClean="0"/>
              <a:pPr marL="0" indent="0" algn="ctr">
                <a:spcBef>
                  <a:spcPct val="0"/>
                </a:spcBef>
                <a:spcAft>
                  <a:spcPct val="0"/>
                </a:spcAft>
                <a:buNone/>
              </a:pPr>
              <a:t>2023</a:t>
            </a:fld>
            <a:endParaRPr lang="en-US" sz="800" dirty="0"/>
          </a:p>
        </p:txBody>
      </p:sp>
      <p:sp>
        <p:nvSpPr>
          <p:cNvPr id="16" name="Text Placeholder 10">
            <a:extLst>
              <a:ext uri="{FF2B5EF4-FFF2-40B4-BE49-F238E27FC236}">
                <a16:creationId xmlns:a16="http://schemas.microsoft.com/office/drawing/2014/main" id="{C2B02306-D450-81B1-B09D-4A9391FF10A4}"/>
              </a:ext>
            </a:extLst>
          </p:cNvPr>
          <p:cNvSpPr txBox="1">
            <a:spLocks/>
          </p:cNvSpPr>
          <p:nvPr>
            <p:custDataLst>
              <p:tags r:id="rId8"/>
            </p:custDataLst>
          </p:nvPr>
        </p:nvSpPr>
        <p:spPr bwMode="auto">
          <a:xfrm>
            <a:off x="7485063" y="56372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60DF4B-B26E-4F94-8C20-6CDF816DEDCE}" type="datetime'''''''''''''''2''02''''''''''''''''''''''''''''''''''4'">
              <a:rPr lang="en-US" altLang="en-US" sz="800" smtClean="0"/>
              <a:pPr marL="0" indent="0" algn="ctr">
                <a:spcBef>
                  <a:spcPct val="0"/>
                </a:spcBef>
                <a:spcAft>
                  <a:spcPct val="0"/>
                </a:spcAft>
                <a:buNone/>
              </a:pPr>
              <a:t>2024</a:t>
            </a:fld>
            <a:endParaRPr lang="en-US" sz="800" dirty="0"/>
          </a:p>
        </p:txBody>
      </p:sp>
      <p:sp>
        <p:nvSpPr>
          <p:cNvPr id="17" name="Text Placeholder 10">
            <a:extLst>
              <a:ext uri="{FF2B5EF4-FFF2-40B4-BE49-F238E27FC236}">
                <a16:creationId xmlns:a16="http://schemas.microsoft.com/office/drawing/2014/main" id="{C5F3DD7E-F375-8760-5DBA-79DF62279004}"/>
              </a:ext>
            </a:extLst>
          </p:cNvPr>
          <p:cNvSpPr txBox="1">
            <a:spLocks/>
          </p:cNvSpPr>
          <p:nvPr>
            <p:custDataLst>
              <p:tags r:id="rId9"/>
            </p:custDataLst>
          </p:nvPr>
        </p:nvSpPr>
        <p:spPr bwMode="gray">
          <a:xfrm>
            <a:off x="909638" y="45847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3FD5C8-AAE9-407B-B519-62F547639D18}" type="datetime'7''''''''3''3'''''''''''''''''''''''''''''''''''''''">
              <a:rPr lang="en-US" altLang="en-US" sz="800" smtClean="0"/>
              <a:pPr marL="0" indent="0" algn="ctr">
                <a:spcBef>
                  <a:spcPct val="0"/>
                </a:spcBef>
                <a:spcAft>
                  <a:spcPct val="0"/>
                </a:spcAft>
                <a:buNone/>
              </a:pPr>
              <a:t>733</a:t>
            </a:fld>
            <a:endParaRPr lang="en-US" sz="800" dirty="0"/>
          </a:p>
        </p:txBody>
      </p:sp>
      <p:sp>
        <p:nvSpPr>
          <p:cNvPr id="18" name="Text Placeholder 10">
            <a:extLst>
              <a:ext uri="{FF2B5EF4-FFF2-40B4-BE49-F238E27FC236}">
                <a16:creationId xmlns:a16="http://schemas.microsoft.com/office/drawing/2014/main" id="{A89C1533-4FE7-47FB-9C71-E0E682D481D9}"/>
              </a:ext>
            </a:extLst>
          </p:cNvPr>
          <p:cNvSpPr txBox="1">
            <a:spLocks/>
          </p:cNvSpPr>
          <p:nvPr>
            <p:custDataLst>
              <p:tags r:id="rId10"/>
            </p:custDataLst>
          </p:nvPr>
        </p:nvSpPr>
        <p:spPr bwMode="gray">
          <a:xfrm>
            <a:off x="2228850" y="43100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C1F2E4-D91E-4267-85F4-0D9B1D9197DA}" type="datetime'''''''''''''''''9''''''''''''''''''''6''''4'''">
              <a:rPr lang="en-US" altLang="en-US" sz="800" smtClean="0"/>
              <a:pPr marL="0" indent="0" algn="ctr">
                <a:spcBef>
                  <a:spcPct val="0"/>
                </a:spcBef>
                <a:spcAft>
                  <a:spcPct val="0"/>
                </a:spcAft>
                <a:buNone/>
              </a:pPr>
              <a:t>964</a:t>
            </a:fld>
            <a:endParaRPr lang="en-US" sz="800" dirty="0"/>
          </a:p>
        </p:txBody>
      </p:sp>
      <p:sp>
        <p:nvSpPr>
          <p:cNvPr id="19" name="Text Placeholder 10">
            <a:extLst>
              <a:ext uri="{FF2B5EF4-FFF2-40B4-BE49-F238E27FC236}">
                <a16:creationId xmlns:a16="http://schemas.microsoft.com/office/drawing/2014/main" id="{E0CDBBE9-AD2E-7100-FBE7-8C0445C7D944}"/>
              </a:ext>
            </a:extLst>
          </p:cNvPr>
          <p:cNvSpPr txBox="1">
            <a:spLocks/>
          </p:cNvSpPr>
          <p:nvPr>
            <p:custDataLst>
              <p:tags r:id="rId11"/>
            </p:custDataLst>
          </p:nvPr>
        </p:nvSpPr>
        <p:spPr bwMode="gray">
          <a:xfrm>
            <a:off x="3505200" y="37417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139942-E0F0-4BD9-B203-6FDCFD2464D0}" type="datetime'''''1'''''''''''',''''''''''''''4''4''''''3'''''''''">
              <a:rPr lang="en-US" altLang="en-US" sz="800" smtClean="0"/>
              <a:pPr marL="0" indent="0" algn="ctr">
                <a:spcBef>
                  <a:spcPct val="0"/>
                </a:spcBef>
                <a:spcAft>
                  <a:spcPct val="0"/>
                </a:spcAft>
                <a:buNone/>
              </a:pPr>
              <a:t>1,443</a:t>
            </a:fld>
            <a:endParaRPr lang="en-US" sz="800" dirty="0"/>
          </a:p>
        </p:txBody>
      </p:sp>
      <p:sp>
        <p:nvSpPr>
          <p:cNvPr id="20" name="Text Placeholder 10">
            <a:extLst>
              <a:ext uri="{FF2B5EF4-FFF2-40B4-BE49-F238E27FC236}">
                <a16:creationId xmlns:a16="http://schemas.microsoft.com/office/drawing/2014/main" id="{3887996E-A656-E6D2-D434-12FA4062B765}"/>
              </a:ext>
            </a:extLst>
          </p:cNvPr>
          <p:cNvSpPr txBox="1">
            <a:spLocks/>
          </p:cNvSpPr>
          <p:nvPr>
            <p:custDataLst>
              <p:tags r:id="rId12"/>
            </p:custDataLst>
          </p:nvPr>
        </p:nvSpPr>
        <p:spPr bwMode="gray">
          <a:xfrm>
            <a:off x="4824413" y="30670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965ED5-E525-48BE-BE85-E4F98CFE62E3}" type="datetime'''2'''''''''''''''''''''''',0''''''''''''''1''''''2'">
              <a:rPr lang="en-US" altLang="en-US" sz="800" smtClean="0"/>
              <a:pPr marL="0" indent="0" algn="ctr">
                <a:spcBef>
                  <a:spcPct val="0"/>
                </a:spcBef>
                <a:spcAft>
                  <a:spcPct val="0"/>
                </a:spcAft>
                <a:buNone/>
              </a:pPr>
              <a:t>2,012</a:t>
            </a:fld>
            <a:endParaRPr lang="en-US" sz="800" dirty="0"/>
          </a:p>
        </p:txBody>
      </p:sp>
      <p:sp>
        <p:nvSpPr>
          <p:cNvPr id="21" name="Text Placeholder 10">
            <a:extLst>
              <a:ext uri="{FF2B5EF4-FFF2-40B4-BE49-F238E27FC236}">
                <a16:creationId xmlns:a16="http://schemas.microsoft.com/office/drawing/2014/main" id="{4A37DAEA-27FF-0A3B-16DC-98C18995E5AF}"/>
              </a:ext>
            </a:extLst>
          </p:cNvPr>
          <p:cNvSpPr txBox="1">
            <a:spLocks/>
          </p:cNvSpPr>
          <p:nvPr>
            <p:custDataLst>
              <p:tags r:id="rId13"/>
            </p:custDataLst>
          </p:nvPr>
        </p:nvSpPr>
        <p:spPr bwMode="gray">
          <a:xfrm>
            <a:off x="6143625" y="23701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77E97E-9F99-4744-BA4D-B20774CD9F09}" type="datetime'''2,''''''5''''''''''''''''''''''''''9''''''''''8'''">
              <a:rPr lang="en-US" altLang="en-US" sz="800" smtClean="0"/>
              <a:pPr marL="0" indent="0" algn="ctr">
                <a:spcBef>
                  <a:spcPct val="0"/>
                </a:spcBef>
                <a:spcAft>
                  <a:spcPct val="0"/>
                </a:spcAft>
                <a:buNone/>
              </a:pPr>
              <a:t>2,598</a:t>
            </a:fld>
            <a:endParaRPr lang="en-US" sz="800" dirty="0"/>
          </a:p>
        </p:txBody>
      </p:sp>
      <p:sp>
        <p:nvSpPr>
          <p:cNvPr id="22" name="Text Placeholder 10">
            <a:extLst>
              <a:ext uri="{FF2B5EF4-FFF2-40B4-BE49-F238E27FC236}">
                <a16:creationId xmlns:a16="http://schemas.microsoft.com/office/drawing/2014/main" id="{6BFF1683-B527-E2FD-CF8D-DC6631457950}"/>
              </a:ext>
            </a:extLst>
          </p:cNvPr>
          <p:cNvSpPr txBox="1">
            <a:spLocks/>
          </p:cNvSpPr>
          <p:nvPr>
            <p:custDataLst>
              <p:tags r:id="rId14"/>
            </p:custDataLst>
          </p:nvPr>
        </p:nvSpPr>
        <p:spPr bwMode="gray">
          <a:xfrm>
            <a:off x="7462838" y="27352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464C69-C938-4086-967A-DB3F3B0DF960}" type="datetime'''''''''2'',''''2''''''''''''''''''''''''''''9''''''''0'">
              <a:rPr lang="en-US" altLang="en-US" sz="800" smtClean="0"/>
              <a:pPr marL="0" indent="0" algn="ctr">
                <a:spcBef>
                  <a:spcPct val="0"/>
                </a:spcBef>
                <a:spcAft>
                  <a:spcPct val="0"/>
                </a:spcAft>
                <a:buNone/>
              </a:pPr>
              <a:t>2,290</a:t>
            </a:fld>
            <a:endParaRPr lang="en-US" sz="800" dirty="0"/>
          </a:p>
        </p:txBody>
      </p:sp>
      <p:sp>
        <p:nvSpPr>
          <p:cNvPr id="23" name="Rectangle 22">
            <a:extLst>
              <a:ext uri="{FF2B5EF4-FFF2-40B4-BE49-F238E27FC236}">
                <a16:creationId xmlns:a16="http://schemas.microsoft.com/office/drawing/2014/main" id="{17BC0555-2479-7353-8D1C-6AAF1798F594}"/>
              </a:ext>
            </a:extLst>
          </p:cNvPr>
          <p:cNvSpPr/>
          <p:nvPr>
            <p:custDataLst>
              <p:tags r:id="rId15"/>
            </p:custDataLst>
          </p:nvPr>
        </p:nvSpPr>
        <p:spPr bwMode="auto">
          <a:xfrm>
            <a:off x="6283325" y="6091238"/>
            <a:ext cx="142875" cy="106362"/>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ADF54617-54B3-54B7-DD7E-161C5F76E1BE}"/>
              </a:ext>
            </a:extLst>
          </p:cNvPr>
          <p:cNvSpPr/>
          <p:nvPr>
            <p:custDataLst>
              <p:tags r:id="rId16"/>
            </p:custDataLst>
          </p:nvPr>
        </p:nvSpPr>
        <p:spPr bwMode="auto">
          <a:xfrm>
            <a:off x="334963" y="5918200"/>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902275DA-1B56-C929-DCE4-7053F90607A7}"/>
              </a:ext>
            </a:extLst>
          </p:cNvPr>
          <p:cNvSpPr/>
          <p:nvPr>
            <p:custDataLst>
              <p:tags r:id="rId17"/>
            </p:custDataLst>
          </p:nvPr>
        </p:nvSpPr>
        <p:spPr bwMode="auto">
          <a:xfrm>
            <a:off x="6283325" y="5918200"/>
            <a:ext cx="142875" cy="106362"/>
          </a:xfrm>
          <a:prstGeom prst="rect">
            <a:avLst/>
          </a:prstGeom>
          <a:pattFill prst="wdDnDiag">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Rectangle 37">
            <a:extLst>
              <a:ext uri="{FF2B5EF4-FFF2-40B4-BE49-F238E27FC236}">
                <a16:creationId xmlns:a16="http://schemas.microsoft.com/office/drawing/2014/main" id="{B057F8BD-2BAB-5064-F76A-8F09459973B4}"/>
              </a:ext>
            </a:extLst>
          </p:cNvPr>
          <p:cNvSpPr/>
          <p:nvPr>
            <p:custDataLst>
              <p:tags r:id="rId18"/>
            </p:custDataLst>
          </p:nvPr>
        </p:nvSpPr>
        <p:spPr bwMode="auto">
          <a:xfrm>
            <a:off x="334963" y="6091238"/>
            <a:ext cx="142875" cy="106362"/>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6D3F103A-1D99-8995-B5AE-72F739AF1759}"/>
              </a:ext>
            </a:extLst>
          </p:cNvPr>
          <p:cNvSpPr/>
          <p:nvPr>
            <p:custDataLst>
              <p:tags r:id="rId19"/>
            </p:custDataLst>
          </p:nvPr>
        </p:nvSpPr>
        <p:spPr bwMode="auto">
          <a:xfrm>
            <a:off x="5427663" y="6091238"/>
            <a:ext cx="142875" cy="106363"/>
          </a:xfrm>
          <a:prstGeom prst="rect">
            <a:avLst/>
          </a:prstGeom>
          <a:pattFill prst="wdDnDiag">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Rectangle 31">
            <a:extLst>
              <a:ext uri="{FF2B5EF4-FFF2-40B4-BE49-F238E27FC236}">
                <a16:creationId xmlns:a16="http://schemas.microsoft.com/office/drawing/2014/main" id="{2CA1CE1C-77BF-79C2-91CC-328E8ED88276}"/>
              </a:ext>
            </a:extLst>
          </p:cNvPr>
          <p:cNvSpPr/>
          <p:nvPr>
            <p:custDataLst>
              <p:tags r:id="rId20"/>
            </p:custDataLst>
          </p:nvPr>
        </p:nvSpPr>
        <p:spPr bwMode="auto">
          <a:xfrm>
            <a:off x="1241425" y="5918200"/>
            <a:ext cx="142875" cy="106363"/>
          </a:xfrm>
          <a:prstGeom prst="rect">
            <a:avLst/>
          </a:prstGeom>
          <a:solidFill>
            <a:srgbClr val="D32B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Rectangle 29">
            <a:extLst>
              <a:ext uri="{FF2B5EF4-FFF2-40B4-BE49-F238E27FC236}">
                <a16:creationId xmlns:a16="http://schemas.microsoft.com/office/drawing/2014/main" id="{20AD6F02-CE12-A8C5-E687-AF12E9BE0D53}"/>
              </a:ext>
            </a:extLst>
          </p:cNvPr>
          <p:cNvSpPr/>
          <p:nvPr>
            <p:custDataLst>
              <p:tags r:id="rId21"/>
            </p:custDataLst>
          </p:nvPr>
        </p:nvSpPr>
        <p:spPr bwMode="auto">
          <a:xfrm>
            <a:off x="5427663" y="5918200"/>
            <a:ext cx="142875" cy="106362"/>
          </a:xfrm>
          <a:prstGeom prst="rect">
            <a:avLst/>
          </a:prstGeom>
          <a:solidFill>
            <a:schemeClr val="hlink"/>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Rectangle 30">
            <a:extLst>
              <a:ext uri="{FF2B5EF4-FFF2-40B4-BE49-F238E27FC236}">
                <a16:creationId xmlns:a16="http://schemas.microsoft.com/office/drawing/2014/main" id="{35D9912B-08AB-49BC-E1F3-B89140675E6A}"/>
              </a:ext>
            </a:extLst>
          </p:cNvPr>
          <p:cNvSpPr/>
          <p:nvPr>
            <p:custDataLst>
              <p:tags r:id="rId22"/>
            </p:custDataLst>
          </p:nvPr>
        </p:nvSpPr>
        <p:spPr bwMode="auto">
          <a:xfrm>
            <a:off x="1241425" y="6091238"/>
            <a:ext cx="142875" cy="106362"/>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Rectangle 28">
            <a:extLst>
              <a:ext uri="{FF2B5EF4-FFF2-40B4-BE49-F238E27FC236}">
                <a16:creationId xmlns:a16="http://schemas.microsoft.com/office/drawing/2014/main" id="{09551CCC-074F-913E-97ED-307CBCAD7F11}"/>
              </a:ext>
            </a:extLst>
          </p:cNvPr>
          <p:cNvSpPr/>
          <p:nvPr>
            <p:custDataLst>
              <p:tags r:id="rId23"/>
            </p:custDataLst>
          </p:nvPr>
        </p:nvSpPr>
        <p:spPr bwMode="auto">
          <a:xfrm>
            <a:off x="4922838" y="6091238"/>
            <a:ext cx="142875" cy="106363"/>
          </a:xfrm>
          <a:prstGeom prst="rect">
            <a:avLst/>
          </a:prstGeom>
          <a:solidFill>
            <a:schemeClr val="hlink"/>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E0961953-CE50-EFC8-2C44-401081AAF54E}"/>
              </a:ext>
            </a:extLst>
          </p:cNvPr>
          <p:cNvSpPr/>
          <p:nvPr>
            <p:custDataLst>
              <p:tags r:id="rId24"/>
            </p:custDataLst>
          </p:nvPr>
        </p:nvSpPr>
        <p:spPr bwMode="auto">
          <a:xfrm>
            <a:off x="2268538" y="591820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2CDCA741-D87B-516F-0B42-AC61296829ED}"/>
              </a:ext>
            </a:extLst>
          </p:cNvPr>
          <p:cNvSpPr/>
          <p:nvPr>
            <p:custDataLst>
              <p:tags r:id="rId25"/>
            </p:custDataLst>
          </p:nvPr>
        </p:nvSpPr>
        <p:spPr bwMode="auto">
          <a:xfrm>
            <a:off x="4922838" y="5918200"/>
            <a:ext cx="142875" cy="106362"/>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Rectangle 25">
            <a:extLst>
              <a:ext uri="{FF2B5EF4-FFF2-40B4-BE49-F238E27FC236}">
                <a16:creationId xmlns:a16="http://schemas.microsoft.com/office/drawing/2014/main" id="{70E5F7FF-B7BA-4C0F-D1B2-6D8AAFCA541E}"/>
              </a:ext>
            </a:extLst>
          </p:cNvPr>
          <p:cNvSpPr/>
          <p:nvPr>
            <p:custDataLst>
              <p:tags r:id="rId26"/>
            </p:custDataLst>
          </p:nvPr>
        </p:nvSpPr>
        <p:spPr bwMode="auto">
          <a:xfrm>
            <a:off x="2268538" y="6091238"/>
            <a:ext cx="142875" cy="106362"/>
          </a:xfrm>
          <a:prstGeom prst="rect">
            <a:avLst/>
          </a:prstGeom>
          <a:solidFill>
            <a:srgbClr val="006FB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1DD313A3-E75A-B96B-C527-F12B35CF4169}"/>
              </a:ext>
            </a:extLst>
          </p:cNvPr>
          <p:cNvSpPr/>
          <p:nvPr>
            <p:custDataLst>
              <p:tags r:id="rId27"/>
            </p:custDataLst>
          </p:nvPr>
        </p:nvSpPr>
        <p:spPr bwMode="auto">
          <a:xfrm>
            <a:off x="4094163" y="6091238"/>
            <a:ext cx="142875" cy="106363"/>
          </a:xfrm>
          <a:prstGeom prst="rect">
            <a:avLst/>
          </a:prstGeom>
          <a:solidFill>
            <a:srgbClr val="C30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Rectangle 24">
            <a:extLst>
              <a:ext uri="{FF2B5EF4-FFF2-40B4-BE49-F238E27FC236}">
                <a16:creationId xmlns:a16="http://schemas.microsoft.com/office/drawing/2014/main" id="{B3DB0017-DAFD-1508-EBFA-08F53D3B5567}"/>
              </a:ext>
            </a:extLst>
          </p:cNvPr>
          <p:cNvSpPr/>
          <p:nvPr>
            <p:custDataLst>
              <p:tags r:id="rId28"/>
            </p:custDataLst>
          </p:nvPr>
        </p:nvSpPr>
        <p:spPr bwMode="auto">
          <a:xfrm>
            <a:off x="3168650" y="591820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Rectangle 23">
            <a:extLst>
              <a:ext uri="{FF2B5EF4-FFF2-40B4-BE49-F238E27FC236}">
                <a16:creationId xmlns:a16="http://schemas.microsoft.com/office/drawing/2014/main" id="{5D814B71-8BA6-8ED1-4FEE-75041A0FB2DD}"/>
              </a:ext>
            </a:extLst>
          </p:cNvPr>
          <p:cNvSpPr/>
          <p:nvPr>
            <p:custDataLst>
              <p:tags r:id="rId29"/>
            </p:custDataLst>
          </p:nvPr>
        </p:nvSpPr>
        <p:spPr bwMode="auto">
          <a:xfrm>
            <a:off x="4094163" y="5918200"/>
            <a:ext cx="142875" cy="106363"/>
          </a:xfrm>
          <a:prstGeom prst="rect">
            <a:avLst/>
          </a:prstGeom>
          <a:solidFill>
            <a:srgbClr val="BC7D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757FC66B-26D2-782B-EE32-97326B3F9690}"/>
              </a:ext>
            </a:extLst>
          </p:cNvPr>
          <p:cNvSpPr/>
          <p:nvPr>
            <p:custDataLst>
              <p:tags r:id="rId30"/>
            </p:custDataLst>
          </p:nvPr>
        </p:nvSpPr>
        <p:spPr bwMode="auto">
          <a:xfrm>
            <a:off x="3168650" y="6091238"/>
            <a:ext cx="142875" cy="106363"/>
          </a:xfrm>
          <a:prstGeom prst="rect">
            <a:avLst/>
          </a:prstGeom>
          <a:solidFill>
            <a:srgbClr val="B94C1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Text Placeholder 10">
            <a:extLst>
              <a:ext uri="{FF2B5EF4-FFF2-40B4-BE49-F238E27FC236}">
                <a16:creationId xmlns:a16="http://schemas.microsoft.com/office/drawing/2014/main" id="{4CC0F458-F72C-182B-E7F1-B1616A08A810}"/>
              </a:ext>
            </a:extLst>
          </p:cNvPr>
          <p:cNvSpPr txBox="1">
            <a:spLocks/>
          </p:cNvSpPr>
          <p:nvPr>
            <p:custDataLst>
              <p:tags r:id="rId31"/>
            </p:custDataLst>
          </p:nvPr>
        </p:nvSpPr>
        <p:spPr bwMode="auto">
          <a:xfrm>
            <a:off x="4287838" y="5913438"/>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6CFEE6-9A6C-4465-9139-7E184A632A2D}" type="datetime'''''''''''''''''''H''y''''''''''''''''d''''ro'''''''''''''''">
              <a:rPr lang="en-US" altLang="en-US" sz="800" smtClean="0"/>
              <a:pPr/>
              <a:t>Hydro</a:t>
            </a:fld>
            <a:endParaRPr lang="en-US" sz="800" dirty="0"/>
          </a:p>
        </p:txBody>
      </p:sp>
      <p:sp>
        <p:nvSpPr>
          <p:cNvPr id="39" name="Text Placeholder 10">
            <a:extLst>
              <a:ext uri="{FF2B5EF4-FFF2-40B4-BE49-F238E27FC236}">
                <a16:creationId xmlns:a16="http://schemas.microsoft.com/office/drawing/2014/main" id="{6923D8A4-A5B8-E193-F376-5E4081BE302D}"/>
              </a:ext>
            </a:extLst>
          </p:cNvPr>
          <p:cNvSpPr txBox="1">
            <a:spLocks/>
          </p:cNvSpPr>
          <p:nvPr>
            <p:custDataLst>
              <p:tags r:id="rId32"/>
            </p:custDataLst>
          </p:nvPr>
        </p:nvSpPr>
        <p:spPr bwMode="auto">
          <a:xfrm>
            <a:off x="3362325" y="6086475"/>
            <a:ext cx="350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13A9D77-45FC-4D2D-826F-13471AED26AC}" type="datetime'Nu''''''c''''''''''l''''''e''''''''''a''r'''''''''''''''">
              <a:rPr lang="en-US" altLang="en-US" sz="800" smtClean="0"/>
              <a:pPr/>
              <a:t>Nuclear</a:t>
            </a:fld>
            <a:endParaRPr lang="en-US" sz="800" dirty="0"/>
          </a:p>
        </p:txBody>
      </p:sp>
      <p:sp>
        <p:nvSpPr>
          <p:cNvPr id="41" name="Text Placeholder 10">
            <a:extLst>
              <a:ext uri="{FF2B5EF4-FFF2-40B4-BE49-F238E27FC236}">
                <a16:creationId xmlns:a16="http://schemas.microsoft.com/office/drawing/2014/main" id="{A042F573-AFE6-F273-A3C7-5FEBD8ABFF04}"/>
              </a:ext>
            </a:extLst>
          </p:cNvPr>
          <p:cNvSpPr txBox="1">
            <a:spLocks/>
          </p:cNvSpPr>
          <p:nvPr>
            <p:custDataLst>
              <p:tags r:id="rId33"/>
            </p:custDataLst>
          </p:nvPr>
        </p:nvSpPr>
        <p:spPr bwMode="auto">
          <a:xfrm>
            <a:off x="4287838" y="6086475"/>
            <a:ext cx="533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4215FDB-1761-4853-8E91-6E08E83E1068}" type="datetime'G''''eo''t''''''''''''he''''''rm''''''''''''a''''l'">
              <a:rPr lang="en-US" altLang="en-US" sz="800" smtClean="0"/>
              <a:pPr/>
              <a:t>Geothermal</a:t>
            </a:fld>
            <a:endParaRPr lang="en-US" sz="800" dirty="0"/>
          </a:p>
        </p:txBody>
      </p:sp>
      <p:sp>
        <p:nvSpPr>
          <p:cNvPr id="49" name="Text Placeholder 10">
            <a:extLst>
              <a:ext uri="{FF2B5EF4-FFF2-40B4-BE49-F238E27FC236}">
                <a16:creationId xmlns:a16="http://schemas.microsoft.com/office/drawing/2014/main" id="{467BB17C-8BA0-33F6-95AC-0C5432D3360C}"/>
              </a:ext>
            </a:extLst>
          </p:cNvPr>
          <p:cNvSpPr txBox="1">
            <a:spLocks/>
          </p:cNvSpPr>
          <p:nvPr>
            <p:custDataLst>
              <p:tags r:id="rId34"/>
            </p:custDataLst>
          </p:nvPr>
        </p:nvSpPr>
        <p:spPr bwMode="auto">
          <a:xfrm>
            <a:off x="3362325" y="5913438"/>
            <a:ext cx="630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t>Offshore wind</a:t>
            </a:r>
            <a:endParaRPr lang="en-US" sz="800" dirty="0"/>
          </a:p>
        </p:txBody>
      </p:sp>
      <p:sp>
        <p:nvSpPr>
          <p:cNvPr id="52" name="Text Placeholder 10">
            <a:extLst>
              <a:ext uri="{FF2B5EF4-FFF2-40B4-BE49-F238E27FC236}">
                <a16:creationId xmlns:a16="http://schemas.microsoft.com/office/drawing/2014/main" id="{234A3289-AF6C-6C18-1B19-36862CEC936B}"/>
              </a:ext>
            </a:extLst>
          </p:cNvPr>
          <p:cNvSpPr txBox="1">
            <a:spLocks/>
          </p:cNvSpPr>
          <p:nvPr>
            <p:custDataLst>
              <p:tags r:id="rId35"/>
            </p:custDataLst>
          </p:nvPr>
        </p:nvSpPr>
        <p:spPr bwMode="auto">
          <a:xfrm>
            <a:off x="5116513" y="5913438"/>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124DA98-54CB-4FAC-BDD6-894A5CD64CD6}" type="datetime'''''''''''''''''''''''''''''''''''C''''''''o''al'''">
              <a:rPr lang="en-US" altLang="en-US" sz="800" smtClean="0"/>
              <a:pPr/>
              <a:t>Coal</a:t>
            </a:fld>
            <a:endParaRPr lang="en-US" sz="800" dirty="0"/>
          </a:p>
        </p:txBody>
      </p:sp>
      <p:sp>
        <p:nvSpPr>
          <p:cNvPr id="48" name="Text Placeholder 10">
            <a:extLst>
              <a:ext uri="{FF2B5EF4-FFF2-40B4-BE49-F238E27FC236}">
                <a16:creationId xmlns:a16="http://schemas.microsoft.com/office/drawing/2014/main" id="{A13BF36E-BB45-4B53-D196-2083E094DD08}"/>
              </a:ext>
            </a:extLst>
          </p:cNvPr>
          <p:cNvSpPr txBox="1">
            <a:spLocks/>
          </p:cNvSpPr>
          <p:nvPr>
            <p:custDataLst>
              <p:tags r:id="rId36"/>
            </p:custDataLst>
          </p:nvPr>
        </p:nvSpPr>
        <p:spPr bwMode="auto">
          <a:xfrm>
            <a:off x="2462213" y="6086475"/>
            <a:ext cx="604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B8A6A9-07E9-479A-BEF4-24AAC2D93886}" type="datetime'''''''''''''''''''''''''W''''i''n''''''d (h''y''br''''id'''')'">
              <a:rPr lang="en-US" altLang="en-US" sz="800" smtClean="0"/>
              <a:pPr/>
              <a:t>Wind (hybrid)</a:t>
            </a:fld>
            <a:endParaRPr lang="en-US" sz="800" dirty="0"/>
          </a:p>
        </p:txBody>
      </p:sp>
      <p:sp>
        <p:nvSpPr>
          <p:cNvPr id="51" name="Text Placeholder 10">
            <a:extLst>
              <a:ext uri="{FF2B5EF4-FFF2-40B4-BE49-F238E27FC236}">
                <a16:creationId xmlns:a16="http://schemas.microsoft.com/office/drawing/2014/main" id="{0A6584F1-E26E-55CF-EF6F-02516B7A4D86}"/>
              </a:ext>
            </a:extLst>
          </p:cNvPr>
          <p:cNvSpPr txBox="1">
            <a:spLocks/>
          </p:cNvSpPr>
          <p:nvPr>
            <p:custDataLst>
              <p:tags r:id="rId37"/>
            </p:custDataLst>
          </p:nvPr>
        </p:nvSpPr>
        <p:spPr bwMode="auto">
          <a:xfrm>
            <a:off x="5116513" y="6086475"/>
            <a:ext cx="187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41D921-ECE0-4D7F-8642-06EE6D64057F}" type="datetime'''G''''''''''''''a''''''''''''''''s'''''''''''''''">
              <a:rPr lang="en-US" altLang="en-US" sz="800" smtClean="0"/>
              <a:pPr/>
              <a:t>Gas</a:t>
            </a:fld>
            <a:endParaRPr lang="en-US" sz="800" dirty="0"/>
          </a:p>
        </p:txBody>
      </p:sp>
      <p:sp>
        <p:nvSpPr>
          <p:cNvPr id="47" name="Text Placeholder 10">
            <a:extLst>
              <a:ext uri="{FF2B5EF4-FFF2-40B4-BE49-F238E27FC236}">
                <a16:creationId xmlns:a16="http://schemas.microsoft.com/office/drawing/2014/main" id="{2A5247E0-A5C5-6D35-D072-30918E4095B9}"/>
              </a:ext>
            </a:extLst>
          </p:cNvPr>
          <p:cNvSpPr txBox="1">
            <a:spLocks/>
          </p:cNvSpPr>
          <p:nvPr>
            <p:custDataLst>
              <p:tags r:id="rId38"/>
            </p:custDataLst>
          </p:nvPr>
        </p:nvSpPr>
        <p:spPr bwMode="auto">
          <a:xfrm>
            <a:off x="2462213" y="5913438"/>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5F279A-B453-4935-978C-B2F10663381C}" type="datetime'''''''W''''''''i''''''nd'''''''''''''''''''''">
              <a:rPr lang="en-US" altLang="en-US" sz="800" smtClean="0"/>
              <a:pPr/>
              <a:t>Wind</a:t>
            </a:fld>
            <a:endParaRPr lang="en-US" sz="800" dirty="0"/>
          </a:p>
        </p:txBody>
      </p:sp>
      <p:sp>
        <p:nvSpPr>
          <p:cNvPr id="50" name="Text Placeholder 10">
            <a:extLst>
              <a:ext uri="{FF2B5EF4-FFF2-40B4-BE49-F238E27FC236}">
                <a16:creationId xmlns:a16="http://schemas.microsoft.com/office/drawing/2014/main" id="{F6B40A04-B4CE-F0E0-CDCB-588FCE4278E1}"/>
              </a:ext>
            </a:extLst>
          </p:cNvPr>
          <p:cNvSpPr txBox="1">
            <a:spLocks/>
          </p:cNvSpPr>
          <p:nvPr>
            <p:custDataLst>
              <p:tags r:id="rId39"/>
            </p:custDataLst>
          </p:nvPr>
        </p:nvSpPr>
        <p:spPr bwMode="auto">
          <a:xfrm>
            <a:off x="5621338" y="5913438"/>
            <a:ext cx="560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BAC50FB-E3A1-4A9D-950A-A4AD50160AAE}" type="datetime'''Gas'''''' ''''(''''''''h''y''b''''''''''r''''''''i''''d)'">
              <a:rPr lang="en-US" altLang="en-US" sz="800" smtClean="0"/>
              <a:pPr/>
              <a:t>Gas (hybrid)</a:t>
            </a:fld>
            <a:endParaRPr lang="en-US" sz="800" dirty="0"/>
          </a:p>
        </p:txBody>
      </p:sp>
      <p:sp>
        <p:nvSpPr>
          <p:cNvPr id="44" name="Text Placeholder 10">
            <a:extLst>
              <a:ext uri="{FF2B5EF4-FFF2-40B4-BE49-F238E27FC236}">
                <a16:creationId xmlns:a16="http://schemas.microsoft.com/office/drawing/2014/main" id="{D50D6D57-2F4B-D4F8-B36C-684233A7064C}"/>
              </a:ext>
            </a:extLst>
          </p:cNvPr>
          <p:cNvSpPr txBox="1">
            <a:spLocks/>
          </p:cNvSpPr>
          <p:nvPr>
            <p:custDataLst>
              <p:tags r:id="rId40"/>
            </p:custDataLst>
          </p:nvPr>
        </p:nvSpPr>
        <p:spPr bwMode="auto">
          <a:xfrm>
            <a:off x="1435100" y="6086475"/>
            <a:ext cx="387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1FAF408-4BC2-468C-B26F-7AC993EDC99F}" type="datetime'''S''''''''''''t''''''''''''''''or''a''ge'' '''''''''''''">
              <a:rPr lang="en-US" altLang="en-US" sz="800" smtClean="0"/>
              <a:pPr/>
              <a:t>Storage </a:t>
            </a:fld>
            <a:endParaRPr lang="en-US" sz="800" dirty="0"/>
          </a:p>
        </p:txBody>
      </p:sp>
      <p:sp>
        <p:nvSpPr>
          <p:cNvPr id="46" name="Text Placeholder 10">
            <a:extLst>
              <a:ext uri="{FF2B5EF4-FFF2-40B4-BE49-F238E27FC236}">
                <a16:creationId xmlns:a16="http://schemas.microsoft.com/office/drawing/2014/main" id="{6CEF5BFC-8625-026D-1731-D12966F4FE7E}"/>
              </a:ext>
            </a:extLst>
          </p:cNvPr>
          <p:cNvSpPr txBox="1">
            <a:spLocks/>
          </p:cNvSpPr>
          <p:nvPr>
            <p:custDataLst>
              <p:tags r:id="rId41"/>
            </p:custDataLst>
          </p:nvPr>
        </p:nvSpPr>
        <p:spPr bwMode="auto">
          <a:xfrm>
            <a:off x="5621338" y="6086475"/>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F697433-F0BE-49C8-B473-97174BD29A25}" type="datetime'''''O''t''h''''e''r'''''''''''''''''''''''''''''''''''''''">
              <a:rPr lang="en-US" altLang="en-US" sz="800" smtClean="0"/>
              <a:pPr/>
              <a:t>Other</a:t>
            </a:fld>
            <a:endParaRPr lang="en-US" sz="800" dirty="0"/>
          </a:p>
        </p:txBody>
      </p:sp>
      <p:sp>
        <p:nvSpPr>
          <p:cNvPr id="43" name="Text Placeholder 10">
            <a:extLst>
              <a:ext uri="{FF2B5EF4-FFF2-40B4-BE49-F238E27FC236}">
                <a16:creationId xmlns:a16="http://schemas.microsoft.com/office/drawing/2014/main" id="{EC13FCFE-FD26-291B-611E-05780BDED50D}"/>
              </a:ext>
            </a:extLst>
          </p:cNvPr>
          <p:cNvSpPr txBox="1">
            <a:spLocks/>
          </p:cNvSpPr>
          <p:nvPr>
            <p:custDataLst>
              <p:tags r:id="rId42"/>
            </p:custDataLst>
          </p:nvPr>
        </p:nvSpPr>
        <p:spPr bwMode="auto">
          <a:xfrm>
            <a:off x="1435100" y="5913438"/>
            <a:ext cx="731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6450C5-B0D7-40F3-9449-157E1300B13A}" type="datetime'S''''''t''o''''ra''''''ge (hy''''''''''b''''r''''i''''d)'''">
              <a:rPr lang="en-US" altLang="en-US" sz="800" smtClean="0"/>
              <a:pPr/>
              <a:t>Storage (hybrid)</a:t>
            </a:fld>
            <a:endParaRPr lang="en-US" sz="800" dirty="0"/>
          </a:p>
        </p:txBody>
      </p:sp>
      <p:sp>
        <p:nvSpPr>
          <p:cNvPr id="45" name="Text Placeholder 10">
            <a:extLst>
              <a:ext uri="{FF2B5EF4-FFF2-40B4-BE49-F238E27FC236}">
                <a16:creationId xmlns:a16="http://schemas.microsoft.com/office/drawing/2014/main" id="{A8388DFB-430D-5D28-B9CF-B145DCC78147}"/>
              </a:ext>
            </a:extLst>
          </p:cNvPr>
          <p:cNvSpPr txBox="1">
            <a:spLocks/>
          </p:cNvSpPr>
          <p:nvPr>
            <p:custDataLst>
              <p:tags r:id="rId43"/>
            </p:custDataLst>
          </p:nvPr>
        </p:nvSpPr>
        <p:spPr bwMode="auto">
          <a:xfrm>
            <a:off x="6477000" y="5913438"/>
            <a:ext cx="628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FE27671-FC12-448D-94EB-29DB1BCF8D76}" type="datetime'Oth''''''''''e''''r'''''''''''' (hyb''''r''''''''i''''''d'')'">
              <a:rPr lang="en-US" altLang="en-US" sz="800" smtClean="0"/>
              <a:pPr/>
              <a:t>Other (hybrid)</a:t>
            </a:fld>
            <a:endParaRPr lang="en-US" sz="800" dirty="0"/>
          </a:p>
        </p:txBody>
      </p:sp>
      <p:sp>
        <p:nvSpPr>
          <p:cNvPr id="40" name="Text Placeholder 10">
            <a:extLst>
              <a:ext uri="{FF2B5EF4-FFF2-40B4-BE49-F238E27FC236}">
                <a16:creationId xmlns:a16="http://schemas.microsoft.com/office/drawing/2014/main" id="{22912F09-CB3F-1C4E-802D-AB68917AAF47}"/>
              </a:ext>
            </a:extLst>
          </p:cNvPr>
          <p:cNvSpPr txBox="1">
            <a:spLocks/>
          </p:cNvSpPr>
          <p:nvPr>
            <p:custDataLst>
              <p:tags r:id="rId44"/>
            </p:custDataLst>
          </p:nvPr>
        </p:nvSpPr>
        <p:spPr bwMode="auto">
          <a:xfrm>
            <a:off x="528638" y="6086475"/>
            <a:ext cx="611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BE438A5-3A72-4714-B381-A29E416072E9}" type="datetime'S''o''''''l''ar (''''h''y''b''''r''''i''''''d)'''''''''''''''">
              <a:rPr lang="en-US" altLang="en-US" sz="800" smtClean="0"/>
              <a:pPr/>
              <a:t>Solar (hybrid)</a:t>
            </a:fld>
            <a:endParaRPr lang="en-US" sz="800" dirty="0"/>
          </a:p>
        </p:txBody>
      </p:sp>
      <p:sp>
        <p:nvSpPr>
          <p:cNvPr id="53" name="Text Placeholder 10">
            <a:extLst>
              <a:ext uri="{FF2B5EF4-FFF2-40B4-BE49-F238E27FC236}">
                <a16:creationId xmlns:a16="http://schemas.microsoft.com/office/drawing/2014/main" id="{0AB0D1AC-8D80-0EB5-4D46-725BE4D08710}"/>
              </a:ext>
            </a:extLst>
          </p:cNvPr>
          <p:cNvSpPr txBox="1">
            <a:spLocks/>
          </p:cNvSpPr>
          <p:nvPr>
            <p:custDataLst>
              <p:tags r:id="rId45"/>
            </p:custDataLst>
          </p:nvPr>
        </p:nvSpPr>
        <p:spPr bwMode="auto">
          <a:xfrm>
            <a:off x="6477000" y="6086475"/>
            <a:ext cx="425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D2451E-2B40-4C0E-8CAE-A7AFFB3D0800}" type="datetime'''''''''''''''Un''''''''''''''k''no''''''''''w''n'''''''''">
              <a:rPr lang="en-US" altLang="en-US" sz="800" smtClean="0"/>
              <a:pPr/>
              <a:t>Unknown</a:t>
            </a:fld>
            <a:endParaRPr lang="en-US" sz="800" dirty="0"/>
          </a:p>
        </p:txBody>
      </p:sp>
      <p:sp>
        <p:nvSpPr>
          <p:cNvPr id="42" name="Text Placeholder 10">
            <a:extLst>
              <a:ext uri="{FF2B5EF4-FFF2-40B4-BE49-F238E27FC236}">
                <a16:creationId xmlns:a16="http://schemas.microsoft.com/office/drawing/2014/main" id="{8B307210-BFCB-E4C2-FCBE-0524DBCB7E47}"/>
              </a:ext>
            </a:extLst>
          </p:cNvPr>
          <p:cNvSpPr txBox="1">
            <a:spLocks/>
          </p:cNvSpPr>
          <p:nvPr>
            <p:custDataLst>
              <p:tags r:id="rId46"/>
            </p:custDataLst>
          </p:nvPr>
        </p:nvSpPr>
        <p:spPr bwMode="auto">
          <a:xfrm>
            <a:off x="528638" y="5913438"/>
            <a:ext cx="2381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2CE149-CBA3-4EE1-AAEF-158CDCBAD8C5}" type="datetime'''''''''''''''''''''''S''''''o''''''''''l''''ar'''''''''''''''">
              <a:rPr lang="en-US" altLang="en-US" sz="800" smtClean="0"/>
              <a:pPr/>
              <a:t>Solar</a:t>
            </a:fld>
            <a:endParaRPr lang="en-US" sz="800" dirty="0"/>
          </a:p>
        </p:txBody>
      </p:sp>
    </p:spTree>
    <p:extLst>
      <p:ext uri="{BB962C8B-B14F-4D97-AF65-F5344CB8AC3E}">
        <p14:creationId xmlns:p14="http://schemas.microsoft.com/office/powerpoint/2010/main" val="11122542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EF63563-C03D-68C5-5C79-C635F00470A6}"/>
              </a:ext>
            </a:extLst>
          </p:cNvPr>
          <p:cNvGraphicFramePr>
            <a:graphicFrameLocks/>
          </p:cNvGraphicFramePr>
          <p:nvPr>
            <p:custDataLst>
              <p:tags r:id="rId1"/>
            </p:custDataLst>
            <p:extLst>
              <p:ext uri="{D42A27DB-BD31-4B8C-83A1-F6EECF244321}">
                <p14:modId xmlns:p14="http://schemas.microsoft.com/office/powerpoint/2010/main" val="838082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542832-60DF-DE64-D12E-9D8D6937398B}"/>
              </a:ext>
            </a:extLst>
          </p:cNvPr>
          <p:cNvSpPr>
            <a:spLocks noGrp="1"/>
          </p:cNvSpPr>
          <p:nvPr>
            <p:ph type="title"/>
          </p:nvPr>
        </p:nvSpPr>
        <p:spPr/>
        <p:txBody>
          <a:bodyPr vert="horz" rIns="91440"/>
          <a:lstStyle/>
          <a:p>
            <a:r>
              <a:rPr lang="en-US" sz="2400" dirty="0"/>
              <a:t>Geothermal faces structural barriers across permitting, transmission, and interconnection, but new pathways are beginning to unlock deployment</a:t>
            </a:r>
          </a:p>
        </p:txBody>
      </p:sp>
      <p:sp>
        <p:nvSpPr>
          <p:cNvPr id="4" name="Footer Placeholder 3">
            <a:extLst>
              <a:ext uri="{FF2B5EF4-FFF2-40B4-BE49-F238E27FC236}">
                <a16:creationId xmlns:a16="http://schemas.microsoft.com/office/drawing/2014/main" id="{5EE488CF-986C-F3EF-D6ED-C07521CD6E28}"/>
              </a:ext>
            </a:extLst>
          </p:cNvPr>
          <p:cNvSpPr>
            <a:spLocks noGrp="1"/>
          </p:cNvSpPr>
          <p:nvPr>
            <p:ph type="ftr" sz="quarter" idx="3"/>
          </p:nvPr>
        </p:nvSpPr>
        <p:spPr>
          <a:xfrm>
            <a:off x="334962" y="6224112"/>
            <a:ext cx="9147241" cy="216706"/>
          </a:xfrm>
        </p:spPr>
        <p:txBody>
          <a:bodyPr/>
          <a:lstStyle/>
          <a:p>
            <a:pPr marL="0" indent="0">
              <a:buNone/>
            </a:pPr>
            <a:r>
              <a:rPr lang="en-US" dirty="0">
                <a:solidFill>
                  <a:srgbClr val="000000"/>
                </a:solidFill>
              </a:rPr>
              <a:t>Sources: </a:t>
            </a:r>
            <a:r>
              <a:rPr lang="en-US" dirty="0">
                <a:solidFill>
                  <a:srgbClr val="000000"/>
                </a:solidFill>
                <a:hlinkClick r:id="rId15"/>
              </a:rPr>
              <a:t>Emergency Permitting for Geothermal </a:t>
            </a:r>
            <a:r>
              <a:rPr lang="en-US" dirty="0">
                <a:solidFill>
                  <a:srgbClr val="000000"/>
                </a:solidFill>
              </a:rPr>
              <a:t>(Bureau of Land Management, 2025); </a:t>
            </a:r>
            <a:r>
              <a:rPr lang="en-US" dirty="0">
                <a:solidFill>
                  <a:srgbClr val="000000"/>
                </a:solidFill>
                <a:hlinkClick r:id="rId16"/>
              </a:rPr>
              <a:t>Is geothermal energy ready to make its way into the US energy mix </a:t>
            </a:r>
            <a:r>
              <a:rPr lang="en-US" dirty="0">
                <a:solidFill>
                  <a:srgbClr val="000000"/>
                </a:solidFill>
              </a:rPr>
              <a:t>(McKinsey, 2025); </a:t>
            </a:r>
            <a:r>
              <a:rPr lang="en-US" dirty="0">
                <a:solidFill>
                  <a:srgbClr val="000000"/>
                </a:solidFill>
                <a:hlinkClick r:id="rId17"/>
              </a:rPr>
              <a:t>How the Interconnection Backlog Is Slowing Energy Growth </a:t>
            </a:r>
            <a:r>
              <a:rPr lang="en-US" dirty="0">
                <a:solidFill>
                  <a:srgbClr val="000000"/>
                </a:solidFill>
              </a:rPr>
              <a:t>(</a:t>
            </a:r>
            <a:r>
              <a:rPr lang="en-US" dirty="0" err="1">
                <a:solidFill>
                  <a:srgbClr val="000000"/>
                </a:solidFill>
              </a:rPr>
              <a:t>Uchicago</a:t>
            </a:r>
            <a:r>
              <a:rPr lang="en-US" dirty="0">
                <a:solidFill>
                  <a:srgbClr val="000000"/>
                </a:solidFill>
              </a:rPr>
              <a:t>, 2025); </a:t>
            </a:r>
            <a:r>
              <a:rPr lang="en-US" dirty="0">
                <a:solidFill>
                  <a:srgbClr val="000000"/>
                </a:solidFill>
                <a:hlinkClick r:id="rId18"/>
              </a:rPr>
              <a:t>Clearing the Path for Renewable Geothermal Project Deployment </a:t>
            </a:r>
            <a:r>
              <a:rPr lang="en-US" dirty="0">
                <a:solidFill>
                  <a:srgbClr val="000000"/>
                </a:solidFill>
              </a:rPr>
              <a:t>(NREL, 2023); </a:t>
            </a:r>
            <a:r>
              <a:rPr lang="en-US" dirty="0">
                <a:solidFill>
                  <a:srgbClr val="000000"/>
                </a:solidFill>
                <a:hlinkClick r:id="rId19"/>
              </a:rPr>
              <a:t>Issue Brief</a:t>
            </a:r>
            <a:r>
              <a:rPr lang="en-US" dirty="0">
                <a:solidFill>
                  <a:srgbClr val="000000"/>
                </a:solidFill>
              </a:rPr>
              <a:t> (Citizens for Responsible Energy Solutions, 2023).</a:t>
            </a:r>
            <a:br>
              <a:rPr lang="en-US" dirty="0">
                <a:solidFill>
                  <a:srgbClr val="000000"/>
                </a:solidFill>
              </a:rPr>
            </a:br>
            <a:r>
              <a:rPr lang="en-US" dirty="0">
                <a:solidFill>
                  <a:srgbClr val="000000"/>
                </a:solidFill>
              </a:rPr>
              <a:t>Credit: Shubhangi Prasad, and </a:t>
            </a:r>
            <a:r>
              <a:rPr lang="en-US" dirty="0">
                <a:solidFill>
                  <a:srgbClr val="000000">
                    <a:tint val="82000"/>
                  </a:srgbClr>
                </a:solidFill>
                <a:hlinkClick r:id="rId20"/>
              </a:rPr>
              <a:t>Gernot Wagner.</a:t>
            </a:r>
            <a:r>
              <a:rPr lang="en-US" dirty="0">
                <a:solidFill>
                  <a:srgbClr val="000000">
                    <a:tint val="82000"/>
                  </a:srgbClr>
                </a:solidFill>
              </a:rPr>
              <a:t> </a:t>
            </a:r>
            <a:r>
              <a:rPr lang="en-US" dirty="0">
                <a:solidFill>
                  <a:srgbClr val="000000">
                    <a:tint val="82000"/>
                  </a:srgbClr>
                </a:solidFill>
                <a:hlinkClick r:id="rId21"/>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23F9B13B-309B-BD3C-28F4-827DB95E496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a:t>
            </a:r>
          </a:p>
        </p:txBody>
      </p:sp>
      <p:sp>
        <p:nvSpPr>
          <p:cNvPr id="7" name="Rectangle 6">
            <a:extLst>
              <a:ext uri="{FF2B5EF4-FFF2-40B4-BE49-F238E27FC236}">
                <a16:creationId xmlns:a16="http://schemas.microsoft.com/office/drawing/2014/main" id="{A4AB5967-CE44-3C5F-BD32-B8F21AA1794B}"/>
              </a:ext>
            </a:extLst>
          </p:cNvPr>
          <p:cNvSpPr>
            <a:spLocks/>
          </p:cNvSpPr>
          <p:nvPr>
            <p:custDataLst>
              <p:tags r:id="rId2"/>
            </p:custDataLst>
          </p:nvPr>
        </p:nvSpPr>
        <p:spPr bwMode="gray">
          <a:xfrm>
            <a:off x="407986" y="2820153"/>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2.</a:t>
            </a:r>
          </a:p>
        </p:txBody>
      </p:sp>
      <p:sp>
        <p:nvSpPr>
          <p:cNvPr id="8" name="Rectangle 3">
            <a:extLst>
              <a:ext uri="{FF2B5EF4-FFF2-40B4-BE49-F238E27FC236}">
                <a16:creationId xmlns:a16="http://schemas.microsoft.com/office/drawing/2014/main" id="{DFA150AC-18E4-9DCE-508E-1D3D549C89CC}"/>
              </a:ext>
            </a:extLst>
          </p:cNvPr>
          <p:cNvSpPr>
            <a:spLocks/>
          </p:cNvSpPr>
          <p:nvPr>
            <p:custDataLst>
              <p:tags r:id="rId3"/>
            </p:custDataLst>
          </p:nvPr>
        </p:nvSpPr>
        <p:spPr bwMode="gray">
          <a:xfrm>
            <a:off x="407986" y="1914789"/>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1.</a:t>
            </a:r>
          </a:p>
        </p:txBody>
      </p:sp>
      <p:sp>
        <p:nvSpPr>
          <p:cNvPr id="9" name="Rectangle 3">
            <a:extLst>
              <a:ext uri="{FF2B5EF4-FFF2-40B4-BE49-F238E27FC236}">
                <a16:creationId xmlns:a16="http://schemas.microsoft.com/office/drawing/2014/main" id="{DCB434BC-3CC1-7195-78EA-1F85A4DA3807}"/>
              </a:ext>
            </a:extLst>
          </p:cNvPr>
          <p:cNvSpPr>
            <a:spLocks/>
          </p:cNvSpPr>
          <p:nvPr>
            <p:custDataLst>
              <p:tags r:id="rId4"/>
            </p:custDataLst>
          </p:nvPr>
        </p:nvSpPr>
        <p:spPr bwMode="gray">
          <a:xfrm>
            <a:off x="407986" y="3725517"/>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3.</a:t>
            </a:r>
          </a:p>
        </p:txBody>
      </p:sp>
      <p:sp>
        <p:nvSpPr>
          <p:cNvPr id="10" name="Rectangle 3">
            <a:extLst>
              <a:ext uri="{FF2B5EF4-FFF2-40B4-BE49-F238E27FC236}">
                <a16:creationId xmlns:a16="http://schemas.microsoft.com/office/drawing/2014/main" id="{57B377CF-61B9-0B01-81C4-6215A733B628}"/>
              </a:ext>
            </a:extLst>
          </p:cNvPr>
          <p:cNvSpPr>
            <a:spLocks/>
          </p:cNvSpPr>
          <p:nvPr>
            <p:custDataLst>
              <p:tags r:id="rId5"/>
            </p:custDataLst>
          </p:nvPr>
        </p:nvSpPr>
        <p:spPr bwMode="gray">
          <a:xfrm>
            <a:off x="407986" y="4630881"/>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4.</a:t>
            </a:r>
          </a:p>
        </p:txBody>
      </p:sp>
      <p:sp>
        <p:nvSpPr>
          <p:cNvPr id="11" name="Rectangle 3">
            <a:extLst>
              <a:ext uri="{FF2B5EF4-FFF2-40B4-BE49-F238E27FC236}">
                <a16:creationId xmlns:a16="http://schemas.microsoft.com/office/drawing/2014/main" id="{2B41CD12-DC70-AD5A-7DBF-70527D24DC7E}"/>
              </a:ext>
            </a:extLst>
          </p:cNvPr>
          <p:cNvSpPr>
            <a:spLocks/>
          </p:cNvSpPr>
          <p:nvPr>
            <p:custDataLst>
              <p:tags r:id="rId6"/>
            </p:custDataLst>
          </p:nvPr>
        </p:nvSpPr>
        <p:spPr bwMode="gray">
          <a:xfrm>
            <a:off x="407986" y="5536245"/>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5.</a:t>
            </a:r>
          </a:p>
        </p:txBody>
      </p:sp>
      <p:sp>
        <p:nvSpPr>
          <p:cNvPr id="12" name="Rectangle 3">
            <a:extLst>
              <a:ext uri="{FF2B5EF4-FFF2-40B4-BE49-F238E27FC236}">
                <a16:creationId xmlns:a16="http://schemas.microsoft.com/office/drawing/2014/main" id="{504F1A12-13E8-F0AB-530B-5BB6549A4D84}"/>
              </a:ext>
            </a:extLst>
          </p:cNvPr>
          <p:cNvSpPr>
            <a:spLocks/>
          </p:cNvSpPr>
          <p:nvPr/>
        </p:nvSpPr>
        <p:spPr bwMode="gray">
          <a:xfrm>
            <a:off x="1215740" y="1813828"/>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Complex, multilayer permitting slows development, with dual federal-state reviews and sensitive-resource checks extending timelines far more than for wind and solar.</a:t>
            </a:r>
          </a:p>
        </p:txBody>
      </p:sp>
      <p:sp>
        <p:nvSpPr>
          <p:cNvPr id="13" name="Rectangle 3">
            <a:extLst>
              <a:ext uri="{FF2B5EF4-FFF2-40B4-BE49-F238E27FC236}">
                <a16:creationId xmlns:a16="http://schemas.microsoft.com/office/drawing/2014/main" id="{B57EACB1-2AE0-A626-25EF-B61B66576A24}"/>
              </a:ext>
            </a:extLst>
          </p:cNvPr>
          <p:cNvSpPr>
            <a:spLocks/>
          </p:cNvSpPr>
          <p:nvPr/>
        </p:nvSpPr>
        <p:spPr bwMode="gray">
          <a:xfrm>
            <a:off x="1215740" y="2717382"/>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High upfront exploration costs increase financial risk, with $5-$10M for site characterization and up to $450M for full next-gen re</a:t>
            </a:r>
            <a:r>
              <a:rPr lang="en-US" sz="1400" dirty="0"/>
              <a:t>s</a:t>
            </a:r>
            <a:r>
              <a:rPr lang="en-US" sz="1400" dirty="0">
                <a:solidFill>
                  <a:schemeClr val="tx1"/>
                </a:solidFill>
              </a:rPr>
              <a:t>ource confirmation before PPAs are secured.</a:t>
            </a:r>
          </a:p>
        </p:txBody>
      </p:sp>
      <p:sp>
        <p:nvSpPr>
          <p:cNvPr id="14" name="Rectangle 3">
            <a:extLst>
              <a:ext uri="{FF2B5EF4-FFF2-40B4-BE49-F238E27FC236}">
                <a16:creationId xmlns:a16="http://schemas.microsoft.com/office/drawing/2014/main" id="{C8CBA261-BF59-9BE9-BAE9-80F7C268B3AD}"/>
              </a:ext>
            </a:extLst>
          </p:cNvPr>
          <p:cNvSpPr>
            <a:spLocks/>
          </p:cNvSpPr>
          <p:nvPr/>
        </p:nvSpPr>
        <p:spPr bwMode="gray">
          <a:xfrm>
            <a:off x="1215739" y="3620936"/>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PPA uncertainty constrains bankability, since geothermal requires large sunk costs before revenue agreements are locked in.</a:t>
            </a:r>
          </a:p>
        </p:txBody>
      </p:sp>
      <p:sp>
        <p:nvSpPr>
          <p:cNvPr id="15" name="Rectangle 3">
            <a:extLst>
              <a:ext uri="{FF2B5EF4-FFF2-40B4-BE49-F238E27FC236}">
                <a16:creationId xmlns:a16="http://schemas.microsoft.com/office/drawing/2014/main" id="{B44CC5AD-9848-49AF-5A88-58107702DE0A}"/>
              </a:ext>
            </a:extLst>
          </p:cNvPr>
          <p:cNvSpPr>
            <a:spLocks/>
          </p:cNvSpPr>
          <p:nvPr/>
        </p:nvSpPr>
        <p:spPr bwMode="gray">
          <a:xfrm>
            <a:off x="1215738" y="5428043"/>
            <a:ext cx="4745222"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The interconnection queue structurally disadvantages long-lead clean firm re</a:t>
            </a:r>
            <a:r>
              <a:rPr lang="en-US" sz="1400" dirty="0"/>
              <a:t>s</a:t>
            </a:r>
            <a:r>
              <a:rPr lang="en-US" sz="1400" dirty="0">
                <a:solidFill>
                  <a:schemeClr val="tx1"/>
                </a:solidFill>
              </a:rPr>
              <a:t>ources, with 95% of queued capacity coming from solar, wind, and storage</a:t>
            </a:r>
            <a:r>
              <a:rPr lang="en-US" sz="1400" b="1" dirty="0">
                <a:solidFill>
                  <a:schemeClr val="tx1"/>
                </a:solidFill>
              </a:rPr>
              <a:t>.</a:t>
            </a:r>
          </a:p>
        </p:txBody>
      </p:sp>
      <p:sp>
        <p:nvSpPr>
          <p:cNvPr id="16" name="Rectangle 3">
            <a:extLst>
              <a:ext uri="{FF2B5EF4-FFF2-40B4-BE49-F238E27FC236}">
                <a16:creationId xmlns:a16="http://schemas.microsoft.com/office/drawing/2014/main" id="{D6DAEFDB-F208-5B71-C6DB-1026A2F9BFFB}"/>
              </a:ext>
            </a:extLst>
          </p:cNvPr>
          <p:cNvSpPr>
            <a:spLocks/>
          </p:cNvSpPr>
          <p:nvPr/>
        </p:nvSpPr>
        <p:spPr bwMode="gray">
          <a:xfrm>
            <a:off x="1215738" y="4524490"/>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Transmission distance and interconnection costs erode project economics, as remote re</a:t>
            </a:r>
            <a:r>
              <a:rPr lang="en-US" sz="1400" dirty="0"/>
              <a:t>s</a:t>
            </a:r>
            <a:r>
              <a:rPr lang="en-US" sz="1400" dirty="0">
                <a:solidFill>
                  <a:schemeClr val="tx1"/>
                </a:solidFill>
              </a:rPr>
              <a:t>ources face expensive upgrades and long IQ delays.</a:t>
            </a:r>
          </a:p>
        </p:txBody>
      </p:sp>
      <p:cxnSp>
        <p:nvCxnSpPr>
          <p:cNvPr id="17" name="Straight Connector 16">
            <a:extLst>
              <a:ext uri="{FF2B5EF4-FFF2-40B4-BE49-F238E27FC236}">
                <a16:creationId xmlns:a16="http://schemas.microsoft.com/office/drawing/2014/main" id="{5B1C7CB8-648E-D928-7EB0-F7A9DA5F9CC6}"/>
              </a:ext>
            </a:extLst>
          </p:cNvPr>
          <p:cNvCxnSpPr>
            <a:cxnSpLocks/>
          </p:cNvCxnSpPr>
          <p:nvPr/>
        </p:nvCxnSpPr>
        <p:spPr bwMode="gray">
          <a:xfrm>
            <a:off x="6035689" y="1368402"/>
            <a:ext cx="0" cy="475399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605BBC3-51BC-210B-6F87-6CBBA22D7F97}"/>
              </a:ext>
            </a:extLst>
          </p:cNvPr>
          <p:cNvSpPr>
            <a:spLocks/>
          </p:cNvSpPr>
          <p:nvPr>
            <p:custDataLst>
              <p:tags r:id="rId7"/>
            </p:custDataLst>
          </p:nvPr>
        </p:nvSpPr>
        <p:spPr bwMode="gray">
          <a:xfrm>
            <a:off x="6466395" y="2820153"/>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2.</a:t>
            </a:r>
          </a:p>
        </p:txBody>
      </p:sp>
      <p:sp>
        <p:nvSpPr>
          <p:cNvPr id="19" name="Rectangle 3">
            <a:extLst>
              <a:ext uri="{FF2B5EF4-FFF2-40B4-BE49-F238E27FC236}">
                <a16:creationId xmlns:a16="http://schemas.microsoft.com/office/drawing/2014/main" id="{6545B020-8D84-6B63-31C3-0637FE352D6C}"/>
              </a:ext>
            </a:extLst>
          </p:cNvPr>
          <p:cNvSpPr>
            <a:spLocks/>
          </p:cNvSpPr>
          <p:nvPr>
            <p:custDataLst>
              <p:tags r:id="rId8"/>
            </p:custDataLst>
          </p:nvPr>
        </p:nvSpPr>
        <p:spPr bwMode="gray">
          <a:xfrm>
            <a:off x="6466395" y="1914789"/>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1.</a:t>
            </a:r>
          </a:p>
        </p:txBody>
      </p:sp>
      <p:sp>
        <p:nvSpPr>
          <p:cNvPr id="20" name="Rectangle 3">
            <a:extLst>
              <a:ext uri="{FF2B5EF4-FFF2-40B4-BE49-F238E27FC236}">
                <a16:creationId xmlns:a16="http://schemas.microsoft.com/office/drawing/2014/main" id="{D887C540-C5CB-97C3-D103-88F888710B3F}"/>
              </a:ext>
            </a:extLst>
          </p:cNvPr>
          <p:cNvSpPr>
            <a:spLocks/>
          </p:cNvSpPr>
          <p:nvPr>
            <p:custDataLst>
              <p:tags r:id="rId9"/>
            </p:custDataLst>
          </p:nvPr>
        </p:nvSpPr>
        <p:spPr bwMode="gray">
          <a:xfrm>
            <a:off x="6466395" y="3725517"/>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3.</a:t>
            </a:r>
          </a:p>
        </p:txBody>
      </p:sp>
      <p:sp>
        <p:nvSpPr>
          <p:cNvPr id="21" name="Rectangle 3">
            <a:extLst>
              <a:ext uri="{FF2B5EF4-FFF2-40B4-BE49-F238E27FC236}">
                <a16:creationId xmlns:a16="http://schemas.microsoft.com/office/drawing/2014/main" id="{C59807AA-CA10-3703-0C1D-9B428EC7DDF1}"/>
              </a:ext>
            </a:extLst>
          </p:cNvPr>
          <p:cNvSpPr>
            <a:spLocks/>
          </p:cNvSpPr>
          <p:nvPr>
            <p:custDataLst>
              <p:tags r:id="rId10"/>
            </p:custDataLst>
          </p:nvPr>
        </p:nvSpPr>
        <p:spPr bwMode="gray">
          <a:xfrm>
            <a:off x="6466395" y="4630881"/>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4.</a:t>
            </a:r>
          </a:p>
        </p:txBody>
      </p:sp>
      <p:sp>
        <p:nvSpPr>
          <p:cNvPr id="22" name="Rectangle 3">
            <a:extLst>
              <a:ext uri="{FF2B5EF4-FFF2-40B4-BE49-F238E27FC236}">
                <a16:creationId xmlns:a16="http://schemas.microsoft.com/office/drawing/2014/main" id="{9AFC57D1-8DD4-6BFF-2341-778E16524D70}"/>
              </a:ext>
            </a:extLst>
          </p:cNvPr>
          <p:cNvSpPr>
            <a:spLocks/>
          </p:cNvSpPr>
          <p:nvPr>
            <p:custDataLst>
              <p:tags r:id="rId11"/>
            </p:custDataLst>
          </p:nvPr>
        </p:nvSpPr>
        <p:spPr bwMode="gray">
          <a:xfrm>
            <a:off x="6466395" y="5536245"/>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5.</a:t>
            </a:r>
          </a:p>
        </p:txBody>
      </p:sp>
      <p:sp>
        <p:nvSpPr>
          <p:cNvPr id="23" name="Rectangle 3">
            <a:extLst>
              <a:ext uri="{FF2B5EF4-FFF2-40B4-BE49-F238E27FC236}">
                <a16:creationId xmlns:a16="http://schemas.microsoft.com/office/drawing/2014/main" id="{F0EA4BD2-8F1F-448B-ED00-FA7748B97385}"/>
              </a:ext>
            </a:extLst>
          </p:cNvPr>
          <p:cNvSpPr>
            <a:spLocks/>
          </p:cNvSpPr>
          <p:nvPr/>
        </p:nvSpPr>
        <p:spPr bwMode="gray">
          <a:xfrm>
            <a:off x="7274145" y="1813828"/>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Behind-the-meter deployment offers a near-term geothermal pathway, allowing industrial loads and data centers to bypass interconnection entirely.</a:t>
            </a:r>
          </a:p>
        </p:txBody>
      </p:sp>
      <p:sp>
        <p:nvSpPr>
          <p:cNvPr id="24" name="Rectangle 3">
            <a:extLst>
              <a:ext uri="{FF2B5EF4-FFF2-40B4-BE49-F238E27FC236}">
                <a16:creationId xmlns:a16="http://schemas.microsoft.com/office/drawing/2014/main" id="{C8C5D2BA-A869-F0A8-8629-26D006C8E180}"/>
              </a:ext>
            </a:extLst>
          </p:cNvPr>
          <p:cNvSpPr>
            <a:spLocks/>
          </p:cNvSpPr>
          <p:nvPr/>
        </p:nvSpPr>
        <p:spPr bwMode="gray">
          <a:xfrm>
            <a:off x="7274144" y="2717382"/>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BLM emergency permitting creates faster federal approval routes, with 14-day reviews for select geothermal activities.</a:t>
            </a:r>
          </a:p>
        </p:txBody>
      </p:sp>
      <p:sp>
        <p:nvSpPr>
          <p:cNvPr id="25" name="Rectangle 3">
            <a:extLst>
              <a:ext uri="{FF2B5EF4-FFF2-40B4-BE49-F238E27FC236}">
                <a16:creationId xmlns:a16="http://schemas.microsoft.com/office/drawing/2014/main" id="{29C5252F-894F-099A-FFBC-796E8E553C4B}"/>
              </a:ext>
            </a:extLst>
          </p:cNvPr>
          <p:cNvSpPr>
            <a:spLocks/>
          </p:cNvSpPr>
          <p:nvPr/>
        </p:nvSpPr>
        <p:spPr bwMode="gray">
          <a:xfrm>
            <a:off x="7274368" y="3620936"/>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Streamlined permitting practices, including tiering, MOUs, and integrated reviews, can materially reduce delays without weakening environmental rigor.</a:t>
            </a:r>
          </a:p>
        </p:txBody>
      </p:sp>
      <p:sp>
        <p:nvSpPr>
          <p:cNvPr id="26" name="Rectangle 3">
            <a:extLst>
              <a:ext uri="{FF2B5EF4-FFF2-40B4-BE49-F238E27FC236}">
                <a16:creationId xmlns:a16="http://schemas.microsoft.com/office/drawing/2014/main" id="{773FBD66-9A5C-7794-17F6-36B83ABC6099}"/>
              </a:ext>
            </a:extLst>
          </p:cNvPr>
          <p:cNvSpPr>
            <a:spLocks/>
          </p:cNvSpPr>
          <p:nvPr/>
        </p:nvSpPr>
        <p:spPr bwMode="gray">
          <a:xfrm>
            <a:off x="7274144" y="4524490"/>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Next-generation geothermal (EGS, closed-loop) expands the viable subsurface resource base, reducing dependence on rare hydrothermal conditions.</a:t>
            </a:r>
          </a:p>
        </p:txBody>
      </p:sp>
      <p:sp>
        <p:nvSpPr>
          <p:cNvPr id="27" name="Rectangle 3">
            <a:extLst>
              <a:ext uri="{FF2B5EF4-FFF2-40B4-BE49-F238E27FC236}">
                <a16:creationId xmlns:a16="http://schemas.microsoft.com/office/drawing/2014/main" id="{3BBF07BB-56C3-EC22-46E3-C6158239A46D}"/>
              </a:ext>
            </a:extLst>
          </p:cNvPr>
          <p:cNvSpPr>
            <a:spLocks/>
          </p:cNvSpPr>
          <p:nvPr/>
        </p:nvSpPr>
        <p:spPr bwMode="gray">
          <a:xfrm>
            <a:off x="7274143" y="5428043"/>
            <a:ext cx="4745216"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Federal tax credits, DOE’s Enhanced Geothermal Shot, plus a goal to reduce EGS costs 90% by 2035 improve project economics, supporting early commercial deployment.</a:t>
            </a:r>
          </a:p>
        </p:txBody>
      </p:sp>
      <p:sp>
        <p:nvSpPr>
          <p:cNvPr id="28" name="Rectangle 27">
            <a:extLst>
              <a:ext uri="{FF2B5EF4-FFF2-40B4-BE49-F238E27FC236}">
                <a16:creationId xmlns:a16="http://schemas.microsoft.com/office/drawing/2014/main" id="{21B98B6F-F134-E736-4E43-923097FCE859}"/>
              </a:ext>
            </a:extLst>
          </p:cNvPr>
          <p:cNvSpPr/>
          <p:nvPr/>
        </p:nvSpPr>
        <p:spPr bwMode="gray">
          <a:xfrm>
            <a:off x="407986" y="1368402"/>
            <a:ext cx="5463218" cy="347775"/>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500" b="1" dirty="0">
                <a:solidFill>
                  <a:schemeClr val="bg1"/>
                </a:solidFill>
              </a:rPr>
              <a:t>Structural barriers facing geothermal</a:t>
            </a:r>
          </a:p>
        </p:txBody>
      </p:sp>
      <p:sp>
        <p:nvSpPr>
          <p:cNvPr id="29" name="Rectangle 28">
            <a:extLst>
              <a:ext uri="{FF2B5EF4-FFF2-40B4-BE49-F238E27FC236}">
                <a16:creationId xmlns:a16="http://schemas.microsoft.com/office/drawing/2014/main" id="{1FF28499-0ED4-A092-8225-3B62E9B2B26A}"/>
              </a:ext>
            </a:extLst>
          </p:cNvPr>
          <p:cNvSpPr/>
          <p:nvPr/>
        </p:nvSpPr>
        <p:spPr bwMode="gray">
          <a:xfrm>
            <a:off x="6200175" y="1368402"/>
            <a:ext cx="5730052" cy="34777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500" b="1" dirty="0">
                <a:solidFill>
                  <a:schemeClr val="bg1"/>
                </a:solidFill>
              </a:rPr>
              <a:t>Emerging pathways that can improve geothermal deployment</a:t>
            </a:r>
          </a:p>
        </p:txBody>
      </p:sp>
    </p:spTree>
    <p:extLst>
      <p:ext uri="{BB962C8B-B14F-4D97-AF65-F5344CB8AC3E}">
        <p14:creationId xmlns:p14="http://schemas.microsoft.com/office/powerpoint/2010/main" val="326779878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ACFDFF-119E-4F3B-A0B0-4C79125103E7}"/>
              </a:ext>
            </a:extLst>
          </p:cNvPr>
          <p:cNvGraphicFramePr>
            <a:graphicFrameLocks/>
          </p:cNvGraphicFramePr>
          <p:nvPr>
            <p:custDataLst>
              <p:tags r:id="rId1"/>
            </p:custDataLst>
            <p:extLst>
              <p:ext uri="{D42A27DB-BD31-4B8C-83A1-F6EECF244321}">
                <p14:modId xmlns:p14="http://schemas.microsoft.com/office/powerpoint/2010/main" val="3394716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6" name="Rectangle 85">
            <a:extLst>
              <a:ext uri="{FF2B5EF4-FFF2-40B4-BE49-F238E27FC236}">
                <a16:creationId xmlns:a16="http://schemas.microsoft.com/office/drawing/2014/main" id="{92AE0698-0B39-06DF-492A-1DD3F2AE1DF1}"/>
              </a:ext>
            </a:extLst>
          </p:cNvPr>
          <p:cNvSpPr/>
          <p:nvPr/>
        </p:nvSpPr>
        <p:spPr bwMode="gray">
          <a:xfrm>
            <a:off x="1190192" y="2410658"/>
            <a:ext cx="45720" cy="1029125"/>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ext Placeholder 1">
            <a:extLst>
              <a:ext uri="{FF2B5EF4-FFF2-40B4-BE49-F238E27FC236}">
                <a16:creationId xmlns:a16="http://schemas.microsoft.com/office/drawing/2014/main" id="{2DE26F48-26B7-2716-063E-369384CCBBCA}"/>
              </a:ext>
            </a:extLst>
          </p:cNvPr>
          <p:cNvSpPr>
            <a:spLocks noGrp="1"/>
          </p:cNvSpPr>
          <p:nvPr>
            <p:ph type="body" sz="quarter" idx="13"/>
          </p:nvPr>
        </p:nvSpPr>
        <p:spPr/>
        <p:txBody>
          <a:bodyPr/>
          <a:lstStyle/>
          <a:p>
            <a:r>
              <a:rPr lang="en-US" dirty="0">
                <a:solidFill>
                  <a:srgbClr val="000000"/>
                </a:solidFill>
                <a:cs typeface="Arial"/>
              </a:rPr>
              <a:t>Current state of geothermal heating and cooling vs. electricity generation</a:t>
            </a:r>
          </a:p>
        </p:txBody>
      </p:sp>
      <p:sp>
        <p:nvSpPr>
          <p:cNvPr id="3" name="Title 2">
            <a:extLst>
              <a:ext uri="{FF2B5EF4-FFF2-40B4-BE49-F238E27FC236}">
                <a16:creationId xmlns:a16="http://schemas.microsoft.com/office/drawing/2014/main" id="{F52AC794-B47A-06F4-673C-460874401650}"/>
              </a:ext>
            </a:extLst>
          </p:cNvPr>
          <p:cNvSpPr>
            <a:spLocks noGrp="1"/>
          </p:cNvSpPr>
          <p:nvPr>
            <p:ph type="title"/>
          </p:nvPr>
        </p:nvSpPr>
        <p:spPr/>
        <p:txBody>
          <a:bodyPr vert="horz" rIns="91440"/>
          <a:lstStyle/>
          <a:p>
            <a:r>
              <a:rPr lang="en-US" dirty="0">
                <a:cs typeface="Arial"/>
              </a:rPr>
              <a:t>Geothermal power maturity and deployment is in reach as tech investment and policy continue to co-work and de-risk projects </a:t>
            </a:r>
            <a:endParaRPr lang="en-US" dirty="0"/>
          </a:p>
        </p:txBody>
      </p:sp>
      <p:sp>
        <p:nvSpPr>
          <p:cNvPr id="5" name="Footer Placeholder 4">
            <a:extLst>
              <a:ext uri="{FF2B5EF4-FFF2-40B4-BE49-F238E27FC236}">
                <a16:creationId xmlns:a16="http://schemas.microsoft.com/office/drawing/2014/main" id="{DC2B26C2-F8D1-8B6B-966D-F882EC0B46E7}"/>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5"/>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rPr>
              <a:t>; </a:t>
            </a:r>
            <a:r>
              <a:rPr lang="en-US" dirty="0">
                <a:solidFill>
                  <a:srgbClr val="000000"/>
                </a:solidFill>
                <a:hlinkClick r:id="rId6"/>
              </a:rPr>
              <a:t>IEA</a:t>
            </a:r>
            <a:r>
              <a:rPr lang="en-US" dirty="0">
                <a:solidFill>
                  <a:srgbClr val="000000"/>
                </a:solidFill>
              </a:rPr>
              <a:t> (2023), </a:t>
            </a:r>
            <a:r>
              <a:rPr lang="en-US" dirty="0">
                <a:solidFill>
                  <a:srgbClr val="000000"/>
                </a:solidFill>
                <a:hlinkClick r:id="rId7"/>
              </a:rPr>
              <a:t>GeoVision DOE</a:t>
            </a:r>
            <a:r>
              <a:rPr lang="en-US" dirty="0">
                <a:solidFill>
                  <a:srgbClr val="000000"/>
                </a:solidFill>
              </a:rPr>
              <a:t> (2019); </a:t>
            </a:r>
            <a:r>
              <a:rPr lang="en-US" dirty="0">
                <a:solidFill>
                  <a:srgbClr val="000000"/>
                </a:solidFill>
                <a:hlinkClick r:id="rId8"/>
              </a:rPr>
              <a:t>IPCC</a:t>
            </a:r>
            <a:r>
              <a:rPr lang="en-US" dirty="0">
                <a:solidFill>
                  <a:srgbClr val="000000"/>
                </a:solidFill>
              </a:rPr>
              <a:t> (2011), CKI analysis (2025).</a:t>
            </a:r>
          </a:p>
          <a:p>
            <a:pPr marL="0" indent="0">
              <a:spcBef>
                <a:spcPts val="0"/>
              </a:spcBef>
              <a:buNone/>
              <a:defRPr/>
            </a:pPr>
            <a:r>
              <a:rPr lang="en-US" dirty="0">
                <a:solidFill>
                  <a:srgbClr val="000000"/>
                </a:solidFill>
              </a:rPr>
              <a:t>Credit: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solidFill>
                  <a:srgbClr val="000000">
                    <a:tint val="82000"/>
                  </a:srgbClr>
                </a:solidFill>
                <a:hlinkClick r:id="rId9"/>
              </a:rPr>
              <a:t>Gernot Wagner.</a:t>
            </a:r>
            <a:r>
              <a:rPr lang="en-US" dirty="0">
                <a:solidFill>
                  <a:srgbClr val="000000">
                    <a:tint val="82000"/>
                  </a:srgbClr>
                </a:solidFill>
              </a:rPr>
              <a:t> </a:t>
            </a:r>
            <a:r>
              <a:rPr lang="en-US" dirty="0">
                <a:solidFill>
                  <a:srgbClr val="000000">
                    <a:tint val="82000"/>
                  </a:srgbClr>
                </a:solidFill>
                <a:hlinkClick r:id="rId10"/>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1">
            <a:extLst>
              <a:ext uri="{FF2B5EF4-FFF2-40B4-BE49-F238E27FC236}">
                <a16:creationId xmlns:a16="http://schemas.microsoft.com/office/drawing/2014/main" id="{D79C77FF-372B-0D9F-8DA3-FBD1F1D253C1}"/>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a:t>
            </a:r>
          </a:p>
        </p:txBody>
      </p:sp>
      <p:graphicFrame>
        <p:nvGraphicFramePr>
          <p:cNvPr id="8" name="Table 7">
            <a:extLst>
              <a:ext uri="{FF2B5EF4-FFF2-40B4-BE49-F238E27FC236}">
                <a16:creationId xmlns:a16="http://schemas.microsoft.com/office/drawing/2014/main" id="{CDD3511B-63BF-2FF5-942E-EF71ADD1F90E}"/>
              </a:ext>
            </a:extLst>
          </p:cNvPr>
          <p:cNvGraphicFramePr>
            <a:graphicFrameLocks noGrp="1"/>
          </p:cNvGraphicFramePr>
          <p:nvPr>
            <p:extLst>
              <p:ext uri="{D42A27DB-BD31-4B8C-83A1-F6EECF244321}">
                <p14:modId xmlns:p14="http://schemas.microsoft.com/office/powerpoint/2010/main" val="2725741660"/>
              </p:ext>
            </p:extLst>
          </p:nvPr>
        </p:nvGraphicFramePr>
        <p:xfrm>
          <a:off x="1235668" y="2167292"/>
          <a:ext cx="10621371" cy="3968616"/>
        </p:xfrm>
        <a:graphic>
          <a:graphicData uri="http://schemas.openxmlformats.org/drawingml/2006/table">
            <a:tbl>
              <a:tblPr firstRow="1" bandRow="1">
                <a:tableStyleId>{2D5ABB26-0587-4C30-8999-92F81FD0307C}</a:tableStyleId>
              </a:tblPr>
              <a:tblGrid>
                <a:gridCol w="2503053">
                  <a:extLst>
                    <a:ext uri="{9D8B030D-6E8A-4147-A177-3AD203B41FA5}">
                      <a16:colId xmlns:a16="http://schemas.microsoft.com/office/drawing/2014/main" val="3494137714"/>
                    </a:ext>
                  </a:extLst>
                </a:gridCol>
                <a:gridCol w="4161210">
                  <a:extLst>
                    <a:ext uri="{9D8B030D-6E8A-4147-A177-3AD203B41FA5}">
                      <a16:colId xmlns:a16="http://schemas.microsoft.com/office/drawing/2014/main" val="2087873201"/>
                    </a:ext>
                  </a:extLst>
                </a:gridCol>
                <a:gridCol w="3957108">
                  <a:extLst>
                    <a:ext uri="{9D8B030D-6E8A-4147-A177-3AD203B41FA5}">
                      <a16:colId xmlns:a16="http://schemas.microsoft.com/office/drawing/2014/main" val="1809674150"/>
                    </a:ext>
                  </a:extLst>
                </a:gridCol>
              </a:tblGrid>
              <a:tr h="229932">
                <a:tc>
                  <a:txBody>
                    <a:bodyPr/>
                    <a:lstStyle/>
                    <a:p>
                      <a:pPr marL="0" indent="0">
                        <a:buNone/>
                      </a:pPr>
                      <a:endParaRPr lang="en-US" sz="1000" b="1" dirty="0">
                        <a:solidFill>
                          <a:schemeClr val="bg1"/>
                        </a:solidFill>
                      </a:endParaRPr>
                    </a:p>
                  </a:txBody>
                  <a:tcP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None/>
                      </a:pPr>
                      <a:r>
                        <a:rPr lang="en-US" sz="1000" b="1" dirty="0">
                          <a:solidFill>
                            <a:schemeClr val="bg1"/>
                          </a:solidFill>
                        </a:rPr>
                        <a:t>Heating, cooling, and thermal energy storag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indent="0">
                        <a:spcBef>
                          <a:spcPts val="0"/>
                        </a:spcBef>
                        <a:buNone/>
                      </a:pPr>
                      <a:r>
                        <a:rPr lang="en-US" sz="1000" b="1" dirty="0">
                          <a:solidFill>
                            <a:schemeClr val="bg1"/>
                          </a:solidFill>
                        </a:rPr>
                        <a:t>Electricity generation</a:t>
                      </a:r>
                    </a:p>
                  </a:txBody>
                  <a:tcPr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932390523"/>
                  </a:ext>
                </a:extLst>
              </a:tr>
              <a:tr h="357672">
                <a:tc>
                  <a:txBody>
                    <a:bodyPr/>
                    <a:lstStyle/>
                    <a:p>
                      <a:pPr marL="0" indent="0">
                        <a:buNone/>
                      </a:pPr>
                      <a:r>
                        <a:rPr lang="en-US" sz="1000" b="1" dirty="0"/>
                        <a:t>Main stakeholders</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Governments, municipalities, real estate developers, industries, energy utilitie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Energy utilities, governments, investors, technology firms, industrial users</a:t>
                      </a:r>
                    </a:p>
                  </a:txBody>
                  <a:tcP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09327113"/>
                  </a:ext>
                </a:extLst>
              </a:tr>
              <a:tr h="229932">
                <a:tc>
                  <a:txBody>
                    <a:bodyPr/>
                    <a:lstStyle/>
                    <a:p>
                      <a:pPr marL="0" indent="0">
                        <a:buNone/>
                      </a:pPr>
                      <a:r>
                        <a:rPr lang="en-US" sz="1000" b="1" dirty="0"/>
                        <a:t>Scalability</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Moderate (local and regional impact)</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High (grid-scale impact)</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6762426"/>
                  </a:ext>
                </a:extLst>
              </a:tr>
              <a:tr h="229932">
                <a:tc>
                  <a:txBody>
                    <a:bodyPr/>
                    <a:lstStyle/>
                    <a:p>
                      <a:pPr marL="0" indent="0">
                        <a:buNone/>
                      </a:pPr>
                      <a:r>
                        <a:rPr lang="en-US" sz="1000" b="1" dirty="0"/>
                        <a:t>Market momentum</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In action (transitions happening now)</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First mover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55434067"/>
                  </a:ext>
                </a:extLst>
              </a:tr>
              <a:tr h="229932">
                <a:tc>
                  <a:txBody>
                    <a:bodyPr/>
                    <a:lstStyle/>
                    <a:p>
                      <a:pPr marL="0" indent="0">
                        <a:buNone/>
                      </a:pPr>
                      <a:r>
                        <a:rPr lang="en-US" sz="1000" b="1" dirty="0"/>
                        <a:t>Speed of deployment</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Faster (months to a few years)</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Slow (5-10+ year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5452294"/>
                  </a:ext>
                </a:extLst>
              </a:tr>
              <a:tr h="229932">
                <a:tc>
                  <a:txBody>
                    <a:bodyPr/>
                    <a:lstStyle/>
                    <a:p>
                      <a:pPr marL="0" indent="0">
                        <a:buNone/>
                      </a:pPr>
                      <a:r>
                        <a:rPr lang="en-US" sz="1000" b="1" dirty="0"/>
                        <a:t>ROI timeframe</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Moderate (5-10 years)</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Long (10-30 year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018956"/>
                  </a:ext>
                </a:extLst>
              </a:tr>
              <a:tr h="229932">
                <a:tc>
                  <a:txBody>
                    <a:bodyPr/>
                    <a:lstStyle/>
                    <a:p>
                      <a:pPr marL="0" indent="0">
                        <a:buNone/>
                      </a:pPr>
                      <a:r>
                        <a:rPr lang="en-US" sz="1000" b="1" dirty="0"/>
                        <a:t>Industry &amp; policy demand</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Strong</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Emerging</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1970554"/>
                  </a:ext>
                </a:extLst>
              </a:tr>
              <a:tr h="357672">
                <a:tc>
                  <a:txBody>
                    <a:bodyPr/>
                    <a:lstStyle/>
                    <a:p>
                      <a:pPr marL="0" indent="0">
                        <a:buNone/>
                      </a:pPr>
                      <a:r>
                        <a:rPr lang="en-US" sz="1000" b="1" dirty="0"/>
                        <a:t>Funding availability</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High (government incentives for urban decarbonization)</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Limited (large-scale investments with long return period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7225359"/>
                  </a:ext>
                </a:extLst>
              </a:tr>
              <a:tr h="357672">
                <a:tc>
                  <a:txBody>
                    <a:bodyPr/>
                    <a:lstStyle/>
                    <a:p>
                      <a:pPr marL="0" indent="0">
                        <a:buNone/>
                      </a:pPr>
                      <a:r>
                        <a:rPr lang="en-US" sz="1000" b="1" dirty="0"/>
                        <a:t>Risk &amp; uncertainty</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Low (proven technology, well-established market)</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High (geological risks, high upfront cost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248787"/>
                  </a:ext>
                </a:extLst>
              </a:tr>
              <a:tr h="357672">
                <a:tc>
                  <a:txBody>
                    <a:bodyPr/>
                    <a:lstStyle/>
                    <a:p>
                      <a:pPr marL="0" indent="0">
                        <a:buNone/>
                      </a:pPr>
                      <a:r>
                        <a:rPr lang="en-US" sz="1000" b="1" dirty="0"/>
                        <a:t>Technical &amp; regulatory barriers</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Low (fewer permits, well-established technology)</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High (complicated permits, deep drilling risk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1867594"/>
                  </a:ext>
                </a:extLst>
              </a:tr>
              <a:tr h="357672">
                <a:tc>
                  <a:txBody>
                    <a:bodyPr/>
                    <a:lstStyle/>
                    <a:p>
                      <a:pPr marL="0" indent="0">
                        <a:buNone/>
                      </a:pPr>
                      <a:r>
                        <a:rPr lang="en-US" sz="1000" b="1" dirty="0"/>
                        <a:t>Conversion efficiency</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High (300-500% for heat pump COP)</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Low (10-20% for binary plants, 10-15% for flash systems)</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256476"/>
                  </a:ext>
                </a:extLst>
              </a:tr>
              <a:tr h="229932">
                <a:tc>
                  <a:txBody>
                    <a:bodyPr/>
                    <a:lstStyle/>
                    <a:p>
                      <a:pPr marL="0" indent="0">
                        <a:buNone/>
                      </a:pPr>
                      <a:r>
                        <a:rPr lang="en-US" sz="1000" b="1" dirty="0"/>
                        <a:t>Capacity factor</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Seasonal, lower utilization in warm climates</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High (70-90%), base-load capable</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5005268"/>
                  </a:ext>
                </a:extLst>
              </a:tr>
              <a:tr h="357672">
                <a:tc>
                  <a:txBody>
                    <a:bodyPr/>
                    <a:lstStyle/>
                    <a:p>
                      <a:pPr marL="0" indent="0">
                        <a:buNone/>
                      </a:pPr>
                      <a:r>
                        <a:rPr lang="en-US" sz="1000" b="1" dirty="0"/>
                        <a:t>Depth of drilling</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lvl="0" indent="0">
                        <a:buNone/>
                      </a:pPr>
                      <a:r>
                        <a:rPr lang="en-US" sz="1000" dirty="0"/>
                        <a:t>Shallow (tens to hundreds of meters)</a:t>
                      </a:r>
                    </a:p>
                  </a:txBody>
                  <a:tcPr marL="109728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US" sz="1000" dirty="0"/>
                        <a:t>Deep drilling (1-5 km+), depending on resource</a:t>
                      </a:r>
                    </a:p>
                  </a:txBody>
                  <a:tcPr marL="1097280">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96472860"/>
                  </a:ext>
                </a:extLst>
              </a:tr>
            </a:tbl>
          </a:graphicData>
        </a:graphic>
      </p:graphicFrame>
      <p:grpSp>
        <p:nvGrpSpPr>
          <p:cNvPr id="9" name="Group 8">
            <a:extLst>
              <a:ext uri="{FF2B5EF4-FFF2-40B4-BE49-F238E27FC236}">
                <a16:creationId xmlns:a16="http://schemas.microsoft.com/office/drawing/2014/main" id="{548EB8DC-23F9-91E2-0899-D02EB7A69735}"/>
              </a:ext>
            </a:extLst>
          </p:cNvPr>
          <p:cNvGrpSpPr/>
          <p:nvPr/>
        </p:nvGrpSpPr>
        <p:grpSpPr>
          <a:xfrm>
            <a:off x="9928176" y="1958768"/>
            <a:ext cx="1928863" cy="195814"/>
            <a:chOff x="339724" y="6641456"/>
            <a:chExt cx="1928863" cy="195814"/>
          </a:xfrm>
        </p:grpSpPr>
        <p:grpSp>
          <p:nvGrpSpPr>
            <p:cNvPr id="10" name="Group 9">
              <a:extLst>
                <a:ext uri="{FF2B5EF4-FFF2-40B4-BE49-F238E27FC236}">
                  <a16:creationId xmlns:a16="http://schemas.microsoft.com/office/drawing/2014/main" id="{D534E976-C2B6-096F-C6E3-B8E9E0CA8CD0}"/>
                </a:ext>
              </a:extLst>
            </p:cNvPr>
            <p:cNvGrpSpPr/>
            <p:nvPr/>
          </p:nvGrpSpPr>
          <p:grpSpPr>
            <a:xfrm>
              <a:off x="889323" y="6715487"/>
              <a:ext cx="690880" cy="73152"/>
              <a:chOff x="7552690" y="6599237"/>
              <a:chExt cx="690880" cy="73152"/>
            </a:xfrm>
          </p:grpSpPr>
          <p:sp>
            <p:nvSpPr>
              <p:cNvPr id="13" name="Rectangle 12">
                <a:extLst>
                  <a:ext uri="{FF2B5EF4-FFF2-40B4-BE49-F238E27FC236}">
                    <a16:creationId xmlns:a16="http://schemas.microsoft.com/office/drawing/2014/main" id="{08BC8E5F-B224-0949-C795-B32F07272EB7}"/>
                  </a:ext>
                </a:extLst>
              </p:cNvPr>
              <p:cNvSpPr/>
              <p:nvPr/>
            </p:nvSpPr>
            <p:spPr bwMode="gray">
              <a:xfrm>
                <a:off x="7552690" y="6599237"/>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65BFA416-47CB-E829-ABD5-9C378AB4B797}"/>
                  </a:ext>
                </a:extLst>
              </p:cNvPr>
              <p:cNvSpPr/>
              <p:nvPr/>
            </p:nvSpPr>
            <p:spPr bwMode="gray">
              <a:xfrm>
                <a:off x="7806690" y="6599237"/>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E2D9B987-275D-CDBE-DC84-F319C7C79237}"/>
                  </a:ext>
                </a:extLst>
              </p:cNvPr>
              <p:cNvSpPr/>
              <p:nvPr/>
            </p:nvSpPr>
            <p:spPr bwMode="gray">
              <a:xfrm>
                <a:off x="8060690" y="6599237"/>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1" name="TextBox 10">
              <a:extLst>
                <a:ext uri="{FF2B5EF4-FFF2-40B4-BE49-F238E27FC236}">
                  <a16:creationId xmlns:a16="http://schemas.microsoft.com/office/drawing/2014/main" id="{D83919DE-A995-BCC5-4415-8DE7391B59E5}"/>
                </a:ext>
              </a:extLst>
            </p:cNvPr>
            <p:cNvSpPr txBox="1"/>
            <p:nvPr/>
          </p:nvSpPr>
          <p:spPr bwMode="gray">
            <a:xfrm>
              <a:off x="339724" y="6641456"/>
              <a:ext cx="513529" cy="195814"/>
            </a:xfrm>
            <a:prstGeom prst="rect">
              <a:avLst/>
            </a:prstGeom>
            <a:noFill/>
          </p:spPr>
          <p:txBody>
            <a:bodyPr wrap="none" lIns="36000" tIns="36000" rIns="36000" bIns="36000" rtlCol="0">
              <a:spAutoFit/>
            </a:bodyPr>
            <a:lstStyle/>
            <a:p>
              <a:pPr marL="0" indent="0">
                <a:buNone/>
              </a:pPr>
              <a:r>
                <a:rPr lang="en-US" sz="800" dirty="0"/>
                <a:t>Emerging</a:t>
              </a:r>
            </a:p>
          </p:txBody>
        </p:sp>
        <p:sp>
          <p:nvSpPr>
            <p:cNvPr id="12" name="TextBox 11">
              <a:extLst>
                <a:ext uri="{FF2B5EF4-FFF2-40B4-BE49-F238E27FC236}">
                  <a16:creationId xmlns:a16="http://schemas.microsoft.com/office/drawing/2014/main" id="{F8E3633D-4121-AEA8-B6B8-EA4DC51D35A4}"/>
                </a:ext>
              </a:extLst>
            </p:cNvPr>
            <p:cNvSpPr txBox="1"/>
            <p:nvPr/>
          </p:nvSpPr>
          <p:spPr bwMode="gray">
            <a:xfrm>
              <a:off x="1633229" y="6641456"/>
              <a:ext cx="635358" cy="195814"/>
            </a:xfrm>
            <a:prstGeom prst="rect">
              <a:avLst/>
            </a:prstGeom>
            <a:noFill/>
          </p:spPr>
          <p:txBody>
            <a:bodyPr wrap="none" lIns="36000" tIns="36000" rIns="36000" bIns="36000" rtlCol="0">
              <a:spAutoFit/>
            </a:bodyPr>
            <a:lstStyle/>
            <a:p>
              <a:pPr marL="0" indent="0">
                <a:buNone/>
              </a:pPr>
              <a:r>
                <a:rPr lang="en-US" sz="800" dirty="0"/>
                <a:t>Established </a:t>
              </a:r>
            </a:p>
          </p:txBody>
        </p:sp>
      </p:grpSp>
      <p:sp>
        <p:nvSpPr>
          <p:cNvPr id="16" name="TextBox 15">
            <a:extLst>
              <a:ext uri="{FF2B5EF4-FFF2-40B4-BE49-F238E27FC236}">
                <a16:creationId xmlns:a16="http://schemas.microsoft.com/office/drawing/2014/main" id="{7C98CD51-71CA-8CF2-D2C9-1F87228D65FA}"/>
              </a:ext>
            </a:extLst>
          </p:cNvPr>
          <p:cNvSpPr txBox="1"/>
          <p:nvPr/>
        </p:nvSpPr>
        <p:spPr bwMode="gray">
          <a:xfrm>
            <a:off x="272622" y="2710875"/>
            <a:ext cx="846450" cy="380480"/>
          </a:xfrm>
          <a:prstGeom prst="rect">
            <a:avLst/>
          </a:prstGeom>
          <a:solidFill>
            <a:schemeClr val="bg1"/>
          </a:solidFill>
          <a:ln>
            <a:noFill/>
          </a:ln>
        </p:spPr>
        <p:txBody>
          <a:bodyPr wrap="square" lIns="36000" tIns="36000" rIns="36000" bIns="36000" rtlCol="0" anchor="ctr">
            <a:spAutoFit/>
          </a:bodyPr>
          <a:lstStyle/>
          <a:p>
            <a:pPr marL="0" indent="0">
              <a:buNone/>
            </a:pPr>
            <a:r>
              <a:rPr lang="en-US" sz="1000" b="1" dirty="0"/>
              <a:t>Scale &amp; Momentum</a:t>
            </a:r>
          </a:p>
        </p:txBody>
      </p:sp>
      <p:sp>
        <p:nvSpPr>
          <p:cNvPr id="17" name="TextBox 16">
            <a:extLst>
              <a:ext uri="{FF2B5EF4-FFF2-40B4-BE49-F238E27FC236}">
                <a16:creationId xmlns:a16="http://schemas.microsoft.com/office/drawing/2014/main" id="{0C4B5006-2568-8F9A-3188-A2A35A9D9E9E}"/>
              </a:ext>
            </a:extLst>
          </p:cNvPr>
          <p:cNvSpPr txBox="1"/>
          <p:nvPr/>
        </p:nvSpPr>
        <p:spPr bwMode="gray">
          <a:xfrm>
            <a:off x="272622" y="3454156"/>
            <a:ext cx="846450" cy="226591"/>
          </a:xfrm>
          <a:prstGeom prst="rect">
            <a:avLst/>
          </a:prstGeom>
          <a:solidFill>
            <a:schemeClr val="bg1"/>
          </a:solidFill>
          <a:ln>
            <a:noFill/>
          </a:ln>
        </p:spPr>
        <p:txBody>
          <a:bodyPr wrap="square" lIns="36000" tIns="36000" rIns="36000" bIns="36000" rtlCol="0" anchor="ctr">
            <a:spAutoFit/>
          </a:bodyPr>
          <a:lstStyle/>
          <a:p>
            <a:pPr marL="0" indent="0">
              <a:buNone/>
            </a:pPr>
            <a:r>
              <a:rPr lang="en-US" sz="1000" b="1" dirty="0"/>
              <a:t>Deployment</a:t>
            </a:r>
          </a:p>
        </p:txBody>
      </p:sp>
      <p:sp>
        <p:nvSpPr>
          <p:cNvPr id="18" name="TextBox 17">
            <a:extLst>
              <a:ext uri="{FF2B5EF4-FFF2-40B4-BE49-F238E27FC236}">
                <a16:creationId xmlns:a16="http://schemas.microsoft.com/office/drawing/2014/main" id="{03C66C95-19A6-B260-6FC1-3A8B06ED5191}"/>
              </a:ext>
            </a:extLst>
          </p:cNvPr>
          <p:cNvSpPr txBox="1"/>
          <p:nvPr/>
        </p:nvSpPr>
        <p:spPr bwMode="gray">
          <a:xfrm>
            <a:off x="272622" y="4043548"/>
            <a:ext cx="846450" cy="380480"/>
          </a:xfrm>
          <a:prstGeom prst="rect">
            <a:avLst/>
          </a:prstGeom>
          <a:solidFill>
            <a:schemeClr val="bg1"/>
          </a:solidFill>
          <a:ln>
            <a:noFill/>
          </a:ln>
        </p:spPr>
        <p:txBody>
          <a:bodyPr wrap="square" lIns="36000" tIns="36000" rIns="36000" bIns="36000" rtlCol="0" anchor="ctr">
            <a:spAutoFit/>
          </a:bodyPr>
          <a:lstStyle/>
          <a:p>
            <a:pPr marL="0" indent="0">
              <a:buNone/>
            </a:pPr>
            <a:r>
              <a:rPr lang="en-US" sz="1000" b="1" dirty="0"/>
              <a:t>Policy &amp; Financing</a:t>
            </a:r>
            <a:endParaRPr lang="en-US" dirty="0"/>
          </a:p>
        </p:txBody>
      </p:sp>
      <p:sp>
        <p:nvSpPr>
          <p:cNvPr id="19" name="TextBox 18">
            <a:extLst>
              <a:ext uri="{FF2B5EF4-FFF2-40B4-BE49-F238E27FC236}">
                <a16:creationId xmlns:a16="http://schemas.microsoft.com/office/drawing/2014/main" id="{89D49A9B-271D-4F6C-0829-4C5436828DD4}"/>
              </a:ext>
            </a:extLst>
          </p:cNvPr>
          <p:cNvSpPr txBox="1"/>
          <p:nvPr/>
        </p:nvSpPr>
        <p:spPr bwMode="gray">
          <a:xfrm>
            <a:off x="272622" y="5316768"/>
            <a:ext cx="846450" cy="226591"/>
          </a:xfrm>
          <a:prstGeom prst="rect">
            <a:avLst/>
          </a:prstGeom>
          <a:solidFill>
            <a:schemeClr val="bg1"/>
          </a:solidFill>
          <a:ln>
            <a:noFill/>
          </a:ln>
        </p:spPr>
        <p:txBody>
          <a:bodyPr wrap="square" lIns="36000" tIns="36000" rIns="36000" bIns="36000" rtlCol="0" anchor="ctr">
            <a:spAutoFit/>
          </a:bodyPr>
          <a:lstStyle/>
          <a:p>
            <a:pPr marL="0" indent="0">
              <a:buNone/>
            </a:pPr>
            <a:r>
              <a:rPr lang="en-US" sz="1000" b="1" dirty="0"/>
              <a:t>Technology</a:t>
            </a:r>
          </a:p>
        </p:txBody>
      </p:sp>
      <p:grpSp>
        <p:nvGrpSpPr>
          <p:cNvPr id="100" name="Group 99">
            <a:extLst>
              <a:ext uri="{FF2B5EF4-FFF2-40B4-BE49-F238E27FC236}">
                <a16:creationId xmlns:a16="http://schemas.microsoft.com/office/drawing/2014/main" id="{6F34FA3D-C0D9-7114-827A-1735CFD8E8AA}"/>
              </a:ext>
            </a:extLst>
          </p:cNvPr>
          <p:cNvGrpSpPr/>
          <p:nvPr/>
        </p:nvGrpSpPr>
        <p:grpSpPr>
          <a:xfrm>
            <a:off x="3901808" y="2887944"/>
            <a:ext cx="690880" cy="73152"/>
            <a:chOff x="3901808" y="2555436"/>
            <a:chExt cx="690880" cy="73152"/>
          </a:xfrm>
        </p:grpSpPr>
        <p:sp>
          <p:nvSpPr>
            <p:cNvPr id="20" name="Rectangle 19">
              <a:extLst>
                <a:ext uri="{FF2B5EF4-FFF2-40B4-BE49-F238E27FC236}">
                  <a16:creationId xmlns:a16="http://schemas.microsoft.com/office/drawing/2014/main" id="{3E7E93BB-9BE4-5485-49E2-1948863F46F8}"/>
                </a:ext>
              </a:extLst>
            </p:cNvPr>
            <p:cNvSpPr/>
            <p:nvPr/>
          </p:nvSpPr>
          <p:spPr bwMode="gray">
            <a:xfrm>
              <a:off x="3901808" y="2555436"/>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tangle 20">
              <a:extLst>
                <a:ext uri="{FF2B5EF4-FFF2-40B4-BE49-F238E27FC236}">
                  <a16:creationId xmlns:a16="http://schemas.microsoft.com/office/drawing/2014/main" id="{0F212BA2-11F2-E68C-BE32-BD201B34BB08}"/>
                </a:ext>
              </a:extLst>
            </p:cNvPr>
            <p:cNvSpPr/>
            <p:nvPr/>
          </p:nvSpPr>
          <p:spPr bwMode="gray">
            <a:xfrm>
              <a:off x="4155808" y="2555436"/>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Rectangle 21">
              <a:extLst>
                <a:ext uri="{FF2B5EF4-FFF2-40B4-BE49-F238E27FC236}">
                  <a16:creationId xmlns:a16="http://schemas.microsoft.com/office/drawing/2014/main" id="{5972ED2E-1588-B05F-C0D1-386799EDE57C}"/>
                </a:ext>
              </a:extLst>
            </p:cNvPr>
            <p:cNvSpPr/>
            <p:nvPr/>
          </p:nvSpPr>
          <p:spPr bwMode="gray">
            <a:xfrm>
              <a:off x="4409808" y="2555436"/>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1" name="Group 100">
            <a:extLst>
              <a:ext uri="{FF2B5EF4-FFF2-40B4-BE49-F238E27FC236}">
                <a16:creationId xmlns:a16="http://schemas.microsoft.com/office/drawing/2014/main" id="{ACE23DC8-1C39-1E57-BA6C-870BAACDF0B3}"/>
              </a:ext>
            </a:extLst>
          </p:cNvPr>
          <p:cNvGrpSpPr/>
          <p:nvPr/>
        </p:nvGrpSpPr>
        <p:grpSpPr>
          <a:xfrm>
            <a:off x="8140516" y="2887944"/>
            <a:ext cx="690880" cy="73152"/>
            <a:chOff x="8140516" y="2555436"/>
            <a:chExt cx="690880" cy="73152"/>
          </a:xfrm>
        </p:grpSpPr>
        <p:sp>
          <p:nvSpPr>
            <p:cNvPr id="23" name="Rectangle 22">
              <a:extLst>
                <a:ext uri="{FF2B5EF4-FFF2-40B4-BE49-F238E27FC236}">
                  <a16:creationId xmlns:a16="http://schemas.microsoft.com/office/drawing/2014/main" id="{A71C2FD8-F93B-CB54-01E5-3BAE91E25570}"/>
                </a:ext>
              </a:extLst>
            </p:cNvPr>
            <p:cNvSpPr/>
            <p:nvPr/>
          </p:nvSpPr>
          <p:spPr bwMode="gray">
            <a:xfrm>
              <a:off x="8140516" y="2555436"/>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Rectangle 23">
              <a:extLst>
                <a:ext uri="{FF2B5EF4-FFF2-40B4-BE49-F238E27FC236}">
                  <a16:creationId xmlns:a16="http://schemas.microsoft.com/office/drawing/2014/main" id="{D7BD9A42-EE23-C63E-CEC3-A406A0A8082E}"/>
                </a:ext>
              </a:extLst>
            </p:cNvPr>
            <p:cNvSpPr/>
            <p:nvPr/>
          </p:nvSpPr>
          <p:spPr bwMode="gray">
            <a:xfrm>
              <a:off x="8394516" y="2555436"/>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Rectangle 24">
              <a:extLst>
                <a:ext uri="{FF2B5EF4-FFF2-40B4-BE49-F238E27FC236}">
                  <a16:creationId xmlns:a16="http://schemas.microsoft.com/office/drawing/2014/main" id="{BB4D0C67-B0BE-6B86-826A-85DFF56028B7}"/>
                </a:ext>
              </a:extLst>
            </p:cNvPr>
            <p:cNvSpPr/>
            <p:nvPr/>
          </p:nvSpPr>
          <p:spPr bwMode="gray">
            <a:xfrm>
              <a:off x="8648516" y="2555436"/>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9" name="Group 98">
            <a:extLst>
              <a:ext uri="{FF2B5EF4-FFF2-40B4-BE49-F238E27FC236}">
                <a16:creationId xmlns:a16="http://schemas.microsoft.com/office/drawing/2014/main" id="{B48C21DF-839F-BBD6-B6B4-1AA36CD942B0}"/>
              </a:ext>
            </a:extLst>
          </p:cNvPr>
          <p:cNvGrpSpPr/>
          <p:nvPr/>
        </p:nvGrpSpPr>
        <p:grpSpPr>
          <a:xfrm>
            <a:off x="3901808" y="3139091"/>
            <a:ext cx="690880" cy="73152"/>
            <a:chOff x="3901808" y="2826751"/>
            <a:chExt cx="690880" cy="73152"/>
          </a:xfrm>
        </p:grpSpPr>
        <p:sp>
          <p:nvSpPr>
            <p:cNvPr id="26" name="Rectangle 25">
              <a:extLst>
                <a:ext uri="{FF2B5EF4-FFF2-40B4-BE49-F238E27FC236}">
                  <a16:creationId xmlns:a16="http://schemas.microsoft.com/office/drawing/2014/main" id="{32B138B9-B732-2310-4A79-6CF100709B85}"/>
                </a:ext>
              </a:extLst>
            </p:cNvPr>
            <p:cNvSpPr/>
            <p:nvPr/>
          </p:nvSpPr>
          <p:spPr bwMode="gray">
            <a:xfrm>
              <a:off x="3901808" y="2826751"/>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0774F77A-B806-1E02-1D61-13D51005CADD}"/>
                </a:ext>
              </a:extLst>
            </p:cNvPr>
            <p:cNvSpPr/>
            <p:nvPr/>
          </p:nvSpPr>
          <p:spPr bwMode="gray">
            <a:xfrm>
              <a:off x="4155808" y="2826751"/>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759D80B1-AF4B-AAD0-4DA3-2BFCC6B6CC52}"/>
                </a:ext>
              </a:extLst>
            </p:cNvPr>
            <p:cNvSpPr/>
            <p:nvPr/>
          </p:nvSpPr>
          <p:spPr bwMode="gray">
            <a:xfrm>
              <a:off x="4409808" y="2826751"/>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2" name="Group 101">
            <a:extLst>
              <a:ext uri="{FF2B5EF4-FFF2-40B4-BE49-F238E27FC236}">
                <a16:creationId xmlns:a16="http://schemas.microsoft.com/office/drawing/2014/main" id="{8977F499-1394-FEAC-DD5E-57674F9C2578}"/>
              </a:ext>
            </a:extLst>
          </p:cNvPr>
          <p:cNvGrpSpPr/>
          <p:nvPr/>
        </p:nvGrpSpPr>
        <p:grpSpPr>
          <a:xfrm>
            <a:off x="8140516" y="3139091"/>
            <a:ext cx="690880" cy="73152"/>
            <a:chOff x="8140516" y="2826751"/>
            <a:chExt cx="690880" cy="73152"/>
          </a:xfrm>
        </p:grpSpPr>
        <p:sp>
          <p:nvSpPr>
            <p:cNvPr id="29" name="Rectangle 28">
              <a:extLst>
                <a:ext uri="{FF2B5EF4-FFF2-40B4-BE49-F238E27FC236}">
                  <a16:creationId xmlns:a16="http://schemas.microsoft.com/office/drawing/2014/main" id="{6EF57BCB-A110-766B-08EA-3C5F3D9FDD40}"/>
                </a:ext>
              </a:extLst>
            </p:cNvPr>
            <p:cNvSpPr/>
            <p:nvPr/>
          </p:nvSpPr>
          <p:spPr bwMode="gray">
            <a:xfrm>
              <a:off x="8140516" y="2826751"/>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Rectangle 29">
              <a:extLst>
                <a:ext uri="{FF2B5EF4-FFF2-40B4-BE49-F238E27FC236}">
                  <a16:creationId xmlns:a16="http://schemas.microsoft.com/office/drawing/2014/main" id="{98B9D771-CCBB-70E1-785C-B0A69491D3CD}"/>
                </a:ext>
              </a:extLst>
            </p:cNvPr>
            <p:cNvSpPr/>
            <p:nvPr/>
          </p:nvSpPr>
          <p:spPr bwMode="gray">
            <a:xfrm>
              <a:off x="8394516" y="2826751"/>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Rectangle 30">
              <a:extLst>
                <a:ext uri="{FF2B5EF4-FFF2-40B4-BE49-F238E27FC236}">
                  <a16:creationId xmlns:a16="http://schemas.microsoft.com/office/drawing/2014/main" id="{8C3008E2-82DF-2DD6-60D8-FE057FA48F27}"/>
                </a:ext>
              </a:extLst>
            </p:cNvPr>
            <p:cNvSpPr/>
            <p:nvPr/>
          </p:nvSpPr>
          <p:spPr bwMode="gray">
            <a:xfrm>
              <a:off x="8648516" y="2826751"/>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8" name="Group 97">
            <a:extLst>
              <a:ext uri="{FF2B5EF4-FFF2-40B4-BE49-F238E27FC236}">
                <a16:creationId xmlns:a16="http://schemas.microsoft.com/office/drawing/2014/main" id="{8650B46E-E96F-8771-E191-12E3962B7DBA}"/>
              </a:ext>
            </a:extLst>
          </p:cNvPr>
          <p:cNvGrpSpPr/>
          <p:nvPr/>
        </p:nvGrpSpPr>
        <p:grpSpPr>
          <a:xfrm>
            <a:off x="3901808" y="3378363"/>
            <a:ext cx="690880" cy="73152"/>
            <a:chOff x="3901808" y="3113306"/>
            <a:chExt cx="690880" cy="73152"/>
          </a:xfrm>
        </p:grpSpPr>
        <p:sp>
          <p:nvSpPr>
            <p:cNvPr id="32" name="Rectangle 31">
              <a:extLst>
                <a:ext uri="{FF2B5EF4-FFF2-40B4-BE49-F238E27FC236}">
                  <a16:creationId xmlns:a16="http://schemas.microsoft.com/office/drawing/2014/main" id="{B73B65F6-B04C-7722-ACE3-662368259E97}"/>
                </a:ext>
              </a:extLst>
            </p:cNvPr>
            <p:cNvSpPr/>
            <p:nvPr/>
          </p:nvSpPr>
          <p:spPr bwMode="gray">
            <a:xfrm>
              <a:off x="3901808" y="3113306"/>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701CA061-A303-2AB4-66AE-3E511816F0FF}"/>
                </a:ext>
              </a:extLst>
            </p:cNvPr>
            <p:cNvSpPr/>
            <p:nvPr/>
          </p:nvSpPr>
          <p:spPr bwMode="gray">
            <a:xfrm>
              <a:off x="4155808" y="3113306"/>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883C8E2A-1930-5543-7E0B-E84FBEC3EF16}"/>
                </a:ext>
              </a:extLst>
            </p:cNvPr>
            <p:cNvSpPr/>
            <p:nvPr/>
          </p:nvSpPr>
          <p:spPr bwMode="gray">
            <a:xfrm>
              <a:off x="4409808" y="3113306"/>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3" name="Group 102">
            <a:extLst>
              <a:ext uri="{FF2B5EF4-FFF2-40B4-BE49-F238E27FC236}">
                <a16:creationId xmlns:a16="http://schemas.microsoft.com/office/drawing/2014/main" id="{93E16F33-0234-1849-207B-61E7518A7CB7}"/>
              </a:ext>
            </a:extLst>
          </p:cNvPr>
          <p:cNvGrpSpPr/>
          <p:nvPr/>
        </p:nvGrpSpPr>
        <p:grpSpPr>
          <a:xfrm>
            <a:off x="8140516" y="3378363"/>
            <a:ext cx="690880" cy="73152"/>
            <a:chOff x="8140516" y="3113306"/>
            <a:chExt cx="690880" cy="73152"/>
          </a:xfrm>
        </p:grpSpPr>
        <p:sp>
          <p:nvSpPr>
            <p:cNvPr id="35" name="Rectangle 34">
              <a:extLst>
                <a:ext uri="{FF2B5EF4-FFF2-40B4-BE49-F238E27FC236}">
                  <a16:creationId xmlns:a16="http://schemas.microsoft.com/office/drawing/2014/main" id="{FAA7D9F9-C15C-18B1-277A-7B7836E90465}"/>
                </a:ext>
              </a:extLst>
            </p:cNvPr>
            <p:cNvSpPr/>
            <p:nvPr/>
          </p:nvSpPr>
          <p:spPr bwMode="gray">
            <a:xfrm>
              <a:off x="8140516" y="3113306"/>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7BF2D211-5891-B87D-2D8D-676F56A805A6}"/>
                </a:ext>
              </a:extLst>
            </p:cNvPr>
            <p:cNvSpPr/>
            <p:nvPr/>
          </p:nvSpPr>
          <p:spPr bwMode="gray">
            <a:xfrm>
              <a:off x="8394516" y="3113306"/>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8AC0AC6A-6566-018D-FCE3-E854E209DA96}"/>
                </a:ext>
              </a:extLst>
            </p:cNvPr>
            <p:cNvSpPr/>
            <p:nvPr/>
          </p:nvSpPr>
          <p:spPr bwMode="gray">
            <a:xfrm>
              <a:off x="8648516" y="3113306"/>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7" name="Group 96">
            <a:extLst>
              <a:ext uri="{FF2B5EF4-FFF2-40B4-BE49-F238E27FC236}">
                <a16:creationId xmlns:a16="http://schemas.microsoft.com/office/drawing/2014/main" id="{66044294-C506-4482-5CD7-31BDA4E58EF5}"/>
              </a:ext>
            </a:extLst>
          </p:cNvPr>
          <p:cNvGrpSpPr/>
          <p:nvPr/>
        </p:nvGrpSpPr>
        <p:grpSpPr>
          <a:xfrm>
            <a:off x="3901808" y="3629507"/>
            <a:ext cx="690880" cy="73152"/>
            <a:chOff x="3901808" y="3417580"/>
            <a:chExt cx="690880" cy="73152"/>
          </a:xfrm>
        </p:grpSpPr>
        <p:sp>
          <p:nvSpPr>
            <p:cNvPr id="38" name="Rectangle 37">
              <a:extLst>
                <a:ext uri="{FF2B5EF4-FFF2-40B4-BE49-F238E27FC236}">
                  <a16:creationId xmlns:a16="http://schemas.microsoft.com/office/drawing/2014/main" id="{242CFFBA-4F8C-4109-4CE2-96CD42641949}"/>
                </a:ext>
              </a:extLst>
            </p:cNvPr>
            <p:cNvSpPr/>
            <p:nvPr/>
          </p:nvSpPr>
          <p:spPr bwMode="gray">
            <a:xfrm>
              <a:off x="3901808" y="3417580"/>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Rectangle 38">
              <a:extLst>
                <a:ext uri="{FF2B5EF4-FFF2-40B4-BE49-F238E27FC236}">
                  <a16:creationId xmlns:a16="http://schemas.microsoft.com/office/drawing/2014/main" id="{5114A277-87B2-F918-66BE-11A943716A07}"/>
                </a:ext>
              </a:extLst>
            </p:cNvPr>
            <p:cNvSpPr/>
            <p:nvPr/>
          </p:nvSpPr>
          <p:spPr bwMode="gray">
            <a:xfrm>
              <a:off x="4155808" y="3417580"/>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998E8D14-ADD0-6B68-6B67-9F826FF060BA}"/>
                </a:ext>
              </a:extLst>
            </p:cNvPr>
            <p:cNvSpPr/>
            <p:nvPr/>
          </p:nvSpPr>
          <p:spPr bwMode="gray">
            <a:xfrm>
              <a:off x="4409808" y="3417580"/>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4" name="Group 103">
            <a:extLst>
              <a:ext uri="{FF2B5EF4-FFF2-40B4-BE49-F238E27FC236}">
                <a16:creationId xmlns:a16="http://schemas.microsoft.com/office/drawing/2014/main" id="{32B9E68C-802A-C779-2571-D4C10649EED5}"/>
              </a:ext>
            </a:extLst>
          </p:cNvPr>
          <p:cNvGrpSpPr/>
          <p:nvPr/>
        </p:nvGrpSpPr>
        <p:grpSpPr>
          <a:xfrm>
            <a:off x="8140516" y="3629507"/>
            <a:ext cx="690880" cy="73152"/>
            <a:chOff x="8140516" y="3417580"/>
            <a:chExt cx="690880" cy="73152"/>
          </a:xfrm>
        </p:grpSpPr>
        <p:sp>
          <p:nvSpPr>
            <p:cNvPr id="41" name="Rectangle 40">
              <a:extLst>
                <a:ext uri="{FF2B5EF4-FFF2-40B4-BE49-F238E27FC236}">
                  <a16:creationId xmlns:a16="http://schemas.microsoft.com/office/drawing/2014/main" id="{539DCD98-CDF4-7546-1DE5-3416A24DA4F2}"/>
                </a:ext>
              </a:extLst>
            </p:cNvPr>
            <p:cNvSpPr/>
            <p:nvPr/>
          </p:nvSpPr>
          <p:spPr bwMode="gray">
            <a:xfrm>
              <a:off x="8140516" y="3417580"/>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EEF5EA17-1273-169B-7ACB-3F6E52294CE9}"/>
                </a:ext>
              </a:extLst>
            </p:cNvPr>
            <p:cNvSpPr/>
            <p:nvPr/>
          </p:nvSpPr>
          <p:spPr bwMode="gray">
            <a:xfrm>
              <a:off x="8394516" y="3417580"/>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B6C01280-A883-B66B-E670-5CB5C6D25DB2}"/>
                </a:ext>
              </a:extLst>
            </p:cNvPr>
            <p:cNvSpPr/>
            <p:nvPr/>
          </p:nvSpPr>
          <p:spPr bwMode="gray">
            <a:xfrm>
              <a:off x="8648516" y="3417580"/>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6" name="Group 95">
            <a:extLst>
              <a:ext uri="{FF2B5EF4-FFF2-40B4-BE49-F238E27FC236}">
                <a16:creationId xmlns:a16="http://schemas.microsoft.com/office/drawing/2014/main" id="{C9A08521-D503-CA0C-B681-4E8C00F19D12}"/>
              </a:ext>
            </a:extLst>
          </p:cNvPr>
          <p:cNvGrpSpPr/>
          <p:nvPr/>
        </p:nvGrpSpPr>
        <p:grpSpPr>
          <a:xfrm>
            <a:off x="3901808" y="3868776"/>
            <a:ext cx="690880" cy="73152"/>
            <a:chOff x="3901808" y="3705092"/>
            <a:chExt cx="690880" cy="73152"/>
          </a:xfrm>
        </p:grpSpPr>
        <p:sp>
          <p:nvSpPr>
            <p:cNvPr id="44" name="Rectangle 43">
              <a:extLst>
                <a:ext uri="{FF2B5EF4-FFF2-40B4-BE49-F238E27FC236}">
                  <a16:creationId xmlns:a16="http://schemas.microsoft.com/office/drawing/2014/main" id="{86706364-F853-C5ED-6C5A-2B1B8752C55D}"/>
                </a:ext>
              </a:extLst>
            </p:cNvPr>
            <p:cNvSpPr/>
            <p:nvPr/>
          </p:nvSpPr>
          <p:spPr bwMode="gray">
            <a:xfrm>
              <a:off x="3901808" y="370509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9F0DA69E-DCEE-045F-E542-F77A42157488}"/>
                </a:ext>
              </a:extLst>
            </p:cNvPr>
            <p:cNvSpPr/>
            <p:nvPr/>
          </p:nvSpPr>
          <p:spPr bwMode="gray">
            <a:xfrm>
              <a:off x="4155808" y="370509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3D8AF4DF-7A9A-0335-7BAE-CFE8EC885EF6}"/>
                </a:ext>
              </a:extLst>
            </p:cNvPr>
            <p:cNvSpPr/>
            <p:nvPr/>
          </p:nvSpPr>
          <p:spPr bwMode="gray">
            <a:xfrm>
              <a:off x="4409808" y="370509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5" name="Group 104">
            <a:extLst>
              <a:ext uri="{FF2B5EF4-FFF2-40B4-BE49-F238E27FC236}">
                <a16:creationId xmlns:a16="http://schemas.microsoft.com/office/drawing/2014/main" id="{83714C29-81BB-4E4C-BC81-C4A2318C66A2}"/>
              </a:ext>
            </a:extLst>
          </p:cNvPr>
          <p:cNvGrpSpPr/>
          <p:nvPr/>
        </p:nvGrpSpPr>
        <p:grpSpPr>
          <a:xfrm>
            <a:off x="8140516" y="3868776"/>
            <a:ext cx="690880" cy="73152"/>
            <a:chOff x="8140516" y="3705092"/>
            <a:chExt cx="690880" cy="73152"/>
          </a:xfrm>
        </p:grpSpPr>
        <p:sp>
          <p:nvSpPr>
            <p:cNvPr id="47" name="Rectangle 46">
              <a:extLst>
                <a:ext uri="{FF2B5EF4-FFF2-40B4-BE49-F238E27FC236}">
                  <a16:creationId xmlns:a16="http://schemas.microsoft.com/office/drawing/2014/main" id="{43E6C8B5-F626-6672-BCC4-43006462D431}"/>
                </a:ext>
              </a:extLst>
            </p:cNvPr>
            <p:cNvSpPr/>
            <p:nvPr/>
          </p:nvSpPr>
          <p:spPr bwMode="gray">
            <a:xfrm>
              <a:off x="8140516" y="3705092"/>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Rectangle 47">
              <a:extLst>
                <a:ext uri="{FF2B5EF4-FFF2-40B4-BE49-F238E27FC236}">
                  <a16:creationId xmlns:a16="http://schemas.microsoft.com/office/drawing/2014/main" id="{88339489-ED23-E708-7A6D-4F92B192D113}"/>
                </a:ext>
              </a:extLst>
            </p:cNvPr>
            <p:cNvSpPr/>
            <p:nvPr/>
          </p:nvSpPr>
          <p:spPr bwMode="gray">
            <a:xfrm>
              <a:off x="8394516" y="3705092"/>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Rectangle 48">
              <a:extLst>
                <a:ext uri="{FF2B5EF4-FFF2-40B4-BE49-F238E27FC236}">
                  <a16:creationId xmlns:a16="http://schemas.microsoft.com/office/drawing/2014/main" id="{B020C500-CFA9-04EE-AE7A-8CF765886F6D}"/>
                </a:ext>
              </a:extLst>
            </p:cNvPr>
            <p:cNvSpPr/>
            <p:nvPr/>
          </p:nvSpPr>
          <p:spPr bwMode="gray">
            <a:xfrm>
              <a:off x="8648516" y="3705092"/>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5" name="Group 94">
            <a:extLst>
              <a:ext uri="{FF2B5EF4-FFF2-40B4-BE49-F238E27FC236}">
                <a16:creationId xmlns:a16="http://schemas.microsoft.com/office/drawing/2014/main" id="{BF179D7D-F2B5-DBB5-BEE6-983D429F9D95}"/>
              </a:ext>
            </a:extLst>
          </p:cNvPr>
          <p:cNvGrpSpPr/>
          <p:nvPr/>
        </p:nvGrpSpPr>
        <p:grpSpPr>
          <a:xfrm>
            <a:off x="3901808" y="4191175"/>
            <a:ext cx="690880" cy="73152"/>
            <a:chOff x="3901808" y="4037563"/>
            <a:chExt cx="690880" cy="73152"/>
          </a:xfrm>
        </p:grpSpPr>
        <p:sp>
          <p:nvSpPr>
            <p:cNvPr id="50" name="Rectangle 49">
              <a:extLst>
                <a:ext uri="{FF2B5EF4-FFF2-40B4-BE49-F238E27FC236}">
                  <a16:creationId xmlns:a16="http://schemas.microsoft.com/office/drawing/2014/main" id="{5D29D0EE-E11C-B35E-B143-012F2430F293}"/>
                </a:ext>
              </a:extLst>
            </p:cNvPr>
            <p:cNvSpPr/>
            <p:nvPr/>
          </p:nvSpPr>
          <p:spPr bwMode="gray">
            <a:xfrm>
              <a:off x="3901808" y="4037563"/>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Rectangle 50">
              <a:extLst>
                <a:ext uri="{FF2B5EF4-FFF2-40B4-BE49-F238E27FC236}">
                  <a16:creationId xmlns:a16="http://schemas.microsoft.com/office/drawing/2014/main" id="{889EAF1D-CC6D-9A16-1E3E-71454371E8EA}"/>
                </a:ext>
              </a:extLst>
            </p:cNvPr>
            <p:cNvSpPr/>
            <p:nvPr/>
          </p:nvSpPr>
          <p:spPr bwMode="gray">
            <a:xfrm>
              <a:off x="4155808" y="4037563"/>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Rectangle 51">
              <a:extLst>
                <a:ext uri="{FF2B5EF4-FFF2-40B4-BE49-F238E27FC236}">
                  <a16:creationId xmlns:a16="http://schemas.microsoft.com/office/drawing/2014/main" id="{B0F2EB71-8F65-7B0D-E5A6-20A96B4ED338}"/>
                </a:ext>
              </a:extLst>
            </p:cNvPr>
            <p:cNvSpPr/>
            <p:nvPr/>
          </p:nvSpPr>
          <p:spPr bwMode="gray">
            <a:xfrm>
              <a:off x="4409808" y="4037563"/>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6" name="Group 105">
            <a:extLst>
              <a:ext uri="{FF2B5EF4-FFF2-40B4-BE49-F238E27FC236}">
                <a16:creationId xmlns:a16="http://schemas.microsoft.com/office/drawing/2014/main" id="{EFBB0671-B6FE-F0A0-5363-32C701FB22EF}"/>
              </a:ext>
            </a:extLst>
          </p:cNvPr>
          <p:cNvGrpSpPr/>
          <p:nvPr/>
        </p:nvGrpSpPr>
        <p:grpSpPr>
          <a:xfrm>
            <a:off x="8140516" y="4191175"/>
            <a:ext cx="690880" cy="73152"/>
            <a:chOff x="8140516" y="4037563"/>
            <a:chExt cx="690880" cy="73152"/>
          </a:xfrm>
        </p:grpSpPr>
        <p:sp>
          <p:nvSpPr>
            <p:cNvPr id="53" name="Rectangle 52">
              <a:extLst>
                <a:ext uri="{FF2B5EF4-FFF2-40B4-BE49-F238E27FC236}">
                  <a16:creationId xmlns:a16="http://schemas.microsoft.com/office/drawing/2014/main" id="{F94A5AEC-703E-10BD-68D0-CBA39666E139}"/>
                </a:ext>
              </a:extLst>
            </p:cNvPr>
            <p:cNvSpPr/>
            <p:nvPr/>
          </p:nvSpPr>
          <p:spPr bwMode="gray">
            <a:xfrm>
              <a:off x="8140516" y="4037563"/>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Rectangle 53">
              <a:extLst>
                <a:ext uri="{FF2B5EF4-FFF2-40B4-BE49-F238E27FC236}">
                  <a16:creationId xmlns:a16="http://schemas.microsoft.com/office/drawing/2014/main" id="{66317D5E-052F-FF6E-E3F5-8DA8CAA70123}"/>
                </a:ext>
              </a:extLst>
            </p:cNvPr>
            <p:cNvSpPr/>
            <p:nvPr/>
          </p:nvSpPr>
          <p:spPr bwMode="gray">
            <a:xfrm>
              <a:off x="8394516" y="4037563"/>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Rectangle 54">
              <a:extLst>
                <a:ext uri="{FF2B5EF4-FFF2-40B4-BE49-F238E27FC236}">
                  <a16:creationId xmlns:a16="http://schemas.microsoft.com/office/drawing/2014/main" id="{636FF5EC-4472-9184-CEB3-D1641F84D425}"/>
                </a:ext>
              </a:extLst>
            </p:cNvPr>
            <p:cNvSpPr/>
            <p:nvPr/>
          </p:nvSpPr>
          <p:spPr bwMode="gray">
            <a:xfrm>
              <a:off x="8648516" y="4037563"/>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4" name="Group 93">
            <a:extLst>
              <a:ext uri="{FF2B5EF4-FFF2-40B4-BE49-F238E27FC236}">
                <a16:creationId xmlns:a16="http://schemas.microsoft.com/office/drawing/2014/main" id="{FCCBE0D1-1A1C-4511-4BE3-D5DFFA30F841}"/>
              </a:ext>
            </a:extLst>
          </p:cNvPr>
          <p:cNvGrpSpPr/>
          <p:nvPr/>
        </p:nvGrpSpPr>
        <p:grpSpPr>
          <a:xfrm>
            <a:off x="3901808" y="4507154"/>
            <a:ext cx="690880" cy="73152"/>
            <a:chOff x="3901808" y="4424028"/>
            <a:chExt cx="690880" cy="73152"/>
          </a:xfrm>
        </p:grpSpPr>
        <p:sp>
          <p:nvSpPr>
            <p:cNvPr id="56" name="Rectangle 55">
              <a:extLst>
                <a:ext uri="{FF2B5EF4-FFF2-40B4-BE49-F238E27FC236}">
                  <a16:creationId xmlns:a16="http://schemas.microsoft.com/office/drawing/2014/main" id="{48B5B5DC-A28C-0F70-FC43-5E6CF0878A78}"/>
                </a:ext>
              </a:extLst>
            </p:cNvPr>
            <p:cNvSpPr/>
            <p:nvPr/>
          </p:nvSpPr>
          <p:spPr bwMode="gray">
            <a:xfrm>
              <a:off x="3901808" y="442402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Rectangle 56">
              <a:extLst>
                <a:ext uri="{FF2B5EF4-FFF2-40B4-BE49-F238E27FC236}">
                  <a16:creationId xmlns:a16="http://schemas.microsoft.com/office/drawing/2014/main" id="{41F7596B-32CE-8B09-22B0-5A41E1CB0AB8}"/>
                </a:ext>
              </a:extLst>
            </p:cNvPr>
            <p:cNvSpPr/>
            <p:nvPr/>
          </p:nvSpPr>
          <p:spPr bwMode="gray">
            <a:xfrm>
              <a:off x="4155808" y="442402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Rectangle 57">
              <a:extLst>
                <a:ext uri="{FF2B5EF4-FFF2-40B4-BE49-F238E27FC236}">
                  <a16:creationId xmlns:a16="http://schemas.microsoft.com/office/drawing/2014/main" id="{A672C619-A827-CC13-0A75-2FDC88553965}"/>
                </a:ext>
              </a:extLst>
            </p:cNvPr>
            <p:cNvSpPr/>
            <p:nvPr/>
          </p:nvSpPr>
          <p:spPr bwMode="gray">
            <a:xfrm>
              <a:off x="4409808" y="442402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7" name="Group 106">
            <a:extLst>
              <a:ext uri="{FF2B5EF4-FFF2-40B4-BE49-F238E27FC236}">
                <a16:creationId xmlns:a16="http://schemas.microsoft.com/office/drawing/2014/main" id="{B5E276E3-92B4-3144-B45B-4E47FB4671E6}"/>
              </a:ext>
            </a:extLst>
          </p:cNvPr>
          <p:cNvGrpSpPr/>
          <p:nvPr/>
        </p:nvGrpSpPr>
        <p:grpSpPr>
          <a:xfrm>
            <a:off x="8140516" y="4507154"/>
            <a:ext cx="690880" cy="73152"/>
            <a:chOff x="8140516" y="4424028"/>
            <a:chExt cx="690880" cy="73152"/>
          </a:xfrm>
        </p:grpSpPr>
        <p:sp>
          <p:nvSpPr>
            <p:cNvPr id="59" name="Rectangle 58">
              <a:extLst>
                <a:ext uri="{FF2B5EF4-FFF2-40B4-BE49-F238E27FC236}">
                  <a16:creationId xmlns:a16="http://schemas.microsoft.com/office/drawing/2014/main" id="{22D15C9E-E0C7-5624-B0E1-B00901FB8AF7}"/>
                </a:ext>
              </a:extLst>
            </p:cNvPr>
            <p:cNvSpPr/>
            <p:nvPr/>
          </p:nvSpPr>
          <p:spPr bwMode="gray">
            <a:xfrm>
              <a:off x="8140516" y="4424028"/>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0" name="Rectangle 59">
              <a:extLst>
                <a:ext uri="{FF2B5EF4-FFF2-40B4-BE49-F238E27FC236}">
                  <a16:creationId xmlns:a16="http://schemas.microsoft.com/office/drawing/2014/main" id="{CF50DBE0-AB01-C46F-0671-745A2D9C7D28}"/>
                </a:ext>
              </a:extLst>
            </p:cNvPr>
            <p:cNvSpPr/>
            <p:nvPr/>
          </p:nvSpPr>
          <p:spPr bwMode="gray">
            <a:xfrm>
              <a:off x="8394516" y="4424028"/>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Rectangle 60">
              <a:extLst>
                <a:ext uri="{FF2B5EF4-FFF2-40B4-BE49-F238E27FC236}">
                  <a16:creationId xmlns:a16="http://schemas.microsoft.com/office/drawing/2014/main" id="{B6306CEF-1C82-29E4-27C0-9D20FCD8436D}"/>
                </a:ext>
              </a:extLst>
            </p:cNvPr>
            <p:cNvSpPr/>
            <p:nvPr/>
          </p:nvSpPr>
          <p:spPr bwMode="gray">
            <a:xfrm>
              <a:off x="8648516" y="4424028"/>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3" name="Group 92">
            <a:extLst>
              <a:ext uri="{FF2B5EF4-FFF2-40B4-BE49-F238E27FC236}">
                <a16:creationId xmlns:a16="http://schemas.microsoft.com/office/drawing/2014/main" id="{70279ECF-83A1-50ED-9168-BD28908FE49E}"/>
              </a:ext>
            </a:extLst>
          </p:cNvPr>
          <p:cNvGrpSpPr/>
          <p:nvPr/>
        </p:nvGrpSpPr>
        <p:grpSpPr>
          <a:xfrm>
            <a:off x="3901808" y="4883470"/>
            <a:ext cx="690880" cy="73152"/>
            <a:chOff x="3901808" y="4908758"/>
            <a:chExt cx="690880" cy="73152"/>
          </a:xfrm>
        </p:grpSpPr>
        <p:sp>
          <p:nvSpPr>
            <p:cNvPr id="62" name="Rectangle 61">
              <a:extLst>
                <a:ext uri="{FF2B5EF4-FFF2-40B4-BE49-F238E27FC236}">
                  <a16:creationId xmlns:a16="http://schemas.microsoft.com/office/drawing/2014/main" id="{E412EE70-146C-D510-7410-52C5AC29D522}"/>
                </a:ext>
              </a:extLst>
            </p:cNvPr>
            <p:cNvSpPr/>
            <p:nvPr/>
          </p:nvSpPr>
          <p:spPr bwMode="gray">
            <a:xfrm>
              <a:off x="3901808" y="490875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3" name="Rectangle 62">
              <a:extLst>
                <a:ext uri="{FF2B5EF4-FFF2-40B4-BE49-F238E27FC236}">
                  <a16:creationId xmlns:a16="http://schemas.microsoft.com/office/drawing/2014/main" id="{36AA9F98-481F-0C6F-F273-63B35725E287}"/>
                </a:ext>
              </a:extLst>
            </p:cNvPr>
            <p:cNvSpPr/>
            <p:nvPr/>
          </p:nvSpPr>
          <p:spPr bwMode="gray">
            <a:xfrm>
              <a:off x="4155808" y="490875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Rectangle 63">
              <a:extLst>
                <a:ext uri="{FF2B5EF4-FFF2-40B4-BE49-F238E27FC236}">
                  <a16:creationId xmlns:a16="http://schemas.microsoft.com/office/drawing/2014/main" id="{A519ECB8-1C1F-C845-25B9-40EF084DEB28}"/>
                </a:ext>
              </a:extLst>
            </p:cNvPr>
            <p:cNvSpPr/>
            <p:nvPr/>
          </p:nvSpPr>
          <p:spPr bwMode="gray">
            <a:xfrm>
              <a:off x="4409808" y="4908758"/>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8" name="Group 107">
            <a:extLst>
              <a:ext uri="{FF2B5EF4-FFF2-40B4-BE49-F238E27FC236}">
                <a16:creationId xmlns:a16="http://schemas.microsoft.com/office/drawing/2014/main" id="{78C9BED7-A5C4-3859-3265-91AC9E7A593D}"/>
              </a:ext>
            </a:extLst>
          </p:cNvPr>
          <p:cNvGrpSpPr/>
          <p:nvPr/>
        </p:nvGrpSpPr>
        <p:grpSpPr>
          <a:xfrm>
            <a:off x="8140516" y="4883470"/>
            <a:ext cx="690880" cy="73152"/>
            <a:chOff x="8140516" y="4908758"/>
            <a:chExt cx="690880" cy="73152"/>
          </a:xfrm>
        </p:grpSpPr>
        <p:sp>
          <p:nvSpPr>
            <p:cNvPr id="65" name="Rectangle 64">
              <a:extLst>
                <a:ext uri="{FF2B5EF4-FFF2-40B4-BE49-F238E27FC236}">
                  <a16:creationId xmlns:a16="http://schemas.microsoft.com/office/drawing/2014/main" id="{33BDD463-08AB-0F76-5D82-6525C163BE5D}"/>
                </a:ext>
              </a:extLst>
            </p:cNvPr>
            <p:cNvSpPr/>
            <p:nvPr/>
          </p:nvSpPr>
          <p:spPr bwMode="gray">
            <a:xfrm>
              <a:off x="8140516" y="4908758"/>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Rectangle 65">
              <a:extLst>
                <a:ext uri="{FF2B5EF4-FFF2-40B4-BE49-F238E27FC236}">
                  <a16:creationId xmlns:a16="http://schemas.microsoft.com/office/drawing/2014/main" id="{9125A6B3-554B-7A62-AD9D-5165771F8457}"/>
                </a:ext>
              </a:extLst>
            </p:cNvPr>
            <p:cNvSpPr/>
            <p:nvPr/>
          </p:nvSpPr>
          <p:spPr bwMode="gray">
            <a:xfrm>
              <a:off x="8394516" y="4908758"/>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Rectangle 66">
              <a:extLst>
                <a:ext uri="{FF2B5EF4-FFF2-40B4-BE49-F238E27FC236}">
                  <a16:creationId xmlns:a16="http://schemas.microsoft.com/office/drawing/2014/main" id="{81B2D45E-1507-7E5A-F800-077C78E37FC8}"/>
                </a:ext>
              </a:extLst>
            </p:cNvPr>
            <p:cNvSpPr/>
            <p:nvPr/>
          </p:nvSpPr>
          <p:spPr bwMode="gray">
            <a:xfrm>
              <a:off x="8648516" y="4908758"/>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2" name="Group 91">
            <a:extLst>
              <a:ext uri="{FF2B5EF4-FFF2-40B4-BE49-F238E27FC236}">
                <a16:creationId xmlns:a16="http://schemas.microsoft.com/office/drawing/2014/main" id="{CC4C3A37-1121-C6FB-EB0B-E17C9A800258}"/>
              </a:ext>
            </a:extLst>
          </p:cNvPr>
          <p:cNvGrpSpPr/>
          <p:nvPr/>
        </p:nvGrpSpPr>
        <p:grpSpPr>
          <a:xfrm>
            <a:off x="3901808" y="5241494"/>
            <a:ext cx="690880" cy="73152"/>
            <a:chOff x="3901808" y="5356912"/>
            <a:chExt cx="690880" cy="73152"/>
          </a:xfrm>
        </p:grpSpPr>
        <p:sp>
          <p:nvSpPr>
            <p:cNvPr id="68" name="Rectangle 67">
              <a:extLst>
                <a:ext uri="{FF2B5EF4-FFF2-40B4-BE49-F238E27FC236}">
                  <a16:creationId xmlns:a16="http://schemas.microsoft.com/office/drawing/2014/main" id="{73E1946C-F9F5-0A75-2E93-6769CD6F8F0B}"/>
                </a:ext>
              </a:extLst>
            </p:cNvPr>
            <p:cNvSpPr/>
            <p:nvPr/>
          </p:nvSpPr>
          <p:spPr bwMode="gray">
            <a:xfrm>
              <a:off x="3901808" y="535691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9" name="Rectangle 68">
              <a:extLst>
                <a:ext uri="{FF2B5EF4-FFF2-40B4-BE49-F238E27FC236}">
                  <a16:creationId xmlns:a16="http://schemas.microsoft.com/office/drawing/2014/main" id="{91D0B5A5-C4E8-C868-9546-DC73ACFB6436}"/>
                </a:ext>
              </a:extLst>
            </p:cNvPr>
            <p:cNvSpPr/>
            <p:nvPr/>
          </p:nvSpPr>
          <p:spPr bwMode="gray">
            <a:xfrm>
              <a:off x="4155808" y="535691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0" name="Rectangle 69">
              <a:extLst>
                <a:ext uri="{FF2B5EF4-FFF2-40B4-BE49-F238E27FC236}">
                  <a16:creationId xmlns:a16="http://schemas.microsoft.com/office/drawing/2014/main" id="{5DE7066F-9D07-89B0-D37B-0A6F221E4353}"/>
                </a:ext>
              </a:extLst>
            </p:cNvPr>
            <p:cNvSpPr/>
            <p:nvPr/>
          </p:nvSpPr>
          <p:spPr bwMode="gray">
            <a:xfrm>
              <a:off x="4409808" y="5356912"/>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09" name="Group 108">
            <a:extLst>
              <a:ext uri="{FF2B5EF4-FFF2-40B4-BE49-F238E27FC236}">
                <a16:creationId xmlns:a16="http://schemas.microsoft.com/office/drawing/2014/main" id="{37792816-6DC3-728C-83C1-B134846EF2A0}"/>
              </a:ext>
            </a:extLst>
          </p:cNvPr>
          <p:cNvGrpSpPr/>
          <p:nvPr/>
        </p:nvGrpSpPr>
        <p:grpSpPr>
          <a:xfrm>
            <a:off x="8140516" y="5241494"/>
            <a:ext cx="690880" cy="73152"/>
            <a:chOff x="8140516" y="5356912"/>
            <a:chExt cx="690880" cy="73152"/>
          </a:xfrm>
        </p:grpSpPr>
        <p:sp>
          <p:nvSpPr>
            <p:cNvPr id="71" name="Rectangle 70">
              <a:extLst>
                <a:ext uri="{FF2B5EF4-FFF2-40B4-BE49-F238E27FC236}">
                  <a16:creationId xmlns:a16="http://schemas.microsoft.com/office/drawing/2014/main" id="{AFA21BBA-6765-D49E-62B0-90FA109C70F0}"/>
                </a:ext>
              </a:extLst>
            </p:cNvPr>
            <p:cNvSpPr/>
            <p:nvPr/>
          </p:nvSpPr>
          <p:spPr bwMode="gray">
            <a:xfrm>
              <a:off x="8140516" y="5356912"/>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2" name="Rectangle 71">
              <a:extLst>
                <a:ext uri="{FF2B5EF4-FFF2-40B4-BE49-F238E27FC236}">
                  <a16:creationId xmlns:a16="http://schemas.microsoft.com/office/drawing/2014/main" id="{B0F820F8-4E99-B58D-CD37-C1C5AA204312}"/>
                </a:ext>
              </a:extLst>
            </p:cNvPr>
            <p:cNvSpPr/>
            <p:nvPr/>
          </p:nvSpPr>
          <p:spPr bwMode="gray">
            <a:xfrm>
              <a:off x="8394516" y="5356912"/>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3" name="Rectangle 72">
              <a:extLst>
                <a:ext uri="{FF2B5EF4-FFF2-40B4-BE49-F238E27FC236}">
                  <a16:creationId xmlns:a16="http://schemas.microsoft.com/office/drawing/2014/main" id="{46D3A4D4-6459-4DEC-69E9-652110889765}"/>
                </a:ext>
              </a:extLst>
            </p:cNvPr>
            <p:cNvSpPr/>
            <p:nvPr/>
          </p:nvSpPr>
          <p:spPr bwMode="gray">
            <a:xfrm>
              <a:off x="8648516" y="5356912"/>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0" name="Group 89">
            <a:extLst>
              <a:ext uri="{FF2B5EF4-FFF2-40B4-BE49-F238E27FC236}">
                <a16:creationId xmlns:a16="http://schemas.microsoft.com/office/drawing/2014/main" id="{D3D242FB-4D59-77B5-B236-31432E6A4802}"/>
              </a:ext>
            </a:extLst>
          </p:cNvPr>
          <p:cNvGrpSpPr/>
          <p:nvPr/>
        </p:nvGrpSpPr>
        <p:grpSpPr>
          <a:xfrm>
            <a:off x="3901808" y="5874409"/>
            <a:ext cx="690880" cy="73152"/>
            <a:chOff x="3901808" y="6052539"/>
            <a:chExt cx="690880" cy="73152"/>
          </a:xfrm>
        </p:grpSpPr>
        <p:sp>
          <p:nvSpPr>
            <p:cNvPr id="74" name="Rectangle 73">
              <a:extLst>
                <a:ext uri="{FF2B5EF4-FFF2-40B4-BE49-F238E27FC236}">
                  <a16:creationId xmlns:a16="http://schemas.microsoft.com/office/drawing/2014/main" id="{F2AFC2A8-FC45-D5DA-D8E0-970986291BE7}"/>
                </a:ext>
              </a:extLst>
            </p:cNvPr>
            <p:cNvSpPr/>
            <p:nvPr/>
          </p:nvSpPr>
          <p:spPr bwMode="gray">
            <a:xfrm>
              <a:off x="3901808" y="605253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Rectangle 74">
              <a:extLst>
                <a:ext uri="{FF2B5EF4-FFF2-40B4-BE49-F238E27FC236}">
                  <a16:creationId xmlns:a16="http://schemas.microsoft.com/office/drawing/2014/main" id="{230AE5F8-3EB3-F019-165F-FDC2BFF16A27}"/>
                </a:ext>
              </a:extLst>
            </p:cNvPr>
            <p:cNvSpPr/>
            <p:nvPr/>
          </p:nvSpPr>
          <p:spPr bwMode="gray">
            <a:xfrm>
              <a:off x="4155808" y="605253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Rectangle 75">
              <a:extLst>
                <a:ext uri="{FF2B5EF4-FFF2-40B4-BE49-F238E27FC236}">
                  <a16:creationId xmlns:a16="http://schemas.microsoft.com/office/drawing/2014/main" id="{D816DD8F-9A2E-E8E9-F716-DBCFB7F5C9DF}"/>
                </a:ext>
              </a:extLst>
            </p:cNvPr>
            <p:cNvSpPr/>
            <p:nvPr/>
          </p:nvSpPr>
          <p:spPr bwMode="gray">
            <a:xfrm>
              <a:off x="4409808" y="605253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11" name="Group 110">
            <a:extLst>
              <a:ext uri="{FF2B5EF4-FFF2-40B4-BE49-F238E27FC236}">
                <a16:creationId xmlns:a16="http://schemas.microsoft.com/office/drawing/2014/main" id="{82316A7A-13A7-FB16-EB82-A6903AE00A48}"/>
              </a:ext>
            </a:extLst>
          </p:cNvPr>
          <p:cNvGrpSpPr/>
          <p:nvPr/>
        </p:nvGrpSpPr>
        <p:grpSpPr>
          <a:xfrm>
            <a:off x="8140516" y="5874409"/>
            <a:ext cx="690880" cy="73152"/>
            <a:chOff x="8140516" y="6052539"/>
            <a:chExt cx="690880" cy="73152"/>
          </a:xfrm>
        </p:grpSpPr>
        <p:sp>
          <p:nvSpPr>
            <p:cNvPr id="77" name="Rectangle 76">
              <a:extLst>
                <a:ext uri="{FF2B5EF4-FFF2-40B4-BE49-F238E27FC236}">
                  <a16:creationId xmlns:a16="http://schemas.microsoft.com/office/drawing/2014/main" id="{529E2C5F-A8BF-B1D5-5935-CD733A4F4982}"/>
                </a:ext>
              </a:extLst>
            </p:cNvPr>
            <p:cNvSpPr/>
            <p:nvPr/>
          </p:nvSpPr>
          <p:spPr bwMode="gray">
            <a:xfrm>
              <a:off x="8140516" y="6052539"/>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Rectangle 77">
              <a:extLst>
                <a:ext uri="{FF2B5EF4-FFF2-40B4-BE49-F238E27FC236}">
                  <a16:creationId xmlns:a16="http://schemas.microsoft.com/office/drawing/2014/main" id="{C10E698B-C0F9-1156-F442-7F7E00BF598A}"/>
                </a:ext>
              </a:extLst>
            </p:cNvPr>
            <p:cNvSpPr/>
            <p:nvPr/>
          </p:nvSpPr>
          <p:spPr bwMode="gray">
            <a:xfrm>
              <a:off x="8394516" y="6052539"/>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Rectangle 78">
              <a:extLst>
                <a:ext uri="{FF2B5EF4-FFF2-40B4-BE49-F238E27FC236}">
                  <a16:creationId xmlns:a16="http://schemas.microsoft.com/office/drawing/2014/main" id="{EAB140D2-3A93-4A27-9AAC-66B759000C1A}"/>
                </a:ext>
              </a:extLst>
            </p:cNvPr>
            <p:cNvSpPr/>
            <p:nvPr/>
          </p:nvSpPr>
          <p:spPr bwMode="gray">
            <a:xfrm>
              <a:off x="8648516" y="6052539"/>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91" name="Group 90">
            <a:extLst>
              <a:ext uri="{FF2B5EF4-FFF2-40B4-BE49-F238E27FC236}">
                <a16:creationId xmlns:a16="http://schemas.microsoft.com/office/drawing/2014/main" id="{8315B93E-5F43-2CCC-5C8A-BD349F6F4DF0}"/>
              </a:ext>
            </a:extLst>
          </p:cNvPr>
          <p:cNvGrpSpPr/>
          <p:nvPr/>
        </p:nvGrpSpPr>
        <p:grpSpPr>
          <a:xfrm>
            <a:off x="3901808" y="5623265"/>
            <a:ext cx="690880" cy="73152"/>
            <a:chOff x="3901808" y="5707119"/>
            <a:chExt cx="690880" cy="73152"/>
          </a:xfrm>
        </p:grpSpPr>
        <p:sp>
          <p:nvSpPr>
            <p:cNvPr id="80" name="Rectangle 79">
              <a:extLst>
                <a:ext uri="{FF2B5EF4-FFF2-40B4-BE49-F238E27FC236}">
                  <a16:creationId xmlns:a16="http://schemas.microsoft.com/office/drawing/2014/main" id="{CF9A4A39-F1E5-6F30-1819-94EAEE2B0D2B}"/>
                </a:ext>
              </a:extLst>
            </p:cNvPr>
            <p:cNvSpPr/>
            <p:nvPr/>
          </p:nvSpPr>
          <p:spPr bwMode="gray">
            <a:xfrm>
              <a:off x="3901808" y="5707119"/>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Rectangle 80">
              <a:extLst>
                <a:ext uri="{FF2B5EF4-FFF2-40B4-BE49-F238E27FC236}">
                  <a16:creationId xmlns:a16="http://schemas.microsoft.com/office/drawing/2014/main" id="{8C085218-CC8E-6AE8-6635-8282538219AA}"/>
                </a:ext>
              </a:extLst>
            </p:cNvPr>
            <p:cNvSpPr/>
            <p:nvPr/>
          </p:nvSpPr>
          <p:spPr bwMode="gray">
            <a:xfrm>
              <a:off x="4155808" y="5707119"/>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Rectangle 81">
              <a:extLst>
                <a:ext uri="{FF2B5EF4-FFF2-40B4-BE49-F238E27FC236}">
                  <a16:creationId xmlns:a16="http://schemas.microsoft.com/office/drawing/2014/main" id="{96F266CC-32D7-DF0B-8E77-597B30E2DECA}"/>
                </a:ext>
              </a:extLst>
            </p:cNvPr>
            <p:cNvSpPr/>
            <p:nvPr/>
          </p:nvSpPr>
          <p:spPr bwMode="gray">
            <a:xfrm>
              <a:off x="4409808" y="5707119"/>
              <a:ext cx="182880" cy="73152"/>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10" name="Group 109">
            <a:extLst>
              <a:ext uri="{FF2B5EF4-FFF2-40B4-BE49-F238E27FC236}">
                <a16:creationId xmlns:a16="http://schemas.microsoft.com/office/drawing/2014/main" id="{9F780954-02B1-CAAD-CAB0-2737E9E80431}"/>
              </a:ext>
            </a:extLst>
          </p:cNvPr>
          <p:cNvGrpSpPr/>
          <p:nvPr/>
        </p:nvGrpSpPr>
        <p:grpSpPr>
          <a:xfrm>
            <a:off x="8140516" y="5623265"/>
            <a:ext cx="690880" cy="73152"/>
            <a:chOff x="8140516" y="5707119"/>
            <a:chExt cx="690880" cy="73152"/>
          </a:xfrm>
        </p:grpSpPr>
        <p:sp>
          <p:nvSpPr>
            <p:cNvPr id="83" name="Rectangle 82">
              <a:extLst>
                <a:ext uri="{FF2B5EF4-FFF2-40B4-BE49-F238E27FC236}">
                  <a16:creationId xmlns:a16="http://schemas.microsoft.com/office/drawing/2014/main" id="{B44963FD-66AB-DA84-B1D6-B4970BE0C468}"/>
                </a:ext>
              </a:extLst>
            </p:cNvPr>
            <p:cNvSpPr/>
            <p:nvPr/>
          </p:nvSpPr>
          <p:spPr bwMode="gray">
            <a:xfrm>
              <a:off x="8140516" y="570711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Rectangle 83">
              <a:extLst>
                <a:ext uri="{FF2B5EF4-FFF2-40B4-BE49-F238E27FC236}">
                  <a16:creationId xmlns:a16="http://schemas.microsoft.com/office/drawing/2014/main" id="{48B55593-DC9B-ED2A-0EEA-A38E3A33E169}"/>
                </a:ext>
              </a:extLst>
            </p:cNvPr>
            <p:cNvSpPr/>
            <p:nvPr/>
          </p:nvSpPr>
          <p:spPr bwMode="gray">
            <a:xfrm>
              <a:off x="8394516" y="570711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5" name="Rectangle 84">
              <a:extLst>
                <a:ext uri="{FF2B5EF4-FFF2-40B4-BE49-F238E27FC236}">
                  <a16:creationId xmlns:a16="http://schemas.microsoft.com/office/drawing/2014/main" id="{8CD89D42-5A57-6563-4BAA-FB9DC380FFC3}"/>
                </a:ext>
              </a:extLst>
            </p:cNvPr>
            <p:cNvSpPr/>
            <p:nvPr/>
          </p:nvSpPr>
          <p:spPr bwMode="gray">
            <a:xfrm>
              <a:off x="8648516" y="5707119"/>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87" name="Rectangle 86">
            <a:extLst>
              <a:ext uri="{FF2B5EF4-FFF2-40B4-BE49-F238E27FC236}">
                <a16:creationId xmlns:a16="http://schemas.microsoft.com/office/drawing/2014/main" id="{6F90682B-E9FD-97D5-5C47-8850A95A44AF}"/>
              </a:ext>
            </a:extLst>
          </p:cNvPr>
          <p:cNvSpPr/>
          <p:nvPr/>
        </p:nvSpPr>
        <p:spPr bwMode="gray">
          <a:xfrm>
            <a:off x="1190192" y="3394710"/>
            <a:ext cx="45720" cy="380480"/>
          </a:xfrm>
          <a:prstGeom prst="rect">
            <a:avLst/>
          </a:prstGeom>
          <a:solidFill>
            <a:schemeClr val="accent5"/>
          </a:solidFill>
          <a:ln>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DC8C8C62-6B57-0891-9247-CE872C06ABAB}"/>
              </a:ext>
            </a:extLst>
          </p:cNvPr>
          <p:cNvSpPr/>
          <p:nvPr/>
        </p:nvSpPr>
        <p:spPr bwMode="gray">
          <a:xfrm>
            <a:off x="1190192" y="3778245"/>
            <a:ext cx="45720" cy="1121660"/>
          </a:xfrm>
          <a:prstGeom prst="rect">
            <a:avLst/>
          </a:prstGeom>
          <a:solidFill>
            <a:schemeClr val="accent6"/>
          </a:solidFill>
          <a:ln>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Rectangle 88">
            <a:extLst>
              <a:ext uri="{FF2B5EF4-FFF2-40B4-BE49-F238E27FC236}">
                <a16:creationId xmlns:a16="http://schemas.microsoft.com/office/drawing/2014/main" id="{B56A9A05-821A-FC46-9E1C-0A4018250A52}"/>
              </a:ext>
            </a:extLst>
          </p:cNvPr>
          <p:cNvSpPr/>
          <p:nvPr/>
        </p:nvSpPr>
        <p:spPr bwMode="gray">
          <a:xfrm>
            <a:off x="1190192" y="4876920"/>
            <a:ext cx="45720" cy="1248771"/>
          </a:xfrm>
          <a:prstGeom prst="rect">
            <a:avLst/>
          </a:prstGeom>
          <a:solidFill>
            <a:srgbClr val="C126C8"/>
          </a:solidFill>
          <a:ln>
            <a:solidFill>
              <a:srgbClr val="C126C8"/>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2577980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CDE224-24D5-31A5-E7A1-7F08D50C209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07CDE224-24D5-31A5-E7A1-7F08D50C20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40E384-4489-E790-CAFF-E63A7171B6F1}"/>
              </a:ext>
            </a:extLst>
          </p:cNvPr>
          <p:cNvSpPr>
            <a:spLocks noGrp="1"/>
          </p:cNvSpPr>
          <p:nvPr>
            <p:ph type="title"/>
          </p:nvPr>
        </p:nvSpPr>
        <p:spPr/>
        <p:txBody>
          <a:bodyPr vert="horz" rIns="91440"/>
          <a:lstStyle/>
          <a:p>
            <a:r>
              <a:rPr lang="en-US" dirty="0"/>
              <a:t>Team</a:t>
            </a:r>
          </a:p>
        </p:txBody>
      </p:sp>
    </p:spTree>
    <p:extLst>
      <p:ext uri="{BB962C8B-B14F-4D97-AF65-F5344CB8AC3E}">
        <p14:creationId xmlns:p14="http://schemas.microsoft.com/office/powerpoint/2010/main" val="387511235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00CDC-6055-0255-9C27-8CD14BED1B9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266DCF8F-4CD6-ACA5-EA9E-31E802E38BC0}"/>
              </a:ext>
            </a:extLst>
          </p:cNvPr>
          <p:cNvSpPr>
            <a:spLocks noGrp="1"/>
          </p:cNvSpPr>
          <p:nvPr>
            <p:ph type="body" sz="quarter" idx="14"/>
          </p:nvPr>
        </p:nvSpPr>
        <p:spPr/>
        <p:txBody>
          <a:bodyPr/>
          <a:lstStyle/>
          <a:p>
            <a:r>
              <a:rPr lang="en-US" b="1" dirty="0"/>
              <a:t>Zacharia Thurston</a:t>
            </a:r>
          </a:p>
          <a:p>
            <a:r>
              <a:rPr lang="en-US" dirty="0"/>
              <a:t>MS in Sustainability Management</a:t>
            </a:r>
          </a:p>
          <a:p>
            <a:r>
              <a:rPr lang="en-US" dirty="0"/>
              <a:t>Team Lead | Climate Knowledge Initiative Fellow</a:t>
            </a:r>
          </a:p>
        </p:txBody>
      </p:sp>
      <p:sp>
        <p:nvSpPr>
          <p:cNvPr id="8" name="Text Placeholder 7">
            <a:extLst>
              <a:ext uri="{FF2B5EF4-FFF2-40B4-BE49-F238E27FC236}">
                <a16:creationId xmlns:a16="http://schemas.microsoft.com/office/drawing/2014/main" id="{522352AB-B781-8731-B45F-2F1510A6271E}"/>
              </a:ext>
            </a:extLst>
          </p:cNvPr>
          <p:cNvSpPr>
            <a:spLocks noGrp="1"/>
          </p:cNvSpPr>
          <p:nvPr>
            <p:ph type="body" sz="quarter" idx="15"/>
          </p:nvPr>
        </p:nvSpPr>
        <p:spPr/>
        <p:txBody>
          <a:bodyPr/>
          <a:lstStyle/>
          <a:p>
            <a:r>
              <a:rPr lang="en-US" b="1" dirty="0"/>
              <a:t>Pia Doris Morrow</a:t>
            </a:r>
          </a:p>
          <a:p>
            <a:r>
              <a:rPr lang="en-US" dirty="0"/>
              <a:t>MS in Sustainability Management</a:t>
            </a:r>
          </a:p>
          <a:p>
            <a:r>
              <a:rPr lang="en-US" dirty="0"/>
              <a:t>Team Co-lead | Climate Knowledge Initiative Fellow</a:t>
            </a:r>
          </a:p>
        </p:txBody>
      </p:sp>
      <p:sp>
        <p:nvSpPr>
          <p:cNvPr id="9" name="Text Placeholder 8">
            <a:extLst>
              <a:ext uri="{FF2B5EF4-FFF2-40B4-BE49-F238E27FC236}">
                <a16:creationId xmlns:a16="http://schemas.microsoft.com/office/drawing/2014/main" id="{B19D8086-41B8-4645-C7EC-5AC52739B95C}"/>
              </a:ext>
            </a:extLst>
          </p:cNvPr>
          <p:cNvSpPr>
            <a:spLocks noGrp="1"/>
          </p:cNvSpPr>
          <p:nvPr>
            <p:ph type="body" sz="quarter" idx="16"/>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Sevgi Helin </a:t>
            </a:r>
            <a:r>
              <a:rPr lang="en-US" b="1" dirty="0" err="1">
                <a:latin typeface="Arial" panose="020B0604020202020204" pitchFamily="34" charset="0"/>
                <a:ea typeface="Times New Roman" panose="02020603050405020304" pitchFamily="18" charset="0"/>
                <a:cs typeface="Arial" panose="020B0604020202020204" pitchFamily="34" charset="0"/>
              </a:rPr>
              <a:t>Tilkicioglu</a:t>
            </a:r>
            <a:endParaRPr lang="en-US" b="1" dirty="0">
              <a:latin typeface="Arial" panose="020B0604020202020204" pitchFamily="34" charset="0"/>
              <a:ea typeface="Times New Roman" panose="02020603050405020304" pitchFamily="18" charset="0"/>
              <a:cs typeface="Arial" panose="020B0604020202020204" pitchFamily="34" charset="0"/>
            </a:endParaRPr>
          </a:p>
          <a:p>
            <a:r>
              <a:rPr lang="en-US" dirty="0"/>
              <a:t>MBA, Columbia Business School</a:t>
            </a:r>
          </a:p>
          <a:p>
            <a:r>
              <a:rPr lang="en-US" dirty="0"/>
              <a:t>Climate Knowledge Initiative Fellow</a:t>
            </a:r>
          </a:p>
        </p:txBody>
      </p:sp>
      <p:sp>
        <p:nvSpPr>
          <p:cNvPr id="10" name="Text Placeholder 9">
            <a:extLst>
              <a:ext uri="{FF2B5EF4-FFF2-40B4-BE49-F238E27FC236}">
                <a16:creationId xmlns:a16="http://schemas.microsoft.com/office/drawing/2014/main" id="{08AECBDC-5BDF-FB2B-0A28-44D74C973A9D}"/>
              </a:ext>
            </a:extLst>
          </p:cNvPr>
          <p:cNvSpPr>
            <a:spLocks noGrp="1"/>
          </p:cNvSpPr>
          <p:nvPr>
            <p:ph type="body" sz="quarter" idx="17"/>
          </p:nvPr>
        </p:nvSpPr>
        <p:spPr/>
        <p:txBody>
          <a:bodyPr/>
          <a:lstStyle/>
          <a:p>
            <a:r>
              <a:rPr lang="en-US" b="1" dirty="0"/>
              <a:t>Heather Hartel</a:t>
            </a:r>
          </a:p>
          <a:p>
            <a:r>
              <a:rPr lang="en-US" dirty="0"/>
              <a:t>MBA, Columbia Business School</a:t>
            </a:r>
          </a:p>
          <a:p>
            <a:r>
              <a:rPr lang="en-US" dirty="0"/>
              <a:t>Climate Knowledge Initiative Fellow</a:t>
            </a:r>
          </a:p>
        </p:txBody>
      </p:sp>
      <p:sp>
        <p:nvSpPr>
          <p:cNvPr id="12" name="Text Placeholder 11">
            <a:extLst>
              <a:ext uri="{FF2B5EF4-FFF2-40B4-BE49-F238E27FC236}">
                <a16:creationId xmlns:a16="http://schemas.microsoft.com/office/drawing/2014/main" id="{27906359-A60B-C830-717C-38656EC661D4}"/>
              </a:ext>
            </a:extLst>
          </p:cNvPr>
          <p:cNvSpPr>
            <a:spLocks noGrp="1"/>
          </p:cNvSpPr>
          <p:nvPr>
            <p:ph type="body" sz="quarter" idx="19"/>
          </p:nvPr>
        </p:nvSpPr>
        <p:spPr/>
        <p:txBody>
          <a:bodyPr/>
          <a:lstStyle/>
          <a:p>
            <a:pPr indent="0"/>
            <a:r>
              <a:rPr lang="en-US" b="1" dirty="0">
                <a:ea typeface="Times New Roman" panose="02020603050405020304" pitchFamily="18" charset="0"/>
                <a:cs typeface="Arial"/>
              </a:rPr>
              <a:t>Stephanie Chen </a:t>
            </a:r>
          </a:p>
          <a:p>
            <a:r>
              <a:rPr lang="en-US" dirty="0"/>
              <a:t>MBA, Columbia Business School</a:t>
            </a:r>
          </a:p>
          <a:p>
            <a:r>
              <a:rPr lang="en-US" dirty="0"/>
              <a:t>Climate Knowledge Initiative Fellow</a:t>
            </a:r>
          </a:p>
        </p:txBody>
      </p:sp>
      <p:sp>
        <p:nvSpPr>
          <p:cNvPr id="14" name="Text Placeholder 13">
            <a:extLst>
              <a:ext uri="{FF2B5EF4-FFF2-40B4-BE49-F238E27FC236}">
                <a16:creationId xmlns:a16="http://schemas.microsoft.com/office/drawing/2014/main" id="{3CD42A20-5803-C82C-24E6-17BC4C6310AC}"/>
              </a:ext>
            </a:extLst>
          </p:cNvPr>
          <p:cNvSpPr>
            <a:spLocks noGrp="1"/>
          </p:cNvSpPr>
          <p:nvPr>
            <p:ph type="body" sz="quarter" idx="21"/>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Shubhangi Prasad</a:t>
            </a:r>
          </a:p>
          <a:p>
            <a:r>
              <a:rPr lang="en-US" dirty="0"/>
              <a:t>Master of Public Administration</a:t>
            </a:r>
          </a:p>
          <a:p>
            <a:r>
              <a:rPr lang="en-US" dirty="0"/>
              <a:t>Climate Knowledge Initiative Fellow</a:t>
            </a:r>
          </a:p>
        </p:txBody>
      </p:sp>
      <p:sp>
        <p:nvSpPr>
          <p:cNvPr id="16" name="Text Placeholder 15">
            <a:extLst>
              <a:ext uri="{FF2B5EF4-FFF2-40B4-BE49-F238E27FC236}">
                <a16:creationId xmlns:a16="http://schemas.microsoft.com/office/drawing/2014/main" id="{386D9A11-FDBB-3215-861A-2CEFAA5D2B15}"/>
              </a:ext>
            </a:extLst>
          </p:cNvPr>
          <p:cNvSpPr>
            <a:spLocks noGrp="1"/>
          </p:cNvSpPr>
          <p:nvPr>
            <p:ph type="body" sz="quarter" idx="23"/>
          </p:nvPr>
        </p:nvSpPr>
        <p:spPr/>
        <p:txBody>
          <a:bodyPr/>
          <a:lstStyle/>
          <a:p>
            <a:r>
              <a:rPr lang="en-US" b="1" dirty="0" err="1"/>
              <a:t>Faradisa</a:t>
            </a:r>
            <a:r>
              <a:rPr lang="en-US" b="1" dirty="0"/>
              <a:t> </a:t>
            </a:r>
            <a:r>
              <a:rPr lang="en-US" b="1" dirty="0" err="1"/>
              <a:t>Anintya</a:t>
            </a:r>
            <a:endParaRPr lang="en-US" b="1" dirty="0"/>
          </a:p>
          <a:p>
            <a:r>
              <a:rPr lang="en-US" dirty="0"/>
              <a:t>MBA, Columbia Business School</a:t>
            </a:r>
          </a:p>
          <a:p>
            <a:r>
              <a:rPr lang="en-US" dirty="0"/>
              <a:t>Climate Knowledge Initiative Fellow</a:t>
            </a:r>
          </a:p>
        </p:txBody>
      </p:sp>
      <p:sp>
        <p:nvSpPr>
          <p:cNvPr id="18" name="Text Placeholder 17">
            <a:extLst>
              <a:ext uri="{FF2B5EF4-FFF2-40B4-BE49-F238E27FC236}">
                <a16:creationId xmlns:a16="http://schemas.microsoft.com/office/drawing/2014/main" id="{A027732E-E550-DBD0-F694-BFF4E342C12A}"/>
              </a:ext>
            </a:extLst>
          </p:cNvPr>
          <p:cNvSpPr>
            <a:spLocks noGrp="1"/>
          </p:cNvSpPr>
          <p:nvPr>
            <p:ph type="body" sz="quarter" idx="25"/>
          </p:nvPr>
        </p:nvSpPr>
        <p:spPr/>
        <p:txBody>
          <a:bodyPr/>
          <a:lstStyle/>
          <a:p>
            <a:r>
              <a:rPr lang="en-US" b="1" dirty="0"/>
              <a:t>Una </a:t>
            </a:r>
            <a:r>
              <a:rPr lang="en-US" b="1" dirty="0" err="1"/>
              <a:t>Oljaca</a:t>
            </a:r>
            <a:endParaRPr lang="en-US" b="1" dirty="0"/>
          </a:p>
          <a:p>
            <a:r>
              <a:rPr lang="en-US" dirty="0"/>
              <a:t>BA in Economics, Political Sciences, and Government</a:t>
            </a:r>
          </a:p>
          <a:p>
            <a:r>
              <a:rPr lang="en-US" dirty="0"/>
              <a:t>Climate Knowledge Initiative Fellow</a:t>
            </a:r>
          </a:p>
        </p:txBody>
      </p:sp>
      <p:sp>
        <p:nvSpPr>
          <p:cNvPr id="19" name="Text Placeholder 18">
            <a:extLst>
              <a:ext uri="{FF2B5EF4-FFF2-40B4-BE49-F238E27FC236}">
                <a16:creationId xmlns:a16="http://schemas.microsoft.com/office/drawing/2014/main" id="{2FD743B3-F0D6-20A4-BF2C-798BEDF9EFC2}"/>
              </a:ext>
            </a:extLst>
          </p:cNvPr>
          <p:cNvSpPr>
            <a:spLocks noGrp="1"/>
          </p:cNvSpPr>
          <p:nvPr>
            <p:ph type="body" sz="quarter" idx="26"/>
          </p:nvPr>
        </p:nvSpPr>
        <p:spPr/>
        <p:txBody>
          <a:bodyPr/>
          <a:lstStyle/>
          <a:p>
            <a:r>
              <a:rPr lang="en-US" dirty="0"/>
              <a:t>CKI Geothermal Team</a:t>
            </a:r>
          </a:p>
        </p:txBody>
      </p:sp>
      <p:sp>
        <p:nvSpPr>
          <p:cNvPr id="20" name="Text Placeholder 19">
            <a:extLst>
              <a:ext uri="{FF2B5EF4-FFF2-40B4-BE49-F238E27FC236}">
                <a16:creationId xmlns:a16="http://schemas.microsoft.com/office/drawing/2014/main" id="{C1BB9D71-04EC-CB28-507D-EFFF7C059F38}"/>
              </a:ext>
            </a:extLst>
          </p:cNvPr>
          <p:cNvSpPr>
            <a:spLocks noGrp="1"/>
          </p:cNvSpPr>
          <p:nvPr>
            <p:ph type="body" sz="quarter" idx="27"/>
          </p:nvPr>
        </p:nvSpPr>
        <p:spPr/>
        <p:txBody>
          <a:bodyPr/>
          <a:lstStyle/>
          <a:p>
            <a:r>
              <a:rPr lang="en-US" dirty="0"/>
              <a:t>Fellows (1/2)</a:t>
            </a:r>
          </a:p>
        </p:txBody>
      </p:sp>
      <p:sp>
        <p:nvSpPr>
          <p:cNvPr id="2" name="Footer Placeholder 4">
            <a:extLst>
              <a:ext uri="{FF2B5EF4-FFF2-40B4-BE49-F238E27FC236}">
                <a16:creationId xmlns:a16="http://schemas.microsoft.com/office/drawing/2014/main" id="{D5521882-BB1B-0DD2-BB3A-C2112D8B3137}"/>
              </a:ext>
            </a:extLst>
          </p:cNvPr>
          <p:cNvSpPr>
            <a:spLocks noGrp="1"/>
          </p:cNvSpPr>
          <p:nvPr>
            <p:ph type="ftr" sz="quarter" idx="4294967295"/>
          </p:nvPr>
        </p:nvSpPr>
        <p:spPr>
          <a:xfrm>
            <a:off x="334962" y="6435873"/>
            <a:ext cx="9147241" cy="21670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pic>
        <p:nvPicPr>
          <p:cNvPr id="27" name="Picture Placeholder 26" descr="A person in a suit&#10;&#10;AI-generated content may be incorrect.">
            <a:extLst>
              <a:ext uri="{FF2B5EF4-FFF2-40B4-BE49-F238E27FC236}">
                <a16:creationId xmlns:a16="http://schemas.microsoft.com/office/drawing/2014/main" id="{61358FCD-5BD3-536A-6275-DA689F885F4A}"/>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prstGeom prst="ellipse">
            <a:avLst/>
          </a:prstGeom>
        </p:spPr>
      </p:pic>
      <p:pic>
        <p:nvPicPr>
          <p:cNvPr id="23" name="Picture Placeholder 22" descr="A person in a suit&#10;&#10;AI-generated content may be incorrect.">
            <a:extLst>
              <a:ext uri="{FF2B5EF4-FFF2-40B4-BE49-F238E27FC236}">
                <a16:creationId xmlns:a16="http://schemas.microsoft.com/office/drawing/2014/main" id="{FD7FF649-4690-723F-1753-244FF5AEEFEA}"/>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a:fillRect/>
          </a:stretch>
        </p:blipFill>
        <p:spPr>
          <a:prstGeom prst="ellipse">
            <a:avLst/>
          </a:prstGeom>
        </p:spPr>
      </p:pic>
      <p:pic>
        <p:nvPicPr>
          <p:cNvPr id="32" name="Picture Placeholder 31" descr="A person smiling at camera&#10;&#10;AI-generated content may be incorrect.">
            <a:extLst>
              <a:ext uri="{FF2B5EF4-FFF2-40B4-BE49-F238E27FC236}">
                <a16:creationId xmlns:a16="http://schemas.microsoft.com/office/drawing/2014/main" id="{5979D8A6-46DE-B980-E01F-0AF4E6DA96AE}"/>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a:stretch>
            <a:fillRect/>
          </a:stretch>
        </p:blipFill>
        <p:spPr>
          <a:prstGeom prst="ellipse">
            <a:avLst/>
          </a:prstGeom>
        </p:spPr>
      </p:pic>
      <p:pic>
        <p:nvPicPr>
          <p:cNvPr id="36" name="Picture Placeholder 35" descr="A person smiling at camera&#10;&#10;AI-generated content may be incorrect.">
            <a:extLst>
              <a:ext uri="{FF2B5EF4-FFF2-40B4-BE49-F238E27FC236}">
                <a16:creationId xmlns:a16="http://schemas.microsoft.com/office/drawing/2014/main" id="{FAEA6756-57FE-BCD4-8FC2-B3D2326CDE9E}"/>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a:stretch>
            <a:fillRect/>
          </a:stretch>
        </p:blipFill>
        <p:spPr>
          <a:prstGeom prst="ellipse">
            <a:avLst/>
          </a:prstGeom>
        </p:spPr>
      </p:pic>
      <p:pic>
        <p:nvPicPr>
          <p:cNvPr id="44" name="Picture Placeholder 43" descr="A person with long hair wearing a white sweater&#10;&#10;AI-generated content may be incorrect.">
            <a:extLst>
              <a:ext uri="{FF2B5EF4-FFF2-40B4-BE49-F238E27FC236}">
                <a16:creationId xmlns:a16="http://schemas.microsoft.com/office/drawing/2014/main" id="{14EB73AA-AAF6-CC43-56EC-772F06FE0222}"/>
              </a:ext>
            </a:extLst>
          </p:cNvPr>
          <p:cNvPicPr>
            <a:picLocks noGrp="1" noChangeAspect="1"/>
          </p:cNvPicPr>
          <p:nvPr>
            <p:ph type="pic" sz="quarter" idx="24"/>
          </p:nvPr>
        </p:nvPicPr>
        <p:blipFill>
          <a:blip r:embed="rId7" cstate="screen">
            <a:extLst>
              <a:ext uri="{28A0092B-C50C-407E-A947-70E740481C1C}">
                <a14:useLocalDpi xmlns:a14="http://schemas.microsoft.com/office/drawing/2010/main"/>
              </a:ext>
            </a:extLst>
          </a:blip>
          <a:srcRect/>
          <a:stretch>
            <a:fillRect/>
          </a:stretch>
        </p:blipFill>
        <p:spPr>
          <a:prstGeom prst="ellipse">
            <a:avLst/>
          </a:prstGeom>
        </p:spPr>
      </p:pic>
      <p:pic>
        <p:nvPicPr>
          <p:cNvPr id="42" name="Picture Placeholder 41" descr="A person with long hair wearing a jacket&#10;&#10;AI-generated content may be incorrect.">
            <a:extLst>
              <a:ext uri="{FF2B5EF4-FFF2-40B4-BE49-F238E27FC236}">
                <a16:creationId xmlns:a16="http://schemas.microsoft.com/office/drawing/2014/main" id="{AA84AA26-1E9F-662E-5CFB-263BF79AC5CD}"/>
              </a:ext>
            </a:extLst>
          </p:cNvPr>
          <p:cNvPicPr>
            <a:picLocks noGrp="1" noChangeAspect="1"/>
          </p:cNvPicPr>
          <p:nvPr>
            <p:ph type="pic" sz="quarter" idx="22"/>
          </p:nvPr>
        </p:nvPicPr>
        <p:blipFill>
          <a:blip r:embed="rId8" cstate="screen">
            <a:extLst>
              <a:ext uri="{28A0092B-C50C-407E-A947-70E740481C1C}">
                <a14:useLocalDpi xmlns:a14="http://schemas.microsoft.com/office/drawing/2010/main"/>
              </a:ext>
            </a:extLst>
          </a:blip>
          <a:srcRect/>
          <a:stretch>
            <a:fillRect/>
          </a:stretch>
        </p:blipFill>
        <p:spPr>
          <a:prstGeom prst="ellipse">
            <a:avLst/>
          </a:prstGeom>
        </p:spPr>
      </p:pic>
      <p:pic>
        <p:nvPicPr>
          <p:cNvPr id="40" name="Picture Placeholder 39" descr="A person smiling in front of a blue wall&#10;&#10;AI-generated content may be incorrect.">
            <a:extLst>
              <a:ext uri="{FF2B5EF4-FFF2-40B4-BE49-F238E27FC236}">
                <a16:creationId xmlns:a16="http://schemas.microsoft.com/office/drawing/2014/main" id="{5E769538-4F1F-83CE-AE54-F8D6690DB13E}"/>
              </a:ext>
            </a:extLst>
          </p:cNvPr>
          <p:cNvPicPr>
            <a:picLocks noGrp="1" noChangeAspect="1"/>
          </p:cNvPicPr>
          <p:nvPr>
            <p:ph type="pic" sz="quarter" idx="20"/>
          </p:nvPr>
        </p:nvPicPr>
        <p:blipFill>
          <a:blip r:embed="rId9" cstate="screen">
            <a:extLst>
              <a:ext uri="{28A0092B-C50C-407E-A947-70E740481C1C}">
                <a14:useLocalDpi xmlns:a14="http://schemas.microsoft.com/office/drawing/2010/main"/>
              </a:ext>
            </a:extLst>
          </a:blip>
          <a:srcRect/>
          <a:stretch>
            <a:fillRect/>
          </a:stretch>
        </p:blipFill>
        <p:spPr>
          <a:prstGeom prst="ellipse">
            <a:avLst/>
          </a:prstGeom>
        </p:spPr>
      </p:pic>
      <p:pic>
        <p:nvPicPr>
          <p:cNvPr id="38" name="Picture Placeholder 37" descr="A person smiling at camera&#10;&#10;AI-generated content may be incorrect.">
            <a:extLst>
              <a:ext uri="{FF2B5EF4-FFF2-40B4-BE49-F238E27FC236}">
                <a16:creationId xmlns:a16="http://schemas.microsoft.com/office/drawing/2014/main" id="{5C5294AA-554B-6854-CEAB-C1E833D59629}"/>
              </a:ext>
            </a:extLst>
          </p:cNvPr>
          <p:cNvPicPr>
            <a:picLocks noGrp="1" noChangeAspect="1"/>
          </p:cNvPicPr>
          <p:nvPr>
            <p:ph type="pic" sz="quarter" idx="18"/>
          </p:nvPr>
        </p:nvPicPr>
        <p:blipFill>
          <a:blip r:embed="rId10" cstate="screen">
            <a:extLst>
              <a:ext uri="{28A0092B-C50C-407E-A947-70E740481C1C}">
                <a14:useLocalDpi xmlns:a14="http://schemas.microsoft.com/office/drawing/2010/main"/>
              </a:ext>
            </a:extLst>
          </a:blip>
          <a:srcRect/>
          <a:stretch>
            <a:fillRect/>
          </a:stretch>
        </p:blipFill>
        <p:spPr>
          <a:prstGeom prst="ellipse">
            <a:avLst/>
          </a:prstGeom>
        </p:spPr>
      </p:pic>
    </p:spTree>
    <p:extLst>
      <p:ext uri="{BB962C8B-B14F-4D97-AF65-F5344CB8AC3E}">
        <p14:creationId xmlns:p14="http://schemas.microsoft.com/office/powerpoint/2010/main" val="97919896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8D181-4F90-0438-5B76-D6E5EA1B384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8060B47C-2DC7-B342-25DD-8E9B0E542F10}"/>
              </a:ext>
            </a:extLst>
          </p:cNvPr>
          <p:cNvSpPr>
            <a:spLocks noGrp="1"/>
          </p:cNvSpPr>
          <p:nvPr>
            <p:ph type="body" sz="quarter" idx="14"/>
          </p:nvPr>
        </p:nvSpPr>
        <p:spPr/>
        <p:txBody>
          <a:bodyPr/>
          <a:lstStyle/>
          <a:p>
            <a:r>
              <a:rPr lang="en-US" b="1" dirty="0"/>
              <a:t>Thomas Smith</a:t>
            </a:r>
          </a:p>
          <a:p>
            <a:r>
              <a:rPr lang="en-US" dirty="0"/>
              <a:t>MBA, Columbia Business School</a:t>
            </a:r>
          </a:p>
          <a:p>
            <a:r>
              <a:rPr lang="en-US" dirty="0"/>
              <a:t>Climate Knowledge Initiative Fellow</a:t>
            </a:r>
          </a:p>
        </p:txBody>
      </p:sp>
      <p:sp>
        <p:nvSpPr>
          <p:cNvPr id="8" name="Text Placeholder 7">
            <a:extLst>
              <a:ext uri="{FF2B5EF4-FFF2-40B4-BE49-F238E27FC236}">
                <a16:creationId xmlns:a16="http://schemas.microsoft.com/office/drawing/2014/main" id="{64338D8F-BB3C-496C-A915-0A64973E1C92}"/>
              </a:ext>
            </a:extLst>
          </p:cNvPr>
          <p:cNvSpPr>
            <a:spLocks noGrp="1"/>
          </p:cNvSpPr>
          <p:nvPr>
            <p:ph type="body" sz="quarter" idx="15"/>
          </p:nvPr>
        </p:nvSpPr>
        <p:spPr/>
        <p:txBody>
          <a:bodyPr/>
          <a:lstStyle/>
          <a:p>
            <a:r>
              <a:rPr lang="en-US" b="1" dirty="0"/>
              <a:t>Leo Gordon</a:t>
            </a:r>
          </a:p>
          <a:p>
            <a:r>
              <a:rPr lang="en-US" dirty="0"/>
              <a:t>MPA, Columbia SIPA</a:t>
            </a:r>
          </a:p>
          <a:p>
            <a:r>
              <a:rPr lang="en-US" dirty="0"/>
              <a:t>Climate Knowledge Initiative Fellow</a:t>
            </a:r>
          </a:p>
        </p:txBody>
      </p:sp>
      <p:sp>
        <p:nvSpPr>
          <p:cNvPr id="9" name="Text Placeholder 8">
            <a:extLst>
              <a:ext uri="{FF2B5EF4-FFF2-40B4-BE49-F238E27FC236}">
                <a16:creationId xmlns:a16="http://schemas.microsoft.com/office/drawing/2014/main" id="{94C83DB1-0977-0A39-ED61-06DBD9CC1E2C}"/>
              </a:ext>
            </a:extLst>
          </p:cNvPr>
          <p:cNvSpPr>
            <a:spLocks noGrp="1"/>
          </p:cNvSpPr>
          <p:nvPr>
            <p:ph type="body" sz="quarter" idx="16"/>
          </p:nvPr>
        </p:nvSpPr>
        <p:spPr/>
        <p:txBody>
          <a:bodyPr/>
          <a:lstStyle/>
          <a:p>
            <a:endParaRPr lang="en-US" dirty="0"/>
          </a:p>
        </p:txBody>
      </p:sp>
      <p:sp>
        <p:nvSpPr>
          <p:cNvPr id="10" name="Text Placeholder 9">
            <a:extLst>
              <a:ext uri="{FF2B5EF4-FFF2-40B4-BE49-F238E27FC236}">
                <a16:creationId xmlns:a16="http://schemas.microsoft.com/office/drawing/2014/main" id="{840733A9-C118-0722-C28A-5D3AD75ED580}"/>
              </a:ext>
            </a:extLst>
          </p:cNvPr>
          <p:cNvSpPr>
            <a:spLocks noGrp="1"/>
          </p:cNvSpPr>
          <p:nvPr>
            <p:ph type="body" sz="quarter" idx="17"/>
          </p:nvPr>
        </p:nvSpPr>
        <p:spPr/>
        <p:txBody>
          <a:bodyPr/>
          <a:lstStyle/>
          <a:p>
            <a:endParaRPr lang="en-US" dirty="0"/>
          </a:p>
        </p:txBody>
      </p:sp>
      <p:sp>
        <p:nvSpPr>
          <p:cNvPr id="15" name="Picture Placeholder 14">
            <a:extLst>
              <a:ext uri="{FF2B5EF4-FFF2-40B4-BE49-F238E27FC236}">
                <a16:creationId xmlns:a16="http://schemas.microsoft.com/office/drawing/2014/main" id="{CB54CC27-DC92-46C5-C48F-6A2D8076E8D1}"/>
              </a:ext>
            </a:extLst>
          </p:cNvPr>
          <p:cNvSpPr>
            <a:spLocks noGrp="1"/>
          </p:cNvSpPr>
          <p:nvPr>
            <p:ph type="pic" sz="quarter" idx="22"/>
          </p:nvPr>
        </p:nvSpPr>
        <p:spPr/>
        <p:txBody>
          <a:bodyPr/>
          <a:lstStyle/>
          <a:p>
            <a:endParaRPr lang="en-US"/>
          </a:p>
        </p:txBody>
      </p:sp>
      <p:sp>
        <p:nvSpPr>
          <p:cNvPr id="16" name="Text Placeholder 15">
            <a:extLst>
              <a:ext uri="{FF2B5EF4-FFF2-40B4-BE49-F238E27FC236}">
                <a16:creationId xmlns:a16="http://schemas.microsoft.com/office/drawing/2014/main" id="{DC963400-43FB-7C1E-600C-54593818AE61}"/>
              </a:ext>
            </a:extLst>
          </p:cNvPr>
          <p:cNvSpPr>
            <a:spLocks noGrp="1"/>
          </p:cNvSpPr>
          <p:nvPr>
            <p:ph type="body" sz="quarter" idx="23"/>
          </p:nvPr>
        </p:nvSpPr>
        <p:spPr/>
        <p:txBody>
          <a:bodyPr/>
          <a:lstStyle/>
          <a:p>
            <a:endParaRPr lang="en-US"/>
          </a:p>
        </p:txBody>
      </p:sp>
      <p:sp>
        <p:nvSpPr>
          <p:cNvPr id="17" name="Picture Placeholder 16">
            <a:extLst>
              <a:ext uri="{FF2B5EF4-FFF2-40B4-BE49-F238E27FC236}">
                <a16:creationId xmlns:a16="http://schemas.microsoft.com/office/drawing/2014/main" id="{3D238ACC-5A4A-9EA8-3CCB-E4C7BB854AE3}"/>
              </a:ext>
            </a:extLst>
          </p:cNvPr>
          <p:cNvSpPr>
            <a:spLocks noGrp="1"/>
          </p:cNvSpPr>
          <p:nvPr>
            <p:ph type="pic" sz="quarter" idx="24"/>
          </p:nvPr>
        </p:nvSpPr>
        <p:spPr/>
        <p:txBody>
          <a:bodyPr/>
          <a:lstStyle/>
          <a:p>
            <a:endParaRPr lang="en-US"/>
          </a:p>
        </p:txBody>
      </p:sp>
      <p:sp>
        <p:nvSpPr>
          <p:cNvPr id="18" name="Text Placeholder 17">
            <a:extLst>
              <a:ext uri="{FF2B5EF4-FFF2-40B4-BE49-F238E27FC236}">
                <a16:creationId xmlns:a16="http://schemas.microsoft.com/office/drawing/2014/main" id="{3C87F010-DD33-21A4-F902-141FD6C11841}"/>
              </a:ext>
            </a:extLst>
          </p:cNvPr>
          <p:cNvSpPr>
            <a:spLocks noGrp="1"/>
          </p:cNvSpPr>
          <p:nvPr>
            <p:ph type="body" sz="quarter" idx="25"/>
          </p:nvPr>
        </p:nvSpPr>
        <p:spPr/>
        <p:txBody>
          <a:bodyPr/>
          <a:lstStyle/>
          <a:p>
            <a:endParaRPr lang="en-US"/>
          </a:p>
        </p:txBody>
      </p:sp>
      <p:sp>
        <p:nvSpPr>
          <p:cNvPr id="19" name="Text Placeholder 18">
            <a:extLst>
              <a:ext uri="{FF2B5EF4-FFF2-40B4-BE49-F238E27FC236}">
                <a16:creationId xmlns:a16="http://schemas.microsoft.com/office/drawing/2014/main" id="{4DE342CD-C58B-62F4-52C6-903EF23536E0}"/>
              </a:ext>
            </a:extLst>
          </p:cNvPr>
          <p:cNvSpPr>
            <a:spLocks noGrp="1"/>
          </p:cNvSpPr>
          <p:nvPr>
            <p:ph type="body" sz="quarter" idx="26"/>
          </p:nvPr>
        </p:nvSpPr>
        <p:spPr/>
        <p:txBody>
          <a:bodyPr/>
          <a:lstStyle/>
          <a:p>
            <a:r>
              <a:rPr lang="en-US" dirty="0"/>
              <a:t>CKI Geothermal Team</a:t>
            </a:r>
          </a:p>
        </p:txBody>
      </p:sp>
      <p:sp>
        <p:nvSpPr>
          <p:cNvPr id="20" name="Text Placeholder 19">
            <a:extLst>
              <a:ext uri="{FF2B5EF4-FFF2-40B4-BE49-F238E27FC236}">
                <a16:creationId xmlns:a16="http://schemas.microsoft.com/office/drawing/2014/main" id="{06647EED-9A36-91ED-93F8-3B97D1F389B6}"/>
              </a:ext>
            </a:extLst>
          </p:cNvPr>
          <p:cNvSpPr>
            <a:spLocks noGrp="1"/>
          </p:cNvSpPr>
          <p:nvPr>
            <p:ph type="body" sz="quarter" idx="27"/>
          </p:nvPr>
        </p:nvSpPr>
        <p:spPr/>
        <p:txBody>
          <a:bodyPr/>
          <a:lstStyle/>
          <a:p>
            <a:r>
              <a:rPr lang="en-US" dirty="0"/>
              <a:t>Fellows (2/2)</a:t>
            </a:r>
          </a:p>
        </p:txBody>
      </p:sp>
      <p:sp>
        <p:nvSpPr>
          <p:cNvPr id="2" name="Footer Placeholder 4">
            <a:extLst>
              <a:ext uri="{FF2B5EF4-FFF2-40B4-BE49-F238E27FC236}">
                <a16:creationId xmlns:a16="http://schemas.microsoft.com/office/drawing/2014/main" id="{6C2A91C1-864C-08EE-1A7F-1F0FFA4A78AD}"/>
              </a:ext>
            </a:extLst>
          </p:cNvPr>
          <p:cNvSpPr>
            <a:spLocks noGrp="1"/>
          </p:cNvSpPr>
          <p:nvPr>
            <p:ph type="ftr" sz="quarter" idx="4294967295"/>
          </p:nvPr>
        </p:nvSpPr>
        <p:spPr>
          <a:xfrm>
            <a:off x="334962" y="6435873"/>
            <a:ext cx="9147241" cy="21670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sp>
        <p:nvSpPr>
          <p:cNvPr id="4" name="Picture Placeholder 3">
            <a:extLst>
              <a:ext uri="{FF2B5EF4-FFF2-40B4-BE49-F238E27FC236}">
                <a16:creationId xmlns:a16="http://schemas.microsoft.com/office/drawing/2014/main" id="{94B1EECF-A983-2347-3CE8-27F0F235AED0}"/>
              </a:ext>
            </a:extLst>
          </p:cNvPr>
          <p:cNvSpPr>
            <a:spLocks noGrp="1"/>
          </p:cNvSpPr>
          <p:nvPr>
            <p:ph type="pic" sz="quarter" idx="18"/>
          </p:nvPr>
        </p:nvSpPr>
        <p:spPr/>
        <p:txBody>
          <a:bodyPr/>
          <a:lstStyle/>
          <a:p>
            <a:endParaRPr lang="en-US"/>
          </a:p>
        </p:txBody>
      </p:sp>
      <p:sp>
        <p:nvSpPr>
          <p:cNvPr id="7" name="Picture Placeholder 6">
            <a:extLst>
              <a:ext uri="{FF2B5EF4-FFF2-40B4-BE49-F238E27FC236}">
                <a16:creationId xmlns:a16="http://schemas.microsoft.com/office/drawing/2014/main" id="{98318A9C-84E5-31D4-5442-E197A95C94C1}"/>
              </a:ext>
            </a:extLst>
          </p:cNvPr>
          <p:cNvSpPr>
            <a:spLocks noGrp="1"/>
          </p:cNvSpPr>
          <p:nvPr>
            <p:ph type="pic" sz="quarter" idx="20"/>
          </p:nvPr>
        </p:nvSpPr>
        <p:spPr/>
        <p:txBody>
          <a:bodyPr/>
          <a:lstStyle/>
          <a:p>
            <a:endParaRPr lang="en-US"/>
          </a:p>
        </p:txBody>
      </p:sp>
      <p:sp>
        <p:nvSpPr>
          <p:cNvPr id="13" name="Text Placeholder 12">
            <a:extLst>
              <a:ext uri="{FF2B5EF4-FFF2-40B4-BE49-F238E27FC236}">
                <a16:creationId xmlns:a16="http://schemas.microsoft.com/office/drawing/2014/main" id="{629727EB-264C-25C0-2F68-26317202676D}"/>
              </a:ext>
            </a:extLst>
          </p:cNvPr>
          <p:cNvSpPr>
            <a:spLocks noGrp="1"/>
          </p:cNvSpPr>
          <p:nvPr>
            <p:ph type="body" sz="quarter" idx="21"/>
          </p:nvPr>
        </p:nvSpPr>
        <p:spPr/>
        <p:txBody>
          <a:bodyPr/>
          <a:lstStyle/>
          <a:p>
            <a:endParaRPr lang="en-US"/>
          </a:p>
        </p:txBody>
      </p:sp>
      <p:sp>
        <p:nvSpPr>
          <p:cNvPr id="23" name="Text Placeholder 22">
            <a:extLst>
              <a:ext uri="{FF2B5EF4-FFF2-40B4-BE49-F238E27FC236}">
                <a16:creationId xmlns:a16="http://schemas.microsoft.com/office/drawing/2014/main" id="{40C08FCB-22A3-4463-70E5-FF4AF1BBA534}"/>
              </a:ext>
            </a:extLst>
          </p:cNvPr>
          <p:cNvSpPr>
            <a:spLocks noGrp="1"/>
          </p:cNvSpPr>
          <p:nvPr>
            <p:ph type="body" sz="quarter" idx="19"/>
          </p:nvPr>
        </p:nvSpPr>
        <p:spPr/>
        <p:txBody>
          <a:bodyPr/>
          <a:lstStyle/>
          <a:p>
            <a:endParaRPr lang="en-US"/>
          </a:p>
        </p:txBody>
      </p:sp>
      <p:sp>
        <p:nvSpPr>
          <p:cNvPr id="33" name="Picture Placeholder 32">
            <a:extLst>
              <a:ext uri="{FF2B5EF4-FFF2-40B4-BE49-F238E27FC236}">
                <a16:creationId xmlns:a16="http://schemas.microsoft.com/office/drawing/2014/main" id="{B01FC9CB-0665-5ABB-130C-E15D0541BD5D}"/>
              </a:ext>
            </a:extLst>
          </p:cNvPr>
          <p:cNvSpPr>
            <a:spLocks noGrp="1"/>
          </p:cNvSpPr>
          <p:nvPr>
            <p:ph type="pic" sz="quarter" idx="12"/>
          </p:nvPr>
        </p:nvSpPr>
        <p:spPr/>
        <p:txBody>
          <a:bodyPr/>
          <a:lstStyle/>
          <a:p>
            <a:endParaRPr lang="en-US"/>
          </a:p>
        </p:txBody>
      </p:sp>
      <p:sp>
        <p:nvSpPr>
          <p:cNvPr id="35" name="Picture Placeholder 34">
            <a:extLst>
              <a:ext uri="{FF2B5EF4-FFF2-40B4-BE49-F238E27FC236}">
                <a16:creationId xmlns:a16="http://schemas.microsoft.com/office/drawing/2014/main" id="{893191B5-2A17-4308-F381-5200507501EA}"/>
              </a:ext>
            </a:extLst>
          </p:cNvPr>
          <p:cNvSpPr>
            <a:spLocks noGrp="1"/>
          </p:cNvSpPr>
          <p:nvPr>
            <p:ph type="pic" sz="quarter" idx="13"/>
          </p:nvPr>
        </p:nvSpPr>
        <p:spPr/>
        <p:txBody>
          <a:bodyPr/>
          <a:lstStyle/>
          <a:p>
            <a:endParaRPr lang="en-US"/>
          </a:p>
        </p:txBody>
      </p:sp>
      <p:pic>
        <p:nvPicPr>
          <p:cNvPr id="24" name="Picture Placeholder 23" descr="A person with a beard&#10;&#10;AI-generated content may be incorrect.">
            <a:extLst>
              <a:ext uri="{FF2B5EF4-FFF2-40B4-BE49-F238E27FC236}">
                <a16:creationId xmlns:a16="http://schemas.microsoft.com/office/drawing/2014/main" id="{7FA9CA47-8216-0554-885F-9522C174564B}"/>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prstGeom prst="ellipse">
            <a:avLst/>
          </a:prstGeom>
        </p:spPr>
      </p:pic>
      <p:pic>
        <p:nvPicPr>
          <p:cNvPr id="21" name="Picture Placeholder 20" descr="A person in a suit smiling&#10;&#10;AI-generated content may be incorrect.">
            <a:extLst>
              <a:ext uri="{FF2B5EF4-FFF2-40B4-BE49-F238E27FC236}">
                <a16:creationId xmlns:a16="http://schemas.microsoft.com/office/drawing/2014/main" id="{7BC88295-CCCD-09C3-60D5-6069B4F34342}"/>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a:fillRect/>
          </a:stretch>
        </p:blipFill>
        <p:spPr>
          <a:prstGeom prst="ellipse">
            <a:avLst/>
          </a:prstGeom>
        </p:spPr>
      </p:pic>
    </p:spTree>
    <p:extLst>
      <p:ext uri="{BB962C8B-B14F-4D97-AF65-F5344CB8AC3E}">
        <p14:creationId xmlns:p14="http://schemas.microsoft.com/office/powerpoint/2010/main" val="2564370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C5646-90A2-78FF-CC5D-9AC7E9AE15C9}"/>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0851A98-3492-E9E9-2393-37022AE58C02}"/>
              </a:ext>
            </a:extLst>
          </p:cNvPr>
          <p:cNvSpPr>
            <a:spLocks noGrp="1"/>
          </p:cNvSpPr>
          <p:nvPr>
            <p:ph type="pic" sz="quarter" idx="13"/>
          </p:nvPr>
        </p:nvSpPr>
        <p:spPr/>
        <p:txBody>
          <a:bodyPr/>
          <a:lstStyle/>
          <a:p>
            <a:endParaRPr lang="en-US"/>
          </a:p>
        </p:txBody>
      </p:sp>
      <p:sp>
        <p:nvSpPr>
          <p:cNvPr id="4" name="Text Placeholder 3">
            <a:extLst>
              <a:ext uri="{FF2B5EF4-FFF2-40B4-BE49-F238E27FC236}">
                <a16:creationId xmlns:a16="http://schemas.microsoft.com/office/drawing/2014/main" id="{E0D61A07-6038-0230-163A-261D68A78CB6}"/>
              </a:ext>
            </a:extLst>
          </p:cNvPr>
          <p:cNvSpPr>
            <a:spLocks noGrp="1"/>
          </p:cNvSpPr>
          <p:nvPr>
            <p:ph type="body" sz="quarter" idx="17"/>
          </p:nvPr>
        </p:nvSpPr>
        <p:spPr/>
        <p:txBody>
          <a:bodyPr/>
          <a:lstStyle/>
          <a:p>
            <a:endParaRPr lang="en-US"/>
          </a:p>
        </p:txBody>
      </p:sp>
      <p:pic>
        <p:nvPicPr>
          <p:cNvPr id="14" name="Picture Placeholder 13" descr="Medium shot of a person smiling&#10;&#10;AI-generated content may be incorrect.">
            <a:extLst>
              <a:ext uri="{FF2B5EF4-FFF2-40B4-BE49-F238E27FC236}">
                <a16:creationId xmlns:a16="http://schemas.microsoft.com/office/drawing/2014/main" id="{D5865978-48BE-7E06-FF39-FC86CB01FF39}"/>
              </a:ext>
            </a:extLst>
          </p:cNvPr>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a:stretch>
            <a:fillRect/>
          </a:stretch>
        </p:blipFill>
        <p:spPr>
          <a:prstGeom prst="ellipse">
            <a:avLst/>
          </a:prstGeom>
        </p:spPr>
      </p:pic>
      <p:sp>
        <p:nvSpPr>
          <p:cNvPr id="8" name="Text Placeholder 7">
            <a:extLst>
              <a:ext uri="{FF2B5EF4-FFF2-40B4-BE49-F238E27FC236}">
                <a16:creationId xmlns:a16="http://schemas.microsoft.com/office/drawing/2014/main" id="{B1948229-5151-A8B6-5B17-BF7F2CAE2395}"/>
              </a:ext>
            </a:extLst>
          </p:cNvPr>
          <p:cNvSpPr>
            <a:spLocks noGrp="1"/>
          </p:cNvSpPr>
          <p:nvPr>
            <p:ph type="body" sz="quarter" idx="23"/>
          </p:nvPr>
        </p:nvSpPr>
        <p:spPr/>
        <p:txBody>
          <a:bodyPr/>
          <a:lstStyle/>
          <a:p>
            <a:r>
              <a:rPr lang="en-US" b="1" dirty="0" err="1"/>
              <a:t>Hyae</a:t>
            </a:r>
            <a:r>
              <a:rPr lang="en-US" b="1" dirty="0"/>
              <a:t> Ryung (Helen) Kim</a:t>
            </a:r>
          </a:p>
          <a:p>
            <a:r>
              <a:rPr lang="en-US" dirty="0"/>
              <a:t>PhD in Sustainable Development</a:t>
            </a:r>
          </a:p>
          <a:p>
            <a:r>
              <a:rPr lang="en-US" dirty="0"/>
              <a:t>Former Senior Research Fellow</a:t>
            </a:r>
          </a:p>
        </p:txBody>
      </p:sp>
      <p:sp>
        <p:nvSpPr>
          <p:cNvPr id="9" name="Picture Placeholder 8">
            <a:extLst>
              <a:ext uri="{FF2B5EF4-FFF2-40B4-BE49-F238E27FC236}">
                <a16:creationId xmlns:a16="http://schemas.microsoft.com/office/drawing/2014/main" id="{5076498E-8562-8C3D-0C33-81716B4A999B}"/>
              </a:ext>
            </a:extLst>
          </p:cNvPr>
          <p:cNvSpPr>
            <a:spLocks noGrp="1"/>
          </p:cNvSpPr>
          <p:nvPr>
            <p:ph type="pic" sz="quarter" idx="24"/>
          </p:nvPr>
        </p:nvSpPr>
        <p:spPr/>
        <p:txBody>
          <a:bodyPr/>
          <a:lstStyle/>
          <a:p>
            <a:endParaRPr lang="en-US"/>
          </a:p>
        </p:txBody>
      </p:sp>
      <p:sp>
        <p:nvSpPr>
          <p:cNvPr id="10" name="Text Placeholder 9">
            <a:extLst>
              <a:ext uri="{FF2B5EF4-FFF2-40B4-BE49-F238E27FC236}">
                <a16:creationId xmlns:a16="http://schemas.microsoft.com/office/drawing/2014/main" id="{C7334AC3-930D-61BD-67A5-3E89B5A24249}"/>
              </a:ext>
            </a:extLst>
          </p:cNvPr>
          <p:cNvSpPr>
            <a:spLocks noGrp="1"/>
          </p:cNvSpPr>
          <p:nvPr>
            <p:ph type="body" sz="quarter" idx="25"/>
          </p:nvPr>
        </p:nvSpPr>
        <p:spPr/>
        <p:txBody>
          <a:bodyPr/>
          <a:lstStyle/>
          <a:p>
            <a:endParaRPr lang="en-US"/>
          </a:p>
        </p:txBody>
      </p:sp>
      <p:sp>
        <p:nvSpPr>
          <p:cNvPr id="11" name="Text Placeholder 10">
            <a:extLst>
              <a:ext uri="{FF2B5EF4-FFF2-40B4-BE49-F238E27FC236}">
                <a16:creationId xmlns:a16="http://schemas.microsoft.com/office/drawing/2014/main" id="{C88DD326-0EEA-FD7F-BC1B-CE7052BD6DAC}"/>
              </a:ext>
            </a:extLst>
          </p:cNvPr>
          <p:cNvSpPr>
            <a:spLocks noGrp="1"/>
          </p:cNvSpPr>
          <p:nvPr>
            <p:ph type="body" sz="quarter" idx="26"/>
          </p:nvPr>
        </p:nvSpPr>
        <p:spPr/>
        <p:txBody>
          <a:bodyPr/>
          <a:lstStyle/>
          <a:p>
            <a:r>
              <a:rPr lang="en-US" dirty="0"/>
              <a:t>CKI Team Staff, Faculty, and Alumna</a:t>
            </a:r>
          </a:p>
        </p:txBody>
      </p:sp>
      <p:sp>
        <p:nvSpPr>
          <p:cNvPr id="3" name="Footer Placeholder 4">
            <a:extLst>
              <a:ext uri="{FF2B5EF4-FFF2-40B4-BE49-F238E27FC236}">
                <a16:creationId xmlns:a16="http://schemas.microsoft.com/office/drawing/2014/main" id="{E9CC2BC2-355D-19E8-23F8-BEB47045A071}"/>
              </a:ext>
            </a:extLst>
          </p:cNvPr>
          <p:cNvSpPr txBox="1">
            <a:spLocks/>
          </p:cNvSpPr>
          <p:nvPr/>
        </p:nvSpPr>
        <p:spPr>
          <a:xfrm>
            <a:off x="334962" y="6435873"/>
            <a:ext cx="9147241" cy="216706"/>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914400">
              <a:spcBef>
                <a:spcPts val="0"/>
              </a:spcBef>
              <a:buFontTx/>
              <a:buNone/>
              <a:defRPr/>
            </a:pPr>
            <a:r>
              <a:rPr lang="en-US" sz="800" dirty="0">
                <a:solidFill>
                  <a:srgbClr val="000000">
                    <a:tint val="82000"/>
                  </a:srgbClr>
                </a:solidFill>
                <a:latin typeface="Arial"/>
                <a:hlinkClick r:id="rId3"/>
              </a:rPr>
              <a:t>Share with attribution</a:t>
            </a:r>
            <a:r>
              <a:rPr lang="en-US" sz="800" dirty="0">
                <a:solidFill>
                  <a:srgbClr val="000000"/>
                </a:solidFill>
                <a:latin typeface="Arial"/>
              </a:rPr>
              <a:t>: Wagner </a:t>
            </a:r>
            <a:r>
              <a:rPr lang="en-US" sz="800" i="1" dirty="0">
                <a:solidFill>
                  <a:srgbClr val="000000"/>
                </a:solidFill>
                <a:latin typeface="Arial"/>
              </a:rPr>
              <a:t>et al. </a:t>
            </a:r>
            <a:r>
              <a:rPr lang="en-US" sz="800" dirty="0">
                <a:solidFill>
                  <a:srgbClr val="000000"/>
                </a:solidFill>
                <a:latin typeface="Arial"/>
              </a:rPr>
              <a:t>“Geothermal Power,” Columbia Business School Climate Knowledge Initiative (10 March 2026).</a:t>
            </a:r>
          </a:p>
        </p:txBody>
      </p:sp>
    </p:spTree>
    <p:extLst>
      <p:ext uri="{BB962C8B-B14F-4D97-AF65-F5344CB8AC3E}">
        <p14:creationId xmlns:p14="http://schemas.microsoft.com/office/powerpoint/2010/main" val="299179389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687078"/>
        </a:solidFill>
        <a:effectLst/>
      </p:bgPr>
    </p:bg>
    <p:spTree>
      <p:nvGrpSpPr>
        <p:cNvPr id="1" name="">
          <a:extLst>
            <a:ext uri="{FF2B5EF4-FFF2-40B4-BE49-F238E27FC236}">
              <a16:creationId xmlns:a16="http://schemas.microsoft.com/office/drawing/2014/main" id="{619B646E-0582-6D50-D211-702C810E23E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020792-56A4-3D95-A170-5B71ADAC9852}"/>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6020792-56A4-3D95-A170-5B71ADAC985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F8D0C6-BE62-E234-32DE-761089350F34}"/>
              </a:ext>
            </a:extLst>
          </p:cNvPr>
          <p:cNvSpPr>
            <a:spLocks noGrp="1"/>
          </p:cNvSpPr>
          <p:nvPr>
            <p:ph type="title"/>
          </p:nvPr>
        </p:nvSpPr>
        <p:spPr/>
        <p:txBody>
          <a:bodyPr vert="horz" rIns="91440"/>
          <a:lstStyle/>
          <a:p>
            <a:r>
              <a:rPr lang="en-US" dirty="0"/>
              <a:t>Appendix</a:t>
            </a:r>
          </a:p>
        </p:txBody>
      </p:sp>
    </p:spTree>
    <p:extLst>
      <p:ext uri="{BB962C8B-B14F-4D97-AF65-F5344CB8AC3E}">
        <p14:creationId xmlns:p14="http://schemas.microsoft.com/office/powerpoint/2010/main" val="3963924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75915C-C35D-2632-9F7A-D5A97BE17EE1}"/>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575915C-C35D-2632-9F7A-D5A97BE17EE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818030D-5F10-08C2-0843-B3AB7E153EAC}"/>
              </a:ext>
            </a:extLst>
          </p:cNvPr>
          <p:cNvSpPr>
            <a:spLocks noGrp="1"/>
          </p:cNvSpPr>
          <p:nvPr>
            <p:ph type="body" sz="quarter" idx="13"/>
          </p:nvPr>
        </p:nvSpPr>
        <p:spPr/>
        <p:txBody>
          <a:bodyPr/>
          <a:lstStyle/>
          <a:p>
            <a:r>
              <a:rPr lang="en-US" dirty="0">
                <a:solidFill>
                  <a:srgbClr val="000000"/>
                </a:solidFill>
              </a:rPr>
              <a:t>CKI Guideline for Geothermal Terms</a:t>
            </a:r>
          </a:p>
        </p:txBody>
      </p:sp>
      <p:sp>
        <p:nvSpPr>
          <p:cNvPr id="3" name="Title 2">
            <a:extLst>
              <a:ext uri="{FF2B5EF4-FFF2-40B4-BE49-F238E27FC236}">
                <a16:creationId xmlns:a16="http://schemas.microsoft.com/office/drawing/2014/main" id="{73D33081-8631-CEFF-7286-F64806669FA9}"/>
              </a:ext>
            </a:extLst>
          </p:cNvPr>
          <p:cNvSpPr>
            <a:spLocks noGrp="1"/>
          </p:cNvSpPr>
          <p:nvPr>
            <p:ph type="title"/>
          </p:nvPr>
        </p:nvSpPr>
        <p:spPr/>
        <p:txBody>
          <a:bodyPr vert="horz" rIns="91440"/>
          <a:lstStyle/>
          <a:p>
            <a:r>
              <a:rPr lang="en-US" dirty="0"/>
              <a:t>Glossary (1/2)</a:t>
            </a:r>
          </a:p>
        </p:txBody>
      </p:sp>
      <p:sp>
        <p:nvSpPr>
          <p:cNvPr id="5" name="Footer Placeholder 4">
            <a:extLst>
              <a:ext uri="{FF2B5EF4-FFF2-40B4-BE49-F238E27FC236}">
                <a16:creationId xmlns:a16="http://schemas.microsoft.com/office/drawing/2014/main" id="{AA43739F-D3CC-AB6B-B9D9-2F06C204F70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KI analysis in accordance with IEA guidelines (2025).</a:t>
            </a:r>
          </a:p>
          <a:p>
            <a:pPr lvl="0" defTabSz="9144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ia Doris Morrow,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rPr>
              <a:t>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80FDE734-8B7F-B4E2-8BBF-440FC5932E47}"/>
              </a:ext>
            </a:extLst>
          </p:cNvPr>
          <p:cNvGraphicFramePr>
            <a:graphicFrameLocks noGrp="1"/>
          </p:cNvGraphicFramePr>
          <p:nvPr/>
        </p:nvGraphicFramePr>
        <p:xfrm>
          <a:off x="334962" y="2439901"/>
          <a:ext cx="5577840" cy="3596640"/>
        </p:xfrm>
        <a:graphic>
          <a:graphicData uri="http://schemas.openxmlformats.org/drawingml/2006/table">
            <a:tbl>
              <a:tblPr firstRow="1" bandRow="1">
                <a:tableStyleId>{5940675A-B579-460E-94D1-54222C63F5DA}</a:tableStyleId>
              </a:tblPr>
              <a:tblGrid>
                <a:gridCol w="2166500">
                  <a:extLst>
                    <a:ext uri="{9D8B030D-6E8A-4147-A177-3AD203B41FA5}">
                      <a16:colId xmlns:a16="http://schemas.microsoft.com/office/drawing/2014/main" val="1416577915"/>
                    </a:ext>
                  </a:extLst>
                </a:gridCol>
                <a:gridCol w="3411340">
                  <a:extLst>
                    <a:ext uri="{9D8B030D-6E8A-4147-A177-3AD203B41FA5}">
                      <a16:colId xmlns:a16="http://schemas.microsoft.com/office/drawing/2014/main" val="512235268"/>
                    </a:ext>
                  </a:extLst>
                </a:gridCol>
              </a:tblGrid>
              <a:tr h="370840">
                <a:tc>
                  <a:txBody>
                    <a:bodyPr/>
                    <a:lstStyle/>
                    <a:p>
                      <a:pPr marL="0" indent="0">
                        <a:buFont typeface="+mj-lt"/>
                        <a:buNone/>
                      </a:pPr>
                      <a:r>
                        <a:rPr lang="en-US" sz="1000" b="1" dirty="0"/>
                        <a:t>Baseload pow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Electricity supplied consistently over time to satisfy the minimum level of dem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76894619"/>
                  </a:ext>
                </a:extLst>
              </a:tr>
              <a:tr h="370840">
                <a:tc>
                  <a:txBody>
                    <a:bodyPr/>
                    <a:lstStyle/>
                    <a:p>
                      <a:pPr marL="0" indent="0">
                        <a:buFont typeface="+mj-lt"/>
                        <a:buNone/>
                      </a:pPr>
                      <a:r>
                        <a:rPr lang="en-US" sz="1000" b="1" dirty="0"/>
                        <a:t>Peaker pla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power-generation facility that is used only during periods of high electricity demand (peak loads) rather than continuous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28990566"/>
                  </a:ext>
                </a:extLst>
              </a:tr>
              <a:tr h="370840">
                <a:tc>
                  <a:txBody>
                    <a:bodyPr/>
                    <a:lstStyle/>
                    <a:p>
                      <a:pPr marL="0" indent="0">
                        <a:buFont typeface="+mj-lt"/>
                        <a:buNone/>
                      </a:pPr>
                      <a:r>
                        <a:rPr lang="en-US" sz="1000" b="1" dirty="0"/>
                        <a:t>Hydrothermal: Conventional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system in which naturally occurring heat, fluid, and rock permeability are present, allowing heat extraction without major engineering of the reservoi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5000375"/>
                  </a:ext>
                </a:extLst>
              </a:tr>
              <a:tr h="370840">
                <a:tc>
                  <a:txBody>
                    <a:bodyPr/>
                    <a:lstStyle/>
                    <a:p>
                      <a:pPr marL="0" indent="0">
                        <a:buFont typeface="+mj-lt"/>
                        <a:buNone/>
                      </a:pPr>
                      <a:r>
                        <a:rPr lang="en-US" sz="1000" b="1" dirty="0"/>
                        <a:t>Dry steam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type in which steam (rather than hot water) from the reservoir is piped directly to a turbine to generate electric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66533305"/>
                  </a:ext>
                </a:extLst>
              </a:tr>
              <a:tr h="370840">
                <a:tc>
                  <a:txBody>
                    <a:bodyPr/>
                    <a:lstStyle/>
                    <a:p>
                      <a:pPr marL="0" indent="0">
                        <a:buFont typeface="+mj-lt"/>
                        <a:buNone/>
                      </a:pPr>
                      <a:r>
                        <a:rPr lang="en-US" sz="1000" b="1" dirty="0"/>
                        <a:t>Flash steam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type in which high-pressure hot water from underground is brought to the surface, the pressure drops, water “flashes” into steam that drives a turbine, and remaining fluid is often reinject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35290184"/>
                  </a:ext>
                </a:extLst>
              </a:tr>
              <a:tr h="370840">
                <a:tc>
                  <a:txBody>
                    <a:bodyPr/>
                    <a:lstStyle/>
                    <a:p>
                      <a:pPr marL="0" indent="0">
                        <a:buFont typeface="+mj-lt"/>
                        <a:buNone/>
                      </a:pPr>
                      <a:r>
                        <a:rPr lang="en-US" sz="1000" b="1" dirty="0"/>
                        <a:t>Binary cycle power pl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geothermal plant in which geothermal fluid (often lower temperature) transfers heat to a secondary “working fluid” via a heat exchanger; the working fluid vaporizes and drives a turbine, while the geothermal fluid remains in a closed loop and is reinject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44833738"/>
                  </a:ext>
                </a:extLst>
              </a:tr>
            </a:tbl>
          </a:graphicData>
        </a:graphic>
      </p:graphicFrame>
      <p:graphicFrame>
        <p:nvGraphicFramePr>
          <p:cNvPr id="8" name="Table 7">
            <a:extLst>
              <a:ext uri="{FF2B5EF4-FFF2-40B4-BE49-F238E27FC236}">
                <a16:creationId xmlns:a16="http://schemas.microsoft.com/office/drawing/2014/main" id="{B9D11BAE-D21B-5E77-60B3-5BFD50A5D8A9}"/>
              </a:ext>
            </a:extLst>
          </p:cNvPr>
          <p:cNvGraphicFramePr>
            <a:graphicFrameLocks noGrp="1"/>
          </p:cNvGraphicFramePr>
          <p:nvPr/>
        </p:nvGraphicFramePr>
        <p:xfrm>
          <a:off x="6287772" y="2439901"/>
          <a:ext cx="5577840" cy="350520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Font typeface="+mj-lt"/>
                        <a:buNone/>
                      </a:pPr>
                      <a:r>
                        <a:rPr lang="en-US" sz="1000" b="1" dirty="0"/>
                        <a:t>Next-generation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n umbrella term for geothermal approaches beyond conventional hydrothermal resources; that is, systems using engineered reservoirs, closed loops, or other technologies to expand geothermal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05154451"/>
                  </a:ext>
                </a:extLst>
              </a:tr>
              <a:tr h="370840">
                <a:tc>
                  <a:txBody>
                    <a:bodyPr/>
                    <a:lstStyle/>
                    <a:p>
                      <a:pPr marL="0" indent="0">
                        <a:buFont typeface="+mj-lt"/>
                        <a:buNone/>
                      </a:pPr>
                      <a:r>
                        <a:rPr lang="en-US" sz="1000" b="1" dirty="0"/>
                        <a:t>Closed-loop geothermal systems (CL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Geothermal systems in which the working fluid is circulated through sealed loops of pipe drilled into hot rock, extracting heat by conduction rather than relying on natural rock permeability or fluid pathway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256550"/>
                  </a:ext>
                </a:extLst>
              </a:tr>
              <a:tr h="370840">
                <a:tc>
                  <a:txBody>
                    <a:bodyPr/>
                    <a:lstStyle/>
                    <a:p>
                      <a:pPr marL="0" indent="0">
                        <a:buFont typeface="+mj-lt"/>
                        <a:buNone/>
                      </a:pPr>
                      <a:r>
                        <a:rPr lang="en-US" sz="1000" b="1" dirty="0"/>
                        <a:t>Enhanced geothermal      systems (E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A method to develop geothermal energy in hot but low-permeability rock by artificially creating or improving the permeability (for example via hydraulic stimulation) so that fluid can circulate and extract he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41625496"/>
                  </a:ext>
                </a:extLst>
              </a:tr>
              <a:tr h="370840">
                <a:tc>
                  <a:txBody>
                    <a:bodyPr/>
                    <a:lstStyle/>
                    <a:p>
                      <a:pPr marL="0" indent="0">
                        <a:buFont typeface="+mj-lt"/>
                        <a:buNone/>
                      </a:pPr>
                      <a:r>
                        <a:rPr lang="en-US" sz="1000" b="1" dirty="0"/>
                        <a:t>Advanced geothermal      systems (AG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 typeface="+mj-lt"/>
                        <a:buNone/>
                        <a:tabLst/>
                        <a:defRPr/>
                      </a:pPr>
                      <a:r>
                        <a:rPr lang="en-US" sz="1000" dirty="0"/>
                        <a:t>Often used interchangeably with closed-loop systems, geothermal systems that are engineered and do not depend on naturally favorable permeability or hydrothermal flui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3747138"/>
                  </a:ext>
                </a:extLst>
              </a:tr>
              <a:tr h="370840">
                <a:tc>
                  <a:txBody>
                    <a:bodyPr/>
                    <a:lstStyle/>
                    <a:p>
                      <a:pPr marL="0" indent="0">
                        <a:buNone/>
                      </a:pPr>
                      <a:r>
                        <a:rPr lang="en-US" sz="1000" b="1" dirty="0"/>
                        <a:t>Superhot rock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operating at very high temperatures (for example &gt;400°C), often in rock that may reach or exceed super-critical conditions, thus offering a high-potential energy yield per w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5125806"/>
                  </a:ext>
                </a:extLst>
              </a:tr>
            </a:tbl>
          </a:graphicData>
        </a:graphic>
      </p:graphicFrame>
      <p:cxnSp>
        <p:nvCxnSpPr>
          <p:cNvPr id="13" name="Straight Connector 12">
            <a:extLst>
              <a:ext uri="{FF2B5EF4-FFF2-40B4-BE49-F238E27FC236}">
                <a16:creationId xmlns:a16="http://schemas.microsoft.com/office/drawing/2014/main" id="{C79D5C5B-0964-AA79-636F-22FDACCB933E}"/>
              </a:ext>
            </a:extLst>
          </p:cNvPr>
          <p:cNvCxnSpPr>
            <a:cxnSpLocks/>
          </p:cNvCxnSpPr>
          <p:nvPr/>
        </p:nvCxnSpPr>
        <p:spPr bwMode="gray">
          <a:xfrm>
            <a:off x="2259724"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1DEC93-BB21-6B0A-93E5-73B5B94657B2}"/>
              </a:ext>
            </a:extLst>
          </p:cNvPr>
          <p:cNvCxnSpPr>
            <a:cxnSpLocks/>
          </p:cNvCxnSpPr>
          <p:nvPr/>
        </p:nvCxnSpPr>
        <p:spPr bwMode="gray">
          <a:xfrm>
            <a:off x="8259671"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010A5A5-A63E-3272-082C-0A3857753D92}"/>
              </a:ext>
            </a:extLst>
          </p:cNvPr>
          <p:cNvSpPr/>
          <p:nvPr/>
        </p:nvSpPr>
        <p:spPr bwMode="gray">
          <a:xfrm>
            <a:off x="11286556" y="248194"/>
            <a:ext cx="544604" cy="2261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591721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CAF293-E828-CCF3-C56C-558ED57B719B}"/>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4CAF293-E828-CCF3-C56C-558ED57B719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253A6E3-DCC7-4F05-D3A2-092993E69954}"/>
              </a:ext>
            </a:extLst>
          </p:cNvPr>
          <p:cNvSpPr>
            <a:spLocks noGrp="1"/>
          </p:cNvSpPr>
          <p:nvPr>
            <p:ph type="body" sz="quarter" idx="13"/>
          </p:nvPr>
        </p:nvSpPr>
        <p:spPr/>
        <p:txBody>
          <a:bodyPr/>
          <a:lstStyle/>
          <a:p>
            <a:r>
              <a:rPr lang="en-US" dirty="0">
                <a:solidFill>
                  <a:srgbClr val="000000"/>
                </a:solidFill>
              </a:rPr>
              <a:t>CKI Guideline for Geothermal Terms</a:t>
            </a:r>
          </a:p>
        </p:txBody>
      </p:sp>
      <p:sp>
        <p:nvSpPr>
          <p:cNvPr id="3" name="Title 2">
            <a:extLst>
              <a:ext uri="{FF2B5EF4-FFF2-40B4-BE49-F238E27FC236}">
                <a16:creationId xmlns:a16="http://schemas.microsoft.com/office/drawing/2014/main" id="{2A2B9844-A370-1DA8-62B7-B2F28BC894EE}"/>
              </a:ext>
            </a:extLst>
          </p:cNvPr>
          <p:cNvSpPr>
            <a:spLocks noGrp="1"/>
          </p:cNvSpPr>
          <p:nvPr>
            <p:ph type="title"/>
          </p:nvPr>
        </p:nvSpPr>
        <p:spPr/>
        <p:txBody>
          <a:bodyPr vert="horz" rIns="91440"/>
          <a:lstStyle/>
          <a:p>
            <a:r>
              <a:rPr lang="en-US" dirty="0"/>
              <a:t>Glossary (2/2)</a:t>
            </a:r>
          </a:p>
        </p:txBody>
      </p:sp>
      <p:sp>
        <p:nvSpPr>
          <p:cNvPr id="5" name="Footer Placeholder 4">
            <a:extLst>
              <a:ext uri="{FF2B5EF4-FFF2-40B4-BE49-F238E27FC236}">
                <a16:creationId xmlns:a16="http://schemas.microsoft.com/office/drawing/2014/main" id="{01FFAC50-D1CE-F28D-3708-FA8826FF90C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KI analysis in accordance with IEA guidelines (2025).</a:t>
            </a:r>
          </a:p>
          <a:p>
            <a:pPr lvl="0" defTabSz="9144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ia Doris Morrow,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rPr>
              <a:t>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9" name="Table 8">
            <a:extLst>
              <a:ext uri="{FF2B5EF4-FFF2-40B4-BE49-F238E27FC236}">
                <a16:creationId xmlns:a16="http://schemas.microsoft.com/office/drawing/2014/main" id="{0313D2E8-59B8-5D4F-B9B1-0D523373AD20}"/>
              </a:ext>
            </a:extLst>
          </p:cNvPr>
          <p:cNvGraphicFramePr>
            <a:graphicFrameLocks noGrp="1"/>
          </p:cNvGraphicFramePr>
          <p:nvPr/>
        </p:nvGraphicFramePr>
        <p:xfrm>
          <a:off x="6287772" y="2439901"/>
          <a:ext cx="5577840" cy="295656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None/>
                      </a:pPr>
                      <a:r>
                        <a:rPr lang="en-US" sz="1000" b="1" dirty="0"/>
                        <a:t>Plasma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method under development in which plasma (ionized gas) is used to erode or vaporize rock ahead of the drill bit, aiming for faster penetration in very hot or hard ro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30374951"/>
                  </a:ext>
                </a:extLst>
              </a:tr>
              <a:tr h="370840">
                <a:tc>
                  <a:txBody>
                    <a:bodyPr/>
                    <a:lstStyle/>
                    <a:p>
                      <a:pPr marL="0" indent="0">
                        <a:buNone/>
                      </a:pPr>
                      <a:r>
                        <a:rPr lang="en-US" sz="1000" b="1" dirty="0"/>
                        <a:t>Thermal spall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development in which rapid heating of rock causes spalling, rapid flaking, or fracturing of the rock surface, to assist borehole advancement in high-temperature condi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28498892"/>
                  </a:ext>
                </a:extLst>
              </a:tr>
              <a:tr h="370840">
                <a:tc>
                  <a:txBody>
                    <a:bodyPr/>
                    <a:lstStyle/>
                    <a:p>
                      <a:pPr marL="0" indent="0">
                        <a:buNone/>
                      </a:pPr>
                      <a:r>
                        <a:rPr lang="en-US" sz="1000" b="1" dirty="0"/>
                        <a:t>Millimeter-wave drilling (Gyrotr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research using high-power electromagnetic waves at millimeter wavelengths (often from a gyrotron) to heat or vaporize rock ahead of the drill, to enable drilling in extreme rock/temperature environme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4362278"/>
                  </a:ext>
                </a:extLst>
              </a:tr>
              <a:tr h="370840">
                <a:tc>
                  <a:txBody>
                    <a:bodyPr/>
                    <a:lstStyle/>
                    <a:p>
                      <a:pPr marL="0" indent="0">
                        <a:buNone/>
                      </a:pPr>
                      <a:r>
                        <a:rPr lang="en-US" sz="1000" b="1" dirty="0"/>
                        <a:t>Laser-assisted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under development in which lasers are used to ablate or weaken rock ahead of the drill bit, thereby improving the drilling rate or reducing bit wear in hard/high-temperature form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69202689"/>
                  </a:ext>
                </a:extLst>
              </a:tr>
            </a:tbl>
          </a:graphicData>
        </a:graphic>
      </p:graphicFrame>
      <p:graphicFrame>
        <p:nvGraphicFramePr>
          <p:cNvPr id="10" name="Table 9">
            <a:extLst>
              <a:ext uri="{FF2B5EF4-FFF2-40B4-BE49-F238E27FC236}">
                <a16:creationId xmlns:a16="http://schemas.microsoft.com/office/drawing/2014/main" id="{EE0A8C11-00C1-5417-8C96-05E0D09FFD5E}"/>
              </a:ext>
            </a:extLst>
          </p:cNvPr>
          <p:cNvGraphicFramePr>
            <a:graphicFrameLocks noGrp="1"/>
          </p:cNvGraphicFramePr>
          <p:nvPr/>
        </p:nvGraphicFramePr>
        <p:xfrm>
          <a:off x="334962" y="2439901"/>
          <a:ext cx="5577840" cy="3505200"/>
        </p:xfrm>
        <a:graphic>
          <a:graphicData uri="http://schemas.openxmlformats.org/drawingml/2006/table">
            <a:tbl>
              <a:tblPr firstRow="1" bandRow="1">
                <a:tableStyleId>{5940675A-B579-460E-94D1-54222C63F5DA}</a:tableStyleId>
              </a:tblPr>
              <a:tblGrid>
                <a:gridCol w="2167128">
                  <a:extLst>
                    <a:ext uri="{9D8B030D-6E8A-4147-A177-3AD203B41FA5}">
                      <a16:colId xmlns:a16="http://schemas.microsoft.com/office/drawing/2014/main" val="1416577915"/>
                    </a:ext>
                  </a:extLst>
                </a:gridCol>
                <a:gridCol w="3410712">
                  <a:extLst>
                    <a:ext uri="{9D8B030D-6E8A-4147-A177-3AD203B41FA5}">
                      <a16:colId xmlns:a16="http://schemas.microsoft.com/office/drawing/2014/main" val="512235268"/>
                    </a:ext>
                  </a:extLst>
                </a:gridCol>
              </a:tblGrid>
              <a:tr h="370840">
                <a:tc>
                  <a:txBody>
                    <a:bodyPr/>
                    <a:lstStyle/>
                    <a:p>
                      <a:pPr marL="0" indent="0">
                        <a:buNone/>
                      </a:pPr>
                      <a:r>
                        <a:rPr lang="en-US" sz="1000" b="1" dirty="0"/>
                        <a:t>Frontier technolog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Emerging and experimental geothermal technologies beyond current commercial practice, including advanced drilling, novel stimulation techniques, and reservoir-creation methods </a:t>
                      </a:r>
                      <a:r>
                        <a:rPr lang="en-US" sz="1000" i="1" dirty="0"/>
                        <a:t>(please refer to technologies belo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67354207"/>
                  </a:ext>
                </a:extLst>
              </a:tr>
              <a:tr h="370840">
                <a:tc>
                  <a:txBody>
                    <a:bodyPr/>
                    <a:lstStyle/>
                    <a:p>
                      <a:pPr marL="0" indent="0">
                        <a:buNone/>
                      </a:pPr>
                      <a:r>
                        <a:rPr lang="en-US" sz="1000" b="1" dirty="0"/>
                        <a:t>Magma-based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that aim to extract heat directly from molten or partially molten rock (magma) or adjacent high-temperature zones; a higher-risk/higher-reward approach in the geothermal fiel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24996612"/>
                  </a:ext>
                </a:extLst>
              </a:tr>
              <a:tr h="370840">
                <a:tc>
                  <a:txBody>
                    <a:bodyPr/>
                    <a:lstStyle/>
                    <a:p>
                      <a:pPr marL="0" indent="0">
                        <a:buNone/>
                      </a:pPr>
                      <a:r>
                        <a:rPr lang="en-US" sz="1000" b="1" dirty="0"/>
                        <a:t>Geopressured geotherm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Geothermal systems in sedimentary basins where hot fluids are under high pressure (geopressure), sometimes containing dissolved gas (e.g., methane), which can provide combined heat and gas resource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75905648"/>
                  </a:ext>
                </a:extLst>
              </a:tr>
              <a:tr h="370840">
                <a:tc>
                  <a:txBody>
                    <a:bodyPr/>
                    <a:lstStyle/>
                    <a:p>
                      <a:pPr marL="0" indent="0">
                        <a:buNone/>
                      </a:pPr>
                      <a:r>
                        <a:rPr lang="en-US" sz="1000" b="1" dirty="0"/>
                        <a:t>Directional dri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drilling technique in which the wellbore is steered off vertical (horizontal or angled) to reach target zones of heat, fluid, or permeability that are not directly beneath the surface well p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5743"/>
                  </a:ext>
                </a:extLst>
              </a:tr>
              <a:tr h="370840">
                <a:tc>
                  <a:txBody>
                    <a:bodyPr/>
                    <a:lstStyle/>
                    <a:p>
                      <a:pPr marL="0" indent="0">
                        <a:buNone/>
                      </a:pPr>
                      <a:r>
                        <a:rPr lang="en-US" sz="1000" b="1" dirty="0"/>
                        <a:t>Hydraulic fractur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dirty="0"/>
                        <a:t>A stimulation technique in which fluid is injected at high pressure into rock to open or expand fractures, thereby creating or enhancing permeability so that fluid can circulate; used in EGS develop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69052947"/>
                  </a:ext>
                </a:extLst>
              </a:tr>
            </a:tbl>
          </a:graphicData>
        </a:graphic>
      </p:graphicFrame>
      <p:cxnSp>
        <p:nvCxnSpPr>
          <p:cNvPr id="11" name="Straight Connector 10">
            <a:extLst>
              <a:ext uri="{FF2B5EF4-FFF2-40B4-BE49-F238E27FC236}">
                <a16:creationId xmlns:a16="http://schemas.microsoft.com/office/drawing/2014/main" id="{64C346FF-F08D-8F14-F820-A8743C4BC7EF}"/>
              </a:ext>
            </a:extLst>
          </p:cNvPr>
          <p:cNvCxnSpPr>
            <a:cxnSpLocks/>
          </p:cNvCxnSpPr>
          <p:nvPr/>
        </p:nvCxnSpPr>
        <p:spPr bwMode="gray">
          <a:xfrm>
            <a:off x="2259724"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E60AE7-AB9D-29F2-23A4-8A4FC805EBFC}"/>
              </a:ext>
            </a:extLst>
          </p:cNvPr>
          <p:cNvCxnSpPr>
            <a:cxnSpLocks/>
          </p:cNvCxnSpPr>
          <p:nvPr/>
        </p:nvCxnSpPr>
        <p:spPr bwMode="gray">
          <a:xfrm>
            <a:off x="8259671" y="2306122"/>
            <a:ext cx="0" cy="3912553"/>
          </a:xfrm>
          <a:prstGeom prst="line">
            <a:avLst/>
          </a:prstGeom>
          <a:ln w="127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B1EAB4E-0801-A85D-CB53-3672C0ACBC34}"/>
              </a:ext>
            </a:extLst>
          </p:cNvPr>
          <p:cNvSpPr/>
          <p:nvPr/>
        </p:nvSpPr>
        <p:spPr bwMode="gray">
          <a:xfrm>
            <a:off x="11277930" y="248194"/>
            <a:ext cx="544604" cy="2261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87396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DB5EFB-C7DB-CCF6-664C-865B8D935E0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F1DB5EFB-C7DB-CCF6-664C-865B8D935E0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8A19378-3E04-0849-CFAA-2AF51DBEE9CC}"/>
              </a:ext>
            </a:extLst>
          </p:cNvPr>
          <p:cNvSpPr>
            <a:spLocks noGrp="1"/>
          </p:cNvSpPr>
          <p:nvPr>
            <p:ph type="body" sz="quarter" idx="14"/>
          </p:nvPr>
        </p:nvSpPr>
        <p:spPr/>
        <p:txBody>
          <a:bodyPr/>
          <a:lstStyle/>
          <a:p>
            <a:pPr marL="0" indent="0">
              <a:buNone/>
            </a:pPr>
            <a:r>
              <a:rPr lang="en-US" b="1" dirty="0"/>
              <a:t>Observations</a:t>
            </a:r>
          </a:p>
          <a:p>
            <a:r>
              <a:rPr lang="en-US" sz="1050" dirty="0"/>
              <a:t>The U.S., Indonesia, the Philippines, Mexico, Türkiye, New Zealand, Japan, Kenya, Iceland, and Italy lead in installed geothermal capacity.</a:t>
            </a:r>
          </a:p>
          <a:p>
            <a:r>
              <a:rPr lang="en-US" sz="1050" dirty="0"/>
              <a:t>Conventional geothermal relies on rare hydrothermal reservoirs—where heat, water, and permeable rock naturally align near tectonic boundaries like the Pacific Ring of Fire.</a:t>
            </a:r>
          </a:p>
          <a:p>
            <a:r>
              <a:rPr lang="en-US" sz="1050" dirty="0"/>
              <a:t>As a result, geothermal generation is concentrated in volcanically active regions. Most other nations face steep costs and technical barriers.</a:t>
            </a:r>
          </a:p>
          <a:p>
            <a:r>
              <a:rPr lang="en-US" sz="1050" b="1" dirty="0"/>
              <a:t>Conventional resources are too limited to assist in meeting global energy demand </a:t>
            </a:r>
          </a:p>
          <a:p>
            <a:r>
              <a:rPr lang="en-US" sz="1050" dirty="0"/>
              <a:t>Enhanced and closed-loop geothermal systems aim to overcome geographic limits, unlock deeper heat sources, and deliver 24/7 renewable power worldwide.</a:t>
            </a:r>
          </a:p>
        </p:txBody>
      </p:sp>
      <p:sp>
        <p:nvSpPr>
          <p:cNvPr id="3" name="Title 2">
            <a:extLst>
              <a:ext uri="{FF2B5EF4-FFF2-40B4-BE49-F238E27FC236}">
                <a16:creationId xmlns:a16="http://schemas.microsoft.com/office/drawing/2014/main" id="{8273933D-DB17-267D-A7C0-E1D2928EB747}"/>
              </a:ext>
            </a:extLst>
          </p:cNvPr>
          <p:cNvSpPr>
            <a:spLocks noGrp="1"/>
          </p:cNvSpPr>
          <p:nvPr>
            <p:ph type="title"/>
          </p:nvPr>
        </p:nvSpPr>
        <p:spPr/>
        <p:txBody>
          <a:bodyPr vert="horz" rIns="91440"/>
          <a:lstStyle/>
          <a:p>
            <a:r>
              <a:rPr lang="en-US" dirty="0">
                <a:cs typeface="Arial"/>
              </a:rPr>
              <a:t>Conventional geothermal power installations have reached </a:t>
            </a:r>
            <a:br>
              <a:rPr lang="en-US" dirty="0">
                <a:cs typeface="Arial"/>
              </a:rPr>
            </a:br>
            <a:r>
              <a:rPr lang="en-US" dirty="0">
                <a:cs typeface="Arial"/>
              </a:rPr>
              <a:t>~16 GW but remain constrained to key geographic areas</a:t>
            </a:r>
            <a:endParaRPr lang="en-US" dirty="0"/>
          </a:p>
        </p:txBody>
      </p:sp>
      <p:sp>
        <p:nvSpPr>
          <p:cNvPr id="4" name="Footer Placeholder 3">
            <a:extLst>
              <a:ext uri="{FF2B5EF4-FFF2-40B4-BE49-F238E27FC236}">
                <a16:creationId xmlns:a16="http://schemas.microsoft.com/office/drawing/2014/main" id="{1A461BB2-5F40-9388-62E6-2A6BC3B2E73B}"/>
              </a:ext>
            </a:extLst>
          </p:cNvPr>
          <p:cNvSpPr>
            <a:spLocks noGrp="1"/>
          </p:cNvSpPr>
          <p:nvPr>
            <p:ph type="ftr" sz="quarter" idx="3"/>
          </p:nvPr>
        </p:nvSpPr>
        <p:spPr/>
        <p: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Total Geothermal C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Our World in Dat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Predicting Geographic Suitability of Geothermal Power Plants</a:t>
            </a:r>
            <a:r>
              <a:rPr kumimoji="0" lang="en-US" sz="800" b="0" i="0" u="none" strike="noStrike" kern="1200" cap="none" spc="0" normalizeH="0" baseline="0" noProof="0" dirty="0">
                <a:ln>
                  <a:noFill/>
                </a:ln>
                <a:solidFill>
                  <a:srgbClr val="000000"/>
                </a:solidFill>
                <a:effectLst/>
                <a:uLnTx/>
                <a:uFillTx/>
                <a:latin typeface="Arial"/>
                <a:ea typeface="+mn-ea"/>
                <a:cs typeface="+mn-cs"/>
              </a:rPr>
              <a:t> (Journal of Cleaner Production, 2020).</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FE5B70DE-5A42-61F0-5B84-522402C6F215}"/>
              </a:ext>
            </a:extLst>
          </p:cNvPr>
          <p:cNvSpPr>
            <a:spLocks noGrp="1"/>
          </p:cNvSpPr>
          <p:nvPr>
            <p:ph type="body" sz="quarter" idx="13"/>
          </p:nvPr>
        </p:nvSpPr>
        <p:spPr/>
        <p:txBody>
          <a:bodyPr/>
          <a:lstStyle/>
          <a:p>
            <a:r>
              <a:rPr lang="en-US" dirty="0"/>
              <a:t>Geologically active areas show geothermal potential beyond countries with installed capacity</a:t>
            </a:r>
          </a:p>
        </p:txBody>
      </p:sp>
      <p:sp>
        <p:nvSpPr>
          <p:cNvPr id="7" name="Text Placeholder 1">
            <a:extLst>
              <a:ext uri="{FF2B5EF4-FFF2-40B4-BE49-F238E27FC236}">
                <a16:creationId xmlns:a16="http://schemas.microsoft.com/office/drawing/2014/main" id="{3DE028D6-2211-B11A-F11B-048D5BD22DE2}"/>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pic>
        <p:nvPicPr>
          <p:cNvPr id="711" name="Picture 710" descr="A map of the world&#10;&#10;AI-generated content may be incorrect.">
            <a:extLst>
              <a:ext uri="{FF2B5EF4-FFF2-40B4-BE49-F238E27FC236}">
                <a16:creationId xmlns:a16="http://schemas.microsoft.com/office/drawing/2014/main" id="{21FE5C55-A55B-E519-EE07-DD9E3798E2C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4800" y="2120703"/>
            <a:ext cx="7801970" cy="4165458"/>
          </a:xfrm>
          <a:prstGeom prst="rect">
            <a:avLst/>
          </a:prstGeom>
        </p:spPr>
      </p:pic>
    </p:spTree>
    <p:extLst>
      <p:ext uri="{BB962C8B-B14F-4D97-AF65-F5344CB8AC3E}">
        <p14:creationId xmlns:p14="http://schemas.microsoft.com/office/powerpoint/2010/main" val="727102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DB357-8505-CD7B-F01E-396AB5AA447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92F03EC-A116-D14D-DD89-94B8CD1BE8B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592F03EC-A116-D14D-DD89-94B8CD1BE8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B4B395F-A493-DD91-A33D-F9CF27B70AFA}"/>
              </a:ext>
            </a:extLst>
          </p:cNvPr>
          <p:cNvSpPr>
            <a:spLocks noGrp="1"/>
          </p:cNvSpPr>
          <p:nvPr>
            <p:ph type="title"/>
          </p:nvPr>
        </p:nvSpPr>
        <p:spPr/>
        <p:txBody>
          <a:bodyPr vert="horz" rIns="91440"/>
          <a:lstStyle/>
          <a:p>
            <a:r>
              <a:rPr lang="en-US" dirty="0"/>
              <a:t>Next-generation technologies enable deeper drilling to unlock greater power potential</a:t>
            </a:r>
          </a:p>
        </p:txBody>
      </p:sp>
      <p:sp>
        <p:nvSpPr>
          <p:cNvPr id="6" name="Footer Placeholder 5">
            <a:extLst>
              <a:ext uri="{FF2B5EF4-FFF2-40B4-BE49-F238E27FC236}">
                <a16:creationId xmlns:a16="http://schemas.microsoft.com/office/drawing/2014/main" id="{04242BCD-573E-6BC9-6214-DADAAB20F7E3}"/>
              </a:ext>
            </a:extLst>
          </p:cNvPr>
          <p:cNvSpPr>
            <a:spLocks noGrp="1"/>
          </p:cNvSpPr>
          <p:nvPr>
            <p:ph type="ftr" sz="quarter" idx="3"/>
          </p:nvPr>
        </p:nvSpPr>
        <p:spPr>
          <a:xfrm>
            <a:off x="329184" y="6052137"/>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Graphs indicate general relationship, but reality will vary depending on location, pressure, flow rate, efficiency, and heat distrib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Types of Geothermal power plant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CA.gov</a:t>
            </a:r>
            <a:r>
              <a:rPr kumimoji="0" lang="en-US" sz="800" b="0" i="0" u="none" strike="noStrike" kern="1200" cap="none" spc="0" normalizeH="0" baseline="0" noProof="0" dirty="0">
                <a:ln>
                  <a:noFill/>
                </a:ln>
                <a:solidFill>
                  <a:srgbClr val="000000"/>
                </a:solidFill>
                <a:effectLst/>
                <a:uLnTx/>
                <a:uFillTx/>
                <a:latin typeface="Arial"/>
                <a:ea typeface="+mn-ea"/>
                <a:cs typeface="+mn-cs"/>
              </a:rPr>
              <a:t>,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What is a geothermal reservoir?</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The Next Generation, 2021);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A state of the art review on geothermal</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nternational Journal of </a:t>
            </a:r>
            <a:r>
              <a:rPr kumimoji="0" lang="en-US" sz="800" b="0" i="0" u="none" strike="noStrike" kern="1200" cap="none" spc="0" normalizeH="0" baseline="0" noProof="0" dirty="0" err="1">
                <a:ln>
                  <a:noFill/>
                </a:ln>
                <a:solidFill>
                  <a:srgbClr val="000000"/>
                </a:solidFill>
                <a:effectLst/>
                <a:uLnTx/>
                <a:uFillTx/>
                <a:latin typeface="Arial"/>
                <a:ea typeface="+mn-ea"/>
                <a:cs typeface="+mn-cs"/>
              </a:rPr>
              <a:t>Thermofluids</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othermal Technologies</a:t>
            </a:r>
            <a:r>
              <a:rPr kumimoji="0" lang="en-US" sz="800" b="0" i="0" u="none" strike="noStrike" kern="1200" cap="none" spc="0" normalizeH="0" baseline="0" noProof="0" dirty="0">
                <a:ln>
                  <a:noFill/>
                </a:ln>
                <a:solidFill>
                  <a:srgbClr val="000000"/>
                </a:solidFill>
                <a:effectLst/>
                <a:uLnTx/>
                <a:uFillTx/>
                <a:latin typeface="Arial"/>
                <a:ea typeface="+mn-ea"/>
                <a:cs typeface="+mn-cs"/>
              </a:rPr>
              <a:t> (BGS,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Power Density in Geothermal Fields</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ResearchGate, 201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Geothermal Gradient</a:t>
            </a:r>
            <a:r>
              <a:rPr kumimoji="0" lang="en-US" sz="800" b="0" i="0" u="none" strike="noStrike" kern="1200" cap="none" spc="0" normalizeH="0" baseline="0" noProof="0" dirty="0">
                <a:ln>
                  <a:noFill/>
                </a:ln>
                <a:solidFill>
                  <a:srgbClr val="000000"/>
                </a:solidFill>
                <a:effectLst/>
                <a:uLnTx/>
                <a:uFillTx/>
                <a:latin typeface="Arial"/>
                <a:ea typeface="+mn-ea"/>
                <a:cs typeface="+mn-cs"/>
              </a:rPr>
              <a:t> (Energy Education,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U.S. utility-scale power plants</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EIA, 2020);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The Utah Forge Project</a:t>
            </a:r>
            <a:r>
              <a:rPr kumimoji="0" lang="en-US" sz="800" b="0" i="0" u="none" strike="noStrike" kern="1200" cap="none" spc="0" normalizeH="0" baseline="0" noProof="0" dirty="0">
                <a:ln>
                  <a:noFill/>
                </a:ln>
                <a:solidFill>
                  <a:srgbClr val="000000"/>
                </a:solidFill>
                <a:effectLst/>
                <a:uLnTx/>
                <a:uFillTx/>
                <a:latin typeface="Arial"/>
                <a:ea typeface="+mn-ea"/>
                <a:cs typeface="+mn-cs"/>
              </a:rPr>
              <a:t> (Clean Technica,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Temperatures are rising</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Geoconvention.com</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a:t>
            </a:r>
            <a:r>
              <a:rPr lang="en-US" dirty="0">
                <a:solidFill>
                  <a:srgbClr val="000000"/>
                </a:solidFill>
                <a:latin typeface="Arial"/>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rPr>
              <a:t>hurston</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nd </a:t>
            </a:r>
            <a:r>
              <a:rPr lang="en-US" dirty="0">
                <a:solidFill>
                  <a:srgbClr val="000000">
                    <a:tint val="82000"/>
                  </a:srgbClr>
                </a:solidFill>
                <a:hlinkClick r:id="rId14"/>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Text Placeholder 6">
            <a:extLst>
              <a:ext uri="{FF2B5EF4-FFF2-40B4-BE49-F238E27FC236}">
                <a16:creationId xmlns:a16="http://schemas.microsoft.com/office/drawing/2014/main" id="{136E6411-05F1-D833-8F4D-2E054A870500}"/>
              </a:ext>
            </a:extLst>
          </p:cNvPr>
          <p:cNvSpPr>
            <a:spLocks noGrp="1"/>
          </p:cNvSpPr>
          <p:nvPr>
            <p:ph type="body" sz="quarter" idx="13"/>
          </p:nvPr>
        </p:nvSpPr>
        <p:spPr/>
        <p:txBody>
          <a:bodyPr/>
          <a:lstStyle/>
          <a:p>
            <a:r>
              <a:rPr lang="en-US" dirty="0"/>
              <a:t>Heat reservoir formation process and access</a:t>
            </a:r>
          </a:p>
        </p:txBody>
      </p:sp>
      <p:sp>
        <p:nvSpPr>
          <p:cNvPr id="8" name="Text Placeholder 7">
            <a:extLst>
              <a:ext uri="{FF2B5EF4-FFF2-40B4-BE49-F238E27FC236}">
                <a16:creationId xmlns:a16="http://schemas.microsoft.com/office/drawing/2014/main" id="{1190D3AF-2B02-7ABA-D1BC-01742285BB22}"/>
              </a:ext>
            </a:extLst>
          </p:cNvPr>
          <p:cNvSpPr>
            <a:spLocks noGrp="1"/>
          </p:cNvSpPr>
          <p:nvPr>
            <p:ph type="body" sz="quarter" idx="16"/>
          </p:nvPr>
        </p:nvSpPr>
        <p:spPr/>
        <p:txBody>
          <a:bodyPr/>
          <a:lstStyle/>
          <a:p>
            <a:r>
              <a:rPr lang="en-US" dirty="0"/>
              <a:t>The ability to drill deeper is key to accessing more power*</a:t>
            </a:r>
          </a:p>
        </p:txBody>
      </p:sp>
      <p:sp>
        <p:nvSpPr>
          <p:cNvPr id="9" name="Text Placeholder 1">
            <a:extLst>
              <a:ext uri="{FF2B5EF4-FFF2-40B4-BE49-F238E27FC236}">
                <a16:creationId xmlns:a16="http://schemas.microsoft.com/office/drawing/2014/main" id="{C2D341B5-4AA9-60DF-C533-28EBD4FC211B}"/>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sp>
        <p:nvSpPr>
          <p:cNvPr id="11" name="Parallelogram 10">
            <a:extLst>
              <a:ext uri="{FF2B5EF4-FFF2-40B4-BE49-F238E27FC236}">
                <a16:creationId xmlns:a16="http://schemas.microsoft.com/office/drawing/2014/main" id="{54760487-40D3-97CF-31C4-C35280BBB906}"/>
              </a:ext>
            </a:extLst>
          </p:cNvPr>
          <p:cNvSpPr/>
          <p:nvPr/>
        </p:nvSpPr>
        <p:spPr bwMode="gray">
          <a:xfrm>
            <a:off x="628650" y="5614630"/>
            <a:ext cx="3957638" cy="361950"/>
          </a:xfrm>
          <a:prstGeom prst="parallelogram">
            <a:avLst>
              <a:gd name="adj" fmla="val 298004"/>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6A4B1DD7-5265-AB27-A7F3-6A6332BB72FB}"/>
              </a:ext>
            </a:extLst>
          </p:cNvPr>
          <p:cNvSpPr/>
          <p:nvPr/>
        </p:nvSpPr>
        <p:spPr bwMode="gray">
          <a:xfrm>
            <a:off x="1660525" y="3109560"/>
            <a:ext cx="2925763" cy="249916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Parallelogram 12">
            <a:extLst>
              <a:ext uri="{FF2B5EF4-FFF2-40B4-BE49-F238E27FC236}">
                <a16:creationId xmlns:a16="http://schemas.microsoft.com/office/drawing/2014/main" id="{DE10E35D-0D7F-2405-95AA-E331CBA7E9B4}"/>
              </a:ext>
            </a:extLst>
          </p:cNvPr>
          <p:cNvSpPr/>
          <p:nvPr/>
        </p:nvSpPr>
        <p:spPr bwMode="gray">
          <a:xfrm>
            <a:off x="628650" y="3098447"/>
            <a:ext cx="3983038" cy="360363"/>
          </a:xfrm>
          <a:prstGeom prst="parallelogram">
            <a:avLst>
              <a:gd name="adj" fmla="val 298004"/>
            </a:avLst>
          </a:prstGeom>
          <a:solidFill>
            <a:schemeClr val="accent6">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B83A9A9E-AD8B-91C9-1246-BB030176CF42}"/>
              </a:ext>
            </a:extLst>
          </p:cNvPr>
          <p:cNvSpPr/>
          <p:nvPr/>
        </p:nvSpPr>
        <p:spPr bwMode="gray">
          <a:xfrm>
            <a:off x="628651" y="3457223"/>
            <a:ext cx="2924175" cy="2525260"/>
          </a:xfrm>
          <a:prstGeom prst="rect">
            <a:avLst/>
          </a:prstGeom>
          <a:solidFill>
            <a:srgbClr val="D5A26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Left Brace 14">
            <a:extLst>
              <a:ext uri="{FF2B5EF4-FFF2-40B4-BE49-F238E27FC236}">
                <a16:creationId xmlns:a16="http://schemas.microsoft.com/office/drawing/2014/main" id="{74A4EBCD-ACAD-5427-C870-A2DF03F3E29C}"/>
              </a:ext>
            </a:extLst>
          </p:cNvPr>
          <p:cNvSpPr/>
          <p:nvPr/>
        </p:nvSpPr>
        <p:spPr bwMode="gray">
          <a:xfrm rot="10800000">
            <a:off x="4625974" y="3109558"/>
            <a:ext cx="377826" cy="2499167"/>
          </a:xfrm>
          <a:prstGeom prst="leftBrace">
            <a:avLst>
              <a:gd name="adj1" fmla="val 131999"/>
              <a:gd name="adj2" fmla="val 49577"/>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EE6DE56-FFE3-AEBB-DD4E-1BCA5B851E45}"/>
              </a:ext>
            </a:extLst>
          </p:cNvPr>
          <p:cNvSpPr/>
          <p:nvPr/>
        </p:nvSpPr>
        <p:spPr bwMode="gray">
          <a:xfrm>
            <a:off x="5013325" y="3125288"/>
            <a:ext cx="1431925" cy="236538"/>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1 km</a:t>
            </a:r>
          </a:p>
        </p:txBody>
      </p:sp>
      <p:sp>
        <p:nvSpPr>
          <p:cNvPr id="17" name="Rectangle 16">
            <a:extLst>
              <a:ext uri="{FF2B5EF4-FFF2-40B4-BE49-F238E27FC236}">
                <a16:creationId xmlns:a16="http://schemas.microsoft.com/office/drawing/2014/main" id="{A4CEE654-5C31-B48A-85E1-5A297C2037A7}"/>
              </a:ext>
            </a:extLst>
          </p:cNvPr>
          <p:cNvSpPr/>
          <p:nvPr/>
        </p:nvSpPr>
        <p:spPr bwMode="gray">
          <a:xfrm>
            <a:off x="5003800" y="3441530"/>
            <a:ext cx="1430338" cy="238125"/>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2 km</a:t>
            </a:r>
          </a:p>
        </p:txBody>
      </p:sp>
      <p:sp>
        <p:nvSpPr>
          <p:cNvPr id="18" name="Rectangle 17">
            <a:extLst>
              <a:ext uri="{FF2B5EF4-FFF2-40B4-BE49-F238E27FC236}">
                <a16:creationId xmlns:a16="http://schemas.microsoft.com/office/drawing/2014/main" id="{B4A23CBA-8611-7452-7740-79FD37896310}"/>
              </a:ext>
            </a:extLst>
          </p:cNvPr>
          <p:cNvSpPr/>
          <p:nvPr/>
        </p:nvSpPr>
        <p:spPr bwMode="gray">
          <a:xfrm>
            <a:off x="5003800" y="3759359"/>
            <a:ext cx="1430338" cy="242888"/>
          </a:xfrm>
          <a:prstGeom prst="rect">
            <a:avLst/>
          </a:prstGeom>
          <a:solidFill>
            <a:schemeClr val="accent2">
              <a:lumMod val="10000"/>
              <a:lumOff val="9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 km</a:t>
            </a:r>
          </a:p>
        </p:txBody>
      </p:sp>
      <p:sp>
        <p:nvSpPr>
          <p:cNvPr id="19" name="Rectangle 18">
            <a:extLst>
              <a:ext uri="{FF2B5EF4-FFF2-40B4-BE49-F238E27FC236}">
                <a16:creationId xmlns:a16="http://schemas.microsoft.com/office/drawing/2014/main" id="{10DA74C7-77AD-A669-DBA0-419659991F74}"/>
              </a:ext>
            </a:extLst>
          </p:cNvPr>
          <p:cNvSpPr/>
          <p:nvPr/>
        </p:nvSpPr>
        <p:spPr bwMode="gray">
          <a:xfrm>
            <a:off x="5013325" y="4081951"/>
            <a:ext cx="1431925" cy="24288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4 km</a:t>
            </a:r>
          </a:p>
        </p:txBody>
      </p:sp>
      <p:sp>
        <p:nvSpPr>
          <p:cNvPr id="20" name="Rectangle 19">
            <a:extLst>
              <a:ext uri="{FF2B5EF4-FFF2-40B4-BE49-F238E27FC236}">
                <a16:creationId xmlns:a16="http://schemas.microsoft.com/office/drawing/2014/main" id="{EF6BA004-DDBD-5FA8-BE0A-140616BD479D}"/>
              </a:ext>
            </a:extLst>
          </p:cNvPr>
          <p:cNvSpPr/>
          <p:nvPr/>
        </p:nvSpPr>
        <p:spPr bwMode="gray">
          <a:xfrm>
            <a:off x="5003800" y="4404543"/>
            <a:ext cx="1430338" cy="24288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5 km</a:t>
            </a:r>
          </a:p>
        </p:txBody>
      </p:sp>
      <p:sp>
        <p:nvSpPr>
          <p:cNvPr id="21" name="Rectangle 20">
            <a:extLst>
              <a:ext uri="{FF2B5EF4-FFF2-40B4-BE49-F238E27FC236}">
                <a16:creationId xmlns:a16="http://schemas.microsoft.com/office/drawing/2014/main" id="{B213CA81-1918-EF62-3E59-05F71E0A1484}"/>
              </a:ext>
            </a:extLst>
          </p:cNvPr>
          <p:cNvSpPr/>
          <p:nvPr/>
        </p:nvSpPr>
        <p:spPr bwMode="gray">
          <a:xfrm>
            <a:off x="5013325" y="4727135"/>
            <a:ext cx="1431925" cy="26035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6 km</a:t>
            </a:r>
          </a:p>
        </p:txBody>
      </p:sp>
      <p:sp>
        <p:nvSpPr>
          <p:cNvPr id="22" name="Rectangle 21">
            <a:extLst>
              <a:ext uri="{FF2B5EF4-FFF2-40B4-BE49-F238E27FC236}">
                <a16:creationId xmlns:a16="http://schemas.microsoft.com/office/drawing/2014/main" id="{6939D9A7-EA59-40E9-3B35-04B6B13BFCBD}"/>
              </a:ext>
            </a:extLst>
          </p:cNvPr>
          <p:cNvSpPr/>
          <p:nvPr/>
        </p:nvSpPr>
        <p:spPr bwMode="gray">
          <a:xfrm>
            <a:off x="5013325" y="5067189"/>
            <a:ext cx="1431925" cy="277813"/>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7 km</a:t>
            </a:r>
          </a:p>
        </p:txBody>
      </p:sp>
      <p:sp>
        <p:nvSpPr>
          <p:cNvPr id="23" name="Rectangle 22">
            <a:extLst>
              <a:ext uri="{FF2B5EF4-FFF2-40B4-BE49-F238E27FC236}">
                <a16:creationId xmlns:a16="http://schemas.microsoft.com/office/drawing/2014/main" id="{EBFD3E6E-FC35-2919-59FB-39B69953EED2}"/>
              </a:ext>
            </a:extLst>
          </p:cNvPr>
          <p:cNvSpPr/>
          <p:nvPr/>
        </p:nvSpPr>
        <p:spPr bwMode="gray">
          <a:xfrm>
            <a:off x="5003799" y="5424706"/>
            <a:ext cx="1441450" cy="242888"/>
          </a:xfrm>
          <a:prstGeom prst="rect">
            <a:avLst/>
          </a:prstGeom>
          <a:solidFill>
            <a:schemeClr val="accent5">
              <a:lumMod val="40000"/>
              <a:lumOff val="6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8 km</a:t>
            </a:r>
          </a:p>
        </p:txBody>
      </p:sp>
      <p:pic>
        <p:nvPicPr>
          <p:cNvPr id="24" name="Graphic 23" descr="Factory outline">
            <a:extLst>
              <a:ext uri="{FF2B5EF4-FFF2-40B4-BE49-F238E27FC236}">
                <a16:creationId xmlns:a16="http://schemas.microsoft.com/office/drawing/2014/main" id="{2DD31038-C5C8-FEB2-4E0A-33136AF9754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93799" y="3027009"/>
            <a:ext cx="534988" cy="534988"/>
          </a:xfrm>
          <a:prstGeom prst="rect">
            <a:avLst/>
          </a:prstGeom>
        </p:spPr>
      </p:pic>
      <p:cxnSp>
        <p:nvCxnSpPr>
          <p:cNvPr id="25" name="Straight Connector 24">
            <a:extLst>
              <a:ext uri="{FF2B5EF4-FFF2-40B4-BE49-F238E27FC236}">
                <a16:creationId xmlns:a16="http://schemas.microsoft.com/office/drawing/2014/main" id="{6B023DBB-89BE-A6CB-AB5E-47FBA17F3FD3}"/>
              </a:ext>
            </a:extLst>
          </p:cNvPr>
          <p:cNvCxnSpPr>
            <a:cxnSpLocks/>
          </p:cNvCxnSpPr>
          <p:nvPr/>
        </p:nvCxnSpPr>
        <p:spPr bwMode="gray">
          <a:xfrm>
            <a:off x="1292225" y="3471509"/>
            <a:ext cx="0" cy="590550"/>
          </a:xfrm>
          <a:prstGeom prst="line">
            <a:avLst/>
          </a:prstGeom>
          <a:ln w="12700">
            <a:tailEnd type="none" w="med"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CE2EDED-7B3B-9B17-B56E-68F3FB06F0DA}"/>
              </a:ext>
            </a:extLst>
          </p:cNvPr>
          <p:cNvCxnSpPr>
            <a:cxnSpLocks/>
          </p:cNvCxnSpPr>
          <p:nvPr/>
        </p:nvCxnSpPr>
        <p:spPr bwMode="gray">
          <a:xfrm>
            <a:off x="1460500" y="3471509"/>
            <a:ext cx="0" cy="573088"/>
          </a:xfrm>
          <a:prstGeom prst="line">
            <a:avLst/>
          </a:prstGeom>
          <a:ln w="28575">
            <a:tailEnd type="none" w="med" len="lg"/>
          </a:ln>
        </p:spPr>
        <p:style>
          <a:lnRef idx="1">
            <a:schemeClr val="accent5"/>
          </a:lnRef>
          <a:fillRef idx="0">
            <a:schemeClr val="accent5"/>
          </a:fillRef>
          <a:effectRef idx="0">
            <a:schemeClr val="accent5"/>
          </a:effectRef>
          <a:fontRef idx="minor">
            <a:schemeClr val="tx1"/>
          </a:fontRef>
        </p:style>
      </p:cxnSp>
      <p:pic>
        <p:nvPicPr>
          <p:cNvPr id="27" name="Graphic 26" descr="Mountains with solid fill">
            <a:extLst>
              <a:ext uri="{FF2B5EF4-FFF2-40B4-BE49-F238E27FC236}">
                <a16:creationId xmlns:a16="http://schemas.microsoft.com/office/drawing/2014/main" id="{E12E7AFD-970B-64CD-D81A-16D18FA159F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751138" y="2517422"/>
            <a:ext cx="914400" cy="914400"/>
          </a:xfrm>
          <a:prstGeom prst="rect">
            <a:avLst/>
          </a:prstGeom>
        </p:spPr>
      </p:pic>
      <p:pic>
        <p:nvPicPr>
          <p:cNvPr id="28" name="Graphic 27" descr="Mountains with solid fill">
            <a:extLst>
              <a:ext uri="{FF2B5EF4-FFF2-40B4-BE49-F238E27FC236}">
                <a16:creationId xmlns:a16="http://schemas.microsoft.com/office/drawing/2014/main" id="{AFA97775-0D69-AE8B-D853-E88EF60FDA8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3208338" y="2688872"/>
            <a:ext cx="764752" cy="660400"/>
          </a:xfrm>
          <a:prstGeom prst="rect">
            <a:avLst/>
          </a:prstGeom>
        </p:spPr>
      </p:pic>
      <p:pic>
        <p:nvPicPr>
          <p:cNvPr id="29" name="Graphic 28" descr="Rain outline">
            <a:extLst>
              <a:ext uri="{FF2B5EF4-FFF2-40B4-BE49-F238E27FC236}">
                <a16:creationId xmlns:a16="http://schemas.microsoft.com/office/drawing/2014/main" id="{033AFBC2-FBE8-9573-17FC-DEB6A2EAC33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148640" y="2580868"/>
            <a:ext cx="562767" cy="501703"/>
          </a:xfrm>
          <a:prstGeom prst="rect">
            <a:avLst/>
          </a:prstGeom>
        </p:spPr>
      </p:pic>
      <p:sp>
        <p:nvSpPr>
          <p:cNvPr id="30" name="Rounded Rectangle 29">
            <a:extLst>
              <a:ext uri="{FF2B5EF4-FFF2-40B4-BE49-F238E27FC236}">
                <a16:creationId xmlns:a16="http://schemas.microsoft.com/office/drawing/2014/main" id="{CDB59B4A-FEF2-C071-21BF-49B444AE190A}"/>
              </a:ext>
            </a:extLst>
          </p:cNvPr>
          <p:cNvSpPr/>
          <p:nvPr/>
        </p:nvSpPr>
        <p:spPr bwMode="gray">
          <a:xfrm>
            <a:off x="584200" y="4123972"/>
            <a:ext cx="1752600" cy="1154113"/>
          </a:xfrm>
          <a:prstGeom prst="roundRect">
            <a:avLst/>
          </a:prstGeom>
          <a:gradFill flip="none" rotWithShape="0">
            <a:gsLst>
              <a:gs pos="10000">
                <a:schemeClr val="accent5"/>
              </a:gs>
              <a:gs pos="32000">
                <a:srgbClr val="FF0000">
                  <a:alpha val="89000"/>
                </a:srgbClr>
              </a:gs>
              <a:gs pos="2000">
                <a:schemeClr val="accent5">
                  <a:lumMod val="100000"/>
                  <a:alpha val="86361"/>
                </a:schemeClr>
              </a:gs>
              <a:gs pos="82000">
                <a:srgbClr val="FFC000"/>
              </a:gs>
              <a:gs pos="100000">
                <a:srgbClr val="FFFF00"/>
              </a:gs>
            </a:gsLst>
            <a:lin ang="16200000" scaled="1"/>
            <a:tileRect/>
          </a:gradFill>
          <a:ln w="9525">
            <a:noFill/>
          </a:ln>
          <a:effectLst>
            <a:softEdge rad="332889"/>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ounded Rectangle 30">
            <a:extLst>
              <a:ext uri="{FF2B5EF4-FFF2-40B4-BE49-F238E27FC236}">
                <a16:creationId xmlns:a16="http://schemas.microsoft.com/office/drawing/2014/main" id="{B9685830-1F01-E126-CD41-3F46659883C6}"/>
              </a:ext>
            </a:extLst>
          </p:cNvPr>
          <p:cNvSpPr/>
          <p:nvPr/>
        </p:nvSpPr>
        <p:spPr bwMode="gray">
          <a:xfrm>
            <a:off x="887412" y="3847747"/>
            <a:ext cx="1055688" cy="428625"/>
          </a:xfrm>
          <a:prstGeom prst="roundRect">
            <a:avLst>
              <a:gd name="adj" fmla="val 26730"/>
            </a:avLst>
          </a:prstGeom>
          <a:gradFill flip="none" rotWithShape="0">
            <a:gsLst>
              <a:gs pos="10000">
                <a:schemeClr val="accent1"/>
              </a:gs>
              <a:gs pos="62000">
                <a:schemeClr val="accent2">
                  <a:lumMod val="50000"/>
                  <a:lumOff val="50000"/>
                </a:schemeClr>
              </a:gs>
              <a:gs pos="0">
                <a:schemeClr val="accent1">
                  <a:lumMod val="32000"/>
                  <a:lumOff val="68000"/>
                </a:schemeClr>
              </a:gs>
              <a:gs pos="82000">
                <a:schemeClr val="accent1"/>
              </a:gs>
              <a:gs pos="100000">
                <a:schemeClr val="tx2">
                  <a:lumMod val="25000"/>
                </a:schemeClr>
              </a:gs>
            </a:gsLst>
            <a:lin ang="16200000" scaled="1"/>
            <a:tileRect/>
          </a:gradFill>
          <a:ln w="9525">
            <a:noFill/>
          </a:ln>
          <a:effectLst>
            <a:softEdge rad="176714"/>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2" name="Curved Connector 31">
            <a:extLst>
              <a:ext uri="{FF2B5EF4-FFF2-40B4-BE49-F238E27FC236}">
                <a16:creationId xmlns:a16="http://schemas.microsoft.com/office/drawing/2014/main" id="{75616BB2-36CC-4F42-6EBD-06C2F787025E}"/>
              </a:ext>
            </a:extLst>
          </p:cNvPr>
          <p:cNvCxnSpPr>
            <a:cxnSpLocks/>
          </p:cNvCxnSpPr>
          <p:nvPr/>
        </p:nvCxnSpPr>
        <p:spPr bwMode="gray">
          <a:xfrm rot="10800000" flipV="1">
            <a:off x="2089150" y="3255609"/>
            <a:ext cx="1404938" cy="985838"/>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sp>
        <p:nvSpPr>
          <p:cNvPr id="33" name="Rounded Rectangle 32">
            <a:extLst>
              <a:ext uri="{FF2B5EF4-FFF2-40B4-BE49-F238E27FC236}">
                <a16:creationId xmlns:a16="http://schemas.microsoft.com/office/drawing/2014/main" id="{A86BC115-298C-A14D-7F72-82B1A656FA10}"/>
              </a:ext>
            </a:extLst>
          </p:cNvPr>
          <p:cNvSpPr/>
          <p:nvPr/>
        </p:nvSpPr>
        <p:spPr bwMode="gray">
          <a:xfrm>
            <a:off x="447675" y="4359354"/>
            <a:ext cx="2471738" cy="1819275"/>
          </a:xfrm>
          <a:prstGeom prst="roundRect">
            <a:avLst/>
          </a:prstGeom>
          <a:gradFill flip="none" rotWithShape="0">
            <a:gsLst>
              <a:gs pos="10000">
                <a:schemeClr val="accent5"/>
              </a:gs>
              <a:gs pos="32000">
                <a:srgbClr val="FF0000">
                  <a:alpha val="89000"/>
                </a:srgbClr>
              </a:gs>
              <a:gs pos="2000">
                <a:schemeClr val="accent5">
                  <a:lumMod val="100000"/>
                  <a:alpha val="86361"/>
                </a:schemeClr>
              </a:gs>
              <a:gs pos="82000">
                <a:srgbClr val="FFC000"/>
              </a:gs>
              <a:gs pos="100000">
                <a:srgbClr val="FFFF00"/>
              </a:gs>
            </a:gsLst>
            <a:lin ang="16200000" scaled="1"/>
            <a:tileRect/>
          </a:gradFill>
          <a:ln w="9525">
            <a:solidFill>
              <a:schemeClr val="accent5"/>
            </a:solidFill>
          </a:ln>
          <a:effectLst>
            <a:softEdge rad="332889"/>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4" name="Graphic 33" descr="Electric Tower with solid fill">
            <a:extLst>
              <a:ext uri="{FF2B5EF4-FFF2-40B4-BE49-F238E27FC236}">
                <a16:creationId xmlns:a16="http://schemas.microsoft.com/office/drawing/2014/main" id="{B33CE0D7-34FA-EBB4-4205-CE2E0932885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763713" y="2988909"/>
            <a:ext cx="384175" cy="384175"/>
          </a:xfrm>
          <a:prstGeom prst="rect">
            <a:avLst/>
          </a:prstGeom>
        </p:spPr>
      </p:pic>
      <p:pic>
        <p:nvPicPr>
          <p:cNvPr id="35" name="Graphic 34" descr="City outline">
            <a:extLst>
              <a:ext uri="{FF2B5EF4-FFF2-40B4-BE49-F238E27FC236}">
                <a16:creationId xmlns:a16="http://schemas.microsoft.com/office/drawing/2014/main" id="{DDABCB8C-CB20-C2E8-2498-DBFE83579D4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00262" y="2661884"/>
            <a:ext cx="561292" cy="536575"/>
          </a:xfrm>
          <a:prstGeom prst="rect">
            <a:avLst/>
          </a:prstGeom>
        </p:spPr>
      </p:pic>
      <p:cxnSp>
        <p:nvCxnSpPr>
          <p:cNvPr id="36" name="Straight Arrow Connector 35">
            <a:extLst>
              <a:ext uri="{FF2B5EF4-FFF2-40B4-BE49-F238E27FC236}">
                <a16:creationId xmlns:a16="http://schemas.microsoft.com/office/drawing/2014/main" id="{204211C8-6BF8-4247-1672-31700D31B3DD}"/>
              </a:ext>
            </a:extLst>
          </p:cNvPr>
          <p:cNvCxnSpPr>
            <a:cxnSpLocks/>
          </p:cNvCxnSpPr>
          <p:nvPr/>
        </p:nvCxnSpPr>
        <p:spPr bwMode="gray">
          <a:xfrm flipV="1">
            <a:off x="1728788" y="3165122"/>
            <a:ext cx="623888" cy="269875"/>
          </a:xfrm>
          <a:prstGeom prst="straightConnector1">
            <a:avLst/>
          </a:prstGeom>
          <a:ln>
            <a:solidFill>
              <a:schemeClr val="tx1"/>
            </a:solidFill>
            <a:tailEnd type="triangle"/>
          </a:ln>
        </p:spPr>
        <p:style>
          <a:lnRef idx="2">
            <a:schemeClr val="accent3"/>
          </a:lnRef>
          <a:fillRef idx="0">
            <a:schemeClr val="accent3"/>
          </a:fillRef>
          <a:effectRef idx="1">
            <a:schemeClr val="accent3"/>
          </a:effectRef>
          <a:fontRef idx="minor">
            <a:schemeClr val="tx1"/>
          </a:fontRef>
        </p:style>
      </p:cxnSp>
      <p:graphicFrame>
        <p:nvGraphicFramePr>
          <p:cNvPr id="37" name="Diagram 36">
            <a:extLst>
              <a:ext uri="{FF2B5EF4-FFF2-40B4-BE49-F238E27FC236}">
                <a16:creationId xmlns:a16="http://schemas.microsoft.com/office/drawing/2014/main" id="{FFA7E680-5E16-D88B-DC2B-82E97E4AB5E1}"/>
              </a:ext>
            </a:extLst>
          </p:cNvPr>
          <p:cNvGraphicFramePr/>
          <p:nvPr/>
        </p:nvGraphicFramePr>
        <p:xfrm>
          <a:off x="263524" y="1961842"/>
          <a:ext cx="5934076" cy="876256"/>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cxnSp>
        <p:nvCxnSpPr>
          <p:cNvPr id="38" name="Curved Connector 37">
            <a:extLst>
              <a:ext uri="{FF2B5EF4-FFF2-40B4-BE49-F238E27FC236}">
                <a16:creationId xmlns:a16="http://schemas.microsoft.com/office/drawing/2014/main" id="{1E9BFC82-71FD-CD2A-34CB-4D25ACCC0A4C}"/>
              </a:ext>
            </a:extLst>
          </p:cNvPr>
          <p:cNvCxnSpPr>
            <a:cxnSpLocks/>
          </p:cNvCxnSpPr>
          <p:nvPr/>
        </p:nvCxnSpPr>
        <p:spPr bwMode="gray">
          <a:xfrm rot="5400000">
            <a:off x="1776413" y="4093809"/>
            <a:ext cx="1069975" cy="809625"/>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39" name="Curved Connector 38">
            <a:extLst>
              <a:ext uri="{FF2B5EF4-FFF2-40B4-BE49-F238E27FC236}">
                <a16:creationId xmlns:a16="http://schemas.microsoft.com/office/drawing/2014/main" id="{1070091B-BC52-D490-B97B-18B9DD9FC504}"/>
              </a:ext>
            </a:extLst>
          </p:cNvPr>
          <p:cNvCxnSpPr>
            <a:cxnSpLocks/>
          </p:cNvCxnSpPr>
          <p:nvPr/>
        </p:nvCxnSpPr>
        <p:spPr bwMode="gray">
          <a:xfrm rot="16200000" flipH="1">
            <a:off x="2430463" y="4127147"/>
            <a:ext cx="973138" cy="241300"/>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40" name="Curved Connector 39">
            <a:extLst>
              <a:ext uri="{FF2B5EF4-FFF2-40B4-BE49-F238E27FC236}">
                <a16:creationId xmlns:a16="http://schemas.microsoft.com/office/drawing/2014/main" id="{7C9896E4-9271-8924-77C8-9746C58C9037}"/>
              </a:ext>
            </a:extLst>
          </p:cNvPr>
          <p:cNvCxnSpPr>
            <a:cxnSpLocks/>
          </p:cNvCxnSpPr>
          <p:nvPr/>
        </p:nvCxnSpPr>
        <p:spPr bwMode="gray">
          <a:xfrm rot="16200000" flipV="1">
            <a:off x="1412875" y="4424009"/>
            <a:ext cx="663575" cy="166688"/>
          </a:xfrm>
          <a:prstGeom prst="curved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41" name="Curved Connector 40">
            <a:extLst>
              <a:ext uri="{FF2B5EF4-FFF2-40B4-BE49-F238E27FC236}">
                <a16:creationId xmlns:a16="http://schemas.microsoft.com/office/drawing/2014/main" id="{91D7350C-71E0-09C4-54C2-403A85F9F53E}"/>
              </a:ext>
            </a:extLst>
          </p:cNvPr>
          <p:cNvCxnSpPr>
            <a:cxnSpLocks/>
          </p:cNvCxnSpPr>
          <p:nvPr/>
        </p:nvCxnSpPr>
        <p:spPr bwMode="gray">
          <a:xfrm rot="16200000" flipV="1">
            <a:off x="1287463" y="4419247"/>
            <a:ext cx="693738" cy="568325"/>
          </a:xfrm>
          <a:prstGeom prst="curvedConnector3">
            <a:avLst>
              <a:gd name="adj1" fmla="val 50000"/>
            </a:avLst>
          </a:prstGeom>
          <a:ln>
            <a:tailEnd type="none" w="med" len="lg"/>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24C4FEA5-9A63-4AB3-7426-6E17A3152B64}"/>
              </a:ext>
            </a:extLst>
          </p:cNvPr>
          <p:cNvSpPr/>
          <p:nvPr/>
        </p:nvSpPr>
        <p:spPr bwMode="gray">
          <a:xfrm>
            <a:off x="319386" y="2100203"/>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1</a:t>
            </a:r>
          </a:p>
        </p:txBody>
      </p:sp>
      <p:sp>
        <p:nvSpPr>
          <p:cNvPr id="43" name="Oval 42">
            <a:extLst>
              <a:ext uri="{FF2B5EF4-FFF2-40B4-BE49-F238E27FC236}">
                <a16:creationId xmlns:a16="http://schemas.microsoft.com/office/drawing/2014/main" id="{38760A86-2E7F-BA7C-BD1A-D3DD05CAC010}"/>
              </a:ext>
            </a:extLst>
          </p:cNvPr>
          <p:cNvSpPr/>
          <p:nvPr/>
        </p:nvSpPr>
        <p:spPr bwMode="gray">
          <a:xfrm>
            <a:off x="1413762" y="2098238"/>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2</a:t>
            </a:r>
          </a:p>
        </p:txBody>
      </p:sp>
      <p:sp>
        <p:nvSpPr>
          <p:cNvPr id="44" name="Oval 43">
            <a:extLst>
              <a:ext uri="{FF2B5EF4-FFF2-40B4-BE49-F238E27FC236}">
                <a16:creationId xmlns:a16="http://schemas.microsoft.com/office/drawing/2014/main" id="{FF52B3C3-ED3B-59C5-2296-D63EDB6BE4A0}"/>
              </a:ext>
            </a:extLst>
          </p:cNvPr>
          <p:cNvSpPr/>
          <p:nvPr/>
        </p:nvSpPr>
        <p:spPr bwMode="gray">
          <a:xfrm>
            <a:off x="2548894" y="2098238"/>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3</a:t>
            </a:r>
          </a:p>
        </p:txBody>
      </p:sp>
      <p:sp>
        <p:nvSpPr>
          <p:cNvPr id="45" name="Oval 44">
            <a:extLst>
              <a:ext uri="{FF2B5EF4-FFF2-40B4-BE49-F238E27FC236}">
                <a16:creationId xmlns:a16="http://schemas.microsoft.com/office/drawing/2014/main" id="{77168997-C8B7-DCDD-42D1-85EF285623A7}"/>
              </a:ext>
            </a:extLst>
          </p:cNvPr>
          <p:cNvSpPr/>
          <p:nvPr/>
        </p:nvSpPr>
        <p:spPr bwMode="gray">
          <a:xfrm>
            <a:off x="3686595" y="2098237"/>
            <a:ext cx="249320"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4</a:t>
            </a:r>
          </a:p>
        </p:txBody>
      </p:sp>
      <p:sp>
        <p:nvSpPr>
          <p:cNvPr id="46" name="Oval 45">
            <a:extLst>
              <a:ext uri="{FF2B5EF4-FFF2-40B4-BE49-F238E27FC236}">
                <a16:creationId xmlns:a16="http://schemas.microsoft.com/office/drawing/2014/main" id="{D8A1E8F3-F313-BDDE-A68F-CC63EEA1F11C}"/>
              </a:ext>
            </a:extLst>
          </p:cNvPr>
          <p:cNvSpPr/>
          <p:nvPr/>
        </p:nvSpPr>
        <p:spPr bwMode="gray">
          <a:xfrm>
            <a:off x="4862178" y="2098237"/>
            <a:ext cx="242724" cy="22794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5</a:t>
            </a:r>
          </a:p>
        </p:txBody>
      </p:sp>
      <p:sp>
        <p:nvSpPr>
          <p:cNvPr id="47" name="Oval 46">
            <a:extLst>
              <a:ext uri="{FF2B5EF4-FFF2-40B4-BE49-F238E27FC236}">
                <a16:creationId xmlns:a16="http://schemas.microsoft.com/office/drawing/2014/main" id="{3967A227-03AE-829C-8A96-7A7BD6238A55}"/>
              </a:ext>
            </a:extLst>
          </p:cNvPr>
          <p:cNvSpPr/>
          <p:nvPr/>
        </p:nvSpPr>
        <p:spPr bwMode="gray">
          <a:xfrm>
            <a:off x="3879850" y="2706334"/>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1</a:t>
            </a:r>
          </a:p>
        </p:txBody>
      </p:sp>
      <p:sp>
        <p:nvSpPr>
          <p:cNvPr id="48" name="Oval 47">
            <a:extLst>
              <a:ext uri="{FF2B5EF4-FFF2-40B4-BE49-F238E27FC236}">
                <a16:creationId xmlns:a16="http://schemas.microsoft.com/office/drawing/2014/main" id="{3484674D-6FE4-A7C6-5FB8-CA8EEF7C3219}"/>
              </a:ext>
            </a:extLst>
          </p:cNvPr>
          <p:cNvSpPr/>
          <p:nvPr/>
        </p:nvSpPr>
        <p:spPr bwMode="gray">
          <a:xfrm>
            <a:off x="2001838" y="4752622"/>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2</a:t>
            </a:r>
          </a:p>
        </p:txBody>
      </p:sp>
      <p:sp>
        <p:nvSpPr>
          <p:cNvPr id="49" name="Oval 48">
            <a:extLst>
              <a:ext uri="{FF2B5EF4-FFF2-40B4-BE49-F238E27FC236}">
                <a16:creationId xmlns:a16="http://schemas.microsoft.com/office/drawing/2014/main" id="{1FCB9D56-23BA-3345-FA54-F8278AFC163C}"/>
              </a:ext>
            </a:extLst>
          </p:cNvPr>
          <p:cNvSpPr/>
          <p:nvPr/>
        </p:nvSpPr>
        <p:spPr bwMode="gray">
          <a:xfrm>
            <a:off x="1646238" y="4404959"/>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3</a:t>
            </a:r>
          </a:p>
        </p:txBody>
      </p:sp>
      <p:sp>
        <p:nvSpPr>
          <p:cNvPr id="50" name="Oval 49">
            <a:extLst>
              <a:ext uri="{FF2B5EF4-FFF2-40B4-BE49-F238E27FC236}">
                <a16:creationId xmlns:a16="http://schemas.microsoft.com/office/drawing/2014/main" id="{3F677D06-18FC-202D-51C9-C311311C3623}"/>
              </a:ext>
            </a:extLst>
          </p:cNvPr>
          <p:cNvSpPr/>
          <p:nvPr/>
        </p:nvSpPr>
        <p:spPr bwMode="gray">
          <a:xfrm>
            <a:off x="1001713" y="4200172"/>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4</a:t>
            </a:r>
          </a:p>
        </p:txBody>
      </p:sp>
      <p:sp>
        <p:nvSpPr>
          <p:cNvPr id="51" name="Oval 50">
            <a:extLst>
              <a:ext uri="{FF2B5EF4-FFF2-40B4-BE49-F238E27FC236}">
                <a16:creationId xmlns:a16="http://schemas.microsoft.com/office/drawing/2014/main" id="{00FCBAF6-1F42-89A0-1080-FF2B0DCDB85B}"/>
              </a:ext>
            </a:extLst>
          </p:cNvPr>
          <p:cNvSpPr/>
          <p:nvPr/>
        </p:nvSpPr>
        <p:spPr bwMode="gray">
          <a:xfrm>
            <a:off x="796925" y="3782659"/>
            <a:ext cx="296863" cy="28098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5</a:t>
            </a:r>
          </a:p>
        </p:txBody>
      </p:sp>
      <p:pic>
        <p:nvPicPr>
          <p:cNvPr id="52" name="Graphic 51" descr="Factory outline">
            <a:extLst>
              <a:ext uri="{FF2B5EF4-FFF2-40B4-BE49-F238E27FC236}">
                <a16:creationId xmlns:a16="http://schemas.microsoft.com/office/drawing/2014/main" id="{0F902226-4BB9-2993-A053-6ED96334DC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17749" y="3009547"/>
            <a:ext cx="534988" cy="534988"/>
          </a:xfrm>
          <a:prstGeom prst="rect">
            <a:avLst/>
          </a:prstGeom>
        </p:spPr>
      </p:pic>
      <p:cxnSp>
        <p:nvCxnSpPr>
          <p:cNvPr id="53" name="Straight Connector 52">
            <a:extLst>
              <a:ext uri="{FF2B5EF4-FFF2-40B4-BE49-F238E27FC236}">
                <a16:creationId xmlns:a16="http://schemas.microsoft.com/office/drawing/2014/main" id="{0081372A-8758-E1CA-B04D-75DEE73698E1}"/>
              </a:ext>
            </a:extLst>
          </p:cNvPr>
          <p:cNvCxnSpPr>
            <a:cxnSpLocks/>
          </p:cNvCxnSpPr>
          <p:nvPr/>
        </p:nvCxnSpPr>
        <p:spPr bwMode="gray">
          <a:xfrm flipH="1">
            <a:off x="2390774" y="3461984"/>
            <a:ext cx="7938" cy="1376363"/>
          </a:xfrm>
          <a:prstGeom prst="line">
            <a:avLst/>
          </a:prstGeom>
          <a:ln w="12700">
            <a:solidFill>
              <a:schemeClr val="accent3"/>
            </a:solidFill>
            <a:tailEnd type="none" w="med" len="lg"/>
          </a:ln>
        </p:spPr>
        <p:style>
          <a:lnRef idx="1">
            <a:schemeClr val="accent5"/>
          </a:lnRef>
          <a:fillRef idx="0">
            <a:schemeClr val="accent5"/>
          </a:fillRef>
          <a:effectRef idx="0">
            <a:schemeClr val="accent5"/>
          </a:effectRef>
          <a:fontRef idx="minor">
            <a:schemeClr val="tx1"/>
          </a:fontRef>
        </p:style>
      </p:cxnSp>
      <p:sp>
        <p:nvSpPr>
          <p:cNvPr id="54" name="Rectangle 53">
            <a:extLst>
              <a:ext uri="{FF2B5EF4-FFF2-40B4-BE49-F238E27FC236}">
                <a16:creationId xmlns:a16="http://schemas.microsoft.com/office/drawing/2014/main" id="{FC900DDA-EA82-BAC2-32A1-C8F4B3E9EABF}"/>
              </a:ext>
            </a:extLst>
          </p:cNvPr>
          <p:cNvSpPr/>
          <p:nvPr/>
        </p:nvSpPr>
        <p:spPr bwMode="gray">
          <a:xfrm>
            <a:off x="2095500" y="3712809"/>
            <a:ext cx="631825" cy="318935"/>
          </a:xfrm>
          <a:prstGeom prst="rect">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Next-generation</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D1E26C0-4752-655A-8D75-33F012F70E64}"/>
              </a:ext>
            </a:extLst>
          </p:cNvPr>
          <p:cNvSpPr/>
          <p:nvPr/>
        </p:nvSpPr>
        <p:spPr bwMode="gray">
          <a:xfrm>
            <a:off x="1044575" y="3585809"/>
            <a:ext cx="660400" cy="147638"/>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Hydrothermal</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19F6DFB0-68D4-ED7C-5EAF-3ACA63D5A5C5}"/>
              </a:ext>
            </a:extLst>
          </p:cNvPr>
          <p:cNvSpPr/>
          <p:nvPr/>
        </p:nvSpPr>
        <p:spPr bwMode="gray">
          <a:xfrm>
            <a:off x="4791074" y="2941284"/>
            <a:ext cx="1798638" cy="152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Depth (km)</a:t>
            </a:r>
          </a:p>
        </p:txBody>
      </p:sp>
      <p:graphicFrame>
        <p:nvGraphicFramePr>
          <p:cNvPr id="125" name="Table 124">
            <a:extLst>
              <a:ext uri="{FF2B5EF4-FFF2-40B4-BE49-F238E27FC236}">
                <a16:creationId xmlns:a16="http://schemas.microsoft.com/office/drawing/2014/main" id="{277863D9-A749-F9C9-C0B9-9A70684BDCAA}"/>
              </a:ext>
            </a:extLst>
          </p:cNvPr>
          <p:cNvGraphicFramePr>
            <a:graphicFrameLocks noGrp="1"/>
          </p:cNvGraphicFramePr>
          <p:nvPr/>
        </p:nvGraphicFramePr>
        <p:xfrm>
          <a:off x="7060364" y="5255775"/>
          <a:ext cx="4807345" cy="864424"/>
        </p:xfrm>
        <a:graphic>
          <a:graphicData uri="http://schemas.openxmlformats.org/drawingml/2006/table">
            <a:tbl>
              <a:tblPr firstRow="1" bandRow="1">
                <a:tableStyleId>{2D5ABB26-0587-4C30-8999-92F81FD0307C}</a:tableStyleId>
              </a:tblPr>
              <a:tblGrid>
                <a:gridCol w="1076557">
                  <a:extLst>
                    <a:ext uri="{9D8B030D-6E8A-4147-A177-3AD203B41FA5}">
                      <a16:colId xmlns:a16="http://schemas.microsoft.com/office/drawing/2014/main" val="1628413571"/>
                    </a:ext>
                  </a:extLst>
                </a:gridCol>
                <a:gridCol w="2243212">
                  <a:extLst>
                    <a:ext uri="{9D8B030D-6E8A-4147-A177-3AD203B41FA5}">
                      <a16:colId xmlns:a16="http://schemas.microsoft.com/office/drawing/2014/main" val="1578853708"/>
                    </a:ext>
                  </a:extLst>
                </a:gridCol>
                <a:gridCol w="1487576">
                  <a:extLst>
                    <a:ext uri="{9D8B030D-6E8A-4147-A177-3AD203B41FA5}">
                      <a16:colId xmlns:a16="http://schemas.microsoft.com/office/drawing/2014/main" val="3505468204"/>
                    </a:ext>
                  </a:extLst>
                </a:gridCol>
              </a:tblGrid>
              <a:tr h="224344">
                <a:tc>
                  <a:txBody>
                    <a:bodyPr/>
                    <a:lstStyle/>
                    <a:p>
                      <a:pPr marL="0" indent="0">
                        <a:buNone/>
                      </a:pPr>
                      <a:r>
                        <a:rPr lang="en-US" sz="800" dirty="0"/>
                        <a:t>Tech type</a:t>
                      </a:r>
                    </a:p>
                  </a:txBody>
                  <a:tcPr>
                    <a:solidFill>
                      <a:schemeClr val="bg1">
                        <a:lumMod val="95000"/>
                      </a:schemeClr>
                    </a:solidFill>
                  </a:tcPr>
                </a:tc>
                <a:tc>
                  <a:txBody>
                    <a:bodyPr/>
                    <a:lstStyle/>
                    <a:p>
                      <a:pPr marL="0" indent="0">
                        <a:buNone/>
                      </a:pPr>
                      <a:r>
                        <a:rPr lang="en-US" sz="800" dirty="0"/>
                        <a:t>Depth &amp; temp. </a:t>
                      </a:r>
                      <a:r>
                        <a:rPr lang="en-US" sz="600" dirty="0"/>
                        <a:t>(ranges depending on location)</a:t>
                      </a:r>
                    </a:p>
                  </a:txBody>
                  <a:tcPr>
                    <a:solidFill>
                      <a:schemeClr val="bg1">
                        <a:lumMod val="95000"/>
                      </a:schemeClr>
                    </a:solidFill>
                  </a:tcPr>
                </a:tc>
                <a:tc>
                  <a:txBody>
                    <a:bodyPr/>
                    <a:lstStyle/>
                    <a:p>
                      <a:pPr marL="0" indent="0">
                        <a:buNone/>
                      </a:pPr>
                      <a:r>
                        <a:rPr lang="en-US" sz="800" dirty="0"/>
                        <a:t>Power potential </a:t>
                      </a:r>
                    </a:p>
                  </a:txBody>
                  <a:tcPr>
                    <a:solidFill>
                      <a:schemeClr val="bg1">
                        <a:lumMod val="95000"/>
                      </a:schemeClr>
                    </a:solidFill>
                  </a:tcPr>
                </a:tc>
                <a:extLst>
                  <a:ext uri="{0D108BD9-81ED-4DB2-BD59-A6C34878D82A}">
                    <a16:rowId xmlns:a16="http://schemas.microsoft.com/office/drawing/2014/main" val="1775240273"/>
                  </a:ext>
                </a:extLst>
              </a:tr>
              <a:tr h="208308">
                <a:tc>
                  <a:txBody>
                    <a:bodyPr/>
                    <a:lstStyle/>
                    <a:p>
                      <a:pPr marL="0" indent="0">
                        <a:buNone/>
                      </a:pPr>
                      <a:r>
                        <a:rPr lang="en-US" sz="800" dirty="0">
                          <a:solidFill>
                            <a:schemeClr val="tx1"/>
                          </a:solidFill>
                        </a:rPr>
                        <a:t>Hydrothermal</a:t>
                      </a:r>
                    </a:p>
                  </a:txBody>
                  <a:tcPr>
                    <a:solidFill>
                      <a:schemeClr val="accent1">
                        <a:lumMod val="40000"/>
                        <a:lumOff val="60000"/>
                      </a:schemeClr>
                    </a:solidFill>
                  </a:tcPr>
                </a:tc>
                <a:tc>
                  <a:txBody>
                    <a:bodyPr/>
                    <a:lstStyle/>
                    <a:p>
                      <a:pPr marL="0" indent="0">
                        <a:buNone/>
                      </a:pPr>
                      <a:r>
                        <a:rPr lang="en-US" sz="800" dirty="0">
                          <a:solidFill>
                            <a:schemeClr val="tx1"/>
                          </a:solidFill>
                        </a:rPr>
                        <a:t>~1-3 km, 90-370</a:t>
                      </a:r>
                      <a:r>
                        <a:rPr lang="en-US" sz="800" dirty="0">
                          <a:solidFill>
                            <a:schemeClr val="tx1"/>
                          </a:solidFill>
                          <a:latin typeface="Times New Roman" panose="02020603050405020304" pitchFamily="18" charset="0"/>
                          <a:cs typeface="Times New Roman" panose="02020603050405020304" pitchFamily="18" charset="0"/>
                        </a:rPr>
                        <a:t>℃</a:t>
                      </a:r>
                      <a:r>
                        <a:rPr lang="en-US" sz="800" dirty="0">
                          <a:solidFill>
                            <a:schemeClr val="tx1"/>
                          </a:solidFill>
                        </a:rPr>
                        <a:t> (some may exceed)</a:t>
                      </a:r>
                    </a:p>
                  </a:txBody>
                  <a:tcPr>
                    <a:solidFill>
                      <a:schemeClr val="accent1">
                        <a:lumMod val="40000"/>
                        <a:lumOff val="60000"/>
                      </a:schemeClr>
                    </a:solidFill>
                  </a:tcPr>
                </a:tc>
                <a:tc>
                  <a:txBody>
                    <a:bodyPr/>
                    <a:lstStyle/>
                    <a:p>
                      <a:pPr marL="0" indent="0">
                        <a:buNone/>
                      </a:pPr>
                      <a:endParaRPr lang="en-US" sz="800" dirty="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4172246181"/>
                  </a:ext>
                </a:extLst>
              </a:tr>
              <a:tr h="208308">
                <a:tc>
                  <a:txBody>
                    <a:bodyPr/>
                    <a:lstStyle/>
                    <a:p>
                      <a:pPr marL="0" indent="0">
                        <a:buFontTx/>
                        <a:buNone/>
                      </a:pPr>
                      <a:r>
                        <a:rPr lang="en-US" sz="800" dirty="0">
                          <a:solidFill>
                            <a:schemeClr val="tx1"/>
                          </a:solidFill>
                        </a:rPr>
                        <a:t>Next-generation</a:t>
                      </a:r>
                    </a:p>
                  </a:txBody>
                  <a:tcPr>
                    <a:solidFill>
                      <a:srgbClr val="E7DEF4"/>
                    </a:solidFill>
                  </a:tcPr>
                </a:tc>
                <a:tc>
                  <a:txBody>
                    <a:bodyPr/>
                    <a:lstStyle/>
                    <a:p>
                      <a:pPr marL="0" indent="0">
                        <a:buFontTx/>
                        <a:buNone/>
                      </a:pPr>
                      <a:r>
                        <a:rPr lang="en-US" sz="800" dirty="0">
                          <a:solidFill>
                            <a:schemeClr val="tx1"/>
                          </a:solidFill>
                        </a:rPr>
                        <a:t>~5-7.5 km, 120-370</a:t>
                      </a:r>
                      <a:r>
                        <a:rPr lang="en-US" sz="800" dirty="0">
                          <a:solidFill>
                            <a:schemeClr val="tx1"/>
                          </a:solidFill>
                          <a:latin typeface="Times New Roman" panose="02020603050405020304" pitchFamily="18" charset="0"/>
                          <a:cs typeface="Times New Roman" panose="02020603050405020304" pitchFamily="18" charset="0"/>
                        </a:rPr>
                        <a:t>℃</a:t>
                      </a:r>
                      <a:endParaRPr lang="en-US" sz="800" dirty="0">
                        <a:solidFill>
                          <a:schemeClr val="tx1"/>
                        </a:solidFill>
                      </a:endParaRPr>
                    </a:p>
                  </a:txBody>
                  <a:tcPr>
                    <a:solidFill>
                      <a:srgbClr val="E7DEF4"/>
                    </a:solidFill>
                  </a:tcPr>
                </a:tc>
                <a:tc>
                  <a:txBody>
                    <a:bodyPr/>
                    <a:lstStyle/>
                    <a:p>
                      <a:pPr marL="0" indent="0">
                        <a:buFontTx/>
                        <a:buNone/>
                      </a:pPr>
                      <a:endParaRPr lang="en-US" sz="800" b="1" u="sng" dirty="0">
                        <a:solidFill>
                          <a:schemeClr val="tx1"/>
                        </a:solidFill>
                      </a:endParaRPr>
                    </a:p>
                  </a:txBody>
                  <a:tcPr>
                    <a:solidFill>
                      <a:srgbClr val="E7DEF4"/>
                    </a:solidFill>
                  </a:tcPr>
                </a:tc>
                <a:extLst>
                  <a:ext uri="{0D108BD9-81ED-4DB2-BD59-A6C34878D82A}">
                    <a16:rowId xmlns:a16="http://schemas.microsoft.com/office/drawing/2014/main" val="1089735150"/>
                  </a:ext>
                </a:extLst>
              </a:tr>
              <a:tr h="0">
                <a:tc>
                  <a:txBody>
                    <a:bodyPr/>
                    <a:lstStyle/>
                    <a:p>
                      <a:pPr marL="0" indent="0">
                        <a:buFontTx/>
                        <a:buNone/>
                      </a:pPr>
                      <a:r>
                        <a:rPr lang="en-US" sz="800" dirty="0">
                          <a:solidFill>
                            <a:schemeClr val="tx1"/>
                          </a:solidFill>
                        </a:rPr>
                        <a:t>Superhot rock</a:t>
                      </a:r>
                    </a:p>
                  </a:txBody>
                  <a:tcPr>
                    <a:solidFill>
                      <a:schemeClr val="accent5">
                        <a:lumMod val="40000"/>
                        <a:lumOff val="60000"/>
                      </a:schemeClr>
                    </a:solidFill>
                  </a:tcPr>
                </a:tc>
                <a:tc>
                  <a:txBody>
                    <a:bodyPr/>
                    <a:lstStyle/>
                    <a:p>
                      <a:pPr marL="0" indent="0">
                        <a:buFontTx/>
                        <a:buNone/>
                      </a:pPr>
                      <a:r>
                        <a:rPr lang="en-US" sz="800" dirty="0">
                          <a:solidFill>
                            <a:schemeClr val="tx1"/>
                          </a:solidFill>
                        </a:rPr>
                        <a:t>~7.5+ km, +400</a:t>
                      </a:r>
                      <a:r>
                        <a:rPr lang="en-US" sz="800" dirty="0">
                          <a:solidFill>
                            <a:schemeClr val="tx1"/>
                          </a:solidFill>
                          <a:latin typeface="Times New Roman" panose="02020603050405020304" pitchFamily="18" charset="0"/>
                          <a:cs typeface="Times New Roman" panose="02020603050405020304" pitchFamily="18" charset="0"/>
                        </a:rPr>
                        <a:t>℃</a:t>
                      </a:r>
                      <a:endParaRPr lang="en-US" sz="800" dirty="0">
                        <a:solidFill>
                          <a:schemeClr val="tx1"/>
                        </a:solidFill>
                      </a:endParaRPr>
                    </a:p>
                  </a:txBody>
                  <a:tcPr>
                    <a:solidFill>
                      <a:schemeClr val="accent5">
                        <a:lumMod val="40000"/>
                        <a:lumOff val="60000"/>
                      </a:schemeClr>
                    </a:solidFill>
                  </a:tcPr>
                </a:tc>
                <a:tc>
                  <a:txBody>
                    <a:bodyPr/>
                    <a:lstStyle/>
                    <a:p>
                      <a:pPr marL="0" indent="0">
                        <a:buFontTx/>
                        <a:buNone/>
                      </a:pPr>
                      <a:endParaRPr lang="en-US" sz="800" b="1" u="sng" dirty="0">
                        <a:solidFill>
                          <a:schemeClr val="tx1"/>
                        </a:solidFill>
                      </a:endParaRPr>
                    </a:p>
                  </a:txBody>
                  <a:tcPr>
                    <a:solidFill>
                      <a:schemeClr val="accent5">
                        <a:lumMod val="40000"/>
                        <a:lumOff val="60000"/>
                      </a:schemeClr>
                    </a:solidFill>
                  </a:tcPr>
                </a:tc>
                <a:extLst>
                  <a:ext uri="{0D108BD9-81ED-4DB2-BD59-A6C34878D82A}">
                    <a16:rowId xmlns:a16="http://schemas.microsoft.com/office/drawing/2014/main" val="403935422"/>
                  </a:ext>
                </a:extLst>
              </a:tr>
            </a:tbl>
          </a:graphicData>
        </a:graphic>
      </p:graphicFrame>
      <p:grpSp>
        <p:nvGrpSpPr>
          <p:cNvPr id="126" name="Group 125">
            <a:extLst>
              <a:ext uri="{FF2B5EF4-FFF2-40B4-BE49-F238E27FC236}">
                <a16:creationId xmlns:a16="http://schemas.microsoft.com/office/drawing/2014/main" id="{9A2E58EE-73A8-AEF9-F5A9-DF0A446553FD}"/>
              </a:ext>
            </a:extLst>
          </p:cNvPr>
          <p:cNvGrpSpPr/>
          <p:nvPr/>
        </p:nvGrpSpPr>
        <p:grpSpPr>
          <a:xfrm>
            <a:off x="10476352" y="5538352"/>
            <a:ext cx="801688" cy="113105"/>
            <a:chOff x="10464800" y="5683647"/>
            <a:chExt cx="801688" cy="113105"/>
          </a:xfrm>
        </p:grpSpPr>
        <p:sp>
          <p:nvSpPr>
            <p:cNvPr id="127" name="Oval 126">
              <a:extLst>
                <a:ext uri="{FF2B5EF4-FFF2-40B4-BE49-F238E27FC236}">
                  <a16:creationId xmlns:a16="http://schemas.microsoft.com/office/drawing/2014/main" id="{CD925D58-D28B-2838-DC98-78870A8C722A}"/>
                </a:ext>
              </a:extLst>
            </p:cNvPr>
            <p:cNvSpPr/>
            <p:nvPr/>
          </p:nvSpPr>
          <p:spPr bwMode="gray">
            <a:xfrm>
              <a:off x="10464800"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Oval 127">
              <a:extLst>
                <a:ext uri="{FF2B5EF4-FFF2-40B4-BE49-F238E27FC236}">
                  <a16:creationId xmlns:a16="http://schemas.microsoft.com/office/drawing/2014/main" id="{B5BA9824-07B1-E1D9-B031-598A97021282}"/>
                </a:ext>
              </a:extLst>
            </p:cNvPr>
            <p:cNvSpPr/>
            <p:nvPr/>
          </p:nvSpPr>
          <p:spPr bwMode="gray">
            <a:xfrm>
              <a:off x="10635603"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Oval 128">
              <a:extLst>
                <a:ext uri="{FF2B5EF4-FFF2-40B4-BE49-F238E27FC236}">
                  <a16:creationId xmlns:a16="http://schemas.microsoft.com/office/drawing/2014/main" id="{E534CAC6-31AB-7054-0AE3-F98635FC8E77}"/>
                </a:ext>
              </a:extLst>
            </p:cNvPr>
            <p:cNvSpPr/>
            <p:nvPr/>
          </p:nvSpPr>
          <p:spPr bwMode="gray">
            <a:xfrm>
              <a:off x="10806406" y="5683647"/>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Oval 129">
              <a:extLst>
                <a:ext uri="{FF2B5EF4-FFF2-40B4-BE49-F238E27FC236}">
                  <a16:creationId xmlns:a16="http://schemas.microsoft.com/office/drawing/2014/main" id="{D1B56823-C43E-1EB8-6383-427C5622D33D}"/>
                </a:ext>
              </a:extLst>
            </p:cNvPr>
            <p:cNvSpPr/>
            <p:nvPr/>
          </p:nvSpPr>
          <p:spPr bwMode="gray">
            <a:xfrm>
              <a:off x="10977209" y="5683647"/>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Oval 130">
              <a:extLst>
                <a:ext uri="{FF2B5EF4-FFF2-40B4-BE49-F238E27FC236}">
                  <a16:creationId xmlns:a16="http://schemas.microsoft.com/office/drawing/2014/main" id="{7DEC4CC6-664C-CD25-946A-293C12BDB841}"/>
                </a:ext>
              </a:extLst>
            </p:cNvPr>
            <p:cNvSpPr/>
            <p:nvPr/>
          </p:nvSpPr>
          <p:spPr bwMode="gray">
            <a:xfrm>
              <a:off x="11148013" y="5683647"/>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Group 131">
            <a:extLst>
              <a:ext uri="{FF2B5EF4-FFF2-40B4-BE49-F238E27FC236}">
                <a16:creationId xmlns:a16="http://schemas.microsoft.com/office/drawing/2014/main" id="{CFC59ABA-4901-C75D-EE9D-F5F354A4429D}"/>
              </a:ext>
            </a:extLst>
          </p:cNvPr>
          <p:cNvGrpSpPr/>
          <p:nvPr/>
        </p:nvGrpSpPr>
        <p:grpSpPr>
          <a:xfrm>
            <a:off x="10476352" y="5746315"/>
            <a:ext cx="801688" cy="113105"/>
            <a:chOff x="10487905" y="5890720"/>
            <a:chExt cx="801688" cy="113105"/>
          </a:xfrm>
        </p:grpSpPr>
        <p:sp>
          <p:nvSpPr>
            <p:cNvPr id="133" name="Oval 132">
              <a:extLst>
                <a:ext uri="{FF2B5EF4-FFF2-40B4-BE49-F238E27FC236}">
                  <a16:creationId xmlns:a16="http://schemas.microsoft.com/office/drawing/2014/main" id="{8636DCAE-047B-ADFD-5948-A4FBD3150086}"/>
                </a:ext>
              </a:extLst>
            </p:cNvPr>
            <p:cNvSpPr/>
            <p:nvPr/>
          </p:nvSpPr>
          <p:spPr bwMode="gray">
            <a:xfrm>
              <a:off x="10487905"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Oval 133">
              <a:extLst>
                <a:ext uri="{FF2B5EF4-FFF2-40B4-BE49-F238E27FC236}">
                  <a16:creationId xmlns:a16="http://schemas.microsoft.com/office/drawing/2014/main" id="{CA8B2498-E8DC-02AC-0490-25582B9CD3BD}"/>
                </a:ext>
              </a:extLst>
            </p:cNvPr>
            <p:cNvSpPr/>
            <p:nvPr/>
          </p:nvSpPr>
          <p:spPr bwMode="gray">
            <a:xfrm>
              <a:off x="1065870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Oval 134">
              <a:extLst>
                <a:ext uri="{FF2B5EF4-FFF2-40B4-BE49-F238E27FC236}">
                  <a16:creationId xmlns:a16="http://schemas.microsoft.com/office/drawing/2014/main" id="{28C9F6E9-29C5-C6F0-A962-26F1A4F5B210}"/>
                </a:ext>
              </a:extLst>
            </p:cNvPr>
            <p:cNvSpPr/>
            <p:nvPr/>
          </p:nvSpPr>
          <p:spPr bwMode="gray">
            <a:xfrm>
              <a:off x="10829511"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Oval 135">
              <a:extLst>
                <a:ext uri="{FF2B5EF4-FFF2-40B4-BE49-F238E27FC236}">
                  <a16:creationId xmlns:a16="http://schemas.microsoft.com/office/drawing/2014/main" id="{25194A39-1AD9-B0B1-E089-89625CDCF7A1}"/>
                </a:ext>
              </a:extLst>
            </p:cNvPr>
            <p:cNvSpPr/>
            <p:nvPr/>
          </p:nvSpPr>
          <p:spPr bwMode="gray">
            <a:xfrm>
              <a:off x="11000314"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Oval 136">
              <a:extLst>
                <a:ext uri="{FF2B5EF4-FFF2-40B4-BE49-F238E27FC236}">
                  <a16:creationId xmlns:a16="http://schemas.microsoft.com/office/drawing/2014/main" id="{71D94071-AAC4-E0C1-C756-B8E6276BE725}"/>
                </a:ext>
              </a:extLst>
            </p:cNvPr>
            <p:cNvSpPr/>
            <p:nvPr/>
          </p:nvSpPr>
          <p:spPr bwMode="gray">
            <a:xfrm>
              <a:off x="11171118" y="5890720"/>
              <a:ext cx="118475" cy="11310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8" name="Group 137">
            <a:extLst>
              <a:ext uri="{FF2B5EF4-FFF2-40B4-BE49-F238E27FC236}">
                <a16:creationId xmlns:a16="http://schemas.microsoft.com/office/drawing/2014/main" id="{07DAA877-D828-EA5F-2CDB-B1475DBABDE0}"/>
              </a:ext>
            </a:extLst>
          </p:cNvPr>
          <p:cNvGrpSpPr/>
          <p:nvPr/>
        </p:nvGrpSpPr>
        <p:grpSpPr>
          <a:xfrm>
            <a:off x="10476352" y="5965390"/>
            <a:ext cx="801688" cy="113105"/>
            <a:chOff x="10487905" y="5890720"/>
            <a:chExt cx="801688" cy="113105"/>
          </a:xfrm>
        </p:grpSpPr>
        <p:sp>
          <p:nvSpPr>
            <p:cNvPr id="139" name="Oval 138">
              <a:extLst>
                <a:ext uri="{FF2B5EF4-FFF2-40B4-BE49-F238E27FC236}">
                  <a16:creationId xmlns:a16="http://schemas.microsoft.com/office/drawing/2014/main" id="{90333EDC-7993-9646-95E1-A9C08B342754}"/>
                </a:ext>
              </a:extLst>
            </p:cNvPr>
            <p:cNvSpPr/>
            <p:nvPr/>
          </p:nvSpPr>
          <p:spPr bwMode="gray">
            <a:xfrm>
              <a:off x="10487905"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Oval 139">
              <a:extLst>
                <a:ext uri="{FF2B5EF4-FFF2-40B4-BE49-F238E27FC236}">
                  <a16:creationId xmlns:a16="http://schemas.microsoft.com/office/drawing/2014/main" id="{AFF6D80F-A9D8-2522-BEE5-1B2F6D823B43}"/>
                </a:ext>
              </a:extLst>
            </p:cNvPr>
            <p:cNvSpPr/>
            <p:nvPr/>
          </p:nvSpPr>
          <p:spPr bwMode="gray">
            <a:xfrm>
              <a:off x="1065870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Oval 140">
              <a:extLst>
                <a:ext uri="{FF2B5EF4-FFF2-40B4-BE49-F238E27FC236}">
                  <a16:creationId xmlns:a16="http://schemas.microsoft.com/office/drawing/2014/main" id="{2E1A5F10-5308-9A68-83AF-6D2E5F91ABDE}"/>
                </a:ext>
              </a:extLst>
            </p:cNvPr>
            <p:cNvSpPr/>
            <p:nvPr/>
          </p:nvSpPr>
          <p:spPr bwMode="gray">
            <a:xfrm>
              <a:off x="10829511"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141">
              <a:extLst>
                <a:ext uri="{FF2B5EF4-FFF2-40B4-BE49-F238E27FC236}">
                  <a16:creationId xmlns:a16="http://schemas.microsoft.com/office/drawing/2014/main" id="{AFA7874E-A562-F3CA-1CCA-DFD05B894F8C}"/>
                </a:ext>
              </a:extLst>
            </p:cNvPr>
            <p:cNvSpPr/>
            <p:nvPr/>
          </p:nvSpPr>
          <p:spPr bwMode="gray">
            <a:xfrm>
              <a:off x="11000314"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Oval 142">
              <a:extLst>
                <a:ext uri="{FF2B5EF4-FFF2-40B4-BE49-F238E27FC236}">
                  <a16:creationId xmlns:a16="http://schemas.microsoft.com/office/drawing/2014/main" id="{D12EFFA4-F8DF-DFA3-3B43-02923437438E}"/>
                </a:ext>
              </a:extLst>
            </p:cNvPr>
            <p:cNvSpPr/>
            <p:nvPr/>
          </p:nvSpPr>
          <p:spPr bwMode="gray">
            <a:xfrm>
              <a:off x="11171118" y="5890720"/>
              <a:ext cx="118475" cy="11310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45" name="Picture 144" descr="A comparison of a graph&#10;&#10;AI-generated content may be incorrect.">
            <a:extLst>
              <a:ext uri="{FF2B5EF4-FFF2-40B4-BE49-F238E27FC236}">
                <a16:creationId xmlns:a16="http://schemas.microsoft.com/office/drawing/2014/main" id="{66AF94F9-BBD3-F1E1-3A42-D159B714CFDA}"/>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049252" y="2093719"/>
            <a:ext cx="4234709" cy="3154716"/>
          </a:xfrm>
          <a:prstGeom prst="rect">
            <a:avLst/>
          </a:prstGeom>
        </p:spPr>
      </p:pic>
    </p:spTree>
    <p:extLst>
      <p:ext uri="{BB962C8B-B14F-4D97-AF65-F5344CB8AC3E}">
        <p14:creationId xmlns:p14="http://schemas.microsoft.com/office/powerpoint/2010/main" val="2023247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85917-78E2-DE0F-202E-01F8F736134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6A4C2B-0955-FBAE-5128-25547D163B8E}"/>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10" name="think-cell data - do not delete" hidden="1">
                        <a:extLst>
                          <a:ext uri="{FF2B5EF4-FFF2-40B4-BE49-F238E27FC236}">
                            <a16:creationId xmlns:a16="http://schemas.microsoft.com/office/drawing/2014/main" id="{2A6A4C2B-0955-FBAE-5128-25547D163B8E}"/>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F5F448D-D021-9C7C-562B-0318E9FCCF5C}"/>
              </a:ext>
            </a:extLst>
          </p:cNvPr>
          <p:cNvSpPr>
            <a:spLocks noGrp="1"/>
          </p:cNvSpPr>
          <p:nvPr>
            <p:ph type="title"/>
          </p:nvPr>
        </p:nvSpPr>
        <p:spPr/>
        <p:txBody>
          <a:bodyPr vert="horz" rIns="91440"/>
          <a:lstStyle/>
          <a:p>
            <a:r>
              <a:rPr lang="en-US" dirty="0"/>
              <a:t>Next-generation drilling unlocks globalized clean energy access, with notable overlap in emerging economies by 2050</a:t>
            </a:r>
          </a:p>
        </p:txBody>
      </p:sp>
      <p:sp>
        <p:nvSpPr>
          <p:cNvPr id="6" name="Footer Placeholder 5">
            <a:extLst>
              <a:ext uri="{FF2B5EF4-FFF2-40B4-BE49-F238E27FC236}">
                <a16:creationId xmlns:a16="http://schemas.microsoft.com/office/drawing/2014/main" id="{12A49D81-87A5-265E-994A-2D7C95349B1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Superhot rock and the future of geothermal</a:t>
            </a:r>
            <a:r>
              <a:rPr kumimoji="0" lang="en-US" sz="800" b="0" i="0" u="none" strike="noStrike" kern="1200" cap="none" spc="0" normalizeH="0" baseline="0" noProof="0" dirty="0">
                <a:ln>
                  <a:noFill/>
                </a:ln>
                <a:solidFill>
                  <a:srgbClr val="000000"/>
                </a:solidFill>
                <a:effectLst/>
                <a:uLnTx/>
                <a:uFillTx/>
                <a:latin typeface="Arial"/>
                <a:ea typeface="+mn-ea"/>
                <a:cs typeface="+mn-cs"/>
              </a:rPr>
              <a:t> (Clean Air Taskforce,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The future of geothermal</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East Africa’s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Africa Oil &amp; Gas Report, 2025); </a:t>
            </a:r>
            <a:r>
              <a:rPr kumimoji="0" lang="en-US" sz="800" b="0" i="0" u="none" strike="noStrike" kern="1200" cap="none" spc="0" normalizeH="0" baseline="0" noProof="0" dirty="0">
                <a:ln>
                  <a:noFill/>
                </a:ln>
                <a:solidFill>
                  <a:srgbClr val="45647B"/>
                </a:solidFill>
                <a:effectLst/>
                <a:uLnTx/>
                <a:uFillTx/>
                <a:latin typeface="Arial"/>
                <a:ea typeface="+mn-ea"/>
                <a:cs typeface="+mn-cs"/>
                <a:hlinkClick r:id="rId52">
                  <a:extLst>
                    <a:ext uri="{A12FA001-AC4F-418D-AE19-62706E023703}">
                      <ahyp:hlinkClr xmlns:ahyp="http://schemas.microsoft.com/office/drawing/2018/hyperlinkcolor" val="tx"/>
                    </a:ext>
                  </a:extLst>
                </a:hlinkClick>
              </a:rPr>
              <a:t>Project InnerSpace Analysis </a:t>
            </a:r>
            <a:r>
              <a:rPr kumimoji="0" lang="en-US" sz="800" b="0" i="0" u="none" strike="noStrike" kern="1200" cap="none" spc="0" normalizeH="0" baseline="0" noProof="0" dirty="0">
                <a:ln>
                  <a:noFill/>
                </a:ln>
                <a:solidFill>
                  <a:srgbClr val="000000"/>
                </a:solidFill>
                <a:effectLst/>
                <a:uLnTx/>
                <a:uFillTx/>
                <a:latin typeface="Arial"/>
                <a:ea typeface="+mn-ea"/>
                <a:cs typeface="+mn-cs"/>
              </a:rPr>
              <a:t>(Project </a:t>
            </a:r>
            <a:r>
              <a:rPr kumimoji="0" lang="en-US" sz="800" b="0" i="0" u="none" strike="noStrike" kern="1200" cap="none" spc="0" normalizeH="0" baseline="0" noProof="0" dirty="0" err="1">
                <a:ln>
                  <a:noFill/>
                </a:ln>
                <a:solidFill>
                  <a:srgbClr val="000000"/>
                </a:solidFill>
                <a:effectLst/>
                <a:uLnTx/>
                <a:uFillTx/>
                <a:latin typeface="Arial"/>
                <a:ea typeface="+mn-ea"/>
                <a:cs typeface="+mn-cs"/>
              </a:rPr>
              <a:t>InnerSpac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53"/>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5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778D57F1-33F4-C78F-F3BC-302D9C5D1588}"/>
              </a:ext>
            </a:extLst>
          </p:cNvPr>
          <p:cNvSpPr>
            <a:spLocks noGrp="1"/>
          </p:cNvSpPr>
          <p:nvPr>
            <p:ph type="body" sz="quarter" idx="13"/>
          </p:nvPr>
        </p:nvSpPr>
        <p:spPr/>
        <p:txBody>
          <a:bodyPr/>
          <a:lstStyle/>
          <a:p>
            <a:r>
              <a:rPr lang="en-US" dirty="0"/>
              <a:t>Global EGS hotspots concentrated in emerging economies</a:t>
            </a:r>
          </a:p>
        </p:txBody>
      </p:sp>
      <p:sp>
        <p:nvSpPr>
          <p:cNvPr id="8" name="Text Placeholder 7">
            <a:extLst>
              <a:ext uri="{FF2B5EF4-FFF2-40B4-BE49-F238E27FC236}">
                <a16:creationId xmlns:a16="http://schemas.microsoft.com/office/drawing/2014/main" id="{701D2E9F-D975-84FF-BC73-A42CE18CAAD8}"/>
              </a:ext>
            </a:extLst>
          </p:cNvPr>
          <p:cNvSpPr>
            <a:spLocks noGrp="1"/>
          </p:cNvSpPr>
          <p:nvPr>
            <p:ph type="body" sz="quarter" idx="16"/>
          </p:nvPr>
        </p:nvSpPr>
        <p:spPr/>
        <p:txBody>
          <a:bodyPr/>
          <a:lstStyle/>
          <a:p>
            <a:r>
              <a:rPr lang="en-US" dirty="0"/>
              <a:t>Potential for next-gen geothermal power capacity by region, GW (IEA projections)</a:t>
            </a:r>
          </a:p>
        </p:txBody>
      </p:sp>
      <p:sp>
        <p:nvSpPr>
          <p:cNvPr id="9" name="Text Placeholder 1">
            <a:extLst>
              <a:ext uri="{FF2B5EF4-FFF2-40B4-BE49-F238E27FC236}">
                <a16:creationId xmlns:a16="http://schemas.microsoft.com/office/drawing/2014/main" id="{CC4D870E-3ABB-50FB-36DC-4CEF9F575E53}"/>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cxnSp>
        <p:nvCxnSpPr>
          <p:cNvPr id="58" name="Straight Connector 57">
            <a:extLst>
              <a:ext uri="{FF2B5EF4-FFF2-40B4-BE49-F238E27FC236}">
                <a16:creationId xmlns:a16="http://schemas.microsoft.com/office/drawing/2014/main" id="{4C296F5D-4097-AE10-AA95-BDB4888464FC}"/>
              </a:ext>
            </a:extLst>
          </p:cNvPr>
          <p:cNvCxnSpPr/>
          <p:nvPr>
            <p:custDataLst>
              <p:tags r:id="rId2"/>
            </p:custDataLst>
          </p:nvPr>
        </p:nvCxnSpPr>
        <p:spPr bwMode="gray">
          <a:xfrm>
            <a:off x="6788149" y="37782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A6FA23B-34D5-E30D-D8F9-8D59F15662DC}"/>
              </a:ext>
            </a:extLst>
          </p:cNvPr>
          <p:cNvCxnSpPr/>
          <p:nvPr>
            <p:custDataLst>
              <p:tags r:id="rId3"/>
            </p:custDataLst>
          </p:nvPr>
        </p:nvCxnSpPr>
        <p:spPr bwMode="gray">
          <a:xfrm>
            <a:off x="6788149" y="24066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2C24E13E-80AA-CF3D-F6E3-E412162E15F0}"/>
              </a:ext>
            </a:extLst>
          </p:cNvPr>
          <p:cNvCxnSpPr/>
          <p:nvPr>
            <p:custDataLst>
              <p:tags r:id="rId4"/>
            </p:custDataLst>
          </p:nvPr>
        </p:nvCxnSpPr>
        <p:spPr bwMode="gray">
          <a:xfrm>
            <a:off x="6788149" y="51498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B387BB1A-7E00-2AE2-632B-34652762664F}"/>
              </a:ext>
            </a:extLst>
          </p:cNvPr>
          <p:cNvCxnSpPr/>
          <p:nvPr>
            <p:custDataLst>
              <p:tags r:id="rId5"/>
            </p:custDataLst>
          </p:nvPr>
        </p:nvCxnSpPr>
        <p:spPr bwMode="gray">
          <a:xfrm>
            <a:off x="6788149" y="27495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0EFAE862-1E86-5F30-A0C7-A43D287FC446}"/>
              </a:ext>
            </a:extLst>
          </p:cNvPr>
          <p:cNvCxnSpPr/>
          <p:nvPr>
            <p:custDataLst>
              <p:tags r:id="rId6"/>
            </p:custDataLst>
          </p:nvPr>
        </p:nvCxnSpPr>
        <p:spPr bwMode="gray">
          <a:xfrm>
            <a:off x="6788149" y="48069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5914F38-3825-88E9-608C-A96535E9FCD8}"/>
              </a:ext>
            </a:extLst>
          </p:cNvPr>
          <p:cNvCxnSpPr/>
          <p:nvPr>
            <p:custDataLst>
              <p:tags r:id="rId7"/>
            </p:custDataLst>
          </p:nvPr>
        </p:nvCxnSpPr>
        <p:spPr bwMode="gray">
          <a:xfrm>
            <a:off x="6788149" y="30924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CCCF4511-6432-7E53-945A-0287A221EB62}"/>
              </a:ext>
            </a:extLst>
          </p:cNvPr>
          <p:cNvCxnSpPr/>
          <p:nvPr>
            <p:custDataLst>
              <p:tags r:id="rId8"/>
            </p:custDataLst>
          </p:nvPr>
        </p:nvCxnSpPr>
        <p:spPr bwMode="gray">
          <a:xfrm>
            <a:off x="6788149" y="44640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D33CB1B-F440-EE36-A901-FF9550377D1E}"/>
              </a:ext>
            </a:extLst>
          </p:cNvPr>
          <p:cNvCxnSpPr/>
          <p:nvPr>
            <p:custDataLst>
              <p:tags r:id="rId9"/>
            </p:custDataLst>
          </p:nvPr>
        </p:nvCxnSpPr>
        <p:spPr bwMode="gray">
          <a:xfrm>
            <a:off x="6788149" y="34353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6AE808D-5FFA-2E12-E2E3-3D637F030E4D}"/>
              </a:ext>
            </a:extLst>
          </p:cNvPr>
          <p:cNvCxnSpPr/>
          <p:nvPr>
            <p:custDataLst>
              <p:tags r:id="rId10"/>
            </p:custDataLst>
          </p:nvPr>
        </p:nvCxnSpPr>
        <p:spPr bwMode="gray">
          <a:xfrm>
            <a:off x="6788149" y="41211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78" name="Chart 477">
            <a:extLst>
              <a:ext uri="{FF2B5EF4-FFF2-40B4-BE49-F238E27FC236}">
                <a16:creationId xmlns:a16="http://schemas.microsoft.com/office/drawing/2014/main" id="{9740B525-F1F8-96F6-19F6-BEA0C7079D2E}"/>
              </a:ext>
            </a:extLst>
          </p:cNvPr>
          <p:cNvGraphicFramePr/>
          <p:nvPr>
            <p:custDataLst>
              <p:tags r:id="rId11"/>
            </p:custDataLst>
          </p:nvPr>
        </p:nvGraphicFramePr>
        <p:xfrm>
          <a:off x="6705600" y="2324100"/>
          <a:ext cx="5029200" cy="3251200"/>
        </p:xfrm>
        <a:graphic>
          <a:graphicData uri="http://schemas.openxmlformats.org/drawingml/2006/chart">
            <c:chart xmlns:c="http://schemas.openxmlformats.org/drawingml/2006/chart" xmlns:r="http://schemas.openxmlformats.org/officeDocument/2006/relationships" r:id="rId55"/>
          </a:graphicData>
        </a:graphic>
      </p:graphicFrame>
      <p:sp>
        <p:nvSpPr>
          <p:cNvPr id="69" name="Text Placeholder 10">
            <a:extLst>
              <a:ext uri="{FF2B5EF4-FFF2-40B4-BE49-F238E27FC236}">
                <a16:creationId xmlns:a16="http://schemas.microsoft.com/office/drawing/2014/main" id="{A09671C3-A6B5-7A4F-D9AE-3DC4394AAC6A}"/>
              </a:ext>
            </a:extLst>
          </p:cNvPr>
          <p:cNvSpPr txBox="1">
            <a:spLocks/>
          </p:cNvSpPr>
          <p:nvPr>
            <p:custDataLst>
              <p:tags r:id="rId12"/>
            </p:custDataLst>
          </p:nvPr>
        </p:nvSpPr>
        <p:spPr bwMode="gray">
          <a:xfrm>
            <a:off x="6375400" y="36718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DFBD315-518A-4980-BE33-4371B39BFF3C}" type="datetime'''''''''''''5''''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6F50560F-C278-3E99-31A1-289CDD61EE3F}"/>
              </a:ext>
            </a:extLst>
          </p:cNvPr>
          <p:cNvSpPr txBox="1">
            <a:spLocks/>
          </p:cNvSpPr>
          <p:nvPr>
            <p:custDataLst>
              <p:tags r:id="rId13"/>
            </p:custDataLst>
          </p:nvPr>
        </p:nvSpPr>
        <p:spPr bwMode="gray">
          <a:xfrm>
            <a:off x="6375400" y="33289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3D278C-0C34-4211-86A1-B11CB09C525F}" type="datetime'6''''''''''''''''''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3484D20F-BFDC-B3B2-7012-CE8045FDD6EC}"/>
              </a:ext>
            </a:extLst>
          </p:cNvPr>
          <p:cNvSpPr txBox="1">
            <a:spLocks/>
          </p:cNvSpPr>
          <p:nvPr>
            <p:custDataLst>
              <p:tags r:id="rId14"/>
            </p:custDataLst>
          </p:nvPr>
        </p:nvSpPr>
        <p:spPr bwMode="gray">
          <a:xfrm>
            <a:off x="6375400" y="40147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3BF03A-2AF3-4B18-9450-720D92E2ACB7}" type="datetime'4''''''''''''''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751133AD-C176-10CF-3B76-02993B0D5FD6}"/>
              </a:ext>
            </a:extLst>
          </p:cNvPr>
          <p:cNvSpPr txBox="1">
            <a:spLocks/>
          </p:cNvSpPr>
          <p:nvPr>
            <p:custDataLst>
              <p:tags r:id="rId15"/>
            </p:custDataLst>
          </p:nvPr>
        </p:nvSpPr>
        <p:spPr bwMode="gray">
          <a:xfrm>
            <a:off x="6375400" y="29860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10197D-46A7-4104-963D-76E7B9265125}" type="datetime'''''''''''''''''''''''''''''''7''''''''''''''''''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27CCB0EE-B366-6AA4-13B4-46503A02B0D3}"/>
              </a:ext>
            </a:extLst>
          </p:cNvPr>
          <p:cNvSpPr txBox="1">
            <a:spLocks/>
          </p:cNvSpPr>
          <p:nvPr>
            <p:custDataLst>
              <p:tags r:id="rId16"/>
            </p:custDataLst>
          </p:nvPr>
        </p:nvSpPr>
        <p:spPr bwMode="gray">
          <a:xfrm>
            <a:off x="6375400" y="43576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393A5F6-E551-47B4-AD17-77C5E2D15126}" type="datetime'''''''''''''3''''''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43BA2B32-C184-0A11-8C87-CAA4234C51BA}"/>
              </a:ext>
            </a:extLst>
          </p:cNvPr>
          <p:cNvSpPr txBox="1">
            <a:spLocks/>
          </p:cNvSpPr>
          <p:nvPr>
            <p:custDataLst>
              <p:tags r:id="rId17"/>
            </p:custDataLst>
          </p:nvPr>
        </p:nvSpPr>
        <p:spPr bwMode="gray">
          <a:xfrm>
            <a:off x="6375400" y="26431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F1991B-893D-47F2-9EAD-EE8FB88812E3}" type="datetime'''''8''''''''''''''''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A566D1B6-3271-58D6-1CF9-AC56F588EFA3}"/>
              </a:ext>
            </a:extLst>
          </p:cNvPr>
          <p:cNvSpPr txBox="1">
            <a:spLocks/>
          </p:cNvSpPr>
          <p:nvPr>
            <p:custDataLst>
              <p:tags r:id="rId18"/>
            </p:custDataLst>
          </p:nvPr>
        </p:nvSpPr>
        <p:spPr bwMode="gray">
          <a:xfrm>
            <a:off x="6375400" y="47005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0437C7-81D6-4211-9C5A-7B1A3623AF73}" type="datetime'''''2''''''''''''''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Text Placeholder 10">
            <a:extLst>
              <a:ext uri="{FF2B5EF4-FFF2-40B4-BE49-F238E27FC236}">
                <a16:creationId xmlns:a16="http://schemas.microsoft.com/office/drawing/2014/main" id="{6EE13D97-4C24-6E86-B18E-709B1851EBBC}"/>
              </a:ext>
            </a:extLst>
          </p:cNvPr>
          <p:cNvSpPr txBox="1">
            <a:spLocks/>
          </p:cNvSpPr>
          <p:nvPr>
            <p:custDataLst>
              <p:tags r:id="rId19"/>
            </p:custDataLst>
          </p:nvPr>
        </p:nvSpPr>
        <p:spPr bwMode="gray">
          <a:xfrm>
            <a:off x="6375400" y="23002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FE016D-7559-410E-9BCC-A6FEBFD13E22}" type="datetime'''''9''''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046A2651-2665-2E35-7EB6-57CC8FB1A519}"/>
              </a:ext>
            </a:extLst>
          </p:cNvPr>
          <p:cNvSpPr txBox="1">
            <a:spLocks/>
          </p:cNvSpPr>
          <p:nvPr>
            <p:custDataLst>
              <p:tags r:id="rId20"/>
            </p:custDataLst>
          </p:nvPr>
        </p:nvSpPr>
        <p:spPr bwMode="gray">
          <a:xfrm>
            <a:off x="6375400" y="50434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3A1EC0-ED28-4902-BF6A-B39A66158F87}" type="datetime'''''''''''''''''''''1''''''''''''''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498F40F6-EB7B-CEEF-9BE7-50DC48A018A6}"/>
              </a:ext>
            </a:extLst>
          </p:cNvPr>
          <p:cNvSpPr txBox="1">
            <a:spLocks/>
          </p:cNvSpPr>
          <p:nvPr>
            <p:custDataLst>
              <p:tags r:id="rId21"/>
            </p:custDataLst>
          </p:nvPr>
        </p:nvSpPr>
        <p:spPr bwMode="gray">
          <a:xfrm>
            <a:off x="6572250" y="538638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296FCB9-6A92-479C-A5AA-34E8E6B6B852}"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DFB782F7-27A7-8555-E182-C5FC1A588A14}"/>
              </a:ext>
            </a:extLst>
          </p:cNvPr>
          <p:cNvSpPr txBox="1">
            <a:spLocks/>
          </p:cNvSpPr>
          <p:nvPr>
            <p:custDataLst>
              <p:tags r:id="rId22"/>
            </p:custDataLst>
          </p:nvPr>
        </p:nvSpPr>
        <p:spPr bwMode="auto">
          <a:xfrm>
            <a:off x="698976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8926B1-C4E3-4450-93B5-53BCDDC4324B}" type="datetime'2''''''''0''2''''''''''''''''''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 Placeholder 10">
            <a:extLst>
              <a:ext uri="{FF2B5EF4-FFF2-40B4-BE49-F238E27FC236}">
                <a16:creationId xmlns:a16="http://schemas.microsoft.com/office/drawing/2014/main" id="{AF232F57-1778-AEF2-2F49-E2CB55B6909E}"/>
              </a:ext>
            </a:extLst>
          </p:cNvPr>
          <p:cNvSpPr txBox="1">
            <a:spLocks/>
          </p:cNvSpPr>
          <p:nvPr>
            <p:custDataLst>
              <p:tags r:id="rId23"/>
            </p:custDataLst>
          </p:nvPr>
        </p:nvSpPr>
        <p:spPr bwMode="auto">
          <a:xfrm>
            <a:off x="780097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0103AA-410D-431E-ACE6-F22C895A3FA8}"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4D090308-9D33-C0D1-7FCA-09EAE14DD670}"/>
              </a:ext>
            </a:extLst>
          </p:cNvPr>
          <p:cNvSpPr txBox="1">
            <a:spLocks/>
          </p:cNvSpPr>
          <p:nvPr>
            <p:custDataLst>
              <p:tags r:id="rId24"/>
            </p:custDataLst>
          </p:nvPr>
        </p:nvSpPr>
        <p:spPr bwMode="auto">
          <a:xfrm>
            <a:off x="861060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8A4189A-CF2C-46BE-8288-A40757CCE899}" type="datetime'''''''''''''''''''''''''''''''2''''''03''''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Text Placeholder 10">
            <a:extLst>
              <a:ext uri="{FF2B5EF4-FFF2-40B4-BE49-F238E27FC236}">
                <a16:creationId xmlns:a16="http://schemas.microsoft.com/office/drawing/2014/main" id="{C2941F8D-1F5B-FBDA-5850-E0DB4FB8D40E}"/>
              </a:ext>
            </a:extLst>
          </p:cNvPr>
          <p:cNvSpPr txBox="1">
            <a:spLocks/>
          </p:cNvSpPr>
          <p:nvPr>
            <p:custDataLst>
              <p:tags r:id="rId25"/>
            </p:custDataLst>
          </p:nvPr>
        </p:nvSpPr>
        <p:spPr bwMode="auto">
          <a:xfrm>
            <a:off x="942181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8E3BA6-6513-412E-B0FE-2C1F7DCCCFE6}" type="datetime'2''''''0''''''''''''''''''''''''''''''4''''''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Text Placeholder 10">
            <a:extLst>
              <a:ext uri="{FF2B5EF4-FFF2-40B4-BE49-F238E27FC236}">
                <a16:creationId xmlns:a16="http://schemas.microsoft.com/office/drawing/2014/main" id="{0F0DDE7A-BE3F-C4F9-C1DA-59D1B18D62A8}"/>
              </a:ext>
            </a:extLst>
          </p:cNvPr>
          <p:cNvSpPr txBox="1">
            <a:spLocks/>
          </p:cNvSpPr>
          <p:nvPr>
            <p:custDataLst>
              <p:tags r:id="rId26"/>
            </p:custDataLst>
          </p:nvPr>
        </p:nvSpPr>
        <p:spPr bwMode="auto">
          <a:xfrm>
            <a:off x="1023302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6B89FC-581D-4572-A018-808678E69ADF}" type="datetime'2''''''''''''''''''''''''''0''''''4''''''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Text Placeholder 10">
            <a:extLst>
              <a:ext uri="{FF2B5EF4-FFF2-40B4-BE49-F238E27FC236}">
                <a16:creationId xmlns:a16="http://schemas.microsoft.com/office/drawing/2014/main" id="{A11190FC-32FF-8CD6-F9D9-CB445C60ECDD}"/>
              </a:ext>
            </a:extLst>
          </p:cNvPr>
          <p:cNvSpPr txBox="1">
            <a:spLocks/>
          </p:cNvSpPr>
          <p:nvPr>
            <p:custDataLst>
              <p:tags r:id="rId27"/>
            </p:custDataLst>
          </p:nvPr>
        </p:nvSpPr>
        <p:spPr bwMode="auto">
          <a:xfrm>
            <a:off x="1104265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F37E22-367A-4E20-9179-756D86808EC4}"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Text Placeholder 10">
            <a:extLst>
              <a:ext uri="{FF2B5EF4-FFF2-40B4-BE49-F238E27FC236}">
                <a16:creationId xmlns:a16="http://schemas.microsoft.com/office/drawing/2014/main" id="{7AACB5DA-4B80-E444-B619-800913F7652A}"/>
              </a:ext>
            </a:extLst>
          </p:cNvPr>
          <p:cNvSpPr txBox="1">
            <a:spLocks/>
          </p:cNvSpPr>
          <p:nvPr>
            <p:custDataLst>
              <p:tags r:id="rId28"/>
            </p:custDataLst>
          </p:nvPr>
        </p:nvSpPr>
        <p:spPr bwMode="gray">
          <a:xfrm>
            <a:off x="6897688" y="5254625"/>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0.1625</a:t>
            </a:r>
          </a:p>
        </p:txBody>
      </p:sp>
      <p:sp>
        <p:nvSpPr>
          <p:cNvPr id="81" name="Text Placeholder 10">
            <a:extLst>
              <a:ext uri="{FF2B5EF4-FFF2-40B4-BE49-F238E27FC236}">
                <a16:creationId xmlns:a16="http://schemas.microsoft.com/office/drawing/2014/main" id="{D56C2B0B-0000-A204-D1BB-0D1EB79BB6B5}"/>
              </a:ext>
            </a:extLst>
          </p:cNvPr>
          <p:cNvSpPr txBox="1">
            <a:spLocks/>
          </p:cNvSpPr>
          <p:nvPr>
            <p:custDataLst>
              <p:tags r:id="rId29"/>
            </p:custDataLst>
          </p:nvPr>
        </p:nvSpPr>
        <p:spPr bwMode="gray">
          <a:xfrm>
            <a:off x="7929563" y="5227638"/>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324626-546A-4166-87C4-15B1627E7386}" type="datetime'''''''8'''''''''''''''''''''''''''''''''''''''''''''''''''">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82" name="Text Placeholder 10">
            <a:extLst>
              <a:ext uri="{FF2B5EF4-FFF2-40B4-BE49-F238E27FC236}">
                <a16:creationId xmlns:a16="http://schemas.microsoft.com/office/drawing/2014/main" id="{4ED6D109-DA08-A0F8-6652-CB81BBE7ACE7}"/>
              </a:ext>
            </a:extLst>
          </p:cNvPr>
          <p:cNvSpPr txBox="1">
            <a:spLocks/>
          </p:cNvSpPr>
          <p:nvPr>
            <p:custDataLst>
              <p:tags r:id="rId30"/>
            </p:custDataLst>
          </p:nvPr>
        </p:nvSpPr>
        <p:spPr bwMode="gray">
          <a:xfrm>
            <a:off x="8640763" y="469900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61E6C10-9284-4C98-9216-82498FEF70AF}" type="datetime'''''1''''''6''''''''''''''''''''''''''''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2</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329BC408-DF60-158A-AF7F-7C8375053AA7}"/>
              </a:ext>
            </a:extLst>
          </p:cNvPr>
          <p:cNvSpPr txBox="1">
            <a:spLocks/>
          </p:cNvSpPr>
          <p:nvPr>
            <p:custDataLst>
              <p:tags r:id="rId31"/>
            </p:custDataLst>
          </p:nvPr>
        </p:nvSpPr>
        <p:spPr bwMode="gray">
          <a:xfrm>
            <a:off x="9451975" y="38655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1A8F55-E18C-4550-8FE4-60AE6E54CD84}" type="datetime'4''''0''''''''''''''''''''''''''''''''''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84" name="Text Placeholder 10">
            <a:extLst>
              <a:ext uri="{FF2B5EF4-FFF2-40B4-BE49-F238E27FC236}">
                <a16:creationId xmlns:a16="http://schemas.microsoft.com/office/drawing/2014/main" id="{EBA84B00-FEA0-A2F0-23BD-543A6625382B}"/>
              </a:ext>
            </a:extLst>
          </p:cNvPr>
          <p:cNvSpPr txBox="1">
            <a:spLocks/>
          </p:cNvSpPr>
          <p:nvPr>
            <p:custDataLst>
              <p:tags r:id="rId32"/>
            </p:custDataLst>
          </p:nvPr>
        </p:nvSpPr>
        <p:spPr bwMode="gray">
          <a:xfrm>
            <a:off x="10263188" y="297815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0F581C8-13FC-4C31-A395-8D1C797B0093}" type="datetime'''6''''''''''''''''''''''''''''''''''6''''''''''''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64</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0EB5876F-9123-22C4-2792-31E341319393}"/>
              </a:ext>
            </a:extLst>
          </p:cNvPr>
          <p:cNvSpPr txBox="1">
            <a:spLocks/>
          </p:cNvSpPr>
          <p:nvPr>
            <p:custDataLst>
              <p:tags r:id="rId33"/>
            </p:custDataLst>
          </p:nvPr>
        </p:nvSpPr>
        <p:spPr bwMode="gray">
          <a:xfrm>
            <a:off x="11072813" y="24082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97220C-5B94-40B1-A292-2120A315D674}" type="datetime'''''''''''''''''''''''''8''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3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038D7DA9-A065-0C17-CEA1-167EDFBA966F}"/>
              </a:ext>
            </a:extLst>
          </p:cNvPr>
          <p:cNvSpPr/>
          <p:nvPr>
            <p:custDataLst>
              <p:tags r:id="rId34"/>
            </p:custDataLst>
          </p:nvPr>
        </p:nvSpPr>
        <p:spPr bwMode="auto">
          <a:xfrm>
            <a:off x="6838950" y="21605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B6DE4867-F06A-5310-292C-0024CE785335}"/>
              </a:ext>
            </a:extLst>
          </p:cNvPr>
          <p:cNvSpPr/>
          <p:nvPr>
            <p:custDataLst>
              <p:tags r:id="rId35"/>
            </p:custDataLst>
          </p:nvPr>
        </p:nvSpPr>
        <p:spPr bwMode="auto">
          <a:xfrm>
            <a:off x="6838950" y="23637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2CC82AA7-2EF4-4E94-96AB-D5A04E9368D5}"/>
              </a:ext>
            </a:extLst>
          </p:cNvPr>
          <p:cNvSpPr/>
          <p:nvPr>
            <p:custDataLst>
              <p:tags r:id="rId36"/>
            </p:custDataLst>
          </p:nvPr>
        </p:nvSpPr>
        <p:spPr bwMode="auto">
          <a:xfrm>
            <a:off x="6838950" y="256698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908D11D0-6C3E-F534-0215-5C59B39A9320}"/>
              </a:ext>
            </a:extLst>
          </p:cNvPr>
          <p:cNvSpPr/>
          <p:nvPr>
            <p:custDataLst>
              <p:tags r:id="rId37"/>
            </p:custDataLst>
          </p:nvPr>
        </p:nvSpPr>
        <p:spPr bwMode="auto">
          <a:xfrm>
            <a:off x="6838950" y="27701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B5FB04F9-ABD3-3DB1-E7DC-0BF118BE721C}"/>
              </a:ext>
            </a:extLst>
          </p:cNvPr>
          <p:cNvSpPr/>
          <p:nvPr>
            <p:custDataLst>
              <p:tags r:id="rId38"/>
            </p:custDataLst>
          </p:nvPr>
        </p:nvSpPr>
        <p:spPr bwMode="auto">
          <a:xfrm>
            <a:off x="6838950" y="297338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E9937663-6D43-0292-3F96-68BBFD107655}"/>
              </a:ext>
            </a:extLst>
          </p:cNvPr>
          <p:cNvSpPr/>
          <p:nvPr>
            <p:custDataLst>
              <p:tags r:id="rId39"/>
            </p:custDataLst>
          </p:nvPr>
        </p:nvSpPr>
        <p:spPr bwMode="auto">
          <a:xfrm>
            <a:off x="6838950" y="317658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Text Placeholder 10">
            <a:extLst>
              <a:ext uri="{FF2B5EF4-FFF2-40B4-BE49-F238E27FC236}">
                <a16:creationId xmlns:a16="http://schemas.microsoft.com/office/drawing/2014/main" id="{FEDD95B2-6F5E-BF8A-3964-F17C5CA13F2A}"/>
              </a:ext>
            </a:extLst>
          </p:cNvPr>
          <p:cNvSpPr txBox="1">
            <a:spLocks/>
          </p:cNvSpPr>
          <p:nvPr>
            <p:custDataLst>
              <p:tags r:id="rId40"/>
            </p:custDataLst>
          </p:nvPr>
        </p:nvSpPr>
        <p:spPr bwMode="auto">
          <a:xfrm>
            <a:off x="7069138" y="215582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128A59-9978-4651-B319-FB7701636B52}" type="datetime'''C''h''''''''i''''''''''''''''''n''''''''''''''''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55BFCFC8-AA05-6749-69F2-E6D9D77F2600}"/>
              </a:ext>
            </a:extLst>
          </p:cNvPr>
          <p:cNvSpPr txBox="1">
            <a:spLocks/>
          </p:cNvSpPr>
          <p:nvPr>
            <p:custDataLst>
              <p:tags r:id="rId41"/>
            </p:custDataLst>
          </p:nvPr>
        </p:nvSpPr>
        <p:spPr bwMode="auto">
          <a:xfrm>
            <a:off x="7069138" y="2359025"/>
            <a:ext cx="757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066FEB-2123-4A7D-98DF-54F2B55D4851}" type="datetime'''''''U''n''''''''i''te''''''''d St''''a''''t''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 Placeholder 10">
            <a:extLst>
              <a:ext uri="{FF2B5EF4-FFF2-40B4-BE49-F238E27FC236}">
                <a16:creationId xmlns:a16="http://schemas.microsoft.com/office/drawing/2014/main" id="{D18BB54F-42EE-9F43-0A39-E1AAB87FC673}"/>
              </a:ext>
            </a:extLst>
          </p:cNvPr>
          <p:cNvSpPr txBox="1">
            <a:spLocks/>
          </p:cNvSpPr>
          <p:nvPr>
            <p:custDataLst>
              <p:tags r:id="rId42"/>
            </p:custDataLst>
          </p:nvPr>
        </p:nvSpPr>
        <p:spPr bwMode="auto">
          <a:xfrm>
            <a:off x="7069138" y="25622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3393BE-6774-4259-95A1-4F952F0A05D4}" type="datetime'''''''''''I''''''''''''''nd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Text Placeholder 10">
            <a:extLst>
              <a:ext uri="{FF2B5EF4-FFF2-40B4-BE49-F238E27FC236}">
                <a16:creationId xmlns:a16="http://schemas.microsoft.com/office/drawing/2014/main" id="{FE41DB79-926C-938A-DD64-3FB2627C99CE}"/>
              </a:ext>
            </a:extLst>
          </p:cNvPr>
          <p:cNvSpPr txBox="1">
            <a:spLocks/>
          </p:cNvSpPr>
          <p:nvPr>
            <p:custDataLst>
              <p:tags r:id="rId43"/>
            </p:custDataLst>
          </p:nvPr>
        </p:nvSpPr>
        <p:spPr bwMode="auto">
          <a:xfrm>
            <a:off x="7069139" y="2765425"/>
            <a:ext cx="847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Southeast Asia</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65F2AB2A-6CEB-6F68-7918-D1D5075E4571}"/>
              </a:ext>
            </a:extLst>
          </p:cNvPr>
          <p:cNvSpPr txBox="1">
            <a:spLocks/>
          </p:cNvSpPr>
          <p:nvPr>
            <p:custDataLst>
              <p:tags r:id="rId44"/>
            </p:custDataLst>
          </p:nvPr>
        </p:nvSpPr>
        <p:spPr bwMode="auto">
          <a:xfrm>
            <a:off x="7069138" y="29686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831381-118C-461A-8BC1-C85A5B447CFA}" type="datetime'''''E''ur''''''o''''p''''''''''''''''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2A31219F-42B3-29EC-6FB0-220893AA7E01}"/>
              </a:ext>
            </a:extLst>
          </p:cNvPr>
          <p:cNvSpPr txBox="1">
            <a:spLocks/>
          </p:cNvSpPr>
          <p:nvPr>
            <p:custDataLst>
              <p:tags r:id="rId45"/>
            </p:custDataLst>
          </p:nvPr>
        </p:nvSpPr>
        <p:spPr bwMode="auto">
          <a:xfrm>
            <a:off x="7069138" y="3171825"/>
            <a:ext cx="947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5B6E64-3529-4DA1-B613-BB0E1DF0637F}" type="datetime'Re''''''''''''st ''of t''h''e'' ''''''''wo''''rl''''''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the world</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18D613B0-5910-8BA7-50DE-865F5FA8CF36}"/>
              </a:ext>
            </a:extLst>
          </p:cNvPr>
          <p:cNvGrpSpPr/>
          <p:nvPr/>
        </p:nvGrpSpPr>
        <p:grpSpPr>
          <a:xfrm>
            <a:off x="144463" y="2105025"/>
            <a:ext cx="5529263" cy="3409950"/>
            <a:chOff x="99839" y="234950"/>
            <a:chExt cx="10707861" cy="6623050"/>
          </a:xfrm>
          <a:solidFill>
            <a:srgbClr val="F5ECCC"/>
          </a:solidFill>
        </p:grpSpPr>
        <p:sp>
          <p:nvSpPr>
            <p:cNvPr id="99" name="Greenland">
              <a:extLst>
                <a:ext uri="{FF2B5EF4-FFF2-40B4-BE49-F238E27FC236}">
                  <a16:creationId xmlns:a16="http://schemas.microsoft.com/office/drawing/2014/main" id="{D873C033-56AA-4BF0-2D98-509333A2A359}"/>
                </a:ext>
              </a:extLst>
            </p:cNvPr>
            <p:cNvSpPr>
              <a:spLocks noEditPoints="1"/>
            </p:cNvSpPr>
            <p:nvPr/>
          </p:nvSpPr>
          <p:spPr bwMode="auto">
            <a:xfrm>
              <a:off x="3290888" y="234950"/>
              <a:ext cx="1722437" cy="2532063"/>
            </a:xfrm>
            <a:custGeom>
              <a:avLst/>
              <a:gdLst>
                <a:gd name="T0" fmla="*/ 372 w 414"/>
                <a:gd name="T1" fmla="*/ 146 h 608"/>
                <a:gd name="T2" fmla="*/ 380 w 414"/>
                <a:gd name="T3" fmla="*/ 163 h 608"/>
                <a:gd name="T4" fmla="*/ 362 w 414"/>
                <a:gd name="T5" fmla="*/ 204 h 608"/>
                <a:gd name="T6" fmla="*/ 353 w 414"/>
                <a:gd name="T7" fmla="*/ 248 h 608"/>
                <a:gd name="T8" fmla="*/ 351 w 414"/>
                <a:gd name="T9" fmla="*/ 277 h 608"/>
                <a:gd name="T10" fmla="*/ 358 w 414"/>
                <a:gd name="T11" fmla="*/ 310 h 608"/>
                <a:gd name="T12" fmla="*/ 357 w 414"/>
                <a:gd name="T13" fmla="*/ 342 h 608"/>
                <a:gd name="T14" fmla="*/ 352 w 414"/>
                <a:gd name="T15" fmla="*/ 366 h 608"/>
                <a:gd name="T16" fmla="*/ 312 w 414"/>
                <a:gd name="T17" fmla="*/ 377 h 608"/>
                <a:gd name="T18" fmla="*/ 341 w 414"/>
                <a:gd name="T19" fmla="*/ 410 h 608"/>
                <a:gd name="T20" fmla="*/ 302 w 414"/>
                <a:gd name="T21" fmla="*/ 403 h 608"/>
                <a:gd name="T22" fmla="*/ 296 w 414"/>
                <a:gd name="T23" fmla="*/ 434 h 608"/>
                <a:gd name="T24" fmla="*/ 317 w 414"/>
                <a:gd name="T25" fmla="*/ 438 h 608"/>
                <a:gd name="T26" fmla="*/ 304 w 414"/>
                <a:gd name="T27" fmla="*/ 472 h 608"/>
                <a:gd name="T28" fmla="*/ 262 w 414"/>
                <a:gd name="T29" fmla="*/ 502 h 608"/>
                <a:gd name="T30" fmla="*/ 227 w 414"/>
                <a:gd name="T31" fmla="*/ 521 h 608"/>
                <a:gd name="T32" fmla="*/ 208 w 414"/>
                <a:gd name="T33" fmla="*/ 566 h 608"/>
                <a:gd name="T34" fmla="*/ 201 w 414"/>
                <a:gd name="T35" fmla="*/ 601 h 608"/>
                <a:gd name="T36" fmla="*/ 159 w 414"/>
                <a:gd name="T37" fmla="*/ 583 h 608"/>
                <a:gd name="T38" fmla="*/ 142 w 414"/>
                <a:gd name="T39" fmla="*/ 534 h 608"/>
                <a:gd name="T40" fmla="*/ 134 w 414"/>
                <a:gd name="T41" fmla="*/ 479 h 608"/>
                <a:gd name="T42" fmla="*/ 151 w 414"/>
                <a:gd name="T43" fmla="*/ 461 h 608"/>
                <a:gd name="T44" fmla="*/ 148 w 414"/>
                <a:gd name="T45" fmla="*/ 437 h 608"/>
                <a:gd name="T46" fmla="*/ 143 w 414"/>
                <a:gd name="T47" fmla="*/ 409 h 608"/>
                <a:gd name="T48" fmla="*/ 122 w 414"/>
                <a:gd name="T49" fmla="*/ 404 h 608"/>
                <a:gd name="T50" fmla="*/ 113 w 414"/>
                <a:gd name="T51" fmla="*/ 386 h 608"/>
                <a:gd name="T52" fmla="*/ 115 w 414"/>
                <a:gd name="T53" fmla="*/ 361 h 608"/>
                <a:gd name="T54" fmla="*/ 100 w 414"/>
                <a:gd name="T55" fmla="*/ 318 h 608"/>
                <a:gd name="T56" fmla="*/ 27 w 414"/>
                <a:gd name="T57" fmla="*/ 298 h 608"/>
                <a:gd name="T58" fmla="*/ 31 w 414"/>
                <a:gd name="T59" fmla="*/ 265 h 608"/>
                <a:gd name="T60" fmla="*/ 11 w 414"/>
                <a:gd name="T61" fmla="*/ 249 h 608"/>
                <a:gd name="T62" fmla="*/ 60 w 414"/>
                <a:gd name="T63" fmla="*/ 167 h 608"/>
                <a:gd name="T64" fmla="*/ 66 w 414"/>
                <a:gd name="T65" fmla="*/ 127 h 608"/>
                <a:gd name="T66" fmla="*/ 92 w 414"/>
                <a:gd name="T67" fmla="*/ 96 h 608"/>
                <a:gd name="T68" fmla="*/ 141 w 414"/>
                <a:gd name="T69" fmla="*/ 100 h 608"/>
                <a:gd name="T70" fmla="*/ 173 w 414"/>
                <a:gd name="T71" fmla="*/ 90 h 608"/>
                <a:gd name="T72" fmla="*/ 206 w 414"/>
                <a:gd name="T73" fmla="*/ 70 h 608"/>
                <a:gd name="T74" fmla="*/ 180 w 414"/>
                <a:gd name="T75" fmla="*/ 48 h 608"/>
                <a:gd name="T76" fmla="*/ 205 w 414"/>
                <a:gd name="T77" fmla="*/ 32 h 608"/>
                <a:gd name="T78" fmla="*/ 229 w 414"/>
                <a:gd name="T79" fmla="*/ 8 h 608"/>
                <a:gd name="T80" fmla="*/ 302 w 414"/>
                <a:gd name="T81" fmla="*/ 25 h 608"/>
                <a:gd name="T82" fmla="*/ 284 w 414"/>
                <a:gd name="T83" fmla="*/ 30 h 608"/>
                <a:gd name="T84" fmla="*/ 330 w 414"/>
                <a:gd name="T85" fmla="*/ 75 h 608"/>
                <a:gd name="T86" fmla="*/ 322 w 414"/>
                <a:gd name="T87" fmla="*/ 89 h 608"/>
                <a:gd name="T88" fmla="*/ 330 w 414"/>
                <a:gd name="T89" fmla="*/ 148 h 608"/>
                <a:gd name="T90" fmla="*/ 377 w 414"/>
                <a:gd name="T91" fmla="*/ 106 h 608"/>
                <a:gd name="T92" fmla="*/ 301 w 414"/>
                <a:gd name="T93" fmla="*/ 426 h 608"/>
                <a:gd name="T94" fmla="*/ 326 w 414"/>
                <a:gd name="T95" fmla="*/ 386 h 608"/>
                <a:gd name="T96" fmla="*/ 225 w 414"/>
                <a:gd name="T97" fmla="*/ 29 h 608"/>
                <a:gd name="T98" fmla="*/ 364 w 414"/>
                <a:gd name="T99" fmla="*/ 169 h 608"/>
                <a:gd name="T100" fmla="*/ 11 w 414"/>
                <a:gd name="T101" fmla="*/ 266 h 608"/>
                <a:gd name="T102" fmla="*/ 129 w 414"/>
                <a:gd name="T103" fmla="*/ 423 h 608"/>
                <a:gd name="T104" fmla="*/ 137 w 414"/>
                <a:gd name="T105" fmla="*/ 446 h 608"/>
                <a:gd name="T106" fmla="*/ 136 w 414"/>
                <a:gd name="T107" fmla="*/ 80 h 608"/>
                <a:gd name="T108" fmla="*/ 112 w 414"/>
                <a:gd name="T109" fmla="*/ 360 h 608"/>
                <a:gd name="T110" fmla="*/ 207 w 414"/>
                <a:gd name="T111" fmla="*/ 22 h 608"/>
                <a:gd name="T112" fmla="*/ 366 w 414"/>
                <a:gd name="T113" fmla="*/ 225 h 608"/>
                <a:gd name="T114" fmla="*/ 117 w 414"/>
                <a:gd name="T115" fmla="*/ 406 h 608"/>
                <a:gd name="T116" fmla="*/ 352 w 414"/>
                <a:gd name="T117" fmla="*/ 239 h 608"/>
                <a:gd name="T118" fmla="*/ 132 w 414"/>
                <a:gd name="T119" fmla="*/ 476 h 608"/>
                <a:gd name="T120" fmla="*/ 363 w 414"/>
                <a:gd name="T121" fmla="*/ 243 h 608"/>
                <a:gd name="T122" fmla="*/ 346 w 414"/>
                <a:gd name="T123" fmla="*/ 29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4" h="608">
                  <a:moveTo>
                    <a:pt x="119" y="395"/>
                  </a:moveTo>
                  <a:cubicBezTo>
                    <a:pt x="119" y="395"/>
                    <a:pt x="119" y="395"/>
                    <a:pt x="119" y="395"/>
                  </a:cubicBezTo>
                  <a:cubicBezTo>
                    <a:pt x="119" y="395"/>
                    <a:pt x="119" y="395"/>
                    <a:pt x="119" y="395"/>
                  </a:cubicBezTo>
                  <a:close/>
                  <a:moveTo>
                    <a:pt x="313" y="33"/>
                  </a:moveTo>
                  <a:cubicBezTo>
                    <a:pt x="313" y="33"/>
                    <a:pt x="313" y="33"/>
                    <a:pt x="313" y="33"/>
                  </a:cubicBezTo>
                  <a:cubicBezTo>
                    <a:pt x="313" y="33"/>
                    <a:pt x="313" y="33"/>
                    <a:pt x="313" y="33"/>
                  </a:cubicBezTo>
                  <a:close/>
                  <a:moveTo>
                    <a:pt x="201" y="567"/>
                  </a:moveTo>
                  <a:cubicBezTo>
                    <a:pt x="201" y="568"/>
                    <a:pt x="201" y="568"/>
                    <a:pt x="201" y="568"/>
                  </a:cubicBezTo>
                  <a:cubicBezTo>
                    <a:pt x="201" y="568"/>
                    <a:pt x="201" y="568"/>
                    <a:pt x="201" y="567"/>
                  </a:cubicBezTo>
                  <a:close/>
                  <a:moveTo>
                    <a:pt x="297" y="433"/>
                  </a:moveTo>
                  <a:cubicBezTo>
                    <a:pt x="297" y="433"/>
                    <a:pt x="298" y="433"/>
                    <a:pt x="298" y="433"/>
                  </a:cubicBezTo>
                  <a:cubicBezTo>
                    <a:pt x="297" y="433"/>
                    <a:pt x="297" y="433"/>
                    <a:pt x="297" y="433"/>
                  </a:cubicBezTo>
                  <a:close/>
                  <a:moveTo>
                    <a:pt x="63" y="129"/>
                  </a:moveTo>
                  <a:cubicBezTo>
                    <a:pt x="63" y="129"/>
                    <a:pt x="63" y="128"/>
                    <a:pt x="63" y="128"/>
                  </a:cubicBezTo>
                  <a:cubicBezTo>
                    <a:pt x="63" y="129"/>
                    <a:pt x="63" y="129"/>
                    <a:pt x="63" y="129"/>
                  </a:cubicBezTo>
                  <a:close/>
                  <a:moveTo>
                    <a:pt x="326" y="151"/>
                  </a:moveTo>
                  <a:cubicBezTo>
                    <a:pt x="326" y="151"/>
                    <a:pt x="326" y="151"/>
                    <a:pt x="326" y="151"/>
                  </a:cubicBezTo>
                  <a:cubicBezTo>
                    <a:pt x="326" y="151"/>
                    <a:pt x="326" y="151"/>
                    <a:pt x="326" y="151"/>
                  </a:cubicBezTo>
                  <a:close/>
                  <a:moveTo>
                    <a:pt x="301" y="426"/>
                  </a:moveTo>
                  <a:cubicBezTo>
                    <a:pt x="301" y="426"/>
                    <a:pt x="301" y="426"/>
                    <a:pt x="301" y="426"/>
                  </a:cubicBezTo>
                  <a:cubicBezTo>
                    <a:pt x="301" y="426"/>
                    <a:pt x="301" y="426"/>
                    <a:pt x="301" y="426"/>
                  </a:cubicBezTo>
                  <a:close/>
                  <a:moveTo>
                    <a:pt x="136" y="405"/>
                  </a:moveTo>
                  <a:cubicBezTo>
                    <a:pt x="136" y="405"/>
                    <a:pt x="136" y="405"/>
                    <a:pt x="136" y="405"/>
                  </a:cubicBezTo>
                  <a:cubicBezTo>
                    <a:pt x="136" y="405"/>
                    <a:pt x="136" y="405"/>
                    <a:pt x="136" y="405"/>
                  </a:cubicBezTo>
                  <a:cubicBezTo>
                    <a:pt x="136" y="405"/>
                    <a:pt x="136" y="405"/>
                    <a:pt x="136" y="405"/>
                  </a:cubicBezTo>
                  <a:close/>
                  <a:moveTo>
                    <a:pt x="122" y="401"/>
                  </a:moveTo>
                  <a:cubicBezTo>
                    <a:pt x="122" y="401"/>
                    <a:pt x="122" y="401"/>
                    <a:pt x="122" y="401"/>
                  </a:cubicBezTo>
                  <a:cubicBezTo>
                    <a:pt x="122" y="401"/>
                    <a:pt x="122" y="401"/>
                    <a:pt x="122" y="401"/>
                  </a:cubicBezTo>
                  <a:close/>
                  <a:moveTo>
                    <a:pt x="372" y="146"/>
                  </a:moveTo>
                  <a:cubicBezTo>
                    <a:pt x="372" y="146"/>
                    <a:pt x="372" y="146"/>
                    <a:pt x="373" y="146"/>
                  </a:cubicBezTo>
                  <a:cubicBezTo>
                    <a:pt x="372" y="146"/>
                    <a:pt x="372" y="146"/>
                    <a:pt x="372" y="146"/>
                  </a:cubicBezTo>
                  <a:close/>
                  <a:moveTo>
                    <a:pt x="413" y="115"/>
                  </a:moveTo>
                  <a:cubicBezTo>
                    <a:pt x="413" y="117"/>
                    <a:pt x="411" y="120"/>
                    <a:pt x="409" y="121"/>
                  </a:cubicBezTo>
                  <a:cubicBezTo>
                    <a:pt x="407" y="121"/>
                    <a:pt x="406" y="123"/>
                    <a:pt x="406" y="124"/>
                  </a:cubicBezTo>
                  <a:cubicBezTo>
                    <a:pt x="406" y="126"/>
                    <a:pt x="405" y="127"/>
                    <a:pt x="403" y="127"/>
                  </a:cubicBezTo>
                  <a:cubicBezTo>
                    <a:pt x="403" y="129"/>
                    <a:pt x="400" y="131"/>
                    <a:pt x="400" y="133"/>
                  </a:cubicBezTo>
                  <a:cubicBezTo>
                    <a:pt x="399" y="134"/>
                    <a:pt x="398" y="134"/>
                    <a:pt x="397" y="133"/>
                  </a:cubicBezTo>
                  <a:cubicBezTo>
                    <a:pt x="395" y="133"/>
                    <a:pt x="394" y="134"/>
                    <a:pt x="393" y="135"/>
                  </a:cubicBezTo>
                  <a:cubicBezTo>
                    <a:pt x="392" y="135"/>
                    <a:pt x="392" y="136"/>
                    <a:pt x="393" y="136"/>
                  </a:cubicBezTo>
                  <a:cubicBezTo>
                    <a:pt x="393" y="137"/>
                    <a:pt x="393" y="136"/>
                    <a:pt x="394" y="136"/>
                  </a:cubicBezTo>
                  <a:cubicBezTo>
                    <a:pt x="395" y="134"/>
                    <a:pt x="397" y="136"/>
                    <a:pt x="399" y="136"/>
                  </a:cubicBezTo>
                  <a:cubicBezTo>
                    <a:pt x="399" y="136"/>
                    <a:pt x="399" y="136"/>
                    <a:pt x="399" y="137"/>
                  </a:cubicBezTo>
                  <a:cubicBezTo>
                    <a:pt x="397" y="138"/>
                    <a:pt x="397" y="141"/>
                    <a:pt x="394" y="142"/>
                  </a:cubicBezTo>
                  <a:cubicBezTo>
                    <a:pt x="394" y="142"/>
                    <a:pt x="394" y="143"/>
                    <a:pt x="393" y="143"/>
                  </a:cubicBezTo>
                  <a:cubicBezTo>
                    <a:pt x="392" y="146"/>
                    <a:pt x="390" y="146"/>
                    <a:pt x="387" y="146"/>
                  </a:cubicBezTo>
                  <a:cubicBezTo>
                    <a:pt x="387" y="146"/>
                    <a:pt x="387" y="146"/>
                    <a:pt x="387" y="147"/>
                  </a:cubicBezTo>
                  <a:cubicBezTo>
                    <a:pt x="387" y="149"/>
                    <a:pt x="385" y="150"/>
                    <a:pt x="383" y="150"/>
                  </a:cubicBezTo>
                  <a:cubicBezTo>
                    <a:pt x="383" y="150"/>
                    <a:pt x="382" y="150"/>
                    <a:pt x="382" y="150"/>
                  </a:cubicBezTo>
                  <a:cubicBezTo>
                    <a:pt x="381" y="150"/>
                    <a:pt x="380" y="149"/>
                    <a:pt x="379" y="149"/>
                  </a:cubicBezTo>
                  <a:cubicBezTo>
                    <a:pt x="377" y="149"/>
                    <a:pt x="375" y="149"/>
                    <a:pt x="374" y="146"/>
                  </a:cubicBezTo>
                  <a:cubicBezTo>
                    <a:pt x="374" y="146"/>
                    <a:pt x="373" y="146"/>
                    <a:pt x="373" y="146"/>
                  </a:cubicBezTo>
                  <a:cubicBezTo>
                    <a:pt x="374" y="149"/>
                    <a:pt x="372" y="150"/>
                    <a:pt x="370" y="151"/>
                  </a:cubicBezTo>
                  <a:cubicBezTo>
                    <a:pt x="369" y="152"/>
                    <a:pt x="368" y="153"/>
                    <a:pt x="366" y="152"/>
                  </a:cubicBezTo>
                  <a:cubicBezTo>
                    <a:pt x="365" y="152"/>
                    <a:pt x="365" y="151"/>
                    <a:pt x="364" y="152"/>
                  </a:cubicBezTo>
                  <a:cubicBezTo>
                    <a:pt x="365" y="155"/>
                    <a:pt x="370" y="157"/>
                    <a:pt x="373" y="155"/>
                  </a:cubicBezTo>
                  <a:cubicBezTo>
                    <a:pt x="373" y="155"/>
                    <a:pt x="374" y="154"/>
                    <a:pt x="375" y="154"/>
                  </a:cubicBezTo>
                  <a:cubicBezTo>
                    <a:pt x="376" y="153"/>
                    <a:pt x="377" y="153"/>
                    <a:pt x="378" y="154"/>
                  </a:cubicBezTo>
                  <a:cubicBezTo>
                    <a:pt x="379" y="156"/>
                    <a:pt x="381" y="157"/>
                    <a:pt x="382" y="157"/>
                  </a:cubicBezTo>
                  <a:cubicBezTo>
                    <a:pt x="384" y="157"/>
                    <a:pt x="385" y="158"/>
                    <a:pt x="383" y="160"/>
                  </a:cubicBezTo>
                  <a:cubicBezTo>
                    <a:pt x="383" y="160"/>
                    <a:pt x="383" y="161"/>
                    <a:pt x="382" y="162"/>
                  </a:cubicBezTo>
                  <a:cubicBezTo>
                    <a:pt x="382" y="162"/>
                    <a:pt x="381" y="164"/>
                    <a:pt x="380" y="162"/>
                  </a:cubicBezTo>
                  <a:cubicBezTo>
                    <a:pt x="380" y="162"/>
                    <a:pt x="380" y="163"/>
                    <a:pt x="380" y="163"/>
                  </a:cubicBezTo>
                  <a:cubicBezTo>
                    <a:pt x="380" y="166"/>
                    <a:pt x="379" y="168"/>
                    <a:pt x="376" y="168"/>
                  </a:cubicBezTo>
                  <a:cubicBezTo>
                    <a:pt x="375" y="168"/>
                    <a:pt x="374" y="168"/>
                    <a:pt x="373" y="168"/>
                  </a:cubicBezTo>
                  <a:cubicBezTo>
                    <a:pt x="372" y="168"/>
                    <a:pt x="372" y="168"/>
                    <a:pt x="371" y="168"/>
                  </a:cubicBezTo>
                  <a:cubicBezTo>
                    <a:pt x="370" y="167"/>
                    <a:pt x="369" y="169"/>
                    <a:pt x="368" y="168"/>
                  </a:cubicBezTo>
                  <a:cubicBezTo>
                    <a:pt x="367" y="168"/>
                    <a:pt x="366" y="168"/>
                    <a:pt x="366" y="167"/>
                  </a:cubicBezTo>
                  <a:cubicBezTo>
                    <a:pt x="364" y="167"/>
                    <a:pt x="363" y="165"/>
                    <a:pt x="361" y="165"/>
                  </a:cubicBezTo>
                  <a:cubicBezTo>
                    <a:pt x="360" y="165"/>
                    <a:pt x="360" y="165"/>
                    <a:pt x="359" y="164"/>
                  </a:cubicBezTo>
                  <a:cubicBezTo>
                    <a:pt x="359" y="165"/>
                    <a:pt x="358" y="166"/>
                    <a:pt x="358" y="167"/>
                  </a:cubicBezTo>
                  <a:cubicBezTo>
                    <a:pt x="357" y="169"/>
                    <a:pt x="356" y="171"/>
                    <a:pt x="354" y="171"/>
                  </a:cubicBezTo>
                  <a:cubicBezTo>
                    <a:pt x="356" y="172"/>
                    <a:pt x="356" y="172"/>
                    <a:pt x="355" y="174"/>
                  </a:cubicBezTo>
                  <a:cubicBezTo>
                    <a:pt x="353" y="175"/>
                    <a:pt x="355" y="176"/>
                    <a:pt x="354" y="176"/>
                  </a:cubicBezTo>
                  <a:cubicBezTo>
                    <a:pt x="354" y="177"/>
                    <a:pt x="354" y="178"/>
                    <a:pt x="354" y="179"/>
                  </a:cubicBezTo>
                  <a:cubicBezTo>
                    <a:pt x="353" y="180"/>
                    <a:pt x="352" y="181"/>
                    <a:pt x="355" y="181"/>
                  </a:cubicBezTo>
                  <a:cubicBezTo>
                    <a:pt x="356" y="181"/>
                    <a:pt x="355" y="183"/>
                    <a:pt x="355" y="184"/>
                  </a:cubicBezTo>
                  <a:cubicBezTo>
                    <a:pt x="356" y="184"/>
                    <a:pt x="356" y="183"/>
                    <a:pt x="356" y="182"/>
                  </a:cubicBezTo>
                  <a:cubicBezTo>
                    <a:pt x="356" y="178"/>
                    <a:pt x="359" y="175"/>
                    <a:pt x="362" y="173"/>
                  </a:cubicBezTo>
                  <a:cubicBezTo>
                    <a:pt x="363" y="173"/>
                    <a:pt x="363" y="173"/>
                    <a:pt x="364" y="173"/>
                  </a:cubicBezTo>
                  <a:cubicBezTo>
                    <a:pt x="366" y="174"/>
                    <a:pt x="367" y="172"/>
                    <a:pt x="368" y="172"/>
                  </a:cubicBezTo>
                  <a:cubicBezTo>
                    <a:pt x="368" y="172"/>
                    <a:pt x="369" y="172"/>
                    <a:pt x="369" y="172"/>
                  </a:cubicBezTo>
                  <a:cubicBezTo>
                    <a:pt x="371" y="171"/>
                    <a:pt x="372" y="172"/>
                    <a:pt x="374" y="173"/>
                  </a:cubicBezTo>
                  <a:cubicBezTo>
                    <a:pt x="375" y="175"/>
                    <a:pt x="374" y="176"/>
                    <a:pt x="373" y="176"/>
                  </a:cubicBezTo>
                  <a:cubicBezTo>
                    <a:pt x="373" y="178"/>
                    <a:pt x="373" y="179"/>
                    <a:pt x="372" y="180"/>
                  </a:cubicBezTo>
                  <a:cubicBezTo>
                    <a:pt x="372" y="182"/>
                    <a:pt x="371" y="183"/>
                    <a:pt x="370" y="185"/>
                  </a:cubicBezTo>
                  <a:cubicBezTo>
                    <a:pt x="369" y="187"/>
                    <a:pt x="368" y="187"/>
                    <a:pt x="366" y="186"/>
                  </a:cubicBezTo>
                  <a:cubicBezTo>
                    <a:pt x="366" y="186"/>
                    <a:pt x="365" y="186"/>
                    <a:pt x="365" y="186"/>
                  </a:cubicBezTo>
                  <a:cubicBezTo>
                    <a:pt x="362" y="185"/>
                    <a:pt x="360" y="186"/>
                    <a:pt x="360" y="188"/>
                  </a:cubicBezTo>
                  <a:cubicBezTo>
                    <a:pt x="360" y="191"/>
                    <a:pt x="359" y="194"/>
                    <a:pt x="358" y="196"/>
                  </a:cubicBezTo>
                  <a:cubicBezTo>
                    <a:pt x="358" y="197"/>
                    <a:pt x="358" y="198"/>
                    <a:pt x="359" y="198"/>
                  </a:cubicBezTo>
                  <a:cubicBezTo>
                    <a:pt x="360" y="199"/>
                    <a:pt x="359" y="201"/>
                    <a:pt x="359" y="202"/>
                  </a:cubicBezTo>
                  <a:cubicBezTo>
                    <a:pt x="361" y="201"/>
                    <a:pt x="362" y="202"/>
                    <a:pt x="363" y="202"/>
                  </a:cubicBezTo>
                  <a:cubicBezTo>
                    <a:pt x="363" y="203"/>
                    <a:pt x="362" y="204"/>
                    <a:pt x="362" y="204"/>
                  </a:cubicBezTo>
                  <a:cubicBezTo>
                    <a:pt x="362" y="204"/>
                    <a:pt x="363" y="205"/>
                    <a:pt x="363" y="205"/>
                  </a:cubicBezTo>
                  <a:cubicBezTo>
                    <a:pt x="363" y="206"/>
                    <a:pt x="362" y="207"/>
                    <a:pt x="361" y="207"/>
                  </a:cubicBezTo>
                  <a:cubicBezTo>
                    <a:pt x="360" y="208"/>
                    <a:pt x="360" y="206"/>
                    <a:pt x="360" y="206"/>
                  </a:cubicBezTo>
                  <a:cubicBezTo>
                    <a:pt x="360" y="207"/>
                    <a:pt x="360" y="209"/>
                    <a:pt x="358" y="208"/>
                  </a:cubicBezTo>
                  <a:cubicBezTo>
                    <a:pt x="358" y="208"/>
                    <a:pt x="357" y="208"/>
                    <a:pt x="357" y="208"/>
                  </a:cubicBezTo>
                  <a:cubicBezTo>
                    <a:pt x="356" y="210"/>
                    <a:pt x="356" y="212"/>
                    <a:pt x="357" y="214"/>
                  </a:cubicBezTo>
                  <a:cubicBezTo>
                    <a:pt x="358" y="216"/>
                    <a:pt x="356" y="218"/>
                    <a:pt x="354" y="217"/>
                  </a:cubicBezTo>
                  <a:cubicBezTo>
                    <a:pt x="351" y="217"/>
                    <a:pt x="351" y="217"/>
                    <a:pt x="352" y="220"/>
                  </a:cubicBezTo>
                  <a:cubicBezTo>
                    <a:pt x="351" y="220"/>
                    <a:pt x="351" y="219"/>
                    <a:pt x="350" y="219"/>
                  </a:cubicBezTo>
                  <a:cubicBezTo>
                    <a:pt x="349" y="218"/>
                    <a:pt x="349" y="219"/>
                    <a:pt x="349" y="220"/>
                  </a:cubicBezTo>
                  <a:cubicBezTo>
                    <a:pt x="349" y="221"/>
                    <a:pt x="349" y="222"/>
                    <a:pt x="349" y="223"/>
                  </a:cubicBezTo>
                  <a:cubicBezTo>
                    <a:pt x="349" y="223"/>
                    <a:pt x="350" y="223"/>
                    <a:pt x="350" y="224"/>
                  </a:cubicBezTo>
                  <a:cubicBezTo>
                    <a:pt x="350" y="224"/>
                    <a:pt x="350" y="224"/>
                    <a:pt x="349" y="224"/>
                  </a:cubicBezTo>
                  <a:cubicBezTo>
                    <a:pt x="349" y="224"/>
                    <a:pt x="349" y="224"/>
                    <a:pt x="349" y="224"/>
                  </a:cubicBezTo>
                  <a:cubicBezTo>
                    <a:pt x="348" y="225"/>
                    <a:pt x="347" y="224"/>
                    <a:pt x="347" y="225"/>
                  </a:cubicBezTo>
                  <a:cubicBezTo>
                    <a:pt x="347" y="226"/>
                    <a:pt x="348" y="225"/>
                    <a:pt x="349" y="225"/>
                  </a:cubicBezTo>
                  <a:cubicBezTo>
                    <a:pt x="350" y="225"/>
                    <a:pt x="351" y="226"/>
                    <a:pt x="350" y="227"/>
                  </a:cubicBezTo>
                  <a:cubicBezTo>
                    <a:pt x="350" y="228"/>
                    <a:pt x="349" y="228"/>
                    <a:pt x="348" y="228"/>
                  </a:cubicBezTo>
                  <a:cubicBezTo>
                    <a:pt x="348" y="229"/>
                    <a:pt x="349" y="229"/>
                    <a:pt x="348" y="230"/>
                  </a:cubicBezTo>
                  <a:cubicBezTo>
                    <a:pt x="349" y="233"/>
                    <a:pt x="347" y="235"/>
                    <a:pt x="347" y="238"/>
                  </a:cubicBezTo>
                  <a:cubicBezTo>
                    <a:pt x="348" y="239"/>
                    <a:pt x="347" y="240"/>
                    <a:pt x="347" y="241"/>
                  </a:cubicBezTo>
                  <a:cubicBezTo>
                    <a:pt x="346" y="244"/>
                    <a:pt x="344" y="246"/>
                    <a:pt x="344" y="250"/>
                  </a:cubicBezTo>
                  <a:cubicBezTo>
                    <a:pt x="344" y="251"/>
                    <a:pt x="344" y="253"/>
                    <a:pt x="342" y="255"/>
                  </a:cubicBezTo>
                  <a:cubicBezTo>
                    <a:pt x="342" y="255"/>
                    <a:pt x="342" y="255"/>
                    <a:pt x="342" y="255"/>
                  </a:cubicBezTo>
                  <a:cubicBezTo>
                    <a:pt x="342" y="255"/>
                    <a:pt x="342" y="256"/>
                    <a:pt x="342" y="256"/>
                  </a:cubicBezTo>
                  <a:cubicBezTo>
                    <a:pt x="344" y="256"/>
                    <a:pt x="345" y="256"/>
                    <a:pt x="346" y="256"/>
                  </a:cubicBezTo>
                  <a:cubicBezTo>
                    <a:pt x="346" y="253"/>
                    <a:pt x="348" y="250"/>
                    <a:pt x="349" y="247"/>
                  </a:cubicBezTo>
                  <a:cubicBezTo>
                    <a:pt x="350" y="246"/>
                    <a:pt x="351" y="246"/>
                    <a:pt x="351" y="247"/>
                  </a:cubicBezTo>
                  <a:cubicBezTo>
                    <a:pt x="351" y="249"/>
                    <a:pt x="352" y="249"/>
                    <a:pt x="353" y="250"/>
                  </a:cubicBezTo>
                  <a:cubicBezTo>
                    <a:pt x="354" y="251"/>
                    <a:pt x="355" y="252"/>
                    <a:pt x="356" y="252"/>
                  </a:cubicBezTo>
                  <a:cubicBezTo>
                    <a:pt x="355" y="250"/>
                    <a:pt x="354" y="249"/>
                    <a:pt x="353" y="248"/>
                  </a:cubicBezTo>
                  <a:cubicBezTo>
                    <a:pt x="355" y="247"/>
                    <a:pt x="356" y="248"/>
                    <a:pt x="357" y="249"/>
                  </a:cubicBezTo>
                  <a:cubicBezTo>
                    <a:pt x="357" y="249"/>
                    <a:pt x="358" y="250"/>
                    <a:pt x="359" y="250"/>
                  </a:cubicBezTo>
                  <a:cubicBezTo>
                    <a:pt x="360" y="250"/>
                    <a:pt x="361" y="251"/>
                    <a:pt x="361" y="252"/>
                  </a:cubicBezTo>
                  <a:cubicBezTo>
                    <a:pt x="360" y="253"/>
                    <a:pt x="359" y="253"/>
                    <a:pt x="359" y="252"/>
                  </a:cubicBezTo>
                  <a:cubicBezTo>
                    <a:pt x="358" y="252"/>
                    <a:pt x="358" y="252"/>
                    <a:pt x="358" y="253"/>
                  </a:cubicBezTo>
                  <a:cubicBezTo>
                    <a:pt x="358" y="253"/>
                    <a:pt x="358" y="253"/>
                    <a:pt x="358" y="253"/>
                  </a:cubicBezTo>
                  <a:cubicBezTo>
                    <a:pt x="360" y="254"/>
                    <a:pt x="361" y="254"/>
                    <a:pt x="361" y="256"/>
                  </a:cubicBezTo>
                  <a:cubicBezTo>
                    <a:pt x="362" y="257"/>
                    <a:pt x="363" y="258"/>
                    <a:pt x="362" y="259"/>
                  </a:cubicBezTo>
                  <a:cubicBezTo>
                    <a:pt x="361" y="259"/>
                    <a:pt x="361" y="261"/>
                    <a:pt x="359" y="259"/>
                  </a:cubicBezTo>
                  <a:cubicBezTo>
                    <a:pt x="358" y="259"/>
                    <a:pt x="358" y="258"/>
                    <a:pt x="358" y="258"/>
                  </a:cubicBezTo>
                  <a:cubicBezTo>
                    <a:pt x="356" y="257"/>
                    <a:pt x="355" y="255"/>
                    <a:pt x="353" y="256"/>
                  </a:cubicBezTo>
                  <a:cubicBezTo>
                    <a:pt x="352" y="256"/>
                    <a:pt x="352" y="256"/>
                    <a:pt x="351" y="256"/>
                  </a:cubicBezTo>
                  <a:cubicBezTo>
                    <a:pt x="351" y="256"/>
                    <a:pt x="350" y="256"/>
                    <a:pt x="350" y="257"/>
                  </a:cubicBezTo>
                  <a:cubicBezTo>
                    <a:pt x="350" y="258"/>
                    <a:pt x="351" y="258"/>
                    <a:pt x="351" y="259"/>
                  </a:cubicBezTo>
                  <a:cubicBezTo>
                    <a:pt x="354" y="259"/>
                    <a:pt x="354" y="259"/>
                    <a:pt x="353" y="261"/>
                  </a:cubicBezTo>
                  <a:cubicBezTo>
                    <a:pt x="353" y="262"/>
                    <a:pt x="352" y="262"/>
                    <a:pt x="351" y="262"/>
                  </a:cubicBezTo>
                  <a:cubicBezTo>
                    <a:pt x="351" y="261"/>
                    <a:pt x="350" y="261"/>
                    <a:pt x="350" y="262"/>
                  </a:cubicBezTo>
                  <a:cubicBezTo>
                    <a:pt x="350" y="263"/>
                    <a:pt x="351" y="263"/>
                    <a:pt x="352" y="263"/>
                  </a:cubicBezTo>
                  <a:cubicBezTo>
                    <a:pt x="353" y="263"/>
                    <a:pt x="354" y="264"/>
                    <a:pt x="355" y="264"/>
                  </a:cubicBezTo>
                  <a:cubicBezTo>
                    <a:pt x="355" y="264"/>
                    <a:pt x="355" y="264"/>
                    <a:pt x="355" y="265"/>
                  </a:cubicBezTo>
                  <a:cubicBezTo>
                    <a:pt x="354" y="265"/>
                    <a:pt x="352" y="264"/>
                    <a:pt x="353" y="265"/>
                  </a:cubicBezTo>
                  <a:cubicBezTo>
                    <a:pt x="353" y="267"/>
                    <a:pt x="354" y="266"/>
                    <a:pt x="355" y="266"/>
                  </a:cubicBezTo>
                  <a:cubicBezTo>
                    <a:pt x="358" y="265"/>
                    <a:pt x="359" y="267"/>
                    <a:pt x="359" y="269"/>
                  </a:cubicBezTo>
                  <a:cubicBezTo>
                    <a:pt x="359" y="270"/>
                    <a:pt x="360" y="270"/>
                    <a:pt x="361" y="270"/>
                  </a:cubicBezTo>
                  <a:cubicBezTo>
                    <a:pt x="362" y="270"/>
                    <a:pt x="361" y="269"/>
                    <a:pt x="361" y="269"/>
                  </a:cubicBezTo>
                  <a:cubicBezTo>
                    <a:pt x="362" y="267"/>
                    <a:pt x="365" y="266"/>
                    <a:pt x="366" y="268"/>
                  </a:cubicBezTo>
                  <a:cubicBezTo>
                    <a:pt x="367" y="269"/>
                    <a:pt x="368" y="271"/>
                    <a:pt x="367" y="273"/>
                  </a:cubicBezTo>
                  <a:cubicBezTo>
                    <a:pt x="368" y="276"/>
                    <a:pt x="367" y="279"/>
                    <a:pt x="366" y="282"/>
                  </a:cubicBezTo>
                  <a:cubicBezTo>
                    <a:pt x="366" y="283"/>
                    <a:pt x="365" y="284"/>
                    <a:pt x="363" y="283"/>
                  </a:cubicBezTo>
                  <a:cubicBezTo>
                    <a:pt x="362" y="282"/>
                    <a:pt x="361" y="282"/>
                    <a:pt x="360" y="281"/>
                  </a:cubicBezTo>
                  <a:cubicBezTo>
                    <a:pt x="357" y="279"/>
                    <a:pt x="354" y="279"/>
                    <a:pt x="351" y="277"/>
                  </a:cubicBezTo>
                  <a:cubicBezTo>
                    <a:pt x="350" y="278"/>
                    <a:pt x="349" y="277"/>
                    <a:pt x="349" y="278"/>
                  </a:cubicBezTo>
                  <a:cubicBezTo>
                    <a:pt x="349" y="278"/>
                    <a:pt x="349" y="279"/>
                    <a:pt x="349" y="279"/>
                  </a:cubicBezTo>
                  <a:cubicBezTo>
                    <a:pt x="350" y="279"/>
                    <a:pt x="351" y="278"/>
                    <a:pt x="351" y="279"/>
                  </a:cubicBezTo>
                  <a:cubicBezTo>
                    <a:pt x="351" y="280"/>
                    <a:pt x="351" y="280"/>
                    <a:pt x="351" y="280"/>
                  </a:cubicBezTo>
                  <a:cubicBezTo>
                    <a:pt x="350" y="281"/>
                    <a:pt x="349" y="281"/>
                    <a:pt x="349" y="280"/>
                  </a:cubicBezTo>
                  <a:cubicBezTo>
                    <a:pt x="348" y="280"/>
                    <a:pt x="347" y="280"/>
                    <a:pt x="347" y="280"/>
                  </a:cubicBezTo>
                  <a:cubicBezTo>
                    <a:pt x="346" y="280"/>
                    <a:pt x="345" y="280"/>
                    <a:pt x="344" y="280"/>
                  </a:cubicBezTo>
                  <a:cubicBezTo>
                    <a:pt x="346" y="281"/>
                    <a:pt x="347" y="281"/>
                    <a:pt x="349" y="281"/>
                  </a:cubicBezTo>
                  <a:cubicBezTo>
                    <a:pt x="349" y="283"/>
                    <a:pt x="345" y="286"/>
                    <a:pt x="344" y="286"/>
                  </a:cubicBezTo>
                  <a:cubicBezTo>
                    <a:pt x="344" y="286"/>
                    <a:pt x="343" y="285"/>
                    <a:pt x="343" y="285"/>
                  </a:cubicBezTo>
                  <a:cubicBezTo>
                    <a:pt x="343" y="284"/>
                    <a:pt x="342" y="283"/>
                    <a:pt x="341" y="282"/>
                  </a:cubicBezTo>
                  <a:cubicBezTo>
                    <a:pt x="341" y="282"/>
                    <a:pt x="341" y="281"/>
                    <a:pt x="340" y="281"/>
                  </a:cubicBezTo>
                  <a:cubicBezTo>
                    <a:pt x="340" y="282"/>
                    <a:pt x="339" y="282"/>
                    <a:pt x="340" y="283"/>
                  </a:cubicBezTo>
                  <a:cubicBezTo>
                    <a:pt x="340" y="283"/>
                    <a:pt x="340" y="283"/>
                    <a:pt x="340" y="283"/>
                  </a:cubicBezTo>
                  <a:cubicBezTo>
                    <a:pt x="336" y="285"/>
                    <a:pt x="339" y="287"/>
                    <a:pt x="339" y="289"/>
                  </a:cubicBezTo>
                  <a:cubicBezTo>
                    <a:pt x="340" y="287"/>
                    <a:pt x="342" y="287"/>
                    <a:pt x="343" y="288"/>
                  </a:cubicBezTo>
                  <a:cubicBezTo>
                    <a:pt x="344" y="289"/>
                    <a:pt x="343" y="291"/>
                    <a:pt x="342" y="292"/>
                  </a:cubicBezTo>
                  <a:cubicBezTo>
                    <a:pt x="345" y="293"/>
                    <a:pt x="345" y="294"/>
                    <a:pt x="344" y="298"/>
                  </a:cubicBezTo>
                  <a:cubicBezTo>
                    <a:pt x="345" y="298"/>
                    <a:pt x="346" y="299"/>
                    <a:pt x="346" y="299"/>
                  </a:cubicBezTo>
                  <a:cubicBezTo>
                    <a:pt x="347" y="299"/>
                    <a:pt x="347" y="299"/>
                    <a:pt x="348" y="299"/>
                  </a:cubicBezTo>
                  <a:cubicBezTo>
                    <a:pt x="348" y="296"/>
                    <a:pt x="349" y="296"/>
                    <a:pt x="351" y="298"/>
                  </a:cubicBezTo>
                  <a:cubicBezTo>
                    <a:pt x="352" y="299"/>
                    <a:pt x="352" y="299"/>
                    <a:pt x="354" y="298"/>
                  </a:cubicBezTo>
                  <a:cubicBezTo>
                    <a:pt x="355" y="298"/>
                    <a:pt x="356" y="298"/>
                    <a:pt x="356" y="299"/>
                  </a:cubicBezTo>
                  <a:cubicBezTo>
                    <a:pt x="356" y="300"/>
                    <a:pt x="359" y="302"/>
                    <a:pt x="356" y="303"/>
                  </a:cubicBezTo>
                  <a:cubicBezTo>
                    <a:pt x="355" y="303"/>
                    <a:pt x="355" y="303"/>
                    <a:pt x="354" y="304"/>
                  </a:cubicBezTo>
                  <a:cubicBezTo>
                    <a:pt x="354" y="305"/>
                    <a:pt x="352" y="305"/>
                    <a:pt x="351" y="305"/>
                  </a:cubicBezTo>
                  <a:cubicBezTo>
                    <a:pt x="348" y="304"/>
                    <a:pt x="346" y="305"/>
                    <a:pt x="343" y="306"/>
                  </a:cubicBezTo>
                  <a:cubicBezTo>
                    <a:pt x="345" y="306"/>
                    <a:pt x="347" y="306"/>
                    <a:pt x="349" y="306"/>
                  </a:cubicBezTo>
                  <a:cubicBezTo>
                    <a:pt x="350" y="306"/>
                    <a:pt x="352" y="306"/>
                    <a:pt x="353" y="307"/>
                  </a:cubicBezTo>
                  <a:cubicBezTo>
                    <a:pt x="353" y="307"/>
                    <a:pt x="354" y="307"/>
                    <a:pt x="354" y="307"/>
                  </a:cubicBezTo>
                  <a:cubicBezTo>
                    <a:pt x="356" y="306"/>
                    <a:pt x="357" y="308"/>
                    <a:pt x="358" y="310"/>
                  </a:cubicBezTo>
                  <a:cubicBezTo>
                    <a:pt x="358" y="310"/>
                    <a:pt x="358" y="310"/>
                    <a:pt x="358" y="311"/>
                  </a:cubicBezTo>
                  <a:cubicBezTo>
                    <a:pt x="359" y="312"/>
                    <a:pt x="358" y="313"/>
                    <a:pt x="358" y="314"/>
                  </a:cubicBezTo>
                  <a:cubicBezTo>
                    <a:pt x="358" y="315"/>
                    <a:pt x="359" y="316"/>
                    <a:pt x="359" y="317"/>
                  </a:cubicBezTo>
                  <a:cubicBezTo>
                    <a:pt x="360" y="319"/>
                    <a:pt x="360" y="322"/>
                    <a:pt x="359" y="324"/>
                  </a:cubicBezTo>
                  <a:cubicBezTo>
                    <a:pt x="360" y="327"/>
                    <a:pt x="359" y="327"/>
                    <a:pt x="357" y="328"/>
                  </a:cubicBezTo>
                  <a:cubicBezTo>
                    <a:pt x="356" y="327"/>
                    <a:pt x="356" y="326"/>
                    <a:pt x="356" y="326"/>
                  </a:cubicBezTo>
                  <a:cubicBezTo>
                    <a:pt x="356" y="324"/>
                    <a:pt x="355" y="324"/>
                    <a:pt x="354" y="323"/>
                  </a:cubicBezTo>
                  <a:cubicBezTo>
                    <a:pt x="353" y="323"/>
                    <a:pt x="351" y="325"/>
                    <a:pt x="350" y="323"/>
                  </a:cubicBezTo>
                  <a:cubicBezTo>
                    <a:pt x="349" y="322"/>
                    <a:pt x="348" y="321"/>
                    <a:pt x="347" y="319"/>
                  </a:cubicBezTo>
                  <a:cubicBezTo>
                    <a:pt x="347" y="319"/>
                    <a:pt x="346" y="318"/>
                    <a:pt x="345" y="317"/>
                  </a:cubicBezTo>
                  <a:cubicBezTo>
                    <a:pt x="345" y="317"/>
                    <a:pt x="344" y="316"/>
                    <a:pt x="344" y="316"/>
                  </a:cubicBezTo>
                  <a:cubicBezTo>
                    <a:pt x="343" y="315"/>
                    <a:pt x="342" y="315"/>
                    <a:pt x="341" y="314"/>
                  </a:cubicBezTo>
                  <a:cubicBezTo>
                    <a:pt x="340" y="314"/>
                    <a:pt x="342" y="315"/>
                    <a:pt x="341" y="315"/>
                  </a:cubicBezTo>
                  <a:cubicBezTo>
                    <a:pt x="342" y="315"/>
                    <a:pt x="343" y="316"/>
                    <a:pt x="343" y="317"/>
                  </a:cubicBezTo>
                  <a:cubicBezTo>
                    <a:pt x="345" y="318"/>
                    <a:pt x="346" y="318"/>
                    <a:pt x="344" y="320"/>
                  </a:cubicBezTo>
                  <a:cubicBezTo>
                    <a:pt x="344" y="320"/>
                    <a:pt x="344" y="320"/>
                    <a:pt x="344" y="320"/>
                  </a:cubicBezTo>
                  <a:cubicBezTo>
                    <a:pt x="346" y="320"/>
                    <a:pt x="346" y="322"/>
                    <a:pt x="346" y="323"/>
                  </a:cubicBezTo>
                  <a:cubicBezTo>
                    <a:pt x="348" y="323"/>
                    <a:pt x="349" y="324"/>
                    <a:pt x="349" y="325"/>
                  </a:cubicBezTo>
                  <a:cubicBezTo>
                    <a:pt x="350" y="325"/>
                    <a:pt x="350" y="326"/>
                    <a:pt x="350" y="326"/>
                  </a:cubicBezTo>
                  <a:cubicBezTo>
                    <a:pt x="351" y="327"/>
                    <a:pt x="352" y="327"/>
                    <a:pt x="352" y="328"/>
                  </a:cubicBezTo>
                  <a:cubicBezTo>
                    <a:pt x="351" y="329"/>
                    <a:pt x="350" y="329"/>
                    <a:pt x="349" y="328"/>
                  </a:cubicBezTo>
                  <a:cubicBezTo>
                    <a:pt x="349" y="328"/>
                    <a:pt x="348" y="328"/>
                    <a:pt x="348" y="329"/>
                  </a:cubicBezTo>
                  <a:cubicBezTo>
                    <a:pt x="347" y="330"/>
                    <a:pt x="345" y="331"/>
                    <a:pt x="344" y="333"/>
                  </a:cubicBezTo>
                  <a:cubicBezTo>
                    <a:pt x="345" y="333"/>
                    <a:pt x="346" y="332"/>
                    <a:pt x="347" y="331"/>
                  </a:cubicBezTo>
                  <a:cubicBezTo>
                    <a:pt x="347" y="330"/>
                    <a:pt x="348" y="330"/>
                    <a:pt x="349" y="331"/>
                  </a:cubicBezTo>
                  <a:cubicBezTo>
                    <a:pt x="350" y="330"/>
                    <a:pt x="351" y="331"/>
                    <a:pt x="351" y="331"/>
                  </a:cubicBezTo>
                  <a:cubicBezTo>
                    <a:pt x="351" y="333"/>
                    <a:pt x="351" y="334"/>
                    <a:pt x="350" y="335"/>
                  </a:cubicBezTo>
                  <a:cubicBezTo>
                    <a:pt x="351" y="336"/>
                    <a:pt x="351" y="338"/>
                    <a:pt x="351" y="339"/>
                  </a:cubicBezTo>
                  <a:cubicBezTo>
                    <a:pt x="351" y="340"/>
                    <a:pt x="351" y="340"/>
                    <a:pt x="351" y="340"/>
                  </a:cubicBezTo>
                  <a:cubicBezTo>
                    <a:pt x="352" y="340"/>
                    <a:pt x="353" y="340"/>
                    <a:pt x="354" y="340"/>
                  </a:cubicBezTo>
                  <a:cubicBezTo>
                    <a:pt x="355" y="341"/>
                    <a:pt x="356" y="341"/>
                    <a:pt x="357" y="342"/>
                  </a:cubicBezTo>
                  <a:cubicBezTo>
                    <a:pt x="357" y="342"/>
                    <a:pt x="357" y="342"/>
                    <a:pt x="357" y="342"/>
                  </a:cubicBezTo>
                  <a:cubicBezTo>
                    <a:pt x="358" y="341"/>
                    <a:pt x="359" y="340"/>
                    <a:pt x="360" y="340"/>
                  </a:cubicBezTo>
                  <a:cubicBezTo>
                    <a:pt x="361" y="341"/>
                    <a:pt x="360" y="342"/>
                    <a:pt x="360" y="343"/>
                  </a:cubicBezTo>
                  <a:cubicBezTo>
                    <a:pt x="362" y="346"/>
                    <a:pt x="362" y="346"/>
                    <a:pt x="360" y="349"/>
                  </a:cubicBezTo>
                  <a:cubicBezTo>
                    <a:pt x="359" y="350"/>
                    <a:pt x="358" y="352"/>
                    <a:pt x="356" y="350"/>
                  </a:cubicBezTo>
                  <a:cubicBezTo>
                    <a:pt x="354" y="350"/>
                    <a:pt x="354" y="349"/>
                    <a:pt x="354" y="347"/>
                  </a:cubicBezTo>
                  <a:cubicBezTo>
                    <a:pt x="353" y="346"/>
                    <a:pt x="351" y="345"/>
                    <a:pt x="349" y="345"/>
                  </a:cubicBezTo>
                  <a:cubicBezTo>
                    <a:pt x="349" y="345"/>
                    <a:pt x="349" y="346"/>
                    <a:pt x="349" y="346"/>
                  </a:cubicBezTo>
                  <a:cubicBezTo>
                    <a:pt x="349" y="346"/>
                    <a:pt x="349" y="346"/>
                    <a:pt x="349" y="346"/>
                  </a:cubicBezTo>
                  <a:cubicBezTo>
                    <a:pt x="351" y="346"/>
                    <a:pt x="352" y="347"/>
                    <a:pt x="352" y="349"/>
                  </a:cubicBezTo>
                  <a:cubicBezTo>
                    <a:pt x="353" y="350"/>
                    <a:pt x="355" y="351"/>
                    <a:pt x="354" y="352"/>
                  </a:cubicBezTo>
                  <a:cubicBezTo>
                    <a:pt x="353" y="354"/>
                    <a:pt x="351" y="354"/>
                    <a:pt x="349" y="354"/>
                  </a:cubicBezTo>
                  <a:cubicBezTo>
                    <a:pt x="348" y="354"/>
                    <a:pt x="348" y="354"/>
                    <a:pt x="347" y="354"/>
                  </a:cubicBezTo>
                  <a:cubicBezTo>
                    <a:pt x="347" y="354"/>
                    <a:pt x="347" y="354"/>
                    <a:pt x="347" y="354"/>
                  </a:cubicBezTo>
                  <a:cubicBezTo>
                    <a:pt x="346" y="354"/>
                    <a:pt x="345" y="354"/>
                    <a:pt x="345" y="353"/>
                  </a:cubicBezTo>
                  <a:cubicBezTo>
                    <a:pt x="344" y="352"/>
                    <a:pt x="340" y="352"/>
                    <a:pt x="343" y="349"/>
                  </a:cubicBezTo>
                  <a:cubicBezTo>
                    <a:pt x="343" y="349"/>
                    <a:pt x="343" y="349"/>
                    <a:pt x="342" y="349"/>
                  </a:cubicBezTo>
                  <a:cubicBezTo>
                    <a:pt x="342" y="349"/>
                    <a:pt x="341" y="349"/>
                    <a:pt x="341" y="349"/>
                  </a:cubicBezTo>
                  <a:cubicBezTo>
                    <a:pt x="340" y="349"/>
                    <a:pt x="341" y="349"/>
                    <a:pt x="341" y="350"/>
                  </a:cubicBezTo>
                  <a:cubicBezTo>
                    <a:pt x="341" y="350"/>
                    <a:pt x="342" y="351"/>
                    <a:pt x="341" y="351"/>
                  </a:cubicBezTo>
                  <a:cubicBezTo>
                    <a:pt x="340" y="352"/>
                    <a:pt x="341" y="354"/>
                    <a:pt x="340" y="355"/>
                  </a:cubicBezTo>
                  <a:cubicBezTo>
                    <a:pt x="339" y="356"/>
                    <a:pt x="340" y="356"/>
                    <a:pt x="340" y="356"/>
                  </a:cubicBezTo>
                  <a:cubicBezTo>
                    <a:pt x="342" y="357"/>
                    <a:pt x="342" y="358"/>
                    <a:pt x="342" y="359"/>
                  </a:cubicBezTo>
                  <a:cubicBezTo>
                    <a:pt x="342" y="357"/>
                    <a:pt x="343" y="356"/>
                    <a:pt x="344" y="356"/>
                  </a:cubicBezTo>
                  <a:cubicBezTo>
                    <a:pt x="346" y="355"/>
                    <a:pt x="346" y="357"/>
                    <a:pt x="347" y="358"/>
                  </a:cubicBezTo>
                  <a:cubicBezTo>
                    <a:pt x="348" y="358"/>
                    <a:pt x="350" y="359"/>
                    <a:pt x="350" y="360"/>
                  </a:cubicBezTo>
                  <a:cubicBezTo>
                    <a:pt x="351" y="360"/>
                    <a:pt x="351" y="360"/>
                    <a:pt x="351" y="360"/>
                  </a:cubicBezTo>
                  <a:cubicBezTo>
                    <a:pt x="352" y="360"/>
                    <a:pt x="353" y="359"/>
                    <a:pt x="354" y="360"/>
                  </a:cubicBezTo>
                  <a:cubicBezTo>
                    <a:pt x="354" y="361"/>
                    <a:pt x="353" y="362"/>
                    <a:pt x="353" y="362"/>
                  </a:cubicBezTo>
                  <a:cubicBezTo>
                    <a:pt x="352" y="363"/>
                    <a:pt x="352" y="364"/>
                    <a:pt x="352" y="365"/>
                  </a:cubicBezTo>
                  <a:cubicBezTo>
                    <a:pt x="352" y="365"/>
                    <a:pt x="352" y="365"/>
                    <a:pt x="352" y="366"/>
                  </a:cubicBezTo>
                  <a:cubicBezTo>
                    <a:pt x="352" y="365"/>
                    <a:pt x="352" y="365"/>
                    <a:pt x="352" y="365"/>
                  </a:cubicBezTo>
                  <a:cubicBezTo>
                    <a:pt x="352" y="366"/>
                    <a:pt x="352" y="367"/>
                    <a:pt x="353" y="368"/>
                  </a:cubicBezTo>
                  <a:cubicBezTo>
                    <a:pt x="353" y="368"/>
                    <a:pt x="353" y="369"/>
                    <a:pt x="352" y="369"/>
                  </a:cubicBezTo>
                  <a:cubicBezTo>
                    <a:pt x="351" y="371"/>
                    <a:pt x="349" y="370"/>
                    <a:pt x="347" y="370"/>
                  </a:cubicBezTo>
                  <a:cubicBezTo>
                    <a:pt x="346" y="370"/>
                    <a:pt x="345" y="370"/>
                    <a:pt x="345" y="371"/>
                  </a:cubicBezTo>
                  <a:cubicBezTo>
                    <a:pt x="344" y="372"/>
                    <a:pt x="343" y="372"/>
                    <a:pt x="341" y="373"/>
                  </a:cubicBezTo>
                  <a:cubicBezTo>
                    <a:pt x="341" y="373"/>
                    <a:pt x="341" y="373"/>
                    <a:pt x="341" y="373"/>
                  </a:cubicBezTo>
                  <a:cubicBezTo>
                    <a:pt x="341" y="374"/>
                    <a:pt x="340" y="374"/>
                    <a:pt x="339" y="374"/>
                  </a:cubicBezTo>
                  <a:cubicBezTo>
                    <a:pt x="335" y="372"/>
                    <a:pt x="332" y="370"/>
                    <a:pt x="329" y="367"/>
                  </a:cubicBezTo>
                  <a:cubicBezTo>
                    <a:pt x="328" y="366"/>
                    <a:pt x="328" y="365"/>
                    <a:pt x="328" y="364"/>
                  </a:cubicBezTo>
                  <a:cubicBezTo>
                    <a:pt x="329" y="363"/>
                    <a:pt x="330" y="364"/>
                    <a:pt x="331" y="364"/>
                  </a:cubicBezTo>
                  <a:cubicBezTo>
                    <a:pt x="331" y="364"/>
                    <a:pt x="332" y="364"/>
                    <a:pt x="332" y="364"/>
                  </a:cubicBezTo>
                  <a:cubicBezTo>
                    <a:pt x="332" y="364"/>
                    <a:pt x="332" y="363"/>
                    <a:pt x="332" y="363"/>
                  </a:cubicBezTo>
                  <a:cubicBezTo>
                    <a:pt x="331" y="363"/>
                    <a:pt x="329" y="364"/>
                    <a:pt x="328" y="361"/>
                  </a:cubicBezTo>
                  <a:cubicBezTo>
                    <a:pt x="328" y="362"/>
                    <a:pt x="327" y="362"/>
                    <a:pt x="326" y="362"/>
                  </a:cubicBezTo>
                  <a:cubicBezTo>
                    <a:pt x="326" y="363"/>
                    <a:pt x="326" y="363"/>
                    <a:pt x="326" y="364"/>
                  </a:cubicBezTo>
                  <a:cubicBezTo>
                    <a:pt x="325" y="367"/>
                    <a:pt x="325" y="367"/>
                    <a:pt x="322" y="366"/>
                  </a:cubicBezTo>
                  <a:cubicBezTo>
                    <a:pt x="322" y="366"/>
                    <a:pt x="322" y="367"/>
                    <a:pt x="322" y="367"/>
                  </a:cubicBezTo>
                  <a:cubicBezTo>
                    <a:pt x="323" y="367"/>
                    <a:pt x="324" y="368"/>
                    <a:pt x="323" y="369"/>
                  </a:cubicBezTo>
                  <a:cubicBezTo>
                    <a:pt x="323" y="369"/>
                    <a:pt x="322" y="370"/>
                    <a:pt x="321" y="370"/>
                  </a:cubicBezTo>
                  <a:cubicBezTo>
                    <a:pt x="320" y="369"/>
                    <a:pt x="319" y="370"/>
                    <a:pt x="319" y="372"/>
                  </a:cubicBezTo>
                  <a:cubicBezTo>
                    <a:pt x="318" y="372"/>
                    <a:pt x="318" y="373"/>
                    <a:pt x="318" y="373"/>
                  </a:cubicBezTo>
                  <a:cubicBezTo>
                    <a:pt x="317" y="375"/>
                    <a:pt x="316" y="376"/>
                    <a:pt x="314" y="375"/>
                  </a:cubicBezTo>
                  <a:cubicBezTo>
                    <a:pt x="314" y="374"/>
                    <a:pt x="313" y="374"/>
                    <a:pt x="313" y="374"/>
                  </a:cubicBezTo>
                  <a:cubicBezTo>
                    <a:pt x="313" y="374"/>
                    <a:pt x="313" y="374"/>
                    <a:pt x="313" y="374"/>
                  </a:cubicBezTo>
                  <a:cubicBezTo>
                    <a:pt x="311" y="377"/>
                    <a:pt x="310" y="377"/>
                    <a:pt x="308" y="376"/>
                  </a:cubicBezTo>
                  <a:cubicBezTo>
                    <a:pt x="307" y="376"/>
                    <a:pt x="306" y="376"/>
                    <a:pt x="306" y="377"/>
                  </a:cubicBezTo>
                  <a:cubicBezTo>
                    <a:pt x="306" y="377"/>
                    <a:pt x="305" y="377"/>
                    <a:pt x="305" y="378"/>
                  </a:cubicBezTo>
                  <a:cubicBezTo>
                    <a:pt x="306" y="378"/>
                    <a:pt x="306" y="378"/>
                    <a:pt x="306" y="379"/>
                  </a:cubicBezTo>
                  <a:cubicBezTo>
                    <a:pt x="307" y="377"/>
                    <a:pt x="308" y="377"/>
                    <a:pt x="309" y="378"/>
                  </a:cubicBezTo>
                  <a:cubicBezTo>
                    <a:pt x="311" y="378"/>
                    <a:pt x="311" y="378"/>
                    <a:pt x="312" y="377"/>
                  </a:cubicBezTo>
                  <a:cubicBezTo>
                    <a:pt x="313" y="375"/>
                    <a:pt x="315" y="376"/>
                    <a:pt x="317" y="377"/>
                  </a:cubicBezTo>
                  <a:cubicBezTo>
                    <a:pt x="318" y="378"/>
                    <a:pt x="318" y="378"/>
                    <a:pt x="320" y="379"/>
                  </a:cubicBezTo>
                  <a:cubicBezTo>
                    <a:pt x="321" y="379"/>
                    <a:pt x="322" y="379"/>
                    <a:pt x="322" y="380"/>
                  </a:cubicBezTo>
                  <a:cubicBezTo>
                    <a:pt x="321" y="381"/>
                    <a:pt x="321" y="382"/>
                    <a:pt x="319" y="382"/>
                  </a:cubicBezTo>
                  <a:cubicBezTo>
                    <a:pt x="318" y="383"/>
                    <a:pt x="317" y="383"/>
                    <a:pt x="316" y="384"/>
                  </a:cubicBezTo>
                  <a:cubicBezTo>
                    <a:pt x="315" y="386"/>
                    <a:pt x="314" y="386"/>
                    <a:pt x="312" y="385"/>
                  </a:cubicBezTo>
                  <a:cubicBezTo>
                    <a:pt x="312" y="385"/>
                    <a:pt x="312" y="386"/>
                    <a:pt x="311" y="386"/>
                  </a:cubicBezTo>
                  <a:cubicBezTo>
                    <a:pt x="313" y="387"/>
                    <a:pt x="313" y="387"/>
                    <a:pt x="313" y="389"/>
                  </a:cubicBezTo>
                  <a:cubicBezTo>
                    <a:pt x="313" y="388"/>
                    <a:pt x="314" y="388"/>
                    <a:pt x="314" y="387"/>
                  </a:cubicBezTo>
                  <a:cubicBezTo>
                    <a:pt x="314" y="386"/>
                    <a:pt x="315" y="387"/>
                    <a:pt x="315" y="387"/>
                  </a:cubicBezTo>
                  <a:cubicBezTo>
                    <a:pt x="317" y="386"/>
                    <a:pt x="318" y="383"/>
                    <a:pt x="320" y="385"/>
                  </a:cubicBezTo>
                  <a:cubicBezTo>
                    <a:pt x="320" y="386"/>
                    <a:pt x="321" y="386"/>
                    <a:pt x="321" y="386"/>
                  </a:cubicBezTo>
                  <a:cubicBezTo>
                    <a:pt x="323" y="387"/>
                    <a:pt x="324" y="388"/>
                    <a:pt x="324" y="390"/>
                  </a:cubicBezTo>
                  <a:cubicBezTo>
                    <a:pt x="324" y="392"/>
                    <a:pt x="323" y="392"/>
                    <a:pt x="321" y="393"/>
                  </a:cubicBezTo>
                  <a:cubicBezTo>
                    <a:pt x="321" y="393"/>
                    <a:pt x="321" y="394"/>
                    <a:pt x="321" y="394"/>
                  </a:cubicBezTo>
                  <a:cubicBezTo>
                    <a:pt x="321" y="394"/>
                    <a:pt x="321" y="394"/>
                    <a:pt x="321" y="394"/>
                  </a:cubicBezTo>
                  <a:cubicBezTo>
                    <a:pt x="323" y="393"/>
                    <a:pt x="325" y="393"/>
                    <a:pt x="327" y="395"/>
                  </a:cubicBezTo>
                  <a:cubicBezTo>
                    <a:pt x="327" y="396"/>
                    <a:pt x="328" y="397"/>
                    <a:pt x="329" y="397"/>
                  </a:cubicBezTo>
                  <a:cubicBezTo>
                    <a:pt x="330" y="397"/>
                    <a:pt x="331" y="398"/>
                    <a:pt x="330" y="399"/>
                  </a:cubicBezTo>
                  <a:cubicBezTo>
                    <a:pt x="331" y="399"/>
                    <a:pt x="332" y="400"/>
                    <a:pt x="332" y="400"/>
                  </a:cubicBezTo>
                  <a:cubicBezTo>
                    <a:pt x="334" y="401"/>
                    <a:pt x="336" y="403"/>
                    <a:pt x="337" y="404"/>
                  </a:cubicBezTo>
                  <a:cubicBezTo>
                    <a:pt x="338" y="404"/>
                    <a:pt x="338" y="405"/>
                    <a:pt x="338" y="405"/>
                  </a:cubicBezTo>
                  <a:cubicBezTo>
                    <a:pt x="337" y="405"/>
                    <a:pt x="338" y="407"/>
                    <a:pt x="336" y="407"/>
                  </a:cubicBezTo>
                  <a:cubicBezTo>
                    <a:pt x="336" y="408"/>
                    <a:pt x="336" y="408"/>
                    <a:pt x="335" y="408"/>
                  </a:cubicBezTo>
                  <a:cubicBezTo>
                    <a:pt x="335" y="409"/>
                    <a:pt x="334" y="410"/>
                    <a:pt x="334" y="410"/>
                  </a:cubicBezTo>
                  <a:cubicBezTo>
                    <a:pt x="337" y="411"/>
                    <a:pt x="337" y="408"/>
                    <a:pt x="338" y="408"/>
                  </a:cubicBezTo>
                  <a:cubicBezTo>
                    <a:pt x="339" y="409"/>
                    <a:pt x="337" y="410"/>
                    <a:pt x="339" y="411"/>
                  </a:cubicBezTo>
                  <a:cubicBezTo>
                    <a:pt x="339" y="411"/>
                    <a:pt x="340" y="410"/>
                    <a:pt x="340" y="409"/>
                  </a:cubicBezTo>
                  <a:cubicBezTo>
                    <a:pt x="340" y="409"/>
                    <a:pt x="340" y="408"/>
                    <a:pt x="341" y="408"/>
                  </a:cubicBezTo>
                  <a:cubicBezTo>
                    <a:pt x="341" y="408"/>
                    <a:pt x="342" y="409"/>
                    <a:pt x="342" y="409"/>
                  </a:cubicBezTo>
                  <a:cubicBezTo>
                    <a:pt x="342" y="410"/>
                    <a:pt x="341" y="410"/>
                    <a:pt x="341" y="410"/>
                  </a:cubicBezTo>
                  <a:cubicBezTo>
                    <a:pt x="341" y="411"/>
                    <a:pt x="340" y="411"/>
                    <a:pt x="339" y="412"/>
                  </a:cubicBezTo>
                  <a:cubicBezTo>
                    <a:pt x="338" y="414"/>
                    <a:pt x="338" y="416"/>
                    <a:pt x="339" y="418"/>
                  </a:cubicBezTo>
                  <a:cubicBezTo>
                    <a:pt x="340" y="417"/>
                    <a:pt x="339" y="416"/>
                    <a:pt x="340" y="415"/>
                  </a:cubicBezTo>
                  <a:cubicBezTo>
                    <a:pt x="341" y="415"/>
                    <a:pt x="341" y="413"/>
                    <a:pt x="343" y="414"/>
                  </a:cubicBezTo>
                  <a:cubicBezTo>
                    <a:pt x="344" y="414"/>
                    <a:pt x="344" y="415"/>
                    <a:pt x="344" y="416"/>
                  </a:cubicBezTo>
                  <a:cubicBezTo>
                    <a:pt x="344" y="417"/>
                    <a:pt x="344" y="417"/>
                    <a:pt x="344" y="418"/>
                  </a:cubicBezTo>
                  <a:cubicBezTo>
                    <a:pt x="344" y="419"/>
                    <a:pt x="345" y="420"/>
                    <a:pt x="344" y="421"/>
                  </a:cubicBezTo>
                  <a:cubicBezTo>
                    <a:pt x="344" y="423"/>
                    <a:pt x="343" y="426"/>
                    <a:pt x="345" y="429"/>
                  </a:cubicBezTo>
                  <a:cubicBezTo>
                    <a:pt x="345" y="431"/>
                    <a:pt x="343" y="432"/>
                    <a:pt x="345" y="433"/>
                  </a:cubicBezTo>
                  <a:cubicBezTo>
                    <a:pt x="345" y="434"/>
                    <a:pt x="345" y="435"/>
                    <a:pt x="344" y="435"/>
                  </a:cubicBezTo>
                  <a:cubicBezTo>
                    <a:pt x="344" y="435"/>
                    <a:pt x="343" y="436"/>
                    <a:pt x="342" y="435"/>
                  </a:cubicBezTo>
                  <a:cubicBezTo>
                    <a:pt x="342" y="435"/>
                    <a:pt x="342" y="434"/>
                    <a:pt x="342" y="434"/>
                  </a:cubicBezTo>
                  <a:cubicBezTo>
                    <a:pt x="338" y="436"/>
                    <a:pt x="339" y="432"/>
                    <a:pt x="339" y="431"/>
                  </a:cubicBezTo>
                  <a:cubicBezTo>
                    <a:pt x="339" y="430"/>
                    <a:pt x="339" y="428"/>
                    <a:pt x="339" y="427"/>
                  </a:cubicBezTo>
                  <a:cubicBezTo>
                    <a:pt x="339" y="427"/>
                    <a:pt x="339" y="427"/>
                    <a:pt x="338" y="427"/>
                  </a:cubicBezTo>
                  <a:cubicBezTo>
                    <a:pt x="337" y="429"/>
                    <a:pt x="338" y="431"/>
                    <a:pt x="338" y="433"/>
                  </a:cubicBezTo>
                  <a:cubicBezTo>
                    <a:pt x="338" y="434"/>
                    <a:pt x="339" y="436"/>
                    <a:pt x="336" y="436"/>
                  </a:cubicBezTo>
                  <a:cubicBezTo>
                    <a:pt x="335" y="436"/>
                    <a:pt x="334" y="436"/>
                    <a:pt x="332" y="435"/>
                  </a:cubicBezTo>
                  <a:cubicBezTo>
                    <a:pt x="330" y="433"/>
                    <a:pt x="329" y="432"/>
                    <a:pt x="329" y="430"/>
                  </a:cubicBezTo>
                  <a:cubicBezTo>
                    <a:pt x="327" y="428"/>
                    <a:pt x="327" y="425"/>
                    <a:pt x="327" y="423"/>
                  </a:cubicBezTo>
                  <a:cubicBezTo>
                    <a:pt x="327" y="421"/>
                    <a:pt x="325" y="420"/>
                    <a:pt x="324" y="418"/>
                  </a:cubicBezTo>
                  <a:cubicBezTo>
                    <a:pt x="324" y="418"/>
                    <a:pt x="324" y="417"/>
                    <a:pt x="324" y="416"/>
                  </a:cubicBezTo>
                  <a:cubicBezTo>
                    <a:pt x="322" y="418"/>
                    <a:pt x="321" y="418"/>
                    <a:pt x="320" y="416"/>
                  </a:cubicBezTo>
                  <a:cubicBezTo>
                    <a:pt x="319" y="414"/>
                    <a:pt x="318" y="412"/>
                    <a:pt x="316" y="413"/>
                  </a:cubicBezTo>
                  <a:cubicBezTo>
                    <a:pt x="315" y="413"/>
                    <a:pt x="315" y="412"/>
                    <a:pt x="315" y="412"/>
                  </a:cubicBezTo>
                  <a:cubicBezTo>
                    <a:pt x="314" y="412"/>
                    <a:pt x="312" y="411"/>
                    <a:pt x="311" y="412"/>
                  </a:cubicBezTo>
                  <a:cubicBezTo>
                    <a:pt x="310" y="413"/>
                    <a:pt x="309" y="412"/>
                    <a:pt x="309" y="411"/>
                  </a:cubicBezTo>
                  <a:cubicBezTo>
                    <a:pt x="308" y="411"/>
                    <a:pt x="308" y="410"/>
                    <a:pt x="307" y="409"/>
                  </a:cubicBezTo>
                  <a:cubicBezTo>
                    <a:pt x="307" y="409"/>
                    <a:pt x="307" y="408"/>
                    <a:pt x="307" y="408"/>
                  </a:cubicBezTo>
                  <a:cubicBezTo>
                    <a:pt x="306" y="407"/>
                    <a:pt x="305" y="407"/>
                    <a:pt x="304" y="405"/>
                  </a:cubicBezTo>
                  <a:cubicBezTo>
                    <a:pt x="304" y="404"/>
                    <a:pt x="303" y="404"/>
                    <a:pt x="302" y="403"/>
                  </a:cubicBezTo>
                  <a:cubicBezTo>
                    <a:pt x="301" y="403"/>
                    <a:pt x="301" y="403"/>
                    <a:pt x="300" y="403"/>
                  </a:cubicBezTo>
                  <a:cubicBezTo>
                    <a:pt x="299" y="402"/>
                    <a:pt x="298" y="401"/>
                    <a:pt x="298" y="401"/>
                  </a:cubicBezTo>
                  <a:cubicBezTo>
                    <a:pt x="297" y="402"/>
                    <a:pt x="299" y="402"/>
                    <a:pt x="298" y="403"/>
                  </a:cubicBezTo>
                  <a:cubicBezTo>
                    <a:pt x="298" y="403"/>
                    <a:pt x="298" y="403"/>
                    <a:pt x="298" y="403"/>
                  </a:cubicBezTo>
                  <a:cubicBezTo>
                    <a:pt x="298" y="405"/>
                    <a:pt x="300" y="404"/>
                    <a:pt x="300" y="404"/>
                  </a:cubicBezTo>
                  <a:cubicBezTo>
                    <a:pt x="301" y="404"/>
                    <a:pt x="302" y="404"/>
                    <a:pt x="301" y="405"/>
                  </a:cubicBezTo>
                  <a:cubicBezTo>
                    <a:pt x="303" y="405"/>
                    <a:pt x="303" y="406"/>
                    <a:pt x="304" y="407"/>
                  </a:cubicBezTo>
                  <a:cubicBezTo>
                    <a:pt x="304" y="407"/>
                    <a:pt x="304" y="408"/>
                    <a:pt x="304" y="408"/>
                  </a:cubicBezTo>
                  <a:cubicBezTo>
                    <a:pt x="305" y="408"/>
                    <a:pt x="306" y="408"/>
                    <a:pt x="306" y="409"/>
                  </a:cubicBezTo>
                  <a:cubicBezTo>
                    <a:pt x="306" y="410"/>
                    <a:pt x="305" y="410"/>
                    <a:pt x="304" y="410"/>
                  </a:cubicBezTo>
                  <a:cubicBezTo>
                    <a:pt x="304" y="411"/>
                    <a:pt x="303" y="411"/>
                    <a:pt x="303" y="411"/>
                  </a:cubicBezTo>
                  <a:cubicBezTo>
                    <a:pt x="303" y="411"/>
                    <a:pt x="304" y="411"/>
                    <a:pt x="304" y="411"/>
                  </a:cubicBezTo>
                  <a:cubicBezTo>
                    <a:pt x="305" y="411"/>
                    <a:pt x="307" y="411"/>
                    <a:pt x="307" y="413"/>
                  </a:cubicBezTo>
                  <a:cubicBezTo>
                    <a:pt x="307" y="413"/>
                    <a:pt x="307" y="414"/>
                    <a:pt x="307" y="414"/>
                  </a:cubicBezTo>
                  <a:cubicBezTo>
                    <a:pt x="307" y="414"/>
                    <a:pt x="308" y="414"/>
                    <a:pt x="308" y="414"/>
                  </a:cubicBezTo>
                  <a:cubicBezTo>
                    <a:pt x="309" y="412"/>
                    <a:pt x="310" y="414"/>
                    <a:pt x="311" y="414"/>
                  </a:cubicBezTo>
                  <a:cubicBezTo>
                    <a:pt x="312" y="414"/>
                    <a:pt x="312" y="413"/>
                    <a:pt x="313" y="414"/>
                  </a:cubicBezTo>
                  <a:cubicBezTo>
                    <a:pt x="316" y="413"/>
                    <a:pt x="317" y="415"/>
                    <a:pt x="319" y="417"/>
                  </a:cubicBezTo>
                  <a:cubicBezTo>
                    <a:pt x="319" y="418"/>
                    <a:pt x="319" y="419"/>
                    <a:pt x="318" y="419"/>
                  </a:cubicBezTo>
                  <a:cubicBezTo>
                    <a:pt x="317" y="421"/>
                    <a:pt x="316" y="423"/>
                    <a:pt x="313" y="423"/>
                  </a:cubicBezTo>
                  <a:cubicBezTo>
                    <a:pt x="312" y="425"/>
                    <a:pt x="307" y="426"/>
                    <a:pt x="305" y="424"/>
                  </a:cubicBezTo>
                  <a:cubicBezTo>
                    <a:pt x="305" y="424"/>
                    <a:pt x="304" y="424"/>
                    <a:pt x="304" y="424"/>
                  </a:cubicBezTo>
                  <a:cubicBezTo>
                    <a:pt x="303" y="425"/>
                    <a:pt x="302" y="425"/>
                    <a:pt x="301" y="424"/>
                  </a:cubicBezTo>
                  <a:cubicBezTo>
                    <a:pt x="301" y="424"/>
                    <a:pt x="300" y="424"/>
                    <a:pt x="300" y="424"/>
                  </a:cubicBezTo>
                  <a:cubicBezTo>
                    <a:pt x="299" y="424"/>
                    <a:pt x="299" y="425"/>
                    <a:pt x="299" y="425"/>
                  </a:cubicBezTo>
                  <a:cubicBezTo>
                    <a:pt x="300" y="425"/>
                    <a:pt x="300" y="425"/>
                    <a:pt x="301" y="426"/>
                  </a:cubicBezTo>
                  <a:cubicBezTo>
                    <a:pt x="303" y="427"/>
                    <a:pt x="302" y="430"/>
                    <a:pt x="300" y="432"/>
                  </a:cubicBezTo>
                  <a:cubicBezTo>
                    <a:pt x="300" y="434"/>
                    <a:pt x="298" y="433"/>
                    <a:pt x="297" y="433"/>
                  </a:cubicBezTo>
                  <a:cubicBezTo>
                    <a:pt x="297" y="433"/>
                    <a:pt x="298" y="433"/>
                    <a:pt x="298" y="433"/>
                  </a:cubicBezTo>
                  <a:cubicBezTo>
                    <a:pt x="297" y="433"/>
                    <a:pt x="297" y="433"/>
                    <a:pt x="297" y="433"/>
                  </a:cubicBezTo>
                  <a:cubicBezTo>
                    <a:pt x="297" y="434"/>
                    <a:pt x="296" y="434"/>
                    <a:pt x="296" y="434"/>
                  </a:cubicBezTo>
                  <a:cubicBezTo>
                    <a:pt x="296" y="435"/>
                    <a:pt x="293" y="434"/>
                    <a:pt x="294" y="436"/>
                  </a:cubicBezTo>
                  <a:cubicBezTo>
                    <a:pt x="295" y="436"/>
                    <a:pt x="297" y="435"/>
                    <a:pt x="298" y="435"/>
                  </a:cubicBezTo>
                  <a:cubicBezTo>
                    <a:pt x="299" y="434"/>
                    <a:pt x="299" y="434"/>
                    <a:pt x="300" y="435"/>
                  </a:cubicBezTo>
                  <a:cubicBezTo>
                    <a:pt x="300" y="436"/>
                    <a:pt x="300" y="436"/>
                    <a:pt x="301" y="437"/>
                  </a:cubicBezTo>
                  <a:cubicBezTo>
                    <a:pt x="302" y="436"/>
                    <a:pt x="303" y="436"/>
                    <a:pt x="303" y="436"/>
                  </a:cubicBezTo>
                  <a:cubicBezTo>
                    <a:pt x="302" y="435"/>
                    <a:pt x="301" y="436"/>
                    <a:pt x="302" y="434"/>
                  </a:cubicBezTo>
                  <a:cubicBezTo>
                    <a:pt x="301" y="432"/>
                    <a:pt x="302" y="431"/>
                    <a:pt x="304" y="432"/>
                  </a:cubicBezTo>
                  <a:cubicBezTo>
                    <a:pt x="305" y="429"/>
                    <a:pt x="307" y="426"/>
                    <a:pt x="311" y="426"/>
                  </a:cubicBezTo>
                  <a:cubicBezTo>
                    <a:pt x="312" y="426"/>
                    <a:pt x="313" y="425"/>
                    <a:pt x="314" y="425"/>
                  </a:cubicBezTo>
                  <a:cubicBezTo>
                    <a:pt x="315" y="424"/>
                    <a:pt x="316" y="423"/>
                    <a:pt x="317" y="422"/>
                  </a:cubicBezTo>
                  <a:cubicBezTo>
                    <a:pt x="317" y="423"/>
                    <a:pt x="317" y="424"/>
                    <a:pt x="317" y="424"/>
                  </a:cubicBezTo>
                  <a:cubicBezTo>
                    <a:pt x="320" y="425"/>
                    <a:pt x="319" y="428"/>
                    <a:pt x="320" y="430"/>
                  </a:cubicBezTo>
                  <a:cubicBezTo>
                    <a:pt x="320" y="431"/>
                    <a:pt x="320" y="431"/>
                    <a:pt x="319" y="431"/>
                  </a:cubicBezTo>
                  <a:cubicBezTo>
                    <a:pt x="317" y="432"/>
                    <a:pt x="315" y="433"/>
                    <a:pt x="314" y="434"/>
                  </a:cubicBezTo>
                  <a:cubicBezTo>
                    <a:pt x="314" y="435"/>
                    <a:pt x="313" y="435"/>
                    <a:pt x="313" y="435"/>
                  </a:cubicBezTo>
                  <a:cubicBezTo>
                    <a:pt x="313" y="432"/>
                    <a:pt x="311" y="433"/>
                    <a:pt x="310" y="433"/>
                  </a:cubicBezTo>
                  <a:cubicBezTo>
                    <a:pt x="310" y="433"/>
                    <a:pt x="310" y="433"/>
                    <a:pt x="310" y="434"/>
                  </a:cubicBezTo>
                  <a:cubicBezTo>
                    <a:pt x="311" y="434"/>
                    <a:pt x="311" y="434"/>
                    <a:pt x="311" y="435"/>
                  </a:cubicBezTo>
                  <a:cubicBezTo>
                    <a:pt x="312" y="435"/>
                    <a:pt x="313" y="436"/>
                    <a:pt x="312" y="437"/>
                  </a:cubicBezTo>
                  <a:cubicBezTo>
                    <a:pt x="312" y="438"/>
                    <a:pt x="311" y="438"/>
                    <a:pt x="310" y="438"/>
                  </a:cubicBezTo>
                  <a:cubicBezTo>
                    <a:pt x="308" y="438"/>
                    <a:pt x="307" y="439"/>
                    <a:pt x="306" y="440"/>
                  </a:cubicBezTo>
                  <a:cubicBezTo>
                    <a:pt x="305" y="441"/>
                    <a:pt x="304" y="441"/>
                    <a:pt x="303" y="441"/>
                  </a:cubicBezTo>
                  <a:cubicBezTo>
                    <a:pt x="303" y="442"/>
                    <a:pt x="302" y="442"/>
                    <a:pt x="302" y="442"/>
                  </a:cubicBezTo>
                  <a:cubicBezTo>
                    <a:pt x="301" y="441"/>
                    <a:pt x="300" y="441"/>
                    <a:pt x="299" y="442"/>
                  </a:cubicBezTo>
                  <a:cubicBezTo>
                    <a:pt x="299" y="442"/>
                    <a:pt x="298" y="443"/>
                    <a:pt x="299" y="442"/>
                  </a:cubicBezTo>
                  <a:cubicBezTo>
                    <a:pt x="301" y="442"/>
                    <a:pt x="302" y="444"/>
                    <a:pt x="304" y="443"/>
                  </a:cubicBezTo>
                  <a:cubicBezTo>
                    <a:pt x="305" y="443"/>
                    <a:pt x="305" y="444"/>
                    <a:pt x="305" y="444"/>
                  </a:cubicBezTo>
                  <a:cubicBezTo>
                    <a:pt x="305" y="444"/>
                    <a:pt x="306" y="445"/>
                    <a:pt x="307" y="444"/>
                  </a:cubicBezTo>
                  <a:cubicBezTo>
                    <a:pt x="307" y="442"/>
                    <a:pt x="307" y="440"/>
                    <a:pt x="309" y="439"/>
                  </a:cubicBezTo>
                  <a:cubicBezTo>
                    <a:pt x="311" y="439"/>
                    <a:pt x="312" y="440"/>
                    <a:pt x="314" y="440"/>
                  </a:cubicBezTo>
                  <a:cubicBezTo>
                    <a:pt x="314" y="439"/>
                    <a:pt x="315" y="438"/>
                    <a:pt x="317" y="438"/>
                  </a:cubicBezTo>
                  <a:cubicBezTo>
                    <a:pt x="317" y="437"/>
                    <a:pt x="318" y="437"/>
                    <a:pt x="319" y="437"/>
                  </a:cubicBezTo>
                  <a:cubicBezTo>
                    <a:pt x="320" y="437"/>
                    <a:pt x="320" y="437"/>
                    <a:pt x="320" y="438"/>
                  </a:cubicBezTo>
                  <a:cubicBezTo>
                    <a:pt x="321" y="438"/>
                    <a:pt x="321" y="436"/>
                    <a:pt x="323" y="438"/>
                  </a:cubicBezTo>
                  <a:cubicBezTo>
                    <a:pt x="324" y="438"/>
                    <a:pt x="325" y="439"/>
                    <a:pt x="327" y="440"/>
                  </a:cubicBezTo>
                  <a:cubicBezTo>
                    <a:pt x="328" y="441"/>
                    <a:pt x="330" y="442"/>
                    <a:pt x="332" y="442"/>
                  </a:cubicBezTo>
                  <a:cubicBezTo>
                    <a:pt x="335" y="442"/>
                    <a:pt x="338" y="443"/>
                    <a:pt x="340" y="441"/>
                  </a:cubicBezTo>
                  <a:cubicBezTo>
                    <a:pt x="340" y="441"/>
                    <a:pt x="341" y="441"/>
                    <a:pt x="341" y="441"/>
                  </a:cubicBezTo>
                  <a:cubicBezTo>
                    <a:pt x="341" y="442"/>
                    <a:pt x="341" y="442"/>
                    <a:pt x="341" y="443"/>
                  </a:cubicBezTo>
                  <a:cubicBezTo>
                    <a:pt x="340" y="444"/>
                    <a:pt x="338" y="446"/>
                    <a:pt x="336" y="445"/>
                  </a:cubicBezTo>
                  <a:cubicBezTo>
                    <a:pt x="336" y="445"/>
                    <a:pt x="335" y="445"/>
                    <a:pt x="335" y="445"/>
                  </a:cubicBezTo>
                  <a:cubicBezTo>
                    <a:pt x="335" y="446"/>
                    <a:pt x="335" y="446"/>
                    <a:pt x="335" y="447"/>
                  </a:cubicBezTo>
                  <a:cubicBezTo>
                    <a:pt x="335" y="448"/>
                    <a:pt x="335" y="448"/>
                    <a:pt x="334" y="448"/>
                  </a:cubicBezTo>
                  <a:cubicBezTo>
                    <a:pt x="334" y="448"/>
                    <a:pt x="333" y="448"/>
                    <a:pt x="333" y="448"/>
                  </a:cubicBezTo>
                  <a:cubicBezTo>
                    <a:pt x="333" y="449"/>
                    <a:pt x="335" y="451"/>
                    <a:pt x="332" y="450"/>
                  </a:cubicBezTo>
                  <a:cubicBezTo>
                    <a:pt x="331" y="449"/>
                    <a:pt x="332" y="451"/>
                    <a:pt x="331" y="451"/>
                  </a:cubicBezTo>
                  <a:cubicBezTo>
                    <a:pt x="331" y="454"/>
                    <a:pt x="330" y="453"/>
                    <a:pt x="329" y="452"/>
                  </a:cubicBezTo>
                  <a:cubicBezTo>
                    <a:pt x="328" y="453"/>
                    <a:pt x="329" y="455"/>
                    <a:pt x="327" y="455"/>
                  </a:cubicBezTo>
                  <a:cubicBezTo>
                    <a:pt x="326" y="455"/>
                    <a:pt x="326" y="456"/>
                    <a:pt x="325" y="456"/>
                  </a:cubicBezTo>
                  <a:cubicBezTo>
                    <a:pt x="324" y="456"/>
                    <a:pt x="324" y="457"/>
                    <a:pt x="324" y="457"/>
                  </a:cubicBezTo>
                  <a:cubicBezTo>
                    <a:pt x="324" y="459"/>
                    <a:pt x="323" y="459"/>
                    <a:pt x="322" y="458"/>
                  </a:cubicBezTo>
                  <a:cubicBezTo>
                    <a:pt x="322" y="458"/>
                    <a:pt x="321" y="457"/>
                    <a:pt x="321" y="457"/>
                  </a:cubicBezTo>
                  <a:cubicBezTo>
                    <a:pt x="321" y="457"/>
                    <a:pt x="321" y="457"/>
                    <a:pt x="321" y="457"/>
                  </a:cubicBezTo>
                  <a:cubicBezTo>
                    <a:pt x="320" y="459"/>
                    <a:pt x="321" y="459"/>
                    <a:pt x="322" y="460"/>
                  </a:cubicBezTo>
                  <a:cubicBezTo>
                    <a:pt x="321" y="461"/>
                    <a:pt x="319" y="462"/>
                    <a:pt x="318" y="464"/>
                  </a:cubicBezTo>
                  <a:cubicBezTo>
                    <a:pt x="318" y="465"/>
                    <a:pt x="318" y="466"/>
                    <a:pt x="317" y="466"/>
                  </a:cubicBezTo>
                  <a:cubicBezTo>
                    <a:pt x="316" y="467"/>
                    <a:pt x="315" y="467"/>
                    <a:pt x="315" y="467"/>
                  </a:cubicBezTo>
                  <a:cubicBezTo>
                    <a:pt x="313" y="466"/>
                    <a:pt x="313" y="468"/>
                    <a:pt x="313" y="469"/>
                  </a:cubicBezTo>
                  <a:cubicBezTo>
                    <a:pt x="312" y="470"/>
                    <a:pt x="309" y="469"/>
                    <a:pt x="308" y="471"/>
                  </a:cubicBezTo>
                  <a:cubicBezTo>
                    <a:pt x="308" y="471"/>
                    <a:pt x="308" y="471"/>
                    <a:pt x="308" y="471"/>
                  </a:cubicBezTo>
                  <a:cubicBezTo>
                    <a:pt x="307" y="471"/>
                    <a:pt x="307" y="471"/>
                    <a:pt x="306" y="472"/>
                  </a:cubicBezTo>
                  <a:cubicBezTo>
                    <a:pt x="305" y="471"/>
                    <a:pt x="305" y="471"/>
                    <a:pt x="304" y="472"/>
                  </a:cubicBezTo>
                  <a:cubicBezTo>
                    <a:pt x="304" y="472"/>
                    <a:pt x="304" y="472"/>
                    <a:pt x="304" y="472"/>
                  </a:cubicBezTo>
                  <a:cubicBezTo>
                    <a:pt x="303" y="473"/>
                    <a:pt x="302" y="472"/>
                    <a:pt x="302" y="472"/>
                  </a:cubicBezTo>
                  <a:cubicBezTo>
                    <a:pt x="301" y="472"/>
                    <a:pt x="301" y="473"/>
                    <a:pt x="300" y="473"/>
                  </a:cubicBezTo>
                  <a:cubicBezTo>
                    <a:pt x="299" y="473"/>
                    <a:pt x="298" y="475"/>
                    <a:pt x="296" y="475"/>
                  </a:cubicBezTo>
                  <a:cubicBezTo>
                    <a:pt x="295" y="475"/>
                    <a:pt x="295" y="475"/>
                    <a:pt x="295" y="475"/>
                  </a:cubicBezTo>
                  <a:cubicBezTo>
                    <a:pt x="292" y="477"/>
                    <a:pt x="292" y="477"/>
                    <a:pt x="289" y="474"/>
                  </a:cubicBezTo>
                  <a:cubicBezTo>
                    <a:pt x="289" y="474"/>
                    <a:pt x="288" y="475"/>
                    <a:pt x="288" y="475"/>
                  </a:cubicBezTo>
                  <a:cubicBezTo>
                    <a:pt x="288" y="476"/>
                    <a:pt x="288" y="476"/>
                    <a:pt x="288" y="476"/>
                  </a:cubicBezTo>
                  <a:cubicBezTo>
                    <a:pt x="288" y="477"/>
                    <a:pt x="287" y="478"/>
                    <a:pt x="288" y="479"/>
                  </a:cubicBezTo>
                  <a:cubicBezTo>
                    <a:pt x="287" y="480"/>
                    <a:pt x="286" y="480"/>
                    <a:pt x="286" y="478"/>
                  </a:cubicBezTo>
                  <a:cubicBezTo>
                    <a:pt x="286" y="477"/>
                    <a:pt x="285" y="477"/>
                    <a:pt x="284" y="477"/>
                  </a:cubicBezTo>
                  <a:cubicBezTo>
                    <a:pt x="286" y="480"/>
                    <a:pt x="286" y="480"/>
                    <a:pt x="283" y="480"/>
                  </a:cubicBezTo>
                  <a:cubicBezTo>
                    <a:pt x="281" y="480"/>
                    <a:pt x="279" y="480"/>
                    <a:pt x="277" y="479"/>
                  </a:cubicBezTo>
                  <a:cubicBezTo>
                    <a:pt x="276" y="479"/>
                    <a:pt x="276" y="478"/>
                    <a:pt x="276" y="478"/>
                  </a:cubicBezTo>
                  <a:cubicBezTo>
                    <a:pt x="276" y="477"/>
                    <a:pt x="277" y="477"/>
                    <a:pt x="277" y="477"/>
                  </a:cubicBezTo>
                  <a:cubicBezTo>
                    <a:pt x="278" y="477"/>
                    <a:pt x="278" y="477"/>
                    <a:pt x="278" y="477"/>
                  </a:cubicBezTo>
                  <a:cubicBezTo>
                    <a:pt x="277" y="477"/>
                    <a:pt x="275" y="477"/>
                    <a:pt x="275" y="475"/>
                  </a:cubicBezTo>
                  <a:cubicBezTo>
                    <a:pt x="273" y="474"/>
                    <a:pt x="273" y="472"/>
                    <a:pt x="272" y="470"/>
                  </a:cubicBezTo>
                  <a:cubicBezTo>
                    <a:pt x="271" y="470"/>
                    <a:pt x="273" y="472"/>
                    <a:pt x="271" y="473"/>
                  </a:cubicBezTo>
                  <a:cubicBezTo>
                    <a:pt x="272" y="473"/>
                    <a:pt x="272" y="474"/>
                    <a:pt x="272" y="474"/>
                  </a:cubicBezTo>
                  <a:cubicBezTo>
                    <a:pt x="272" y="475"/>
                    <a:pt x="276" y="476"/>
                    <a:pt x="273" y="478"/>
                  </a:cubicBezTo>
                  <a:cubicBezTo>
                    <a:pt x="272" y="478"/>
                    <a:pt x="273" y="479"/>
                    <a:pt x="274" y="479"/>
                  </a:cubicBezTo>
                  <a:cubicBezTo>
                    <a:pt x="275" y="479"/>
                    <a:pt x="275" y="479"/>
                    <a:pt x="275" y="480"/>
                  </a:cubicBezTo>
                  <a:cubicBezTo>
                    <a:pt x="274" y="481"/>
                    <a:pt x="274" y="481"/>
                    <a:pt x="274" y="482"/>
                  </a:cubicBezTo>
                  <a:cubicBezTo>
                    <a:pt x="274" y="483"/>
                    <a:pt x="274" y="483"/>
                    <a:pt x="274" y="483"/>
                  </a:cubicBezTo>
                  <a:cubicBezTo>
                    <a:pt x="271" y="482"/>
                    <a:pt x="271" y="487"/>
                    <a:pt x="268" y="487"/>
                  </a:cubicBezTo>
                  <a:cubicBezTo>
                    <a:pt x="268" y="487"/>
                    <a:pt x="266" y="489"/>
                    <a:pt x="266" y="491"/>
                  </a:cubicBezTo>
                  <a:cubicBezTo>
                    <a:pt x="267" y="492"/>
                    <a:pt x="267" y="493"/>
                    <a:pt x="265" y="493"/>
                  </a:cubicBezTo>
                  <a:cubicBezTo>
                    <a:pt x="265" y="493"/>
                    <a:pt x="265" y="494"/>
                    <a:pt x="265" y="494"/>
                  </a:cubicBezTo>
                  <a:cubicBezTo>
                    <a:pt x="265" y="496"/>
                    <a:pt x="265" y="498"/>
                    <a:pt x="262" y="499"/>
                  </a:cubicBezTo>
                  <a:cubicBezTo>
                    <a:pt x="262" y="500"/>
                    <a:pt x="261" y="501"/>
                    <a:pt x="262" y="502"/>
                  </a:cubicBezTo>
                  <a:cubicBezTo>
                    <a:pt x="261" y="503"/>
                    <a:pt x="261" y="504"/>
                    <a:pt x="260" y="505"/>
                  </a:cubicBezTo>
                  <a:cubicBezTo>
                    <a:pt x="260" y="505"/>
                    <a:pt x="260" y="505"/>
                    <a:pt x="260" y="505"/>
                  </a:cubicBezTo>
                  <a:cubicBezTo>
                    <a:pt x="259" y="506"/>
                    <a:pt x="259" y="506"/>
                    <a:pt x="259" y="506"/>
                  </a:cubicBezTo>
                  <a:cubicBezTo>
                    <a:pt x="259" y="507"/>
                    <a:pt x="258" y="508"/>
                    <a:pt x="257" y="508"/>
                  </a:cubicBezTo>
                  <a:cubicBezTo>
                    <a:pt x="256" y="511"/>
                    <a:pt x="254" y="512"/>
                    <a:pt x="251" y="510"/>
                  </a:cubicBezTo>
                  <a:cubicBezTo>
                    <a:pt x="251" y="511"/>
                    <a:pt x="251" y="511"/>
                    <a:pt x="251" y="512"/>
                  </a:cubicBezTo>
                  <a:cubicBezTo>
                    <a:pt x="250" y="513"/>
                    <a:pt x="249" y="514"/>
                    <a:pt x="249" y="516"/>
                  </a:cubicBezTo>
                  <a:cubicBezTo>
                    <a:pt x="248" y="517"/>
                    <a:pt x="247" y="517"/>
                    <a:pt x="246" y="517"/>
                  </a:cubicBezTo>
                  <a:cubicBezTo>
                    <a:pt x="244" y="517"/>
                    <a:pt x="246" y="515"/>
                    <a:pt x="245" y="515"/>
                  </a:cubicBezTo>
                  <a:cubicBezTo>
                    <a:pt x="244" y="515"/>
                    <a:pt x="246" y="520"/>
                    <a:pt x="242" y="517"/>
                  </a:cubicBezTo>
                  <a:cubicBezTo>
                    <a:pt x="242" y="517"/>
                    <a:pt x="243" y="518"/>
                    <a:pt x="243" y="518"/>
                  </a:cubicBezTo>
                  <a:cubicBezTo>
                    <a:pt x="243" y="519"/>
                    <a:pt x="243" y="520"/>
                    <a:pt x="242" y="521"/>
                  </a:cubicBezTo>
                  <a:cubicBezTo>
                    <a:pt x="241" y="520"/>
                    <a:pt x="242" y="519"/>
                    <a:pt x="242" y="518"/>
                  </a:cubicBezTo>
                  <a:cubicBezTo>
                    <a:pt x="241" y="518"/>
                    <a:pt x="242" y="517"/>
                    <a:pt x="241" y="516"/>
                  </a:cubicBezTo>
                  <a:cubicBezTo>
                    <a:pt x="240" y="517"/>
                    <a:pt x="242" y="519"/>
                    <a:pt x="239" y="519"/>
                  </a:cubicBezTo>
                  <a:cubicBezTo>
                    <a:pt x="239" y="520"/>
                    <a:pt x="239" y="521"/>
                    <a:pt x="239" y="521"/>
                  </a:cubicBezTo>
                  <a:cubicBezTo>
                    <a:pt x="238" y="522"/>
                    <a:pt x="236" y="523"/>
                    <a:pt x="235" y="522"/>
                  </a:cubicBezTo>
                  <a:cubicBezTo>
                    <a:pt x="234" y="521"/>
                    <a:pt x="234" y="520"/>
                    <a:pt x="235" y="519"/>
                  </a:cubicBezTo>
                  <a:cubicBezTo>
                    <a:pt x="235" y="519"/>
                    <a:pt x="236" y="518"/>
                    <a:pt x="236" y="518"/>
                  </a:cubicBezTo>
                  <a:cubicBezTo>
                    <a:pt x="235" y="515"/>
                    <a:pt x="238" y="513"/>
                    <a:pt x="240" y="511"/>
                  </a:cubicBezTo>
                  <a:cubicBezTo>
                    <a:pt x="238" y="510"/>
                    <a:pt x="236" y="510"/>
                    <a:pt x="233" y="509"/>
                  </a:cubicBezTo>
                  <a:cubicBezTo>
                    <a:pt x="233" y="510"/>
                    <a:pt x="234" y="510"/>
                    <a:pt x="235" y="510"/>
                  </a:cubicBezTo>
                  <a:cubicBezTo>
                    <a:pt x="235" y="511"/>
                    <a:pt x="235" y="511"/>
                    <a:pt x="235" y="511"/>
                  </a:cubicBezTo>
                  <a:cubicBezTo>
                    <a:pt x="235" y="511"/>
                    <a:pt x="235" y="511"/>
                    <a:pt x="235" y="510"/>
                  </a:cubicBezTo>
                  <a:cubicBezTo>
                    <a:pt x="237" y="511"/>
                    <a:pt x="235" y="512"/>
                    <a:pt x="235" y="513"/>
                  </a:cubicBezTo>
                  <a:cubicBezTo>
                    <a:pt x="235" y="513"/>
                    <a:pt x="235" y="515"/>
                    <a:pt x="235" y="516"/>
                  </a:cubicBezTo>
                  <a:cubicBezTo>
                    <a:pt x="235" y="517"/>
                    <a:pt x="234" y="518"/>
                    <a:pt x="233" y="517"/>
                  </a:cubicBezTo>
                  <a:cubicBezTo>
                    <a:pt x="233" y="519"/>
                    <a:pt x="233" y="519"/>
                    <a:pt x="233" y="521"/>
                  </a:cubicBezTo>
                  <a:cubicBezTo>
                    <a:pt x="233" y="521"/>
                    <a:pt x="233" y="522"/>
                    <a:pt x="232" y="522"/>
                  </a:cubicBezTo>
                  <a:cubicBezTo>
                    <a:pt x="231" y="520"/>
                    <a:pt x="230" y="522"/>
                    <a:pt x="229" y="522"/>
                  </a:cubicBezTo>
                  <a:cubicBezTo>
                    <a:pt x="227" y="523"/>
                    <a:pt x="228" y="521"/>
                    <a:pt x="227" y="521"/>
                  </a:cubicBezTo>
                  <a:cubicBezTo>
                    <a:pt x="226" y="523"/>
                    <a:pt x="226" y="524"/>
                    <a:pt x="224" y="522"/>
                  </a:cubicBezTo>
                  <a:cubicBezTo>
                    <a:pt x="224" y="522"/>
                    <a:pt x="223" y="522"/>
                    <a:pt x="223" y="522"/>
                  </a:cubicBezTo>
                  <a:cubicBezTo>
                    <a:pt x="223" y="525"/>
                    <a:pt x="222" y="523"/>
                    <a:pt x="221" y="523"/>
                  </a:cubicBezTo>
                  <a:cubicBezTo>
                    <a:pt x="221" y="525"/>
                    <a:pt x="222" y="525"/>
                    <a:pt x="222" y="527"/>
                  </a:cubicBezTo>
                  <a:cubicBezTo>
                    <a:pt x="223" y="529"/>
                    <a:pt x="220" y="530"/>
                    <a:pt x="220" y="531"/>
                  </a:cubicBezTo>
                  <a:cubicBezTo>
                    <a:pt x="219" y="532"/>
                    <a:pt x="218" y="530"/>
                    <a:pt x="217" y="530"/>
                  </a:cubicBezTo>
                  <a:cubicBezTo>
                    <a:pt x="217" y="530"/>
                    <a:pt x="217" y="530"/>
                    <a:pt x="217" y="530"/>
                  </a:cubicBezTo>
                  <a:cubicBezTo>
                    <a:pt x="217" y="530"/>
                    <a:pt x="217" y="530"/>
                    <a:pt x="217" y="530"/>
                  </a:cubicBezTo>
                  <a:cubicBezTo>
                    <a:pt x="217" y="530"/>
                    <a:pt x="216" y="531"/>
                    <a:pt x="216" y="531"/>
                  </a:cubicBezTo>
                  <a:cubicBezTo>
                    <a:pt x="214" y="530"/>
                    <a:pt x="214" y="532"/>
                    <a:pt x="214" y="534"/>
                  </a:cubicBezTo>
                  <a:cubicBezTo>
                    <a:pt x="215" y="534"/>
                    <a:pt x="215" y="536"/>
                    <a:pt x="216" y="534"/>
                  </a:cubicBezTo>
                  <a:cubicBezTo>
                    <a:pt x="216" y="533"/>
                    <a:pt x="217" y="534"/>
                    <a:pt x="217" y="534"/>
                  </a:cubicBezTo>
                  <a:cubicBezTo>
                    <a:pt x="218" y="536"/>
                    <a:pt x="219" y="537"/>
                    <a:pt x="218" y="539"/>
                  </a:cubicBezTo>
                  <a:cubicBezTo>
                    <a:pt x="219" y="539"/>
                    <a:pt x="219" y="539"/>
                    <a:pt x="220" y="540"/>
                  </a:cubicBezTo>
                  <a:cubicBezTo>
                    <a:pt x="218" y="540"/>
                    <a:pt x="216" y="542"/>
                    <a:pt x="216" y="543"/>
                  </a:cubicBezTo>
                  <a:cubicBezTo>
                    <a:pt x="216" y="544"/>
                    <a:pt x="216" y="544"/>
                    <a:pt x="216" y="544"/>
                  </a:cubicBezTo>
                  <a:cubicBezTo>
                    <a:pt x="215" y="544"/>
                    <a:pt x="215" y="544"/>
                    <a:pt x="215" y="543"/>
                  </a:cubicBezTo>
                  <a:cubicBezTo>
                    <a:pt x="214" y="542"/>
                    <a:pt x="212" y="542"/>
                    <a:pt x="211" y="543"/>
                  </a:cubicBezTo>
                  <a:cubicBezTo>
                    <a:pt x="211" y="545"/>
                    <a:pt x="213" y="545"/>
                    <a:pt x="215" y="545"/>
                  </a:cubicBezTo>
                  <a:cubicBezTo>
                    <a:pt x="217" y="545"/>
                    <a:pt x="218" y="546"/>
                    <a:pt x="217" y="548"/>
                  </a:cubicBezTo>
                  <a:cubicBezTo>
                    <a:pt x="216" y="548"/>
                    <a:pt x="216" y="549"/>
                    <a:pt x="217" y="549"/>
                  </a:cubicBezTo>
                  <a:cubicBezTo>
                    <a:pt x="218" y="552"/>
                    <a:pt x="217" y="554"/>
                    <a:pt x="214" y="555"/>
                  </a:cubicBezTo>
                  <a:cubicBezTo>
                    <a:pt x="212" y="556"/>
                    <a:pt x="214" y="556"/>
                    <a:pt x="214" y="557"/>
                  </a:cubicBezTo>
                  <a:cubicBezTo>
                    <a:pt x="213" y="557"/>
                    <a:pt x="213" y="556"/>
                    <a:pt x="212" y="556"/>
                  </a:cubicBezTo>
                  <a:cubicBezTo>
                    <a:pt x="212" y="556"/>
                    <a:pt x="211" y="556"/>
                    <a:pt x="211" y="556"/>
                  </a:cubicBezTo>
                  <a:cubicBezTo>
                    <a:pt x="211" y="557"/>
                    <a:pt x="212" y="557"/>
                    <a:pt x="212" y="557"/>
                  </a:cubicBezTo>
                  <a:cubicBezTo>
                    <a:pt x="212" y="558"/>
                    <a:pt x="214" y="557"/>
                    <a:pt x="213" y="559"/>
                  </a:cubicBezTo>
                  <a:cubicBezTo>
                    <a:pt x="212" y="560"/>
                    <a:pt x="212" y="559"/>
                    <a:pt x="211" y="558"/>
                  </a:cubicBezTo>
                  <a:cubicBezTo>
                    <a:pt x="211" y="559"/>
                    <a:pt x="211" y="559"/>
                    <a:pt x="211" y="559"/>
                  </a:cubicBezTo>
                  <a:cubicBezTo>
                    <a:pt x="213" y="561"/>
                    <a:pt x="212" y="562"/>
                    <a:pt x="210" y="564"/>
                  </a:cubicBezTo>
                  <a:cubicBezTo>
                    <a:pt x="209" y="565"/>
                    <a:pt x="209" y="565"/>
                    <a:pt x="208" y="566"/>
                  </a:cubicBezTo>
                  <a:cubicBezTo>
                    <a:pt x="207" y="567"/>
                    <a:pt x="206" y="567"/>
                    <a:pt x="205" y="566"/>
                  </a:cubicBezTo>
                  <a:cubicBezTo>
                    <a:pt x="205" y="566"/>
                    <a:pt x="206" y="566"/>
                    <a:pt x="206" y="565"/>
                  </a:cubicBezTo>
                  <a:cubicBezTo>
                    <a:pt x="206" y="565"/>
                    <a:pt x="206" y="565"/>
                    <a:pt x="206" y="565"/>
                  </a:cubicBezTo>
                  <a:cubicBezTo>
                    <a:pt x="205" y="565"/>
                    <a:pt x="205" y="565"/>
                    <a:pt x="205" y="564"/>
                  </a:cubicBezTo>
                  <a:cubicBezTo>
                    <a:pt x="205" y="564"/>
                    <a:pt x="204" y="564"/>
                    <a:pt x="204" y="564"/>
                  </a:cubicBezTo>
                  <a:cubicBezTo>
                    <a:pt x="204" y="566"/>
                    <a:pt x="203" y="568"/>
                    <a:pt x="201" y="566"/>
                  </a:cubicBezTo>
                  <a:cubicBezTo>
                    <a:pt x="201" y="567"/>
                    <a:pt x="201" y="567"/>
                    <a:pt x="201" y="567"/>
                  </a:cubicBezTo>
                  <a:cubicBezTo>
                    <a:pt x="201" y="568"/>
                    <a:pt x="201" y="568"/>
                    <a:pt x="201" y="568"/>
                  </a:cubicBezTo>
                  <a:cubicBezTo>
                    <a:pt x="201" y="568"/>
                    <a:pt x="201" y="568"/>
                    <a:pt x="201" y="567"/>
                  </a:cubicBezTo>
                  <a:cubicBezTo>
                    <a:pt x="201" y="567"/>
                    <a:pt x="202" y="567"/>
                    <a:pt x="203" y="568"/>
                  </a:cubicBezTo>
                  <a:cubicBezTo>
                    <a:pt x="203" y="568"/>
                    <a:pt x="203" y="568"/>
                    <a:pt x="203" y="568"/>
                  </a:cubicBezTo>
                  <a:cubicBezTo>
                    <a:pt x="204" y="568"/>
                    <a:pt x="205" y="568"/>
                    <a:pt x="205" y="569"/>
                  </a:cubicBezTo>
                  <a:cubicBezTo>
                    <a:pt x="205" y="569"/>
                    <a:pt x="207" y="569"/>
                    <a:pt x="206" y="570"/>
                  </a:cubicBezTo>
                  <a:cubicBezTo>
                    <a:pt x="206" y="572"/>
                    <a:pt x="205" y="572"/>
                    <a:pt x="204" y="571"/>
                  </a:cubicBezTo>
                  <a:cubicBezTo>
                    <a:pt x="204" y="571"/>
                    <a:pt x="203" y="571"/>
                    <a:pt x="203" y="571"/>
                  </a:cubicBezTo>
                  <a:cubicBezTo>
                    <a:pt x="205" y="572"/>
                    <a:pt x="206" y="574"/>
                    <a:pt x="205" y="576"/>
                  </a:cubicBezTo>
                  <a:cubicBezTo>
                    <a:pt x="207" y="577"/>
                    <a:pt x="205" y="579"/>
                    <a:pt x="207" y="579"/>
                  </a:cubicBezTo>
                  <a:cubicBezTo>
                    <a:pt x="207" y="579"/>
                    <a:pt x="206" y="580"/>
                    <a:pt x="206" y="580"/>
                  </a:cubicBezTo>
                  <a:cubicBezTo>
                    <a:pt x="205" y="581"/>
                    <a:pt x="205" y="581"/>
                    <a:pt x="204" y="581"/>
                  </a:cubicBezTo>
                  <a:cubicBezTo>
                    <a:pt x="204" y="582"/>
                    <a:pt x="205" y="582"/>
                    <a:pt x="205" y="583"/>
                  </a:cubicBezTo>
                  <a:cubicBezTo>
                    <a:pt x="205" y="584"/>
                    <a:pt x="203" y="583"/>
                    <a:pt x="203" y="584"/>
                  </a:cubicBezTo>
                  <a:cubicBezTo>
                    <a:pt x="203" y="584"/>
                    <a:pt x="204" y="584"/>
                    <a:pt x="204" y="584"/>
                  </a:cubicBezTo>
                  <a:cubicBezTo>
                    <a:pt x="205" y="585"/>
                    <a:pt x="205" y="585"/>
                    <a:pt x="204" y="586"/>
                  </a:cubicBezTo>
                  <a:cubicBezTo>
                    <a:pt x="203" y="587"/>
                    <a:pt x="202" y="586"/>
                    <a:pt x="201" y="587"/>
                  </a:cubicBezTo>
                  <a:cubicBezTo>
                    <a:pt x="203" y="588"/>
                    <a:pt x="203" y="588"/>
                    <a:pt x="200" y="590"/>
                  </a:cubicBezTo>
                  <a:cubicBezTo>
                    <a:pt x="201" y="591"/>
                    <a:pt x="203" y="590"/>
                    <a:pt x="203" y="592"/>
                  </a:cubicBezTo>
                  <a:cubicBezTo>
                    <a:pt x="203" y="593"/>
                    <a:pt x="202" y="593"/>
                    <a:pt x="202" y="593"/>
                  </a:cubicBezTo>
                  <a:cubicBezTo>
                    <a:pt x="202" y="594"/>
                    <a:pt x="202" y="594"/>
                    <a:pt x="202" y="595"/>
                  </a:cubicBezTo>
                  <a:cubicBezTo>
                    <a:pt x="201" y="596"/>
                    <a:pt x="202" y="598"/>
                    <a:pt x="200" y="598"/>
                  </a:cubicBezTo>
                  <a:cubicBezTo>
                    <a:pt x="199" y="598"/>
                    <a:pt x="199" y="599"/>
                    <a:pt x="198" y="600"/>
                  </a:cubicBezTo>
                  <a:cubicBezTo>
                    <a:pt x="199" y="600"/>
                    <a:pt x="200" y="599"/>
                    <a:pt x="201" y="601"/>
                  </a:cubicBezTo>
                  <a:cubicBezTo>
                    <a:pt x="201" y="603"/>
                    <a:pt x="201" y="604"/>
                    <a:pt x="200" y="605"/>
                  </a:cubicBezTo>
                  <a:cubicBezTo>
                    <a:pt x="199" y="606"/>
                    <a:pt x="198" y="605"/>
                    <a:pt x="197" y="605"/>
                  </a:cubicBezTo>
                  <a:cubicBezTo>
                    <a:pt x="195" y="608"/>
                    <a:pt x="194" y="607"/>
                    <a:pt x="192" y="606"/>
                  </a:cubicBezTo>
                  <a:cubicBezTo>
                    <a:pt x="191" y="604"/>
                    <a:pt x="188" y="605"/>
                    <a:pt x="188" y="603"/>
                  </a:cubicBezTo>
                  <a:cubicBezTo>
                    <a:pt x="188" y="602"/>
                    <a:pt x="187" y="602"/>
                    <a:pt x="187" y="602"/>
                  </a:cubicBezTo>
                  <a:cubicBezTo>
                    <a:pt x="186" y="602"/>
                    <a:pt x="188" y="601"/>
                    <a:pt x="187" y="601"/>
                  </a:cubicBezTo>
                  <a:cubicBezTo>
                    <a:pt x="186" y="601"/>
                    <a:pt x="186" y="601"/>
                    <a:pt x="186" y="603"/>
                  </a:cubicBezTo>
                  <a:cubicBezTo>
                    <a:pt x="185" y="600"/>
                    <a:pt x="188" y="600"/>
                    <a:pt x="188" y="598"/>
                  </a:cubicBezTo>
                  <a:cubicBezTo>
                    <a:pt x="185" y="597"/>
                    <a:pt x="183" y="597"/>
                    <a:pt x="182" y="593"/>
                  </a:cubicBezTo>
                  <a:cubicBezTo>
                    <a:pt x="182" y="592"/>
                    <a:pt x="181" y="592"/>
                    <a:pt x="180" y="591"/>
                  </a:cubicBezTo>
                  <a:cubicBezTo>
                    <a:pt x="180" y="593"/>
                    <a:pt x="179" y="594"/>
                    <a:pt x="177" y="594"/>
                  </a:cubicBezTo>
                  <a:cubicBezTo>
                    <a:pt x="177" y="593"/>
                    <a:pt x="178" y="593"/>
                    <a:pt x="179" y="592"/>
                  </a:cubicBezTo>
                  <a:cubicBezTo>
                    <a:pt x="179" y="592"/>
                    <a:pt x="179" y="591"/>
                    <a:pt x="179" y="591"/>
                  </a:cubicBezTo>
                  <a:cubicBezTo>
                    <a:pt x="179" y="591"/>
                    <a:pt x="179" y="590"/>
                    <a:pt x="178" y="590"/>
                  </a:cubicBezTo>
                  <a:cubicBezTo>
                    <a:pt x="178" y="590"/>
                    <a:pt x="178" y="591"/>
                    <a:pt x="178" y="591"/>
                  </a:cubicBezTo>
                  <a:cubicBezTo>
                    <a:pt x="177" y="592"/>
                    <a:pt x="176" y="593"/>
                    <a:pt x="175" y="594"/>
                  </a:cubicBezTo>
                  <a:cubicBezTo>
                    <a:pt x="175" y="594"/>
                    <a:pt x="174" y="594"/>
                    <a:pt x="174" y="593"/>
                  </a:cubicBezTo>
                  <a:cubicBezTo>
                    <a:pt x="173" y="593"/>
                    <a:pt x="175" y="593"/>
                    <a:pt x="174" y="592"/>
                  </a:cubicBezTo>
                  <a:cubicBezTo>
                    <a:pt x="173" y="594"/>
                    <a:pt x="170" y="593"/>
                    <a:pt x="169" y="595"/>
                  </a:cubicBezTo>
                  <a:cubicBezTo>
                    <a:pt x="169" y="595"/>
                    <a:pt x="168" y="595"/>
                    <a:pt x="167" y="595"/>
                  </a:cubicBezTo>
                  <a:cubicBezTo>
                    <a:pt x="167" y="595"/>
                    <a:pt x="166" y="594"/>
                    <a:pt x="166" y="594"/>
                  </a:cubicBezTo>
                  <a:cubicBezTo>
                    <a:pt x="166" y="593"/>
                    <a:pt x="167" y="592"/>
                    <a:pt x="168" y="592"/>
                  </a:cubicBezTo>
                  <a:cubicBezTo>
                    <a:pt x="168" y="592"/>
                    <a:pt x="168" y="591"/>
                    <a:pt x="168" y="591"/>
                  </a:cubicBezTo>
                  <a:cubicBezTo>
                    <a:pt x="167" y="591"/>
                    <a:pt x="166" y="591"/>
                    <a:pt x="165" y="591"/>
                  </a:cubicBezTo>
                  <a:cubicBezTo>
                    <a:pt x="165" y="590"/>
                    <a:pt x="165" y="590"/>
                    <a:pt x="164" y="589"/>
                  </a:cubicBezTo>
                  <a:cubicBezTo>
                    <a:pt x="164" y="589"/>
                    <a:pt x="164" y="589"/>
                    <a:pt x="164" y="588"/>
                  </a:cubicBezTo>
                  <a:cubicBezTo>
                    <a:pt x="164" y="588"/>
                    <a:pt x="164" y="588"/>
                    <a:pt x="164" y="587"/>
                  </a:cubicBezTo>
                  <a:cubicBezTo>
                    <a:pt x="164" y="587"/>
                    <a:pt x="163" y="587"/>
                    <a:pt x="162" y="587"/>
                  </a:cubicBezTo>
                  <a:cubicBezTo>
                    <a:pt x="162" y="587"/>
                    <a:pt x="162" y="586"/>
                    <a:pt x="161" y="586"/>
                  </a:cubicBezTo>
                  <a:cubicBezTo>
                    <a:pt x="161" y="585"/>
                    <a:pt x="162" y="585"/>
                    <a:pt x="162" y="585"/>
                  </a:cubicBezTo>
                  <a:cubicBezTo>
                    <a:pt x="161" y="584"/>
                    <a:pt x="160" y="584"/>
                    <a:pt x="159" y="583"/>
                  </a:cubicBezTo>
                  <a:cubicBezTo>
                    <a:pt x="161" y="582"/>
                    <a:pt x="160" y="579"/>
                    <a:pt x="162" y="578"/>
                  </a:cubicBezTo>
                  <a:cubicBezTo>
                    <a:pt x="160" y="578"/>
                    <a:pt x="160" y="580"/>
                    <a:pt x="159" y="581"/>
                  </a:cubicBezTo>
                  <a:cubicBezTo>
                    <a:pt x="159" y="579"/>
                    <a:pt x="159" y="579"/>
                    <a:pt x="162" y="576"/>
                  </a:cubicBezTo>
                  <a:cubicBezTo>
                    <a:pt x="161" y="576"/>
                    <a:pt x="160" y="575"/>
                    <a:pt x="160" y="576"/>
                  </a:cubicBezTo>
                  <a:cubicBezTo>
                    <a:pt x="159" y="577"/>
                    <a:pt x="159" y="577"/>
                    <a:pt x="158" y="576"/>
                  </a:cubicBezTo>
                  <a:cubicBezTo>
                    <a:pt x="158" y="577"/>
                    <a:pt x="158" y="577"/>
                    <a:pt x="157" y="577"/>
                  </a:cubicBezTo>
                  <a:cubicBezTo>
                    <a:pt x="157" y="577"/>
                    <a:pt x="157" y="577"/>
                    <a:pt x="157" y="577"/>
                  </a:cubicBezTo>
                  <a:cubicBezTo>
                    <a:pt x="157" y="576"/>
                    <a:pt x="158" y="576"/>
                    <a:pt x="158" y="576"/>
                  </a:cubicBezTo>
                  <a:cubicBezTo>
                    <a:pt x="158" y="575"/>
                    <a:pt x="160" y="574"/>
                    <a:pt x="158" y="573"/>
                  </a:cubicBezTo>
                  <a:cubicBezTo>
                    <a:pt x="157" y="573"/>
                    <a:pt x="157" y="573"/>
                    <a:pt x="157" y="573"/>
                  </a:cubicBezTo>
                  <a:cubicBezTo>
                    <a:pt x="157" y="574"/>
                    <a:pt x="157" y="574"/>
                    <a:pt x="157" y="574"/>
                  </a:cubicBezTo>
                  <a:cubicBezTo>
                    <a:pt x="157" y="574"/>
                    <a:pt x="158" y="574"/>
                    <a:pt x="158" y="574"/>
                  </a:cubicBezTo>
                  <a:cubicBezTo>
                    <a:pt x="158" y="575"/>
                    <a:pt x="157" y="575"/>
                    <a:pt x="157" y="575"/>
                  </a:cubicBezTo>
                  <a:cubicBezTo>
                    <a:pt x="156" y="574"/>
                    <a:pt x="156" y="574"/>
                    <a:pt x="156" y="573"/>
                  </a:cubicBezTo>
                  <a:cubicBezTo>
                    <a:pt x="155" y="573"/>
                    <a:pt x="155" y="573"/>
                    <a:pt x="155" y="573"/>
                  </a:cubicBezTo>
                  <a:cubicBezTo>
                    <a:pt x="153" y="572"/>
                    <a:pt x="152" y="571"/>
                    <a:pt x="152" y="569"/>
                  </a:cubicBezTo>
                  <a:cubicBezTo>
                    <a:pt x="153" y="567"/>
                    <a:pt x="153" y="565"/>
                    <a:pt x="151" y="563"/>
                  </a:cubicBezTo>
                  <a:cubicBezTo>
                    <a:pt x="151" y="563"/>
                    <a:pt x="149" y="562"/>
                    <a:pt x="150" y="561"/>
                  </a:cubicBezTo>
                  <a:cubicBezTo>
                    <a:pt x="150" y="561"/>
                    <a:pt x="150" y="560"/>
                    <a:pt x="150" y="560"/>
                  </a:cubicBezTo>
                  <a:cubicBezTo>
                    <a:pt x="147" y="561"/>
                    <a:pt x="147" y="559"/>
                    <a:pt x="147" y="558"/>
                  </a:cubicBezTo>
                  <a:cubicBezTo>
                    <a:pt x="147" y="557"/>
                    <a:pt x="147" y="557"/>
                    <a:pt x="147" y="556"/>
                  </a:cubicBezTo>
                  <a:cubicBezTo>
                    <a:pt x="146" y="556"/>
                    <a:pt x="146" y="555"/>
                    <a:pt x="145" y="554"/>
                  </a:cubicBezTo>
                  <a:cubicBezTo>
                    <a:pt x="144" y="553"/>
                    <a:pt x="144" y="552"/>
                    <a:pt x="146" y="551"/>
                  </a:cubicBezTo>
                  <a:cubicBezTo>
                    <a:pt x="146" y="550"/>
                    <a:pt x="145" y="550"/>
                    <a:pt x="145" y="550"/>
                  </a:cubicBezTo>
                  <a:cubicBezTo>
                    <a:pt x="144" y="548"/>
                    <a:pt x="144" y="546"/>
                    <a:pt x="143" y="544"/>
                  </a:cubicBezTo>
                  <a:cubicBezTo>
                    <a:pt x="143" y="544"/>
                    <a:pt x="143" y="544"/>
                    <a:pt x="143" y="544"/>
                  </a:cubicBezTo>
                  <a:cubicBezTo>
                    <a:pt x="141" y="545"/>
                    <a:pt x="140" y="544"/>
                    <a:pt x="140" y="542"/>
                  </a:cubicBezTo>
                  <a:cubicBezTo>
                    <a:pt x="140" y="540"/>
                    <a:pt x="141" y="539"/>
                    <a:pt x="140" y="537"/>
                  </a:cubicBezTo>
                  <a:cubicBezTo>
                    <a:pt x="140" y="536"/>
                    <a:pt x="142" y="535"/>
                    <a:pt x="144" y="534"/>
                  </a:cubicBezTo>
                  <a:cubicBezTo>
                    <a:pt x="144" y="534"/>
                    <a:pt x="144" y="534"/>
                    <a:pt x="144" y="533"/>
                  </a:cubicBezTo>
                  <a:cubicBezTo>
                    <a:pt x="143" y="532"/>
                    <a:pt x="142" y="532"/>
                    <a:pt x="142" y="534"/>
                  </a:cubicBezTo>
                  <a:cubicBezTo>
                    <a:pt x="142" y="535"/>
                    <a:pt x="141" y="535"/>
                    <a:pt x="140" y="535"/>
                  </a:cubicBezTo>
                  <a:cubicBezTo>
                    <a:pt x="139" y="535"/>
                    <a:pt x="139" y="534"/>
                    <a:pt x="140" y="533"/>
                  </a:cubicBezTo>
                  <a:cubicBezTo>
                    <a:pt x="140" y="532"/>
                    <a:pt x="140" y="530"/>
                    <a:pt x="139" y="528"/>
                  </a:cubicBezTo>
                  <a:cubicBezTo>
                    <a:pt x="137" y="527"/>
                    <a:pt x="138" y="526"/>
                    <a:pt x="139" y="525"/>
                  </a:cubicBezTo>
                  <a:cubicBezTo>
                    <a:pt x="137" y="526"/>
                    <a:pt x="137" y="525"/>
                    <a:pt x="136" y="524"/>
                  </a:cubicBezTo>
                  <a:cubicBezTo>
                    <a:pt x="135" y="522"/>
                    <a:pt x="136" y="520"/>
                    <a:pt x="133" y="521"/>
                  </a:cubicBezTo>
                  <a:cubicBezTo>
                    <a:pt x="134" y="519"/>
                    <a:pt x="134" y="517"/>
                    <a:pt x="132" y="517"/>
                  </a:cubicBezTo>
                  <a:cubicBezTo>
                    <a:pt x="131" y="516"/>
                    <a:pt x="133" y="515"/>
                    <a:pt x="132" y="514"/>
                  </a:cubicBezTo>
                  <a:cubicBezTo>
                    <a:pt x="129" y="514"/>
                    <a:pt x="130" y="512"/>
                    <a:pt x="130" y="511"/>
                  </a:cubicBezTo>
                  <a:cubicBezTo>
                    <a:pt x="129" y="509"/>
                    <a:pt x="130" y="507"/>
                    <a:pt x="132" y="507"/>
                  </a:cubicBezTo>
                  <a:cubicBezTo>
                    <a:pt x="132" y="506"/>
                    <a:pt x="131" y="506"/>
                    <a:pt x="132" y="505"/>
                  </a:cubicBezTo>
                  <a:cubicBezTo>
                    <a:pt x="132" y="504"/>
                    <a:pt x="133" y="504"/>
                    <a:pt x="134" y="504"/>
                  </a:cubicBezTo>
                  <a:cubicBezTo>
                    <a:pt x="134" y="505"/>
                    <a:pt x="135" y="504"/>
                    <a:pt x="135" y="504"/>
                  </a:cubicBezTo>
                  <a:cubicBezTo>
                    <a:pt x="135" y="503"/>
                    <a:pt x="134" y="504"/>
                    <a:pt x="134" y="504"/>
                  </a:cubicBezTo>
                  <a:cubicBezTo>
                    <a:pt x="135" y="503"/>
                    <a:pt x="135" y="503"/>
                    <a:pt x="136" y="503"/>
                  </a:cubicBezTo>
                  <a:cubicBezTo>
                    <a:pt x="136" y="503"/>
                    <a:pt x="136" y="503"/>
                    <a:pt x="136" y="502"/>
                  </a:cubicBezTo>
                  <a:cubicBezTo>
                    <a:pt x="136" y="502"/>
                    <a:pt x="135" y="502"/>
                    <a:pt x="135" y="502"/>
                  </a:cubicBezTo>
                  <a:cubicBezTo>
                    <a:pt x="134" y="503"/>
                    <a:pt x="133" y="503"/>
                    <a:pt x="133" y="501"/>
                  </a:cubicBezTo>
                  <a:cubicBezTo>
                    <a:pt x="134" y="501"/>
                    <a:pt x="135" y="502"/>
                    <a:pt x="136" y="501"/>
                  </a:cubicBezTo>
                  <a:cubicBezTo>
                    <a:pt x="135" y="501"/>
                    <a:pt x="133" y="500"/>
                    <a:pt x="132" y="500"/>
                  </a:cubicBezTo>
                  <a:cubicBezTo>
                    <a:pt x="131" y="501"/>
                    <a:pt x="130" y="500"/>
                    <a:pt x="130" y="499"/>
                  </a:cubicBezTo>
                  <a:cubicBezTo>
                    <a:pt x="129" y="498"/>
                    <a:pt x="131" y="498"/>
                    <a:pt x="131" y="497"/>
                  </a:cubicBezTo>
                  <a:cubicBezTo>
                    <a:pt x="130" y="497"/>
                    <a:pt x="129" y="498"/>
                    <a:pt x="129" y="497"/>
                  </a:cubicBezTo>
                  <a:cubicBezTo>
                    <a:pt x="128" y="496"/>
                    <a:pt x="130" y="496"/>
                    <a:pt x="131" y="495"/>
                  </a:cubicBezTo>
                  <a:cubicBezTo>
                    <a:pt x="131" y="495"/>
                    <a:pt x="132" y="495"/>
                    <a:pt x="132" y="495"/>
                  </a:cubicBezTo>
                  <a:cubicBezTo>
                    <a:pt x="131" y="494"/>
                    <a:pt x="129" y="496"/>
                    <a:pt x="128" y="495"/>
                  </a:cubicBezTo>
                  <a:cubicBezTo>
                    <a:pt x="128" y="494"/>
                    <a:pt x="129" y="492"/>
                    <a:pt x="129" y="491"/>
                  </a:cubicBezTo>
                  <a:cubicBezTo>
                    <a:pt x="129" y="490"/>
                    <a:pt x="129" y="488"/>
                    <a:pt x="130" y="487"/>
                  </a:cubicBezTo>
                  <a:cubicBezTo>
                    <a:pt x="130" y="486"/>
                    <a:pt x="129" y="484"/>
                    <a:pt x="131" y="485"/>
                  </a:cubicBezTo>
                  <a:cubicBezTo>
                    <a:pt x="131" y="485"/>
                    <a:pt x="132" y="485"/>
                    <a:pt x="132" y="484"/>
                  </a:cubicBezTo>
                  <a:cubicBezTo>
                    <a:pt x="132" y="482"/>
                    <a:pt x="133" y="481"/>
                    <a:pt x="134" y="479"/>
                  </a:cubicBezTo>
                  <a:cubicBezTo>
                    <a:pt x="133" y="479"/>
                    <a:pt x="132" y="479"/>
                    <a:pt x="133" y="478"/>
                  </a:cubicBezTo>
                  <a:cubicBezTo>
                    <a:pt x="133" y="477"/>
                    <a:pt x="134" y="478"/>
                    <a:pt x="134" y="478"/>
                  </a:cubicBezTo>
                  <a:cubicBezTo>
                    <a:pt x="134" y="478"/>
                    <a:pt x="135" y="478"/>
                    <a:pt x="135" y="479"/>
                  </a:cubicBezTo>
                  <a:cubicBezTo>
                    <a:pt x="136" y="479"/>
                    <a:pt x="137" y="478"/>
                    <a:pt x="138" y="478"/>
                  </a:cubicBezTo>
                  <a:cubicBezTo>
                    <a:pt x="137" y="478"/>
                    <a:pt x="137" y="477"/>
                    <a:pt x="137" y="477"/>
                  </a:cubicBezTo>
                  <a:cubicBezTo>
                    <a:pt x="136" y="478"/>
                    <a:pt x="135" y="477"/>
                    <a:pt x="135" y="476"/>
                  </a:cubicBezTo>
                  <a:cubicBezTo>
                    <a:pt x="135" y="476"/>
                    <a:pt x="134" y="476"/>
                    <a:pt x="134" y="476"/>
                  </a:cubicBezTo>
                  <a:cubicBezTo>
                    <a:pt x="134" y="475"/>
                    <a:pt x="134" y="475"/>
                    <a:pt x="134" y="475"/>
                  </a:cubicBezTo>
                  <a:cubicBezTo>
                    <a:pt x="133" y="474"/>
                    <a:pt x="132" y="474"/>
                    <a:pt x="133" y="473"/>
                  </a:cubicBezTo>
                  <a:cubicBezTo>
                    <a:pt x="134" y="473"/>
                    <a:pt x="135" y="472"/>
                    <a:pt x="135" y="474"/>
                  </a:cubicBezTo>
                  <a:cubicBezTo>
                    <a:pt x="136" y="473"/>
                    <a:pt x="136" y="473"/>
                    <a:pt x="137" y="473"/>
                  </a:cubicBezTo>
                  <a:cubicBezTo>
                    <a:pt x="136" y="472"/>
                    <a:pt x="136" y="471"/>
                    <a:pt x="137" y="471"/>
                  </a:cubicBezTo>
                  <a:cubicBezTo>
                    <a:pt x="138" y="471"/>
                    <a:pt x="138" y="470"/>
                    <a:pt x="138" y="470"/>
                  </a:cubicBezTo>
                  <a:cubicBezTo>
                    <a:pt x="136" y="469"/>
                    <a:pt x="135" y="471"/>
                    <a:pt x="133" y="470"/>
                  </a:cubicBezTo>
                  <a:cubicBezTo>
                    <a:pt x="134" y="469"/>
                    <a:pt x="136" y="470"/>
                    <a:pt x="136" y="469"/>
                  </a:cubicBezTo>
                  <a:cubicBezTo>
                    <a:pt x="137" y="468"/>
                    <a:pt x="138" y="468"/>
                    <a:pt x="139" y="469"/>
                  </a:cubicBezTo>
                  <a:cubicBezTo>
                    <a:pt x="139" y="469"/>
                    <a:pt x="139" y="469"/>
                    <a:pt x="139" y="470"/>
                  </a:cubicBezTo>
                  <a:cubicBezTo>
                    <a:pt x="139" y="470"/>
                    <a:pt x="140" y="470"/>
                    <a:pt x="140" y="470"/>
                  </a:cubicBezTo>
                  <a:cubicBezTo>
                    <a:pt x="141" y="470"/>
                    <a:pt x="142" y="470"/>
                    <a:pt x="142" y="471"/>
                  </a:cubicBezTo>
                  <a:cubicBezTo>
                    <a:pt x="142" y="472"/>
                    <a:pt x="142" y="472"/>
                    <a:pt x="143" y="472"/>
                  </a:cubicBezTo>
                  <a:cubicBezTo>
                    <a:pt x="144" y="472"/>
                    <a:pt x="145" y="471"/>
                    <a:pt x="146" y="471"/>
                  </a:cubicBezTo>
                  <a:cubicBezTo>
                    <a:pt x="147" y="471"/>
                    <a:pt x="148" y="471"/>
                    <a:pt x="148" y="470"/>
                  </a:cubicBezTo>
                  <a:cubicBezTo>
                    <a:pt x="145" y="470"/>
                    <a:pt x="148" y="469"/>
                    <a:pt x="147" y="468"/>
                  </a:cubicBezTo>
                  <a:cubicBezTo>
                    <a:pt x="146" y="468"/>
                    <a:pt x="145" y="468"/>
                    <a:pt x="146" y="467"/>
                  </a:cubicBezTo>
                  <a:cubicBezTo>
                    <a:pt x="147" y="465"/>
                    <a:pt x="147" y="464"/>
                    <a:pt x="147" y="462"/>
                  </a:cubicBezTo>
                  <a:cubicBezTo>
                    <a:pt x="147" y="462"/>
                    <a:pt x="147" y="461"/>
                    <a:pt x="148" y="461"/>
                  </a:cubicBezTo>
                  <a:cubicBezTo>
                    <a:pt x="148" y="461"/>
                    <a:pt x="148" y="461"/>
                    <a:pt x="149" y="461"/>
                  </a:cubicBezTo>
                  <a:cubicBezTo>
                    <a:pt x="150" y="462"/>
                    <a:pt x="151" y="464"/>
                    <a:pt x="152" y="465"/>
                  </a:cubicBezTo>
                  <a:cubicBezTo>
                    <a:pt x="152" y="465"/>
                    <a:pt x="152" y="464"/>
                    <a:pt x="152" y="464"/>
                  </a:cubicBezTo>
                  <a:cubicBezTo>
                    <a:pt x="152" y="463"/>
                    <a:pt x="151" y="463"/>
                    <a:pt x="152" y="462"/>
                  </a:cubicBezTo>
                  <a:cubicBezTo>
                    <a:pt x="152" y="461"/>
                    <a:pt x="151" y="462"/>
                    <a:pt x="151" y="461"/>
                  </a:cubicBezTo>
                  <a:cubicBezTo>
                    <a:pt x="152" y="461"/>
                    <a:pt x="153" y="460"/>
                    <a:pt x="154" y="461"/>
                  </a:cubicBezTo>
                  <a:cubicBezTo>
                    <a:pt x="154" y="461"/>
                    <a:pt x="155" y="461"/>
                    <a:pt x="155" y="460"/>
                  </a:cubicBezTo>
                  <a:cubicBezTo>
                    <a:pt x="155" y="460"/>
                    <a:pt x="156" y="460"/>
                    <a:pt x="155" y="459"/>
                  </a:cubicBezTo>
                  <a:cubicBezTo>
                    <a:pt x="154" y="459"/>
                    <a:pt x="154" y="459"/>
                    <a:pt x="154" y="458"/>
                  </a:cubicBezTo>
                  <a:cubicBezTo>
                    <a:pt x="152" y="459"/>
                    <a:pt x="150" y="459"/>
                    <a:pt x="148" y="460"/>
                  </a:cubicBezTo>
                  <a:cubicBezTo>
                    <a:pt x="148" y="460"/>
                    <a:pt x="147" y="459"/>
                    <a:pt x="147" y="459"/>
                  </a:cubicBezTo>
                  <a:cubicBezTo>
                    <a:pt x="148" y="457"/>
                    <a:pt x="148" y="456"/>
                    <a:pt x="149" y="454"/>
                  </a:cubicBezTo>
                  <a:cubicBezTo>
                    <a:pt x="149" y="454"/>
                    <a:pt x="149" y="454"/>
                    <a:pt x="149" y="453"/>
                  </a:cubicBezTo>
                  <a:cubicBezTo>
                    <a:pt x="148" y="451"/>
                    <a:pt x="149" y="451"/>
                    <a:pt x="151" y="451"/>
                  </a:cubicBezTo>
                  <a:cubicBezTo>
                    <a:pt x="151" y="450"/>
                    <a:pt x="149" y="451"/>
                    <a:pt x="149" y="450"/>
                  </a:cubicBezTo>
                  <a:cubicBezTo>
                    <a:pt x="149" y="448"/>
                    <a:pt x="151" y="448"/>
                    <a:pt x="153" y="448"/>
                  </a:cubicBezTo>
                  <a:cubicBezTo>
                    <a:pt x="153" y="448"/>
                    <a:pt x="153" y="448"/>
                    <a:pt x="153" y="448"/>
                  </a:cubicBezTo>
                  <a:cubicBezTo>
                    <a:pt x="152" y="447"/>
                    <a:pt x="151" y="446"/>
                    <a:pt x="151" y="445"/>
                  </a:cubicBezTo>
                  <a:cubicBezTo>
                    <a:pt x="151" y="445"/>
                    <a:pt x="151" y="444"/>
                    <a:pt x="152" y="444"/>
                  </a:cubicBezTo>
                  <a:cubicBezTo>
                    <a:pt x="151" y="444"/>
                    <a:pt x="150" y="444"/>
                    <a:pt x="150" y="444"/>
                  </a:cubicBezTo>
                  <a:cubicBezTo>
                    <a:pt x="148" y="444"/>
                    <a:pt x="147" y="445"/>
                    <a:pt x="146" y="444"/>
                  </a:cubicBezTo>
                  <a:cubicBezTo>
                    <a:pt x="145" y="444"/>
                    <a:pt x="144" y="444"/>
                    <a:pt x="144" y="443"/>
                  </a:cubicBezTo>
                  <a:cubicBezTo>
                    <a:pt x="144" y="443"/>
                    <a:pt x="144" y="443"/>
                    <a:pt x="144" y="443"/>
                  </a:cubicBezTo>
                  <a:cubicBezTo>
                    <a:pt x="141" y="445"/>
                    <a:pt x="138" y="443"/>
                    <a:pt x="137" y="440"/>
                  </a:cubicBezTo>
                  <a:cubicBezTo>
                    <a:pt x="136" y="439"/>
                    <a:pt x="135" y="438"/>
                    <a:pt x="133" y="437"/>
                  </a:cubicBezTo>
                  <a:cubicBezTo>
                    <a:pt x="133" y="437"/>
                    <a:pt x="133" y="437"/>
                    <a:pt x="132" y="437"/>
                  </a:cubicBezTo>
                  <a:cubicBezTo>
                    <a:pt x="131" y="437"/>
                    <a:pt x="130" y="437"/>
                    <a:pt x="129" y="437"/>
                  </a:cubicBezTo>
                  <a:cubicBezTo>
                    <a:pt x="127" y="436"/>
                    <a:pt x="127" y="435"/>
                    <a:pt x="126" y="434"/>
                  </a:cubicBezTo>
                  <a:cubicBezTo>
                    <a:pt x="126" y="433"/>
                    <a:pt x="126" y="433"/>
                    <a:pt x="126" y="433"/>
                  </a:cubicBezTo>
                  <a:cubicBezTo>
                    <a:pt x="123" y="430"/>
                    <a:pt x="123" y="429"/>
                    <a:pt x="126" y="428"/>
                  </a:cubicBezTo>
                  <a:cubicBezTo>
                    <a:pt x="127" y="427"/>
                    <a:pt x="127" y="427"/>
                    <a:pt x="128" y="427"/>
                  </a:cubicBezTo>
                  <a:cubicBezTo>
                    <a:pt x="129" y="429"/>
                    <a:pt x="132" y="428"/>
                    <a:pt x="134" y="429"/>
                  </a:cubicBezTo>
                  <a:cubicBezTo>
                    <a:pt x="135" y="429"/>
                    <a:pt x="135" y="429"/>
                    <a:pt x="136" y="429"/>
                  </a:cubicBezTo>
                  <a:cubicBezTo>
                    <a:pt x="137" y="429"/>
                    <a:pt x="138" y="431"/>
                    <a:pt x="139" y="432"/>
                  </a:cubicBezTo>
                  <a:cubicBezTo>
                    <a:pt x="140" y="432"/>
                    <a:pt x="140" y="432"/>
                    <a:pt x="141" y="433"/>
                  </a:cubicBezTo>
                  <a:cubicBezTo>
                    <a:pt x="143" y="435"/>
                    <a:pt x="146" y="436"/>
                    <a:pt x="148" y="437"/>
                  </a:cubicBezTo>
                  <a:cubicBezTo>
                    <a:pt x="149" y="437"/>
                    <a:pt x="149" y="437"/>
                    <a:pt x="149" y="437"/>
                  </a:cubicBezTo>
                  <a:cubicBezTo>
                    <a:pt x="151" y="437"/>
                    <a:pt x="149" y="435"/>
                    <a:pt x="150" y="434"/>
                  </a:cubicBezTo>
                  <a:cubicBezTo>
                    <a:pt x="149" y="436"/>
                    <a:pt x="148" y="436"/>
                    <a:pt x="147" y="434"/>
                  </a:cubicBezTo>
                  <a:cubicBezTo>
                    <a:pt x="147" y="434"/>
                    <a:pt x="146" y="434"/>
                    <a:pt x="146" y="433"/>
                  </a:cubicBezTo>
                  <a:cubicBezTo>
                    <a:pt x="146" y="433"/>
                    <a:pt x="146" y="433"/>
                    <a:pt x="146" y="433"/>
                  </a:cubicBezTo>
                  <a:cubicBezTo>
                    <a:pt x="147" y="433"/>
                    <a:pt x="147" y="433"/>
                    <a:pt x="147" y="434"/>
                  </a:cubicBezTo>
                  <a:cubicBezTo>
                    <a:pt x="148" y="433"/>
                    <a:pt x="149" y="434"/>
                    <a:pt x="148" y="433"/>
                  </a:cubicBezTo>
                  <a:cubicBezTo>
                    <a:pt x="147" y="431"/>
                    <a:pt x="149" y="432"/>
                    <a:pt x="149" y="431"/>
                  </a:cubicBezTo>
                  <a:cubicBezTo>
                    <a:pt x="149" y="431"/>
                    <a:pt x="149" y="430"/>
                    <a:pt x="149" y="430"/>
                  </a:cubicBezTo>
                  <a:cubicBezTo>
                    <a:pt x="148" y="430"/>
                    <a:pt x="147" y="431"/>
                    <a:pt x="147" y="429"/>
                  </a:cubicBezTo>
                  <a:cubicBezTo>
                    <a:pt x="148" y="429"/>
                    <a:pt x="149" y="429"/>
                    <a:pt x="150" y="430"/>
                  </a:cubicBezTo>
                  <a:cubicBezTo>
                    <a:pt x="149" y="428"/>
                    <a:pt x="149" y="427"/>
                    <a:pt x="148" y="426"/>
                  </a:cubicBezTo>
                  <a:cubicBezTo>
                    <a:pt x="146" y="427"/>
                    <a:pt x="145" y="426"/>
                    <a:pt x="143" y="425"/>
                  </a:cubicBezTo>
                  <a:cubicBezTo>
                    <a:pt x="143" y="425"/>
                    <a:pt x="142" y="424"/>
                    <a:pt x="141" y="423"/>
                  </a:cubicBezTo>
                  <a:cubicBezTo>
                    <a:pt x="143" y="422"/>
                    <a:pt x="144" y="424"/>
                    <a:pt x="146" y="424"/>
                  </a:cubicBezTo>
                  <a:cubicBezTo>
                    <a:pt x="145" y="423"/>
                    <a:pt x="145" y="422"/>
                    <a:pt x="145" y="422"/>
                  </a:cubicBezTo>
                  <a:cubicBezTo>
                    <a:pt x="144" y="422"/>
                    <a:pt x="143" y="422"/>
                    <a:pt x="143" y="421"/>
                  </a:cubicBezTo>
                  <a:cubicBezTo>
                    <a:pt x="142" y="421"/>
                    <a:pt x="142" y="421"/>
                    <a:pt x="142" y="421"/>
                  </a:cubicBezTo>
                  <a:cubicBezTo>
                    <a:pt x="141" y="422"/>
                    <a:pt x="140" y="422"/>
                    <a:pt x="140" y="422"/>
                  </a:cubicBezTo>
                  <a:cubicBezTo>
                    <a:pt x="139" y="421"/>
                    <a:pt x="140" y="420"/>
                    <a:pt x="140" y="420"/>
                  </a:cubicBezTo>
                  <a:cubicBezTo>
                    <a:pt x="140" y="420"/>
                    <a:pt x="140" y="420"/>
                    <a:pt x="140" y="420"/>
                  </a:cubicBezTo>
                  <a:cubicBezTo>
                    <a:pt x="139" y="420"/>
                    <a:pt x="138" y="420"/>
                    <a:pt x="138" y="421"/>
                  </a:cubicBezTo>
                  <a:cubicBezTo>
                    <a:pt x="137" y="421"/>
                    <a:pt x="137" y="420"/>
                    <a:pt x="137" y="420"/>
                  </a:cubicBezTo>
                  <a:cubicBezTo>
                    <a:pt x="136" y="420"/>
                    <a:pt x="136" y="420"/>
                    <a:pt x="135" y="420"/>
                  </a:cubicBezTo>
                  <a:cubicBezTo>
                    <a:pt x="134" y="420"/>
                    <a:pt x="133" y="420"/>
                    <a:pt x="133" y="418"/>
                  </a:cubicBezTo>
                  <a:cubicBezTo>
                    <a:pt x="133" y="417"/>
                    <a:pt x="134" y="416"/>
                    <a:pt x="135" y="416"/>
                  </a:cubicBezTo>
                  <a:cubicBezTo>
                    <a:pt x="135" y="416"/>
                    <a:pt x="135" y="416"/>
                    <a:pt x="135" y="416"/>
                  </a:cubicBezTo>
                  <a:cubicBezTo>
                    <a:pt x="134" y="415"/>
                    <a:pt x="134" y="415"/>
                    <a:pt x="135" y="414"/>
                  </a:cubicBezTo>
                  <a:cubicBezTo>
                    <a:pt x="136" y="413"/>
                    <a:pt x="137" y="413"/>
                    <a:pt x="138" y="412"/>
                  </a:cubicBezTo>
                  <a:cubicBezTo>
                    <a:pt x="138" y="412"/>
                    <a:pt x="139" y="412"/>
                    <a:pt x="139" y="412"/>
                  </a:cubicBezTo>
                  <a:cubicBezTo>
                    <a:pt x="141" y="412"/>
                    <a:pt x="143" y="411"/>
                    <a:pt x="143" y="409"/>
                  </a:cubicBezTo>
                  <a:cubicBezTo>
                    <a:pt x="143" y="408"/>
                    <a:pt x="143" y="408"/>
                    <a:pt x="142" y="408"/>
                  </a:cubicBezTo>
                  <a:cubicBezTo>
                    <a:pt x="142" y="410"/>
                    <a:pt x="141" y="410"/>
                    <a:pt x="140" y="411"/>
                  </a:cubicBezTo>
                  <a:cubicBezTo>
                    <a:pt x="139" y="411"/>
                    <a:pt x="138" y="411"/>
                    <a:pt x="137" y="410"/>
                  </a:cubicBezTo>
                  <a:cubicBezTo>
                    <a:pt x="136" y="409"/>
                    <a:pt x="136" y="409"/>
                    <a:pt x="136" y="409"/>
                  </a:cubicBezTo>
                  <a:cubicBezTo>
                    <a:pt x="135" y="409"/>
                    <a:pt x="135" y="409"/>
                    <a:pt x="134" y="409"/>
                  </a:cubicBezTo>
                  <a:cubicBezTo>
                    <a:pt x="135" y="409"/>
                    <a:pt x="135" y="409"/>
                    <a:pt x="135" y="410"/>
                  </a:cubicBezTo>
                  <a:cubicBezTo>
                    <a:pt x="135" y="410"/>
                    <a:pt x="135" y="411"/>
                    <a:pt x="135" y="411"/>
                  </a:cubicBezTo>
                  <a:cubicBezTo>
                    <a:pt x="134" y="412"/>
                    <a:pt x="134" y="412"/>
                    <a:pt x="132" y="412"/>
                  </a:cubicBezTo>
                  <a:cubicBezTo>
                    <a:pt x="132" y="412"/>
                    <a:pt x="132" y="411"/>
                    <a:pt x="132" y="411"/>
                  </a:cubicBezTo>
                  <a:cubicBezTo>
                    <a:pt x="131" y="408"/>
                    <a:pt x="133" y="410"/>
                    <a:pt x="133" y="410"/>
                  </a:cubicBezTo>
                  <a:cubicBezTo>
                    <a:pt x="133" y="410"/>
                    <a:pt x="133" y="410"/>
                    <a:pt x="133" y="410"/>
                  </a:cubicBezTo>
                  <a:cubicBezTo>
                    <a:pt x="133" y="409"/>
                    <a:pt x="133" y="409"/>
                    <a:pt x="133" y="409"/>
                  </a:cubicBezTo>
                  <a:cubicBezTo>
                    <a:pt x="132" y="408"/>
                    <a:pt x="133" y="407"/>
                    <a:pt x="134" y="407"/>
                  </a:cubicBezTo>
                  <a:cubicBezTo>
                    <a:pt x="135" y="406"/>
                    <a:pt x="135" y="406"/>
                    <a:pt x="135" y="404"/>
                  </a:cubicBezTo>
                  <a:cubicBezTo>
                    <a:pt x="133" y="404"/>
                    <a:pt x="134" y="407"/>
                    <a:pt x="132" y="407"/>
                  </a:cubicBezTo>
                  <a:cubicBezTo>
                    <a:pt x="132" y="407"/>
                    <a:pt x="132" y="406"/>
                    <a:pt x="131" y="406"/>
                  </a:cubicBezTo>
                  <a:cubicBezTo>
                    <a:pt x="131" y="407"/>
                    <a:pt x="131" y="407"/>
                    <a:pt x="130" y="407"/>
                  </a:cubicBezTo>
                  <a:cubicBezTo>
                    <a:pt x="130" y="408"/>
                    <a:pt x="129" y="408"/>
                    <a:pt x="129" y="409"/>
                  </a:cubicBezTo>
                  <a:cubicBezTo>
                    <a:pt x="130" y="411"/>
                    <a:pt x="128" y="410"/>
                    <a:pt x="127" y="410"/>
                  </a:cubicBezTo>
                  <a:cubicBezTo>
                    <a:pt x="129" y="413"/>
                    <a:pt x="129" y="413"/>
                    <a:pt x="126" y="415"/>
                  </a:cubicBezTo>
                  <a:cubicBezTo>
                    <a:pt x="126" y="415"/>
                    <a:pt x="126" y="415"/>
                    <a:pt x="126" y="415"/>
                  </a:cubicBezTo>
                  <a:cubicBezTo>
                    <a:pt x="126" y="415"/>
                    <a:pt x="126" y="415"/>
                    <a:pt x="125" y="415"/>
                  </a:cubicBezTo>
                  <a:cubicBezTo>
                    <a:pt x="125" y="415"/>
                    <a:pt x="126" y="415"/>
                    <a:pt x="126" y="415"/>
                  </a:cubicBezTo>
                  <a:cubicBezTo>
                    <a:pt x="124" y="416"/>
                    <a:pt x="123" y="417"/>
                    <a:pt x="121" y="415"/>
                  </a:cubicBezTo>
                  <a:cubicBezTo>
                    <a:pt x="121" y="415"/>
                    <a:pt x="121" y="414"/>
                    <a:pt x="120" y="415"/>
                  </a:cubicBezTo>
                  <a:cubicBezTo>
                    <a:pt x="119" y="416"/>
                    <a:pt x="118" y="415"/>
                    <a:pt x="117" y="414"/>
                  </a:cubicBezTo>
                  <a:cubicBezTo>
                    <a:pt x="117" y="413"/>
                    <a:pt x="117" y="411"/>
                    <a:pt x="115" y="409"/>
                  </a:cubicBezTo>
                  <a:cubicBezTo>
                    <a:pt x="115" y="409"/>
                    <a:pt x="115" y="408"/>
                    <a:pt x="116" y="408"/>
                  </a:cubicBezTo>
                  <a:cubicBezTo>
                    <a:pt x="117" y="408"/>
                    <a:pt x="117" y="407"/>
                    <a:pt x="118" y="407"/>
                  </a:cubicBezTo>
                  <a:cubicBezTo>
                    <a:pt x="118" y="406"/>
                    <a:pt x="118" y="406"/>
                    <a:pt x="119" y="405"/>
                  </a:cubicBezTo>
                  <a:cubicBezTo>
                    <a:pt x="120" y="404"/>
                    <a:pt x="121" y="405"/>
                    <a:pt x="122" y="404"/>
                  </a:cubicBezTo>
                  <a:cubicBezTo>
                    <a:pt x="122" y="404"/>
                    <a:pt x="122" y="404"/>
                    <a:pt x="122" y="404"/>
                  </a:cubicBezTo>
                  <a:cubicBezTo>
                    <a:pt x="122" y="404"/>
                    <a:pt x="122" y="403"/>
                    <a:pt x="122" y="403"/>
                  </a:cubicBezTo>
                  <a:cubicBezTo>
                    <a:pt x="121" y="404"/>
                    <a:pt x="120" y="405"/>
                    <a:pt x="119" y="404"/>
                  </a:cubicBezTo>
                  <a:cubicBezTo>
                    <a:pt x="118" y="404"/>
                    <a:pt x="117" y="403"/>
                    <a:pt x="117" y="402"/>
                  </a:cubicBezTo>
                  <a:cubicBezTo>
                    <a:pt x="117" y="401"/>
                    <a:pt x="118" y="400"/>
                    <a:pt x="119" y="400"/>
                  </a:cubicBezTo>
                  <a:cubicBezTo>
                    <a:pt x="120" y="399"/>
                    <a:pt x="121" y="398"/>
                    <a:pt x="121" y="397"/>
                  </a:cubicBezTo>
                  <a:cubicBezTo>
                    <a:pt x="121" y="395"/>
                    <a:pt x="120" y="396"/>
                    <a:pt x="120" y="397"/>
                  </a:cubicBezTo>
                  <a:cubicBezTo>
                    <a:pt x="120" y="397"/>
                    <a:pt x="119" y="398"/>
                    <a:pt x="119" y="398"/>
                  </a:cubicBezTo>
                  <a:cubicBezTo>
                    <a:pt x="118" y="398"/>
                    <a:pt x="118" y="399"/>
                    <a:pt x="117" y="399"/>
                  </a:cubicBezTo>
                  <a:cubicBezTo>
                    <a:pt x="116" y="399"/>
                    <a:pt x="116" y="398"/>
                    <a:pt x="117" y="398"/>
                  </a:cubicBezTo>
                  <a:cubicBezTo>
                    <a:pt x="117" y="397"/>
                    <a:pt x="117" y="396"/>
                    <a:pt x="118" y="396"/>
                  </a:cubicBezTo>
                  <a:cubicBezTo>
                    <a:pt x="119" y="396"/>
                    <a:pt x="119" y="396"/>
                    <a:pt x="119" y="395"/>
                  </a:cubicBezTo>
                  <a:cubicBezTo>
                    <a:pt x="119" y="395"/>
                    <a:pt x="119" y="395"/>
                    <a:pt x="119" y="395"/>
                  </a:cubicBezTo>
                  <a:cubicBezTo>
                    <a:pt x="119" y="395"/>
                    <a:pt x="119" y="394"/>
                    <a:pt x="119" y="394"/>
                  </a:cubicBezTo>
                  <a:cubicBezTo>
                    <a:pt x="119" y="394"/>
                    <a:pt x="119" y="394"/>
                    <a:pt x="118" y="394"/>
                  </a:cubicBezTo>
                  <a:cubicBezTo>
                    <a:pt x="117" y="394"/>
                    <a:pt x="116" y="393"/>
                    <a:pt x="116" y="393"/>
                  </a:cubicBezTo>
                  <a:cubicBezTo>
                    <a:pt x="117" y="392"/>
                    <a:pt x="118" y="391"/>
                    <a:pt x="119" y="390"/>
                  </a:cubicBezTo>
                  <a:cubicBezTo>
                    <a:pt x="119" y="390"/>
                    <a:pt x="119" y="392"/>
                    <a:pt x="120" y="391"/>
                  </a:cubicBezTo>
                  <a:cubicBezTo>
                    <a:pt x="120" y="391"/>
                    <a:pt x="120" y="391"/>
                    <a:pt x="120" y="391"/>
                  </a:cubicBezTo>
                  <a:cubicBezTo>
                    <a:pt x="121" y="391"/>
                    <a:pt x="121" y="391"/>
                    <a:pt x="121" y="391"/>
                  </a:cubicBezTo>
                  <a:cubicBezTo>
                    <a:pt x="121" y="390"/>
                    <a:pt x="121" y="389"/>
                    <a:pt x="122" y="389"/>
                  </a:cubicBezTo>
                  <a:cubicBezTo>
                    <a:pt x="122" y="389"/>
                    <a:pt x="122" y="389"/>
                    <a:pt x="122" y="389"/>
                  </a:cubicBezTo>
                  <a:cubicBezTo>
                    <a:pt x="122" y="389"/>
                    <a:pt x="122" y="389"/>
                    <a:pt x="122" y="388"/>
                  </a:cubicBezTo>
                  <a:cubicBezTo>
                    <a:pt x="121" y="388"/>
                    <a:pt x="121" y="388"/>
                    <a:pt x="121" y="388"/>
                  </a:cubicBezTo>
                  <a:cubicBezTo>
                    <a:pt x="120" y="389"/>
                    <a:pt x="120" y="389"/>
                    <a:pt x="120" y="387"/>
                  </a:cubicBezTo>
                  <a:cubicBezTo>
                    <a:pt x="120" y="386"/>
                    <a:pt x="119" y="387"/>
                    <a:pt x="119" y="388"/>
                  </a:cubicBezTo>
                  <a:cubicBezTo>
                    <a:pt x="118" y="389"/>
                    <a:pt x="118" y="389"/>
                    <a:pt x="117" y="389"/>
                  </a:cubicBezTo>
                  <a:cubicBezTo>
                    <a:pt x="115" y="389"/>
                    <a:pt x="115" y="389"/>
                    <a:pt x="116" y="387"/>
                  </a:cubicBezTo>
                  <a:cubicBezTo>
                    <a:pt x="116" y="387"/>
                    <a:pt x="115" y="386"/>
                    <a:pt x="114" y="387"/>
                  </a:cubicBezTo>
                  <a:cubicBezTo>
                    <a:pt x="114" y="388"/>
                    <a:pt x="113" y="388"/>
                    <a:pt x="113" y="388"/>
                  </a:cubicBezTo>
                  <a:cubicBezTo>
                    <a:pt x="112" y="387"/>
                    <a:pt x="113" y="387"/>
                    <a:pt x="113" y="386"/>
                  </a:cubicBezTo>
                  <a:cubicBezTo>
                    <a:pt x="114" y="386"/>
                    <a:pt x="114" y="385"/>
                    <a:pt x="115" y="384"/>
                  </a:cubicBezTo>
                  <a:cubicBezTo>
                    <a:pt x="116" y="386"/>
                    <a:pt x="117" y="387"/>
                    <a:pt x="118" y="385"/>
                  </a:cubicBezTo>
                  <a:cubicBezTo>
                    <a:pt x="119" y="383"/>
                    <a:pt x="119" y="383"/>
                    <a:pt x="121" y="385"/>
                  </a:cubicBezTo>
                  <a:cubicBezTo>
                    <a:pt x="122" y="385"/>
                    <a:pt x="122" y="385"/>
                    <a:pt x="123" y="384"/>
                  </a:cubicBezTo>
                  <a:cubicBezTo>
                    <a:pt x="123" y="383"/>
                    <a:pt x="123" y="382"/>
                    <a:pt x="123" y="381"/>
                  </a:cubicBezTo>
                  <a:cubicBezTo>
                    <a:pt x="122" y="380"/>
                    <a:pt x="121" y="380"/>
                    <a:pt x="120" y="380"/>
                  </a:cubicBezTo>
                  <a:cubicBezTo>
                    <a:pt x="120" y="381"/>
                    <a:pt x="120" y="383"/>
                    <a:pt x="118" y="381"/>
                  </a:cubicBezTo>
                  <a:cubicBezTo>
                    <a:pt x="117" y="382"/>
                    <a:pt x="117" y="381"/>
                    <a:pt x="116" y="381"/>
                  </a:cubicBezTo>
                  <a:cubicBezTo>
                    <a:pt x="116" y="380"/>
                    <a:pt x="116" y="380"/>
                    <a:pt x="116" y="380"/>
                  </a:cubicBezTo>
                  <a:cubicBezTo>
                    <a:pt x="117" y="379"/>
                    <a:pt x="117" y="379"/>
                    <a:pt x="118" y="380"/>
                  </a:cubicBezTo>
                  <a:cubicBezTo>
                    <a:pt x="119" y="379"/>
                    <a:pt x="117" y="379"/>
                    <a:pt x="117" y="379"/>
                  </a:cubicBezTo>
                  <a:cubicBezTo>
                    <a:pt x="117" y="379"/>
                    <a:pt x="116" y="379"/>
                    <a:pt x="116" y="378"/>
                  </a:cubicBezTo>
                  <a:cubicBezTo>
                    <a:pt x="116" y="377"/>
                    <a:pt x="117" y="378"/>
                    <a:pt x="118" y="377"/>
                  </a:cubicBezTo>
                  <a:cubicBezTo>
                    <a:pt x="118" y="376"/>
                    <a:pt x="119" y="376"/>
                    <a:pt x="120" y="376"/>
                  </a:cubicBezTo>
                  <a:cubicBezTo>
                    <a:pt x="120" y="376"/>
                    <a:pt x="120" y="375"/>
                    <a:pt x="119" y="375"/>
                  </a:cubicBezTo>
                  <a:cubicBezTo>
                    <a:pt x="117" y="374"/>
                    <a:pt x="118" y="373"/>
                    <a:pt x="119" y="372"/>
                  </a:cubicBezTo>
                  <a:cubicBezTo>
                    <a:pt x="120" y="369"/>
                    <a:pt x="118" y="370"/>
                    <a:pt x="117" y="370"/>
                  </a:cubicBezTo>
                  <a:cubicBezTo>
                    <a:pt x="117" y="370"/>
                    <a:pt x="117" y="371"/>
                    <a:pt x="117" y="371"/>
                  </a:cubicBezTo>
                  <a:cubicBezTo>
                    <a:pt x="117" y="371"/>
                    <a:pt x="117" y="372"/>
                    <a:pt x="117" y="372"/>
                  </a:cubicBezTo>
                  <a:cubicBezTo>
                    <a:pt x="117" y="372"/>
                    <a:pt x="118" y="371"/>
                    <a:pt x="118" y="372"/>
                  </a:cubicBezTo>
                  <a:cubicBezTo>
                    <a:pt x="118" y="373"/>
                    <a:pt x="117" y="373"/>
                    <a:pt x="117" y="373"/>
                  </a:cubicBezTo>
                  <a:cubicBezTo>
                    <a:pt x="116" y="374"/>
                    <a:pt x="115" y="374"/>
                    <a:pt x="115" y="373"/>
                  </a:cubicBezTo>
                  <a:cubicBezTo>
                    <a:pt x="115" y="373"/>
                    <a:pt x="115" y="373"/>
                    <a:pt x="114" y="373"/>
                  </a:cubicBezTo>
                  <a:cubicBezTo>
                    <a:pt x="114" y="373"/>
                    <a:pt x="113" y="373"/>
                    <a:pt x="113" y="372"/>
                  </a:cubicBezTo>
                  <a:cubicBezTo>
                    <a:pt x="113" y="371"/>
                    <a:pt x="114" y="371"/>
                    <a:pt x="114" y="371"/>
                  </a:cubicBezTo>
                  <a:cubicBezTo>
                    <a:pt x="115" y="372"/>
                    <a:pt x="115" y="371"/>
                    <a:pt x="116" y="371"/>
                  </a:cubicBezTo>
                  <a:cubicBezTo>
                    <a:pt x="116" y="370"/>
                    <a:pt x="115" y="369"/>
                    <a:pt x="115" y="368"/>
                  </a:cubicBezTo>
                  <a:cubicBezTo>
                    <a:pt x="116" y="368"/>
                    <a:pt x="116" y="369"/>
                    <a:pt x="117" y="369"/>
                  </a:cubicBezTo>
                  <a:cubicBezTo>
                    <a:pt x="118" y="368"/>
                    <a:pt x="116" y="367"/>
                    <a:pt x="116" y="366"/>
                  </a:cubicBezTo>
                  <a:cubicBezTo>
                    <a:pt x="115" y="365"/>
                    <a:pt x="114" y="365"/>
                    <a:pt x="114" y="364"/>
                  </a:cubicBezTo>
                  <a:cubicBezTo>
                    <a:pt x="114" y="363"/>
                    <a:pt x="115" y="362"/>
                    <a:pt x="115" y="361"/>
                  </a:cubicBezTo>
                  <a:cubicBezTo>
                    <a:pt x="117" y="361"/>
                    <a:pt x="117" y="360"/>
                    <a:pt x="116" y="359"/>
                  </a:cubicBezTo>
                  <a:cubicBezTo>
                    <a:pt x="114" y="358"/>
                    <a:pt x="113" y="356"/>
                    <a:pt x="112" y="355"/>
                  </a:cubicBezTo>
                  <a:cubicBezTo>
                    <a:pt x="112" y="354"/>
                    <a:pt x="112" y="353"/>
                    <a:pt x="113" y="352"/>
                  </a:cubicBezTo>
                  <a:cubicBezTo>
                    <a:pt x="113" y="352"/>
                    <a:pt x="114" y="351"/>
                    <a:pt x="112" y="350"/>
                  </a:cubicBezTo>
                  <a:cubicBezTo>
                    <a:pt x="111" y="353"/>
                    <a:pt x="109" y="354"/>
                    <a:pt x="106" y="354"/>
                  </a:cubicBezTo>
                  <a:cubicBezTo>
                    <a:pt x="107" y="353"/>
                    <a:pt x="108" y="352"/>
                    <a:pt x="109" y="352"/>
                  </a:cubicBezTo>
                  <a:cubicBezTo>
                    <a:pt x="111" y="351"/>
                    <a:pt x="112" y="350"/>
                    <a:pt x="110" y="348"/>
                  </a:cubicBezTo>
                  <a:cubicBezTo>
                    <a:pt x="111" y="348"/>
                    <a:pt x="112" y="348"/>
                    <a:pt x="112" y="348"/>
                  </a:cubicBezTo>
                  <a:cubicBezTo>
                    <a:pt x="113" y="348"/>
                    <a:pt x="113" y="347"/>
                    <a:pt x="112" y="346"/>
                  </a:cubicBezTo>
                  <a:cubicBezTo>
                    <a:pt x="112" y="346"/>
                    <a:pt x="112" y="346"/>
                    <a:pt x="112" y="346"/>
                  </a:cubicBezTo>
                  <a:cubicBezTo>
                    <a:pt x="111" y="347"/>
                    <a:pt x="110" y="347"/>
                    <a:pt x="110" y="346"/>
                  </a:cubicBezTo>
                  <a:cubicBezTo>
                    <a:pt x="109" y="345"/>
                    <a:pt x="111" y="346"/>
                    <a:pt x="111" y="345"/>
                  </a:cubicBezTo>
                  <a:cubicBezTo>
                    <a:pt x="110" y="345"/>
                    <a:pt x="109" y="345"/>
                    <a:pt x="108" y="344"/>
                  </a:cubicBezTo>
                  <a:cubicBezTo>
                    <a:pt x="107" y="345"/>
                    <a:pt x="106" y="345"/>
                    <a:pt x="104" y="344"/>
                  </a:cubicBezTo>
                  <a:cubicBezTo>
                    <a:pt x="106" y="344"/>
                    <a:pt x="108" y="343"/>
                    <a:pt x="109" y="343"/>
                  </a:cubicBezTo>
                  <a:cubicBezTo>
                    <a:pt x="110" y="343"/>
                    <a:pt x="111" y="344"/>
                    <a:pt x="112" y="344"/>
                  </a:cubicBezTo>
                  <a:cubicBezTo>
                    <a:pt x="113" y="344"/>
                    <a:pt x="113" y="344"/>
                    <a:pt x="113" y="344"/>
                  </a:cubicBezTo>
                  <a:cubicBezTo>
                    <a:pt x="112" y="343"/>
                    <a:pt x="110" y="343"/>
                    <a:pt x="111" y="341"/>
                  </a:cubicBezTo>
                  <a:cubicBezTo>
                    <a:pt x="110" y="341"/>
                    <a:pt x="109" y="340"/>
                    <a:pt x="108" y="339"/>
                  </a:cubicBezTo>
                  <a:cubicBezTo>
                    <a:pt x="107" y="339"/>
                    <a:pt x="106" y="338"/>
                    <a:pt x="107" y="337"/>
                  </a:cubicBezTo>
                  <a:cubicBezTo>
                    <a:pt x="108" y="337"/>
                    <a:pt x="108" y="336"/>
                    <a:pt x="108" y="335"/>
                  </a:cubicBezTo>
                  <a:cubicBezTo>
                    <a:pt x="107" y="334"/>
                    <a:pt x="106" y="334"/>
                    <a:pt x="106" y="334"/>
                  </a:cubicBezTo>
                  <a:cubicBezTo>
                    <a:pt x="105" y="333"/>
                    <a:pt x="103" y="332"/>
                    <a:pt x="102" y="331"/>
                  </a:cubicBezTo>
                  <a:cubicBezTo>
                    <a:pt x="101" y="330"/>
                    <a:pt x="100" y="330"/>
                    <a:pt x="100" y="329"/>
                  </a:cubicBezTo>
                  <a:cubicBezTo>
                    <a:pt x="101" y="328"/>
                    <a:pt x="102" y="327"/>
                    <a:pt x="99" y="326"/>
                  </a:cubicBezTo>
                  <a:cubicBezTo>
                    <a:pt x="98" y="326"/>
                    <a:pt x="98" y="323"/>
                    <a:pt x="98" y="322"/>
                  </a:cubicBezTo>
                  <a:cubicBezTo>
                    <a:pt x="98" y="322"/>
                    <a:pt x="97" y="322"/>
                    <a:pt x="97" y="322"/>
                  </a:cubicBezTo>
                  <a:cubicBezTo>
                    <a:pt x="96" y="322"/>
                    <a:pt x="97" y="321"/>
                    <a:pt x="97" y="321"/>
                  </a:cubicBezTo>
                  <a:cubicBezTo>
                    <a:pt x="98" y="320"/>
                    <a:pt x="98" y="320"/>
                    <a:pt x="99" y="320"/>
                  </a:cubicBezTo>
                  <a:cubicBezTo>
                    <a:pt x="99" y="320"/>
                    <a:pt x="99" y="320"/>
                    <a:pt x="99" y="320"/>
                  </a:cubicBezTo>
                  <a:cubicBezTo>
                    <a:pt x="99" y="319"/>
                    <a:pt x="99" y="318"/>
                    <a:pt x="100" y="318"/>
                  </a:cubicBezTo>
                  <a:cubicBezTo>
                    <a:pt x="99" y="317"/>
                    <a:pt x="97" y="317"/>
                    <a:pt x="98" y="315"/>
                  </a:cubicBezTo>
                  <a:cubicBezTo>
                    <a:pt x="97" y="315"/>
                    <a:pt x="98" y="310"/>
                    <a:pt x="95" y="313"/>
                  </a:cubicBezTo>
                  <a:cubicBezTo>
                    <a:pt x="94" y="313"/>
                    <a:pt x="92" y="311"/>
                    <a:pt x="93" y="310"/>
                  </a:cubicBezTo>
                  <a:cubicBezTo>
                    <a:pt x="93" y="309"/>
                    <a:pt x="93" y="309"/>
                    <a:pt x="93" y="308"/>
                  </a:cubicBezTo>
                  <a:cubicBezTo>
                    <a:pt x="92" y="308"/>
                    <a:pt x="92" y="308"/>
                    <a:pt x="91" y="308"/>
                  </a:cubicBezTo>
                  <a:cubicBezTo>
                    <a:pt x="90" y="310"/>
                    <a:pt x="90" y="309"/>
                    <a:pt x="89" y="308"/>
                  </a:cubicBezTo>
                  <a:cubicBezTo>
                    <a:pt x="86" y="304"/>
                    <a:pt x="82" y="301"/>
                    <a:pt x="77" y="300"/>
                  </a:cubicBezTo>
                  <a:cubicBezTo>
                    <a:pt x="75" y="299"/>
                    <a:pt x="73" y="299"/>
                    <a:pt x="73" y="297"/>
                  </a:cubicBezTo>
                  <a:cubicBezTo>
                    <a:pt x="73" y="297"/>
                    <a:pt x="72" y="297"/>
                    <a:pt x="72" y="297"/>
                  </a:cubicBezTo>
                  <a:cubicBezTo>
                    <a:pt x="71" y="298"/>
                    <a:pt x="69" y="297"/>
                    <a:pt x="68" y="298"/>
                  </a:cubicBezTo>
                  <a:cubicBezTo>
                    <a:pt x="69" y="295"/>
                    <a:pt x="66" y="296"/>
                    <a:pt x="65" y="295"/>
                  </a:cubicBezTo>
                  <a:cubicBezTo>
                    <a:pt x="63" y="297"/>
                    <a:pt x="63" y="300"/>
                    <a:pt x="60" y="302"/>
                  </a:cubicBezTo>
                  <a:cubicBezTo>
                    <a:pt x="60" y="300"/>
                    <a:pt x="58" y="298"/>
                    <a:pt x="59" y="296"/>
                  </a:cubicBezTo>
                  <a:cubicBezTo>
                    <a:pt x="59" y="296"/>
                    <a:pt x="59" y="295"/>
                    <a:pt x="59" y="295"/>
                  </a:cubicBezTo>
                  <a:cubicBezTo>
                    <a:pt x="58" y="295"/>
                    <a:pt x="58" y="296"/>
                    <a:pt x="58" y="296"/>
                  </a:cubicBezTo>
                  <a:cubicBezTo>
                    <a:pt x="59" y="298"/>
                    <a:pt x="55" y="298"/>
                    <a:pt x="56" y="300"/>
                  </a:cubicBezTo>
                  <a:cubicBezTo>
                    <a:pt x="55" y="300"/>
                    <a:pt x="54" y="300"/>
                    <a:pt x="53" y="300"/>
                  </a:cubicBezTo>
                  <a:cubicBezTo>
                    <a:pt x="52" y="301"/>
                    <a:pt x="51" y="301"/>
                    <a:pt x="52" y="302"/>
                  </a:cubicBezTo>
                  <a:cubicBezTo>
                    <a:pt x="52" y="303"/>
                    <a:pt x="52" y="305"/>
                    <a:pt x="50" y="304"/>
                  </a:cubicBezTo>
                  <a:cubicBezTo>
                    <a:pt x="49" y="304"/>
                    <a:pt x="48" y="303"/>
                    <a:pt x="48" y="301"/>
                  </a:cubicBezTo>
                  <a:cubicBezTo>
                    <a:pt x="48" y="301"/>
                    <a:pt x="49" y="300"/>
                    <a:pt x="49" y="300"/>
                  </a:cubicBezTo>
                  <a:cubicBezTo>
                    <a:pt x="49" y="299"/>
                    <a:pt x="51" y="298"/>
                    <a:pt x="49" y="297"/>
                  </a:cubicBezTo>
                  <a:cubicBezTo>
                    <a:pt x="47" y="297"/>
                    <a:pt x="46" y="297"/>
                    <a:pt x="45" y="299"/>
                  </a:cubicBezTo>
                  <a:cubicBezTo>
                    <a:pt x="45" y="299"/>
                    <a:pt x="45" y="300"/>
                    <a:pt x="45" y="301"/>
                  </a:cubicBezTo>
                  <a:cubicBezTo>
                    <a:pt x="45" y="301"/>
                    <a:pt x="45" y="302"/>
                    <a:pt x="44" y="302"/>
                  </a:cubicBezTo>
                  <a:cubicBezTo>
                    <a:pt x="43" y="302"/>
                    <a:pt x="43" y="301"/>
                    <a:pt x="43" y="301"/>
                  </a:cubicBezTo>
                  <a:cubicBezTo>
                    <a:pt x="42" y="300"/>
                    <a:pt x="43" y="299"/>
                    <a:pt x="42" y="299"/>
                  </a:cubicBezTo>
                  <a:cubicBezTo>
                    <a:pt x="41" y="298"/>
                    <a:pt x="41" y="297"/>
                    <a:pt x="40" y="298"/>
                  </a:cubicBezTo>
                  <a:cubicBezTo>
                    <a:pt x="39" y="299"/>
                    <a:pt x="38" y="300"/>
                    <a:pt x="39" y="301"/>
                  </a:cubicBezTo>
                  <a:cubicBezTo>
                    <a:pt x="41" y="302"/>
                    <a:pt x="40" y="304"/>
                    <a:pt x="43" y="304"/>
                  </a:cubicBezTo>
                  <a:cubicBezTo>
                    <a:pt x="37" y="305"/>
                    <a:pt x="31" y="303"/>
                    <a:pt x="27" y="298"/>
                  </a:cubicBezTo>
                  <a:cubicBezTo>
                    <a:pt x="26" y="297"/>
                    <a:pt x="25" y="296"/>
                    <a:pt x="24" y="296"/>
                  </a:cubicBezTo>
                  <a:cubicBezTo>
                    <a:pt x="22" y="294"/>
                    <a:pt x="22" y="293"/>
                    <a:pt x="25" y="292"/>
                  </a:cubicBezTo>
                  <a:cubicBezTo>
                    <a:pt x="25" y="292"/>
                    <a:pt x="26" y="292"/>
                    <a:pt x="26" y="292"/>
                  </a:cubicBezTo>
                  <a:cubicBezTo>
                    <a:pt x="27" y="289"/>
                    <a:pt x="29" y="288"/>
                    <a:pt x="32" y="288"/>
                  </a:cubicBezTo>
                  <a:cubicBezTo>
                    <a:pt x="33" y="288"/>
                    <a:pt x="34" y="288"/>
                    <a:pt x="33" y="286"/>
                  </a:cubicBezTo>
                  <a:cubicBezTo>
                    <a:pt x="33" y="286"/>
                    <a:pt x="34" y="286"/>
                    <a:pt x="34" y="285"/>
                  </a:cubicBezTo>
                  <a:cubicBezTo>
                    <a:pt x="33" y="285"/>
                    <a:pt x="33" y="285"/>
                    <a:pt x="32" y="285"/>
                  </a:cubicBezTo>
                  <a:cubicBezTo>
                    <a:pt x="29" y="286"/>
                    <a:pt x="26" y="286"/>
                    <a:pt x="23" y="284"/>
                  </a:cubicBezTo>
                  <a:cubicBezTo>
                    <a:pt x="23" y="284"/>
                    <a:pt x="23" y="284"/>
                    <a:pt x="23" y="284"/>
                  </a:cubicBezTo>
                  <a:cubicBezTo>
                    <a:pt x="20" y="283"/>
                    <a:pt x="20" y="282"/>
                    <a:pt x="21" y="280"/>
                  </a:cubicBezTo>
                  <a:cubicBezTo>
                    <a:pt x="21" y="279"/>
                    <a:pt x="21" y="279"/>
                    <a:pt x="21" y="278"/>
                  </a:cubicBezTo>
                  <a:cubicBezTo>
                    <a:pt x="19" y="279"/>
                    <a:pt x="19" y="282"/>
                    <a:pt x="17" y="282"/>
                  </a:cubicBezTo>
                  <a:cubicBezTo>
                    <a:pt x="16" y="282"/>
                    <a:pt x="16" y="282"/>
                    <a:pt x="16" y="281"/>
                  </a:cubicBezTo>
                  <a:cubicBezTo>
                    <a:pt x="15" y="281"/>
                    <a:pt x="15" y="281"/>
                    <a:pt x="15" y="280"/>
                  </a:cubicBezTo>
                  <a:cubicBezTo>
                    <a:pt x="14" y="280"/>
                    <a:pt x="13" y="280"/>
                    <a:pt x="15" y="279"/>
                  </a:cubicBezTo>
                  <a:cubicBezTo>
                    <a:pt x="16" y="278"/>
                    <a:pt x="14" y="278"/>
                    <a:pt x="14" y="278"/>
                  </a:cubicBezTo>
                  <a:cubicBezTo>
                    <a:pt x="14" y="277"/>
                    <a:pt x="14" y="277"/>
                    <a:pt x="13" y="277"/>
                  </a:cubicBezTo>
                  <a:cubicBezTo>
                    <a:pt x="13" y="277"/>
                    <a:pt x="13" y="277"/>
                    <a:pt x="13" y="277"/>
                  </a:cubicBezTo>
                  <a:cubicBezTo>
                    <a:pt x="12" y="276"/>
                    <a:pt x="13" y="274"/>
                    <a:pt x="12" y="273"/>
                  </a:cubicBezTo>
                  <a:cubicBezTo>
                    <a:pt x="12" y="272"/>
                    <a:pt x="13" y="271"/>
                    <a:pt x="14" y="272"/>
                  </a:cubicBezTo>
                  <a:cubicBezTo>
                    <a:pt x="14" y="272"/>
                    <a:pt x="15" y="272"/>
                    <a:pt x="15" y="272"/>
                  </a:cubicBezTo>
                  <a:cubicBezTo>
                    <a:pt x="14" y="270"/>
                    <a:pt x="15" y="270"/>
                    <a:pt x="16" y="270"/>
                  </a:cubicBezTo>
                  <a:cubicBezTo>
                    <a:pt x="16" y="270"/>
                    <a:pt x="17" y="270"/>
                    <a:pt x="17" y="269"/>
                  </a:cubicBezTo>
                  <a:cubicBezTo>
                    <a:pt x="21" y="268"/>
                    <a:pt x="24" y="270"/>
                    <a:pt x="28" y="271"/>
                  </a:cubicBezTo>
                  <a:cubicBezTo>
                    <a:pt x="29" y="271"/>
                    <a:pt x="31" y="271"/>
                    <a:pt x="32" y="271"/>
                  </a:cubicBezTo>
                  <a:cubicBezTo>
                    <a:pt x="32" y="271"/>
                    <a:pt x="32" y="271"/>
                    <a:pt x="33" y="271"/>
                  </a:cubicBezTo>
                  <a:cubicBezTo>
                    <a:pt x="33" y="271"/>
                    <a:pt x="33" y="271"/>
                    <a:pt x="33" y="271"/>
                  </a:cubicBezTo>
                  <a:cubicBezTo>
                    <a:pt x="33" y="270"/>
                    <a:pt x="32" y="270"/>
                    <a:pt x="31" y="270"/>
                  </a:cubicBezTo>
                  <a:cubicBezTo>
                    <a:pt x="30" y="270"/>
                    <a:pt x="28" y="269"/>
                    <a:pt x="27" y="268"/>
                  </a:cubicBezTo>
                  <a:cubicBezTo>
                    <a:pt x="26" y="268"/>
                    <a:pt x="27" y="268"/>
                    <a:pt x="27" y="268"/>
                  </a:cubicBezTo>
                  <a:cubicBezTo>
                    <a:pt x="28" y="267"/>
                    <a:pt x="29" y="265"/>
                    <a:pt x="31" y="265"/>
                  </a:cubicBezTo>
                  <a:cubicBezTo>
                    <a:pt x="32" y="264"/>
                    <a:pt x="34" y="265"/>
                    <a:pt x="36" y="265"/>
                  </a:cubicBezTo>
                  <a:cubicBezTo>
                    <a:pt x="38" y="263"/>
                    <a:pt x="40" y="265"/>
                    <a:pt x="42" y="266"/>
                  </a:cubicBezTo>
                  <a:cubicBezTo>
                    <a:pt x="43" y="266"/>
                    <a:pt x="43" y="268"/>
                    <a:pt x="45" y="268"/>
                  </a:cubicBezTo>
                  <a:cubicBezTo>
                    <a:pt x="45" y="267"/>
                    <a:pt x="45" y="267"/>
                    <a:pt x="44" y="266"/>
                  </a:cubicBezTo>
                  <a:cubicBezTo>
                    <a:pt x="43" y="266"/>
                    <a:pt x="43" y="265"/>
                    <a:pt x="43" y="264"/>
                  </a:cubicBezTo>
                  <a:cubicBezTo>
                    <a:pt x="43" y="263"/>
                    <a:pt x="45" y="263"/>
                    <a:pt x="45" y="263"/>
                  </a:cubicBezTo>
                  <a:cubicBezTo>
                    <a:pt x="46" y="263"/>
                    <a:pt x="46" y="263"/>
                    <a:pt x="47" y="262"/>
                  </a:cubicBezTo>
                  <a:cubicBezTo>
                    <a:pt x="47" y="260"/>
                    <a:pt x="44" y="255"/>
                    <a:pt x="41" y="255"/>
                  </a:cubicBezTo>
                  <a:cubicBezTo>
                    <a:pt x="40" y="255"/>
                    <a:pt x="39" y="255"/>
                    <a:pt x="40" y="257"/>
                  </a:cubicBezTo>
                  <a:cubicBezTo>
                    <a:pt x="39" y="258"/>
                    <a:pt x="38" y="260"/>
                    <a:pt x="36" y="260"/>
                  </a:cubicBezTo>
                  <a:cubicBezTo>
                    <a:pt x="34" y="261"/>
                    <a:pt x="33" y="261"/>
                    <a:pt x="31" y="260"/>
                  </a:cubicBezTo>
                  <a:cubicBezTo>
                    <a:pt x="31" y="259"/>
                    <a:pt x="30" y="258"/>
                    <a:pt x="30" y="257"/>
                  </a:cubicBezTo>
                  <a:cubicBezTo>
                    <a:pt x="30" y="256"/>
                    <a:pt x="29" y="256"/>
                    <a:pt x="28" y="256"/>
                  </a:cubicBezTo>
                  <a:cubicBezTo>
                    <a:pt x="29" y="257"/>
                    <a:pt x="30" y="258"/>
                    <a:pt x="30" y="260"/>
                  </a:cubicBezTo>
                  <a:cubicBezTo>
                    <a:pt x="28" y="262"/>
                    <a:pt x="26" y="263"/>
                    <a:pt x="23" y="261"/>
                  </a:cubicBezTo>
                  <a:cubicBezTo>
                    <a:pt x="22" y="260"/>
                    <a:pt x="21" y="260"/>
                    <a:pt x="20" y="260"/>
                  </a:cubicBezTo>
                  <a:cubicBezTo>
                    <a:pt x="20" y="260"/>
                    <a:pt x="19" y="260"/>
                    <a:pt x="19" y="259"/>
                  </a:cubicBezTo>
                  <a:cubicBezTo>
                    <a:pt x="19" y="258"/>
                    <a:pt x="19" y="258"/>
                    <a:pt x="20" y="258"/>
                  </a:cubicBezTo>
                  <a:cubicBezTo>
                    <a:pt x="21" y="257"/>
                    <a:pt x="21" y="257"/>
                    <a:pt x="22" y="257"/>
                  </a:cubicBezTo>
                  <a:cubicBezTo>
                    <a:pt x="22" y="256"/>
                    <a:pt x="23" y="256"/>
                    <a:pt x="24" y="255"/>
                  </a:cubicBezTo>
                  <a:cubicBezTo>
                    <a:pt x="24" y="255"/>
                    <a:pt x="24" y="254"/>
                    <a:pt x="24" y="254"/>
                  </a:cubicBezTo>
                  <a:cubicBezTo>
                    <a:pt x="22" y="254"/>
                    <a:pt x="21" y="255"/>
                    <a:pt x="19" y="255"/>
                  </a:cubicBezTo>
                  <a:cubicBezTo>
                    <a:pt x="17" y="256"/>
                    <a:pt x="16" y="255"/>
                    <a:pt x="17" y="254"/>
                  </a:cubicBezTo>
                  <a:cubicBezTo>
                    <a:pt x="18" y="252"/>
                    <a:pt x="19" y="251"/>
                    <a:pt x="21" y="250"/>
                  </a:cubicBezTo>
                  <a:cubicBezTo>
                    <a:pt x="21" y="250"/>
                    <a:pt x="21" y="249"/>
                    <a:pt x="20" y="249"/>
                  </a:cubicBezTo>
                  <a:cubicBezTo>
                    <a:pt x="18" y="249"/>
                    <a:pt x="17" y="251"/>
                    <a:pt x="16" y="252"/>
                  </a:cubicBezTo>
                  <a:cubicBezTo>
                    <a:pt x="15" y="252"/>
                    <a:pt x="14" y="252"/>
                    <a:pt x="14" y="253"/>
                  </a:cubicBezTo>
                  <a:cubicBezTo>
                    <a:pt x="13" y="253"/>
                    <a:pt x="12" y="253"/>
                    <a:pt x="11" y="252"/>
                  </a:cubicBezTo>
                  <a:cubicBezTo>
                    <a:pt x="10" y="251"/>
                    <a:pt x="11" y="251"/>
                    <a:pt x="12" y="250"/>
                  </a:cubicBezTo>
                  <a:cubicBezTo>
                    <a:pt x="12" y="250"/>
                    <a:pt x="12" y="249"/>
                    <a:pt x="12" y="249"/>
                  </a:cubicBezTo>
                  <a:cubicBezTo>
                    <a:pt x="12" y="249"/>
                    <a:pt x="12" y="249"/>
                    <a:pt x="11" y="249"/>
                  </a:cubicBezTo>
                  <a:cubicBezTo>
                    <a:pt x="10" y="250"/>
                    <a:pt x="9" y="249"/>
                    <a:pt x="9" y="248"/>
                  </a:cubicBezTo>
                  <a:cubicBezTo>
                    <a:pt x="6" y="248"/>
                    <a:pt x="5" y="247"/>
                    <a:pt x="5" y="244"/>
                  </a:cubicBezTo>
                  <a:cubicBezTo>
                    <a:pt x="5" y="242"/>
                    <a:pt x="3" y="244"/>
                    <a:pt x="2" y="242"/>
                  </a:cubicBezTo>
                  <a:cubicBezTo>
                    <a:pt x="1" y="242"/>
                    <a:pt x="0" y="241"/>
                    <a:pt x="0" y="240"/>
                  </a:cubicBezTo>
                  <a:cubicBezTo>
                    <a:pt x="0" y="237"/>
                    <a:pt x="0" y="235"/>
                    <a:pt x="1" y="233"/>
                  </a:cubicBezTo>
                  <a:cubicBezTo>
                    <a:pt x="1" y="231"/>
                    <a:pt x="2" y="230"/>
                    <a:pt x="2" y="228"/>
                  </a:cubicBezTo>
                  <a:cubicBezTo>
                    <a:pt x="4" y="227"/>
                    <a:pt x="6" y="227"/>
                    <a:pt x="7" y="227"/>
                  </a:cubicBezTo>
                  <a:cubicBezTo>
                    <a:pt x="8" y="226"/>
                    <a:pt x="9" y="226"/>
                    <a:pt x="10" y="225"/>
                  </a:cubicBezTo>
                  <a:cubicBezTo>
                    <a:pt x="11" y="224"/>
                    <a:pt x="12" y="224"/>
                    <a:pt x="13" y="224"/>
                  </a:cubicBezTo>
                  <a:cubicBezTo>
                    <a:pt x="14" y="224"/>
                    <a:pt x="15" y="224"/>
                    <a:pt x="15" y="224"/>
                  </a:cubicBezTo>
                  <a:cubicBezTo>
                    <a:pt x="16" y="221"/>
                    <a:pt x="19" y="221"/>
                    <a:pt x="21" y="219"/>
                  </a:cubicBezTo>
                  <a:cubicBezTo>
                    <a:pt x="21" y="219"/>
                    <a:pt x="22" y="218"/>
                    <a:pt x="22" y="218"/>
                  </a:cubicBezTo>
                  <a:cubicBezTo>
                    <a:pt x="24" y="219"/>
                    <a:pt x="26" y="217"/>
                    <a:pt x="27" y="216"/>
                  </a:cubicBezTo>
                  <a:cubicBezTo>
                    <a:pt x="28" y="216"/>
                    <a:pt x="28" y="215"/>
                    <a:pt x="27" y="215"/>
                  </a:cubicBezTo>
                  <a:cubicBezTo>
                    <a:pt x="26" y="214"/>
                    <a:pt x="26" y="214"/>
                    <a:pt x="27" y="213"/>
                  </a:cubicBezTo>
                  <a:cubicBezTo>
                    <a:pt x="29" y="211"/>
                    <a:pt x="31" y="209"/>
                    <a:pt x="34" y="209"/>
                  </a:cubicBezTo>
                  <a:cubicBezTo>
                    <a:pt x="35" y="209"/>
                    <a:pt x="36" y="208"/>
                    <a:pt x="37" y="208"/>
                  </a:cubicBezTo>
                  <a:cubicBezTo>
                    <a:pt x="39" y="206"/>
                    <a:pt x="42" y="205"/>
                    <a:pt x="44" y="207"/>
                  </a:cubicBezTo>
                  <a:cubicBezTo>
                    <a:pt x="45" y="207"/>
                    <a:pt x="45" y="208"/>
                    <a:pt x="46" y="208"/>
                  </a:cubicBezTo>
                  <a:cubicBezTo>
                    <a:pt x="47" y="207"/>
                    <a:pt x="48" y="206"/>
                    <a:pt x="48" y="205"/>
                  </a:cubicBezTo>
                  <a:cubicBezTo>
                    <a:pt x="51" y="201"/>
                    <a:pt x="53" y="197"/>
                    <a:pt x="55" y="193"/>
                  </a:cubicBezTo>
                  <a:cubicBezTo>
                    <a:pt x="55" y="192"/>
                    <a:pt x="55" y="190"/>
                    <a:pt x="55" y="189"/>
                  </a:cubicBezTo>
                  <a:cubicBezTo>
                    <a:pt x="54" y="187"/>
                    <a:pt x="55" y="185"/>
                    <a:pt x="54" y="184"/>
                  </a:cubicBezTo>
                  <a:cubicBezTo>
                    <a:pt x="53" y="181"/>
                    <a:pt x="54" y="178"/>
                    <a:pt x="54" y="176"/>
                  </a:cubicBezTo>
                  <a:cubicBezTo>
                    <a:pt x="54" y="175"/>
                    <a:pt x="54" y="175"/>
                    <a:pt x="54" y="175"/>
                  </a:cubicBezTo>
                  <a:cubicBezTo>
                    <a:pt x="54" y="174"/>
                    <a:pt x="56" y="175"/>
                    <a:pt x="57" y="174"/>
                  </a:cubicBezTo>
                  <a:cubicBezTo>
                    <a:pt x="58" y="173"/>
                    <a:pt x="60" y="173"/>
                    <a:pt x="60" y="171"/>
                  </a:cubicBezTo>
                  <a:cubicBezTo>
                    <a:pt x="61" y="170"/>
                    <a:pt x="61" y="170"/>
                    <a:pt x="62" y="170"/>
                  </a:cubicBezTo>
                  <a:cubicBezTo>
                    <a:pt x="61" y="169"/>
                    <a:pt x="60" y="169"/>
                    <a:pt x="60" y="167"/>
                  </a:cubicBezTo>
                  <a:cubicBezTo>
                    <a:pt x="60" y="167"/>
                    <a:pt x="60" y="167"/>
                    <a:pt x="60" y="167"/>
                  </a:cubicBezTo>
                  <a:cubicBezTo>
                    <a:pt x="60" y="167"/>
                    <a:pt x="60" y="167"/>
                    <a:pt x="60" y="167"/>
                  </a:cubicBezTo>
                  <a:cubicBezTo>
                    <a:pt x="60" y="167"/>
                    <a:pt x="60" y="167"/>
                    <a:pt x="59" y="167"/>
                  </a:cubicBezTo>
                  <a:cubicBezTo>
                    <a:pt x="60" y="169"/>
                    <a:pt x="59" y="171"/>
                    <a:pt x="58" y="172"/>
                  </a:cubicBezTo>
                  <a:cubicBezTo>
                    <a:pt x="57" y="173"/>
                    <a:pt x="55" y="173"/>
                    <a:pt x="53" y="172"/>
                  </a:cubicBezTo>
                  <a:cubicBezTo>
                    <a:pt x="52" y="171"/>
                    <a:pt x="52" y="172"/>
                    <a:pt x="51" y="173"/>
                  </a:cubicBezTo>
                  <a:cubicBezTo>
                    <a:pt x="50" y="174"/>
                    <a:pt x="48" y="175"/>
                    <a:pt x="47" y="174"/>
                  </a:cubicBezTo>
                  <a:cubicBezTo>
                    <a:pt x="46" y="173"/>
                    <a:pt x="46" y="171"/>
                    <a:pt x="45" y="171"/>
                  </a:cubicBezTo>
                  <a:cubicBezTo>
                    <a:pt x="44" y="171"/>
                    <a:pt x="43" y="172"/>
                    <a:pt x="42" y="172"/>
                  </a:cubicBezTo>
                  <a:cubicBezTo>
                    <a:pt x="40" y="172"/>
                    <a:pt x="39" y="171"/>
                    <a:pt x="40" y="170"/>
                  </a:cubicBezTo>
                  <a:cubicBezTo>
                    <a:pt x="40" y="169"/>
                    <a:pt x="39" y="169"/>
                    <a:pt x="39" y="168"/>
                  </a:cubicBezTo>
                  <a:cubicBezTo>
                    <a:pt x="36" y="166"/>
                    <a:pt x="37" y="162"/>
                    <a:pt x="39" y="159"/>
                  </a:cubicBezTo>
                  <a:cubicBezTo>
                    <a:pt x="41" y="158"/>
                    <a:pt x="43" y="156"/>
                    <a:pt x="42" y="153"/>
                  </a:cubicBezTo>
                  <a:cubicBezTo>
                    <a:pt x="44" y="152"/>
                    <a:pt x="46" y="150"/>
                    <a:pt x="48" y="148"/>
                  </a:cubicBezTo>
                  <a:cubicBezTo>
                    <a:pt x="48" y="148"/>
                    <a:pt x="49" y="148"/>
                    <a:pt x="50" y="149"/>
                  </a:cubicBezTo>
                  <a:cubicBezTo>
                    <a:pt x="48" y="146"/>
                    <a:pt x="48" y="146"/>
                    <a:pt x="51" y="145"/>
                  </a:cubicBezTo>
                  <a:cubicBezTo>
                    <a:pt x="52" y="145"/>
                    <a:pt x="52" y="144"/>
                    <a:pt x="52" y="144"/>
                  </a:cubicBezTo>
                  <a:cubicBezTo>
                    <a:pt x="53" y="142"/>
                    <a:pt x="53" y="141"/>
                    <a:pt x="53" y="139"/>
                  </a:cubicBezTo>
                  <a:cubicBezTo>
                    <a:pt x="53" y="138"/>
                    <a:pt x="55" y="138"/>
                    <a:pt x="54" y="137"/>
                  </a:cubicBezTo>
                  <a:cubicBezTo>
                    <a:pt x="54" y="135"/>
                    <a:pt x="55" y="134"/>
                    <a:pt x="56" y="134"/>
                  </a:cubicBezTo>
                  <a:cubicBezTo>
                    <a:pt x="57" y="134"/>
                    <a:pt x="57" y="134"/>
                    <a:pt x="57" y="134"/>
                  </a:cubicBezTo>
                  <a:cubicBezTo>
                    <a:pt x="58" y="133"/>
                    <a:pt x="59" y="132"/>
                    <a:pt x="59" y="131"/>
                  </a:cubicBezTo>
                  <a:cubicBezTo>
                    <a:pt x="59" y="130"/>
                    <a:pt x="60" y="129"/>
                    <a:pt x="61" y="129"/>
                  </a:cubicBezTo>
                  <a:cubicBezTo>
                    <a:pt x="61" y="129"/>
                    <a:pt x="61" y="130"/>
                    <a:pt x="61" y="131"/>
                  </a:cubicBezTo>
                  <a:cubicBezTo>
                    <a:pt x="62" y="133"/>
                    <a:pt x="62" y="136"/>
                    <a:pt x="63" y="138"/>
                  </a:cubicBezTo>
                  <a:cubicBezTo>
                    <a:pt x="64" y="138"/>
                    <a:pt x="64" y="139"/>
                    <a:pt x="64" y="139"/>
                  </a:cubicBezTo>
                  <a:cubicBezTo>
                    <a:pt x="65" y="139"/>
                    <a:pt x="65" y="139"/>
                    <a:pt x="65" y="139"/>
                  </a:cubicBezTo>
                  <a:cubicBezTo>
                    <a:pt x="64" y="138"/>
                    <a:pt x="64" y="137"/>
                    <a:pt x="64" y="136"/>
                  </a:cubicBezTo>
                  <a:cubicBezTo>
                    <a:pt x="63" y="135"/>
                    <a:pt x="63" y="133"/>
                    <a:pt x="62" y="131"/>
                  </a:cubicBezTo>
                  <a:cubicBezTo>
                    <a:pt x="62" y="131"/>
                    <a:pt x="62" y="131"/>
                    <a:pt x="62" y="131"/>
                  </a:cubicBezTo>
                  <a:cubicBezTo>
                    <a:pt x="62" y="131"/>
                    <a:pt x="62" y="131"/>
                    <a:pt x="62" y="131"/>
                  </a:cubicBezTo>
                  <a:cubicBezTo>
                    <a:pt x="61" y="128"/>
                    <a:pt x="62" y="127"/>
                    <a:pt x="64" y="125"/>
                  </a:cubicBezTo>
                  <a:cubicBezTo>
                    <a:pt x="65" y="124"/>
                    <a:pt x="66" y="126"/>
                    <a:pt x="66" y="127"/>
                  </a:cubicBezTo>
                  <a:cubicBezTo>
                    <a:pt x="67" y="127"/>
                    <a:pt x="67" y="127"/>
                    <a:pt x="67" y="127"/>
                  </a:cubicBezTo>
                  <a:cubicBezTo>
                    <a:pt x="67" y="127"/>
                    <a:pt x="68" y="127"/>
                    <a:pt x="68" y="127"/>
                  </a:cubicBezTo>
                  <a:cubicBezTo>
                    <a:pt x="70" y="127"/>
                    <a:pt x="71" y="128"/>
                    <a:pt x="71" y="130"/>
                  </a:cubicBezTo>
                  <a:cubicBezTo>
                    <a:pt x="71" y="130"/>
                    <a:pt x="71" y="130"/>
                    <a:pt x="71" y="130"/>
                  </a:cubicBezTo>
                  <a:cubicBezTo>
                    <a:pt x="72" y="130"/>
                    <a:pt x="72" y="130"/>
                    <a:pt x="73" y="130"/>
                  </a:cubicBezTo>
                  <a:cubicBezTo>
                    <a:pt x="74" y="133"/>
                    <a:pt x="76" y="136"/>
                    <a:pt x="76" y="139"/>
                  </a:cubicBezTo>
                  <a:cubicBezTo>
                    <a:pt x="78" y="139"/>
                    <a:pt x="79" y="138"/>
                    <a:pt x="81" y="138"/>
                  </a:cubicBezTo>
                  <a:cubicBezTo>
                    <a:pt x="83" y="138"/>
                    <a:pt x="83" y="136"/>
                    <a:pt x="82" y="135"/>
                  </a:cubicBezTo>
                  <a:cubicBezTo>
                    <a:pt x="82" y="134"/>
                    <a:pt x="82" y="134"/>
                    <a:pt x="81" y="133"/>
                  </a:cubicBezTo>
                  <a:cubicBezTo>
                    <a:pt x="80" y="131"/>
                    <a:pt x="79" y="130"/>
                    <a:pt x="78" y="128"/>
                  </a:cubicBezTo>
                  <a:cubicBezTo>
                    <a:pt x="78" y="127"/>
                    <a:pt x="77" y="126"/>
                    <a:pt x="77" y="125"/>
                  </a:cubicBezTo>
                  <a:cubicBezTo>
                    <a:pt x="76" y="123"/>
                    <a:pt x="76" y="122"/>
                    <a:pt x="76" y="120"/>
                  </a:cubicBezTo>
                  <a:cubicBezTo>
                    <a:pt x="74" y="119"/>
                    <a:pt x="75" y="118"/>
                    <a:pt x="76" y="117"/>
                  </a:cubicBezTo>
                  <a:cubicBezTo>
                    <a:pt x="77" y="115"/>
                    <a:pt x="78" y="114"/>
                    <a:pt x="79" y="111"/>
                  </a:cubicBezTo>
                  <a:cubicBezTo>
                    <a:pt x="76" y="111"/>
                    <a:pt x="77" y="109"/>
                    <a:pt x="76" y="107"/>
                  </a:cubicBezTo>
                  <a:cubicBezTo>
                    <a:pt x="75" y="105"/>
                    <a:pt x="73" y="102"/>
                    <a:pt x="75" y="99"/>
                  </a:cubicBezTo>
                  <a:cubicBezTo>
                    <a:pt x="76" y="97"/>
                    <a:pt x="77" y="96"/>
                    <a:pt x="79" y="95"/>
                  </a:cubicBezTo>
                  <a:cubicBezTo>
                    <a:pt x="81" y="93"/>
                    <a:pt x="83" y="93"/>
                    <a:pt x="85" y="94"/>
                  </a:cubicBezTo>
                  <a:cubicBezTo>
                    <a:pt x="86" y="94"/>
                    <a:pt x="87" y="95"/>
                    <a:pt x="88" y="95"/>
                  </a:cubicBezTo>
                  <a:cubicBezTo>
                    <a:pt x="90" y="96"/>
                    <a:pt x="91" y="99"/>
                    <a:pt x="91" y="100"/>
                  </a:cubicBezTo>
                  <a:cubicBezTo>
                    <a:pt x="91" y="104"/>
                    <a:pt x="93" y="106"/>
                    <a:pt x="96" y="108"/>
                  </a:cubicBezTo>
                  <a:cubicBezTo>
                    <a:pt x="96" y="108"/>
                    <a:pt x="97" y="108"/>
                    <a:pt x="97" y="108"/>
                  </a:cubicBezTo>
                  <a:cubicBezTo>
                    <a:pt x="99" y="109"/>
                    <a:pt x="99" y="112"/>
                    <a:pt x="101" y="113"/>
                  </a:cubicBezTo>
                  <a:cubicBezTo>
                    <a:pt x="101" y="115"/>
                    <a:pt x="101" y="117"/>
                    <a:pt x="103" y="117"/>
                  </a:cubicBezTo>
                  <a:cubicBezTo>
                    <a:pt x="104" y="117"/>
                    <a:pt x="104" y="119"/>
                    <a:pt x="106" y="119"/>
                  </a:cubicBezTo>
                  <a:cubicBezTo>
                    <a:pt x="106" y="119"/>
                    <a:pt x="105" y="118"/>
                    <a:pt x="105" y="118"/>
                  </a:cubicBezTo>
                  <a:cubicBezTo>
                    <a:pt x="103" y="116"/>
                    <a:pt x="101" y="115"/>
                    <a:pt x="101" y="111"/>
                  </a:cubicBezTo>
                  <a:cubicBezTo>
                    <a:pt x="100" y="111"/>
                    <a:pt x="100" y="109"/>
                    <a:pt x="99" y="108"/>
                  </a:cubicBezTo>
                  <a:cubicBezTo>
                    <a:pt x="98" y="107"/>
                    <a:pt x="98" y="105"/>
                    <a:pt x="96" y="105"/>
                  </a:cubicBezTo>
                  <a:cubicBezTo>
                    <a:pt x="95" y="105"/>
                    <a:pt x="95" y="105"/>
                    <a:pt x="95" y="104"/>
                  </a:cubicBezTo>
                  <a:cubicBezTo>
                    <a:pt x="94" y="101"/>
                    <a:pt x="93" y="99"/>
                    <a:pt x="92" y="96"/>
                  </a:cubicBezTo>
                  <a:cubicBezTo>
                    <a:pt x="92" y="94"/>
                    <a:pt x="90" y="93"/>
                    <a:pt x="88" y="92"/>
                  </a:cubicBezTo>
                  <a:cubicBezTo>
                    <a:pt x="87" y="91"/>
                    <a:pt x="86" y="91"/>
                    <a:pt x="86" y="89"/>
                  </a:cubicBezTo>
                  <a:cubicBezTo>
                    <a:pt x="86" y="88"/>
                    <a:pt x="87" y="87"/>
                    <a:pt x="88" y="86"/>
                  </a:cubicBezTo>
                  <a:cubicBezTo>
                    <a:pt x="91" y="84"/>
                    <a:pt x="93" y="83"/>
                    <a:pt x="96" y="82"/>
                  </a:cubicBezTo>
                  <a:cubicBezTo>
                    <a:pt x="97" y="81"/>
                    <a:pt x="98" y="81"/>
                    <a:pt x="99" y="81"/>
                  </a:cubicBezTo>
                  <a:cubicBezTo>
                    <a:pt x="101" y="80"/>
                    <a:pt x="103" y="80"/>
                    <a:pt x="105" y="79"/>
                  </a:cubicBezTo>
                  <a:cubicBezTo>
                    <a:pt x="105" y="78"/>
                    <a:pt x="107" y="79"/>
                    <a:pt x="106" y="80"/>
                  </a:cubicBezTo>
                  <a:cubicBezTo>
                    <a:pt x="106" y="81"/>
                    <a:pt x="106" y="82"/>
                    <a:pt x="107" y="82"/>
                  </a:cubicBezTo>
                  <a:cubicBezTo>
                    <a:pt x="107" y="80"/>
                    <a:pt x="108" y="79"/>
                    <a:pt x="108" y="78"/>
                  </a:cubicBezTo>
                  <a:cubicBezTo>
                    <a:pt x="108" y="77"/>
                    <a:pt x="109" y="77"/>
                    <a:pt x="109" y="77"/>
                  </a:cubicBezTo>
                  <a:cubicBezTo>
                    <a:pt x="110" y="77"/>
                    <a:pt x="112" y="78"/>
                    <a:pt x="113" y="78"/>
                  </a:cubicBezTo>
                  <a:cubicBezTo>
                    <a:pt x="114" y="78"/>
                    <a:pt x="113" y="80"/>
                    <a:pt x="113" y="81"/>
                  </a:cubicBezTo>
                  <a:cubicBezTo>
                    <a:pt x="114" y="81"/>
                    <a:pt x="114" y="81"/>
                    <a:pt x="115" y="81"/>
                  </a:cubicBezTo>
                  <a:cubicBezTo>
                    <a:pt x="115" y="81"/>
                    <a:pt x="115" y="80"/>
                    <a:pt x="115" y="80"/>
                  </a:cubicBezTo>
                  <a:cubicBezTo>
                    <a:pt x="114" y="80"/>
                    <a:pt x="114" y="80"/>
                    <a:pt x="114" y="79"/>
                  </a:cubicBezTo>
                  <a:cubicBezTo>
                    <a:pt x="115" y="78"/>
                    <a:pt x="114" y="77"/>
                    <a:pt x="113" y="76"/>
                  </a:cubicBezTo>
                  <a:cubicBezTo>
                    <a:pt x="118" y="71"/>
                    <a:pt x="120" y="71"/>
                    <a:pt x="122" y="77"/>
                  </a:cubicBezTo>
                  <a:cubicBezTo>
                    <a:pt x="122" y="77"/>
                    <a:pt x="123" y="78"/>
                    <a:pt x="123" y="79"/>
                  </a:cubicBezTo>
                  <a:cubicBezTo>
                    <a:pt x="124" y="82"/>
                    <a:pt x="125" y="85"/>
                    <a:pt x="124" y="89"/>
                  </a:cubicBezTo>
                  <a:cubicBezTo>
                    <a:pt x="124" y="91"/>
                    <a:pt x="124" y="94"/>
                    <a:pt x="124" y="96"/>
                  </a:cubicBezTo>
                  <a:cubicBezTo>
                    <a:pt x="124" y="97"/>
                    <a:pt x="125" y="98"/>
                    <a:pt x="124" y="99"/>
                  </a:cubicBezTo>
                  <a:cubicBezTo>
                    <a:pt x="123" y="101"/>
                    <a:pt x="123" y="103"/>
                    <a:pt x="122" y="105"/>
                  </a:cubicBezTo>
                  <a:cubicBezTo>
                    <a:pt x="122" y="105"/>
                    <a:pt x="123" y="106"/>
                    <a:pt x="123" y="106"/>
                  </a:cubicBezTo>
                  <a:cubicBezTo>
                    <a:pt x="123" y="106"/>
                    <a:pt x="124" y="107"/>
                    <a:pt x="124" y="106"/>
                  </a:cubicBezTo>
                  <a:cubicBezTo>
                    <a:pt x="125" y="104"/>
                    <a:pt x="126" y="103"/>
                    <a:pt x="127" y="101"/>
                  </a:cubicBezTo>
                  <a:cubicBezTo>
                    <a:pt x="129" y="98"/>
                    <a:pt x="129" y="95"/>
                    <a:pt x="129" y="92"/>
                  </a:cubicBezTo>
                  <a:cubicBezTo>
                    <a:pt x="129" y="91"/>
                    <a:pt x="129" y="90"/>
                    <a:pt x="129" y="90"/>
                  </a:cubicBezTo>
                  <a:cubicBezTo>
                    <a:pt x="130" y="89"/>
                    <a:pt x="130" y="90"/>
                    <a:pt x="131" y="91"/>
                  </a:cubicBezTo>
                  <a:cubicBezTo>
                    <a:pt x="132" y="92"/>
                    <a:pt x="134" y="93"/>
                    <a:pt x="135" y="95"/>
                  </a:cubicBezTo>
                  <a:cubicBezTo>
                    <a:pt x="135" y="95"/>
                    <a:pt x="136" y="95"/>
                    <a:pt x="136" y="96"/>
                  </a:cubicBezTo>
                  <a:cubicBezTo>
                    <a:pt x="139" y="96"/>
                    <a:pt x="140" y="99"/>
                    <a:pt x="141" y="100"/>
                  </a:cubicBezTo>
                  <a:cubicBezTo>
                    <a:pt x="143" y="103"/>
                    <a:pt x="144" y="105"/>
                    <a:pt x="146" y="107"/>
                  </a:cubicBezTo>
                  <a:cubicBezTo>
                    <a:pt x="146" y="108"/>
                    <a:pt x="146" y="109"/>
                    <a:pt x="146" y="110"/>
                  </a:cubicBezTo>
                  <a:cubicBezTo>
                    <a:pt x="146" y="111"/>
                    <a:pt x="147" y="111"/>
                    <a:pt x="148" y="112"/>
                  </a:cubicBezTo>
                  <a:cubicBezTo>
                    <a:pt x="148" y="112"/>
                    <a:pt x="149" y="112"/>
                    <a:pt x="149" y="112"/>
                  </a:cubicBezTo>
                  <a:cubicBezTo>
                    <a:pt x="149" y="112"/>
                    <a:pt x="150" y="111"/>
                    <a:pt x="149" y="110"/>
                  </a:cubicBezTo>
                  <a:cubicBezTo>
                    <a:pt x="147" y="109"/>
                    <a:pt x="148" y="107"/>
                    <a:pt x="148" y="105"/>
                  </a:cubicBezTo>
                  <a:cubicBezTo>
                    <a:pt x="145" y="104"/>
                    <a:pt x="143" y="103"/>
                    <a:pt x="144" y="100"/>
                  </a:cubicBezTo>
                  <a:cubicBezTo>
                    <a:pt x="144" y="100"/>
                    <a:pt x="143" y="99"/>
                    <a:pt x="143" y="99"/>
                  </a:cubicBezTo>
                  <a:cubicBezTo>
                    <a:pt x="142" y="99"/>
                    <a:pt x="142" y="98"/>
                    <a:pt x="142" y="97"/>
                  </a:cubicBezTo>
                  <a:cubicBezTo>
                    <a:pt x="141" y="96"/>
                    <a:pt x="141" y="96"/>
                    <a:pt x="141" y="95"/>
                  </a:cubicBezTo>
                  <a:cubicBezTo>
                    <a:pt x="142" y="95"/>
                    <a:pt x="143" y="96"/>
                    <a:pt x="144" y="97"/>
                  </a:cubicBezTo>
                  <a:cubicBezTo>
                    <a:pt x="146" y="96"/>
                    <a:pt x="147" y="98"/>
                    <a:pt x="148" y="98"/>
                  </a:cubicBezTo>
                  <a:cubicBezTo>
                    <a:pt x="149" y="98"/>
                    <a:pt x="149" y="96"/>
                    <a:pt x="150" y="97"/>
                  </a:cubicBezTo>
                  <a:cubicBezTo>
                    <a:pt x="151" y="97"/>
                    <a:pt x="151" y="96"/>
                    <a:pt x="151" y="96"/>
                  </a:cubicBezTo>
                  <a:cubicBezTo>
                    <a:pt x="151" y="95"/>
                    <a:pt x="151" y="95"/>
                    <a:pt x="151" y="95"/>
                  </a:cubicBezTo>
                  <a:cubicBezTo>
                    <a:pt x="151" y="95"/>
                    <a:pt x="151" y="95"/>
                    <a:pt x="151" y="94"/>
                  </a:cubicBezTo>
                  <a:cubicBezTo>
                    <a:pt x="149" y="93"/>
                    <a:pt x="148" y="92"/>
                    <a:pt x="148" y="90"/>
                  </a:cubicBezTo>
                  <a:cubicBezTo>
                    <a:pt x="147" y="89"/>
                    <a:pt x="146" y="88"/>
                    <a:pt x="146" y="86"/>
                  </a:cubicBezTo>
                  <a:cubicBezTo>
                    <a:pt x="144" y="82"/>
                    <a:pt x="143" y="78"/>
                    <a:pt x="143" y="74"/>
                  </a:cubicBezTo>
                  <a:cubicBezTo>
                    <a:pt x="143" y="72"/>
                    <a:pt x="141" y="70"/>
                    <a:pt x="142" y="68"/>
                  </a:cubicBezTo>
                  <a:cubicBezTo>
                    <a:pt x="142" y="67"/>
                    <a:pt x="142" y="66"/>
                    <a:pt x="144" y="66"/>
                  </a:cubicBezTo>
                  <a:cubicBezTo>
                    <a:pt x="146" y="65"/>
                    <a:pt x="148" y="66"/>
                    <a:pt x="150" y="66"/>
                  </a:cubicBezTo>
                  <a:cubicBezTo>
                    <a:pt x="151" y="67"/>
                    <a:pt x="153" y="67"/>
                    <a:pt x="154" y="68"/>
                  </a:cubicBezTo>
                  <a:cubicBezTo>
                    <a:pt x="154" y="68"/>
                    <a:pt x="155" y="69"/>
                    <a:pt x="155" y="70"/>
                  </a:cubicBezTo>
                  <a:cubicBezTo>
                    <a:pt x="156" y="71"/>
                    <a:pt x="157" y="73"/>
                    <a:pt x="157" y="74"/>
                  </a:cubicBezTo>
                  <a:cubicBezTo>
                    <a:pt x="157" y="75"/>
                    <a:pt x="158" y="76"/>
                    <a:pt x="158" y="77"/>
                  </a:cubicBezTo>
                  <a:cubicBezTo>
                    <a:pt x="158" y="77"/>
                    <a:pt x="158" y="77"/>
                    <a:pt x="159" y="77"/>
                  </a:cubicBezTo>
                  <a:cubicBezTo>
                    <a:pt x="159" y="77"/>
                    <a:pt x="159" y="78"/>
                    <a:pt x="160" y="78"/>
                  </a:cubicBezTo>
                  <a:cubicBezTo>
                    <a:pt x="161" y="78"/>
                    <a:pt x="163" y="80"/>
                    <a:pt x="163" y="81"/>
                  </a:cubicBezTo>
                  <a:cubicBezTo>
                    <a:pt x="164" y="83"/>
                    <a:pt x="166" y="85"/>
                    <a:pt x="167" y="86"/>
                  </a:cubicBezTo>
                  <a:cubicBezTo>
                    <a:pt x="170" y="87"/>
                    <a:pt x="172" y="88"/>
                    <a:pt x="173" y="90"/>
                  </a:cubicBezTo>
                  <a:cubicBezTo>
                    <a:pt x="174" y="92"/>
                    <a:pt x="176" y="94"/>
                    <a:pt x="175" y="97"/>
                  </a:cubicBezTo>
                  <a:cubicBezTo>
                    <a:pt x="175" y="98"/>
                    <a:pt x="176" y="98"/>
                    <a:pt x="176" y="99"/>
                  </a:cubicBezTo>
                  <a:cubicBezTo>
                    <a:pt x="177" y="100"/>
                    <a:pt x="178" y="101"/>
                    <a:pt x="178" y="102"/>
                  </a:cubicBezTo>
                  <a:cubicBezTo>
                    <a:pt x="179" y="102"/>
                    <a:pt x="179" y="102"/>
                    <a:pt x="179" y="102"/>
                  </a:cubicBezTo>
                  <a:cubicBezTo>
                    <a:pt x="184" y="101"/>
                    <a:pt x="184" y="101"/>
                    <a:pt x="183" y="96"/>
                  </a:cubicBezTo>
                  <a:cubicBezTo>
                    <a:pt x="182" y="94"/>
                    <a:pt x="182" y="93"/>
                    <a:pt x="184" y="93"/>
                  </a:cubicBezTo>
                  <a:cubicBezTo>
                    <a:pt x="186" y="91"/>
                    <a:pt x="185" y="89"/>
                    <a:pt x="185" y="87"/>
                  </a:cubicBezTo>
                  <a:cubicBezTo>
                    <a:pt x="183" y="84"/>
                    <a:pt x="184" y="82"/>
                    <a:pt x="186" y="80"/>
                  </a:cubicBezTo>
                  <a:cubicBezTo>
                    <a:pt x="188" y="78"/>
                    <a:pt x="189" y="79"/>
                    <a:pt x="191" y="80"/>
                  </a:cubicBezTo>
                  <a:cubicBezTo>
                    <a:pt x="192" y="80"/>
                    <a:pt x="193" y="81"/>
                    <a:pt x="194" y="82"/>
                  </a:cubicBezTo>
                  <a:cubicBezTo>
                    <a:pt x="195" y="82"/>
                    <a:pt x="196" y="82"/>
                    <a:pt x="197" y="83"/>
                  </a:cubicBezTo>
                  <a:cubicBezTo>
                    <a:pt x="198" y="82"/>
                    <a:pt x="199" y="84"/>
                    <a:pt x="199" y="85"/>
                  </a:cubicBezTo>
                  <a:cubicBezTo>
                    <a:pt x="199" y="85"/>
                    <a:pt x="199" y="85"/>
                    <a:pt x="200" y="85"/>
                  </a:cubicBezTo>
                  <a:cubicBezTo>
                    <a:pt x="201" y="84"/>
                    <a:pt x="202" y="84"/>
                    <a:pt x="203" y="83"/>
                  </a:cubicBezTo>
                  <a:cubicBezTo>
                    <a:pt x="200" y="83"/>
                    <a:pt x="198" y="80"/>
                    <a:pt x="194" y="80"/>
                  </a:cubicBezTo>
                  <a:cubicBezTo>
                    <a:pt x="193" y="80"/>
                    <a:pt x="192" y="79"/>
                    <a:pt x="191" y="78"/>
                  </a:cubicBezTo>
                  <a:cubicBezTo>
                    <a:pt x="191" y="77"/>
                    <a:pt x="191" y="76"/>
                    <a:pt x="192" y="75"/>
                  </a:cubicBezTo>
                  <a:cubicBezTo>
                    <a:pt x="192" y="75"/>
                    <a:pt x="193" y="74"/>
                    <a:pt x="193" y="74"/>
                  </a:cubicBezTo>
                  <a:cubicBezTo>
                    <a:pt x="189" y="72"/>
                    <a:pt x="186" y="69"/>
                    <a:pt x="186" y="64"/>
                  </a:cubicBezTo>
                  <a:cubicBezTo>
                    <a:pt x="184" y="64"/>
                    <a:pt x="184" y="63"/>
                    <a:pt x="183" y="61"/>
                  </a:cubicBezTo>
                  <a:cubicBezTo>
                    <a:pt x="182" y="61"/>
                    <a:pt x="183" y="59"/>
                    <a:pt x="182" y="58"/>
                  </a:cubicBezTo>
                  <a:cubicBezTo>
                    <a:pt x="181" y="58"/>
                    <a:pt x="180" y="58"/>
                    <a:pt x="179" y="57"/>
                  </a:cubicBezTo>
                  <a:cubicBezTo>
                    <a:pt x="179" y="56"/>
                    <a:pt x="178" y="55"/>
                    <a:pt x="178" y="55"/>
                  </a:cubicBezTo>
                  <a:cubicBezTo>
                    <a:pt x="178" y="53"/>
                    <a:pt x="179" y="52"/>
                    <a:pt x="181" y="52"/>
                  </a:cubicBezTo>
                  <a:cubicBezTo>
                    <a:pt x="185" y="52"/>
                    <a:pt x="190" y="52"/>
                    <a:pt x="194" y="52"/>
                  </a:cubicBezTo>
                  <a:cubicBezTo>
                    <a:pt x="195" y="52"/>
                    <a:pt x="196" y="52"/>
                    <a:pt x="197" y="52"/>
                  </a:cubicBezTo>
                  <a:cubicBezTo>
                    <a:pt x="197" y="52"/>
                    <a:pt x="198" y="52"/>
                    <a:pt x="198" y="52"/>
                  </a:cubicBezTo>
                  <a:cubicBezTo>
                    <a:pt x="202" y="52"/>
                    <a:pt x="203" y="53"/>
                    <a:pt x="203" y="56"/>
                  </a:cubicBezTo>
                  <a:cubicBezTo>
                    <a:pt x="203" y="57"/>
                    <a:pt x="204" y="58"/>
                    <a:pt x="204" y="58"/>
                  </a:cubicBezTo>
                  <a:cubicBezTo>
                    <a:pt x="205" y="60"/>
                    <a:pt x="205" y="61"/>
                    <a:pt x="205" y="62"/>
                  </a:cubicBezTo>
                  <a:cubicBezTo>
                    <a:pt x="204" y="65"/>
                    <a:pt x="206" y="67"/>
                    <a:pt x="206" y="70"/>
                  </a:cubicBezTo>
                  <a:cubicBezTo>
                    <a:pt x="206" y="71"/>
                    <a:pt x="207" y="71"/>
                    <a:pt x="208" y="70"/>
                  </a:cubicBezTo>
                  <a:cubicBezTo>
                    <a:pt x="208" y="69"/>
                    <a:pt x="208" y="69"/>
                    <a:pt x="208" y="69"/>
                  </a:cubicBezTo>
                  <a:cubicBezTo>
                    <a:pt x="207" y="68"/>
                    <a:pt x="206" y="66"/>
                    <a:pt x="207" y="65"/>
                  </a:cubicBezTo>
                  <a:cubicBezTo>
                    <a:pt x="207" y="63"/>
                    <a:pt x="207" y="60"/>
                    <a:pt x="205" y="58"/>
                  </a:cubicBezTo>
                  <a:cubicBezTo>
                    <a:pt x="205" y="57"/>
                    <a:pt x="204" y="55"/>
                    <a:pt x="205" y="54"/>
                  </a:cubicBezTo>
                  <a:cubicBezTo>
                    <a:pt x="206" y="54"/>
                    <a:pt x="208" y="55"/>
                    <a:pt x="208" y="56"/>
                  </a:cubicBezTo>
                  <a:cubicBezTo>
                    <a:pt x="209" y="56"/>
                    <a:pt x="209" y="57"/>
                    <a:pt x="209" y="57"/>
                  </a:cubicBezTo>
                  <a:cubicBezTo>
                    <a:pt x="211" y="59"/>
                    <a:pt x="213" y="61"/>
                    <a:pt x="215" y="63"/>
                  </a:cubicBezTo>
                  <a:cubicBezTo>
                    <a:pt x="215" y="64"/>
                    <a:pt x="218" y="64"/>
                    <a:pt x="217" y="66"/>
                  </a:cubicBezTo>
                  <a:cubicBezTo>
                    <a:pt x="218" y="67"/>
                    <a:pt x="218" y="68"/>
                    <a:pt x="218" y="69"/>
                  </a:cubicBezTo>
                  <a:cubicBezTo>
                    <a:pt x="218" y="71"/>
                    <a:pt x="218" y="73"/>
                    <a:pt x="219" y="74"/>
                  </a:cubicBezTo>
                  <a:cubicBezTo>
                    <a:pt x="220" y="75"/>
                    <a:pt x="220" y="75"/>
                    <a:pt x="220" y="75"/>
                  </a:cubicBezTo>
                  <a:cubicBezTo>
                    <a:pt x="221" y="75"/>
                    <a:pt x="220" y="74"/>
                    <a:pt x="221" y="74"/>
                  </a:cubicBezTo>
                  <a:cubicBezTo>
                    <a:pt x="221" y="73"/>
                    <a:pt x="221" y="73"/>
                    <a:pt x="221" y="72"/>
                  </a:cubicBezTo>
                  <a:cubicBezTo>
                    <a:pt x="220" y="71"/>
                    <a:pt x="219" y="69"/>
                    <a:pt x="220" y="68"/>
                  </a:cubicBezTo>
                  <a:cubicBezTo>
                    <a:pt x="221" y="67"/>
                    <a:pt x="221" y="67"/>
                    <a:pt x="220" y="67"/>
                  </a:cubicBezTo>
                  <a:cubicBezTo>
                    <a:pt x="219" y="67"/>
                    <a:pt x="219" y="66"/>
                    <a:pt x="219" y="65"/>
                  </a:cubicBezTo>
                  <a:cubicBezTo>
                    <a:pt x="219" y="65"/>
                    <a:pt x="219" y="65"/>
                    <a:pt x="219" y="64"/>
                  </a:cubicBezTo>
                  <a:cubicBezTo>
                    <a:pt x="218" y="64"/>
                    <a:pt x="218" y="63"/>
                    <a:pt x="218" y="62"/>
                  </a:cubicBezTo>
                  <a:cubicBezTo>
                    <a:pt x="218" y="60"/>
                    <a:pt x="218" y="58"/>
                    <a:pt x="218" y="57"/>
                  </a:cubicBezTo>
                  <a:cubicBezTo>
                    <a:pt x="217" y="55"/>
                    <a:pt x="217" y="55"/>
                    <a:pt x="216" y="54"/>
                  </a:cubicBezTo>
                  <a:cubicBezTo>
                    <a:pt x="214" y="55"/>
                    <a:pt x="213" y="56"/>
                    <a:pt x="212" y="53"/>
                  </a:cubicBezTo>
                  <a:cubicBezTo>
                    <a:pt x="212" y="53"/>
                    <a:pt x="211" y="52"/>
                    <a:pt x="211" y="52"/>
                  </a:cubicBezTo>
                  <a:cubicBezTo>
                    <a:pt x="211" y="52"/>
                    <a:pt x="210" y="52"/>
                    <a:pt x="210" y="51"/>
                  </a:cubicBezTo>
                  <a:cubicBezTo>
                    <a:pt x="209" y="51"/>
                    <a:pt x="208" y="52"/>
                    <a:pt x="208" y="51"/>
                  </a:cubicBezTo>
                  <a:cubicBezTo>
                    <a:pt x="206" y="51"/>
                    <a:pt x="205" y="50"/>
                    <a:pt x="204" y="48"/>
                  </a:cubicBezTo>
                  <a:cubicBezTo>
                    <a:pt x="202" y="48"/>
                    <a:pt x="200" y="48"/>
                    <a:pt x="198" y="48"/>
                  </a:cubicBezTo>
                  <a:cubicBezTo>
                    <a:pt x="195" y="49"/>
                    <a:pt x="192" y="49"/>
                    <a:pt x="190" y="49"/>
                  </a:cubicBezTo>
                  <a:cubicBezTo>
                    <a:pt x="189" y="49"/>
                    <a:pt x="189" y="49"/>
                    <a:pt x="188" y="49"/>
                  </a:cubicBezTo>
                  <a:cubicBezTo>
                    <a:pt x="187" y="49"/>
                    <a:pt x="186" y="49"/>
                    <a:pt x="186" y="48"/>
                  </a:cubicBezTo>
                  <a:cubicBezTo>
                    <a:pt x="184" y="48"/>
                    <a:pt x="182" y="48"/>
                    <a:pt x="180" y="48"/>
                  </a:cubicBezTo>
                  <a:cubicBezTo>
                    <a:pt x="179" y="48"/>
                    <a:pt x="178" y="48"/>
                    <a:pt x="177" y="48"/>
                  </a:cubicBezTo>
                  <a:cubicBezTo>
                    <a:pt x="175" y="50"/>
                    <a:pt x="173" y="50"/>
                    <a:pt x="171" y="49"/>
                  </a:cubicBezTo>
                  <a:cubicBezTo>
                    <a:pt x="170" y="48"/>
                    <a:pt x="169" y="48"/>
                    <a:pt x="169" y="47"/>
                  </a:cubicBezTo>
                  <a:cubicBezTo>
                    <a:pt x="168" y="46"/>
                    <a:pt x="168" y="45"/>
                    <a:pt x="169" y="44"/>
                  </a:cubicBezTo>
                  <a:cubicBezTo>
                    <a:pt x="170" y="43"/>
                    <a:pt x="170" y="41"/>
                    <a:pt x="171" y="41"/>
                  </a:cubicBezTo>
                  <a:cubicBezTo>
                    <a:pt x="172" y="38"/>
                    <a:pt x="174" y="36"/>
                    <a:pt x="176" y="36"/>
                  </a:cubicBezTo>
                  <a:cubicBezTo>
                    <a:pt x="177" y="36"/>
                    <a:pt x="178" y="37"/>
                    <a:pt x="178" y="38"/>
                  </a:cubicBezTo>
                  <a:cubicBezTo>
                    <a:pt x="179" y="38"/>
                    <a:pt x="179" y="38"/>
                    <a:pt x="179" y="38"/>
                  </a:cubicBezTo>
                  <a:cubicBezTo>
                    <a:pt x="180" y="39"/>
                    <a:pt x="181" y="39"/>
                    <a:pt x="181" y="37"/>
                  </a:cubicBezTo>
                  <a:cubicBezTo>
                    <a:pt x="181" y="35"/>
                    <a:pt x="179" y="35"/>
                    <a:pt x="179" y="33"/>
                  </a:cubicBezTo>
                  <a:cubicBezTo>
                    <a:pt x="180" y="31"/>
                    <a:pt x="180" y="31"/>
                    <a:pt x="182" y="32"/>
                  </a:cubicBezTo>
                  <a:cubicBezTo>
                    <a:pt x="182" y="32"/>
                    <a:pt x="182" y="32"/>
                    <a:pt x="182" y="33"/>
                  </a:cubicBezTo>
                  <a:cubicBezTo>
                    <a:pt x="183" y="33"/>
                    <a:pt x="184" y="34"/>
                    <a:pt x="185" y="34"/>
                  </a:cubicBezTo>
                  <a:cubicBezTo>
                    <a:pt x="185" y="34"/>
                    <a:pt x="185" y="34"/>
                    <a:pt x="185" y="33"/>
                  </a:cubicBezTo>
                  <a:cubicBezTo>
                    <a:pt x="185" y="33"/>
                    <a:pt x="184" y="32"/>
                    <a:pt x="185" y="31"/>
                  </a:cubicBezTo>
                  <a:cubicBezTo>
                    <a:pt x="186" y="30"/>
                    <a:pt x="187" y="31"/>
                    <a:pt x="188" y="31"/>
                  </a:cubicBezTo>
                  <a:cubicBezTo>
                    <a:pt x="189" y="32"/>
                    <a:pt x="191" y="34"/>
                    <a:pt x="193" y="31"/>
                  </a:cubicBezTo>
                  <a:cubicBezTo>
                    <a:pt x="192" y="30"/>
                    <a:pt x="191" y="31"/>
                    <a:pt x="191" y="30"/>
                  </a:cubicBezTo>
                  <a:cubicBezTo>
                    <a:pt x="190" y="29"/>
                    <a:pt x="190" y="29"/>
                    <a:pt x="189" y="29"/>
                  </a:cubicBezTo>
                  <a:cubicBezTo>
                    <a:pt x="189" y="28"/>
                    <a:pt x="188" y="27"/>
                    <a:pt x="190" y="28"/>
                  </a:cubicBezTo>
                  <a:cubicBezTo>
                    <a:pt x="190" y="28"/>
                    <a:pt x="191" y="27"/>
                    <a:pt x="192" y="28"/>
                  </a:cubicBezTo>
                  <a:cubicBezTo>
                    <a:pt x="192" y="28"/>
                    <a:pt x="192" y="28"/>
                    <a:pt x="193" y="28"/>
                  </a:cubicBezTo>
                  <a:cubicBezTo>
                    <a:pt x="193" y="28"/>
                    <a:pt x="194" y="28"/>
                    <a:pt x="195" y="28"/>
                  </a:cubicBezTo>
                  <a:cubicBezTo>
                    <a:pt x="195" y="28"/>
                    <a:pt x="195" y="27"/>
                    <a:pt x="194" y="27"/>
                  </a:cubicBezTo>
                  <a:cubicBezTo>
                    <a:pt x="193" y="27"/>
                    <a:pt x="192" y="26"/>
                    <a:pt x="192" y="25"/>
                  </a:cubicBezTo>
                  <a:cubicBezTo>
                    <a:pt x="192" y="24"/>
                    <a:pt x="194" y="25"/>
                    <a:pt x="195" y="24"/>
                  </a:cubicBezTo>
                  <a:cubicBezTo>
                    <a:pt x="195" y="24"/>
                    <a:pt x="196" y="24"/>
                    <a:pt x="197" y="24"/>
                  </a:cubicBezTo>
                  <a:cubicBezTo>
                    <a:pt x="198" y="24"/>
                    <a:pt x="199" y="24"/>
                    <a:pt x="199" y="24"/>
                  </a:cubicBezTo>
                  <a:cubicBezTo>
                    <a:pt x="200" y="24"/>
                    <a:pt x="202" y="24"/>
                    <a:pt x="202" y="25"/>
                  </a:cubicBezTo>
                  <a:cubicBezTo>
                    <a:pt x="202" y="27"/>
                    <a:pt x="204" y="29"/>
                    <a:pt x="204" y="32"/>
                  </a:cubicBezTo>
                  <a:cubicBezTo>
                    <a:pt x="204" y="32"/>
                    <a:pt x="204" y="32"/>
                    <a:pt x="205" y="32"/>
                  </a:cubicBezTo>
                  <a:cubicBezTo>
                    <a:pt x="208" y="33"/>
                    <a:pt x="210" y="36"/>
                    <a:pt x="211" y="39"/>
                  </a:cubicBezTo>
                  <a:cubicBezTo>
                    <a:pt x="212" y="41"/>
                    <a:pt x="214" y="40"/>
                    <a:pt x="216" y="41"/>
                  </a:cubicBezTo>
                  <a:cubicBezTo>
                    <a:pt x="218" y="41"/>
                    <a:pt x="221" y="40"/>
                    <a:pt x="222" y="44"/>
                  </a:cubicBezTo>
                  <a:cubicBezTo>
                    <a:pt x="224" y="46"/>
                    <a:pt x="225" y="48"/>
                    <a:pt x="227" y="50"/>
                  </a:cubicBezTo>
                  <a:cubicBezTo>
                    <a:pt x="227" y="50"/>
                    <a:pt x="228" y="51"/>
                    <a:pt x="228" y="51"/>
                  </a:cubicBezTo>
                  <a:cubicBezTo>
                    <a:pt x="228" y="49"/>
                    <a:pt x="230" y="50"/>
                    <a:pt x="231" y="49"/>
                  </a:cubicBezTo>
                  <a:cubicBezTo>
                    <a:pt x="231" y="48"/>
                    <a:pt x="230" y="47"/>
                    <a:pt x="228" y="47"/>
                  </a:cubicBezTo>
                  <a:cubicBezTo>
                    <a:pt x="226" y="48"/>
                    <a:pt x="226" y="46"/>
                    <a:pt x="226" y="45"/>
                  </a:cubicBezTo>
                  <a:cubicBezTo>
                    <a:pt x="226" y="45"/>
                    <a:pt x="226" y="45"/>
                    <a:pt x="226" y="45"/>
                  </a:cubicBezTo>
                  <a:cubicBezTo>
                    <a:pt x="226" y="44"/>
                    <a:pt x="226" y="44"/>
                    <a:pt x="225" y="43"/>
                  </a:cubicBezTo>
                  <a:cubicBezTo>
                    <a:pt x="225" y="43"/>
                    <a:pt x="225" y="43"/>
                    <a:pt x="225" y="42"/>
                  </a:cubicBezTo>
                  <a:cubicBezTo>
                    <a:pt x="224" y="41"/>
                    <a:pt x="222" y="41"/>
                    <a:pt x="223" y="39"/>
                  </a:cubicBezTo>
                  <a:cubicBezTo>
                    <a:pt x="224" y="37"/>
                    <a:pt x="226" y="37"/>
                    <a:pt x="227" y="37"/>
                  </a:cubicBezTo>
                  <a:cubicBezTo>
                    <a:pt x="228" y="37"/>
                    <a:pt x="229" y="37"/>
                    <a:pt x="230" y="37"/>
                  </a:cubicBezTo>
                  <a:cubicBezTo>
                    <a:pt x="231" y="37"/>
                    <a:pt x="232" y="37"/>
                    <a:pt x="233" y="37"/>
                  </a:cubicBezTo>
                  <a:cubicBezTo>
                    <a:pt x="232" y="35"/>
                    <a:pt x="231" y="37"/>
                    <a:pt x="230" y="36"/>
                  </a:cubicBezTo>
                  <a:cubicBezTo>
                    <a:pt x="229" y="36"/>
                    <a:pt x="227" y="36"/>
                    <a:pt x="226" y="36"/>
                  </a:cubicBezTo>
                  <a:cubicBezTo>
                    <a:pt x="225" y="35"/>
                    <a:pt x="225" y="35"/>
                    <a:pt x="225" y="34"/>
                  </a:cubicBezTo>
                  <a:cubicBezTo>
                    <a:pt x="226" y="33"/>
                    <a:pt x="228" y="32"/>
                    <a:pt x="229" y="32"/>
                  </a:cubicBezTo>
                  <a:cubicBezTo>
                    <a:pt x="231" y="30"/>
                    <a:pt x="233" y="31"/>
                    <a:pt x="236" y="31"/>
                  </a:cubicBezTo>
                  <a:cubicBezTo>
                    <a:pt x="236" y="31"/>
                    <a:pt x="236" y="30"/>
                    <a:pt x="236" y="30"/>
                  </a:cubicBezTo>
                  <a:cubicBezTo>
                    <a:pt x="236" y="30"/>
                    <a:pt x="235" y="29"/>
                    <a:pt x="235" y="29"/>
                  </a:cubicBezTo>
                  <a:cubicBezTo>
                    <a:pt x="234" y="29"/>
                    <a:pt x="233" y="29"/>
                    <a:pt x="232" y="28"/>
                  </a:cubicBezTo>
                  <a:cubicBezTo>
                    <a:pt x="232" y="28"/>
                    <a:pt x="231" y="27"/>
                    <a:pt x="231" y="26"/>
                  </a:cubicBezTo>
                  <a:cubicBezTo>
                    <a:pt x="231" y="26"/>
                    <a:pt x="230" y="26"/>
                    <a:pt x="229" y="26"/>
                  </a:cubicBezTo>
                  <a:cubicBezTo>
                    <a:pt x="226" y="27"/>
                    <a:pt x="225" y="27"/>
                    <a:pt x="224" y="24"/>
                  </a:cubicBezTo>
                  <a:cubicBezTo>
                    <a:pt x="223" y="23"/>
                    <a:pt x="223" y="22"/>
                    <a:pt x="222" y="22"/>
                  </a:cubicBezTo>
                  <a:cubicBezTo>
                    <a:pt x="221" y="21"/>
                    <a:pt x="220" y="21"/>
                    <a:pt x="219" y="20"/>
                  </a:cubicBezTo>
                  <a:cubicBezTo>
                    <a:pt x="217" y="18"/>
                    <a:pt x="218" y="17"/>
                    <a:pt x="219" y="15"/>
                  </a:cubicBezTo>
                  <a:cubicBezTo>
                    <a:pt x="222" y="12"/>
                    <a:pt x="226" y="11"/>
                    <a:pt x="229" y="15"/>
                  </a:cubicBezTo>
                  <a:cubicBezTo>
                    <a:pt x="229" y="12"/>
                    <a:pt x="228" y="10"/>
                    <a:pt x="229" y="8"/>
                  </a:cubicBezTo>
                  <a:cubicBezTo>
                    <a:pt x="229" y="7"/>
                    <a:pt x="229" y="6"/>
                    <a:pt x="230" y="6"/>
                  </a:cubicBezTo>
                  <a:cubicBezTo>
                    <a:pt x="232" y="7"/>
                    <a:pt x="233" y="9"/>
                    <a:pt x="235" y="7"/>
                  </a:cubicBezTo>
                  <a:cubicBezTo>
                    <a:pt x="236" y="6"/>
                    <a:pt x="237" y="6"/>
                    <a:pt x="238" y="5"/>
                  </a:cubicBezTo>
                  <a:cubicBezTo>
                    <a:pt x="239" y="5"/>
                    <a:pt x="239" y="4"/>
                    <a:pt x="240" y="4"/>
                  </a:cubicBezTo>
                  <a:cubicBezTo>
                    <a:pt x="241" y="3"/>
                    <a:pt x="241" y="3"/>
                    <a:pt x="242" y="3"/>
                  </a:cubicBezTo>
                  <a:cubicBezTo>
                    <a:pt x="243" y="3"/>
                    <a:pt x="245" y="2"/>
                    <a:pt x="246" y="2"/>
                  </a:cubicBezTo>
                  <a:cubicBezTo>
                    <a:pt x="247" y="2"/>
                    <a:pt x="248" y="3"/>
                    <a:pt x="248" y="4"/>
                  </a:cubicBezTo>
                  <a:cubicBezTo>
                    <a:pt x="248" y="4"/>
                    <a:pt x="248" y="4"/>
                    <a:pt x="248" y="4"/>
                  </a:cubicBezTo>
                  <a:cubicBezTo>
                    <a:pt x="249" y="4"/>
                    <a:pt x="249" y="4"/>
                    <a:pt x="249" y="3"/>
                  </a:cubicBezTo>
                  <a:cubicBezTo>
                    <a:pt x="250" y="1"/>
                    <a:pt x="252" y="1"/>
                    <a:pt x="254" y="2"/>
                  </a:cubicBezTo>
                  <a:cubicBezTo>
                    <a:pt x="254" y="2"/>
                    <a:pt x="254" y="2"/>
                    <a:pt x="255" y="3"/>
                  </a:cubicBezTo>
                  <a:cubicBezTo>
                    <a:pt x="256" y="3"/>
                    <a:pt x="257" y="2"/>
                    <a:pt x="258" y="1"/>
                  </a:cubicBezTo>
                  <a:cubicBezTo>
                    <a:pt x="259" y="0"/>
                    <a:pt x="263" y="0"/>
                    <a:pt x="265" y="1"/>
                  </a:cubicBezTo>
                  <a:cubicBezTo>
                    <a:pt x="265" y="2"/>
                    <a:pt x="265" y="2"/>
                    <a:pt x="266" y="2"/>
                  </a:cubicBezTo>
                  <a:cubicBezTo>
                    <a:pt x="266" y="2"/>
                    <a:pt x="266" y="2"/>
                    <a:pt x="267" y="2"/>
                  </a:cubicBezTo>
                  <a:cubicBezTo>
                    <a:pt x="267" y="1"/>
                    <a:pt x="268" y="1"/>
                    <a:pt x="269" y="2"/>
                  </a:cubicBezTo>
                  <a:cubicBezTo>
                    <a:pt x="270" y="3"/>
                    <a:pt x="271" y="3"/>
                    <a:pt x="273" y="3"/>
                  </a:cubicBezTo>
                  <a:cubicBezTo>
                    <a:pt x="276" y="1"/>
                    <a:pt x="278" y="2"/>
                    <a:pt x="283" y="5"/>
                  </a:cubicBezTo>
                  <a:cubicBezTo>
                    <a:pt x="284" y="5"/>
                    <a:pt x="284" y="5"/>
                    <a:pt x="284" y="5"/>
                  </a:cubicBezTo>
                  <a:cubicBezTo>
                    <a:pt x="285" y="6"/>
                    <a:pt x="285" y="7"/>
                    <a:pt x="285" y="8"/>
                  </a:cubicBezTo>
                  <a:cubicBezTo>
                    <a:pt x="286" y="8"/>
                    <a:pt x="286" y="7"/>
                    <a:pt x="287" y="7"/>
                  </a:cubicBezTo>
                  <a:cubicBezTo>
                    <a:pt x="288" y="6"/>
                    <a:pt x="288" y="6"/>
                    <a:pt x="289" y="7"/>
                  </a:cubicBezTo>
                  <a:cubicBezTo>
                    <a:pt x="290" y="7"/>
                    <a:pt x="290" y="7"/>
                    <a:pt x="290" y="7"/>
                  </a:cubicBezTo>
                  <a:cubicBezTo>
                    <a:pt x="291" y="7"/>
                    <a:pt x="291" y="7"/>
                    <a:pt x="291" y="8"/>
                  </a:cubicBezTo>
                  <a:cubicBezTo>
                    <a:pt x="292" y="8"/>
                    <a:pt x="293" y="8"/>
                    <a:pt x="294" y="9"/>
                  </a:cubicBezTo>
                  <a:cubicBezTo>
                    <a:pt x="297" y="9"/>
                    <a:pt x="298" y="9"/>
                    <a:pt x="300" y="11"/>
                  </a:cubicBezTo>
                  <a:cubicBezTo>
                    <a:pt x="303" y="12"/>
                    <a:pt x="306" y="14"/>
                    <a:pt x="308" y="16"/>
                  </a:cubicBezTo>
                  <a:cubicBezTo>
                    <a:pt x="309" y="16"/>
                    <a:pt x="309" y="16"/>
                    <a:pt x="309" y="17"/>
                  </a:cubicBezTo>
                  <a:cubicBezTo>
                    <a:pt x="311" y="19"/>
                    <a:pt x="311" y="20"/>
                    <a:pt x="310" y="22"/>
                  </a:cubicBezTo>
                  <a:cubicBezTo>
                    <a:pt x="309" y="24"/>
                    <a:pt x="308" y="25"/>
                    <a:pt x="306" y="25"/>
                  </a:cubicBezTo>
                  <a:cubicBezTo>
                    <a:pt x="305" y="25"/>
                    <a:pt x="303" y="25"/>
                    <a:pt x="302" y="25"/>
                  </a:cubicBezTo>
                  <a:cubicBezTo>
                    <a:pt x="302" y="25"/>
                    <a:pt x="302" y="25"/>
                    <a:pt x="302" y="25"/>
                  </a:cubicBezTo>
                  <a:cubicBezTo>
                    <a:pt x="299" y="25"/>
                    <a:pt x="296" y="24"/>
                    <a:pt x="294" y="24"/>
                  </a:cubicBezTo>
                  <a:cubicBezTo>
                    <a:pt x="293" y="24"/>
                    <a:pt x="293" y="24"/>
                    <a:pt x="292" y="24"/>
                  </a:cubicBezTo>
                  <a:cubicBezTo>
                    <a:pt x="288" y="24"/>
                    <a:pt x="284" y="25"/>
                    <a:pt x="280" y="26"/>
                  </a:cubicBezTo>
                  <a:cubicBezTo>
                    <a:pt x="280" y="27"/>
                    <a:pt x="280" y="28"/>
                    <a:pt x="279" y="29"/>
                  </a:cubicBezTo>
                  <a:cubicBezTo>
                    <a:pt x="277" y="30"/>
                    <a:pt x="275" y="31"/>
                    <a:pt x="274" y="32"/>
                  </a:cubicBezTo>
                  <a:cubicBezTo>
                    <a:pt x="273" y="33"/>
                    <a:pt x="272" y="33"/>
                    <a:pt x="271" y="32"/>
                  </a:cubicBezTo>
                  <a:cubicBezTo>
                    <a:pt x="268" y="31"/>
                    <a:pt x="266" y="29"/>
                    <a:pt x="264" y="28"/>
                  </a:cubicBezTo>
                  <a:cubicBezTo>
                    <a:pt x="263" y="27"/>
                    <a:pt x="262" y="27"/>
                    <a:pt x="260" y="27"/>
                  </a:cubicBezTo>
                  <a:cubicBezTo>
                    <a:pt x="261" y="29"/>
                    <a:pt x="263" y="28"/>
                    <a:pt x="264" y="29"/>
                  </a:cubicBezTo>
                  <a:cubicBezTo>
                    <a:pt x="264" y="30"/>
                    <a:pt x="265" y="30"/>
                    <a:pt x="266" y="30"/>
                  </a:cubicBezTo>
                  <a:cubicBezTo>
                    <a:pt x="268" y="31"/>
                    <a:pt x="268" y="33"/>
                    <a:pt x="267" y="35"/>
                  </a:cubicBezTo>
                  <a:cubicBezTo>
                    <a:pt x="265" y="36"/>
                    <a:pt x="263" y="36"/>
                    <a:pt x="261" y="37"/>
                  </a:cubicBezTo>
                  <a:cubicBezTo>
                    <a:pt x="259" y="38"/>
                    <a:pt x="259" y="39"/>
                    <a:pt x="258" y="40"/>
                  </a:cubicBezTo>
                  <a:cubicBezTo>
                    <a:pt x="256" y="40"/>
                    <a:pt x="254" y="40"/>
                    <a:pt x="252" y="41"/>
                  </a:cubicBezTo>
                  <a:cubicBezTo>
                    <a:pt x="251" y="41"/>
                    <a:pt x="251" y="41"/>
                    <a:pt x="251" y="41"/>
                  </a:cubicBezTo>
                  <a:cubicBezTo>
                    <a:pt x="250" y="42"/>
                    <a:pt x="249" y="42"/>
                    <a:pt x="248" y="43"/>
                  </a:cubicBezTo>
                  <a:cubicBezTo>
                    <a:pt x="249" y="43"/>
                    <a:pt x="248" y="45"/>
                    <a:pt x="250" y="46"/>
                  </a:cubicBezTo>
                  <a:cubicBezTo>
                    <a:pt x="251" y="46"/>
                    <a:pt x="251" y="44"/>
                    <a:pt x="252" y="44"/>
                  </a:cubicBezTo>
                  <a:cubicBezTo>
                    <a:pt x="254" y="42"/>
                    <a:pt x="255" y="41"/>
                    <a:pt x="258" y="42"/>
                  </a:cubicBezTo>
                  <a:cubicBezTo>
                    <a:pt x="258" y="42"/>
                    <a:pt x="259" y="42"/>
                    <a:pt x="260" y="43"/>
                  </a:cubicBezTo>
                  <a:cubicBezTo>
                    <a:pt x="260" y="43"/>
                    <a:pt x="260" y="44"/>
                    <a:pt x="261" y="44"/>
                  </a:cubicBezTo>
                  <a:cubicBezTo>
                    <a:pt x="262" y="43"/>
                    <a:pt x="259" y="41"/>
                    <a:pt x="262" y="40"/>
                  </a:cubicBezTo>
                  <a:cubicBezTo>
                    <a:pt x="262" y="40"/>
                    <a:pt x="263" y="39"/>
                    <a:pt x="264" y="39"/>
                  </a:cubicBezTo>
                  <a:cubicBezTo>
                    <a:pt x="264" y="39"/>
                    <a:pt x="264" y="39"/>
                    <a:pt x="265" y="39"/>
                  </a:cubicBezTo>
                  <a:cubicBezTo>
                    <a:pt x="265" y="38"/>
                    <a:pt x="265" y="38"/>
                    <a:pt x="266" y="38"/>
                  </a:cubicBezTo>
                  <a:cubicBezTo>
                    <a:pt x="268" y="38"/>
                    <a:pt x="270" y="37"/>
                    <a:pt x="273" y="37"/>
                  </a:cubicBezTo>
                  <a:cubicBezTo>
                    <a:pt x="273" y="37"/>
                    <a:pt x="273" y="37"/>
                    <a:pt x="274" y="37"/>
                  </a:cubicBezTo>
                  <a:cubicBezTo>
                    <a:pt x="275" y="38"/>
                    <a:pt x="276" y="36"/>
                    <a:pt x="277" y="35"/>
                  </a:cubicBezTo>
                  <a:cubicBezTo>
                    <a:pt x="278" y="34"/>
                    <a:pt x="279" y="32"/>
                    <a:pt x="281" y="31"/>
                  </a:cubicBezTo>
                  <a:cubicBezTo>
                    <a:pt x="282" y="30"/>
                    <a:pt x="283" y="30"/>
                    <a:pt x="284" y="30"/>
                  </a:cubicBezTo>
                  <a:cubicBezTo>
                    <a:pt x="284" y="29"/>
                    <a:pt x="285" y="29"/>
                    <a:pt x="285" y="29"/>
                  </a:cubicBezTo>
                  <a:cubicBezTo>
                    <a:pt x="286" y="28"/>
                    <a:pt x="287" y="28"/>
                    <a:pt x="289" y="28"/>
                  </a:cubicBezTo>
                  <a:cubicBezTo>
                    <a:pt x="291" y="27"/>
                    <a:pt x="292" y="28"/>
                    <a:pt x="294" y="28"/>
                  </a:cubicBezTo>
                  <a:cubicBezTo>
                    <a:pt x="296" y="28"/>
                    <a:pt x="299" y="29"/>
                    <a:pt x="300" y="31"/>
                  </a:cubicBezTo>
                  <a:cubicBezTo>
                    <a:pt x="301" y="30"/>
                    <a:pt x="302" y="29"/>
                    <a:pt x="304" y="30"/>
                  </a:cubicBezTo>
                  <a:cubicBezTo>
                    <a:pt x="305" y="30"/>
                    <a:pt x="306" y="30"/>
                    <a:pt x="307" y="30"/>
                  </a:cubicBezTo>
                  <a:cubicBezTo>
                    <a:pt x="307" y="30"/>
                    <a:pt x="308" y="30"/>
                    <a:pt x="309" y="30"/>
                  </a:cubicBezTo>
                  <a:cubicBezTo>
                    <a:pt x="310" y="30"/>
                    <a:pt x="311" y="30"/>
                    <a:pt x="312" y="30"/>
                  </a:cubicBezTo>
                  <a:cubicBezTo>
                    <a:pt x="312" y="30"/>
                    <a:pt x="312" y="29"/>
                    <a:pt x="313" y="29"/>
                  </a:cubicBezTo>
                  <a:cubicBezTo>
                    <a:pt x="314" y="28"/>
                    <a:pt x="314" y="27"/>
                    <a:pt x="315" y="27"/>
                  </a:cubicBezTo>
                  <a:cubicBezTo>
                    <a:pt x="317" y="28"/>
                    <a:pt x="316" y="29"/>
                    <a:pt x="316" y="30"/>
                  </a:cubicBezTo>
                  <a:cubicBezTo>
                    <a:pt x="317" y="30"/>
                    <a:pt x="317" y="31"/>
                    <a:pt x="317" y="31"/>
                  </a:cubicBezTo>
                  <a:cubicBezTo>
                    <a:pt x="316" y="32"/>
                    <a:pt x="316" y="32"/>
                    <a:pt x="316" y="33"/>
                  </a:cubicBezTo>
                  <a:cubicBezTo>
                    <a:pt x="316" y="34"/>
                    <a:pt x="317" y="34"/>
                    <a:pt x="317" y="35"/>
                  </a:cubicBezTo>
                  <a:cubicBezTo>
                    <a:pt x="318" y="36"/>
                    <a:pt x="318" y="36"/>
                    <a:pt x="319" y="37"/>
                  </a:cubicBezTo>
                  <a:cubicBezTo>
                    <a:pt x="321" y="39"/>
                    <a:pt x="323" y="40"/>
                    <a:pt x="324" y="42"/>
                  </a:cubicBezTo>
                  <a:cubicBezTo>
                    <a:pt x="326" y="43"/>
                    <a:pt x="324" y="44"/>
                    <a:pt x="324" y="45"/>
                  </a:cubicBezTo>
                  <a:cubicBezTo>
                    <a:pt x="325" y="45"/>
                    <a:pt x="327" y="43"/>
                    <a:pt x="328" y="45"/>
                  </a:cubicBezTo>
                  <a:cubicBezTo>
                    <a:pt x="328" y="45"/>
                    <a:pt x="329" y="45"/>
                    <a:pt x="329" y="45"/>
                  </a:cubicBezTo>
                  <a:cubicBezTo>
                    <a:pt x="329" y="45"/>
                    <a:pt x="329" y="46"/>
                    <a:pt x="330" y="46"/>
                  </a:cubicBezTo>
                  <a:cubicBezTo>
                    <a:pt x="330" y="45"/>
                    <a:pt x="331" y="46"/>
                    <a:pt x="331" y="46"/>
                  </a:cubicBezTo>
                  <a:cubicBezTo>
                    <a:pt x="332" y="46"/>
                    <a:pt x="333" y="46"/>
                    <a:pt x="333" y="47"/>
                  </a:cubicBezTo>
                  <a:cubicBezTo>
                    <a:pt x="335" y="49"/>
                    <a:pt x="335" y="49"/>
                    <a:pt x="333" y="51"/>
                  </a:cubicBezTo>
                  <a:cubicBezTo>
                    <a:pt x="333" y="52"/>
                    <a:pt x="333" y="52"/>
                    <a:pt x="333" y="53"/>
                  </a:cubicBezTo>
                  <a:cubicBezTo>
                    <a:pt x="334" y="53"/>
                    <a:pt x="335" y="54"/>
                    <a:pt x="335" y="55"/>
                  </a:cubicBezTo>
                  <a:cubicBezTo>
                    <a:pt x="336" y="56"/>
                    <a:pt x="337" y="57"/>
                    <a:pt x="337" y="58"/>
                  </a:cubicBezTo>
                  <a:cubicBezTo>
                    <a:pt x="338" y="58"/>
                    <a:pt x="339" y="59"/>
                    <a:pt x="339" y="60"/>
                  </a:cubicBezTo>
                  <a:cubicBezTo>
                    <a:pt x="340" y="60"/>
                    <a:pt x="340" y="60"/>
                    <a:pt x="340" y="60"/>
                  </a:cubicBezTo>
                  <a:cubicBezTo>
                    <a:pt x="341" y="62"/>
                    <a:pt x="341" y="64"/>
                    <a:pt x="339" y="65"/>
                  </a:cubicBezTo>
                  <a:cubicBezTo>
                    <a:pt x="338" y="66"/>
                    <a:pt x="337" y="66"/>
                    <a:pt x="336" y="67"/>
                  </a:cubicBezTo>
                  <a:cubicBezTo>
                    <a:pt x="336" y="72"/>
                    <a:pt x="335" y="74"/>
                    <a:pt x="330" y="75"/>
                  </a:cubicBezTo>
                  <a:cubicBezTo>
                    <a:pt x="329" y="76"/>
                    <a:pt x="328" y="77"/>
                    <a:pt x="327" y="77"/>
                  </a:cubicBezTo>
                  <a:cubicBezTo>
                    <a:pt x="327" y="78"/>
                    <a:pt x="326" y="78"/>
                    <a:pt x="326" y="78"/>
                  </a:cubicBezTo>
                  <a:cubicBezTo>
                    <a:pt x="325" y="79"/>
                    <a:pt x="324" y="79"/>
                    <a:pt x="323" y="79"/>
                  </a:cubicBezTo>
                  <a:cubicBezTo>
                    <a:pt x="321" y="79"/>
                    <a:pt x="319" y="79"/>
                    <a:pt x="318" y="80"/>
                  </a:cubicBezTo>
                  <a:cubicBezTo>
                    <a:pt x="317" y="81"/>
                    <a:pt x="316" y="81"/>
                    <a:pt x="315" y="81"/>
                  </a:cubicBezTo>
                  <a:cubicBezTo>
                    <a:pt x="309" y="79"/>
                    <a:pt x="303" y="79"/>
                    <a:pt x="297" y="80"/>
                  </a:cubicBezTo>
                  <a:cubicBezTo>
                    <a:pt x="296" y="81"/>
                    <a:pt x="294" y="82"/>
                    <a:pt x="292" y="81"/>
                  </a:cubicBezTo>
                  <a:cubicBezTo>
                    <a:pt x="291" y="81"/>
                    <a:pt x="290" y="82"/>
                    <a:pt x="289" y="82"/>
                  </a:cubicBezTo>
                  <a:cubicBezTo>
                    <a:pt x="289" y="80"/>
                    <a:pt x="287" y="80"/>
                    <a:pt x="286" y="80"/>
                  </a:cubicBezTo>
                  <a:cubicBezTo>
                    <a:pt x="286" y="81"/>
                    <a:pt x="287" y="81"/>
                    <a:pt x="287" y="82"/>
                  </a:cubicBezTo>
                  <a:cubicBezTo>
                    <a:pt x="289" y="83"/>
                    <a:pt x="289" y="84"/>
                    <a:pt x="287" y="85"/>
                  </a:cubicBezTo>
                  <a:cubicBezTo>
                    <a:pt x="285" y="87"/>
                    <a:pt x="282" y="88"/>
                    <a:pt x="280" y="90"/>
                  </a:cubicBezTo>
                  <a:cubicBezTo>
                    <a:pt x="279" y="91"/>
                    <a:pt x="278" y="91"/>
                    <a:pt x="277" y="92"/>
                  </a:cubicBezTo>
                  <a:cubicBezTo>
                    <a:pt x="274" y="93"/>
                    <a:pt x="272" y="95"/>
                    <a:pt x="270" y="98"/>
                  </a:cubicBezTo>
                  <a:cubicBezTo>
                    <a:pt x="270" y="98"/>
                    <a:pt x="269" y="99"/>
                    <a:pt x="270" y="100"/>
                  </a:cubicBezTo>
                  <a:cubicBezTo>
                    <a:pt x="272" y="101"/>
                    <a:pt x="270" y="103"/>
                    <a:pt x="271" y="105"/>
                  </a:cubicBezTo>
                  <a:cubicBezTo>
                    <a:pt x="273" y="105"/>
                    <a:pt x="274" y="105"/>
                    <a:pt x="275" y="102"/>
                  </a:cubicBezTo>
                  <a:cubicBezTo>
                    <a:pt x="275" y="101"/>
                    <a:pt x="276" y="100"/>
                    <a:pt x="277" y="100"/>
                  </a:cubicBezTo>
                  <a:cubicBezTo>
                    <a:pt x="279" y="97"/>
                    <a:pt x="282" y="96"/>
                    <a:pt x="285" y="95"/>
                  </a:cubicBezTo>
                  <a:cubicBezTo>
                    <a:pt x="286" y="94"/>
                    <a:pt x="286" y="94"/>
                    <a:pt x="286" y="94"/>
                  </a:cubicBezTo>
                  <a:cubicBezTo>
                    <a:pt x="287" y="93"/>
                    <a:pt x="289" y="93"/>
                    <a:pt x="290" y="92"/>
                  </a:cubicBezTo>
                  <a:cubicBezTo>
                    <a:pt x="290" y="92"/>
                    <a:pt x="291" y="91"/>
                    <a:pt x="291" y="92"/>
                  </a:cubicBezTo>
                  <a:cubicBezTo>
                    <a:pt x="292" y="92"/>
                    <a:pt x="292" y="93"/>
                    <a:pt x="292" y="93"/>
                  </a:cubicBezTo>
                  <a:cubicBezTo>
                    <a:pt x="291" y="94"/>
                    <a:pt x="291" y="94"/>
                    <a:pt x="291" y="95"/>
                  </a:cubicBezTo>
                  <a:cubicBezTo>
                    <a:pt x="292" y="95"/>
                    <a:pt x="292" y="94"/>
                    <a:pt x="293" y="94"/>
                  </a:cubicBezTo>
                  <a:cubicBezTo>
                    <a:pt x="293" y="94"/>
                    <a:pt x="293" y="93"/>
                    <a:pt x="293" y="93"/>
                  </a:cubicBezTo>
                  <a:cubicBezTo>
                    <a:pt x="294" y="90"/>
                    <a:pt x="296" y="89"/>
                    <a:pt x="299" y="89"/>
                  </a:cubicBezTo>
                  <a:cubicBezTo>
                    <a:pt x="301" y="87"/>
                    <a:pt x="303" y="88"/>
                    <a:pt x="305" y="87"/>
                  </a:cubicBezTo>
                  <a:cubicBezTo>
                    <a:pt x="306" y="87"/>
                    <a:pt x="307" y="87"/>
                    <a:pt x="308" y="87"/>
                  </a:cubicBezTo>
                  <a:cubicBezTo>
                    <a:pt x="310" y="87"/>
                    <a:pt x="313" y="87"/>
                    <a:pt x="315" y="88"/>
                  </a:cubicBezTo>
                  <a:cubicBezTo>
                    <a:pt x="317" y="89"/>
                    <a:pt x="320" y="89"/>
                    <a:pt x="322" y="89"/>
                  </a:cubicBezTo>
                  <a:cubicBezTo>
                    <a:pt x="324" y="89"/>
                    <a:pt x="326" y="88"/>
                    <a:pt x="324" y="91"/>
                  </a:cubicBezTo>
                  <a:cubicBezTo>
                    <a:pt x="324" y="92"/>
                    <a:pt x="326" y="94"/>
                    <a:pt x="325" y="96"/>
                  </a:cubicBezTo>
                  <a:cubicBezTo>
                    <a:pt x="325" y="99"/>
                    <a:pt x="324" y="102"/>
                    <a:pt x="321" y="103"/>
                  </a:cubicBezTo>
                  <a:cubicBezTo>
                    <a:pt x="320" y="105"/>
                    <a:pt x="318" y="105"/>
                    <a:pt x="316" y="106"/>
                  </a:cubicBezTo>
                  <a:cubicBezTo>
                    <a:pt x="315" y="108"/>
                    <a:pt x="312" y="109"/>
                    <a:pt x="311" y="110"/>
                  </a:cubicBezTo>
                  <a:cubicBezTo>
                    <a:pt x="311" y="111"/>
                    <a:pt x="311" y="112"/>
                    <a:pt x="311" y="112"/>
                  </a:cubicBezTo>
                  <a:cubicBezTo>
                    <a:pt x="310" y="114"/>
                    <a:pt x="311" y="114"/>
                    <a:pt x="312" y="115"/>
                  </a:cubicBezTo>
                  <a:cubicBezTo>
                    <a:pt x="314" y="115"/>
                    <a:pt x="314" y="114"/>
                    <a:pt x="315" y="113"/>
                  </a:cubicBezTo>
                  <a:cubicBezTo>
                    <a:pt x="316" y="112"/>
                    <a:pt x="316" y="111"/>
                    <a:pt x="317" y="111"/>
                  </a:cubicBezTo>
                  <a:cubicBezTo>
                    <a:pt x="317" y="111"/>
                    <a:pt x="318" y="111"/>
                    <a:pt x="318" y="111"/>
                  </a:cubicBezTo>
                  <a:cubicBezTo>
                    <a:pt x="321" y="109"/>
                    <a:pt x="325" y="107"/>
                    <a:pt x="327" y="104"/>
                  </a:cubicBezTo>
                  <a:cubicBezTo>
                    <a:pt x="328" y="103"/>
                    <a:pt x="329" y="103"/>
                    <a:pt x="330" y="103"/>
                  </a:cubicBezTo>
                  <a:cubicBezTo>
                    <a:pt x="331" y="102"/>
                    <a:pt x="332" y="103"/>
                    <a:pt x="333" y="102"/>
                  </a:cubicBezTo>
                  <a:cubicBezTo>
                    <a:pt x="333" y="101"/>
                    <a:pt x="333" y="100"/>
                    <a:pt x="334" y="99"/>
                  </a:cubicBezTo>
                  <a:cubicBezTo>
                    <a:pt x="332" y="96"/>
                    <a:pt x="333" y="94"/>
                    <a:pt x="333" y="91"/>
                  </a:cubicBezTo>
                  <a:cubicBezTo>
                    <a:pt x="332" y="90"/>
                    <a:pt x="334" y="89"/>
                    <a:pt x="335" y="89"/>
                  </a:cubicBezTo>
                  <a:cubicBezTo>
                    <a:pt x="337" y="87"/>
                    <a:pt x="340" y="86"/>
                    <a:pt x="343" y="85"/>
                  </a:cubicBezTo>
                  <a:cubicBezTo>
                    <a:pt x="347" y="84"/>
                    <a:pt x="348" y="85"/>
                    <a:pt x="348" y="89"/>
                  </a:cubicBezTo>
                  <a:cubicBezTo>
                    <a:pt x="348" y="91"/>
                    <a:pt x="349" y="92"/>
                    <a:pt x="349" y="95"/>
                  </a:cubicBezTo>
                  <a:cubicBezTo>
                    <a:pt x="349" y="96"/>
                    <a:pt x="349" y="97"/>
                    <a:pt x="348" y="98"/>
                  </a:cubicBezTo>
                  <a:cubicBezTo>
                    <a:pt x="348" y="98"/>
                    <a:pt x="348" y="99"/>
                    <a:pt x="348" y="99"/>
                  </a:cubicBezTo>
                  <a:cubicBezTo>
                    <a:pt x="349" y="102"/>
                    <a:pt x="348" y="104"/>
                    <a:pt x="348" y="107"/>
                  </a:cubicBezTo>
                  <a:cubicBezTo>
                    <a:pt x="348" y="108"/>
                    <a:pt x="348" y="110"/>
                    <a:pt x="347" y="111"/>
                  </a:cubicBezTo>
                  <a:cubicBezTo>
                    <a:pt x="346" y="114"/>
                    <a:pt x="346" y="116"/>
                    <a:pt x="345" y="118"/>
                  </a:cubicBezTo>
                  <a:cubicBezTo>
                    <a:pt x="345" y="119"/>
                    <a:pt x="345" y="120"/>
                    <a:pt x="344" y="121"/>
                  </a:cubicBezTo>
                  <a:cubicBezTo>
                    <a:pt x="342" y="122"/>
                    <a:pt x="342" y="124"/>
                    <a:pt x="341" y="126"/>
                  </a:cubicBezTo>
                  <a:cubicBezTo>
                    <a:pt x="339" y="129"/>
                    <a:pt x="339" y="133"/>
                    <a:pt x="335" y="135"/>
                  </a:cubicBezTo>
                  <a:cubicBezTo>
                    <a:pt x="335" y="136"/>
                    <a:pt x="334" y="137"/>
                    <a:pt x="333" y="138"/>
                  </a:cubicBezTo>
                  <a:cubicBezTo>
                    <a:pt x="334" y="140"/>
                    <a:pt x="334" y="142"/>
                    <a:pt x="333" y="144"/>
                  </a:cubicBezTo>
                  <a:cubicBezTo>
                    <a:pt x="333" y="145"/>
                    <a:pt x="331" y="145"/>
                    <a:pt x="331" y="146"/>
                  </a:cubicBezTo>
                  <a:cubicBezTo>
                    <a:pt x="332" y="147"/>
                    <a:pt x="331" y="148"/>
                    <a:pt x="330" y="148"/>
                  </a:cubicBezTo>
                  <a:cubicBezTo>
                    <a:pt x="329" y="148"/>
                    <a:pt x="329" y="149"/>
                    <a:pt x="330" y="150"/>
                  </a:cubicBezTo>
                  <a:cubicBezTo>
                    <a:pt x="330" y="151"/>
                    <a:pt x="330" y="151"/>
                    <a:pt x="331" y="150"/>
                  </a:cubicBezTo>
                  <a:cubicBezTo>
                    <a:pt x="331" y="149"/>
                    <a:pt x="332" y="149"/>
                    <a:pt x="333" y="148"/>
                  </a:cubicBezTo>
                  <a:cubicBezTo>
                    <a:pt x="335" y="145"/>
                    <a:pt x="336" y="143"/>
                    <a:pt x="336" y="140"/>
                  </a:cubicBezTo>
                  <a:cubicBezTo>
                    <a:pt x="336" y="139"/>
                    <a:pt x="336" y="139"/>
                    <a:pt x="337" y="139"/>
                  </a:cubicBezTo>
                  <a:cubicBezTo>
                    <a:pt x="338" y="138"/>
                    <a:pt x="339" y="137"/>
                    <a:pt x="340" y="136"/>
                  </a:cubicBezTo>
                  <a:cubicBezTo>
                    <a:pt x="342" y="135"/>
                    <a:pt x="342" y="134"/>
                    <a:pt x="342" y="132"/>
                  </a:cubicBezTo>
                  <a:cubicBezTo>
                    <a:pt x="343" y="131"/>
                    <a:pt x="344" y="131"/>
                    <a:pt x="344" y="130"/>
                  </a:cubicBezTo>
                  <a:cubicBezTo>
                    <a:pt x="344" y="130"/>
                    <a:pt x="345" y="129"/>
                    <a:pt x="345" y="129"/>
                  </a:cubicBezTo>
                  <a:cubicBezTo>
                    <a:pt x="345" y="127"/>
                    <a:pt x="347" y="126"/>
                    <a:pt x="348" y="125"/>
                  </a:cubicBezTo>
                  <a:cubicBezTo>
                    <a:pt x="349" y="125"/>
                    <a:pt x="349" y="124"/>
                    <a:pt x="350" y="124"/>
                  </a:cubicBezTo>
                  <a:cubicBezTo>
                    <a:pt x="348" y="122"/>
                    <a:pt x="351" y="122"/>
                    <a:pt x="351" y="121"/>
                  </a:cubicBezTo>
                  <a:cubicBezTo>
                    <a:pt x="350" y="117"/>
                    <a:pt x="353" y="116"/>
                    <a:pt x="355" y="113"/>
                  </a:cubicBezTo>
                  <a:cubicBezTo>
                    <a:pt x="356" y="112"/>
                    <a:pt x="356" y="111"/>
                    <a:pt x="358" y="110"/>
                  </a:cubicBezTo>
                  <a:cubicBezTo>
                    <a:pt x="358" y="110"/>
                    <a:pt x="358" y="109"/>
                    <a:pt x="358" y="109"/>
                  </a:cubicBezTo>
                  <a:cubicBezTo>
                    <a:pt x="356" y="109"/>
                    <a:pt x="357" y="107"/>
                    <a:pt x="356" y="106"/>
                  </a:cubicBezTo>
                  <a:cubicBezTo>
                    <a:pt x="356" y="105"/>
                    <a:pt x="356" y="105"/>
                    <a:pt x="356" y="105"/>
                  </a:cubicBezTo>
                  <a:cubicBezTo>
                    <a:pt x="357" y="104"/>
                    <a:pt x="358" y="105"/>
                    <a:pt x="358" y="105"/>
                  </a:cubicBezTo>
                  <a:cubicBezTo>
                    <a:pt x="358" y="107"/>
                    <a:pt x="359" y="108"/>
                    <a:pt x="360" y="107"/>
                  </a:cubicBezTo>
                  <a:cubicBezTo>
                    <a:pt x="361" y="108"/>
                    <a:pt x="360" y="108"/>
                    <a:pt x="360" y="109"/>
                  </a:cubicBezTo>
                  <a:cubicBezTo>
                    <a:pt x="361" y="109"/>
                    <a:pt x="361" y="107"/>
                    <a:pt x="363" y="108"/>
                  </a:cubicBezTo>
                  <a:cubicBezTo>
                    <a:pt x="360" y="110"/>
                    <a:pt x="361" y="114"/>
                    <a:pt x="359" y="118"/>
                  </a:cubicBezTo>
                  <a:cubicBezTo>
                    <a:pt x="361" y="118"/>
                    <a:pt x="361" y="117"/>
                    <a:pt x="362" y="116"/>
                  </a:cubicBezTo>
                  <a:cubicBezTo>
                    <a:pt x="365" y="112"/>
                    <a:pt x="367" y="112"/>
                    <a:pt x="370" y="116"/>
                  </a:cubicBezTo>
                  <a:cubicBezTo>
                    <a:pt x="371" y="116"/>
                    <a:pt x="370" y="114"/>
                    <a:pt x="371" y="115"/>
                  </a:cubicBezTo>
                  <a:cubicBezTo>
                    <a:pt x="372" y="115"/>
                    <a:pt x="372" y="116"/>
                    <a:pt x="372" y="116"/>
                  </a:cubicBezTo>
                  <a:cubicBezTo>
                    <a:pt x="372" y="117"/>
                    <a:pt x="372" y="118"/>
                    <a:pt x="373" y="118"/>
                  </a:cubicBezTo>
                  <a:cubicBezTo>
                    <a:pt x="374" y="118"/>
                    <a:pt x="375" y="118"/>
                    <a:pt x="375" y="116"/>
                  </a:cubicBezTo>
                  <a:cubicBezTo>
                    <a:pt x="375" y="114"/>
                    <a:pt x="377" y="113"/>
                    <a:pt x="378" y="111"/>
                  </a:cubicBezTo>
                  <a:cubicBezTo>
                    <a:pt x="377" y="111"/>
                    <a:pt x="377" y="110"/>
                    <a:pt x="377" y="110"/>
                  </a:cubicBezTo>
                  <a:cubicBezTo>
                    <a:pt x="376" y="109"/>
                    <a:pt x="376" y="106"/>
                    <a:pt x="377" y="106"/>
                  </a:cubicBezTo>
                  <a:cubicBezTo>
                    <a:pt x="379" y="105"/>
                    <a:pt x="378" y="107"/>
                    <a:pt x="379" y="107"/>
                  </a:cubicBezTo>
                  <a:cubicBezTo>
                    <a:pt x="379" y="107"/>
                    <a:pt x="379" y="107"/>
                    <a:pt x="380" y="107"/>
                  </a:cubicBezTo>
                  <a:cubicBezTo>
                    <a:pt x="379" y="105"/>
                    <a:pt x="380" y="103"/>
                    <a:pt x="379" y="101"/>
                  </a:cubicBezTo>
                  <a:cubicBezTo>
                    <a:pt x="379" y="99"/>
                    <a:pt x="381" y="100"/>
                    <a:pt x="381" y="99"/>
                  </a:cubicBezTo>
                  <a:cubicBezTo>
                    <a:pt x="383" y="101"/>
                    <a:pt x="383" y="99"/>
                    <a:pt x="383" y="98"/>
                  </a:cubicBezTo>
                  <a:cubicBezTo>
                    <a:pt x="384" y="97"/>
                    <a:pt x="385" y="96"/>
                    <a:pt x="386" y="98"/>
                  </a:cubicBezTo>
                  <a:cubicBezTo>
                    <a:pt x="389" y="96"/>
                    <a:pt x="392" y="100"/>
                    <a:pt x="395" y="98"/>
                  </a:cubicBezTo>
                  <a:cubicBezTo>
                    <a:pt x="396" y="97"/>
                    <a:pt x="398" y="98"/>
                    <a:pt x="399" y="99"/>
                  </a:cubicBezTo>
                  <a:cubicBezTo>
                    <a:pt x="401" y="102"/>
                    <a:pt x="405" y="103"/>
                    <a:pt x="408" y="106"/>
                  </a:cubicBezTo>
                  <a:cubicBezTo>
                    <a:pt x="409" y="107"/>
                    <a:pt x="410" y="108"/>
                    <a:pt x="410" y="109"/>
                  </a:cubicBezTo>
                  <a:cubicBezTo>
                    <a:pt x="411" y="111"/>
                    <a:pt x="411" y="112"/>
                    <a:pt x="413" y="113"/>
                  </a:cubicBezTo>
                  <a:cubicBezTo>
                    <a:pt x="414" y="113"/>
                    <a:pt x="413" y="114"/>
                    <a:pt x="413" y="115"/>
                  </a:cubicBezTo>
                  <a:close/>
                  <a:moveTo>
                    <a:pt x="313" y="33"/>
                  </a:moveTo>
                  <a:cubicBezTo>
                    <a:pt x="313" y="33"/>
                    <a:pt x="313" y="33"/>
                    <a:pt x="313" y="33"/>
                  </a:cubicBezTo>
                  <a:cubicBezTo>
                    <a:pt x="313" y="33"/>
                    <a:pt x="313" y="33"/>
                    <a:pt x="313" y="33"/>
                  </a:cubicBezTo>
                  <a:close/>
                  <a:moveTo>
                    <a:pt x="63" y="129"/>
                  </a:moveTo>
                  <a:cubicBezTo>
                    <a:pt x="63" y="129"/>
                    <a:pt x="63" y="128"/>
                    <a:pt x="63" y="128"/>
                  </a:cubicBezTo>
                  <a:cubicBezTo>
                    <a:pt x="63" y="129"/>
                    <a:pt x="63" y="129"/>
                    <a:pt x="63" y="129"/>
                  </a:cubicBezTo>
                  <a:close/>
                  <a:moveTo>
                    <a:pt x="119" y="395"/>
                  </a:moveTo>
                  <a:cubicBezTo>
                    <a:pt x="119" y="395"/>
                    <a:pt x="119" y="395"/>
                    <a:pt x="119" y="395"/>
                  </a:cubicBezTo>
                  <a:cubicBezTo>
                    <a:pt x="119" y="395"/>
                    <a:pt x="119" y="395"/>
                    <a:pt x="119" y="395"/>
                  </a:cubicBezTo>
                  <a:close/>
                  <a:moveTo>
                    <a:pt x="122" y="401"/>
                  </a:moveTo>
                  <a:cubicBezTo>
                    <a:pt x="122" y="401"/>
                    <a:pt x="122" y="401"/>
                    <a:pt x="122" y="401"/>
                  </a:cubicBezTo>
                  <a:cubicBezTo>
                    <a:pt x="122" y="401"/>
                    <a:pt x="122" y="401"/>
                    <a:pt x="122" y="401"/>
                  </a:cubicBezTo>
                  <a:close/>
                  <a:moveTo>
                    <a:pt x="136" y="405"/>
                  </a:moveTo>
                  <a:cubicBezTo>
                    <a:pt x="136" y="405"/>
                    <a:pt x="136" y="405"/>
                    <a:pt x="136" y="405"/>
                  </a:cubicBezTo>
                  <a:cubicBezTo>
                    <a:pt x="136" y="405"/>
                    <a:pt x="136" y="405"/>
                    <a:pt x="136" y="405"/>
                  </a:cubicBezTo>
                  <a:cubicBezTo>
                    <a:pt x="136" y="405"/>
                    <a:pt x="136" y="405"/>
                    <a:pt x="136" y="405"/>
                  </a:cubicBezTo>
                  <a:close/>
                  <a:moveTo>
                    <a:pt x="301" y="426"/>
                  </a:moveTo>
                  <a:cubicBezTo>
                    <a:pt x="301" y="426"/>
                    <a:pt x="301" y="426"/>
                    <a:pt x="301" y="426"/>
                  </a:cubicBezTo>
                  <a:cubicBezTo>
                    <a:pt x="301" y="426"/>
                    <a:pt x="301" y="426"/>
                    <a:pt x="301" y="426"/>
                  </a:cubicBezTo>
                  <a:close/>
                  <a:moveTo>
                    <a:pt x="326" y="151"/>
                  </a:moveTo>
                  <a:cubicBezTo>
                    <a:pt x="326" y="151"/>
                    <a:pt x="326" y="151"/>
                    <a:pt x="326" y="151"/>
                  </a:cubicBezTo>
                  <a:cubicBezTo>
                    <a:pt x="326" y="151"/>
                    <a:pt x="326" y="151"/>
                    <a:pt x="326" y="151"/>
                  </a:cubicBezTo>
                  <a:close/>
                  <a:moveTo>
                    <a:pt x="373" y="146"/>
                  </a:moveTo>
                  <a:cubicBezTo>
                    <a:pt x="372" y="146"/>
                    <a:pt x="372" y="146"/>
                    <a:pt x="372" y="146"/>
                  </a:cubicBezTo>
                  <a:cubicBezTo>
                    <a:pt x="372" y="146"/>
                    <a:pt x="372" y="146"/>
                    <a:pt x="373" y="146"/>
                  </a:cubicBezTo>
                  <a:close/>
                  <a:moveTo>
                    <a:pt x="373" y="329"/>
                  </a:moveTo>
                  <a:cubicBezTo>
                    <a:pt x="372" y="328"/>
                    <a:pt x="372" y="329"/>
                    <a:pt x="372" y="329"/>
                  </a:cubicBezTo>
                  <a:cubicBezTo>
                    <a:pt x="371" y="330"/>
                    <a:pt x="371" y="330"/>
                    <a:pt x="370" y="329"/>
                  </a:cubicBezTo>
                  <a:cubicBezTo>
                    <a:pt x="369" y="328"/>
                    <a:pt x="369" y="327"/>
                    <a:pt x="368" y="325"/>
                  </a:cubicBezTo>
                  <a:cubicBezTo>
                    <a:pt x="368" y="325"/>
                    <a:pt x="369" y="325"/>
                    <a:pt x="369" y="324"/>
                  </a:cubicBezTo>
                  <a:cubicBezTo>
                    <a:pt x="370" y="324"/>
                    <a:pt x="370" y="323"/>
                    <a:pt x="370" y="323"/>
                  </a:cubicBezTo>
                  <a:cubicBezTo>
                    <a:pt x="369" y="322"/>
                    <a:pt x="369" y="321"/>
                    <a:pt x="369" y="321"/>
                  </a:cubicBezTo>
                  <a:cubicBezTo>
                    <a:pt x="368" y="321"/>
                    <a:pt x="368" y="322"/>
                    <a:pt x="368" y="322"/>
                  </a:cubicBezTo>
                  <a:cubicBezTo>
                    <a:pt x="367" y="323"/>
                    <a:pt x="367" y="324"/>
                    <a:pt x="366" y="323"/>
                  </a:cubicBezTo>
                  <a:cubicBezTo>
                    <a:pt x="365" y="322"/>
                    <a:pt x="363" y="323"/>
                    <a:pt x="363" y="324"/>
                  </a:cubicBezTo>
                  <a:cubicBezTo>
                    <a:pt x="363" y="326"/>
                    <a:pt x="363" y="327"/>
                    <a:pt x="363" y="328"/>
                  </a:cubicBezTo>
                  <a:cubicBezTo>
                    <a:pt x="363" y="330"/>
                    <a:pt x="362" y="331"/>
                    <a:pt x="363" y="332"/>
                  </a:cubicBezTo>
                  <a:cubicBezTo>
                    <a:pt x="364" y="332"/>
                    <a:pt x="366" y="333"/>
                    <a:pt x="367" y="332"/>
                  </a:cubicBezTo>
                  <a:cubicBezTo>
                    <a:pt x="368" y="331"/>
                    <a:pt x="370" y="331"/>
                    <a:pt x="371" y="332"/>
                  </a:cubicBezTo>
                  <a:cubicBezTo>
                    <a:pt x="372" y="332"/>
                    <a:pt x="373" y="332"/>
                    <a:pt x="373" y="330"/>
                  </a:cubicBezTo>
                  <a:cubicBezTo>
                    <a:pt x="373" y="329"/>
                    <a:pt x="373" y="329"/>
                    <a:pt x="373" y="329"/>
                  </a:cubicBezTo>
                  <a:close/>
                  <a:moveTo>
                    <a:pt x="340" y="393"/>
                  </a:moveTo>
                  <a:cubicBezTo>
                    <a:pt x="340" y="393"/>
                    <a:pt x="340" y="393"/>
                    <a:pt x="340" y="393"/>
                  </a:cubicBezTo>
                  <a:cubicBezTo>
                    <a:pt x="341" y="394"/>
                    <a:pt x="342" y="394"/>
                    <a:pt x="342" y="393"/>
                  </a:cubicBezTo>
                  <a:cubicBezTo>
                    <a:pt x="343" y="393"/>
                    <a:pt x="342" y="392"/>
                    <a:pt x="342" y="391"/>
                  </a:cubicBezTo>
                  <a:cubicBezTo>
                    <a:pt x="340" y="390"/>
                    <a:pt x="338" y="389"/>
                    <a:pt x="337" y="388"/>
                  </a:cubicBezTo>
                  <a:cubicBezTo>
                    <a:pt x="336" y="387"/>
                    <a:pt x="335" y="386"/>
                    <a:pt x="335" y="385"/>
                  </a:cubicBezTo>
                  <a:cubicBezTo>
                    <a:pt x="334" y="384"/>
                    <a:pt x="333" y="383"/>
                    <a:pt x="331" y="384"/>
                  </a:cubicBezTo>
                  <a:cubicBezTo>
                    <a:pt x="330" y="383"/>
                    <a:pt x="330" y="383"/>
                    <a:pt x="329" y="383"/>
                  </a:cubicBezTo>
                  <a:cubicBezTo>
                    <a:pt x="326" y="382"/>
                    <a:pt x="325" y="383"/>
                    <a:pt x="326" y="386"/>
                  </a:cubicBezTo>
                  <a:cubicBezTo>
                    <a:pt x="326" y="387"/>
                    <a:pt x="326" y="388"/>
                    <a:pt x="326" y="389"/>
                  </a:cubicBezTo>
                  <a:cubicBezTo>
                    <a:pt x="328" y="391"/>
                    <a:pt x="329" y="393"/>
                    <a:pt x="332" y="394"/>
                  </a:cubicBezTo>
                  <a:cubicBezTo>
                    <a:pt x="333" y="395"/>
                    <a:pt x="334" y="395"/>
                    <a:pt x="335" y="396"/>
                  </a:cubicBezTo>
                  <a:cubicBezTo>
                    <a:pt x="336" y="398"/>
                    <a:pt x="337" y="399"/>
                    <a:pt x="339" y="399"/>
                  </a:cubicBezTo>
                  <a:cubicBezTo>
                    <a:pt x="339" y="400"/>
                    <a:pt x="340" y="401"/>
                    <a:pt x="340" y="400"/>
                  </a:cubicBezTo>
                  <a:cubicBezTo>
                    <a:pt x="341" y="400"/>
                    <a:pt x="341" y="399"/>
                    <a:pt x="341" y="398"/>
                  </a:cubicBezTo>
                  <a:cubicBezTo>
                    <a:pt x="341" y="396"/>
                    <a:pt x="340" y="396"/>
                    <a:pt x="339" y="395"/>
                  </a:cubicBezTo>
                  <a:cubicBezTo>
                    <a:pt x="338" y="395"/>
                    <a:pt x="337" y="394"/>
                    <a:pt x="338" y="393"/>
                  </a:cubicBezTo>
                  <a:cubicBezTo>
                    <a:pt x="338" y="392"/>
                    <a:pt x="339" y="393"/>
                    <a:pt x="340" y="393"/>
                  </a:cubicBezTo>
                  <a:close/>
                  <a:moveTo>
                    <a:pt x="129" y="86"/>
                  </a:moveTo>
                  <a:cubicBezTo>
                    <a:pt x="129" y="87"/>
                    <a:pt x="130" y="87"/>
                    <a:pt x="131" y="88"/>
                  </a:cubicBezTo>
                  <a:cubicBezTo>
                    <a:pt x="131" y="88"/>
                    <a:pt x="131" y="88"/>
                    <a:pt x="131" y="88"/>
                  </a:cubicBezTo>
                  <a:cubicBezTo>
                    <a:pt x="132" y="89"/>
                    <a:pt x="132" y="89"/>
                    <a:pt x="133" y="90"/>
                  </a:cubicBezTo>
                  <a:cubicBezTo>
                    <a:pt x="134" y="91"/>
                    <a:pt x="135" y="92"/>
                    <a:pt x="137" y="93"/>
                  </a:cubicBezTo>
                  <a:cubicBezTo>
                    <a:pt x="138" y="93"/>
                    <a:pt x="139" y="93"/>
                    <a:pt x="139" y="92"/>
                  </a:cubicBezTo>
                  <a:cubicBezTo>
                    <a:pt x="140" y="92"/>
                    <a:pt x="139" y="91"/>
                    <a:pt x="139" y="90"/>
                  </a:cubicBezTo>
                  <a:cubicBezTo>
                    <a:pt x="138" y="90"/>
                    <a:pt x="138" y="89"/>
                    <a:pt x="137" y="88"/>
                  </a:cubicBezTo>
                  <a:cubicBezTo>
                    <a:pt x="137" y="86"/>
                    <a:pt x="136" y="83"/>
                    <a:pt x="133" y="83"/>
                  </a:cubicBezTo>
                  <a:cubicBezTo>
                    <a:pt x="132" y="82"/>
                    <a:pt x="132" y="80"/>
                    <a:pt x="131" y="79"/>
                  </a:cubicBezTo>
                  <a:cubicBezTo>
                    <a:pt x="132" y="78"/>
                    <a:pt x="132" y="78"/>
                    <a:pt x="131" y="77"/>
                  </a:cubicBezTo>
                  <a:cubicBezTo>
                    <a:pt x="131" y="76"/>
                    <a:pt x="130" y="75"/>
                    <a:pt x="129" y="75"/>
                  </a:cubicBezTo>
                  <a:cubicBezTo>
                    <a:pt x="129" y="74"/>
                    <a:pt x="128" y="74"/>
                    <a:pt x="127" y="75"/>
                  </a:cubicBezTo>
                  <a:cubicBezTo>
                    <a:pt x="126" y="78"/>
                    <a:pt x="126" y="82"/>
                    <a:pt x="127" y="85"/>
                  </a:cubicBezTo>
                  <a:cubicBezTo>
                    <a:pt x="128" y="86"/>
                    <a:pt x="128" y="86"/>
                    <a:pt x="129" y="86"/>
                  </a:cubicBezTo>
                  <a:close/>
                  <a:moveTo>
                    <a:pt x="216" y="27"/>
                  </a:moveTo>
                  <a:cubicBezTo>
                    <a:pt x="217" y="27"/>
                    <a:pt x="217" y="27"/>
                    <a:pt x="218" y="27"/>
                  </a:cubicBezTo>
                  <a:cubicBezTo>
                    <a:pt x="218" y="27"/>
                    <a:pt x="218" y="27"/>
                    <a:pt x="219" y="28"/>
                  </a:cubicBezTo>
                  <a:cubicBezTo>
                    <a:pt x="219" y="28"/>
                    <a:pt x="219" y="28"/>
                    <a:pt x="219" y="28"/>
                  </a:cubicBezTo>
                  <a:cubicBezTo>
                    <a:pt x="221" y="29"/>
                    <a:pt x="222" y="30"/>
                    <a:pt x="223" y="31"/>
                  </a:cubicBezTo>
                  <a:cubicBezTo>
                    <a:pt x="224" y="32"/>
                    <a:pt x="225" y="32"/>
                    <a:pt x="225" y="31"/>
                  </a:cubicBezTo>
                  <a:cubicBezTo>
                    <a:pt x="226" y="31"/>
                    <a:pt x="226" y="30"/>
                    <a:pt x="225" y="29"/>
                  </a:cubicBezTo>
                  <a:cubicBezTo>
                    <a:pt x="225" y="29"/>
                    <a:pt x="224" y="29"/>
                    <a:pt x="224" y="28"/>
                  </a:cubicBezTo>
                  <a:cubicBezTo>
                    <a:pt x="223" y="27"/>
                    <a:pt x="222" y="28"/>
                    <a:pt x="221" y="28"/>
                  </a:cubicBezTo>
                  <a:cubicBezTo>
                    <a:pt x="221" y="27"/>
                    <a:pt x="221" y="27"/>
                    <a:pt x="220" y="27"/>
                  </a:cubicBezTo>
                  <a:cubicBezTo>
                    <a:pt x="220" y="23"/>
                    <a:pt x="217" y="21"/>
                    <a:pt x="214" y="19"/>
                  </a:cubicBezTo>
                  <a:cubicBezTo>
                    <a:pt x="213" y="18"/>
                    <a:pt x="212" y="19"/>
                    <a:pt x="211" y="20"/>
                  </a:cubicBezTo>
                  <a:cubicBezTo>
                    <a:pt x="211" y="23"/>
                    <a:pt x="211" y="27"/>
                    <a:pt x="216" y="27"/>
                  </a:cubicBezTo>
                  <a:close/>
                  <a:moveTo>
                    <a:pt x="208" y="32"/>
                  </a:moveTo>
                  <a:cubicBezTo>
                    <a:pt x="209" y="34"/>
                    <a:pt x="211" y="36"/>
                    <a:pt x="212" y="38"/>
                  </a:cubicBezTo>
                  <a:cubicBezTo>
                    <a:pt x="212" y="38"/>
                    <a:pt x="213" y="39"/>
                    <a:pt x="213" y="39"/>
                  </a:cubicBezTo>
                  <a:cubicBezTo>
                    <a:pt x="214" y="40"/>
                    <a:pt x="216" y="41"/>
                    <a:pt x="217" y="40"/>
                  </a:cubicBezTo>
                  <a:cubicBezTo>
                    <a:pt x="218" y="39"/>
                    <a:pt x="216" y="38"/>
                    <a:pt x="216" y="37"/>
                  </a:cubicBezTo>
                  <a:cubicBezTo>
                    <a:pt x="214" y="35"/>
                    <a:pt x="212" y="32"/>
                    <a:pt x="210" y="29"/>
                  </a:cubicBezTo>
                  <a:cubicBezTo>
                    <a:pt x="209" y="28"/>
                    <a:pt x="209" y="29"/>
                    <a:pt x="208" y="29"/>
                  </a:cubicBezTo>
                  <a:cubicBezTo>
                    <a:pt x="206" y="30"/>
                    <a:pt x="207" y="31"/>
                    <a:pt x="208" y="32"/>
                  </a:cubicBezTo>
                  <a:close/>
                  <a:moveTo>
                    <a:pt x="336" y="377"/>
                  </a:moveTo>
                  <a:cubicBezTo>
                    <a:pt x="334" y="375"/>
                    <a:pt x="332" y="377"/>
                    <a:pt x="330" y="376"/>
                  </a:cubicBezTo>
                  <a:cubicBezTo>
                    <a:pt x="330" y="375"/>
                    <a:pt x="330" y="375"/>
                    <a:pt x="330" y="375"/>
                  </a:cubicBezTo>
                  <a:cubicBezTo>
                    <a:pt x="330" y="375"/>
                    <a:pt x="331" y="375"/>
                    <a:pt x="331" y="375"/>
                  </a:cubicBezTo>
                  <a:cubicBezTo>
                    <a:pt x="332" y="375"/>
                    <a:pt x="332" y="376"/>
                    <a:pt x="333" y="375"/>
                  </a:cubicBezTo>
                  <a:cubicBezTo>
                    <a:pt x="333" y="374"/>
                    <a:pt x="332" y="374"/>
                    <a:pt x="332" y="373"/>
                  </a:cubicBezTo>
                  <a:cubicBezTo>
                    <a:pt x="331" y="372"/>
                    <a:pt x="330" y="372"/>
                    <a:pt x="329" y="372"/>
                  </a:cubicBezTo>
                  <a:cubicBezTo>
                    <a:pt x="326" y="370"/>
                    <a:pt x="323" y="370"/>
                    <a:pt x="320" y="371"/>
                  </a:cubicBezTo>
                  <a:cubicBezTo>
                    <a:pt x="320" y="372"/>
                    <a:pt x="320" y="372"/>
                    <a:pt x="320" y="373"/>
                  </a:cubicBezTo>
                  <a:cubicBezTo>
                    <a:pt x="319" y="374"/>
                    <a:pt x="318" y="375"/>
                    <a:pt x="318" y="376"/>
                  </a:cubicBezTo>
                  <a:cubicBezTo>
                    <a:pt x="317" y="378"/>
                    <a:pt x="319" y="377"/>
                    <a:pt x="320" y="377"/>
                  </a:cubicBezTo>
                  <a:cubicBezTo>
                    <a:pt x="321" y="378"/>
                    <a:pt x="322" y="378"/>
                    <a:pt x="323" y="379"/>
                  </a:cubicBezTo>
                  <a:cubicBezTo>
                    <a:pt x="326" y="380"/>
                    <a:pt x="333" y="379"/>
                    <a:pt x="336" y="377"/>
                  </a:cubicBezTo>
                  <a:close/>
                  <a:moveTo>
                    <a:pt x="358" y="173"/>
                  </a:moveTo>
                  <a:cubicBezTo>
                    <a:pt x="358" y="174"/>
                    <a:pt x="359" y="173"/>
                    <a:pt x="360" y="173"/>
                  </a:cubicBezTo>
                  <a:cubicBezTo>
                    <a:pt x="361" y="172"/>
                    <a:pt x="362" y="171"/>
                    <a:pt x="364" y="170"/>
                  </a:cubicBezTo>
                  <a:cubicBezTo>
                    <a:pt x="364" y="170"/>
                    <a:pt x="364" y="170"/>
                    <a:pt x="364" y="169"/>
                  </a:cubicBezTo>
                  <a:cubicBezTo>
                    <a:pt x="363" y="168"/>
                    <a:pt x="362" y="167"/>
                    <a:pt x="361" y="167"/>
                  </a:cubicBezTo>
                  <a:cubicBezTo>
                    <a:pt x="359" y="166"/>
                    <a:pt x="359" y="168"/>
                    <a:pt x="359" y="168"/>
                  </a:cubicBezTo>
                  <a:cubicBezTo>
                    <a:pt x="358" y="169"/>
                    <a:pt x="359" y="171"/>
                    <a:pt x="358" y="172"/>
                  </a:cubicBezTo>
                  <a:cubicBezTo>
                    <a:pt x="358" y="172"/>
                    <a:pt x="357" y="173"/>
                    <a:pt x="358" y="173"/>
                  </a:cubicBezTo>
                  <a:close/>
                  <a:moveTo>
                    <a:pt x="371" y="108"/>
                  </a:moveTo>
                  <a:cubicBezTo>
                    <a:pt x="371" y="109"/>
                    <a:pt x="372" y="109"/>
                    <a:pt x="373" y="109"/>
                  </a:cubicBezTo>
                  <a:cubicBezTo>
                    <a:pt x="373" y="108"/>
                    <a:pt x="373" y="107"/>
                    <a:pt x="373" y="107"/>
                  </a:cubicBezTo>
                  <a:cubicBezTo>
                    <a:pt x="372" y="105"/>
                    <a:pt x="372" y="104"/>
                    <a:pt x="371" y="102"/>
                  </a:cubicBezTo>
                  <a:cubicBezTo>
                    <a:pt x="370" y="102"/>
                    <a:pt x="370" y="102"/>
                    <a:pt x="369" y="102"/>
                  </a:cubicBezTo>
                  <a:cubicBezTo>
                    <a:pt x="369" y="102"/>
                    <a:pt x="367" y="102"/>
                    <a:pt x="368" y="103"/>
                  </a:cubicBezTo>
                  <a:cubicBezTo>
                    <a:pt x="368" y="105"/>
                    <a:pt x="369" y="107"/>
                    <a:pt x="371" y="108"/>
                  </a:cubicBezTo>
                  <a:close/>
                  <a:moveTo>
                    <a:pt x="369" y="257"/>
                  </a:moveTo>
                  <a:cubicBezTo>
                    <a:pt x="369" y="257"/>
                    <a:pt x="370" y="257"/>
                    <a:pt x="370" y="256"/>
                  </a:cubicBezTo>
                  <a:cubicBezTo>
                    <a:pt x="371" y="255"/>
                    <a:pt x="371" y="253"/>
                    <a:pt x="371" y="252"/>
                  </a:cubicBezTo>
                  <a:cubicBezTo>
                    <a:pt x="372" y="251"/>
                    <a:pt x="371" y="250"/>
                    <a:pt x="370" y="249"/>
                  </a:cubicBezTo>
                  <a:cubicBezTo>
                    <a:pt x="370" y="249"/>
                    <a:pt x="369" y="249"/>
                    <a:pt x="369" y="250"/>
                  </a:cubicBezTo>
                  <a:cubicBezTo>
                    <a:pt x="370" y="252"/>
                    <a:pt x="368" y="253"/>
                    <a:pt x="368" y="256"/>
                  </a:cubicBezTo>
                  <a:cubicBezTo>
                    <a:pt x="368" y="256"/>
                    <a:pt x="368" y="257"/>
                    <a:pt x="369" y="257"/>
                  </a:cubicBezTo>
                  <a:close/>
                  <a:moveTo>
                    <a:pt x="361" y="292"/>
                  </a:moveTo>
                  <a:cubicBezTo>
                    <a:pt x="363" y="295"/>
                    <a:pt x="363" y="297"/>
                    <a:pt x="364" y="300"/>
                  </a:cubicBezTo>
                  <a:cubicBezTo>
                    <a:pt x="364" y="302"/>
                    <a:pt x="365" y="304"/>
                    <a:pt x="365" y="305"/>
                  </a:cubicBezTo>
                  <a:cubicBezTo>
                    <a:pt x="366" y="303"/>
                    <a:pt x="365" y="300"/>
                    <a:pt x="365" y="297"/>
                  </a:cubicBezTo>
                  <a:cubicBezTo>
                    <a:pt x="364" y="295"/>
                    <a:pt x="364" y="293"/>
                    <a:pt x="364" y="291"/>
                  </a:cubicBezTo>
                  <a:cubicBezTo>
                    <a:pt x="364" y="290"/>
                    <a:pt x="363" y="289"/>
                    <a:pt x="362" y="289"/>
                  </a:cubicBezTo>
                  <a:cubicBezTo>
                    <a:pt x="361" y="289"/>
                    <a:pt x="361" y="290"/>
                    <a:pt x="361" y="291"/>
                  </a:cubicBezTo>
                  <a:cubicBezTo>
                    <a:pt x="361" y="291"/>
                    <a:pt x="361" y="292"/>
                    <a:pt x="361" y="292"/>
                  </a:cubicBezTo>
                  <a:close/>
                  <a:moveTo>
                    <a:pt x="11" y="264"/>
                  </a:moveTo>
                  <a:cubicBezTo>
                    <a:pt x="9" y="264"/>
                    <a:pt x="8" y="263"/>
                    <a:pt x="6" y="263"/>
                  </a:cubicBezTo>
                  <a:cubicBezTo>
                    <a:pt x="5" y="263"/>
                    <a:pt x="4" y="264"/>
                    <a:pt x="4" y="264"/>
                  </a:cubicBezTo>
                  <a:cubicBezTo>
                    <a:pt x="5" y="265"/>
                    <a:pt x="6" y="267"/>
                    <a:pt x="7" y="267"/>
                  </a:cubicBezTo>
                  <a:cubicBezTo>
                    <a:pt x="9" y="267"/>
                    <a:pt x="10" y="266"/>
                    <a:pt x="11" y="266"/>
                  </a:cubicBezTo>
                  <a:cubicBezTo>
                    <a:pt x="11" y="265"/>
                    <a:pt x="11" y="265"/>
                    <a:pt x="11" y="264"/>
                  </a:cubicBezTo>
                  <a:close/>
                  <a:moveTo>
                    <a:pt x="219" y="32"/>
                  </a:moveTo>
                  <a:cubicBezTo>
                    <a:pt x="218" y="31"/>
                    <a:pt x="217" y="32"/>
                    <a:pt x="216" y="31"/>
                  </a:cubicBezTo>
                  <a:cubicBezTo>
                    <a:pt x="216" y="29"/>
                    <a:pt x="215" y="28"/>
                    <a:pt x="213" y="29"/>
                  </a:cubicBezTo>
                  <a:cubicBezTo>
                    <a:pt x="212" y="30"/>
                    <a:pt x="213" y="32"/>
                    <a:pt x="214" y="33"/>
                  </a:cubicBezTo>
                  <a:cubicBezTo>
                    <a:pt x="214" y="33"/>
                    <a:pt x="214" y="33"/>
                    <a:pt x="214" y="33"/>
                  </a:cubicBezTo>
                  <a:cubicBezTo>
                    <a:pt x="215" y="34"/>
                    <a:pt x="217" y="36"/>
                    <a:pt x="218" y="37"/>
                  </a:cubicBezTo>
                  <a:cubicBezTo>
                    <a:pt x="218" y="38"/>
                    <a:pt x="218" y="38"/>
                    <a:pt x="218" y="38"/>
                  </a:cubicBezTo>
                  <a:cubicBezTo>
                    <a:pt x="219" y="39"/>
                    <a:pt x="220" y="38"/>
                    <a:pt x="220" y="38"/>
                  </a:cubicBezTo>
                  <a:cubicBezTo>
                    <a:pt x="221" y="37"/>
                    <a:pt x="222" y="37"/>
                    <a:pt x="222" y="36"/>
                  </a:cubicBezTo>
                  <a:cubicBezTo>
                    <a:pt x="222" y="33"/>
                    <a:pt x="220" y="33"/>
                    <a:pt x="219" y="32"/>
                  </a:cubicBezTo>
                  <a:close/>
                  <a:moveTo>
                    <a:pt x="361" y="221"/>
                  </a:moveTo>
                  <a:cubicBezTo>
                    <a:pt x="361" y="219"/>
                    <a:pt x="362" y="217"/>
                    <a:pt x="361" y="215"/>
                  </a:cubicBezTo>
                  <a:cubicBezTo>
                    <a:pt x="360" y="216"/>
                    <a:pt x="359" y="218"/>
                    <a:pt x="358" y="219"/>
                  </a:cubicBezTo>
                  <a:cubicBezTo>
                    <a:pt x="357" y="221"/>
                    <a:pt x="359" y="222"/>
                    <a:pt x="360" y="222"/>
                  </a:cubicBezTo>
                  <a:cubicBezTo>
                    <a:pt x="361" y="223"/>
                    <a:pt x="361" y="222"/>
                    <a:pt x="361" y="221"/>
                  </a:cubicBezTo>
                  <a:close/>
                  <a:moveTo>
                    <a:pt x="370" y="212"/>
                  </a:moveTo>
                  <a:cubicBezTo>
                    <a:pt x="370" y="212"/>
                    <a:pt x="370" y="212"/>
                    <a:pt x="371" y="212"/>
                  </a:cubicBezTo>
                  <a:cubicBezTo>
                    <a:pt x="373" y="210"/>
                    <a:pt x="374" y="209"/>
                    <a:pt x="372" y="205"/>
                  </a:cubicBezTo>
                  <a:cubicBezTo>
                    <a:pt x="370" y="207"/>
                    <a:pt x="370" y="209"/>
                    <a:pt x="369" y="211"/>
                  </a:cubicBezTo>
                  <a:cubicBezTo>
                    <a:pt x="369" y="212"/>
                    <a:pt x="369" y="212"/>
                    <a:pt x="370" y="212"/>
                  </a:cubicBezTo>
                  <a:close/>
                  <a:moveTo>
                    <a:pt x="14" y="265"/>
                  </a:moveTo>
                  <a:cubicBezTo>
                    <a:pt x="16" y="265"/>
                    <a:pt x="17" y="264"/>
                    <a:pt x="19" y="264"/>
                  </a:cubicBezTo>
                  <a:cubicBezTo>
                    <a:pt x="17" y="263"/>
                    <a:pt x="16" y="261"/>
                    <a:pt x="14" y="262"/>
                  </a:cubicBezTo>
                  <a:cubicBezTo>
                    <a:pt x="13" y="262"/>
                    <a:pt x="12" y="262"/>
                    <a:pt x="12" y="263"/>
                  </a:cubicBezTo>
                  <a:cubicBezTo>
                    <a:pt x="12" y="264"/>
                    <a:pt x="13" y="265"/>
                    <a:pt x="14" y="265"/>
                  </a:cubicBezTo>
                  <a:close/>
                  <a:moveTo>
                    <a:pt x="131" y="423"/>
                  </a:moveTo>
                  <a:cubicBezTo>
                    <a:pt x="131" y="422"/>
                    <a:pt x="132" y="422"/>
                    <a:pt x="132" y="421"/>
                  </a:cubicBezTo>
                  <a:cubicBezTo>
                    <a:pt x="131" y="420"/>
                    <a:pt x="131" y="419"/>
                    <a:pt x="130" y="418"/>
                  </a:cubicBezTo>
                  <a:cubicBezTo>
                    <a:pt x="129" y="418"/>
                    <a:pt x="128" y="419"/>
                    <a:pt x="128" y="420"/>
                  </a:cubicBezTo>
                  <a:cubicBezTo>
                    <a:pt x="127" y="422"/>
                    <a:pt x="128" y="422"/>
                    <a:pt x="129" y="423"/>
                  </a:cubicBezTo>
                  <a:cubicBezTo>
                    <a:pt x="130" y="423"/>
                    <a:pt x="130" y="423"/>
                    <a:pt x="131" y="423"/>
                  </a:cubicBezTo>
                  <a:close/>
                  <a:moveTo>
                    <a:pt x="149" y="447"/>
                  </a:moveTo>
                  <a:cubicBezTo>
                    <a:pt x="148" y="446"/>
                    <a:pt x="147" y="445"/>
                    <a:pt x="146" y="446"/>
                  </a:cubicBezTo>
                  <a:cubicBezTo>
                    <a:pt x="145" y="446"/>
                    <a:pt x="145" y="447"/>
                    <a:pt x="146" y="447"/>
                  </a:cubicBezTo>
                  <a:cubicBezTo>
                    <a:pt x="146" y="447"/>
                    <a:pt x="146" y="448"/>
                    <a:pt x="146" y="448"/>
                  </a:cubicBezTo>
                  <a:cubicBezTo>
                    <a:pt x="145" y="450"/>
                    <a:pt x="146" y="451"/>
                    <a:pt x="146" y="453"/>
                  </a:cubicBezTo>
                  <a:cubicBezTo>
                    <a:pt x="148" y="453"/>
                    <a:pt x="148" y="452"/>
                    <a:pt x="148" y="451"/>
                  </a:cubicBezTo>
                  <a:cubicBezTo>
                    <a:pt x="148" y="450"/>
                    <a:pt x="148" y="449"/>
                    <a:pt x="148" y="448"/>
                  </a:cubicBezTo>
                  <a:cubicBezTo>
                    <a:pt x="149" y="448"/>
                    <a:pt x="150" y="448"/>
                    <a:pt x="149" y="447"/>
                  </a:cubicBezTo>
                  <a:close/>
                  <a:moveTo>
                    <a:pt x="326" y="383"/>
                  </a:moveTo>
                  <a:cubicBezTo>
                    <a:pt x="328" y="383"/>
                    <a:pt x="329" y="382"/>
                    <a:pt x="331" y="383"/>
                  </a:cubicBezTo>
                  <a:cubicBezTo>
                    <a:pt x="333" y="383"/>
                    <a:pt x="335" y="383"/>
                    <a:pt x="337" y="386"/>
                  </a:cubicBezTo>
                  <a:cubicBezTo>
                    <a:pt x="337" y="387"/>
                    <a:pt x="338" y="387"/>
                    <a:pt x="339" y="386"/>
                  </a:cubicBezTo>
                  <a:cubicBezTo>
                    <a:pt x="340" y="386"/>
                    <a:pt x="341" y="387"/>
                    <a:pt x="342" y="387"/>
                  </a:cubicBezTo>
                  <a:cubicBezTo>
                    <a:pt x="342" y="386"/>
                    <a:pt x="341" y="385"/>
                    <a:pt x="342" y="383"/>
                  </a:cubicBezTo>
                  <a:cubicBezTo>
                    <a:pt x="342" y="383"/>
                    <a:pt x="342" y="382"/>
                    <a:pt x="342" y="382"/>
                  </a:cubicBezTo>
                  <a:cubicBezTo>
                    <a:pt x="340" y="382"/>
                    <a:pt x="340" y="381"/>
                    <a:pt x="338" y="380"/>
                  </a:cubicBezTo>
                  <a:cubicBezTo>
                    <a:pt x="335" y="379"/>
                    <a:pt x="332" y="380"/>
                    <a:pt x="329" y="380"/>
                  </a:cubicBezTo>
                  <a:cubicBezTo>
                    <a:pt x="328" y="380"/>
                    <a:pt x="327" y="380"/>
                    <a:pt x="326" y="380"/>
                  </a:cubicBezTo>
                  <a:cubicBezTo>
                    <a:pt x="326" y="381"/>
                    <a:pt x="325" y="381"/>
                    <a:pt x="325" y="382"/>
                  </a:cubicBezTo>
                  <a:cubicBezTo>
                    <a:pt x="325" y="382"/>
                    <a:pt x="326" y="382"/>
                    <a:pt x="326" y="383"/>
                  </a:cubicBezTo>
                  <a:close/>
                  <a:moveTo>
                    <a:pt x="363" y="237"/>
                  </a:moveTo>
                  <a:cubicBezTo>
                    <a:pt x="362" y="236"/>
                    <a:pt x="362" y="235"/>
                    <a:pt x="361" y="234"/>
                  </a:cubicBezTo>
                  <a:cubicBezTo>
                    <a:pt x="360" y="235"/>
                    <a:pt x="361" y="236"/>
                    <a:pt x="361" y="238"/>
                  </a:cubicBezTo>
                  <a:cubicBezTo>
                    <a:pt x="361" y="238"/>
                    <a:pt x="361" y="239"/>
                    <a:pt x="362" y="239"/>
                  </a:cubicBezTo>
                  <a:cubicBezTo>
                    <a:pt x="363" y="239"/>
                    <a:pt x="363" y="238"/>
                    <a:pt x="363" y="237"/>
                  </a:cubicBezTo>
                  <a:close/>
                  <a:moveTo>
                    <a:pt x="131" y="458"/>
                  </a:moveTo>
                  <a:cubicBezTo>
                    <a:pt x="133" y="457"/>
                    <a:pt x="135" y="457"/>
                    <a:pt x="136" y="455"/>
                  </a:cubicBezTo>
                  <a:cubicBezTo>
                    <a:pt x="138" y="455"/>
                    <a:pt x="140" y="455"/>
                    <a:pt x="140" y="453"/>
                  </a:cubicBezTo>
                  <a:cubicBezTo>
                    <a:pt x="143" y="451"/>
                    <a:pt x="141" y="450"/>
                    <a:pt x="141" y="448"/>
                  </a:cubicBezTo>
                  <a:cubicBezTo>
                    <a:pt x="140" y="447"/>
                    <a:pt x="138" y="447"/>
                    <a:pt x="137" y="446"/>
                  </a:cubicBezTo>
                  <a:cubicBezTo>
                    <a:pt x="135" y="445"/>
                    <a:pt x="135" y="443"/>
                    <a:pt x="133" y="441"/>
                  </a:cubicBezTo>
                  <a:cubicBezTo>
                    <a:pt x="132" y="440"/>
                    <a:pt x="131" y="439"/>
                    <a:pt x="129" y="439"/>
                  </a:cubicBezTo>
                  <a:cubicBezTo>
                    <a:pt x="129" y="439"/>
                    <a:pt x="129" y="439"/>
                    <a:pt x="128" y="439"/>
                  </a:cubicBezTo>
                  <a:cubicBezTo>
                    <a:pt x="128" y="439"/>
                    <a:pt x="128" y="438"/>
                    <a:pt x="127" y="438"/>
                  </a:cubicBezTo>
                  <a:cubicBezTo>
                    <a:pt x="127" y="438"/>
                    <a:pt x="127" y="438"/>
                    <a:pt x="126" y="438"/>
                  </a:cubicBezTo>
                  <a:cubicBezTo>
                    <a:pt x="125" y="438"/>
                    <a:pt x="124" y="438"/>
                    <a:pt x="123" y="439"/>
                  </a:cubicBezTo>
                  <a:cubicBezTo>
                    <a:pt x="121" y="440"/>
                    <a:pt x="122" y="443"/>
                    <a:pt x="124" y="444"/>
                  </a:cubicBezTo>
                  <a:cubicBezTo>
                    <a:pt x="124" y="445"/>
                    <a:pt x="125" y="446"/>
                    <a:pt x="124" y="445"/>
                  </a:cubicBezTo>
                  <a:cubicBezTo>
                    <a:pt x="122" y="445"/>
                    <a:pt x="122" y="446"/>
                    <a:pt x="122" y="447"/>
                  </a:cubicBezTo>
                  <a:cubicBezTo>
                    <a:pt x="121" y="448"/>
                    <a:pt x="122" y="448"/>
                    <a:pt x="123" y="448"/>
                  </a:cubicBezTo>
                  <a:cubicBezTo>
                    <a:pt x="123" y="449"/>
                    <a:pt x="124" y="449"/>
                    <a:pt x="124" y="449"/>
                  </a:cubicBezTo>
                  <a:cubicBezTo>
                    <a:pt x="124" y="450"/>
                    <a:pt x="123" y="449"/>
                    <a:pt x="123" y="449"/>
                  </a:cubicBezTo>
                  <a:cubicBezTo>
                    <a:pt x="122" y="449"/>
                    <a:pt x="122" y="449"/>
                    <a:pt x="121" y="450"/>
                  </a:cubicBezTo>
                  <a:cubicBezTo>
                    <a:pt x="121" y="450"/>
                    <a:pt x="121" y="452"/>
                    <a:pt x="122" y="452"/>
                  </a:cubicBezTo>
                  <a:cubicBezTo>
                    <a:pt x="124" y="452"/>
                    <a:pt x="126" y="453"/>
                    <a:pt x="128" y="452"/>
                  </a:cubicBezTo>
                  <a:cubicBezTo>
                    <a:pt x="128" y="454"/>
                    <a:pt x="129" y="454"/>
                    <a:pt x="131" y="454"/>
                  </a:cubicBezTo>
                  <a:cubicBezTo>
                    <a:pt x="129" y="455"/>
                    <a:pt x="129" y="455"/>
                    <a:pt x="127" y="455"/>
                  </a:cubicBezTo>
                  <a:cubicBezTo>
                    <a:pt x="126" y="455"/>
                    <a:pt x="126" y="456"/>
                    <a:pt x="126" y="456"/>
                  </a:cubicBezTo>
                  <a:cubicBezTo>
                    <a:pt x="128" y="457"/>
                    <a:pt x="129" y="459"/>
                    <a:pt x="131" y="458"/>
                  </a:cubicBezTo>
                  <a:close/>
                  <a:moveTo>
                    <a:pt x="351" y="298"/>
                  </a:moveTo>
                  <a:cubicBezTo>
                    <a:pt x="353" y="298"/>
                    <a:pt x="353" y="295"/>
                    <a:pt x="354" y="294"/>
                  </a:cubicBezTo>
                  <a:cubicBezTo>
                    <a:pt x="354" y="294"/>
                    <a:pt x="354" y="294"/>
                    <a:pt x="354" y="293"/>
                  </a:cubicBezTo>
                  <a:cubicBezTo>
                    <a:pt x="353" y="293"/>
                    <a:pt x="353" y="293"/>
                    <a:pt x="353" y="294"/>
                  </a:cubicBezTo>
                  <a:cubicBezTo>
                    <a:pt x="352" y="295"/>
                    <a:pt x="350" y="296"/>
                    <a:pt x="351" y="298"/>
                  </a:cubicBezTo>
                  <a:close/>
                  <a:moveTo>
                    <a:pt x="207" y="25"/>
                  </a:moveTo>
                  <a:cubicBezTo>
                    <a:pt x="206" y="25"/>
                    <a:pt x="205" y="25"/>
                    <a:pt x="205" y="26"/>
                  </a:cubicBezTo>
                  <a:cubicBezTo>
                    <a:pt x="205" y="27"/>
                    <a:pt x="206" y="27"/>
                    <a:pt x="208" y="27"/>
                  </a:cubicBezTo>
                  <a:cubicBezTo>
                    <a:pt x="208" y="27"/>
                    <a:pt x="209" y="27"/>
                    <a:pt x="209" y="26"/>
                  </a:cubicBezTo>
                  <a:cubicBezTo>
                    <a:pt x="209" y="25"/>
                    <a:pt x="208" y="25"/>
                    <a:pt x="207" y="25"/>
                  </a:cubicBezTo>
                  <a:close/>
                  <a:moveTo>
                    <a:pt x="135" y="81"/>
                  </a:moveTo>
                  <a:cubicBezTo>
                    <a:pt x="136" y="81"/>
                    <a:pt x="137" y="81"/>
                    <a:pt x="136" y="80"/>
                  </a:cubicBezTo>
                  <a:cubicBezTo>
                    <a:pt x="136" y="79"/>
                    <a:pt x="136" y="78"/>
                    <a:pt x="135" y="77"/>
                  </a:cubicBezTo>
                  <a:cubicBezTo>
                    <a:pt x="134" y="77"/>
                    <a:pt x="134" y="78"/>
                    <a:pt x="134" y="79"/>
                  </a:cubicBezTo>
                  <a:cubicBezTo>
                    <a:pt x="134" y="80"/>
                    <a:pt x="134" y="81"/>
                    <a:pt x="135" y="81"/>
                  </a:cubicBezTo>
                  <a:close/>
                  <a:moveTo>
                    <a:pt x="176" y="60"/>
                  </a:moveTo>
                  <a:cubicBezTo>
                    <a:pt x="175" y="58"/>
                    <a:pt x="173" y="58"/>
                    <a:pt x="171" y="58"/>
                  </a:cubicBezTo>
                  <a:cubicBezTo>
                    <a:pt x="169" y="58"/>
                    <a:pt x="168" y="59"/>
                    <a:pt x="167" y="59"/>
                  </a:cubicBezTo>
                  <a:cubicBezTo>
                    <a:pt x="164" y="60"/>
                    <a:pt x="164" y="60"/>
                    <a:pt x="165" y="61"/>
                  </a:cubicBezTo>
                  <a:cubicBezTo>
                    <a:pt x="168" y="65"/>
                    <a:pt x="168" y="70"/>
                    <a:pt x="169" y="75"/>
                  </a:cubicBezTo>
                  <a:cubicBezTo>
                    <a:pt x="169" y="75"/>
                    <a:pt x="170" y="76"/>
                    <a:pt x="170" y="77"/>
                  </a:cubicBezTo>
                  <a:cubicBezTo>
                    <a:pt x="171" y="77"/>
                    <a:pt x="171" y="77"/>
                    <a:pt x="171" y="77"/>
                  </a:cubicBezTo>
                  <a:cubicBezTo>
                    <a:pt x="173" y="80"/>
                    <a:pt x="176" y="82"/>
                    <a:pt x="178" y="84"/>
                  </a:cubicBezTo>
                  <a:cubicBezTo>
                    <a:pt x="179" y="85"/>
                    <a:pt x="181" y="87"/>
                    <a:pt x="181" y="89"/>
                  </a:cubicBezTo>
                  <a:cubicBezTo>
                    <a:pt x="181" y="90"/>
                    <a:pt x="181" y="90"/>
                    <a:pt x="181" y="91"/>
                  </a:cubicBezTo>
                  <a:cubicBezTo>
                    <a:pt x="182" y="92"/>
                    <a:pt x="182" y="92"/>
                    <a:pt x="182" y="92"/>
                  </a:cubicBezTo>
                  <a:cubicBezTo>
                    <a:pt x="183" y="92"/>
                    <a:pt x="183" y="92"/>
                    <a:pt x="184" y="92"/>
                  </a:cubicBezTo>
                  <a:cubicBezTo>
                    <a:pt x="184" y="91"/>
                    <a:pt x="184" y="90"/>
                    <a:pt x="184" y="90"/>
                  </a:cubicBezTo>
                  <a:cubicBezTo>
                    <a:pt x="183" y="88"/>
                    <a:pt x="183" y="86"/>
                    <a:pt x="182" y="85"/>
                  </a:cubicBezTo>
                  <a:cubicBezTo>
                    <a:pt x="182" y="84"/>
                    <a:pt x="183" y="82"/>
                    <a:pt x="183" y="81"/>
                  </a:cubicBezTo>
                  <a:cubicBezTo>
                    <a:pt x="183" y="80"/>
                    <a:pt x="184" y="80"/>
                    <a:pt x="184" y="80"/>
                  </a:cubicBezTo>
                  <a:cubicBezTo>
                    <a:pt x="187" y="78"/>
                    <a:pt x="187" y="77"/>
                    <a:pt x="186" y="74"/>
                  </a:cubicBezTo>
                  <a:cubicBezTo>
                    <a:pt x="186" y="73"/>
                    <a:pt x="186" y="73"/>
                    <a:pt x="185" y="73"/>
                  </a:cubicBezTo>
                  <a:cubicBezTo>
                    <a:pt x="184" y="70"/>
                    <a:pt x="184" y="68"/>
                    <a:pt x="182" y="66"/>
                  </a:cubicBezTo>
                  <a:cubicBezTo>
                    <a:pt x="181" y="65"/>
                    <a:pt x="181" y="65"/>
                    <a:pt x="180" y="64"/>
                  </a:cubicBezTo>
                  <a:cubicBezTo>
                    <a:pt x="180" y="64"/>
                    <a:pt x="179" y="64"/>
                    <a:pt x="179" y="63"/>
                  </a:cubicBezTo>
                  <a:cubicBezTo>
                    <a:pt x="179" y="63"/>
                    <a:pt x="179" y="63"/>
                    <a:pt x="179" y="63"/>
                  </a:cubicBezTo>
                  <a:cubicBezTo>
                    <a:pt x="179" y="63"/>
                    <a:pt x="179" y="63"/>
                    <a:pt x="179" y="63"/>
                  </a:cubicBezTo>
                  <a:cubicBezTo>
                    <a:pt x="179" y="61"/>
                    <a:pt x="177" y="61"/>
                    <a:pt x="176" y="60"/>
                  </a:cubicBezTo>
                  <a:close/>
                  <a:moveTo>
                    <a:pt x="110" y="361"/>
                  </a:moveTo>
                  <a:cubicBezTo>
                    <a:pt x="111" y="361"/>
                    <a:pt x="111" y="361"/>
                    <a:pt x="112" y="361"/>
                  </a:cubicBezTo>
                  <a:cubicBezTo>
                    <a:pt x="113" y="361"/>
                    <a:pt x="113" y="362"/>
                    <a:pt x="114" y="361"/>
                  </a:cubicBezTo>
                  <a:cubicBezTo>
                    <a:pt x="114" y="360"/>
                    <a:pt x="113" y="360"/>
                    <a:pt x="112" y="360"/>
                  </a:cubicBezTo>
                  <a:cubicBezTo>
                    <a:pt x="112" y="360"/>
                    <a:pt x="111" y="359"/>
                    <a:pt x="111" y="359"/>
                  </a:cubicBezTo>
                  <a:cubicBezTo>
                    <a:pt x="111" y="359"/>
                    <a:pt x="110" y="358"/>
                    <a:pt x="110" y="359"/>
                  </a:cubicBezTo>
                  <a:cubicBezTo>
                    <a:pt x="109" y="360"/>
                    <a:pt x="110" y="361"/>
                    <a:pt x="110" y="361"/>
                  </a:cubicBezTo>
                  <a:close/>
                  <a:moveTo>
                    <a:pt x="364" y="289"/>
                  </a:moveTo>
                  <a:cubicBezTo>
                    <a:pt x="364" y="287"/>
                    <a:pt x="364" y="286"/>
                    <a:pt x="362" y="285"/>
                  </a:cubicBezTo>
                  <a:cubicBezTo>
                    <a:pt x="362" y="285"/>
                    <a:pt x="361" y="285"/>
                    <a:pt x="361" y="286"/>
                  </a:cubicBezTo>
                  <a:cubicBezTo>
                    <a:pt x="361" y="287"/>
                    <a:pt x="362" y="288"/>
                    <a:pt x="364" y="289"/>
                  </a:cubicBezTo>
                  <a:close/>
                  <a:moveTo>
                    <a:pt x="230" y="29"/>
                  </a:moveTo>
                  <a:cubicBezTo>
                    <a:pt x="229" y="27"/>
                    <a:pt x="229" y="27"/>
                    <a:pt x="226" y="28"/>
                  </a:cubicBezTo>
                  <a:cubicBezTo>
                    <a:pt x="226" y="31"/>
                    <a:pt x="228" y="31"/>
                    <a:pt x="230" y="29"/>
                  </a:cubicBezTo>
                  <a:close/>
                  <a:moveTo>
                    <a:pt x="350" y="291"/>
                  </a:moveTo>
                  <a:cubicBezTo>
                    <a:pt x="349" y="291"/>
                    <a:pt x="348" y="292"/>
                    <a:pt x="348" y="293"/>
                  </a:cubicBezTo>
                  <a:cubicBezTo>
                    <a:pt x="348" y="294"/>
                    <a:pt x="349" y="294"/>
                    <a:pt x="349" y="294"/>
                  </a:cubicBezTo>
                  <a:cubicBezTo>
                    <a:pt x="350" y="294"/>
                    <a:pt x="350" y="293"/>
                    <a:pt x="350" y="292"/>
                  </a:cubicBezTo>
                  <a:cubicBezTo>
                    <a:pt x="350" y="292"/>
                    <a:pt x="350" y="291"/>
                    <a:pt x="350" y="291"/>
                  </a:cubicBezTo>
                  <a:close/>
                  <a:moveTo>
                    <a:pt x="363" y="341"/>
                  </a:moveTo>
                  <a:cubicBezTo>
                    <a:pt x="362" y="341"/>
                    <a:pt x="361" y="341"/>
                    <a:pt x="361" y="342"/>
                  </a:cubicBezTo>
                  <a:cubicBezTo>
                    <a:pt x="361" y="343"/>
                    <a:pt x="362" y="343"/>
                    <a:pt x="363" y="343"/>
                  </a:cubicBezTo>
                  <a:cubicBezTo>
                    <a:pt x="363" y="343"/>
                    <a:pt x="364" y="343"/>
                    <a:pt x="364" y="342"/>
                  </a:cubicBezTo>
                  <a:cubicBezTo>
                    <a:pt x="363" y="342"/>
                    <a:pt x="364" y="341"/>
                    <a:pt x="363" y="341"/>
                  </a:cubicBezTo>
                  <a:close/>
                  <a:moveTo>
                    <a:pt x="320" y="384"/>
                  </a:moveTo>
                  <a:cubicBezTo>
                    <a:pt x="321" y="385"/>
                    <a:pt x="322" y="386"/>
                    <a:pt x="323" y="385"/>
                  </a:cubicBezTo>
                  <a:cubicBezTo>
                    <a:pt x="323" y="385"/>
                    <a:pt x="323" y="383"/>
                    <a:pt x="323" y="383"/>
                  </a:cubicBezTo>
                  <a:cubicBezTo>
                    <a:pt x="322" y="382"/>
                    <a:pt x="321" y="383"/>
                    <a:pt x="320" y="384"/>
                  </a:cubicBezTo>
                  <a:close/>
                  <a:moveTo>
                    <a:pt x="140" y="424"/>
                  </a:moveTo>
                  <a:cubicBezTo>
                    <a:pt x="139" y="425"/>
                    <a:pt x="140" y="426"/>
                    <a:pt x="141" y="427"/>
                  </a:cubicBezTo>
                  <a:cubicBezTo>
                    <a:pt x="142" y="427"/>
                    <a:pt x="142" y="427"/>
                    <a:pt x="143" y="427"/>
                  </a:cubicBezTo>
                  <a:cubicBezTo>
                    <a:pt x="143" y="426"/>
                    <a:pt x="142" y="426"/>
                    <a:pt x="142" y="425"/>
                  </a:cubicBezTo>
                  <a:cubicBezTo>
                    <a:pt x="141" y="425"/>
                    <a:pt x="141" y="424"/>
                    <a:pt x="140" y="424"/>
                  </a:cubicBezTo>
                  <a:close/>
                  <a:moveTo>
                    <a:pt x="206" y="22"/>
                  </a:moveTo>
                  <a:cubicBezTo>
                    <a:pt x="207" y="22"/>
                    <a:pt x="208" y="22"/>
                    <a:pt x="207" y="22"/>
                  </a:cubicBezTo>
                  <a:cubicBezTo>
                    <a:pt x="207" y="21"/>
                    <a:pt x="207" y="20"/>
                    <a:pt x="206" y="20"/>
                  </a:cubicBezTo>
                  <a:cubicBezTo>
                    <a:pt x="205" y="20"/>
                    <a:pt x="204" y="21"/>
                    <a:pt x="204" y="21"/>
                  </a:cubicBezTo>
                  <a:cubicBezTo>
                    <a:pt x="205" y="22"/>
                    <a:pt x="205" y="22"/>
                    <a:pt x="206" y="22"/>
                  </a:cubicBezTo>
                  <a:close/>
                  <a:moveTo>
                    <a:pt x="24" y="289"/>
                  </a:moveTo>
                  <a:cubicBezTo>
                    <a:pt x="23" y="288"/>
                    <a:pt x="23" y="288"/>
                    <a:pt x="22" y="288"/>
                  </a:cubicBezTo>
                  <a:cubicBezTo>
                    <a:pt x="21" y="288"/>
                    <a:pt x="20" y="288"/>
                    <a:pt x="20" y="289"/>
                  </a:cubicBezTo>
                  <a:cubicBezTo>
                    <a:pt x="21" y="290"/>
                    <a:pt x="22" y="290"/>
                    <a:pt x="22" y="290"/>
                  </a:cubicBezTo>
                  <a:cubicBezTo>
                    <a:pt x="23" y="290"/>
                    <a:pt x="24" y="289"/>
                    <a:pt x="24" y="289"/>
                  </a:cubicBezTo>
                  <a:close/>
                  <a:moveTo>
                    <a:pt x="159" y="68"/>
                  </a:moveTo>
                  <a:cubicBezTo>
                    <a:pt x="159" y="68"/>
                    <a:pt x="159" y="68"/>
                    <a:pt x="159" y="67"/>
                  </a:cubicBezTo>
                  <a:cubicBezTo>
                    <a:pt x="158" y="67"/>
                    <a:pt x="159" y="65"/>
                    <a:pt x="158" y="65"/>
                  </a:cubicBezTo>
                  <a:cubicBezTo>
                    <a:pt x="157" y="65"/>
                    <a:pt x="157" y="66"/>
                    <a:pt x="157" y="66"/>
                  </a:cubicBezTo>
                  <a:cubicBezTo>
                    <a:pt x="157" y="67"/>
                    <a:pt x="158" y="68"/>
                    <a:pt x="159" y="68"/>
                  </a:cubicBezTo>
                  <a:close/>
                  <a:moveTo>
                    <a:pt x="151" y="49"/>
                  </a:moveTo>
                  <a:cubicBezTo>
                    <a:pt x="151" y="49"/>
                    <a:pt x="150" y="47"/>
                    <a:pt x="149" y="48"/>
                  </a:cubicBezTo>
                  <a:cubicBezTo>
                    <a:pt x="149" y="48"/>
                    <a:pt x="148" y="49"/>
                    <a:pt x="149" y="50"/>
                  </a:cubicBezTo>
                  <a:cubicBezTo>
                    <a:pt x="150" y="51"/>
                    <a:pt x="150" y="49"/>
                    <a:pt x="151" y="49"/>
                  </a:cubicBezTo>
                  <a:close/>
                  <a:moveTo>
                    <a:pt x="348" y="289"/>
                  </a:moveTo>
                  <a:cubicBezTo>
                    <a:pt x="348" y="288"/>
                    <a:pt x="347" y="288"/>
                    <a:pt x="346" y="287"/>
                  </a:cubicBezTo>
                  <a:cubicBezTo>
                    <a:pt x="346" y="287"/>
                    <a:pt x="345" y="287"/>
                    <a:pt x="345" y="288"/>
                  </a:cubicBezTo>
                  <a:cubicBezTo>
                    <a:pt x="345" y="289"/>
                    <a:pt x="346" y="289"/>
                    <a:pt x="347" y="289"/>
                  </a:cubicBezTo>
                  <a:cubicBezTo>
                    <a:pt x="347" y="289"/>
                    <a:pt x="348" y="289"/>
                    <a:pt x="348" y="289"/>
                  </a:cubicBezTo>
                  <a:close/>
                  <a:moveTo>
                    <a:pt x="304" y="427"/>
                  </a:moveTo>
                  <a:cubicBezTo>
                    <a:pt x="304" y="427"/>
                    <a:pt x="304" y="428"/>
                    <a:pt x="304" y="428"/>
                  </a:cubicBezTo>
                  <a:cubicBezTo>
                    <a:pt x="305" y="428"/>
                    <a:pt x="306" y="427"/>
                    <a:pt x="306" y="426"/>
                  </a:cubicBezTo>
                  <a:cubicBezTo>
                    <a:pt x="305" y="426"/>
                    <a:pt x="304" y="425"/>
                    <a:pt x="304" y="427"/>
                  </a:cubicBezTo>
                  <a:close/>
                  <a:moveTo>
                    <a:pt x="366" y="225"/>
                  </a:moveTo>
                  <a:cubicBezTo>
                    <a:pt x="365" y="225"/>
                    <a:pt x="365" y="226"/>
                    <a:pt x="365" y="227"/>
                  </a:cubicBezTo>
                  <a:cubicBezTo>
                    <a:pt x="364" y="227"/>
                    <a:pt x="365" y="227"/>
                    <a:pt x="365" y="227"/>
                  </a:cubicBezTo>
                  <a:cubicBezTo>
                    <a:pt x="366" y="227"/>
                    <a:pt x="367" y="226"/>
                    <a:pt x="367" y="225"/>
                  </a:cubicBezTo>
                  <a:cubicBezTo>
                    <a:pt x="367" y="225"/>
                    <a:pt x="367" y="224"/>
                    <a:pt x="366" y="225"/>
                  </a:cubicBezTo>
                  <a:close/>
                  <a:moveTo>
                    <a:pt x="346" y="250"/>
                  </a:moveTo>
                  <a:cubicBezTo>
                    <a:pt x="348" y="249"/>
                    <a:pt x="348" y="248"/>
                    <a:pt x="348" y="246"/>
                  </a:cubicBezTo>
                  <a:cubicBezTo>
                    <a:pt x="346" y="247"/>
                    <a:pt x="346" y="249"/>
                    <a:pt x="346" y="250"/>
                  </a:cubicBezTo>
                  <a:close/>
                  <a:moveTo>
                    <a:pt x="42" y="151"/>
                  </a:moveTo>
                  <a:cubicBezTo>
                    <a:pt x="42" y="151"/>
                    <a:pt x="42" y="150"/>
                    <a:pt x="42" y="150"/>
                  </a:cubicBezTo>
                  <a:cubicBezTo>
                    <a:pt x="42" y="149"/>
                    <a:pt x="42" y="149"/>
                    <a:pt x="41" y="148"/>
                  </a:cubicBezTo>
                  <a:cubicBezTo>
                    <a:pt x="41" y="148"/>
                    <a:pt x="41" y="149"/>
                    <a:pt x="41" y="149"/>
                  </a:cubicBezTo>
                  <a:cubicBezTo>
                    <a:pt x="41" y="150"/>
                    <a:pt x="41" y="150"/>
                    <a:pt x="42" y="151"/>
                  </a:cubicBezTo>
                  <a:close/>
                  <a:moveTo>
                    <a:pt x="359" y="235"/>
                  </a:moveTo>
                  <a:cubicBezTo>
                    <a:pt x="358" y="234"/>
                    <a:pt x="358" y="235"/>
                    <a:pt x="358" y="235"/>
                  </a:cubicBezTo>
                  <a:cubicBezTo>
                    <a:pt x="358" y="237"/>
                    <a:pt x="358" y="237"/>
                    <a:pt x="359" y="237"/>
                  </a:cubicBezTo>
                  <a:cubicBezTo>
                    <a:pt x="360" y="236"/>
                    <a:pt x="360" y="235"/>
                    <a:pt x="359" y="235"/>
                  </a:cubicBezTo>
                  <a:close/>
                  <a:moveTo>
                    <a:pt x="353" y="338"/>
                  </a:moveTo>
                  <a:cubicBezTo>
                    <a:pt x="353" y="339"/>
                    <a:pt x="354" y="339"/>
                    <a:pt x="354" y="339"/>
                  </a:cubicBezTo>
                  <a:cubicBezTo>
                    <a:pt x="355" y="339"/>
                    <a:pt x="355" y="338"/>
                    <a:pt x="355" y="338"/>
                  </a:cubicBezTo>
                  <a:cubicBezTo>
                    <a:pt x="356" y="337"/>
                    <a:pt x="358" y="336"/>
                    <a:pt x="357" y="335"/>
                  </a:cubicBezTo>
                  <a:cubicBezTo>
                    <a:pt x="356" y="334"/>
                    <a:pt x="356" y="333"/>
                    <a:pt x="356" y="333"/>
                  </a:cubicBezTo>
                  <a:cubicBezTo>
                    <a:pt x="355" y="331"/>
                    <a:pt x="354" y="330"/>
                    <a:pt x="352" y="331"/>
                  </a:cubicBezTo>
                  <a:cubicBezTo>
                    <a:pt x="351" y="332"/>
                    <a:pt x="352" y="334"/>
                    <a:pt x="352" y="335"/>
                  </a:cubicBezTo>
                  <a:cubicBezTo>
                    <a:pt x="351" y="336"/>
                    <a:pt x="352" y="337"/>
                    <a:pt x="353" y="338"/>
                  </a:cubicBezTo>
                  <a:close/>
                  <a:moveTo>
                    <a:pt x="123" y="436"/>
                  </a:moveTo>
                  <a:cubicBezTo>
                    <a:pt x="122" y="435"/>
                    <a:pt x="122" y="435"/>
                    <a:pt x="121" y="435"/>
                  </a:cubicBezTo>
                  <a:cubicBezTo>
                    <a:pt x="121" y="435"/>
                    <a:pt x="120" y="435"/>
                    <a:pt x="121" y="435"/>
                  </a:cubicBezTo>
                  <a:cubicBezTo>
                    <a:pt x="121" y="436"/>
                    <a:pt x="121" y="437"/>
                    <a:pt x="122" y="437"/>
                  </a:cubicBezTo>
                  <a:cubicBezTo>
                    <a:pt x="122" y="436"/>
                    <a:pt x="123" y="436"/>
                    <a:pt x="123" y="436"/>
                  </a:cubicBezTo>
                  <a:close/>
                  <a:moveTo>
                    <a:pt x="368" y="219"/>
                  </a:moveTo>
                  <a:cubicBezTo>
                    <a:pt x="367" y="219"/>
                    <a:pt x="367" y="219"/>
                    <a:pt x="367" y="220"/>
                  </a:cubicBezTo>
                  <a:cubicBezTo>
                    <a:pt x="367" y="220"/>
                    <a:pt x="368" y="221"/>
                    <a:pt x="368" y="221"/>
                  </a:cubicBezTo>
                  <a:cubicBezTo>
                    <a:pt x="369" y="221"/>
                    <a:pt x="369" y="220"/>
                    <a:pt x="369" y="220"/>
                  </a:cubicBezTo>
                  <a:cubicBezTo>
                    <a:pt x="369" y="219"/>
                    <a:pt x="369" y="219"/>
                    <a:pt x="368" y="219"/>
                  </a:cubicBezTo>
                  <a:close/>
                  <a:moveTo>
                    <a:pt x="117" y="406"/>
                  </a:moveTo>
                  <a:cubicBezTo>
                    <a:pt x="117" y="406"/>
                    <a:pt x="117" y="405"/>
                    <a:pt x="118" y="405"/>
                  </a:cubicBezTo>
                  <a:cubicBezTo>
                    <a:pt x="118" y="404"/>
                    <a:pt x="117" y="404"/>
                    <a:pt x="117" y="404"/>
                  </a:cubicBezTo>
                  <a:cubicBezTo>
                    <a:pt x="116" y="405"/>
                    <a:pt x="116" y="405"/>
                    <a:pt x="116" y="405"/>
                  </a:cubicBezTo>
                  <a:cubicBezTo>
                    <a:pt x="116" y="406"/>
                    <a:pt x="116" y="406"/>
                    <a:pt x="117" y="406"/>
                  </a:cubicBezTo>
                  <a:close/>
                  <a:moveTo>
                    <a:pt x="112" y="364"/>
                  </a:moveTo>
                  <a:cubicBezTo>
                    <a:pt x="111" y="363"/>
                    <a:pt x="111" y="364"/>
                    <a:pt x="110" y="364"/>
                  </a:cubicBezTo>
                  <a:cubicBezTo>
                    <a:pt x="110" y="365"/>
                    <a:pt x="109" y="364"/>
                    <a:pt x="108" y="365"/>
                  </a:cubicBezTo>
                  <a:cubicBezTo>
                    <a:pt x="109" y="366"/>
                    <a:pt x="110" y="365"/>
                    <a:pt x="111" y="365"/>
                  </a:cubicBezTo>
                  <a:cubicBezTo>
                    <a:pt x="111" y="365"/>
                    <a:pt x="112" y="365"/>
                    <a:pt x="112" y="364"/>
                  </a:cubicBezTo>
                  <a:close/>
                  <a:moveTo>
                    <a:pt x="166" y="50"/>
                  </a:moveTo>
                  <a:cubicBezTo>
                    <a:pt x="166" y="50"/>
                    <a:pt x="167" y="50"/>
                    <a:pt x="167" y="50"/>
                  </a:cubicBezTo>
                  <a:cubicBezTo>
                    <a:pt x="167" y="49"/>
                    <a:pt x="167" y="49"/>
                    <a:pt x="166" y="49"/>
                  </a:cubicBezTo>
                  <a:cubicBezTo>
                    <a:pt x="166" y="48"/>
                    <a:pt x="165" y="48"/>
                    <a:pt x="164" y="48"/>
                  </a:cubicBezTo>
                  <a:cubicBezTo>
                    <a:pt x="164" y="47"/>
                    <a:pt x="162" y="46"/>
                    <a:pt x="161" y="46"/>
                  </a:cubicBezTo>
                  <a:cubicBezTo>
                    <a:pt x="160" y="47"/>
                    <a:pt x="160" y="49"/>
                    <a:pt x="161" y="50"/>
                  </a:cubicBezTo>
                  <a:cubicBezTo>
                    <a:pt x="163" y="51"/>
                    <a:pt x="164" y="49"/>
                    <a:pt x="166" y="50"/>
                  </a:cubicBezTo>
                  <a:close/>
                  <a:moveTo>
                    <a:pt x="216" y="58"/>
                  </a:moveTo>
                  <a:cubicBezTo>
                    <a:pt x="216" y="58"/>
                    <a:pt x="216" y="58"/>
                    <a:pt x="216" y="57"/>
                  </a:cubicBezTo>
                  <a:cubicBezTo>
                    <a:pt x="216" y="57"/>
                    <a:pt x="216" y="57"/>
                    <a:pt x="215" y="56"/>
                  </a:cubicBezTo>
                  <a:cubicBezTo>
                    <a:pt x="215" y="57"/>
                    <a:pt x="215" y="57"/>
                    <a:pt x="215" y="57"/>
                  </a:cubicBezTo>
                  <a:cubicBezTo>
                    <a:pt x="215" y="58"/>
                    <a:pt x="215" y="58"/>
                    <a:pt x="216" y="58"/>
                  </a:cubicBezTo>
                  <a:close/>
                  <a:moveTo>
                    <a:pt x="142" y="431"/>
                  </a:moveTo>
                  <a:cubicBezTo>
                    <a:pt x="143" y="431"/>
                    <a:pt x="144" y="431"/>
                    <a:pt x="144" y="430"/>
                  </a:cubicBezTo>
                  <a:cubicBezTo>
                    <a:pt x="143" y="430"/>
                    <a:pt x="142" y="429"/>
                    <a:pt x="142" y="429"/>
                  </a:cubicBezTo>
                  <a:cubicBezTo>
                    <a:pt x="141" y="430"/>
                    <a:pt x="141" y="430"/>
                    <a:pt x="142" y="431"/>
                  </a:cubicBezTo>
                  <a:close/>
                  <a:moveTo>
                    <a:pt x="54" y="303"/>
                  </a:moveTo>
                  <a:cubicBezTo>
                    <a:pt x="53" y="303"/>
                    <a:pt x="53" y="303"/>
                    <a:pt x="53" y="304"/>
                  </a:cubicBezTo>
                  <a:cubicBezTo>
                    <a:pt x="53" y="304"/>
                    <a:pt x="53" y="305"/>
                    <a:pt x="53" y="304"/>
                  </a:cubicBezTo>
                  <a:cubicBezTo>
                    <a:pt x="54" y="304"/>
                    <a:pt x="54" y="304"/>
                    <a:pt x="54" y="303"/>
                  </a:cubicBezTo>
                  <a:cubicBezTo>
                    <a:pt x="54" y="303"/>
                    <a:pt x="54" y="302"/>
                    <a:pt x="54" y="303"/>
                  </a:cubicBezTo>
                  <a:close/>
                  <a:moveTo>
                    <a:pt x="352" y="239"/>
                  </a:moveTo>
                  <a:cubicBezTo>
                    <a:pt x="352" y="239"/>
                    <a:pt x="351" y="240"/>
                    <a:pt x="351" y="240"/>
                  </a:cubicBezTo>
                  <a:cubicBezTo>
                    <a:pt x="351" y="241"/>
                    <a:pt x="352" y="241"/>
                    <a:pt x="352" y="241"/>
                  </a:cubicBezTo>
                  <a:cubicBezTo>
                    <a:pt x="352" y="241"/>
                    <a:pt x="353" y="240"/>
                    <a:pt x="353" y="240"/>
                  </a:cubicBezTo>
                  <a:cubicBezTo>
                    <a:pt x="353" y="240"/>
                    <a:pt x="353" y="239"/>
                    <a:pt x="352" y="239"/>
                  </a:cubicBezTo>
                  <a:close/>
                  <a:moveTo>
                    <a:pt x="134" y="522"/>
                  </a:moveTo>
                  <a:cubicBezTo>
                    <a:pt x="133" y="522"/>
                    <a:pt x="133" y="522"/>
                    <a:pt x="133" y="522"/>
                  </a:cubicBezTo>
                  <a:cubicBezTo>
                    <a:pt x="133" y="523"/>
                    <a:pt x="133" y="523"/>
                    <a:pt x="134" y="523"/>
                  </a:cubicBezTo>
                  <a:cubicBezTo>
                    <a:pt x="134" y="523"/>
                    <a:pt x="135" y="523"/>
                    <a:pt x="135" y="523"/>
                  </a:cubicBezTo>
                  <a:cubicBezTo>
                    <a:pt x="135" y="522"/>
                    <a:pt x="134" y="522"/>
                    <a:pt x="134" y="522"/>
                  </a:cubicBezTo>
                  <a:close/>
                  <a:moveTo>
                    <a:pt x="366" y="340"/>
                  </a:moveTo>
                  <a:cubicBezTo>
                    <a:pt x="365" y="339"/>
                    <a:pt x="365" y="340"/>
                    <a:pt x="365" y="340"/>
                  </a:cubicBezTo>
                  <a:cubicBezTo>
                    <a:pt x="365" y="341"/>
                    <a:pt x="365" y="341"/>
                    <a:pt x="366" y="341"/>
                  </a:cubicBezTo>
                  <a:cubicBezTo>
                    <a:pt x="366" y="341"/>
                    <a:pt x="366" y="341"/>
                    <a:pt x="366" y="341"/>
                  </a:cubicBezTo>
                  <a:cubicBezTo>
                    <a:pt x="367" y="340"/>
                    <a:pt x="366" y="340"/>
                    <a:pt x="366" y="340"/>
                  </a:cubicBezTo>
                  <a:close/>
                  <a:moveTo>
                    <a:pt x="145" y="429"/>
                  </a:moveTo>
                  <a:cubicBezTo>
                    <a:pt x="145" y="429"/>
                    <a:pt x="145" y="430"/>
                    <a:pt x="145" y="430"/>
                  </a:cubicBezTo>
                  <a:cubicBezTo>
                    <a:pt x="145" y="430"/>
                    <a:pt x="146" y="429"/>
                    <a:pt x="147" y="429"/>
                  </a:cubicBezTo>
                  <a:cubicBezTo>
                    <a:pt x="146" y="428"/>
                    <a:pt x="145" y="429"/>
                    <a:pt x="145" y="429"/>
                  </a:cubicBezTo>
                  <a:close/>
                  <a:moveTo>
                    <a:pt x="353" y="307"/>
                  </a:moveTo>
                  <a:cubicBezTo>
                    <a:pt x="354" y="307"/>
                    <a:pt x="355" y="306"/>
                    <a:pt x="355" y="305"/>
                  </a:cubicBezTo>
                  <a:cubicBezTo>
                    <a:pt x="354" y="305"/>
                    <a:pt x="353" y="306"/>
                    <a:pt x="353" y="307"/>
                  </a:cubicBezTo>
                  <a:close/>
                  <a:moveTo>
                    <a:pt x="216" y="62"/>
                  </a:moveTo>
                  <a:cubicBezTo>
                    <a:pt x="216" y="61"/>
                    <a:pt x="216" y="60"/>
                    <a:pt x="215" y="60"/>
                  </a:cubicBezTo>
                  <a:cubicBezTo>
                    <a:pt x="215" y="61"/>
                    <a:pt x="215" y="62"/>
                    <a:pt x="216" y="62"/>
                  </a:cubicBezTo>
                  <a:close/>
                  <a:moveTo>
                    <a:pt x="359" y="238"/>
                  </a:moveTo>
                  <a:cubicBezTo>
                    <a:pt x="359" y="239"/>
                    <a:pt x="360" y="238"/>
                    <a:pt x="360" y="238"/>
                  </a:cubicBezTo>
                  <a:cubicBezTo>
                    <a:pt x="360" y="237"/>
                    <a:pt x="360" y="237"/>
                    <a:pt x="359" y="237"/>
                  </a:cubicBezTo>
                  <a:cubicBezTo>
                    <a:pt x="359" y="237"/>
                    <a:pt x="358" y="238"/>
                    <a:pt x="359" y="238"/>
                  </a:cubicBezTo>
                  <a:close/>
                  <a:moveTo>
                    <a:pt x="132" y="476"/>
                  </a:moveTo>
                  <a:cubicBezTo>
                    <a:pt x="133" y="477"/>
                    <a:pt x="133" y="476"/>
                    <a:pt x="134" y="476"/>
                  </a:cubicBezTo>
                  <a:cubicBezTo>
                    <a:pt x="133" y="476"/>
                    <a:pt x="133" y="475"/>
                    <a:pt x="132" y="476"/>
                  </a:cubicBezTo>
                  <a:cubicBezTo>
                    <a:pt x="132" y="476"/>
                    <a:pt x="132" y="476"/>
                    <a:pt x="132" y="476"/>
                  </a:cubicBezTo>
                  <a:close/>
                  <a:moveTo>
                    <a:pt x="346" y="377"/>
                  </a:moveTo>
                  <a:cubicBezTo>
                    <a:pt x="346" y="377"/>
                    <a:pt x="346" y="377"/>
                    <a:pt x="346" y="377"/>
                  </a:cubicBezTo>
                  <a:cubicBezTo>
                    <a:pt x="346" y="378"/>
                    <a:pt x="346" y="378"/>
                    <a:pt x="346" y="378"/>
                  </a:cubicBezTo>
                  <a:cubicBezTo>
                    <a:pt x="347" y="378"/>
                    <a:pt x="347" y="378"/>
                    <a:pt x="347" y="378"/>
                  </a:cubicBezTo>
                  <a:cubicBezTo>
                    <a:pt x="347" y="377"/>
                    <a:pt x="347" y="377"/>
                    <a:pt x="346" y="377"/>
                  </a:cubicBezTo>
                  <a:close/>
                  <a:moveTo>
                    <a:pt x="115" y="374"/>
                  </a:moveTo>
                  <a:cubicBezTo>
                    <a:pt x="114" y="375"/>
                    <a:pt x="114" y="376"/>
                    <a:pt x="114" y="376"/>
                  </a:cubicBezTo>
                  <a:cubicBezTo>
                    <a:pt x="115" y="376"/>
                    <a:pt x="115" y="375"/>
                    <a:pt x="115" y="374"/>
                  </a:cubicBezTo>
                  <a:close/>
                  <a:moveTo>
                    <a:pt x="133" y="501"/>
                  </a:moveTo>
                  <a:cubicBezTo>
                    <a:pt x="133" y="501"/>
                    <a:pt x="132" y="501"/>
                    <a:pt x="132" y="502"/>
                  </a:cubicBezTo>
                  <a:cubicBezTo>
                    <a:pt x="132" y="502"/>
                    <a:pt x="133" y="502"/>
                    <a:pt x="133" y="501"/>
                  </a:cubicBezTo>
                  <a:close/>
                  <a:moveTo>
                    <a:pt x="111" y="366"/>
                  </a:moveTo>
                  <a:cubicBezTo>
                    <a:pt x="111" y="366"/>
                    <a:pt x="111" y="367"/>
                    <a:pt x="111" y="367"/>
                  </a:cubicBezTo>
                  <a:cubicBezTo>
                    <a:pt x="111" y="367"/>
                    <a:pt x="111" y="367"/>
                    <a:pt x="111" y="367"/>
                  </a:cubicBezTo>
                  <a:cubicBezTo>
                    <a:pt x="111" y="367"/>
                    <a:pt x="112" y="367"/>
                    <a:pt x="112" y="367"/>
                  </a:cubicBezTo>
                  <a:cubicBezTo>
                    <a:pt x="112" y="367"/>
                    <a:pt x="111" y="366"/>
                    <a:pt x="111" y="366"/>
                  </a:cubicBezTo>
                  <a:close/>
                  <a:moveTo>
                    <a:pt x="349" y="295"/>
                  </a:moveTo>
                  <a:cubicBezTo>
                    <a:pt x="349" y="295"/>
                    <a:pt x="349" y="296"/>
                    <a:pt x="350" y="296"/>
                  </a:cubicBezTo>
                  <a:cubicBezTo>
                    <a:pt x="350" y="296"/>
                    <a:pt x="350" y="296"/>
                    <a:pt x="350" y="295"/>
                  </a:cubicBezTo>
                  <a:cubicBezTo>
                    <a:pt x="350" y="295"/>
                    <a:pt x="350" y="295"/>
                    <a:pt x="349" y="295"/>
                  </a:cubicBezTo>
                  <a:cubicBezTo>
                    <a:pt x="349" y="295"/>
                    <a:pt x="349" y="295"/>
                    <a:pt x="349" y="295"/>
                  </a:cubicBezTo>
                  <a:close/>
                  <a:moveTo>
                    <a:pt x="352" y="245"/>
                  </a:moveTo>
                  <a:cubicBezTo>
                    <a:pt x="352" y="245"/>
                    <a:pt x="352" y="245"/>
                    <a:pt x="352" y="245"/>
                  </a:cubicBezTo>
                  <a:cubicBezTo>
                    <a:pt x="352" y="245"/>
                    <a:pt x="352" y="245"/>
                    <a:pt x="352" y="246"/>
                  </a:cubicBezTo>
                  <a:cubicBezTo>
                    <a:pt x="353" y="245"/>
                    <a:pt x="353" y="245"/>
                    <a:pt x="353" y="245"/>
                  </a:cubicBezTo>
                  <a:cubicBezTo>
                    <a:pt x="353" y="245"/>
                    <a:pt x="353" y="245"/>
                    <a:pt x="352" y="245"/>
                  </a:cubicBezTo>
                  <a:close/>
                  <a:moveTo>
                    <a:pt x="362" y="242"/>
                  </a:moveTo>
                  <a:cubicBezTo>
                    <a:pt x="362" y="242"/>
                    <a:pt x="362" y="243"/>
                    <a:pt x="362" y="243"/>
                  </a:cubicBezTo>
                  <a:cubicBezTo>
                    <a:pt x="361" y="243"/>
                    <a:pt x="362" y="243"/>
                    <a:pt x="362" y="243"/>
                  </a:cubicBezTo>
                  <a:cubicBezTo>
                    <a:pt x="362" y="243"/>
                    <a:pt x="362" y="243"/>
                    <a:pt x="363" y="243"/>
                  </a:cubicBezTo>
                  <a:cubicBezTo>
                    <a:pt x="363" y="243"/>
                    <a:pt x="362" y="242"/>
                    <a:pt x="362" y="242"/>
                  </a:cubicBezTo>
                  <a:close/>
                  <a:moveTo>
                    <a:pt x="357" y="282"/>
                  </a:moveTo>
                  <a:cubicBezTo>
                    <a:pt x="357" y="282"/>
                    <a:pt x="356" y="283"/>
                    <a:pt x="356" y="283"/>
                  </a:cubicBezTo>
                  <a:cubicBezTo>
                    <a:pt x="356" y="283"/>
                    <a:pt x="357" y="283"/>
                    <a:pt x="357" y="283"/>
                  </a:cubicBezTo>
                  <a:cubicBezTo>
                    <a:pt x="357" y="283"/>
                    <a:pt x="357" y="283"/>
                    <a:pt x="357" y="283"/>
                  </a:cubicBezTo>
                  <a:cubicBezTo>
                    <a:pt x="357" y="282"/>
                    <a:pt x="357" y="282"/>
                    <a:pt x="357" y="282"/>
                  </a:cubicBezTo>
                  <a:close/>
                  <a:moveTo>
                    <a:pt x="181" y="597"/>
                  </a:moveTo>
                  <a:cubicBezTo>
                    <a:pt x="181" y="597"/>
                    <a:pt x="182" y="597"/>
                    <a:pt x="182" y="598"/>
                  </a:cubicBezTo>
                  <a:cubicBezTo>
                    <a:pt x="182" y="597"/>
                    <a:pt x="182" y="597"/>
                    <a:pt x="182" y="597"/>
                  </a:cubicBezTo>
                  <a:cubicBezTo>
                    <a:pt x="182" y="597"/>
                    <a:pt x="182" y="597"/>
                    <a:pt x="182" y="596"/>
                  </a:cubicBezTo>
                  <a:cubicBezTo>
                    <a:pt x="182" y="597"/>
                    <a:pt x="182" y="597"/>
                    <a:pt x="181" y="597"/>
                  </a:cubicBezTo>
                  <a:close/>
                  <a:moveTo>
                    <a:pt x="180" y="594"/>
                  </a:moveTo>
                  <a:cubicBezTo>
                    <a:pt x="180" y="594"/>
                    <a:pt x="179" y="594"/>
                    <a:pt x="179" y="594"/>
                  </a:cubicBezTo>
                  <a:cubicBezTo>
                    <a:pt x="179" y="594"/>
                    <a:pt x="180" y="595"/>
                    <a:pt x="180" y="595"/>
                  </a:cubicBezTo>
                  <a:cubicBezTo>
                    <a:pt x="180" y="595"/>
                    <a:pt x="180" y="595"/>
                    <a:pt x="181" y="594"/>
                  </a:cubicBezTo>
                  <a:cubicBezTo>
                    <a:pt x="180" y="594"/>
                    <a:pt x="180" y="594"/>
                    <a:pt x="180" y="594"/>
                  </a:cubicBezTo>
                  <a:close/>
                  <a:moveTo>
                    <a:pt x="353" y="292"/>
                  </a:moveTo>
                  <a:cubicBezTo>
                    <a:pt x="353" y="292"/>
                    <a:pt x="353" y="291"/>
                    <a:pt x="353" y="291"/>
                  </a:cubicBezTo>
                  <a:cubicBezTo>
                    <a:pt x="352" y="292"/>
                    <a:pt x="352" y="292"/>
                    <a:pt x="352" y="292"/>
                  </a:cubicBezTo>
                  <a:cubicBezTo>
                    <a:pt x="352" y="292"/>
                    <a:pt x="352" y="292"/>
                    <a:pt x="353" y="292"/>
                  </a:cubicBezTo>
                  <a:cubicBezTo>
                    <a:pt x="353" y="292"/>
                    <a:pt x="353" y="292"/>
                    <a:pt x="353" y="292"/>
                  </a:cubicBezTo>
                  <a:close/>
                  <a:moveTo>
                    <a:pt x="356" y="261"/>
                  </a:moveTo>
                  <a:cubicBezTo>
                    <a:pt x="356" y="262"/>
                    <a:pt x="356" y="262"/>
                    <a:pt x="356" y="262"/>
                  </a:cubicBezTo>
                  <a:cubicBezTo>
                    <a:pt x="356" y="262"/>
                    <a:pt x="357" y="262"/>
                    <a:pt x="357" y="261"/>
                  </a:cubicBezTo>
                  <a:cubicBezTo>
                    <a:pt x="356" y="261"/>
                    <a:pt x="356" y="261"/>
                    <a:pt x="356" y="261"/>
                  </a:cubicBezTo>
                  <a:cubicBezTo>
                    <a:pt x="356" y="261"/>
                    <a:pt x="356" y="261"/>
                    <a:pt x="356" y="261"/>
                  </a:cubicBezTo>
                  <a:close/>
                  <a:moveTo>
                    <a:pt x="346" y="291"/>
                  </a:moveTo>
                  <a:cubicBezTo>
                    <a:pt x="346" y="292"/>
                    <a:pt x="346" y="292"/>
                    <a:pt x="346" y="292"/>
                  </a:cubicBezTo>
                  <a:cubicBezTo>
                    <a:pt x="346" y="292"/>
                    <a:pt x="347" y="292"/>
                    <a:pt x="346" y="291"/>
                  </a:cubicBezTo>
                  <a:cubicBezTo>
                    <a:pt x="346" y="291"/>
                    <a:pt x="346" y="291"/>
                    <a:pt x="346" y="291"/>
                  </a:cubicBezTo>
                  <a:cubicBezTo>
                    <a:pt x="346" y="291"/>
                    <a:pt x="345" y="291"/>
                    <a:pt x="346" y="291"/>
                  </a:cubicBezTo>
                  <a:close/>
                  <a:moveTo>
                    <a:pt x="288" y="479"/>
                  </a:moveTo>
                  <a:cubicBezTo>
                    <a:pt x="288" y="479"/>
                    <a:pt x="288" y="479"/>
                    <a:pt x="288" y="479"/>
                  </a:cubicBezTo>
                  <a:cubicBezTo>
                    <a:pt x="288" y="479"/>
                    <a:pt x="288" y="479"/>
                    <a:pt x="288" y="479"/>
                  </a:cubicBezTo>
                  <a:cubicBezTo>
                    <a:pt x="288" y="479"/>
                    <a:pt x="288" y="479"/>
                    <a:pt x="288" y="479"/>
                  </a:cubicBezTo>
                  <a:close/>
                  <a:moveTo>
                    <a:pt x="288" y="479"/>
                  </a:moveTo>
                  <a:cubicBezTo>
                    <a:pt x="289" y="479"/>
                    <a:pt x="290" y="479"/>
                    <a:pt x="290" y="477"/>
                  </a:cubicBezTo>
                  <a:cubicBezTo>
                    <a:pt x="289" y="478"/>
                    <a:pt x="289" y="478"/>
                    <a:pt x="288" y="47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0" name="Svalbard">
              <a:extLst>
                <a:ext uri="{FF2B5EF4-FFF2-40B4-BE49-F238E27FC236}">
                  <a16:creationId xmlns:a16="http://schemas.microsoft.com/office/drawing/2014/main" id="{04060438-E654-45BB-0DFC-FA221A7FEB2C}"/>
                </a:ext>
              </a:extLst>
            </p:cNvPr>
            <p:cNvSpPr>
              <a:spLocks noEditPoints="1"/>
            </p:cNvSpPr>
            <p:nvPr/>
          </p:nvSpPr>
          <p:spPr bwMode="auto">
            <a:xfrm>
              <a:off x="5667375" y="822325"/>
              <a:ext cx="649287" cy="620713"/>
            </a:xfrm>
            <a:custGeom>
              <a:avLst/>
              <a:gdLst>
                <a:gd name="T0" fmla="*/ 97 w 156"/>
                <a:gd name="T1" fmla="*/ 17 h 149"/>
                <a:gd name="T2" fmla="*/ 90 w 156"/>
                <a:gd name="T3" fmla="*/ 19 h 149"/>
                <a:gd name="T4" fmla="*/ 86 w 156"/>
                <a:gd name="T5" fmla="*/ 15 h 149"/>
                <a:gd name="T6" fmla="*/ 81 w 156"/>
                <a:gd name="T7" fmla="*/ 29 h 149"/>
                <a:gd name="T8" fmla="*/ 69 w 156"/>
                <a:gd name="T9" fmla="*/ 19 h 149"/>
                <a:gd name="T10" fmla="*/ 62 w 156"/>
                <a:gd name="T11" fmla="*/ 15 h 149"/>
                <a:gd name="T12" fmla="*/ 60 w 156"/>
                <a:gd name="T13" fmla="*/ 24 h 149"/>
                <a:gd name="T14" fmla="*/ 56 w 156"/>
                <a:gd name="T15" fmla="*/ 41 h 149"/>
                <a:gd name="T16" fmla="*/ 71 w 156"/>
                <a:gd name="T17" fmla="*/ 48 h 149"/>
                <a:gd name="T18" fmla="*/ 83 w 156"/>
                <a:gd name="T19" fmla="*/ 54 h 149"/>
                <a:gd name="T20" fmla="*/ 112 w 156"/>
                <a:gd name="T21" fmla="*/ 31 h 149"/>
                <a:gd name="T22" fmla="*/ 71 w 156"/>
                <a:gd name="T23" fmla="*/ 71 h 149"/>
                <a:gd name="T24" fmla="*/ 55 w 156"/>
                <a:gd name="T25" fmla="*/ 58 h 149"/>
                <a:gd name="T26" fmla="*/ 49 w 156"/>
                <a:gd name="T27" fmla="*/ 53 h 149"/>
                <a:gd name="T28" fmla="*/ 41 w 156"/>
                <a:gd name="T29" fmla="*/ 29 h 149"/>
                <a:gd name="T30" fmla="*/ 38 w 156"/>
                <a:gd name="T31" fmla="*/ 58 h 149"/>
                <a:gd name="T32" fmla="*/ 36 w 156"/>
                <a:gd name="T33" fmla="*/ 62 h 149"/>
                <a:gd name="T34" fmla="*/ 33 w 156"/>
                <a:gd name="T35" fmla="*/ 54 h 149"/>
                <a:gd name="T36" fmla="*/ 31 w 156"/>
                <a:gd name="T37" fmla="*/ 42 h 149"/>
                <a:gd name="T38" fmla="*/ 24 w 156"/>
                <a:gd name="T39" fmla="*/ 56 h 149"/>
                <a:gd name="T40" fmla="*/ 13 w 156"/>
                <a:gd name="T41" fmla="*/ 49 h 149"/>
                <a:gd name="T42" fmla="*/ 23 w 156"/>
                <a:gd name="T43" fmla="*/ 36 h 149"/>
                <a:gd name="T44" fmla="*/ 12 w 156"/>
                <a:gd name="T45" fmla="*/ 43 h 149"/>
                <a:gd name="T46" fmla="*/ 6 w 156"/>
                <a:gd name="T47" fmla="*/ 39 h 149"/>
                <a:gd name="T48" fmla="*/ 3 w 156"/>
                <a:gd name="T49" fmla="*/ 54 h 149"/>
                <a:gd name="T50" fmla="*/ 7 w 156"/>
                <a:gd name="T51" fmla="*/ 58 h 149"/>
                <a:gd name="T52" fmla="*/ 9 w 156"/>
                <a:gd name="T53" fmla="*/ 64 h 149"/>
                <a:gd name="T54" fmla="*/ 6 w 156"/>
                <a:gd name="T55" fmla="*/ 69 h 149"/>
                <a:gd name="T56" fmla="*/ 13 w 156"/>
                <a:gd name="T57" fmla="*/ 83 h 149"/>
                <a:gd name="T58" fmla="*/ 18 w 156"/>
                <a:gd name="T59" fmla="*/ 94 h 149"/>
                <a:gd name="T60" fmla="*/ 25 w 156"/>
                <a:gd name="T61" fmla="*/ 88 h 149"/>
                <a:gd name="T62" fmla="*/ 30 w 156"/>
                <a:gd name="T63" fmla="*/ 81 h 149"/>
                <a:gd name="T64" fmla="*/ 34 w 156"/>
                <a:gd name="T65" fmla="*/ 77 h 149"/>
                <a:gd name="T66" fmla="*/ 42 w 156"/>
                <a:gd name="T67" fmla="*/ 82 h 149"/>
                <a:gd name="T68" fmla="*/ 44 w 156"/>
                <a:gd name="T69" fmla="*/ 89 h 149"/>
                <a:gd name="T70" fmla="*/ 32 w 156"/>
                <a:gd name="T71" fmla="*/ 96 h 149"/>
                <a:gd name="T72" fmla="*/ 26 w 156"/>
                <a:gd name="T73" fmla="*/ 109 h 149"/>
                <a:gd name="T74" fmla="*/ 43 w 156"/>
                <a:gd name="T75" fmla="*/ 108 h 149"/>
                <a:gd name="T76" fmla="*/ 34 w 156"/>
                <a:gd name="T77" fmla="*/ 115 h 149"/>
                <a:gd name="T78" fmla="*/ 24 w 156"/>
                <a:gd name="T79" fmla="*/ 119 h 149"/>
                <a:gd name="T80" fmla="*/ 40 w 156"/>
                <a:gd name="T81" fmla="*/ 131 h 149"/>
                <a:gd name="T82" fmla="*/ 41 w 156"/>
                <a:gd name="T83" fmla="*/ 145 h 149"/>
                <a:gd name="T84" fmla="*/ 48 w 156"/>
                <a:gd name="T85" fmla="*/ 125 h 149"/>
                <a:gd name="T86" fmla="*/ 54 w 156"/>
                <a:gd name="T87" fmla="*/ 110 h 149"/>
                <a:gd name="T88" fmla="*/ 56 w 156"/>
                <a:gd name="T89" fmla="*/ 95 h 149"/>
                <a:gd name="T90" fmla="*/ 64 w 156"/>
                <a:gd name="T91" fmla="*/ 81 h 149"/>
                <a:gd name="T92" fmla="*/ 89 w 156"/>
                <a:gd name="T93" fmla="*/ 105 h 149"/>
                <a:gd name="T94" fmla="*/ 71 w 156"/>
                <a:gd name="T95" fmla="*/ 115 h 149"/>
                <a:gd name="T96" fmla="*/ 83 w 156"/>
                <a:gd name="T97" fmla="*/ 125 h 149"/>
                <a:gd name="T98" fmla="*/ 144 w 156"/>
                <a:gd name="T99" fmla="*/ 22 h 149"/>
                <a:gd name="T100" fmla="*/ 73 w 156"/>
                <a:gd name="T101" fmla="*/ 80 h 149"/>
                <a:gd name="T102" fmla="*/ 72 w 156"/>
                <a:gd name="T103" fmla="*/ 94 h 149"/>
                <a:gd name="T104" fmla="*/ 129 w 156"/>
                <a:gd name="T105" fmla="*/ 71 h 149"/>
                <a:gd name="T106" fmla="*/ 67 w 156"/>
                <a:gd name="T107" fmla="*/ 67 h 149"/>
                <a:gd name="T108" fmla="*/ 112 w 156"/>
                <a:gd name="T109" fmla="*/ 78 h 149"/>
                <a:gd name="T110" fmla="*/ 102 w 156"/>
                <a:gd name="T111" fmla="*/ 142 h 149"/>
                <a:gd name="T112" fmla="*/ 70 w 156"/>
                <a:gd name="T113" fmla="*/ 3 h 149"/>
                <a:gd name="T114" fmla="*/ 72 w 156"/>
                <a:gd name="T115" fmla="*/ 4 h 149"/>
                <a:gd name="T116" fmla="*/ 65 w 156"/>
                <a:gd name="T117" fmla="*/ 59 h 149"/>
                <a:gd name="T118" fmla="*/ 42 w 156"/>
                <a:gd name="T119" fmla="*/ 148 h 149"/>
                <a:gd name="T120" fmla="*/ 92 w 156"/>
                <a:gd name="T121" fmla="*/ 11 h 149"/>
                <a:gd name="T122" fmla="*/ 3 w 156"/>
                <a:gd name="T123" fmla="*/ 76 h 149"/>
                <a:gd name="T124" fmla="*/ 124 w 156"/>
                <a:gd name="T125"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 h="149">
                  <a:moveTo>
                    <a:pt x="111" y="24"/>
                  </a:moveTo>
                  <a:cubicBezTo>
                    <a:pt x="109" y="23"/>
                    <a:pt x="107" y="23"/>
                    <a:pt x="105" y="24"/>
                  </a:cubicBezTo>
                  <a:cubicBezTo>
                    <a:pt x="104" y="24"/>
                    <a:pt x="104" y="24"/>
                    <a:pt x="104" y="24"/>
                  </a:cubicBezTo>
                  <a:cubicBezTo>
                    <a:pt x="103" y="23"/>
                    <a:pt x="104" y="23"/>
                    <a:pt x="104" y="23"/>
                  </a:cubicBezTo>
                  <a:cubicBezTo>
                    <a:pt x="104" y="23"/>
                    <a:pt x="104" y="22"/>
                    <a:pt x="104" y="22"/>
                  </a:cubicBezTo>
                  <a:cubicBezTo>
                    <a:pt x="104" y="22"/>
                    <a:pt x="104" y="22"/>
                    <a:pt x="103" y="22"/>
                  </a:cubicBezTo>
                  <a:cubicBezTo>
                    <a:pt x="103" y="22"/>
                    <a:pt x="103" y="22"/>
                    <a:pt x="102" y="23"/>
                  </a:cubicBezTo>
                  <a:cubicBezTo>
                    <a:pt x="103" y="22"/>
                    <a:pt x="102" y="21"/>
                    <a:pt x="102" y="21"/>
                  </a:cubicBezTo>
                  <a:cubicBezTo>
                    <a:pt x="100" y="21"/>
                    <a:pt x="100" y="20"/>
                    <a:pt x="101" y="19"/>
                  </a:cubicBezTo>
                  <a:cubicBezTo>
                    <a:pt x="100" y="19"/>
                    <a:pt x="100" y="20"/>
                    <a:pt x="99" y="20"/>
                  </a:cubicBezTo>
                  <a:cubicBezTo>
                    <a:pt x="99" y="20"/>
                    <a:pt x="99" y="20"/>
                    <a:pt x="98" y="20"/>
                  </a:cubicBezTo>
                  <a:cubicBezTo>
                    <a:pt x="98" y="20"/>
                    <a:pt x="98" y="20"/>
                    <a:pt x="98" y="19"/>
                  </a:cubicBezTo>
                  <a:cubicBezTo>
                    <a:pt x="98" y="19"/>
                    <a:pt x="98" y="18"/>
                    <a:pt x="98" y="18"/>
                  </a:cubicBezTo>
                  <a:cubicBezTo>
                    <a:pt x="98" y="17"/>
                    <a:pt x="97" y="17"/>
                    <a:pt x="97" y="17"/>
                  </a:cubicBezTo>
                  <a:cubicBezTo>
                    <a:pt x="97" y="18"/>
                    <a:pt x="97" y="19"/>
                    <a:pt x="95" y="20"/>
                  </a:cubicBezTo>
                  <a:cubicBezTo>
                    <a:pt x="95" y="19"/>
                    <a:pt x="95" y="18"/>
                    <a:pt x="95" y="18"/>
                  </a:cubicBezTo>
                  <a:cubicBezTo>
                    <a:pt x="96" y="17"/>
                    <a:pt x="95" y="16"/>
                    <a:pt x="94" y="16"/>
                  </a:cubicBezTo>
                  <a:cubicBezTo>
                    <a:pt x="94" y="16"/>
                    <a:pt x="93" y="16"/>
                    <a:pt x="93" y="16"/>
                  </a:cubicBezTo>
                  <a:cubicBezTo>
                    <a:pt x="93" y="17"/>
                    <a:pt x="93" y="17"/>
                    <a:pt x="94" y="17"/>
                  </a:cubicBezTo>
                  <a:cubicBezTo>
                    <a:pt x="94" y="18"/>
                    <a:pt x="95" y="18"/>
                    <a:pt x="94" y="18"/>
                  </a:cubicBezTo>
                  <a:cubicBezTo>
                    <a:pt x="94" y="18"/>
                    <a:pt x="94" y="19"/>
                    <a:pt x="94" y="19"/>
                  </a:cubicBezTo>
                  <a:cubicBezTo>
                    <a:pt x="93" y="18"/>
                    <a:pt x="93" y="20"/>
                    <a:pt x="93" y="20"/>
                  </a:cubicBezTo>
                  <a:cubicBezTo>
                    <a:pt x="93" y="20"/>
                    <a:pt x="92" y="19"/>
                    <a:pt x="92" y="19"/>
                  </a:cubicBezTo>
                  <a:cubicBezTo>
                    <a:pt x="92" y="19"/>
                    <a:pt x="92" y="18"/>
                    <a:pt x="92" y="18"/>
                  </a:cubicBezTo>
                  <a:cubicBezTo>
                    <a:pt x="91" y="18"/>
                    <a:pt x="91" y="19"/>
                    <a:pt x="91" y="19"/>
                  </a:cubicBezTo>
                  <a:cubicBezTo>
                    <a:pt x="91" y="19"/>
                    <a:pt x="91" y="19"/>
                    <a:pt x="91" y="19"/>
                  </a:cubicBezTo>
                  <a:cubicBezTo>
                    <a:pt x="91" y="19"/>
                    <a:pt x="91" y="19"/>
                    <a:pt x="91" y="19"/>
                  </a:cubicBezTo>
                  <a:cubicBezTo>
                    <a:pt x="91" y="19"/>
                    <a:pt x="91" y="19"/>
                    <a:pt x="90" y="19"/>
                  </a:cubicBezTo>
                  <a:cubicBezTo>
                    <a:pt x="90" y="20"/>
                    <a:pt x="90" y="20"/>
                    <a:pt x="90" y="21"/>
                  </a:cubicBezTo>
                  <a:cubicBezTo>
                    <a:pt x="90" y="21"/>
                    <a:pt x="90" y="21"/>
                    <a:pt x="90" y="21"/>
                  </a:cubicBezTo>
                  <a:cubicBezTo>
                    <a:pt x="90" y="21"/>
                    <a:pt x="90" y="21"/>
                    <a:pt x="90" y="22"/>
                  </a:cubicBezTo>
                  <a:cubicBezTo>
                    <a:pt x="90" y="23"/>
                    <a:pt x="89" y="24"/>
                    <a:pt x="89" y="24"/>
                  </a:cubicBezTo>
                  <a:cubicBezTo>
                    <a:pt x="88" y="24"/>
                    <a:pt x="89" y="23"/>
                    <a:pt x="88" y="23"/>
                  </a:cubicBezTo>
                  <a:cubicBezTo>
                    <a:pt x="88" y="23"/>
                    <a:pt x="88" y="23"/>
                    <a:pt x="88" y="23"/>
                  </a:cubicBezTo>
                  <a:cubicBezTo>
                    <a:pt x="87" y="23"/>
                    <a:pt x="88" y="24"/>
                    <a:pt x="88" y="25"/>
                  </a:cubicBezTo>
                  <a:cubicBezTo>
                    <a:pt x="87" y="24"/>
                    <a:pt x="87" y="24"/>
                    <a:pt x="87" y="23"/>
                  </a:cubicBezTo>
                  <a:cubicBezTo>
                    <a:pt x="86" y="24"/>
                    <a:pt x="86" y="25"/>
                    <a:pt x="86" y="26"/>
                  </a:cubicBezTo>
                  <a:cubicBezTo>
                    <a:pt x="86" y="26"/>
                    <a:pt x="86" y="26"/>
                    <a:pt x="86" y="25"/>
                  </a:cubicBezTo>
                  <a:cubicBezTo>
                    <a:pt x="85" y="24"/>
                    <a:pt x="85" y="21"/>
                    <a:pt x="86" y="20"/>
                  </a:cubicBezTo>
                  <a:cubicBezTo>
                    <a:pt x="87" y="20"/>
                    <a:pt x="87" y="19"/>
                    <a:pt x="87" y="19"/>
                  </a:cubicBezTo>
                  <a:cubicBezTo>
                    <a:pt x="87" y="18"/>
                    <a:pt x="87" y="17"/>
                    <a:pt x="86" y="15"/>
                  </a:cubicBezTo>
                  <a:cubicBezTo>
                    <a:pt x="86" y="15"/>
                    <a:pt x="86" y="15"/>
                    <a:pt x="86" y="15"/>
                  </a:cubicBezTo>
                  <a:cubicBezTo>
                    <a:pt x="86" y="15"/>
                    <a:pt x="86" y="15"/>
                    <a:pt x="86" y="15"/>
                  </a:cubicBezTo>
                  <a:cubicBezTo>
                    <a:pt x="87" y="14"/>
                    <a:pt x="87" y="13"/>
                    <a:pt x="86" y="12"/>
                  </a:cubicBezTo>
                  <a:cubicBezTo>
                    <a:pt x="85" y="12"/>
                    <a:pt x="85" y="11"/>
                    <a:pt x="84" y="10"/>
                  </a:cubicBezTo>
                  <a:cubicBezTo>
                    <a:pt x="83" y="12"/>
                    <a:pt x="84" y="13"/>
                    <a:pt x="84" y="14"/>
                  </a:cubicBezTo>
                  <a:cubicBezTo>
                    <a:pt x="84" y="14"/>
                    <a:pt x="84" y="14"/>
                    <a:pt x="84" y="14"/>
                  </a:cubicBezTo>
                  <a:cubicBezTo>
                    <a:pt x="83" y="15"/>
                    <a:pt x="83" y="15"/>
                    <a:pt x="83" y="16"/>
                  </a:cubicBezTo>
                  <a:cubicBezTo>
                    <a:pt x="82" y="15"/>
                    <a:pt x="83" y="15"/>
                    <a:pt x="83" y="15"/>
                  </a:cubicBezTo>
                  <a:cubicBezTo>
                    <a:pt x="83" y="14"/>
                    <a:pt x="83" y="13"/>
                    <a:pt x="82" y="14"/>
                  </a:cubicBezTo>
                  <a:cubicBezTo>
                    <a:pt x="82" y="14"/>
                    <a:pt x="81" y="14"/>
                    <a:pt x="81" y="15"/>
                  </a:cubicBezTo>
                  <a:cubicBezTo>
                    <a:pt x="80" y="16"/>
                    <a:pt x="80" y="17"/>
                    <a:pt x="82" y="18"/>
                  </a:cubicBezTo>
                  <a:cubicBezTo>
                    <a:pt x="82" y="18"/>
                    <a:pt x="82" y="18"/>
                    <a:pt x="82" y="18"/>
                  </a:cubicBezTo>
                  <a:cubicBezTo>
                    <a:pt x="81" y="20"/>
                    <a:pt x="82" y="21"/>
                    <a:pt x="81" y="23"/>
                  </a:cubicBezTo>
                  <a:cubicBezTo>
                    <a:pt x="81" y="25"/>
                    <a:pt x="81" y="27"/>
                    <a:pt x="81" y="29"/>
                  </a:cubicBezTo>
                  <a:cubicBezTo>
                    <a:pt x="81" y="30"/>
                    <a:pt x="81" y="29"/>
                    <a:pt x="81" y="29"/>
                  </a:cubicBezTo>
                  <a:cubicBezTo>
                    <a:pt x="79" y="30"/>
                    <a:pt x="79" y="29"/>
                    <a:pt x="79" y="28"/>
                  </a:cubicBezTo>
                  <a:cubicBezTo>
                    <a:pt x="79" y="28"/>
                    <a:pt x="79" y="28"/>
                    <a:pt x="79" y="27"/>
                  </a:cubicBezTo>
                  <a:cubicBezTo>
                    <a:pt x="79" y="26"/>
                    <a:pt x="77" y="24"/>
                    <a:pt x="76" y="25"/>
                  </a:cubicBezTo>
                  <a:cubicBezTo>
                    <a:pt x="76" y="24"/>
                    <a:pt x="77" y="23"/>
                    <a:pt x="77" y="21"/>
                  </a:cubicBezTo>
                  <a:cubicBezTo>
                    <a:pt x="77" y="20"/>
                    <a:pt x="77" y="20"/>
                    <a:pt x="77" y="20"/>
                  </a:cubicBezTo>
                  <a:cubicBezTo>
                    <a:pt x="76" y="20"/>
                    <a:pt x="76" y="20"/>
                    <a:pt x="76" y="21"/>
                  </a:cubicBezTo>
                  <a:cubicBezTo>
                    <a:pt x="76" y="21"/>
                    <a:pt x="76" y="21"/>
                    <a:pt x="76" y="21"/>
                  </a:cubicBezTo>
                  <a:cubicBezTo>
                    <a:pt x="75" y="21"/>
                    <a:pt x="75" y="20"/>
                    <a:pt x="75" y="20"/>
                  </a:cubicBezTo>
                  <a:cubicBezTo>
                    <a:pt x="74" y="20"/>
                    <a:pt x="74" y="22"/>
                    <a:pt x="74" y="21"/>
                  </a:cubicBezTo>
                  <a:cubicBezTo>
                    <a:pt x="73" y="21"/>
                    <a:pt x="73" y="21"/>
                    <a:pt x="73" y="22"/>
                  </a:cubicBezTo>
                  <a:cubicBezTo>
                    <a:pt x="72" y="22"/>
                    <a:pt x="71" y="22"/>
                    <a:pt x="71" y="22"/>
                  </a:cubicBezTo>
                  <a:cubicBezTo>
                    <a:pt x="70" y="22"/>
                    <a:pt x="70" y="21"/>
                    <a:pt x="70" y="21"/>
                  </a:cubicBezTo>
                  <a:cubicBezTo>
                    <a:pt x="70" y="20"/>
                    <a:pt x="70" y="20"/>
                    <a:pt x="70" y="19"/>
                  </a:cubicBezTo>
                  <a:cubicBezTo>
                    <a:pt x="70" y="19"/>
                    <a:pt x="70" y="18"/>
                    <a:pt x="69" y="19"/>
                  </a:cubicBezTo>
                  <a:cubicBezTo>
                    <a:pt x="68" y="19"/>
                    <a:pt x="68" y="19"/>
                    <a:pt x="68" y="18"/>
                  </a:cubicBezTo>
                  <a:cubicBezTo>
                    <a:pt x="68" y="17"/>
                    <a:pt x="68" y="15"/>
                    <a:pt x="67" y="14"/>
                  </a:cubicBezTo>
                  <a:cubicBezTo>
                    <a:pt x="67" y="14"/>
                    <a:pt x="67" y="14"/>
                    <a:pt x="66" y="14"/>
                  </a:cubicBezTo>
                  <a:cubicBezTo>
                    <a:pt x="65" y="14"/>
                    <a:pt x="65" y="13"/>
                    <a:pt x="65" y="12"/>
                  </a:cubicBezTo>
                  <a:cubicBezTo>
                    <a:pt x="65" y="12"/>
                    <a:pt x="64" y="13"/>
                    <a:pt x="64" y="13"/>
                  </a:cubicBezTo>
                  <a:cubicBezTo>
                    <a:pt x="64" y="12"/>
                    <a:pt x="64" y="12"/>
                    <a:pt x="65" y="12"/>
                  </a:cubicBezTo>
                  <a:cubicBezTo>
                    <a:pt x="65" y="12"/>
                    <a:pt x="65" y="11"/>
                    <a:pt x="64" y="12"/>
                  </a:cubicBezTo>
                  <a:cubicBezTo>
                    <a:pt x="63" y="12"/>
                    <a:pt x="63" y="11"/>
                    <a:pt x="63" y="11"/>
                  </a:cubicBezTo>
                  <a:cubicBezTo>
                    <a:pt x="63" y="11"/>
                    <a:pt x="63" y="10"/>
                    <a:pt x="62" y="10"/>
                  </a:cubicBezTo>
                  <a:cubicBezTo>
                    <a:pt x="62" y="10"/>
                    <a:pt x="62" y="11"/>
                    <a:pt x="62" y="11"/>
                  </a:cubicBezTo>
                  <a:cubicBezTo>
                    <a:pt x="62" y="12"/>
                    <a:pt x="62" y="12"/>
                    <a:pt x="62" y="12"/>
                  </a:cubicBezTo>
                  <a:cubicBezTo>
                    <a:pt x="61" y="12"/>
                    <a:pt x="61" y="13"/>
                    <a:pt x="61" y="13"/>
                  </a:cubicBezTo>
                  <a:cubicBezTo>
                    <a:pt x="61" y="14"/>
                    <a:pt x="61" y="15"/>
                    <a:pt x="62" y="15"/>
                  </a:cubicBezTo>
                  <a:cubicBezTo>
                    <a:pt x="62" y="15"/>
                    <a:pt x="62" y="15"/>
                    <a:pt x="62" y="15"/>
                  </a:cubicBezTo>
                  <a:cubicBezTo>
                    <a:pt x="63" y="15"/>
                    <a:pt x="64" y="15"/>
                    <a:pt x="64" y="16"/>
                  </a:cubicBezTo>
                  <a:cubicBezTo>
                    <a:pt x="63" y="16"/>
                    <a:pt x="63" y="17"/>
                    <a:pt x="63" y="18"/>
                  </a:cubicBezTo>
                  <a:cubicBezTo>
                    <a:pt x="63" y="18"/>
                    <a:pt x="63" y="18"/>
                    <a:pt x="63" y="18"/>
                  </a:cubicBezTo>
                  <a:cubicBezTo>
                    <a:pt x="63" y="19"/>
                    <a:pt x="62" y="20"/>
                    <a:pt x="63" y="21"/>
                  </a:cubicBezTo>
                  <a:cubicBezTo>
                    <a:pt x="63" y="21"/>
                    <a:pt x="63" y="21"/>
                    <a:pt x="62" y="22"/>
                  </a:cubicBezTo>
                  <a:cubicBezTo>
                    <a:pt x="62" y="21"/>
                    <a:pt x="62" y="21"/>
                    <a:pt x="61" y="21"/>
                  </a:cubicBezTo>
                  <a:cubicBezTo>
                    <a:pt x="61" y="19"/>
                    <a:pt x="60" y="18"/>
                    <a:pt x="59" y="17"/>
                  </a:cubicBezTo>
                  <a:cubicBezTo>
                    <a:pt x="59" y="17"/>
                    <a:pt x="59" y="16"/>
                    <a:pt x="58" y="17"/>
                  </a:cubicBezTo>
                  <a:cubicBezTo>
                    <a:pt x="58" y="17"/>
                    <a:pt x="58" y="17"/>
                    <a:pt x="58" y="18"/>
                  </a:cubicBezTo>
                  <a:cubicBezTo>
                    <a:pt x="58" y="19"/>
                    <a:pt x="58" y="20"/>
                    <a:pt x="59" y="21"/>
                  </a:cubicBezTo>
                  <a:cubicBezTo>
                    <a:pt x="59" y="22"/>
                    <a:pt x="59" y="22"/>
                    <a:pt x="59" y="22"/>
                  </a:cubicBezTo>
                  <a:cubicBezTo>
                    <a:pt x="59" y="22"/>
                    <a:pt x="59" y="22"/>
                    <a:pt x="59" y="22"/>
                  </a:cubicBezTo>
                  <a:cubicBezTo>
                    <a:pt x="59" y="22"/>
                    <a:pt x="59" y="22"/>
                    <a:pt x="59" y="22"/>
                  </a:cubicBezTo>
                  <a:cubicBezTo>
                    <a:pt x="59" y="23"/>
                    <a:pt x="60" y="23"/>
                    <a:pt x="60" y="24"/>
                  </a:cubicBezTo>
                  <a:cubicBezTo>
                    <a:pt x="61" y="24"/>
                    <a:pt x="61" y="24"/>
                    <a:pt x="61" y="24"/>
                  </a:cubicBezTo>
                  <a:cubicBezTo>
                    <a:pt x="60" y="25"/>
                    <a:pt x="61" y="26"/>
                    <a:pt x="60" y="27"/>
                  </a:cubicBezTo>
                  <a:cubicBezTo>
                    <a:pt x="59" y="26"/>
                    <a:pt x="58" y="24"/>
                    <a:pt x="57" y="23"/>
                  </a:cubicBezTo>
                  <a:cubicBezTo>
                    <a:pt x="57" y="22"/>
                    <a:pt x="57" y="22"/>
                    <a:pt x="56" y="23"/>
                  </a:cubicBezTo>
                  <a:cubicBezTo>
                    <a:pt x="56" y="23"/>
                    <a:pt x="56" y="24"/>
                    <a:pt x="55" y="23"/>
                  </a:cubicBezTo>
                  <a:cubicBezTo>
                    <a:pt x="54" y="22"/>
                    <a:pt x="51" y="23"/>
                    <a:pt x="49" y="25"/>
                  </a:cubicBezTo>
                  <a:cubicBezTo>
                    <a:pt x="50" y="24"/>
                    <a:pt x="51" y="25"/>
                    <a:pt x="51" y="25"/>
                  </a:cubicBezTo>
                  <a:cubicBezTo>
                    <a:pt x="51" y="27"/>
                    <a:pt x="52" y="28"/>
                    <a:pt x="52" y="30"/>
                  </a:cubicBezTo>
                  <a:cubicBezTo>
                    <a:pt x="52" y="30"/>
                    <a:pt x="52" y="30"/>
                    <a:pt x="52" y="30"/>
                  </a:cubicBezTo>
                  <a:cubicBezTo>
                    <a:pt x="51" y="30"/>
                    <a:pt x="50" y="31"/>
                    <a:pt x="51" y="32"/>
                  </a:cubicBezTo>
                  <a:cubicBezTo>
                    <a:pt x="51" y="33"/>
                    <a:pt x="51" y="34"/>
                    <a:pt x="52" y="35"/>
                  </a:cubicBezTo>
                  <a:cubicBezTo>
                    <a:pt x="52" y="35"/>
                    <a:pt x="52" y="35"/>
                    <a:pt x="52" y="35"/>
                  </a:cubicBezTo>
                  <a:cubicBezTo>
                    <a:pt x="53" y="36"/>
                    <a:pt x="53" y="38"/>
                    <a:pt x="54" y="39"/>
                  </a:cubicBezTo>
                  <a:cubicBezTo>
                    <a:pt x="55" y="39"/>
                    <a:pt x="56" y="40"/>
                    <a:pt x="56" y="41"/>
                  </a:cubicBezTo>
                  <a:cubicBezTo>
                    <a:pt x="56" y="41"/>
                    <a:pt x="56" y="41"/>
                    <a:pt x="57" y="41"/>
                  </a:cubicBezTo>
                  <a:cubicBezTo>
                    <a:pt x="58" y="40"/>
                    <a:pt x="59" y="40"/>
                    <a:pt x="60" y="41"/>
                  </a:cubicBezTo>
                  <a:cubicBezTo>
                    <a:pt x="61" y="41"/>
                    <a:pt x="63" y="41"/>
                    <a:pt x="64" y="41"/>
                  </a:cubicBezTo>
                  <a:cubicBezTo>
                    <a:pt x="65" y="40"/>
                    <a:pt x="66" y="40"/>
                    <a:pt x="67" y="39"/>
                  </a:cubicBezTo>
                  <a:cubicBezTo>
                    <a:pt x="69" y="38"/>
                    <a:pt x="72" y="38"/>
                    <a:pt x="74" y="37"/>
                  </a:cubicBezTo>
                  <a:cubicBezTo>
                    <a:pt x="75" y="37"/>
                    <a:pt x="76" y="37"/>
                    <a:pt x="76" y="38"/>
                  </a:cubicBezTo>
                  <a:cubicBezTo>
                    <a:pt x="75" y="39"/>
                    <a:pt x="75" y="40"/>
                    <a:pt x="75" y="41"/>
                  </a:cubicBezTo>
                  <a:cubicBezTo>
                    <a:pt x="75" y="42"/>
                    <a:pt x="75" y="42"/>
                    <a:pt x="74" y="42"/>
                  </a:cubicBezTo>
                  <a:cubicBezTo>
                    <a:pt x="72" y="41"/>
                    <a:pt x="71" y="42"/>
                    <a:pt x="69" y="42"/>
                  </a:cubicBezTo>
                  <a:cubicBezTo>
                    <a:pt x="69" y="42"/>
                    <a:pt x="68" y="43"/>
                    <a:pt x="68" y="43"/>
                  </a:cubicBezTo>
                  <a:cubicBezTo>
                    <a:pt x="68" y="44"/>
                    <a:pt x="68" y="45"/>
                    <a:pt x="69" y="45"/>
                  </a:cubicBezTo>
                  <a:cubicBezTo>
                    <a:pt x="70" y="45"/>
                    <a:pt x="71" y="46"/>
                    <a:pt x="72" y="46"/>
                  </a:cubicBezTo>
                  <a:cubicBezTo>
                    <a:pt x="72" y="47"/>
                    <a:pt x="73" y="46"/>
                    <a:pt x="73" y="47"/>
                  </a:cubicBezTo>
                  <a:cubicBezTo>
                    <a:pt x="73" y="48"/>
                    <a:pt x="72" y="48"/>
                    <a:pt x="71" y="48"/>
                  </a:cubicBezTo>
                  <a:cubicBezTo>
                    <a:pt x="71" y="47"/>
                    <a:pt x="70" y="47"/>
                    <a:pt x="69" y="47"/>
                  </a:cubicBezTo>
                  <a:cubicBezTo>
                    <a:pt x="68" y="46"/>
                    <a:pt x="67" y="46"/>
                    <a:pt x="66" y="45"/>
                  </a:cubicBezTo>
                  <a:cubicBezTo>
                    <a:pt x="66" y="45"/>
                    <a:pt x="66" y="44"/>
                    <a:pt x="65" y="44"/>
                  </a:cubicBezTo>
                  <a:cubicBezTo>
                    <a:pt x="64" y="44"/>
                    <a:pt x="63" y="44"/>
                    <a:pt x="62" y="45"/>
                  </a:cubicBezTo>
                  <a:cubicBezTo>
                    <a:pt x="62" y="45"/>
                    <a:pt x="62" y="46"/>
                    <a:pt x="62" y="46"/>
                  </a:cubicBezTo>
                  <a:cubicBezTo>
                    <a:pt x="64" y="48"/>
                    <a:pt x="65" y="51"/>
                    <a:pt x="67" y="51"/>
                  </a:cubicBezTo>
                  <a:cubicBezTo>
                    <a:pt x="68" y="52"/>
                    <a:pt x="68" y="52"/>
                    <a:pt x="69" y="52"/>
                  </a:cubicBezTo>
                  <a:cubicBezTo>
                    <a:pt x="69" y="52"/>
                    <a:pt x="69" y="52"/>
                    <a:pt x="69" y="52"/>
                  </a:cubicBezTo>
                  <a:cubicBezTo>
                    <a:pt x="69" y="52"/>
                    <a:pt x="70" y="52"/>
                    <a:pt x="70" y="53"/>
                  </a:cubicBezTo>
                  <a:cubicBezTo>
                    <a:pt x="70" y="55"/>
                    <a:pt x="71" y="55"/>
                    <a:pt x="73" y="54"/>
                  </a:cubicBezTo>
                  <a:cubicBezTo>
                    <a:pt x="74" y="54"/>
                    <a:pt x="75" y="54"/>
                    <a:pt x="76" y="54"/>
                  </a:cubicBezTo>
                  <a:cubicBezTo>
                    <a:pt x="77" y="55"/>
                    <a:pt x="78" y="55"/>
                    <a:pt x="78" y="54"/>
                  </a:cubicBezTo>
                  <a:cubicBezTo>
                    <a:pt x="80" y="53"/>
                    <a:pt x="81" y="53"/>
                    <a:pt x="82" y="53"/>
                  </a:cubicBezTo>
                  <a:cubicBezTo>
                    <a:pt x="83" y="53"/>
                    <a:pt x="83" y="53"/>
                    <a:pt x="83" y="54"/>
                  </a:cubicBezTo>
                  <a:cubicBezTo>
                    <a:pt x="83" y="56"/>
                    <a:pt x="83" y="57"/>
                    <a:pt x="85" y="58"/>
                  </a:cubicBezTo>
                  <a:cubicBezTo>
                    <a:pt x="87" y="60"/>
                    <a:pt x="90" y="60"/>
                    <a:pt x="92" y="59"/>
                  </a:cubicBezTo>
                  <a:cubicBezTo>
                    <a:pt x="93" y="59"/>
                    <a:pt x="93" y="59"/>
                    <a:pt x="93" y="58"/>
                  </a:cubicBezTo>
                  <a:cubicBezTo>
                    <a:pt x="93" y="57"/>
                    <a:pt x="94" y="56"/>
                    <a:pt x="95" y="56"/>
                  </a:cubicBezTo>
                  <a:cubicBezTo>
                    <a:pt x="95" y="55"/>
                    <a:pt x="96" y="55"/>
                    <a:pt x="96" y="55"/>
                  </a:cubicBezTo>
                  <a:cubicBezTo>
                    <a:pt x="97" y="54"/>
                    <a:pt x="97" y="53"/>
                    <a:pt x="98" y="55"/>
                  </a:cubicBezTo>
                  <a:cubicBezTo>
                    <a:pt x="98" y="56"/>
                    <a:pt x="99" y="56"/>
                    <a:pt x="100" y="55"/>
                  </a:cubicBezTo>
                  <a:cubicBezTo>
                    <a:pt x="101" y="54"/>
                    <a:pt x="103" y="53"/>
                    <a:pt x="104" y="50"/>
                  </a:cubicBezTo>
                  <a:cubicBezTo>
                    <a:pt x="104" y="49"/>
                    <a:pt x="105" y="47"/>
                    <a:pt x="104" y="46"/>
                  </a:cubicBezTo>
                  <a:cubicBezTo>
                    <a:pt x="103" y="45"/>
                    <a:pt x="104" y="44"/>
                    <a:pt x="105" y="44"/>
                  </a:cubicBezTo>
                  <a:cubicBezTo>
                    <a:pt x="107" y="43"/>
                    <a:pt x="108" y="41"/>
                    <a:pt x="109" y="39"/>
                  </a:cubicBezTo>
                  <a:cubicBezTo>
                    <a:pt x="110" y="38"/>
                    <a:pt x="110" y="37"/>
                    <a:pt x="111" y="36"/>
                  </a:cubicBezTo>
                  <a:cubicBezTo>
                    <a:pt x="113" y="35"/>
                    <a:pt x="113" y="34"/>
                    <a:pt x="112" y="32"/>
                  </a:cubicBezTo>
                  <a:cubicBezTo>
                    <a:pt x="112" y="31"/>
                    <a:pt x="112" y="31"/>
                    <a:pt x="112" y="31"/>
                  </a:cubicBezTo>
                  <a:cubicBezTo>
                    <a:pt x="114" y="30"/>
                    <a:pt x="114" y="29"/>
                    <a:pt x="114" y="28"/>
                  </a:cubicBezTo>
                  <a:cubicBezTo>
                    <a:pt x="113" y="27"/>
                    <a:pt x="112" y="25"/>
                    <a:pt x="111" y="24"/>
                  </a:cubicBezTo>
                  <a:close/>
                  <a:moveTo>
                    <a:pt x="62" y="15"/>
                  </a:moveTo>
                  <a:cubicBezTo>
                    <a:pt x="62" y="14"/>
                    <a:pt x="62" y="14"/>
                    <a:pt x="63" y="14"/>
                  </a:cubicBezTo>
                  <a:cubicBezTo>
                    <a:pt x="62" y="14"/>
                    <a:pt x="62" y="14"/>
                    <a:pt x="62" y="15"/>
                  </a:cubicBezTo>
                  <a:close/>
                  <a:moveTo>
                    <a:pt x="68" y="78"/>
                  </a:moveTo>
                  <a:cubicBezTo>
                    <a:pt x="69" y="78"/>
                    <a:pt x="70" y="78"/>
                    <a:pt x="71" y="78"/>
                  </a:cubicBezTo>
                  <a:cubicBezTo>
                    <a:pt x="71" y="78"/>
                    <a:pt x="71" y="78"/>
                    <a:pt x="71" y="78"/>
                  </a:cubicBezTo>
                  <a:cubicBezTo>
                    <a:pt x="71" y="78"/>
                    <a:pt x="71" y="80"/>
                    <a:pt x="72" y="79"/>
                  </a:cubicBezTo>
                  <a:cubicBezTo>
                    <a:pt x="73" y="79"/>
                    <a:pt x="74" y="79"/>
                    <a:pt x="74" y="78"/>
                  </a:cubicBezTo>
                  <a:cubicBezTo>
                    <a:pt x="74" y="77"/>
                    <a:pt x="75" y="75"/>
                    <a:pt x="75" y="74"/>
                  </a:cubicBezTo>
                  <a:cubicBezTo>
                    <a:pt x="75" y="73"/>
                    <a:pt x="74" y="72"/>
                    <a:pt x="73" y="73"/>
                  </a:cubicBezTo>
                  <a:cubicBezTo>
                    <a:pt x="73" y="73"/>
                    <a:pt x="72" y="72"/>
                    <a:pt x="72" y="72"/>
                  </a:cubicBezTo>
                  <a:cubicBezTo>
                    <a:pt x="72" y="72"/>
                    <a:pt x="71" y="71"/>
                    <a:pt x="71" y="71"/>
                  </a:cubicBezTo>
                  <a:cubicBezTo>
                    <a:pt x="69" y="71"/>
                    <a:pt x="68" y="70"/>
                    <a:pt x="67" y="68"/>
                  </a:cubicBezTo>
                  <a:cubicBezTo>
                    <a:pt x="67" y="68"/>
                    <a:pt x="66" y="67"/>
                    <a:pt x="66" y="68"/>
                  </a:cubicBezTo>
                  <a:cubicBezTo>
                    <a:pt x="64" y="68"/>
                    <a:pt x="64" y="67"/>
                    <a:pt x="64" y="66"/>
                  </a:cubicBezTo>
                  <a:cubicBezTo>
                    <a:pt x="64" y="66"/>
                    <a:pt x="64" y="66"/>
                    <a:pt x="64" y="65"/>
                  </a:cubicBezTo>
                  <a:cubicBezTo>
                    <a:pt x="63" y="64"/>
                    <a:pt x="63" y="61"/>
                    <a:pt x="61" y="61"/>
                  </a:cubicBezTo>
                  <a:cubicBezTo>
                    <a:pt x="61" y="61"/>
                    <a:pt x="60" y="61"/>
                    <a:pt x="60" y="61"/>
                  </a:cubicBezTo>
                  <a:cubicBezTo>
                    <a:pt x="60" y="60"/>
                    <a:pt x="60" y="60"/>
                    <a:pt x="59" y="61"/>
                  </a:cubicBezTo>
                  <a:cubicBezTo>
                    <a:pt x="59" y="63"/>
                    <a:pt x="58" y="62"/>
                    <a:pt x="57" y="61"/>
                  </a:cubicBezTo>
                  <a:cubicBezTo>
                    <a:pt x="57" y="61"/>
                    <a:pt x="57" y="61"/>
                    <a:pt x="57" y="61"/>
                  </a:cubicBezTo>
                  <a:cubicBezTo>
                    <a:pt x="57" y="61"/>
                    <a:pt x="57" y="61"/>
                    <a:pt x="57" y="61"/>
                  </a:cubicBezTo>
                  <a:cubicBezTo>
                    <a:pt x="57" y="61"/>
                    <a:pt x="57" y="61"/>
                    <a:pt x="57" y="61"/>
                  </a:cubicBezTo>
                  <a:cubicBezTo>
                    <a:pt x="57" y="61"/>
                    <a:pt x="57" y="61"/>
                    <a:pt x="57" y="61"/>
                  </a:cubicBezTo>
                  <a:cubicBezTo>
                    <a:pt x="57" y="60"/>
                    <a:pt x="57" y="59"/>
                    <a:pt x="56" y="59"/>
                  </a:cubicBezTo>
                  <a:cubicBezTo>
                    <a:pt x="55" y="59"/>
                    <a:pt x="55" y="58"/>
                    <a:pt x="55" y="58"/>
                  </a:cubicBezTo>
                  <a:cubicBezTo>
                    <a:pt x="56" y="58"/>
                    <a:pt x="56" y="57"/>
                    <a:pt x="56" y="57"/>
                  </a:cubicBezTo>
                  <a:cubicBezTo>
                    <a:pt x="57" y="55"/>
                    <a:pt x="57" y="54"/>
                    <a:pt x="57" y="52"/>
                  </a:cubicBezTo>
                  <a:cubicBezTo>
                    <a:pt x="56" y="51"/>
                    <a:pt x="57" y="50"/>
                    <a:pt x="56" y="49"/>
                  </a:cubicBezTo>
                  <a:cubicBezTo>
                    <a:pt x="56" y="49"/>
                    <a:pt x="56" y="48"/>
                    <a:pt x="55" y="47"/>
                  </a:cubicBezTo>
                  <a:cubicBezTo>
                    <a:pt x="55" y="47"/>
                    <a:pt x="55" y="47"/>
                    <a:pt x="55" y="47"/>
                  </a:cubicBezTo>
                  <a:cubicBezTo>
                    <a:pt x="55" y="47"/>
                    <a:pt x="55" y="47"/>
                    <a:pt x="55" y="47"/>
                  </a:cubicBezTo>
                  <a:cubicBezTo>
                    <a:pt x="55" y="47"/>
                    <a:pt x="55" y="47"/>
                    <a:pt x="55" y="47"/>
                  </a:cubicBezTo>
                  <a:cubicBezTo>
                    <a:pt x="55" y="47"/>
                    <a:pt x="54" y="46"/>
                    <a:pt x="54" y="46"/>
                  </a:cubicBezTo>
                  <a:cubicBezTo>
                    <a:pt x="54" y="46"/>
                    <a:pt x="54" y="46"/>
                    <a:pt x="54" y="46"/>
                  </a:cubicBezTo>
                  <a:cubicBezTo>
                    <a:pt x="54" y="45"/>
                    <a:pt x="53" y="45"/>
                    <a:pt x="53" y="45"/>
                  </a:cubicBezTo>
                  <a:cubicBezTo>
                    <a:pt x="52" y="45"/>
                    <a:pt x="52" y="46"/>
                    <a:pt x="52" y="46"/>
                  </a:cubicBezTo>
                  <a:cubicBezTo>
                    <a:pt x="51" y="47"/>
                    <a:pt x="51" y="48"/>
                    <a:pt x="51" y="49"/>
                  </a:cubicBezTo>
                  <a:cubicBezTo>
                    <a:pt x="52" y="51"/>
                    <a:pt x="50" y="53"/>
                    <a:pt x="49" y="54"/>
                  </a:cubicBezTo>
                  <a:cubicBezTo>
                    <a:pt x="49" y="54"/>
                    <a:pt x="49" y="53"/>
                    <a:pt x="49" y="53"/>
                  </a:cubicBezTo>
                  <a:cubicBezTo>
                    <a:pt x="50" y="51"/>
                    <a:pt x="50" y="49"/>
                    <a:pt x="49" y="47"/>
                  </a:cubicBezTo>
                  <a:cubicBezTo>
                    <a:pt x="49" y="47"/>
                    <a:pt x="49" y="47"/>
                    <a:pt x="49" y="47"/>
                  </a:cubicBezTo>
                  <a:cubicBezTo>
                    <a:pt x="49" y="47"/>
                    <a:pt x="49" y="47"/>
                    <a:pt x="49" y="47"/>
                  </a:cubicBezTo>
                  <a:cubicBezTo>
                    <a:pt x="49" y="46"/>
                    <a:pt x="49" y="45"/>
                    <a:pt x="50" y="44"/>
                  </a:cubicBezTo>
                  <a:cubicBezTo>
                    <a:pt x="51" y="42"/>
                    <a:pt x="52" y="40"/>
                    <a:pt x="50" y="38"/>
                  </a:cubicBezTo>
                  <a:cubicBezTo>
                    <a:pt x="50" y="38"/>
                    <a:pt x="49" y="37"/>
                    <a:pt x="49" y="37"/>
                  </a:cubicBezTo>
                  <a:cubicBezTo>
                    <a:pt x="49" y="35"/>
                    <a:pt x="47" y="34"/>
                    <a:pt x="46" y="33"/>
                  </a:cubicBezTo>
                  <a:cubicBezTo>
                    <a:pt x="44" y="31"/>
                    <a:pt x="44" y="32"/>
                    <a:pt x="44" y="33"/>
                  </a:cubicBezTo>
                  <a:cubicBezTo>
                    <a:pt x="43" y="34"/>
                    <a:pt x="44" y="35"/>
                    <a:pt x="44" y="35"/>
                  </a:cubicBezTo>
                  <a:cubicBezTo>
                    <a:pt x="43" y="35"/>
                    <a:pt x="43" y="35"/>
                    <a:pt x="42" y="34"/>
                  </a:cubicBezTo>
                  <a:cubicBezTo>
                    <a:pt x="42" y="34"/>
                    <a:pt x="42" y="34"/>
                    <a:pt x="42" y="34"/>
                  </a:cubicBezTo>
                  <a:cubicBezTo>
                    <a:pt x="42" y="34"/>
                    <a:pt x="42" y="34"/>
                    <a:pt x="42" y="34"/>
                  </a:cubicBezTo>
                  <a:cubicBezTo>
                    <a:pt x="42" y="33"/>
                    <a:pt x="43" y="33"/>
                    <a:pt x="42" y="32"/>
                  </a:cubicBezTo>
                  <a:cubicBezTo>
                    <a:pt x="41" y="31"/>
                    <a:pt x="41" y="30"/>
                    <a:pt x="41" y="29"/>
                  </a:cubicBezTo>
                  <a:cubicBezTo>
                    <a:pt x="41" y="29"/>
                    <a:pt x="39" y="28"/>
                    <a:pt x="39" y="28"/>
                  </a:cubicBezTo>
                  <a:cubicBezTo>
                    <a:pt x="38" y="29"/>
                    <a:pt x="36" y="32"/>
                    <a:pt x="37" y="34"/>
                  </a:cubicBezTo>
                  <a:cubicBezTo>
                    <a:pt x="38" y="34"/>
                    <a:pt x="38" y="35"/>
                    <a:pt x="38" y="35"/>
                  </a:cubicBezTo>
                  <a:cubicBezTo>
                    <a:pt x="37" y="36"/>
                    <a:pt x="37" y="35"/>
                    <a:pt x="37" y="35"/>
                  </a:cubicBezTo>
                  <a:cubicBezTo>
                    <a:pt x="36" y="35"/>
                    <a:pt x="35" y="35"/>
                    <a:pt x="35" y="36"/>
                  </a:cubicBezTo>
                  <a:cubicBezTo>
                    <a:pt x="35" y="38"/>
                    <a:pt x="35" y="39"/>
                    <a:pt x="35" y="41"/>
                  </a:cubicBezTo>
                  <a:cubicBezTo>
                    <a:pt x="35" y="41"/>
                    <a:pt x="35" y="41"/>
                    <a:pt x="35" y="41"/>
                  </a:cubicBezTo>
                  <a:cubicBezTo>
                    <a:pt x="36" y="44"/>
                    <a:pt x="36" y="46"/>
                    <a:pt x="37" y="49"/>
                  </a:cubicBezTo>
                  <a:cubicBezTo>
                    <a:pt x="37" y="50"/>
                    <a:pt x="36" y="51"/>
                    <a:pt x="37" y="52"/>
                  </a:cubicBezTo>
                  <a:cubicBezTo>
                    <a:pt x="37" y="52"/>
                    <a:pt x="37" y="52"/>
                    <a:pt x="37" y="52"/>
                  </a:cubicBezTo>
                  <a:cubicBezTo>
                    <a:pt x="37" y="52"/>
                    <a:pt x="37" y="52"/>
                    <a:pt x="37" y="52"/>
                  </a:cubicBezTo>
                  <a:cubicBezTo>
                    <a:pt x="37" y="54"/>
                    <a:pt x="37" y="55"/>
                    <a:pt x="37" y="56"/>
                  </a:cubicBezTo>
                  <a:cubicBezTo>
                    <a:pt x="37" y="57"/>
                    <a:pt x="37" y="57"/>
                    <a:pt x="38" y="58"/>
                  </a:cubicBezTo>
                  <a:cubicBezTo>
                    <a:pt x="38" y="58"/>
                    <a:pt x="38" y="58"/>
                    <a:pt x="38" y="58"/>
                  </a:cubicBezTo>
                  <a:cubicBezTo>
                    <a:pt x="38" y="58"/>
                    <a:pt x="38" y="59"/>
                    <a:pt x="38" y="59"/>
                  </a:cubicBezTo>
                  <a:cubicBezTo>
                    <a:pt x="38" y="59"/>
                    <a:pt x="38" y="59"/>
                    <a:pt x="38" y="59"/>
                  </a:cubicBezTo>
                  <a:cubicBezTo>
                    <a:pt x="38" y="59"/>
                    <a:pt x="38" y="59"/>
                    <a:pt x="38" y="59"/>
                  </a:cubicBezTo>
                  <a:cubicBezTo>
                    <a:pt x="38" y="59"/>
                    <a:pt x="38" y="59"/>
                    <a:pt x="38" y="59"/>
                  </a:cubicBezTo>
                  <a:cubicBezTo>
                    <a:pt x="38" y="60"/>
                    <a:pt x="38" y="61"/>
                    <a:pt x="39" y="62"/>
                  </a:cubicBezTo>
                  <a:cubicBezTo>
                    <a:pt x="39" y="65"/>
                    <a:pt x="40" y="69"/>
                    <a:pt x="41" y="72"/>
                  </a:cubicBezTo>
                  <a:cubicBezTo>
                    <a:pt x="41" y="72"/>
                    <a:pt x="41" y="72"/>
                    <a:pt x="41" y="72"/>
                  </a:cubicBezTo>
                  <a:cubicBezTo>
                    <a:pt x="41" y="72"/>
                    <a:pt x="41" y="72"/>
                    <a:pt x="41" y="72"/>
                  </a:cubicBezTo>
                  <a:cubicBezTo>
                    <a:pt x="41" y="72"/>
                    <a:pt x="41" y="72"/>
                    <a:pt x="41" y="72"/>
                  </a:cubicBezTo>
                  <a:cubicBezTo>
                    <a:pt x="41" y="72"/>
                    <a:pt x="41" y="72"/>
                    <a:pt x="41" y="72"/>
                  </a:cubicBezTo>
                  <a:cubicBezTo>
                    <a:pt x="40" y="71"/>
                    <a:pt x="40" y="70"/>
                    <a:pt x="39" y="70"/>
                  </a:cubicBezTo>
                  <a:cubicBezTo>
                    <a:pt x="39" y="69"/>
                    <a:pt x="39" y="68"/>
                    <a:pt x="38" y="67"/>
                  </a:cubicBezTo>
                  <a:cubicBezTo>
                    <a:pt x="38" y="67"/>
                    <a:pt x="38" y="67"/>
                    <a:pt x="38" y="67"/>
                  </a:cubicBezTo>
                  <a:cubicBezTo>
                    <a:pt x="38" y="65"/>
                    <a:pt x="37" y="63"/>
                    <a:pt x="36" y="62"/>
                  </a:cubicBezTo>
                  <a:cubicBezTo>
                    <a:pt x="36" y="62"/>
                    <a:pt x="35" y="63"/>
                    <a:pt x="35" y="64"/>
                  </a:cubicBezTo>
                  <a:cubicBezTo>
                    <a:pt x="35" y="64"/>
                    <a:pt x="35" y="64"/>
                    <a:pt x="35" y="64"/>
                  </a:cubicBezTo>
                  <a:cubicBezTo>
                    <a:pt x="35" y="64"/>
                    <a:pt x="35" y="64"/>
                    <a:pt x="35" y="64"/>
                  </a:cubicBezTo>
                  <a:cubicBezTo>
                    <a:pt x="35" y="64"/>
                    <a:pt x="35" y="63"/>
                    <a:pt x="35" y="63"/>
                  </a:cubicBezTo>
                  <a:cubicBezTo>
                    <a:pt x="35" y="62"/>
                    <a:pt x="35" y="61"/>
                    <a:pt x="36" y="60"/>
                  </a:cubicBezTo>
                  <a:cubicBezTo>
                    <a:pt x="36" y="59"/>
                    <a:pt x="36" y="59"/>
                    <a:pt x="35" y="58"/>
                  </a:cubicBezTo>
                  <a:cubicBezTo>
                    <a:pt x="35" y="58"/>
                    <a:pt x="35" y="58"/>
                    <a:pt x="35" y="58"/>
                  </a:cubicBezTo>
                  <a:cubicBezTo>
                    <a:pt x="35" y="58"/>
                    <a:pt x="35" y="58"/>
                    <a:pt x="35" y="58"/>
                  </a:cubicBezTo>
                  <a:cubicBezTo>
                    <a:pt x="35" y="58"/>
                    <a:pt x="34" y="57"/>
                    <a:pt x="34" y="56"/>
                  </a:cubicBezTo>
                  <a:cubicBezTo>
                    <a:pt x="34" y="56"/>
                    <a:pt x="34" y="56"/>
                    <a:pt x="34" y="56"/>
                  </a:cubicBezTo>
                  <a:cubicBezTo>
                    <a:pt x="34" y="56"/>
                    <a:pt x="34" y="56"/>
                    <a:pt x="34" y="56"/>
                  </a:cubicBezTo>
                  <a:cubicBezTo>
                    <a:pt x="34" y="55"/>
                    <a:pt x="34" y="55"/>
                    <a:pt x="33" y="55"/>
                  </a:cubicBezTo>
                  <a:cubicBezTo>
                    <a:pt x="33" y="55"/>
                    <a:pt x="33" y="55"/>
                    <a:pt x="33" y="55"/>
                  </a:cubicBezTo>
                  <a:cubicBezTo>
                    <a:pt x="33" y="54"/>
                    <a:pt x="33" y="54"/>
                    <a:pt x="33" y="54"/>
                  </a:cubicBezTo>
                  <a:cubicBezTo>
                    <a:pt x="33" y="54"/>
                    <a:pt x="33" y="54"/>
                    <a:pt x="33" y="54"/>
                  </a:cubicBezTo>
                  <a:cubicBezTo>
                    <a:pt x="34" y="53"/>
                    <a:pt x="33" y="51"/>
                    <a:pt x="33" y="50"/>
                  </a:cubicBezTo>
                  <a:cubicBezTo>
                    <a:pt x="33" y="50"/>
                    <a:pt x="33" y="49"/>
                    <a:pt x="32" y="49"/>
                  </a:cubicBezTo>
                  <a:cubicBezTo>
                    <a:pt x="32" y="49"/>
                    <a:pt x="32" y="49"/>
                    <a:pt x="32" y="49"/>
                  </a:cubicBezTo>
                  <a:cubicBezTo>
                    <a:pt x="32" y="48"/>
                    <a:pt x="32" y="48"/>
                    <a:pt x="32" y="48"/>
                  </a:cubicBezTo>
                  <a:cubicBezTo>
                    <a:pt x="32" y="48"/>
                    <a:pt x="32" y="48"/>
                    <a:pt x="32" y="48"/>
                  </a:cubicBezTo>
                  <a:cubicBezTo>
                    <a:pt x="32" y="47"/>
                    <a:pt x="32" y="47"/>
                    <a:pt x="32" y="47"/>
                  </a:cubicBezTo>
                  <a:cubicBezTo>
                    <a:pt x="32" y="46"/>
                    <a:pt x="32" y="46"/>
                    <a:pt x="32" y="46"/>
                  </a:cubicBezTo>
                  <a:cubicBezTo>
                    <a:pt x="32" y="46"/>
                    <a:pt x="32" y="46"/>
                    <a:pt x="32" y="47"/>
                  </a:cubicBezTo>
                  <a:cubicBezTo>
                    <a:pt x="32" y="46"/>
                    <a:pt x="32" y="45"/>
                    <a:pt x="32" y="45"/>
                  </a:cubicBezTo>
                  <a:cubicBezTo>
                    <a:pt x="31" y="44"/>
                    <a:pt x="31" y="44"/>
                    <a:pt x="31" y="44"/>
                  </a:cubicBezTo>
                  <a:cubicBezTo>
                    <a:pt x="31" y="44"/>
                    <a:pt x="31" y="44"/>
                    <a:pt x="31" y="44"/>
                  </a:cubicBezTo>
                  <a:cubicBezTo>
                    <a:pt x="31" y="43"/>
                    <a:pt x="31" y="43"/>
                    <a:pt x="31" y="43"/>
                  </a:cubicBezTo>
                  <a:cubicBezTo>
                    <a:pt x="31" y="43"/>
                    <a:pt x="31" y="42"/>
                    <a:pt x="31" y="42"/>
                  </a:cubicBezTo>
                  <a:cubicBezTo>
                    <a:pt x="31" y="42"/>
                    <a:pt x="31" y="42"/>
                    <a:pt x="31" y="42"/>
                  </a:cubicBezTo>
                  <a:cubicBezTo>
                    <a:pt x="31" y="42"/>
                    <a:pt x="30" y="41"/>
                    <a:pt x="30" y="41"/>
                  </a:cubicBezTo>
                  <a:cubicBezTo>
                    <a:pt x="30" y="40"/>
                    <a:pt x="30" y="39"/>
                    <a:pt x="29" y="38"/>
                  </a:cubicBezTo>
                  <a:cubicBezTo>
                    <a:pt x="28" y="38"/>
                    <a:pt x="27" y="38"/>
                    <a:pt x="27" y="39"/>
                  </a:cubicBezTo>
                  <a:cubicBezTo>
                    <a:pt x="26" y="41"/>
                    <a:pt x="25" y="43"/>
                    <a:pt x="25" y="45"/>
                  </a:cubicBezTo>
                  <a:cubicBezTo>
                    <a:pt x="25" y="45"/>
                    <a:pt x="24" y="45"/>
                    <a:pt x="24" y="46"/>
                  </a:cubicBezTo>
                  <a:cubicBezTo>
                    <a:pt x="24" y="46"/>
                    <a:pt x="24" y="46"/>
                    <a:pt x="24" y="46"/>
                  </a:cubicBezTo>
                  <a:cubicBezTo>
                    <a:pt x="24" y="46"/>
                    <a:pt x="24" y="46"/>
                    <a:pt x="24" y="46"/>
                  </a:cubicBezTo>
                  <a:cubicBezTo>
                    <a:pt x="23" y="47"/>
                    <a:pt x="23" y="48"/>
                    <a:pt x="23" y="49"/>
                  </a:cubicBezTo>
                  <a:cubicBezTo>
                    <a:pt x="24" y="51"/>
                    <a:pt x="24" y="53"/>
                    <a:pt x="25" y="55"/>
                  </a:cubicBezTo>
                  <a:cubicBezTo>
                    <a:pt x="25" y="55"/>
                    <a:pt x="25" y="55"/>
                    <a:pt x="25" y="55"/>
                  </a:cubicBezTo>
                  <a:cubicBezTo>
                    <a:pt x="25" y="56"/>
                    <a:pt x="25" y="56"/>
                    <a:pt x="24" y="56"/>
                  </a:cubicBezTo>
                  <a:cubicBezTo>
                    <a:pt x="24" y="56"/>
                    <a:pt x="24" y="56"/>
                    <a:pt x="24" y="56"/>
                  </a:cubicBezTo>
                  <a:cubicBezTo>
                    <a:pt x="24" y="56"/>
                    <a:pt x="24" y="56"/>
                    <a:pt x="24" y="56"/>
                  </a:cubicBezTo>
                  <a:cubicBezTo>
                    <a:pt x="24" y="56"/>
                    <a:pt x="24" y="58"/>
                    <a:pt x="23" y="57"/>
                  </a:cubicBezTo>
                  <a:cubicBezTo>
                    <a:pt x="23" y="55"/>
                    <a:pt x="23" y="52"/>
                    <a:pt x="21" y="50"/>
                  </a:cubicBezTo>
                  <a:cubicBezTo>
                    <a:pt x="20" y="50"/>
                    <a:pt x="20" y="50"/>
                    <a:pt x="20" y="52"/>
                  </a:cubicBezTo>
                  <a:cubicBezTo>
                    <a:pt x="20" y="52"/>
                    <a:pt x="20" y="52"/>
                    <a:pt x="20" y="52"/>
                  </a:cubicBezTo>
                  <a:cubicBezTo>
                    <a:pt x="20" y="52"/>
                    <a:pt x="19" y="51"/>
                    <a:pt x="19" y="51"/>
                  </a:cubicBezTo>
                  <a:cubicBezTo>
                    <a:pt x="19" y="51"/>
                    <a:pt x="19" y="51"/>
                    <a:pt x="19" y="51"/>
                  </a:cubicBezTo>
                  <a:cubicBezTo>
                    <a:pt x="19" y="51"/>
                    <a:pt x="19" y="51"/>
                    <a:pt x="19" y="51"/>
                  </a:cubicBezTo>
                  <a:cubicBezTo>
                    <a:pt x="19" y="51"/>
                    <a:pt x="19" y="51"/>
                    <a:pt x="19" y="51"/>
                  </a:cubicBezTo>
                  <a:cubicBezTo>
                    <a:pt x="19" y="50"/>
                    <a:pt x="19" y="50"/>
                    <a:pt x="19" y="49"/>
                  </a:cubicBezTo>
                  <a:cubicBezTo>
                    <a:pt x="20" y="48"/>
                    <a:pt x="20" y="47"/>
                    <a:pt x="20" y="46"/>
                  </a:cubicBezTo>
                  <a:cubicBezTo>
                    <a:pt x="20" y="46"/>
                    <a:pt x="20" y="46"/>
                    <a:pt x="20" y="46"/>
                  </a:cubicBezTo>
                  <a:cubicBezTo>
                    <a:pt x="20" y="46"/>
                    <a:pt x="19" y="46"/>
                    <a:pt x="18" y="46"/>
                  </a:cubicBezTo>
                  <a:cubicBezTo>
                    <a:pt x="17" y="46"/>
                    <a:pt x="15" y="47"/>
                    <a:pt x="14" y="49"/>
                  </a:cubicBezTo>
                  <a:cubicBezTo>
                    <a:pt x="14" y="49"/>
                    <a:pt x="14" y="49"/>
                    <a:pt x="13" y="49"/>
                  </a:cubicBezTo>
                  <a:cubicBezTo>
                    <a:pt x="13" y="49"/>
                    <a:pt x="13" y="49"/>
                    <a:pt x="13" y="48"/>
                  </a:cubicBezTo>
                  <a:cubicBezTo>
                    <a:pt x="13" y="48"/>
                    <a:pt x="13" y="47"/>
                    <a:pt x="13" y="46"/>
                  </a:cubicBezTo>
                  <a:cubicBezTo>
                    <a:pt x="13" y="46"/>
                    <a:pt x="13" y="46"/>
                    <a:pt x="13" y="46"/>
                  </a:cubicBezTo>
                  <a:cubicBezTo>
                    <a:pt x="13" y="46"/>
                    <a:pt x="13" y="46"/>
                    <a:pt x="13" y="46"/>
                  </a:cubicBezTo>
                  <a:cubicBezTo>
                    <a:pt x="13" y="46"/>
                    <a:pt x="13" y="46"/>
                    <a:pt x="13" y="46"/>
                  </a:cubicBezTo>
                  <a:cubicBezTo>
                    <a:pt x="14" y="46"/>
                    <a:pt x="15" y="46"/>
                    <a:pt x="15" y="45"/>
                  </a:cubicBezTo>
                  <a:cubicBezTo>
                    <a:pt x="15" y="45"/>
                    <a:pt x="15" y="45"/>
                    <a:pt x="15" y="45"/>
                  </a:cubicBezTo>
                  <a:cubicBezTo>
                    <a:pt x="16" y="44"/>
                    <a:pt x="16" y="43"/>
                    <a:pt x="17" y="43"/>
                  </a:cubicBezTo>
                  <a:cubicBezTo>
                    <a:pt x="17" y="42"/>
                    <a:pt x="18" y="42"/>
                    <a:pt x="18" y="42"/>
                  </a:cubicBezTo>
                  <a:cubicBezTo>
                    <a:pt x="19" y="42"/>
                    <a:pt x="19" y="42"/>
                    <a:pt x="19" y="42"/>
                  </a:cubicBezTo>
                  <a:cubicBezTo>
                    <a:pt x="22" y="42"/>
                    <a:pt x="22" y="42"/>
                    <a:pt x="23" y="40"/>
                  </a:cubicBezTo>
                  <a:cubicBezTo>
                    <a:pt x="23" y="40"/>
                    <a:pt x="23" y="40"/>
                    <a:pt x="23" y="40"/>
                  </a:cubicBezTo>
                  <a:cubicBezTo>
                    <a:pt x="23" y="40"/>
                    <a:pt x="23" y="40"/>
                    <a:pt x="23" y="40"/>
                  </a:cubicBezTo>
                  <a:cubicBezTo>
                    <a:pt x="23" y="39"/>
                    <a:pt x="23" y="37"/>
                    <a:pt x="23" y="36"/>
                  </a:cubicBezTo>
                  <a:cubicBezTo>
                    <a:pt x="23" y="36"/>
                    <a:pt x="23" y="35"/>
                    <a:pt x="22" y="35"/>
                  </a:cubicBezTo>
                  <a:cubicBezTo>
                    <a:pt x="20" y="36"/>
                    <a:pt x="18" y="37"/>
                    <a:pt x="17" y="38"/>
                  </a:cubicBezTo>
                  <a:cubicBezTo>
                    <a:pt x="16" y="38"/>
                    <a:pt x="15" y="39"/>
                    <a:pt x="15" y="39"/>
                  </a:cubicBezTo>
                  <a:cubicBezTo>
                    <a:pt x="15" y="39"/>
                    <a:pt x="15" y="39"/>
                    <a:pt x="15" y="39"/>
                  </a:cubicBezTo>
                  <a:cubicBezTo>
                    <a:pt x="15" y="39"/>
                    <a:pt x="15" y="39"/>
                    <a:pt x="15" y="39"/>
                  </a:cubicBezTo>
                  <a:cubicBezTo>
                    <a:pt x="14" y="39"/>
                    <a:pt x="14" y="39"/>
                    <a:pt x="14" y="39"/>
                  </a:cubicBezTo>
                  <a:cubicBezTo>
                    <a:pt x="14" y="39"/>
                    <a:pt x="14" y="39"/>
                    <a:pt x="14" y="39"/>
                  </a:cubicBezTo>
                  <a:cubicBezTo>
                    <a:pt x="14" y="38"/>
                    <a:pt x="14" y="37"/>
                    <a:pt x="12" y="36"/>
                  </a:cubicBezTo>
                  <a:cubicBezTo>
                    <a:pt x="11" y="38"/>
                    <a:pt x="11" y="39"/>
                    <a:pt x="12" y="41"/>
                  </a:cubicBezTo>
                  <a:cubicBezTo>
                    <a:pt x="12" y="41"/>
                    <a:pt x="12" y="41"/>
                    <a:pt x="12" y="41"/>
                  </a:cubicBezTo>
                  <a:cubicBezTo>
                    <a:pt x="12" y="41"/>
                    <a:pt x="12" y="41"/>
                    <a:pt x="12" y="41"/>
                  </a:cubicBezTo>
                  <a:cubicBezTo>
                    <a:pt x="12" y="41"/>
                    <a:pt x="12" y="42"/>
                    <a:pt x="13" y="42"/>
                  </a:cubicBezTo>
                  <a:cubicBezTo>
                    <a:pt x="12" y="42"/>
                    <a:pt x="13" y="43"/>
                    <a:pt x="12" y="43"/>
                  </a:cubicBezTo>
                  <a:cubicBezTo>
                    <a:pt x="12" y="43"/>
                    <a:pt x="12" y="43"/>
                    <a:pt x="12" y="43"/>
                  </a:cubicBezTo>
                  <a:cubicBezTo>
                    <a:pt x="12" y="43"/>
                    <a:pt x="12" y="41"/>
                    <a:pt x="11" y="43"/>
                  </a:cubicBezTo>
                  <a:cubicBezTo>
                    <a:pt x="11" y="43"/>
                    <a:pt x="11" y="43"/>
                    <a:pt x="11" y="43"/>
                  </a:cubicBezTo>
                  <a:cubicBezTo>
                    <a:pt x="11" y="43"/>
                    <a:pt x="11" y="43"/>
                    <a:pt x="11" y="43"/>
                  </a:cubicBezTo>
                  <a:cubicBezTo>
                    <a:pt x="11" y="42"/>
                    <a:pt x="11" y="41"/>
                    <a:pt x="11" y="41"/>
                  </a:cubicBezTo>
                  <a:cubicBezTo>
                    <a:pt x="10" y="40"/>
                    <a:pt x="11" y="39"/>
                    <a:pt x="10" y="38"/>
                  </a:cubicBezTo>
                  <a:cubicBezTo>
                    <a:pt x="10" y="38"/>
                    <a:pt x="10" y="38"/>
                    <a:pt x="10" y="38"/>
                  </a:cubicBezTo>
                  <a:cubicBezTo>
                    <a:pt x="10" y="38"/>
                    <a:pt x="10" y="38"/>
                    <a:pt x="10" y="38"/>
                  </a:cubicBezTo>
                  <a:cubicBezTo>
                    <a:pt x="9" y="38"/>
                    <a:pt x="9" y="38"/>
                    <a:pt x="9" y="38"/>
                  </a:cubicBezTo>
                  <a:cubicBezTo>
                    <a:pt x="10" y="37"/>
                    <a:pt x="9" y="37"/>
                    <a:pt x="9" y="37"/>
                  </a:cubicBezTo>
                  <a:cubicBezTo>
                    <a:pt x="9" y="37"/>
                    <a:pt x="9" y="37"/>
                    <a:pt x="9" y="37"/>
                  </a:cubicBezTo>
                  <a:cubicBezTo>
                    <a:pt x="9" y="37"/>
                    <a:pt x="8" y="37"/>
                    <a:pt x="8" y="37"/>
                  </a:cubicBezTo>
                  <a:cubicBezTo>
                    <a:pt x="8" y="37"/>
                    <a:pt x="8" y="37"/>
                    <a:pt x="8" y="37"/>
                  </a:cubicBezTo>
                  <a:cubicBezTo>
                    <a:pt x="7" y="37"/>
                    <a:pt x="7" y="38"/>
                    <a:pt x="7" y="39"/>
                  </a:cubicBezTo>
                  <a:cubicBezTo>
                    <a:pt x="6" y="39"/>
                    <a:pt x="6" y="39"/>
                    <a:pt x="6" y="39"/>
                  </a:cubicBezTo>
                  <a:cubicBezTo>
                    <a:pt x="6" y="39"/>
                    <a:pt x="6" y="39"/>
                    <a:pt x="6" y="39"/>
                  </a:cubicBezTo>
                  <a:cubicBezTo>
                    <a:pt x="5" y="38"/>
                    <a:pt x="5" y="38"/>
                    <a:pt x="5" y="39"/>
                  </a:cubicBezTo>
                  <a:cubicBezTo>
                    <a:pt x="5" y="40"/>
                    <a:pt x="5" y="42"/>
                    <a:pt x="6" y="43"/>
                  </a:cubicBezTo>
                  <a:cubicBezTo>
                    <a:pt x="6" y="43"/>
                    <a:pt x="6" y="44"/>
                    <a:pt x="6" y="44"/>
                  </a:cubicBezTo>
                  <a:cubicBezTo>
                    <a:pt x="6" y="44"/>
                    <a:pt x="5" y="44"/>
                    <a:pt x="5" y="44"/>
                  </a:cubicBezTo>
                  <a:cubicBezTo>
                    <a:pt x="5" y="44"/>
                    <a:pt x="4" y="44"/>
                    <a:pt x="4" y="44"/>
                  </a:cubicBezTo>
                  <a:cubicBezTo>
                    <a:pt x="3" y="44"/>
                    <a:pt x="3" y="44"/>
                    <a:pt x="3" y="45"/>
                  </a:cubicBezTo>
                  <a:cubicBezTo>
                    <a:pt x="2" y="46"/>
                    <a:pt x="3" y="46"/>
                    <a:pt x="3" y="46"/>
                  </a:cubicBezTo>
                  <a:cubicBezTo>
                    <a:pt x="4" y="46"/>
                    <a:pt x="4" y="46"/>
                    <a:pt x="4" y="47"/>
                  </a:cubicBezTo>
                  <a:cubicBezTo>
                    <a:pt x="4" y="47"/>
                    <a:pt x="3" y="47"/>
                    <a:pt x="3" y="47"/>
                  </a:cubicBezTo>
                  <a:cubicBezTo>
                    <a:pt x="2" y="47"/>
                    <a:pt x="1" y="47"/>
                    <a:pt x="2" y="49"/>
                  </a:cubicBezTo>
                  <a:cubicBezTo>
                    <a:pt x="2" y="49"/>
                    <a:pt x="2" y="49"/>
                    <a:pt x="2" y="50"/>
                  </a:cubicBezTo>
                  <a:cubicBezTo>
                    <a:pt x="3" y="50"/>
                    <a:pt x="3" y="51"/>
                    <a:pt x="3" y="52"/>
                  </a:cubicBezTo>
                  <a:cubicBezTo>
                    <a:pt x="3" y="53"/>
                    <a:pt x="3" y="53"/>
                    <a:pt x="3" y="54"/>
                  </a:cubicBezTo>
                  <a:cubicBezTo>
                    <a:pt x="2" y="55"/>
                    <a:pt x="2" y="55"/>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3" y="57"/>
                    <a:pt x="4" y="57"/>
                  </a:cubicBezTo>
                  <a:cubicBezTo>
                    <a:pt x="4" y="59"/>
                    <a:pt x="5" y="61"/>
                    <a:pt x="5" y="63"/>
                  </a:cubicBezTo>
                  <a:cubicBezTo>
                    <a:pt x="5" y="64"/>
                    <a:pt x="6" y="64"/>
                    <a:pt x="6" y="63"/>
                  </a:cubicBezTo>
                  <a:cubicBezTo>
                    <a:pt x="7" y="63"/>
                    <a:pt x="8" y="61"/>
                    <a:pt x="8" y="60"/>
                  </a:cubicBezTo>
                  <a:cubicBezTo>
                    <a:pt x="8" y="60"/>
                    <a:pt x="8" y="60"/>
                    <a:pt x="8" y="60"/>
                  </a:cubicBezTo>
                  <a:cubicBezTo>
                    <a:pt x="8" y="59"/>
                    <a:pt x="8" y="58"/>
                    <a:pt x="7" y="58"/>
                  </a:cubicBezTo>
                  <a:cubicBezTo>
                    <a:pt x="7" y="58"/>
                    <a:pt x="7" y="58"/>
                    <a:pt x="7" y="58"/>
                  </a:cubicBezTo>
                  <a:cubicBezTo>
                    <a:pt x="7" y="58"/>
                    <a:pt x="7" y="58"/>
                    <a:pt x="7" y="58"/>
                  </a:cubicBezTo>
                  <a:cubicBezTo>
                    <a:pt x="7" y="57"/>
                    <a:pt x="7" y="56"/>
                    <a:pt x="8" y="57"/>
                  </a:cubicBezTo>
                  <a:cubicBezTo>
                    <a:pt x="9" y="58"/>
                    <a:pt x="8" y="59"/>
                    <a:pt x="9" y="59"/>
                  </a:cubicBezTo>
                  <a:cubicBezTo>
                    <a:pt x="10" y="59"/>
                    <a:pt x="10" y="59"/>
                    <a:pt x="9" y="58"/>
                  </a:cubicBezTo>
                  <a:cubicBezTo>
                    <a:pt x="9" y="58"/>
                    <a:pt x="9" y="58"/>
                    <a:pt x="9" y="58"/>
                  </a:cubicBezTo>
                  <a:cubicBezTo>
                    <a:pt x="9" y="57"/>
                    <a:pt x="11" y="57"/>
                    <a:pt x="11" y="56"/>
                  </a:cubicBezTo>
                  <a:cubicBezTo>
                    <a:pt x="11" y="58"/>
                    <a:pt x="10" y="59"/>
                    <a:pt x="11" y="60"/>
                  </a:cubicBezTo>
                  <a:cubicBezTo>
                    <a:pt x="11" y="60"/>
                    <a:pt x="11" y="60"/>
                    <a:pt x="11" y="60"/>
                  </a:cubicBezTo>
                  <a:cubicBezTo>
                    <a:pt x="11" y="60"/>
                    <a:pt x="11" y="60"/>
                    <a:pt x="11" y="60"/>
                  </a:cubicBezTo>
                  <a:cubicBezTo>
                    <a:pt x="11" y="60"/>
                    <a:pt x="10" y="60"/>
                    <a:pt x="10" y="60"/>
                  </a:cubicBezTo>
                  <a:cubicBezTo>
                    <a:pt x="9" y="60"/>
                    <a:pt x="10" y="61"/>
                    <a:pt x="10" y="62"/>
                  </a:cubicBezTo>
                  <a:cubicBezTo>
                    <a:pt x="10" y="62"/>
                    <a:pt x="10" y="62"/>
                    <a:pt x="10" y="62"/>
                  </a:cubicBezTo>
                  <a:cubicBezTo>
                    <a:pt x="9" y="62"/>
                    <a:pt x="9" y="62"/>
                    <a:pt x="9" y="62"/>
                  </a:cubicBezTo>
                  <a:cubicBezTo>
                    <a:pt x="9" y="63"/>
                    <a:pt x="9" y="63"/>
                    <a:pt x="9" y="64"/>
                  </a:cubicBezTo>
                  <a:cubicBezTo>
                    <a:pt x="9" y="64"/>
                    <a:pt x="9" y="64"/>
                    <a:pt x="9" y="64"/>
                  </a:cubicBezTo>
                  <a:cubicBezTo>
                    <a:pt x="8" y="65"/>
                    <a:pt x="8" y="65"/>
                    <a:pt x="9" y="66"/>
                  </a:cubicBezTo>
                  <a:cubicBezTo>
                    <a:pt x="10" y="67"/>
                    <a:pt x="10" y="67"/>
                    <a:pt x="11" y="67"/>
                  </a:cubicBezTo>
                  <a:cubicBezTo>
                    <a:pt x="11" y="67"/>
                    <a:pt x="11" y="67"/>
                    <a:pt x="11" y="67"/>
                  </a:cubicBezTo>
                  <a:cubicBezTo>
                    <a:pt x="10" y="68"/>
                    <a:pt x="10" y="68"/>
                    <a:pt x="10" y="68"/>
                  </a:cubicBezTo>
                  <a:cubicBezTo>
                    <a:pt x="11" y="69"/>
                    <a:pt x="11" y="68"/>
                    <a:pt x="12" y="68"/>
                  </a:cubicBezTo>
                  <a:cubicBezTo>
                    <a:pt x="12" y="68"/>
                    <a:pt x="12" y="68"/>
                    <a:pt x="12" y="67"/>
                  </a:cubicBezTo>
                  <a:cubicBezTo>
                    <a:pt x="13" y="68"/>
                    <a:pt x="13" y="68"/>
                    <a:pt x="13" y="68"/>
                  </a:cubicBezTo>
                  <a:cubicBezTo>
                    <a:pt x="13" y="68"/>
                    <a:pt x="13" y="68"/>
                    <a:pt x="13" y="68"/>
                  </a:cubicBezTo>
                  <a:cubicBezTo>
                    <a:pt x="13" y="68"/>
                    <a:pt x="13" y="69"/>
                    <a:pt x="13" y="70"/>
                  </a:cubicBezTo>
                  <a:cubicBezTo>
                    <a:pt x="13" y="70"/>
                    <a:pt x="14" y="70"/>
                    <a:pt x="13" y="71"/>
                  </a:cubicBezTo>
                  <a:cubicBezTo>
                    <a:pt x="13" y="71"/>
                    <a:pt x="12" y="71"/>
                    <a:pt x="12" y="71"/>
                  </a:cubicBezTo>
                  <a:cubicBezTo>
                    <a:pt x="11" y="70"/>
                    <a:pt x="10" y="70"/>
                    <a:pt x="10" y="70"/>
                  </a:cubicBezTo>
                  <a:cubicBezTo>
                    <a:pt x="9" y="69"/>
                    <a:pt x="8" y="69"/>
                    <a:pt x="7" y="68"/>
                  </a:cubicBezTo>
                  <a:cubicBezTo>
                    <a:pt x="7" y="68"/>
                    <a:pt x="6" y="68"/>
                    <a:pt x="6" y="69"/>
                  </a:cubicBezTo>
                  <a:cubicBezTo>
                    <a:pt x="6" y="69"/>
                    <a:pt x="6" y="70"/>
                    <a:pt x="6" y="70"/>
                  </a:cubicBezTo>
                  <a:cubicBezTo>
                    <a:pt x="7" y="71"/>
                    <a:pt x="7" y="72"/>
                    <a:pt x="9" y="73"/>
                  </a:cubicBezTo>
                  <a:cubicBezTo>
                    <a:pt x="9" y="73"/>
                    <a:pt x="10" y="73"/>
                    <a:pt x="10" y="74"/>
                  </a:cubicBezTo>
                  <a:cubicBezTo>
                    <a:pt x="9" y="74"/>
                    <a:pt x="8" y="74"/>
                    <a:pt x="8" y="75"/>
                  </a:cubicBezTo>
                  <a:cubicBezTo>
                    <a:pt x="8" y="76"/>
                    <a:pt x="8" y="76"/>
                    <a:pt x="8" y="77"/>
                  </a:cubicBezTo>
                  <a:cubicBezTo>
                    <a:pt x="8" y="77"/>
                    <a:pt x="9" y="78"/>
                    <a:pt x="10" y="78"/>
                  </a:cubicBezTo>
                  <a:cubicBezTo>
                    <a:pt x="10" y="78"/>
                    <a:pt x="10" y="78"/>
                    <a:pt x="10" y="78"/>
                  </a:cubicBezTo>
                  <a:cubicBezTo>
                    <a:pt x="10" y="78"/>
                    <a:pt x="10" y="78"/>
                    <a:pt x="10" y="78"/>
                  </a:cubicBezTo>
                  <a:cubicBezTo>
                    <a:pt x="10" y="79"/>
                    <a:pt x="9" y="79"/>
                    <a:pt x="10" y="80"/>
                  </a:cubicBezTo>
                  <a:cubicBezTo>
                    <a:pt x="10" y="81"/>
                    <a:pt x="10" y="81"/>
                    <a:pt x="11" y="81"/>
                  </a:cubicBezTo>
                  <a:cubicBezTo>
                    <a:pt x="11" y="81"/>
                    <a:pt x="11" y="81"/>
                    <a:pt x="11" y="81"/>
                  </a:cubicBezTo>
                  <a:cubicBezTo>
                    <a:pt x="12" y="82"/>
                    <a:pt x="13" y="82"/>
                    <a:pt x="13" y="82"/>
                  </a:cubicBezTo>
                  <a:cubicBezTo>
                    <a:pt x="13" y="82"/>
                    <a:pt x="13" y="82"/>
                    <a:pt x="13" y="82"/>
                  </a:cubicBezTo>
                  <a:cubicBezTo>
                    <a:pt x="13" y="82"/>
                    <a:pt x="13" y="83"/>
                    <a:pt x="13" y="83"/>
                  </a:cubicBezTo>
                  <a:cubicBezTo>
                    <a:pt x="14" y="84"/>
                    <a:pt x="17" y="84"/>
                    <a:pt x="18" y="83"/>
                  </a:cubicBezTo>
                  <a:cubicBezTo>
                    <a:pt x="18" y="83"/>
                    <a:pt x="18" y="83"/>
                    <a:pt x="18" y="83"/>
                  </a:cubicBezTo>
                  <a:cubicBezTo>
                    <a:pt x="18" y="83"/>
                    <a:pt x="18" y="82"/>
                    <a:pt x="19" y="83"/>
                  </a:cubicBezTo>
                  <a:cubicBezTo>
                    <a:pt x="19" y="83"/>
                    <a:pt x="19" y="84"/>
                    <a:pt x="18" y="84"/>
                  </a:cubicBezTo>
                  <a:cubicBezTo>
                    <a:pt x="17" y="85"/>
                    <a:pt x="15" y="85"/>
                    <a:pt x="14" y="85"/>
                  </a:cubicBezTo>
                  <a:cubicBezTo>
                    <a:pt x="14" y="85"/>
                    <a:pt x="14" y="85"/>
                    <a:pt x="14" y="85"/>
                  </a:cubicBezTo>
                  <a:cubicBezTo>
                    <a:pt x="13" y="86"/>
                    <a:pt x="13" y="87"/>
                    <a:pt x="14" y="88"/>
                  </a:cubicBezTo>
                  <a:cubicBezTo>
                    <a:pt x="15" y="89"/>
                    <a:pt x="16" y="90"/>
                    <a:pt x="16" y="91"/>
                  </a:cubicBezTo>
                  <a:cubicBezTo>
                    <a:pt x="17" y="91"/>
                    <a:pt x="17" y="91"/>
                    <a:pt x="17" y="92"/>
                  </a:cubicBezTo>
                  <a:cubicBezTo>
                    <a:pt x="17" y="92"/>
                    <a:pt x="17" y="92"/>
                    <a:pt x="17" y="92"/>
                  </a:cubicBezTo>
                  <a:cubicBezTo>
                    <a:pt x="17" y="92"/>
                    <a:pt x="17" y="92"/>
                    <a:pt x="17" y="92"/>
                  </a:cubicBezTo>
                  <a:cubicBezTo>
                    <a:pt x="17" y="92"/>
                    <a:pt x="17" y="92"/>
                    <a:pt x="17" y="92"/>
                  </a:cubicBezTo>
                  <a:cubicBezTo>
                    <a:pt x="17" y="92"/>
                    <a:pt x="17" y="93"/>
                    <a:pt x="17" y="94"/>
                  </a:cubicBezTo>
                  <a:cubicBezTo>
                    <a:pt x="17" y="95"/>
                    <a:pt x="17" y="94"/>
                    <a:pt x="18" y="94"/>
                  </a:cubicBezTo>
                  <a:cubicBezTo>
                    <a:pt x="19" y="94"/>
                    <a:pt x="20" y="95"/>
                    <a:pt x="21" y="95"/>
                  </a:cubicBezTo>
                  <a:cubicBezTo>
                    <a:pt x="21" y="95"/>
                    <a:pt x="22" y="95"/>
                    <a:pt x="23" y="94"/>
                  </a:cubicBezTo>
                  <a:cubicBezTo>
                    <a:pt x="23" y="94"/>
                    <a:pt x="23" y="94"/>
                    <a:pt x="23" y="94"/>
                  </a:cubicBezTo>
                  <a:cubicBezTo>
                    <a:pt x="23" y="94"/>
                    <a:pt x="23" y="94"/>
                    <a:pt x="23" y="94"/>
                  </a:cubicBezTo>
                  <a:cubicBezTo>
                    <a:pt x="23" y="94"/>
                    <a:pt x="22" y="93"/>
                    <a:pt x="23" y="93"/>
                  </a:cubicBezTo>
                  <a:cubicBezTo>
                    <a:pt x="24" y="94"/>
                    <a:pt x="23" y="93"/>
                    <a:pt x="23" y="92"/>
                  </a:cubicBezTo>
                  <a:cubicBezTo>
                    <a:pt x="23" y="92"/>
                    <a:pt x="24" y="92"/>
                    <a:pt x="24" y="92"/>
                  </a:cubicBezTo>
                  <a:cubicBezTo>
                    <a:pt x="24" y="92"/>
                    <a:pt x="24" y="92"/>
                    <a:pt x="24" y="93"/>
                  </a:cubicBezTo>
                  <a:cubicBezTo>
                    <a:pt x="24" y="92"/>
                    <a:pt x="26" y="92"/>
                    <a:pt x="26" y="91"/>
                  </a:cubicBezTo>
                  <a:cubicBezTo>
                    <a:pt x="26" y="91"/>
                    <a:pt x="26" y="91"/>
                    <a:pt x="26" y="91"/>
                  </a:cubicBezTo>
                  <a:cubicBezTo>
                    <a:pt x="26" y="90"/>
                    <a:pt x="25" y="90"/>
                    <a:pt x="25" y="90"/>
                  </a:cubicBezTo>
                  <a:cubicBezTo>
                    <a:pt x="25" y="90"/>
                    <a:pt x="24" y="90"/>
                    <a:pt x="25" y="90"/>
                  </a:cubicBezTo>
                  <a:cubicBezTo>
                    <a:pt x="26" y="89"/>
                    <a:pt x="25" y="89"/>
                    <a:pt x="25" y="89"/>
                  </a:cubicBezTo>
                  <a:cubicBezTo>
                    <a:pt x="25" y="88"/>
                    <a:pt x="24" y="88"/>
                    <a:pt x="25" y="88"/>
                  </a:cubicBezTo>
                  <a:cubicBezTo>
                    <a:pt x="25" y="87"/>
                    <a:pt x="25" y="88"/>
                    <a:pt x="26" y="88"/>
                  </a:cubicBezTo>
                  <a:cubicBezTo>
                    <a:pt x="26" y="89"/>
                    <a:pt x="28" y="88"/>
                    <a:pt x="28" y="89"/>
                  </a:cubicBezTo>
                  <a:cubicBezTo>
                    <a:pt x="28" y="89"/>
                    <a:pt x="29" y="89"/>
                    <a:pt x="29" y="88"/>
                  </a:cubicBezTo>
                  <a:cubicBezTo>
                    <a:pt x="29" y="88"/>
                    <a:pt x="28" y="86"/>
                    <a:pt x="27" y="86"/>
                  </a:cubicBezTo>
                  <a:cubicBezTo>
                    <a:pt x="26" y="86"/>
                    <a:pt x="25" y="86"/>
                    <a:pt x="26" y="85"/>
                  </a:cubicBezTo>
                  <a:cubicBezTo>
                    <a:pt x="26" y="84"/>
                    <a:pt x="26" y="84"/>
                    <a:pt x="26" y="84"/>
                  </a:cubicBezTo>
                  <a:cubicBezTo>
                    <a:pt x="26" y="83"/>
                    <a:pt x="26" y="83"/>
                    <a:pt x="27" y="83"/>
                  </a:cubicBezTo>
                  <a:cubicBezTo>
                    <a:pt x="27" y="83"/>
                    <a:pt x="28" y="83"/>
                    <a:pt x="28" y="83"/>
                  </a:cubicBezTo>
                  <a:cubicBezTo>
                    <a:pt x="27" y="81"/>
                    <a:pt x="27" y="79"/>
                    <a:pt x="26" y="78"/>
                  </a:cubicBezTo>
                  <a:cubicBezTo>
                    <a:pt x="26" y="78"/>
                    <a:pt x="26" y="78"/>
                    <a:pt x="26" y="77"/>
                  </a:cubicBezTo>
                  <a:cubicBezTo>
                    <a:pt x="27" y="78"/>
                    <a:pt x="27" y="78"/>
                    <a:pt x="28" y="77"/>
                  </a:cubicBezTo>
                  <a:cubicBezTo>
                    <a:pt x="29" y="77"/>
                    <a:pt x="29" y="77"/>
                    <a:pt x="29" y="77"/>
                  </a:cubicBezTo>
                  <a:cubicBezTo>
                    <a:pt x="29" y="78"/>
                    <a:pt x="30" y="79"/>
                    <a:pt x="29" y="80"/>
                  </a:cubicBezTo>
                  <a:cubicBezTo>
                    <a:pt x="29" y="80"/>
                    <a:pt x="30" y="81"/>
                    <a:pt x="30" y="81"/>
                  </a:cubicBezTo>
                  <a:cubicBezTo>
                    <a:pt x="30" y="81"/>
                    <a:pt x="30" y="81"/>
                    <a:pt x="30" y="81"/>
                  </a:cubicBezTo>
                  <a:cubicBezTo>
                    <a:pt x="31" y="80"/>
                    <a:pt x="32" y="79"/>
                    <a:pt x="32" y="78"/>
                  </a:cubicBezTo>
                  <a:cubicBezTo>
                    <a:pt x="32" y="78"/>
                    <a:pt x="32" y="78"/>
                    <a:pt x="32" y="78"/>
                  </a:cubicBezTo>
                  <a:cubicBezTo>
                    <a:pt x="32" y="78"/>
                    <a:pt x="32" y="78"/>
                    <a:pt x="32" y="78"/>
                  </a:cubicBezTo>
                  <a:cubicBezTo>
                    <a:pt x="32" y="77"/>
                    <a:pt x="32" y="76"/>
                    <a:pt x="32" y="75"/>
                  </a:cubicBezTo>
                  <a:cubicBezTo>
                    <a:pt x="32" y="75"/>
                    <a:pt x="32" y="75"/>
                    <a:pt x="32" y="75"/>
                  </a:cubicBezTo>
                  <a:cubicBezTo>
                    <a:pt x="32" y="75"/>
                    <a:pt x="32" y="75"/>
                    <a:pt x="32" y="74"/>
                  </a:cubicBezTo>
                  <a:cubicBezTo>
                    <a:pt x="33" y="74"/>
                    <a:pt x="33" y="73"/>
                    <a:pt x="34" y="74"/>
                  </a:cubicBezTo>
                  <a:cubicBezTo>
                    <a:pt x="34" y="74"/>
                    <a:pt x="34" y="74"/>
                    <a:pt x="34" y="74"/>
                  </a:cubicBezTo>
                  <a:cubicBezTo>
                    <a:pt x="34" y="74"/>
                    <a:pt x="34" y="74"/>
                    <a:pt x="34" y="74"/>
                  </a:cubicBezTo>
                  <a:cubicBezTo>
                    <a:pt x="34" y="75"/>
                    <a:pt x="33" y="75"/>
                    <a:pt x="34" y="75"/>
                  </a:cubicBezTo>
                  <a:cubicBezTo>
                    <a:pt x="34" y="75"/>
                    <a:pt x="34" y="75"/>
                    <a:pt x="34" y="75"/>
                  </a:cubicBezTo>
                  <a:cubicBezTo>
                    <a:pt x="34" y="75"/>
                    <a:pt x="34" y="75"/>
                    <a:pt x="34" y="75"/>
                  </a:cubicBezTo>
                  <a:cubicBezTo>
                    <a:pt x="34" y="76"/>
                    <a:pt x="34" y="76"/>
                    <a:pt x="34" y="77"/>
                  </a:cubicBezTo>
                  <a:cubicBezTo>
                    <a:pt x="34" y="77"/>
                    <a:pt x="34" y="77"/>
                    <a:pt x="34" y="77"/>
                  </a:cubicBezTo>
                  <a:cubicBezTo>
                    <a:pt x="34" y="77"/>
                    <a:pt x="34" y="78"/>
                    <a:pt x="34" y="78"/>
                  </a:cubicBezTo>
                  <a:cubicBezTo>
                    <a:pt x="34" y="79"/>
                    <a:pt x="34" y="80"/>
                    <a:pt x="33" y="81"/>
                  </a:cubicBezTo>
                  <a:cubicBezTo>
                    <a:pt x="33" y="81"/>
                    <a:pt x="32" y="82"/>
                    <a:pt x="32" y="83"/>
                  </a:cubicBezTo>
                  <a:cubicBezTo>
                    <a:pt x="33" y="84"/>
                    <a:pt x="32" y="85"/>
                    <a:pt x="33" y="85"/>
                  </a:cubicBezTo>
                  <a:cubicBezTo>
                    <a:pt x="34" y="86"/>
                    <a:pt x="35" y="86"/>
                    <a:pt x="35" y="86"/>
                  </a:cubicBezTo>
                  <a:cubicBezTo>
                    <a:pt x="35" y="86"/>
                    <a:pt x="35" y="86"/>
                    <a:pt x="35" y="86"/>
                  </a:cubicBezTo>
                  <a:cubicBezTo>
                    <a:pt x="36" y="86"/>
                    <a:pt x="37" y="86"/>
                    <a:pt x="37" y="85"/>
                  </a:cubicBezTo>
                  <a:cubicBezTo>
                    <a:pt x="38" y="84"/>
                    <a:pt x="40" y="83"/>
                    <a:pt x="40" y="81"/>
                  </a:cubicBezTo>
                  <a:cubicBezTo>
                    <a:pt x="40" y="81"/>
                    <a:pt x="40" y="81"/>
                    <a:pt x="40" y="81"/>
                  </a:cubicBezTo>
                  <a:cubicBezTo>
                    <a:pt x="41" y="81"/>
                    <a:pt x="41" y="81"/>
                    <a:pt x="42" y="81"/>
                  </a:cubicBezTo>
                  <a:cubicBezTo>
                    <a:pt x="42" y="81"/>
                    <a:pt x="42" y="81"/>
                    <a:pt x="42" y="81"/>
                  </a:cubicBezTo>
                  <a:cubicBezTo>
                    <a:pt x="42" y="81"/>
                    <a:pt x="42" y="81"/>
                    <a:pt x="42" y="81"/>
                  </a:cubicBezTo>
                  <a:cubicBezTo>
                    <a:pt x="42" y="81"/>
                    <a:pt x="42" y="82"/>
                    <a:pt x="42" y="82"/>
                  </a:cubicBezTo>
                  <a:cubicBezTo>
                    <a:pt x="41" y="83"/>
                    <a:pt x="41" y="84"/>
                    <a:pt x="41" y="86"/>
                  </a:cubicBezTo>
                  <a:cubicBezTo>
                    <a:pt x="40" y="86"/>
                    <a:pt x="40" y="86"/>
                    <a:pt x="40" y="87"/>
                  </a:cubicBezTo>
                  <a:cubicBezTo>
                    <a:pt x="40" y="87"/>
                    <a:pt x="41" y="87"/>
                    <a:pt x="41" y="87"/>
                  </a:cubicBezTo>
                  <a:cubicBezTo>
                    <a:pt x="41" y="87"/>
                    <a:pt x="41" y="87"/>
                    <a:pt x="41" y="87"/>
                  </a:cubicBezTo>
                  <a:cubicBezTo>
                    <a:pt x="41" y="87"/>
                    <a:pt x="41" y="87"/>
                    <a:pt x="41" y="87"/>
                  </a:cubicBezTo>
                  <a:cubicBezTo>
                    <a:pt x="41" y="87"/>
                    <a:pt x="41" y="87"/>
                    <a:pt x="41" y="87"/>
                  </a:cubicBezTo>
                  <a:cubicBezTo>
                    <a:pt x="41" y="88"/>
                    <a:pt x="42" y="88"/>
                    <a:pt x="43" y="89"/>
                  </a:cubicBezTo>
                  <a:cubicBezTo>
                    <a:pt x="43" y="89"/>
                    <a:pt x="43" y="89"/>
                    <a:pt x="43" y="89"/>
                  </a:cubicBezTo>
                  <a:cubicBezTo>
                    <a:pt x="43" y="89"/>
                    <a:pt x="44" y="88"/>
                    <a:pt x="44" y="88"/>
                  </a:cubicBezTo>
                  <a:cubicBezTo>
                    <a:pt x="44" y="88"/>
                    <a:pt x="44" y="88"/>
                    <a:pt x="44" y="88"/>
                  </a:cubicBezTo>
                  <a:cubicBezTo>
                    <a:pt x="44" y="88"/>
                    <a:pt x="44" y="88"/>
                    <a:pt x="44" y="88"/>
                  </a:cubicBezTo>
                  <a:cubicBezTo>
                    <a:pt x="44" y="88"/>
                    <a:pt x="44" y="89"/>
                    <a:pt x="44" y="89"/>
                  </a:cubicBezTo>
                  <a:cubicBezTo>
                    <a:pt x="44" y="89"/>
                    <a:pt x="44" y="89"/>
                    <a:pt x="44" y="89"/>
                  </a:cubicBezTo>
                  <a:cubicBezTo>
                    <a:pt x="44" y="89"/>
                    <a:pt x="44" y="89"/>
                    <a:pt x="44" y="89"/>
                  </a:cubicBezTo>
                  <a:cubicBezTo>
                    <a:pt x="44" y="90"/>
                    <a:pt x="43" y="90"/>
                    <a:pt x="43" y="90"/>
                  </a:cubicBezTo>
                  <a:cubicBezTo>
                    <a:pt x="42" y="90"/>
                    <a:pt x="40" y="90"/>
                    <a:pt x="39" y="90"/>
                  </a:cubicBezTo>
                  <a:cubicBezTo>
                    <a:pt x="38" y="89"/>
                    <a:pt x="37" y="90"/>
                    <a:pt x="36" y="90"/>
                  </a:cubicBezTo>
                  <a:cubicBezTo>
                    <a:pt x="35" y="91"/>
                    <a:pt x="34" y="92"/>
                    <a:pt x="35" y="93"/>
                  </a:cubicBezTo>
                  <a:cubicBezTo>
                    <a:pt x="36" y="93"/>
                    <a:pt x="36" y="94"/>
                    <a:pt x="35" y="94"/>
                  </a:cubicBezTo>
                  <a:cubicBezTo>
                    <a:pt x="33" y="93"/>
                    <a:pt x="33" y="93"/>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6"/>
                    <a:pt x="32" y="96"/>
                    <a:pt x="32" y="96"/>
                  </a:cubicBezTo>
                  <a:cubicBezTo>
                    <a:pt x="32" y="96"/>
                    <a:pt x="32" y="96"/>
                    <a:pt x="32" y="96"/>
                  </a:cubicBezTo>
                  <a:cubicBezTo>
                    <a:pt x="32" y="96"/>
                    <a:pt x="32" y="96"/>
                    <a:pt x="32" y="96"/>
                  </a:cubicBezTo>
                  <a:cubicBezTo>
                    <a:pt x="31" y="96"/>
                    <a:pt x="31" y="97"/>
                    <a:pt x="31" y="97"/>
                  </a:cubicBezTo>
                  <a:cubicBezTo>
                    <a:pt x="31" y="98"/>
                    <a:pt x="30" y="98"/>
                    <a:pt x="30" y="98"/>
                  </a:cubicBezTo>
                  <a:cubicBezTo>
                    <a:pt x="29" y="97"/>
                    <a:pt x="27" y="98"/>
                    <a:pt x="26" y="98"/>
                  </a:cubicBezTo>
                  <a:cubicBezTo>
                    <a:pt x="26" y="98"/>
                    <a:pt x="25" y="98"/>
                    <a:pt x="25" y="99"/>
                  </a:cubicBezTo>
                  <a:cubicBezTo>
                    <a:pt x="25" y="100"/>
                    <a:pt x="24" y="99"/>
                    <a:pt x="24" y="99"/>
                  </a:cubicBezTo>
                  <a:cubicBezTo>
                    <a:pt x="24" y="98"/>
                    <a:pt x="23" y="98"/>
                    <a:pt x="23" y="98"/>
                  </a:cubicBezTo>
                  <a:cubicBezTo>
                    <a:pt x="22" y="99"/>
                    <a:pt x="21" y="100"/>
                    <a:pt x="21" y="101"/>
                  </a:cubicBezTo>
                  <a:cubicBezTo>
                    <a:pt x="21" y="102"/>
                    <a:pt x="21" y="104"/>
                    <a:pt x="22" y="105"/>
                  </a:cubicBezTo>
                  <a:cubicBezTo>
                    <a:pt x="22" y="106"/>
                    <a:pt x="22" y="106"/>
                    <a:pt x="22" y="107"/>
                  </a:cubicBezTo>
                  <a:cubicBezTo>
                    <a:pt x="22" y="107"/>
                    <a:pt x="23" y="108"/>
                    <a:pt x="22" y="109"/>
                  </a:cubicBezTo>
                  <a:cubicBezTo>
                    <a:pt x="22" y="109"/>
                    <a:pt x="22" y="110"/>
                    <a:pt x="23" y="110"/>
                  </a:cubicBezTo>
                  <a:cubicBezTo>
                    <a:pt x="23" y="110"/>
                    <a:pt x="23" y="110"/>
                    <a:pt x="24" y="110"/>
                  </a:cubicBezTo>
                  <a:cubicBezTo>
                    <a:pt x="24" y="109"/>
                    <a:pt x="25" y="109"/>
                    <a:pt x="26" y="109"/>
                  </a:cubicBezTo>
                  <a:cubicBezTo>
                    <a:pt x="27" y="110"/>
                    <a:pt x="27" y="109"/>
                    <a:pt x="27" y="109"/>
                  </a:cubicBezTo>
                  <a:cubicBezTo>
                    <a:pt x="28" y="109"/>
                    <a:pt x="29" y="109"/>
                    <a:pt x="30" y="108"/>
                  </a:cubicBezTo>
                  <a:cubicBezTo>
                    <a:pt x="30" y="108"/>
                    <a:pt x="31" y="108"/>
                    <a:pt x="31" y="108"/>
                  </a:cubicBezTo>
                  <a:cubicBezTo>
                    <a:pt x="31" y="108"/>
                    <a:pt x="31" y="108"/>
                    <a:pt x="31" y="108"/>
                  </a:cubicBezTo>
                  <a:cubicBezTo>
                    <a:pt x="32" y="106"/>
                    <a:pt x="34" y="105"/>
                    <a:pt x="36" y="107"/>
                  </a:cubicBezTo>
                  <a:cubicBezTo>
                    <a:pt x="36" y="107"/>
                    <a:pt x="36" y="107"/>
                    <a:pt x="36" y="107"/>
                  </a:cubicBezTo>
                  <a:cubicBezTo>
                    <a:pt x="36" y="107"/>
                    <a:pt x="36" y="107"/>
                    <a:pt x="36" y="107"/>
                  </a:cubicBezTo>
                  <a:cubicBezTo>
                    <a:pt x="36" y="107"/>
                    <a:pt x="36" y="107"/>
                    <a:pt x="36" y="107"/>
                  </a:cubicBezTo>
                  <a:cubicBezTo>
                    <a:pt x="37" y="107"/>
                    <a:pt x="38" y="106"/>
                    <a:pt x="39" y="106"/>
                  </a:cubicBezTo>
                  <a:cubicBezTo>
                    <a:pt x="39" y="106"/>
                    <a:pt x="39" y="106"/>
                    <a:pt x="39" y="106"/>
                  </a:cubicBezTo>
                  <a:cubicBezTo>
                    <a:pt x="40" y="107"/>
                    <a:pt x="41" y="106"/>
                    <a:pt x="42" y="106"/>
                  </a:cubicBezTo>
                  <a:cubicBezTo>
                    <a:pt x="42" y="106"/>
                    <a:pt x="42" y="105"/>
                    <a:pt x="43" y="106"/>
                  </a:cubicBezTo>
                  <a:cubicBezTo>
                    <a:pt x="43" y="106"/>
                    <a:pt x="43" y="107"/>
                    <a:pt x="43" y="107"/>
                  </a:cubicBezTo>
                  <a:cubicBezTo>
                    <a:pt x="43" y="108"/>
                    <a:pt x="43" y="108"/>
                    <a:pt x="43" y="108"/>
                  </a:cubicBezTo>
                  <a:cubicBezTo>
                    <a:pt x="41" y="108"/>
                    <a:pt x="40" y="108"/>
                    <a:pt x="39" y="109"/>
                  </a:cubicBezTo>
                  <a:cubicBezTo>
                    <a:pt x="38" y="109"/>
                    <a:pt x="38" y="109"/>
                    <a:pt x="37" y="110"/>
                  </a:cubicBezTo>
                  <a:cubicBezTo>
                    <a:pt x="37" y="110"/>
                    <a:pt x="37" y="110"/>
                    <a:pt x="37" y="110"/>
                  </a:cubicBezTo>
                  <a:cubicBezTo>
                    <a:pt x="37" y="110"/>
                    <a:pt x="37" y="110"/>
                    <a:pt x="37" y="110"/>
                  </a:cubicBezTo>
                  <a:cubicBezTo>
                    <a:pt x="37" y="109"/>
                    <a:pt x="36" y="109"/>
                    <a:pt x="36" y="110"/>
                  </a:cubicBezTo>
                  <a:cubicBezTo>
                    <a:pt x="36" y="110"/>
                    <a:pt x="36" y="110"/>
                    <a:pt x="36" y="110"/>
                  </a:cubicBezTo>
                  <a:cubicBezTo>
                    <a:pt x="36" y="110"/>
                    <a:pt x="36" y="110"/>
                    <a:pt x="36" y="110"/>
                  </a:cubicBezTo>
                  <a:cubicBezTo>
                    <a:pt x="35" y="110"/>
                    <a:pt x="35" y="110"/>
                    <a:pt x="35" y="110"/>
                  </a:cubicBezTo>
                  <a:cubicBezTo>
                    <a:pt x="33" y="110"/>
                    <a:pt x="32" y="111"/>
                    <a:pt x="30" y="112"/>
                  </a:cubicBezTo>
                  <a:cubicBezTo>
                    <a:pt x="30" y="112"/>
                    <a:pt x="29" y="112"/>
                    <a:pt x="29" y="113"/>
                  </a:cubicBezTo>
                  <a:cubicBezTo>
                    <a:pt x="29" y="113"/>
                    <a:pt x="30" y="114"/>
                    <a:pt x="30" y="114"/>
                  </a:cubicBezTo>
                  <a:cubicBezTo>
                    <a:pt x="31" y="114"/>
                    <a:pt x="33" y="114"/>
                    <a:pt x="34" y="115"/>
                  </a:cubicBezTo>
                  <a:cubicBezTo>
                    <a:pt x="34" y="115"/>
                    <a:pt x="34" y="115"/>
                    <a:pt x="34" y="115"/>
                  </a:cubicBezTo>
                  <a:cubicBezTo>
                    <a:pt x="34" y="115"/>
                    <a:pt x="34" y="115"/>
                    <a:pt x="34" y="115"/>
                  </a:cubicBezTo>
                  <a:cubicBezTo>
                    <a:pt x="34" y="115"/>
                    <a:pt x="34" y="115"/>
                    <a:pt x="34" y="115"/>
                  </a:cubicBezTo>
                  <a:cubicBezTo>
                    <a:pt x="36" y="115"/>
                    <a:pt x="37" y="116"/>
                    <a:pt x="38" y="117"/>
                  </a:cubicBezTo>
                  <a:cubicBezTo>
                    <a:pt x="38" y="117"/>
                    <a:pt x="38" y="117"/>
                    <a:pt x="38" y="117"/>
                  </a:cubicBezTo>
                  <a:cubicBezTo>
                    <a:pt x="37" y="117"/>
                    <a:pt x="37" y="118"/>
                    <a:pt x="36" y="117"/>
                  </a:cubicBezTo>
                  <a:cubicBezTo>
                    <a:pt x="36" y="116"/>
                    <a:pt x="36" y="117"/>
                    <a:pt x="35" y="117"/>
                  </a:cubicBezTo>
                  <a:cubicBezTo>
                    <a:pt x="34" y="117"/>
                    <a:pt x="33" y="116"/>
                    <a:pt x="31" y="116"/>
                  </a:cubicBezTo>
                  <a:cubicBezTo>
                    <a:pt x="30" y="116"/>
                    <a:pt x="30" y="116"/>
                    <a:pt x="29" y="117"/>
                  </a:cubicBezTo>
                  <a:cubicBezTo>
                    <a:pt x="29" y="118"/>
                    <a:pt x="28" y="118"/>
                    <a:pt x="27" y="118"/>
                  </a:cubicBezTo>
                  <a:cubicBezTo>
                    <a:pt x="27" y="117"/>
                    <a:pt x="27" y="117"/>
                    <a:pt x="27" y="117"/>
                  </a:cubicBezTo>
                  <a:cubicBezTo>
                    <a:pt x="27" y="117"/>
                    <a:pt x="27" y="117"/>
                    <a:pt x="27" y="117"/>
                  </a:cubicBezTo>
                  <a:cubicBezTo>
                    <a:pt x="28" y="116"/>
                    <a:pt x="28" y="115"/>
                    <a:pt x="26" y="115"/>
                  </a:cubicBezTo>
                  <a:cubicBezTo>
                    <a:pt x="25" y="115"/>
                    <a:pt x="24" y="116"/>
                    <a:pt x="24" y="116"/>
                  </a:cubicBezTo>
                  <a:cubicBezTo>
                    <a:pt x="23" y="117"/>
                    <a:pt x="23" y="117"/>
                    <a:pt x="24" y="118"/>
                  </a:cubicBezTo>
                  <a:cubicBezTo>
                    <a:pt x="24" y="118"/>
                    <a:pt x="24" y="119"/>
                    <a:pt x="24" y="119"/>
                  </a:cubicBezTo>
                  <a:cubicBezTo>
                    <a:pt x="24" y="120"/>
                    <a:pt x="24" y="120"/>
                    <a:pt x="24" y="120"/>
                  </a:cubicBezTo>
                  <a:cubicBezTo>
                    <a:pt x="25" y="122"/>
                    <a:pt x="26" y="124"/>
                    <a:pt x="26" y="126"/>
                  </a:cubicBezTo>
                  <a:cubicBezTo>
                    <a:pt x="26" y="127"/>
                    <a:pt x="27" y="127"/>
                    <a:pt x="27" y="127"/>
                  </a:cubicBezTo>
                  <a:cubicBezTo>
                    <a:pt x="29" y="127"/>
                    <a:pt x="29" y="128"/>
                    <a:pt x="30" y="128"/>
                  </a:cubicBezTo>
                  <a:cubicBezTo>
                    <a:pt x="31" y="129"/>
                    <a:pt x="31" y="129"/>
                    <a:pt x="31" y="130"/>
                  </a:cubicBezTo>
                  <a:cubicBezTo>
                    <a:pt x="31" y="131"/>
                    <a:pt x="32" y="132"/>
                    <a:pt x="33" y="133"/>
                  </a:cubicBezTo>
                  <a:cubicBezTo>
                    <a:pt x="34" y="133"/>
                    <a:pt x="36" y="133"/>
                    <a:pt x="37" y="132"/>
                  </a:cubicBezTo>
                  <a:cubicBezTo>
                    <a:pt x="37" y="132"/>
                    <a:pt x="37" y="131"/>
                    <a:pt x="37" y="131"/>
                  </a:cubicBezTo>
                  <a:cubicBezTo>
                    <a:pt x="37" y="131"/>
                    <a:pt x="37" y="131"/>
                    <a:pt x="37" y="131"/>
                  </a:cubicBezTo>
                  <a:cubicBezTo>
                    <a:pt x="37" y="131"/>
                    <a:pt x="37" y="131"/>
                    <a:pt x="37" y="131"/>
                  </a:cubicBezTo>
                  <a:cubicBezTo>
                    <a:pt x="37" y="131"/>
                    <a:pt x="38" y="131"/>
                    <a:pt x="38" y="131"/>
                  </a:cubicBezTo>
                  <a:cubicBezTo>
                    <a:pt x="38" y="132"/>
                    <a:pt x="39" y="133"/>
                    <a:pt x="40" y="132"/>
                  </a:cubicBezTo>
                  <a:cubicBezTo>
                    <a:pt x="40" y="132"/>
                    <a:pt x="40" y="131"/>
                    <a:pt x="40" y="131"/>
                  </a:cubicBezTo>
                  <a:cubicBezTo>
                    <a:pt x="40" y="131"/>
                    <a:pt x="40" y="130"/>
                    <a:pt x="40" y="131"/>
                  </a:cubicBezTo>
                  <a:cubicBezTo>
                    <a:pt x="41" y="131"/>
                    <a:pt x="43" y="130"/>
                    <a:pt x="42" y="132"/>
                  </a:cubicBezTo>
                  <a:cubicBezTo>
                    <a:pt x="41" y="133"/>
                    <a:pt x="42" y="133"/>
                    <a:pt x="42" y="133"/>
                  </a:cubicBezTo>
                  <a:cubicBezTo>
                    <a:pt x="41" y="134"/>
                    <a:pt x="39" y="133"/>
                    <a:pt x="40" y="136"/>
                  </a:cubicBezTo>
                  <a:cubicBezTo>
                    <a:pt x="39" y="135"/>
                    <a:pt x="39" y="135"/>
                    <a:pt x="39" y="135"/>
                  </a:cubicBezTo>
                  <a:cubicBezTo>
                    <a:pt x="39" y="135"/>
                    <a:pt x="39" y="135"/>
                    <a:pt x="39" y="135"/>
                  </a:cubicBezTo>
                  <a:cubicBezTo>
                    <a:pt x="39" y="135"/>
                    <a:pt x="39" y="135"/>
                    <a:pt x="39" y="135"/>
                  </a:cubicBezTo>
                  <a:cubicBezTo>
                    <a:pt x="39" y="135"/>
                    <a:pt x="39" y="134"/>
                    <a:pt x="38" y="134"/>
                  </a:cubicBezTo>
                  <a:cubicBezTo>
                    <a:pt x="38" y="134"/>
                    <a:pt x="38" y="134"/>
                    <a:pt x="38" y="134"/>
                  </a:cubicBezTo>
                  <a:cubicBezTo>
                    <a:pt x="37" y="134"/>
                    <a:pt x="35" y="135"/>
                    <a:pt x="34" y="136"/>
                  </a:cubicBezTo>
                  <a:cubicBezTo>
                    <a:pt x="35" y="138"/>
                    <a:pt x="37" y="140"/>
                    <a:pt x="38" y="141"/>
                  </a:cubicBezTo>
                  <a:cubicBezTo>
                    <a:pt x="38" y="141"/>
                    <a:pt x="39" y="141"/>
                    <a:pt x="39" y="141"/>
                  </a:cubicBezTo>
                  <a:cubicBezTo>
                    <a:pt x="40" y="142"/>
                    <a:pt x="41" y="142"/>
                    <a:pt x="40" y="142"/>
                  </a:cubicBezTo>
                  <a:cubicBezTo>
                    <a:pt x="39" y="143"/>
                    <a:pt x="40" y="145"/>
                    <a:pt x="39" y="146"/>
                  </a:cubicBezTo>
                  <a:cubicBezTo>
                    <a:pt x="40" y="146"/>
                    <a:pt x="40" y="144"/>
                    <a:pt x="41" y="145"/>
                  </a:cubicBezTo>
                  <a:cubicBezTo>
                    <a:pt x="42" y="146"/>
                    <a:pt x="42" y="146"/>
                    <a:pt x="43" y="146"/>
                  </a:cubicBezTo>
                  <a:cubicBezTo>
                    <a:pt x="44" y="145"/>
                    <a:pt x="45" y="144"/>
                    <a:pt x="45" y="143"/>
                  </a:cubicBezTo>
                  <a:cubicBezTo>
                    <a:pt x="45" y="142"/>
                    <a:pt x="46" y="142"/>
                    <a:pt x="45" y="141"/>
                  </a:cubicBezTo>
                  <a:cubicBezTo>
                    <a:pt x="45" y="140"/>
                    <a:pt x="45" y="140"/>
                    <a:pt x="44" y="140"/>
                  </a:cubicBezTo>
                  <a:cubicBezTo>
                    <a:pt x="44" y="140"/>
                    <a:pt x="44" y="140"/>
                    <a:pt x="44" y="140"/>
                  </a:cubicBezTo>
                  <a:cubicBezTo>
                    <a:pt x="44" y="140"/>
                    <a:pt x="44" y="140"/>
                    <a:pt x="44" y="140"/>
                  </a:cubicBezTo>
                  <a:cubicBezTo>
                    <a:pt x="44" y="140"/>
                    <a:pt x="44" y="139"/>
                    <a:pt x="44" y="139"/>
                  </a:cubicBezTo>
                  <a:cubicBezTo>
                    <a:pt x="45" y="138"/>
                    <a:pt x="45" y="137"/>
                    <a:pt x="46" y="135"/>
                  </a:cubicBezTo>
                  <a:cubicBezTo>
                    <a:pt x="47" y="133"/>
                    <a:pt x="47" y="133"/>
                    <a:pt x="45" y="132"/>
                  </a:cubicBezTo>
                  <a:cubicBezTo>
                    <a:pt x="45" y="132"/>
                    <a:pt x="45" y="132"/>
                    <a:pt x="45" y="132"/>
                  </a:cubicBezTo>
                  <a:cubicBezTo>
                    <a:pt x="45" y="132"/>
                    <a:pt x="45" y="132"/>
                    <a:pt x="45" y="132"/>
                  </a:cubicBezTo>
                  <a:cubicBezTo>
                    <a:pt x="45" y="132"/>
                    <a:pt x="45" y="132"/>
                    <a:pt x="45" y="132"/>
                  </a:cubicBezTo>
                  <a:cubicBezTo>
                    <a:pt x="45" y="131"/>
                    <a:pt x="47" y="132"/>
                    <a:pt x="47" y="131"/>
                  </a:cubicBezTo>
                  <a:cubicBezTo>
                    <a:pt x="47" y="129"/>
                    <a:pt x="47" y="127"/>
                    <a:pt x="48" y="125"/>
                  </a:cubicBezTo>
                  <a:cubicBezTo>
                    <a:pt x="48" y="124"/>
                    <a:pt x="47" y="124"/>
                    <a:pt x="47" y="124"/>
                  </a:cubicBezTo>
                  <a:cubicBezTo>
                    <a:pt x="47" y="124"/>
                    <a:pt x="47" y="124"/>
                    <a:pt x="47" y="124"/>
                  </a:cubicBezTo>
                  <a:cubicBezTo>
                    <a:pt x="47" y="124"/>
                    <a:pt x="47" y="124"/>
                    <a:pt x="47" y="123"/>
                  </a:cubicBezTo>
                  <a:cubicBezTo>
                    <a:pt x="48" y="123"/>
                    <a:pt x="48" y="123"/>
                    <a:pt x="48" y="122"/>
                  </a:cubicBezTo>
                  <a:cubicBezTo>
                    <a:pt x="48" y="121"/>
                    <a:pt x="48" y="121"/>
                    <a:pt x="47" y="121"/>
                  </a:cubicBezTo>
                  <a:cubicBezTo>
                    <a:pt x="46" y="121"/>
                    <a:pt x="47" y="121"/>
                    <a:pt x="48" y="120"/>
                  </a:cubicBezTo>
                  <a:cubicBezTo>
                    <a:pt x="49" y="119"/>
                    <a:pt x="49" y="118"/>
                    <a:pt x="48" y="116"/>
                  </a:cubicBezTo>
                  <a:cubicBezTo>
                    <a:pt x="48" y="116"/>
                    <a:pt x="48" y="115"/>
                    <a:pt x="48" y="115"/>
                  </a:cubicBezTo>
                  <a:cubicBezTo>
                    <a:pt x="49" y="115"/>
                    <a:pt x="49" y="115"/>
                    <a:pt x="49" y="115"/>
                  </a:cubicBezTo>
                  <a:cubicBezTo>
                    <a:pt x="50" y="116"/>
                    <a:pt x="50" y="116"/>
                    <a:pt x="51" y="117"/>
                  </a:cubicBezTo>
                  <a:cubicBezTo>
                    <a:pt x="51" y="117"/>
                    <a:pt x="52" y="118"/>
                    <a:pt x="53" y="117"/>
                  </a:cubicBezTo>
                  <a:cubicBezTo>
                    <a:pt x="53" y="116"/>
                    <a:pt x="53" y="114"/>
                    <a:pt x="53" y="113"/>
                  </a:cubicBezTo>
                  <a:cubicBezTo>
                    <a:pt x="53" y="112"/>
                    <a:pt x="53" y="111"/>
                    <a:pt x="53" y="111"/>
                  </a:cubicBezTo>
                  <a:cubicBezTo>
                    <a:pt x="53" y="111"/>
                    <a:pt x="54" y="110"/>
                    <a:pt x="54" y="110"/>
                  </a:cubicBezTo>
                  <a:cubicBezTo>
                    <a:pt x="54" y="109"/>
                    <a:pt x="55" y="108"/>
                    <a:pt x="53" y="107"/>
                  </a:cubicBezTo>
                  <a:cubicBezTo>
                    <a:pt x="53" y="107"/>
                    <a:pt x="53" y="107"/>
                    <a:pt x="53" y="107"/>
                  </a:cubicBezTo>
                  <a:cubicBezTo>
                    <a:pt x="53" y="107"/>
                    <a:pt x="53" y="106"/>
                    <a:pt x="53" y="106"/>
                  </a:cubicBezTo>
                  <a:cubicBezTo>
                    <a:pt x="53" y="106"/>
                    <a:pt x="53" y="106"/>
                    <a:pt x="53" y="106"/>
                  </a:cubicBezTo>
                  <a:cubicBezTo>
                    <a:pt x="53" y="106"/>
                    <a:pt x="54" y="106"/>
                    <a:pt x="53" y="106"/>
                  </a:cubicBezTo>
                  <a:cubicBezTo>
                    <a:pt x="53" y="105"/>
                    <a:pt x="53" y="105"/>
                    <a:pt x="53" y="105"/>
                  </a:cubicBezTo>
                  <a:cubicBezTo>
                    <a:pt x="52" y="105"/>
                    <a:pt x="52" y="105"/>
                    <a:pt x="52" y="105"/>
                  </a:cubicBezTo>
                  <a:cubicBezTo>
                    <a:pt x="52" y="104"/>
                    <a:pt x="52" y="104"/>
                    <a:pt x="53" y="104"/>
                  </a:cubicBezTo>
                  <a:cubicBezTo>
                    <a:pt x="54" y="104"/>
                    <a:pt x="54" y="103"/>
                    <a:pt x="54" y="102"/>
                  </a:cubicBezTo>
                  <a:cubicBezTo>
                    <a:pt x="54" y="101"/>
                    <a:pt x="53" y="101"/>
                    <a:pt x="54" y="100"/>
                  </a:cubicBezTo>
                  <a:cubicBezTo>
                    <a:pt x="54" y="100"/>
                    <a:pt x="55" y="100"/>
                    <a:pt x="56" y="100"/>
                  </a:cubicBezTo>
                  <a:cubicBezTo>
                    <a:pt x="56" y="101"/>
                    <a:pt x="57" y="100"/>
                    <a:pt x="57" y="100"/>
                  </a:cubicBezTo>
                  <a:cubicBezTo>
                    <a:pt x="59" y="98"/>
                    <a:pt x="58" y="96"/>
                    <a:pt x="56" y="95"/>
                  </a:cubicBezTo>
                  <a:cubicBezTo>
                    <a:pt x="56" y="95"/>
                    <a:pt x="56" y="95"/>
                    <a:pt x="56" y="95"/>
                  </a:cubicBezTo>
                  <a:cubicBezTo>
                    <a:pt x="56" y="95"/>
                    <a:pt x="57" y="95"/>
                    <a:pt x="57" y="95"/>
                  </a:cubicBezTo>
                  <a:cubicBezTo>
                    <a:pt x="57" y="95"/>
                    <a:pt x="58" y="95"/>
                    <a:pt x="58" y="95"/>
                  </a:cubicBezTo>
                  <a:cubicBezTo>
                    <a:pt x="59" y="94"/>
                    <a:pt x="58" y="93"/>
                    <a:pt x="58" y="93"/>
                  </a:cubicBezTo>
                  <a:cubicBezTo>
                    <a:pt x="58" y="93"/>
                    <a:pt x="58" y="93"/>
                    <a:pt x="58" y="93"/>
                  </a:cubicBezTo>
                  <a:cubicBezTo>
                    <a:pt x="58" y="92"/>
                    <a:pt x="57" y="92"/>
                    <a:pt x="57" y="91"/>
                  </a:cubicBezTo>
                  <a:cubicBezTo>
                    <a:pt x="56" y="91"/>
                    <a:pt x="56" y="91"/>
                    <a:pt x="57" y="90"/>
                  </a:cubicBezTo>
                  <a:cubicBezTo>
                    <a:pt x="57" y="90"/>
                    <a:pt x="57" y="90"/>
                    <a:pt x="57" y="90"/>
                  </a:cubicBezTo>
                  <a:cubicBezTo>
                    <a:pt x="58" y="91"/>
                    <a:pt x="58" y="90"/>
                    <a:pt x="58" y="89"/>
                  </a:cubicBezTo>
                  <a:cubicBezTo>
                    <a:pt x="58" y="88"/>
                    <a:pt x="58" y="88"/>
                    <a:pt x="58" y="87"/>
                  </a:cubicBezTo>
                  <a:cubicBezTo>
                    <a:pt x="58" y="86"/>
                    <a:pt x="58" y="86"/>
                    <a:pt x="58" y="86"/>
                  </a:cubicBezTo>
                  <a:cubicBezTo>
                    <a:pt x="59" y="86"/>
                    <a:pt x="60" y="85"/>
                    <a:pt x="61" y="85"/>
                  </a:cubicBezTo>
                  <a:cubicBezTo>
                    <a:pt x="62" y="84"/>
                    <a:pt x="63" y="84"/>
                    <a:pt x="62" y="83"/>
                  </a:cubicBezTo>
                  <a:cubicBezTo>
                    <a:pt x="62" y="83"/>
                    <a:pt x="62" y="83"/>
                    <a:pt x="62" y="82"/>
                  </a:cubicBezTo>
                  <a:cubicBezTo>
                    <a:pt x="62" y="81"/>
                    <a:pt x="63" y="81"/>
                    <a:pt x="64" y="81"/>
                  </a:cubicBezTo>
                  <a:cubicBezTo>
                    <a:pt x="65" y="81"/>
                    <a:pt x="65" y="81"/>
                    <a:pt x="65" y="81"/>
                  </a:cubicBezTo>
                  <a:cubicBezTo>
                    <a:pt x="66" y="79"/>
                    <a:pt x="67" y="79"/>
                    <a:pt x="68" y="78"/>
                  </a:cubicBezTo>
                  <a:close/>
                  <a:moveTo>
                    <a:pt x="56" y="53"/>
                  </a:moveTo>
                  <a:cubicBezTo>
                    <a:pt x="56" y="53"/>
                    <a:pt x="56" y="53"/>
                    <a:pt x="56" y="53"/>
                  </a:cubicBezTo>
                  <a:cubicBezTo>
                    <a:pt x="56" y="53"/>
                    <a:pt x="56" y="53"/>
                    <a:pt x="56" y="53"/>
                  </a:cubicBezTo>
                  <a:cubicBezTo>
                    <a:pt x="56" y="53"/>
                    <a:pt x="56" y="53"/>
                    <a:pt x="56" y="53"/>
                  </a:cubicBezTo>
                  <a:close/>
                  <a:moveTo>
                    <a:pt x="32" y="75"/>
                  </a:moveTo>
                  <a:cubicBezTo>
                    <a:pt x="32" y="75"/>
                    <a:pt x="32" y="75"/>
                    <a:pt x="32" y="75"/>
                  </a:cubicBezTo>
                  <a:cubicBezTo>
                    <a:pt x="32" y="75"/>
                    <a:pt x="32" y="75"/>
                    <a:pt x="32" y="75"/>
                  </a:cubicBezTo>
                  <a:cubicBezTo>
                    <a:pt x="32" y="75"/>
                    <a:pt x="32" y="75"/>
                    <a:pt x="32" y="75"/>
                  </a:cubicBezTo>
                  <a:close/>
                  <a:moveTo>
                    <a:pt x="94" y="107"/>
                  </a:moveTo>
                  <a:cubicBezTo>
                    <a:pt x="94" y="106"/>
                    <a:pt x="92" y="105"/>
                    <a:pt x="91" y="106"/>
                  </a:cubicBezTo>
                  <a:cubicBezTo>
                    <a:pt x="90" y="107"/>
                    <a:pt x="89" y="106"/>
                    <a:pt x="89" y="105"/>
                  </a:cubicBezTo>
                  <a:cubicBezTo>
                    <a:pt x="89" y="105"/>
                    <a:pt x="89" y="105"/>
                    <a:pt x="89" y="105"/>
                  </a:cubicBezTo>
                  <a:cubicBezTo>
                    <a:pt x="89" y="105"/>
                    <a:pt x="89" y="105"/>
                    <a:pt x="89" y="105"/>
                  </a:cubicBezTo>
                  <a:cubicBezTo>
                    <a:pt x="88" y="103"/>
                    <a:pt x="87" y="102"/>
                    <a:pt x="87" y="101"/>
                  </a:cubicBezTo>
                  <a:cubicBezTo>
                    <a:pt x="86" y="99"/>
                    <a:pt x="86" y="98"/>
                    <a:pt x="87" y="97"/>
                  </a:cubicBezTo>
                  <a:cubicBezTo>
                    <a:pt x="87" y="96"/>
                    <a:pt x="85" y="93"/>
                    <a:pt x="84" y="93"/>
                  </a:cubicBezTo>
                  <a:cubicBezTo>
                    <a:pt x="83" y="93"/>
                    <a:pt x="83" y="93"/>
                    <a:pt x="83" y="93"/>
                  </a:cubicBezTo>
                  <a:cubicBezTo>
                    <a:pt x="83" y="94"/>
                    <a:pt x="82" y="94"/>
                    <a:pt x="81" y="95"/>
                  </a:cubicBezTo>
                  <a:cubicBezTo>
                    <a:pt x="80" y="95"/>
                    <a:pt x="79" y="95"/>
                    <a:pt x="79" y="95"/>
                  </a:cubicBezTo>
                  <a:cubicBezTo>
                    <a:pt x="76" y="94"/>
                    <a:pt x="72" y="96"/>
                    <a:pt x="71" y="97"/>
                  </a:cubicBezTo>
                  <a:cubicBezTo>
                    <a:pt x="70" y="98"/>
                    <a:pt x="70" y="98"/>
                    <a:pt x="70" y="99"/>
                  </a:cubicBezTo>
                  <a:cubicBezTo>
                    <a:pt x="71" y="100"/>
                    <a:pt x="72" y="102"/>
                    <a:pt x="73" y="103"/>
                  </a:cubicBezTo>
                  <a:cubicBezTo>
                    <a:pt x="75" y="104"/>
                    <a:pt x="75" y="104"/>
                    <a:pt x="75" y="106"/>
                  </a:cubicBezTo>
                  <a:cubicBezTo>
                    <a:pt x="74" y="106"/>
                    <a:pt x="74" y="107"/>
                    <a:pt x="74" y="107"/>
                  </a:cubicBezTo>
                  <a:cubicBezTo>
                    <a:pt x="74" y="109"/>
                    <a:pt x="72" y="110"/>
                    <a:pt x="73" y="112"/>
                  </a:cubicBezTo>
                  <a:cubicBezTo>
                    <a:pt x="73" y="113"/>
                    <a:pt x="73" y="114"/>
                    <a:pt x="71" y="115"/>
                  </a:cubicBezTo>
                  <a:cubicBezTo>
                    <a:pt x="71" y="115"/>
                    <a:pt x="71" y="115"/>
                    <a:pt x="71" y="115"/>
                  </a:cubicBezTo>
                  <a:cubicBezTo>
                    <a:pt x="70" y="116"/>
                    <a:pt x="71" y="117"/>
                    <a:pt x="70" y="119"/>
                  </a:cubicBezTo>
                  <a:cubicBezTo>
                    <a:pt x="70" y="119"/>
                    <a:pt x="71" y="119"/>
                    <a:pt x="71" y="119"/>
                  </a:cubicBezTo>
                  <a:cubicBezTo>
                    <a:pt x="72" y="119"/>
                    <a:pt x="72" y="119"/>
                    <a:pt x="73" y="119"/>
                  </a:cubicBezTo>
                  <a:cubicBezTo>
                    <a:pt x="74" y="118"/>
                    <a:pt x="75" y="117"/>
                    <a:pt x="76" y="118"/>
                  </a:cubicBezTo>
                  <a:cubicBezTo>
                    <a:pt x="77" y="118"/>
                    <a:pt x="78" y="117"/>
                    <a:pt x="79" y="116"/>
                  </a:cubicBezTo>
                  <a:cubicBezTo>
                    <a:pt x="80" y="115"/>
                    <a:pt x="80" y="114"/>
                    <a:pt x="82" y="114"/>
                  </a:cubicBezTo>
                  <a:cubicBezTo>
                    <a:pt x="82" y="114"/>
                    <a:pt x="82" y="114"/>
                    <a:pt x="82" y="114"/>
                  </a:cubicBezTo>
                  <a:cubicBezTo>
                    <a:pt x="83" y="116"/>
                    <a:pt x="83" y="117"/>
                    <a:pt x="83" y="118"/>
                  </a:cubicBezTo>
                  <a:cubicBezTo>
                    <a:pt x="84" y="119"/>
                    <a:pt x="84" y="119"/>
                    <a:pt x="83" y="119"/>
                  </a:cubicBezTo>
                  <a:cubicBezTo>
                    <a:pt x="82" y="120"/>
                    <a:pt x="83" y="121"/>
                    <a:pt x="83" y="122"/>
                  </a:cubicBezTo>
                  <a:cubicBezTo>
                    <a:pt x="83" y="123"/>
                    <a:pt x="82" y="123"/>
                    <a:pt x="82" y="124"/>
                  </a:cubicBezTo>
                  <a:cubicBezTo>
                    <a:pt x="82" y="124"/>
                    <a:pt x="82" y="125"/>
                    <a:pt x="82" y="125"/>
                  </a:cubicBezTo>
                  <a:cubicBezTo>
                    <a:pt x="83" y="126"/>
                    <a:pt x="83" y="125"/>
                    <a:pt x="83" y="125"/>
                  </a:cubicBezTo>
                  <a:cubicBezTo>
                    <a:pt x="85" y="124"/>
                    <a:pt x="86" y="122"/>
                    <a:pt x="87" y="121"/>
                  </a:cubicBezTo>
                  <a:cubicBezTo>
                    <a:pt x="88" y="120"/>
                    <a:pt x="89" y="119"/>
                    <a:pt x="90" y="117"/>
                  </a:cubicBezTo>
                  <a:cubicBezTo>
                    <a:pt x="90" y="116"/>
                    <a:pt x="91" y="116"/>
                    <a:pt x="92" y="115"/>
                  </a:cubicBezTo>
                  <a:cubicBezTo>
                    <a:pt x="92" y="115"/>
                    <a:pt x="92" y="115"/>
                    <a:pt x="92" y="115"/>
                  </a:cubicBezTo>
                  <a:cubicBezTo>
                    <a:pt x="93" y="115"/>
                    <a:pt x="93" y="115"/>
                    <a:pt x="92" y="113"/>
                  </a:cubicBezTo>
                  <a:cubicBezTo>
                    <a:pt x="94" y="113"/>
                    <a:pt x="94" y="112"/>
                    <a:pt x="93" y="111"/>
                  </a:cubicBezTo>
                  <a:cubicBezTo>
                    <a:pt x="93" y="110"/>
                    <a:pt x="93" y="109"/>
                    <a:pt x="94" y="108"/>
                  </a:cubicBezTo>
                  <a:cubicBezTo>
                    <a:pt x="94" y="107"/>
                    <a:pt x="94" y="107"/>
                    <a:pt x="94" y="107"/>
                  </a:cubicBezTo>
                  <a:close/>
                  <a:moveTo>
                    <a:pt x="156" y="22"/>
                  </a:moveTo>
                  <a:cubicBezTo>
                    <a:pt x="156" y="23"/>
                    <a:pt x="156" y="24"/>
                    <a:pt x="154" y="24"/>
                  </a:cubicBezTo>
                  <a:cubicBezTo>
                    <a:pt x="152" y="25"/>
                    <a:pt x="150" y="26"/>
                    <a:pt x="148" y="26"/>
                  </a:cubicBezTo>
                  <a:cubicBezTo>
                    <a:pt x="147" y="26"/>
                    <a:pt x="146" y="28"/>
                    <a:pt x="145" y="28"/>
                  </a:cubicBezTo>
                  <a:cubicBezTo>
                    <a:pt x="144" y="28"/>
                    <a:pt x="143" y="28"/>
                    <a:pt x="143" y="27"/>
                  </a:cubicBezTo>
                  <a:cubicBezTo>
                    <a:pt x="142" y="25"/>
                    <a:pt x="143" y="23"/>
                    <a:pt x="144" y="22"/>
                  </a:cubicBezTo>
                  <a:cubicBezTo>
                    <a:pt x="146" y="21"/>
                    <a:pt x="147" y="20"/>
                    <a:pt x="148" y="19"/>
                  </a:cubicBezTo>
                  <a:cubicBezTo>
                    <a:pt x="149" y="18"/>
                    <a:pt x="150" y="18"/>
                    <a:pt x="152" y="17"/>
                  </a:cubicBezTo>
                  <a:cubicBezTo>
                    <a:pt x="152" y="17"/>
                    <a:pt x="153" y="17"/>
                    <a:pt x="154" y="18"/>
                  </a:cubicBezTo>
                  <a:cubicBezTo>
                    <a:pt x="155" y="19"/>
                    <a:pt x="156" y="20"/>
                    <a:pt x="156" y="22"/>
                  </a:cubicBezTo>
                  <a:close/>
                  <a:moveTo>
                    <a:pt x="70" y="94"/>
                  </a:moveTo>
                  <a:cubicBezTo>
                    <a:pt x="69" y="94"/>
                    <a:pt x="70" y="93"/>
                    <a:pt x="70" y="93"/>
                  </a:cubicBezTo>
                  <a:cubicBezTo>
                    <a:pt x="70" y="92"/>
                    <a:pt x="69" y="91"/>
                    <a:pt x="69" y="91"/>
                  </a:cubicBezTo>
                  <a:cubicBezTo>
                    <a:pt x="69" y="90"/>
                    <a:pt x="69" y="89"/>
                    <a:pt x="69" y="88"/>
                  </a:cubicBezTo>
                  <a:cubicBezTo>
                    <a:pt x="69" y="87"/>
                    <a:pt x="68" y="86"/>
                    <a:pt x="67" y="86"/>
                  </a:cubicBezTo>
                  <a:cubicBezTo>
                    <a:pt x="67" y="86"/>
                    <a:pt x="66" y="86"/>
                    <a:pt x="66" y="85"/>
                  </a:cubicBezTo>
                  <a:cubicBezTo>
                    <a:pt x="66" y="85"/>
                    <a:pt x="66" y="84"/>
                    <a:pt x="67" y="84"/>
                  </a:cubicBezTo>
                  <a:cubicBezTo>
                    <a:pt x="68" y="84"/>
                    <a:pt x="70" y="83"/>
                    <a:pt x="71" y="83"/>
                  </a:cubicBezTo>
                  <a:cubicBezTo>
                    <a:pt x="72" y="83"/>
                    <a:pt x="72" y="82"/>
                    <a:pt x="72" y="82"/>
                  </a:cubicBezTo>
                  <a:cubicBezTo>
                    <a:pt x="72" y="81"/>
                    <a:pt x="72" y="80"/>
                    <a:pt x="73" y="80"/>
                  </a:cubicBezTo>
                  <a:cubicBezTo>
                    <a:pt x="74" y="80"/>
                    <a:pt x="74" y="81"/>
                    <a:pt x="74" y="81"/>
                  </a:cubicBezTo>
                  <a:cubicBezTo>
                    <a:pt x="74" y="82"/>
                    <a:pt x="74" y="82"/>
                    <a:pt x="74" y="82"/>
                  </a:cubicBezTo>
                  <a:cubicBezTo>
                    <a:pt x="75" y="81"/>
                    <a:pt x="75" y="80"/>
                    <a:pt x="76" y="81"/>
                  </a:cubicBezTo>
                  <a:cubicBezTo>
                    <a:pt x="77" y="82"/>
                    <a:pt x="78" y="82"/>
                    <a:pt x="78" y="83"/>
                  </a:cubicBezTo>
                  <a:cubicBezTo>
                    <a:pt x="78" y="84"/>
                    <a:pt x="78" y="84"/>
                    <a:pt x="78" y="84"/>
                  </a:cubicBezTo>
                  <a:cubicBezTo>
                    <a:pt x="78" y="84"/>
                    <a:pt x="78" y="84"/>
                    <a:pt x="78" y="84"/>
                  </a:cubicBezTo>
                  <a:cubicBezTo>
                    <a:pt x="78" y="84"/>
                    <a:pt x="78" y="84"/>
                    <a:pt x="78" y="84"/>
                  </a:cubicBezTo>
                  <a:cubicBezTo>
                    <a:pt x="79" y="85"/>
                    <a:pt x="79" y="85"/>
                    <a:pt x="79" y="86"/>
                  </a:cubicBezTo>
                  <a:cubicBezTo>
                    <a:pt x="79" y="86"/>
                    <a:pt x="79" y="86"/>
                    <a:pt x="79" y="86"/>
                  </a:cubicBezTo>
                  <a:cubicBezTo>
                    <a:pt x="79" y="87"/>
                    <a:pt x="79" y="87"/>
                    <a:pt x="79" y="88"/>
                  </a:cubicBezTo>
                  <a:cubicBezTo>
                    <a:pt x="80" y="90"/>
                    <a:pt x="79" y="91"/>
                    <a:pt x="79" y="92"/>
                  </a:cubicBezTo>
                  <a:cubicBezTo>
                    <a:pt x="79" y="93"/>
                    <a:pt x="78" y="93"/>
                    <a:pt x="77" y="93"/>
                  </a:cubicBezTo>
                  <a:cubicBezTo>
                    <a:pt x="77" y="94"/>
                    <a:pt x="76" y="93"/>
                    <a:pt x="76" y="93"/>
                  </a:cubicBezTo>
                  <a:cubicBezTo>
                    <a:pt x="75" y="93"/>
                    <a:pt x="73" y="94"/>
                    <a:pt x="72" y="94"/>
                  </a:cubicBezTo>
                  <a:cubicBezTo>
                    <a:pt x="71" y="95"/>
                    <a:pt x="71" y="93"/>
                    <a:pt x="70" y="94"/>
                  </a:cubicBezTo>
                  <a:close/>
                  <a:moveTo>
                    <a:pt x="130" y="71"/>
                  </a:moveTo>
                  <a:cubicBezTo>
                    <a:pt x="130" y="71"/>
                    <a:pt x="130" y="71"/>
                    <a:pt x="130" y="71"/>
                  </a:cubicBezTo>
                  <a:cubicBezTo>
                    <a:pt x="129" y="71"/>
                    <a:pt x="129" y="72"/>
                    <a:pt x="129" y="72"/>
                  </a:cubicBezTo>
                  <a:cubicBezTo>
                    <a:pt x="128" y="73"/>
                    <a:pt x="127" y="73"/>
                    <a:pt x="126" y="72"/>
                  </a:cubicBezTo>
                  <a:cubicBezTo>
                    <a:pt x="125" y="71"/>
                    <a:pt x="124" y="71"/>
                    <a:pt x="123" y="71"/>
                  </a:cubicBezTo>
                  <a:cubicBezTo>
                    <a:pt x="122" y="72"/>
                    <a:pt x="121" y="72"/>
                    <a:pt x="120" y="73"/>
                  </a:cubicBezTo>
                  <a:cubicBezTo>
                    <a:pt x="120" y="73"/>
                    <a:pt x="120" y="73"/>
                    <a:pt x="120" y="73"/>
                  </a:cubicBezTo>
                  <a:cubicBezTo>
                    <a:pt x="120" y="74"/>
                    <a:pt x="120" y="74"/>
                    <a:pt x="119" y="74"/>
                  </a:cubicBezTo>
                  <a:cubicBezTo>
                    <a:pt x="119" y="74"/>
                    <a:pt x="119" y="74"/>
                    <a:pt x="119" y="74"/>
                  </a:cubicBezTo>
                  <a:cubicBezTo>
                    <a:pt x="118" y="73"/>
                    <a:pt x="118" y="73"/>
                    <a:pt x="119" y="72"/>
                  </a:cubicBezTo>
                  <a:cubicBezTo>
                    <a:pt x="120" y="70"/>
                    <a:pt x="122" y="71"/>
                    <a:pt x="122" y="69"/>
                  </a:cubicBezTo>
                  <a:cubicBezTo>
                    <a:pt x="122" y="69"/>
                    <a:pt x="125" y="69"/>
                    <a:pt x="125" y="69"/>
                  </a:cubicBezTo>
                  <a:cubicBezTo>
                    <a:pt x="127" y="71"/>
                    <a:pt x="128" y="71"/>
                    <a:pt x="129" y="71"/>
                  </a:cubicBezTo>
                  <a:cubicBezTo>
                    <a:pt x="130" y="71"/>
                    <a:pt x="130" y="70"/>
                    <a:pt x="130" y="71"/>
                  </a:cubicBezTo>
                  <a:close/>
                  <a:moveTo>
                    <a:pt x="118" y="27"/>
                  </a:moveTo>
                  <a:cubicBezTo>
                    <a:pt x="117" y="26"/>
                    <a:pt x="117" y="25"/>
                    <a:pt x="117" y="24"/>
                  </a:cubicBezTo>
                  <a:cubicBezTo>
                    <a:pt x="117" y="23"/>
                    <a:pt x="117" y="22"/>
                    <a:pt x="118" y="22"/>
                  </a:cubicBezTo>
                  <a:cubicBezTo>
                    <a:pt x="118" y="22"/>
                    <a:pt x="119" y="22"/>
                    <a:pt x="119" y="23"/>
                  </a:cubicBezTo>
                  <a:cubicBezTo>
                    <a:pt x="120" y="24"/>
                    <a:pt x="121" y="24"/>
                    <a:pt x="121" y="25"/>
                  </a:cubicBezTo>
                  <a:cubicBezTo>
                    <a:pt x="121" y="25"/>
                    <a:pt x="121" y="25"/>
                    <a:pt x="121" y="25"/>
                  </a:cubicBezTo>
                  <a:cubicBezTo>
                    <a:pt x="122" y="26"/>
                    <a:pt x="122" y="26"/>
                    <a:pt x="121" y="27"/>
                  </a:cubicBezTo>
                  <a:cubicBezTo>
                    <a:pt x="121" y="27"/>
                    <a:pt x="121" y="27"/>
                    <a:pt x="120" y="28"/>
                  </a:cubicBezTo>
                  <a:cubicBezTo>
                    <a:pt x="119" y="28"/>
                    <a:pt x="118" y="28"/>
                    <a:pt x="118" y="27"/>
                  </a:cubicBezTo>
                  <a:close/>
                  <a:moveTo>
                    <a:pt x="65" y="65"/>
                  </a:moveTo>
                  <a:cubicBezTo>
                    <a:pt x="65" y="63"/>
                    <a:pt x="66" y="63"/>
                    <a:pt x="68" y="64"/>
                  </a:cubicBezTo>
                  <a:cubicBezTo>
                    <a:pt x="70" y="64"/>
                    <a:pt x="70" y="65"/>
                    <a:pt x="70" y="66"/>
                  </a:cubicBezTo>
                  <a:cubicBezTo>
                    <a:pt x="69" y="67"/>
                    <a:pt x="68" y="67"/>
                    <a:pt x="67" y="67"/>
                  </a:cubicBezTo>
                  <a:cubicBezTo>
                    <a:pt x="66" y="67"/>
                    <a:pt x="65" y="66"/>
                    <a:pt x="65" y="65"/>
                  </a:cubicBezTo>
                  <a:close/>
                  <a:moveTo>
                    <a:pt x="52" y="16"/>
                  </a:moveTo>
                  <a:cubicBezTo>
                    <a:pt x="52" y="16"/>
                    <a:pt x="53" y="15"/>
                    <a:pt x="53" y="15"/>
                  </a:cubicBezTo>
                  <a:cubicBezTo>
                    <a:pt x="54" y="16"/>
                    <a:pt x="55" y="16"/>
                    <a:pt x="55" y="17"/>
                  </a:cubicBezTo>
                  <a:cubicBezTo>
                    <a:pt x="55" y="18"/>
                    <a:pt x="55" y="18"/>
                    <a:pt x="56" y="18"/>
                  </a:cubicBezTo>
                  <a:cubicBezTo>
                    <a:pt x="56" y="19"/>
                    <a:pt x="55" y="19"/>
                    <a:pt x="55" y="19"/>
                  </a:cubicBezTo>
                  <a:cubicBezTo>
                    <a:pt x="55" y="20"/>
                    <a:pt x="54" y="20"/>
                    <a:pt x="53" y="20"/>
                  </a:cubicBezTo>
                  <a:cubicBezTo>
                    <a:pt x="52" y="19"/>
                    <a:pt x="51" y="18"/>
                    <a:pt x="52" y="16"/>
                  </a:cubicBezTo>
                  <a:close/>
                  <a:moveTo>
                    <a:pt x="112" y="79"/>
                  </a:moveTo>
                  <a:cubicBezTo>
                    <a:pt x="111" y="80"/>
                    <a:pt x="111" y="80"/>
                    <a:pt x="110" y="80"/>
                  </a:cubicBezTo>
                  <a:cubicBezTo>
                    <a:pt x="109" y="79"/>
                    <a:pt x="108" y="77"/>
                    <a:pt x="108" y="75"/>
                  </a:cubicBezTo>
                  <a:cubicBezTo>
                    <a:pt x="108" y="75"/>
                    <a:pt x="108" y="74"/>
                    <a:pt x="109" y="74"/>
                  </a:cubicBezTo>
                  <a:cubicBezTo>
                    <a:pt x="109" y="74"/>
                    <a:pt x="109" y="75"/>
                    <a:pt x="110" y="75"/>
                  </a:cubicBezTo>
                  <a:cubicBezTo>
                    <a:pt x="110" y="76"/>
                    <a:pt x="110" y="77"/>
                    <a:pt x="112" y="78"/>
                  </a:cubicBezTo>
                  <a:cubicBezTo>
                    <a:pt x="112" y="78"/>
                    <a:pt x="112" y="79"/>
                    <a:pt x="112" y="79"/>
                  </a:cubicBezTo>
                  <a:close/>
                  <a:moveTo>
                    <a:pt x="135" y="67"/>
                  </a:moveTo>
                  <a:cubicBezTo>
                    <a:pt x="135" y="68"/>
                    <a:pt x="134" y="69"/>
                    <a:pt x="133" y="69"/>
                  </a:cubicBezTo>
                  <a:cubicBezTo>
                    <a:pt x="133" y="69"/>
                    <a:pt x="132" y="68"/>
                    <a:pt x="132" y="68"/>
                  </a:cubicBezTo>
                  <a:cubicBezTo>
                    <a:pt x="132" y="67"/>
                    <a:pt x="133" y="66"/>
                    <a:pt x="134" y="66"/>
                  </a:cubicBezTo>
                  <a:cubicBezTo>
                    <a:pt x="134" y="66"/>
                    <a:pt x="135" y="66"/>
                    <a:pt x="135" y="67"/>
                  </a:cubicBezTo>
                  <a:close/>
                  <a:moveTo>
                    <a:pt x="65" y="55"/>
                  </a:moveTo>
                  <a:cubicBezTo>
                    <a:pt x="65" y="55"/>
                    <a:pt x="64" y="55"/>
                    <a:pt x="63" y="55"/>
                  </a:cubicBezTo>
                  <a:cubicBezTo>
                    <a:pt x="63" y="55"/>
                    <a:pt x="63" y="55"/>
                    <a:pt x="62" y="55"/>
                  </a:cubicBezTo>
                  <a:cubicBezTo>
                    <a:pt x="62" y="54"/>
                    <a:pt x="62" y="54"/>
                    <a:pt x="62" y="53"/>
                  </a:cubicBezTo>
                  <a:cubicBezTo>
                    <a:pt x="62" y="52"/>
                    <a:pt x="63" y="53"/>
                    <a:pt x="63" y="53"/>
                  </a:cubicBezTo>
                  <a:cubicBezTo>
                    <a:pt x="64" y="53"/>
                    <a:pt x="65" y="54"/>
                    <a:pt x="65" y="55"/>
                  </a:cubicBezTo>
                  <a:close/>
                  <a:moveTo>
                    <a:pt x="102" y="142"/>
                  </a:moveTo>
                  <a:cubicBezTo>
                    <a:pt x="102" y="142"/>
                    <a:pt x="102" y="142"/>
                    <a:pt x="102" y="142"/>
                  </a:cubicBezTo>
                  <a:cubicBezTo>
                    <a:pt x="101" y="145"/>
                    <a:pt x="100" y="147"/>
                    <a:pt x="98" y="149"/>
                  </a:cubicBezTo>
                  <a:cubicBezTo>
                    <a:pt x="99" y="146"/>
                    <a:pt x="101" y="144"/>
                    <a:pt x="102" y="142"/>
                  </a:cubicBezTo>
                  <a:close/>
                  <a:moveTo>
                    <a:pt x="4" y="43"/>
                  </a:moveTo>
                  <a:cubicBezTo>
                    <a:pt x="4" y="43"/>
                    <a:pt x="3" y="43"/>
                    <a:pt x="3" y="44"/>
                  </a:cubicBezTo>
                  <a:cubicBezTo>
                    <a:pt x="2" y="43"/>
                    <a:pt x="2" y="43"/>
                    <a:pt x="2" y="43"/>
                  </a:cubicBezTo>
                  <a:cubicBezTo>
                    <a:pt x="2" y="42"/>
                    <a:pt x="3" y="42"/>
                    <a:pt x="2" y="41"/>
                  </a:cubicBezTo>
                  <a:cubicBezTo>
                    <a:pt x="2" y="41"/>
                    <a:pt x="2" y="41"/>
                    <a:pt x="3" y="41"/>
                  </a:cubicBezTo>
                  <a:cubicBezTo>
                    <a:pt x="4" y="41"/>
                    <a:pt x="4" y="42"/>
                    <a:pt x="4" y="43"/>
                  </a:cubicBezTo>
                  <a:close/>
                  <a:moveTo>
                    <a:pt x="68" y="4"/>
                  </a:moveTo>
                  <a:cubicBezTo>
                    <a:pt x="68" y="3"/>
                    <a:pt x="68" y="3"/>
                    <a:pt x="69" y="3"/>
                  </a:cubicBezTo>
                  <a:cubicBezTo>
                    <a:pt x="69" y="3"/>
                    <a:pt x="70" y="3"/>
                    <a:pt x="70" y="4"/>
                  </a:cubicBezTo>
                  <a:cubicBezTo>
                    <a:pt x="70" y="4"/>
                    <a:pt x="70" y="5"/>
                    <a:pt x="70" y="5"/>
                  </a:cubicBezTo>
                  <a:cubicBezTo>
                    <a:pt x="69" y="5"/>
                    <a:pt x="68" y="4"/>
                    <a:pt x="68" y="4"/>
                  </a:cubicBezTo>
                  <a:close/>
                  <a:moveTo>
                    <a:pt x="70" y="3"/>
                  </a:moveTo>
                  <a:cubicBezTo>
                    <a:pt x="70" y="1"/>
                    <a:pt x="69" y="1"/>
                    <a:pt x="69" y="0"/>
                  </a:cubicBezTo>
                  <a:cubicBezTo>
                    <a:pt x="69" y="0"/>
                    <a:pt x="69" y="0"/>
                    <a:pt x="70" y="0"/>
                  </a:cubicBezTo>
                  <a:cubicBezTo>
                    <a:pt x="70" y="1"/>
                    <a:pt x="70" y="1"/>
                    <a:pt x="70" y="1"/>
                  </a:cubicBezTo>
                  <a:cubicBezTo>
                    <a:pt x="71" y="1"/>
                    <a:pt x="71" y="0"/>
                    <a:pt x="71" y="1"/>
                  </a:cubicBezTo>
                  <a:cubicBezTo>
                    <a:pt x="71" y="2"/>
                    <a:pt x="71" y="2"/>
                    <a:pt x="70" y="3"/>
                  </a:cubicBezTo>
                  <a:close/>
                  <a:moveTo>
                    <a:pt x="2" y="40"/>
                  </a:moveTo>
                  <a:cubicBezTo>
                    <a:pt x="2" y="39"/>
                    <a:pt x="2" y="39"/>
                    <a:pt x="2" y="39"/>
                  </a:cubicBezTo>
                  <a:cubicBezTo>
                    <a:pt x="3" y="39"/>
                    <a:pt x="3" y="39"/>
                    <a:pt x="3" y="40"/>
                  </a:cubicBezTo>
                  <a:cubicBezTo>
                    <a:pt x="4" y="40"/>
                    <a:pt x="3" y="40"/>
                    <a:pt x="3" y="40"/>
                  </a:cubicBezTo>
                  <a:cubicBezTo>
                    <a:pt x="2" y="40"/>
                    <a:pt x="2" y="40"/>
                    <a:pt x="2" y="40"/>
                  </a:cubicBezTo>
                  <a:close/>
                  <a:moveTo>
                    <a:pt x="72" y="3"/>
                  </a:moveTo>
                  <a:cubicBezTo>
                    <a:pt x="72" y="2"/>
                    <a:pt x="73" y="2"/>
                    <a:pt x="73" y="2"/>
                  </a:cubicBezTo>
                  <a:cubicBezTo>
                    <a:pt x="74" y="2"/>
                    <a:pt x="74" y="2"/>
                    <a:pt x="74" y="3"/>
                  </a:cubicBezTo>
                  <a:cubicBezTo>
                    <a:pt x="73" y="3"/>
                    <a:pt x="73" y="3"/>
                    <a:pt x="72" y="4"/>
                  </a:cubicBezTo>
                  <a:cubicBezTo>
                    <a:pt x="72" y="4"/>
                    <a:pt x="72" y="3"/>
                    <a:pt x="72" y="3"/>
                  </a:cubicBezTo>
                  <a:close/>
                  <a:moveTo>
                    <a:pt x="93" y="14"/>
                  </a:moveTo>
                  <a:cubicBezTo>
                    <a:pt x="93" y="14"/>
                    <a:pt x="92" y="13"/>
                    <a:pt x="93" y="13"/>
                  </a:cubicBezTo>
                  <a:cubicBezTo>
                    <a:pt x="94" y="13"/>
                    <a:pt x="94" y="14"/>
                    <a:pt x="94" y="14"/>
                  </a:cubicBezTo>
                  <a:cubicBezTo>
                    <a:pt x="94" y="15"/>
                    <a:pt x="94" y="15"/>
                    <a:pt x="93" y="15"/>
                  </a:cubicBezTo>
                  <a:cubicBezTo>
                    <a:pt x="93" y="15"/>
                    <a:pt x="92" y="15"/>
                    <a:pt x="93" y="14"/>
                  </a:cubicBezTo>
                  <a:close/>
                  <a:moveTo>
                    <a:pt x="64" y="11"/>
                  </a:moveTo>
                  <a:cubicBezTo>
                    <a:pt x="63" y="10"/>
                    <a:pt x="64" y="9"/>
                    <a:pt x="65" y="8"/>
                  </a:cubicBezTo>
                  <a:cubicBezTo>
                    <a:pt x="65" y="9"/>
                    <a:pt x="66" y="10"/>
                    <a:pt x="65" y="11"/>
                  </a:cubicBezTo>
                  <a:cubicBezTo>
                    <a:pt x="64" y="11"/>
                    <a:pt x="64" y="11"/>
                    <a:pt x="64" y="11"/>
                  </a:cubicBezTo>
                  <a:close/>
                  <a:moveTo>
                    <a:pt x="65" y="58"/>
                  </a:moveTo>
                  <a:cubicBezTo>
                    <a:pt x="65" y="57"/>
                    <a:pt x="64" y="57"/>
                    <a:pt x="65" y="57"/>
                  </a:cubicBezTo>
                  <a:cubicBezTo>
                    <a:pt x="65" y="57"/>
                    <a:pt x="65" y="57"/>
                    <a:pt x="65" y="58"/>
                  </a:cubicBezTo>
                  <a:cubicBezTo>
                    <a:pt x="65" y="58"/>
                    <a:pt x="65" y="59"/>
                    <a:pt x="65" y="59"/>
                  </a:cubicBezTo>
                  <a:cubicBezTo>
                    <a:pt x="64" y="59"/>
                    <a:pt x="64" y="58"/>
                    <a:pt x="65" y="58"/>
                  </a:cubicBezTo>
                  <a:close/>
                  <a:moveTo>
                    <a:pt x="27" y="29"/>
                  </a:moveTo>
                  <a:cubicBezTo>
                    <a:pt x="27" y="29"/>
                    <a:pt x="27" y="29"/>
                    <a:pt x="27" y="29"/>
                  </a:cubicBezTo>
                  <a:cubicBezTo>
                    <a:pt x="28" y="29"/>
                    <a:pt x="28" y="29"/>
                    <a:pt x="28" y="29"/>
                  </a:cubicBezTo>
                  <a:cubicBezTo>
                    <a:pt x="28" y="29"/>
                    <a:pt x="27" y="30"/>
                    <a:pt x="27" y="30"/>
                  </a:cubicBezTo>
                  <a:cubicBezTo>
                    <a:pt x="27" y="30"/>
                    <a:pt x="27" y="29"/>
                    <a:pt x="27" y="29"/>
                  </a:cubicBezTo>
                  <a:close/>
                  <a:moveTo>
                    <a:pt x="75" y="16"/>
                  </a:moveTo>
                  <a:cubicBezTo>
                    <a:pt x="75" y="16"/>
                    <a:pt x="74" y="17"/>
                    <a:pt x="74" y="17"/>
                  </a:cubicBezTo>
                  <a:cubicBezTo>
                    <a:pt x="74" y="16"/>
                    <a:pt x="74" y="16"/>
                    <a:pt x="75" y="16"/>
                  </a:cubicBezTo>
                  <a:close/>
                  <a:moveTo>
                    <a:pt x="42" y="148"/>
                  </a:moveTo>
                  <a:cubicBezTo>
                    <a:pt x="42" y="148"/>
                    <a:pt x="42" y="148"/>
                    <a:pt x="42" y="148"/>
                  </a:cubicBezTo>
                  <a:cubicBezTo>
                    <a:pt x="41" y="148"/>
                    <a:pt x="41" y="148"/>
                    <a:pt x="41" y="148"/>
                  </a:cubicBezTo>
                  <a:cubicBezTo>
                    <a:pt x="41" y="148"/>
                    <a:pt x="41" y="147"/>
                    <a:pt x="42" y="147"/>
                  </a:cubicBezTo>
                  <a:cubicBezTo>
                    <a:pt x="42" y="148"/>
                    <a:pt x="42" y="148"/>
                    <a:pt x="42" y="148"/>
                  </a:cubicBezTo>
                  <a:close/>
                  <a:moveTo>
                    <a:pt x="29" y="79"/>
                  </a:moveTo>
                  <a:cubicBezTo>
                    <a:pt x="29" y="79"/>
                    <a:pt x="28" y="79"/>
                    <a:pt x="29" y="79"/>
                  </a:cubicBezTo>
                  <a:cubicBezTo>
                    <a:pt x="29" y="78"/>
                    <a:pt x="29" y="78"/>
                    <a:pt x="29" y="78"/>
                  </a:cubicBezTo>
                  <a:cubicBezTo>
                    <a:pt x="29" y="78"/>
                    <a:pt x="29" y="78"/>
                    <a:pt x="29" y="79"/>
                  </a:cubicBezTo>
                  <a:cubicBezTo>
                    <a:pt x="29" y="79"/>
                    <a:pt x="29" y="79"/>
                    <a:pt x="29" y="79"/>
                  </a:cubicBezTo>
                  <a:close/>
                  <a:moveTo>
                    <a:pt x="86" y="124"/>
                  </a:moveTo>
                  <a:cubicBezTo>
                    <a:pt x="86" y="124"/>
                    <a:pt x="86" y="125"/>
                    <a:pt x="86" y="125"/>
                  </a:cubicBezTo>
                  <a:cubicBezTo>
                    <a:pt x="86" y="125"/>
                    <a:pt x="86" y="125"/>
                    <a:pt x="86" y="125"/>
                  </a:cubicBezTo>
                  <a:cubicBezTo>
                    <a:pt x="86" y="125"/>
                    <a:pt x="85" y="125"/>
                    <a:pt x="85" y="125"/>
                  </a:cubicBezTo>
                  <a:cubicBezTo>
                    <a:pt x="85" y="125"/>
                    <a:pt x="86" y="124"/>
                    <a:pt x="86" y="124"/>
                  </a:cubicBezTo>
                  <a:close/>
                  <a:moveTo>
                    <a:pt x="92" y="11"/>
                  </a:moveTo>
                  <a:cubicBezTo>
                    <a:pt x="92" y="11"/>
                    <a:pt x="92" y="11"/>
                    <a:pt x="92" y="11"/>
                  </a:cubicBezTo>
                  <a:cubicBezTo>
                    <a:pt x="92" y="10"/>
                    <a:pt x="92" y="10"/>
                    <a:pt x="93" y="11"/>
                  </a:cubicBezTo>
                  <a:cubicBezTo>
                    <a:pt x="93" y="11"/>
                    <a:pt x="92" y="11"/>
                    <a:pt x="92" y="11"/>
                  </a:cubicBezTo>
                  <a:close/>
                  <a:moveTo>
                    <a:pt x="11" y="93"/>
                  </a:moveTo>
                  <a:cubicBezTo>
                    <a:pt x="11" y="93"/>
                    <a:pt x="11" y="94"/>
                    <a:pt x="11" y="95"/>
                  </a:cubicBezTo>
                  <a:cubicBezTo>
                    <a:pt x="11" y="94"/>
                    <a:pt x="10" y="94"/>
                    <a:pt x="10" y="94"/>
                  </a:cubicBezTo>
                  <a:cubicBezTo>
                    <a:pt x="9" y="93"/>
                    <a:pt x="9" y="93"/>
                    <a:pt x="9" y="93"/>
                  </a:cubicBezTo>
                  <a:cubicBezTo>
                    <a:pt x="9" y="91"/>
                    <a:pt x="7" y="89"/>
                    <a:pt x="6" y="87"/>
                  </a:cubicBezTo>
                  <a:cubicBezTo>
                    <a:pt x="6" y="87"/>
                    <a:pt x="6" y="86"/>
                    <a:pt x="6" y="87"/>
                  </a:cubicBezTo>
                  <a:cubicBezTo>
                    <a:pt x="3" y="87"/>
                    <a:pt x="3" y="85"/>
                    <a:pt x="3" y="84"/>
                  </a:cubicBezTo>
                  <a:cubicBezTo>
                    <a:pt x="3" y="81"/>
                    <a:pt x="2" y="79"/>
                    <a:pt x="1" y="76"/>
                  </a:cubicBezTo>
                  <a:cubicBezTo>
                    <a:pt x="0" y="75"/>
                    <a:pt x="1" y="73"/>
                    <a:pt x="0" y="72"/>
                  </a:cubicBezTo>
                  <a:cubicBezTo>
                    <a:pt x="0" y="71"/>
                    <a:pt x="1" y="71"/>
                    <a:pt x="1" y="71"/>
                  </a:cubicBezTo>
                  <a:cubicBezTo>
                    <a:pt x="2" y="72"/>
                    <a:pt x="3" y="72"/>
                    <a:pt x="3" y="73"/>
                  </a:cubicBezTo>
                  <a:cubicBezTo>
                    <a:pt x="3" y="73"/>
                    <a:pt x="3" y="73"/>
                    <a:pt x="3" y="73"/>
                  </a:cubicBezTo>
                  <a:cubicBezTo>
                    <a:pt x="4" y="73"/>
                    <a:pt x="4" y="74"/>
                    <a:pt x="3" y="74"/>
                  </a:cubicBezTo>
                  <a:cubicBezTo>
                    <a:pt x="3" y="75"/>
                    <a:pt x="3" y="75"/>
                    <a:pt x="3" y="76"/>
                  </a:cubicBezTo>
                  <a:cubicBezTo>
                    <a:pt x="5" y="76"/>
                    <a:pt x="4" y="77"/>
                    <a:pt x="4" y="77"/>
                  </a:cubicBezTo>
                  <a:cubicBezTo>
                    <a:pt x="4" y="78"/>
                    <a:pt x="4" y="79"/>
                    <a:pt x="4" y="79"/>
                  </a:cubicBezTo>
                  <a:cubicBezTo>
                    <a:pt x="5" y="79"/>
                    <a:pt x="4" y="80"/>
                    <a:pt x="4" y="80"/>
                  </a:cubicBezTo>
                  <a:cubicBezTo>
                    <a:pt x="4" y="81"/>
                    <a:pt x="4" y="81"/>
                    <a:pt x="5" y="81"/>
                  </a:cubicBezTo>
                  <a:cubicBezTo>
                    <a:pt x="5" y="81"/>
                    <a:pt x="5" y="81"/>
                    <a:pt x="5" y="82"/>
                  </a:cubicBezTo>
                  <a:cubicBezTo>
                    <a:pt x="5" y="82"/>
                    <a:pt x="5" y="83"/>
                    <a:pt x="6" y="83"/>
                  </a:cubicBezTo>
                  <a:cubicBezTo>
                    <a:pt x="6" y="83"/>
                    <a:pt x="7" y="84"/>
                    <a:pt x="7" y="84"/>
                  </a:cubicBezTo>
                  <a:cubicBezTo>
                    <a:pt x="7" y="85"/>
                    <a:pt x="8" y="86"/>
                    <a:pt x="9" y="87"/>
                  </a:cubicBezTo>
                  <a:cubicBezTo>
                    <a:pt x="9" y="87"/>
                    <a:pt x="10" y="87"/>
                    <a:pt x="9" y="87"/>
                  </a:cubicBezTo>
                  <a:cubicBezTo>
                    <a:pt x="9" y="89"/>
                    <a:pt x="10" y="90"/>
                    <a:pt x="10" y="92"/>
                  </a:cubicBezTo>
                  <a:cubicBezTo>
                    <a:pt x="10" y="92"/>
                    <a:pt x="10" y="92"/>
                    <a:pt x="10" y="92"/>
                  </a:cubicBezTo>
                  <a:cubicBezTo>
                    <a:pt x="11" y="92"/>
                    <a:pt x="11" y="93"/>
                    <a:pt x="11" y="93"/>
                  </a:cubicBezTo>
                  <a:close/>
                  <a:moveTo>
                    <a:pt x="124" y="75"/>
                  </a:moveTo>
                  <a:cubicBezTo>
                    <a:pt x="124" y="75"/>
                    <a:pt x="124" y="75"/>
                    <a:pt x="124" y="75"/>
                  </a:cubicBezTo>
                  <a:cubicBezTo>
                    <a:pt x="124" y="75"/>
                    <a:pt x="123" y="75"/>
                    <a:pt x="123" y="75"/>
                  </a:cubicBezTo>
                  <a:cubicBezTo>
                    <a:pt x="124" y="75"/>
                    <a:pt x="124" y="75"/>
                    <a:pt x="124" y="75"/>
                  </a:cubicBezTo>
                  <a:cubicBezTo>
                    <a:pt x="124" y="75"/>
                    <a:pt x="124" y="75"/>
                    <a:pt x="124" y="75"/>
                  </a:cubicBezTo>
                  <a:close/>
                  <a:moveTo>
                    <a:pt x="62" y="52"/>
                  </a:moveTo>
                  <a:cubicBezTo>
                    <a:pt x="62" y="52"/>
                    <a:pt x="62" y="51"/>
                    <a:pt x="62" y="51"/>
                  </a:cubicBezTo>
                  <a:cubicBezTo>
                    <a:pt x="62" y="51"/>
                    <a:pt x="62" y="52"/>
                    <a:pt x="62" y="52"/>
                  </a:cubicBezTo>
                  <a:cubicBezTo>
                    <a:pt x="62" y="52"/>
                    <a:pt x="62" y="52"/>
                    <a:pt x="62" y="52"/>
                  </a:cubicBezTo>
                  <a:cubicBezTo>
                    <a:pt x="62" y="52"/>
                    <a:pt x="62" y="52"/>
                    <a:pt x="62"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1" name="Oceania">
              <a:extLst>
                <a:ext uri="{FF2B5EF4-FFF2-40B4-BE49-F238E27FC236}">
                  <a16:creationId xmlns:a16="http://schemas.microsoft.com/office/drawing/2014/main" id="{D1DCC575-30F9-B0AB-D667-80A04A68C359}"/>
                </a:ext>
              </a:extLst>
            </p:cNvPr>
            <p:cNvGrpSpPr/>
            <p:nvPr/>
          </p:nvGrpSpPr>
          <p:grpSpPr>
            <a:xfrm>
              <a:off x="8555038" y="4954588"/>
              <a:ext cx="2014537" cy="1549400"/>
              <a:chOff x="8555038" y="4954588"/>
              <a:chExt cx="2014537" cy="1549400"/>
            </a:xfrm>
            <a:grpFill/>
          </p:grpSpPr>
          <p:sp>
            <p:nvSpPr>
              <p:cNvPr id="330" name="Freeform 703">
                <a:extLst>
                  <a:ext uri="{FF2B5EF4-FFF2-40B4-BE49-F238E27FC236}">
                    <a16:creationId xmlns:a16="http://schemas.microsoft.com/office/drawing/2014/main" id="{E5BE4301-B8A9-3288-201F-93754362525B}"/>
                  </a:ext>
                </a:extLst>
              </p:cNvPr>
              <p:cNvSpPr>
                <a:spLocks noEditPoints="1"/>
              </p:cNvSpPr>
              <p:nvPr/>
            </p:nvSpPr>
            <p:spPr bwMode="auto">
              <a:xfrm>
                <a:off x="9725025" y="5026025"/>
                <a:ext cx="50800" cy="66675"/>
              </a:xfrm>
              <a:custGeom>
                <a:avLst/>
                <a:gdLst>
                  <a:gd name="T0" fmla="*/ 1 w 12"/>
                  <a:gd name="T1" fmla="*/ 0 h 16"/>
                  <a:gd name="T2" fmla="*/ 1 w 12"/>
                  <a:gd name="T3" fmla="*/ 0 h 16"/>
                  <a:gd name="T4" fmla="*/ 0 w 12"/>
                  <a:gd name="T5" fmla="*/ 0 h 16"/>
                  <a:gd name="T6" fmla="*/ 4 w 12"/>
                  <a:gd name="T7" fmla="*/ 7 h 16"/>
                  <a:gd name="T8" fmla="*/ 4 w 12"/>
                  <a:gd name="T9" fmla="*/ 9 h 16"/>
                  <a:gd name="T10" fmla="*/ 5 w 12"/>
                  <a:gd name="T11" fmla="*/ 11 h 16"/>
                  <a:gd name="T12" fmla="*/ 6 w 12"/>
                  <a:gd name="T13" fmla="*/ 12 h 16"/>
                  <a:gd name="T14" fmla="*/ 7 w 12"/>
                  <a:gd name="T15" fmla="*/ 13 h 16"/>
                  <a:gd name="T16" fmla="*/ 7 w 12"/>
                  <a:gd name="T17" fmla="*/ 14 h 16"/>
                  <a:gd name="T18" fmla="*/ 8 w 12"/>
                  <a:gd name="T19" fmla="*/ 15 h 16"/>
                  <a:gd name="T20" fmla="*/ 11 w 12"/>
                  <a:gd name="T21" fmla="*/ 16 h 16"/>
                  <a:gd name="T22" fmla="*/ 11 w 12"/>
                  <a:gd name="T23" fmla="*/ 15 h 16"/>
                  <a:gd name="T24" fmla="*/ 12 w 12"/>
                  <a:gd name="T25" fmla="*/ 16 h 16"/>
                  <a:gd name="T26" fmla="*/ 12 w 12"/>
                  <a:gd name="T27" fmla="*/ 14 h 16"/>
                  <a:gd name="T28" fmla="*/ 11 w 12"/>
                  <a:gd name="T29" fmla="*/ 13 h 16"/>
                  <a:gd name="T30" fmla="*/ 10 w 12"/>
                  <a:gd name="T31" fmla="*/ 12 h 16"/>
                  <a:gd name="T32" fmla="*/ 9 w 12"/>
                  <a:gd name="T33" fmla="*/ 10 h 16"/>
                  <a:gd name="T34" fmla="*/ 8 w 12"/>
                  <a:gd name="T35" fmla="*/ 10 h 16"/>
                  <a:gd name="T36" fmla="*/ 7 w 12"/>
                  <a:gd name="T37" fmla="*/ 9 h 16"/>
                  <a:gd name="T38" fmla="*/ 7 w 12"/>
                  <a:gd name="T39" fmla="*/ 8 h 16"/>
                  <a:gd name="T40" fmla="*/ 6 w 12"/>
                  <a:gd name="T41" fmla="*/ 7 h 16"/>
                  <a:gd name="T42" fmla="*/ 6 w 12"/>
                  <a:gd name="T43" fmla="*/ 7 h 16"/>
                  <a:gd name="T44" fmla="*/ 6 w 12"/>
                  <a:gd name="T45" fmla="*/ 7 h 16"/>
                  <a:gd name="T46" fmla="*/ 5 w 12"/>
                  <a:gd name="T47" fmla="*/ 7 h 16"/>
                  <a:gd name="T48" fmla="*/ 4 w 12"/>
                  <a:gd name="T49" fmla="*/ 6 h 16"/>
                  <a:gd name="T50" fmla="*/ 4 w 12"/>
                  <a:gd name="T51" fmla="*/ 6 h 16"/>
                  <a:gd name="T52" fmla="*/ 4 w 12"/>
                  <a:gd name="T53" fmla="*/ 7 h 16"/>
                  <a:gd name="T54" fmla="*/ 3 w 12"/>
                  <a:gd name="T55" fmla="*/ 7 h 16"/>
                  <a:gd name="T56" fmla="*/ 4 w 12"/>
                  <a:gd name="T57" fmla="*/ 7 h 16"/>
                  <a:gd name="T58" fmla="*/ 4 w 12"/>
                  <a:gd name="T59" fmla="*/ 7 h 16"/>
                  <a:gd name="T60" fmla="*/ 4 w 12"/>
                  <a:gd name="T61" fmla="*/ 7 h 16"/>
                  <a:gd name="T62" fmla="*/ 3 w 12"/>
                  <a:gd name="T63" fmla="*/ 7 h 16"/>
                  <a:gd name="T64" fmla="*/ 3 w 12"/>
                  <a:gd name="T65" fmla="*/ 7 h 16"/>
                  <a:gd name="T66" fmla="*/ 3 w 12"/>
                  <a:gd name="T67" fmla="*/ 7 h 16"/>
                  <a:gd name="T68" fmla="*/ 4 w 12"/>
                  <a:gd name="T69" fmla="*/ 6 h 16"/>
                  <a:gd name="T70" fmla="*/ 4 w 12"/>
                  <a:gd name="T71" fmla="*/ 5 h 16"/>
                  <a:gd name="T72" fmla="*/ 4 w 12"/>
                  <a:gd name="T73" fmla="*/ 5 h 16"/>
                  <a:gd name="T74" fmla="*/ 4 w 12"/>
                  <a:gd name="T75" fmla="*/ 4 h 16"/>
                  <a:gd name="T76" fmla="*/ 3 w 12"/>
                  <a:gd name="T77" fmla="*/ 3 h 16"/>
                  <a:gd name="T78" fmla="*/ 3 w 12"/>
                  <a:gd name="T79" fmla="*/ 4 h 16"/>
                  <a:gd name="T80" fmla="*/ 3 w 12"/>
                  <a:gd name="T81" fmla="*/ 4 h 16"/>
                  <a:gd name="T82" fmla="*/ 3 w 12"/>
                  <a:gd name="T83" fmla="*/ 4 h 16"/>
                  <a:gd name="T84" fmla="*/ 3 w 12"/>
                  <a:gd name="T85" fmla="*/ 4 h 16"/>
                  <a:gd name="T86" fmla="*/ 3 w 12"/>
                  <a:gd name="T87" fmla="*/ 5 h 16"/>
                  <a:gd name="T88" fmla="*/ 3 w 12"/>
                  <a:gd name="T89" fmla="*/ 6 h 16"/>
                  <a:gd name="T90" fmla="*/ 3 w 12"/>
                  <a:gd name="T91" fmla="*/ 6 h 16"/>
                  <a:gd name="T92" fmla="*/ 3 w 12"/>
                  <a:gd name="T9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1" y="0"/>
                      <a:pt x="1" y="0"/>
                    </a:cubicBezTo>
                    <a:close/>
                    <a:moveTo>
                      <a:pt x="4" y="7"/>
                    </a:moveTo>
                    <a:cubicBezTo>
                      <a:pt x="4" y="8"/>
                      <a:pt x="4" y="8"/>
                      <a:pt x="4" y="8"/>
                    </a:cubicBezTo>
                    <a:cubicBezTo>
                      <a:pt x="4" y="8"/>
                      <a:pt x="4" y="9"/>
                      <a:pt x="4" y="9"/>
                    </a:cubicBezTo>
                    <a:cubicBezTo>
                      <a:pt x="4" y="9"/>
                      <a:pt x="4" y="9"/>
                      <a:pt x="4" y="9"/>
                    </a:cubicBezTo>
                    <a:cubicBezTo>
                      <a:pt x="4" y="9"/>
                      <a:pt x="4" y="10"/>
                      <a:pt x="4" y="10"/>
                    </a:cubicBezTo>
                    <a:cubicBezTo>
                      <a:pt x="4" y="10"/>
                      <a:pt x="4" y="10"/>
                      <a:pt x="4" y="10"/>
                    </a:cubicBezTo>
                    <a:cubicBezTo>
                      <a:pt x="5" y="10"/>
                      <a:pt x="5" y="10"/>
                      <a:pt x="5" y="11"/>
                    </a:cubicBezTo>
                    <a:cubicBezTo>
                      <a:pt x="5" y="11"/>
                      <a:pt x="6" y="11"/>
                      <a:pt x="6" y="11"/>
                    </a:cubicBezTo>
                    <a:cubicBezTo>
                      <a:pt x="6" y="11"/>
                      <a:pt x="6" y="11"/>
                      <a:pt x="6" y="11"/>
                    </a:cubicBezTo>
                    <a:cubicBezTo>
                      <a:pt x="6" y="12"/>
                      <a:pt x="6" y="12"/>
                      <a:pt x="6" y="12"/>
                    </a:cubicBezTo>
                    <a:cubicBezTo>
                      <a:pt x="6" y="12"/>
                      <a:pt x="6" y="12"/>
                      <a:pt x="6" y="12"/>
                    </a:cubicBezTo>
                    <a:cubicBezTo>
                      <a:pt x="6" y="12"/>
                      <a:pt x="7" y="12"/>
                      <a:pt x="7" y="12"/>
                    </a:cubicBezTo>
                    <a:cubicBezTo>
                      <a:pt x="7" y="12"/>
                      <a:pt x="7" y="12"/>
                      <a:pt x="7" y="13"/>
                    </a:cubicBezTo>
                    <a:cubicBezTo>
                      <a:pt x="7" y="13"/>
                      <a:pt x="7" y="13"/>
                      <a:pt x="7" y="13"/>
                    </a:cubicBezTo>
                    <a:cubicBezTo>
                      <a:pt x="7" y="13"/>
                      <a:pt x="7" y="13"/>
                      <a:pt x="7" y="13"/>
                    </a:cubicBezTo>
                    <a:cubicBezTo>
                      <a:pt x="7" y="13"/>
                      <a:pt x="7" y="14"/>
                      <a:pt x="7" y="14"/>
                    </a:cubicBezTo>
                    <a:cubicBezTo>
                      <a:pt x="7" y="14"/>
                      <a:pt x="7" y="14"/>
                      <a:pt x="7" y="14"/>
                    </a:cubicBezTo>
                    <a:cubicBezTo>
                      <a:pt x="8" y="14"/>
                      <a:pt x="8" y="15"/>
                      <a:pt x="8" y="15"/>
                    </a:cubicBezTo>
                    <a:cubicBezTo>
                      <a:pt x="8" y="15"/>
                      <a:pt x="8" y="15"/>
                      <a:pt x="8" y="15"/>
                    </a:cubicBezTo>
                    <a:cubicBezTo>
                      <a:pt x="8" y="15"/>
                      <a:pt x="8" y="15"/>
                      <a:pt x="8" y="15"/>
                    </a:cubicBezTo>
                    <a:cubicBezTo>
                      <a:pt x="9" y="16"/>
                      <a:pt x="10" y="16"/>
                      <a:pt x="10" y="16"/>
                    </a:cubicBezTo>
                    <a:cubicBezTo>
                      <a:pt x="10" y="16"/>
                      <a:pt x="11" y="16"/>
                      <a:pt x="11" y="16"/>
                    </a:cubicBezTo>
                    <a:cubicBezTo>
                      <a:pt x="11" y="16"/>
                      <a:pt x="11" y="16"/>
                      <a:pt x="11" y="16"/>
                    </a:cubicBezTo>
                    <a:cubicBezTo>
                      <a:pt x="11" y="16"/>
                      <a:pt x="11" y="16"/>
                      <a:pt x="11" y="16"/>
                    </a:cubicBezTo>
                    <a:cubicBezTo>
                      <a:pt x="11" y="16"/>
                      <a:pt x="11" y="16"/>
                      <a:pt x="11" y="15"/>
                    </a:cubicBezTo>
                    <a:cubicBezTo>
                      <a:pt x="12" y="15"/>
                      <a:pt x="12" y="15"/>
                      <a:pt x="12" y="15"/>
                    </a:cubicBezTo>
                    <a:cubicBezTo>
                      <a:pt x="12" y="15"/>
                      <a:pt x="12" y="15"/>
                      <a:pt x="12" y="15"/>
                    </a:cubicBezTo>
                    <a:cubicBezTo>
                      <a:pt x="12" y="15"/>
                      <a:pt x="12" y="15"/>
                      <a:pt x="12" y="16"/>
                    </a:cubicBezTo>
                    <a:cubicBezTo>
                      <a:pt x="12" y="15"/>
                      <a:pt x="12" y="15"/>
                      <a:pt x="12" y="15"/>
                    </a:cubicBezTo>
                    <a:cubicBezTo>
                      <a:pt x="12" y="15"/>
                      <a:pt x="12" y="15"/>
                      <a:pt x="12" y="14"/>
                    </a:cubicBezTo>
                    <a:cubicBezTo>
                      <a:pt x="12" y="14"/>
                      <a:pt x="12" y="14"/>
                      <a:pt x="12" y="14"/>
                    </a:cubicBezTo>
                    <a:cubicBezTo>
                      <a:pt x="12" y="14"/>
                      <a:pt x="12" y="14"/>
                      <a:pt x="12" y="14"/>
                    </a:cubicBezTo>
                    <a:cubicBezTo>
                      <a:pt x="12" y="13"/>
                      <a:pt x="12" y="13"/>
                      <a:pt x="12" y="13"/>
                    </a:cubicBezTo>
                    <a:cubicBezTo>
                      <a:pt x="12" y="13"/>
                      <a:pt x="12" y="13"/>
                      <a:pt x="11" y="13"/>
                    </a:cubicBezTo>
                    <a:cubicBezTo>
                      <a:pt x="11" y="13"/>
                      <a:pt x="11" y="13"/>
                      <a:pt x="11" y="13"/>
                    </a:cubicBezTo>
                    <a:cubicBezTo>
                      <a:pt x="11" y="12"/>
                      <a:pt x="10" y="12"/>
                      <a:pt x="10" y="11"/>
                    </a:cubicBezTo>
                    <a:cubicBezTo>
                      <a:pt x="10" y="12"/>
                      <a:pt x="10" y="12"/>
                      <a:pt x="10" y="12"/>
                    </a:cubicBezTo>
                    <a:cubicBezTo>
                      <a:pt x="10" y="11"/>
                      <a:pt x="10" y="11"/>
                      <a:pt x="9" y="11"/>
                    </a:cubicBezTo>
                    <a:cubicBezTo>
                      <a:pt x="9" y="11"/>
                      <a:pt x="9" y="11"/>
                      <a:pt x="9" y="11"/>
                    </a:cubicBezTo>
                    <a:cubicBezTo>
                      <a:pt x="9" y="11"/>
                      <a:pt x="9" y="11"/>
                      <a:pt x="9" y="10"/>
                    </a:cubicBezTo>
                    <a:cubicBezTo>
                      <a:pt x="9" y="10"/>
                      <a:pt x="8" y="10"/>
                      <a:pt x="8" y="10"/>
                    </a:cubicBezTo>
                    <a:cubicBezTo>
                      <a:pt x="8" y="10"/>
                      <a:pt x="8" y="10"/>
                      <a:pt x="8" y="10"/>
                    </a:cubicBezTo>
                    <a:cubicBezTo>
                      <a:pt x="8" y="10"/>
                      <a:pt x="8" y="10"/>
                      <a:pt x="8" y="10"/>
                    </a:cubicBezTo>
                    <a:cubicBezTo>
                      <a:pt x="8" y="9"/>
                      <a:pt x="8"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6" y="8"/>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5" y="7"/>
                      <a:pt x="5" y="7"/>
                    </a:cubicBezTo>
                    <a:cubicBezTo>
                      <a:pt x="5" y="7"/>
                      <a:pt x="5" y="7"/>
                      <a:pt x="5" y="7"/>
                    </a:cubicBezTo>
                    <a:cubicBezTo>
                      <a:pt x="5" y="7"/>
                      <a:pt x="5" y="7"/>
                      <a:pt x="5" y="7"/>
                    </a:cubicBezTo>
                    <a:cubicBezTo>
                      <a:pt x="5" y="7"/>
                      <a:pt x="5" y="7"/>
                      <a:pt x="4" y="7"/>
                    </a:cubicBezTo>
                    <a:cubicBezTo>
                      <a:pt x="4" y="7"/>
                      <a:pt x="4" y="6"/>
                      <a:pt x="4" y="6"/>
                    </a:cubicBezTo>
                    <a:cubicBezTo>
                      <a:pt x="4" y="6"/>
                      <a:pt x="4" y="6"/>
                      <a:pt x="4" y="6"/>
                    </a:cubicBezTo>
                    <a:cubicBezTo>
                      <a:pt x="4" y="6"/>
                      <a:pt x="4" y="6"/>
                      <a:pt x="4" y="6"/>
                    </a:cubicBezTo>
                    <a:cubicBezTo>
                      <a:pt x="4" y="6"/>
                      <a:pt x="4" y="6"/>
                      <a:pt x="4" y="6"/>
                    </a:cubicBezTo>
                    <a:cubicBezTo>
                      <a:pt x="4" y="6"/>
                      <a:pt x="4" y="6"/>
                      <a:pt x="4" y="6"/>
                    </a:cubicBezTo>
                    <a:cubicBezTo>
                      <a:pt x="4" y="7"/>
                      <a:pt x="4" y="7"/>
                      <a:pt x="4" y="7"/>
                    </a:cubicBezTo>
                    <a:cubicBezTo>
                      <a:pt x="4" y="7"/>
                      <a:pt x="4" y="7"/>
                      <a:pt x="4" y="7"/>
                    </a:cubicBezTo>
                    <a:cubicBezTo>
                      <a:pt x="4" y="7"/>
                      <a:pt x="4" y="7"/>
                      <a:pt x="4" y="7"/>
                    </a:cubicBezTo>
                    <a:cubicBezTo>
                      <a:pt x="4" y="7"/>
                      <a:pt x="4" y="7"/>
                      <a:pt x="4" y="7"/>
                    </a:cubicBezTo>
                    <a:close/>
                    <a:moveTo>
                      <a:pt x="3" y="7"/>
                    </a:moveTo>
                    <a:cubicBezTo>
                      <a:pt x="3" y="7"/>
                      <a:pt x="3" y="7"/>
                      <a:pt x="3"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lose/>
                    <a:moveTo>
                      <a:pt x="4" y="6"/>
                    </a:moveTo>
                    <a:cubicBezTo>
                      <a:pt x="4" y="6"/>
                      <a:pt x="4" y="6"/>
                      <a:pt x="4" y="6"/>
                    </a:cubicBezTo>
                    <a:cubicBezTo>
                      <a:pt x="4" y="6"/>
                      <a:pt x="4" y="6"/>
                      <a:pt x="4" y="6"/>
                    </a:cubicBezTo>
                    <a:cubicBezTo>
                      <a:pt x="4" y="6"/>
                      <a:pt x="4" y="6"/>
                      <a:pt x="4" y="6"/>
                    </a:cubicBezTo>
                    <a:cubicBezTo>
                      <a:pt x="4" y="6"/>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4"/>
                      <a:pt x="3" y="4"/>
                      <a:pt x="3" y="3"/>
                    </a:cubicBezTo>
                    <a:cubicBezTo>
                      <a:pt x="3" y="3"/>
                      <a:pt x="3" y="3"/>
                      <a:pt x="3" y="3"/>
                    </a:cubicBezTo>
                    <a:cubicBezTo>
                      <a:pt x="3" y="3"/>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5"/>
                      <a:pt x="3" y="5"/>
                      <a:pt x="3" y="5"/>
                    </a:cubicBezTo>
                    <a:cubicBezTo>
                      <a:pt x="3" y="5"/>
                      <a:pt x="3" y="5"/>
                      <a:pt x="3" y="5"/>
                    </a:cubicBezTo>
                    <a:cubicBezTo>
                      <a:pt x="3" y="5"/>
                      <a:pt x="3" y="5"/>
                      <a:pt x="3" y="5"/>
                    </a:cubicBezTo>
                    <a:cubicBezTo>
                      <a:pt x="3" y="5"/>
                      <a:pt x="3" y="5"/>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1" name="Freeform 707">
                <a:extLst>
                  <a:ext uri="{FF2B5EF4-FFF2-40B4-BE49-F238E27FC236}">
                    <a16:creationId xmlns:a16="http://schemas.microsoft.com/office/drawing/2014/main" id="{87B20D57-390B-FF5E-8062-783A8CEA8534}"/>
                  </a:ext>
                </a:extLst>
              </p:cNvPr>
              <p:cNvSpPr>
                <a:spLocks noEditPoints="1"/>
              </p:cNvSpPr>
              <p:nvPr/>
            </p:nvSpPr>
            <p:spPr bwMode="auto">
              <a:xfrm>
                <a:off x="9578975" y="5137150"/>
                <a:ext cx="150812" cy="92075"/>
              </a:xfrm>
              <a:custGeom>
                <a:avLst/>
                <a:gdLst>
                  <a:gd name="T0" fmla="*/ 8 w 36"/>
                  <a:gd name="T1" fmla="*/ 5 h 22"/>
                  <a:gd name="T2" fmla="*/ 9 w 36"/>
                  <a:gd name="T3" fmla="*/ 7 h 22"/>
                  <a:gd name="T4" fmla="*/ 10 w 36"/>
                  <a:gd name="T5" fmla="*/ 8 h 22"/>
                  <a:gd name="T6" fmla="*/ 12 w 36"/>
                  <a:gd name="T7" fmla="*/ 8 h 22"/>
                  <a:gd name="T8" fmla="*/ 13 w 36"/>
                  <a:gd name="T9" fmla="*/ 8 h 22"/>
                  <a:gd name="T10" fmla="*/ 11 w 36"/>
                  <a:gd name="T11" fmla="*/ 7 h 22"/>
                  <a:gd name="T12" fmla="*/ 14 w 36"/>
                  <a:gd name="T13" fmla="*/ 10 h 22"/>
                  <a:gd name="T14" fmla="*/ 13 w 36"/>
                  <a:gd name="T15" fmla="*/ 10 h 22"/>
                  <a:gd name="T16" fmla="*/ 14 w 36"/>
                  <a:gd name="T17" fmla="*/ 12 h 22"/>
                  <a:gd name="T18" fmla="*/ 15 w 36"/>
                  <a:gd name="T19" fmla="*/ 11 h 22"/>
                  <a:gd name="T20" fmla="*/ 13 w 36"/>
                  <a:gd name="T21" fmla="*/ 8 h 22"/>
                  <a:gd name="T22" fmla="*/ 13 w 36"/>
                  <a:gd name="T23" fmla="*/ 15 h 22"/>
                  <a:gd name="T24" fmla="*/ 12 w 36"/>
                  <a:gd name="T25" fmla="*/ 15 h 22"/>
                  <a:gd name="T26" fmla="*/ 14 w 36"/>
                  <a:gd name="T27" fmla="*/ 15 h 22"/>
                  <a:gd name="T28" fmla="*/ 14 w 36"/>
                  <a:gd name="T29" fmla="*/ 15 h 22"/>
                  <a:gd name="T30" fmla="*/ 13 w 36"/>
                  <a:gd name="T31" fmla="*/ 15 h 22"/>
                  <a:gd name="T32" fmla="*/ 23 w 36"/>
                  <a:gd name="T33" fmla="*/ 15 h 22"/>
                  <a:gd name="T34" fmla="*/ 24 w 36"/>
                  <a:gd name="T35" fmla="*/ 15 h 22"/>
                  <a:gd name="T36" fmla="*/ 25 w 36"/>
                  <a:gd name="T37" fmla="*/ 16 h 22"/>
                  <a:gd name="T38" fmla="*/ 26 w 36"/>
                  <a:gd name="T39" fmla="*/ 15 h 22"/>
                  <a:gd name="T40" fmla="*/ 24 w 36"/>
                  <a:gd name="T41" fmla="*/ 15 h 22"/>
                  <a:gd name="T42" fmla="*/ 27 w 36"/>
                  <a:gd name="T43" fmla="*/ 19 h 22"/>
                  <a:gd name="T44" fmla="*/ 29 w 36"/>
                  <a:gd name="T45" fmla="*/ 19 h 22"/>
                  <a:gd name="T46" fmla="*/ 28 w 36"/>
                  <a:gd name="T47" fmla="*/ 19 h 22"/>
                  <a:gd name="T48" fmla="*/ 28 w 36"/>
                  <a:gd name="T49" fmla="*/ 20 h 22"/>
                  <a:gd name="T50" fmla="*/ 29 w 36"/>
                  <a:gd name="T51" fmla="*/ 21 h 22"/>
                  <a:gd name="T52" fmla="*/ 30 w 36"/>
                  <a:gd name="T53" fmla="*/ 21 h 22"/>
                  <a:gd name="T54" fmla="*/ 32 w 36"/>
                  <a:gd name="T55" fmla="*/ 22 h 22"/>
                  <a:gd name="T56" fmla="*/ 31 w 36"/>
                  <a:gd name="T57" fmla="*/ 21 h 22"/>
                  <a:gd name="T58" fmla="*/ 29 w 36"/>
                  <a:gd name="T59" fmla="*/ 20 h 22"/>
                  <a:gd name="T60" fmla="*/ 35 w 36"/>
                  <a:gd name="T61" fmla="*/ 20 h 22"/>
                  <a:gd name="T62" fmla="*/ 36 w 36"/>
                  <a:gd name="T63" fmla="*/ 20 h 22"/>
                  <a:gd name="T64" fmla="*/ 35 w 36"/>
                  <a:gd name="T65" fmla="*/ 20 h 22"/>
                  <a:gd name="T66" fmla="*/ 34 w 36"/>
                  <a:gd name="T67" fmla="*/ 20 h 22"/>
                  <a:gd name="T68" fmla="*/ 27 w 36"/>
                  <a:gd name="T69" fmla="*/ 5 h 22"/>
                  <a:gd name="T70" fmla="*/ 27 w 36"/>
                  <a:gd name="T71" fmla="*/ 5 h 22"/>
                  <a:gd name="T72" fmla="*/ 25 w 36"/>
                  <a:gd name="T73" fmla="*/ 4 h 22"/>
                  <a:gd name="T74" fmla="*/ 25 w 36"/>
                  <a:gd name="T75" fmla="*/ 5 h 22"/>
                  <a:gd name="T76" fmla="*/ 26 w 36"/>
                  <a:gd name="T77" fmla="*/ 5 h 22"/>
                  <a:gd name="T78" fmla="*/ 23 w 36"/>
                  <a:gd name="T79" fmla="*/ 4 h 22"/>
                  <a:gd name="T80" fmla="*/ 23 w 36"/>
                  <a:gd name="T81" fmla="*/ 3 h 22"/>
                  <a:gd name="T82" fmla="*/ 24 w 36"/>
                  <a:gd name="T83" fmla="*/ 4 h 22"/>
                  <a:gd name="T84" fmla="*/ 13 w 36"/>
                  <a:gd name="T85" fmla="*/ 1 h 22"/>
                  <a:gd name="T86" fmla="*/ 14 w 36"/>
                  <a:gd name="T87" fmla="*/ 1 h 22"/>
                  <a:gd name="T88" fmla="*/ 14 w 36"/>
                  <a:gd name="T89" fmla="*/ 2 h 22"/>
                  <a:gd name="T90" fmla="*/ 14 w 36"/>
                  <a:gd name="T91" fmla="*/ 0 h 22"/>
                  <a:gd name="T92" fmla="*/ 12 w 36"/>
                  <a:gd name="T93" fmla="*/ 12 h 22"/>
                  <a:gd name="T94" fmla="*/ 10 w 36"/>
                  <a:gd name="T95" fmla="*/ 12 h 22"/>
                  <a:gd name="T96" fmla="*/ 7 w 36"/>
                  <a:gd name="T97" fmla="*/ 11 h 22"/>
                  <a:gd name="T98" fmla="*/ 5 w 36"/>
                  <a:gd name="T99" fmla="*/ 9 h 22"/>
                  <a:gd name="T100" fmla="*/ 7 w 36"/>
                  <a:gd name="T101" fmla="*/ 8 h 22"/>
                  <a:gd name="T102" fmla="*/ 4 w 36"/>
                  <a:gd name="T103" fmla="*/ 8 h 22"/>
                  <a:gd name="T104" fmla="*/ 0 w 36"/>
                  <a:gd name="T105" fmla="*/ 9 h 22"/>
                  <a:gd name="T106" fmla="*/ 3 w 36"/>
                  <a:gd name="T107" fmla="*/ 10 h 22"/>
                  <a:gd name="T108" fmla="*/ 6 w 36"/>
                  <a:gd name="T109" fmla="*/ 14 h 22"/>
                  <a:gd name="T110" fmla="*/ 7 w 36"/>
                  <a:gd name="T111" fmla="*/ 14 h 22"/>
                  <a:gd name="T112" fmla="*/ 7 w 36"/>
                  <a:gd name="T113" fmla="*/ 15 h 22"/>
                  <a:gd name="T114" fmla="*/ 8 w 36"/>
                  <a:gd name="T115" fmla="*/ 15 h 22"/>
                  <a:gd name="T116" fmla="*/ 10 w 36"/>
                  <a:gd name="T117" fmla="*/ 15 h 22"/>
                  <a:gd name="T118" fmla="*/ 9 w 36"/>
                  <a:gd name="T11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22">
                    <a:moveTo>
                      <a:pt x="8" y="7"/>
                    </a:moveTo>
                    <a:cubicBezTo>
                      <a:pt x="8" y="7"/>
                      <a:pt x="8" y="7"/>
                      <a:pt x="8" y="7"/>
                    </a:cubicBezTo>
                    <a:cubicBezTo>
                      <a:pt x="8" y="7"/>
                      <a:pt x="8" y="7"/>
                      <a:pt x="8" y="7"/>
                    </a:cubicBezTo>
                    <a:cubicBezTo>
                      <a:pt x="8" y="7"/>
                      <a:pt x="8" y="7"/>
                      <a:pt x="8" y="7"/>
                    </a:cubicBezTo>
                    <a:cubicBezTo>
                      <a:pt x="8" y="7"/>
                      <a:pt x="8" y="7"/>
                      <a:pt x="8" y="6"/>
                    </a:cubicBezTo>
                    <a:cubicBezTo>
                      <a:pt x="7" y="6"/>
                      <a:pt x="7" y="6"/>
                      <a:pt x="7" y="6"/>
                    </a:cubicBezTo>
                    <a:cubicBezTo>
                      <a:pt x="7" y="6"/>
                      <a:pt x="8" y="6"/>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6"/>
                      <a:pt x="9" y="6"/>
                      <a:pt x="9" y="6"/>
                    </a:cubicBezTo>
                    <a:cubicBezTo>
                      <a:pt x="9" y="6"/>
                      <a:pt x="9" y="6"/>
                      <a:pt x="9" y="6"/>
                    </a:cubicBezTo>
                    <a:cubicBezTo>
                      <a:pt x="9" y="6"/>
                      <a:pt x="9" y="6"/>
                      <a:pt x="9" y="6"/>
                    </a:cubicBezTo>
                    <a:cubicBezTo>
                      <a:pt x="9" y="6"/>
                      <a:pt x="9"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8" y="7"/>
                    </a:cubicBezTo>
                    <a:cubicBezTo>
                      <a:pt x="8" y="7"/>
                      <a:pt x="8" y="7"/>
                      <a:pt x="8" y="7"/>
                    </a:cubicBezTo>
                    <a:close/>
                    <a:moveTo>
                      <a:pt x="10" y="7"/>
                    </a:moveTo>
                    <a:cubicBezTo>
                      <a:pt x="10" y="7"/>
                      <a:pt x="10" y="7"/>
                      <a:pt x="10" y="7"/>
                    </a:cubicBezTo>
                    <a:cubicBezTo>
                      <a:pt x="10" y="7"/>
                      <a:pt x="10" y="7"/>
                      <a:pt x="10" y="7"/>
                    </a:cubicBezTo>
                    <a:cubicBezTo>
                      <a:pt x="10" y="7"/>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1" y="7"/>
                      <a:pt x="11" y="6"/>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7"/>
                    </a:cubicBezTo>
                    <a:close/>
                    <a:moveTo>
                      <a:pt x="14" y="10"/>
                    </a:moveTo>
                    <a:cubicBezTo>
                      <a:pt x="14" y="10"/>
                      <a:pt x="14" y="10"/>
                      <a:pt x="14" y="10"/>
                    </a:cubicBezTo>
                    <a:cubicBezTo>
                      <a:pt x="14" y="10"/>
                      <a:pt x="14" y="10"/>
                      <a:pt x="14" y="10"/>
                    </a:cubicBezTo>
                    <a:cubicBezTo>
                      <a:pt x="13" y="10"/>
                      <a:pt x="13" y="10"/>
                      <a:pt x="13" y="10"/>
                    </a:cubicBezTo>
                    <a:cubicBezTo>
                      <a:pt x="13" y="9"/>
                      <a:pt x="13" y="9"/>
                      <a:pt x="13"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10"/>
                    </a:cubicBezTo>
                    <a:cubicBezTo>
                      <a:pt x="12" y="10"/>
                      <a:pt x="13" y="10"/>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4" y="11"/>
                      <a:pt x="14" y="11"/>
                    </a:cubicBezTo>
                    <a:cubicBezTo>
                      <a:pt x="14" y="11"/>
                      <a:pt x="14" y="11"/>
                      <a:pt x="14" y="12"/>
                    </a:cubicBezTo>
                    <a:cubicBezTo>
                      <a:pt x="14" y="12"/>
                      <a:pt x="14" y="12"/>
                      <a:pt x="14" y="12"/>
                    </a:cubicBezTo>
                    <a:cubicBezTo>
                      <a:pt x="14" y="12"/>
                      <a:pt x="15" y="12"/>
                      <a:pt x="15" y="12"/>
                    </a:cubicBezTo>
                    <a:cubicBezTo>
                      <a:pt x="15" y="12"/>
                      <a:pt x="15" y="12"/>
                      <a:pt x="15" y="12"/>
                    </a:cubicBezTo>
                    <a:cubicBezTo>
                      <a:pt x="15" y="12"/>
                      <a:pt x="15" y="12"/>
                      <a:pt x="15" y="12"/>
                    </a:cubicBezTo>
                    <a:cubicBezTo>
                      <a:pt x="15" y="11"/>
                      <a:pt x="15" y="11"/>
                      <a:pt x="15" y="11"/>
                    </a:cubicBezTo>
                    <a:cubicBezTo>
                      <a:pt x="15" y="11"/>
                      <a:pt x="15" y="11"/>
                      <a:pt x="15" y="11"/>
                    </a:cubicBezTo>
                    <a:cubicBezTo>
                      <a:pt x="16" y="11"/>
                      <a:pt x="16" y="11"/>
                      <a:pt x="16" y="10"/>
                    </a:cubicBezTo>
                    <a:cubicBezTo>
                      <a:pt x="16" y="10"/>
                      <a:pt x="16" y="10"/>
                      <a:pt x="16" y="10"/>
                    </a:cubicBezTo>
                    <a:cubicBezTo>
                      <a:pt x="15" y="10"/>
                      <a:pt x="15" y="10"/>
                      <a:pt x="15" y="10"/>
                    </a:cubicBezTo>
                    <a:cubicBezTo>
                      <a:pt x="15" y="10"/>
                      <a:pt x="15" y="10"/>
                      <a:pt x="15" y="10"/>
                    </a:cubicBezTo>
                    <a:cubicBezTo>
                      <a:pt x="15" y="10"/>
                      <a:pt x="15" y="10"/>
                      <a:pt x="15" y="10"/>
                    </a:cubicBezTo>
                    <a:cubicBezTo>
                      <a:pt x="15" y="10"/>
                      <a:pt x="15" y="11"/>
                      <a:pt x="15" y="11"/>
                    </a:cubicBezTo>
                    <a:cubicBezTo>
                      <a:pt x="15" y="11"/>
                      <a:pt x="15" y="11"/>
                      <a:pt x="15" y="11"/>
                    </a:cubicBezTo>
                    <a:cubicBezTo>
                      <a:pt x="14" y="11"/>
                      <a:pt x="14" y="11"/>
                      <a:pt x="14" y="11"/>
                    </a:cubicBezTo>
                    <a:cubicBezTo>
                      <a:pt x="14" y="11"/>
                      <a:pt x="14" y="11"/>
                      <a:pt x="14" y="11"/>
                    </a:cubicBezTo>
                    <a:cubicBezTo>
                      <a:pt x="14" y="11"/>
                      <a:pt x="14" y="10"/>
                      <a:pt x="14" y="10"/>
                    </a:cubicBezTo>
                    <a:close/>
                    <a:moveTo>
                      <a:pt x="14" y="8"/>
                    </a:move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4" y="8"/>
                    </a:cubicBezTo>
                    <a:cubicBezTo>
                      <a:pt x="14" y="8"/>
                      <a:pt x="14" y="8"/>
                      <a:pt x="14" y="8"/>
                    </a:cubicBezTo>
                    <a:cubicBezTo>
                      <a:pt x="14" y="8"/>
                      <a:pt x="14" y="8"/>
                      <a:pt x="14" y="8"/>
                    </a:cubicBezTo>
                    <a:close/>
                    <a:moveTo>
                      <a:pt x="13" y="15"/>
                    </a:move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5"/>
                      <a:pt x="13" y="15"/>
                    </a:cubicBezTo>
                    <a:cubicBezTo>
                      <a:pt x="13" y="15"/>
                      <a:pt x="13" y="15"/>
                      <a:pt x="12" y="14"/>
                    </a:cubicBezTo>
                    <a:cubicBezTo>
                      <a:pt x="12" y="14"/>
                      <a:pt x="12" y="14"/>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lose/>
                    <a:moveTo>
                      <a:pt x="14" y="15"/>
                    </a:move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lose/>
                    <a:moveTo>
                      <a:pt x="23" y="15"/>
                    </a:move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5"/>
                      <a:pt x="23" y="15"/>
                    </a:cubicBezTo>
                    <a:cubicBezTo>
                      <a:pt x="23" y="15"/>
                      <a:pt x="23" y="15"/>
                      <a:pt x="23" y="15"/>
                    </a:cubicBezTo>
                    <a:cubicBezTo>
                      <a:pt x="23" y="15"/>
                      <a:pt x="23" y="15"/>
                      <a:pt x="23" y="15"/>
                    </a:cubicBezTo>
                    <a:close/>
                    <a:moveTo>
                      <a:pt x="24" y="15"/>
                    </a:move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4" y="15"/>
                      <a:pt x="24" y="15"/>
                    </a:cubicBezTo>
                    <a:cubicBezTo>
                      <a:pt x="24" y="15"/>
                      <a:pt x="24" y="15"/>
                      <a:pt x="24" y="15"/>
                    </a:cubicBezTo>
                    <a:cubicBezTo>
                      <a:pt x="24" y="15"/>
                      <a:pt x="24" y="15"/>
                      <a:pt x="24" y="15"/>
                    </a:cubicBezTo>
                    <a:cubicBezTo>
                      <a:pt x="24" y="15"/>
                      <a:pt x="24" y="15"/>
                      <a:pt x="24" y="15"/>
                    </a:cubicBezTo>
                    <a:close/>
                    <a:moveTo>
                      <a:pt x="27" y="19"/>
                    </a:move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lose/>
                    <a:moveTo>
                      <a:pt x="29" y="19"/>
                    </a:moveTo>
                    <a:cubicBezTo>
                      <a:pt x="29" y="19"/>
                      <a:pt x="29" y="19"/>
                      <a:pt x="29" y="19"/>
                    </a:cubicBezTo>
                    <a:cubicBezTo>
                      <a:pt x="29" y="19"/>
                      <a:pt x="29" y="19"/>
                      <a:pt x="29" y="19"/>
                    </a:cubicBezTo>
                    <a:cubicBezTo>
                      <a:pt x="29" y="19"/>
                      <a:pt x="29" y="19"/>
                      <a:pt x="29" y="19"/>
                    </a:cubicBezTo>
                    <a:cubicBezTo>
                      <a:pt x="29" y="19"/>
                      <a:pt x="29" y="19"/>
                      <a:pt x="29" y="19"/>
                    </a:cubicBezTo>
                    <a:cubicBezTo>
                      <a:pt x="29" y="19"/>
                      <a:pt x="29"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20"/>
                      <a:pt x="28" y="20"/>
                    </a:cubicBezTo>
                    <a:cubicBezTo>
                      <a:pt x="28" y="20"/>
                      <a:pt x="28" y="20"/>
                      <a:pt x="28" y="20"/>
                    </a:cubicBezTo>
                    <a:cubicBezTo>
                      <a:pt x="29" y="20"/>
                      <a:pt x="29" y="20"/>
                      <a:pt x="29" y="19"/>
                    </a:cubicBezTo>
                    <a:cubicBezTo>
                      <a:pt x="29" y="19"/>
                      <a:pt x="29" y="19"/>
                      <a:pt x="29" y="19"/>
                    </a:cubicBezTo>
                    <a:cubicBezTo>
                      <a:pt x="29" y="19"/>
                      <a:pt x="29" y="19"/>
                      <a:pt x="29" y="19"/>
                    </a:cubicBezTo>
                    <a:cubicBezTo>
                      <a:pt x="29" y="19"/>
                      <a:pt x="29" y="19"/>
                      <a:pt x="29" y="19"/>
                    </a:cubicBezTo>
                    <a:cubicBezTo>
                      <a:pt x="29" y="19"/>
                      <a:pt x="29" y="19"/>
                      <a:pt x="29" y="19"/>
                    </a:cubicBezTo>
                    <a:close/>
                    <a:moveTo>
                      <a:pt x="28" y="20"/>
                    </a:moveTo>
                    <a:cubicBezTo>
                      <a:pt x="28" y="20"/>
                      <a:pt x="29" y="20"/>
                      <a:pt x="29" y="20"/>
                    </a:cubicBezTo>
                    <a:cubicBezTo>
                      <a:pt x="29" y="20"/>
                      <a:pt x="29" y="20"/>
                      <a:pt x="29" y="20"/>
                    </a:cubicBezTo>
                    <a:cubicBezTo>
                      <a:pt x="29" y="20"/>
                      <a:pt x="29" y="20"/>
                      <a:pt x="29" y="20"/>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30" y="21"/>
                    </a:cubicBezTo>
                    <a:cubicBezTo>
                      <a:pt x="30" y="21"/>
                      <a:pt x="30" y="21"/>
                      <a:pt x="30" y="21"/>
                    </a:cubicBezTo>
                    <a:cubicBezTo>
                      <a:pt x="30" y="21"/>
                      <a:pt x="30" y="21"/>
                      <a:pt x="30" y="21"/>
                    </a:cubicBezTo>
                    <a:cubicBezTo>
                      <a:pt x="30" y="21"/>
                      <a:pt x="30" y="22"/>
                      <a:pt x="30" y="22"/>
                    </a:cubicBezTo>
                    <a:cubicBezTo>
                      <a:pt x="30" y="22"/>
                      <a:pt x="30" y="22"/>
                      <a:pt x="30" y="22"/>
                    </a:cubicBezTo>
                    <a:cubicBezTo>
                      <a:pt x="30" y="22"/>
                      <a:pt x="30" y="22"/>
                      <a:pt x="30" y="21"/>
                    </a:cubicBezTo>
                    <a:cubicBezTo>
                      <a:pt x="30" y="21"/>
                      <a:pt x="30" y="21"/>
                      <a:pt x="30" y="21"/>
                    </a:cubicBezTo>
                    <a:cubicBezTo>
                      <a:pt x="30" y="21"/>
                      <a:pt x="30" y="21"/>
                      <a:pt x="30" y="21"/>
                    </a:cubicBezTo>
                    <a:cubicBezTo>
                      <a:pt x="30" y="21"/>
                      <a:pt x="30" y="21"/>
                      <a:pt x="30" y="21"/>
                    </a:cubicBezTo>
                    <a:cubicBezTo>
                      <a:pt x="30" y="22"/>
                      <a:pt x="30"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1"/>
                      <a:pt x="32" y="21"/>
                      <a:pt x="32" y="21"/>
                    </a:cubicBezTo>
                    <a:cubicBezTo>
                      <a:pt x="32" y="21"/>
                      <a:pt x="32" y="21"/>
                      <a:pt x="32" y="21"/>
                    </a:cubicBezTo>
                    <a:cubicBezTo>
                      <a:pt x="32" y="21"/>
                      <a:pt x="32" y="21"/>
                      <a:pt x="32" y="21"/>
                    </a:cubicBezTo>
                    <a:cubicBezTo>
                      <a:pt x="32" y="21"/>
                      <a:pt x="31" y="21"/>
                      <a:pt x="31" y="21"/>
                    </a:cubicBezTo>
                    <a:cubicBezTo>
                      <a:pt x="31" y="21"/>
                      <a:pt x="31" y="21"/>
                      <a:pt x="31" y="21"/>
                    </a:cubicBezTo>
                    <a:cubicBezTo>
                      <a:pt x="31" y="21"/>
                      <a:pt x="31" y="21"/>
                      <a:pt x="31" y="21"/>
                    </a:cubicBezTo>
                    <a:cubicBezTo>
                      <a:pt x="31" y="21"/>
                      <a:pt x="31" y="21"/>
                      <a:pt x="31" y="21"/>
                    </a:cubicBezTo>
                    <a:cubicBezTo>
                      <a:pt x="31" y="21"/>
                      <a:pt x="31" y="21"/>
                      <a:pt x="30" y="21"/>
                    </a:cubicBezTo>
                    <a:cubicBezTo>
                      <a:pt x="30" y="21"/>
                      <a:pt x="30" y="21"/>
                      <a:pt x="30" y="21"/>
                    </a:cubicBezTo>
                    <a:cubicBezTo>
                      <a:pt x="30" y="21"/>
                      <a:pt x="30" y="20"/>
                      <a:pt x="30" y="20"/>
                    </a:cubicBezTo>
                    <a:cubicBezTo>
                      <a:pt x="30" y="20"/>
                      <a:pt x="30" y="20"/>
                      <a:pt x="30" y="20"/>
                    </a:cubicBezTo>
                    <a:cubicBezTo>
                      <a:pt x="30" y="20"/>
                      <a:pt x="30"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8" y="20"/>
                    </a:cubicBezTo>
                    <a:cubicBezTo>
                      <a:pt x="28" y="20"/>
                      <a:pt x="28" y="20"/>
                      <a:pt x="28" y="20"/>
                    </a:cubicBezTo>
                    <a:cubicBezTo>
                      <a:pt x="28" y="20"/>
                      <a:pt x="28" y="20"/>
                      <a:pt x="29" y="20"/>
                    </a:cubicBezTo>
                    <a:cubicBezTo>
                      <a:pt x="29" y="20"/>
                      <a:pt x="28" y="20"/>
                      <a:pt x="28" y="20"/>
                    </a:cubicBezTo>
                    <a:close/>
                    <a:moveTo>
                      <a:pt x="35" y="20"/>
                    </a:move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6" y="20"/>
                      <a:pt x="36" y="20"/>
                    </a:cubicBezTo>
                    <a:cubicBezTo>
                      <a:pt x="36" y="20"/>
                      <a:pt x="36" y="20"/>
                      <a:pt x="36" y="21"/>
                    </a:cubicBezTo>
                    <a:cubicBezTo>
                      <a:pt x="36" y="21"/>
                      <a:pt x="36" y="21"/>
                      <a:pt x="36" y="21"/>
                    </a:cubicBezTo>
                    <a:cubicBezTo>
                      <a:pt x="36" y="21"/>
                      <a:pt x="36" y="21"/>
                      <a:pt x="36" y="21"/>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1"/>
                    </a:cubicBezTo>
                    <a:cubicBezTo>
                      <a:pt x="34" y="21"/>
                      <a:pt x="34" y="21"/>
                      <a:pt x="34" y="21"/>
                    </a:cubicBezTo>
                    <a:cubicBezTo>
                      <a:pt x="34" y="21"/>
                      <a:pt x="35" y="21"/>
                      <a:pt x="35" y="21"/>
                    </a:cubicBezTo>
                    <a:cubicBezTo>
                      <a:pt x="35" y="21"/>
                      <a:pt x="35" y="21"/>
                      <a:pt x="35" y="20"/>
                    </a:cubicBezTo>
                    <a:cubicBezTo>
                      <a:pt x="35" y="20"/>
                      <a:pt x="35" y="20"/>
                      <a:pt x="35" y="20"/>
                    </a:cubicBezTo>
                    <a:cubicBezTo>
                      <a:pt x="35" y="20"/>
                      <a:pt x="35" y="20"/>
                      <a:pt x="35" y="20"/>
                    </a:cubicBezTo>
                    <a:close/>
                    <a:moveTo>
                      <a:pt x="27" y="5"/>
                    </a:move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4"/>
                    </a:cubicBezTo>
                    <a:cubicBezTo>
                      <a:pt x="27" y="4"/>
                      <a:pt x="27" y="4"/>
                      <a:pt x="27" y="4"/>
                    </a:cubicBezTo>
                    <a:cubicBezTo>
                      <a:pt x="27" y="4"/>
                      <a:pt x="27" y="4"/>
                      <a:pt x="27"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5" y="4"/>
                      <a:pt x="25" y="4"/>
                    </a:cubicBezTo>
                    <a:cubicBezTo>
                      <a:pt x="25" y="4"/>
                      <a:pt x="25" y="4"/>
                      <a:pt x="25" y="4"/>
                    </a:cubicBezTo>
                    <a:cubicBezTo>
                      <a:pt x="25" y="4"/>
                      <a:pt x="25" y="4"/>
                      <a:pt x="25"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5" y="4"/>
                      <a:pt x="25" y="4"/>
                      <a:pt x="25" y="4"/>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6" y="5"/>
                      <a:pt x="26" y="5"/>
                      <a:pt x="26" y="5"/>
                    </a:cubicBezTo>
                    <a:cubicBezTo>
                      <a:pt x="26" y="5"/>
                      <a:pt x="26" y="5"/>
                      <a:pt x="26" y="5"/>
                    </a:cubicBezTo>
                    <a:cubicBezTo>
                      <a:pt x="26" y="5"/>
                      <a:pt x="26" y="5"/>
                      <a:pt x="26" y="6"/>
                    </a:cubicBezTo>
                    <a:cubicBezTo>
                      <a:pt x="26" y="6"/>
                      <a:pt x="26" y="6"/>
                      <a:pt x="26" y="6"/>
                    </a:cubicBezTo>
                    <a:cubicBezTo>
                      <a:pt x="26" y="6"/>
                      <a:pt x="26" y="6"/>
                      <a:pt x="26" y="6"/>
                    </a:cubicBezTo>
                    <a:cubicBezTo>
                      <a:pt x="26" y="5"/>
                      <a:pt x="26" y="6"/>
                      <a:pt x="27" y="5"/>
                    </a:cubicBezTo>
                    <a:cubicBezTo>
                      <a:pt x="27" y="5"/>
                      <a:pt x="27" y="5"/>
                      <a:pt x="27" y="5"/>
                    </a:cubicBezTo>
                    <a:close/>
                    <a:moveTo>
                      <a:pt x="23" y="4"/>
                    </a:move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lose/>
                    <a:moveTo>
                      <a:pt x="24" y="4"/>
                    </a:moveTo>
                    <a:cubicBezTo>
                      <a:pt x="24" y="4"/>
                      <a:pt x="24" y="4"/>
                      <a:pt x="24" y="4"/>
                    </a:cubicBezTo>
                    <a:cubicBezTo>
                      <a:pt x="24" y="4"/>
                      <a:pt x="24" y="3"/>
                      <a:pt x="24" y="3"/>
                    </a:cubicBezTo>
                    <a:cubicBezTo>
                      <a:pt x="24" y="3"/>
                      <a:pt x="24" y="3"/>
                      <a:pt x="24" y="3"/>
                    </a:cubicBezTo>
                    <a:cubicBezTo>
                      <a:pt x="24" y="3"/>
                      <a:pt x="23" y="3"/>
                      <a:pt x="23" y="3"/>
                    </a:cubicBezTo>
                    <a:cubicBezTo>
                      <a:pt x="23" y="3"/>
                      <a:pt x="23" y="3"/>
                      <a:pt x="23" y="3"/>
                    </a:cubicBezTo>
                    <a:cubicBezTo>
                      <a:pt x="23" y="3"/>
                      <a:pt x="23" y="3"/>
                      <a:pt x="23" y="4"/>
                    </a:cubicBezTo>
                    <a:cubicBezTo>
                      <a:pt x="23" y="4"/>
                      <a:pt x="23" y="4"/>
                      <a:pt x="23" y="4"/>
                    </a:cubicBezTo>
                    <a:cubicBezTo>
                      <a:pt x="23" y="4"/>
                      <a:pt x="23" y="4"/>
                      <a:pt x="23" y="4"/>
                    </a:cubicBezTo>
                    <a:cubicBezTo>
                      <a:pt x="23"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lose/>
                    <a:moveTo>
                      <a:pt x="13" y="0"/>
                    </a:moveTo>
                    <a:cubicBezTo>
                      <a:pt x="13" y="0"/>
                      <a:pt x="13" y="0"/>
                      <a:pt x="13" y="0"/>
                    </a:cubicBezTo>
                    <a:cubicBezTo>
                      <a:pt x="13" y="0"/>
                      <a:pt x="13" y="0"/>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0"/>
                      <a:pt x="13" y="0"/>
                    </a:cubicBezTo>
                    <a:cubicBezTo>
                      <a:pt x="13" y="0"/>
                      <a:pt x="13" y="0"/>
                      <a:pt x="13" y="0"/>
                    </a:cubicBezTo>
                    <a:cubicBezTo>
                      <a:pt x="13" y="0"/>
                      <a:pt x="13" y="0"/>
                      <a:pt x="13" y="0"/>
                    </a:cubicBezTo>
                    <a:cubicBezTo>
                      <a:pt x="13" y="0"/>
                      <a:pt x="13" y="0"/>
                      <a:pt x="13" y="0"/>
                    </a:cubicBezTo>
                    <a:close/>
                    <a:moveTo>
                      <a:pt x="14" y="0"/>
                    </a:moveTo>
                    <a:cubicBezTo>
                      <a:pt x="14" y="0"/>
                      <a:pt x="14" y="0"/>
                      <a:pt x="14" y="0"/>
                    </a:cubicBezTo>
                    <a:cubicBezTo>
                      <a:pt x="14" y="0"/>
                      <a:pt x="14" y="0"/>
                      <a:pt x="14" y="0"/>
                    </a:cubicBezTo>
                    <a:cubicBezTo>
                      <a:pt x="14" y="0"/>
                      <a:pt x="14" y="0"/>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1"/>
                      <a:pt x="14" y="1"/>
                      <a:pt x="15" y="1"/>
                    </a:cubicBezTo>
                    <a:cubicBezTo>
                      <a:pt x="15" y="1"/>
                      <a:pt x="15" y="1"/>
                      <a:pt x="15" y="1"/>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lose/>
                    <a:moveTo>
                      <a:pt x="13" y="12"/>
                    </a:moveTo>
                    <a:cubicBezTo>
                      <a:pt x="12" y="13"/>
                      <a:pt x="12" y="13"/>
                      <a:pt x="12" y="12"/>
                    </a:cubicBezTo>
                    <a:cubicBezTo>
                      <a:pt x="12" y="12"/>
                      <a:pt x="12" y="12"/>
                      <a:pt x="12" y="12"/>
                    </a:cubicBezTo>
                    <a:cubicBezTo>
                      <a:pt x="12" y="12"/>
                      <a:pt x="12" y="12"/>
                      <a:pt x="12" y="12"/>
                    </a:cubicBezTo>
                    <a:cubicBezTo>
                      <a:pt x="11" y="13"/>
                      <a:pt x="11" y="13"/>
                      <a:pt x="11" y="13"/>
                    </a:cubicBezTo>
                    <a:cubicBezTo>
                      <a:pt x="11" y="13"/>
                      <a:pt x="11" y="13"/>
                      <a:pt x="11" y="13"/>
                    </a:cubicBezTo>
                    <a:cubicBezTo>
                      <a:pt x="11" y="13"/>
                      <a:pt x="11" y="13"/>
                      <a:pt x="11" y="12"/>
                    </a:cubicBezTo>
                    <a:cubicBezTo>
                      <a:pt x="11" y="12"/>
                      <a:pt x="11" y="12"/>
                      <a:pt x="11" y="12"/>
                    </a:cubicBezTo>
                    <a:cubicBezTo>
                      <a:pt x="11" y="12"/>
                      <a:pt x="11" y="12"/>
                      <a:pt x="11" y="12"/>
                    </a:cubicBezTo>
                    <a:cubicBezTo>
                      <a:pt x="11" y="12"/>
                      <a:pt x="11" y="12"/>
                      <a:pt x="11" y="12"/>
                    </a:cubicBezTo>
                    <a:cubicBezTo>
                      <a:pt x="11" y="12"/>
                      <a:pt x="10" y="12"/>
                      <a:pt x="10" y="12"/>
                    </a:cubicBezTo>
                    <a:cubicBezTo>
                      <a:pt x="10" y="12"/>
                      <a:pt x="10" y="12"/>
                      <a:pt x="10" y="12"/>
                    </a:cubicBezTo>
                    <a:cubicBezTo>
                      <a:pt x="10" y="12"/>
                      <a:pt x="10" y="12"/>
                      <a:pt x="10" y="12"/>
                    </a:cubicBezTo>
                    <a:cubicBezTo>
                      <a:pt x="10" y="12"/>
                      <a:pt x="10" y="12"/>
                      <a:pt x="10" y="12"/>
                    </a:cubicBezTo>
                    <a:cubicBezTo>
                      <a:pt x="10" y="12"/>
                      <a:pt x="10" y="12"/>
                      <a:pt x="10" y="12"/>
                    </a:cubicBezTo>
                    <a:cubicBezTo>
                      <a:pt x="9" y="12"/>
                      <a:pt x="9" y="12"/>
                      <a:pt x="9" y="12"/>
                    </a:cubicBezTo>
                    <a:cubicBezTo>
                      <a:pt x="9" y="12"/>
                      <a:pt x="9" y="12"/>
                      <a:pt x="9" y="12"/>
                    </a:cubicBezTo>
                    <a:cubicBezTo>
                      <a:pt x="9" y="12"/>
                      <a:pt x="9" y="12"/>
                      <a:pt x="8" y="12"/>
                    </a:cubicBezTo>
                    <a:cubicBezTo>
                      <a:pt x="8" y="12"/>
                      <a:pt x="8" y="12"/>
                      <a:pt x="8" y="12"/>
                    </a:cubicBezTo>
                    <a:cubicBezTo>
                      <a:pt x="8" y="12"/>
                      <a:pt x="8" y="12"/>
                      <a:pt x="8" y="11"/>
                    </a:cubicBezTo>
                    <a:cubicBezTo>
                      <a:pt x="8" y="11"/>
                      <a:pt x="8" y="11"/>
                      <a:pt x="8" y="11"/>
                    </a:cubicBezTo>
                    <a:cubicBezTo>
                      <a:pt x="8" y="11"/>
                      <a:pt x="8" y="11"/>
                      <a:pt x="8" y="11"/>
                    </a:cubicBezTo>
                    <a:cubicBezTo>
                      <a:pt x="8" y="11"/>
                      <a:pt x="8" y="11"/>
                      <a:pt x="8" y="12"/>
                    </a:cubicBezTo>
                    <a:cubicBezTo>
                      <a:pt x="8" y="12"/>
                      <a:pt x="8" y="11"/>
                      <a:pt x="8" y="11"/>
                    </a:cubicBezTo>
                    <a:cubicBezTo>
                      <a:pt x="8" y="11"/>
                      <a:pt x="7" y="11"/>
                      <a:pt x="7" y="11"/>
                    </a:cubicBezTo>
                    <a:cubicBezTo>
                      <a:pt x="7" y="11"/>
                      <a:pt x="7" y="11"/>
                      <a:pt x="7" y="11"/>
                    </a:cubicBezTo>
                    <a:cubicBezTo>
                      <a:pt x="7" y="11"/>
                      <a:pt x="6" y="11"/>
                      <a:pt x="6" y="11"/>
                    </a:cubicBezTo>
                    <a:cubicBezTo>
                      <a:pt x="6" y="11"/>
                      <a:pt x="6" y="11"/>
                      <a:pt x="6" y="11"/>
                    </a:cubicBezTo>
                    <a:cubicBezTo>
                      <a:pt x="6" y="11"/>
                      <a:pt x="6" y="11"/>
                      <a:pt x="6" y="11"/>
                    </a:cubicBezTo>
                    <a:cubicBezTo>
                      <a:pt x="6" y="11"/>
                      <a:pt x="6" y="11"/>
                      <a:pt x="6" y="11"/>
                    </a:cubicBezTo>
                    <a:cubicBezTo>
                      <a:pt x="6" y="10"/>
                      <a:pt x="6" y="10"/>
                      <a:pt x="6" y="10"/>
                    </a:cubicBezTo>
                    <a:cubicBezTo>
                      <a:pt x="6" y="10"/>
                      <a:pt x="6" y="10"/>
                      <a:pt x="5" y="10"/>
                    </a:cubicBezTo>
                    <a:cubicBezTo>
                      <a:pt x="5" y="10"/>
                      <a:pt x="5" y="10"/>
                      <a:pt x="5" y="10"/>
                    </a:cubicBezTo>
                    <a:cubicBezTo>
                      <a:pt x="5" y="10"/>
                      <a:pt x="5" y="10"/>
                      <a:pt x="5" y="10"/>
                    </a:cubicBezTo>
                    <a:cubicBezTo>
                      <a:pt x="5" y="10"/>
                      <a:pt x="5" y="10"/>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5"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8"/>
                      <a:pt x="4" y="8"/>
                    </a:cubicBezTo>
                    <a:cubicBezTo>
                      <a:pt x="4" y="8"/>
                      <a:pt x="4" y="8"/>
                      <a:pt x="4" y="8"/>
                    </a:cubicBezTo>
                    <a:cubicBezTo>
                      <a:pt x="4" y="8"/>
                      <a:pt x="4" y="8"/>
                      <a:pt x="4"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8"/>
                      <a:pt x="2" y="8"/>
                    </a:cubicBezTo>
                    <a:cubicBezTo>
                      <a:pt x="2" y="8"/>
                      <a:pt x="1" y="8"/>
                      <a:pt x="1" y="8"/>
                    </a:cubicBezTo>
                    <a:cubicBezTo>
                      <a:pt x="1" y="9"/>
                      <a:pt x="1" y="9"/>
                      <a:pt x="1" y="9"/>
                    </a:cubicBezTo>
                    <a:cubicBezTo>
                      <a:pt x="1" y="9"/>
                      <a:pt x="1" y="9"/>
                      <a:pt x="1"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10"/>
                      <a:pt x="2" y="10"/>
                    </a:cubicBezTo>
                    <a:cubicBezTo>
                      <a:pt x="2" y="10"/>
                      <a:pt x="2" y="10"/>
                      <a:pt x="2" y="10"/>
                    </a:cubicBezTo>
                    <a:cubicBezTo>
                      <a:pt x="2" y="10"/>
                      <a:pt x="2" y="10"/>
                      <a:pt x="2" y="10"/>
                    </a:cubicBezTo>
                    <a:cubicBezTo>
                      <a:pt x="2" y="10"/>
                      <a:pt x="3" y="10"/>
                      <a:pt x="3" y="10"/>
                    </a:cubicBezTo>
                    <a:cubicBezTo>
                      <a:pt x="3" y="11"/>
                      <a:pt x="3" y="11"/>
                      <a:pt x="3" y="11"/>
                    </a:cubicBezTo>
                    <a:cubicBezTo>
                      <a:pt x="4" y="11"/>
                      <a:pt x="4" y="11"/>
                      <a:pt x="4" y="11"/>
                    </a:cubicBezTo>
                    <a:cubicBezTo>
                      <a:pt x="5" y="11"/>
                      <a:pt x="5" y="11"/>
                      <a:pt x="5" y="11"/>
                    </a:cubicBezTo>
                    <a:cubicBezTo>
                      <a:pt x="5" y="13"/>
                      <a:pt x="5" y="13"/>
                      <a:pt x="5" y="13"/>
                    </a:cubicBezTo>
                    <a:cubicBezTo>
                      <a:pt x="5" y="13"/>
                      <a:pt x="5" y="13"/>
                      <a:pt x="5" y="13"/>
                    </a:cubicBezTo>
                    <a:cubicBezTo>
                      <a:pt x="5" y="13"/>
                      <a:pt x="5" y="13"/>
                      <a:pt x="5" y="13"/>
                    </a:cubicBezTo>
                    <a:cubicBezTo>
                      <a:pt x="5" y="13"/>
                      <a:pt x="5" y="13"/>
                      <a:pt x="5"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6" y="14"/>
                      <a:pt x="6" y="14"/>
                      <a:pt x="6" y="14"/>
                    </a:cubicBezTo>
                    <a:cubicBezTo>
                      <a:pt x="6" y="14"/>
                      <a:pt x="6" y="14"/>
                      <a:pt x="6" y="14"/>
                    </a:cubicBezTo>
                    <a:cubicBezTo>
                      <a:pt x="6" y="14"/>
                      <a:pt x="6" y="14"/>
                      <a:pt x="6" y="14"/>
                    </a:cubicBezTo>
                    <a:cubicBezTo>
                      <a:pt x="6" y="14"/>
                      <a:pt x="6" y="14"/>
                      <a:pt x="6" y="15"/>
                    </a:cubicBezTo>
                    <a:cubicBezTo>
                      <a:pt x="6" y="15"/>
                      <a:pt x="6" y="15"/>
                      <a:pt x="6" y="15"/>
                    </a:cubicBezTo>
                    <a:cubicBezTo>
                      <a:pt x="6" y="15"/>
                      <a:pt x="6" y="15"/>
                      <a:pt x="6" y="15"/>
                    </a:cubicBezTo>
                    <a:cubicBezTo>
                      <a:pt x="6" y="15"/>
                      <a:pt x="6" y="15"/>
                      <a:pt x="6" y="15"/>
                    </a:cubicBezTo>
                    <a:cubicBezTo>
                      <a:pt x="6" y="15"/>
                      <a:pt x="6" y="15"/>
                      <a:pt x="6"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8" y="16"/>
                      <a:pt x="8" y="16"/>
                    </a:cubicBezTo>
                    <a:cubicBezTo>
                      <a:pt x="9" y="16"/>
                      <a:pt x="9" y="15"/>
                      <a:pt x="9" y="15"/>
                    </a:cubicBezTo>
                    <a:cubicBezTo>
                      <a:pt x="9" y="15"/>
                      <a:pt x="9" y="15"/>
                      <a:pt x="9" y="15"/>
                    </a:cubicBezTo>
                    <a:cubicBezTo>
                      <a:pt x="9" y="15"/>
                      <a:pt x="9" y="15"/>
                      <a:pt x="9" y="15"/>
                    </a:cubicBezTo>
                    <a:cubicBezTo>
                      <a:pt x="9" y="15"/>
                      <a:pt x="9" y="15"/>
                      <a:pt x="9" y="15"/>
                    </a:cubicBezTo>
                    <a:cubicBezTo>
                      <a:pt x="9" y="15"/>
                      <a:pt x="9" y="15"/>
                      <a:pt x="9" y="15"/>
                    </a:cubicBezTo>
                    <a:cubicBezTo>
                      <a:pt x="9"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1" y="15"/>
                      <a:pt x="11" y="15"/>
                      <a:pt x="11" y="15"/>
                    </a:cubicBezTo>
                    <a:cubicBezTo>
                      <a:pt x="11" y="15"/>
                      <a:pt x="11" y="15"/>
                      <a:pt x="11" y="15"/>
                    </a:cubicBezTo>
                    <a:cubicBezTo>
                      <a:pt x="11" y="15"/>
                      <a:pt x="11" y="15"/>
                      <a:pt x="11" y="15"/>
                    </a:cubicBezTo>
                    <a:cubicBezTo>
                      <a:pt x="11" y="15"/>
                      <a:pt x="11" y="15"/>
                      <a:pt x="11" y="15"/>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0" y="14"/>
                      <a:pt x="10" y="14"/>
                    </a:cubicBezTo>
                    <a:cubicBezTo>
                      <a:pt x="10" y="14"/>
                      <a:pt x="9" y="14"/>
                      <a:pt x="9" y="13"/>
                    </a:cubicBezTo>
                    <a:cubicBezTo>
                      <a:pt x="9" y="13"/>
                      <a:pt x="9" y="13"/>
                      <a:pt x="9" y="13"/>
                    </a:cubicBezTo>
                    <a:cubicBezTo>
                      <a:pt x="9" y="13"/>
                      <a:pt x="9" y="13"/>
                      <a:pt x="9" y="13"/>
                    </a:cubicBezTo>
                    <a:cubicBezTo>
                      <a:pt x="9" y="13"/>
                      <a:pt x="9" y="13"/>
                      <a:pt x="9" y="13"/>
                    </a:cubicBezTo>
                    <a:cubicBezTo>
                      <a:pt x="10" y="13"/>
                      <a:pt x="10" y="13"/>
                      <a:pt x="10" y="13"/>
                    </a:cubicBezTo>
                    <a:cubicBezTo>
                      <a:pt x="10" y="13"/>
                      <a:pt x="10" y="13"/>
                      <a:pt x="10" y="13"/>
                    </a:cubicBezTo>
                    <a:cubicBezTo>
                      <a:pt x="10" y="13"/>
                      <a:pt x="10"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2"/>
                      <a:pt x="12" y="12"/>
                    </a:cubicBezTo>
                    <a:cubicBezTo>
                      <a:pt x="13" y="12"/>
                      <a:pt x="13" y="12"/>
                      <a:pt x="13"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32" name="Group 331">
                <a:extLst>
                  <a:ext uri="{FF2B5EF4-FFF2-40B4-BE49-F238E27FC236}">
                    <a16:creationId xmlns:a16="http://schemas.microsoft.com/office/drawing/2014/main" id="{41ADE1EA-3627-CC74-3EAD-1C64384BBAD3}"/>
                  </a:ext>
                </a:extLst>
              </p:cNvPr>
              <p:cNvGrpSpPr/>
              <p:nvPr/>
            </p:nvGrpSpPr>
            <p:grpSpPr>
              <a:xfrm>
                <a:off x="9347200" y="4954588"/>
                <a:ext cx="365125" cy="236538"/>
                <a:chOff x="9347200" y="4954588"/>
                <a:chExt cx="365125" cy="236538"/>
              </a:xfrm>
              <a:grpFill/>
            </p:grpSpPr>
            <p:sp>
              <p:nvSpPr>
                <p:cNvPr id="365" name="Freeform 697">
                  <a:extLst>
                    <a:ext uri="{FF2B5EF4-FFF2-40B4-BE49-F238E27FC236}">
                      <a16:creationId xmlns:a16="http://schemas.microsoft.com/office/drawing/2014/main" id="{2FE3DCCA-F8EB-D185-BEFC-EB4E027BFF9B}"/>
                    </a:ext>
                  </a:extLst>
                </p:cNvPr>
                <p:cNvSpPr>
                  <a:spLocks/>
                </p:cNvSpPr>
                <p:nvPr/>
              </p:nvSpPr>
              <p:spPr bwMode="auto">
                <a:xfrm>
                  <a:off x="9525000" y="5162550"/>
                  <a:ext cx="4762" cy="4763"/>
                </a:xfrm>
                <a:custGeom>
                  <a:avLst/>
                  <a:gdLst>
                    <a:gd name="T0" fmla="*/ 1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1 w 1"/>
                    <a:gd name="T51" fmla="*/ 1 h 1"/>
                    <a:gd name="T52" fmla="*/ 1 w 1"/>
                    <a:gd name="T53" fmla="*/ 1 h 1"/>
                    <a:gd name="T54" fmla="*/ 1 w 1"/>
                    <a:gd name="T55" fmla="*/ 1 h 1"/>
                    <a:gd name="T56" fmla="*/ 1 w 1"/>
                    <a:gd name="T57" fmla="*/ 1 h 1"/>
                    <a:gd name="T58" fmla="*/ 1 w 1"/>
                    <a:gd name="T5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1"/>
                      </a:moveTo>
                      <a:cubicBezTo>
                        <a:pt x="1" y="1"/>
                        <a:pt x="1" y="1"/>
                        <a:pt x="1" y="1"/>
                      </a:cubicBezTo>
                      <a:cubicBezTo>
                        <a:pt x="1"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6" name="Freeform 698">
                  <a:extLst>
                    <a:ext uri="{FF2B5EF4-FFF2-40B4-BE49-F238E27FC236}">
                      <a16:creationId xmlns:a16="http://schemas.microsoft.com/office/drawing/2014/main" id="{DC5CD223-B3E6-028E-41BB-F0BB6189A9E8}"/>
                    </a:ext>
                  </a:extLst>
                </p:cNvPr>
                <p:cNvSpPr>
                  <a:spLocks/>
                </p:cNvSpPr>
                <p:nvPr/>
              </p:nvSpPr>
              <p:spPr bwMode="auto">
                <a:xfrm>
                  <a:off x="9350375" y="4970463"/>
                  <a:ext cx="63500" cy="79375"/>
                </a:xfrm>
                <a:custGeom>
                  <a:avLst/>
                  <a:gdLst>
                    <a:gd name="T0" fmla="*/ 9 w 15"/>
                    <a:gd name="T1" fmla="*/ 19 h 19"/>
                    <a:gd name="T2" fmla="*/ 9 w 15"/>
                    <a:gd name="T3" fmla="*/ 18 h 19"/>
                    <a:gd name="T4" fmla="*/ 9 w 15"/>
                    <a:gd name="T5" fmla="*/ 17 h 19"/>
                    <a:gd name="T6" fmla="*/ 9 w 15"/>
                    <a:gd name="T7" fmla="*/ 17 h 19"/>
                    <a:gd name="T8" fmla="*/ 9 w 15"/>
                    <a:gd name="T9" fmla="*/ 14 h 19"/>
                    <a:gd name="T10" fmla="*/ 3 w 15"/>
                    <a:gd name="T11" fmla="*/ 11 h 19"/>
                    <a:gd name="T12" fmla="*/ 6 w 15"/>
                    <a:gd name="T13" fmla="*/ 9 h 19"/>
                    <a:gd name="T14" fmla="*/ 6 w 15"/>
                    <a:gd name="T15" fmla="*/ 9 h 19"/>
                    <a:gd name="T16" fmla="*/ 6 w 15"/>
                    <a:gd name="T17" fmla="*/ 10 h 19"/>
                    <a:gd name="T18" fmla="*/ 6 w 15"/>
                    <a:gd name="T19" fmla="*/ 10 h 19"/>
                    <a:gd name="T20" fmla="*/ 6 w 15"/>
                    <a:gd name="T21" fmla="*/ 10 h 19"/>
                    <a:gd name="T22" fmla="*/ 11 w 15"/>
                    <a:gd name="T23" fmla="*/ 10 h 19"/>
                    <a:gd name="T24" fmla="*/ 12 w 15"/>
                    <a:gd name="T25" fmla="*/ 9 h 19"/>
                    <a:gd name="T26" fmla="*/ 12 w 15"/>
                    <a:gd name="T27" fmla="*/ 7 h 19"/>
                    <a:gd name="T28" fmla="*/ 12 w 15"/>
                    <a:gd name="T29" fmla="*/ 6 h 19"/>
                    <a:gd name="T30" fmla="*/ 12 w 15"/>
                    <a:gd name="T31" fmla="*/ 6 h 19"/>
                    <a:gd name="T32" fmla="*/ 13 w 15"/>
                    <a:gd name="T33" fmla="*/ 6 h 19"/>
                    <a:gd name="T34" fmla="*/ 14 w 15"/>
                    <a:gd name="T35" fmla="*/ 6 h 19"/>
                    <a:gd name="T36" fmla="*/ 15 w 15"/>
                    <a:gd name="T37" fmla="*/ 6 h 19"/>
                    <a:gd name="T38" fmla="*/ 15 w 15"/>
                    <a:gd name="T39" fmla="*/ 5 h 19"/>
                    <a:gd name="T40" fmla="*/ 14 w 15"/>
                    <a:gd name="T41" fmla="*/ 5 h 19"/>
                    <a:gd name="T42" fmla="*/ 14 w 15"/>
                    <a:gd name="T43" fmla="*/ 5 h 19"/>
                    <a:gd name="T44" fmla="*/ 13 w 15"/>
                    <a:gd name="T45" fmla="*/ 5 h 19"/>
                    <a:gd name="T46" fmla="*/ 11 w 15"/>
                    <a:gd name="T47" fmla="*/ 4 h 19"/>
                    <a:gd name="T48" fmla="*/ 11 w 15"/>
                    <a:gd name="T49" fmla="*/ 4 h 19"/>
                    <a:gd name="T50" fmla="*/ 10 w 15"/>
                    <a:gd name="T51" fmla="*/ 4 h 19"/>
                    <a:gd name="T52" fmla="*/ 9 w 15"/>
                    <a:gd name="T53" fmla="*/ 4 h 19"/>
                    <a:gd name="T54" fmla="*/ 9 w 15"/>
                    <a:gd name="T55" fmla="*/ 3 h 19"/>
                    <a:gd name="T56" fmla="*/ 8 w 15"/>
                    <a:gd name="T57" fmla="*/ 3 h 19"/>
                    <a:gd name="T58" fmla="*/ 8 w 15"/>
                    <a:gd name="T59" fmla="*/ 3 h 19"/>
                    <a:gd name="T60" fmla="*/ 7 w 15"/>
                    <a:gd name="T61" fmla="*/ 2 h 19"/>
                    <a:gd name="T62" fmla="*/ 7 w 15"/>
                    <a:gd name="T63" fmla="*/ 2 h 19"/>
                    <a:gd name="T64" fmla="*/ 7 w 15"/>
                    <a:gd name="T65" fmla="*/ 2 h 19"/>
                    <a:gd name="T66" fmla="*/ 6 w 15"/>
                    <a:gd name="T67" fmla="*/ 2 h 19"/>
                    <a:gd name="T68" fmla="*/ 6 w 15"/>
                    <a:gd name="T69" fmla="*/ 2 h 19"/>
                    <a:gd name="T70" fmla="*/ 4 w 15"/>
                    <a:gd name="T71" fmla="*/ 1 h 19"/>
                    <a:gd name="T72" fmla="*/ 3 w 15"/>
                    <a:gd name="T73" fmla="*/ 1 h 19"/>
                    <a:gd name="T74" fmla="*/ 3 w 15"/>
                    <a:gd name="T75" fmla="*/ 1 h 19"/>
                    <a:gd name="T76" fmla="*/ 2 w 15"/>
                    <a:gd name="T77" fmla="*/ 0 h 19"/>
                    <a:gd name="T78" fmla="*/ 2 w 15"/>
                    <a:gd name="T79" fmla="*/ 0 h 19"/>
                    <a:gd name="T80" fmla="*/ 1 w 15"/>
                    <a:gd name="T81" fmla="*/ 0 h 19"/>
                    <a:gd name="T82" fmla="*/ 1 w 15"/>
                    <a:gd name="T83" fmla="*/ 0 h 19"/>
                    <a:gd name="T84" fmla="*/ 0 w 15"/>
                    <a:gd name="T85" fmla="*/ 17 h 19"/>
                    <a:gd name="T86" fmla="*/ 9 w 15"/>
                    <a:gd name="T8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9">
                      <a:moveTo>
                        <a:pt x="9" y="19"/>
                      </a:moveTo>
                      <a:cubicBezTo>
                        <a:pt x="9" y="19"/>
                        <a:pt x="9" y="19"/>
                        <a:pt x="9" y="19"/>
                      </a:cubicBezTo>
                      <a:cubicBezTo>
                        <a:pt x="9" y="18"/>
                        <a:pt x="9" y="18"/>
                        <a:pt x="9" y="18"/>
                      </a:cubicBezTo>
                      <a:cubicBezTo>
                        <a:pt x="9" y="18"/>
                        <a:pt x="9" y="18"/>
                        <a:pt x="9" y="18"/>
                      </a:cubicBezTo>
                      <a:cubicBezTo>
                        <a:pt x="9" y="18"/>
                        <a:pt x="10" y="18"/>
                        <a:pt x="10" y="18"/>
                      </a:cubicBezTo>
                      <a:cubicBezTo>
                        <a:pt x="10" y="18"/>
                        <a:pt x="9" y="17"/>
                        <a:pt x="9" y="17"/>
                      </a:cubicBezTo>
                      <a:cubicBezTo>
                        <a:pt x="9" y="17"/>
                        <a:pt x="9" y="17"/>
                        <a:pt x="9" y="17"/>
                      </a:cubicBezTo>
                      <a:cubicBezTo>
                        <a:pt x="9" y="17"/>
                        <a:pt x="9" y="17"/>
                        <a:pt x="9" y="17"/>
                      </a:cubicBezTo>
                      <a:cubicBezTo>
                        <a:pt x="9" y="14"/>
                        <a:pt x="9" y="14"/>
                        <a:pt x="9" y="14"/>
                      </a:cubicBezTo>
                      <a:cubicBezTo>
                        <a:pt x="9" y="14"/>
                        <a:pt x="9" y="14"/>
                        <a:pt x="9" y="14"/>
                      </a:cubicBezTo>
                      <a:cubicBezTo>
                        <a:pt x="3" y="14"/>
                        <a:pt x="3" y="14"/>
                        <a:pt x="3" y="14"/>
                      </a:cubicBezTo>
                      <a:cubicBezTo>
                        <a:pt x="3" y="11"/>
                        <a:pt x="3" y="11"/>
                        <a:pt x="3" y="11"/>
                      </a:cubicBezTo>
                      <a:cubicBezTo>
                        <a:pt x="5" y="10"/>
                        <a:pt x="5" y="10"/>
                        <a:pt x="5" y="10"/>
                      </a:cubicBezTo>
                      <a:cubicBezTo>
                        <a:pt x="6" y="9"/>
                        <a:pt x="6" y="9"/>
                        <a:pt x="6" y="9"/>
                      </a:cubicBezTo>
                      <a:cubicBezTo>
                        <a:pt x="6" y="9"/>
                        <a:pt x="6" y="9"/>
                        <a:pt x="6" y="9"/>
                      </a:cubicBezTo>
                      <a:cubicBezTo>
                        <a:pt x="6" y="9"/>
                        <a:pt x="6" y="9"/>
                        <a:pt x="6" y="9"/>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11" y="10"/>
                        <a:pt x="11" y="10"/>
                        <a:pt x="11" y="10"/>
                      </a:cubicBezTo>
                      <a:cubicBezTo>
                        <a:pt x="11" y="9"/>
                        <a:pt x="11" y="9"/>
                        <a:pt x="11" y="9"/>
                      </a:cubicBezTo>
                      <a:cubicBezTo>
                        <a:pt x="12" y="9"/>
                        <a:pt x="12" y="9"/>
                        <a:pt x="12" y="9"/>
                      </a:cubicBezTo>
                      <a:cubicBezTo>
                        <a:pt x="12" y="9"/>
                        <a:pt x="12" y="9"/>
                        <a:pt x="12" y="9"/>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2" y="6"/>
                        <a:pt x="12" y="6"/>
                        <a:pt x="12" y="6"/>
                      </a:cubicBezTo>
                      <a:cubicBezTo>
                        <a:pt x="12" y="6"/>
                        <a:pt x="13" y="6"/>
                        <a:pt x="13" y="6"/>
                      </a:cubicBezTo>
                      <a:cubicBezTo>
                        <a:pt x="13" y="6"/>
                        <a:pt x="13" y="6"/>
                        <a:pt x="14" y="6"/>
                      </a:cubicBezTo>
                      <a:cubicBezTo>
                        <a:pt x="14" y="6"/>
                        <a:pt x="14" y="6"/>
                        <a:pt x="14" y="6"/>
                      </a:cubicBezTo>
                      <a:cubicBezTo>
                        <a:pt x="14" y="6"/>
                        <a:pt x="14" y="6"/>
                        <a:pt x="14" y="6"/>
                      </a:cubicBezTo>
                      <a:cubicBezTo>
                        <a:pt x="14" y="6"/>
                        <a:pt x="15" y="6"/>
                        <a:pt x="15" y="6"/>
                      </a:cubicBezTo>
                      <a:cubicBezTo>
                        <a:pt x="15" y="6"/>
                        <a:pt x="15" y="6"/>
                        <a:pt x="15" y="6"/>
                      </a:cubicBezTo>
                      <a:cubicBezTo>
                        <a:pt x="15" y="6"/>
                        <a:pt x="15" y="5"/>
                        <a:pt x="15" y="5"/>
                      </a:cubicBezTo>
                      <a:cubicBezTo>
                        <a:pt x="15" y="5"/>
                        <a:pt x="15" y="5"/>
                        <a:pt x="14" y="5"/>
                      </a:cubicBezTo>
                      <a:cubicBezTo>
                        <a:pt x="14" y="5"/>
                        <a:pt x="14" y="5"/>
                        <a:pt x="14" y="5"/>
                      </a:cubicBezTo>
                      <a:cubicBezTo>
                        <a:pt x="14" y="5"/>
                        <a:pt x="14" y="5"/>
                        <a:pt x="14" y="5"/>
                      </a:cubicBezTo>
                      <a:cubicBezTo>
                        <a:pt x="14" y="5"/>
                        <a:pt x="14" y="5"/>
                        <a:pt x="14" y="5"/>
                      </a:cubicBezTo>
                      <a:cubicBezTo>
                        <a:pt x="13" y="5"/>
                        <a:pt x="13" y="5"/>
                        <a:pt x="13" y="5"/>
                      </a:cubicBezTo>
                      <a:cubicBezTo>
                        <a:pt x="13" y="5"/>
                        <a:pt x="13" y="5"/>
                        <a:pt x="13" y="5"/>
                      </a:cubicBezTo>
                      <a:cubicBezTo>
                        <a:pt x="12" y="5"/>
                        <a:pt x="12" y="5"/>
                        <a:pt x="12" y="5"/>
                      </a:cubicBezTo>
                      <a:cubicBezTo>
                        <a:pt x="12" y="4"/>
                        <a:pt x="12"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4"/>
                        <a:pt x="10" y="4"/>
                      </a:cubicBezTo>
                      <a:cubicBezTo>
                        <a:pt x="10" y="4"/>
                        <a:pt x="9" y="4"/>
                        <a:pt x="9" y="4"/>
                      </a:cubicBezTo>
                      <a:cubicBezTo>
                        <a:pt x="9" y="4"/>
                        <a:pt x="9" y="3"/>
                        <a:pt x="9" y="3"/>
                      </a:cubicBezTo>
                      <a:cubicBezTo>
                        <a:pt x="9" y="3"/>
                        <a:pt x="9" y="3"/>
                        <a:pt x="9" y="3"/>
                      </a:cubicBezTo>
                      <a:cubicBezTo>
                        <a:pt x="9" y="3"/>
                        <a:pt x="9" y="3"/>
                        <a:pt x="9" y="3"/>
                      </a:cubicBezTo>
                      <a:cubicBezTo>
                        <a:pt x="9" y="3"/>
                        <a:pt x="8" y="3"/>
                        <a:pt x="8" y="3"/>
                      </a:cubicBezTo>
                      <a:cubicBezTo>
                        <a:pt x="8" y="3"/>
                        <a:pt x="8" y="3"/>
                        <a:pt x="8" y="3"/>
                      </a:cubicBezTo>
                      <a:cubicBezTo>
                        <a:pt x="8" y="3"/>
                        <a:pt x="8" y="3"/>
                        <a:pt x="8" y="3"/>
                      </a:cubicBezTo>
                      <a:cubicBezTo>
                        <a:pt x="8" y="3"/>
                        <a:pt x="8" y="3"/>
                        <a:pt x="8" y="3"/>
                      </a:cubicBezTo>
                      <a:cubicBezTo>
                        <a:pt x="8" y="3"/>
                        <a:pt x="7" y="3"/>
                        <a:pt x="7" y="2"/>
                      </a:cubicBezTo>
                      <a:cubicBezTo>
                        <a:pt x="7" y="2"/>
                        <a:pt x="7" y="2"/>
                        <a:pt x="7"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2"/>
                        <a:pt x="6" y="2"/>
                      </a:cubicBezTo>
                      <a:cubicBezTo>
                        <a:pt x="6" y="2"/>
                        <a:pt x="5" y="1"/>
                        <a:pt x="5" y="1"/>
                      </a:cubicBezTo>
                      <a:cubicBezTo>
                        <a:pt x="5" y="1"/>
                        <a:pt x="4" y="1"/>
                        <a:pt x="4" y="1"/>
                      </a:cubicBezTo>
                      <a:cubicBezTo>
                        <a:pt x="3" y="1"/>
                        <a:pt x="3" y="1"/>
                        <a:pt x="3" y="1"/>
                      </a:cubicBezTo>
                      <a:cubicBezTo>
                        <a:pt x="3" y="1"/>
                        <a:pt x="3" y="1"/>
                        <a:pt x="3" y="1"/>
                      </a:cubicBezTo>
                      <a:cubicBezTo>
                        <a:pt x="3" y="1"/>
                        <a:pt x="3" y="1"/>
                        <a:pt x="3" y="1"/>
                      </a:cubicBezTo>
                      <a:cubicBezTo>
                        <a:pt x="3" y="1"/>
                        <a:pt x="3" y="1"/>
                        <a:pt x="3" y="1"/>
                      </a:cubicBezTo>
                      <a:cubicBezTo>
                        <a:pt x="3" y="1"/>
                        <a:pt x="2" y="1"/>
                        <a:pt x="2" y="1"/>
                      </a:cubicBezTo>
                      <a:cubicBezTo>
                        <a:pt x="2" y="1"/>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0" y="0"/>
                        <a:pt x="0" y="0"/>
                        <a:pt x="0" y="0"/>
                      </a:cubicBezTo>
                      <a:cubicBezTo>
                        <a:pt x="0" y="17"/>
                        <a:pt x="0" y="17"/>
                        <a:pt x="0" y="17"/>
                      </a:cubicBezTo>
                      <a:cubicBezTo>
                        <a:pt x="9" y="18"/>
                        <a:pt x="9" y="18"/>
                        <a:pt x="9" y="18"/>
                      </a:cubicBezTo>
                      <a:lnTo>
                        <a:pt x="9"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7" name="Freeform 699">
                  <a:extLst>
                    <a:ext uri="{FF2B5EF4-FFF2-40B4-BE49-F238E27FC236}">
                      <a16:creationId xmlns:a16="http://schemas.microsoft.com/office/drawing/2014/main" id="{A5FD2008-62AD-FF76-A5B5-CC198CEA686E}"/>
                    </a:ext>
                  </a:extLst>
                </p:cNvPr>
                <p:cNvSpPr>
                  <a:spLocks noEditPoints="1"/>
                </p:cNvSpPr>
                <p:nvPr/>
              </p:nvSpPr>
              <p:spPr bwMode="auto">
                <a:xfrm>
                  <a:off x="9347200" y="5041900"/>
                  <a:ext cx="87312" cy="120650"/>
                </a:xfrm>
                <a:custGeom>
                  <a:avLst/>
                  <a:gdLst>
                    <a:gd name="T0" fmla="*/ 17 w 21"/>
                    <a:gd name="T1" fmla="*/ 22 h 29"/>
                    <a:gd name="T2" fmla="*/ 17 w 21"/>
                    <a:gd name="T3" fmla="*/ 23 h 29"/>
                    <a:gd name="T4" fmla="*/ 17 w 21"/>
                    <a:gd name="T5" fmla="*/ 23 h 29"/>
                    <a:gd name="T6" fmla="*/ 19 w 21"/>
                    <a:gd name="T7" fmla="*/ 23 h 29"/>
                    <a:gd name="T8" fmla="*/ 19 w 21"/>
                    <a:gd name="T9" fmla="*/ 22 h 29"/>
                    <a:gd name="T10" fmla="*/ 17 w 21"/>
                    <a:gd name="T11" fmla="*/ 23 h 29"/>
                    <a:gd name="T12" fmla="*/ 19 w 21"/>
                    <a:gd name="T13" fmla="*/ 24 h 29"/>
                    <a:gd name="T14" fmla="*/ 16 w 21"/>
                    <a:gd name="T15" fmla="*/ 23 h 29"/>
                    <a:gd name="T16" fmla="*/ 17 w 21"/>
                    <a:gd name="T17" fmla="*/ 27 h 29"/>
                    <a:gd name="T18" fmla="*/ 16 w 21"/>
                    <a:gd name="T19" fmla="*/ 27 h 29"/>
                    <a:gd name="T20" fmla="*/ 17 w 21"/>
                    <a:gd name="T21" fmla="*/ 27 h 29"/>
                    <a:gd name="T22" fmla="*/ 17 w 21"/>
                    <a:gd name="T23" fmla="*/ 28 h 29"/>
                    <a:gd name="T24" fmla="*/ 18 w 21"/>
                    <a:gd name="T25" fmla="*/ 25 h 29"/>
                    <a:gd name="T26" fmla="*/ 19 w 21"/>
                    <a:gd name="T27" fmla="*/ 24 h 29"/>
                    <a:gd name="T28" fmla="*/ 17 w 21"/>
                    <a:gd name="T29" fmla="*/ 23 h 29"/>
                    <a:gd name="T30" fmla="*/ 19 w 21"/>
                    <a:gd name="T31" fmla="*/ 25 h 29"/>
                    <a:gd name="T32" fmla="*/ 17 w 21"/>
                    <a:gd name="T33" fmla="*/ 24 h 29"/>
                    <a:gd name="T34" fmla="*/ 17 w 21"/>
                    <a:gd name="T35" fmla="*/ 24 h 29"/>
                    <a:gd name="T36" fmla="*/ 20 w 21"/>
                    <a:gd name="T37" fmla="*/ 20 h 29"/>
                    <a:gd name="T38" fmla="*/ 19 w 21"/>
                    <a:gd name="T39" fmla="*/ 20 h 29"/>
                    <a:gd name="T40" fmla="*/ 20 w 21"/>
                    <a:gd name="T41" fmla="*/ 21 h 29"/>
                    <a:gd name="T42" fmla="*/ 11 w 21"/>
                    <a:gd name="T43" fmla="*/ 4 h 29"/>
                    <a:gd name="T44" fmla="*/ 1 w 21"/>
                    <a:gd name="T45" fmla="*/ 9 h 29"/>
                    <a:gd name="T46" fmla="*/ 1 w 21"/>
                    <a:gd name="T47" fmla="*/ 9 h 29"/>
                    <a:gd name="T48" fmla="*/ 1 w 21"/>
                    <a:gd name="T49" fmla="*/ 9 h 29"/>
                    <a:gd name="T50" fmla="*/ 1 w 21"/>
                    <a:gd name="T51" fmla="*/ 9 h 29"/>
                    <a:gd name="T52" fmla="*/ 1 w 21"/>
                    <a:gd name="T53" fmla="*/ 10 h 29"/>
                    <a:gd name="T54" fmla="*/ 0 w 21"/>
                    <a:gd name="T55" fmla="*/ 10 h 29"/>
                    <a:gd name="T56" fmla="*/ 1 w 21"/>
                    <a:gd name="T57" fmla="*/ 11 h 29"/>
                    <a:gd name="T58" fmla="*/ 1 w 21"/>
                    <a:gd name="T59" fmla="*/ 11 h 29"/>
                    <a:gd name="T60" fmla="*/ 1 w 21"/>
                    <a:gd name="T61" fmla="*/ 12 h 29"/>
                    <a:gd name="T62" fmla="*/ 1 w 21"/>
                    <a:gd name="T63" fmla="*/ 12 h 29"/>
                    <a:gd name="T64" fmla="*/ 2 w 21"/>
                    <a:gd name="T65" fmla="*/ 28 h 29"/>
                    <a:gd name="T66" fmla="*/ 6 w 21"/>
                    <a:gd name="T67" fmla="*/ 28 h 29"/>
                    <a:gd name="T68" fmla="*/ 8 w 21"/>
                    <a:gd name="T69" fmla="*/ 28 h 29"/>
                    <a:gd name="T70" fmla="*/ 11 w 21"/>
                    <a:gd name="T71" fmla="*/ 28 h 29"/>
                    <a:gd name="T72" fmla="*/ 15 w 21"/>
                    <a:gd name="T73" fmla="*/ 28 h 29"/>
                    <a:gd name="T74" fmla="*/ 18 w 21"/>
                    <a:gd name="T75" fmla="*/ 27 h 29"/>
                    <a:gd name="T76" fmla="*/ 17 w 21"/>
                    <a:gd name="T77" fmla="*/ 25 h 29"/>
                    <a:gd name="T78" fmla="*/ 16 w 21"/>
                    <a:gd name="T79" fmla="*/ 23 h 29"/>
                    <a:gd name="T80" fmla="*/ 10 w 21"/>
                    <a:gd name="T81" fmla="*/ 21 h 29"/>
                    <a:gd name="T82" fmla="*/ 11 w 21"/>
                    <a:gd name="T83" fmla="*/ 22 h 29"/>
                    <a:gd name="T84" fmla="*/ 16 w 21"/>
                    <a:gd name="T85" fmla="*/ 22 h 29"/>
                    <a:gd name="T86" fmla="*/ 19 w 21"/>
                    <a:gd name="T87" fmla="*/ 22 h 29"/>
                    <a:gd name="T88" fmla="*/ 20 w 21"/>
                    <a:gd name="T89" fmla="*/ 21 h 29"/>
                    <a:gd name="T90" fmla="*/ 18 w 21"/>
                    <a:gd name="T91" fmla="*/ 20 h 29"/>
                    <a:gd name="T92" fmla="*/ 18 w 21"/>
                    <a:gd name="T93" fmla="*/ 19 h 29"/>
                    <a:gd name="T94" fmla="*/ 17 w 21"/>
                    <a:gd name="T95" fmla="*/ 19 h 29"/>
                    <a:gd name="T96" fmla="*/ 18 w 21"/>
                    <a:gd name="T97" fmla="*/ 20 h 29"/>
                    <a:gd name="T98" fmla="*/ 20 w 21"/>
                    <a:gd name="T99" fmla="*/ 20 h 29"/>
                    <a:gd name="T100" fmla="*/ 21 w 21"/>
                    <a:gd name="T101" fmla="*/ 20 h 29"/>
                    <a:gd name="T102" fmla="*/ 19 w 21"/>
                    <a:gd name="T103" fmla="*/ 21 h 29"/>
                    <a:gd name="T104" fmla="*/ 16 w 21"/>
                    <a:gd name="T105" fmla="*/ 22 h 29"/>
                    <a:gd name="T106" fmla="*/ 15 w 21"/>
                    <a:gd name="T107" fmla="*/ 23 h 29"/>
                    <a:gd name="T108" fmla="*/ 20 w 21"/>
                    <a:gd name="T109" fmla="*/ 23 h 29"/>
                    <a:gd name="T110" fmla="*/ 20 w 21"/>
                    <a:gd name="T111" fmla="*/ 23 h 29"/>
                    <a:gd name="T112" fmla="*/ 19 w 21"/>
                    <a:gd name="T113" fmla="*/ 22 h 29"/>
                    <a:gd name="T114" fmla="*/ 20 w 21"/>
                    <a:gd name="T115" fmla="*/ 23 h 29"/>
                    <a:gd name="T116" fmla="*/ 18 w 21"/>
                    <a:gd name="T117" fmla="*/ 22 h 29"/>
                    <a:gd name="T118" fmla="*/ 20 w 21"/>
                    <a:gd name="T11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 h="29">
                      <a:moveTo>
                        <a:pt x="17" y="22"/>
                      </a:moveTo>
                      <a:cubicBezTo>
                        <a:pt x="17" y="22"/>
                        <a:pt x="17" y="22"/>
                        <a:pt x="17" y="22"/>
                      </a:cubicBezTo>
                      <a:cubicBezTo>
                        <a:pt x="17" y="22"/>
                        <a:pt x="17" y="22"/>
                        <a:pt x="17" y="22"/>
                      </a:cubicBezTo>
                      <a:cubicBezTo>
                        <a:pt x="17" y="22"/>
                        <a:pt x="17" y="22"/>
                        <a:pt x="17" y="22"/>
                      </a:cubicBezTo>
                      <a:cubicBezTo>
                        <a:pt x="17" y="22"/>
                        <a:pt x="17"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lose/>
                      <a:moveTo>
                        <a:pt x="17" y="23"/>
                      </a:move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lose/>
                      <a:moveTo>
                        <a:pt x="18" y="24"/>
                      </a:moveTo>
                      <a:cubicBezTo>
                        <a:pt x="18" y="24"/>
                        <a:pt x="18" y="24"/>
                        <a:pt x="18" y="24"/>
                      </a:cubicBezTo>
                      <a:cubicBezTo>
                        <a:pt x="18" y="24"/>
                        <a:pt x="18" y="24"/>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4"/>
                        <a:pt x="18" y="24"/>
                      </a:cubicBezTo>
                      <a:cubicBezTo>
                        <a:pt x="18" y="24"/>
                        <a:pt x="18" y="24"/>
                        <a:pt x="18" y="24"/>
                      </a:cubicBezTo>
                      <a:close/>
                      <a:moveTo>
                        <a:pt x="19" y="23"/>
                      </a:move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2"/>
                        <a:pt x="19" y="22"/>
                      </a:cubicBezTo>
                      <a:cubicBezTo>
                        <a:pt x="19" y="22"/>
                        <a:pt x="19" y="22"/>
                        <a:pt x="19" y="22"/>
                      </a:cubicBezTo>
                      <a:cubicBezTo>
                        <a:pt x="19"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7" y="22"/>
                      </a:cubicBezTo>
                      <a:cubicBezTo>
                        <a:pt x="17" y="22"/>
                        <a:pt x="17" y="22"/>
                        <a:pt x="17" y="22"/>
                      </a:cubicBezTo>
                      <a:cubicBezTo>
                        <a:pt x="17" y="22"/>
                        <a:pt x="17" y="22"/>
                        <a:pt x="17" y="23"/>
                      </a:cubicBezTo>
                      <a:cubicBezTo>
                        <a:pt x="17" y="23"/>
                        <a:pt x="17" y="23"/>
                        <a:pt x="17" y="23"/>
                      </a:cubicBezTo>
                      <a:cubicBezTo>
                        <a:pt x="18" y="23"/>
                        <a:pt x="18" y="23"/>
                        <a:pt x="18" y="23"/>
                      </a:cubicBezTo>
                      <a:cubicBezTo>
                        <a:pt x="18" y="23"/>
                        <a:pt x="18" y="23"/>
                        <a:pt x="18" y="23"/>
                      </a:cubicBezTo>
                      <a:cubicBezTo>
                        <a:pt x="18" y="23"/>
                        <a:pt x="18" y="23"/>
                        <a:pt x="18" y="23"/>
                      </a:cubicBezTo>
                      <a:cubicBezTo>
                        <a:pt x="18"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4"/>
                      </a:cubicBezTo>
                      <a:cubicBezTo>
                        <a:pt x="19" y="24"/>
                        <a:pt x="19" y="24"/>
                        <a:pt x="19" y="24"/>
                      </a:cubicBezTo>
                      <a:cubicBezTo>
                        <a:pt x="20" y="24"/>
                        <a:pt x="20" y="24"/>
                        <a:pt x="20" y="24"/>
                      </a:cubicBezTo>
                      <a:cubicBezTo>
                        <a:pt x="20" y="23"/>
                        <a:pt x="20" y="23"/>
                        <a:pt x="20" y="23"/>
                      </a:cubicBezTo>
                      <a:cubicBezTo>
                        <a:pt x="20" y="23"/>
                        <a:pt x="20" y="23"/>
                        <a:pt x="20" y="23"/>
                      </a:cubicBezTo>
                      <a:cubicBezTo>
                        <a:pt x="20" y="23"/>
                        <a:pt x="20" y="23"/>
                        <a:pt x="19" y="23"/>
                      </a:cubicBezTo>
                      <a:close/>
                      <a:moveTo>
                        <a:pt x="16" y="23"/>
                      </a:moveTo>
                      <a:cubicBezTo>
                        <a:pt x="16" y="23"/>
                        <a:pt x="16" y="23"/>
                        <a:pt x="16" y="23"/>
                      </a:cubicBezTo>
                      <a:cubicBezTo>
                        <a:pt x="16" y="23"/>
                        <a:pt x="16" y="23"/>
                        <a:pt x="17" y="23"/>
                      </a:cubicBezTo>
                      <a:cubicBezTo>
                        <a:pt x="17" y="23"/>
                        <a:pt x="17" y="23"/>
                        <a:pt x="17" y="23"/>
                      </a:cubicBezTo>
                      <a:cubicBezTo>
                        <a:pt x="17" y="23"/>
                        <a:pt x="17" y="23"/>
                        <a:pt x="17" y="23"/>
                      </a:cubicBezTo>
                      <a:cubicBezTo>
                        <a:pt x="17" y="23"/>
                        <a:pt x="17"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7" y="27"/>
                        <a:pt x="17" y="27"/>
                        <a:pt x="17" y="27"/>
                      </a:cubicBezTo>
                      <a:cubicBezTo>
                        <a:pt x="17" y="27"/>
                        <a:pt x="17" y="27"/>
                        <a:pt x="17" y="27"/>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7"/>
                      </a:cubicBezTo>
                      <a:cubicBezTo>
                        <a:pt x="17" y="27"/>
                        <a:pt x="17" y="27"/>
                        <a:pt x="17" y="27"/>
                      </a:cubicBezTo>
                      <a:cubicBezTo>
                        <a:pt x="17" y="27"/>
                        <a:pt x="17" y="27"/>
                        <a:pt x="17" y="27"/>
                      </a:cubicBezTo>
                      <a:close/>
                      <a:moveTo>
                        <a:pt x="18" y="25"/>
                      </a:move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lose/>
                      <a:moveTo>
                        <a:pt x="19" y="24"/>
                      </a:moveTo>
                      <a:cubicBezTo>
                        <a:pt x="19" y="24"/>
                        <a:pt x="19" y="24"/>
                        <a:pt x="19" y="24"/>
                      </a:cubicBezTo>
                      <a:cubicBezTo>
                        <a:pt x="19" y="24"/>
                        <a:pt x="19" y="24"/>
                        <a:pt x="19" y="24"/>
                      </a:cubicBezTo>
                      <a:cubicBezTo>
                        <a:pt x="18" y="24"/>
                        <a:pt x="18" y="23"/>
                        <a:pt x="18" y="23"/>
                      </a:cubicBezTo>
                      <a:cubicBezTo>
                        <a:pt x="18"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6" y="23"/>
                        <a:pt x="16" y="23"/>
                        <a:pt x="16" y="23"/>
                      </a:cubicBezTo>
                      <a:cubicBezTo>
                        <a:pt x="16" y="23"/>
                        <a:pt x="17" y="23"/>
                        <a:pt x="17" y="23"/>
                      </a:cubicBezTo>
                      <a:cubicBezTo>
                        <a:pt x="17" y="23"/>
                        <a:pt x="17" y="23"/>
                        <a:pt x="17" y="23"/>
                      </a:cubicBezTo>
                      <a:cubicBezTo>
                        <a:pt x="17" y="23"/>
                        <a:pt x="17" y="23"/>
                        <a:pt x="17" y="23"/>
                      </a:cubicBezTo>
                      <a:cubicBezTo>
                        <a:pt x="17" y="23"/>
                        <a:pt x="18" y="23"/>
                        <a:pt x="18" y="24"/>
                      </a:cubicBezTo>
                      <a:cubicBezTo>
                        <a:pt x="18" y="24"/>
                        <a:pt x="18" y="24"/>
                        <a:pt x="18" y="24"/>
                      </a:cubicBezTo>
                      <a:cubicBezTo>
                        <a:pt x="18" y="24"/>
                        <a:pt x="18" y="24"/>
                        <a:pt x="18" y="24"/>
                      </a:cubicBezTo>
                      <a:cubicBezTo>
                        <a:pt x="18" y="24"/>
                        <a:pt x="18" y="24"/>
                        <a:pt x="18" y="24"/>
                      </a:cubicBezTo>
                      <a:cubicBezTo>
                        <a:pt x="18" y="24"/>
                        <a:pt x="18" y="24"/>
                        <a:pt x="18" y="24"/>
                      </a:cubicBezTo>
                      <a:cubicBezTo>
                        <a:pt x="18" y="24"/>
                        <a:pt x="18" y="24"/>
                        <a:pt x="19" y="24"/>
                      </a:cubicBezTo>
                      <a:cubicBezTo>
                        <a:pt x="19" y="24"/>
                        <a:pt x="19" y="24"/>
                        <a:pt x="19" y="24"/>
                      </a:cubicBezTo>
                      <a:cubicBezTo>
                        <a:pt x="19" y="24"/>
                        <a:pt x="19" y="24"/>
                        <a:pt x="19" y="24"/>
                      </a:cubicBezTo>
                      <a:cubicBezTo>
                        <a:pt x="19" y="24"/>
                        <a:pt x="19" y="24"/>
                        <a:pt x="19" y="25"/>
                      </a:cubicBezTo>
                      <a:cubicBezTo>
                        <a:pt x="19" y="25"/>
                        <a:pt x="19" y="25"/>
                        <a:pt x="19" y="25"/>
                      </a:cubicBezTo>
                      <a:cubicBezTo>
                        <a:pt x="19" y="25"/>
                        <a:pt x="19" y="25"/>
                        <a:pt x="19" y="25"/>
                      </a:cubicBezTo>
                      <a:cubicBezTo>
                        <a:pt x="20" y="25"/>
                        <a:pt x="19" y="25"/>
                        <a:pt x="20" y="25"/>
                      </a:cubicBezTo>
                      <a:cubicBezTo>
                        <a:pt x="20" y="25"/>
                        <a:pt x="20" y="25"/>
                        <a:pt x="20" y="25"/>
                      </a:cubicBezTo>
                      <a:cubicBezTo>
                        <a:pt x="20" y="25"/>
                        <a:pt x="20" y="25"/>
                        <a:pt x="20" y="24"/>
                      </a:cubicBezTo>
                      <a:cubicBezTo>
                        <a:pt x="19" y="24"/>
                        <a:pt x="19" y="24"/>
                        <a:pt x="19" y="24"/>
                      </a:cubicBezTo>
                      <a:close/>
                      <a:moveTo>
                        <a:pt x="17" y="24"/>
                      </a:move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lose/>
                      <a:moveTo>
                        <a:pt x="20" y="20"/>
                      </a:moveTo>
                      <a:cubicBezTo>
                        <a:pt x="20" y="20"/>
                        <a:pt x="20" y="20"/>
                        <a:pt x="20" y="20"/>
                      </a:cubicBezTo>
                      <a:cubicBezTo>
                        <a:pt x="20" y="20"/>
                        <a:pt x="20" y="20"/>
                        <a:pt x="20" y="20"/>
                      </a:cubicBezTo>
                      <a:cubicBezTo>
                        <a:pt x="20" y="20"/>
                        <a:pt x="20" y="20"/>
                        <a:pt x="20" y="20"/>
                      </a:cubicBezTo>
                      <a:cubicBezTo>
                        <a:pt x="20" y="20"/>
                        <a:pt x="20" y="20"/>
                        <a:pt x="20" y="20"/>
                      </a:cubicBezTo>
                      <a:cubicBezTo>
                        <a:pt x="20" y="20"/>
                        <a:pt x="20"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0" y="20"/>
                      </a:cubicBezTo>
                      <a:cubicBezTo>
                        <a:pt x="20" y="20"/>
                        <a:pt x="20" y="20"/>
                        <a:pt x="20" y="21"/>
                      </a:cubicBezTo>
                      <a:cubicBezTo>
                        <a:pt x="20" y="21"/>
                        <a:pt x="20" y="21"/>
                        <a:pt x="20" y="21"/>
                      </a:cubicBezTo>
                      <a:cubicBezTo>
                        <a:pt x="20" y="21"/>
                        <a:pt x="20" y="20"/>
                        <a:pt x="20" y="20"/>
                      </a:cubicBezTo>
                      <a:close/>
                      <a:moveTo>
                        <a:pt x="21" y="20"/>
                      </a:moveTo>
                      <a:cubicBezTo>
                        <a:pt x="21" y="20"/>
                        <a:pt x="21" y="20"/>
                        <a:pt x="21" y="20"/>
                      </a:cubicBezTo>
                      <a:cubicBezTo>
                        <a:pt x="21" y="20"/>
                        <a:pt x="21" y="20"/>
                        <a:pt x="21" y="20"/>
                      </a:cubicBezTo>
                      <a:cubicBezTo>
                        <a:pt x="15" y="13"/>
                        <a:pt x="15" y="13"/>
                        <a:pt x="15" y="13"/>
                      </a:cubicBezTo>
                      <a:cubicBezTo>
                        <a:pt x="15" y="12"/>
                        <a:pt x="15" y="12"/>
                        <a:pt x="15" y="12"/>
                      </a:cubicBezTo>
                      <a:cubicBezTo>
                        <a:pt x="13" y="12"/>
                        <a:pt x="13" y="12"/>
                        <a:pt x="13" y="12"/>
                      </a:cubicBezTo>
                      <a:cubicBezTo>
                        <a:pt x="13" y="5"/>
                        <a:pt x="13" y="5"/>
                        <a:pt x="13" y="5"/>
                      </a:cubicBezTo>
                      <a:cubicBezTo>
                        <a:pt x="11" y="5"/>
                        <a:pt x="11" y="5"/>
                        <a:pt x="11" y="5"/>
                      </a:cubicBezTo>
                      <a:cubicBezTo>
                        <a:pt x="11" y="4"/>
                        <a:pt x="11" y="4"/>
                        <a:pt x="11" y="4"/>
                      </a:cubicBezTo>
                      <a:cubicBezTo>
                        <a:pt x="9" y="3"/>
                        <a:pt x="9" y="3"/>
                        <a:pt x="9" y="3"/>
                      </a:cubicBezTo>
                      <a:cubicBezTo>
                        <a:pt x="9" y="3"/>
                        <a:pt x="9" y="3"/>
                        <a:pt x="9" y="3"/>
                      </a:cubicBezTo>
                      <a:cubicBezTo>
                        <a:pt x="9" y="2"/>
                        <a:pt x="9" y="2"/>
                        <a:pt x="9" y="2"/>
                      </a:cubicBezTo>
                      <a:cubicBezTo>
                        <a:pt x="10" y="1"/>
                        <a:pt x="10" y="1"/>
                        <a:pt x="10" y="1"/>
                      </a:cubicBezTo>
                      <a:cubicBezTo>
                        <a:pt x="1" y="0"/>
                        <a:pt x="1" y="0"/>
                        <a:pt x="1" y="0"/>
                      </a:cubicBezTo>
                      <a:cubicBezTo>
                        <a:pt x="1" y="8"/>
                        <a:pt x="1" y="8"/>
                        <a:pt x="1" y="8"/>
                      </a:cubicBezTo>
                      <a:cubicBezTo>
                        <a:pt x="1" y="8"/>
                        <a:pt x="1" y="8"/>
                        <a:pt x="1" y="8"/>
                      </a:cubicBezTo>
                      <a:cubicBezTo>
                        <a:pt x="1" y="8"/>
                        <a:pt x="1" y="8"/>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0" y="10"/>
                      </a:cubicBezTo>
                      <a:cubicBezTo>
                        <a:pt x="0" y="10"/>
                        <a:pt x="0" y="10"/>
                        <a:pt x="0" y="10"/>
                      </a:cubicBezTo>
                      <a:cubicBezTo>
                        <a:pt x="0" y="10"/>
                        <a:pt x="0" y="10"/>
                        <a:pt x="0" y="10"/>
                      </a:cubicBezTo>
                      <a:cubicBezTo>
                        <a:pt x="0" y="10"/>
                        <a:pt x="0" y="10"/>
                        <a:pt x="0" y="10"/>
                      </a:cubicBezTo>
                      <a:cubicBezTo>
                        <a:pt x="1" y="10"/>
                        <a:pt x="1" y="10"/>
                        <a:pt x="1" y="10"/>
                      </a:cubicBezTo>
                      <a:cubicBezTo>
                        <a:pt x="1" y="10"/>
                        <a:pt x="1" y="10"/>
                        <a:pt x="1" y="10"/>
                      </a:cubicBezTo>
                      <a:cubicBezTo>
                        <a:pt x="1" y="10"/>
                        <a:pt x="1" y="10"/>
                        <a:pt x="1" y="10"/>
                      </a:cubicBezTo>
                      <a:cubicBezTo>
                        <a:pt x="1" y="10"/>
                        <a:pt x="1" y="11"/>
                        <a:pt x="0" y="11"/>
                      </a:cubicBezTo>
                      <a:cubicBezTo>
                        <a:pt x="0" y="11"/>
                        <a:pt x="0" y="11"/>
                        <a:pt x="0"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0" y="11"/>
                        <a:pt x="0" y="11"/>
                        <a:pt x="0" y="11"/>
                      </a:cubicBezTo>
                      <a:cubicBezTo>
                        <a:pt x="0" y="11"/>
                        <a:pt x="0" y="11"/>
                        <a:pt x="0" y="11"/>
                      </a:cubicBezTo>
                      <a:cubicBezTo>
                        <a:pt x="0" y="11"/>
                        <a:pt x="1" y="11"/>
                        <a:pt x="1" y="11"/>
                      </a:cubicBezTo>
                      <a:cubicBezTo>
                        <a:pt x="1" y="11"/>
                        <a:pt x="1" y="11"/>
                        <a:pt x="1" y="11"/>
                      </a:cubicBezTo>
                      <a:cubicBezTo>
                        <a:pt x="1" y="11"/>
                        <a:pt x="1" y="11"/>
                        <a:pt x="1" y="11"/>
                      </a:cubicBezTo>
                      <a:cubicBezTo>
                        <a:pt x="1" y="11"/>
                        <a:pt x="1" y="11"/>
                        <a:pt x="1" y="11"/>
                      </a:cubicBezTo>
                      <a:cubicBezTo>
                        <a:pt x="1" y="11"/>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2" y="12"/>
                        <a:pt x="2" y="12"/>
                      </a:cubicBezTo>
                      <a:cubicBezTo>
                        <a:pt x="2" y="28"/>
                        <a:pt x="2" y="28"/>
                        <a:pt x="2" y="28"/>
                      </a:cubicBezTo>
                      <a:cubicBezTo>
                        <a:pt x="2" y="28"/>
                        <a:pt x="2" y="28"/>
                        <a:pt x="2" y="28"/>
                      </a:cubicBezTo>
                      <a:cubicBezTo>
                        <a:pt x="2" y="28"/>
                        <a:pt x="2" y="28"/>
                        <a:pt x="2" y="28"/>
                      </a:cubicBezTo>
                      <a:cubicBezTo>
                        <a:pt x="2" y="28"/>
                        <a:pt x="2" y="28"/>
                        <a:pt x="2" y="28"/>
                      </a:cubicBezTo>
                      <a:cubicBezTo>
                        <a:pt x="2" y="28"/>
                        <a:pt x="3" y="28"/>
                        <a:pt x="3" y="28"/>
                      </a:cubicBezTo>
                      <a:cubicBezTo>
                        <a:pt x="3" y="28"/>
                        <a:pt x="3" y="28"/>
                        <a:pt x="3" y="28"/>
                      </a:cubicBezTo>
                      <a:cubicBezTo>
                        <a:pt x="4" y="28"/>
                        <a:pt x="4" y="28"/>
                        <a:pt x="4" y="28"/>
                      </a:cubicBezTo>
                      <a:cubicBezTo>
                        <a:pt x="4" y="28"/>
                        <a:pt x="4" y="28"/>
                        <a:pt x="4" y="28"/>
                      </a:cubicBezTo>
                      <a:cubicBezTo>
                        <a:pt x="4" y="28"/>
                        <a:pt x="5" y="28"/>
                        <a:pt x="5" y="28"/>
                      </a:cubicBezTo>
                      <a:cubicBezTo>
                        <a:pt x="5" y="28"/>
                        <a:pt x="5" y="28"/>
                        <a:pt x="5" y="28"/>
                      </a:cubicBezTo>
                      <a:cubicBezTo>
                        <a:pt x="5" y="28"/>
                        <a:pt x="5" y="28"/>
                        <a:pt x="6" y="28"/>
                      </a:cubicBezTo>
                      <a:cubicBezTo>
                        <a:pt x="6" y="28"/>
                        <a:pt x="6" y="28"/>
                        <a:pt x="6" y="28"/>
                      </a:cubicBezTo>
                      <a:cubicBezTo>
                        <a:pt x="6" y="28"/>
                        <a:pt x="6" y="28"/>
                        <a:pt x="6" y="28"/>
                      </a:cubicBezTo>
                      <a:cubicBezTo>
                        <a:pt x="6" y="28"/>
                        <a:pt x="6" y="28"/>
                        <a:pt x="7"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9" y="28"/>
                        <a:pt x="9" y="28"/>
                        <a:pt x="9" y="28"/>
                      </a:cubicBezTo>
                      <a:cubicBezTo>
                        <a:pt x="9" y="28"/>
                        <a:pt x="9" y="28"/>
                        <a:pt x="10" y="28"/>
                      </a:cubicBezTo>
                      <a:cubicBezTo>
                        <a:pt x="10" y="28"/>
                        <a:pt x="10" y="28"/>
                        <a:pt x="10" y="28"/>
                      </a:cubicBezTo>
                      <a:cubicBezTo>
                        <a:pt x="10" y="28"/>
                        <a:pt x="10" y="28"/>
                        <a:pt x="10" y="28"/>
                      </a:cubicBezTo>
                      <a:cubicBezTo>
                        <a:pt x="10" y="28"/>
                        <a:pt x="11" y="28"/>
                        <a:pt x="11" y="28"/>
                      </a:cubicBezTo>
                      <a:cubicBezTo>
                        <a:pt x="11" y="28"/>
                        <a:pt x="11" y="28"/>
                        <a:pt x="11" y="28"/>
                      </a:cubicBezTo>
                      <a:cubicBezTo>
                        <a:pt x="11" y="28"/>
                        <a:pt x="11" y="28"/>
                        <a:pt x="11" y="28"/>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4" y="29"/>
                      </a:cubicBezTo>
                      <a:cubicBezTo>
                        <a:pt x="14" y="28"/>
                        <a:pt x="14" y="28"/>
                        <a:pt x="15" y="28"/>
                      </a:cubicBezTo>
                      <a:cubicBezTo>
                        <a:pt x="15" y="28"/>
                        <a:pt x="15" y="28"/>
                        <a:pt x="15" y="28"/>
                      </a:cubicBezTo>
                      <a:cubicBezTo>
                        <a:pt x="15" y="28"/>
                        <a:pt x="15" y="28"/>
                        <a:pt x="15" y="28"/>
                      </a:cubicBezTo>
                      <a:cubicBezTo>
                        <a:pt x="15" y="28"/>
                        <a:pt x="15" y="28"/>
                        <a:pt x="15" y="28"/>
                      </a:cubicBezTo>
                      <a:cubicBezTo>
                        <a:pt x="15" y="28"/>
                        <a:pt x="15" y="27"/>
                        <a:pt x="16" y="27"/>
                      </a:cubicBezTo>
                      <a:cubicBezTo>
                        <a:pt x="16" y="27"/>
                        <a:pt x="16" y="27"/>
                        <a:pt x="16" y="27"/>
                      </a:cubicBezTo>
                      <a:cubicBezTo>
                        <a:pt x="16" y="27"/>
                        <a:pt x="16" y="27"/>
                        <a:pt x="16" y="27"/>
                      </a:cubicBezTo>
                      <a:cubicBezTo>
                        <a:pt x="16" y="27"/>
                        <a:pt x="17" y="27"/>
                        <a:pt x="17" y="27"/>
                      </a:cubicBezTo>
                      <a:cubicBezTo>
                        <a:pt x="17" y="27"/>
                        <a:pt x="17" y="27"/>
                        <a:pt x="17" y="27"/>
                      </a:cubicBezTo>
                      <a:cubicBezTo>
                        <a:pt x="17" y="27"/>
                        <a:pt x="17"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6"/>
                        <a:pt x="18" y="26"/>
                        <a:pt x="18" y="26"/>
                      </a:cubicBezTo>
                      <a:cubicBezTo>
                        <a:pt x="18" y="26"/>
                        <a:pt x="18" y="26"/>
                        <a:pt x="18" y="26"/>
                      </a:cubicBezTo>
                      <a:cubicBezTo>
                        <a:pt x="18" y="26"/>
                        <a:pt x="18" y="26"/>
                        <a:pt x="18" y="26"/>
                      </a:cubicBezTo>
                      <a:cubicBezTo>
                        <a:pt x="18" y="26"/>
                        <a:pt x="18" y="26"/>
                        <a:pt x="18" y="26"/>
                      </a:cubicBezTo>
                      <a:cubicBezTo>
                        <a:pt x="18" y="25"/>
                        <a:pt x="18" y="25"/>
                        <a:pt x="18" y="25"/>
                      </a:cubicBezTo>
                      <a:cubicBezTo>
                        <a:pt x="18" y="25"/>
                        <a:pt x="17" y="25"/>
                        <a:pt x="17" y="25"/>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6" y="24"/>
                        <a:pt x="16" y="24"/>
                      </a:cubicBezTo>
                      <a:cubicBezTo>
                        <a:pt x="16" y="23"/>
                        <a:pt x="16" y="23"/>
                        <a:pt x="16" y="23"/>
                      </a:cubicBezTo>
                      <a:cubicBezTo>
                        <a:pt x="16" y="23"/>
                        <a:pt x="16" y="23"/>
                        <a:pt x="16" y="23"/>
                      </a:cubicBezTo>
                      <a:cubicBezTo>
                        <a:pt x="16" y="23"/>
                        <a:pt x="16" y="23"/>
                        <a:pt x="16" y="23"/>
                      </a:cubicBezTo>
                      <a:cubicBezTo>
                        <a:pt x="15" y="23"/>
                        <a:pt x="15" y="23"/>
                        <a:pt x="15" y="23"/>
                      </a:cubicBezTo>
                      <a:cubicBezTo>
                        <a:pt x="14" y="23"/>
                        <a:pt x="14" y="22"/>
                        <a:pt x="14" y="22"/>
                      </a:cubicBezTo>
                      <a:cubicBezTo>
                        <a:pt x="14" y="22"/>
                        <a:pt x="13" y="22"/>
                        <a:pt x="13" y="22"/>
                      </a:cubicBezTo>
                      <a:cubicBezTo>
                        <a:pt x="13" y="22"/>
                        <a:pt x="13" y="22"/>
                        <a:pt x="13" y="22"/>
                      </a:cubicBezTo>
                      <a:cubicBezTo>
                        <a:pt x="13" y="22"/>
                        <a:pt x="13" y="22"/>
                        <a:pt x="13" y="22"/>
                      </a:cubicBezTo>
                      <a:cubicBezTo>
                        <a:pt x="13" y="22"/>
                        <a:pt x="13" y="22"/>
                        <a:pt x="13" y="22"/>
                      </a:cubicBezTo>
                      <a:cubicBezTo>
                        <a:pt x="12" y="22"/>
                        <a:pt x="12" y="22"/>
                        <a:pt x="12" y="22"/>
                      </a:cubicBezTo>
                      <a:cubicBezTo>
                        <a:pt x="12" y="22"/>
                        <a:pt x="11" y="22"/>
                        <a:pt x="11" y="22"/>
                      </a:cubicBezTo>
                      <a:cubicBezTo>
                        <a:pt x="11" y="22"/>
                        <a:pt x="11" y="22"/>
                        <a:pt x="11" y="21"/>
                      </a:cubicBezTo>
                      <a:cubicBezTo>
                        <a:pt x="11" y="21"/>
                        <a:pt x="10" y="21"/>
                        <a:pt x="10" y="21"/>
                      </a:cubicBezTo>
                      <a:cubicBezTo>
                        <a:pt x="10" y="21"/>
                        <a:pt x="10" y="21"/>
                        <a:pt x="10" y="21"/>
                      </a:cubicBezTo>
                      <a:cubicBezTo>
                        <a:pt x="10" y="21"/>
                        <a:pt x="10" y="21"/>
                        <a:pt x="10" y="21"/>
                      </a:cubicBezTo>
                      <a:cubicBezTo>
                        <a:pt x="9" y="22"/>
                        <a:pt x="9" y="21"/>
                        <a:pt x="9" y="21"/>
                      </a:cubicBezTo>
                      <a:cubicBezTo>
                        <a:pt x="9" y="21"/>
                        <a:pt x="9" y="21"/>
                        <a:pt x="9" y="21"/>
                      </a:cubicBezTo>
                      <a:cubicBezTo>
                        <a:pt x="10" y="21"/>
                        <a:pt x="10" y="21"/>
                        <a:pt x="10" y="21"/>
                      </a:cubicBezTo>
                      <a:cubicBezTo>
                        <a:pt x="10" y="21"/>
                        <a:pt x="10" y="21"/>
                        <a:pt x="10" y="21"/>
                      </a:cubicBezTo>
                      <a:cubicBezTo>
                        <a:pt x="10" y="21"/>
                        <a:pt x="10" y="21"/>
                        <a:pt x="10" y="21"/>
                      </a:cubicBezTo>
                      <a:cubicBezTo>
                        <a:pt x="11" y="21"/>
                        <a:pt x="11" y="21"/>
                        <a:pt x="11" y="21"/>
                      </a:cubicBezTo>
                      <a:cubicBezTo>
                        <a:pt x="11" y="21"/>
                        <a:pt x="11" y="21"/>
                        <a:pt x="11" y="22"/>
                      </a:cubicBezTo>
                      <a:cubicBezTo>
                        <a:pt x="11" y="22"/>
                        <a:pt x="11" y="22"/>
                        <a:pt x="11" y="22"/>
                      </a:cubicBezTo>
                      <a:cubicBezTo>
                        <a:pt x="11" y="22"/>
                        <a:pt x="12" y="22"/>
                        <a:pt x="12" y="22"/>
                      </a:cubicBezTo>
                      <a:cubicBezTo>
                        <a:pt x="12" y="22"/>
                        <a:pt x="12" y="22"/>
                        <a:pt x="12" y="22"/>
                      </a:cubicBezTo>
                      <a:cubicBezTo>
                        <a:pt x="13" y="22"/>
                        <a:pt x="13" y="22"/>
                        <a:pt x="13" y="22"/>
                      </a:cubicBezTo>
                      <a:cubicBezTo>
                        <a:pt x="13" y="22"/>
                        <a:pt x="13" y="22"/>
                        <a:pt x="13" y="22"/>
                      </a:cubicBezTo>
                      <a:cubicBezTo>
                        <a:pt x="13" y="22"/>
                        <a:pt x="14" y="22"/>
                        <a:pt x="14" y="22"/>
                      </a:cubicBezTo>
                      <a:cubicBezTo>
                        <a:pt x="14" y="22"/>
                        <a:pt x="14" y="22"/>
                        <a:pt x="14" y="22"/>
                      </a:cubicBezTo>
                      <a:cubicBezTo>
                        <a:pt x="14" y="22"/>
                        <a:pt x="14" y="22"/>
                        <a:pt x="15" y="22"/>
                      </a:cubicBezTo>
                      <a:cubicBezTo>
                        <a:pt x="15" y="22"/>
                        <a:pt x="15" y="22"/>
                        <a:pt x="15" y="22"/>
                      </a:cubicBezTo>
                      <a:cubicBezTo>
                        <a:pt x="15" y="22"/>
                        <a:pt x="16" y="22"/>
                        <a:pt x="16" y="22"/>
                      </a:cubicBezTo>
                      <a:cubicBezTo>
                        <a:pt x="16" y="22"/>
                        <a:pt x="16" y="22"/>
                        <a:pt x="16" y="22"/>
                      </a:cubicBezTo>
                      <a:cubicBezTo>
                        <a:pt x="16" y="22"/>
                        <a:pt x="16"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8" y="22"/>
                        <a:pt x="18" y="22"/>
                        <a:pt x="18" y="22"/>
                      </a:cubicBezTo>
                      <a:cubicBezTo>
                        <a:pt x="18" y="22"/>
                        <a:pt x="18" y="22"/>
                        <a:pt x="18" y="22"/>
                      </a:cubicBezTo>
                      <a:cubicBezTo>
                        <a:pt x="18" y="21"/>
                        <a:pt x="18" y="22"/>
                        <a:pt x="18" y="22"/>
                      </a:cubicBezTo>
                      <a:cubicBezTo>
                        <a:pt x="18" y="22"/>
                        <a:pt x="19" y="22"/>
                        <a:pt x="19" y="22"/>
                      </a:cubicBezTo>
                      <a:cubicBezTo>
                        <a:pt x="19" y="22"/>
                        <a:pt x="19" y="22"/>
                        <a:pt x="19" y="22"/>
                      </a:cubicBezTo>
                      <a:cubicBezTo>
                        <a:pt x="19" y="21"/>
                        <a:pt x="19" y="21"/>
                        <a:pt x="19" y="21"/>
                      </a:cubicBezTo>
                      <a:cubicBezTo>
                        <a:pt x="19" y="21"/>
                        <a:pt x="19" y="22"/>
                        <a:pt x="19" y="22"/>
                      </a:cubicBezTo>
                      <a:cubicBezTo>
                        <a:pt x="19" y="22"/>
                        <a:pt x="19"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8" y="20"/>
                        <a:pt x="18" y="20"/>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8" y="19"/>
                        <a:pt x="18" y="20"/>
                        <a:pt x="18" y="20"/>
                      </a:cubicBezTo>
                      <a:cubicBezTo>
                        <a:pt x="18" y="20"/>
                        <a:pt x="18" y="20"/>
                        <a:pt x="18" y="20"/>
                      </a:cubicBezTo>
                      <a:cubicBezTo>
                        <a:pt x="18" y="20"/>
                        <a:pt x="18" y="19"/>
                        <a:pt x="18" y="19"/>
                      </a:cubicBezTo>
                      <a:cubicBezTo>
                        <a:pt x="18" y="19"/>
                        <a:pt x="18" y="19"/>
                        <a:pt x="18" y="19"/>
                      </a:cubicBezTo>
                      <a:cubicBezTo>
                        <a:pt x="18" y="19"/>
                        <a:pt x="18" y="19"/>
                        <a:pt x="18" y="19"/>
                      </a:cubicBezTo>
                      <a:cubicBezTo>
                        <a:pt x="18"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lose/>
                      <a:moveTo>
                        <a:pt x="19" y="21"/>
                      </a:moveTo>
                      <a:cubicBezTo>
                        <a:pt x="19" y="21"/>
                        <a:pt x="19" y="21"/>
                        <a:pt x="19" y="21"/>
                      </a:cubicBezTo>
                      <a:cubicBezTo>
                        <a:pt x="19" y="21"/>
                        <a:pt x="19" y="21"/>
                        <a:pt x="19" y="21"/>
                      </a:cubicBezTo>
                      <a:cubicBezTo>
                        <a:pt x="19"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lose/>
                      <a:moveTo>
                        <a:pt x="16" y="22"/>
                      </a:move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lose/>
                      <a:moveTo>
                        <a:pt x="16" y="23"/>
                      </a:moveTo>
                      <a:cubicBezTo>
                        <a:pt x="16" y="23"/>
                        <a:pt x="16" y="23"/>
                        <a:pt x="16"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6" y="23"/>
                        <a:pt x="16" y="23"/>
                      </a:cubicBezTo>
                      <a:cubicBezTo>
                        <a:pt x="16" y="23"/>
                        <a:pt x="16" y="23"/>
                        <a:pt x="16" y="23"/>
                      </a:cubicBezTo>
                      <a:cubicBezTo>
                        <a:pt x="16" y="23"/>
                        <a:pt x="16" y="23"/>
                        <a:pt x="16" y="23"/>
                      </a:cubicBezTo>
                      <a:close/>
                      <a:moveTo>
                        <a:pt x="20" y="23"/>
                      </a:move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20" y="23"/>
                      </a:moveTo>
                      <a:cubicBezTo>
                        <a:pt x="20" y="23"/>
                        <a:pt x="20" y="22"/>
                        <a:pt x="20" y="22"/>
                      </a:cubicBezTo>
                      <a:cubicBezTo>
                        <a:pt x="20" y="22"/>
                        <a:pt x="20" y="22"/>
                        <a:pt x="20"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3"/>
                        <a:pt x="19" y="23"/>
                      </a:cubicBezTo>
                      <a:cubicBezTo>
                        <a:pt x="19" y="23"/>
                        <a:pt x="19" y="23"/>
                        <a:pt x="19" y="23"/>
                      </a:cubicBezTo>
                      <a:cubicBezTo>
                        <a:pt x="19" y="23"/>
                        <a:pt x="19"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18" y="22"/>
                      </a:moveTo>
                      <a:cubicBezTo>
                        <a:pt x="18" y="22"/>
                        <a:pt x="18" y="22"/>
                        <a:pt x="18" y="22"/>
                      </a:cubicBezTo>
                      <a:cubicBezTo>
                        <a:pt x="18" y="22"/>
                        <a:pt x="18" y="22"/>
                        <a:pt x="17" y="22"/>
                      </a:cubicBezTo>
                      <a:cubicBezTo>
                        <a:pt x="17" y="22"/>
                        <a:pt x="17" y="22"/>
                        <a:pt x="17"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lose/>
                      <a:moveTo>
                        <a:pt x="21" y="23"/>
                      </a:moveTo>
                      <a:cubicBezTo>
                        <a:pt x="21" y="23"/>
                        <a:pt x="21" y="23"/>
                        <a:pt x="21" y="23"/>
                      </a:cubicBezTo>
                      <a:cubicBezTo>
                        <a:pt x="21" y="23"/>
                        <a:pt x="21" y="23"/>
                        <a:pt x="21" y="23"/>
                      </a:cubicBezTo>
                      <a:cubicBezTo>
                        <a:pt x="21" y="23"/>
                        <a:pt x="21" y="23"/>
                        <a:pt x="21" y="23"/>
                      </a:cubicBezTo>
                      <a:cubicBezTo>
                        <a:pt x="21" y="23"/>
                        <a:pt x="21" y="23"/>
                        <a:pt x="20" y="23"/>
                      </a:cubicBezTo>
                      <a:cubicBezTo>
                        <a:pt x="20" y="23"/>
                        <a:pt x="20" y="23"/>
                        <a:pt x="20" y="24"/>
                      </a:cubicBezTo>
                      <a:cubicBezTo>
                        <a:pt x="20" y="24"/>
                        <a:pt x="20" y="24"/>
                        <a:pt x="20"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3"/>
                      </a:cubicBezTo>
                      <a:cubicBezTo>
                        <a:pt x="21" y="23"/>
                        <a:pt x="21" y="23"/>
                        <a:pt x="21"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8" name="Freeform 700">
                  <a:extLst>
                    <a:ext uri="{FF2B5EF4-FFF2-40B4-BE49-F238E27FC236}">
                      <a16:creationId xmlns:a16="http://schemas.microsoft.com/office/drawing/2014/main" id="{FEFCCEEA-7C93-101D-C3AB-F87B047EC392}"/>
                    </a:ext>
                  </a:extLst>
                </p:cNvPr>
                <p:cNvSpPr>
                  <a:spLocks noEditPoints="1"/>
                </p:cNvSpPr>
                <p:nvPr/>
              </p:nvSpPr>
              <p:spPr bwMode="auto">
                <a:xfrm>
                  <a:off x="9558338" y="5029200"/>
                  <a:ext cx="96837" cy="46038"/>
                </a:xfrm>
                <a:custGeom>
                  <a:avLst/>
                  <a:gdLst>
                    <a:gd name="T0" fmla="*/ 6 w 23"/>
                    <a:gd name="T1" fmla="*/ 1 h 11"/>
                    <a:gd name="T2" fmla="*/ 6 w 23"/>
                    <a:gd name="T3" fmla="*/ 2 h 11"/>
                    <a:gd name="T4" fmla="*/ 8 w 23"/>
                    <a:gd name="T5" fmla="*/ 0 h 11"/>
                    <a:gd name="T6" fmla="*/ 8 w 23"/>
                    <a:gd name="T7" fmla="*/ 0 h 11"/>
                    <a:gd name="T8" fmla="*/ 9 w 23"/>
                    <a:gd name="T9" fmla="*/ 0 h 11"/>
                    <a:gd name="T10" fmla="*/ 8 w 23"/>
                    <a:gd name="T11" fmla="*/ 0 h 11"/>
                    <a:gd name="T12" fmla="*/ 8 w 23"/>
                    <a:gd name="T13" fmla="*/ 0 h 11"/>
                    <a:gd name="T14" fmla="*/ 20 w 23"/>
                    <a:gd name="T15" fmla="*/ 2 h 11"/>
                    <a:gd name="T16" fmla="*/ 20 w 23"/>
                    <a:gd name="T17" fmla="*/ 2 h 11"/>
                    <a:gd name="T18" fmla="*/ 19 w 23"/>
                    <a:gd name="T19" fmla="*/ 2 h 11"/>
                    <a:gd name="T20" fmla="*/ 20 w 23"/>
                    <a:gd name="T21" fmla="*/ 2 h 11"/>
                    <a:gd name="T22" fmla="*/ 16 w 23"/>
                    <a:gd name="T23" fmla="*/ 7 h 11"/>
                    <a:gd name="T24" fmla="*/ 19 w 23"/>
                    <a:gd name="T25" fmla="*/ 6 h 11"/>
                    <a:gd name="T26" fmla="*/ 20 w 23"/>
                    <a:gd name="T27" fmla="*/ 5 h 11"/>
                    <a:gd name="T28" fmla="*/ 23 w 23"/>
                    <a:gd name="T29" fmla="*/ 2 h 11"/>
                    <a:gd name="T30" fmla="*/ 22 w 23"/>
                    <a:gd name="T31" fmla="*/ 2 h 11"/>
                    <a:gd name="T32" fmla="*/ 21 w 23"/>
                    <a:gd name="T33" fmla="*/ 2 h 11"/>
                    <a:gd name="T34" fmla="*/ 19 w 23"/>
                    <a:gd name="T35" fmla="*/ 5 h 11"/>
                    <a:gd name="T36" fmla="*/ 17 w 23"/>
                    <a:gd name="T37" fmla="*/ 6 h 11"/>
                    <a:gd name="T38" fmla="*/ 16 w 23"/>
                    <a:gd name="T39" fmla="*/ 6 h 11"/>
                    <a:gd name="T40" fmla="*/ 15 w 23"/>
                    <a:gd name="T41" fmla="*/ 5 h 11"/>
                    <a:gd name="T42" fmla="*/ 13 w 23"/>
                    <a:gd name="T43" fmla="*/ 6 h 11"/>
                    <a:gd name="T44" fmla="*/ 12 w 23"/>
                    <a:gd name="T45" fmla="*/ 5 h 11"/>
                    <a:gd name="T46" fmla="*/ 12 w 23"/>
                    <a:gd name="T47" fmla="*/ 4 h 11"/>
                    <a:gd name="T48" fmla="*/ 12 w 23"/>
                    <a:gd name="T49" fmla="*/ 4 h 11"/>
                    <a:gd name="T50" fmla="*/ 13 w 23"/>
                    <a:gd name="T51" fmla="*/ 3 h 11"/>
                    <a:gd name="T52" fmla="*/ 13 w 23"/>
                    <a:gd name="T53" fmla="*/ 2 h 11"/>
                    <a:gd name="T54" fmla="*/ 12 w 23"/>
                    <a:gd name="T55" fmla="*/ 3 h 11"/>
                    <a:gd name="T56" fmla="*/ 12 w 23"/>
                    <a:gd name="T57" fmla="*/ 4 h 11"/>
                    <a:gd name="T58" fmla="*/ 11 w 23"/>
                    <a:gd name="T59" fmla="*/ 5 h 11"/>
                    <a:gd name="T60" fmla="*/ 10 w 23"/>
                    <a:gd name="T61" fmla="*/ 6 h 11"/>
                    <a:gd name="T62" fmla="*/ 10 w 23"/>
                    <a:gd name="T63" fmla="*/ 5 h 11"/>
                    <a:gd name="T64" fmla="*/ 8 w 23"/>
                    <a:gd name="T65" fmla="*/ 6 h 11"/>
                    <a:gd name="T66" fmla="*/ 8 w 23"/>
                    <a:gd name="T67" fmla="*/ 6 h 11"/>
                    <a:gd name="T68" fmla="*/ 7 w 23"/>
                    <a:gd name="T69" fmla="*/ 6 h 11"/>
                    <a:gd name="T70" fmla="*/ 6 w 23"/>
                    <a:gd name="T71" fmla="*/ 6 h 11"/>
                    <a:gd name="T72" fmla="*/ 5 w 23"/>
                    <a:gd name="T73" fmla="*/ 5 h 11"/>
                    <a:gd name="T74" fmla="*/ 4 w 23"/>
                    <a:gd name="T75" fmla="*/ 6 h 11"/>
                    <a:gd name="T76" fmla="*/ 3 w 23"/>
                    <a:gd name="T77" fmla="*/ 6 h 11"/>
                    <a:gd name="T78" fmla="*/ 1 w 23"/>
                    <a:gd name="T79" fmla="*/ 5 h 11"/>
                    <a:gd name="T80" fmla="*/ 0 w 23"/>
                    <a:gd name="T81" fmla="*/ 6 h 11"/>
                    <a:gd name="T82" fmla="*/ 2 w 23"/>
                    <a:gd name="T83" fmla="*/ 8 h 11"/>
                    <a:gd name="T84" fmla="*/ 3 w 23"/>
                    <a:gd name="T85" fmla="*/ 8 h 11"/>
                    <a:gd name="T86" fmla="*/ 3 w 23"/>
                    <a:gd name="T87" fmla="*/ 8 h 11"/>
                    <a:gd name="T88" fmla="*/ 4 w 23"/>
                    <a:gd name="T89" fmla="*/ 9 h 11"/>
                    <a:gd name="T90" fmla="*/ 4 w 23"/>
                    <a:gd name="T91" fmla="*/ 9 h 11"/>
                    <a:gd name="T92" fmla="*/ 5 w 23"/>
                    <a:gd name="T93" fmla="*/ 10 h 11"/>
                    <a:gd name="T94" fmla="*/ 6 w 23"/>
                    <a:gd name="T95" fmla="*/ 10 h 11"/>
                    <a:gd name="T96" fmla="*/ 7 w 23"/>
                    <a:gd name="T97" fmla="*/ 10 h 11"/>
                    <a:gd name="T98" fmla="*/ 9 w 23"/>
                    <a:gd name="T99" fmla="*/ 10 h 11"/>
                    <a:gd name="T100" fmla="*/ 11 w 23"/>
                    <a:gd name="T101" fmla="*/ 11 h 11"/>
                    <a:gd name="T102" fmla="*/ 12 w 23"/>
                    <a:gd name="T103" fmla="*/ 11 h 11"/>
                    <a:gd name="T104" fmla="*/ 13 w 23"/>
                    <a:gd name="T105" fmla="*/ 11 h 11"/>
                    <a:gd name="T106" fmla="*/ 15 w 23"/>
                    <a:gd name="T107" fmla="*/ 11 h 11"/>
                    <a:gd name="T108" fmla="*/ 17 w 23"/>
                    <a:gd name="T10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 h="11">
                      <a:moveTo>
                        <a:pt x="6" y="1"/>
                      </a:move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1"/>
                        <a:pt x="6" y="1"/>
                      </a:cubicBezTo>
                      <a:close/>
                      <a:moveTo>
                        <a:pt x="8" y="0"/>
                      </a:move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lose/>
                      <a:moveTo>
                        <a:pt x="20" y="2"/>
                      </a:move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lose/>
                      <a:moveTo>
                        <a:pt x="16" y="8"/>
                      </a:moveTo>
                      <a:cubicBezTo>
                        <a:pt x="16" y="8"/>
                        <a:pt x="16" y="7"/>
                        <a:pt x="16" y="7"/>
                      </a:cubicBezTo>
                      <a:cubicBezTo>
                        <a:pt x="18" y="7"/>
                        <a:pt x="18" y="7"/>
                        <a:pt x="18" y="7"/>
                      </a:cubicBezTo>
                      <a:cubicBezTo>
                        <a:pt x="18" y="7"/>
                        <a:pt x="18" y="7"/>
                        <a:pt x="18" y="7"/>
                      </a:cubicBezTo>
                      <a:cubicBezTo>
                        <a:pt x="18" y="7"/>
                        <a:pt x="18" y="7"/>
                        <a:pt x="18" y="7"/>
                      </a:cubicBezTo>
                      <a:cubicBezTo>
                        <a:pt x="18" y="7"/>
                        <a:pt x="18" y="7"/>
                        <a:pt x="18" y="7"/>
                      </a:cubicBezTo>
                      <a:cubicBezTo>
                        <a:pt x="18" y="6"/>
                        <a:pt x="18" y="6"/>
                        <a:pt x="18" y="6"/>
                      </a:cubicBezTo>
                      <a:cubicBezTo>
                        <a:pt x="18" y="6"/>
                        <a:pt x="19" y="6"/>
                        <a:pt x="19" y="6"/>
                      </a:cubicBezTo>
                      <a:cubicBezTo>
                        <a:pt x="19" y="6"/>
                        <a:pt x="19" y="6"/>
                        <a:pt x="19" y="6"/>
                      </a:cubicBezTo>
                      <a:cubicBezTo>
                        <a:pt x="20" y="6"/>
                        <a:pt x="20" y="6"/>
                        <a:pt x="20" y="6"/>
                      </a:cubicBezTo>
                      <a:cubicBezTo>
                        <a:pt x="20" y="5"/>
                        <a:pt x="20" y="5"/>
                        <a:pt x="20" y="5"/>
                      </a:cubicBezTo>
                      <a:cubicBezTo>
                        <a:pt x="20" y="5"/>
                        <a:pt x="20" y="5"/>
                        <a:pt x="20" y="5"/>
                      </a:cubicBezTo>
                      <a:cubicBezTo>
                        <a:pt x="20" y="5"/>
                        <a:pt x="20" y="5"/>
                        <a:pt x="20" y="5"/>
                      </a:cubicBezTo>
                      <a:cubicBezTo>
                        <a:pt x="20" y="5"/>
                        <a:pt x="20" y="5"/>
                        <a:pt x="20" y="5"/>
                      </a:cubicBezTo>
                      <a:cubicBezTo>
                        <a:pt x="20" y="4"/>
                        <a:pt x="20" y="4"/>
                        <a:pt x="20" y="4"/>
                      </a:cubicBezTo>
                      <a:cubicBezTo>
                        <a:pt x="21" y="3"/>
                        <a:pt x="21" y="3"/>
                        <a:pt x="21" y="3"/>
                      </a:cubicBezTo>
                      <a:cubicBezTo>
                        <a:pt x="21" y="2"/>
                        <a:pt x="21" y="2"/>
                        <a:pt x="21" y="2"/>
                      </a:cubicBezTo>
                      <a:cubicBezTo>
                        <a:pt x="22" y="2"/>
                        <a:pt x="22" y="2"/>
                        <a:pt x="22" y="2"/>
                      </a:cubicBezTo>
                      <a:cubicBezTo>
                        <a:pt x="22" y="2"/>
                        <a:pt x="22" y="2"/>
                        <a:pt x="23" y="2"/>
                      </a:cubicBezTo>
                      <a:cubicBezTo>
                        <a:pt x="23" y="2"/>
                        <a:pt x="23" y="2"/>
                        <a:pt x="23" y="2"/>
                      </a:cubicBezTo>
                      <a:cubicBezTo>
                        <a:pt x="23" y="2"/>
                        <a:pt x="23" y="2"/>
                        <a:pt x="23" y="2"/>
                      </a:cubicBezTo>
                      <a:cubicBezTo>
                        <a:pt x="23" y="2"/>
                        <a:pt x="23" y="2"/>
                        <a:pt x="23" y="2"/>
                      </a:cubicBezTo>
                      <a:cubicBezTo>
                        <a:pt x="23" y="2"/>
                        <a:pt x="23" y="2"/>
                        <a:pt x="23" y="2"/>
                      </a:cubicBezTo>
                      <a:cubicBezTo>
                        <a:pt x="23" y="2"/>
                        <a:pt x="23" y="2"/>
                        <a:pt x="23" y="2"/>
                      </a:cubicBezTo>
                      <a:cubicBezTo>
                        <a:pt x="22" y="2"/>
                        <a:pt x="22" y="2"/>
                        <a:pt x="22" y="2"/>
                      </a:cubicBez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3"/>
                        <a:pt x="20" y="3"/>
                        <a:pt x="20" y="3"/>
                      </a:cubicBezTo>
                      <a:cubicBezTo>
                        <a:pt x="19" y="3"/>
                        <a:pt x="19" y="4"/>
                        <a:pt x="19" y="4"/>
                      </a:cubicBezTo>
                      <a:cubicBezTo>
                        <a:pt x="19" y="4"/>
                        <a:pt x="19" y="4"/>
                        <a:pt x="19" y="4"/>
                      </a:cubicBezTo>
                      <a:cubicBezTo>
                        <a:pt x="19" y="4"/>
                        <a:pt x="19" y="4"/>
                        <a:pt x="19" y="4"/>
                      </a:cubicBezTo>
                      <a:cubicBezTo>
                        <a:pt x="19" y="4"/>
                        <a:pt x="19" y="5"/>
                        <a:pt x="19" y="5"/>
                      </a:cubicBezTo>
                      <a:cubicBezTo>
                        <a:pt x="19" y="5"/>
                        <a:pt x="19" y="5"/>
                        <a:pt x="19" y="5"/>
                      </a:cubicBezTo>
                      <a:cubicBezTo>
                        <a:pt x="18" y="5"/>
                        <a:pt x="18" y="5"/>
                        <a:pt x="18" y="5"/>
                      </a:cubicBezTo>
                      <a:cubicBezTo>
                        <a:pt x="18" y="5"/>
                        <a:pt x="18" y="5"/>
                        <a:pt x="18" y="6"/>
                      </a:cubicBezTo>
                      <a:cubicBezTo>
                        <a:pt x="18" y="6"/>
                        <a:pt x="18" y="6"/>
                        <a:pt x="18" y="6"/>
                      </a:cubicBezTo>
                      <a:cubicBezTo>
                        <a:pt x="18" y="6"/>
                        <a:pt x="18" y="6"/>
                        <a:pt x="18" y="6"/>
                      </a:cubicBezTo>
                      <a:cubicBezTo>
                        <a:pt x="18" y="6"/>
                        <a:pt x="18" y="6"/>
                        <a:pt x="17" y="6"/>
                      </a:cubicBezTo>
                      <a:cubicBezTo>
                        <a:pt x="17" y="6"/>
                        <a:pt x="17" y="5"/>
                        <a:pt x="17" y="5"/>
                      </a:cubicBezTo>
                      <a:cubicBezTo>
                        <a:pt x="17" y="5"/>
                        <a:pt x="17" y="5"/>
                        <a:pt x="17" y="5"/>
                      </a:cubicBezTo>
                      <a:cubicBezTo>
                        <a:pt x="17" y="5"/>
                        <a:pt x="17" y="5"/>
                        <a:pt x="17" y="5"/>
                      </a:cubicBezTo>
                      <a:cubicBezTo>
                        <a:pt x="17" y="6"/>
                        <a:pt x="17" y="6"/>
                        <a:pt x="17" y="6"/>
                      </a:cubicBezTo>
                      <a:cubicBezTo>
                        <a:pt x="17" y="6"/>
                        <a:pt x="17" y="6"/>
                        <a:pt x="16" y="6"/>
                      </a:cubicBezTo>
                      <a:cubicBezTo>
                        <a:pt x="16" y="6"/>
                        <a:pt x="16" y="6"/>
                        <a:pt x="16" y="6"/>
                      </a:cubicBezTo>
                      <a:cubicBezTo>
                        <a:pt x="16" y="6"/>
                        <a:pt x="16" y="6"/>
                        <a:pt x="16" y="6"/>
                      </a:cubicBezTo>
                      <a:cubicBezTo>
                        <a:pt x="16" y="6"/>
                        <a:pt x="16" y="6"/>
                        <a:pt x="16" y="6"/>
                      </a:cubicBezTo>
                      <a:cubicBezTo>
                        <a:pt x="16" y="6"/>
                        <a:pt x="16" y="5"/>
                        <a:pt x="15" y="5"/>
                      </a:cubicBezTo>
                      <a:cubicBezTo>
                        <a:pt x="15" y="5"/>
                        <a:pt x="15" y="5"/>
                        <a:pt x="15" y="5"/>
                      </a:cubicBezTo>
                      <a:cubicBezTo>
                        <a:pt x="15" y="5"/>
                        <a:pt x="15" y="5"/>
                        <a:pt x="15" y="5"/>
                      </a:cubicBezTo>
                      <a:cubicBezTo>
                        <a:pt x="15" y="5"/>
                        <a:pt x="15" y="5"/>
                        <a:pt x="15" y="5"/>
                      </a:cubicBezTo>
                      <a:cubicBezTo>
                        <a:pt x="15" y="5"/>
                        <a:pt x="15" y="5"/>
                        <a:pt x="15" y="5"/>
                      </a:cubicBezTo>
                      <a:cubicBezTo>
                        <a:pt x="14" y="5"/>
                        <a:pt x="14" y="5"/>
                        <a:pt x="14" y="6"/>
                      </a:cubicBezTo>
                      <a:cubicBezTo>
                        <a:pt x="14" y="6"/>
                        <a:pt x="14" y="6"/>
                        <a:pt x="14" y="6"/>
                      </a:cubicBezTo>
                      <a:cubicBezTo>
                        <a:pt x="14" y="6"/>
                        <a:pt x="14" y="6"/>
                        <a:pt x="14" y="6"/>
                      </a:cubicBezTo>
                      <a:cubicBezTo>
                        <a:pt x="14" y="6"/>
                        <a:pt x="14" y="6"/>
                        <a:pt x="13" y="6"/>
                      </a:cubicBezTo>
                      <a:cubicBezTo>
                        <a:pt x="13" y="6"/>
                        <a:pt x="13" y="6"/>
                        <a:pt x="13" y="6"/>
                      </a:cubicBezTo>
                      <a:cubicBezTo>
                        <a:pt x="13" y="6"/>
                        <a:pt x="13" y="6"/>
                        <a:pt x="13" y="6"/>
                      </a:cubicBezTo>
                      <a:cubicBezTo>
                        <a:pt x="13" y="6"/>
                        <a:pt x="13" y="6"/>
                        <a:pt x="13" y="6"/>
                      </a:cubicBezTo>
                      <a:cubicBezTo>
                        <a:pt x="13" y="6"/>
                        <a:pt x="13" y="6"/>
                        <a:pt x="13"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2" y="2"/>
                        <a:pt x="12" y="2"/>
                        <a:pt x="12" y="2"/>
                      </a:cubicBezTo>
                      <a:cubicBezTo>
                        <a:pt x="12" y="2"/>
                        <a:pt x="12" y="2"/>
                        <a:pt x="12" y="2"/>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1" y="4"/>
                        <a:pt x="11" y="5"/>
                      </a:cubicBezTo>
                      <a:cubicBezTo>
                        <a:pt x="11" y="5"/>
                        <a:pt x="11" y="5"/>
                        <a:pt x="11" y="5"/>
                      </a:cubicBezTo>
                      <a:cubicBezTo>
                        <a:pt x="11" y="5"/>
                        <a:pt x="11" y="5"/>
                        <a:pt x="11" y="5"/>
                      </a:cubicBezTo>
                      <a:cubicBezTo>
                        <a:pt x="11" y="5"/>
                        <a:pt x="11" y="5"/>
                        <a:pt x="12" y="5"/>
                      </a:cubicBezTo>
                      <a:cubicBezTo>
                        <a:pt x="12"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5"/>
                      </a:cubicBezTo>
                      <a:cubicBezTo>
                        <a:pt x="10" y="6"/>
                        <a:pt x="10" y="6"/>
                        <a:pt x="9" y="6"/>
                      </a:cubicBezTo>
                      <a:cubicBezTo>
                        <a:pt x="9" y="6"/>
                        <a:pt x="9" y="6"/>
                        <a:pt x="9" y="6"/>
                      </a:cubicBezTo>
                      <a:cubicBezTo>
                        <a:pt x="9" y="6"/>
                        <a:pt x="9" y="6"/>
                        <a:pt x="9" y="6"/>
                      </a:cubicBezTo>
                      <a:cubicBezTo>
                        <a:pt x="9" y="6"/>
                        <a:pt x="9" y="6"/>
                        <a:pt x="9" y="6"/>
                      </a:cubicBezTo>
                      <a:cubicBezTo>
                        <a:pt x="9" y="6"/>
                        <a:pt x="9"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6"/>
                        <a:pt x="5" y="6"/>
                      </a:cubicBezTo>
                      <a:cubicBezTo>
                        <a:pt x="5" y="6"/>
                        <a:pt x="5" y="6"/>
                        <a:pt x="5" y="5"/>
                      </a:cubicBezTo>
                      <a:cubicBezTo>
                        <a:pt x="5" y="5"/>
                        <a:pt x="5" y="5"/>
                        <a:pt x="5" y="6"/>
                      </a:cubicBezTo>
                      <a:cubicBezTo>
                        <a:pt x="5" y="6"/>
                        <a:pt x="5" y="6"/>
                        <a:pt x="5" y="6"/>
                      </a:cubicBezTo>
                      <a:cubicBezTo>
                        <a:pt x="5"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2" y="6"/>
                        <a:pt x="2" y="6"/>
                        <a:pt x="2" y="6"/>
                      </a:cubicBezTo>
                      <a:cubicBezTo>
                        <a:pt x="2" y="6"/>
                        <a:pt x="2" y="6"/>
                        <a:pt x="2" y="6"/>
                      </a:cubicBezTo>
                      <a:cubicBezTo>
                        <a:pt x="2" y="6"/>
                        <a:pt x="2" y="6"/>
                        <a:pt x="2" y="6"/>
                      </a:cubicBezTo>
                      <a:cubicBezTo>
                        <a:pt x="2" y="6"/>
                        <a:pt x="2" y="6"/>
                        <a:pt x="2" y="6"/>
                      </a:cubicBezTo>
                      <a:cubicBezTo>
                        <a:pt x="2" y="6"/>
                        <a:pt x="1" y="6"/>
                        <a:pt x="1" y="5"/>
                      </a:cubicBezTo>
                      <a:cubicBezTo>
                        <a:pt x="1" y="5"/>
                        <a:pt x="1" y="5"/>
                        <a:pt x="1" y="5"/>
                      </a:cubicBezTo>
                      <a:cubicBezTo>
                        <a:pt x="1" y="5"/>
                        <a:pt x="1" y="5"/>
                        <a:pt x="1" y="5"/>
                      </a:cubicBezTo>
                      <a:cubicBezTo>
                        <a:pt x="1" y="5"/>
                        <a:pt x="1" y="5"/>
                        <a:pt x="1" y="6"/>
                      </a:cubicBezTo>
                      <a:cubicBezTo>
                        <a:pt x="1" y="6"/>
                        <a:pt x="1" y="6"/>
                        <a:pt x="1" y="6"/>
                      </a:cubicBezTo>
                      <a:cubicBezTo>
                        <a:pt x="0" y="6"/>
                        <a:pt x="0" y="6"/>
                        <a:pt x="0" y="6"/>
                      </a:cubicBezTo>
                      <a:cubicBezTo>
                        <a:pt x="0" y="6"/>
                        <a:pt x="0" y="6"/>
                        <a:pt x="0" y="6"/>
                      </a:cubicBezTo>
                      <a:cubicBezTo>
                        <a:pt x="0" y="6"/>
                        <a:pt x="0" y="7"/>
                        <a:pt x="0" y="7"/>
                      </a:cubicBezTo>
                      <a:cubicBezTo>
                        <a:pt x="0" y="7"/>
                        <a:pt x="0" y="7"/>
                        <a:pt x="0" y="7"/>
                      </a:cubicBezTo>
                      <a:cubicBezTo>
                        <a:pt x="0" y="7"/>
                        <a:pt x="1" y="8"/>
                        <a:pt x="1" y="8"/>
                      </a:cubicBezTo>
                      <a:cubicBezTo>
                        <a:pt x="1" y="8"/>
                        <a:pt x="2" y="8"/>
                        <a:pt x="2"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9"/>
                      </a:cubicBezTo>
                      <a:cubicBezTo>
                        <a:pt x="3" y="9"/>
                        <a:pt x="3" y="9"/>
                        <a:pt x="3" y="9"/>
                      </a:cubicBezTo>
                      <a:cubicBezTo>
                        <a:pt x="3" y="9"/>
                        <a:pt x="3" y="9"/>
                        <a:pt x="3"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6" y="10"/>
                        <a:pt x="6" y="10"/>
                      </a:cubicBezTo>
                      <a:cubicBezTo>
                        <a:pt x="6" y="10"/>
                        <a:pt x="6" y="10"/>
                        <a:pt x="6" y="10"/>
                      </a:cubicBezTo>
                      <a:cubicBezTo>
                        <a:pt x="6" y="10"/>
                        <a:pt x="6" y="10"/>
                        <a:pt x="6" y="10"/>
                      </a:cubicBezTo>
                      <a:cubicBezTo>
                        <a:pt x="6" y="10"/>
                        <a:pt x="6" y="10"/>
                        <a:pt x="6" y="10"/>
                      </a:cubicBezTo>
                      <a:cubicBezTo>
                        <a:pt x="6" y="10"/>
                        <a:pt x="6" y="10"/>
                        <a:pt x="7" y="10"/>
                      </a:cubicBezTo>
                      <a:cubicBezTo>
                        <a:pt x="7" y="10"/>
                        <a:pt x="7" y="10"/>
                        <a:pt x="7" y="9"/>
                      </a:cubicBezTo>
                      <a:cubicBezTo>
                        <a:pt x="7" y="10"/>
                        <a:pt x="7" y="10"/>
                        <a:pt x="7" y="10"/>
                      </a:cubicBezTo>
                      <a:cubicBezTo>
                        <a:pt x="7" y="10"/>
                        <a:pt x="7" y="10"/>
                        <a:pt x="7" y="10"/>
                      </a:cubicBezTo>
                      <a:cubicBezTo>
                        <a:pt x="7" y="10"/>
                        <a:pt x="7" y="10"/>
                        <a:pt x="7" y="10"/>
                      </a:cubicBezTo>
                      <a:cubicBezTo>
                        <a:pt x="7" y="10"/>
                        <a:pt x="7" y="10"/>
                        <a:pt x="8" y="10"/>
                      </a:cubicBezTo>
                      <a:cubicBezTo>
                        <a:pt x="8" y="10"/>
                        <a:pt x="8" y="10"/>
                        <a:pt x="8" y="10"/>
                      </a:cubicBezTo>
                      <a:cubicBezTo>
                        <a:pt x="8" y="10"/>
                        <a:pt x="8" y="10"/>
                        <a:pt x="8" y="10"/>
                      </a:cubicBezTo>
                      <a:cubicBezTo>
                        <a:pt x="8" y="10"/>
                        <a:pt x="8" y="10"/>
                        <a:pt x="8" y="10"/>
                      </a:cubicBezTo>
                      <a:cubicBezTo>
                        <a:pt x="8" y="10"/>
                        <a:pt x="8" y="10"/>
                        <a:pt x="8" y="10"/>
                      </a:cubicBezTo>
                      <a:cubicBezTo>
                        <a:pt x="8" y="10"/>
                        <a:pt x="9" y="10"/>
                        <a:pt x="9" y="10"/>
                      </a:cubicBezTo>
                      <a:cubicBezTo>
                        <a:pt x="9" y="11"/>
                        <a:pt x="9" y="11"/>
                        <a:pt x="9" y="11"/>
                      </a:cubicBezTo>
                      <a:cubicBezTo>
                        <a:pt x="9" y="11"/>
                        <a:pt x="9" y="11"/>
                        <a:pt x="9" y="11"/>
                      </a:cubicBezTo>
                      <a:cubicBezTo>
                        <a:pt x="9" y="11"/>
                        <a:pt x="10" y="11"/>
                        <a:pt x="10" y="11"/>
                      </a:cubicBezTo>
                      <a:cubicBezTo>
                        <a:pt x="10" y="11"/>
                        <a:pt x="10" y="11"/>
                        <a:pt x="10" y="11"/>
                      </a:cubicBezTo>
                      <a:cubicBezTo>
                        <a:pt x="10" y="11"/>
                        <a:pt x="10" y="11"/>
                        <a:pt x="10" y="11"/>
                      </a:cubicBezTo>
                      <a:cubicBezTo>
                        <a:pt x="10" y="11"/>
                        <a:pt x="10" y="11"/>
                        <a:pt x="11" y="11"/>
                      </a:cubicBezTo>
                      <a:cubicBezTo>
                        <a:pt x="11" y="11"/>
                        <a:pt x="11" y="11"/>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0"/>
                      </a:cubicBezTo>
                      <a:cubicBezTo>
                        <a:pt x="16" y="10"/>
                        <a:pt x="16" y="10"/>
                        <a:pt x="16" y="10"/>
                      </a:cubicBezTo>
                      <a:cubicBezTo>
                        <a:pt x="16" y="10"/>
                        <a:pt x="16" y="10"/>
                        <a:pt x="16" y="10"/>
                      </a:cubicBezTo>
                      <a:cubicBezTo>
                        <a:pt x="16" y="10"/>
                        <a:pt x="16" y="10"/>
                        <a:pt x="16" y="10"/>
                      </a:cubicBezTo>
                      <a:cubicBezTo>
                        <a:pt x="16" y="10"/>
                        <a:pt x="17" y="10"/>
                        <a:pt x="17" y="10"/>
                      </a:cubicBezTo>
                      <a:cubicBezTo>
                        <a:pt x="17" y="10"/>
                        <a:pt x="17" y="10"/>
                        <a:pt x="17" y="10"/>
                      </a:cubicBezTo>
                      <a:cubicBezTo>
                        <a:pt x="16" y="9"/>
                        <a:pt x="16" y="9"/>
                        <a:pt x="16" y="9"/>
                      </a:cubicBezTo>
                      <a:cubicBezTo>
                        <a:pt x="16" y="9"/>
                        <a:pt x="16" y="8"/>
                        <a:pt x="16"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9" name="Freeform 701">
                  <a:extLst>
                    <a:ext uri="{FF2B5EF4-FFF2-40B4-BE49-F238E27FC236}">
                      <a16:creationId xmlns:a16="http://schemas.microsoft.com/office/drawing/2014/main" id="{A8120897-2057-BE83-877B-BCF37EE348B2}"/>
                    </a:ext>
                  </a:extLst>
                </p:cNvPr>
                <p:cNvSpPr>
                  <a:spLocks/>
                </p:cNvSpPr>
                <p:nvPr/>
              </p:nvSpPr>
              <p:spPr bwMode="auto">
                <a:xfrm>
                  <a:off x="9429750" y="5046663"/>
                  <a:ext cx="25400" cy="33338"/>
                </a:xfrm>
                <a:custGeom>
                  <a:avLst/>
                  <a:gdLst>
                    <a:gd name="T0" fmla="*/ 3 w 6"/>
                    <a:gd name="T1" fmla="*/ 1 h 8"/>
                    <a:gd name="T2" fmla="*/ 2 w 6"/>
                    <a:gd name="T3" fmla="*/ 1 h 8"/>
                    <a:gd name="T4" fmla="*/ 2 w 6"/>
                    <a:gd name="T5" fmla="*/ 1 h 8"/>
                    <a:gd name="T6" fmla="*/ 2 w 6"/>
                    <a:gd name="T7" fmla="*/ 2 h 8"/>
                    <a:gd name="T8" fmla="*/ 2 w 6"/>
                    <a:gd name="T9" fmla="*/ 2 h 8"/>
                    <a:gd name="T10" fmla="*/ 2 w 6"/>
                    <a:gd name="T11" fmla="*/ 2 h 8"/>
                    <a:gd name="T12" fmla="*/ 2 w 6"/>
                    <a:gd name="T13" fmla="*/ 3 h 8"/>
                    <a:gd name="T14" fmla="*/ 2 w 6"/>
                    <a:gd name="T15" fmla="*/ 3 h 8"/>
                    <a:gd name="T16" fmla="*/ 2 w 6"/>
                    <a:gd name="T17" fmla="*/ 4 h 8"/>
                    <a:gd name="T18" fmla="*/ 2 w 6"/>
                    <a:gd name="T19" fmla="*/ 4 h 8"/>
                    <a:gd name="T20" fmla="*/ 1 w 6"/>
                    <a:gd name="T21" fmla="*/ 4 h 8"/>
                    <a:gd name="T22" fmla="*/ 0 w 6"/>
                    <a:gd name="T23" fmla="*/ 4 h 8"/>
                    <a:gd name="T24" fmla="*/ 1 w 6"/>
                    <a:gd name="T25" fmla="*/ 5 h 8"/>
                    <a:gd name="T26" fmla="*/ 1 w 6"/>
                    <a:gd name="T27" fmla="*/ 5 h 8"/>
                    <a:gd name="T28" fmla="*/ 2 w 6"/>
                    <a:gd name="T29" fmla="*/ 5 h 8"/>
                    <a:gd name="T30" fmla="*/ 3 w 6"/>
                    <a:gd name="T31" fmla="*/ 6 h 8"/>
                    <a:gd name="T32" fmla="*/ 3 w 6"/>
                    <a:gd name="T33" fmla="*/ 6 h 8"/>
                    <a:gd name="T34" fmla="*/ 3 w 6"/>
                    <a:gd name="T35" fmla="*/ 6 h 8"/>
                    <a:gd name="T36" fmla="*/ 4 w 6"/>
                    <a:gd name="T37" fmla="*/ 6 h 8"/>
                    <a:gd name="T38" fmla="*/ 5 w 6"/>
                    <a:gd name="T39" fmla="*/ 7 h 8"/>
                    <a:gd name="T40" fmla="*/ 5 w 6"/>
                    <a:gd name="T41" fmla="*/ 7 h 8"/>
                    <a:gd name="T42" fmla="*/ 5 w 6"/>
                    <a:gd name="T43" fmla="*/ 7 h 8"/>
                    <a:gd name="T44" fmla="*/ 6 w 6"/>
                    <a:gd name="T45" fmla="*/ 7 h 8"/>
                    <a:gd name="T46" fmla="*/ 6 w 6"/>
                    <a:gd name="T47" fmla="*/ 6 h 8"/>
                    <a:gd name="T48" fmla="*/ 5 w 6"/>
                    <a:gd name="T49" fmla="*/ 6 h 8"/>
                    <a:gd name="T50" fmla="*/ 5 w 6"/>
                    <a:gd name="T51" fmla="*/ 5 h 8"/>
                    <a:gd name="T52" fmla="*/ 5 w 6"/>
                    <a:gd name="T53" fmla="*/ 5 h 8"/>
                    <a:gd name="T54" fmla="*/ 5 w 6"/>
                    <a:gd name="T55" fmla="*/ 4 h 8"/>
                    <a:gd name="T56" fmla="*/ 5 w 6"/>
                    <a:gd name="T57" fmla="*/ 4 h 8"/>
                    <a:gd name="T58" fmla="*/ 6 w 6"/>
                    <a:gd name="T59" fmla="*/ 3 h 8"/>
                    <a:gd name="T60" fmla="*/ 6 w 6"/>
                    <a:gd name="T61" fmla="*/ 3 h 8"/>
                    <a:gd name="T62" fmla="*/ 6 w 6"/>
                    <a:gd name="T63" fmla="*/ 2 h 8"/>
                    <a:gd name="T64" fmla="*/ 5 w 6"/>
                    <a:gd name="T65" fmla="*/ 2 h 8"/>
                    <a:gd name="T66" fmla="*/ 6 w 6"/>
                    <a:gd name="T67" fmla="*/ 1 h 8"/>
                    <a:gd name="T68" fmla="*/ 5 w 6"/>
                    <a:gd name="T69" fmla="*/ 1 h 8"/>
                    <a:gd name="T70" fmla="*/ 5 w 6"/>
                    <a:gd name="T71" fmla="*/ 0 h 8"/>
                    <a:gd name="T72" fmla="*/ 4 w 6"/>
                    <a:gd name="T73" fmla="*/ 0 h 8"/>
                    <a:gd name="T74" fmla="*/ 4 w 6"/>
                    <a:gd name="T7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8">
                      <a:moveTo>
                        <a:pt x="3" y="1"/>
                      </a:move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4"/>
                      </a:cubicBezTo>
                      <a:cubicBezTo>
                        <a:pt x="2" y="4"/>
                        <a:pt x="2" y="4"/>
                        <a:pt x="2" y="4"/>
                      </a:cubicBezTo>
                      <a:cubicBezTo>
                        <a:pt x="2" y="4"/>
                        <a:pt x="2" y="4"/>
                        <a:pt x="2" y="4"/>
                      </a:cubicBezTo>
                      <a:cubicBezTo>
                        <a:pt x="2" y="4"/>
                        <a:pt x="1" y="4"/>
                        <a:pt x="1" y="4"/>
                      </a:cubicBezTo>
                      <a:cubicBezTo>
                        <a:pt x="1" y="4"/>
                        <a:pt x="1" y="4"/>
                        <a:pt x="1" y="4"/>
                      </a:cubicBezTo>
                      <a:cubicBezTo>
                        <a:pt x="1" y="4"/>
                        <a:pt x="0" y="4"/>
                        <a:pt x="0" y="4"/>
                      </a:cubicBezTo>
                      <a:cubicBezTo>
                        <a:pt x="0" y="4"/>
                        <a:pt x="0" y="4"/>
                        <a:pt x="0" y="4"/>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5"/>
                        <a:pt x="2" y="5"/>
                        <a:pt x="2" y="5"/>
                      </a:cubicBezTo>
                      <a:cubicBezTo>
                        <a:pt x="2" y="5"/>
                        <a:pt x="2" y="5"/>
                        <a:pt x="2" y="5"/>
                      </a:cubicBezTo>
                      <a:cubicBezTo>
                        <a:pt x="2" y="5"/>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ubicBezTo>
                        <a:pt x="4" y="6"/>
                        <a:pt x="4" y="6"/>
                        <a:pt x="4" y="6"/>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6" y="8"/>
                        <a:pt x="6" y="8"/>
                      </a:cubicBezTo>
                      <a:cubicBezTo>
                        <a:pt x="6" y="7"/>
                        <a:pt x="6" y="7"/>
                        <a:pt x="6" y="7"/>
                      </a:cubicBezTo>
                      <a:cubicBezTo>
                        <a:pt x="5" y="7"/>
                        <a:pt x="5" y="7"/>
                        <a:pt x="5" y="7"/>
                      </a:cubicBezTo>
                      <a:cubicBezTo>
                        <a:pt x="5" y="7"/>
                        <a:pt x="6" y="6"/>
                        <a:pt x="6" y="6"/>
                      </a:cubicBezTo>
                      <a:cubicBezTo>
                        <a:pt x="6" y="6"/>
                        <a:pt x="6" y="6"/>
                        <a:pt x="6" y="6"/>
                      </a:cubicBezTo>
                      <a:cubicBezTo>
                        <a:pt x="6" y="6"/>
                        <a:pt x="5" y="6"/>
                        <a:pt x="5" y="6"/>
                      </a:cubicBezTo>
                      <a:cubicBezTo>
                        <a:pt x="5" y="6"/>
                        <a:pt x="5" y="6"/>
                        <a:pt x="5" y="6"/>
                      </a:cubicBezTo>
                      <a:cubicBezTo>
                        <a:pt x="5" y="6"/>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3"/>
                        <a:pt x="6" y="3"/>
                        <a:pt x="6" y="3"/>
                      </a:cubicBezTo>
                      <a:cubicBezTo>
                        <a:pt x="6" y="3"/>
                        <a:pt x="6" y="3"/>
                        <a:pt x="6" y="3"/>
                      </a:cubicBezTo>
                      <a:cubicBezTo>
                        <a:pt x="6" y="3"/>
                        <a:pt x="6" y="3"/>
                        <a:pt x="6" y="3"/>
                      </a:cubicBezTo>
                      <a:cubicBezTo>
                        <a:pt x="6" y="3"/>
                        <a:pt x="6" y="3"/>
                        <a:pt x="6" y="3"/>
                      </a:cubicBezTo>
                      <a:cubicBezTo>
                        <a:pt x="6" y="3"/>
                        <a:pt x="6" y="2"/>
                        <a:pt x="6" y="2"/>
                      </a:cubicBezTo>
                      <a:cubicBezTo>
                        <a:pt x="5" y="2"/>
                        <a:pt x="5" y="2"/>
                        <a:pt x="5" y="2"/>
                      </a:cubicBezTo>
                      <a:cubicBezTo>
                        <a:pt x="5" y="2"/>
                        <a:pt x="5" y="2"/>
                        <a:pt x="5" y="2"/>
                      </a:cubicBezTo>
                      <a:cubicBezTo>
                        <a:pt x="5" y="2"/>
                        <a:pt x="6" y="1"/>
                        <a:pt x="6" y="1"/>
                      </a:cubicBezTo>
                      <a:cubicBezTo>
                        <a:pt x="6" y="1"/>
                        <a:pt x="6" y="1"/>
                        <a:pt x="6" y="1"/>
                      </a:cubicBezTo>
                      <a:cubicBezTo>
                        <a:pt x="6" y="1"/>
                        <a:pt x="6" y="1"/>
                        <a:pt x="6" y="1"/>
                      </a:cubicBezTo>
                      <a:cubicBezTo>
                        <a:pt x="6" y="1"/>
                        <a:pt x="5" y="1"/>
                        <a:pt x="5" y="1"/>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1"/>
                        <a:pt x="4" y="1"/>
                        <a:pt x="4" y="1"/>
                      </a:cubicBezTo>
                      <a:lnTo>
                        <a:pt x="3"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0" name="Freeform 702">
                  <a:extLst>
                    <a:ext uri="{FF2B5EF4-FFF2-40B4-BE49-F238E27FC236}">
                      <a16:creationId xmlns:a16="http://schemas.microsoft.com/office/drawing/2014/main" id="{DBB2DEAC-25B6-4634-9166-FA48FC62B718}"/>
                    </a:ext>
                  </a:extLst>
                </p:cNvPr>
                <p:cNvSpPr>
                  <a:spLocks/>
                </p:cNvSpPr>
                <p:nvPr/>
              </p:nvSpPr>
              <p:spPr bwMode="auto">
                <a:xfrm>
                  <a:off x="9383713" y="5037138"/>
                  <a:ext cx="74612" cy="55563"/>
                </a:xfrm>
                <a:custGeom>
                  <a:avLst/>
                  <a:gdLst>
                    <a:gd name="T0" fmla="*/ 17 w 18"/>
                    <a:gd name="T1" fmla="*/ 12 h 13"/>
                    <a:gd name="T2" fmla="*/ 17 w 18"/>
                    <a:gd name="T3" fmla="*/ 11 h 13"/>
                    <a:gd name="T4" fmla="*/ 16 w 18"/>
                    <a:gd name="T5" fmla="*/ 11 h 13"/>
                    <a:gd name="T6" fmla="*/ 16 w 18"/>
                    <a:gd name="T7" fmla="*/ 10 h 13"/>
                    <a:gd name="T8" fmla="*/ 17 w 18"/>
                    <a:gd name="T9" fmla="*/ 10 h 13"/>
                    <a:gd name="T10" fmla="*/ 16 w 18"/>
                    <a:gd name="T11" fmla="*/ 9 h 13"/>
                    <a:gd name="T12" fmla="*/ 16 w 18"/>
                    <a:gd name="T13" fmla="*/ 9 h 13"/>
                    <a:gd name="T14" fmla="*/ 15 w 18"/>
                    <a:gd name="T15" fmla="*/ 9 h 13"/>
                    <a:gd name="T16" fmla="*/ 15 w 18"/>
                    <a:gd name="T17" fmla="*/ 8 h 13"/>
                    <a:gd name="T18" fmla="*/ 14 w 18"/>
                    <a:gd name="T19" fmla="*/ 8 h 13"/>
                    <a:gd name="T20" fmla="*/ 14 w 18"/>
                    <a:gd name="T21" fmla="*/ 8 h 13"/>
                    <a:gd name="T22" fmla="*/ 13 w 18"/>
                    <a:gd name="T23" fmla="*/ 7 h 13"/>
                    <a:gd name="T24" fmla="*/ 13 w 18"/>
                    <a:gd name="T25" fmla="*/ 7 h 13"/>
                    <a:gd name="T26" fmla="*/ 12 w 18"/>
                    <a:gd name="T27" fmla="*/ 7 h 13"/>
                    <a:gd name="T28" fmla="*/ 12 w 18"/>
                    <a:gd name="T29" fmla="*/ 7 h 13"/>
                    <a:gd name="T30" fmla="*/ 10 w 18"/>
                    <a:gd name="T31" fmla="*/ 7 h 13"/>
                    <a:gd name="T32" fmla="*/ 9 w 18"/>
                    <a:gd name="T33" fmla="*/ 6 h 13"/>
                    <a:gd name="T34" fmla="*/ 8 w 18"/>
                    <a:gd name="T35" fmla="*/ 6 h 13"/>
                    <a:gd name="T36" fmla="*/ 8 w 18"/>
                    <a:gd name="T37" fmla="*/ 5 h 13"/>
                    <a:gd name="T38" fmla="*/ 4 w 18"/>
                    <a:gd name="T39" fmla="*/ 4 h 13"/>
                    <a:gd name="T40" fmla="*/ 4 w 18"/>
                    <a:gd name="T41" fmla="*/ 0 h 13"/>
                    <a:gd name="T42" fmla="*/ 2 w 18"/>
                    <a:gd name="T43" fmla="*/ 0 h 13"/>
                    <a:gd name="T44" fmla="*/ 1 w 18"/>
                    <a:gd name="T45" fmla="*/ 1 h 13"/>
                    <a:gd name="T46" fmla="*/ 1 w 18"/>
                    <a:gd name="T47" fmla="*/ 1 h 13"/>
                    <a:gd name="T48" fmla="*/ 1 w 18"/>
                    <a:gd name="T49" fmla="*/ 2 h 13"/>
                    <a:gd name="T50" fmla="*/ 1 w 18"/>
                    <a:gd name="T51" fmla="*/ 3 h 13"/>
                    <a:gd name="T52" fmla="*/ 1 w 18"/>
                    <a:gd name="T53" fmla="*/ 2 h 13"/>
                    <a:gd name="T54" fmla="*/ 0 w 18"/>
                    <a:gd name="T55" fmla="*/ 4 h 13"/>
                    <a:gd name="T56" fmla="*/ 2 w 18"/>
                    <a:gd name="T57" fmla="*/ 5 h 13"/>
                    <a:gd name="T58" fmla="*/ 4 w 18"/>
                    <a:gd name="T59" fmla="*/ 6 h 13"/>
                    <a:gd name="T60" fmla="*/ 6 w 18"/>
                    <a:gd name="T61" fmla="*/ 13 h 13"/>
                    <a:gd name="T62" fmla="*/ 17 w 18"/>
                    <a:gd name="T63" fmla="*/ 12 h 13"/>
                    <a:gd name="T64" fmla="*/ 17 w 18"/>
                    <a:gd name="T65"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7" y="12"/>
                      </a:moveTo>
                      <a:cubicBezTo>
                        <a:pt x="17" y="12"/>
                        <a:pt x="17" y="12"/>
                        <a:pt x="17" y="12"/>
                      </a:cubicBezTo>
                      <a:cubicBezTo>
                        <a:pt x="17" y="12"/>
                        <a:pt x="17" y="12"/>
                        <a:pt x="17" y="12"/>
                      </a:cubicBezTo>
                      <a:cubicBezTo>
                        <a:pt x="17" y="11"/>
                        <a:pt x="17" y="11"/>
                        <a:pt x="17" y="11"/>
                      </a:cubicBezTo>
                      <a:cubicBezTo>
                        <a:pt x="17" y="11"/>
                        <a:pt x="16" y="11"/>
                        <a:pt x="16" y="11"/>
                      </a:cubicBezTo>
                      <a:cubicBezTo>
                        <a:pt x="16" y="11"/>
                        <a:pt x="16" y="11"/>
                        <a:pt x="16" y="11"/>
                      </a:cubicBezTo>
                      <a:cubicBezTo>
                        <a:pt x="16" y="11"/>
                        <a:pt x="16" y="10"/>
                        <a:pt x="16" y="10"/>
                      </a:cubicBezTo>
                      <a:cubicBezTo>
                        <a:pt x="16" y="10"/>
                        <a:pt x="16" y="10"/>
                        <a:pt x="16" y="10"/>
                      </a:cubicBezTo>
                      <a:cubicBezTo>
                        <a:pt x="17" y="10"/>
                        <a:pt x="17" y="10"/>
                        <a:pt x="17" y="10"/>
                      </a:cubicBezTo>
                      <a:cubicBezTo>
                        <a:pt x="17" y="10"/>
                        <a:pt x="17" y="10"/>
                        <a:pt x="17" y="10"/>
                      </a:cubicBezTo>
                      <a:cubicBezTo>
                        <a:pt x="17" y="10"/>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5" y="9"/>
                        <a:pt x="15" y="9"/>
                      </a:cubicBezTo>
                      <a:cubicBezTo>
                        <a:pt x="15" y="9"/>
                        <a:pt x="15" y="9"/>
                        <a:pt x="15" y="8"/>
                      </a:cubicBezTo>
                      <a:cubicBezTo>
                        <a:pt x="15" y="8"/>
                        <a:pt x="15" y="8"/>
                        <a:pt x="15" y="8"/>
                      </a:cubicBezTo>
                      <a:cubicBezTo>
                        <a:pt x="15"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7"/>
                        <a:pt x="13" y="7"/>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0" y="7"/>
                        <a:pt x="10" y="7"/>
                        <a:pt x="10" y="7"/>
                      </a:cubicBezTo>
                      <a:cubicBezTo>
                        <a:pt x="9" y="7"/>
                        <a:pt x="9" y="7"/>
                        <a:pt x="9" y="7"/>
                      </a:cubicBezTo>
                      <a:cubicBezTo>
                        <a:pt x="9" y="6"/>
                        <a:pt x="9" y="6"/>
                        <a:pt x="9" y="6"/>
                      </a:cubicBezTo>
                      <a:cubicBezTo>
                        <a:pt x="8" y="6"/>
                        <a:pt x="8" y="6"/>
                        <a:pt x="8" y="6"/>
                      </a:cubicBezTo>
                      <a:cubicBezTo>
                        <a:pt x="8" y="6"/>
                        <a:pt x="8" y="6"/>
                        <a:pt x="8" y="6"/>
                      </a:cubicBezTo>
                      <a:cubicBezTo>
                        <a:pt x="8" y="5"/>
                        <a:pt x="8" y="5"/>
                        <a:pt x="8" y="5"/>
                      </a:cubicBezTo>
                      <a:cubicBezTo>
                        <a:pt x="8" y="5"/>
                        <a:pt x="8" y="5"/>
                        <a:pt x="8" y="5"/>
                      </a:cubicBezTo>
                      <a:cubicBezTo>
                        <a:pt x="5" y="4"/>
                        <a:pt x="5" y="4"/>
                        <a:pt x="5" y="4"/>
                      </a:cubicBezTo>
                      <a:cubicBezTo>
                        <a:pt x="4" y="4"/>
                        <a:pt x="4" y="4"/>
                        <a:pt x="4" y="4"/>
                      </a:cubicBezTo>
                      <a:cubicBezTo>
                        <a:pt x="4" y="1"/>
                        <a:pt x="4" y="1"/>
                        <a:pt x="4" y="1"/>
                      </a:cubicBezTo>
                      <a:cubicBezTo>
                        <a:pt x="4" y="0"/>
                        <a:pt x="4" y="0"/>
                        <a:pt x="4" y="0"/>
                      </a:cubicBezTo>
                      <a:cubicBezTo>
                        <a:pt x="4" y="0"/>
                        <a:pt x="4" y="0"/>
                        <a:pt x="4" y="0"/>
                      </a:cubicBezTo>
                      <a:cubicBezTo>
                        <a:pt x="2" y="0"/>
                        <a:pt x="2" y="0"/>
                        <a:pt x="2" y="0"/>
                      </a:cubicBezTo>
                      <a:cubicBezTo>
                        <a:pt x="1" y="0"/>
                        <a:pt x="1" y="0"/>
                        <a:pt x="1" y="0"/>
                      </a:cubicBezTo>
                      <a:cubicBezTo>
                        <a:pt x="1" y="1"/>
                        <a:pt x="1" y="1"/>
                        <a:pt x="1" y="1"/>
                      </a:cubicBezTo>
                      <a:cubicBezTo>
                        <a:pt x="1" y="1"/>
                        <a:pt x="1" y="1"/>
                        <a:pt x="1" y="1"/>
                      </a:cubicBezTo>
                      <a:cubicBezTo>
                        <a:pt x="1" y="1"/>
                        <a:pt x="1" y="1"/>
                        <a:pt x="1" y="1"/>
                      </a:cubicBezTo>
                      <a:cubicBezTo>
                        <a:pt x="1" y="1"/>
                        <a:pt x="2" y="2"/>
                        <a:pt x="2" y="2"/>
                      </a:cubicBezTo>
                      <a:cubicBezTo>
                        <a:pt x="2" y="2"/>
                        <a:pt x="1" y="2"/>
                        <a:pt x="1" y="2"/>
                      </a:cubicBezTo>
                      <a:cubicBezTo>
                        <a:pt x="1" y="2"/>
                        <a:pt x="1" y="2"/>
                        <a:pt x="1" y="2"/>
                      </a:cubicBezTo>
                      <a:cubicBezTo>
                        <a:pt x="1" y="3"/>
                        <a:pt x="1" y="3"/>
                        <a:pt x="1" y="3"/>
                      </a:cubicBezTo>
                      <a:cubicBezTo>
                        <a:pt x="1" y="3"/>
                        <a:pt x="1" y="3"/>
                        <a:pt x="1" y="3"/>
                      </a:cubicBezTo>
                      <a:cubicBezTo>
                        <a:pt x="1" y="2"/>
                        <a:pt x="1" y="2"/>
                        <a:pt x="1" y="2"/>
                      </a:cubicBezTo>
                      <a:cubicBezTo>
                        <a:pt x="0" y="3"/>
                        <a:pt x="0" y="3"/>
                        <a:pt x="0" y="3"/>
                      </a:cubicBezTo>
                      <a:cubicBezTo>
                        <a:pt x="0" y="4"/>
                        <a:pt x="0" y="4"/>
                        <a:pt x="0" y="4"/>
                      </a:cubicBezTo>
                      <a:cubicBezTo>
                        <a:pt x="0" y="4"/>
                        <a:pt x="0" y="4"/>
                        <a:pt x="0" y="4"/>
                      </a:cubicBezTo>
                      <a:cubicBezTo>
                        <a:pt x="2" y="5"/>
                        <a:pt x="2" y="5"/>
                        <a:pt x="2" y="5"/>
                      </a:cubicBezTo>
                      <a:cubicBezTo>
                        <a:pt x="2" y="6"/>
                        <a:pt x="2" y="6"/>
                        <a:pt x="2" y="6"/>
                      </a:cubicBezTo>
                      <a:cubicBezTo>
                        <a:pt x="4" y="6"/>
                        <a:pt x="4" y="6"/>
                        <a:pt x="4" y="6"/>
                      </a:cubicBezTo>
                      <a:cubicBezTo>
                        <a:pt x="4" y="13"/>
                        <a:pt x="4" y="13"/>
                        <a:pt x="4" y="13"/>
                      </a:cubicBezTo>
                      <a:cubicBezTo>
                        <a:pt x="6" y="13"/>
                        <a:pt x="6" y="13"/>
                        <a:pt x="6" y="13"/>
                      </a:cubicBezTo>
                      <a:cubicBezTo>
                        <a:pt x="13" y="13"/>
                        <a:pt x="13" y="13"/>
                        <a:pt x="13" y="13"/>
                      </a:cubicBezTo>
                      <a:cubicBezTo>
                        <a:pt x="17" y="12"/>
                        <a:pt x="17" y="12"/>
                        <a:pt x="17" y="12"/>
                      </a:cubicBezTo>
                      <a:cubicBezTo>
                        <a:pt x="18" y="12"/>
                        <a:pt x="18" y="12"/>
                        <a:pt x="18" y="12"/>
                      </a:cubicBezTo>
                      <a:lnTo>
                        <a:pt x="17"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1" name="Freeform 704">
                  <a:extLst>
                    <a:ext uri="{FF2B5EF4-FFF2-40B4-BE49-F238E27FC236}">
                      <a16:creationId xmlns:a16="http://schemas.microsoft.com/office/drawing/2014/main" id="{C8ADDEBE-403F-36CF-7829-495E2EAFF465}"/>
                    </a:ext>
                  </a:extLst>
                </p:cNvPr>
                <p:cNvSpPr>
                  <a:spLocks/>
                </p:cNvSpPr>
                <p:nvPr/>
              </p:nvSpPr>
              <p:spPr bwMode="auto">
                <a:xfrm>
                  <a:off x="9521825" y="5126038"/>
                  <a:ext cx="69850" cy="53975"/>
                </a:xfrm>
                <a:custGeom>
                  <a:avLst/>
                  <a:gdLst>
                    <a:gd name="T0" fmla="*/ 0 w 17"/>
                    <a:gd name="T1" fmla="*/ 0 h 13"/>
                    <a:gd name="T2" fmla="*/ 5 w 17"/>
                    <a:gd name="T3" fmla="*/ 4 h 13"/>
                    <a:gd name="T4" fmla="*/ 4 w 17"/>
                    <a:gd name="T5" fmla="*/ 6 h 13"/>
                    <a:gd name="T6" fmla="*/ 4 w 17"/>
                    <a:gd name="T7" fmla="*/ 6 h 13"/>
                    <a:gd name="T8" fmla="*/ 5 w 17"/>
                    <a:gd name="T9" fmla="*/ 7 h 13"/>
                    <a:gd name="T10" fmla="*/ 6 w 17"/>
                    <a:gd name="T11" fmla="*/ 8 h 13"/>
                    <a:gd name="T12" fmla="*/ 7 w 17"/>
                    <a:gd name="T13" fmla="*/ 9 h 13"/>
                    <a:gd name="T14" fmla="*/ 7 w 17"/>
                    <a:gd name="T15" fmla="*/ 10 h 13"/>
                    <a:gd name="T16" fmla="*/ 7 w 17"/>
                    <a:gd name="T17" fmla="*/ 10 h 13"/>
                    <a:gd name="T18" fmla="*/ 9 w 17"/>
                    <a:gd name="T19" fmla="*/ 12 h 13"/>
                    <a:gd name="T20" fmla="*/ 10 w 17"/>
                    <a:gd name="T21" fmla="*/ 12 h 13"/>
                    <a:gd name="T22" fmla="*/ 11 w 17"/>
                    <a:gd name="T23" fmla="*/ 13 h 13"/>
                    <a:gd name="T24" fmla="*/ 13 w 17"/>
                    <a:gd name="T25" fmla="*/ 13 h 13"/>
                    <a:gd name="T26" fmla="*/ 13 w 17"/>
                    <a:gd name="T27" fmla="*/ 13 h 13"/>
                    <a:gd name="T28" fmla="*/ 14 w 17"/>
                    <a:gd name="T29" fmla="*/ 13 h 13"/>
                    <a:gd name="T30" fmla="*/ 14 w 17"/>
                    <a:gd name="T31" fmla="*/ 12 h 13"/>
                    <a:gd name="T32" fmla="*/ 15 w 17"/>
                    <a:gd name="T33" fmla="*/ 12 h 13"/>
                    <a:gd name="T34" fmla="*/ 17 w 17"/>
                    <a:gd name="T35" fmla="*/ 11 h 13"/>
                    <a:gd name="T36" fmla="*/ 17 w 17"/>
                    <a:gd name="T37" fmla="*/ 11 h 13"/>
                    <a:gd name="T38" fmla="*/ 16 w 17"/>
                    <a:gd name="T39" fmla="*/ 10 h 13"/>
                    <a:gd name="T40" fmla="*/ 16 w 17"/>
                    <a:gd name="T41" fmla="*/ 10 h 13"/>
                    <a:gd name="T42" fmla="*/ 15 w 17"/>
                    <a:gd name="T43" fmla="*/ 10 h 13"/>
                    <a:gd name="T44" fmla="*/ 15 w 17"/>
                    <a:gd name="T45" fmla="*/ 10 h 13"/>
                    <a:gd name="T46" fmla="*/ 15 w 17"/>
                    <a:gd name="T47" fmla="*/ 9 h 13"/>
                    <a:gd name="T48" fmla="*/ 16 w 17"/>
                    <a:gd name="T49" fmla="*/ 8 h 13"/>
                    <a:gd name="T50" fmla="*/ 16 w 17"/>
                    <a:gd name="T51" fmla="*/ 8 h 13"/>
                    <a:gd name="T52" fmla="*/ 16 w 17"/>
                    <a:gd name="T53" fmla="*/ 8 h 13"/>
                    <a:gd name="T54" fmla="*/ 16 w 17"/>
                    <a:gd name="T55" fmla="*/ 8 h 13"/>
                    <a:gd name="T56" fmla="*/ 16 w 17"/>
                    <a:gd name="T57" fmla="*/ 7 h 13"/>
                    <a:gd name="T58" fmla="*/ 16 w 17"/>
                    <a:gd name="T59" fmla="*/ 7 h 13"/>
                    <a:gd name="T60" fmla="*/ 16 w 17"/>
                    <a:gd name="T61" fmla="*/ 7 h 13"/>
                    <a:gd name="T62" fmla="*/ 15 w 17"/>
                    <a:gd name="T63" fmla="*/ 7 h 13"/>
                    <a:gd name="T64" fmla="*/ 15 w 17"/>
                    <a:gd name="T65" fmla="*/ 7 h 13"/>
                    <a:gd name="T66" fmla="*/ 13 w 17"/>
                    <a:gd name="T67" fmla="*/ 7 h 13"/>
                    <a:gd name="T68" fmla="*/ 13 w 17"/>
                    <a:gd name="T69" fmla="*/ 8 h 13"/>
                    <a:gd name="T70" fmla="*/ 12 w 17"/>
                    <a:gd name="T71" fmla="*/ 8 h 13"/>
                    <a:gd name="T72" fmla="*/ 12 w 17"/>
                    <a:gd name="T73" fmla="*/ 7 h 13"/>
                    <a:gd name="T74" fmla="*/ 11 w 17"/>
                    <a:gd name="T75" fmla="*/ 7 h 13"/>
                    <a:gd name="T76" fmla="*/ 11 w 17"/>
                    <a:gd name="T77" fmla="*/ 7 h 13"/>
                    <a:gd name="T78" fmla="*/ 11 w 17"/>
                    <a:gd name="T79" fmla="*/ 6 h 13"/>
                    <a:gd name="T80" fmla="*/ 10 w 17"/>
                    <a:gd name="T81" fmla="*/ 6 h 13"/>
                    <a:gd name="T82" fmla="*/ 10 w 17"/>
                    <a:gd name="T83" fmla="*/ 5 h 13"/>
                    <a:gd name="T84" fmla="*/ 10 w 17"/>
                    <a:gd name="T85" fmla="*/ 4 h 13"/>
                    <a:gd name="T86" fmla="*/ 9 w 17"/>
                    <a:gd name="T87" fmla="*/ 4 h 13"/>
                    <a:gd name="T88" fmla="*/ 9 w 17"/>
                    <a:gd name="T89" fmla="*/ 4 h 13"/>
                    <a:gd name="T90" fmla="*/ 9 w 17"/>
                    <a:gd name="T91" fmla="*/ 3 h 13"/>
                    <a:gd name="T92" fmla="*/ 9 w 17"/>
                    <a:gd name="T93" fmla="*/ 3 h 13"/>
                    <a:gd name="T94" fmla="*/ 8 w 17"/>
                    <a:gd name="T95" fmla="*/ 2 h 13"/>
                    <a:gd name="T96" fmla="*/ 8 w 17"/>
                    <a:gd name="T97" fmla="*/ 1 h 13"/>
                    <a:gd name="T98" fmla="*/ 8 w 17"/>
                    <a:gd name="T99" fmla="*/ 0 h 13"/>
                    <a:gd name="T100" fmla="*/ 7 w 17"/>
                    <a:gd name="T101" fmla="*/ 0 h 13"/>
                    <a:gd name="T102" fmla="*/ 7 w 17"/>
                    <a:gd name="T10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 h="13">
                      <a:moveTo>
                        <a:pt x="2" y="0"/>
                      </a:moveTo>
                      <a:cubicBezTo>
                        <a:pt x="1" y="0"/>
                        <a:pt x="1" y="0"/>
                        <a:pt x="1" y="0"/>
                      </a:cubicBezTo>
                      <a:cubicBezTo>
                        <a:pt x="0" y="0"/>
                        <a:pt x="0" y="0"/>
                        <a:pt x="0" y="0"/>
                      </a:cubicBezTo>
                      <a:cubicBezTo>
                        <a:pt x="3" y="2"/>
                        <a:pt x="3" y="2"/>
                        <a:pt x="3" y="2"/>
                      </a:cubicBezTo>
                      <a:cubicBezTo>
                        <a:pt x="3" y="2"/>
                        <a:pt x="3" y="2"/>
                        <a:pt x="3" y="2"/>
                      </a:cubicBezTo>
                      <a:cubicBezTo>
                        <a:pt x="5" y="4"/>
                        <a:pt x="5" y="4"/>
                        <a:pt x="5" y="4"/>
                      </a:cubicBezTo>
                      <a:cubicBezTo>
                        <a:pt x="3" y="5"/>
                        <a:pt x="3" y="5"/>
                        <a:pt x="3" y="5"/>
                      </a:cubicBezTo>
                      <a:cubicBezTo>
                        <a:pt x="3" y="5"/>
                        <a:pt x="3" y="5"/>
                        <a:pt x="3" y="5"/>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7"/>
                        <a:pt x="5" y="7"/>
                        <a:pt x="5" y="7"/>
                      </a:cubicBezTo>
                      <a:cubicBezTo>
                        <a:pt x="5" y="7"/>
                        <a:pt x="5" y="7"/>
                        <a:pt x="5" y="7"/>
                      </a:cubicBezTo>
                      <a:cubicBezTo>
                        <a:pt x="5" y="7"/>
                        <a:pt x="5" y="7"/>
                        <a:pt x="5" y="7"/>
                      </a:cubicBezTo>
                      <a:cubicBezTo>
                        <a:pt x="5" y="7"/>
                        <a:pt x="5" y="8"/>
                        <a:pt x="5" y="8"/>
                      </a:cubicBezTo>
                      <a:cubicBezTo>
                        <a:pt x="5" y="8"/>
                        <a:pt x="6" y="8"/>
                        <a:pt x="6" y="8"/>
                      </a:cubicBezTo>
                      <a:cubicBezTo>
                        <a:pt x="6" y="8"/>
                        <a:pt x="6" y="8"/>
                        <a:pt x="6" y="8"/>
                      </a:cubicBezTo>
                      <a:cubicBezTo>
                        <a:pt x="6" y="8"/>
                        <a:pt x="6" y="9"/>
                        <a:pt x="6" y="9"/>
                      </a:cubicBezTo>
                      <a:cubicBezTo>
                        <a:pt x="6" y="9"/>
                        <a:pt x="7" y="9"/>
                        <a:pt x="7" y="9"/>
                      </a:cubicBezTo>
                      <a:cubicBezTo>
                        <a:pt x="7" y="9"/>
                        <a:pt x="7" y="9"/>
                        <a:pt x="7" y="9"/>
                      </a:cubicBezTo>
                      <a:cubicBezTo>
                        <a:pt x="7" y="9"/>
                        <a:pt x="7" y="9"/>
                        <a:pt x="7" y="9"/>
                      </a:cubicBezTo>
                      <a:cubicBezTo>
                        <a:pt x="7" y="9"/>
                        <a:pt x="7" y="10"/>
                        <a:pt x="7" y="10"/>
                      </a:cubicBezTo>
                      <a:cubicBezTo>
                        <a:pt x="7" y="10"/>
                        <a:pt x="7" y="10"/>
                        <a:pt x="7" y="10"/>
                      </a:cubicBezTo>
                      <a:cubicBezTo>
                        <a:pt x="7" y="10"/>
                        <a:pt x="7" y="10"/>
                        <a:pt x="7" y="10"/>
                      </a:cubicBezTo>
                      <a:cubicBezTo>
                        <a:pt x="7" y="10"/>
                        <a:pt x="7" y="10"/>
                        <a:pt x="7" y="10"/>
                      </a:cubicBezTo>
                      <a:cubicBezTo>
                        <a:pt x="8" y="11"/>
                        <a:pt x="8" y="11"/>
                        <a:pt x="8" y="11"/>
                      </a:cubicBezTo>
                      <a:cubicBezTo>
                        <a:pt x="9" y="11"/>
                        <a:pt x="9" y="11"/>
                        <a:pt x="9" y="11"/>
                      </a:cubicBezTo>
                      <a:cubicBezTo>
                        <a:pt x="9" y="11"/>
                        <a:pt x="9" y="12"/>
                        <a:pt x="9" y="12"/>
                      </a:cubicBezTo>
                      <a:cubicBezTo>
                        <a:pt x="9" y="12"/>
                        <a:pt x="9" y="12"/>
                        <a:pt x="9" y="12"/>
                      </a:cubicBezTo>
                      <a:cubicBezTo>
                        <a:pt x="9" y="12"/>
                        <a:pt x="10" y="12"/>
                        <a:pt x="10" y="12"/>
                      </a:cubicBezTo>
                      <a:cubicBezTo>
                        <a:pt x="10" y="12"/>
                        <a:pt x="10" y="12"/>
                        <a:pt x="10" y="12"/>
                      </a:cubicBezTo>
                      <a:cubicBezTo>
                        <a:pt x="10" y="12"/>
                        <a:pt x="10" y="12"/>
                        <a:pt x="10" y="12"/>
                      </a:cubicBezTo>
                      <a:cubicBezTo>
                        <a:pt x="11" y="13"/>
                        <a:pt x="11" y="13"/>
                        <a:pt x="11" y="13"/>
                      </a:cubicBezTo>
                      <a:cubicBezTo>
                        <a:pt x="11" y="13"/>
                        <a:pt x="11" y="13"/>
                        <a:pt x="11" y="13"/>
                      </a:cubicBezTo>
                      <a:cubicBezTo>
                        <a:pt x="12" y="13"/>
                        <a:pt x="12" y="13"/>
                        <a:pt x="12" y="13"/>
                      </a:cubicBezTo>
                      <a:cubicBezTo>
                        <a:pt x="12" y="13"/>
                        <a:pt x="12" y="13"/>
                        <a:pt x="12" y="13"/>
                      </a:cubicBezTo>
                      <a:cubicBezTo>
                        <a:pt x="13" y="13"/>
                        <a:pt x="13" y="13"/>
                        <a:pt x="13" y="13"/>
                      </a:cubicBezTo>
                      <a:cubicBezTo>
                        <a:pt x="13" y="13"/>
                        <a:pt x="13" y="13"/>
                        <a:pt x="13"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5" y="12"/>
                        <a:pt x="15" y="12"/>
                        <a:pt x="15" y="12"/>
                      </a:cubicBezTo>
                      <a:cubicBezTo>
                        <a:pt x="15" y="12"/>
                        <a:pt x="15" y="12"/>
                        <a:pt x="15" y="12"/>
                      </a:cubicBezTo>
                      <a:cubicBezTo>
                        <a:pt x="15" y="11"/>
                        <a:pt x="15" y="11"/>
                        <a:pt x="15" y="11"/>
                      </a:cubicBezTo>
                      <a:cubicBezTo>
                        <a:pt x="15" y="11"/>
                        <a:pt x="16" y="11"/>
                        <a:pt x="16" y="11"/>
                      </a:cubicBezTo>
                      <a:cubicBezTo>
                        <a:pt x="16" y="11"/>
                        <a:pt x="17" y="11"/>
                        <a:pt x="17" y="11"/>
                      </a:cubicBezTo>
                      <a:cubicBezTo>
                        <a:pt x="17" y="11"/>
                        <a:pt x="17" y="11"/>
                        <a:pt x="17" y="11"/>
                      </a:cubicBezTo>
                      <a:cubicBezTo>
                        <a:pt x="17" y="11"/>
                        <a:pt x="17" y="11"/>
                        <a:pt x="17" y="11"/>
                      </a:cubicBezTo>
                      <a:cubicBezTo>
                        <a:pt x="17" y="11"/>
                        <a:pt x="17" y="11"/>
                        <a:pt x="17" y="11"/>
                      </a:cubicBezTo>
                      <a:cubicBezTo>
                        <a:pt x="17" y="11"/>
                        <a:pt x="17" y="11"/>
                        <a:pt x="17"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9"/>
                        <a:pt x="15" y="9"/>
                      </a:cubicBezTo>
                      <a:cubicBezTo>
                        <a:pt x="15" y="9"/>
                        <a:pt x="15" y="9"/>
                        <a:pt x="15" y="9"/>
                      </a:cubicBezTo>
                      <a:cubicBezTo>
                        <a:pt x="15" y="9"/>
                        <a:pt x="15" y="9"/>
                        <a:pt x="15" y="9"/>
                      </a:cubicBezTo>
                      <a:cubicBezTo>
                        <a:pt x="15" y="9"/>
                        <a:pt x="15" y="9"/>
                        <a:pt x="15" y="9"/>
                      </a:cubicBezTo>
                      <a:cubicBezTo>
                        <a:pt x="16" y="9"/>
                        <a:pt x="16" y="9"/>
                        <a:pt x="16" y="9"/>
                      </a:cubicBezTo>
                      <a:cubicBezTo>
                        <a:pt x="16" y="9"/>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4" y="7"/>
                      </a:cubicBezTo>
                      <a:cubicBezTo>
                        <a:pt x="14" y="7"/>
                        <a:pt x="14" y="7"/>
                        <a:pt x="14" y="7"/>
                      </a:cubicBezTo>
                      <a:cubicBezTo>
                        <a:pt x="14" y="7"/>
                        <a:pt x="13" y="7"/>
                        <a:pt x="13" y="7"/>
                      </a:cubicBezTo>
                      <a:cubicBezTo>
                        <a:pt x="13" y="7"/>
                        <a:pt x="13" y="7"/>
                        <a:pt x="13" y="7"/>
                      </a:cubicBezTo>
                      <a:cubicBezTo>
                        <a:pt x="13" y="7"/>
                        <a:pt x="13" y="7"/>
                        <a:pt x="13" y="7"/>
                      </a:cubicBezTo>
                      <a:cubicBezTo>
                        <a:pt x="13" y="7"/>
                        <a:pt x="13" y="7"/>
                        <a:pt x="13" y="8"/>
                      </a:cubicBezTo>
                      <a:cubicBezTo>
                        <a:pt x="13" y="8"/>
                        <a:pt x="12" y="8"/>
                        <a:pt x="12" y="8"/>
                      </a:cubicBezTo>
                      <a:cubicBezTo>
                        <a:pt x="12" y="8"/>
                        <a:pt x="12" y="8"/>
                        <a:pt x="12" y="8"/>
                      </a:cubicBezTo>
                      <a:cubicBezTo>
                        <a:pt x="12" y="8"/>
                        <a:pt x="12" y="8"/>
                        <a:pt x="12" y="8"/>
                      </a:cubicBezTo>
                      <a:cubicBezTo>
                        <a:pt x="12" y="8"/>
                        <a:pt x="12" y="7"/>
                        <a:pt x="12" y="7"/>
                      </a:cubicBezTo>
                      <a:cubicBezTo>
                        <a:pt x="12" y="7"/>
                        <a:pt x="12" y="7"/>
                        <a:pt x="12"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0" y="6"/>
                        <a:pt x="11" y="6"/>
                        <a:pt x="11" y="6"/>
                      </a:cubicBezTo>
                      <a:cubicBezTo>
                        <a:pt x="11" y="6"/>
                        <a:pt x="11" y="6"/>
                        <a:pt x="11" y="6"/>
                      </a:cubicBezTo>
                      <a:cubicBezTo>
                        <a:pt x="10" y="6"/>
                        <a:pt x="10" y="6"/>
                        <a:pt x="10" y="6"/>
                      </a:cubicBezTo>
                      <a:cubicBezTo>
                        <a:pt x="10" y="6"/>
                        <a:pt x="10" y="6"/>
                        <a:pt x="10" y="6"/>
                      </a:cubicBezTo>
                      <a:cubicBezTo>
                        <a:pt x="10" y="6"/>
                        <a:pt x="10" y="5"/>
                        <a:pt x="10" y="5"/>
                      </a:cubicBezTo>
                      <a:cubicBezTo>
                        <a:pt x="10" y="5"/>
                        <a:pt x="10" y="5"/>
                        <a:pt x="10" y="5"/>
                      </a:cubicBezTo>
                      <a:cubicBezTo>
                        <a:pt x="10" y="5"/>
                        <a:pt x="10" y="5"/>
                        <a:pt x="10" y="5"/>
                      </a:cubicBezTo>
                      <a:cubicBezTo>
                        <a:pt x="10" y="4"/>
                        <a:pt x="10" y="4"/>
                        <a:pt x="10" y="4"/>
                      </a:cubicBezTo>
                      <a:cubicBezTo>
                        <a:pt x="10" y="4"/>
                        <a:pt x="10" y="4"/>
                        <a:pt x="10" y="4"/>
                      </a:cubicBezTo>
                      <a:cubicBezTo>
                        <a:pt x="10"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8" y="2"/>
                      </a:cubicBezTo>
                      <a:cubicBezTo>
                        <a:pt x="8" y="2"/>
                        <a:pt x="8" y="1"/>
                        <a:pt x="8" y="1"/>
                      </a:cubicBezTo>
                      <a:cubicBezTo>
                        <a:pt x="8" y="1"/>
                        <a:pt x="8" y="1"/>
                        <a:pt x="8" y="1"/>
                      </a:cubicBezTo>
                      <a:cubicBezTo>
                        <a:pt x="8" y="1"/>
                        <a:pt x="8" y="1"/>
                        <a:pt x="8" y="1"/>
                      </a:cubicBezTo>
                      <a:cubicBezTo>
                        <a:pt x="8" y="1"/>
                        <a:pt x="8" y="1"/>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2" y="0"/>
                        <a:pt x="2" y="0"/>
                        <a:pt x="2"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2" name="Freeform 705">
                  <a:extLst>
                    <a:ext uri="{FF2B5EF4-FFF2-40B4-BE49-F238E27FC236}">
                      <a16:creationId xmlns:a16="http://schemas.microsoft.com/office/drawing/2014/main" id="{8B7C1A3C-2A2C-22A9-96F6-0966A281D4B8}"/>
                    </a:ext>
                  </a:extLst>
                </p:cNvPr>
                <p:cNvSpPr>
                  <a:spLocks noEditPoints="1"/>
                </p:cNvSpPr>
                <p:nvPr/>
              </p:nvSpPr>
              <p:spPr bwMode="auto">
                <a:xfrm>
                  <a:off x="9604375" y="4962525"/>
                  <a:ext cx="107950" cy="71438"/>
                </a:xfrm>
                <a:custGeom>
                  <a:avLst/>
                  <a:gdLst>
                    <a:gd name="T0" fmla="*/ 2 w 26"/>
                    <a:gd name="T1" fmla="*/ 2 h 17"/>
                    <a:gd name="T2" fmla="*/ 1 w 26"/>
                    <a:gd name="T3" fmla="*/ 1 h 17"/>
                    <a:gd name="T4" fmla="*/ 2 w 26"/>
                    <a:gd name="T5" fmla="*/ 1 h 17"/>
                    <a:gd name="T6" fmla="*/ 3 w 26"/>
                    <a:gd name="T7" fmla="*/ 1 h 17"/>
                    <a:gd name="T8" fmla="*/ 4 w 26"/>
                    <a:gd name="T9" fmla="*/ 2 h 17"/>
                    <a:gd name="T10" fmla="*/ 3 w 26"/>
                    <a:gd name="T11" fmla="*/ 2 h 17"/>
                    <a:gd name="T12" fmla="*/ 5 w 26"/>
                    <a:gd name="T13" fmla="*/ 3 h 17"/>
                    <a:gd name="T14" fmla="*/ 5 w 26"/>
                    <a:gd name="T15" fmla="*/ 2 h 17"/>
                    <a:gd name="T16" fmla="*/ 6 w 26"/>
                    <a:gd name="T17" fmla="*/ 3 h 17"/>
                    <a:gd name="T18" fmla="*/ 9 w 26"/>
                    <a:gd name="T19" fmla="*/ 4 h 17"/>
                    <a:gd name="T20" fmla="*/ 14 w 26"/>
                    <a:gd name="T21" fmla="*/ 8 h 17"/>
                    <a:gd name="T22" fmla="*/ 16 w 26"/>
                    <a:gd name="T23" fmla="*/ 8 h 17"/>
                    <a:gd name="T24" fmla="*/ 17 w 26"/>
                    <a:gd name="T25" fmla="*/ 9 h 17"/>
                    <a:gd name="T26" fmla="*/ 19 w 26"/>
                    <a:gd name="T27" fmla="*/ 12 h 17"/>
                    <a:gd name="T28" fmla="*/ 19 w 26"/>
                    <a:gd name="T29" fmla="*/ 15 h 17"/>
                    <a:gd name="T30" fmla="*/ 19 w 26"/>
                    <a:gd name="T31" fmla="*/ 16 h 17"/>
                    <a:gd name="T32" fmla="*/ 21 w 26"/>
                    <a:gd name="T33" fmla="*/ 17 h 17"/>
                    <a:gd name="T34" fmla="*/ 22 w 26"/>
                    <a:gd name="T35" fmla="*/ 16 h 17"/>
                    <a:gd name="T36" fmla="*/ 21 w 26"/>
                    <a:gd name="T37" fmla="*/ 15 h 17"/>
                    <a:gd name="T38" fmla="*/ 22 w 26"/>
                    <a:gd name="T39" fmla="*/ 13 h 17"/>
                    <a:gd name="T40" fmla="*/ 21 w 26"/>
                    <a:gd name="T41" fmla="*/ 12 h 17"/>
                    <a:gd name="T42" fmla="*/ 19 w 26"/>
                    <a:gd name="T43" fmla="*/ 11 h 17"/>
                    <a:gd name="T44" fmla="*/ 18 w 26"/>
                    <a:gd name="T45" fmla="*/ 9 h 17"/>
                    <a:gd name="T46" fmla="*/ 16 w 26"/>
                    <a:gd name="T47" fmla="*/ 8 h 17"/>
                    <a:gd name="T48" fmla="*/ 14 w 26"/>
                    <a:gd name="T49" fmla="*/ 6 h 17"/>
                    <a:gd name="T50" fmla="*/ 12 w 26"/>
                    <a:gd name="T51" fmla="*/ 5 h 17"/>
                    <a:gd name="T52" fmla="*/ 10 w 26"/>
                    <a:gd name="T53" fmla="*/ 4 h 17"/>
                    <a:gd name="T54" fmla="*/ 8 w 26"/>
                    <a:gd name="T55" fmla="*/ 3 h 17"/>
                    <a:gd name="T56" fmla="*/ 6 w 26"/>
                    <a:gd name="T57" fmla="*/ 2 h 17"/>
                    <a:gd name="T58" fmla="*/ 6 w 26"/>
                    <a:gd name="T59" fmla="*/ 3 h 17"/>
                    <a:gd name="T60" fmla="*/ 5 w 26"/>
                    <a:gd name="T61" fmla="*/ 3 h 17"/>
                    <a:gd name="T62" fmla="*/ 7 w 26"/>
                    <a:gd name="T63" fmla="*/ 4 h 17"/>
                    <a:gd name="T64" fmla="*/ 6 w 26"/>
                    <a:gd name="T65" fmla="*/ 4 h 17"/>
                    <a:gd name="T66" fmla="*/ 6 w 26"/>
                    <a:gd name="T67" fmla="*/ 5 h 17"/>
                    <a:gd name="T68" fmla="*/ 6 w 26"/>
                    <a:gd name="T69" fmla="*/ 4 h 17"/>
                    <a:gd name="T70" fmla="*/ 7 w 26"/>
                    <a:gd name="T71" fmla="*/ 4 h 17"/>
                    <a:gd name="T72" fmla="*/ 14 w 26"/>
                    <a:gd name="T73" fmla="*/ 3 h 17"/>
                    <a:gd name="T74" fmla="*/ 14 w 26"/>
                    <a:gd name="T75" fmla="*/ 3 h 17"/>
                    <a:gd name="T76" fmla="*/ 14 w 26"/>
                    <a:gd name="T77" fmla="*/ 4 h 17"/>
                    <a:gd name="T78" fmla="*/ 14 w 26"/>
                    <a:gd name="T79" fmla="*/ 3 h 17"/>
                    <a:gd name="T80" fmla="*/ 14 w 26"/>
                    <a:gd name="T81" fmla="*/ 4 h 17"/>
                    <a:gd name="T82" fmla="*/ 14 w 26"/>
                    <a:gd name="T83" fmla="*/ 4 h 17"/>
                    <a:gd name="T84" fmla="*/ 15 w 26"/>
                    <a:gd name="T85" fmla="*/ 5 h 17"/>
                    <a:gd name="T86" fmla="*/ 14 w 26"/>
                    <a:gd name="T87" fmla="*/ 2 h 17"/>
                    <a:gd name="T88" fmla="*/ 14 w 26"/>
                    <a:gd name="T89" fmla="*/ 2 h 17"/>
                    <a:gd name="T90" fmla="*/ 15 w 26"/>
                    <a:gd name="T91" fmla="*/ 2 h 17"/>
                    <a:gd name="T92" fmla="*/ 18 w 26"/>
                    <a:gd name="T93" fmla="*/ 5 h 17"/>
                    <a:gd name="T94" fmla="*/ 19 w 26"/>
                    <a:gd name="T95" fmla="*/ 6 h 17"/>
                    <a:gd name="T96" fmla="*/ 19 w 26"/>
                    <a:gd name="T97" fmla="*/ 5 h 17"/>
                    <a:gd name="T98" fmla="*/ 22 w 26"/>
                    <a:gd name="T99" fmla="*/ 8 h 17"/>
                    <a:gd name="T100" fmla="*/ 23 w 26"/>
                    <a:gd name="T101" fmla="*/ 8 h 17"/>
                    <a:gd name="T102" fmla="*/ 23 w 26"/>
                    <a:gd name="T103" fmla="*/ 7 h 17"/>
                    <a:gd name="T104" fmla="*/ 23 w 26"/>
                    <a:gd name="T105" fmla="*/ 7 h 17"/>
                    <a:gd name="T106" fmla="*/ 26 w 26"/>
                    <a:gd name="T107" fmla="*/ 12 h 17"/>
                    <a:gd name="T108" fmla="*/ 25 w 26"/>
                    <a:gd name="T109" fmla="*/ 12 h 17"/>
                    <a:gd name="T110" fmla="*/ 26 w 26"/>
                    <a:gd name="T11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 h="17">
                      <a:moveTo>
                        <a:pt x="3" y="2"/>
                      </a:moveTo>
                      <a:cubicBezTo>
                        <a:pt x="3" y="3"/>
                        <a:pt x="3" y="2"/>
                        <a:pt x="3" y="2"/>
                      </a:cubicBezTo>
                      <a:cubicBezTo>
                        <a:pt x="3" y="2"/>
                        <a:pt x="3" y="2"/>
                        <a:pt x="3" y="2"/>
                      </a:cubicBezTo>
                      <a:cubicBezTo>
                        <a:pt x="3" y="2"/>
                        <a:pt x="3" y="2"/>
                        <a:pt x="3" y="2"/>
                      </a:cubicBezTo>
                      <a:cubicBezTo>
                        <a:pt x="3"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1"/>
                        <a:pt x="1" y="1"/>
                      </a:cubicBezTo>
                      <a:cubicBezTo>
                        <a:pt x="1" y="1"/>
                        <a:pt x="1" y="1"/>
                        <a:pt x="1" y="1"/>
                      </a:cubicBezTo>
                      <a:cubicBezTo>
                        <a:pt x="1" y="1"/>
                        <a:pt x="1" y="1"/>
                        <a:pt x="1" y="1"/>
                      </a:cubicBezTo>
                      <a:cubicBezTo>
                        <a:pt x="1" y="1"/>
                        <a:pt x="0" y="1"/>
                        <a:pt x="0" y="1"/>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1"/>
                        <a:pt x="2" y="0"/>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4" y="1"/>
                        <a:pt x="4" y="1"/>
                      </a:cubicBezTo>
                      <a:cubicBezTo>
                        <a:pt x="4" y="1"/>
                        <a:pt x="4" y="1"/>
                        <a:pt x="4" y="1"/>
                      </a:cubicBezTo>
                      <a:cubicBezTo>
                        <a:pt x="4"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lose/>
                      <a:moveTo>
                        <a:pt x="5" y="2"/>
                      </a:moveTo>
                      <a:cubicBezTo>
                        <a:pt x="5" y="2"/>
                        <a:pt x="4" y="2"/>
                        <a:pt x="4" y="2"/>
                      </a:cubicBezTo>
                      <a:cubicBezTo>
                        <a:pt x="4" y="2"/>
                        <a:pt x="5" y="2"/>
                        <a:pt x="5" y="2"/>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2"/>
                        <a:pt x="5" y="2"/>
                        <a:pt x="5" y="2"/>
                      </a:cubicBezTo>
                      <a:cubicBezTo>
                        <a:pt x="5" y="2"/>
                        <a:pt x="5" y="2"/>
                        <a:pt x="5" y="2"/>
                      </a:cubicBezTo>
                      <a:cubicBezTo>
                        <a:pt x="5" y="2"/>
                        <a:pt x="5" y="2"/>
                        <a:pt x="5" y="2"/>
                      </a:cubicBezTo>
                      <a:close/>
                      <a:moveTo>
                        <a:pt x="5" y="2"/>
                      </a:move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lose/>
                      <a:moveTo>
                        <a:pt x="6" y="3"/>
                      </a:moveTo>
                      <a:cubicBezTo>
                        <a:pt x="6" y="3"/>
                        <a:pt x="6" y="3"/>
                        <a:pt x="6" y="3"/>
                      </a:cubicBezTo>
                      <a:cubicBezTo>
                        <a:pt x="6" y="3"/>
                        <a:pt x="6" y="3"/>
                        <a:pt x="6" y="3"/>
                      </a:cubicBezTo>
                      <a:cubicBezTo>
                        <a:pt x="6" y="3"/>
                        <a:pt x="6" y="3"/>
                        <a:pt x="6" y="3"/>
                      </a:cubicBezTo>
                      <a:cubicBezTo>
                        <a:pt x="6" y="3"/>
                        <a:pt x="7" y="3"/>
                        <a:pt x="7" y="3"/>
                      </a:cubicBezTo>
                      <a:cubicBezTo>
                        <a:pt x="7" y="3"/>
                        <a:pt x="7" y="3"/>
                        <a:pt x="8" y="3"/>
                      </a:cubicBezTo>
                      <a:cubicBezTo>
                        <a:pt x="8" y="3"/>
                        <a:pt x="8" y="3"/>
                        <a:pt x="8" y="3"/>
                      </a:cubicBezTo>
                      <a:cubicBezTo>
                        <a:pt x="8" y="4"/>
                        <a:pt x="8" y="4"/>
                        <a:pt x="8" y="4"/>
                      </a:cubicBezTo>
                      <a:cubicBezTo>
                        <a:pt x="8" y="4"/>
                        <a:pt x="8" y="4"/>
                        <a:pt x="8" y="4"/>
                      </a:cubicBezTo>
                      <a:cubicBezTo>
                        <a:pt x="8" y="4"/>
                        <a:pt x="8" y="4"/>
                        <a:pt x="8" y="4"/>
                      </a:cubicBezTo>
                      <a:cubicBezTo>
                        <a:pt x="8" y="4"/>
                        <a:pt x="9" y="4"/>
                        <a:pt x="9" y="4"/>
                      </a:cubicBezTo>
                      <a:cubicBezTo>
                        <a:pt x="9" y="4"/>
                        <a:pt x="9" y="4"/>
                        <a:pt x="9" y="4"/>
                      </a:cubicBezTo>
                      <a:cubicBezTo>
                        <a:pt x="9" y="5"/>
                        <a:pt x="10" y="5"/>
                        <a:pt x="10" y="5"/>
                      </a:cubicBezTo>
                      <a:cubicBezTo>
                        <a:pt x="11" y="5"/>
                        <a:pt x="11" y="5"/>
                        <a:pt x="11" y="6"/>
                      </a:cubicBezTo>
                      <a:cubicBezTo>
                        <a:pt x="11" y="6"/>
                        <a:pt x="12" y="6"/>
                        <a:pt x="12" y="6"/>
                      </a:cubicBezTo>
                      <a:cubicBezTo>
                        <a:pt x="12" y="6"/>
                        <a:pt x="12" y="6"/>
                        <a:pt x="12" y="7"/>
                      </a:cubicBezTo>
                      <a:cubicBezTo>
                        <a:pt x="13" y="7"/>
                        <a:pt x="13" y="7"/>
                        <a:pt x="13" y="7"/>
                      </a:cubicBezTo>
                      <a:cubicBezTo>
                        <a:pt x="13" y="7"/>
                        <a:pt x="13" y="7"/>
                        <a:pt x="13" y="7"/>
                      </a:cubicBezTo>
                      <a:cubicBezTo>
                        <a:pt x="14" y="7"/>
                        <a:pt x="14" y="8"/>
                        <a:pt x="14" y="8"/>
                      </a:cubicBezTo>
                      <a:cubicBezTo>
                        <a:pt x="14" y="8"/>
                        <a:pt x="14" y="8"/>
                        <a:pt x="14" y="8"/>
                      </a:cubicBezTo>
                      <a:cubicBezTo>
                        <a:pt x="14" y="8"/>
                        <a:pt x="14" y="8"/>
                        <a:pt x="14" y="8"/>
                      </a:cubicBezTo>
                      <a:cubicBezTo>
                        <a:pt x="14" y="8"/>
                        <a:pt x="14" y="8"/>
                        <a:pt x="14" y="8"/>
                      </a:cubicBezTo>
                      <a:cubicBezTo>
                        <a:pt x="15" y="8"/>
                        <a:pt x="15" y="8"/>
                        <a:pt x="15" y="8"/>
                      </a:cubicBezTo>
                      <a:cubicBezTo>
                        <a:pt x="15" y="8"/>
                        <a:pt x="15" y="8"/>
                        <a:pt x="15" y="8"/>
                      </a:cubicBezTo>
                      <a:cubicBezTo>
                        <a:pt x="15" y="8"/>
                        <a:pt x="15" y="8"/>
                        <a:pt x="15" y="8"/>
                      </a:cubicBezTo>
                      <a:cubicBezTo>
                        <a:pt x="15" y="8"/>
                        <a:pt x="15" y="8"/>
                        <a:pt x="15" y="8"/>
                      </a:cubicBezTo>
                      <a:cubicBezTo>
                        <a:pt x="15" y="8"/>
                        <a:pt x="16" y="8"/>
                        <a:pt x="16" y="8"/>
                      </a:cubicBezTo>
                      <a:cubicBezTo>
                        <a:pt x="16" y="8"/>
                        <a:pt x="16" y="8"/>
                        <a:pt x="16" y="8"/>
                      </a:cubicBezTo>
                      <a:cubicBezTo>
                        <a:pt x="16" y="8"/>
                        <a:pt x="16" y="8"/>
                        <a:pt x="16" y="8"/>
                      </a:cubicBezTo>
                      <a:cubicBezTo>
                        <a:pt x="16" y="8"/>
                        <a:pt x="16" y="8"/>
                        <a:pt x="16" y="8"/>
                      </a:cubicBezTo>
                      <a:cubicBezTo>
                        <a:pt x="16" y="9"/>
                        <a:pt x="16" y="9"/>
                        <a:pt x="16" y="9"/>
                      </a:cubicBezTo>
                      <a:cubicBezTo>
                        <a:pt x="16" y="9"/>
                        <a:pt x="16" y="9"/>
                        <a:pt x="16" y="9"/>
                      </a:cubicBezTo>
                      <a:cubicBezTo>
                        <a:pt x="16" y="9"/>
                        <a:pt x="16" y="9"/>
                        <a:pt x="16" y="9"/>
                      </a:cubicBezTo>
                      <a:cubicBezTo>
                        <a:pt x="16" y="9"/>
                        <a:pt x="17" y="9"/>
                        <a:pt x="17" y="9"/>
                      </a:cubicBezTo>
                      <a:cubicBezTo>
                        <a:pt x="17" y="9"/>
                        <a:pt x="17" y="9"/>
                        <a:pt x="17" y="9"/>
                      </a:cubicBezTo>
                      <a:cubicBezTo>
                        <a:pt x="17" y="9"/>
                        <a:pt x="17" y="9"/>
                        <a:pt x="17" y="9"/>
                      </a:cubicBezTo>
                      <a:cubicBezTo>
                        <a:pt x="17" y="9"/>
                        <a:pt x="17" y="9"/>
                        <a:pt x="17" y="10"/>
                      </a:cubicBezTo>
                      <a:cubicBezTo>
                        <a:pt x="17" y="10"/>
                        <a:pt x="17" y="10"/>
                        <a:pt x="17" y="10"/>
                      </a:cubicBezTo>
                      <a:cubicBezTo>
                        <a:pt x="17" y="10"/>
                        <a:pt x="17" y="10"/>
                        <a:pt x="17" y="10"/>
                      </a:cubicBezTo>
                      <a:cubicBezTo>
                        <a:pt x="17" y="10"/>
                        <a:pt x="18" y="10"/>
                        <a:pt x="18" y="11"/>
                      </a:cubicBezTo>
                      <a:cubicBezTo>
                        <a:pt x="18" y="11"/>
                        <a:pt x="18" y="11"/>
                        <a:pt x="18" y="11"/>
                      </a:cubicBezTo>
                      <a:cubicBezTo>
                        <a:pt x="18" y="11"/>
                        <a:pt x="18" y="11"/>
                        <a:pt x="18" y="11"/>
                      </a:cubicBezTo>
                      <a:cubicBezTo>
                        <a:pt x="18" y="12"/>
                        <a:pt x="19" y="12"/>
                        <a:pt x="19" y="12"/>
                      </a:cubicBezTo>
                      <a:cubicBezTo>
                        <a:pt x="19" y="12"/>
                        <a:pt x="19" y="12"/>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4"/>
                        <a:pt x="19" y="14"/>
                      </a:cubicBezTo>
                      <a:cubicBezTo>
                        <a:pt x="19" y="14"/>
                        <a:pt x="19" y="14"/>
                        <a:pt x="19" y="14"/>
                      </a:cubicBezTo>
                      <a:cubicBezTo>
                        <a:pt x="19" y="14"/>
                        <a:pt x="19" y="14"/>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6"/>
                        <a:pt x="19" y="16"/>
                        <a:pt x="19" y="16"/>
                      </a:cubicBezTo>
                      <a:cubicBezTo>
                        <a:pt x="19" y="16"/>
                        <a:pt x="19" y="16"/>
                        <a:pt x="19" y="16"/>
                      </a:cubicBezTo>
                      <a:cubicBezTo>
                        <a:pt x="19" y="16"/>
                        <a:pt x="19" y="16"/>
                        <a:pt x="19" y="16"/>
                      </a:cubicBezTo>
                      <a:cubicBezTo>
                        <a:pt x="19" y="16"/>
                        <a:pt x="19" y="16"/>
                        <a:pt x="20" y="16"/>
                      </a:cubicBezTo>
                      <a:cubicBezTo>
                        <a:pt x="20" y="16"/>
                        <a:pt x="20" y="16"/>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6"/>
                        <a:pt x="21" y="16"/>
                        <a:pt x="21" y="16"/>
                      </a:cubicBezTo>
                      <a:cubicBezTo>
                        <a:pt x="21" y="16"/>
                        <a:pt x="21" y="16"/>
                        <a:pt x="21" y="16"/>
                      </a:cubicBezTo>
                      <a:cubicBezTo>
                        <a:pt x="21" y="16"/>
                        <a:pt x="21" y="16"/>
                        <a:pt x="21" y="16"/>
                      </a:cubicBezTo>
                      <a:cubicBezTo>
                        <a:pt x="21" y="16"/>
                        <a:pt x="21" y="16"/>
                        <a:pt x="22" y="16"/>
                      </a:cubicBezTo>
                      <a:cubicBezTo>
                        <a:pt x="22" y="16"/>
                        <a:pt x="22" y="16"/>
                        <a:pt x="22" y="16"/>
                      </a:cubicBezTo>
                      <a:cubicBezTo>
                        <a:pt x="22" y="16"/>
                        <a:pt x="22" y="16"/>
                        <a:pt x="22" y="16"/>
                      </a:cubicBezTo>
                      <a:cubicBezTo>
                        <a:pt x="22" y="15"/>
                        <a:pt x="22" y="15"/>
                        <a:pt x="22" y="15"/>
                      </a:cubicBezTo>
                      <a:cubicBezTo>
                        <a:pt x="22" y="15"/>
                        <a:pt x="22" y="15"/>
                        <a:pt x="22" y="15"/>
                      </a:cubicBezTo>
                      <a:cubicBezTo>
                        <a:pt x="22" y="15"/>
                        <a:pt x="21" y="15"/>
                        <a:pt x="21" y="15"/>
                      </a:cubicBezTo>
                      <a:cubicBezTo>
                        <a:pt x="21" y="15"/>
                        <a:pt x="21" y="15"/>
                        <a:pt x="21" y="15"/>
                      </a:cubicBezTo>
                      <a:cubicBezTo>
                        <a:pt x="21" y="15"/>
                        <a:pt x="21" y="15"/>
                        <a:pt x="21" y="15"/>
                      </a:cubicBezTo>
                      <a:cubicBezTo>
                        <a:pt x="21" y="15"/>
                        <a:pt x="21" y="15"/>
                        <a:pt x="21" y="15"/>
                      </a:cubicBezTo>
                      <a:cubicBezTo>
                        <a:pt x="22" y="15"/>
                        <a:pt x="22" y="15"/>
                        <a:pt x="22" y="14"/>
                      </a:cubicBezTo>
                      <a:cubicBezTo>
                        <a:pt x="22" y="14"/>
                        <a:pt x="22" y="14"/>
                        <a:pt x="22" y="14"/>
                      </a:cubicBezTo>
                      <a:cubicBezTo>
                        <a:pt x="22" y="14"/>
                        <a:pt x="22" y="14"/>
                        <a:pt x="22" y="14"/>
                      </a:cubicBezTo>
                      <a:cubicBezTo>
                        <a:pt x="22" y="14"/>
                        <a:pt x="22" y="14"/>
                        <a:pt x="22" y="14"/>
                      </a:cubicBezTo>
                      <a:cubicBezTo>
                        <a:pt x="22" y="14"/>
                        <a:pt x="22" y="14"/>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1" y="13"/>
                        <a:pt x="22" y="13"/>
                        <a:pt x="21" y="13"/>
                      </a:cubicBez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1" y="11"/>
                      </a:cubicBezTo>
                      <a:cubicBezTo>
                        <a:pt x="21" y="11"/>
                        <a:pt x="21" y="11"/>
                        <a:pt x="21" y="11"/>
                      </a:cubicBezTo>
                      <a:cubicBezTo>
                        <a:pt x="21" y="11"/>
                        <a:pt x="21"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19" y="11"/>
                        <a:pt x="19" y="11"/>
                        <a:pt x="19" y="11"/>
                      </a:cubicBezTo>
                      <a:cubicBezTo>
                        <a:pt x="19" y="11"/>
                        <a:pt x="19" y="10"/>
                        <a:pt x="19" y="10"/>
                      </a:cubicBezTo>
                      <a:cubicBezTo>
                        <a:pt x="19" y="10"/>
                        <a:pt x="19" y="10"/>
                        <a:pt x="18" y="10"/>
                      </a:cubicBezTo>
                      <a:cubicBezTo>
                        <a:pt x="18" y="10"/>
                        <a:pt x="18" y="10"/>
                        <a:pt x="18" y="10"/>
                      </a:cubicBezTo>
                      <a:cubicBezTo>
                        <a:pt x="18" y="10"/>
                        <a:pt x="18" y="10"/>
                        <a:pt x="18" y="10"/>
                      </a:cubicBezTo>
                      <a:cubicBezTo>
                        <a:pt x="18" y="10"/>
                        <a:pt x="18" y="10"/>
                        <a:pt x="18" y="10"/>
                      </a:cubicBezTo>
                      <a:cubicBezTo>
                        <a:pt x="18" y="9"/>
                        <a:pt x="18" y="9"/>
                        <a:pt x="18" y="9"/>
                      </a:cubicBezTo>
                      <a:cubicBezTo>
                        <a:pt x="18" y="9"/>
                        <a:pt x="18" y="9"/>
                        <a:pt x="18" y="9"/>
                      </a:cubicBezTo>
                      <a:cubicBezTo>
                        <a:pt x="18" y="9"/>
                        <a:pt x="18" y="9"/>
                        <a:pt x="18"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8"/>
                        <a:pt x="17" y="8"/>
                      </a:cubicBezTo>
                      <a:cubicBezTo>
                        <a:pt x="17" y="8"/>
                        <a:pt x="17" y="8"/>
                        <a:pt x="17" y="8"/>
                      </a:cubicBezTo>
                      <a:cubicBezTo>
                        <a:pt x="16" y="8"/>
                        <a:pt x="16" y="8"/>
                        <a:pt x="16" y="8"/>
                      </a:cubicBezTo>
                      <a:cubicBezTo>
                        <a:pt x="16" y="7"/>
                        <a:pt x="15" y="7"/>
                        <a:pt x="15" y="7"/>
                      </a:cubicBezTo>
                      <a:cubicBezTo>
                        <a:pt x="15" y="7"/>
                        <a:pt x="15" y="7"/>
                        <a:pt x="15" y="7"/>
                      </a:cubicBezTo>
                      <a:cubicBezTo>
                        <a:pt x="15" y="7"/>
                        <a:pt x="15" y="7"/>
                        <a:pt x="15" y="7"/>
                      </a:cubicBezTo>
                      <a:cubicBezTo>
                        <a:pt x="15" y="7"/>
                        <a:pt x="15" y="7"/>
                        <a:pt x="15" y="7"/>
                      </a:cubicBezTo>
                      <a:cubicBezTo>
                        <a:pt x="15" y="6"/>
                        <a:pt x="15" y="6"/>
                        <a:pt x="15" y="6"/>
                      </a:cubicBezTo>
                      <a:cubicBezTo>
                        <a:pt x="15" y="6"/>
                        <a:pt x="15" y="6"/>
                        <a:pt x="15" y="6"/>
                      </a:cubicBezTo>
                      <a:cubicBezTo>
                        <a:pt x="14" y="6"/>
                        <a:pt x="14" y="6"/>
                        <a:pt x="14" y="6"/>
                      </a:cubicBezTo>
                      <a:cubicBezTo>
                        <a:pt x="14" y="6"/>
                        <a:pt x="14" y="6"/>
                        <a:pt x="14" y="6"/>
                      </a:cubicBezTo>
                      <a:cubicBezTo>
                        <a:pt x="14" y="6"/>
                        <a:pt x="14" y="6"/>
                        <a:pt x="14" y="6"/>
                      </a:cubicBezTo>
                      <a:cubicBezTo>
                        <a:pt x="14" y="6"/>
                        <a:pt x="14" y="6"/>
                        <a:pt x="14" y="6"/>
                      </a:cubicBezTo>
                      <a:cubicBezTo>
                        <a:pt x="13" y="6"/>
                        <a:pt x="13" y="6"/>
                        <a:pt x="13" y="6"/>
                      </a:cubicBezTo>
                      <a:cubicBezTo>
                        <a:pt x="13" y="6"/>
                        <a:pt x="13" y="6"/>
                        <a:pt x="13" y="6"/>
                      </a:cubicBezTo>
                      <a:cubicBezTo>
                        <a:pt x="13" y="6"/>
                        <a:pt x="13" y="6"/>
                        <a:pt x="13" y="6"/>
                      </a:cubicBezTo>
                      <a:cubicBezTo>
                        <a:pt x="13" y="6"/>
                        <a:pt x="13" y="6"/>
                        <a:pt x="13" y="5"/>
                      </a:cubicBezTo>
                      <a:cubicBezTo>
                        <a:pt x="13" y="5"/>
                        <a:pt x="12" y="5"/>
                        <a:pt x="12" y="5"/>
                      </a:cubicBezTo>
                      <a:cubicBezTo>
                        <a:pt x="12" y="5"/>
                        <a:pt x="12" y="5"/>
                        <a:pt x="12" y="5"/>
                      </a:cubicBezTo>
                      <a:cubicBezTo>
                        <a:pt x="12" y="5"/>
                        <a:pt x="12" y="5"/>
                        <a:pt x="12" y="5"/>
                      </a:cubicBezTo>
                      <a:cubicBezTo>
                        <a:pt x="11" y="5"/>
                        <a:pt x="11" y="5"/>
                        <a:pt x="11" y="5"/>
                      </a:cubicBezTo>
                      <a:cubicBezTo>
                        <a:pt x="11" y="4"/>
                        <a:pt x="11" y="4"/>
                        <a:pt x="11" y="4"/>
                      </a:cubicBezTo>
                      <a:cubicBezTo>
                        <a:pt x="11" y="4"/>
                        <a:pt x="11"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9" y="4"/>
                        <a:pt x="9" y="4"/>
                      </a:cubicBezTo>
                      <a:cubicBezTo>
                        <a:pt x="9" y="4"/>
                        <a:pt x="9" y="4"/>
                        <a:pt x="9" y="4"/>
                      </a:cubicBezTo>
                      <a:cubicBezTo>
                        <a:pt x="9" y="4"/>
                        <a:pt x="9" y="3"/>
                        <a:pt x="9" y="3"/>
                      </a:cubicBezTo>
                      <a:cubicBezTo>
                        <a:pt x="9" y="3"/>
                        <a:pt x="9" y="3"/>
                        <a:pt x="9" y="3"/>
                      </a:cubicBezTo>
                      <a:cubicBezTo>
                        <a:pt x="9" y="3"/>
                        <a:pt x="9" y="3"/>
                        <a:pt x="9" y="3"/>
                      </a:cubicBezTo>
                      <a:cubicBezTo>
                        <a:pt x="9" y="3"/>
                        <a:pt x="9" y="3"/>
                        <a:pt x="9" y="3"/>
                      </a:cubicBezTo>
                      <a:cubicBezTo>
                        <a:pt x="8" y="3"/>
                        <a:pt x="8" y="3"/>
                        <a:pt x="8" y="3"/>
                      </a:cubicBezTo>
                      <a:cubicBezTo>
                        <a:pt x="8" y="3"/>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7" y="2"/>
                        <a:pt x="7" y="2"/>
                      </a:cubicBezTo>
                      <a:cubicBezTo>
                        <a:pt x="7" y="2"/>
                        <a:pt x="7" y="3"/>
                        <a:pt x="7" y="3"/>
                      </a:cubicBezTo>
                      <a:cubicBezTo>
                        <a:pt x="7"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6" y="3"/>
                        <a:pt x="6" y="3"/>
                        <a:pt x="6" y="3"/>
                      </a:cubicBezTo>
                      <a:close/>
                      <a:moveTo>
                        <a:pt x="8" y="4"/>
                      </a:moveTo>
                      <a:cubicBezTo>
                        <a:pt x="8" y="4"/>
                        <a:pt x="8" y="4"/>
                        <a:pt x="8" y="4"/>
                      </a:cubicBezTo>
                      <a:cubicBezTo>
                        <a:pt x="8" y="4"/>
                        <a:pt x="8"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6" y="4"/>
                      </a:cubicBezTo>
                      <a:cubicBezTo>
                        <a:pt x="6" y="4"/>
                        <a:pt x="6" y="4"/>
                        <a:pt x="6" y="4"/>
                      </a:cubicBezTo>
                      <a:cubicBezTo>
                        <a:pt x="6" y="4"/>
                        <a:pt x="6" y="4"/>
                        <a:pt x="6" y="4"/>
                      </a:cubicBezTo>
                      <a:cubicBezTo>
                        <a:pt x="6" y="4"/>
                        <a:pt x="6" y="4"/>
                        <a:pt x="6" y="4"/>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4"/>
                      </a:cubicBezTo>
                      <a:cubicBezTo>
                        <a:pt x="6" y="4"/>
                        <a:pt x="6" y="4"/>
                        <a:pt x="6" y="4"/>
                      </a:cubicBezTo>
                      <a:cubicBezTo>
                        <a:pt x="6" y="4"/>
                        <a:pt x="6" y="4"/>
                        <a:pt x="6" y="4"/>
                      </a:cubicBezTo>
                      <a:cubicBezTo>
                        <a:pt x="6" y="4"/>
                        <a:pt x="6" y="4"/>
                        <a:pt x="6" y="4"/>
                      </a:cubicBezTo>
                      <a:cubicBezTo>
                        <a:pt x="6" y="4"/>
                        <a:pt x="6" y="4"/>
                        <a:pt x="6" y="4"/>
                      </a:cubicBezTo>
                      <a:cubicBezTo>
                        <a:pt x="7" y="4"/>
                        <a:pt x="7" y="4"/>
                        <a:pt x="7" y="4"/>
                      </a:cubicBezTo>
                      <a:cubicBezTo>
                        <a:pt x="7" y="5"/>
                        <a:pt x="7" y="4"/>
                        <a:pt x="7" y="4"/>
                      </a:cubicBezTo>
                      <a:cubicBezTo>
                        <a:pt x="7" y="4"/>
                        <a:pt x="7" y="5"/>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4"/>
                        <a:pt x="7" y="4"/>
                        <a:pt x="7" y="5"/>
                      </a:cubicBezTo>
                      <a:cubicBezTo>
                        <a:pt x="7" y="5"/>
                        <a:pt x="7" y="5"/>
                        <a:pt x="7" y="5"/>
                      </a:cubicBezTo>
                      <a:cubicBezTo>
                        <a:pt x="8" y="5"/>
                        <a:pt x="8" y="5"/>
                        <a:pt x="8" y="5"/>
                      </a:cubicBezTo>
                      <a:cubicBezTo>
                        <a:pt x="8" y="4"/>
                        <a:pt x="8" y="4"/>
                        <a:pt x="8" y="4"/>
                      </a:cubicBezTo>
                      <a:close/>
                      <a:moveTo>
                        <a:pt x="14" y="3"/>
                      </a:move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lose/>
                      <a:moveTo>
                        <a:pt x="15" y="4"/>
                      </a:moveTo>
                      <a:cubicBezTo>
                        <a:pt x="15" y="4"/>
                        <a:pt x="15" y="4"/>
                        <a:pt x="15" y="4"/>
                      </a:cubicBezTo>
                      <a:cubicBezTo>
                        <a:pt x="15" y="4"/>
                        <a:pt x="15" y="4"/>
                        <a:pt x="15" y="4"/>
                      </a:cubicBezTo>
                      <a:cubicBezTo>
                        <a:pt x="15" y="4"/>
                        <a:pt x="15" y="4"/>
                        <a:pt x="15" y="4"/>
                      </a:cubicBezTo>
                      <a:cubicBezTo>
                        <a:pt x="15" y="4"/>
                        <a:pt x="15" y="4"/>
                        <a:pt x="15" y="4"/>
                      </a:cubicBezTo>
                      <a:cubicBezTo>
                        <a:pt x="15" y="4"/>
                        <a:pt x="15"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5" y="4"/>
                      </a:cubicBezTo>
                      <a:cubicBezTo>
                        <a:pt x="15" y="5"/>
                        <a:pt x="15" y="5"/>
                        <a:pt x="15" y="5"/>
                      </a:cubicBezTo>
                      <a:cubicBezTo>
                        <a:pt x="15" y="5"/>
                        <a:pt x="15" y="5"/>
                        <a:pt x="15" y="5"/>
                      </a:cubicBezTo>
                      <a:cubicBezTo>
                        <a:pt x="15" y="5"/>
                        <a:pt x="15" y="4"/>
                        <a:pt x="15" y="4"/>
                      </a:cubicBezTo>
                      <a:cubicBezTo>
                        <a:pt x="15" y="4"/>
                        <a:pt x="15" y="4"/>
                        <a:pt x="15" y="4"/>
                      </a:cubicBezTo>
                      <a:close/>
                      <a:moveTo>
                        <a:pt x="14" y="2"/>
                      </a:move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4" y="2"/>
                        <a:pt x="14" y="2"/>
                      </a:cubicBezTo>
                      <a:cubicBezTo>
                        <a:pt x="14" y="2"/>
                        <a:pt x="14" y="2"/>
                        <a:pt x="14" y="2"/>
                      </a:cubicBezTo>
                      <a:close/>
                      <a:moveTo>
                        <a:pt x="18" y="5"/>
                      </a:moveTo>
                      <a:cubicBezTo>
                        <a:pt x="18" y="5"/>
                        <a:pt x="18" y="5"/>
                        <a:pt x="18" y="5"/>
                      </a:cubicBezTo>
                      <a:cubicBezTo>
                        <a:pt x="18" y="5"/>
                        <a:pt x="18" y="5"/>
                        <a:pt x="18" y="5"/>
                      </a:cubicBezTo>
                      <a:cubicBezTo>
                        <a:pt x="18" y="5"/>
                        <a:pt x="18" y="5"/>
                        <a:pt x="18" y="5"/>
                      </a:cubicBezTo>
                      <a:cubicBezTo>
                        <a:pt x="18" y="5"/>
                        <a:pt x="18" y="5"/>
                        <a:pt x="18" y="5"/>
                      </a:cubicBezTo>
                      <a:cubicBezTo>
                        <a:pt x="18" y="5"/>
                        <a:pt x="18" y="5"/>
                        <a:pt x="18" y="5"/>
                      </a:cubicBezTo>
                      <a:cubicBezTo>
                        <a:pt x="18" y="6"/>
                        <a:pt x="18" y="6"/>
                        <a:pt x="18" y="6"/>
                      </a:cubicBezTo>
                      <a:cubicBezTo>
                        <a:pt x="18" y="6"/>
                        <a:pt x="18"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8" y="5"/>
                        <a:pt x="18" y="5"/>
                      </a:cubicBezTo>
                      <a:close/>
                      <a:moveTo>
                        <a:pt x="23" y="8"/>
                      </a:moveTo>
                      <a:cubicBezTo>
                        <a:pt x="23" y="8"/>
                        <a:pt x="23" y="8"/>
                        <a:pt x="23" y="8"/>
                      </a:cubicBezTo>
                      <a:cubicBezTo>
                        <a:pt x="23" y="8"/>
                        <a:pt x="23" y="8"/>
                        <a:pt x="23" y="8"/>
                      </a:cubicBezTo>
                      <a:cubicBezTo>
                        <a:pt x="23" y="8"/>
                        <a:pt x="23" y="8"/>
                        <a:pt x="23" y="8"/>
                      </a:cubicBezTo>
                      <a:cubicBezTo>
                        <a:pt x="23" y="8"/>
                        <a:pt x="22" y="8"/>
                        <a:pt x="22" y="8"/>
                      </a:cubicBezTo>
                      <a:cubicBezTo>
                        <a:pt x="22" y="8"/>
                        <a:pt x="22" y="8"/>
                        <a:pt x="22" y="8"/>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lose/>
                      <a:moveTo>
                        <a:pt x="23" y="7"/>
                      </a:move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4" y="7"/>
                        <a:pt x="24" y="7"/>
                      </a:cubicBezTo>
                      <a:cubicBezTo>
                        <a:pt x="24" y="7"/>
                        <a:pt x="24" y="7"/>
                        <a:pt x="24" y="7"/>
                      </a:cubicBezTo>
                      <a:cubicBezTo>
                        <a:pt x="24"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lose/>
                      <a:moveTo>
                        <a:pt x="25" y="12"/>
                      </a:moveTo>
                      <a:cubicBezTo>
                        <a:pt x="25" y="12"/>
                        <a:pt x="25" y="12"/>
                        <a:pt x="25" y="12"/>
                      </a:cubicBezTo>
                      <a:cubicBezTo>
                        <a:pt x="25"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lose/>
                      <a:moveTo>
                        <a:pt x="26" y="12"/>
                      </a:moveTo>
                      <a:cubicBezTo>
                        <a:pt x="26" y="12"/>
                        <a:pt x="26" y="12"/>
                        <a:pt x="26" y="12"/>
                      </a:cubicBezTo>
                      <a:cubicBezTo>
                        <a:pt x="26" y="12"/>
                        <a:pt x="26" y="12"/>
                        <a:pt x="26" y="12"/>
                      </a:cubicBezTo>
                      <a:cubicBezTo>
                        <a:pt x="26" y="12"/>
                        <a:pt x="26" y="11"/>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3" name="Freeform 706">
                  <a:extLst>
                    <a:ext uri="{FF2B5EF4-FFF2-40B4-BE49-F238E27FC236}">
                      <a16:creationId xmlns:a16="http://schemas.microsoft.com/office/drawing/2014/main" id="{E61A8A37-B43D-8C82-AC48-5356BD23F608}"/>
                    </a:ext>
                  </a:extLst>
                </p:cNvPr>
                <p:cNvSpPr>
                  <a:spLocks noEditPoints="1"/>
                </p:cNvSpPr>
                <p:nvPr/>
              </p:nvSpPr>
              <p:spPr bwMode="auto">
                <a:xfrm>
                  <a:off x="9488488" y="5046663"/>
                  <a:ext cx="66675" cy="79375"/>
                </a:xfrm>
                <a:custGeom>
                  <a:avLst/>
                  <a:gdLst>
                    <a:gd name="T0" fmla="*/ 12 w 16"/>
                    <a:gd name="T1" fmla="*/ 0 h 19"/>
                    <a:gd name="T2" fmla="*/ 12 w 16"/>
                    <a:gd name="T3" fmla="*/ 0 h 19"/>
                    <a:gd name="T4" fmla="*/ 13 w 16"/>
                    <a:gd name="T5" fmla="*/ 0 h 19"/>
                    <a:gd name="T6" fmla="*/ 13 w 16"/>
                    <a:gd name="T7" fmla="*/ 0 h 19"/>
                    <a:gd name="T8" fmla="*/ 12 w 16"/>
                    <a:gd name="T9" fmla="*/ 1 h 19"/>
                    <a:gd name="T10" fmla="*/ 14 w 16"/>
                    <a:gd name="T11" fmla="*/ 2 h 19"/>
                    <a:gd name="T12" fmla="*/ 14 w 16"/>
                    <a:gd name="T13" fmla="*/ 2 h 19"/>
                    <a:gd name="T14" fmla="*/ 14 w 16"/>
                    <a:gd name="T15" fmla="*/ 3 h 19"/>
                    <a:gd name="T16" fmla="*/ 14 w 16"/>
                    <a:gd name="T17" fmla="*/ 3 h 19"/>
                    <a:gd name="T18" fmla="*/ 15 w 16"/>
                    <a:gd name="T19" fmla="*/ 4 h 19"/>
                    <a:gd name="T20" fmla="*/ 16 w 16"/>
                    <a:gd name="T21" fmla="*/ 3 h 19"/>
                    <a:gd name="T22" fmla="*/ 15 w 16"/>
                    <a:gd name="T23" fmla="*/ 2 h 19"/>
                    <a:gd name="T24" fmla="*/ 16 w 16"/>
                    <a:gd name="T25" fmla="*/ 1 h 19"/>
                    <a:gd name="T26" fmla="*/ 16 w 16"/>
                    <a:gd name="T27" fmla="*/ 1 h 19"/>
                    <a:gd name="T28" fmla="*/ 16 w 16"/>
                    <a:gd name="T29" fmla="*/ 1 h 19"/>
                    <a:gd name="T30" fmla="*/ 16 w 16"/>
                    <a:gd name="T31" fmla="*/ 1 h 19"/>
                    <a:gd name="T32" fmla="*/ 16 w 16"/>
                    <a:gd name="T33" fmla="*/ 1 h 19"/>
                    <a:gd name="T34" fmla="*/ 15 w 16"/>
                    <a:gd name="T35" fmla="*/ 19 h 19"/>
                    <a:gd name="T36" fmla="*/ 14 w 16"/>
                    <a:gd name="T37" fmla="*/ 19 h 19"/>
                    <a:gd name="T38" fmla="*/ 13 w 16"/>
                    <a:gd name="T39" fmla="*/ 19 h 19"/>
                    <a:gd name="T40" fmla="*/ 13 w 16"/>
                    <a:gd name="T41" fmla="*/ 18 h 19"/>
                    <a:gd name="T42" fmla="*/ 12 w 16"/>
                    <a:gd name="T43" fmla="*/ 17 h 19"/>
                    <a:gd name="T44" fmla="*/ 12 w 16"/>
                    <a:gd name="T45" fmla="*/ 17 h 19"/>
                    <a:gd name="T46" fmla="*/ 12 w 16"/>
                    <a:gd name="T47" fmla="*/ 17 h 19"/>
                    <a:gd name="T48" fmla="*/ 11 w 16"/>
                    <a:gd name="T49" fmla="*/ 16 h 19"/>
                    <a:gd name="T50" fmla="*/ 10 w 16"/>
                    <a:gd name="T51" fmla="*/ 15 h 19"/>
                    <a:gd name="T52" fmla="*/ 10 w 16"/>
                    <a:gd name="T53" fmla="*/ 15 h 19"/>
                    <a:gd name="T54" fmla="*/ 10 w 16"/>
                    <a:gd name="T55" fmla="*/ 15 h 19"/>
                    <a:gd name="T56" fmla="*/ 9 w 16"/>
                    <a:gd name="T57" fmla="*/ 14 h 19"/>
                    <a:gd name="T58" fmla="*/ 9 w 16"/>
                    <a:gd name="T59" fmla="*/ 14 h 19"/>
                    <a:gd name="T60" fmla="*/ 9 w 16"/>
                    <a:gd name="T61" fmla="*/ 13 h 19"/>
                    <a:gd name="T62" fmla="*/ 8 w 16"/>
                    <a:gd name="T63" fmla="*/ 12 h 19"/>
                    <a:gd name="T64" fmla="*/ 8 w 16"/>
                    <a:gd name="T65" fmla="*/ 11 h 19"/>
                    <a:gd name="T66" fmla="*/ 8 w 16"/>
                    <a:gd name="T67" fmla="*/ 10 h 19"/>
                    <a:gd name="T68" fmla="*/ 9 w 16"/>
                    <a:gd name="T69" fmla="*/ 10 h 19"/>
                    <a:gd name="T70" fmla="*/ 10 w 16"/>
                    <a:gd name="T71" fmla="*/ 10 h 19"/>
                    <a:gd name="T72" fmla="*/ 12 w 16"/>
                    <a:gd name="T73" fmla="*/ 10 h 19"/>
                    <a:gd name="T74" fmla="*/ 12 w 16"/>
                    <a:gd name="T75" fmla="*/ 10 h 19"/>
                    <a:gd name="T76" fmla="*/ 14 w 16"/>
                    <a:gd name="T77" fmla="*/ 10 h 19"/>
                    <a:gd name="T78" fmla="*/ 14 w 16"/>
                    <a:gd name="T79" fmla="*/ 9 h 19"/>
                    <a:gd name="T80" fmla="*/ 14 w 16"/>
                    <a:gd name="T81" fmla="*/ 8 h 19"/>
                    <a:gd name="T82" fmla="*/ 14 w 16"/>
                    <a:gd name="T83" fmla="*/ 7 h 19"/>
                    <a:gd name="T84" fmla="*/ 13 w 16"/>
                    <a:gd name="T85" fmla="*/ 6 h 19"/>
                    <a:gd name="T86" fmla="*/ 12 w 16"/>
                    <a:gd name="T87" fmla="*/ 5 h 19"/>
                    <a:gd name="T88" fmla="*/ 11 w 16"/>
                    <a:gd name="T89" fmla="*/ 5 h 19"/>
                    <a:gd name="T90" fmla="*/ 10 w 16"/>
                    <a:gd name="T91" fmla="*/ 5 h 19"/>
                    <a:gd name="T92" fmla="*/ 9 w 16"/>
                    <a:gd name="T93" fmla="*/ 5 h 19"/>
                    <a:gd name="T94" fmla="*/ 8 w 16"/>
                    <a:gd name="T95" fmla="*/ 5 h 19"/>
                    <a:gd name="T96" fmla="*/ 8 w 16"/>
                    <a:gd name="T97" fmla="*/ 4 h 19"/>
                    <a:gd name="T98" fmla="*/ 7 w 16"/>
                    <a:gd name="T99" fmla="*/ 4 h 19"/>
                    <a:gd name="T100" fmla="*/ 1 w 16"/>
                    <a:gd name="T101" fmla="*/ 5 h 19"/>
                    <a:gd name="T102" fmla="*/ 1 w 16"/>
                    <a:gd name="T103" fmla="*/ 6 h 19"/>
                    <a:gd name="T104" fmla="*/ 2 w 16"/>
                    <a:gd name="T105" fmla="*/ 7 h 19"/>
                    <a:gd name="T106" fmla="*/ 1 w 16"/>
                    <a:gd name="T107" fmla="*/ 11 h 19"/>
                    <a:gd name="T108" fmla="*/ 1 w 16"/>
                    <a:gd name="T109" fmla="*/ 13 h 19"/>
                    <a:gd name="T110" fmla="*/ 0 w 16"/>
                    <a:gd name="T111" fmla="*/ 13 h 19"/>
                    <a:gd name="T112" fmla="*/ 3 w 16"/>
                    <a:gd name="T113" fmla="*/ 16 h 19"/>
                    <a:gd name="T114" fmla="*/ 6 w 16"/>
                    <a:gd name="T115" fmla="*/ 18 h 19"/>
                    <a:gd name="T116" fmla="*/ 7 w 16"/>
                    <a:gd name="T117" fmla="*/ 18 h 19"/>
                    <a:gd name="T118" fmla="*/ 8 w 16"/>
                    <a:gd name="T119" fmla="*/ 19 h 19"/>
                    <a:gd name="T120" fmla="*/ 10 w 16"/>
                    <a:gd name="T12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9">
                      <a:moveTo>
                        <a:pt x="12" y="1"/>
                      </a:moveTo>
                      <a:cubicBezTo>
                        <a:pt x="12" y="1"/>
                        <a:pt x="12" y="1"/>
                        <a:pt x="12" y="1"/>
                      </a:cubicBezTo>
                      <a:cubicBezTo>
                        <a:pt x="12" y="1"/>
                        <a:pt x="12" y="1"/>
                        <a:pt x="12" y="1"/>
                      </a:cubicBezTo>
                      <a:cubicBezTo>
                        <a:pt x="12" y="1"/>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1"/>
                        <a:pt x="13" y="0"/>
                        <a:pt x="13" y="1"/>
                      </a:cubicBezTo>
                      <a:cubicBezTo>
                        <a:pt x="13" y="1"/>
                        <a:pt x="13" y="1"/>
                        <a:pt x="13" y="1"/>
                      </a:cubicBezTo>
                      <a:cubicBezTo>
                        <a:pt x="13" y="1"/>
                        <a:pt x="13" y="1"/>
                        <a:pt x="12" y="1"/>
                      </a:cubicBezTo>
                      <a:cubicBezTo>
                        <a:pt x="12" y="1"/>
                        <a:pt x="12" y="1"/>
                        <a:pt x="12" y="1"/>
                      </a:cubicBezTo>
                      <a:cubicBezTo>
                        <a:pt x="12" y="1"/>
                        <a:pt x="12" y="1"/>
                        <a:pt x="12" y="1"/>
                      </a:cubicBezTo>
                      <a:cubicBezTo>
                        <a:pt x="12" y="1"/>
                        <a:pt x="12" y="1"/>
                        <a:pt x="12" y="1"/>
                      </a:cubicBezTo>
                      <a:close/>
                      <a:moveTo>
                        <a:pt x="15" y="2"/>
                      </a:moveTo>
                      <a:cubicBezTo>
                        <a:pt x="15"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3" y="2"/>
                        <a:pt x="13" y="2"/>
                        <a:pt x="13" y="2"/>
                      </a:cubicBezTo>
                      <a:cubicBezTo>
                        <a:pt x="13" y="2"/>
                        <a:pt x="13" y="2"/>
                        <a:pt x="13" y="2"/>
                      </a:cubicBezTo>
                      <a:cubicBezTo>
                        <a:pt x="14" y="2"/>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5" y="4"/>
                        <a:pt x="15" y="4"/>
                      </a:cubicBezTo>
                      <a:cubicBezTo>
                        <a:pt x="15" y="4"/>
                        <a:pt x="15" y="4"/>
                        <a:pt x="15" y="4"/>
                      </a:cubicBezTo>
                      <a:cubicBezTo>
                        <a:pt x="15" y="4"/>
                        <a:pt x="15" y="4"/>
                        <a:pt x="15" y="4"/>
                      </a:cubicBezTo>
                      <a:cubicBezTo>
                        <a:pt x="15" y="4"/>
                        <a:pt x="15" y="4"/>
                        <a:pt x="15" y="4"/>
                      </a:cubicBezTo>
                      <a:cubicBezTo>
                        <a:pt x="15" y="4"/>
                        <a:pt x="16" y="4"/>
                        <a:pt x="16" y="3"/>
                      </a:cubicBezTo>
                      <a:cubicBezTo>
                        <a:pt x="16" y="3"/>
                        <a:pt x="16" y="3"/>
                        <a:pt x="16" y="3"/>
                      </a:cubicBezTo>
                      <a:cubicBezTo>
                        <a:pt x="16" y="3"/>
                        <a:pt x="16" y="3"/>
                        <a:pt x="16" y="3"/>
                      </a:cubicBezTo>
                      <a:cubicBezTo>
                        <a:pt x="16" y="3"/>
                        <a:pt x="16" y="3"/>
                        <a:pt x="16" y="3"/>
                      </a:cubicBezTo>
                      <a:cubicBezTo>
                        <a:pt x="16" y="3"/>
                        <a:pt x="16" y="3"/>
                        <a:pt x="16" y="3"/>
                      </a:cubicBezTo>
                      <a:cubicBezTo>
                        <a:pt x="16" y="2"/>
                        <a:pt x="16" y="2"/>
                        <a:pt x="15" y="2"/>
                      </a:cubicBezTo>
                      <a:cubicBezTo>
                        <a:pt x="15" y="2"/>
                        <a:pt x="15" y="2"/>
                        <a:pt x="15" y="2"/>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15" y="19"/>
                      </a:moveTo>
                      <a:cubicBezTo>
                        <a:pt x="15" y="19"/>
                        <a:pt x="15" y="19"/>
                        <a:pt x="15" y="19"/>
                      </a:cubicBezTo>
                      <a:cubicBezTo>
                        <a:pt x="15" y="19"/>
                        <a:pt x="14" y="19"/>
                        <a:pt x="14" y="19"/>
                      </a:cubicBezTo>
                      <a:cubicBezTo>
                        <a:pt x="14" y="19"/>
                        <a:pt x="14" y="19"/>
                        <a:pt x="14" y="18"/>
                      </a:cubicBezTo>
                      <a:cubicBezTo>
                        <a:pt x="14" y="18"/>
                        <a:pt x="14" y="19"/>
                        <a:pt x="14" y="19"/>
                      </a:cubicBezTo>
                      <a:cubicBezTo>
                        <a:pt x="14" y="19"/>
                        <a:pt x="14" y="19"/>
                        <a:pt x="14" y="19"/>
                      </a:cubicBezTo>
                      <a:cubicBezTo>
                        <a:pt x="14" y="19"/>
                        <a:pt x="14" y="18"/>
                        <a:pt x="14" y="18"/>
                      </a:cubicBezTo>
                      <a:cubicBezTo>
                        <a:pt x="14" y="18"/>
                        <a:pt x="14" y="18"/>
                        <a:pt x="14" y="19"/>
                      </a:cubicBezTo>
                      <a:cubicBezTo>
                        <a:pt x="14" y="19"/>
                        <a:pt x="14" y="19"/>
                        <a:pt x="14" y="19"/>
                      </a:cubicBezTo>
                      <a:cubicBezTo>
                        <a:pt x="13" y="19"/>
                        <a:pt x="13" y="19"/>
                        <a:pt x="13" y="19"/>
                      </a:cubicBezTo>
                      <a:cubicBezTo>
                        <a:pt x="13" y="19"/>
                        <a:pt x="13" y="19"/>
                        <a:pt x="13" y="19"/>
                      </a:cubicBezTo>
                      <a:cubicBezTo>
                        <a:pt x="13" y="19"/>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7"/>
                        <a:pt x="13" y="17"/>
                      </a:cubicBezTo>
                      <a:cubicBezTo>
                        <a:pt x="13" y="17"/>
                        <a:pt x="13"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6"/>
                        <a:pt x="12" y="16"/>
                        <a:pt x="12" y="16"/>
                      </a:cubicBezTo>
                      <a:cubicBezTo>
                        <a:pt x="12" y="16"/>
                        <a:pt x="12" y="16"/>
                        <a:pt x="11" y="16"/>
                      </a:cubicBezTo>
                      <a:cubicBezTo>
                        <a:pt x="11" y="16"/>
                        <a:pt x="11" y="16"/>
                        <a:pt x="11" y="16"/>
                      </a:cubicBezTo>
                      <a:cubicBezTo>
                        <a:pt x="11" y="16"/>
                        <a:pt x="11" y="16"/>
                        <a:pt x="11" y="16"/>
                      </a:cubicBezTo>
                      <a:cubicBezTo>
                        <a:pt x="11" y="16"/>
                        <a:pt x="11" y="16"/>
                        <a:pt x="11" y="16"/>
                      </a:cubicBezTo>
                      <a:cubicBezTo>
                        <a:pt x="11" y="16"/>
                        <a:pt x="11" y="16"/>
                        <a:pt x="11" y="16"/>
                      </a:cubicBezTo>
                      <a:cubicBezTo>
                        <a:pt x="11" y="16"/>
                        <a:pt x="10" y="16"/>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9" y="15"/>
                        <a:pt x="9" y="15"/>
                      </a:cubicBezTo>
                      <a:cubicBezTo>
                        <a:pt x="9" y="15"/>
                        <a:pt x="9" y="15"/>
                        <a:pt x="9" y="15"/>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8" y="12"/>
                        <a:pt x="8" y="12"/>
                      </a:cubicBezTo>
                      <a:cubicBezTo>
                        <a:pt x="8" y="12"/>
                        <a:pt x="8" y="11"/>
                        <a:pt x="8" y="11"/>
                      </a:cubicBezTo>
                      <a:cubicBezTo>
                        <a:pt x="8" y="11"/>
                        <a:pt x="8" y="11"/>
                        <a:pt x="8" y="11"/>
                      </a:cubicBezTo>
                      <a:cubicBezTo>
                        <a:pt x="8" y="11"/>
                        <a:pt x="8" y="11"/>
                        <a:pt x="8" y="11"/>
                      </a:cubicBezTo>
                      <a:cubicBezTo>
                        <a:pt x="8" y="10"/>
                        <a:pt x="8" y="10"/>
                        <a:pt x="8" y="10"/>
                      </a:cubicBezTo>
                      <a:cubicBezTo>
                        <a:pt x="8" y="10"/>
                        <a:pt x="8" y="10"/>
                        <a:pt x="8" y="10"/>
                      </a:cubicBezTo>
                      <a:cubicBezTo>
                        <a:pt x="8" y="10"/>
                        <a:pt x="9" y="10"/>
                        <a:pt x="9" y="10"/>
                      </a:cubicBezTo>
                      <a:cubicBezTo>
                        <a:pt x="9" y="10"/>
                        <a:pt x="9" y="10"/>
                        <a:pt x="9" y="10"/>
                      </a:cubicBezTo>
                      <a:cubicBezTo>
                        <a:pt x="9" y="10"/>
                        <a:pt x="9" y="10"/>
                        <a:pt x="9" y="10"/>
                      </a:cubicBezTo>
                      <a:cubicBezTo>
                        <a:pt x="9" y="10"/>
                        <a:pt x="9" y="10"/>
                        <a:pt x="9" y="10"/>
                      </a:cubicBezTo>
                      <a:cubicBezTo>
                        <a:pt x="10" y="10"/>
                        <a:pt x="9" y="10"/>
                        <a:pt x="10" y="10"/>
                      </a:cubicBezTo>
                      <a:cubicBezTo>
                        <a:pt x="10" y="10"/>
                        <a:pt x="10" y="10"/>
                        <a:pt x="10" y="10"/>
                      </a:cubicBezTo>
                      <a:cubicBezTo>
                        <a:pt x="10" y="10"/>
                        <a:pt x="10" y="10"/>
                        <a:pt x="10" y="10"/>
                      </a:cubicBezTo>
                      <a:cubicBezTo>
                        <a:pt x="10" y="10"/>
                        <a:pt x="10" y="10"/>
                        <a:pt x="10" y="10"/>
                      </a:cubicBezTo>
                      <a:cubicBezTo>
                        <a:pt x="10" y="10"/>
                        <a:pt x="11" y="10"/>
                        <a:pt x="11" y="10"/>
                      </a:cubicBezTo>
                      <a:cubicBezTo>
                        <a:pt x="11" y="10"/>
                        <a:pt x="11" y="10"/>
                        <a:pt x="11" y="10"/>
                      </a:cubicBezTo>
                      <a:cubicBezTo>
                        <a:pt x="11" y="10"/>
                        <a:pt x="11" y="10"/>
                        <a:pt x="11" y="10"/>
                      </a:cubicBezTo>
                      <a:cubicBezTo>
                        <a:pt x="11" y="10"/>
                        <a:pt x="11"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4" y="10"/>
                        <a:pt x="14" y="10"/>
                      </a:cubicBezTo>
                      <a:cubicBezTo>
                        <a:pt x="14" y="10"/>
                        <a:pt x="14" y="10"/>
                        <a:pt x="14" y="10"/>
                      </a:cubicBezTo>
                      <a:cubicBezTo>
                        <a:pt x="14" y="10"/>
                        <a:pt x="14" y="10"/>
                        <a:pt x="14" y="10"/>
                      </a:cubicBezTo>
                      <a:cubicBezTo>
                        <a:pt x="14" y="10"/>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8"/>
                      </a:cubicBezTo>
                      <a:cubicBezTo>
                        <a:pt x="14" y="8"/>
                        <a:pt x="14" y="8"/>
                        <a:pt x="14" y="8"/>
                      </a:cubicBezTo>
                      <a:cubicBezTo>
                        <a:pt x="14" y="8"/>
                        <a:pt x="14" y="8"/>
                        <a:pt x="14" y="8"/>
                      </a:cubicBezTo>
                      <a:cubicBezTo>
                        <a:pt x="14" y="8"/>
                        <a:pt x="14" y="8"/>
                        <a:pt x="14" y="8"/>
                      </a:cubicBezTo>
                      <a:cubicBezTo>
                        <a:pt x="14" y="8"/>
                        <a:pt x="14" y="7"/>
                        <a:pt x="14" y="7"/>
                      </a:cubicBezTo>
                      <a:cubicBezTo>
                        <a:pt x="14" y="7"/>
                        <a:pt x="14" y="7"/>
                        <a:pt x="14" y="7"/>
                      </a:cubicBezTo>
                      <a:cubicBezTo>
                        <a:pt x="14" y="7"/>
                        <a:pt x="14" y="7"/>
                        <a:pt x="14"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2" y="5"/>
                        <a:pt x="12" y="5"/>
                      </a:cubicBezTo>
                      <a:cubicBezTo>
                        <a:pt x="12" y="5"/>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0" y="5"/>
                      </a:cubicBezTo>
                      <a:cubicBezTo>
                        <a:pt x="10" y="5"/>
                        <a:pt x="10" y="5"/>
                        <a:pt x="10" y="5"/>
                      </a:cubicBezTo>
                      <a:cubicBezTo>
                        <a:pt x="10" y="5"/>
                        <a:pt x="10" y="5"/>
                        <a:pt x="10" y="5"/>
                      </a:cubicBezTo>
                      <a:cubicBezTo>
                        <a:pt x="10" y="5"/>
                        <a:pt x="10" y="5"/>
                        <a:pt x="10" y="5"/>
                      </a:cubicBezTo>
                      <a:cubicBezTo>
                        <a:pt x="10" y="5"/>
                        <a:pt x="10"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8" y="5"/>
                        <a:pt x="8" y="5"/>
                        <a:pt x="8" y="5"/>
                      </a:cubicBezTo>
                      <a:cubicBezTo>
                        <a:pt x="8" y="5"/>
                        <a:pt x="8" y="5"/>
                        <a:pt x="8" y="5"/>
                      </a:cubicBezTo>
                      <a:cubicBezTo>
                        <a:pt x="8" y="5"/>
                        <a:pt x="8" y="4"/>
                        <a:pt x="8" y="4"/>
                      </a:cubicBezTo>
                      <a:cubicBezTo>
                        <a:pt x="8" y="4"/>
                        <a:pt x="8" y="4"/>
                        <a:pt x="8" y="4"/>
                      </a:cubicBezTo>
                      <a:cubicBezTo>
                        <a:pt x="8" y="4"/>
                        <a:pt x="8" y="4"/>
                        <a:pt x="8" y="4"/>
                      </a:cubicBezTo>
                      <a:cubicBezTo>
                        <a:pt x="7" y="4"/>
                        <a:pt x="7" y="4"/>
                        <a:pt x="7" y="4"/>
                      </a:cubicBezTo>
                      <a:cubicBezTo>
                        <a:pt x="7" y="4"/>
                        <a:pt x="7" y="4"/>
                        <a:pt x="7" y="4"/>
                      </a:cubicBezTo>
                      <a:cubicBezTo>
                        <a:pt x="7" y="4"/>
                        <a:pt x="7" y="4"/>
                        <a:pt x="7" y="4"/>
                      </a:cubicBezTo>
                      <a:cubicBezTo>
                        <a:pt x="7" y="4"/>
                        <a:pt x="7" y="4"/>
                        <a:pt x="7" y="4"/>
                      </a:cubicBezTo>
                      <a:cubicBezTo>
                        <a:pt x="5" y="5"/>
                        <a:pt x="5" y="5"/>
                        <a:pt x="5" y="5"/>
                      </a:cubicBezTo>
                      <a:cubicBezTo>
                        <a:pt x="2" y="5"/>
                        <a:pt x="2" y="5"/>
                        <a:pt x="2"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2" y="6"/>
                        <a:pt x="2" y="6"/>
                      </a:cubicBezTo>
                      <a:cubicBezTo>
                        <a:pt x="2" y="6"/>
                        <a:pt x="2" y="6"/>
                        <a:pt x="2" y="6"/>
                      </a:cubicBezTo>
                      <a:cubicBezTo>
                        <a:pt x="3" y="7"/>
                        <a:pt x="3" y="7"/>
                        <a:pt x="3" y="7"/>
                      </a:cubicBezTo>
                      <a:cubicBezTo>
                        <a:pt x="2" y="7"/>
                        <a:pt x="2" y="7"/>
                        <a:pt x="2" y="7"/>
                      </a:cubicBezTo>
                      <a:cubicBezTo>
                        <a:pt x="2" y="10"/>
                        <a:pt x="2" y="10"/>
                        <a:pt x="2" y="10"/>
                      </a:cubicBezTo>
                      <a:cubicBezTo>
                        <a:pt x="2" y="10"/>
                        <a:pt x="1" y="10"/>
                        <a:pt x="1" y="10"/>
                      </a:cubicBezTo>
                      <a:cubicBezTo>
                        <a:pt x="1" y="10"/>
                        <a:pt x="2" y="11"/>
                        <a:pt x="2"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0" y="13"/>
                        <a:pt x="0" y="13"/>
                      </a:cubicBezTo>
                      <a:cubicBezTo>
                        <a:pt x="0" y="13"/>
                        <a:pt x="0" y="13"/>
                        <a:pt x="0" y="13"/>
                      </a:cubicBezTo>
                      <a:cubicBezTo>
                        <a:pt x="0" y="13"/>
                        <a:pt x="0" y="13"/>
                        <a:pt x="0" y="13"/>
                      </a:cubicBezTo>
                      <a:cubicBezTo>
                        <a:pt x="0" y="13"/>
                        <a:pt x="0" y="13"/>
                        <a:pt x="0" y="13"/>
                      </a:cubicBezTo>
                      <a:cubicBezTo>
                        <a:pt x="2" y="15"/>
                        <a:pt x="2" y="15"/>
                        <a:pt x="2" y="15"/>
                      </a:cubicBezTo>
                      <a:cubicBezTo>
                        <a:pt x="2" y="15"/>
                        <a:pt x="2" y="15"/>
                        <a:pt x="2" y="15"/>
                      </a:cubicBezTo>
                      <a:cubicBezTo>
                        <a:pt x="2" y="16"/>
                        <a:pt x="2" y="16"/>
                        <a:pt x="2" y="16"/>
                      </a:cubicBezTo>
                      <a:cubicBezTo>
                        <a:pt x="3" y="16"/>
                        <a:pt x="3" y="16"/>
                        <a:pt x="3" y="16"/>
                      </a:cubicBezTo>
                      <a:cubicBezTo>
                        <a:pt x="4" y="16"/>
                        <a:pt x="4" y="16"/>
                        <a:pt x="4" y="16"/>
                      </a:cubicBezTo>
                      <a:cubicBezTo>
                        <a:pt x="5" y="16"/>
                        <a:pt x="5" y="16"/>
                        <a:pt x="5" y="16"/>
                      </a:cubicBezTo>
                      <a:cubicBezTo>
                        <a:pt x="6" y="17"/>
                        <a:pt x="6" y="17"/>
                        <a:pt x="6" y="17"/>
                      </a:cubicBezTo>
                      <a:cubicBezTo>
                        <a:pt x="6" y="18"/>
                        <a:pt x="6" y="18"/>
                        <a:pt x="6" y="18"/>
                      </a:cubicBezTo>
                      <a:cubicBezTo>
                        <a:pt x="6" y="18"/>
                        <a:pt x="6" y="18"/>
                        <a:pt x="6" y="18"/>
                      </a:cubicBezTo>
                      <a:cubicBezTo>
                        <a:pt x="6" y="18"/>
                        <a:pt x="6" y="18"/>
                        <a:pt x="6" y="18"/>
                      </a:cubicBezTo>
                      <a:cubicBezTo>
                        <a:pt x="6" y="18"/>
                        <a:pt x="7" y="18"/>
                        <a:pt x="7" y="18"/>
                      </a:cubicBezTo>
                      <a:cubicBezTo>
                        <a:pt x="7" y="19"/>
                        <a:pt x="7" y="18"/>
                        <a:pt x="7" y="18"/>
                      </a:cubicBezTo>
                      <a:cubicBezTo>
                        <a:pt x="7" y="18"/>
                        <a:pt x="7" y="19"/>
                        <a:pt x="7" y="19"/>
                      </a:cubicBezTo>
                      <a:cubicBezTo>
                        <a:pt x="7" y="19"/>
                        <a:pt x="7" y="19"/>
                        <a:pt x="7" y="19"/>
                      </a:cubicBezTo>
                      <a:cubicBezTo>
                        <a:pt x="7" y="19"/>
                        <a:pt x="8" y="19"/>
                        <a:pt x="8" y="19"/>
                      </a:cubicBezTo>
                      <a:cubicBezTo>
                        <a:pt x="8" y="19"/>
                        <a:pt x="8" y="19"/>
                        <a:pt x="8" y="19"/>
                      </a:cubicBezTo>
                      <a:cubicBezTo>
                        <a:pt x="8" y="19"/>
                        <a:pt x="8" y="19"/>
                        <a:pt x="8" y="19"/>
                      </a:cubicBezTo>
                      <a:cubicBezTo>
                        <a:pt x="9" y="19"/>
                        <a:pt x="9" y="19"/>
                        <a:pt x="9" y="19"/>
                      </a:cubicBezTo>
                      <a:cubicBezTo>
                        <a:pt x="10" y="19"/>
                        <a:pt x="10" y="19"/>
                        <a:pt x="10" y="19"/>
                      </a:cubicBezTo>
                      <a:cubicBezTo>
                        <a:pt x="10" y="19"/>
                        <a:pt x="10" y="19"/>
                        <a:pt x="10" y="19"/>
                      </a:cubicBezTo>
                      <a:cubicBezTo>
                        <a:pt x="15" y="19"/>
                        <a:pt x="15" y="19"/>
                        <a:pt x="15" y="19"/>
                      </a:cubicBezTo>
                      <a:cubicBezTo>
                        <a:pt x="15" y="19"/>
                        <a:pt x="15" y="19"/>
                        <a:pt x="15" y="1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4" name="Freeform 708">
                  <a:extLst>
                    <a:ext uri="{FF2B5EF4-FFF2-40B4-BE49-F238E27FC236}">
                      <a16:creationId xmlns:a16="http://schemas.microsoft.com/office/drawing/2014/main" id="{136F02D9-FDB0-43BB-6610-941976EE9314}"/>
                    </a:ext>
                  </a:extLst>
                </p:cNvPr>
                <p:cNvSpPr>
                  <a:spLocks noEditPoints="1"/>
                </p:cNvSpPr>
                <p:nvPr/>
              </p:nvSpPr>
              <p:spPr bwMode="auto">
                <a:xfrm>
                  <a:off x="9509125" y="4954588"/>
                  <a:ext cx="36512" cy="7938"/>
                </a:xfrm>
                <a:custGeom>
                  <a:avLst/>
                  <a:gdLst>
                    <a:gd name="T0" fmla="*/ 1 w 9"/>
                    <a:gd name="T1" fmla="*/ 0 h 2"/>
                    <a:gd name="T2" fmla="*/ 1 w 9"/>
                    <a:gd name="T3" fmla="*/ 0 h 2"/>
                    <a:gd name="T4" fmla="*/ 2 w 9"/>
                    <a:gd name="T5" fmla="*/ 0 h 2"/>
                    <a:gd name="T6" fmla="*/ 3 w 9"/>
                    <a:gd name="T7" fmla="*/ 0 h 2"/>
                    <a:gd name="T8" fmla="*/ 4 w 9"/>
                    <a:gd name="T9" fmla="*/ 0 h 2"/>
                    <a:gd name="T10" fmla="*/ 5 w 9"/>
                    <a:gd name="T11" fmla="*/ 0 h 2"/>
                    <a:gd name="T12" fmla="*/ 5 w 9"/>
                    <a:gd name="T13" fmla="*/ 0 h 2"/>
                    <a:gd name="T14" fmla="*/ 6 w 9"/>
                    <a:gd name="T15" fmla="*/ 0 h 2"/>
                    <a:gd name="T16" fmla="*/ 6 w 9"/>
                    <a:gd name="T17" fmla="*/ 0 h 2"/>
                    <a:gd name="T18" fmla="*/ 6 w 9"/>
                    <a:gd name="T19" fmla="*/ 0 h 2"/>
                    <a:gd name="T20" fmla="*/ 6 w 9"/>
                    <a:gd name="T21" fmla="*/ 0 h 2"/>
                    <a:gd name="T22" fmla="*/ 6 w 9"/>
                    <a:gd name="T23" fmla="*/ 0 h 2"/>
                    <a:gd name="T24" fmla="*/ 5 w 9"/>
                    <a:gd name="T25" fmla="*/ 0 h 2"/>
                    <a:gd name="T26" fmla="*/ 5 w 9"/>
                    <a:gd name="T27" fmla="*/ 1 h 2"/>
                    <a:gd name="T28" fmla="*/ 5 w 9"/>
                    <a:gd name="T29" fmla="*/ 1 h 2"/>
                    <a:gd name="T30" fmla="*/ 4 w 9"/>
                    <a:gd name="T31" fmla="*/ 1 h 2"/>
                    <a:gd name="T32" fmla="*/ 4 w 9"/>
                    <a:gd name="T33" fmla="*/ 1 h 2"/>
                    <a:gd name="T34" fmla="*/ 3 w 9"/>
                    <a:gd name="T35" fmla="*/ 1 h 2"/>
                    <a:gd name="T36" fmla="*/ 3 w 9"/>
                    <a:gd name="T37" fmla="*/ 1 h 2"/>
                    <a:gd name="T38" fmla="*/ 2 w 9"/>
                    <a:gd name="T39" fmla="*/ 1 h 2"/>
                    <a:gd name="T40" fmla="*/ 2 w 9"/>
                    <a:gd name="T41" fmla="*/ 1 h 2"/>
                    <a:gd name="T42" fmla="*/ 1 w 9"/>
                    <a:gd name="T43" fmla="*/ 1 h 2"/>
                    <a:gd name="T44" fmla="*/ 1 w 9"/>
                    <a:gd name="T45" fmla="*/ 1 h 2"/>
                    <a:gd name="T46" fmla="*/ 0 w 9"/>
                    <a:gd name="T47" fmla="*/ 2 h 2"/>
                    <a:gd name="T48" fmla="*/ 0 w 9"/>
                    <a:gd name="T49" fmla="*/ 1 h 2"/>
                    <a:gd name="T50" fmla="*/ 0 w 9"/>
                    <a:gd name="T51" fmla="*/ 1 h 2"/>
                    <a:gd name="T52" fmla="*/ 1 w 9"/>
                    <a:gd name="T53" fmla="*/ 1 h 2"/>
                    <a:gd name="T54" fmla="*/ 0 w 9"/>
                    <a:gd name="T55" fmla="*/ 0 h 2"/>
                    <a:gd name="T56" fmla="*/ 1 w 9"/>
                    <a:gd name="T57" fmla="*/ 0 h 2"/>
                    <a:gd name="T58" fmla="*/ 8 w 9"/>
                    <a:gd name="T59" fmla="*/ 2 h 2"/>
                    <a:gd name="T60" fmla="*/ 8 w 9"/>
                    <a:gd name="T61" fmla="*/ 2 h 2"/>
                    <a:gd name="T62" fmla="*/ 8 w 9"/>
                    <a:gd name="T63" fmla="*/ 2 h 2"/>
                    <a:gd name="T64" fmla="*/ 9 w 9"/>
                    <a:gd name="T65" fmla="*/ 2 h 2"/>
                    <a:gd name="T66" fmla="*/ 9 w 9"/>
                    <a:gd name="T67" fmla="*/ 2 h 2"/>
                    <a:gd name="T68" fmla="*/ 9 w 9"/>
                    <a:gd name="T69" fmla="*/ 2 h 2"/>
                    <a:gd name="T70" fmla="*/ 9 w 9"/>
                    <a:gd name="T71" fmla="*/ 2 h 2"/>
                    <a:gd name="T72" fmla="*/ 9 w 9"/>
                    <a:gd name="T73" fmla="*/ 2 h 2"/>
                    <a:gd name="T74" fmla="*/ 9 w 9"/>
                    <a:gd name="T75" fmla="*/ 2 h 2"/>
                    <a:gd name="T76" fmla="*/ 9 w 9"/>
                    <a:gd name="T77" fmla="*/ 2 h 2"/>
                    <a:gd name="T78" fmla="*/ 9 w 9"/>
                    <a:gd name="T79" fmla="*/ 2 h 2"/>
                    <a:gd name="T80" fmla="*/ 9 w 9"/>
                    <a:gd name="T81" fmla="*/ 2 h 2"/>
                    <a:gd name="T82" fmla="*/ 9 w 9"/>
                    <a:gd name="T83" fmla="*/ 2 h 2"/>
                    <a:gd name="T84" fmla="*/ 8 w 9"/>
                    <a:gd name="T8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2">
                      <a:moveTo>
                        <a:pt x="1" y="0"/>
                      </a:move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3" y="0"/>
                      </a:cubicBezTo>
                      <a:cubicBezTo>
                        <a:pt x="3" y="0"/>
                        <a:pt x="3" y="0"/>
                        <a:pt x="3" y="0"/>
                      </a:cubicBezTo>
                      <a:cubicBezTo>
                        <a:pt x="3"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5" y="0"/>
                        <a:pt x="5" y="0"/>
                        <a:pt x="5" y="0"/>
                      </a:cubicBezTo>
                      <a:cubicBezTo>
                        <a:pt x="5" y="0"/>
                        <a:pt x="5" y="0"/>
                        <a:pt x="5"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1"/>
                        <a:pt x="4" y="1"/>
                      </a:cubicBezTo>
                      <a:cubicBezTo>
                        <a:pt x="4" y="1"/>
                        <a:pt x="4" y="1"/>
                        <a:pt x="4" y="1"/>
                      </a:cubicBezTo>
                      <a:cubicBezTo>
                        <a:pt x="3" y="1"/>
                        <a:pt x="3" y="1"/>
                        <a:pt x="3" y="1"/>
                      </a:cubicBezTo>
                      <a:cubicBezTo>
                        <a:pt x="3" y="1"/>
                        <a:pt x="3" y="1"/>
                        <a:pt x="3" y="1"/>
                      </a:cubicBez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2"/>
                        <a:pt x="0" y="2"/>
                      </a:cubicBezTo>
                      <a:cubicBezTo>
                        <a:pt x="0" y="2"/>
                        <a:pt x="0" y="2"/>
                        <a:pt x="0" y="2"/>
                      </a:cubicBezTo>
                      <a:cubicBezTo>
                        <a:pt x="0" y="2"/>
                        <a:pt x="0" y="1"/>
                        <a:pt x="0" y="1"/>
                      </a:cubicBezTo>
                      <a:cubicBezTo>
                        <a:pt x="0" y="1"/>
                        <a:pt x="0" y="1"/>
                        <a:pt x="0" y="1"/>
                      </a:cubicBezTo>
                      <a:cubicBezTo>
                        <a:pt x="0" y="1"/>
                        <a:pt x="0" y="1"/>
                        <a:pt x="0" y="1"/>
                      </a:cubicBezTo>
                      <a:cubicBezTo>
                        <a:pt x="0" y="1"/>
                        <a:pt x="0" y="1"/>
                        <a:pt x="0" y="1"/>
                      </a:cubicBezTo>
                      <a:cubicBezTo>
                        <a:pt x="0" y="1"/>
                        <a:pt x="0" y="1"/>
                        <a:pt x="1" y="1"/>
                      </a:cubicBezTo>
                      <a:cubicBezTo>
                        <a:pt x="1" y="1"/>
                        <a:pt x="1" y="0"/>
                        <a:pt x="1" y="0"/>
                      </a:cubicBezTo>
                      <a:cubicBezTo>
                        <a:pt x="1" y="0"/>
                        <a:pt x="0" y="0"/>
                        <a:pt x="0" y="0"/>
                      </a:cubicBezTo>
                      <a:cubicBezTo>
                        <a:pt x="0" y="0"/>
                        <a:pt x="0" y="0"/>
                        <a:pt x="0" y="0"/>
                      </a:cubicBezTo>
                      <a:cubicBezTo>
                        <a:pt x="1" y="0"/>
                        <a:pt x="1" y="0"/>
                        <a:pt x="1" y="0"/>
                      </a:cubicBezTo>
                      <a:close/>
                      <a:moveTo>
                        <a:pt x="8" y="2"/>
                      </a:move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8" y="2"/>
                        <a:pt x="8" y="2"/>
                      </a:cubicBezTo>
                      <a:cubicBezTo>
                        <a:pt x="8" y="2"/>
                        <a:pt x="8" y="2"/>
                        <a:pt x="8" y="2"/>
                      </a:cubicBezTo>
                      <a:cubicBezTo>
                        <a:pt x="8" y="2"/>
                        <a:pt x="8" y="2"/>
                        <a:pt x="8"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5" name="Freeform 709">
                  <a:extLst>
                    <a:ext uri="{FF2B5EF4-FFF2-40B4-BE49-F238E27FC236}">
                      <a16:creationId xmlns:a16="http://schemas.microsoft.com/office/drawing/2014/main" id="{3196A378-56CD-2CB1-F0CD-C5DA5179FFFB}"/>
                    </a:ext>
                  </a:extLst>
                </p:cNvPr>
                <p:cNvSpPr>
                  <a:spLocks noEditPoints="1"/>
                </p:cNvSpPr>
                <p:nvPr/>
              </p:nvSpPr>
              <p:spPr bwMode="auto">
                <a:xfrm>
                  <a:off x="9437688" y="5008563"/>
                  <a:ext cx="92075" cy="58738"/>
                </a:xfrm>
                <a:custGeom>
                  <a:avLst/>
                  <a:gdLst>
                    <a:gd name="T0" fmla="*/ 19 w 22"/>
                    <a:gd name="T1" fmla="*/ 13 h 14"/>
                    <a:gd name="T2" fmla="*/ 18 w 22"/>
                    <a:gd name="T3" fmla="*/ 12 h 14"/>
                    <a:gd name="T4" fmla="*/ 17 w 22"/>
                    <a:gd name="T5" fmla="*/ 12 h 14"/>
                    <a:gd name="T6" fmla="*/ 16 w 22"/>
                    <a:gd name="T7" fmla="*/ 11 h 14"/>
                    <a:gd name="T8" fmla="*/ 14 w 22"/>
                    <a:gd name="T9" fmla="*/ 11 h 14"/>
                    <a:gd name="T10" fmla="*/ 13 w 22"/>
                    <a:gd name="T11" fmla="*/ 11 h 14"/>
                    <a:gd name="T12" fmla="*/ 12 w 22"/>
                    <a:gd name="T13" fmla="*/ 10 h 14"/>
                    <a:gd name="T14" fmla="*/ 12 w 22"/>
                    <a:gd name="T15" fmla="*/ 9 h 14"/>
                    <a:gd name="T16" fmla="*/ 12 w 22"/>
                    <a:gd name="T17" fmla="*/ 9 h 14"/>
                    <a:gd name="T18" fmla="*/ 12 w 22"/>
                    <a:gd name="T19" fmla="*/ 8 h 14"/>
                    <a:gd name="T20" fmla="*/ 12 w 22"/>
                    <a:gd name="T21" fmla="*/ 6 h 14"/>
                    <a:gd name="T22" fmla="*/ 10 w 22"/>
                    <a:gd name="T23" fmla="*/ 4 h 14"/>
                    <a:gd name="T24" fmla="*/ 9 w 22"/>
                    <a:gd name="T25" fmla="*/ 3 h 14"/>
                    <a:gd name="T26" fmla="*/ 7 w 22"/>
                    <a:gd name="T27" fmla="*/ 2 h 14"/>
                    <a:gd name="T28" fmla="*/ 6 w 22"/>
                    <a:gd name="T29" fmla="*/ 1 h 14"/>
                    <a:gd name="T30" fmla="*/ 5 w 22"/>
                    <a:gd name="T31" fmla="*/ 1 h 14"/>
                    <a:gd name="T32" fmla="*/ 0 w 22"/>
                    <a:gd name="T33" fmla="*/ 7 h 14"/>
                    <a:gd name="T34" fmla="*/ 1 w 22"/>
                    <a:gd name="T35" fmla="*/ 8 h 14"/>
                    <a:gd name="T36" fmla="*/ 3 w 22"/>
                    <a:gd name="T37" fmla="*/ 9 h 14"/>
                    <a:gd name="T38" fmla="*/ 4 w 22"/>
                    <a:gd name="T39" fmla="*/ 10 h 14"/>
                    <a:gd name="T40" fmla="*/ 6 w 22"/>
                    <a:gd name="T41" fmla="*/ 12 h 14"/>
                    <a:gd name="T42" fmla="*/ 7 w 22"/>
                    <a:gd name="T43" fmla="*/ 13 h 14"/>
                    <a:gd name="T44" fmla="*/ 9 w 22"/>
                    <a:gd name="T45" fmla="*/ 13 h 14"/>
                    <a:gd name="T46" fmla="*/ 11 w 22"/>
                    <a:gd name="T47" fmla="*/ 14 h 14"/>
                    <a:gd name="T48" fmla="*/ 14 w 22"/>
                    <a:gd name="T49" fmla="*/ 14 h 14"/>
                    <a:gd name="T50" fmla="*/ 21 w 22"/>
                    <a:gd name="T51" fmla="*/ 10 h 14"/>
                    <a:gd name="T52" fmla="*/ 21 w 22"/>
                    <a:gd name="T53" fmla="*/ 9 h 14"/>
                    <a:gd name="T54" fmla="*/ 21 w 22"/>
                    <a:gd name="T55" fmla="*/ 10 h 14"/>
                    <a:gd name="T56" fmla="*/ 21 w 22"/>
                    <a:gd name="T57" fmla="*/ 10 h 14"/>
                    <a:gd name="T58" fmla="*/ 22 w 22"/>
                    <a:gd name="T59" fmla="*/ 10 h 14"/>
                    <a:gd name="T60" fmla="*/ 21 w 22"/>
                    <a:gd name="T61" fmla="*/ 9 h 14"/>
                    <a:gd name="T62" fmla="*/ 20 w 22"/>
                    <a:gd name="T63" fmla="*/ 9 h 14"/>
                    <a:gd name="T64" fmla="*/ 20 w 22"/>
                    <a:gd name="T65" fmla="*/ 9 h 14"/>
                    <a:gd name="T66" fmla="*/ 21 w 22"/>
                    <a:gd name="T67" fmla="*/ 10 h 14"/>
                    <a:gd name="T68" fmla="*/ 21 w 22"/>
                    <a:gd name="T69" fmla="*/ 10 h 14"/>
                    <a:gd name="T70" fmla="*/ 22 w 22"/>
                    <a:gd name="T71" fmla="*/ 10 h 14"/>
                    <a:gd name="T72" fmla="*/ 20 w 22"/>
                    <a:gd name="T73" fmla="*/ 8 h 14"/>
                    <a:gd name="T74" fmla="*/ 20 w 22"/>
                    <a:gd name="T75" fmla="*/ 8 h 14"/>
                    <a:gd name="T76" fmla="*/ 20 w 22"/>
                    <a:gd name="T77" fmla="*/ 8 h 14"/>
                    <a:gd name="T78" fmla="*/ 20 w 22"/>
                    <a:gd name="T79" fmla="*/ 8 h 14"/>
                    <a:gd name="T80" fmla="*/ 15 w 22"/>
                    <a:gd name="T81" fmla="*/ 6 h 14"/>
                    <a:gd name="T82" fmla="*/ 15 w 22"/>
                    <a:gd name="T83" fmla="*/ 6 h 14"/>
                    <a:gd name="T84" fmla="*/ 15 w 22"/>
                    <a:gd name="T85" fmla="*/ 6 h 14"/>
                    <a:gd name="T86" fmla="*/ 14 w 22"/>
                    <a:gd name="T87" fmla="*/ 4 h 14"/>
                    <a:gd name="T88" fmla="*/ 13 w 22"/>
                    <a:gd name="T89" fmla="*/ 4 h 14"/>
                    <a:gd name="T90" fmla="*/ 13 w 22"/>
                    <a:gd name="T91" fmla="*/ 5 h 14"/>
                    <a:gd name="T92" fmla="*/ 13 w 22"/>
                    <a:gd name="T93" fmla="*/ 5 h 14"/>
                    <a:gd name="T94" fmla="*/ 13 w 22"/>
                    <a:gd name="T95" fmla="*/ 6 h 14"/>
                    <a:gd name="T96" fmla="*/ 14 w 22"/>
                    <a:gd name="T97" fmla="*/ 5 h 14"/>
                    <a:gd name="T98" fmla="*/ 7 w 22"/>
                    <a:gd name="T99" fmla="*/ 1 h 14"/>
                    <a:gd name="T100" fmla="*/ 7 w 22"/>
                    <a:gd name="T101" fmla="*/ 1 h 14"/>
                    <a:gd name="T102" fmla="*/ 7 w 22"/>
                    <a:gd name="T103" fmla="*/ 1 h 14"/>
                    <a:gd name="T104" fmla="*/ 7 w 22"/>
                    <a:gd name="T10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14">
                      <a:moveTo>
                        <a:pt x="3" y="9"/>
                      </a:moveTo>
                      <a:cubicBezTo>
                        <a:pt x="3" y="9"/>
                        <a:pt x="3" y="9"/>
                        <a:pt x="3" y="9"/>
                      </a:cubicBezTo>
                      <a:cubicBezTo>
                        <a:pt x="4" y="9"/>
                        <a:pt x="4" y="9"/>
                        <a:pt x="4" y="9"/>
                      </a:cubicBezTo>
                      <a:lnTo>
                        <a:pt x="3" y="9"/>
                      </a:lnTo>
                      <a:close/>
                      <a:moveTo>
                        <a:pt x="19" y="13"/>
                      </a:moveTo>
                      <a:cubicBezTo>
                        <a:pt x="19" y="13"/>
                        <a:pt x="19" y="13"/>
                        <a:pt x="19" y="13"/>
                      </a:cubicBezTo>
                      <a:cubicBezTo>
                        <a:pt x="19" y="13"/>
                        <a:pt x="18" y="13"/>
                        <a:pt x="18" y="13"/>
                      </a:cubicBezTo>
                      <a:cubicBezTo>
                        <a:pt x="18" y="13"/>
                        <a:pt x="18" y="13"/>
                        <a:pt x="18" y="13"/>
                      </a:cubicBezTo>
                      <a:cubicBezTo>
                        <a:pt x="18" y="13"/>
                        <a:pt x="18" y="13"/>
                        <a:pt x="18" y="13"/>
                      </a:cubicBezTo>
                      <a:cubicBezTo>
                        <a:pt x="18" y="13"/>
                        <a:pt x="18" y="12"/>
                        <a:pt x="18" y="12"/>
                      </a:cubicBezTo>
                      <a:cubicBezTo>
                        <a:pt x="18" y="12"/>
                        <a:pt x="18"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1"/>
                        <a:pt x="17" y="11"/>
                      </a:cubicBezTo>
                      <a:cubicBezTo>
                        <a:pt x="17" y="11"/>
                        <a:pt x="16" y="11"/>
                        <a:pt x="16" y="12"/>
                      </a:cubicBezTo>
                      <a:cubicBezTo>
                        <a:pt x="16" y="12"/>
                        <a:pt x="16" y="12"/>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1"/>
                        <a:pt x="14" y="11"/>
                        <a:pt x="14" y="11"/>
                      </a:cubicBezTo>
                      <a:cubicBezTo>
                        <a:pt x="13" y="11"/>
                        <a:pt x="13" y="11"/>
                        <a:pt x="13" y="11"/>
                      </a:cubicBezTo>
                      <a:cubicBezTo>
                        <a:pt x="13" y="10"/>
                        <a:pt x="13" y="11"/>
                        <a:pt x="13" y="11"/>
                      </a:cubicBezTo>
                      <a:cubicBezTo>
                        <a:pt x="13" y="11"/>
                        <a:pt x="13" y="11"/>
                        <a:pt x="13" y="11"/>
                      </a:cubicBezTo>
                      <a:cubicBezTo>
                        <a:pt x="13" y="11"/>
                        <a:pt x="13" y="11"/>
                        <a:pt x="13" y="11"/>
                      </a:cubicBezTo>
                      <a:cubicBezTo>
                        <a:pt x="12" y="11"/>
                        <a:pt x="12" y="11"/>
                        <a:pt x="12" y="11"/>
                      </a:cubicBezTo>
                      <a:cubicBezTo>
                        <a:pt x="12" y="11"/>
                        <a:pt x="12" y="11"/>
                        <a:pt x="12" y="11"/>
                      </a:cubicBezTo>
                      <a:cubicBezTo>
                        <a:pt x="12" y="11"/>
                        <a:pt x="12" y="11"/>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1" y="6"/>
                        <a:pt x="11" y="5"/>
                        <a:pt x="11" y="5"/>
                      </a:cubicBezTo>
                      <a:cubicBezTo>
                        <a:pt x="11" y="5"/>
                        <a:pt x="11" y="5"/>
                        <a:pt x="10" y="5"/>
                      </a:cubicBezTo>
                      <a:cubicBezTo>
                        <a:pt x="10" y="5"/>
                        <a:pt x="10" y="5"/>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3"/>
                        <a:pt x="9" y="3"/>
                        <a:pt x="9" y="3"/>
                      </a:cubicBezTo>
                      <a:cubicBezTo>
                        <a:pt x="9" y="3"/>
                        <a:pt x="9" y="3"/>
                        <a:pt x="9" y="3"/>
                      </a:cubicBezTo>
                      <a:cubicBezTo>
                        <a:pt x="9" y="3"/>
                        <a:pt x="8" y="3"/>
                        <a:pt x="8" y="3"/>
                      </a:cubicBezTo>
                      <a:cubicBezTo>
                        <a:pt x="8" y="3"/>
                        <a:pt x="8" y="3"/>
                        <a:pt x="8" y="3"/>
                      </a:cubicBezTo>
                      <a:cubicBezTo>
                        <a:pt x="8" y="3"/>
                        <a:pt x="7" y="3"/>
                        <a:pt x="7" y="3"/>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1"/>
                        <a:pt x="6" y="1"/>
                      </a:cubicBezTo>
                      <a:cubicBezTo>
                        <a:pt x="6" y="1"/>
                        <a:pt x="6" y="1"/>
                        <a:pt x="6" y="1"/>
                      </a:cubicBezTo>
                      <a:cubicBezTo>
                        <a:pt x="6" y="1"/>
                        <a:pt x="6"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0"/>
                        <a:pt x="4" y="0"/>
                      </a:cubicBezTo>
                      <a:cubicBezTo>
                        <a:pt x="4" y="4"/>
                        <a:pt x="4" y="4"/>
                        <a:pt x="4" y="4"/>
                      </a:cubicBezTo>
                      <a:cubicBezTo>
                        <a:pt x="0" y="7"/>
                        <a:pt x="0" y="7"/>
                        <a:pt x="0" y="7"/>
                      </a:cubicBezTo>
                      <a:cubicBezTo>
                        <a:pt x="0" y="7"/>
                        <a:pt x="0" y="7"/>
                        <a:pt x="0" y="7"/>
                      </a:cubicBezTo>
                      <a:cubicBezTo>
                        <a:pt x="0" y="8"/>
                        <a:pt x="0" y="8"/>
                        <a:pt x="0" y="8"/>
                      </a:cubicBezTo>
                      <a:cubicBezTo>
                        <a:pt x="1" y="8"/>
                        <a:pt x="1" y="8"/>
                        <a:pt x="1" y="8"/>
                      </a:cubicBezTo>
                      <a:cubicBezTo>
                        <a:pt x="1" y="8"/>
                        <a:pt x="1" y="8"/>
                        <a:pt x="1" y="8"/>
                      </a:cubicBezTo>
                      <a:cubicBezTo>
                        <a:pt x="1" y="8"/>
                        <a:pt x="1" y="8"/>
                        <a:pt x="1" y="8"/>
                      </a:cubicBezTo>
                      <a:cubicBezTo>
                        <a:pt x="1" y="8"/>
                        <a:pt x="1" y="9"/>
                        <a:pt x="1" y="9"/>
                      </a:cubicBezTo>
                      <a:cubicBezTo>
                        <a:pt x="2" y="9"/>
                        <a:pt x="2" y="9"/>
                        <a:pt x="2" y="9"/>
                      </a:cubicBezTo>
                      <a:cubicBezTo>
                        <a:pt x="2" y="9"/>
                        <a:pt x="2" y="9"/>
                        <a:pt x="2" y="9"/>
                      </a:cubicBezTo>
                      <a:cubicBezTo>
                        <a:pt x="2" y="9"/>
                        <a:pt x="2" y="9"/>
                        <a:pt x="2" y="9"/>
                      </a:cubicBezTo>
                      <a:cubicBezTo>
                        <a:pt x="3" y="9"/>
                        <a:pt x="3" y="9"/>
                        <a:pt x="3" y="9"/>
                      </a:cubicBezTo>
                      <a:cubicBezTo>
                        <a:pt x="3" y="9"/>
                        <a:pt x="3" y="9"/>
                        <a:pt x="3" y="9"/>
                      </a:cubicBezTo>
                      <a:cubicBezTo>
                        <a:pt x="3" y="9"/>
                        <a:pt x="3" y="9"/>
                        <a:pt x="3" y="9"/>
                      </a:cubicBezTo>
                      <a:cubicBezTo>
                        <a:pt x="4" y="9"/>
                        <a:pt x="4" y="9"/>
                        <a:pt x="4" y="9"/>
                      </a:cubicBezTo>
                      <a:cubicBezTo>
                        <a:pt x="4" y="10"/>
                        <a:pt x="4" y="10"/>
                        <a:pt x="4" y="10"/>
                      </a:cubicBezTo>
                      <a:cubicBezTo>
                        <a:pt x="4" y="10"/>
                        <a:pt x="4" y="10"/>
                        <a:pt x="4" y="10"/>
                      </a:cubicBezTo>
                      <a:cubicBezTo>
                        <a:pt x="4" y="10"/>
                        <a:pt x="4" y="10"/>
                        <a:pt x="4" y="10"/>
                      </a:cubicBezTo>
                      <a:cubicBezTo>
                        <a:pt x="5" y="10"/>
                        <a:pt x="5" y="10"/>
                        <a:pt x="5" y="10"/>
                      </a:cubicBezTo>
                      <a:cubicBezTo>
                        <a:pt x="5" y="11"/>
                        <a:pt x="5" y="11"/>
                        <a:pt x="5" y="11"/>
                      </a:cubicBezTo>
                      <a:cubicBezTo>
                        <a:pt x="5" y="11"/>
                        <a:pt x="6" y="11"/>
                        <a:pt x="6" y="11"/>
                      </a:cubicBezTo>
                      <a:cubicBezTo>
                        <a:pt x="6" y="11"/>
                        <a:pt x="6" y="12"/>
                        <a:pt x="6" y="12"/>
                      </a:cubicBezTo>
                      <a:cubicBezTo>
                        <a:pt x="6" y="12"/>
                        <a:pt x="6" y="12"/>
                        <a:pt x="6" y="12"/>
                      </a:cubicBezTo>
                      <a:cubicBezTo>
                        <a:pt x="7" y="12"/>
                        <a:pt x="7" y="12"/>
                        <a:pt x="7" y="12"/>
                      </a:cubicBezTo>
                      <a:cubicBezTo>
                        <a:pt x="7" y="12"/>
                        <a:pt x="7" y="12"/>
                        <a:pt x="7" y="12"/>
                      </a:cubicBezTo>
                      <a:cubicBezTo>
                        <a:pt x="7" y="12"/>
                        <a:pt x="7" y="12"/>
                        <a:pt x="7" y="12"/>
                      </a:cubicBezTo>
                      <a:cubicBezTo>
                        <a:pt x="7" y="13"/>
                        <a:pt x="7" y="13"/>
                        <a:pt x="7" y="13"/>
                      </a:cubicBezTo>
                      <a:cubicBezTo>
                        <a:pt x="7" y="13"/>
                        <a:pt x="7" y="13"/>
                        <a:pt x="7" y="13"/>
                      </a:cubicBezTo>
                      <a:cubicBezTo>
                        <a:pt x="8" y="13"/>
                        <a:pt x="8" y="13"/>
                        <a:pt x="8" y="13"/>
                      </a:cubicBezTo>
                      <a:cubicBezTo>
                        <a:pt x="8" y="13"/>
                        <a:pt x="8" y="13"/>
                        <a:pt x="8" y="13"/>
                      </a:cubicBezTo>
                      <a:cubicBezTo>
                        <a:pt x="9" y="13"/>
                        <a:pt x="9" y="13"/>
                        <a:pt x="9" y="13"/>
                      </a:cubicBezTo>
                      <a:cubicBezTo>
                        <a:pt x="9" y="13"/>
                        <a:pt x="9" y="13"/>
                        <a:pt x="9" y="13"/>
                      </a:cubicBezTo>
                      <a:cubicBezTo>
                        <a:pt x="9" y="14"/>
                        <a:pt x="9" y="14"/>
                        <a:pt x="9" y="14"/>
                      </a:cubicBezTo>
                      <a:cubicBezTo>
                        <a:pt x="10" y="14"/>
                        <a:pt x="10" y="14"/>
                        <a:pt x="10" y="14"/>
                      </a:cubicBezTo>
                      <a:cubicBezTo>
                        <a:pt x="10" y="14"/>
                        <a:pt x="11" y="14"/>
                        <a:pt x="11" y="14"/>
                      </a:cubicBezTo>
                      <a:cubicBezTo>
                        <a:pt x="11" y="14"/>
                        <a:pt x="11" y="13"/>
                        <a:pt x="11" y="13"/>
                      </a:cubicBezTo>
                      <a:cubicBezTo>
                        <a:pt x="11" y="13"/>
                        <a:pt x="11" y="14"/>
                        <a:pt x="11" y="14"/>
                      </a:cubicBezTo>
                      <a:cubicBezTo>
                        <a:pt x="11" y="14"/>
                        <a:pt x="11" y="14"/>
                        <a:pt x="11" y="14"/>
                      </a:cubicBezTo>
                      <a:cubicBezTo>
                        <a:pt x="12" y="14"/>
                        <a:pt x="12" y="14"/>
                        <a:pt x="12" y="14"/>
                      </a:cubicBezTo>
                      <a:cubicBezTo>
                        <a:pt x="13" y="14"/>
                        <a:pt x="13" y="14"/>
                        <a:pt x="13" y="14"/>
                      </a:cubicBezTo>
                      <a:cubicBezTo>
                        <a:pt x="13" y="14"/>
                        <a:pt x="13" y="14"/>
                        <a:pt x="13" y="14"/>
                      </a:cubicBezTo>
                      <a:cubicBezTo>
                        <a:pt x="14" y="14"/>
                        <a:pt x="14" y="14"/>
                        <a:pt x="14" y="14"/>
                      </a:cubicBezTo>
                      <a:cubicBezTo>
                        <a:pt x="17" y="14"/>
                        <a:pt x="17" y="14"/>
                        <a:pt x="17" y="14"/>
                      </a:cubicBezTo>
                      <a:cubicBezTo>
                        <a:pt x="19" y="13"/>
                        <a:pt x="19" y="13"/>
                        <a:pt x="19" y="13"/>
                      </a:cubicBezTo>
                      <a:cubicBezTo>
                        <a:pt x="19" y="13"/>
                        <a:pt x="19" y="13"/>
                        <a:pt x="19" y="13"/>
                      </a:cubicBezTo>
                      <a:close/>
                      <a:moveTo>
                        <a:pt x="21" y="10"/>
                      </a:moveTo>
                      <a:cubicBezTo>
                        <a:pt x="21" y="10"/>
                        <a:pt x="21" y="10"/>
                        <a:pt x="21" y="10"/>
                      </a:cubicBezTo>
                      <a:cubicBezTo>
                        <a:pt x="21" y="10"/>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2" y="10"/>
                        <a:pt x="22" y="10"/>
                      </a:cubicBezTo>
                      <a:cubicBezTo>
                        <a:pt x="22" y="10"/>
                        <a:pt x="22" y="10"/>
                        <a:pt x="21" y="10"/>
                      </a:cubicBezTo>
                      <a:close/>
                      <a:moveTo>
                        <a:pt x="22" y="10"/>
                      </a:moveTo>
                      <a:cubicBezTo>
                        <a:pt x="22" y="10"/>
                        <a:pt x="22" y="10"/>
                        <a:pt x="22" y="10"/>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10"/>
                      </a:cubicBezTo>
                      <a:cubicBezTo>
                        <a:pt x="20" y="10"/>
                        <a:pt x="20" y="10"/>
                        <a:pt x="20" y="10"/>
                      </a:cubicBezTo>
                      <a:cubicBezTo>
                        <a:pt x="20" y="10"/>
                        <a:pt x="20" y="10"/>
                        <a:pt x="20" y="10"/>
                      </a:cubicBezTo>
                      <a:cubicBezTo>
                        <a:pt x="20" y="10"/>
                        <a:pt x="20" y="10"/>
                        <a:pt x="20" y="10"/>
                      </a:cubicBezTo>
                      <a:cubicBezTo>
                        <a:pt x="20" y="10"/>
                        <a:pt x="20"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lose/>
                      <a:moveTo>
                        <a:pt x="20" y="8"/>
                      </a:move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14" y="5"/>
                      </a:moveTo>
                      <a:cubicBezTo>
                        <a:pt x="14" y="5"/>
                        <a:pt x="14" y="5"/>
                        <a:pt x="14" y="5"/>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6"/>
                        <a:pt x="13" y="6"/>
                      </a:cubicBezTo>
                      <a:cubicBezTo>
                        <a:pt x="13" y="6"/>
                        <a:pt x="13" y="6"/>
                        <a:pt x="13" y="6"/>
                      </a:cubicBezTo>
                      <a:cubicBezTo>
                        <a:pt x="13" y="6"/>
                        <a:pt x="13" y="6"/>
                        <a:pt x="13" y="6"/>
                      </a:cubicBezTo>
                      <a:cubicBezTo>
                        <a:pt x="13" y="6"/>
                        <a:pt x="13" y="6"/>
                        <a:pt x="13" y="6"/>
                      </a:cubicBezTo>
                      <a:cubicBezTo>
                        <a:pt x="13" y="6"/>
                        <a:pt x="14" y="6"/>
                        <a:pt x="14" y="6"/>
                      </a:cubicBezTo>
                      <a:cubicBezTo>
                        <a:pt x="14" y="6"/>
                        <a:pt x="14" y="5"/>
                        <a:pt x="14" y="5"/>
                      </a:cubicBezTo>
                      <a:cubicBezTo>
                        <a:pt x="14" y="5"/>
                        <a:pt x="14" y="5"/>
                        <a:pt x="14" y="5"/>
                      </a:cubicBezTo>
                      <a:cubicBezTo>
                        <a:pt x="14" y="5"/>
                        <a:pt x="14" y="5"/>
                        <a:pt x="14" y="5"/>
                      </a:cubicBezTo>
                      <a:cubicBezTo>
                        <a:pt x="14" y="5"/>
                        <a:pt x="14" y="5"/>
                        <a:pt x="14" y="5"/>
                      </a:cubicBezTo>
                      <a:close/>
                      <a:moveTo>
                        <a:pt x="7" y="1"/>
                      </a:move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6" name="Freeform 710">
                  <a:extLst>
                    <a:ext uri="{FF2B5EF4-FFF2-40B4-BE49-F238E27FC236}">
                      <a16:creationId xmlns:a16="http://schemas.microsoft.com/office/drawing/2014/main" id="{AEB0FD95-3099-4B1D-9310-D47D053BCA5B}"/>
                    </a:ext>
                  </a:extLst>
                </p:cNvPr>
                <p:cNvSpPr>
                  <a:spLocks noEditPoints="1"/>
                </p:cNvSpPr>
                <p:nvPr/>
              </p:nvSpPr>
              <p:spPr bwMode="auto">
                <a:xfrm>
                  <a:off x="9450388" y="5046663"/>
                  <a:ext cx="17462" cy="33338"/>
                </a:xfrm>
                <a:custGeom>
                  <a:avLst/>
                  <a:gdLst>
                    <a:gd name="T0" fmla="*/ 4 w 4"/>
                    <a:gd name="T1" fmla="*/ 3 h 8"/>
                    <a:gd name="T2" fmla="*/ 3 w 4"/>
                    <a:gd name="T3" fmla="*/ 3 h 8"/>
                    <a:gd name="T4" fmla="*/ 3 w 4"/>
                    <a:gd name="T5" fmla="*/ 2 h 8"/>
                    <a:gd name="T6" fmla="*/ 2 w 4"/>
                    <a:gd name="T7" fmla="*/ 1 h 8"/>
                    <a:gd name="T8" fmla="*/ 1 w 4"/>
                    <a:gd name="T9" fmla="*/ 1 h 8"/>
                    <a:gd name="T10" fmla="*/ 1 w 4"/>
                    <a:gd name="T11" fmla="*/ 0 h 8"/>
                    <a:gd name="T12" fmla="*/ 0 w 4"/>
                    <a:gd name="T13" fmla="*/ 0 h 8"/>
                    <a:gd name="T14" fmla="*/ 1 w 4"/>
                    <a:gd name="T15" fmla="*/ 1 h 8"/>
                    <a:gd name="T16" fmla="*/ 1 w 4"/>
                    <a:gd name="T17" fmla="*/ 1 h 8"/>
                    <a:gd name="T18" fmla="*/ 0 w 4"/>
                    <a:gd name="T19" fmla="*/ 2 h 8"/>
                    <a:gd name="T20" fmla="*/ 1 w 4"/>
                    <a:gd name="T21" fmla="*/ 3 h 8"/>
                    <a:gd name="T22" fmla="*/ 1 w 4"/>
                    <a:gd name="T23" fmla="*/ 3 h 8"/>
                    <a:gd name="T24" fmla="*/ 0 w 4"/>
                    <a:gd name="T25" fmla="*/ 4 h 8"/>
                    <a:gd name="T26" fmla="*/ 0 w 4"/>
                    <a:gd name="T27" fmla="*/ 4 h 8"/>
                    <a:gd name="T28" fmla="*/ 0 w 4"/>
                    <a:gd name="T29" fmla="*/ 4 h 8"/>
                    <a:gd name="T30" fmla="*/ 0 w 4"/>
                    <a:gd name="T31" fmla="*/ 5 h 8"/>
                    <a:gd name="T32" fmla="*/ 0 w 4"/>
                    <a:gd name="T33" fmla="*/ 6 h 8"/>
                    <a:gd name="T34" fmla="*/ 1 w 4"/>
                    <a:gd name="T35" fmla="*/ 6 h 8"/>
                    <a:gd name="T36" fmla="*/ 0 w 4"/>
                    <a:gd name="T37" fmla="*/ 7 h 8"/>
                    <a:gd name="T38" fmla="*/ 1 w 4"/>
                    <a:gd name="T39" fmla="*/ 8 h 8"/>
                    <a:gd name="T40" fmla="*/ 1 w 4"/>
                    <a:gd name="T41" fmla="*/ 7 h 8"/>
                    <a:gd name="T42" fmla="*/ 1 w 4"/>
                    <a:gd name="T43" fmla="*/ 7 h 8"/>
                    <a:gd name="T44" fmla="*/ 2 w 4"/>
                    <a:gd name="T45" fmla="*/ 7 h 8"/>
                    <a:gd name="T46" fmla="*/ 2 w 4"/>
                    <a:gd name="T47" fmla="*/ 6 h 8"/>
                    <a:gd name="T48" fmla="*/ 2 w 4"/>
                    <a:gd name="T49" fmla="*/ 6 h 8"/>
                    <a:gd name="T50" fmla="*/ 2 w 4"/>
                    <a:gd name="T51" fmla="*/ 5 h 8"/>
                    <a:gd name="T52" fmla="*/ 2 w 4"/>
                    <a:gd name="T53" fmla="*/ 4 h 8"/>
                    <a:gd name="T54" fmla="*/ 2 w 4"/>
                    <a:gd name="T55" fmla="*/ 4 h 8"/>
                    <a:gd name="T56" fmla="*/ 3 w 4"/>
                    <a:gd name="T57" fmla="*/ 4 h 8"/>
                    <a:gd name="T58" fmla="*/ 3 w 4"/>
                    <a:gd name="T59" fmla="*/ 4 h 8"/>
                    <a:gd name="T60" fmla="*/ 4 w 4"/>
                    <a:gd name="T61" fmla="*/ 4 h 8"/>
                    <a:gd name="T62" fmla="*/ 0 w 4"/>
                    <a:gd name="T63" fmla="*/ 0 h 8"/>
                    <a:gd name="T64" fmla="*/ 1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3"/>
                      </a:moveTo>
                      <a:cubicBezTo>
                        <a:pt x="4" y="3"/>
                        <a:pt x="4" y="3"/>
                        <a:pt x="4" y="3"/>
                      </a:cubicBezTo>
                      <a:cubicBezTo>
                        <a:pt x="4" y="3"/>
                        <a:pt x="4" y="3"/>
                        <a:pt x="4" y="3"/>
                      </a:cubicBezTo>
                      <a:cubicBezTo>
                        <a:pt x="3" y="3"/>
                        <a:pt x="3" y="3"/>
                        <a:pt x="3" y="3"/>
                      </a:cubicBezTo>
                      <a:cubicBezTo>
                        <a:pt x="3" y="3"/>
                        <a:pt x="3" y="3"/>
                        <a:pt x="3" y="3"/>
                      </a:cubicBezTo>
                      <a:cubicBezTo>
                        <a:pt x="3" y="3"/>
                        <a:pt x="3" y="2"/>
                        <a:pt x="3" y="2"/>
                      </a:cubicBezTo>
                      <a:cubicBezTo>
                        <a:pt x="3" y="2"/>
                        <a:pt x="2" y="2"/>
                        <a:pt x="2" y="2"/>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1"/>
                        <a:pt x="0" y="1"/>
                        <a:pt x="0" y="1"/>
                      </a:cubicBezTo>
                      <a:cubicBezTo>
                        <a:pt x="0" y="1"/>
                        <a:pt x="1" y="1"/>
                        <a:pt x="1" y="1"/>
                      </a:cubicBezTo>
                      <a:cubicBezTo>
                        <a:pt x="1" y="1"/>
                        <a:pt x="1" y="1"/>
                        <a:pt x="1" y="1"/>
                      </a:cubicBezTo>
                      <a:cubicBezTo>
                        <a:pt x="1" y="1"/>
                        <a:pt x="1" y="1"/>
                        <a:pt x="1" y="1"/>
                      </a:cubicBezTo>
                      <a:cubicBezTo>
                        <a:pt x="1" y="1"/>
                        <a:pt x="0" y="2"/>
                        <a:pt x="0" y="2"/>
                      </a:cubicBezTo>
                      <a:cubicBezTo>
                        <a:pt x="0" y="2"/>
                        <a:pt x="0" y="2"/>
                        <a:pt x="0" y="2"/>
                      </a:cubicBezTo>
                      <a:cubicBezTo>
                        <a:pt x="1" y="2"/>
                        <a:pt x="1" y="2"/>
                        <a:pt x="1" y="2"/>
                      </a:cubicBezTo>
                      <a:cubicBezTo>
                        <a:pt x="1" y="2"/>
                        <a:pt x="1" y="3"/>
                        <a:pt x="1" y="3"/>
                      </a:cubicBezTo>
                      <a:cubicBezTo>
                        <a:pt x="1" y="3"/>
                        <a:pt x="1" y="3"/>
                        <a:pt x="1" y="3"/>
                      </a:cubicBezTo>
                      <a:cubicBezTo>
                        <a:pt x="1" y="3"/>
                        <a:pt x="1" y="3"/>
                        <a:pt x="1" y="3"/>
                      </a:cubicBezTo>
                      <a:cubicBezTo>
                        <a:pt x="1" y="3"/>
                        <a:pt x="1" y="3"/>
                        <a:pt x="1" y="3"/>
                      </a:cubicBezTo>
                      <a:cubicBezTo>
                        <a:pt x="1" y="3"/>
                        <a:pt x="0" y="3"/>
                        <a:pt x="0" y="4"/>
                      </a:cubicBezTo>
                      <a:cubicBezTo>
                        <a:pt x="0" y="4"/>
                        <a:pt x="0" y="4"/>
                        <a:pt x="0" y="4"/>
                      </a:cubicBezTo>
                      <a:cubicBezTo>
                        <a:pt x="0" y="4"/>
                        <a:pt x="0" y="4"/>
                        <a:pt x="0"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0" y="5"/>
                        <a:pt x="0" y="6"/>
                        <a:pt x="0" y="6"/>
                      </a:cubicBezTo>
                      <a:cubicBezTo>
                        <a:pt x="0" y="6"/>
                        <a:pt x="0" y="6"/>
                        <a:pt x="0" y="6"/>
                      </a:cubicBezTo>
                      <a:cubicBezTo>
                        <a:pt x="0" y="6"/>
                        <a:pt x="1" y="6"/>
                        <a:pt x="1" y="6"/>
                      </a:cubicBezTo>
                      <a:cubicBezTo>
                        <a:pt x="1" y="6"/>
                        <a:pt x="1" y="6"/>
                        <a:pt x="1" y="6"/>
                      </a:cubicBezTo>
                      <a:cubicBezTo>
                        <a:pt x="1" y="6"/>
                        <a:pt x="0" y="7"/>
                        <a:pt x="0" y="7"/>
                      </a:cubicBezTo>
                      <a:cubicBezTo>
                        <a:pt x="1" y="7"/>
                        <a:pt x="1" y="7"/>
                        <a:pt x="1" y="7"/>
                      </a:cubicBezTo>
                      <a:cubicBezTo>
                        <a:pt x="1" y="8"/>
                        <a:pt x="1" y="8"/>
                        <a:pt x="1" y="8"/>
                      </a:cubicBezTo>
                      <a:cubicBezTo>
                        <a:pt x="1" y="8"/>
                        <a:pt x="1" y="8"/>
                        <a:pt x="1" y="8"/>
                      </a:cubicBezTo>
                      <a:cubicBezTo>
                        <a:pt x="1" y="8"/>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4" y="4"/>
                        <a:pt x="4" y="4"/>
                      </a:cubicBezTo>
                      <a:cubicBezTo>
                        <a:pt x="4" y="4"/>
                        <a:pt x="4" y="4"/>
                        <a:pt x="4" y="4"/>
                      </a:cubicBezTo>
                      <a:lnTo>
                        <a:pt x="4" y="3"/>
                      </a:lnTo>
                      <a:close/>
                      <a:moveTo>
                        <a:pt x="0" y="0"/>
                      </a:moveTo>
                      <a:cubicBezTo>
                        <a:pt x="0" y="0"/>
                        <a:pt x="0" y="0"/>
                        <a:pt x="0" y="0"/>
                      </a:cubicBezTo>
                      <a:cubicBezTo>
                        <a:pt x="1" y="0"/>
                        <a:pt x="1" y="0"/>
                        <a:pt x="1"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7" name="Freeform 711">
                  <a:extLst>
                    <a:ext uri="{FF2B5EF4-FFF2-40B4-BE49-F238E27FC236}">
                      <a16:creationId xmlns:a16="http://schemas.microsoft.com/office/drawing/2014/main" id="{DF34F046-E579-B4FC-746D-F74883626E1A}"/>
                    </a:ext>
                  </a:extLst>
                </p:cNvPr>
                <p:cNvSpPr>
                  <a:spLocks noEditPoints="1"/>
                </p:cNvSpPr>
                <p:nvPr/>
              </p:nvSpPr>
              <p:spPr bwMode="auto">
                <a:xfrm>
                  <a:off x="9409113" y="5087938"/>
                  <a:ext cx="103187" cy="53975"/>
                </a:xfrm>
                <a:custGeom>
                  <a:avLst/>
                  <a:gdLst>
                    <a:gd name="T0" fmla="*/ 6 w 25"/>
                    <a:gd name="T1" fmla="*/ 7 h 13"/>
                    <a:gd name="T2" fmla="*/ 7 w 25"/>
                    <a:gd name="T3" fmla="*/ 8 h 13"/>
                    <a:gd name="T4" fmla="*/ 7 w 25"/>
                    <a:gd name="T5" fmla="*/ 8 h 13"/>
                    <a:gd name="T6" fmla="*/ 6 w 25"/>
                    <a:gd name="T7" fmla="*/ 7 h 13"/>
                    <a:gd name="T8" fmla="*/ 6 w 25"/>
                    <a:gd name="T9" fmla="*/ 7 h 13"/>
                    <a:gd name="T10" fmla="*/ 8 w 25"/>
                    <a:gd name="T11" fmla="*/ 8 h 13"/>
                    <a:gd name="T12" fmla="*/ 9 w 25"/>
                    <a:gd name="T13" fmla="*/ 7 h 13"/>
                    <a:gd name="T14" fmla="*/ 10 w 25"/>
                    <a:gd name="T15" fmla="*/ 7 h 13"/>
                    <a:gd name="T16" fmla="*/ 10 w 25"/>
                    <a:gd name="T17" fmla="*/ 7 h 13"/>
                    <a:gd name="T18" fmla="*/ 12 w 25"/>
                    <a:gd name="T19" fmla="*/ 5 h 13"/>
                    <a:gd name="T20" fmla="*/ 11 w 25"/>
                    <a:gd name="T21" fmla="*/ 6 h 13"/>
                    <a:gd name="T22" fmla="*/ 24 w 25"/>
                    <a:gd name="T23" fmla="*/ 6 h 13"/>
                    <a:gd name="T24" fmla="*/ 23 w 25"/>
                    <a:gd name="T25" fmla="*/ 13 h 13"/>
                    <a:gd name="T26" fmla="*/ 22 w 25"/>
                    <a:gd name="T27" fmla="*/ 12 h 13"/>
                    <a:gd name="T28" fmla="*/ 22 w 25"/>
                    <a:gd name="T29" fmla="*/ 11 h 13"/>
                    <a:gd name="T30" fmla="*/ 21 w 25"/>
                    <a:gd name="T31" fmla="*/ 10 h 13"/>
                    <a:gd name="T32" fmla="*/ 20 w 25"/>
                    <a:gd name="T33" fmla="*/ 9 h 13"/>
                    <a:gd name="T34" fmla="*/ 19 w 25"/>
                    <a:gd name="T35" fmla="*/ 8 h 13"/>
                    <a:gd name="T36" fmla="*/ 17 w 25"/>
                    <a:gd name="T37" fmla="*/ 8 h 13"/>
                    <a:gd name="T38" fmla="*/ 16 w 25"/>
                    <a:gd name="T39" fmla="*/ 8 h 13"/>
                    <a:gd name="T40" fmla="*/ 15 w 25"/>
                    <a:gd name="T41" fmla="*/ 8 h 13"/>
                    <a:gd name="T42" fmla="*/ 14 w 25"/>
                    <a:gd name="T43" fmla="*/ 8 h 13"/>
                    <a:gd name="T44" fmla="*/ 14 w 25"/>
                    <a:gd name="T45" fmla="*/ 8 h 13"/>
                    <a:gd name="T46" fmla="*/ 14 w 25"/>
                    <a:gd name="T47" fmla="*/ 8 h 13"/>
                    <a:gd name="T48" fmla="*/ 13 w 25"/>
                    <a:gd name="T49" fmla="*/ 7 h 13"/>
                    <a:gd name="T50" fmla="*/ 13 w 25"/>
                    <a:gd name="T51" fmla="*/ 7 h 13"/>
                    <a:gd name="T52" fmla="*/ 13 w 25"/>
                    <a:gd name="T53" fmla="*/ 7 h 13"/>
                    <a:gd name="T54" fmla="*/ 13 w 25"/>
                    <a:gd name="T55" fmla="*/ 6 h 13"/>
                    <a:gd name="T56" fmla="*/ 13 w 25"/>
                    <a:gd name="T57" fmla="*/ 7 h 13"/>
                    <a:gd name="T58" fmla="*/ 12 w 25"/>
                    <a:gd name="T59" fmla="*/ 6 h 13"/>
                    <a:gd name="T60" fmla="*/ 12 w 25"/>
                    <a:gd name="T61" fmla="*/ 6 h 13"/>
                    <a:gd name="T62" fmla="*/ 11 w 25"/>
                    <a:gd name="T63" fmla="*/ 5 h 13"/>
                    <a:gd name="T64" fmla="*/ 11 w 25"/>
                    <a:gd name="T65" fmla="*/ 6 h 13"/>
                    <a:gd name="T66" fmla="*/ 11 w 25"/>
                    <a:gd name="T67" fmla="*/ 6 h 13"/>
                    <a:gd name="T68" fmla="*/ 11 w 25"/>
                    <a:gd name="T69" fmla="*/ 5 h 13"/>
                    <a:gd name="T70" fmla="*/ 10 w 25"/>
                    <a:gd name="T71" fmla="*/ 6 h 13"/>
                    <a:gd name="T72" fmla="*/ 11 w 25"/>
                    <a:gd name="T73" fmla="*/ 7 h 13"/>
                    <a:gd name="T74" fmla="*/ 10 w 25"/>
                    <a:gd name="T75" fmla="*/ 5 h 13"/>
                    <a:gd name="T76" fmla="*/ 10 w 25"/>
                    <a:gd name="T77" fmla="*/ 6 h 13"/>
                    <a:gd name="T78" fmla="*/ 10 w 25"/>
                    <a:gd name="T79" fmla="*/ 6 h 13"/>
                    <a:gd name="T80" fmla="*/ 10 w 25"/>
                    <a:gd name="T81" fmla="*/ 6 h 13"/>
                    <a:gd name="T82" fmla="*/ 10 w 25"/>
                    <a:gd name="T83" fmla="*/ 7 h 13"/>
                    <a:gd name="T84" fmla="*/ 10 w 25"/>
                    <a:gd name="T85" fmla="*/ 7 h 13"/>
                    <a:gd name="T86" fmla="*/ 10 w 25"/>
                    <a:gd name="T87" fmla="*/ 6 h 13"/>
                    <a:gd name="T88" fmla="*/ 9 w 25"/>
                    <a:gd name="T89" fmla="*/ 6 h 13"/>
                    <a:gd name="T90" fmla="*/ 9 w 25"/>
                    <a:gd name="T91" fmla="*/ 7 h 13"/>
                    <a:gd name="T92" fmla="*/ 8 w 25"/>
                    <a:gd name="T93" fmla="*/ 6 h 13"/>
                    <a:gd name="T94" fmla="*/ 9 w 25"/>
                    <a:gd name="T95" fmla="*/ 7 h 13"/>
                    <a:gd name="T96" fmla="*/ 8 w 25"/>
                    <a:gd name="T97" fmla="*/ 6 h 13"/>
                    <a:gd name="T98" fmla="*/ 7 w 25"/>
                    <a:gd name="T99" fmla="*/ 6 h 13"/>
                    <a:gd name="T100" fmla="*/ 8 w 25"/>
                    <a:gd name="T101" fmla="*/ 7 h 13"/>
                    <a:gd name="T102" fmla="*/ 8 w 25"/>
                    <a:gd name="T103" fmla="*/ 7 h 13"/>
                    <a:gd name="T104" fmla="*/ 7 w 25"/>
                    <a:gd name="T105" fmla="*/ 7 h 13"/>
                    <a:gd name="T106" fmla="*/ 5 w 25"/>
                    <a:gd name="T107" fmla="*/ 6 h 13"/>
                    <a:gd name="T108" fmla="*/ 5 w 25"/>
                    <a:gd name="T109" fmla="*/ 4 h 13"/>
                    <a:gd name="T110" fmla="*/ 4 w 25"/>
                    <a:gd name="T111" fmla="*/ 5 h 13"/>
                    <a:gd name="T112" fmla="*/ 5 w 25"/>
                    <a:gd name="T113" fmla="*/ 6 h 13"/>
                    <a:gd name="T114" fmla="*/ 6 w 25"/>
                    <a:gd name="T115" fmla="*/ 8 h 13"/>
                    <a:gd name="T116" fmla="*/ 12 w 25"/>
                    <a:gd name="T117" fmla="*/ 0 h 13"/>
                    <a:gd name="T118" fmla="*/ 14 w 25"/>
                    <a:gd name="T119" fmla="*/ 1 h 13"/>
                    <a:gd name="T120" fmla="*/ 16 w 25"/>
                    <a:gd name="T121" fmla="*/ 1 h 13"/>
                    <a:gd name="T122" fmla="*/ 19 w 25"/>
                    <a:gd name="T123"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 h="13">
                      <a:moveTo>
                        <a:pt x="6" y="8"/>
                      </a:move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7"/>
                      </a:cubicBezTo>
                      <a:cubicBezTo>
                        <a:pt x="6" y="7"/>
                        <a:pt x="6" y="7"/>
                        <a:pt x="6" y="7"/>
                      </a:cubicBezTo>
                      <a:cubicBezTo>
                        <a:pt x="6" y="7"/>
                        <a:pt x="6" y="7"/>
                        <a:pt x="6" y="7"/>
                      </a:cubicBezTo>
                      <a:cubicBezTo>
                        <a:pt x="6" y="7"/>
                        <a:pt x="6" y="7"/>
                        <a:pt x="6" y="7"/>
                      </a:cubicBezTo>
                      <a:cubicBezTo>
                        <a:pt x="6" y="7"/>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lose/>
                      <a:moveTo>
                        <a:pt x="7" y="8"/>
                      </a:move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7"/>
                        <a:pt x="7" y="7"/>
                        <a:pt x="7" y="7"/>
                      </a:cubicBezTo>
                      <a:cubicBezTo>
                        <a:pt x="7" y="7"/>
                        <a:pt x="7" y="7"/>
                        <a:pt x="7" y="7"/>
                      </a:cubicBezTo>
                      <a:cubicBezTo>
                        <a:pt x="7" y="7"/>
                        <a:pt x="7" y="7"/>
                        <a:pt x="7"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8"/>
                        <a:pt x="6" y="8"/>
                        <a:pt x="6" y="8"/>
                      </a:cubicBezTo>
                      <a:cubicBezTo>
                        <a:pt x="6" y="8"/>
                        <a:pt x="6" y="8"/>
                        <a:pt x="7" y="8"/>
                      </a:cubicBezTo>
                      <a:cubicBezTo>
                        <a:pt x="7" y="8"/>
                        <a:pt x="7" y="8"/>
                        <a:pt x="7" y="8"/>
                      </a:cubicBezTo>
                      <a:cubicBezTo>
                        <a:pt x="7" y="8"/>
                        <a:pt x="7" y="8"/>
                        <a:pt x="7" y="8"/>
                      </a:cubicBezTo>
                      <a:close/>
                      <a:moveTo>
                        <a:pt x="8" y="7"/>
                      </a:moveTo>
                      <a:cubicBezTo>
                        <a:pt x="8" y="7"/>
                        <a:pt x="8" y="7"/>
                        <a:pt x="8" y="8"/>
                      </a:cubicBezTo>
                      <a:cubicBezTo>
                        <a:pt x="8" y="8"/>
                        <a:pt x="8" y="8"/>
                        <a:pt x="8" y="8"/>
                      </a:cubicBezTo>
                      <a:cubicBezTo>
                        <a:pt x="8" y="8"/>
                        <a:pt x="8" y="8"/>
                        <a:pt x="8" y="8"/>
                      </a:cubicBezTo>
                      <a:cubicBezTo>
                        <a:pt x="8" y="8"/>
                        <a:pt x="8" y="8"/>
                        <a:pt x="8" y="8"/>
                      </a:cubicBezTo>
                      <a:cubicBezTo>
                        <a:pt x="8" y="8"/>
                        <a:pt x="8" y="8"/>
                        <a:pt x="9" y="8"/>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moveTo>
                        <a:pt x="10" y="7"/>
                      </a:moveTo>
                      <a:cubicBezTo>
                        <a:pt x="10" y="7"/>
                        <a:pt x="10" y="7"/>
                        <a:pt x="10" y="7"/>
                      </a:cubicBezTo>
                      <a:cubicBezTo>
                        <a:pt x="10" y="7"/>
                        <a:pt x="9" y="7"/>
                        <a:pt x="9" y="7"/>
                      </a:cubicBezTo>
                      <a:cubicBezTo>
                        <a:pt x="9" y="7"/>
                        <a:pt x="9" y="7"/>
                        <a:pt x="9" y="7"/>
                      </a:cubicBezTo>
                      <a:cubicBezTo>
                        <a:pt x="9" y="7"/>
                        <a:pt x="9" y="7"/>
                        <a:pt x="9" y="7"/>
                      </a:cubicBezTo>
                      <a:cubicBezTo>
                        <a:pt x="9" y="7"/>
                        <a:pt x="9" y="7"/>
                        <a:pt x="9" y="7"/>
                      </a:cubicBezTo>
                      <a:cubicBezTo>
                        <a:pt x="9"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lose/>
                      <a:moveTo>
                        <a:pt x="12" y="6"/>
                      </a:moveTo>
                      <a:cubicBezTo>
                        <a:pt x="12" y="6"/>
                        <a:pt x="12" y="6"/>
                        <a:pt x="12"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lose/>
                      <a:moveTo>
                        <a:pt x="12" y="6"/>
                      </a:moveTo>
                      <a:cubicBezTo>
                        <a:pt x="12" y="6"/>
                        <a:pt x="12" y="6"/>
                        <a:pt x="12" y="6"/>
                      </a:cubicBezTo>
                      <a:cubicBezTo>
                        <a:pt x="12" y="6"/>
                        <a:pt x="12" y="6"/>
                        <a:pt x="12" y="6"/>
                      </a:cubicBezTo>
                      <a:cubicBezTo>
                        <a:pt x="12" y="6"/>
                        <a:pt x="11" y="6"/>
                        <a:pt x="11" y="6"/>
                      </a:cubicBezTo>
                      <a:cubicBezTo>
                        <a:pt x="11" y="6"/>
                        <a:pt x="11" y="6"/>
                        <a:pt x="11" y="6"/>
                      </a:cubicBezTo>
                      <a:cubicBezTo>
                        <a:pt x="11" y="6"/>
                        <a:pt x="11" y="6"/>
                        <a:pt x="11" y="6"/>
                      </a:cubicBezTo>
                      <a:cubicBezTo>
                        <a:pt x="11"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lose/>
                      <a:moveTo>
                        <a:pt x="24" y="6"/>
                      </a:moveTo>
                      <a:cubicBezTo>
                        <a:pt x="25" y="7"/>
                        <a:pt x="25" y="7"/>
                        <a:pt x="25" y="7"/>
                      </a:cubicBezTo>
                      <a:cubicBezTo>
                        <a:pt x="25" y="8"/>
                        <a:pt x="25" y="8"/>
                        <a:pt x="25"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3" y="8"/>
                        <a:pt x="23" y="8"/>
                        <a:pt x="23" y="8"/>
                      </a:cubicBezTo>
                      <a:cubicBezTo>
                        <a:pt x="23" y="13"/>
                        <a:pt x="23" y="13"/>
                        <a:pt x="23" y="13"/>
                      </a:cubicBezTo>
                      <a:cubicBezTo>
                        <a:pt x="23" y="13"/>
                        <a:pt x="23" y="13"/>
                        <a:pt x="23" y="13"/>
                      </a:cubicBezTo>
                      <a:cubicBezTo>
                        <a:pt x="23" y="13"/>
                        <a:pt x="23" y="13"/>
                        <a:pt x="23" y="13"/>
                      </a:cubicBezTo>
                      <a:cubicBezTo>
                        <a:pt x="23" y="13"/>
                        <a:pt x="23" y="13"/>
                        <a:pt x="23" y="13"/>
                      </a:cubicBezTo>
                      <a:cubicBezTo>
                        <a:pt x="23" y="13"/>
                        <a:pt x="23" y="13"/>
                        <a:pt x="23" y="12"/>
                      </a:cubicBezTo>
                      <a:cubicBezTo>
                        <a:pt x="23" y="12"/>
                        <a:pt x="23" y="12"/>
                        <a:pt x="23" y="12"/>
                      </a:cubicBezTo>
                      <a:cubicBezTo>
                        <a:pt x="23" y="12"/>
                        <a:pt x="23" y="12"/>
                        <a:pt x="23" y="12"/>
                      </a:cubicBezTo>
                      <a:cubicBezTo>
                        <a:pt x="23" y="12"/>
                        <a:pt x="23" y="12"/>
                        <a:pt x="23" y="12"/>
                      </a:cubicBezTo>
                      <a:cubicBezTo>
                        <a:pt x="23" y="12"/>
                        <a:pt x="23" y="12"/>
                        <a:pt x="23" y="12"/>
                      </a:cubicBezTo>
                      <a:cubicBezTo>
                        <a:pt x="23" y="12"/>
                        <a:pt x="22" y="12"/>
                        <a:pt x="22" y="12"/>
                      </a:cubicBezTo>
                      <a:cubicBezTo>
                        <a:pt x="22" y="12"/>
                        <a:pt x="22" y="12"/>
                        <a:pt x="22" y="12"/>
                      </a:cubicBezTo>
                      <a:cubicBezTo>
                        <a:pt x="22" y="12"/>
                        <a:pt x="22" y="12"/>
                        <a:pt x="22" y="12"/>
                      </a:cubicBezTo>
                      <a:cubicBezTo>
                        <a:pt x="22" y="12"/>
                        <a:pt x="22" y="12"/>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0"/>
                        <a:pt x="22"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9"/>
                        <a:pt x="21" y="9"/>
                      </a:cubicBezTo>
                      <a:cubicBezTo>
                        <a:pt x="21" y="9"/>
                        <a:pt x="21" y="9"/>
                        <a:pt x="21" y="9"/>
                      </a:cubicBezTo>
                      <a:cubicBezTo>
                        <a:pt x="21" y="9"/>
                        <a:pt x="21" y="9"/>
                        <a:pt x="21" y="9"/>
                      </a:cubicBezTo>
                      <a:cubicBezTo>
                        <a:pt x="21" y="9"/>
                        <a:pt x="21" y="9"/>
                        <a:pt x="20" y="9"/>
                      </a:cubicBezTo>
                      <a:cubicBezTo>
                        <a:pt x="20" y="9"/>
                        <a:pt x="20" y="9"/>
                        <a:pt x="20" y="9"/>
                      </a:cubicBezTo>
                      <a:cubicBezTo>
                        <a:pt x="20" y="9"/>
                        <a:pt x="20" y="9"/>
                        <a:pt x="20" y="9"/>
                      </a:cubicBezTo>
                      <a:cubicBezTo>
                        <a:pt x="20" y="9"/>
                        <a:pt x="20" y="9"/>
                        <a:pt x="20" y="9"/>
                      </a:cubicBezTo>
                      <a:cubicBezTo>
                        <a:pt x="20" y="9"/>
                        <a:pt x="20" y="9"/>
                        <a:pt x="20"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8"/>
                        <a:pt x="19" y="8"/>
                      </a:cubicBezTo>
                      <a:cubicBezTo>
                        <a:pt x="19" y="8"/>
                        <a:pt x="19" y="8"/>
                        <a:pt x="19" y="8"/>
                      </a:cubicBezTo>
                      <a:cubicBezTo>
                        <a:pt x="19" y="8"/>
                        <a:pt x="19" y="8"/>
                        <a:pt x="19" y="8"/>
                      </a:cubicBezTo>
                      <a:cubicBezTo>
                        <a:pt x="19" y="8"/>
                        <a:pt x="19" y="9"/>
                        <a:pt x="19" y="9"/>
                      </a:cubicBezTo>
                      <a:cubicBezTo>
                        <a:pt x="19" y="9"/>
                        <a:pt x="19" y="9"/>
                        <a:pt x="19" y="9"/>
                      </a:cubicBezTo>
                      <a:cubicBezTo>
                        <a:pt x="19" y="9"/>
                        <a:pt x="18" y="9"/>
                        <a:pt x="18" y="9"/>
                      </a:cubicBezTo>
                      <a:cubicBezTo>
                        <a:pt x="18" y="9"/>
                        <a:pt x="18" y="9"/>
                        <a:pt x="18" y="9"/>
                      </a:cubicBezTo>
                      <a:cubicBezTo>
                        <a:pt x="18" y="9"/>
                        <a:pt x="18" y="8"/>
                        <a:pt x="18" y="8"/>
                      </a:cubicBezTo>
                      <a:cubicBezTo>
                        <a:pt x="18" y="8"/>
                        <a:pt x="18" y="8"/>
                        <a:pt x="18" y="9"/>
                      </a:cubicBezTo>
                      <a:cubicBezTo>
                        <a:pt x="18" y="9"/>
                        <a:pt x="18" y="9"/>
                        <a:pt x="17" y="9"/>
                      </a:cubicBezTo>
                      <a:cubicBezTo>
                        <a:pt x="17" y="9"/>
                        <a:pt x="17" y="9"/>
                        <a:pt x="17" y="8"/>
                      </a:cubicBezTo>
                      <a:cubicBezTo>
                        <a:pt x="17" y="8"/>
                        <a:pt x="17" y="8"/>
                        <a:pt x="17" y="8"/>
                      </a:cubicBezTo>
                      <a:cubicBezTo>
                        <a:pt x="17" y="8"/>
                        <a:pt x="17" y="8"/>
                        <a:pt x="17" y="8"/>
                      </a:cubicBezTo>
                      <a:cubicBezTo>
                        <a:pt x="17" y="8"/>
                        <a:pt x="17"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7"/>
                        <a:pt x="14" y="7"/>
                        <a:pt x="14" y="7"/>
                      </a:cubicBezTo>
                      <a:cubicBezTo>
                        <a:pt x="14" y="7"/>
                        <a:pt x="14" y="7"/>
                        <a:pt x="14" y="7"/>
                      </a:cubicBezTo>
                      <a:cubicBezTo>
                        <a:pt x="14" y="7"/>
                        <a:pt x="14" y="7"/>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7"/>
                      </a:cubicBezTo>
                      <a:cubicBezTo>
                        <a:pt x="14" y="7"/>
                        <a:pt x="14" y="7"/>
                        <a:pt x="14" y="7"/>
                      </a:cubicBezTo>
                      <a:cubicBezTo>
                        <a:pt x="14" y="7"/>
                        <a:pt x="14" y="7"/>
                        <a:pt x="14" y="7"/>
                      </a:cubicBezTo>
                      <a:cubicBezTo>
                        <a:pt x="14" y="7"/>
                        <a:pt x="14" y="7"/>
                        <a:pt x="14" y="7"/>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7"/>
                        <a:pt x="14" y="7"/>
                      </a:cubicBezTo>
                      <a:cubicBezTo>
                        <a:pt x="14" y="8"/>
                        <a:pt x="14" y="8"/>
                        <a:pt x="14" y="8"/>
                      </a:cubicBezTo>
                      <a:cubicBezTo>
                        <a:pt x="13" y="8"/>
                        <a:pt x="13" y="8"/>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7"/>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2" y="6"/>
                        <a:pt x="12" y="6"/>
                      </a:cubicBezTo>
                      <a:cubicBezTo>
                        <a:pt x="12" y="6"/>
                        <a:pt x="12" y="6"/>
                        <a:pt x="11" y="6"/>
                      </a:cubicBezTo>
                      <a:cubicBezTo>
                        <a:pt x="11" y="6"/>
                        <a:pt x="11" y="6"/>
                        <a:pt x="11" y="7"/>
                      </a:cubicBezTo>
                      <a:cubicBezTo>
                        <a:pt x="11" y="7"/>
                        <a:pt x="11" y="7"/>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1" y="6"/>
                        <a:pt x="11" y="6"/>
                        <a:pt x="11" y="7"/>
                      </a:cubicBezTo>
                      <a:cubicBezTo>
                        <a:pt x="11" y="7"/>
                        <a:pt x="11" y="7"/>
                        <a:pt x="11" y="7"/>
                      </a:cubicBezTo>
                      <a:cubicBezTo>
                        <a:pt x="11" y="7"/>
                        <a:pt x="11" y="7"/>
                        <a:pt x="11" y="7"/>
                      </a:cubicBezTo>
                      <a:cubicBezTo>
                        <a:pt x="11" y="7"/>
                        <a:pt x="11" y="7"/>
                        <a:pt x="10" y="7"/>
                      </a:cubicBezTo>
                      <a:cubicBezTo>
                        <a:pt x="10" y="7"/>
                        <a:pt x="10" y="7"/>
                        <a:pt x="10" y="7"/>
                      </a:cubicBezTo>
                      <a:cubicBezTo>
                        <a:pt x="10" y="7"/>
                        <a:pt x="10" y="7"/>
                        <a:pt x="10" y="7"/>
                      </a:cubicBezTo>
                      <a:cubicBezTo>
                        <a:pt x="10" y="7"/>
                        <a:pt x="10" y="6"/>
                        <a:pt x="10" y="6"/>
                      </a:cubicBezTo>
                      <a:cubicBezTo>
                        <a:pt x="10" y="6"/>
                        <a:pt x="10" y="6"/>
                        <a:pt x="10" y="6"/>
                      </a:cubicBezTo>
                      <a:cubicBezTo>
                        <a:pt x="10" y="6"/>
                        <a:pt x="10" y="6"/>
                        <a:pt x="10" y="6"/>
                      </a:cubicBezTo>
                      <a:cubicBezTo>
                        <a:pt x="10" y="6"/>
                        <a:pt x="10" y="6"/>
                        <a:pt x="10" y="5"/>
                      </a:cubicBezTo>
                      <a:cubicBezTo>
                        <a:pt x="10" y="5"/>
                        <a:pt x="10" y="5"/>
                        <a:pt x="10" y="5"/>
                      </a:cubicBezTo>
                      <a:cubicBezTo>
                        <a:pt x="10" y="5"/>
                        <a:pt x="10" y="5"/>
                        <a:pt x="10" y="5"/>
                      </a:cubicBezTo>
                      <a:cubicBezTo>
                        <a:pt x="10"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6"/>
                        <a:pt x="10" y="6"/>
                      </a:cubicBezTo>
                      <a:cubicBezTo>
                        <a:pt x="10" y="6"/>
                        <a:pt x="10"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6"/>
                        <a:pt x="9" y="6"/>
                        <a:pt x="9" y="6"/>
                      </a:cubicBezTo>
                      <a:cubicBezTo>
                        <a:pt x="9" y="6"/>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7"/>
                        <a:pt x="9" y="7"/>
                        <a:pt x="9" y="7"/>
                      </a:cubicBezTo>
                      <a:cubicBezTo>
                        <a:pt x="9" y="7"/>
                        <a:pt x="9" y="7"/>
                        <a:pt x="9" y="7"/>
                      </a:cubicBezTo>
                      <a:cubicBezTo>
                        <a:pt x="8" y="7"/>
                        <a:pt x="8" y="7"/>
                        <a:pt x="8" y="7"/>
                      </a:cubicBezTo>
                      <a:cubicBezTo>
                        <a:pt x="8" y="7"/>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9" y="7"/>
                        <a:pt x="9" y="7"/>
                      </a:cubicBezTo>
                      <a:cubicBezTo>
                        <a:pt x="9" y="7"/>
                        <a:pt x="9" y="7"/>
                        <a:pt x="9" y="7"/>
                      </a:cubicBezTo>
                      <a:cubicBezTo>
                        <a:pt x="9" y="7"/>
                        <a:pt x="9" y="7"/>
                        <a:pt x="9" y="7"/>
                      </a:cubicBezTo>
                      <a:cubicBezTo>
                        <a:pt x="9" y="7"/>
                        <a:pt x="9" y="7"/>
                        <a:pt x="9"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6"/>
                      </a:cubicBezTo>
                      <a:cubicBezTo>
                        <a:pt x="8" y="6"/>
                        <a:pt x="8" y="6"/>
                        <a:pt x="8" y="6"/>
                      </a:cubicBezTo>
                      <a:cubicBezTo>
                        <a:pt x="8"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6" y="7"/>
                      </a:cubicBezTo>
                      <a:cubicBezTo>
                        <a:pt x="6" y="7"/>
                        <a:pt x="6" y="7"/>
                        <a:pt x="6" y="7"/>
                      </a:cubicBezTo>
                      <a:cubicBezTo>
                        <a:pt x="6" y="7"/>
                        <a:pt x="6" y="7"/>
                        <a:pt x="6" y="6"/>
                      </a:cubicBezTo>
                      <a:cubicBezTo>
                        <a:pt x="6" y="6"/>
                        <a:pt x="6" y="6"/>
                        <a:pt x="5" y="6"/>
                      </a:cubicBezTo>
                      <a:cubicBezTo>
                        <a:pt x="5" y="6"/>
                        <a:pt x="5" y="6"/>
                        <a:pt x="5" y="6"/>
                      </a:cubicBezTo>
                      <a:cubicBezTo>
                        <a:pt x="5" y="6"/>
                        <a:pt x="5" y="6"/>
                        <a:pt x="5" y="6"/>
                      </a:cubicBezTo>
                      <a:cubicBezTo>
                        <a:pt x="5" y="6"/>
                        <a:pt x="5" y="6"/>
                        <a:pt x="5" y="6"/>
                      </a:cubicBezTo>
                      <a:cubicBezTo>
                        <a:pt x="5" y="6"/>
                        <a:pt x="5" y="6"/>
                        <a:pt x="5" y="5"/>
                      </a:cubicBezTo>
                      <a:cubicBezTo>
                        <a:pt x="5" y="5"/>
                        <a:pt x="5" y="5"/>
                        <a:pt x="5" y="5"/>
                      </a:cubicBezTo>
                      <a:cubicBezTo>
                        <a:pt x="5" y="5"/>
                        <a:pt x="5" y="5"/>
                        <a:pt x="5" y="5"/>
                      </a:cubicBezTo>
                      <a:cubicBezTo>
                        <a:pt x="4" y="5"/>
                        <a:pt x="4" y="5"/>
                        <a:pt x="5" y="5"/>
                      </a:cubicBezTo>
                      <a:cubicBezTo>
                        <a:pt x="5" y="5"/>
                        <a:pt x="5" y="5"/>
                        <a:pt x="5" y="5"/>
                      </a:cubicBezTo>
                      <a:cubicBezTo>
                        <a:pt x="5" y="5"/>
                        <a:pt x="5" y="5"/>
                        <a:pt x="5" y="5"/>
                      </a:cubicBezTo>
                      <a:cubicBezTo>
                        <a:pt x="5" y="5"/>
                        <a:pt x="5" y="5"/>
                        <a:pt x="5" y="5"/>
                      </a:cubicBezTo>
                      <a:cubicBezTo>
                        <a:pt x="5" y="5"/>
                        <a:pt x="5" y="5"/>
                        <a:pt x="5" y="5"/>
                      </a:cubicBezTo>
                      <a:cubicBezTo>
                        <a:pt x="5" y="5"/>
                        <a:pt x="5" y="5"/>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5" y="5"/>
                        <a:pt x="5" y="5"/>
                        <a:pt x="5" y="5"/>
                      </a:cubicBezTo>
                      <a:cubicBezTo>
                        <a:pt x="5" y="5"/>
                        <a:pt x="5" y="5"/>
                        <a:pt x="5" y="5"/>
                      </a:cubicBezTo>
                      <a:cubicBezTo>
                        <a:pt x="5" y="5"/>
                        <a:pt x="5" y="5"/>
                        <a:pt x="4" y="5"/>
                      </a:cubicBezTo>
                      <a:cubicBezTo>
                        <a:pt x="4" y="5"/>
                        <a:pt x="4" y="5"/>
                        <a:pt x="4" y="5"/>
                      </a:cubicBezTo>
                      <a:cubicBezTo>
                        <a:pt x="4" y="5"/>
                        <a:pt x="4" y="5"/>
                        <a:pt x="5" y="5"/>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6" y="7"/>
                        <a:pt x="6" y="7"/>
                        <a:pt x="6" y="7"/>
                      </a:cubicBezTo>
                      <a:cubicBezTo>
                        <a:pt x="6" y="7"/>
                        <a:pt x="6" y="7"/>
                        <a:pt x="6" y="7"/>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9"/>
                        <a:pt x="6" y="9"/>
                      </a:cubicBezTo>
                      <a:cubicBezTo>
                        <a:pt x="6" y="9"/>
                        <a:pt x="6" y="9"/>
                        <a:pt x="6" y="9"/>
                      </a:cubicBezTo>
                      <a:cubicBezTo>
                        <a:pt x="0" y="2"/>
                        <a:pt x="0" y="2"/>
                        <a:pt x="0" y="2"/>
                      </a:cubicBezTo>
                      <a:cubicBezTo>
                        <a:pt x="0" y="1"/>
                        <a:pt x="0" y="1"/>
                        <a:pt x="0" y="1"/>
                      </a:cubicBezTo>
                      <a:cubicBezTo>
                        <a:pt x="7" y="1"/>
                        <a:pt x="7" y="1"/>
                        <a:pt x="7" y="1"/>
                      </a:cubicBezTo>
                      <a:cubicBezTo>
                        <a:pt x="11" y="0"/>
                        <a:pt x="11" y="0"/>
                        <a:pt x="11" y="0"/>
                      </a:cubicBezTo>
                      <a:cubicBezTo>
                        <a:pt x="12" y="0"/>
                        <a:pt x="12" y="0"/>
                        <a:pt x="12" y="0"/>
                      </a:cubicBezTo>
                      <a:cubicBezTo>
                        <a:pt x="12" y="0"/>
                        <a:pt x="12" y="0"/>
                        <a:pt x="12" y="0"/>
                      </a:cubicBezTo>
                      <a:cubicBezTo>
                        <a:pt x="12" y="0"/>
                        <a:pt x="12" y="0"/>
                        <a:pt x="12" y="0"/>
                      </a:cubicBezTo>
                      <a:cubicBezTo>
                        <a:pt x="12" y="0"/>
                        <a:pt x="12" y="0"/>
                        <a:pt x="12" y="0"/>
                      </a:cubicBezTo>
                      <a:cubicBezTo>
                        <a:pt x="12"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4" y="1"/>
                        <a:pt x="14" y="1"/>
                      </a:cubicBezTo>
                      <a:cubicBezTo>
                        <a:pt x="14" y="1"/>
                        <a:pt x="14" y="1"/>
                        <a:pt x="14" y="1"/>
                      </a:cubicBezTo>
                      <a:cubicBezTo>
                        <a:pt x="14" y="1"/>
                        <a:pt x="14" y="1"/>
                        <a:pt x="14" y="1"/>
                      </a:cubicBezTo>
                      <a:cubicBezTo>
                        <a:pt x="14"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6" y="1"/>
                        <a:pt x="16" y="1"/>
                        <a:pt x="16" y="1"/>
                      </a:cubicBezTo>
                      <a:cubicBezTo>
                        <a:pt x="16" y="1"/>
                        <a:pt x="16" y="1"/>
                        <a:pt x="16" y="1"/>
                      </a:cubicBezTo>
                      <a:cubicBezTo>
                        <a:pt x="18" y="2"/>
                        <a:pt x="18" y="2"/>
                        <a:pt x="18" y="2"/>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9" y="3"/>
                        <a:pt x="19" y="3"/>
                        <a:pt x="19" y="3"/>
                      </a:cubicBezTo>
                      <a:cubicBezTo>
                        <a:pt x="19" y="3"/>
                        <a:pt x="19" y="3"/>
                        <a:pt x="19" y="3"/>
                      </a:cubicBezTo>
                      <a:cubicBezTo>
                        <a:pt x="21" y="5"/>
                        <a:pt x="21" y="5"/>
                        <a:pt x="21" y="5"/>
                      </a:cubicBezTo>
                      <a:cubicBezTo>
                        <a:pt x="21" y="5"/>
                        <a:pt x="21" y="5"/>
                        <a:pt x="21" y="5"/>
                      </a:cubicBezTo>
                      <a:cubicBezTo>
                        <a:pt x="21" y="6"/>
                        <a:pt x="21" y="6"/>
                        <a:pt x="21" y="6"/>
                      </a:cubicBezTo>
                      <a:cubicBezTo>
                        <a:pt x="22" y="6"/>
                        <a:pt x="22" y="6"/>
                        <a:pt x="22" y="6"/>
                      </a:cubicBezTo>
                      <a:cubicBezTo>
                        <a:pt x="23" y="6"/>
                        <a:pt x="23" y="6"/>
                        <a:pt x="23" y="6"/>
                      </a:cubicBezTo>
                      <a:lnTo>
                        <a:pt x="24"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8" name="Freeform 712">
                  <a:extLst>
                    <a:ext uri="{FF2B5EF4-FFF2-40B4-BE49-F238E27FC236}">
                      <a16:creationId xmlns:a16="http://schemas.microsoft.com/office/drawing/2014/main" id="{C45027D2-DB20-364F-0B48-103F744A2632}"/>
                    </a:ext>
                  </a:extLst>
                </p:cNvPr>
                <p:cNvSpPr>
                  <a:spLocks/>
                </p:cNvSpPr>
                <p:nvPr/>
              </p:nvSpPr>
              <p:spPr bwMode="auto">
                <a:xfrm>
                  <a:off x="9401175" y="5037138"/>
                  <a:ext cx="46037" cy="30163"/>
                </a:xfrm>
                <a:custGeom>
                  <a:avLst/>
                  <a:gdLst>
                    <a:gd name="T0" fmla="*/ 1 w 11"/>
                    <a:gd name="T1" fmla="*/ 4 h 7"/>
                    <a:gd name="T2" fmla="*/ 4 w 11"/>
                    <a:gd name="T3" fmla="*/ 5 h 7"/>
                    <a:gd name="T4" fmla="*/ 4 w 11"/>
                    <a:gd name="T5" fmla="*/ 5 h 7"/>
                    <a:gd name="T6" fmla="*/ 4 w 11"/>
                    <a:gd name="T7" fmla="*/ 6 h 7"/>
                    <a:gd name="T8" fmla="*/ 4 w 11"/>
                    <a:gd name="T9" fmla="*/ 6 h 7"/>
                    <a:gd name="T10" fmla="*/ 5 w 11"/>
                    <a:gd name="T11" fmla="*/ 6 h 7"/>
                    <a:gd name="T12" fmla="*/ 5 w 11"/>
                    <a:gd name="T13" fmla="*/ 7 h 7"/>
                    <a:gd name="T14" fmla="*/ 6 w 11"/>
                    <a:gd name="T15" fmla="*/ 7 h 7"/>
                    <a:gd name="T16" fmla="*/ 7 w 11"/>
                    <a:gd name="T17" fmla="*/ 7 h 7"/>
                    <a:gd name="T18" fmla="*/ 8 w 11"/>
                    <a:gd name="T19" fmla="*/ 7 h 7"/>
                    <a:gd name="T20" fmla="*/ 8 w 11"/>
                    <a:gd name="T21" fmla="*/ 7 h 7"/>
                    <a:gd name="T22" fmla="*/ 7 w 11"/>
                    <a:gd name="T23" fmla="*/ 6 h 7"/>
                    <a:gd name="T24" fmla="*/ 7 w 11"/>
                    <a:gd name="T25" fmla="*/ 6 h 7"/>
                    <a:gd name="T26" fmla="*/ 8 w 11"/>
                    <a:gd name="T27" fmla="*/ 6 h 7"/>
                    <a:gd name="T28" fmla="*/ 8 w 11"/>
                    <a:gd name="T29" fmla="*/ 6 h 7"/>
                    <a:gd name="T30" fmla="*/ 9 w 11"/>
                    <a:gd name="T31" fmla="*/ 6 h 7"/>
                    <a:gd name="T32" fmla="*/ 9 w 11"/>
                    <a:gd name="T33" fmla="*/ 6 h 7"/>
                    <a:gd name="T34" fmla="*/ 9 w 11"/>
                    <a:gd name="T35" fmla="*/ 6 h 7"/>
                    <a:gd name="T36" fmla="*/ 9 w 11"/>
                    <a:gd name="T37" fmla="*/ 5 h 7"/>
                    <a:gd name="T38" fmla="*/ 9 w 11"/>
                    <a:gd name="T39" fmla="*/ 5 h 7"/>
                    <a:gd name="T40" fmla="*/ 9 w 11"/>
                    <a:gd name="T41" fmla="*/ 5 h 7"/>
                    <a:gd name="T42" fmla="*/ 9 w 11"/>
                    <a:gd name="T43" fmla="*/ 5 h 7"/>
                    <a:gd name="T44" fmla="*/ 9 w 11"/>
                    <a:gd name="T45" fmla="*/ 4 h 7"/>
                    <a:gd name="T46" fmla="*/ 9 w 11"/>
                    <a:gd name="T47" fmla="*/ 4 h 7"/>
                    <a:gd name="T48" fmla="*/ 9 w 11"/>
                    <a:gd name="T49" fmla="*/ 4 h 7"/>
                    <a:gd name="T50" fmla="*/ 9 w 11"/>
                    <a:gd name="T51" fmla="*/ 4 h 7"/>
                    <a:gd name="T52" fmla="*/ 9 w 11"/>
                    <a:gd name="T53" fmla="*/ 4 h 7"/>
                    <a:gd name="T54" fmla="*/ 9 w 11"/>
                    <a:gd name="T55" fmla="*/ 4 h 7"/>
                    <a:gd name="T56" fmla="*/ 9 w 11"/>
                    <a:gd name="T57" fmla="*/ 4 h 7"/>
                    <a:gd name="T58" fmla="*/ 9 w 11"/>
                    <a:gd name="T59" fmla="*/ 3 h 7"/>
                    <a:gd name="T60" fmla="*/ 9 w 11"/>
                    <a:gd name="T61" fmla="*/ 3 h 7"/>
                    <a:gd name="T62" fmla="*/ 9 w 11"/>
                    <a:gd name="T63" fmla="*/ 3 h 7"/>
                    <a:gd name="T64" fmla="*/ 9 w 11"/>
                    <a:gd name="T65" fmla="*/ 3 h 7"/>
                    <a:gd name="T66" fmla="*/ 10 w 11"/>
                    <a:gd name="T67" fmla="*/ 3 h 7"/>
                    <a:gd name="T68" fmla="*/ 10 w 11"/>
                    <a:gd name="T69" fmla="*/ 3 h 7"/>
                    <a:gd name="T70" fmla="*/ 11 w 11"/>
                    <a:gd name="T71" fmla="*/ 3 h 7"/>
                    <a:gd name="T72" fmla="*/ 11 w 11"/>
                    <a:gd name="T73" fmla="*/ 2 h 7"/>
                    <a:gd name="T74" fmla="*/ 11 w 11"/>
                    <a:gd name="T75" fmla="*/ 2 h 7"/>
                    <a:gd name="T76" fmla="*/ 10 w 11"/>
                    <a:gd name="T77" fmla="*/ 2 h 7"/>
                    <a:gd name="T78" fmla="*/ 10 w 11"/>
                    <a:gd name="T79" fmla="*/ 1 h 7"/>
                    <a:gd name="T80" fmla="*/ 10 w 11"/>
                    <a:gd name="T81" fmla="*/ 1 h 7"/>
                    <a:gd name="T82" fmla="*/ 10 w 11"/>
                    <a:gd name="T83" fmla="*/ 1 h 7"/>
                    <a:gd name="T84" fmla="*/ 9 w 11"/>
                    <a:gd name="T85" fmla="*/ 1 h 7"/>
                    <a:gd name="T86" fmla="*/ 9 w 11"/>
                    <a:gd name="T87" fmla="*/ 0 h 7"/>
                    <a:gd name="T88" fmla="*/ 7 w 11"/>
                    <a:gd name="T89" fmla="*/ 1 h 7"/>
                    <a:gd name="T90" fmla="*/ 7 w 11"/>
                    <a:gd name="T91" fmla="*/ 1 h 7"/>
                    <a:gd name="T92" fmla="*/ 6 w 11"/>
                    <a:gd name="T93" fmla="*/ 1 h 7"/>
                    <a:gd name="T94" fmla="*/ 6 w 11"/>
                    <a:gd name="T95" fmla="*/ 1 h 7"/>
                    <a:gd name="T96" fmla="*/ 5 w 11"/>
                    <a:gd name="T97" fmla="*/ 1 h 7"/>
                    <a:gd name="T98" fmla="*/ 5 w 11"/>
                    <a:gd name="T99" fmla="*/ 1 h 7"/>
                    <a:gd name="T100" fmla="*/ 5 w 11"/>
                    <a:gd name="T101" fmla="*/ 1 h 7"/>
                    <a:gd name="T102" fmla="*/ 4 w 11"/>
                    <a:gd name="T103" fmla="*/ 1 h 7"/>
                    <a:gd name="T104" fmla="*/ 4 w 11"/>
                    <a:gd name="T105" fmla="*/ 1 h 7"/>
                    <a:gd name="T106" fmla="*/ 2 w 11"/>
                    <a:gd name="T107" fmla="*/ 1 h 7"/>
                    <a:gd name="T108" fmla="*/ 2 w 11"/>
                    <a:gd name="T109" fmla="*/ 1 h 7"/>
                    <a:gd name="T110" fmla="*/ 1 w 11"/>
                    <a:gd name="T111" fmla="*/ 1 h 7"/>
                    <a:gd name="T112" fmla="*/ 0 w 11"/>
                    <a:gd name="T113" fmla="*/ 1 h 7"/>
                    <a:gd name="T114" fmla="*/ 0 w 11"/>
                    <a:gd name="T115" fmla="*/ 4 h 7"/>
                    <a:gd name="T116" fmla="*/ 1 w 11"/>
                    <a:gd name="T1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 h="7">
                      <a:moveTo>
                        <a:pt x="1" y="4"/>
                      </a:moveTo>
                      <a:cubicBezTo>
                        <a:pt x="4" y="5"/>
                        <a:pt x="4" y="5"/>
                        <a:pt x="4" y="5"/>
                      </a:cubicBezTo>
                      <a:cubicBezTo>
                        <a:pt x="4" y="5"/>
                        <a:pt x="4" y="5"/>
                        <a:pt x="4" y="5"/>
                      </a:cubicBezTo>
                      <a:cubicBezTo>
                        <a:pt x="4" y="6"/>
                        <a:pt x="4" y="6"/>
                        <a:pt x="4" y="6"/>
                      </a:cubicBezTo>
                      <a:cubicBezTo>
                        <a:pt x="4" y="6"/>
                        <a:pt x="4" y="6"/>
                        <a:pt x="4" y="6"/>
                      </a:cubicBezTo>
                      <a:cubicBezTo>
                        <a:pt x="5" y="6"/>
                        <a:pt x="5" y="6"/>
                        <a:pt x="5" y="6"/>
                      </a:cubicBezTo>
                      <a:cubicBezTo>
                        <a:pt x="5" y="7"/>
                        <a:pt x="5" y="7"/>
                        <a:pt x="5" y="7"/>
                      </a:cubicBezTo>
                      <a:cubicBezTo>
                        <a:pt x="6" y="7"/>
                        <a:pt x="6" y="7"/>
                        <a:pt x="6" y="7"/>
                      </a:cubicBezTo>
                      <a:cubicBezTo>
                        <a:pt x="7" y="7"/>
                        <a:pt x="7" y="7"/>
                        <a:pt x="7" y="7"/>
                      </a:cubicBezTo>
                      <a:cubicBezTo>
                        <a:pt x="8" y="7"/>
                        <a:pt x="8" y="7"/>
                        <a:pt x="8" y="7"/>
                      </a:cubicBezTo>
                      <a:cubicBezTo>
                        <a:pt x="8" y="7"/>
                        <a:pt x="8" y="7"/>
                        <a:pt x="8" y="7"/>
                      </a:cubicBezTo>
                      <a:cubicBezTo>
                        <a:pt x="7" y="6"/>
                        <a:pt x="7" y="6"/>
                        <a:pt x="7" y="6"/>
                      </a:cubicBezTo>
                      <a:cubicBezTo>
                        <a:pt x="7" y="6"/>
                        <a:pt x="7" y="6"/>
                        <a:pt x="7" y="6"/>
                      </a:cubicBezTo>
                      <a:cubicBezTo>
                        <a:pt x="7" y="6"/>
                        <a:pt x="8" y="6"/>
                        <a:pt x="8" y="6"/>
                      </a:cubicBezTo>
                      <a:cubicBezTo>
                        <a:pt x="8" y="6"/>
                        <a:pt x="8" y="6"/>
                        <a:pt x="8" y="6"/>
                      </a:cubicBezTo>
                      <a:cubicBezTo>
                        <a:pt x="8" y="6"/>
                        <a:pt x="9" y="6"/>
                        <a:pt x="9" y="6"/>
                      </a:cubicBezTo>
                      <a:cubicBezTo>
                        <a:pt x="9" y="6"/>
                        <a:pt x="9" y="6"/>
                        <a:pt x="9" y="6"/>
                      </a:cubicBezTo>
                      <a:cubicBezTo>
                        <a:pt x="9" y="6"/>
                        <a:pt x="9" y="6"/>
                        <a:pt x="9" y="6"/>
                      </a:cubicBezTo>
                      <a:cubicBezTo>
                        <a:pt x="9" y="5"/>
                        <a:pt x="9" y="5"/>
                        <a:pt x="9" y="5"/>
                      </a:cubicBezTo>
                      <a:cubicBezTo>
                        <a:pt x="9" y="5"/>
                        <a:pt x="9" y="5"/>
                        <a:pt x="9" y="5"/>
                      </a:cubicBezTo>
                      <a:cubicBezTo>
                        <a:pt x="9" y="5"/>
                        <a:pt x="9" y="5"/>
                        <a:pt x="9" y="5"/>
                      </a:cubicBezTo>
                      <a:cubicBezTo>
                        <a:pt x="9" y="5"/>
                        <a:pt x="9" y="5"/>
                        <a:pt x="9" y="5"/>
                      </a:cubicBez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1" y="3"/>
                        <a:pt x="11" y="3"/>
                        <a:pt x="11" y="3"/>
                      </a:cubicBezTo>
                      <a:cubicBezTo>
                        <a:pt x="11" y="2"/>
                        <a:pt x="11" y="2"/>
                        <a:pt x="11" y="2"/>
                      </a:cubicBezTo>
                      <a:cubicBezTo>
                        <a:pt x="11" y="2"/>
                        <a:pt x="11" y="2"/>
                        <a:pt x="11" y="2"/>
                      </a:cubicBezTo>
                      <a:cubicBezTo>
                        <a:pt x="10" y="2"/>
                        <a:pt x="10" y="2"/>
                        <a:pt x="10" y="2"/>
                      </a:cubicBezTo>
                      <a:cubicBezTo>
                        <a:pt x="10" y="2"/>
                        <a:pt x="10" y="1"/>
                        <a:pt x="10" y="1"/>
                      </a:cubicBezTo>
                      <a:cubicBezTo>
                        <a:pt x="10" y="1"/>
                        <a:pt x="10" y="1"/>
                        <a:pt x="10" y="1"/>
                      </a:cubicBezTo>
                      <a:cubicBezTo>
                        <a:pt x="10" y="1"/>
                        <a:pt x="10" y="1"/>
                        <a:pt x="10" y="1"/>
                      </a:cubicBezTo>
                      <a:cubicBezTo>
                        <a:pt x="9" y="1"/>
                        <a:pt x="9" y="1"/>
                        <a:pt x="9" y="1"/>
                      </a:cubicBezTo>
                      <a:cubicBezTo>
                        <a:pt x="9" y="0"/>
                        <a:pt x="9" y="0"/>
                        <a:pt x="9" y="0"/>
                      </a:cubicBezTo>
                      <a:cubicBezTo>
                        <a:pt x="7" y="1"/>
                        <a:pt x="7" y="1"/>
                        <a:pt x="7" y="1"/>
                      </a:cubicBezTo>
                      <a:cubicBezTo>
                        <a:pt x="7" y="1"/>
                        <a:pt x="7" y="1"/>
                        <a:pt x="7" y="1"/>
                      </a:cubicBezTo>
                      <a:cubicBezTo>
                        <a:pt x="6" y="1"/>
                        <a:pt x="6" y="1"/>
                        <a:pt x="6" y="1"/>
                      </a:cubicBezTo>
                      <a:cubicBezTo>
                        <a:pt x="6" y="1"/>
                        <a:pt x="6" y="1"/>
                        <a:pt x="6" y="1"/>
                      </a:cubicBezTo>
                      <a:cubicBezTo>
                        <a:pt x="6" y="1"/>
                        <a:pt x="5" y="1"/>
                        <a:pt x="5" y="1"/>
                      </a:cubicBezTo>
                      <a:cubicBezTo>
                        <a:pt x="5" y="1"/>
                        <a:pt x="5" y="1"/>
                        <a:pt x="5" y="1"/>
                      </a:cubicBezTo>
                      <a:cubicBezTo>
                        <a:pt x="5" y="1"/>
                        <a:pt x="5" y="1"/>
                        <a:pt x="5" y="1"/>
                      </a:cubicBezTo>
                      <a:cubicBezTo>
                        <a:pt x="4" y="1"/>
                        <a:pt x="4" y="1"/>
                        <a:pt x="4" y="1"/>
                      </a:cubicBezTo>
                      <a:cubicBezTo>
                        <a:pt x="4" y="1"/>
                        <a:pt x="4" y="1"/>
                        <a:pt x="4" y="1"/>
                      </a:cubicBezTo>
                      <a:cubicBezTo>
                        <a:pt x="2" y="1"/>
                        <a:pt x="2" y="1"/>
                        <a:pt x="2" y="1"/>
                      </a:cubicBezTo>
                      <a:cubicBezTo>
                        <a:pt x="2" y="1"/>
                        <a:pt x="2" y="1"/>
                        <a:pt x="2" y="1"/>
                      </a:cubicBezTo>
                      <a:cubicBezTo>
                        <a:pt x="1" y="1"/>
                        <a:pt x="1" y="1"/>
                        <a:pt x="1" y="1"/>
                      </a:cubicBezTo>
                      <a:cubicBezTo>
                        <a:pt x="0" y="1"/>
                        <a:pt x="0" y="1"/>
                        <a:pt x="0" y="1"/>
                      </a:cubicBezTo>
                      <a:cubicBezTo>
                        <a:pt x="0" y="4"/>
                        <a:pt x="0" y="4"/>
                        <a:pt x="0" y="4"/>
                      </a:cubicBezTo>
                      <a:lnTo>
                        <a:pt x="1" y="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9" name="Freeform 713">
                  <a:extLst>
                    <a:ext uri="{FF2B5EF4-FFF2-40B4-BE49-F238E27FC236}">
                      <a16:creationId xmlns:a16="http://schemas.microsoft.com/office/drawing/2014/main" id="{869A86BE-BEAF-82F9-646C-8629563E590D}"/>
                    </a:ext>
                  </a:extLst>
                </p:cNvPr>
                <p:cNvSpPr>
                  <a:spLocks noEditPoints="1"/>
                </p:cNvSpPr>
                <p:nvPr/>
              </p:nvSpPr>
              <p:spPr bwMode="auto">
                <a:xfrm>
                  <a:off x="9363075" y="4987925"/>
                  <a:ext cx="92075" cy="53975"/>
                </a:xfrm>
                <a:custGeom>
                  <a:avLst/>
                  <a:gdLst>
                    <a:gd name="T0" fmla="*/ 15 w 22"/>
                    <a:gd name="T1" fmla="*/ 1 h 13"/>
                    <a:gd name="T2" fmla="*/ 15 w 22"/>
                    <a:gd name="T3" fmla="*/ 1 h 13"/>
                    <a:gd name="T4" fmla="*/ 15 w 22"/>
                    <a:gd name="T5" fmla="*/ 1 h 13"/>
                    <a:gd name="T6" fmla="*/ 15 w 22"/>
                    <a:gd name="T7" fmla="*/ 1 h 13"/>
                    <a:gd name="T8" fmla="*/ 15 w 22"/>
                    <a:gd name="T9" fmla="*/ 1 h 13"/>
                    <a:gd name="T10" fmla="*/ 15 w 22"/>
                    <a:gd name="T11" fmla="*/ 1 h 13"/>
                    <a:gd name="T12" fmla="*/ 15 w 22"/>
                    <a:gd name="T13" fmla="*/ 1 h 13"/>
                    <a:gd name="T14" fmla="*/ 15 w 22"/>
                    <a:gd name="T15" fmla="*/ 2 h 13"/>
                    <a:gd name="T16" fmla="*/ 15 w 22"/>
                    <a:gd name="T17" fmla="*/ 1 h 13"/>
                    <a:gd name="T18" fmla="*/ 15 w 22"/>
                    <a:gd name="T19" fmla="*/ 1 h 13"/>
                    <a:gd name="T20" fmla="*/ 15 w 22"/>
                    <a:gd name="T21" fmla="*/ 1 h 13"/>
                    <a:gd name="T22" fmla="*/ 15 w 22"/>
                    <a:gd name="T23" fmla="*/ 1 h 13"/>
                    <a:gd name="T24" fmla="*/ 15 w 22"/>
                    <a:gd name="T25" fmla="*/ 2 h 13"/>
                    <a:gd name="T26" fmla="*/ 18 w 22"/>
                    <a:gd name="T27" fmla="*/ 0 h 13"/>
                    <a:gd name="T28" fmla="*/ 18 w 22"/>
                    <a:gd name="T29" fmla="*/ 0 h 13"/>
                    <a:gd name="T30" fmla="*/ 19 w 22"/>
                    <a:gd name="T31" fmla="*/ 0 h 13"/>
                    <a:gd name="T32" fmla="*/ 19 w 22"/>
                    <a:gd name="T33" fmla="*/ 0 h 13"/>
                    <a:gd name="T34" fmla="*/ 9 w 22"/>
                    <a:gd name="T35" fmla="*/ 12 h 13"/>
                    <a:gd name="T36" fmla="*/ 10 w 22"/>
                    <a:gd name="T37" fmla="*/ 13 h 13"/>
                    <a:gd name="T38" fmla="*/ 13 w 22"/>
                    <a:gd name="T39" fmla="*/ 13 h 13"/>
                    <a:gd name="T40" fmla="*/ 14 w 22"/>
                    <a:gd name="T41" fmla="*/ 13 h 13"/>
                    <a:gd name="T42" fmla="*/ 15 w 22"/>
                    <a:gd name="T43" fmla="*/ 13 h 13"/>
                    <a:gd name="T44" fmla="*/ 18 w 22"/>
                    <a:gd name="T45" fmla="*/ 12 h 13"/>
                    <a:gd name="T46" fmla="*/ 22 w 22"/>
                    <a:gd name="T47" fmla="*/ 5 h 13"/>
                    <a:gd name="T48" fmla="*/ 22 w 22"/>
                    <a:gd name="T49" fmla="*/ 5 h 13"/>
                    <a:gd name="T50" fmla="*/ 22 w 22"/>
                    <a:gd name="T51" fmla="*/ 4 h 13"/>
                    <a:gd name="T52" fmla="*/ 21 w 22"/>
                    <a:gd name="T53" fmla="*/ 4 h 13"/>
                    <a:gd name="T54" fmla="*/ 20 w 22"/>
                    <a:gd name="T55" fmla="*/ 4 h 13"/>
                    <a:gd name="T56" fmla="*/ 20 w 22"/>
                    <a:gd name="T57" fmla="*/ 4 h 13"/>
                    <a:gd name="T58" fmla="*/ 19 w 22"/>
                    <a:gd name="T59" fmla="*/ 4 h 13"/>
                    <a:gd name="T60" fmla="*/ 19 w 22"/>
                    <a:gd name="T61" fmla="*/ 4 h 13"/>
                    <a:gd name="T62" fmla="*/ 19 w 22"/>
                    <a:gd name="T63" fmla="*/ 4 h 13"/>
                    <a:gd name="T64" fmla="*/ 18 w 22"/>
                    <a:gd name="T65" fmla="*/ 4 h 13"/>
                    <a:gd name="T66" fmla="*/ 17 w 22"/>
                    <a:gd name="T67" fmla="*/ 3 h 13"/>
                    <a:gd name="T68" fmla="*/ 16 w 22"/>
                    <a:gd name="T69" fmla="*/ 3 h 13"/>
                    <a:gd name="T70" fmla="*/ 15 w 22"/>
                    <a:gd name="T71" fmla="*/ 2 h 13"/>
                    <a:gd name="T72" fmla="*/ 15 w 22"/>
                    <a:gd name="T73" fmla="*/ 2 h 13"/>
                    <a:gd name="T74" fmla="*/ 14 w 22"/>
                    <a:gd name="T75" fmla="*/ 1 h 13"/>
                    <a:gd name="T76" fmla="*/ 13 w 22"/>
                    <a:gd name="T77" fmla="*/ 1 h 13"/>
                    <a:gd name="T78" fmla="*/ 12 w 22"/>
                    <a:gd name="T79" fmla="*/ 1 h 13"/>
                    <a:gd name="T80" fmla="*/ 11 w 22"/>
                    <a:gd name="T81" fmla="*/ 2 h 13"/>
                    <a:gd name="T82" fmla="*/ 10 w 22"/>
                    <a:gd name="T83" fmla="*/ 2 h 13"/>
                    <a:gd name="T84" fmla="*/ 9 w 22"/>
                    <a:gd name="T85" fmla="*/ 2 h 13"/>
                    <a:gd name="T86" fmla="*/ 9 w 22"/>
                    <a:gd name="T87" fmla="*/ 3 h 13"/>
                    <a:gd name="T88" fmla="*/ 8 w 22"/>
                    <a:gd name="T89" fmla="*/ 5 h 13"/>
                    <a:gd name="T90" fmla="*/ 3 w 22"/>
                    <a:gd name="T91" fmla="*/ 6 h 13"/>
                    <a:gd name="T92" fmla="*/ 3 w 22"/>
                    <a:gd name="T93" fmla="*/ 6 h 13"/>
                    <a:gd name="T94" fmla="*/ 3 w 22"/>
                    <a:gd name="T95" fmla="*/ 5 h 13"/>
                    <a:gd name="T96" fmla="*/ 2 w 22"/>
                    <a:gd name="T97" fmla="*/ 6 h 13"/>
                    <a:gd name="T98" fmla="*/ 6 w 22"/>
                    <a:gd name="T99" fmla="*/ 10 h 13"/>
                    <a:gd name="T100" fmla="*/ 7 w 22"/>
                    <a:gd name="T10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 h="13">
                      <a:moveTo>
                        <a:pt x="15" y="1"/>
                      </a:move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2"/>
                        <a:pt x="15" y="2"/>
                        <a:pt x="15" y="2"/>
                      </a:cubicBezTo>
                      <a:cubicBezTo>
                        <a:pt x="15" y="2"/>
                        <a:pt x="15" y="2"/>
                        <a:pt x="15" y="2"/>
                      </a:cubicBezTo>
                      <a:cubicBezTo>
                        <a:pt x="15" y="2"/>
                        <a:pt x="15" y="2"/>
                        <a:pt x="15" y="2"/>
                      </a:cubicBezTo>
                      <a:cubicBezTo>
                        <a:pt x="15" y="2"/>
                        <a:pt x="15" y="2"/>
                        <a:pt x="15" y="2"/>
                      </a:cubicBezTo>
                      <a:close/>
                      <a:moveTo>
                        <a:pt x="19" y="0"/>
                      </a:moveTo>
                      <a:cubicBezTo>
                        <a:pt x="19" y="0"/>
                        <a:pt x="19" y="0"/>
                        <a:pt x="18" y="0"/>
                      </a:cubicBezTo>
                      <a:cubicBezTo>
                        <a:pt x="18" y="0"/>
                        <a:pt x="18" y="0"/>
                        <a:pt x="18" y="0"/>
                      </a:cubicBezTo>
                      <a:cubicBezTo>
                        <a:pt x="18" y="0"/>
                        <a:pt x="18" y="0"/>
                        <a:pt x="18" y="0"/>
                      </a:cubicBezTo>
                      <a:cubicBezTo>
                        <a:pt x="18" y="0"/>
                        <a:pt x="18" y="0"/>
                        <a:pt x="18" y="0"/>
                      </a:cubicBezTo>
                      <a:cubicBezTo>
                        <a:pt x="18"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lose/>
                      <a:moveTo>
                        <a:pt x="9" y="12"/>
                      </a:moveTo>
                      <a:cubicBezTo>
                        <a:pt x="9" y="12"/>
                        <a:pt x="9" y="12"/>
                        <a:pt x="9" y="12"/>
                      </a:cubicBezTo>
                      <a:cubicBezTo>
                        <a:pt x="9" y="13"/>
                        <a:pt x="9" y="13"/>
                        <a:pt x="9" y="13"/>
                      </a:cubicBezTo>
                      <a:cubicBezTo>
                        <a:pt x="10" y="13"/>
                        <a:pt x="10" y="13"/>
                        <a:pt x="10" y="13"/>
                      </a:cubicBezTo>
                      <a:cubicBezTo>
                        <a:pt x="11" y="13"/>
                        <a:pt x="11" y="13"/>
                        <a:pt x="11" y="13"/>
                      </a:cubicBezTo>
                      <a:cubicBezTo>
                        <a:pt x="11" y="13"/>
                        <a:pt x="11" y="13"/>
                        <a:pt x="11"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5" y="13"/>
                        <a:pt x="15" y="13"/>
                      </a:cubicBezTo>
                      <a:cubicBezTo>
                        <a:pt x="15" y="13"/>
                        <a:pt x="15" y="13"/>
                        <a:pt x="15" y="13"/>
                      </a:cubicBezTo>
                      <a:cubicBezTo>
                        <a:pt x="16" y="13"/>
                        <a:pt x="16" y="13"/>
                        <a:pt x="16" y="13"/>
                      </a:cubicBezTo>
                      <a:cubicBezTo>
                        <a:pt x="16" y="13"/>
                        <a:pt x="16" y="13"/>
                        <a:pt x="16" y="13"/>
                      </a:cubicBezTo>
                      <a:cubicBezTo>
                        <a:pt x="18" y="12"/>
                        <a:pt x="18" y="12"/>
                        <a:pt x="18" y="12"/>
                      </a:cubicBezTo>
                      <a:cubicBezTo>
                        <a:pt x="18" y="12"/>
                        <a:pt x="18" y="12"/>
                        <a:pt x="18" y="12"/>
                      </a:cubicBezTo>
                      <a:cubicBezTo>
                        <a:pt x="22" y="9"/>
                        <a:pt x="22" y="9"/>
                        <a:pt x="22" y="9"/>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3"/>
                        <a:pt x="17" y="3"/>
                        <a:pt x="17" y="3"/>
                      </a:cubicBezTo>
                      <a:cubicBezTo>
                        <a:pt x="17" y="3"/>
                        <a:pt x="17" y="3"/>
                        <a:pt x="17" y="3"/>
                      </a:cubicBezTo>
                      <a:cubicBezTo>
                        <a:pt x="17" y="3"/>
                        <a:pt x="17" y="3"/>
                        <a:pt x="16" y="3"/>
                      </a:cubicBezTo>
                      <a:cubicBezTo>
                        <a:pt x="16" y="3"/>
                        <a:pt x="16" y="3"/>
                        <a:pt x="16" y="3"/>
                      </a:cubicBezTo>
                      <a:cubicBezTo>
                        <a:pt x="16" y="3"/>
                        <a:pt x="16" y="3"/>
                        <a:pt x="16" y="3"/>
                      </a:cubicBezTo>
                      <a:cubicBezTo>
                        <a:pt x="16" y="3"/>
                        <a:pt x="16" y="3"/>
                        <a:pt x="16" y="3"/>
                      </a:cubicBezTo>
                      <a:cubicBezTo>
                        <a:pt x="16" y="3"/>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2" y="1"/>
                        <a:pt x="12" y="1"/>
                      </a:cubicBezTo>
                      <a:cubicBezTo>
                        <a:pt x="12" y="1"/>
                        <a:pt x="12" y="1"/>
                        <a:pt x="12" y="1"/>
                      </a:cubicBezTo>
                      <a:cubicBezTo>
                        <a:pt x="12" y="1"/>
                        <a:pt x="12" y="2"/>
                        <a:pt x="12" y="2"/>
                      </a:cubicBezTo>
                      <a:cubicBezTo>
                        <a:pt x="12" y="2"/>
                        <a:pt x="12" y="2"/>
                        <a:pt x="12" y="2"/>
                      </a:cubicBezTo>
                      <a:cubicBezTo>
                        <a:pt x="12" y="2"/>
                        <a:pt x="11" y="2"/>
                        <a:pt x="11" y="2"/>
                      </a:cubicBezTo>
                      <a:cubicBezTo>
                        <a:pt x="11" y="2"/>
                        <a:pt x="11" y="2"/>
                        <a:pt x="11" y="2"/>
                      </a:cubicBezTo>
                      <a:cubicBezTo>
                        <a:pt x="11" y="2"/>
                        <a:pt x="11" y="2"/>
                        <a:pt x="11"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9" y="2"/>
                        <a:pt x="9" y="3"/>
                        <a:pt x="9" y="3"/>
                      </a:cubicBezTo>
                      <a:cubicBezTo>
                        <a:pt x="9" y="3"/>
                        <a:pt x="9" y="3"/>
                        <a:pt x="9" y="3"/>
                      </a:cubicBezTo>
                      <a:cubicBezTo>
                        <a:pt x="9" y="5"/>
                        <a:pt x="9" y="5"/>
                        <a:pt x="9" y="5"/>
                      </a:cubicBezTo>
                      <a:cubicBezTo>
                        <a:pt x="9" y="5"/>
                        <a:pt x="9" y="5"/>
                        <a:pt x="9" y="5"/>
                      </a:cubicBezTo>
                      <a:cubicBezTo>
                        <a:pt x="8" y="5"/>
                        <a:pt x="8" y="5"/>
                        <a:pt x="8" y="5"/>
                      </a:cubicBezTo>
                      <a:cubicBezTo>
                        <a:pt x="8" y="6"/>
                        <a:pt x="8" y="6"/>
                        <a:pt x="8"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5"/>
                        <a:pt x="3" y="5"/>
                        <a:pt x="3" y="5"/>
                      </a:cubicBezTo>
                      <a:cubicBezTo>
                        <a:pt x="3" y="5"/>
                        <a:pt x="3" y="5"/>
                        <a:pt x="3" y="5"/>
                      </a:cubicBezTo>
                      <a:cubicBezTo>
                        <a:pt x="3" y="5"/>
                        <a:pt x="3" y="5"/>
                        <a:pt x="3" y="5"/>
                      </a:cubicBezTo>
                      <a:cubicBezTo>
                        <a:pt x="2" y="6"/>
                        <a:pt x="2" y="6"/>
                        <a:pt x="2" y="6"/>
                      </a:cubicBezTo>
                      <a:cubicBezTo>
                        <a:pt x="0" y="7"/>
                        <a:pt x="0" y="7"/>
                        <a:pt x="0" y="7"/>
                      </a:cubicBezTo>
                      <a:cubicBezTo>
                        <a:pt x="0" y="10"/>
                        <a:pt x="0" y="10"/>
                        <a:pt x="0" y="10"/>
                      </a:cubicBezTo>
                      <a:cubicBezTo>
                        <a:pt x="6" y="10"/>
                        <a:pt x="6" y="10"/>
                        <a:pt x="6" y="10"/>
                      </a:cubicBezTo>
                      <a:cubicBezTo>
                        <a:pt x="6" y="10"/>
                        <a:pt x="6" y="10"/>
                        <a:pt x="6" y="10"/>
                      </a:cubicBezTo>
                      <a:cubicBezTo>
                        <a:pt x="6" y="12"/>
                        <a:pt x="6" y="12"/>
                        <a:pt x="6" y="12"/>
                      </a:cubicBezTo>
                      <a:cubicBezTo>
                        <a:pt x="7" y="12"/>
                        <a:pt x="7" y="12"/>
                        <a:pt x="7" y="12"/>
                      </a:cubicBezTo>
                      <a:lnTo>
                        <a:pt x="9"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0" name="Freeform 714">
                  <a:extLst>
                    <a:ext uri="{FF2B5EF4-FFF2-40B4-BE49-F238E27FC236}">
                      <a16:creationId xmlns:a16="http://schemas.microsoft.com/office/drawing/2014/main" id="{D58A1D02-075C-8F59-3F21-31DDF4B5F189}"/>
                    </a:ext>
                  </a:extLst>
                </p:cNvPr>
                <p:cNvSpPr>
                  <a:spLocks noEditPoints="1"/>
                </p:cNvSpPr>
                <p:nvPr/>
              </p:nvSpPr>
              <p:spPr bwMode="auto">
                <a:xfrm>
                  <a:off x="9625013" y="5013325"/>
                  <a:ext cx="53975" cy="57150"/>
                </a:xfrm>
                <a:custGeom>
                  <a:avLst/>
                  <a:gdLst>
                    <a:gd name="T0" fmla="*/ 12 w 13"/>
                    <a:gd name="T1" fmla="*/ 0 h 14"/>
                    <a:gd name="T2" fmla="*/ 13 w 13"/>
                    <a:gd name="T3" fmla="*/ 1 h 14"/>
                    <a:gd name="T4" fmla="*/ 12 w 13"/>
                    <a:gd name="T5" fmla="*/ 1 h 14"/>
                    <a:gd name="T6" fmla="*/ 12 w 13"/>
                    <a:gd name="T7" fmla="*/ 1 h 14"/>
                    <a:gd name="T8" fmla="*/ 12 w 13"/>
                    <a:gd name="T9" fmla="*/ 2 h 14"/>
                    <a:gd name="T10" fmla="*/ 11 w 13"/>
                    <a:gd name="T11" fmla="*/ 2 h 14"/>
                    <a:gd name="T12" fmla="*/ 11 w 13"/>
                    <a:gd name="T13" fmla="*/ 1 h 14"/>
                    <a:gd name="T14" fmla="*/ 11 w 13"/>
                    <a:gd name="T15" fmla="*/ 1 h 14"/>
                    <a:gd name="T16" fmla="*/ 11 w 13"/>
                    <a:gd name="T17" fmla="*/ 1 h 14"/>
                    <a:gd name="T18" fmla="*/ 11 w 13"/>
                    <a:gd name="T19" fmla="*/ 1 h 14"/>
                    <a:gd name="T20" fmla="*/ 11 w 13"/>
                    <a:gd name="T21" fmla="*/ 0 h 14"/>
                    <a:gd name="T22" fmla="*/ 10 w 13"/>
                    <a:gd name="T23" fmla="*/ 1 h 14"/>
                    <a:gd name="T24" fmla="*/ 9 w 13"/>
                    <a:gd name="T25" fmla="*/ 1 h 14"/>
                    <a:gd name="T26" fmla="*/ 9 w 13"/>
                    <a:gd name="T27" fmla="*/ 2 h 14"/>
                    <a:gd name="T28" fmla="*/ 9 w 13"/>
                    <a:gd name="T29" fmla="*/ 2 h 14"/>
                    <a:gd name="T30" fmla="*/ 8 w 13"/>
                    <a:gd name="T31" fmla="*/ 1 h 14"/>
                    <a:gd name="T32" fmla="*/ 6 w 13"/>
                    <a:gd name="T33" fmla="*/ 1 h 14"/>
                    <a:gd name="T34" fmla="*/ 6 w 13"/>
                    <a:gd name="T35" fmla="*/ 1 h 14"/>
                    <a:gd name="T36" fmla="*/ 6 w 13"/>
                    <a:gd name="T37" fmla="*/ 2 h 14"/>
                    <a:gd name="T38" fmla="*/ 6 w 13"/>
                    <a:gd name="T39" fmla="*/ 2 h 14"/>
                    <a:gd name="T40" fmla="*/ 7 w 13"/>
                    <a:gd name="T41" fmla="*/ 3 h 14"/>
                    <a:gd name="T42" fmla="*/ 7 w 13"/>
                    <a:gd name="T43" fmla="*/ 4 h 14"/>
                    <a:gd name="T44" fmla="*/ 7 w 13"/>
                    <a:gd name="T45" fmla="*/ 5 h 14"/>
                    <a:gd name="T46" fmla="*/ 7 w 13"/>
                    <a:gd name="T47" fmla="*/ 5 h 14"/>
                    <a:gd name="T48" fmla="*/ 7 w 13"/>
                    <a:gd name="T49" fmla="*/ 6 h 14"/>
                    <a:gd name="T50" fmla="*/ 6 w 13"/>
                    <a:gd name="T51" fmla="*/ 6 h 14"/>
                    <a:gd name="T52" fmla="*/ 4 w 13"/>
                    <a:gd name="T53" fmla="*/ 8 h 14"/>
                    <a:gd name="T54" fmla="*/ 4 w 13"/>
                    <a:gd name="T55" fmla="*/ 9 h 14"/>
                    <a:gd name="T56" fmla="*/ 3 w 13"/>
                    <a:gd name="T57" fmla="*/ 10 h 14"/>
                    <a:gd name="T58" fmla="*/ 2 w 13"/>
                    <a:gd name="T59" fmla="*/ 11 h 14"/>
                    <a:gd name="T60" fmla="*/ 2 w 13"/>
                    <a:gd name="T61" fmla="*/ 11 h 14"/>
                    <a:gd name="T62" fmla="*/ 0 w 13"/>
                    <a:gd name="T63" fmla="*/ 13 h 14"/>
                    <a:gd name="T64" fmla="*/ 1 w 13"/>
                    <a:gd name="T65" fmla="*/ 13 h 14"/>
                    <a:gd name="T66" fmla="*/ 2 w 13"/>
                    <a:gd name="T67" fmla="*/ 13 h 14"/>
                    <a:gd name="T68" fmla="*/ 3 w 13"/>
                    <a:gd name="T69" fmla="*/ 13 h 14"/>
                    <a:gd name="T70" fmla="*/ 3 w 13"/>
                    <a:gd name="T71" fmla="*/ 13 h 14"/>
                    <a:gd name="T72" fmla="*/ 4 w 13"/>
                    <a:gd name="T73" fmla="*/ 13 h 14"/>
                    <a:gd name="T74" fmla="*/ 4 w 13"/>
                    <a:gd name="T75" fmla="*/ 13 h 14"/>
                    <a:gd name="T76" fmla="*/ 5 w 13"/>
                    <a:gd name="T77" fmla="*/ 12 h 14"/>
                    <a:gd name="T78" fmla="*/ 6 w 13"/>
                    <a:gd name="T79" fmla="*/ 11 h 14"/>
                    <a:gd name="T80" fmla="*/ 6 w 13"/>
                    <a:gd name="T81" fmla="*/ 11 h 14"/>
                    <a:gd name="T82" fmla="*/ 6 w 13"/>
                    <a:gd name="T83" fmla="*/ 10 h 14"/>
                    <a:gd name="T84" fmla="*/ 7 w 13"/>
                    <a:gd name="T85" fmla="*/ 10 h 14"/>
                    <a:gd name="T86" fmla="*/ 7 w 13"/>
                    <a:gd name="T87" fmla="*/ 10 h 14"/>
                    <a:gd name="T88" fmla="*/ 8 w 13"/>
                    <a:gd name="T89" fmla="*/ 10 h 14"/>
                    <a:gd name="T90" fmla="*/ 10 w 13"/>
                    <a:gd name="T91" fmla="*/ 10 h 14"/>
                    <a:gd name="T92" fmla="*/ 10 w 13"/>
                    <a:gd name="T93" fmla="*/ 9 h 14"/>
                    <a:gd name="T94" fmla="*/ 10 w 13"/>
                    <a:gd name="T95" fmla="*/ 8 h 14"/>
                    <a:gd name="T96" fmla="*/ 9 w 13"/>
                    <a:gd name="T97" fmla="*/ 7 h 14"/>
                    <a:gd name="T98" fmla="*/ 9 w 13"/>
                    <a:gd name="T99" fmla="*/ 7 h 14"/>
                    <a:gd name="T100" fmla="*/ 10 w 13"/>
                    <a:gd name="T101" fmla="*/ 6 h 14"/>
                    <a:gd name="T102" fmla="*/ 11 w 13"/>
                    <a:gd name="T103" fmla="*/ 6 h 14"/>
                    <a:gd name="T104" fmla="*/ 11 w 13"/>
                    <a:gd name="T105" fmla="*/ 6 h 14"/>
                    <a:gd name="T106" fmla="*/ 12 w 13"/>
                    <a:gd name="T107" fmla="*/ 4 h 14"/>
                    <a:gd name="T108" fmla="*/ 12 w 13"/>
                    <a:gd name="T10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14">
                      <a:moveTo>
                        <a:pt x="12" y="1"/>
                      </a:moveTo>
                      <a:cubicBezTo>
                        <a:pt x="12" y="1"/>
                        <a:pt x="12" y="0"/>
                        <a:pt x="12" y="0"/>
                      </a:cubicBezTo>
                      <a:cubicBezTo>
                        <a:pt x="12" y="0"/>
                        <a:pt x="12" y="0"/>
                        <a:pt x="12" y="0"/>
                      </a:cubicBezTo>
                      <a:cubicBezTo>
                        <a:pt x="12" y="0"/>
                        <a:pt x="12" y="0"/>
                        <a:pt x="13" y="0"/>
                      </a:cubicBezTo>
                      <a:cubicBezTo>
                        <a:pt x="13" y="0"/>
                        <a:pt x="13" y="0"/>
                        <a:pt x="13" y="0"/>
                      </a:cubicBezTo>
                      <a:cubicBezTo>
                        <a:pt x="13" y="1"/>
                        <a:pt x="13" y="1"/>
                        <a:pt x="13" y="1"/>
                      </a:cubicBezTo>
                      <a:cubicBezTo>
                        <a:pt x="13" y="1"/>
                        <a:pt x="13" y="1"/>
                        <a:pt x="13" y="1"/>
                      </a:cubicBezTo>
                      <a:cubicBezTo>
                        <a:pt x="13" y="1"/>
                        <a:pt x="13" y="1"/>
                        <a:pt x="13" y="1"/>
                      </a:cubicBezTo>
                      <a:cubicBezTo>
                        <a:pt x="12" y="1"/>
                        <a:pt x="12" y="1"/>
                        <a:pt x="12" y="1"/>
                      </a:cubicBezTo>
                      <a:cubicBezTo>
                        <a:pt x="12" y="1"/>
                        <a:pt x="12" y="1"/>
                        <a:pt x="12" y="1"/>
                      </a:cubicBezTo>
                      <a:cubicBezTo>
                        <a:pt x="12" y="1"/>
                        <a:pt x="12" y="1"/>
                        <a:pt x="12" y="1"/>
                      </a:cubicBezTo>
                      <a:cubicBezTo>
                        <a:pt x="12" y="1"/>
                        <a:pt x="12" y="1"/>
                        <a:pt x="12" y="1"/>
                      </a:cubicBezTo>
                      <a:close/>
                      <a:moveTo>
                        <a:pt x="12" y="2"/>
                      </a:moveTo>
                      <a:cubicBezTo>
                        <a:pt x="12" y="2"/>
                        <a:pt x="12" y="2"/>
                        <a:pt x="12" y="2"/>
                      </a:cubicBezTo>
                      <a:cubicBezTo>
                        <a:pt x="12" y="2"/>
                        <a:pt x="12" y="2"/>
                        <a:pt x="12" y="2"/>
                      </a:cubicBezTo>
                      <a:cubicBezTo>
                        <a:pt x="12" y="2"/>
                        <a:pt x="12" y="2"/>
                        <a:pt x="11" y="2"/>
                      </a:cubicBezTo>
                      <a:cubicBezTo>
                        <a:pt x="11" y="2"/>
                        <a:pt x="11" y="2"/>
                        <a:pt x="11" y="2"/>
                      </a:cubicBezTo>
                      <a:cubicBezTo>
                        <a:pt x="11" y="2"/>
                        <a:pt x="11" y="2"/>
                        <a:pt x="11" y="2"/>
                      </a:cubicBezTo>
                      <a:cubicBezTo>
                        <a:pt x="11" y="2"/>
                        <a:pt x="11" y="2"/>
                        <a:pt x="11" y="2"/>
                      </a:cubicBezTo>
                      <a:cubicBezTo>
                        <a:pt x="11" y="2"/>
                        <a:pt x="11" y="2"/>
                        <a:pt x="11" y="2"/>
                      </a:cubicBezTo>
                      <a:cubicBezTo>
                        <a:pt x="10" y="1"/>
                        <a:pt x="10" y="1"/>
                        <a:pt x="11" y="1"/>
                      </a:cubicBezTo>
                      <a:cubicBezTo>
                        <a:pt x="11" y="1"/>
                        <a:pt x="11" y="1"/>
                        <a:pt x="11" y="1"/>
                      </a:cubicBezTo>
                      <a:cubicBezTo>
                        <a:pt x="11" y="1"/>
                        <a:pt x="11" y="1"/>
                        <a:pt x="11" y="1"/>
                      </a:cubicBezTo>
                      <a:cubicBezTo>
                        <a:pt x="10" y="1"/>
                        <a:pt x="10"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0"/>
                        <a:pt x="11" y="0"/>
                      </a:cubicBezTo>
                      <a:cubicBezTo>
                        <a:pt x="10" y="0"/>
                        <a:pt x="10" y="0"/>
                        <a:pt x="10" y="1"/>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10" y="1"/>
                        <a:pt x="10" y="1"/>
                      </a:cubicBezTo>
                      <a:cubicBezTo>
                        <a:pt x="10" y="1"/>
                        <a:pt x="10" y="1"/>
                        <a:pt x="9" y="2"/>
                      </a:cubicBezTo>
                      <a:cubicBezTo>
                        <a:pt x="9" y="2"/>
                        <a:pt x="9" y="2"/>
                        <a:pt x="9" y="2"/>
                      </a:cubicBezTo>
                      <a:cubicBezTo>
                        <a:pt x="9" y="2"/>
                        <a:pt x="9" y="2"/>
                        <a:pt x="9" y="2"/>
                      </a:cubicBezTo>
                      <a:cubicBezTo>
                        <a:pt x="9" y="2"/>
                        <a:pt x="9" y="2"/>
                        <a:pt x="9" y="2"/>
                      </a:cubicBezTo>
                      <a:cubicBezTo>
                        <a:pt x="9" y="2"/>
                        <a:pt x="9" y="2"/>
                        <a:pt x="9" y="2"/>
                      </a:cubicBezTo>
                      <a:cubicBezTo>
                        <a:pt x="8" y="2"/>
                        <a:pt x="8" y="1"/>
                        <a:pt x="8" y="1"/>
                      </a:cubicBezTo>
                      <a:cubicBezTo>
                        <a:pt x="8" y="1"/>
                        <a:pt x="8" y="1"/>
                        <a:pt x="8" y="1"/>
                      </a:cubicBezTo>
                      <a:cubicBezTo>
                        <a:pt x="8" y="1"/>
                        <a:pt x="8" y="1"/>
                        <a:pt x="8" y="1"/>
                      </a:cubicBezTo>
                      <a:cubicBezTo>
                        <a:pt x="8" y="1"/>
                        <a:pt x="7"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7" y="2"/>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7" y="4"/>
                      </a:cubicBezTo>
                      <a:cubicBezTo>
                        <a:pt x="7" y="5"/>
                        <a:pt x="7" y="5"/>
                        <a:pt x="7" y="5"/>
                      </a:cubicBezTo>
                      <a:cubicBezTo>
                        <a:pt x="7" y="5"/>
                        <a:pt x="7" y="5"/>
                        <a:pt x="7"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6" y="6"/>
                        <a:pt x="6" y="6"/>
                        <a:pt x="6" y="6"/>
                      </a:cubicBezTo>
                      <a:cubicBezTo>
                        <a:pt x="5" y="6"/>
                        <a:pt x="5" y="6"/>
                        <a:pt x="5" y="6"/>
                      </a:cubicBezTo>
                      <a:cubicBezTo>
                        <a:pt x="5" y="7"/>
                        <a:pt x="5" y="7"/>
                        <a:pt x="5"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10"/>
                        <a:pt x="4" y="10"/>
                        <a:pt x="4" y="10"/>
                      </a:cubicBezTo>
                      <a:cubicBezTo>
                        <a:pt x="3" y="10"/>
                        <a:pt x="3" y="10"/>
                        <a:pt x="3" y="10"/>
                      </a:cubicBezTo>
                      <a:cubicBezTo>
                        <a:pt x="3" y="10"/>
                        <a:pt x="3" y="10"/>
                        <a:pt x="3" y="10"/>
                      </a:cubicBezTo>
                      <a:cubicBezTo>
                        <a:pt x="3" y="10"/>
                        <a:pt x="2" y="10"/>
                        <a:pt x="2" y="10"/>
                      </a:cubicBezTo>
                      <a:cubicBezTo>
                        <a:pt x="2" y="10"/>
                        <a:pt x="2" y="10"/>
                        <a:pt x="2" y="11"/>
                      </a:cubicBezTo>
                      <a:cubicBezTo>
                        <a:pt x="2" y="11"/>
                        <a:pt x="2" y="11"/>
                        <a:pt x="2" y="11"/>
                      </a:cubicBezTo>
                      <a:cubicBezTo>
                        <a:pt x="2" y="11"/>
                        <a:pt x="2" y="11"/>
                        <a:pt x="2" y="11"/>
                      </a:cubicBezTo>
                      <a:cubicBezTo>
                        <a:pt x="2" y="11"/>
                        <a:pt x="2" y="11"/>
                        <a:pt x="2" y="11"/>
                      </a:cubicBezTo>
                      <a:cubicBezTo>
                        <a:pt x="0" y="11"/>
                        <a:pt x="0" y="11"/>
                        <a:pt x="0" y="11"/>
                      </a:cubicBezTo>
                      <a:cubicBezTo>
                        <a:pt x="0" y="11"/>
                        <a:pt x="0" y="12"/>
                        <a:pt x="0" y="12"/>
                      </a:cubicBezTo>
                      <a:cubicBezTo>
                        <a:pt x="0" y="12"/>
                        <a:pt x="0" y="13"/>
                        <a:pt x="0" y="13"/>
                      </a:cubicBezTo>
                      <a:cubicBezTo>
                        <a:pt x="1" y="14"/>
                        <a:pt x="1" y="14"/>
                        <a:pt x="1" y="14"/>
                      </a:cubicBezTo>
                      <a:cubicBezTo>
                        <a:pt x="1" y="14"/>
                        <a:pt x="1" y="14"/>
                        <a:pt x="1" y="14"/>
                      </a:cubicBezTo>
                      <a:cubicBezTo>
                        <a:pt x="1" y="13"/>
                        <a:pt x="1" y="13"/>
                        <a:pt x="1" y="13"/>
                      </a:cubicBezTo>
                      <a:cubicBezTo>
                        <a:pt x="1" y="13"/>
                        <a:pt x="1" y="13"/>
                        <a:pt x="1" y="13"/>
                      </a:cubicBezTo>
                      <a:cubicBezTo>
                        <a:pt x="1" y="13"/>
                        <a:pt x="2" y="13"/>
                        <a:pt x="2" y="13"/>
                      </a:cubicBezTo>
                      <a:cubicBezTo>
                        <a:pt x="2" y="13"/>
                        <a:pt x="2" y="13"/>
                        <a:pt x="2" y="13"/>
                      </a:cubicBezTo>
                      <a:cubicBezTo>
                        <a:pt x="2" y="13"/>
                        <a:pt x="2" y="13"/>
                        <a:pt x="2" y="13"/>
                      </a:cubicBezTo>
                      <a:cubicBezTo>
                        <a:pt x="2" y="13"/>
                        <a:pt x="2" y="13"/>
                        <a:pt x="2" y="13"/>
                      </a:cubicBezTo>
                      <a:cubicBezTo>
                        <a:pt x="2"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2"/>
                        <a:pt x="4" y="12"/>
                      </a:cubicBezTo>
                      <a:cubicBezTo>
                        <a:pt x="5" y="12"/>
                        <a:pt x="5" y="12"/>
                        <a:pt x="5" y="12"/>
                      </a:cubicBezTo>
                      <a:cubicBezTo>
                        <a:pt x="5" y="12"/>
                        <a:pt x="5" y="12"/>
                        <a:pt x="5" y="12"/>
                      </a:cubicBezTo>
                      <a:cubicBezTo>
                        <a:pt x="5" y="12"/>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7" y="10"/>
                        <a:pt x="7" y="10"/>
                      </a:cubicBezTo>
                      <a:cubicBezTo>
                        <a:pt x="7" y="10"/>
                        <a:pt x="7" y="10"/>
                        <a:pt x="7" y="10"/>
                      </a:cubicBezTo>
                      <a:cubicBezTo>
                        <a:pt x="7" y="10"/>
                        <a:pt x="7" y="10"/>
                        <a:pt x="7" y="10"/>
                      </a:cubicBezTo>
                      <a:cubicBezTo>
                        <a:pt x="7" y="10"/>
                        <a:pt x="7" y="10"/>
                        <a:pt x="7" y="10"/>
                      </a:cubicBezTo>
                      <a:cubicBezTo>
                        <a:pt x="7" y="10"/>
                        <a:pt x="8" y="10"/>
                        <a:pt x="8" y="10"/>
                      </a:cubicBezTo>
                      <a:cubicBezTo>
                        <a:pt x="8" y="10"/>
                        <a:pt x="8" y="10"/>
                        <a:pt x="8" y="10"/>
                      </a:cubicBezTo>
                      <a:cubicBezTo>
                        <a:pt x="8" y="10"/>
                        <a:pt x="8" y="10"/>
                        <a:pt x="8" y="10"/>
                      </a:cubicBezTo>
                      <a:cubicBezTo>
                        <a:pt x="8" y="10"/>
                        <a:pt x="8" y="10"/>
                        <a:pt x="8" y="10"/>
                      </a:cubicBezTo>
                      <a:cubicBezTo>
                        <a:pt x="9" y="10"/>
                        <a:pt x="9" y="10"/>
                        <a:pt x="9" y="10"/>
                      </a:cubicBezTo>
                      <a:cubicBezTo>
                        <a:pt x="9" y="10"/>
                        <a:pt x="9" y="10"/>
                        <a:pt x="10" y="10"/>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8"/>
                        <a:pt x="10" y="8"/>
                      </a:cubicBezTo>
                      <a:cubicBezTo>
                        <a:pt x="10" y="8"/>
                        <a:pt x="10" y="8"/>
                        <a:pt x="10" y="8"/>
                      </a:cubicBezTo>
                      <a:cubicBezTo>
                        <a:pt x="10" y="8"/>
                        <a:pt x="10" y="8"/>
                        <a:pt x="9" y="8"/>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6"/>
                        <a:pt x="10" y="6"/>
                        <a:pt x="10" y="6"/>
                      </a:cubicBezTo>
                      <a:cubicBezTo>
                        <a:pt x="10" y="6"/>
                        <a:pt x="10" y="6"/>
                        <a:pt x="10" y="6"/>
                      </a:cubicBezTo>
                      <a:cubicBezTo>
                        <a:pt x="10" y="6"/>
                        <a:pt x="10" y="6"/>
                        <a:pt x="11" y="6"/>
                      </a:cubicBezTo>
                      <a:cubicBezTo>
                        <a:pt x="11" y="6"/>
                        <a:pt x="11" y="6"/>
                        <a:pt x="11" y="6"/>
                      </a:cubicBezTo>
                      <a:cubicBezTo>
                        <a:pt x="11" y="6"/>
                        <a:pt x="11" y="6"/>
                        <a:pt x="11" y="6"/>
                      </a:cubicBezTo>
                      <a:cubicBezTo>
                        <a:pt x="11" y="6"/>
                        <a:pt x="11" y="6"/>
                        <a:pt x="11" y="6"/>
                      </a:cubicBezTo>
                      <a:cubicBezTo>
                        <a:pt x="11" y="6"/>
                        <a:pt x="11" y="6"/>
                        <a:pt x="11" y="6"/>
                      </a:cubicBezTo>
                      <a:cubicBezTo>
                        <a:pt x="11" y="5"/>
                        <a:pt x="11" y="5"/>
                        <a:pt x="12" y="5"/>
                      </a:cubicBezTo>
                      <a:cubicBezTo>
                        <a:pt x="12" y="5"/>
                        <a:pt x="12" y="5"/>
                        <a:pt x="12" y="5"/>
                      </a:cubicBezTo>
                      <a:cubicBezTo>
                        <a:pt x="12" y="5"/>
                        <a:pt x="12" y="4"/>
                        <a:pt x="12" y="4"/>
                      </a:cubicBezTo>
                      <a:cubicBezTo>
                        <a:pt x="12" y="4"/>
                        <a:pt x="12" y="4"/>
                        <a:pt x="12" y="4"/>
                      </a:cubicBezTo>
                      <a:cubicBezTo>
                        <a:pt x="12" y="4"/>
                        <a:pt x="12" y="4"/>
                        <a:pt x="12" y="3"/>
                      </a:cubicBezTo>
                      <a:cubicBezTo>
                        <a:pt x="12" y="3"/>
                        <a:pt x="12" y="3"/>
                        <a:pt x="12" y="3"/>
                      </a:cubicBezTo>
                      <a:cubicBezTo>
                        <a:pt x="12" y="3"/>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1" name="Freeform 715">
                  <a:extLst>
                    <a:ext uri="{FF2B5EF4-FFF2-40B4-BE49-F238E27FC236}">
                      <a16:creationId xmlns:a16="http://schemas.microsoft.com/office/drawing/2014/main" id="{D2CA16D1-5004-6FD8-9793-9E5D27623EDA}"/>
                    </a:ext>
                  </a:extLst>
                </p:cNvPr>
                <p:cNvSpPr>
                  <a:spLocks/>
                </p:cNvSpPr>
                <p:nvPr/>
              </p:nvSpPr>
              <p:spPr bwMode="auto">
                <a:xfrm>
                  <a:off x="9467850" y="5062538"/>
                  <a:ext cx="33337" cy="38100"/>
                </a:xfrm>
                <a:custGeom>
                  <a:avLst/>
                  <a:gdLst>
                    <a:gd name="T0" fmla="*/ 4 w 8"/>
                    <a:gd name="T1" fmla="*/ 1 h 9"/>
                    <a:gd name="T2" fmla="*/ 4 w 8"/>
                    <a:gd name="T3" fmla="*/ 1 h 9"/>
                    <a:gd name="T4" fmla="*/ 4 w 8"/>
                    <a:gd name="T5" fmla="*/ 0 h 9"/>
                    <a:gd name="T6" fmla="*/ 4 w 8"/>
                    <a:gd name="T7" fmla="*/ 1 h 9"/>
                    <a:gd name="T8" fmla="*/ 3 w 8"/>
                    <a:gd name="T9" fmla="*/ 1 h 9"/>
                    <a:gd name="T10" fmla="*/ 2 w 8"/>
                    <a:gd name="T11" fmla="*/ 1 h 9"/>
                    <a:gd name="T12" fmla="*/ 2 w 8"/>
                    <a:gd name="T13" fmla="*/ 0 h 9"/>
                    <a:gd name="T14" fmla="*/ 2 w 8"/>
                    <a:gd name="T15" fmla="*/ 0 h 9"/>
                    <a:gd name="T16" fmla="*/ 1 w 8"/>
                    <a:gd name="T17" fmla="*/ 0 h 9"/>
                    <a:gd name="T18" fmla="*/ 1 w 8"/>
                    <a:gd name="T19" fmla="*/ 0 h 9"/>
                    <a:gd name="T20" fmla="*/ 1 w 8"/>
                    <a:gd name="T21" fmla="*/ 1 h 9"/>
                    <a:gd name="T22" fmla="*/ 1 w 8"/>
                    <a:gd name="T23" fmla="*/ 2 h 9"/>
                    <a:gd name="T24" fmla="*/ 1 w 8"/>
                    <a:gd name="T25" fmla="*/ 2 h 9"/>
                    <a:gd name="T26" fmla="*/ 1 w 8"/>
                    <a:gd name="T27" fmla="*/ 2 h 9"/>
                    <a:gd name="T28" fmla="*/ 1 w 8"/>
                    <a:gd name="T29" fmla="*/ 3 h 9"/>
                    <a:gd name="T30" fmla="*/ 2 w 8"/>
                    <a:gd name="T31" fmla="*/ 3 h 9"/>
                    <a:gd name="T32" fmla="*/ 1 w 8"/>
                    <a:gd name="T33" fmla="*/ 3 h 9"/>
                    <a:gd name="T34" fmla="*/ 1 w 8"/>
                    <a:gd name="T35" fmla="*/ 4 h 9"/>
                    <a:gd name="T36" fmla="*/ 1 w 8"/>
                    <a:gd name="T37" fmla="*/ 4 h 9"/>
                    <a:gd name="T38" fmla="*/ 1 w 8"/>
                    <a:gd name="T39" fmla="*/ 4 h 9"/>
                    <a:gd name="T40" fmla="*/ 0 w 8"/>
                    <a:gd name="T41" fmla="*/ 4 h 9"/>
                    <a:gd name="T42" fmla="*/ 0 w 8"/>
                    <a:gd name="T43" fmla="*/ 4 h 9"/>
                    <a:gd name="T44" fmla="*/ 0 w 8"/>
                    <a:gd name="T45" fmla="*/ 5 h 9"/>
                    <a:gd name="T46" fmla="*/ 0 w 8"/>
                    <a:gd name="T47" fmla="*/ 5 h 9"/>
                    <a:gd name="T48" fmla="*/ 0 w 8"/>
                    <a:gd name="T49" fmla="*/ 5 h 9"/>
                    <a:gd name="T50" fmla="*/ 1 w 8"/>
                    <a:gd name="T51" fmla="*/ 6 h 9"/>
                    <a:gd name="T52" fmla="*/ 2 w 8"/>
                    <a:gd name="T53" fmla="*/ 6 h 9"/>
                    <a:gd name="T54" fmla="*/ 2 w 8"/>
                    <a:gd name="T55" fmla="*/ 6 h 9"/>
                    <a:gd name="T56" fmla="*/ 2 w 8"/>
                    <a:gd name="T57" fmla="*/ 7 h 9"/>
                    <a:gd name="T58" fmla="*/ 2 w 8"/>
                    <a:gd name="T59" fmla="*/ 7 h 9"/>
                    <a:gd name="T60" fmla="*/ 4 w 8"/>
                    <a:gd name="T61" fmla="*/ 8 h 9"/>
                    <a:gd name="T62" fmla="*/ 4 w 8"/>
                    <a:gd name="T63" fmla="*/ 9 h 9"/>
                    <a:gd name="T64" fmla="*/ 4 w 8"/>
                    <a:gd name="T65" fmla="*/ 9 h 9"/>
                    <a:gd name="T66" fmla="*/ 4 w 8"/>
                    <a:gd name="T67" fmla="*/ 9 h 9"/>
                    <a:gd name="T68" fmla="*/ 4 w 8"/>
                    <a:gd name="T69" fmla="*/ 9 h 9"/>
                    <a:gd name="T70" fmla="*/ 4 w 8"/>
                    <a:gd name="T71" fmla="*/ 9 h 9"/>
                    <a:gd name="T72" fmla="*/ 4 w 8"/>
                    <a:gd name="T73" fmla="*/ 9 h 9"/>
                    <a:gd name="T74" fmla="*/ 5 w 8"/>
                    <a:gd name="T75" fmla="*/ 9 h 9"/>
                    <a:gd name="T76" fmla="*/ 5 w 8"/>
                    <a:gd name="T77" fmla="*/ 9 h 9"/>
                    <a:gd name="T78" fmla="*/ 5 w 8"/>
                    <a:gd name="T79" fmla="*/ 9 h 9"/>
                    <a:gd name="T80" fmla="*/ 5 w 8"/>
                    <a:gd name="T81" fmla="*/ 9 h 9"/>
                    <a:gd name="T82" fmla="*/ 5 w 8"/>
                    <a:gd name="T83" fmla="*/ 9 h 9"/>
                    <a:gd name="T84" fmla="*/ 6 w 8"/>
                    <a:gd name="T85" fmla="*/ 9 h 9"/>
                    <a:gd name="T86" fmla="*/ 6 w 8"/>
                    <a:gd name="T87" fmla="*/ 9 h 9"/>
                    <a:gd name="T88" fmla="*/ 6 w 8"/>
                    <a:gd name="T89" fmla="*/ 8 h 9"/>
                    <a:gd name="T90" fmla="*/ 6 w 8"/>
                    <a:gd name="T91" fmla="*/ 8 h 9"/>
                    <a:gd name="T92" fmla="*/ 6 w 8"/>
                    <a:gd name="T93" fmla="*/ 7 h 9"/>
                    <a:gd name="T94" fmla="*/ 7 w 8"/>
                    <a:gd name="T95" fmla="*/ 7 h 9"/>
                    <a:gd name="T96" fmla="*/ 6 w 8"/>
                    <a:gd name="T97" fmla="*/ 6 h 9"/>
                    <a:gd name="T98" fmla="*/ 7 w 8"/>
                    <a:gd name="T99" fmla="*/ 6 h 9"/>
                    <a:gd name="T100" fmla="*/ 7 w 8"/>
                    <a:gd name="T101" fmla="*/ 3 h 9"/>
                    <a:gd name="T102" fmla="*/ 8 w 8"/>
                    <a:gd name="T103" fmla="*/ 3 h 9"/>
                    <a:gd name="T104" fmla="*/ 7 w 8"/>
                    <a:gd name="T105" fmla="*/ 2 h 9"/>
                    <a:gd name="T106" fmla="*/ 7 w 8"/>
                    <a:gd name="T107" fmla="*/ 2 h 9"/>
                    <a:gd name="T108" fmla="*/ 6 w 8"/>
                    <a:gd name="T109" fmla="*/ 2 h 9"/>
                    <a:gd name="T110" fmla="*/ 6 w 8"/>
                    <a:gd name="T111" fmla="*/ 2 h 9"/>
                    <a:gd name="T112" fmla="*/ 6 w 8"/>
                    <a:gd name="T113" fmla="*/ 2 h 9"/>
                    <a:gd name="T114" fmla="*/ 6 w 8"/>
                    <a:gd name="T115" fmla="*/ 1 h 9"/>
                    <a:gd name="T116" fmla="*/ 6 w 8"/>
                    <a:gd name="T117" fmla="*/ 1 h 9"/>
                    <a:gd name="T118" fmla="*/ 5 w 8"/>
                    <a:gd name="T119" fmla="*/ 1 h 9"/>
                    <a:gd name="T120" fmla="*/ 4 w 8"/>
                    <a:gd name="T1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9">
                      <a:moveTo>
                        <a:pt x="4" y="1"/>
                      </a:moveTo>
                      <a:cubicBezTo>
                        <a:pt x="4" y="1"/>
                        <a:pt x="4" y="1"/>
                        <a:pt x="4" y="1"/>
                      </a:cubicBezTo>
                      <a:cubicBezTo>
                        <a:pt x="4" y="1"/>
                        <a:pt x="4" y="0"/>
                        <a:pt x="4" y="0"/>
                      </a:cubicBezTo>
                      <a:cubicBezTo>
                        <a:pt x="4" y="0"/>
                        <a:pt x="4" y="1"/>
                        <a:pt x="4" y="1"/>
                      </a:cubicBezTo>
                      <a:cubicBezTo>
                        <a:pt x="4" y="1"/>
                        <a:pt x="3" y="1"/>
                        <a:pt x="3" y="1"/>
                      </a:cubicBezTo>
                      <a:cubicBezTo>
                        <a:pt x="2" y="1"/>
                        <a:pt x="2" y="1"/>
                        <a:pt x="2" y="1"/>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2"/>
                        <a:pt x="1" y="2"/>
                        <a:pt x="1" y="2"/>
                      </a:cubicBezTo>
                      <a:cubicBezTo>
                        <a:pt x="1" y="2"/>
                        <a:pt x="1" y="2"/>
                        <a:pt x="1" y="2"/>
                      </a:cubicBezTo>
                      <a:cubicBezTo>
                        <a:pt x="1" y="2"/>
                        <a:pt x="1" y="2"/>
                        <a:pt x="1" y="2"/>
                      </a:cubicBezTo>
                      <a:cubicBezTo>
                        <a:pt x="1" y="3"/>
                        <a:pt x="1" y="3"/>
                        <a:pt x="1" y="3"/>
                      </a:cubicBezTo>
                      <a:cubicBezTo>
                        <a:pt x="2" y="3"/>
                        <a:pt x="2" y="3"/>
                        <a:pt x="2" y="3"/>
                      </a:cubicBezTo>
                      <a:cubicBezTo>
                        <a:pt x="1" y="3"/>
                        <a:pt x="1" y="3"/>
                        <a:pt x="1" y="3"/>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1" y="6"/>
                        <a:pt x="1" y="6"/>
                        <a:pt x="1" y="6"/>
                      </a:cubicBezTo>
                      <a:cubicBezTo>
                        <a:pt x="2" y="6"/>
                        <a:pt x="2" y="6"/>
                        <a:pt x="2" y="6"/>
                      </a:cubicBezTo>
                      <a:cubicBezTo>
                        <a:pt x="2" y="6"/>
                        <a:pt x="2" y="6"/>
                        <a:pt x="2" y="6"/>
                      </a:cubicBezTo>
                      <a:cubicBezTo>
                        <a:pt x="2" y="6"/>
                        <a:pt x="2" y="7"/>
                        <a:pt x="2" y="7"/>
                      </a:cubicBezTo>
                      <a:cubicBezTo>
                        <a:pt x="2" y="7"/>
                        <a:pt x="2" y="7"/>
                        <a:pt x="2"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8"/>
                        <a:pt x="6" y="8"/>
                        <a:pt x="6" y="8"/>
                      </a:cubicBezTo>
                      <a:cubicBezTo>
                        <a:pt x="6" y="8"/>
                        <a:pt x="6" y="8"/>
                        <a:pt x="6" y="8"/>
                      </a:cubicBezTo>
                      <a:cubicBezTo>
                        <a:pt x="6" y="7"/>
                        <a:pt x="6" y="7"/>
                        <a:pt x="6" y="7"/>
                      </a:cubicBezTo>
                      <a:cubicBezTo>
                        <a:pt x="7" y="7"/>
                        <a:pt x="7" y="7"/>
                        <a:pt x="7" y="7"/>
                      </a:cubicBezTo>
                      <a:cubicBezTo>
                        <a:pt x="7" y="7"/>
                        <a:pt x="6" y="6"/>
                        <a:pt x="6" y="6"/>
                      </a:cubicBezTo>
                      <a:cubicBezTo>
                        <a:pt x="6" y="6"/>
                        <a:pt x="7" y="6"/>
                        <a:pt x="7" y="6"/>
                      </a:cubicBezTo>
                      <a:cubicBezTo>
                        <a:pt x="7" y="3"/>
                        <a:pt x="7" y="3"/>
                        <a:pt x="7" y="3"/>
                      </a:cubicBezTo>
                      <a:cubicBezTo>
                        <a:pt x="8" y="3"/>
                        <a:pt x="8" y="3"/>
                        <a:pt x="8" y="3"/>
                      </a:cubicBezTo>
                      <a:cubicBezTo>
                        <a:pt x="7" y="2"/>
                        <a:pt x="7" y="2"/>
                        <a:pt x="7" y="2"/>
                      </a:cubicBezTo>
                      <a:cubicBezTo>
                        <a:pt x="7" y="2"/>
                        <a:pt x="7" y="2"/>
                        <a:pt x="7" y="2"/>
                      </a:cubicBezTo>
                      <a:cubicBezTo>
                        <a:pt x="7" y="2"/>
                        <a:pt x="6" y="2"/>
                        <a:pt x="6" y="2"/>
                      </a:cubicBezTo>
                      <a:cubicBezTo>
                        <a:pt x="6" y="2"/>
                        <a:pt x="6" y="2"/>
                        <a:pt x="6" y="2"/>
                      </a:cubicBezTo>
                      <a:cubicBezTo>
                        <a:pt x="6" y="2"/>
                        <a:pt x="6" y="2"/>
                        <a:pt x="6" y="2"/>
                      </a:cubicBezTo>
                      <a:cubicBezTo>
                        <a:pt x="6" y="1"/>
                        <a:pt x="6" y="1"/>
                        <a:pt x="6" y="1"/>
                      </a:cubicBezTo>
                      <a:cubicBezTo>
                        <a:pt x="6" y="1"/>
                        <a:pt x="6" y="1"/>
                        <a:pt x="6" y="1"/>
                      </a:cubicBezTo>
                      <a:cubicBezTo>
                        <a:pt x="5" y="1"/>
                        <a:pt x="5" y="1"/>
                        <a:pt x="5" y="1"/>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2" name="Freeform 716">
                  <a:extLst>
                    <a:ext uri="{FF2B5EF4-FFF2-40B4-BE49-F238E27FC236}">
                      <a16:creationId xmlns:a16="http://schemas.microsoft.com/office/drawing/2014/main" id="{558F7B81-9861-4C50-8F8F-3DA6212E0A78}"/>
                    </a:ext>
                  </a:extLst>
                </p:cNvPr>
                <p:cNvSpPr>
                  <a:spLocks/>
                </p:cNvSpPr>
                <p:nvPr/>
              </p:nvSpPr>
              <p:spPr bwMode="auto">
                <a:xfrm>
                  <a:off x="9450388" y="5062538"/>
                  <a:ext cx="25400" cy="30163"/>
                </a:xfrm>
                <a:custGeom>
                  <a:avLst/>
                  <a:gdLst>
                    <a:gd name="T0" fmla="*/ 4 w 6"/>
                    <a:gd name="T1" fmla="*/ 0 h 7"/>
                    <a:gd name="T2" fmla="*/ 3 w 6"/>
                    <a:gd name="T3" fmla="*/ 0 h 7"/>
                    <a:gd name="T4" fmla="*/ 3 w 6"/>
                    <a:gd name="T5" fmla="*/ 0 h 7"/>
                    <a:gd name="T6" fmla="*/ 2 w 6"/>
                    <a:gd name="T7" fmla="*/ 0 h 7"/>
                    <a:gd name="T8" fmla="*/ 2 w 6"/>
                    <a:gd name="T9" fmla="*/ 1 h 7"/>
                    <a:gd name="T10" fmla="*/ 2 w 6"/>
                    <a:gd name="T11" fmla="*/ 2 h 7"/>
                    <a:gd name="T12" fmla="*/ 2 w 6"/>
                    <a:gd name="T13" fmla="*/ 2 h 7"/>
                    <a:gd name="T14" fmla="*/ 2 w 6"/>
                    <a:gd name="T15" fmla="*/ 3 h 7"/>
                    <a:gd name="T16" fmla="*/ 2 w 6"/>
                    <a:gd name="T17" fmla="*/ 3 h 7"/>
                    <a:gd name="T18" fmla="*/ 1 w 6"/>
                    <a:gd name="T19" fmla="*/ 3 h 7"/>
                    <a:gd name="T20" fmla="*/ 1 w 6"/>
                    <a:gd name="T21" fmla="*/ 4 h 7"/>
                    <a:gd name="T22" fmla="*/ 1 w 6"/>
                    <a:gd name="T23" fmla="*/ 4 h 7"/>
                    <a:gd name="T24" fmla="*/ 0 w 6"/>
                    <a:gd name="T25" fmla="*/ 4 h 7"/>
                    <a:gd name="T26" fmla="*/ 0 w 6"/>
                    <a:gd name="T27" fmla="*/ 5 h 7"/>
                    <a:gd name="T28" fmla="*/ 1 w 6"/>
                    <a:gd name="T29" fmla="*/ 6 h 7"/>
                    <a:gd name="T30" fmla="*/ 1 w 6"/>
                    <a:gd name="T31" fmla="*/ 6 h 7"/>
                    <a:gd name="T32" fmla="*/ 2 w 6"/>
                    <a:gd name="T33" fmla="*/ 6 h 7"/>
                    <a:gd name="T34" fmla="*/ 2 w 6"/>
                    <a:gd name="T35" fmla="*/ 6 h 7"/>
                    <a:gd name="T36" fmla="*/ 3 w 6"/>
                    <a:gd name="T37" fmla="*/ 6 h 7"/>
                    <a:gd name="T38" fmla="*/ 3 w 6"/>
                    <a:gd name="T39" fmla="*/ 6 h 7"/>
                    <a:gd name="T40" fmla="*/ 3 w 6"/>
                    <a:gd name="T41" fmla="*/ 6 h 7"/>
                    <a:gd name="T42" fmla="*/ 4 w 6"/>
                    <a:gd name="T43" fmla="*/ 7 h 7"/>
                    <a:gd name="T44" fmla="*/ 4 w 6"/>
                    <a:gd name="T45" fmla="*/ 7 h 7"/>
                    <a:gd name="T46" fmla="*/ 5 w 6"/>
                    <a:gd name="T47" fmla="*/ 7 h 7"/>
                    <a:gd name="T48" fmla="*/ 5 w 6"/>
                    <a:gd name="T49" fmla="*/ 7 h 7"/>
                    <a:gd name="T50" fmla="*/ 5 w 6"/>
                    <a:gd name="T51" fmla="*/ 7 h 7"/>
                    <a:gd name="T52" fmla="*/ 6 w 6"/>
                    <a:gd name="T53" fmla="*/ 6 h 7"/>
                    <a:gd name="T54" fmla="*/ 5 w 6"/>
                    <a:gd name="T55" fmla="*/ 6 h 7"/>
                    <a:gd name="T56" fmla="*/ 4 w 6"/>
                    <a:gd name="T57" fmla="*/ 5 h 7"/>
                    <a:gd name="T58" fmla="*/ 4 w 6"/>
                    <a:gd name="T59" fmla="*/ 4 h 7"/>
                    <a:gd name="T60" fmla="*/ 5 w 6"/>
                    <a:gd name="T61" fmla="*/ 4 h 7"/>
                    <a:gd name="T62" fmla="*/ 5 w 6"/>
                    <a:gd name="T63" fmla="*/ 4 h 7"/>
                    <a:gd name="T64" fmla="*/ 6 w 6"/>
                    <a:gd name="T65" fmla="*/ 3 h 7"/>
                    <a:gd name="T66" fmla="*/ 5 w 6"/>
                    <a:gd name="T67" fmla="*/ 2 h 7"/>
                    <a:gd name="T68" fmla="*/ 5 w 6"/>
                    <a:gd name="T69" fmla="*/ 2 h 7"/>
                    <a:gd name="T70" fmla="*/ 5 w 6"/>
                    <a:gd name="T7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7">
                      <a:moveTo>
                        <a:pt x="4" y="0"/>
                      </a:moveTo>
                      <a:cubicBezTo>
                        <a:pt x="4" y="0"/>
                        <a:pt x="4" y="0"/>
                        <a:pt x="4" y="0"/>
                      </a:cubicBezTo>
                      <a:cubicBezTo>
                        <a:pt x="4" y="0"/>
                        <a:pt x="3" y="0"/>
                        <a:pt x="3" y="0"/>
                      </a:cubicBezTo>
                      <a:cubicBezTo>
                        <a:pt x="3" y="0"/>
                        <a:pt x="3" y="0"/>
                        <a:pt x="3" y="0"/>
                      </a:cubicBezTo>
                      <a:cubicBezTo>
                        <a:pt x="3" y="0"/>
                        <a:pt x="3" y="0"/>
                        <a:pt x="3" y="0"/>
                      </a:cubicBezTo>
                      <a:cubicBezTo>
                        <a:pt x="3" y="0"/>
                        <a:pt x="3" y="0"/>
                        <a:pt x="3" y="0"/>
                      </a:cubicBezTo>
                      <a:cubicBezTo>
                        <a:pt x="3" y="0"/>
                        <a:pt x="2" y="0"/>
                        <a:pt x="2" y="0"/>
                      </a:cubicBezTo>
                      <a:cubicBezTo>
                        <a:pt x="2" y="0"/>
                        <a:pt x="2" y="0"/>
                        <a:pt x="2" y="0"/>
                      </a:cubicBezTo>
                      <a:cubicBezTo>
                        <a:pt x="2" y="0"/>
                        <a:pt x="2" y="0"/>
                        <a:pt x="2" y="0"/>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1" y="5"/>
                        <a:pt x="1" y="5"/>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6"/>
                        <a:pt x="2" y="6"/>
                      </a:cubicBezTo>
                      <a:cubicBezTo>
                        <a:pt x="2"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7"/>
                        <a:pt x="4" y="7"/>
                      </a:cubicBezTo>
                      <a:cubicBezTo>
                        <a:pt x="4" y="7"/>
                        <a:pt x="4" y="7"/>
                        <a:pt x="4" y="7"/>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7"/>
                        <a:pt x="6" y="7"/>
                        <a:pt x="6" y="7"/>
                      </a:cubicBezTo>
                      <a:cubicBezTo>
                        <a:pt x="6" y="7"/>
                        <a:pt x="6" y="6"/>
                        <a:pt x="6" y="6"/>
                      </a:cubicBezTo>
                      <a:cubicBezTo>
                        <a:pt x="6" y="6"/>
                        <a:pt x="6" y="6"/>
                        <a:pt x="6" y="6"/>
                      </a:cubicBezTo>
                      <a:cubicBezTo>
                        <a:pt x="5" y="6"/>
                        <a:pt x="5" y="6"/>
                        <a:pt x="5" y="6"/>
                      </a:cubicBezTo>
                      <a:cubicBezTo>
                        <a:pt x="4" y="5"/>
                        <a:pt x="4" y="5"/>
                        <a:pt x="4" y="5"/>
                      </a:cubicBezTo>
                      <a:cubicBezTo>
                        <a:pt x="4" y="5"/>
                        <a:pt x="4" y="5"/>
                        <a:pt x="4" y="5"/>
                      </a:cubicBezTo>
                      <a:cubicBezTo>
                        <a:pt x="4" y="5"/>
                        <a:pt x="4" y="5"/>
                        <a:pt x="4" y="5"/>
                      </a:cubicBezTo>
                      <a:cubicBezTo>
                        <a:pt x="4" y="5"/>
                        <a:pt x="4" y="4"/>
                        <a:pt x="4" y="4"/>
                      </a:cubicBezTo>
                      <a:cubicBezTo>
                        <a:pt x="4" y="4"/>
                        <a:pt x="4" y="4"/>
                        <a:pt x="4" y="4"/>
                      </a:cubicBezTo>
                      <a:cubicBezTo>
                        <a:pt x="5" y="4"/>
                        <a:pt x="5" y="4"/>
                        <a:pt x="5" y="4"/>
                      </a:cubicBezTo>
                      <a:cubicBezTo>
                        <a:pt x="5" y="4"/>
                        <a:pt x="5" y="4"/>
                        <a:pt x="5" y="4"/>
                      </a:cubicBezTo>
                      <a:cubicBezTo>
                        <a:pt x="5" y="4"/>
                        <a:pt x="5" y="4"/>
                        <a:pt x="5" y="4"/>
                      </a:cubicBezTo>
                      <a:cubicBezTo>
                        <a:pt x="5" y="3"/>
                        <a:pt x="5" y="3"/>
                        <a:pt x="5" y="3"/>
                      </a:cubicBezTo>
                      <a:cubicBezTo>
                        <a:pt x="6" y="3"/>
                        <a:pt x="6" y="3"/>
                        <a:pt x="6" y="3"/>
                      </a:cubicBezTo>
                      <a:cubicBezTo>
                        <a:pt x="5" y="3"/>
                        <a:pt x="5" y="3"/>
                        <a:pt x="5" y="3"/>
                      </a:cubicBezTo>
                      <a:cubicBezTo>
                        <a:pt x="5" y="2"/>
                        <a:pt x="5" y="2"/>
                        <a:pt x="5" y="2"/>
                      </a:cubicBezTo>
                      <a:cubicBezTo>
                        <a:pt x="5" y="2"/>
                        <a:pt x="5" y="2"/>
                        <a:pt x="5" y="2"/>
                      </a:cubicBezTo>
                      <a:cubicBezTo>
                        <a:pt x="5" y="2"/>
                        <a:pt x="5" y="2"/>
                        <a:pt x="5" y="2"/>
                      </a:cubicBezTo>
                      <a:cubicBezTo>
                        <a:pt x="5" y="1"/>
                        <a:pt x="5" y="1"/>
                        <a:pt x="5" y="1"/>
                      </a:cubicBezTo>
                      <a:cubicBezTo>
                        <a:pt x="5" y="0"/>
                        <a:pt x="5" y="0"/>
                        <a:pt x="5" y="0"/>
                      </a:cubicBezTo>
                      <a:cubicBezTo>
                        <a:pt x="4" y="0"/>
                        <a:pt x="4" y="0"/>
                        <a:pt x="4"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3" name="Freeform 717">
                  <a:extLst>
                    <a:ext uri="{FF2B5EF4-FFF2-40B4-BE49-F238E27FC236}">
                      <a16:creationId xmlns:a16="http://schemas.microsoft.com/office/drawing/2014/main" id="{8B90AD83-5D6E-77E6-022D-69562789E5E9}"/>
                    </a:ext>
                  </a:extLst>
                </p:cNvPr>
                <p:cNvSpPr>
                  <a:spLocks/>
                </p:cNvSpPr>
                <p:nvPr/>
              </p:nvSpPr>
              <p:spPr bwMode="auto">
                <a:xfrm>
                  <a:off x="9504363" y="5116513"/>
                  <a:ext cx="96837" cy="74613"/>
                </a:xfrm>
                <a:custGeom>
                  <a:avLst/>
                  <a:gdLst>
                    <a:gd name="T0" fmla="*/ 20 w 23"/>
                    <a:gd name="T1" fmla="*/ 15 h 18"/>
                    <a:gd name="T2" fmla="*/ 18 w 23"/>
                    <a:gd name="T3" fmla="*/ 14 h 18"/>
                    <a:gd name="T4" fmla="*/ 18 w 23"/>
                    <a:gd name="T5" fmla="*/ 15 h 18"/>
                    <a:gd name="T6" fmla="*/ 16 w 23"/>
                    <a:gd name="T7" fmla="*/ 15 h 18"/>
                    <a:gd name="T8" fmla="*/ 14 w 23"/>
                    <a:gd name="T9" fmla="*/ 14 h 18"/>
                    <a:gd name="T10" fmla="*/ 11 w 23"/>
                    <a:gd name="T11" fmla="*/ 12 h 18"/>
                    <a:gd name="T12" fmla="*/ 10 w 23"/>
                    <a:gd name="T13" fmla="*/ 11 h 18"/>
                    <a:gd name="T14" fmla="*/ 9 w 23"/>
                    <a:gd name="T15" fmla="*/ 9 h 18"/>
                    <a:gd name="T16" fmla="*/ 7 w 23"/>
                    <a:gd name="T17" fmla="*/ 7 h 18"/>
                    <a:gd name="T18" fmla="*/ 4 w 23"/>
                    <a:gd name="T19" fmla="*/ 2 h 18"/>
                    <a:gd name="T20" fmla="*/ 2 w 23"/>
                    <a:gd name="T21" fmla="*/ 1 h 18"/>
                    <a:gd name="T22" fmla="*/ 1 w 23"/>
                    <a:gd name="T23" fmla="*/ 1 h 18"/>
                    <a:gd name="T24" fmla="*/ 0 w 23"/>
                    <a:gd name="T25" fmla="*/ 6 h 18"/>
                    <a:gd name="T26" fmla="*/ 1 w 23"/>
                    <a:gd name="T27" fmla="*/ 6 h 18"/>
                    <a:gd name="T28" fmla="*/ 1 w 23"/>
                    <a:gd name="T29" fmla="*/ 7 h 18"/>
                    <a:gd name="T30" fmla="*/ 1 w 23"/>
                    <a:gd name="T31" fmla="*/ 7 h 18"/>
                    <a:gd name="T32" fmla="*/ 1 w 23"/>
                    <a:gd name="T33" fmla="*/ 8 h 18"/>
                    <a:gd name="T34" fmla="*/ 2 w 23"/>
                    <a:gd name="T35" fmla="*/ 9 h 18"/>
                    <a:gd name="T36" fmla="*/ 3 w 23"/>
                    <a:gd name="T37" fmla="*/ 9 h 18"/>
                    <a:gd name="T38" fmla="*/ 4 w 23"/>
                    <a:gd name="T39" fmla="*/ 9 h 18"/>
                    <a:gd name="T40" fmla="*/ 4 w 23"/>
                    <a:gd name="T41" fmla="*/ 10 h 18"/>
                    <a:gd name="T42" fmla="*/ 4 w 23"/>
                    <a:gd name="T43" fmla="*/ 10 h 18"/>
                    <a:gd name="T44" fmla="*/ 4 w 23"/>
                    <a:gd name="T45" fmla="*/ 11 h 18"/>
                    <a:gd name="T46" fmla="*/ 4 w 23"/>
                    <a:gd name="T47" fmla="*/ 11 h 18"/>
                    <a:gd name="T48" fmla="*/ 5 w 23"/>
                    <a:gd name="T49" fmla="*/ 11 h 18"/>
                    <a:gd name="T50" fmla="*/ 5 w 23"/>
                    <a:gd name="T51" fmla="*/ 12 h 18"/>
                    <a:gd name="T52" fmla="*/ 5 w 23"/>
                    <a:gd name="T53" fmla="*/ 12 h 18"/>
                    <a:gd name="T54" fmla="*/ 6 w 23"/>
                    <a:gd name="T55" fmla="*/ 11 h 18"/>
                    <a:gd name="T56" fmla="*/ 6 w 23"/>
                    <a:gd name="T57" fmla="*/ 12 h 18"/>
                    <a:gd name="T58" fmla="*/ 7 w 23"/>
                    <a:gd name="T59" fmla="*/ 13 h 18"/>
                    <a:gd name="T60" fmla="*/ 8 w 23"/>
                    <a:gd name="T61" fmla="*/ 14 h 18"/>
                    <a:gd name="T62" fmla="*/ 8 w 23"/>
                    <a:gd name="T63" fmla="*/ 15 h 18"/>
                    <a:gd name="T64" fmla="*/ 9 w 23"/>
                    <a:gd name="T65" fmla="*/ 16 h 18"/>
                    <a:gd name="T66" fmla="*/ 9 w 23"/>
                    <a:gd name="T67" fmla="*/ 16 h 18"/>
                    <a:gd name="T68" fmla="*/ 10 w 23"/>
                    <a:gd name="T69" fmla="*/ 16 h 18"/>
                    <a:gd name="T70" fmla="*/ 10 w 23"/>
                    <a:gd name="T71" fmla="*/ 16 h 18"/>
                    <a:gd name="T72" fmla="*/ 10 w 23"/>
                    <a:gd name="T73" fmla="*/ 16 h 18"/>
                    <a:gd name="T74" fmla="*/ 11 w 23"/>
                    <a:gd name="T75" fmla="*/ 17 h 18"/>
                    <a:gd name="T76" fmla="*/ 12 w 23"/>
                    <a:gd name="T77" fmla="*/ 17 h 18"/>
                    <a:gd name="T78" fmla="*/ 12 w 23"/>
                    <a:gd name="T79" fmla="*/ 16 h 18"/>
                    <a:gd name="T80" fmla="*/ 12 w 23"/>
                    <a:gd name="T81" fmla="*/ 16 h 18"/>
                    <a:gd name="T82" fmla="*/ 13 w 23"/>
                    <a:gd name="T83" fmla="*/ 17 h 18"/>
                    <a:gd name="T84" fmla="*/ 14 w 23"/>
                    <a:gd name="T85" fmla="*/ 17 h 18"/>
                    <a:gd name="T86" fmla="*/ 14 w 23"/>
                    <a:gd name="T87" fmla="*/ 17 h 18"/>
                    <a:gd name="T88" fmla="*/ 15 w 23"/>
                    <a:gd name="T89" fmla="*/ 17 h 18"/>
                    <a:gd name="T90" fmla="*/ 16 w 23"/>
                    <a:gd name="T91" fmla="*/ 17 h 18"/>
                    <a:gd name="T92" fmla="*/ 16 w 23"/>
                    <a:gd name="T93" fmla="*/ 17 h 18"/>
                    <a:gd name="T94" fmla="*/ 17 w 23"/>
                    <a:gd name="T95" fmla="*/ 17 h 18"/>
                    <a:gd name="T96" fmla="*/ 18 w 23"/>
                    <a:gd name="T97" fmla="*/ 17 h 18"/>
                    <a:gd name="T98" fmla="*/ 19 w 23"/>
                    <a:gd name="T99" fmla="*/ 17 h 18"/>
                    <a:gd name="T100" fmla="*/ 21 w 23"/>
                    <a:gd name="T101" fmla="*/ 18 h 18"/>
                    <a:gd name="T102" fmla="*/ 21 w 23"/>
                    <a:gd name="T103" fmla="*/ 18 h 18"/>
                    <a:gd name="T104" fmla="*/ 23 w 23"/>
                    <a:gd name="T10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 h="18">
                      <a:moveTo>
                        <a:pt x="22" y="16"/>
                      </a:moveTo>
                      <a:cubicBezTo>
                        <a:pt x="21" y="16"/>
                        <a:pt x="21" y="16"/>
                        <a:pt x="21" y="16"/>
                      </a:cubicBezTo>
                      <a:cubicBezTo>
                        <a:pt x="21" y="15"/>
                        <a:pt x="21" y="15"/>
                        <a:pt x="21" y="15"/>
                      </a:cubicBezTo>
                      <a:cubicBezTo>
                        <a:pt x="21" y="15"/>
                        <a:pt x="20" y="15"/>
                        <a:pt x="20" y="15"/>
                      </a:cubicBezTo>
                      <a:cubicBezTo>
                        <a:pt x="20" y="15"/>
                        <a:pt x="20" y="15"/>
                        <a:pt x="20" y="15"/>
                      </a:cubicBezTo>
                      <a:cubicBezTo>
                        <a:pt x="20" y="15"/>
                        <a:pt x="20" y="15"/>
                        <a:pt x="20" y="15"/>
                      </a:cubicBezTo>
                      <a:cubicBezTo>
                        <a:pt x="20" y="15"/>
                        <a:pt x="20" y="14"/>
                        <a:pt x="20" y="14"/>
                      </a:cubicBezTo>
                      <a:cubicBezTo>
                        <a:pt x="20" y="14"/>
                        <a:pt x="19" y="14"/>
                        <a:pt x="19" y="14"/>
                      </a:cubicBezTo>
                      <a:cubicBezTo>
                        <a:pt x="19" y="14"/>
                        <a:pt x="19" y="14"/>
                        <a:pt x="19" y="14"/>
                      </a:cubicBezTo>
                      <a:cubicBezTo>
                        <a:pt x="19" y="14"/>
                        <a:pt x="19" y="14"/>
                        <a:pt x="19" y="14"/>
                      </a:cubicBezTo>
                      <a:cubicBezTo>
                        <a:pt x="19" y="14"/>
                        <a:pt x="19" y="14"/>
                        <a:pt x="19" y="14"/>
                      </a:cubicBezTo>
                      <a:cubicBezTo>
                        <a:pt x="19"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5"/>
                        <a:pt x="18" y="15"/>
                      </a:cubicBezTo>
                      <a:cubicBezTo>
                        <a:pt x="18" y="15"/>
                        <a:pt x="18" y="15"/>
                        <a:pt x="18" y="15"/>
                      </a:cubicBezTo>
                      <a:cubicBezTo>
                        <a:pt x="18" y="15"/>
                        <a:pt x="18" y="15"/>
                        <a:pt x="18" y="15"/>
                      </a:cubicBezTo>
                      <a:cubicBezTo>
                        <a:pt x="17" y="15"/>
                        <a:pt x="17" y="15"/>
                        <a:pt x="17" y="15"/>
                      </a:cubicBezTo>
                      <a:cubicBezTo>
                        <a:pt x="17" y="15"/>
                        <a:pt x="17" y="15"/>
                        <a:pt x="17" y="15"/>
                      </a:cubicBezTo>
                      <a:cubicBezTo>
                        <a:pt x="17" y="15"/>
                        <a:pt x="17" y="15"/>
                        <a:pt x="17" y="15"/>
                      </a:cubicBezTo>
                      <a:cubicBezTo>
                        <a:pt x="17" y="15"/>
                        <a:pt x="17" y="15"/>
                        <a:pt x="17" y="15"/>
                      </a:cubicBezTo>
                      <a:cubicBezTo>
                        <a:pt x="16" y="15"/>
                        <a:pt x="16" y="15"/>
                        <a:pt x="16" y="15"/>
                      </a:cubicBezTo>
                      <a:cubicBezTo>
                        <a:pt x="16" y="15"/>
                        <a:pt x="16" y="15"/>
                        <a:pt x="16" y="15"/>
                      </a:cubicBezTo>
                      <a:cubicBezTo>
                        <a:pt x="15" y="15"/>
                        <a:pt x="15" y="15"/>
                        <a:pt x="15" y="15"/>
                      </a:cubicBezTo>
                      <a:cubicBezTo>
                        <a:pt x="15" y="15"/>
                        <a:pt x="15" y="15"/>
                        <a:pt x="15" y="15"/>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3" y="14"/>
                      </a:cubicBezTo>
                      <a:cubicBezTo>
                        <a:pt x="13" y="14"/>
                        <a:pt x="13" y="13"/>
                        <a:pt x="13" y="13"/>
                      </a:cubicBezTo>
                      <a:cubicBezTo>
                        <a:pt x="12" y="13"/>
                        <a:pt x="12" y="13"/>
                        <a:pt x="12" y="13"/>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1"/>
                        <a:pt x="11" y="11"/>
                      </a:cubicBezTo>
                      <a:cubicBezTo>
                        <a:pt x="11" y="11"/>
                        <a:pt x="11" y="11"/>
                        <a:pt x="11" y="11"/>
                      </a:cubicBezTo>
                      <a:cubicBezTo>
                        <a:pt x="11" y="11"/>
                        <a:pt x="11" y="11"/>
                        <a:pt x="11" y="11"/>
                      </a:cubicBezTo>
                      <a:cubicBezTo>
                        <a:pt x="11" y="11"/>
                        <a:pt x="10" y="11"/>
                        <a:pt x="10" y="11"/>
                      </a:cubicBezTo>
                      <a:cubicBezTo>
                        <a:pt x="10" y="11"/>
                        <a:pt x="10" y="10"/>
                        <a:pt x="10" y="10"/>
                      </a:cubicBezTo>
                      <a:cubicBezTo>
                        <a:pt x="10" y="10"/>
                        <a:pt x="10" y="10"/>
                        <a:pt x="10" y="10"/>
                      </a:cubicBezTo>
                      <a:cubicBezTo>
                        <a:pt x="10" y="10"/>
                        <a:pt x="9" y="10"/>
                        <a:pt x="9" y="10"/>
                      </a:cubicBezTo>
                      <a:cubicBezTo>
                        <a:pt x="9" y="10"/>
                        <a:pt x="9" y="9"/>
                        <a:pt x="9" y="9"/>
                      </a:cubicBezTo>
                      <a:cubicBezTo>
                        <a:pt x="9" y="9"/>
                        <a:pt x="9" y="9"/>
                        <a:pt x="9" y="9"/>
                      </a:cubicBezTo>
                      <a:cubicBezTo>
                        <a:pt x="9" y="9"/>
                        <a:pt x="9" y="9"/>
                        <a:pt x="9" y="9"/>
                      </a:cubicBezTo>
                      <a:cubicBezTo>
                        <a:pt x="9" y="9"/>
                        <a:pt x="8" y="9"/>
                        <a:pt x="8" y="8"/>
                      </a:cubicBezTo>
                      <a:cubicBezTo>
                        <a:pt x="8" y="8"/>
                        <a:pt x="8" y="8"/>
                        <a:pt x="8" y="8"/>
                      </a:cubicBezTo>
                      <a:cubicBezTo>
                        <a:pt x="8" y="8"/>
                        <a:pt x="8" y="8"/>
                        <a:pt x="8" y="8"/>
                      </a:cubicBezTo>
                      <a:cubicBezTo>
                        <a:pt x="8" y="8"/>
                        <a:pt x="8" y="8"/>
                        <a:pt x="8" y="8"/>
                      </a:cubicBezTo>
                      <a:cubicBezTo>
                        <a:pt x="8" y="8"/>
                        <a:pt x="8" y="8"/>
                        <a:pt x="8" y="8"/>
                      </a:cubicBezTo>
                      <a:cubicBezTo>
                        <a:pt x="7" y="7"/>
                        <a:pt x="7" y="7"/>
                        <a:pt x="7" y="7"/>
                      </a:cubicBezTo>
                      <a:cubicBezTo>
                        <a:pt x="7" y="7"/>
                        <a:pt x="7" y="7"/>
                        <a:pt x="7" y="7"/>
                      </a:cubicBezTo>
                      <a:cubicBezTo>
                        <a:pt x="9" y="6"/>
                        <a:pt x="9" y="6"/>
                        <a:pt x="9" y="6"/>
                      </a:cubicBezTo>
                      <a:cubicBezTo>
                        <a:pt x="7" y="4"/>
                        <a:pt x="7" y="4"/>
                        <a:pt x="7" y="4"/>
                      </a:cubicBezTo>
                      <a:cubicBezTo>
                        <a:pt x="7" y="4"/>
                        <a:pt x="7" y="4"/>
                        <a:pt x="7" y="4"/>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1"/>
                        <a:pt x="3" y="1"/>
                      </a:cubicBezTo>
                      <a:cubicBezTo>
                        <a:pt x="3" y="1"/>
                        <a:pt x="3" y="2"/>
                        <a:pt x="3" y="1"/>
                      </a:cubicBezTo>
                      <a:cubicBezTo>
                        <a:pt x="3" y="1"/>
                        <a:pt x="2" y="1"/>
                        <a:pt x="2" y="1"/>
                      </a:cubicBezTo>
                      <a:cubicBezTo>
                        <a:pt x="2" y="1"/>
                        <a:pt x="2" y="1"/>
                        <a:pt x="2" y="1"/>
                      </a:cubicBezTo>
                      <a:cubicBezTo>
                        <a:pt x="2" y="1"/>
                        <a:pt x="2" y="1"/>
                        <a:pt x="2" y="1"/>
                      </a:cubicBezTo>
                      <a:cubicBezTo>
                        <a:pt x="2" y="0"/>
                        <a:pt x="2" y="0"/>
                        <a:pt x="2" y="0"/>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2" y="7"/>
                        <a:pt x="2" y="7"/>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9"/>
                      </a:cubicBezTo>
                      <a:cubicBezTo>
                        <a:pt x="2" y="9"/>
                        <a:pt x="2" y="9"/>
                        <a:pt x="2" y="9"/>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4" y="10"/>
                        <a:pt x="4" y="10"/>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5" y="11"/>
                        <a:pt x="5" y="11"/>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2"/>
                        <a:pt x="6" y="12"/>
                      </a:cubicBezTo>
                      <a:cubicBezTo>
                        <a:pt x="6" y="12"/>
                        <a:pt x="6" y="12"/>
                        <a:pt x="6" y="12"/>
                      </a:cubicBezTo>
                      <a:cubicBezTo>
                        <a:pt x="6" y="12"/>
                        <a:pt x="6" y="12"/>
                        <a:pt x="6" y="12"/>
                      </a:cubicBezTo>
                      <a:cubicBezTo>
                        <a:pt x="6" y="12"/>
                        <a:pt x="6" y="12"/>
                        <a:pt x="6" y="12"/>
                      </a:cubicBezTo>
                      <a:cubicBezTo>
                        <a:pt x="6" y="12"/>
                        <a:pt x="6" y="12"/>
                        <a:pt x="6" y="12"/>
                      </a:cubicBezTo>
                      <a:cubicBezTo>
                        <a:pt x="6" y="12"/>
                        <a:pt x="6"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4"/>
                        <a:pt x="7" y="14"/>
                      </a:cubicBezTo>
                      <a:cubicBezTo>
                        <a:pt x="7" y="14"/>
                        <a:pt x="8" y="14"/>
                        <a:pt x="8" y="14"/>
                      </a:cubicBezTo>
                      <a:cubicBezTo>
                        <a:pt x="8" y="14"/>
                        <a:pt x="8" y="14"/>
                        <a:pt x="8" y="14"/>
                      </a:cubicBezTo>
                      <a:cubicBezTo>
                        <a:pt x="8" y="14"/>
                        <a:pt x="8" y="14"/>
                        <a:pt x="8" y="14"/>
                      </a:cubicBezTo>
                      <a:cubicBezTo>
                        <a:pt x="8" y="14"/>
                        <a:pt x="8" y="14"/>
                        <a:pt x="8" y="14"/>
                      </a:cubicBezTo>
                      <a:cubicBezTo>
                        <a:pt x="8" y="14"/>
                        <a:pt x="8" y="14"/>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1" y="16"/>
                        <a:pt x="11" y="16"/>
                        <a:pt x="11" y="16"/>
                      </a:cubicBezTo>
                      <a:cubicBezTo>
                        <a:pt x="11" y="16"/>
                        <a:pt x="11" y="16"/>
                        <a:pt x="11" y="16"/>
                      </a:cubicBezTo>
                      <a:cubicBezTo>
                        <a:pt x="11" y="16"/>
                        <a:pt x="11" y="16"/>
                        <a:pt x="11" y="16"/>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2" y="17"/>
                        <a:pt x="12" y="17"/>
                      </a:cubicBezTo>
                      <a:cubicBezTo>
                        <a:pt x="12" y="17"/>
                        <a:pt x="12" y="17"/>
                        <a:pt x="12" y="17"/>
                      </a:cubicBezTo>
                      <a:cubicBezTo>
                        <a:pt x="12" y="17"/>
                        <a:pt x="12" y="17"/>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3" y="16"/>
                      </a:cubicBezTo>
                      <a:cubicBezTo>
                        <a:pt x="13" y="16"/>
                        <a:pt x="13" y="16"/>
                        <a:pt x="13" y="16"/>
                      </a:cubicBezTo>
                      <a:cubicBezTo>
                        <a:pt x="13" y="16"/>
                        <a:pt x="13" y="16"/>
                        <a:pt x="13" y="16"/>
                      </a:cubicBezTo>
                      <a:cubicBezTo>
                        <a:pt x="13" y="16"/>
                        <a:pt x="13" y="16"/>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7" y="17"/>
                        <a:pt x="17" y="17"/>
                      </a:cubicBezTo>
                      <a:cubicBezTo>
                        <a:pt x="17" y="17"/>
                        <a:pt x="17" y="17"/>
                        <a:pt x="17" y="17"/>
                      </a:cubicBezTo>
                      <a:cubicBezTo>
                        <a:pt x="17" y="17"/>
                        <a:pt x="18" y="18"/>
                        <a:pt x="18" y="18"/>
                      </a:cubicBezTo>
                      <a:cubicBezTo>
                        <a:pt x="18" y="18"/>
                        <a:pt x="18" y="18"/>
                        <a:pt x="18" y="18"/>
                      </a:cubicBezTo>
                      <a:cubicBezTo>
                        <a:pt x="18" y="18"/>
                        <a:pt x="18" y="18"/>
                        <a:pt x="18" y="18"/>
                      </a:cubicBezTo>
                      <a:cubicBezTo>
                        <a:pt x="18" y="18"/>
                        <a:pt x="18" y="17"/>
                        <a:pt x="18" y="17"/>
                      </a:cubicBezTo>
                      <a:cubicBezTo>
                        <a:pt x="18" y="17"/>
                        <a:pt x="18" y="17"/>
                        <a:pt x="18" y="17"/>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7"/>
                        <a:pt x="19" y="17"/>
                      </a:cubicBezTo>
                      <a:cubicBezTo>
                        <a:pt x="19" y="18"/>
                        <a:pt x="19" y="18"/>
                        <a:pt x="19" y="18"/>
                      </a:cubicBezTo>
                      <a:cubicBezTo>
                        <a:pt x="19" y="18"/>
                        <a:pt x="20" y="18"/>
                        <a:pt x="20" y="18"/>
                      </a:cubicBezTo>
                      <a:cubicBezTo>
                        <a:pt x="20" y="18"/>
                        <a:pt x="20" y="18"/>
                        <a:pt x="20" y="18"/>
                      </a:cubicBezTo>
                      <a:cubicBezTo>
                        <a:pt x="20" y="18"/>
                        <a:pt x="20" y="18"/>
                        <a:pt x="20" y="18"/>
                      </a:cubicBezTo>
                      <a:cubicBezTo>
                        <a:pt x="20" y="18"/>
                        <a:pt x="20" y="18"/>
                        <a:pt x="20" y="18"/>
                      </a:cubicBezTo>
                      <a:cubicBezTo>
                        <a:pt x="20" y="18"/>
                        <a:pt x="20"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2" y="18"/>
                      </a:cubicBezTo>
                      <a:cubicBezTo>
                        <a:pt x="22" y="18"/>
                        <a:pt x="22" y="18"/>
                        <a:pt x="22" y="18"/>
                      </a:cubicBezTo>
                      <a:cubicBezTo>
                        <a:pt x="22" y="18"/>
                        <a:pt x="22" y="18"/>
                        <a:pt x="22" y="18"/>
                      </a:cubicBezTo>
                      <a:cubicBezTo>
                        <a:pt x="22" y="18"/>
                        <a:pt x="22" y="18"/>
                        <a:pt x="22" y="18"/>
                      </a:cubicBezTo>
                      <a:cubicBezTo>
                        <a:pt x="22" y="18"/>
                        <a:pt x="22" y="18"/>
                        <a:pt x="23" y="18"/>
                      </a:cubicBezTo>
                      <a:cubicBezTo>
                        <a:pt x="23" y="16"/>
                        <a:pt x="23" y="16"/>
                        <a:pt x="23" y="16"/>
                      </a:cubicBezTo>
                      <a:lnTo>
                        <a:pt x="22"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3" name="Group 332">
                <a:extLst>
                  <a:ext uri="{FF2B5EF4-FFF2-40B4-BE49-F238E27FC236}">
                    <a16:creationId xmlns:a16="http://schemas.microsoft.com/office/drawing/2014/main" id="{D6DF7B67-4862-D171-F84F-0B0F418B5371}"/>
                  </a:ext>
                </a:extLst>
              </p:cNvPr>
              <p:cNvGrpSpPr/>
              <p:nvPr/>
            </p:nvGrpSpPr>
            <p:grpSpPr>
              <a:xfrm>
                <a:off x="10066338" y="5942013"/>
                <a:ext cx="503237" cy="561975"/>
                <a:chOff x="10066338" y="5942013"/>
                <a:chExt cx="503237" cy="561975"/>
              </a:xfrm>
              <a:grpFill/>
            </p:grpSpPr>
            <p:sp>
              <p:nvSpPr>
                <p:cNvPr id="348" name="Freeform 718">
                  <a:extLst>
                    <a:ext uri="{FF2B5EF4-FFF2-40B4-BE49-F238E27FC236}">
                      <a16:creationId xmlns:a16="http://schemas.microsoft.com/office/drawing/2014/main" id="{4B82ECAD-B067-7C1C-23D4-9DEA8256E92A}"/>
                    </a:ext>
                  </a:extLst>
                </p:cNvPr>
                <p:cNvSpPr>
                  <a:spLocks/>
                </p:cNvSpPr>
                <p:nvPr/>
              </p:nvSpPr>
              <p:spPr bwMode="auto">
                <a:xfrm>
                  <a:off x="10117138" y="6167438"/>
                  <a:ext cx="133350" cy="149225"/>
                </a:xfrm>
                <a:custGeom>
                  <a:avLst/>
                  <a:gdLst>
                    <a:gd name="T0" fmla="*/ 13 w 32"/>
                    <a:gd name="T1" fmla="*/ 29 h 36"/>
                    <a:gd name="T2" fmla="*/ 14 w 32"/>
                    <a:gd name="T3" fmla="*/ 28 h 36"/>
                    <a:gd name="T4" fmla="*/ 14 w 32"/>
                    <a:gd name="T5" fmla="*/ 26 h 36"/>
                    <a:gd name="T6" fmla="*/ 16 w 32"/>
                    <a:gd name="T7" fmla="*/ 26 h 36"/>
                    <a:gd name="T8" fmla="*/ 17 w 32"/>
                    <a:gd name="T9" fmla="*/ 25 h 36"/>
                    <a:gd name="T10" fmla="*/ 19 w 32"/>
                    <a:gd name="T11" fmla="*/ 24 h 36"/>
                    <a:gd name="T12" fmla="*/ 20 w 32"/>
                    <a:gd name="T13" fmla="*/ 23 h 36"/>
                    <a:gd name="T14" fmla="*/ 22 w 32"/>
                    <a:gd name="T15" fmla="*/ 21 h 36"/>
                    <a:gd name="T16" fmla="*/ 24 w 32"/>
                    <a:gd name="T17" fmla="*/ 20 h 36"/>
                    <a:gd name="T18" fmla="*/ 26 w 32"/>
                    <a:gd name="T19" fmla="*/ 20 h 36"/>
                    <a:gd name="T20" fmla="*/ 27 w 32"/>
                    <a:gd name="T21" fmla="*/ 19 h 36"/>
                    <a:gd name="T22" fmla="*/ 28 w 32"/>
                    <a:gd name="T23" fmla="*/ 17 h 36"/>
                    <a:gd name="T24" fmla="*/ 29 w 32"/>
                    <a:gd name="T25" fmla="*/ 16 h 36"/>
                    <a:gd name="T26" fmla="*/ 30 w 32"/>
                    <a:gd name="T27" fmla="*/ 15 h 36"/>
                    <a:gd name="T28" fmla="*/ 30 w 32"/>
                    <a:gd name="T29" fmla="*/ 14 h 36"/>
                    <a:gd name="T30" fmla="*/ 30 w 32"/>
                    <a:gd name="T31" fmla="*/ 13 h 36"/>
                    <a:gd name="T32" fmla="*/ 29 w 32"/>
                    <a:gd name="T33" fmla="*/ 12 h 36"/>
                    <a:gd name="T34" fmla="*/ 28 w 32"/>
                    <a:gd name="T35" fmla="*/ 11 h 36"/>
                    <a:gd name="T36" fmla="*/ 28 w 32"/>
                    <a:gd name="T37" fmla="*/ 10 h 36"/>
                    <a:gd name="T38" fmla="*/ 28 w 32"/>
                    <a:gd name="T39" fmla="*/ 9 h 36"/>
                    <a:gd name="T40" fmla="*/ 29 w 32"/>
                    <a:gd name="T41" fmla="*/ 8 h 36"/>
                    <a:gd name="T42" fmla="*/ 30 w 32"/>
                    <a:gd name="T43" fmla="*/ 8 h 36"/>
                    <a:gd name="T44" fmla="*/ 30 w 32"/>
                    <a:gd name="T45" fmla="*/ 6 h 36"/>
                    <a:gd name="T46" fmla="*/ 31 w 32"/>
                    <a:gd name="T47" fmla="*/ 6 h 36"/>
                    <a:gd name="T48" fmla="*/ 32 w 32"/>
                    <a:gd name="T49" fmla="*/ 4 h 36"/>
                    <a:gd name="T50" fmla="*/ 32 w 32"/>
                    <a:gd name="T51" fmla="*/ 4 h 36"/>
                    <a:gd name="T52" fmla="*/ 31 w 32"/>
                    <a:gd name="T53" fmla="*/ 2 h 36"/>
                    <a:gd name="T54" fmla="*/ 30 w 32"/>
                    <a:gd name="T55" fmla="*/ 2 h 36"/>
                    <a:gd name="T56" fmla="*/ 30 w 32"/>
                    <a:gd name="T57" fmla="*/ 2 h 36"/>
                    <a:gd name="T58" fmla="*/ 29 w 32"/>
                    <a:gd name="T59" fmla="*/ 1 h 36"/>
                    <a:gd name="T60" fmla="*/ 29 w 32"/>
                    <a:gd name="T61" fmla="*/ 0 h 36"/>
                    <a:gd name="T62" fmla="*/ 28 w 32"/>
                    <a:gd name="T63" fmla="*/ 1 h 36"/>
                    <a:gd name="T64" fmla="*/ 28 w 32"/>
                    <a:gd name="T65" fmla="*/ 4 h 36"/>
                    <a:gd name="T66" fmla="*/ 27 w 32"/>
                    <a:gd name="T67" fmla="*/ 7 h 36"/>
                    <a:gd name="T68" fmla="*/ 26 w 32"/>
                    <a:gd name="T69" fmla="*/ 8 h 36"/>
                    <a:gd name="T70" fmla="*/ 24 w 32"/>
                    <a:gd name="T71" fmla="*/ 9 h 36"/>
                    <a:gd name="T72" fmla="*/ 23 w 32"/>
                    <a:gd name="T73" fmla="*/ 11 h 36"/>
                    <a:gd name="T74" fmla="*/ 22 w 32"/>
                    <a:gd name="T75" fmla="*/ 15 h 36"/>
                    <a:gd name="T76" fmla="*/ 20 w 32"/>
                    <a:gd name="T77" fmla="*/ 19 h 36"/>
                    <a:gd name="T78" fmla="*/ 19 w 32"/>
                    <a:gd name="T79" fmla="*/ 20 h 36"/>
                    <a:gd name="T80" fmla="*/ 18 w 32"/>
                    <a:gd name="T81" fmla="*/ 21 h 36"/>
                    <a:gd name="T82" fmla="*/ 15 w 32"/>
                    <a:gd name="T83" fmla="*/ 22 h 36"/>
                    <a:gd name="T84" fmla="*/ 15 w 32"/>
                    <a:gd name="T85" fmla="*/ 23 h 36"/>
                    <a:gd name="T86" fmla="*/ 14 w 32"/>
                    <a:gd name="T87" fmla="*/ 24 h 36"/>
                    <a:gd name="T88" fmla="*/ 12 w 32"/>
                    <a:gd name="T89" fmla="*/ 26 h 36"/>
                    <a:gd name="T90" fmla="*/ 11 w 32"/>
                    <a:gd name="T91" fmla="*/ 27 h 36"/>
                    <a:gd name="T92" fmla="*/ 9 w 32"/>
                    <a:gd name="T93" fmla="*/ 27 h 36"/>
                    <a:gd name="T94" fmla="*/ 8 w 32"/>
                    <a:gd name="T95" fmla="*/ 28 h 36"/>
                    <a:gd name="T96" fmla="*/ 6 w 32"/>
                    <a:gd name="T97" fmla="*/ 30 h 36"/>
                    <a:gd name="T98" fmla="*/ 4 w 32"/>
                    <a:gd name="T99" fmla="*/ 31 h 36"/>
                    <a:gd name="T100" fmla="*/ 2 w 32"/>
                    <a:gd name="T101" fmla="*/ 31 h 36"/>
                    <a:gd name="T102" fmla="*/ 0 w 32"/>
                    <a:gd name="T103" fmla="*/ 33 h 36"/>
                    <a:gd name="T104" fmla="*/ 0 w 32"/>
                    <a:gd name="T105" fmla="*/ 34 h 36"/>
                    <a:gd name="T106" fmla="*/ 2 w 32"/>
                    <a:gd name="T107" fmla="*/ 34 h 36"/>
                    <a:gd name="T108" fmla="*/ 2 w 32"/>
                    <a:gd name="T109" fmla="*/ 35 h 36"/>
                    <a:gd name="T110" fmla="*/ 2 w 32"/>
                    <a:gd name="T111" fmla="*/ 36 h 36"/>
                    <a:gd name="T112" fmla="*/ 4 w 32"/>
                    <a:gd name="T113" fmla="*/ 35 h 36"/>
                    <a:gd name="T114" fmla="*/ 5 w 32"/>
                    <a:gd name="T115" fmla="*/ 34 h 36"/>
                    <a:gd name="T116" fmla="*/ 6 w 32"/>
                    <a:gd name="T117" fmla="*/ 33 h 36"/>
                    <a:gd name="T118" fmla="*/ 7 w 32"/>
                    <a:gd name="T119" fmla="*/ 32 h 36"/>
                    <a:gd name="T120" fmla="*/ 9 w 32"/>
                    <a:gd name="T121" fmla="*/ 32 h 36"/>
                    <a:gd name="T122" fmla="*/ 10 w 32"/>
                    <a:gd name="T123" fmla="*/ 31 h 36"/>
                    <a:gd name="T124" fmla="*/ 11 w 32"/>
                    <a:gd name="T125"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 h="36">
                      <a:moveTo>
                        <a:pt x="12" y="30"/>
                      </a:moveTo>
                      <a:cubicBezTo>
                        <a:pt x="12" y="29"/>
                        <a:pt x="12" y="29"/>
                        <a:pt x="12" y="29"/>
                      </a:cubicBezTo>
                      <a:cubicBezTo>
                        <a:pt x="13" y="29"/>
                        <a:pt x="13" y="29"/>
                        <a:pt x="13" y="29"/>
                      </a:cubicBezTo>
                      <a:cubicBezTo>
                        <a:pt x="13" y="29"/>
                        <a:pt x="13" y="29"/>
                        <a:pt x="13" y="29"/>
                      </a:cubicBezTo>
                      <a:cubicBezTo>
                        <a:pt x="13" y="29"/>
                        <a:pt x="13" y="28"/>
                        <a:pt x="13" y="28"/>
                      </a:cubicBezTo>
                      <a:cubicBezTo>
                        <a:pt x="13" y="28"/>
                        <a:pt x="13" y="28"/>
                        <a:pt x="13" y="28"/>
                      </a:cubicBezTo>
                      <a:cubicBezTo>
                        <a:pt x="13" y="28"/>
                        <a:pt x="13" y="28"/>
                        <a:pt x="13" y="28"/>
                      </a:cubicBezTo>
                      <a:cubicBezTo>
                        <a:pt x="14" y="28"/>
                        <a:pt x="14" y="28"/>
                        <a:pt x="14" y="28"/>
                      </a:cubicBezTo>
                      <a:cubicBezTo>
                        <a:pt x="14" y="27"/>
                        <a:pt x="14" y="27"/>
                        <a:pt x="14" y="27"/>
                      </a:cubicBezTo>
                      <a:cubicBezTo>
                        <a:pt x="14" y="27"/>
                        <a:pt x="14" y="27"/>
                        <a:pt x="14" y="27"/>
                      </a:cubicBezTo>
                      <a:cubicBezTo>
                        <a:pt x="14" y="27"/>
                        <a:pt x="14" y="27"/>
                        <a:pt x="14" y="27"/>
                      </a:cubicBezTo>
                      <a:cubicBezTo>
                        <a:pt x="14" y="27"/>
                        <a:pt x="14" y="27"/>
                        <a:pt x="14" y="26"/>
                      </a:cubicBezTo>
                      <a:cubicBezTo>
                        <a:pt x="14" y="26"/>
                        <a:pt x="15" y="26"/>
                        <a:pt x="15" y="26"/>
                      </a:cubicBezTo>
                      <a:cubicBezTo>
                        <a:pt x="15" y="26"/>
                        <a:pt x="15" y="26"/>
                        <a:pt x="15" y="26"/>
                      </a:cubicBezTo>
                      <a:cubicBezTo>
                        <a:pt x="15" y="26"/>
                        <a:pt x="15" y="26"/>
                        <a:pt x="15" y="26"/>
                      </a:cubicBezTo>
                      <a:cubicBezTo>
                        <a:pt x="16" y="26"/>
                        <a:pt x="16" y="26"/>
                        <a:pt x="16" y="26"/>
                      </a:cubicBezTo>
                      <a:cubicBezTo>
                        <a:pt x="16" y="26"/>
                        <a:pt x="16" y="26"/>
                        <a:pt x="16" y="26"/>
                      </a:cubicBezTo>
                      <a:cubicBezTo>
                        <a:pt x="16" y="26"/>
                        <a:pt x="16" y="25"/>
                        <a:pt x="16" y="25"/>
                      </a:cubicBezTo>
                      <a:cubicBezTo>
                        <a:pt x="17" y="25"/>
                        <a:pt x="17" y="25"/>
                        <a:pt x="17" y="25"/>
                      </a:cubicBezTo>
                      <a:cubicBezTo>
                        <a:pt x="17" y="25"/>
                        <a:pt x="17" y="25"/>
                        <a:pt x="17" y="25"/>
                      </a:cubicBezTo>
                      <a:cubicBezTo>
                        <a:pt x="18" y="25"/>
                        <a:pt x="18" y="25"/>
                        <a:pt x="18" y="25"/>
                      </a:cubicBezTo>
                      <a:cubicBezTo>
                        <a:pt x="18" y="24"/>
                        <a:pt x="18" y="24"/>
                        <a:pt x="18" y="24"/>
                      </a:cubicBezTo>
                      <a:cubicBezTo>
                        <a:pt x="18" y="24"/>
                        <a:pt x="18" y="24"/>
                        <a:pt x="18" y="24"/>
                      </a:cubicBezTo>
                      <a:cubicBezTo>
                        <a:pt x="19" y="24"/>
                        <a:pt x="19" y="24"/>
                        <a:pt x="19" y="24"/>
                      </a:cubicBezTo>
                      <a:cubicBezTo>
                        <a:pt x="19" y="24"/>
                        <a:pt x="19" y="24"/>
                        <a:pt x="19" y="24"/>
                      </a:cubicBezTo>
                      <a:cubicBezTo>
                        <a:pt x="19" y="24"/>
                        <a:pt x="19" y="24"/>
                        <a:pt x="19" y="24"/>
                      </a:cubicBezTo>
                      <a:cubicBezTo>
                        <a:pt x="20" y="23"/>
                        <a:pt x="20" y="23"/>
                        <a:pt x="20" y="23"/>
                      </a:cubicBezTo>
                      <a:cubicBezTo>
                        <a:pt x="20" y="23"/>
                        <a:pt x="20" y="23"/>
                        <a:pt x="20" y="23"/>
                      </a:cubicBezTo>
                      <a:cubicBezTo>
                        <a:pt x="21" y="22"/>
                        <a:pt x="21" y="22"/>
                        <a:pt x="21" y="22"/>
                      </a:cubicBezTo>
                      <a:cubicBezTo>
                        <a:pt x="22" y="22"/>
                        <a:pt x="22" y="22"/>
                        <a:pt x="22" y="22"/>
                      </a:cubicBezTo>
                      <a:cubicBezTo>
                        <a:pt x="22" y="22"/>
                        <a:pt x="22" y="22"/>
                        <a:pt x="22" y="22"/>
                      </a:cubicBezTo>
                      <a:cubicBezTo>
                        <a:pt x="22" y="21"/>
                        <a:pt x="22" y="21"/>
                        <a:pt x="22" y="21"/>
                      </a:cubicBezTo>
                      <a:cubicBezTo>
                        <a:pt x="23" y="20"/>
                        <a:pt x="23" y="20"/>
                        <a:pt x="23" y="20"/>
                      </a:cubicBezTo>
                      <a:cubicBezTo>
                        <a:pt x="23" y="20"/>
                        <a:pt x="23" y="20"/>
                        <a:pt x="23" y="20"/>
                      </a:cubicBezTo>
                      <a:cubicBezTo>
                        <a:pt x="23" y="20"/>
                        <a:pt x="23" y="20"/>
                        <a:pt x="23" y="20"/>
                      </a:cubicBezTo>
                      <a:cubicBezTo>
                        <a:pt x="24" y="20"/>
                        <a:pt x="24" y="20"/>
                        <a:pt x="24" y="20"/>
                      </a:cubicBezTo>
                      <a:cubicBezTo>
                        <a:pt x="25" y="20"/>
                        <a:pt x="25" y="20"/>
                        <a:pt x="25" y="20"/>
                      </a:cubicBezTo>
                      <a:cubicBezTo>
                        <a:pt x="25" y="20"/>
                        <a:pt x="25" y="20"/>
                        <a:pt x="25" y="20"/>
                      </a:cubicBezTo>
                      <a:cubicBezTo>
                        <a:pt x="25" y="20"/>
                        <a:pt x="25" y="20"/>
                        <a:pt x="25" y="20"/>
                      </a:cubicBezTo>
                      <a:cubicBezTo>
                        <a:pt x="26" y="20"/>
                        <a:pt x="26" y="20"/>
                        <a:pt x="26" y="20"/>
                      </a:cubicBezTo>
                      <a:cubicBezTo>
                        <a:pt x="26" y="20"/>
                        <a:pt x="26" y="20"/>
                        <a:pt x="26" y="20"/>
                      </a:cubicBezTo>
                      <a:cubicBezTo>
                        <a:pt x="26" y="19"/>
                        <a:pt x="26" y="19"/>
                        <a:pt x="26" y="19"/>
                      </a:cubicBezTo>
                      <a:cubicBezTo>
                        <a:pt x="26" y="19"/>
                        <a:pt x="26" y="19"/>
                        <a:pt x="26" y="19"/>
                      </a:cubicBezTo>
                      <a:cubicBezTo>
                        <a:pt x="27" y="19"/>
                        <a:pt x="27" y="19"/>
                        <a:pt x="27" y="19"/>
                      </a:cubicBezTo>
                      <a:cubicBezTo>
                        <a:pt x="27" y="18"/>
                        <a:pt x="27" y="18"/>
                        <a:pt x="27" y="18"/>
                      </a:cubicBezTo>
                      <a:cubicBezTo>
                        <a:pt x="27" y="18"/>
                        <a:pt x="27" y="18"/>
                        <a:pt x="27" y="18"/>
                      </a:cubicBezTo>
                      <a:cubicBezTo>
                        <a:pt x="27" y="18"/>
                        <a:pt x="27" y="17"/>
                        <a:pt x="27" y="17"/>
                      </a:cubicBezTo>
                      <a:cubicBezTo>
                        <a:pt x="28" y="17"/>
                        <a:pt x="28" y="17"/>
                        <a:pt x="28" y="17"/>
                      </a:cubicBezTo>
                      <a:cubicBezTo>
                        <a:pt x="28" y="17"/>
                        <a:pt x="28" y="17"/>
                        <a:pt x="28" y="17"/>
                      </a:cubicBezTo>
                      <a:cubicBezTo>
                        <a:pt x="28" y="17"/>
                        <a:pt x="28" y="17"/>
                        <a:pt x="28" y="17"/>
                      </a:cubicBezTo>
                      <a:cubicBezTo>
                        <a:pt x="29" y="16"/>
                        <a:pt x="29" y="16"/>
                        <a:pt x="29" y="16"/>
                      </a:cubicBezTo>
                      <a:cubicBezTo>
                        <a:pt x="29" y="16"/>
                        <a:pt x="29" y="16"/>
                        <a:pt x="29" y="16"/>
                      </a:cubicBezTo>
                      <a:cubicBezTo>
                        <a:pt x="29" y="16"/>
                        <a:pt x="29" y="16"/>
                        <a:pt x="29" y="16"/>
                      </a:cubicBezTo>
                      <a:cubicBezTo>
                        <a:pt x="30" y="16"/>
                        <a:pt x="30" y="16"/>
                        <a:pt x="30" y="16"/>
                      </a:cubicBezTo>
                      <a:cubicBezTo>
                        <a:pt x="30" y="16"/>
                        <a:pt x="30" y="15"/>
                        <a:pt x="30" y="15"/>
                      </a:cubicBezTo>
                      <a:cubicBezTo>
                        <a:pt x="30" y="15"/>
                        <a:pt x="30" y="15"/>
                        <a:pt x="30" y="15"/>
                      </a:cubicBezTo>
                      <a:cubicBezTo>
                        <a:pt x="30" y="15"/>
                        <a:pt x="31" y="15"/>
                        <a:pt x="31" y="15"/>
                      </a:cubicBezTo>
                      <a:cubicBezTo>
                        <a:pt x="31" y="15"/>
                        <a:pt x="31" y="15"/>
                        <a:pt x="31" y="15"/>
                      </a:cubicBezTo>
                      <a:cubicBezTo>
                        <a:pt x="31" y="15"/>
                        <a:pt x="31" y="14"/>
                        <a:pt x="31" y="14"/>
                      </a:cubicBezTo>
                      <a:cubicBezTo>
                        <a:pt x="31" y="14"/>
                        <a:pt x="30" y="14"/>
                        <a:pt x="30" y="14"/>
                      </a:cubicBezTo>
                      <a:cubicBezTo>
                        <a:pt x="30" y="14"/>
                        <a:pt x="30" y="14"/>
                        <a:pt x="30" y="14"/>
                      </a:cubicBezTo>
                      <a:cubicBezTo>
                        <a:pt x="30" y="14"/>
                        <a:pt x="30" y="14"/>
                        <a:pt x="30" y="14"/>
                      </a:cubicBezTo>
                      <a:cubicBezTo>
                        <a:pt x="30" y="13"/>
                        <a:pt x="30" y="13"/>
                        <a:pt x="30" y="13"/>
                      </a:cubicBezTo>
                      <a:cubicBezTo>
                        <a:pt x="30" y="13"/>
                        <a:pt x="30" y="13"/>
                        <a:pt x="30" y="13"/>
                      </a:cubicBezTo>
                      <a:cubicBezTo>
                        <a:pt x="30" y="13"/>
                        <a:pt x="30" y="13"/>
                        <a:pt x="30" y="13"/>
                      </a:cubicBezTo>
                      <a:cubicBezTo>
                        <a:pt x="29" y="13"/>
                        <a:pt x="29" y="13"/>
                        <a:pt x="29" y="13"/>
                      </a:cubicBezTo>
                      <a:cubicBezTo>
                        <a:pt x="29" y="13"/>
                        <a:pt x="29" y="12"/>
                        <a:pt x="29" y="12"/>
                      </a:cubicBezTo>
                      <a:cubicBezTo>
                        <a:pt x="29" y="12"/>
                        <a:pt x="29" y="12"/>
                        <a:pt x="29" y="12"/>
                      </a:cubicBezTo>
                      <a:cubicBezTo>
                        <a:pt x="29" y="12"/>
                        <a:pt x="28" y="12"/>
                        <a:pt x="28" y="12"/>
                      </a:cubicBezTo>
                      <a:cubicBezTo>
                        <a:pt x="28" y="12"/>
                        <a:pt x="28" y="12"/>
                        <a:pt x="28" y="12"/>
                      </a:cubicBezTo>
                      <a:cubicBezTo>
                        <a:pt x="28" y="12"/>
                        <a:pt x="28" y="12"/>
                        <a:pt x="28" y="12"/>
                      </a:cubicBezTo>
                      <a:cubicBezTo>
                        <a:pt x="28" y="12"/>
                        <a:pt x="28" y="12"/>
                        <a:pt x="28" y="11"/>
                      </a:cubicBezTo>
                      <a:cubicBezTo>
                        <a:pt x="28" y="11"/>
                        <a:pt x="28" y="11"/>
                        <a:pt x="28" y="11"/>
                      </a:cubicBezTo>
                      <a:cubicBezTo>
                        <a:pt x="28" y="11"/>
                        <a:pt x="28" y="11"/>
                        <a:pt x="28" y="11"/>
                      </a:cubicBezTo>
                      <a:cubicBezTo>
                        <a:pt x="28" y="11"/>
                        <a:pt x="28" y="10"/>
                        <a:pt x="28" y="10"/>
                      </a:cubicBezTo>
                      <a:cubicBezTo>
                        <a:pt x="28" y="10"/>
                        <a:pt x="28" y="10"/>
                        <a:pt x="28" y="10"/>
                      </a:cubicBezTo>
                      <a:cubicBezTo>
                        <a:pt x="28" y="10"/>
                        <a:pt x="28" y="10"/>
                        <a:pt x="28" y="10"/>
                      </a:cubicBezTo>
                      <a:cubicBezTo>
                        <a:pt x="28" y="9"/>
                        <a:pt x="28" y="9"/>
                        <a:pt x="28" y="9"/>
                      </a:cubicBezTo>
                      <a:cubicBezTo>
                        <a:pt x="28" y="9"/>
                        <a:pt x="28" y="9"/>
                        <a:pt x="28" y="9"/>
                      </a:cubicBezTo>
                      <a:cubicBezTo>
                        <a:pt x="28" y="9"/>
                        <a:pt x="28" y="9"/>
                        <a:pt x="28" y="9"/>
                      </a:cubicBezTo>
                      <a:cubicBezTo>
                        <a:pt x="28" y="9"/>
                        <a:pt x="28" y="9"/>
                        <a:pt x="28" y="9"/>
                      </a:cubicBezTo>
                      <a:cubicBezTo>
                        <a:pt x="29" y="8"/>
                        <a:pt x="29" y="8"/>
                        <a:pt x="29" y="8"/>
                      </a:cubicBezTo>
                      <a:cubicBezTo>
                        <a:pt x="29" y="9"/>
                        <a:pt x="29" y="9"/>
                        <a:pt x="29" y="9"/>
                      </a:cubicBezTo>
                      <a:cubicBezTo>
                        <a:pt x="29" y="8"/>
                        <a:pt x="29" y="8"/>
                        <a:pt x="29" y="8"/>
                      </a:cubicBezTo>
                      <a:cubicBezTo>
                        <a:pt x="29" y="8"/>
                        <a:pt x="29" y="8"/>
                        <a:pt x="29" y="8"/>
                      </a:cubicBezTo>
                      <a:cubicBezTo>
                        <a:pt x="29" y="8"/>
                        <a:pt x="29" y="8"/>
                        <a:pt x="29" y="8"/>
                      </a:cubicBezTo>
                      <a:cubicBezTo>
                        <a:pt x="30" y="8"/>
                        <a:pt x="30" y="8"/>
                        <a:pt x="30" y="8"/>
                      </a:cubicBezTo>
                      <a:cubicBezTo>
                        <a:pt x="30" y="8"/>
                        <a:pt x="30" y="8"/>
                        <a:pt x="30" y="8"/>
                      </a:cubicBezTo>
                      <a:cubicBezTo>
                        <a:pt x="30" y="7"/>
                        <a:pt x="30" y="7"/>
                        <a:pt x="30" y="7"/>
                      </a:cubicBezTo>
                      <a:cubicBezTo>
                        <a:pt x="30" y="7"/>
                        <a:pt x="30" y="7"/>
                        <a:pt x="30" y="7"/>
                      </a:cubicBezTo>
                      <a:cubicBezTo>
                        <a:pt x="30" y="6"/>
                        <a:pt x="30" y="6"/>
                        <a:pt x="30" y="6"/>
                      </a:cubicBezTo>
                      <a:cubicBezTo>
                        <a:pt x="30" y="6"/>
                        <a:pt x="30" y="6"/>
                        <a:pt x="30" y="6"/>
                      </a:cubicBezTo>
                      <a:cubicBezTo>
                        <a:pt x="30" y="6"/>
                        <a:pt x="30" y="6"/>
                        <a:pt x="30" y="6"/>
                      </a:cubicBezTo>
                      <a:cubicBezTo>
                        <a:pt x="30" y="6"/>
                        <a:pt x="31" y="6"/>
                        <a:pt x="31" y="6"/>
                      </a:cubicBezTo>
                      <a:cubicBezTo>
                        <a:pt x="31" y="6"/>
                        <a:pt x="31" y="6"/>
                        <a:pt x="31" y="6"/>
                      </a:cubicBezTo>
                      <a:cubicBezTo>
                        <a:pt x="31" y="6"/>
                        <a:pt x="31" y="6"/>
                        <a:pt x="31" y="6"/>
                      </a:cubicBezTo>
                      <a:cubicBezTo>
                        <a:pt x="31" y="6"/>
                        <a:pt x="32" y="5"/>
                        <a:pt x="32" y="5"/>
                      </a:cubicBezTo>
                      <a:cubicBezTo>
                        <a:pt x="32" y="5"/>
                        <a:pt x="32" y="5"/>
                        <a:pt x="32" y="5"/>
                      </a:cubicBezTo>
                      <a:cubicBezTo>
                        <a:pt x="32" y="5"/>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3"/>
                        <a:pt x="32" y="3"/>
                      </a:cubicBezTo>
                      <a:cubicBezTo>
                        <a:pt x="32" y="3"/>
                        <a:pt x="31" y="3"/>
                        <a:pt x="31" y="3"/>
                      </a:cubicBezTo>
                      <a:cubicBezTo>
                        <a:pt x="31" y="3"/>
                        <a:pt x="31" y="3"/>
                        <a:pt x="31" y="3"/>
                      </a:cubicBezTo>
                      <a:cubicBezTo>
                        <a:pt x="31" y="3"/>
                        <a:pt x="31" y="2"/>
                        <a:pt x="31" y="2"/>
                      </a:cubicBezTo>
                      <a:cubicBezTo>
                        <a:pt x="31" y="2"/>
                        <a:pt x="31" y="2"/>
                        <a:pt x="31" y="2"/>
                      </a:cubicBezTo>
                      <a:cubicBezTo>
                        <a:pt x="31"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1"/>
                        <a:pt x="30" y="1"/>
                      </a:cubicBezTo>
                      <a:cubicBezTo>
                        <a:pt x="30" y="1"/>
                        <a:pt x="30" y="1"/>
                        <a:pt x="30" y="1"/>
                      </a:cubicBezTo>
                      <a:cubicBezTo>
                        <a:pt x="30" y="1"/>
                        <a:pt x="30" y="1"/>
                        <a:pt x="30" y="1"/>
                      </a:cubicBezTo>
                      <a:cubicBezTo>
                        <a:pt x="30" y="1"/>
                        <a:pt x="29" y="1"/>
                        <a:pt x="29" y="1"/>
                      </a:cubicBezTo>
                      <a:cubicBezTo>
                        <a:pt x="29" y="1"/>
                        <a:pt x="29" y="1"/>
                        <a:pt x="29" y="1"/>
                      </a:cubicBezTo>
                      <a:cubicBezTo>
                        <a:pt x="29"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8" y="1"/>
                        <a:pt x="28" y="1"/>
                        <a:pt x="28" y="1"/>
                      </a:cubicBezTo>
                      <a:cubicBezTo>
                        <a:pt x="28" y="1"/>
                        <a:pt x="28" y="1"/>
                        <a:pt x="28" y="1"/>
                      </a:cubicBezTo>
                      <a:cubicBezTo>
                        <a:pt x="28" y="1"/>
                        <a:pt x="28" y="1"/>
                        <a:pt x="28" y="1"/>
                      </a:cubicBezTo>
                      <a:cubicBezTo>
                        <a:pt x="28" y="2"/>
                        <a:pt x="28" y="2"/>
                        <a:pt x="28" y="2"/>
                      </a:cubicBezTo>
                      <a:cubicBezTo>
                        <a:pt x="28" y="3"/>
                        <a:pt x="28" y="3"/>
                        <a:pt x="28" y="3"/>
                      </a:cubicBezTo>
                      <a:cubicBezTo>
                        <a:pt x="28" y="4"/>
                        <a:pt x="28" y="4"/>
                        <a:pt x="28" y="4"/>
                      </a:cubicBezTo>
                      <a:cubicBezTo>
                        <a:pt x="28" y="4"/>
                        <a:pt x="28" y="5"/>
                        <a:pt x="28" y="5"/>
                      </a:cubicBezTo>
                      <a:cubicBezTo>
                        <a:pt x="28" y="5"/>
                        <a:pt x="28" y="5"/>
                        <a:pt x="28" y="5"/>
                      </a:cubicBezTo>
                      <a:cubicBezTo>
                        <a:pt x="28" y="5"/>
                        <a:pt x="28" y="5"/>
                        <a:pt x="28" y="5"/>
                      </a:cubicBezTo>
                      <a:cubicBezTo>
                        <a:pt x="28" y="6"/>
                        <a:pt x="27" y="6"/>
                        <a:pt x="27" y="7"/>
                      </a:cubicBezTo>
                      <a:cubicBezTo>
                        <a:pt x="27" y="7"/>
                        <a:pt x="27" y="7"/>
                        <a:pt x="27" y="8"/>
                      </a:cubicBezTo>
                      <a:cubicBezTo>
                        <a:pt x="27" y="8"/>
                        <a:pt x="27" y="8"/>
                        <a:pt x="27" y="8"/>
                      </a:cubicBezTo>
                      <a:cubicBezTo>
                        <a:pt x="26" y="8"/>
                        <a:pt x="26" y="8"/>
                        <a:pt x="26" y="8"/>
                      </a:cubicBezTo>
                      <a:cubicBezTo>
                        <a:pt x="26" y="8"/>
                        <a:pt x="26" y="8"/>
                        <a:pt x="26" y="8"/>
                      </a:cubicBezTo>
                      <a:cubicBezTo>
                        <a:pt x="26" y="9"/>
                        <a:pt x="25" y="9"/>
                        <a:pt x="25" y="9"/>
                      </a:cubicBezTo>
                      <a:cubicBezTo>
                        <a:pt x="25" y="9"/>
                        <a:pt x="25" y="9"/>
                        <a:pt x="25" y="9"/>
                      </a:cubicBezTo>
                      <a:cubicBezTo>
                        <a:pt x="25" y="9"/>
                        <a:pt x="25" y="9"/>
                        <a:pt x="24" y="9"/>
                      </a:cubicBezTo>
                      <a:cubicBezTo>
                        <a:pt x="24" y="9"/>
                        <a:pt x="24" y="9"/>
                        <a:pt x="24" y="9"/>
                      </a:cubicBezTo>
                      <a:cubicBezTo>
                        <a:pt x="24" y="9"/>
                        <a:pt x="24" y="9"/>
                        <a:pt x="24" y="9"/>
                      </a:cubicBezTo>
                      <a:cubicBezTo>
                        <a:pt x="24" y="9"/>
                        <a:pt x="24" y="10"/>
                        <a:pt x="24" y="10"/>
                      </a:cubicBezTo>
                      <a:cubicBezTo>
                        <a:pt x="24" y="10"/>
                        <a:pt x="24" y="10"/>
                        <a:pt x="24" y="10"/>
                      </a:cubicBezTo>
                      <a:cubicBezTo>
                        <a:pt x="24" y="10"/>
                        <a:pt x="23" y="11"/>
                        <a:pt x="23" y="11"/>
                      </a:cubicBezTo>
                      <a:cubicBezTo>
                        <a:pt x="23" y="11"/>
                        <a:pt x="23" y="11"/>
                        <a:pt x="23" y="11"/>
                      </a:cubicBezTo>
                      <a:cubicBezTo>
                        <a:pt x="23" y="12"/>
                        <a:pt x="23" y="12"/>
                        <a:pt x="23" y="13"/>
                      </a:cubicBezTo>
                      <a:cubicBezTo>
                        <a:pt x="23" y="13"/>
                        <a:pt x="23" y="14"/>
                        <a:pt x="23" y="14"/>
                      </a:cubicBezTo>
                      <a:cubicBezTo>
                        <a:pt x="22" y="14"/>
                        <a:pt x="22" y="15"/>
                        <a:pt x="22" y="15"/>
                      </a:cubicBezTo>
                      <a:cubicBezTo>
                        <a:pt x="22" y="15"/>
                        <a:pt x="22" y="15"/>
                        <a:pt x="22" y="15"/>
                      </a:cubicBezTo>
                      <a:cubicBezTo>
                        <a:pt x="22" y="16"/>
                        <a:pt x="22" y="16"/>
                        <a:pt x="22" y="16"/>
                      </a:cubicBezTo>
                      <a:cubicBezTo>
                        <a:pt x="22" y="17"/>
                        <a:pt x="21" y="17"/>
                        <a:pt x="21" y="18"/>
                      </a:cubicBezTo>
                      <a:cubicBezTo>
                        <a:pt x="20" y="18"/>
                        <a:pt x="20" y="19"/>
                        <a:pt x="20" y="19"/>
                      </a:cubicBezTo>
                      <a:cubicBezTo>
                        <a:pt x="20" y="19"/>
                        <a:pt x="20" y="19"/>
                        <a:pt x="19" y="19"/>
                      </a:cubicBezTo>
                      <a:cubicBezTo>
                        <a:pt x="19" y="19"/>
                        <a:pt x="19" y="19"/>
                        <a:pt x="19" y="19"/>
                      </a:cubicBezTo>
                      <a:cubicBezTo>
                        <a:pt x="19" y="19"/>
                        <a:pt x="19" y="19"/>
                        <a:pt x="19" y="19"/>
                      </a:cubicBezTo>
                      <a:cubicBezTo>
                        <a:pt x="19" y="19"/>
                        <a:pt x="19" y="20"/>
                        <a:pt x="19" y="20"/>
                      </a:cubicBezTo>
                      <a:cubicBezTo>
                        <a:pt x="19" y="20"/>
                        <a:pt x="19" y="20"/>
                        <a:pt x="19" y="20"/>
                      </a:cubicBezTo>
                      <a:cubicBezTo>
                        <a:pt x="19" y="20"/>
                        <a:pt x="19" y="20"/>
                        <a:pt x="19" y="20"/>
                      </a:cubicBezTo>
                      <a:cubicBezTo>
                        <a:pt x="19" y="20"/>
                        <a:pt x="18" y="20"/>
                        <a:pt x="18" y="21"/>
                      </a:cubicBezTo>
                      <a:cubicBezTo>
                        <a:pt x="18" y="21"/>
                        <a:pt x="18" y="21"/>
                        <a:pt x="18" y="21"/>
                      </a:cubicBezTo>
                      <a:cubicBezTo>
                        <a:pt x="18" y="21"/>
                        <a:pt x="17" y="21"/>
                        <a:pt x="17" y="21"/>
                      </a:cubicBezTo>
                      <a:cubicBezTo>
                        <a:pt x="17" y="21"/>
                        <a:pt x="16" y="21"/>
                        <a:pt x="16" y="22"/>
                      </a:cubicBezTo>
                      <a:cubicBezTo>
                        <a:pt x="16" y="22"/>
                        <a:pt x="16" y="22"/>
                        <a:pt x="16" y="22"/>
                      </a:cubicBezTo>
                      <a:cubicBezTo>
                        <a:pt x="16" y="22"/>
                        <a:pt x="15" y="22"/>
                        <a:pt x="15" y="22"/>
                      </a:cubicBezTo>
                      <a:cubicBezTo>
                        <a:pt x="15" y="22"/>
                        <a:pt x="15" y="22"/>
                        <a:pt x="15" y="22"/>
                      </a:cubicBezTo>
                      <a:cubicBezTo>
                        <a:pt x="15" y="23"/>
                        <a:pt x="15" y="23"/>
                        <a:pt x="15" y="23"/>
                      </a:cubicBezTo>
                      <a:cubicBezTo>
                        <a:pt x="15" y="23"/>
                        <a:pt x="15" y="23"/>
                        <a:pt x="15" y="23"/>
                      </a:cubicBezTo>
                      <a:cubicBezTo>
                        <a:pt x="15" y="23"/>
                        <a:pt x="15" y="23"/>
                        <a:pt x="15" y="23"/>
                      </a:cubicBezTo>
                      <a:cubicBezTo>
                        <a:pt x="14" y="23"/>
                        <a:pt x="14" y="23"/>
                        <a:pt x="14" y="23"/>
                      </a:cubicBezTo>
                      <a:cubicBezTo>
                        <a:pt x="14" y="24"/>
                        <a:pt x="14" y="24"/>
                        <a:pt x="14" y="24"/>
                      </a:cubicBezTo>
                      <a:cubicBezTo>
                        <a:pt x="14" y="24"/>
                        <a:pt x="14" y="24"/>
                        <a:pt x="14" y="24"/>
                      </a:cubicBezTo>
                      <a:cubicBezTo>
                        <a:pt x="14" y="24"/>
                        <a:pt x="14" y="24"/>
                        <a:pt x="14" y="24"/>
                      </a:cubicBezTo>
                      <a:cubicBezTo>
                        <a:pt x="14" y="24"/>
                        <a:pt x="13" y="24"/>
                        <a:pt x="13" y="24"/>
                      </a:cubicBezTo>
                      <a:cubicBezTo>
                        <a:pt x="13" y="25"/>
                        <a:pt x="13" y="25"/>
                        <a:pt x="12" y="25"/>
                      </a:cubicBezTo>
                      <a:cubicBezTo>
                        <a:pt x="12" y="25"/>
                        <a:pt x="12" y="25"/>
                        <a:pt x="12" y="25"/>
                      </a:cubicBezTo>
                      <a:cubicBezTo>
                        <a:pt x="12" y="25"/>
                        <a:pt x="12" y="25"/>
                        <a:pt x="12" y="26"/>
                      </a:cubicBezTo>
                      <a:cubicBezTo>
                        <a:pt x="12" y="26"/>
                        <a:pt x="12" y="26"/>
                        <a:pt x="12" y="26"/>
                      </a:cubicBezTo>
                      <a:cubicBezTo>
                        <a:pt x="11" y="26"/>
                        <a:pt x="11" y="26"/>
                        <a:pt x="11" y="26"/>
                      </a:cubicBezTo>
                      <a:cubicBezTo>
                        <a:pt x="11" y="26"/>
                        <a:pt x="11" y="26"/>
                        <a:pt x="11" y="26"/>
                      </a:cubicBezTo>
                      <a:cubicBezTo>
                        <a:pt x="11" y="27"/>
                        <a:pt x="11" y="27"/>
                        <a:pt x="11" y="27"/>
                      </a:cubicBezTo>
                      <a:cubicBezTo>
                        <a:pt x="11" y="27"/>
                        <a:pt x="10" y="27"/>
                        <a:pt x="10" y="27"/>
                      </a:cubicBezTo>
                      <a:cubicBezTo>
                        <a:pt x="10" y="27"/>
                        <a:pt x="10" y="27"/>
                        <a:pt x="10" y="27"/>
                      </a:cubicBezTo>
                      <a:cubicBezTo>
                        <a:pt x="10" y="27"/>
                        <a:pt x="10" y="27"/>
                        <a:pt x="10" y="27"/>
                      </a:cubicBezTo>
                      <a:cubicBezTo>
                        <a:pt x="9" y="27"/>
                        <a:pt x="9" y="27"/>
                        <a:pt x="9" y="27"/>
                      </a:cubicBezTo>
                      <a:cubicBezTo>
                        <a:pt x="9" y="27"/>
                        <a:pt x="9" y="27"/>
                        <a:pt x="9" y="27"/>
                      </a:cubicBezTo>
                      <a:cubicBezTo>
                        <a:pt x="9" y="27"/>
                        <a:pt x="9" y="27"/>
                        <a:pt x="9" y="27"/>
                      </a:cubicBezTo>
                      <a:cubicBezTo>
                        <a:pt x="8" y="28"/>
                        <a:pt x="8" y="28"/>
                        <a:pt x="8" y="28"/>
                      </a:cubicBezTo>
                      <a:cubicBezTo>
                        <a:pt x="8" y="28"/>
                        <a:pt x="8" y="28"/>
                        <a:pt x="8" y="28"/>
                      </a:cubicBezTo>
                      <a:cubicBezTo>
                        <a:pt x="8" y="28"/>
                        <a:pt x="7" y="28"/>
                        <a:pt x="7" y="28"/>
                      </a:cubicBezTo>
                      <a:cubicBezTo>
                        <a:pt x="7" y="29"/>
                        <a:pt x="7" y="29"/>
                        <a:pt x="7" y="29"/>
                      </a:cubicBezTo>
                      <a:cubicBezTo>
                        <a:pt x="6" y="29"/>
                        <a:pt x="6" y="29"/>
                        <a:pt x="6" y="29"/>
                      </a:cubicBezTo>
                      <a:cubicBezTo>
                        <a:pt x="6" y="29"/>
                        <a:pt x="6" y="30"/>
                        <a:pt x="6" y="30"/>
                      </a:cubicBezTo>
                      <a:cubicBezTo>
                        <a:pt x="6" y="30"/>
                        <a:pt x="6" y="30"/>
                        <a:pt x="6" y="30"/>
                      </a:cubicBezTo>
                      <a:cubicBezTo>
                        <a:pt x="6" y="30"/>
                        <a:pt x="6" y="30"/>
                        <a:pt x="6" y="30"/>
                      </a:cubicBezTo>
                      <a:cubicBezTo>
                        <a:pt x="5" y="30"/>
                        <a:pt x="5" y="30"/>
                        <a:pt x="5" y="30"/>
                      </a:cubicBezTo>
                      <a:cubicBezTo>
                        <a:pt x="5" y="30"/>
                        <a:pt x="5" y="31"/>
                        <a:pt x="4" y="31"/>
                      </a:cubicBezTo>
                      <a:cubicBezTo>
                        <a:pt x="4" y="31"/>
                        <a:pt x="4" y="31"/>
                        <a:pt x="4" y="31"/>
                      </a:cubicBezTo>
                      <a:cubicBezTo>
                        <a:pt x="4" y="31"/>
                        <a:pt x="4" y="31"/>
                        <a:pt x="4" y="31"/>
                      </a:cubicBezTo>
                      <a:cubicBezTo>
                        <a:pt x="3" y="30"/>
                        <a:pt x="3" y="30"/>
                        <a:pt x="3" y="31"/>
                      </a:cubicBezTo>
                      <a:cubicBezTo>
                        <a:pt x="3" y="31"/>
                        <a:pt x="3" y="31"/>
                        <a:pt x="2" y="31"/>
                      </a:cubicBezTo>
                      <a:cubicBezTo>
                        <a:pt x="2" y="31"/>
                        <a:pt x="2" y="31"/>
                        <a:pt x="1" y="31"/>
                      </a:cubicBezTo>
                      <a:cubicBezTo>
                        <a:pt x="1" y="32"/>
                        <a:pt x="2" y="32"/>
                        <a:pt x="1" y="32"/>
                      </a:cubicBezTo>
                      <a:cubicBezTo>
                        <a:pt x="1" y="32"/>
                        <a:pt x="1" y="32"/>
                        <a:pt x="1" y="33"/>
                      </a:cubicBezTo>
                      <a:cubicBezTo>
                        <a:pt x="0" y="33"/>
                        <a:pt x="0" y="33"/>
                        <a:pt x="0" y="33"/>
                      </a:cubicBezTo>
                      <a:cubicBezTo>
                        <a:pt x="0" y="33"/>
                        <a:pt x="0" y="33"/>
                        <a:pt x="0" y="33"/>
                      </a:cubicBezTo>
                      <a:cubicBezTo>
                        <a:pt x="0" y="33"/>
                        <a:pt x="0" y="34"/>
                        <a:pt x="0" y="34"/>
                      </a:cubicBezTo>
                      <a:cubicBezTo>
                        <a:pt x="0" y="34"/>
                        <a:pt x="0" y="34"/>
                        <a:pt x="0" y="34"/>
                      </a:cubicBezTo>
                      <a:cubicBezTo>
                        <a:pt x="0" y="34"/>
                        <a:pt x="0" y="34"/>
                        <a:pt x="0" y="34"/>
                      </a:cubicBezTo>
                      <a:cubicBezTo>
                        <a:pt x="1" y="33"/>
                        <a:pt x="1" y="33"/>
                        <a:pt x="1" y="33"/>
                      </a:cubicBezTo>
                      <a:cubicBezTo>
                        <a:pt x="1" y="33"/>
                        <a:pt x="1" y="34"/>
                        <a:pt x="1" y="34"/>
                      </a:cubicBezTo>
                      <a:cubicBezTo>
                        <a:pt x="1" y="34"/>
                        <a:pt x="1" y="34"/>
                        <a:pt x="1" y="34"/>
                      </a:cubicBezTo>
                      <a:cubicBezTo>
                        <a:pt x="2" y="34"/>
                        <a:pt x="2" y="34"/>
                        <a:pt x="2" y="34"/>
                      </a:cubicBezTo>
                      <a:cubicBezTo>
                        <a:pt x="2" y="34"/>
                        <a:pt x="2" y="34"/>
                        <a:pt x="2" y="34"/>
                      </a:cubicBezTo>
                      <a:cubicBezTo>
                        <a:pt x="2" y="34"/>
                        <a:pt x="2" y="35"/>
                        <a:pt x="2" y="35"/>
                      </a:cubicBezTo>
                      <a:cubicBezTo>
                        <a:pt x="2" y="35"/>
                        <a:pt x="2" y="35"/>
                        <a:pt x="2" y="35"/>
                      </a:cubicBezTo>
                      <a:cubicBezTo>
                        <a:pt x="2" y="35"/>
                        <a:pt x="2" y="35"/>
                        <a:pt x="2" y="35"/>
                      </a:cubicBezTo>
                      <a:cubicBezTo>
                        <a:pt x="2" y="35"/>
                        <a:pt x="1" y="36"/>
                        <a:pt x="1" y="36"/>
                      </a:cubicBezTo>
                      <a:cubicBezTo>
                        <a:pt x="1" y="36"/>
                        <a:pt x="1" y="36"/>
                        <a:pt x="1" y="36"/>
                      </a:cubicBezTo>
                      <a:cubicBezTo>
                        <a:pt x="2" y="36"/>
                        <a:pt x="2" y="36"/>
                        <a:pt x="2" y="36"/>
                      </a:cubicBezTo>
                      <a:cubicBezTo>
                        <a:pt x="2" y="36"/>
                        <a:pt x="2" y="36"/>
                        <a:pt x="2" y="36"/>
                      </a:cubicBezTo>
                      <a:cubicBezTo>
                        <a:pt x="2" y="36"/>
                        <a:pt x="3" y="36"/>
                        <a:pt x="3" y="36"/>
                      </a:cubicBezTo>
                      <a:cubicBezTo>
                        <a:pt x="3" y="35"/>
                        <a:pt x="3" y="35"/>
                        <a:pt x="3" y="35"/>
                      </a:cubicBezTo>
                      <a:cubicBezTo>
                        <a:pt x="3" y="35"/>
                        <a:pt x="4" y="35"/>
                        <a:pt x="4" y="35"/>
                      </a:cubicBezTo>
                      <a:cubicBezTo>
                        <a:pt x="4" y="35"/>
                        <a:pt x="4" y="35"/>
                        <a:pt x="4" y="35"/>
                      </a:cubicBezTo>
                      <a:cubicBezTo>
                        <a:pt x="4" y="35"/>
                        <a:pt x="4" y="35"/>
                        <a:pt x="4" y="35"/>
                      </a:cubicBezTo>
                      <a:cubicBezTo>
                        <a:pt x="4" y="35"/>
                        <a:pt x="4" y="35"/>
                        <a:pt x="4" y="35"/>
                      </a:cubicBezTo>
                      <a:cubicBezTo>
                        <a:pt x="5" y="35"/>
                        <a:pt x="5" y="35"/>
                        <a:pt x="5" y="35"/>
                      </a:cubicBezTo>
                      <a:cubicBezTo>
                        <a:pt x="5" y="35"/>
                        <a:pt x="5" y="34"/>
                        <a:pt x="5" y="34"/>
                      </a:cubicBezTo>
                      <a:cubicBezTo>
                        <a:pt x="5" y="34"/>
                        <a:pt x="5" y="34"/>
                        <a:pt x="5" y="34"/>
                      </a:cubicBezTo>
                      <a:cubicBezTo>
                        <a:pt x="5" y="33"/>
                        <a:pt x="5" y="33"/>
                        <a:pt x="5" y="33"/>
                      </a:cubicBezTo>
                      <a:cubicBezTo>
                        <a:pt x="5" y="33"/>
                        <a:pt x="5" y="33"/>
                        <a:pt x="5" y="33"/>
                      </a:cubicBezTo>
                      <a:cubicBezTo>
                        <a:pt x="5" y="33"/>
                        <a:pt x="6" y="33"/>
                        <a:pt x="6" y="33"/>
                      </a:cubicBezTo>
                      <a:cubicBezTo>
                        <a:pt x="6" y="33"/>
                        <a:pt x="6" y="32"/>
                        <a:pt x="6" y="32"/>
                      </a:cubicBezTo>
                      <a:cubicBezTo>
                        <a:pt x="6" y="32"/>
                        <a:pt x="6" y="32"/>
                        <a:pt x="6" y="32"/>
                      </a:cubicBezTo>
                      <a:cubicBezTo>
                        <a:pt x="7" y="32"/>
                        <a:pt x="7" y="32"/>
                        <a:pt x="7" y="32"/>
                      </a:cubicBezTo>
                      <a:cubicBezTo>
                        <a:pt x="7" y="32"/>
                        <a:pt x="7" y="32"/>
                        <a:pt x="7" y="32"/>
                      </a:cubicBezTo>
                      <a:cubicBezTo>
                        <a:pt x="7" y="32"/>
                        <a:pt x="7" y="32"/>
                        <a:pt x="7" y="32"/>
                      </a:cubicBezTo>
                      <a:cubicBezTo>
                        <a:pt x="8" y="32"/>
                        <a:pt x="8" y="32"/>
                        <a:pt x="8" y="32"/>
                      </a:cubicBezTo>
                      <a:cubicBezTo>
                        <a:pt x="8" y="31"/>
                        <a:pt x="8" y="31"/>
                        <a:pt x="8" y="31"/>
                      </a:cubicBezTo>
                      <a:cubicBezTo>
                        <a:pt x="9" y="32"/>
                        <a:pt x="9" y="32"/>
                        <a:pt x="9" y="32"/>
                      </a:cubicBezTo>
                      <a:cubicBezTo>
                        <a:pt x="9" y="32"/>
                        <a:pt x="9" y="32"/>
                        <a:pt x="9" y="32"/>
                      </a:cubicBezTo>
                      <a:cubicBezTo>
                        <a:pt x="9" y="31"/>
                        <a:pt x="9" y="31"/>
                        <a:pt x="9" y="31"/>
                      </a:cubicBezTo>
                      <a:cubicBezTo>
                        <a:pt x="10" y="31"/>
                        <a:pt x="10" y="31"/>
                        <a:pt x="10" y="31"/>
                      </a:cubicBezTo>
                      <a:cubicBezTo>
                        <a:pt x="10" y="31"/>
                        <a:pt x="10" y="31"/>
                        <a:pt x="10" y="31"/>
                      </a:cubicBezTo>
                      <a:cubicBezTo>
                        <a:pt x="10" y="31"/>
                        <a:pt x="10" y="31"/>
                        <a:pt x="10" y="31"/>
                      </a:cubicBezTo>
                      <a:cubicBezTo>
                        <a:pt x="10" y="30"/>
                        <a:pt x="10" y="30"/>
                        <a:pt x="10" y="30"/>
                      </a:cubicBezTo>
                      <a:cubicBezTo>
                        <a:pt x="11" y="30"/>
                        <a:pt x="11" y="30"/>
                        <a:pt x="11" y="30"/>
                      </a:cubicBezTo>
                      <a:cubicBezTo>
                        <a:pt x="11" y="30"/>
                        <a:pt x="11" y="30"/>
                        <a:pt x="11" y="30"/>
                      </a:cubicBezTo>
                      <a:lnTo>
                        <a:pt x="12"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9" name="Freeform 719">
                  <a:extLst>
                    <a:ext uri="{FF2B5EF4-FFF2-40B4-BE49-F238E27FC236}">
                      <a16:creationId xmlns:a16="http://schemas.microsoft.com/office/drawing/2014/main" id="{98E6A397-0F6B-4D57-F49F-CD5BAFBCECF3}"/>
                    </a:ext>
                  </a:extLst>
                </p:cNvPr>
                <p:cNvSpPr>
                  <a:spLocks noEditPoints="1"/>
                </p:cNvSpPr>
                <p:nvPr/>
              </p:nvSpPr>
              <p:spPr bwMode="auto">
                <a:xfrm>
                  <a:off x="10307638" y="6162675"/>
                  <a:ext cx="50800" cy="36513"/>
                </a:xfrm>
                <a:custGeom>
                  <a:avLst/>
                  <a:gdLst>
                    <a:gd name="T0" fmla="*/ 2 w 12"/>
                    <a:gd name="T1" fmla="*/ 2 h 9"/>
                    <a:gd name="T2" fmla="*/ 2 w 12"/>
                    <a:gd name="T3" fmla="*/ 2 h 9"/>
                    <a:gd name="T4" fmla="*/ 2 w 12"/>
                    <a:gd name="T5" fmla="*/ 2 h 9"/>
                    <a:gd name="T6" fmla="*/ 10 w 12"/>
                    <a:gd name="T7" fmla="*/ 0 h 9"/>
                    <a:gd name="T8" fmla="*/ 10 w 12"/>
                    <a:gd name="T9" fmla="*/ 0 h 9"/>
                    <a:gd name="T10" fmla="*/ 9 w 12"/>
                    <a:gd name="T11" fmla="*/ 1 h 9"/>
                    <a:gd name="T12" fmla="*/ 9 w 12"/>
                    <a:gd name="T13" fmla="*/ 1 h 9"/>
                    <a:gd name="T14" fmla="*/ 9 w 12"/>
                    <a:gd name="T15" fmla="*/ 1 h 9"/>
                    <a:gd name="T16" fmla="*/ 8 w 12"/>
                    <a:gd name="T17" fmla="*/ 1 h 9"/>
                    <a:gd name="T18" fmla="*/ 8 w 12"/>
                    <a:gd name="T19" fmla="*/ 1 h 9"/>
                    <a:gd name="T20" fmla="*/ 8 w 12"/>
                    <a:gd name="T21" fmla="*/ 0 h 9"/>
                    <a:gd name="T22" fmla="*/ 7 w 12"/>
                    <a:gd name="T23" fmla="*/ 1 h 9"/>
                    <a:gd name="T24" fmla="*/ 7 w 12"/>
                    <a:gd name="T25" fmla="*/ 1 h 9"/>
                    <a:gd name="T26" fmla="*/ 6 w 12"/>
                    <a:gd name="T27" fmla="*/ 0 h 9"/>
                    <a:gd name="T28" fmla="*/ 6 w 12"/>
                    <a:gd name="T29" fmla="*/ 1 h 9"/>
                    <a:gd name="T30" fmla="*/ 5 w 12"/>
                    <a:gd name="T31" fmla="*/ 1 h 9"/>
                    <a:gd name="T32" fmla="*/ 5 w 12"/>
                    <a:gd name="T33" fmla="*/ 1 h 9"/>
                    <a:gd name="T34" fmla="*/ 4 w 12"/>
                    <a:gd name="T35" fmla="*/ 1 h 9"/>
                    <a:gd name="T36" fmla="*/ 4 w 12"/>
                    <a:gd name="T37" fmla="*/ 1 h 9"/>
                    <a:gd name="T38" fmla="*/ 4 w 12"/>
                    <a:gd name="T39" fmla="*/ 0 h 9"/>
                    <a:gd name="T40" fmla="*/ 3 w 12"/>
                    <a:gd name="T41" fmla="*/ 2 h 9"/>
                    <a:gd name="T42" fmla="*/ 2 w 12"/>
                    <a:gd name="T43" fmla="*/ 3 h 9"/>
                    <a:gd name="T44" fmla="*/ 2 w 12"/>
                    <a:gd name="T45" fmla="*/ 4 h 9"/>
                    <a:gd name="T46" fmla="*/ 2 w 12"/>
                    <a:gd name="T47" fmla="*/ 4 h 9"/>
                    <a:gd name="T48" fmla="*/ 1 w 12"/>
                    <a:gd name="T49" fmla="*/ 5 h 9"/>
                    <a:gd name="T50" fmla="*/ 0 w 12"/>
                    <a:gd name="T51" fmla="*/ 6 h 9"/>
                    <a:gd name="T52" fmla="*/ 0 w 12"/>
                    <a:gd name="T53" fmla="*/ 6 h 9"/>
                    <a:gd name="T54" fmla="*/ 2 w 12"/>
                    <a:gd name="T55" fmla="*/ 6 h 9"/>
                    <a:gd name="T56" fmla="*/ 1 w 12"/>
                    <a:gd name="T57" fmla="*/ 6 h 9"/>
                    <a:gd name="T58" fmla="*/ 2 w 12"/>
                    <a:gd name="T59" fmla="*/ 5 h 9"/>
                    <a:gd name="T60" fmla="*/ 2 w 12"/>
                    <a:gd name="T61" fmla="*/ 5 h 9"/>
                    <a:gd name="T62" fmla="*/ 2 w 12"/>
                    <a:gd name="T63" fmla="*/ 6 h 9"/>
                    <a:gd name="T64" fmla="*/ 2 w 12"/>
                    <a:gd name="T65" fmla="*/ 7 h 9"/>
                    <a:gd name="T66" fmla="*/ 3 w 12"/>
                    <a:gd name="T67" fmla="*/ 7 h 9"/>
                    <a:gd name="T68" fmla="*/ 4 w 12"/>
                    <a:gd name="T69" fmla="*/ 6 h 9"/>
                    <a:gd name="T70" fmla="*/ 4 w 12"/>
                    <a:gd name="T71" fmla="*/ 7 h 9"/>
                    <a:gd name="T72" fmla="*/ 4 w 12"/>
                    <a:gd name="T73" fmla="*/ 7 h 9"/>
                    <a:gd name="T74" fmla="*/ 4 w 12"/>
                    <a:gd name="T75" fmla="*/ 8 h 9"/>
                    <a:gd name="T76" fmla="*/ 5 w 12"/>
                    <a:gd name="T77" fmla="*/ 9 h 9"/>
                    <a:gd name="T78" fmla="*/ 5 w 12"/>
                    <a:gd name="T79" fmla="*/ 8 h 9"/>
                    <a:gd name="T80" fmla="*/ 7 w 12"/>
                    <a:gd name="T81" fmla="*/ 7 h 9"/>
                    <a:gd name="T82" fmla="*/ 8 w 12"/>
                    <a:gd name="T83" fmla="*/ 6 h 9"/>
                    <a:gd name="T84" fmla="*/ 9 w 12"/>
                    <a:gd name="T85" fmla="*/ 5 h 9"/>
                    <a:gd name="T86" fmla="*/ 10 w 12"/>
                    <a:gd name="T87" fmla="*/ 4 h 9"/>
                    <a:gd name="T88" fmla="*/ 10 w 12"/>
                    <a:gd name="T89" fmla="*/ 3 h 9"/>
                    <a:gd name="T90" fmla="*/ 11 w 12"/>
                    <a:gd name="T91" fmla="*/ 2 h 9"/>
                    <a:gd name="T92" fmla="*/ 12 w 12"/>
                    <a:gd name="T93" fmla="*/ 0 h 9"/>
                    <a:gd name="T94" fmla="*/ 11 w 1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9">
                      <a:moveTo>
                        <a:pt x="2" y="2"/>
                      </a:move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lose/>
                      <a:moveTo>
                        <a:pt x="10" y="0"/>
                      </a:moveTo>
                      <a:cubicBezTo>
                        <a:pt x="10" y="0"/>
                        <a:pt x="10" y="0"/>
                        <a:pt x="10" y="0"/>
                      </a:cubicBezTo>
                      <a:cubicBezTo>
                        <a:pt x="10" y="0"/>
                        <a:pt x="10" y="0"/>
                        <a:pt x="10" y="0"/>
                      </a:cubicBezTo>
                      <a:cubicBezTo>
                        <a:pt x="10" y="1"/>
                        <a:pt x="10" y="1"/>
                        <a:pt x="10"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7" y="0"/>
                        <a:pt x="7" y="0"/>
                      </a:cubicBezTo>
                      <a:cubicBezTo>
                        <a:pt x="7" y="1"/>
                        <a:pt x="7" y="1"/>
                        <a:pt x="7" y="1"/>
                      </a:cubicBezTo>
                      <a:cubicBezTo>
                        <a:pt x="7" y="1"/>
                        <a:pt x="7" y="1"/>
                        <a:pt x="7" y="1"/>
                      </a:cubicBezTo>
                      <a:cubicBezTo>
                        <a:pt x="7" y="1"/>
                        <a:pt x="7" y="1"/>
                        <a:pt x="7" y="1"/>
                      </a:cubicBezTo>
                      <a:cubicBezTo>
                        <a:pt x="7" y="1"/>
                        <a:pt x="6" y="1"/>
                        <a:pt x="6" y="1"/>
                      </a:cubicBezTo>
                      <a:cubicBezTo>
                        <a:pt x="6" y="1"/>
                        <a:pt x="6" y="1"/>
                        <a:pt x="6" y="0"/>
                      </a:cubicBezTo>
                      <a:cubicBezTo>
                        <a:pt x="6" y="0"/>
                        <a:pt x="6" y="0"/>
                        <a:pt x="6" y="0"/>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0"/>
                        <a:pt x="4" y="0"/>
                        <a:pt x="4" y="0"/>
                      </a:cubicBezTo>
                      <a:cubicBezTo>
                        <a:pt x="4" y="0"/>
                        <a:pt x="4" y="0"/>
                        <a:pt x="4" y="0"/>
                      </a:cubicBezTo>
                      <a:cubicBezTo>
                        <a:pt x="3" y="1"/>
                        <a:pt x="3" y="1"/>
                        <a:pt x="3" y="2"/>
                      </a:cubicBezTo>
                      <a:cubicBezTo>
                        <a:pt x="3" y="2"/>
                        <a:pt x="3" y="2"/>
                        <a:pt x="3" y="3"/>
                      </a:cubicBezTo>
                      <a:cubicBezTo>
                        <a:pt x="3" y="3"/>
                        <a:pt x="2" y="3"/>
                        <a:pt x="2" y="3"/>
                      </a:cubicBezTo>
                      <a:cubicBezTo>
                        <a:pt x="2" y="3"/>
                        <a:pt x="2" y="3"/>
                        <a:pt x="2" y="4"/>
                      </a:cubicBezTo>
                      <a:cubicBezTo>
                        <a:pt x="2" y="4"/>
                        <a:pt x="2" y="4"/>
                        <a:pt x="2" y="4"/>
                      </a:cubicBezTo>
                      <a:cubicBezTo>
                        <a:pt x="2" y="4"/>
                        <a:pt x="2" y="4"/>
                        <a:pt x="2" y="4"/>
                      </a:cubicBezTo>
                      <a:cubicBezTo>
                        <a:pt x="2" y="4"/>
                        <a:pt x="2" y="4"/>
                        <a:pt x="2" y="4"/>
                      </a:cubicBezTo>
                      <a:cubicBezTo>
                        <a:pt x="2" y="4"/>
                        <a:pt x="1" y="4"/>
                        <a:pt x="1" y="4"/>
                      </a:cubicBezTo>
                      <a:cubicBezTo>
                        <a:pt x="1" y="4"/>
                        <a:pt x="1" y="5"/>
                        <a:pt x="1" y="5"/>
                      </a:cubicBezTo>
                      <a:cubicBezTo>
                        <a:pt x="1" y="5"/>
                        <a:pt x="1" y="5"/>
                        <a:pt x="1" y="5"/>
                      </a:cubicBezTo>
                      <a:cubicBezTo>
                        <a:pt x="0" y="5"/>
                        <a:pt x="0" y="5"/>
                        <a:pt x="0" y="6"/>
                      </a:cubicBezTo>
                      <a:cubicBezTo>
                        <a:pt x="0" y="6"/>
                        <a:pt x="0" y="6"/>
                        <a:pt x="0" y="6"/>
                      </a:cubicBezTo>
                      <a:cubicBezTo>
                        <a:pt x="0" y="6"/>
                        <a:pt x="0" y="6"/>
                        <a:pt x="0" y="6"/>
                      </a:cubicBezTo>
                      <a:cubicBezTo>
                        <a:pt x="0" y="6"/>
                        <a:pt x="1" y="6"/>
                        <a:pt x="1" y="6"/>
                      </a:cubicBezTo>
                      <a:cubicBezTo>
                        <a:pt x="1" y="6"/>
                        <a:pt x="1" y="6"/>
                        <a:pt x="2" y="6"/>
                      </a:cubicBezTo>
                      <a:cubicBezTo>
                        <a:pt x="2" y="6"/>
                        <a:pt x="2" y="6"/>
                        <a:pt x="2" y="6"/>
                      </a:cubicBezTo>
                      <a:cubicBezTo>
                        <a:pt x="1" y="6"/>
                        <a:pt x="1" y="6"/>
                        <a:pt x="1" y="6"/>
                      </a:cubicBezTo>
                      <a:cubicBezTo>
                        <a:pt x="1" y="6"/>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2" y="7"/>
                        <a:pt x="2" y="7"/>
                        <a:pt x="2" y="7"/>
                      </a:cubicBezTo>
                      <a:cubicBezTo>
                        <a:pt x="2" y="7"/>
                        <a:pt x="2" y="7"/>
                        <a:pt x="2" y="7"/>
                      </a:cubicBezTo>
                      <a:cubicBezTo>
                        <a:pt x="2" y="7"/>
                        <a:pt x="3" y="7"/>
                        <a:pt x="3" y="7"/>
                      </a:cubicBezTo>
                      <a:cubicBezTo>
                        <a:pt x="3" y="7"/>
                        <a:pt x="3" y="7"/>
                        <a:pt x="3" y="7"/>
                      </a:cubicBezTo>
                      <a:cubicBezTo>
                        <a:pt x="3" y="7"/>
                        <a:pt x="4" y="7"/>
                        <a:pt x="4" y="6"/>
                      </a:cubicBezTo>
                      <a:cubicBezTo>
                        <a:pt x="4" y="6"/>
                        <a:pt x="4" y="6"/>
                        <a:pt x="4" y="6"/>
                      </a:cubicBezTo>
                      <a:cubicBezTo>
                        <a:pt x="4" y="7"/>
                        <a:pt x="4" y="7"/>
                        <a:pt x="4" y="7"/>
                      </a:cubicBezTo>
                      <a:cubicBezTo>
                        <a:pt x="4" y="7"/>
                        <a:pt x="4" y="7"/>
                        <a:pt x="4" y="7"/>
                      </a:cubicBezTo>
                      <a:cubicBezTo>
                        <a:pt x="4" y="7"/>
                        <a:pt x="4" y="7"/>
                        <a:pt x="4" y="7"/>
                      </a:cubicBezTo>
                      <a:cubicBezTo>
                        <a:pt x="4" y="8"/>
                        <a:pt x="4" y="8"/>
                        <a:pt x="4" y="8"/>
                      </a:cubicBezTo>
                      <a:cubicBezTo>
                        <a:pt x="4" y="8"/>
                        <a:pt x="4" y="8"/>
                        <a:pt x="4" y="8"/>
                      </a:cubicBezTo>
                      <a:cubicBezTo>
                        <a:pt x="4" y="8"/>
                        <a:pt x="4" y="9"/>
                        <a:pt x="4" y="9"/>
                      </a:cubicBezTo>
                      <a:cubicBezTo>
                        <a:pt x="5" y="9"/>
                        <a:pt x="5" y="9"/>
                        <a:pt x="5" y="9"/>
                      </a:cubicBezTo>
                      <a:cubicBezTo>
                        <a:pt x="5" y="8"/>
                        <a:pt x="5" y="8"/>
                        <a:pt x="5" y="8"/>
                      </a:cubicBezTo>
                      <a:cubicBezTo>
                        <a:pt x="5" y="8"/>
                        <a:pt x="5" y="8"/>
                        <a:pt x="5" y="8"/>
                      </a:cubicBezTo>
                      <a:cubicBezTo>
                        <a:pt x="5" y="8"/>
                        <a:pt x="6" y="8"/>
                        <a:pt x="6" y="8"/>
                      </a:cubicBezTo>
                      <a:cubicBezTo>
                        <a:pt x="6" y="8"/>
                        <a:pt x="6" y="8"/>
                        <a:pt x="7" y="7"/>
                      </a:cubicBezTo>
                      <a:cubicBezTo>
                        <a:pt x="7" y="7"/>
                        <a:pt x="7" y="7"/>
                        <a:pt x="8" y="7"/>
                      </a:cubicBezTo>
                      <a:cubicBezTo>
                        <a:pt x="8" y="6"/>
                        <a:pt x="8" y="6"/>
                        <a:pt x="8" y="6"/>
                      </a:cubicBezTo>
                      <a:cubicBezTo>
                        <a:pt x="8" y="6"/>
                        <a:pt x="8" y="6"/>
                        <a:pt x="8" y="6"/>
                      </a:cubicBezTo>
                      <a:cubicBezTo>
                        <a:pt x="9" y="6"/>
                        <a:pt x="9" y="6"/>
                        <a:pt x="9" y="5"/>
                      </a:cubicBezTo>
                      <a:cubicBezTo>
                        <a:pt x="9" y="5"/>
                        <a:pt x="9" y="5"/>
                        <a:pt x="9" y="5"/>
                      </a:cubicBezTo>
                      <a:cubicBezTo>
                        <a:pt x="9" y="5"/>
                        <a:pt x="10" y="5"/>
                        <a:pt x="10" y="4"/>
                      </a:cubicBezTo>
                      <a:cubicBezTo>
                        <a:pt x="10" y="4"/>
                        <a:pt x="10" y="4"/>
                        <a:pt x="10" y="4"/>
                      </a:cubicBezTo>
                      <a:cubicBezTo>
                        <a:pt x="10" y="4"/>
                        <a:pt x="10" y="4"/>
                        <a:pt x="10" y="3"/>
                      </a:cubicBezTo>
                      <a:cubicBezTo>
                        <a:pt x="10" y="3"/>
                        <a:pt x="10" y="3"/>
                        <a:pt x="10" y="3"/>
                      </a:cubicBezTo>
                      <a:cubicBezTo>
                        <a:pt x="11" y="2"/>
                        <a:pt x="11" y="2"/>
                        <a:pt x="11" y="2"/>
                      </a:cubicBezTo>
                      <a:cubicBezTo>
                        <a:pt x="11" y="2"/>
                        <a:pt x="11" y="1"/>
                        <a:pt x="11" y="1"/>
                      </a:cubicBezTo>
                      <a:cubicBezTo>
                        <a:pt x="11" y="1"/>
                        <a:pt x="11" y="1"/>
                        <a:pt x="12" y="0"/>
                      </a:cubicBezTo>
                      <a:cubicBezTo>
                        <a:pt x="12" y="0"/>
                        <a:pt x="12" y="0"/>
                        <a:pt x="12" y="0"/>
                      </a:cubicBezTo>
                      <a:cubicBezTo>
                        <a:pt x="11" y="0"/>
                        <a:pt x="11" y="0"/>
                        <a:pt x="11" y="0"/>
                      </a:cubicBezTo>
                      <a:lnTo>
                        <a:pt x="1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0" name="Freeform 720">
                  <a:extLst>
                    <a:ext uri="{FF2B5EF4-FFF2-40B4-BE49-F238E27FC236}">
                      <a16:creationId xmlns:a16="http://schemas.microsoft.com/office/drawing/2014/main" id="{B0552BF0-94AD-A1A3-84DE-8F4F611B321D}"/>
                    </a:ext>
                  </a:extLst>
                </p:cNvPr>
                <p:cNvSpPr>
                  <a:spLocks noEditPoints="1"/>
                </p:cNvSpPr>
                <p:nvPr/>
              </p:nvSpPr>
              <p:spPr bwMode="auto">
                <a:xfrm>
                  <a:off x="10307638" y="6011863"/>
                  <a:ext cx="53975" cy="100013"/>
                </a:xfrm>
                <a:custGeom>
                  <a:avLst/>
                  <a:gdLst>
                    <a:gd name="T0" fmla="*/ 8 w 13"/>
                    <a:gd name="T1" fmla="*/ 2 h 24"/>
                    <a:gd name="T2" fmla="*/ 8 w 13"/>
                    <a:gd name="T3" fmla="*/ 1 h 24"/>
                    <a:gd name="T4" fmla="*/ 12 w 13"/>
                    <a:gd name="T5" fmla="*/ 16 h 24"/>
                    <a:gd name="T6" fmla="*/ 11 w 13"/>
                    <a:gd name="T7" fmla="*/ 15 h 24"/>
                    <a:gd name="T8" fmla="*/ 10 w 13"/>
                    <a:gd name="T9" fmla="*/ 13 h 24"/>
                    <a:gd name="T10" fmla="*/ 9 w 13"/>
                    <a:gd name="T11" fmla="*/ 12 h 24"/>
                    <a:gd name="T12" fmla="*/ 9 w 13"/>
                    <a:gd name="T13" fmla="*/ 11 h 24"/>
                    <a:gd name="T14" fmla="*/ 8 w 13"/>
                    <a:gd name="T15" fmla="*/ 10 h 24"/>
                    <a:gd name="T16" fmla="*/ 8 w 13"/>
                    <a:gd name="T17" fmla="*/ 8 h 24"/>
                    <a:gd name="T18" fmla="*/ 9 w 13"/>
                    <a:gd name="T19" fmla="*/ 8 h 24"/>
                    <a:gd name="T20" fmla="*/ 9 w 13"/>
                    <a:gd name="T21" fmla="*/ 7 h 24"/>
                    <a:gd name="T22" fmla="*/ 9 w 13"/>
                    <a:gd name="T23" fmla="*/ 5 h 24"/>
                    <a:gd name="T24" fmla="*/ 8 w 13"/>
                    <a:gd name="T25" fmla="*/ 5 h 24"/>
                    <a:gd name="T26" fmla="*/ 8 w 13"/>
                    <a:gd name="T27" fmla="*/ 3 h 24"/>
                    <a:gd name="T28" fmla="*/ 8 w 13"/>
                    <a:gd name="T29" fmla="*/ 2 h 24"/>
                    <a:gd name="T30" fmla="*/ 7 w 13"/>
                    <a:gd name="T31" fmla="*/ 2 h 24"/>
                    <a:gd name="T32" fmla="*/ 6 w 13"/>
                    <a:gd name="T33" fmla="*/ 2 h 24"/>
                    <a:gd name="T34" fmla="*/ 6 w 13"/>
                    <a:gd name="T35" fmla="*/ 1 h 24"/>
                    <a:gd name="T36" fmla="*/ 5 w 13"/>
                    <a:gd name="T37" fmla="*/ 0 h 24"/>
                    <a:gd name="T38" fmla="*/ 6 w 13"/>
                    <a:gd name="T39" fmla="*/ 1 h 24"/>
                    <a:gd name="T40" fmla="*/ 6 w 13"/>
                    <a:gd name="T41" fmla="*/ 3 h 24"/>
                    <a:gd name="T42" fmla="*/ 6 w 13"/>
                    <a:gd name="T43" fmla="*/ 4 h 24"/>
                    <a:gd name="T44" fmla="*/ 6 w 13"/>
                    <a:gd name="T45" fmla="*/ 6 h 24"/>
                    <a:gd name="T46" fmla="*/ 6 w 13"/>
                    <a:gd name="T47" fmla="*/ 6 h 24"/>
                    <a:gd name="T48" fmla="*/ 5 w 13"/>
                    <a:gd name="T49" fmla="*/ 5 h 24"/>
                    <a:gd name="T50" fmla="*/ 4 w 13"/>
                    <a:gd name="T51" fmla="*/ 6 h 24"/>
                    <a:gd name="T52" fmla="*/ 2 w 13"/>
                    <a:gd name="T53" fmla="*/ 6 h 24"/>
                    <a:gd name="T54" fmla="*/ 1 w 13"/>
                    <a:gd name="T55" fmla="*/ 7 h 24"/>
                    <a:gd name="T56" fmla="*/ 1 w 13"/>
                    <a:gd name="T57" fmla="*/ 8 h 24"/>
                    <a:gd name="T58" fmla="*/ 2 w 13"/>
                    <a:gd name="T59" fmla="*/ 11 h 24"/>
                    <a:gd name="T60" fmla="*/ 2 w 13"/>
                    <a:gd name="T61" fmla="*/ 11 h 24"/>
                    <a:gd name="T62" fmla="*/ 1 w 13"/>
                    <a:gd name="T63" fmla="*/ 12 h 24"/>
                    <a:gd name="T64" fmla="*/ 2 w 13"/>
                    <a:gd name="T65" fmla="*/ 13 h 24"/>
                    <a:gd name="T66" fmla="*/ 1 w 13"/>
                    <a:gd name="T67" fmla="*/ 14 h 24"/>
                    <a:gd name="T68" fmla="*/ 2 w 13"/>
                    <a:gd name="T69" fmla="*/ 14 h 24"/>
                    <a:gd name="T70" fmla="*/ 1 w 13"/>
                    <a:gd name="T71" fmla="*/ 14 h 24"/>
                    <a:gd name="T72" fmla="*/ 1 w 13"/>
                    <a:gd name="T73" fmla="*/ 15 h 24"/>
                    <a:gd name="T74" fmla="*/ 1 w 13"/>
                    <a:gd name="T75" fmla="*/ 16 h 24"/>
                    <a:gd name="T76" fmla="*/ 0 w 13"/>
                    <a:gd name="T77" fmla="*/ 17 h 24"/>
                    <a:gd name="T78" fmla="*/ 0 w 13"/>
                    <a:gd name="T79" fmla="*/ 19 h 24"/>
                    <a:gd name="T80" fmla="*/ 2 w 13"/>
                    <a:gd name="T81" fmla="*/ 19 h 24"/>
                    <a:gd name="T82" fmla="*/ 3 w 13"/>
                    <a:gd name="T83" fmla="*/ 19 h 24"/>
                    <a:gd name="T84" fmla="*/ 5 w 13"/>
                    <a:gd name="T85" fmla="*/ 18 h 24"/>
                    <a:gd name="T86" fmla="*/ 5 w 13"/>
                    <a:gd name="T87" fmla="*/ 18 h 24"/>
                    <a:gd name="T88" fmla="*/ 6 w 13"/>
                    <a:gd name="T89" fmla="*/ 17 h 24"/>
                    <a:gd name="T90" fmla="*/ 7 w 13"/>
                    <a:gd name="T91" fmla="*/ 18 h 24"/>
                    <a:gd name="T92" fmla="*/ 6 w 13"/>
                    <a:gd name="T93" fmla="*/ 20 h 24"/>
                    <a:gd name="T94" fmla="*/ 7 w 13"/>
                    <a:gd name="T95" fmla="*/ 21 h 24"/>
                    <a:gd name="T96" fmla="*/ 6 w 13"/>
                    <a:gd name="T97" fmla="*/ 24 h 24"/>
                    <a:gd name="T98" fmla="*/ 8 w 13"/>
                    <a:gd name="T99" fmla="*/ 24 h 24"/>
                    <a:gd name="T100" fmla="*/ 9 w 13"/>
                    <a:gd name="T101" fmla="*/ 23 h 24"/>
                    <a:gd name="T102" fmla="*/ 10 w 13"/>
                    <a:gd name="T103" fmla="*/ 22 h 24"/>
                    <a:gd name="T104" fmla="*/ 11 w 13"/>
                    <a:gd name="T105" fmla="*/ 21 h 24"/>
                    <a:gd name="T106" fmla="*/ 12 w 13"/>
                    <a:gd name="T107" fmla="*/ 19 h 24"/>
                    <a:gd name="T108" fmla="*/ 13 w 13"/>
                    <a:gd name="T10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24">
                      <a:moveTo>
                        <a:pt x="8" y="1"/>
                      </a:moveTo>
                      <a:cubicBezTo>
                        <a:pt x="8" y="1"/>
                        <a:pt x="8" y="1"/>
                        <a:pt x="8" y="1"/>
                      </a:cubicBezTo>
                      <a:cubicBezTo>
                        <a:pt x="8" y="1"/>
                        <a:pt x="8" y="1"/>
                        <a:pt x="8" y="1"/>
                      </a:cubicBezTo>
                      <a:cubicBezTo>
                        <a:pt x="8" y="1"/>
                        <a:pt x="8" y="1"/>
                        <a:pt x="8" y="2"/>
                      </a:cubicBezTo>
                      <a:cubicBezTo>
                        <a:pt x="8" y="2"/>
                        <a:pt x="8" y="2"/>
                        <a:pt x="8" y="2"/>
                      </a:cubicBezTo>
                      <a:cubicBezTo>
                        <a:pt x="8" y="2"/>
                        <a:pt x="8" y="1"/>
                        <a:pt x="8" y="1"/>
                      </a:cubicBezTo>
                      <a:cubicBezTo>
                        <a:pt x="8" y="1"/>
                        <a:pt x="8" y="1"/>
                        <a:pt x="8" y="1"/>
                      </a:cubicBezTo>
                      <a:cubicBezTo>
                        <a:pt x="8" y="1"/>
                        <a:pt x="8" y="1"/>
                        <a:pt x="8" y="1"/>
                      </a:cubicBezTo>
                      <a:close/>
                      <a:moveTo>
                        <a:pt x="13" y="16"/>
                      </a:moveTo>
                      <a:cubicBezTo>
                        <a:pt x="13" y="16"/>
                        <a:pt x="12" y="16"/>
                        <a:pt x="12" y="16"/>
                      </a:cubicBezTo>
                      <a:cubicBezTo>
                        <a:pt x="12" y="16"/>
                        <a:pt x="12" y="16"/>
                        <a:pt x="12" y="16"/>
                      </a:cubicBezTo>
                      <a:cubicBezTo>
                        <a:pt x="12" y="16"/>
                        <a:pt x="12" y="16"/>
                        <a:pt x="12" y="16"/>
                      </a:cubicBezTo>
                      <a:cubicBezTo>
                        <a:pt x="12" y="16"/>
                        <a:pt x="12" y="15"/>
                        <a:pt x="12" y="15"/>
                      </a:cubicBezTo>
                      <a:cubicBezTo>
                        <a:pt x="11" y="15"/>
                        <a:pt x="11" y="15"/>
                        <a:pt x="11" y="15"/>
                      </a:cubicBezTo>
                      <a:cubicBezTo>
                        <a:pt x="11" y="15"/>
                        <a:pt x="11" y="15"/>
                        <a:pt x="11" y="15"/>
                      </a:cubicBezTo>
                      <a:cubicBezTo>
                        <a:pt x="11" y="15"/>
                        <a:pt x="11" y="15"/>
                        <a:pt x="11" y="15"/>
                      </a:cubicBezTo>
                      <a:cubicBezTo>
                        <a:pt x="11" y="15"/>
                        <a:pt x="10" y="15"/>
                        <a:pt x="10" y="15"/>
                      </a:cubicBezTo>
                      <a:cubicBezTo>
                        <a:pt x="10" y="14"/>
                        <a:pt x="10" y="14"/>
                        <a:pt x="10" y="14"/>
                      </a:cubicBezTo>
                      <a:cubicBezTo>
                        <a:pt x="10" y="14"/>
                        <a:pt x="10" y="14"/>
                        <a:pt x="10" y="13"/>
                      </a:cubicBezTo>
                      <a:cubicBezTo>
                        <a:pt x="10" y="13"/>
                        <a:pt x="10" y="13"/>
                        <a:pt x="10" y="13"/>
                      </a:cubicBezTo>
                      <a:cubicBezTo>
                        <a:pt x="10"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9" y="12"/>
                        <a:pt x="9" y="12"/>
                        <a:pt x="9" y="12"/>
                      </a:cubicBezTo>
                      <a:cubicBezTo>
                        <a:pt x="9" y="12"/>
                        <a:pt x="9" y="11"/>
                        <a:pt x="9" y="11"/>
                      </a:cubicBezTo>
                      <a:cubicBezTo>
                        <a:pt x="9" y="11"/>
                        <a:pt x="9" y="11"/>
                        <a:pt x="9" y="11"/>
                      </a:cubicBezTo>
                      <a:cubicBezTo>
                        <a:pt x="9" y="10"/>
                        <a:pt x="9" y="10"/>
                        <a:pt x="9" y="10"/>
                      </a:cubicBezTo>
                      <a:cubicBezTo>
                        <a:pt x="8" y="10"/>
                        <a:pt x="8" y="10"/>
                        <a:pt x="8" y="10"/>
                      </a:cubicBezTo>
                      <a:cubicBezTo>
                        <a:pt x="8" y="10"/>
                        <a:pt x="8" y="10"/>
                        <a:pt x="8" y="10"/>
                      </a:cubicBezTo>
                      <a:cubicBezTo>
                        <a:pt x="8" y="10"/>
                        <a:pt x="8" y="10"/>
                        <a:pt x="8" y="10"/>
                      </a:cubicBezTo>
                      <a:cubicBezTo>
                        <a:pt x="8" y="9"/>
                        <a:pt x="8" y="9"/>
                        <a:pt x="8" y="9"/>
                      </a:cubicBezTo>
                      <a:cubicBezTo>
                        <a:pt x="8" y="9"/>
                        <a:pt x="8" y="9"/>
                        <a:pt x="8" y="9"/>
                      </a:cubicBezTo>
                      <a:cubicBezTo>
                        <a:pt x="8" y="9"/>
                        <a:pt x="8" y="9"/>
                        <a:pt x="8" y="9"/>
                      </a:cubicBezTo>
                      <a:cubicBezTo>
                        <a:pt x="8" y="8"/>
                        <a:pt x="8" y="8"/>
                        <a:pt x="8" y="8"/>
                      </a:cubicBezTo>
                      <a:cubicBezTo>
                        <a:pt x="8" y="8"/>
                        <a:pt x="8" y="9"/>
                        <a:pt x="8" y="9"/>
                      </a:cubicBezTo>
                      <a:cubicBezTo>
                        <a:pt x="8" y="9"/>
                        <a:pt x="9" y="9"/>
                        <a:pt x="9" y="9"/>
                      </a:cubicBezTo>
                      <a:cubicBezTo>
                        <a:pt x="9" y="9"/>
                        <a:pt x="9" y="9"/>
                        <a:pt x="9" y="9"/>
                      </a:cubicBezTo>
                      <a:cubicBezTo>
                        <a:pt x="9" y="8"/>
                        <a:pt x="9" y="8"/>
                        <a:pt x="9" y="8"/>
                      </a:cubicBezTo>
                      <a:cubicBezTo>
                        <a:pt x="9" y="8"/>
                        <a:pt x="9" y="8"/>
                        <a:pt x="9" y="8"/>
                      </a:cubicBezTo>
                      <a:cubicBezTo>
                        <a:pt x="9" y="8"/>
                        <a:pt x="9" y="8"/>
                        <a:pt x="9" y="8"/>
                      </a:cubicBezTo>
                      <a:cubicBezTo>
                        <a:pt x="9" y="7"/>
                        <a:pt x="9" y="7"/>
                        <a:pt x="9" y="7"/>
                      </a:cubicBezTo>
                      <a:cubicBezTo>
                        <a:pt x="9" y="7"/>
                        <a:pt x="9" y="7"/>
                        <a:pt x="9" y="7"/>
                      </a:cubicBezTo>
                      <a:cubicBezTo>
                        <a:pt x="9" y="7"/>
                        <a:pt x="9" y="7"/>
                        <a:pt x="9" y="7"/>
                      </a:cubicBezTo>
                      <a:cubicBezTo>
                        <a:pt x="9" y="7"/>
                        <a:pt x="9" y="7"/>
                        <a:pt x="9" y="7"/>
                      </a:cubicBezTo>
                      <a:cubicBezTo>
                        <a:pt x="9" y="7"/>
                        <a:pt x="9" y="6"/>
                        <a:pt x="9" y="6"/>
                      </a:cubicBezTo>
                      <a:cubicBezTo>
                        <a:pt x="9" y="6"/>
                        <a:pt x="9" y="5"/>
                        <a:pt x="9" y="5"/>
                      </a:cubicBezTo>
                      <a:cubicBezTo>
                        <a:pt x="9" y="5"/>
                        <a:pt x="9" y="5"/>
                        <a:pt x="9" y="5"/>
                      </a:cubicBezTo>
                      <a:cubicBezTo>
                        <a:pt x="8" y="5"/>
                        <a:pt x="8" y="5"/>
                        <a:pt x="8" y="5"/>
                      </a:cubicBezTo>
                      <a:cubicBezTo>
                        <a:pt x="8" y="5"/>
                        <a:pt x="8" y="5"/>
                        <a:pt x="8" y="5"/>
                      </a:cubicBezTo>
                      <a:cubicBezTo>
                        <a:pt x="8" y="5"/>
                        <a:pt x="8" y="5"/>
                        <a:pt x="8" y="5"/>
                      </a:cubicBezTo>
                      <a:cubicBezTo>
                        <a:pt x="8" y="5"/>
                        <a:pt x="8" y="4"/>
                        <a:pt x="8" y="4"/>
                      </a:cubicBezTo>
                      <a:cubicBezTo>
                        <a:pt x="8" y="4"/>
                        <a:pt x="8" y="4"/>
                        <a:pt x="8" y="4"/>
                      </a:cubicBezTo>
                      <a:cubicBezTo>
                        <a:pt x="8" y="4"/>
                        <a:pt x="9" y="4"/>
                        <a:pt x="8" y="4"/>
                      </a:cubicBezTo>
                      <a:cubicBezTo>
                        <a:pt x="8" y="3"/>
                        <a:pt x="8" y="3"/>
                        <a:pt x="8" y="3"/>
                      </a:cubicBezTo>
                      <a:cubicBezTo>
                        <a:pt x="7" y="3"/>
                        <a:pt x="7" y="3"/>
                        <a:pt x="8" y="3"/>
                      </a:cubicBezTo>
                      <a:cubicBezTo>
                        <a:pt x="8" y="3"/>
                        <a:pt x="8" y="3"/>
                        <a:pt x="8" y="3"/>
                      </a:cubicBezTo>
                      <a:cubicBezTo>
                        <a:pt x="8" y="3"/>
                        <a:pt x="8" y="3"/>
                        <a:pt x="8" y="3"/>
                      </a:cubicBezTo>
                      <a:cubicBezTo>
                        <a:pt x="8" y="3"/>
                        <a:pt x="8" y="2"/>
                        <a:pt x="8" y="2"/>
                      </a:cubicBezTo>
                      <a:cubicBezTo>
                        <a:pt x="8" y="2"/>
                        <a:pt x="8" y="2"/>
                        <a:pt x="8" y="2"/>
                      </a:cubicBezTo>
                      <a:cubicBezTo>
                        <a:pt x="8" y="2"/>
                        <a:pt x="8" y="2"/>
                        <a:pt x="8" y="2"/>
                      </a:cubicBezTo>
                      <a:cubicBezTo>
                        <a:pt x="8" y="2"/>
                        <a:pt x="8" y="2"/>
                        <a:pt x="8" y="2"/>
                      </a:cubicBezTo>
                      <a:cubicBezTo>
                        <a:pt x="8" y="2"/>
                        <a:pt x="7" y="2"/>
                        <a:pt x="7" y="2"/>
                      </a:cubicBezTo>
                      <a:cubicBezTo>
                        <a:pt x="7" y="2"/>
                        <a:pt x="7" y="3"/>
                        <a:pt x="7" y="3"/>
                      </a:cubicBezTo>
                      <a:cubicBezTo>
                        <a:pt x="7" y="3"/>
                        <a:pt x="7" y="3"/>
                        <a:pt x="7" y="2"/>
                      </a:cubicBezTo>
                      <a:cubicBezTo>
                        <a:pt x="7" y="2"/>
                        <a:pt x="7" y="2"/>
                        <a:pt x="7" y="2"/>
                      </a:cubicBezTo>
                      <a:cubicBezTo>
                        <a:pt x="7" y="2"/>
                        <a:pt x="6" y="2"/>
                        <a:pt x="6" y="2"/>
                      </a:cubicBezTo>
                      <a:cubicBezTo>
                        <a:pt x="7" y="2"/>
                        <a:pt x="7" y="2"/>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0"/>
                        <a:pt x="5" y="0"/>
                      </a:cubicBezTo>
                      <a:cubicBezTo>
                        <a:pt x="5" y="0"/>
                        <a:pt x="5" y="0"/>
                        <a:pt x="5" y="0"/>
                      </a:cubicBezTo>
                      <a:cubicBezTo>
                        <a:pt x="5" y="1"/>
                        <a:pt x="5" y="1"/>
                        <a:pt x="5" y="1"/>
                      </a:cubicBezTo>
                      <a:cubicBezTo>
                        <a:pt x="5" y="1"/>
                        <a:pt x="5" y="1"/>
                        <a:pt x="5" y="1"/>
                      </a:cubicBezTo>
                      <a:cubicBezTo>
                        <a:pt x="5" y="1"/>
                        <a:pt x="5" y="1"/>
                        <a:pt x="5" y="1"/>
                      </a:cubicBezTo>
                      <a:cubicBezTo>
                        <a:pt x="6" y="1"/>
                        <a:pt x="6" y="1"/>
                        <a:pt x="6" y="1"/>
                      </a:cubicBezTo>
                      <a:cubicBezTo>
                        <a:pt x="6" y="2"/>
                        <a:pt x="6" y="2"/>
                        <a:pt x="6" y="2"/>
                      </a:cubicBezTo>
                      <a:cubicBezTo>
                        <a:pt x="6" y="2"/>
                        <a:pt x="6" y="2"/>
                        <a:pt x="6" y="2"/>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5" y="3"/>
                        <a:pt x="5" y="4"/>
                        <a:pt x="6" y="4"/>
                      </a:cubicBezTo>
                      <a:cubicBezTo>
                        <a:pt x="6" y="4"/>
                        <a:pt x="6" y="4"/>
                        <a:pt x="6" y="4"/>
                      </a:cubicBezTo>
                      <a:cubicBezTo>
                        <a:pt x="6" y="4"/>
                        <a:pt x="6" y="5"/>
                        <a:pt x="6" y="5"/>
                      </a:cubicBezTo>
                      <a:cubicBezTo>
                        <a:pt x="6" y="5"/>
                        <a:pt x="6" y="5"/>
                        <a:pt x="6" y="5"/>
                      </a:cubicBezTo>
                      <a:cubicBezTo>
                        <a:pt x="6" y="5"/>
                        <a:pt x="6" y="5"/>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7"/>
                        <a:pt x="5" y="6"/>
                      </a:cubicBezTo>
                      <a:cubicBezTo>
                        <a:pt x="5" y="6"/>
                        <a:pt x="5" y="6"/>
                        <a:pt x="5" y="5"/>
                      </a:cubicBezTo>
                      <a:cubicBezTo>
                        <a:pt x="5" y="5"/>
                        <a:pt x="5" y="5"/>
                        <a:pt x="5" y="5"/>
                      </a:cubicBezTo>
                      <a:cubicBezTo>
                        <a:pt x="5" y="5"/>
                        <a:pt x="5" y="5"/>
                        <a:pt x="5" y="5"/>
                      </a:cubicBezTo>
                      <a:cubicBezTo>
                        <a:pt x="4" y="6"/>
                        <a:pt x="4" y="6"/>
                        <a:pt x="4" y="6"/>
                      </a:cubicBezTo>
                      <a:cubicBezTo>
                        <a:pt x="4" y="5"/>
                        <a:pt x="4" y="5"/>
                        <a:pt x="4" y="5"/>
                      </a:cubicBezTo>
                      <a:cubicBezTo>
                        <a:pt x="4" y="6"/>
                        <a:pt x="4" y="6"/>
                        <a:pt x="4"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7"/>
                        <a:pt x="2" y="7"/>
                        <a:pt x="2" y="7"/>
                      </a:cubicBezTo>
                      <a:cubicBezTo>
                        <a:pt x="1" y="6"/>
                        <a:pt x="1" y="6"/>
                        <a:pt x="1" y="6"/>
                      </a:cubicBezTo>
                      <a:cubicBezTo>
                        <a:pt x="1" y="7"/>
                        <a:pt x="1" y="7"/>
                        <a:pt x="1"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10"/>
                        <a:pt x="1" y="10"/>
                      </a:cubicBezTo>
                      <a:cubicBezTo>
                        <a:pt x="1" y="10"/>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2"/>
                        <a:pt x="2" y="12"/>
                        <a:pt x="1" y="12"/>
                      </a:cubicBezTo>
                      <a:cubicBezTo>
                        <a:pt x="1" y="12"/>
                        <a:pt x="1" y="12"/>
                        <a:pt x="1" y="12"/>
                      </a:cubicBezTo>
                      <a:cubicBezTo>
                        <a:pt x="1" y="12"/>
                        <a:pt x="1" y="13"/>
                        <a:pt x="1" y="13"/>
                      </a:cubicBezTo>
                      <a:cubicBezTo>
                        <a:pt x="1" y="13"/>
                        <a:pt x="2" y="13"/>
                        <a:pt x="2" y="13"/>
                      </a:cubicBezTo>
                      <a:cubicBezTo>
                        <a:pt x="1" y="13"/>
                        <a:pt x="2" y="13"/>
                        <a:pt x="2" y="13"/>
                      </a:cubicBezTo>
                      <a:cubicBezTo>
                        <a:pt x="2" y="13"/>
                        <a:pt x="2" y="13"/>
                        <a:pt x="2" y="13"/>
                      </a:cubicBezTo>
                      <a:cubicBezTo>
                        <a:pt x="2" y="13"/>
                        <a:pt x="2" y="13"/>
                        <a:pt x="2" y="13"/>
                      </a:cubicBezTo>
                      <a:cubicBezTo>
                        <a:pt x="2" y="13"/>
                        <a:pt x="2" y="13"/>
                        <a:pt x="2" y="13"/>
                      </a:cubicBezTo>
                      <a:cubicBezTo>
                        <a:pt x="2" y="13"/>
                        <a:pt x="2" y="13"/>
                        <a:pt x="1" y="13"/>
                      </a:cubicBezTo>
                      <a:cubicBezTo>
                        <a:pt x="1" y="13"/>
                        <a:pt x="1" y="14"/>
                        <a:pt x="1" y="14"/>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5"/>
                        <a:pt x="1" y="15"/>
                      </a:cubicBezTo>
                      <a:cubicBezTo>
                        <a:pt x="1" y="15"/>
                        <a:pt x="1" y="15"/>
                        <a:pt x="1" y="15"/>
                      </a:cubicBezTo>
                      <a:cubicBezTo>
                        <a:pt x="1" y="15"/>
                        <a:pt x="1" y="15"/>
                        <a:pt x="1" y="15"/>
                      </a:cubicBezTo>
                      <a:cubicBezTo>
                        <a:pt x="1" y="15"/>
                        <a:pt x="1" y="15"/>
                        <a:pt x="1" y="16"/>
                      </a:cubicBezTo>
                      <a:cubicBezTo>
                        <a:pt x="1" y="16"/>
                        <a:pt x="1" y="16"/>
                        <a:pt x="1" y="16"/>
                      </a:cubicBezTo>
                      <a:cubicBezTo>
                        <a:pt x="1" y="16"/>
                        <a:pt x="1" y="16"/>
                        <a:pt x="0" y="16"/>
                      </a:cubicBezTo>
                      <a:cubicBezTo>
                        <a:pt x="0" y="16"/>
                        <a:pt x="0" y="17"/>
                        <a:pt x="0" y="17"/>
                      </a:cubicBezTo>
                      <a:cubicBezTo>
                        <a:pt x="0" y="17"/>
                        <a:pt x="0" y="17"/>
                        <a:pt x="0" y="17"/>
                      </a:cubicBezTo>
                      <a:cubicBezTo>
                        <a:pt x="0" y="17"/>
                        <a:pt x="0" y="17"/>
                        <a:pt x="0" y="17"/>
                      </a:cubicBezTo>
                      <a:cubicBezTo>
                        <a:pt x="0" y="18"/>
                        <a:pt x="0" y="18"/>
                        <a:pt x="0" y="18"/>
                      </a:cubicBezTo>
                      <a:cubicBezTo>
                        <a:pt x="0" y="18"/>
                        <a:pt x="0" y="19"/>
                        <a:pt x="0" y="19"/>
                      </a:cubicBezTo>
                      <a:cubicBezTo>
                        <a:pt x="0" y="19"/>
                        <a:pt x="0" y="19"/>
                        <a:pt x="0" y="19"/>
                      </a:cubicBezTo>
                      <a:cubicBezTo>
                        <a:pt x="0" y="19"/>
                        <a:pt x="0" y="19"/>
                        <a:pt x="0" y="19"/>
                      </a:cubicBezTo>
                      <a:cubicBezTo>
                        <a:pt x="0" y="19"/>
                        <a:pt x="1" y="19"/>
                        <a:pt x="1" y="19"/>
                      </a:cubicBezTo>
                      <a:cubicBezTo>
                        <a:pt x="1" y="19"/>
                        <a:pt x="1" y="19"/>
                        <a:pt x="1" y="19"/>
                      </a:cubicBezTo>
                      <a:cubicBezTo>
                        <a:pt x="2" y="20"/>
                        <a:pt x="2" y="20"/>
                        <a:pt x="2" y="20"/>
                      </a:cubicBezTo>
                      <a:cubicBezTo>
                        <a:pt x="2" y="19"/>
                        <a:pt x="2" y="19"/>
                        <a:pt x="2" y="19"/>
                      </a:cubicBezTo>
                      <a:cubicBezTo>
                        <a:pt x="2" y="19"/>
                        <a:pt x="2" y="19"/>
                        <a:pt x="2" y="19"/>
                      </a:cubicBezTo>
                      <a:cubicBezTo>
                        <a:pt x="2" y="19"/>
                        <a:pt x="2" y="19"/>
                        <a:pt x="2" y="19"/>
                      </a:cubicBezTo>
                      <a:cubicBezTo>
                        <a:pt x="2" y="19"/>
                        <a:pt x="2" y="19"/>
                        <a:pt x="2" y="19"/>
                      </a:cubicBezTo>
                      <a:cubicBezTo>
                        <a:pt x="3" y="19"/>
                        <a:pt x="3" y="19"/>
                        <a:pt x="3" y="19"/>
                      </a:cubicBezTo>
                      <a:cubicBezTo>
                        <a:pt x="3" y="18"/>
                        <a:pt x="3" y="18"/>
                        <a:pt x="3" y="18"/>
                      </a:cubicBezTo>
                      <a:cubicBezTo>
                        <a:pt x="3" y="18"/>
                        <a:pt x="3" y="18"/>
                        <a:pt x="3" y="18"/>
                      </a:cubicBezTo>
                      <a:cubicBezTo>
                        <a:pt x="4" y="18"/>
                        <a:pt x="4" y="18"/>
                        <a:pt x="4"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7"/>
                        <a:pt x="5" y="17"/>
                      </a:cubicBezTo>
                      <a:cubicBezTo>
                        <a:pt x="6" y="17"/>
                        <a:pt x="6" y="17"/>
                        <a:pt x="6" y="17"/>
                      </a:cubicBezTo>
                      <a:cubicBezTo>
                        <a:pt x="6" y="17"/>
                        <a:pt x="6" y="17"/>
                        <a:pt x="6" y="17"/>
                      </a:cubicBezTo>
                      <a:cubicBezTo>
                        <a:pt x="7" y="17"/>
                        <a:pt x="7" y="17"/>
                        <a:pt x="7" y="17"/>
                      </a:cubicBezTo>
                      <a:cubicBezTo>
                        <a:pt x="7" y="18"/>
                        <a:pt x="7" y="18"/>
                        <a:pt x="7" y="18"/>
                      </a:cubicBezTo>
                      <a:cubicBezTo>
                        <a:pt x="7" y="18"/>
                        <a:pt x="7" y="18"/>
                        <a:pt x="7" y="18"/>
                      </a:cubicBezTo>
                      <a:cubicBezTo>
                        <a:pt x="7" y="18"/>
                        <a:pt x="7" y="18"/>
                        <a:pt x="7" y="18"/>
                      </a:cubicBezTo>
                      <a:cubicBezTo>
                        <a:pt x="6" y="19"/>
                        <a:pt x="6" y="19"/>
                        <a:pt x="6" y="19"/>
                      </a:cubicBezTo>
                      <a:cubicBezTo>
                        <a:pt x="6" y="19"/>
                        <a:pt x="6" y="20"/>
                        <a:pt x="6" y="20"/>
                      </a:cubicBezTo>
                      <a:cubicBezTo>
                        <a:pt x="6" y="20"/>
                        <a:pt x="7" y="20"/>
                        <a:pt x="7" y="20"/>
                      </a:cubicBezTo>
                      <a:cubicBezTo>
                        <a:pt x="7" y="20"/>
                        <a:pt x="6" y="20"/>
                        <a:pt x="6" y="20"/>
                      </a:cubicBezTo>
                      <a:cubicBezTo>
                        <a:pt x="6" y="20"/>
                        <a:pt x="6" y="21"/>
                        <a:pt x="6" y="21"/>
                      </a:cubicBezTo>
                      <a:cubicBezTo>
                        <a:pt x="6" y="21"/>
                        <a:pt x="6" y="21"/>
                        <a:pt x="6" y="21"/>
                      </a:cubicBezTo>
                      <a:cubicBezTo>
                        <a:pt x="7" y="21"/>
                        <a:pt x="7" y="21"/>
                        <a:pt x="7" y="21"/>
                      </a:cubicBezTo>
                      <a:cubicBezTo>
                        <a:pt x="7" y="21"/>
                        <a:pt x="7" y="21"/>
                        <a:pt x="7" y="21"/>
                      </a:cubicBezTo>
                      <a:cubicBezTo>
                        <a:pt x="7" y="22"/>
                        <a:pt x="7" y="22"/>
                        <a:pt x="7" y="22"/>
                      </a:cubicBezTo>
                      <a:cubicBezTo>
                        <a:pt x="7" y="22"/>
                        <a:pt x="7" y="22"/>
                        <a:pt x="7" y="22"/>
                      </a:cubicBezTo>
                      <a:cubicBezTo>
                        <a:pt x="7" y="23"/>
                        <a:pt x="7" y="23"/>
                        <a:pt x="7" y="23"/>
                      </a:cubicBezTo>
                      <a:cubicBezTo>
                        <a:pt x="6" y="24"/>
                        <a:pt x="6" y="24"/>
                        <a:pt x="6" y="24"/>
                      </a:cubicBezTo>
                      <a:cubicBezTo>
                        <a:pt x="7" y="24"/>
                        <a:pt x="7" y="24"/>
                        <a:pt x="7" y="24"/>
                      </a:cubicBezTo>
                      <a:cubicBezTo>
                        <a:pt x="7" y="24"/>
                        <a:pt x="7" y="24"/>
                        <a:pt x="7" y="24"/>
                      </a:cubicBezTo>
                      <a:cubicBezTo>
                        <a:pt x="8" y="24"/>
                        <a:pt x="8" y="24"/>
                        <a:pt x="8" y="24"/>
                      </a:cubicBezTo>
                      <a:cubicBezTo>
                        <a:pt x="8" y="24"/>
                        <a:pt x="8" y="24"/>
                        <a:pt x="8" y="24"/>
                      </a:cubicBezTo>
                      <a:cubicBezTo>
                        <a:pt x="9" y="24"/>
                        <a:pt x="9" y="24"/>
                        <a:pt x="9" y="24"/>
                      </a:cubicBezTo>
                      <a:cubicBezTo>
                        <a:pt x="9" y="24"/>
                        <a:pt x="9" y="24"/>
                        <a:pt x="9" y="24"/>
                      </a:cubicBezTo>
                      <a:cubicBezTo>
                        <a:pt x="9" y="23"/>
                        <a:pt x="9" y="23"/>
                        <a:pt x="9" y="23"/>
                      </a:cubicBezTo>
                      <a:cubicBezTo>
                        <a:pt x="9" y="23"/>
                        <a:pt x="9" y="23"/>
                        <a:pt x="9" y="23"/>
                      </a:cubicBezTo>
                      <a:cubicBezTo>
                        <a:pt x="9" y="23"/>
                        <a:pt x="9" y="23"/>
                        <a:pt x="9" y="23"/>
                      </a:cubicBezTo>
                      <a:cubicBezTo>
                        <a:pt x="9" y="23"/>
                        <a:pt x="9" y="23"/>
                        <a:pt x="9" y="23"/>
                      </a:cubicBezTo>
                      <a:cubicBezTo>
                        <a:pt x="9" y="23"/>
                        <a:pt x="10" y="23"/>
                        <a:pt x="10" y="22"/>
                      </a:cubicBezTo>
                      <a:cubicBezTo>
                        <a:pt x="10" y="22"/>
                        <a:pt x="10" y="22"/>
                        <a:pt x="10" y="22"/>
                      </a:cubicBezTo>
                      <a:cubicBezTo>
                        <a:pt x="10" y="23"/>
                        <a:pt x="10" y="23"/>
                        <a:pt x="10" y="23"/>
                      </a:cubicBezTo>
                      <a:cubicBezTo>
                        <a:pt x="11" y="22"/>
                        <a:pt x="11" y="22"/>
                        <a:pt x="11" y="22"/>
                      </a:cubicBezTo>
                      <a:cubicBezTo>
                        <a:pt x="10" y="22"/>
                        <a:pt x="10" y="22"/>
                        <a:pt x="10" y="22"/>
                      </a:cubicBezTo>
                      <a:cubicBezTo>
                        <a:pt x="11" y="21"/>
                        <a:pt x="11" y="21"/>
                        <a:pt x="11" y="21"/>
                      </a:cubicBezTo>
                      <a:cubicBezTo>
                        <a:pt x="11" y="21"/>
                        <a:pt x="11" y="21"/>
                        <a:pt x="11" y="21"/>
                      </a:cubicBezTo>
                      <a:cubicBezTo>
                        <a:pt x="11" y="20"/>
                        <a:pt x="11" y="20"/>
                        <a:pt x="11" y="20"/>
                      </a:cubicBezTo>
                      <a:cubicBezTo>
                        <a:pt x="11" y="20"/>
                        <a:pt x="11" y="20"/>
                        <a:pt x="11" y="20"/>
                      </a:cubicBezTo>
                      <a:cubicBezTo>
                        <a:pt x="12" y="19"/>
                        <a:pt x="12" y="19"/>
                        <a:pt x="12" y="19"/>
                      </a:cubicBezTo>
                      <a:cubicBezTo>
                        <a:pt x="12" y="18"/>
                        <a:pt x="12" y="18"/>
                        <a:pt x="12" y="18"/>
                      </a:cubicBezTo>
                      <a:cubicBezTo>
                        <a:pt x="13" y="17"/>
                        <a:pt x="13" y="17"/>
                        <a:pt x="13" y="17"/>
                      </a:cubicBezTo>
                      <a:cubicBezTo>
                        <a:pt x="13" y="16"/>
                        <a:pt x="13" y="16"/>
                        <a:pt x="13" y="16"/>
                      </a:cubicBezTo>
                      <a:cubicBezTo>
                        <a:pt x="13" y="16"/>
                        <a:pt x="13" y="16"/>
                        <a:pt x="13" y="1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1" name="Freeform 721">
                  <a:extLst>
                    <a:ext uri="{FF2B5EF4-FFF2-40B4-BE49-F238E27FC236}">
                      <a16:creationId xmlns:a16="http://schemas.microsoft.com/office/drawing/2014/main" id="{ED43B5E5-CF7B-DE7E-DC5C-642DDE4C417C}"/>
                    </a:ext>
                  </a:extLst>
                </p:cNvPr>
                <p:cNvSpPr>
                  <a:spLocks/>
                </p:cNvSpPr>
                <p:nvPr/>
              </p:nvSpPr>
              <p:spPr bwMode="auto">
                <a:xfrm>
                  <a:off x="10283825" y="6091238"/>
                  <a:ext cx="36512" cy="42863"/>
                </a:xfrm>
                <a:custGeom>
                  <a:avLst/>
                  <a:gdLst>
                    <a:gd name="T0" fmla="*/ 7 w 9"/>
                    <a:gd name="T1" fmla="*/ 10 h 10"/>
                    <a:gd name="T2" fmla="*/ 8 w 9"/>
                    <a:gd name="T3" fmla="*/ 9 h 10"/>
                    <a:gd name="T4" fmla="*/ 8 w 9"/>
                    <a:gd name="T5" fmla="*/ 9 h 10"/>
                    <a:gd name="T6" fmla="*/ 8 w 9"/>
                    <a:gd name="T7" fmla="*/ 8 h 10"/>
                    <a:gd name="T8" fmla="*/ 8 w 9"/>
                    <a:gd name="T9" fmla="*/ 8 h 10"/>
                    <a:gd name="T10" fmla="*/ 9 w 9"/>
                    <a:gd name="T11" fmla="*/ 8 h 10"/>
                    <a:gd name="T12" fmla="*/ 9 w 9"/>
                    <a:gd name="T13" fmla="*/ 8 h 10"/>
                    <a:gd name="T14" fmla="*/ 9 w 9"/>
                    <a:gd name="T15" fmla="*/ 8 h 10"/>
                    <a:gd name="T16" fmla="*/ 9 w 9"/>
                    <a:gd name="T17" fmla="*/ 7 h 10"/>
                    <a:gd name="T18" fmla="*/ 9 w 9"/>
                    <a:gd name="T19" fmla="*/ 7 h 10"/>
                    <a:gd name="T20" fmla="*/ 8 w 9"/>
                    <a:gd name="T21" fmla="*/ 7 h 10"/>
                    <a:gd name="T22" fmla="*/ 8 w 9"/>
                    <a:gd name="T23" fmla="*/ 6 h 10"/>
                    <a:gd name="T24" fmla="*/ 8 w 9"/>
                    <a:gd name="T25" fmla="*/ 6 h 10"/>
                    <a:gd name="T26" fmla="*/ 8 w 9"/>
                    <a:gd name="T27" fmla="*/ 5 h 10"/>
                    <a:gd name="T28" fmla="*/ 7 w 9"/>
                    <a:gd name="T29" fmla="*/ 5 h 10"/>
                    <a:gd name="T30" fmla="*/ 7 w 9"/>
                    <a:gd name="T31" fmla="*/ 5 h 10"/>
                    <a:gd name="T32" fmla="*/ 7 w 9"/>
                    <a:gd name="T33" fmla="*/ 5 h 10"/>
                    <a:gd name="T34" fmla="*/ 7 w 9"/>
                    <a:gd name="T35" fmla="*/ 4 h 10"/>
                    <a:gd name="T36" fmla="*/ 7 w 9"/>
                    <a:gd name="T37" fmla="*/ 4 h 10"/>
                    <a:gd name="T38" fmla="*/ 7 w 9"/>
                    <a:gd name="T39" fmla="*/ 3 h 10"/>
                    <a:gd name="T40" fmla="*/ 7 w 9"/>
                    <a:gd name="T41" fmla="*/ 3 h 10"/>
                    <a:gd name="T42" fmla="*/ 7 w 9"/>
                    <a:gd name="T43" fmla="*/ 2 h 10"/>
                    <a:gd name="T44" fmla="*/ 7 w 9"/>
                    <a:gd name="T45" fmla="*/ 2 h 10"/>
                    <a:gd name="T46" fmla="*/ 7 w 9"/>
                    <a:gd name="T47" fmla="*/ 2 h 10"/>
                    <a:gd name="T48" fmla="*/ 7 w 9"/>
                    <a:gd name="T49" fmla="*/ 2 h 10"/>
                    <a:gd name="T50" fmla="*/ 8 w 9"/>
                    <a:gd name="T51" fmla="*/ 2 h 10"/>
                    <a:gd name="T52" fmla="*/ 7 w 9"/>
                    <a:gd name="T53" fmla="*/ 2 h 10"/>
                    <a:gd name="T54" fmla="*/ 7 w 9"/>
                    <a:gd name="T55" fmla="*/ 1 h 10"/>
                    <a:gd name="T56" fmla="*/ 8 w 9"/>
                    <a:gd name="T57" fmla="*/ 1 h 10"/>
                    <a:gd name="T58" fmla="*/ 7 w 9"/>
                    <a:gd name="T59" fmla="*/ 0 h 10"/>
                    <a:gd name="T60" fmla="*/ 7 w 9"/>
                    <a:gd name="T61" fmla="*/ 0 h 10"/>
                    <a:gd name="T62" fmla="*/ 6 w 9"/>
                    <a:gd name="T63" fmla="*/ 0 h 10"/>
                    <a:gd name="T64" fmla="*/ 6 w 9"/>
                    <a:gd name="T65" fmla="*/ 0 h 10"/>
                    <a:gd name="T66" fmla="*/ 6 w 9"/>
                    <a:gd name="T67" fmla="*/ 0 h 10"/>
                    <a:gd name="T68" fmla="*/ 6 w 9"/>
                    <a:gd name="T69" fmla="*/ 1 h 10"/>
                    <a:gd name="T70" fmla="*/ 6 w 9"/>
                    <a:gd name="T71" fmla="*/ 1 h 10"/>
                    <a:gd name="T72" fmla="*/ 5 w 9"/>
                    <a:gd name="T73" fmla="*/ 2 h 10"/>
                    <a:gd name="T74" fmla="*/ 5 w 9"/>
                    <a:gd name="T75" fmla="*/ 2 h 10"/>
                    <a:gd name="T76" fmla="*/ 4 w 9"/>
                    <a:gd name="T77" fmla="*/ 3 h 10"/>
                    <a:gd name="T78" fmla="*/ 4 w 9"/>
                    <a:gd name="T79" fmla="*/ 3 h 10"/>
                    <a:gd name="T80" fmla="*/ 4 w 9"/>
                    <a:gd name="T81" fmla="*/ 3 h 10"/>
                    <a:gd name="T82" fmla="*/ 3 w 9"/>
                    <a:gd name="T83" fmla="*/ 3 h 10"/>
                    <a:gd name="T84" fmla="*/ 2 w 9"/>
                    <a:gd name="T85" fmla="*/ 3 h 10"/>
                    <a:gd name="T86" fmla="*/ 2 w 9"/>
                    <a:gd name="T87" fmla="*/ 4 h 10"/>
                    <a:gd name="T88" fmla="*/ 1 w 9"/>
                    <a:gd name="T89" fmla="*/ 4 h 10"/>
                    <a:gd name="T90" fmla="*/ 0 w 9"/>
                    <a:gd name="T91" fmla="*/ 5 h 10"/>
                    <a:gd name="T92" fmla="*/ 0 w 9"/>
                    <a:gd name="T93" fmla="*/ 6 h 10"/>
                    <a:gd name="T94" fmla="*/ 1 w 9"/>
                    <a:gd name="T95" fmla="*/ 6 h 10"/>
                    <a:gd name="T96" fmla="*/ 1 w 9"/>
                    <a:gd name="T97" fmla="*/ 7 h 10"/>
                    <a:gd name="T98" fmla="*/ 2 w 9"/>
                    <a:gd name="T99" fmla="*/ 7 h 10"/>
                    <a:gd name="T100" fmla="*/ 3 w 9"/>
                    <a:gd name="T101" fmla="*/ 8 h 10"/>
                    <a:gd name="T102" fmla="*/ 4 w 9"/>
                    <a:gd name="T103" fmla="*/ 8 h 10"/>
                    <a:gd name="T104" fmla="*/ 4 w 9"/>
                    <a:gd name="T105" fmla="*/ 9 h 10"/>
                    <a:gd name="T106" fmla="*/ 5 w 9"/>
                    <a:gd name="T107" fmla="*/ 9 h 10"/>
                    <a:gd name="T108" fmla="*/ 6 w 9"/>
                    <a:gd name="T109" fmla="*/ 10 h 10"/>
                    <a:gd name="T110" fmla="*/ 7 w 9"/>
                    <a:gd name="T111" fmla="*/ 10 h 10"/>
                    <a:gd name="T112" fmla="*/ 7 w 9"/>
                    <a:gd name="T11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10">
                      <a:moveTo>
                        <a:pt x="7" y="10"/>
                      </a:moveTo>
                      <a:cubicBezTo>
                        <a:pt x="8" y="9"/>
                        <a:pt x="8" y="9"/>
                        <a:pt x="8" y="9"/>
                      </a:cubicBezTo>
                      <a:cubicBezTo>
                        <a:pt x="8" y="9"/>
                        <a:pt x="8" y="9"/>
                        <a:pt x="8" y="9"/>
                      </a:cubicBezTo>
                      <a:cubicBezTo>
                        <a:pt x="8" y="8"/>
                        <a:pt x="8" y="8"/>
                        <a:pt x="8" y="8"/>
                      </a:cubicBezTo>
                      <a:cubicBezTo>
                        <a:pt x="8" y="8"/>
                        <a:pt x="8" y="8"/>
                        <a:pt x="8"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8" y="7"/>
                        <a:pt x="8" y="7"/>
                      </a:cubicBezTo>
                      <a:cubicBezTo>
                        <a:pt x="8" y="6"/>
                        <a:pt x="8" y="6"/>
                        <a:pt x="8" y="6"/>
                      </a:cubicBezTo>
                      <a:cubicBezTo>
                        <a:pt x="8" y="6"/>
                        <a:pt x="8" y="6"/>
                        <a:pt x="8" y="6"/>
                      </a:cubicBezTo>
                      <a:cubicBezTo>
                        <a:pt x="8" y="6"/>
                        <a:pt x="8" y="5"/>
                        <a:pt x="8" y="5"/>
                      </a:cubicBezTo>
                      <a:cubicBezTo>
                        <a:pt x="8" y="5"/>
                        <a:pt x="7" y="5"/>
                        <a:pt x="7" y="5"/>
                      </a:cubicBezTo>
                      <a:cubicBezTo>
                        <a:pt x="7" y="5"/>
                        <a:pt x="7" y="5"/>
                        <a:pt x="7" y="5"/>
                      </a:cubicBezTo>
                      <a:cubicBezTo>
                        <a:pt x="7" y="5"/>
                        <a:pt x="7" y="5"/>
                        <a:pt x="7" y="5"/>
                      </a:cubicBezTo>
                      <a:cubicBezTo>
                        <a:pt x="7" y="4"/>
                        <a:pt x="7" y="4"/>
                        <a:pt x="7" y="4"/>
                      </a:cubicBezTo>
                      <a:cubicBezTo>
                        <a:pt x="7" y="4"/>
                        <a:pt x="7" y="4"/>
                        <a:pt x="7" y="4"/>
                      </a:cubicBezTo>
                      <a:cubicBezTo>
                        <a:pt x="7" y="3"/>
                        <a:pt x="7" y="3"/>
                        <a:pt x="7" y="3"/>
                      </a:cubicBezTo>
                      <a:cubicBezTo>
                        <a:pt x="7" y="3"/>
                        <a:pt x="7" y="3"/>
                        <a:pt x="7" y="3"/>
                      </a:cubicBezTo>
                      <a:cubicBezTo>
                        <a:pt x="7" y="2"/>
                        <a:pt x="7" y="2"/>
                        <a:pt x="7" y="2"/>
                      </a:cubicBezTo>
                      <a:cubicBezTo>
                        <a:pt x="7" y="2"/>
                        <a:pt x="7" y="2"/>
                        <a:pt x="7" y="2"/>
                      </a:cubicBezTo>
                      <a:cubicBezTo>
                        <a:pt x="7" y="2"/>
                        <a:pt x="7" y="2"/>
                        <a:pt x="7" y="2"/>
                      </a:cubicBezTo>
                      <a:cubicBezTo>
                        <a:pt x="7" y="2"/>
                        <a:pt x="7" y="2"/>
                        <a:pt x="7" y="2"/>
                      </a:cubicBezTo>
                      <a:cubicBezTo>
                        <a:pt x="8" y="2"/>
                        <a:pt x="8" y="2"/>
                        <a:pt x="8" y="2"/>
                      </a:cubicBezTo>
                      <a:cubicBezTo>
                        <a:pt x="7" y="2"/>
                        <a:pt x="7" y="2"/>
                        <a:pt x="7" y="2"/>
                      </a:cubicBezTo>
                      <a:cubicBezTo>
                        <a:pt x="7" y="1"/>
                        <a:pt x="7" y="1"/>
                        <a:pt x="7" y="1"/>
                      </a:cubicBezTo>
                      <a:cubicBezTo>
                        <a:pt x="8" y="1"/>
                        <a:pt x="8" y="1"/>
                        <a:pt x="8" y="1"/>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1"/>
                      </a:cubicBezTo>
                      <a:cubicBezTo>
                        <a:pt x="6" y="1"/>
                        <a:pt x="6" y="1"/>
                        <a:pt x="6" y="1"/>
                      </a:cubicBezTo>
                      <a:cubicBezTo>
                        <a:pt x="6" y="1"/>
                        <a:pt x="6" y="2"/>
                        <a:pt x="5" y="2"/>
                      </a:cubicBezTo>
                      <a:cubicBezTo>
                        <a:pt x="5" y="2"/>
                        <a:pt x="5" y="2"/>
                        <a:pt x="5" y="2"/>
                      </a:cubicBezTo>
                      <a:cubicBezTo>
                        <a:pt x="5" y="2"/>
                        <a:pt x="4" y="3"/>
                        <a:pt x="4" y="3"/>
                      </a:cubicBezTo>
                      <a:cubicBezTo>
                        <a:pt x="4" y="3"/>
                        <a:pt x="4" y="3"/>
                        <a:pt x="4" y="3"/>
                      </a:cubicBezTo>
                      <a:cubicBezTo>
                        <a:pt x="4" y="3"/>
                        <a:pt x="4" y="3"/>
                        <a:pt x="4" y="3"/>
                      </a:cubicBezTo>
                      <a:cubicBezTo>
                        <a:pt x="3" y="2"/>
                        <a:pt x="3" y="3"/>
                        <a:pt x="3" y="3"/>
                      </a:cubicBezTo>
                      <a:cubicBezTo>
                        <a:pt x="3" y="3"/>
                        <a:pt x="3" y="3"/>
                        <a:pt x="2" y="3"/>
                      </a:cubicBezTo>
                      <a:cubicBezTo>
                        <a:pt x="2" y="3"/>
                        <a:pt x="2" y="4"/>
                        <a:pt x="2" y="4"/>
                      </a:cubicBezTo>
                      <a:cubicBezTo>
                        <a:pt x="2" y="4"/>
                        <a:pt x="1" y="4"/>
                        <a:pt x="1" y="4"/>
                      </a:cubicBezTo>
                      <a:cubicBezTo>
                        <a:pt x="1" y="4"/>
                        <a:pt x="1" y="4"/>
                        <a:pt x="0" y="5"/>
                      </a:cubicBezTo>
                      <a:cubicBezTo>
                        <a:pt x="0" y="5"/>
                        <a:pt x="0" y="5"/>
                        <a:pt x="0" y="6"/>
                      </a:cubicBezTo>
                      <a:cubicBezTo>
                        <a:pt x="1" y="6"/>
                        <a:pt x="0" y="6"/>
                        <a:pt x="1" y="6"/>
                      </a:cubicBezTo>
                      <a:cubicBezTo>
                        <a:pt x="1" y="7"/>
                        <a:pt x="1" y="7"/>
                        <a:pt x="1" y="7"/>
                      </a:cubicBezTo>
                      <a:cubicBezTo>
                        <a:pt x="1" y="7"/>
                        <a:pt x="2" y="7"/>
                        <a:pt x="2" y="7"/>
                      </a:cubicBezTo>
                      <a:cubicBezTo>
                        <a:pt x="2" y="8"/>
                        <a:pt x="2" y="8"/>
                        <a:pt x="3" y="8"/>
                      </a:cubicBezTo>
                      <a:cubicBezTo>
                        <a:pt x="3" y="8"/>
                        <a:pt x="4" y="8"/>
                        <a:pt x="4" y="8"/>
                      </a:cubicBezTo>
                      <a:cubicBezTo>
                        <a:pt x="4" y="8"/>
                        <a:pt x="4" y="8"/>
                        <a:pt x="4" y="9"/>
                      </a:cubicBezTo>
                      <a:cubicBezTo>
                        <a:pt x="5" y="9"/>
                        <a:pt x="5" y="9"/>
                        <a:pt x="5" y="9"/>
                      </a:cubicBezTo>
                      <a:cubicBezTo>
                        <a:pt x="5" y="10"/>
                        <a:pt x="6" y="10"/>
                        <a:pt x="6" y="10"/>
                      </a:cubicBezTo>
                      <a:cubicBezTo>
                        <a:pt x="6" y="10"/>
                        <a:pt x="7" y="10"/>
                        <a:pt x="7" y="10"/>
                      </a:cubicBezTo>
                      <a:cubicBezTo>
                        <a:pt x="7" y="10"/>
                        <a:pt x="7" y="10"/>
                        <a:pt x="7"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2" name="Freeform 722">
                  <a:extLst>
                    <a:ext uri="{FF2B5EF4-FFF2-40B4-BE49-F238E27FC236}">
                      <a16:creationId xmlns:a16="http://schemas.microsoft.com/office/drawing/2014/main" id="{E46A0035-E96B-2721-EF0C-4FDFA2F51A50}"/>
                    </a:ext>
                  </a:extLst>
                </p:cNvPr>
                <p:cNvSpPr>
                  <a:spLocks noEditPoints="1"/>
                </p:cNvSpPr>
                <p:nvPr/>
              </p:nvSpPr>
              <p:spPr bwMode="auto">
                <a:xfrm>
                  <a:off x="10233025" y="6154738"/>
                  <a:ext cx="38100" cy="69850"/>
                </a:xfrm>
                <a:custGeom>
                  <a:avLst/>
                  <a:gdLst>
                    <a:gd name="T0" fmla="*/ 6 w 9"/>
                    <a:gd name="T1" fmla="*/ 0 h 17"/>
                    <a:gd name="T2" fmla="*/ 5 w 9"/>
                    <a:gd name="T3" fmla="*/ 14 h 17"/>
                    <a:gd name="T4" fmla="*/ 5 w 9"/>
                    <a:gd name="T5" fmla="*/ 13 h 17"/>
                    <a:gd name="T6" fmla="*/ 6 w 9"/>
                    <a:gd name="T7" fmla="*/ 12 h 17"/>
                    <a:gd name="T8" fmla="*/ 7 w 9"/>
                    <a:gd name="T9" fmla="*/ 11 h 17"/>
                    <a:gd name="T10" fmla="*/ 8 w 9"/>
                    <a:gd name="T11" fmla="*/ 10 h 17"/>
                    <a:gd name="T12" fmla="*/ 8 w 9"/>
                    <a:gd name="T13" fmla="*/ 9 h 17"/>
                    <a:gd name="T14" fmla="*/ 8 w 9"/>
                    <a:gd name="T15" fmla="*/ 8 h 17"/>
                    <a:gd name="T16" fmla="*/ 7 w 9"/>
                    <a:gd name="T17" fmla="*/ 7 h 17"/>
                    <a:gd name="T18" fmla="*/ 8 w 9"/>
                    <a:gd name="T19" fmla="*/ 7 h 17"/>
                    <a:gd name="T20" fmla="*/ 7 w 9"/>
                    <a:gd name="T21" fmla="*/ 7 h 17"/>
                    <a:gd name="T22" fmla="*/ 7 w 9"/>
                    <a:gd name="T23" fmla="*/ 6 h 17"/>
                    <a:gd name="T24" fmla="*/ 7 w 9"/>
                    <a:gd name="T25" fmla="*/ 6 h 17"/>
                    <a:gd name="T26" fmla="*/ 7 w 9"/>
                    <a:gd name="T27" fmla="*/ 5 h 17"/>
                    <a:gd name="T28" fmla="*/ 7 w 9"/>
                    <a:gd name="T29" fmla="*/ 4 h 17"/>
                    <a:gd name="T30" fmla="*/ 7 w 9"/>
                    <a:gd name="T31" fmla="*/ 3 h 17"/>
                    <a:gd name="T32" fmla="*/ 6 w 9"/>
                    <a:gd name="T33" fmla="*/ 3 h 17"/>
                    <a:gd name="T34" fmla="*/ 5 w 9"/>
                    <a:gd name="T35" fmla="*/ 3 h 17"/>
                    <a:gd name="T36" fmla="*/ 4 w 9"/>
                    <a:gd name="T37" fmla="*/ 2 h 17"/>
                    <a:gd name="T38" fmla="*/ 4 w 9"/>
                    <a:gd name="T39" fmla="*/ 1 h 17"/>
                    <a:gd name="T40" fmla="*/ 6 w 9"/>
                    <a:gd name="T41" fmla="*/ 0 h 17"/>
                    <a:gd name="T42" fmla="*/ 4 w 9"/>
                    <a:gd name="T43" fmla="*/ 0 h 17"/>
                    <a:gd name="T44" fmla="*/ 4 w 9"/>
                    <a:gd name="T45" fmla="*/ 1 h 17"/>
                    <a:gd name="T46" fmla="*/ 3 w 9"/>
                    <a:gd name="T47" fmla="*/ 1 h 17"/>
                    <a:gd name="T48" fmla="*/ 3 w 9"/>
                    <a:gd name="T49" fmla="*/ 1 h 17"/>
                    <a:gd name="T50" fmla="*/ 3 w 9"/>
                    <a:gd name="T51" fmla="*/ 2 h 17"/>
                    <a:gd name="T52" fmla="*/ 2 w 9"/>
                    <a:gd name="T53" fmla="*/ 2 h 17"/>
                    <a:gd name="T54" fmla="*/ 1 w 9"/>
                    <a:gd name="T55" fmla="*/ 3 h 17"/>
                    <a:gd name="T56" fmla="*/ 1 w 9"/>
                    <a:gd name="T57" fmla="*/ 4 h 17"/>
                    <a:gd name="T58" fmla="*/ 2 w 9"/>
                    <a:gd name="T59" fmla="*/ 4 h 17"/>
                    <a:gd name="T60" fmla="*/ 2 w 9"/>
                    <a:gd name="T61" fmla="*/ 5 h 17"/>
                    <a:gd name="T62" fmla="*/ 2 w 9"/>
                    <a:gd name="T63" fmla="*/ 5 h 17"/>
                    <a:gd name="T64" fmla="*/ 3 w 9"/>
                    <a:gd name="T65" fmla="*/ 5 h 17"/>
                    <a:gd name="T66" fmla="*/ 3 w 9"/>
                    <a:gd name="T67" fmla="*/ 6 h 17"/>
                    <a:gd name="T68" fmla="*/ 4 w 9"/>
                    <a:gd name="T69" fmla="*/ 7 h 17"/>
                    <a:gd name="T70" fmla="*/ 4 w 9"/>
                    <a:gd name="T71" fmla="*/ 7 h 17"/>
                    <a:gd name="T72" fmla="*/ 4 w 9"/>
                    <a:gd name="T73" fmla="*/ 8 h 17"/>
                    <a:gd name="T74" fmla="*/ 3 w 9"/>
                    <a:gd name="T75" fmla="*/ 9 h 17"/>
                    <a:gd name="T76" fmla="*/ 2 w 9"/>
                    <a:gd name="T77" fmla="*/ 9 h 17"/>
                    <a:gd name="T78" fmla="*/ 2 w 9"/>
                    <a:gd name="T79" fmla="*/ 11 h 17"/>
                    <a:gd name="T80" fmla="*/ 1 w 9"/>
                    <a:gd name="T81" fmla="*/ 11 h 17"/>
                    <a:gd name="T82" fmla="*/ 1 w 9"/>
                    <a:gd name="T83" fmla="*/ 11 h 17"/>
                    <a:gd name="T84" fmla="*/ 0 w 9"/>
                    <a:gd name="T85" fmla="*/ 12 h 17"/>
                    <a:gd name="T86" fmla="*/ 0 w 9"/>
                    <a:gd name="T87" fmla="*/ 13 h 17"/>
                    <a:gd name="T88" fmla="*/ 0 w 9"/>
                    <a:gd name="T89" fmla="*/ 14 h 17"/>
                    <a:gd name="T90" fmla="*/ 0 w 9"/>
                    <a:gd name="T91" fmla="*/ 15 h 17"/>
                    <a:gd name="T92" fmla="*/ 1 w 9"/>
                    <a:gd name="T93" fmla="*/ 15 h 17"/>
                    <a:gd name="T94" fmla="*/ 2 w 9"/>
                    <a:gd name="T95" fmla="*/ 16 h 17"/>
                    <a:gd name="T96" fmla="*/ 2 w 9"/>
                    <a:gd name="T97" fmla="*/ 17 h 17"/>
                    <a:gd name="T98" fmla="*/ 3 w 9"/>
                    <a:gd name="T99" fmla="*/ 17 h 17"/>
                    <a:gd name="T100" fmla="*/ 3 w 9"/>
                    <a:gd name="T101" fmla="*/ 17 h 17"/>
                    <a:gd name="T102" fmla="*/ 4 w 9"/>
                    <a:gd name="T103" fmla="*/ 16 h 17"/>
                    <a:gd name="T104" fmla="*/ 5 w 9"/>
                    <a:gd name="T105"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 h="17">
                      <a:moveTo>
                        <a:pt x="6" y="0"/>
                      </a:moveTo>
                      <a:cubicBezTo>
                        <a:pt x="6" y="0"/>
                        <a:pt x="6" y="0"/>
                        <a:pt x="6" y="0"/>
                      </a:cubicBezTo>
                      <a:cubicBezTo>
                        <a:pt x="6" y="1"/>
                        <a:pt x="6" y="0"/>
                        <a:pt x="6" y="0"/>
                      </a:cubicBezTo>
                      <a:close/>
                      <a:moveTo>
                        <a:pt x="5" y="15"/>
                      </a:moveTo>
                      <a:cubicBezTo>
                        <a:pt x="5" y="15"/>
                        <a:pt x="5" y="15"/>
                        <a:pt x="5" y="15"/>
                      </a:cubicBezTo>
                      <a:cubicBezTo>
                        <a:pt x="5" y="15"/>
                        <a:pt x="5" y="14"/>
                        <a:pt x="5" y="14"/>
                      </a:cubicBezTo>
                      <a:cubicBezTo>
                        <a:pt x="5" y="14"/>
                        <a:pt x="5" y="14"/>
                        <a:pt x="5" y="14"/>
                      </a:cubicBezTo>
                      <a:cubicBezTo>
                        <a:pt x="5" y="14"/>
                        <a:pt x="5" y="14"/>
                        <a:pt x="5" y="14"/>
                      </a:cubicBezTo>
                      <a:cubicBezTo>
                        <a:pt x="5" y="14"/>
                        <a:pt x="5" y="13"/>
                        <a:pt x="5" y="13"/>
                      </a:cubicBezTo>
                      <a:cubicBezTo>
                        <a:pt x="5" y="13"/>
                        <a:pt x="6" y="13"/>
                        <a:pt x="6" y="13"/>
                      </a:cubicBezTo>
                      <a:cubicBezTo>
                        <a:pt x="6" y="13"/>
                        <a:pt x="6" y="12"/>
                        <a:pt x="6" y="12"/>
                      </a:cubicBezTo>
                      <a:cubicBezTo>
                        <a:pt x="6" y="12"/>
                        <a:pt x="6" y="12"/>
                        <a:pt x="6" y="12"/>
                      </a:cubicBezTo>
                      <a:cubicBezTo>
                        <a:pt x="6" y="12"/>
                        <a:pt x="6" y="12"/>
                        <a:pt x="6" y="12"/>
                      </a:cubicBezTo>
                      <a:cubicBezTo>
                        <a:pt x="6" y="12"/>
                        <a:pt x="7" y="12"/>
                        <a:pt x="7" y="12"/>
                      </a:cubicBezTo>
                      <a:cubicBezTo>
                        <a:pt x="7" y="12"/>
                        <a:pt x="7" y="11"/>
                        <a:pt x="7" y="11"/>
                      </a:cubicBezTo>
                      <a:cubicBezTo>
                        <a:pt x="7" y="11"/>
                        <a:pt x="7" y="11"/>
                        <a:pt x="7" y="11"/>
                      </a:cubicBezTo>
                      <a:cubicBezTo>
                        <a:pt x="8" y="10"/>
                        <a:pt x="8" y="10"/>
                        <a:pt x="8" y="10"/>
                      </a:cubicBezTo>
                      <a:cubicBezTo>
                        <a:pt x="8" y="10"/>
                        <a:pt x="8" y="10"/>
                        <a:pt x="8" y="10"/>
                      </a:cubicBezTo>
                      <a:cubicBezTo>
                        <a:pt x="9" y="10"/>
                        <a:pt x="9" y="10"/>
                        <a:pt x="9" y="10"/>
                      </a:cubicBezTo>
                      <a:cubicBezTo>
                        <a:pt x="9" y="10"/>
                        <a:pt x="9" y="10"/>
                        <a:pt x="8" y="9"/>
                      </a:cubicBezTo>
                      <a:cubicBezTo>
                        <a:pt x="8" y="9"/>
                        <a:pt x="8" y="9"/>
                        <a:pt x="8" y="9"/>
                      </a:cubicBezTo>
                      <a:cubicBezTo>
                        <a:pt x="8" y="9"/>
                        <a:pt x="9" y="9"/>
                        <a:pt x="9" y="9"/>
                      </a:cubicBezTo>
                      <a:cubicBezTo>
                        <a:pt x="9" y="9"/>
                        <a:pt x="9" y="9"/>
                        <a:pt x="9" y="9"/>
                      </a:cubicBezTo>
                      <a:cubicBezTo>
                        <a:pt x="8" y="8"/>
                        <a:pt x="8" y="8"/>
                        <a:pt x="8" y="8"/>
                      </a:cubicBezTo>
                      <a:cubicBezTo>
                        <a:pt x="8" y="8"/>
                        <a:pt x="8" y="8"/>
                        <a:pt x="8" y="8"/>
                      </a:cubicBezTo>
                      <a:cubicBezTo>
                        <a:pt x="8" y="8"/>
                        <a:pt x="8" y="8"/>
                        <a:pt x="7" y="8"/>
                      </a:cubicBezTo>
                      <a:cubicBezTo>
                        <a:pt x="7" y="7"/>
                        <a:pt x="7" y="7"/>
                        <a:pt x="7" y="7"/>
                      </a:cubicBezTo>
                      <a:cubicBezTo>
                        <a:pt x="7" y="7"/>
                        <a:pt x="7" y="7"/>
                        <a:pt x="8" y="7"/>
                      </a:cubicBezTo>
                      <a:cubicBezTo>
                        <a:pt x="8" y="7"/>
                        <a:pt x="8" y="7"/>
                        <a:pt x="8" y="7"/>
                      </a:cubicBezTo>
                      <a:cubicBezTo>
                        <a:pt x="8" y="8"/>
                        <a:pt x="8" y="8"/>
                        <a:pt x="8" y="7"/>
                      </a:cubicBezTo>
                      <a:cubicBezTo>
                        <a:pt x="8" y="7"/>
                        <a:pt x="8" y="7"/>
                        <a:pt x="8" y="7"/>
                      </a:cubicBezTo>
                      <a:cubicBezTo>
                        <a:pt x="7" y="7"/>
                        <a:pt x="7" y="7"/>
                        <a:pt x="7" y="7"/>
                      </a:cubicBezTo>
                      <a:cubicBezTo>
                        <a:pt x="7" y="7"/>
                        <a:pt x="7" y="7"/>
                        <a:pt x="7" y="7"/>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3"/>
                        <a:pt x="7" y="4"/>
                        <a:pt x="7" y="4"/>
                      </a:cubicBezTo>
                      <a:cubicBezTo>
                        <a:pt x="7" y="3"/>
                        <a:pt x="7" y="3"/>
                        <a:pt x="7" y="3"/>
                      </a:cubicBezTo>
                      <a:cubicBezTo>
                        <a:pt x="7" y="3"/>
                        <a:pt x="7" y="3"/>
                        <a:pt x="7" y="3"/>
                      </a:cubicBezTo>
                      <a:cubicBezTo>
                        <a:pt x="7" y="3"/>
                        <a:pt x="7"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ubicBezTo>
                        <a:pt x="5" y="2"/>
                        <a:pt x="4" y="2"/>
                        <a:pt x="4" y="2"/>
                      </a:cubicBezTo>
                      <a:cubicBezTo>
                        <a:pt x="4" y="2"/>
                        <a:pt x="4" y="2"/>
                        <a:pt x="4" y="2"/>
                      </a:cubicBezTo>
                      <a:cubicBezTo>
                        <a:pt x="4" y="2"/>
                        <a:pt x="4" y="2"/>
                        <a:pt x="4" y="2"/>
                      </a:cubicBezTo>
                      <a:cubicBezTo>
                        <a:pt x="4" y="2"/>
                        <a:pt x="4" y="2"/>
                        <a:pt x="4" y="1"/>
                      </a:cubicBezTo>
                      <a:cubicBezTo>
                        <a:pt x="4" y="1"/>
                        <a:pt x="4" y="1"/>
                        <a:pt x="4" y="1"/>
                      </a:cubicBezTo>
                      <a:cubicBezTo>
                        <a:pt x="4" y="1"/>
                        <a:pt x="5" y="1"/>
                        <a:pt x="5" y="0"/>
                      </a:cubicBezTo>
                      <a:cubicBezTo>
                        <a:pt x="5" y="0"/>
                        <a:pt x="5" y="0"/>
                        <a:pt x="5" y="0"/>
                      </a:cubicBezTo>
                      <a:cubicBezTo>
                        <a:pt x="5" y="0"/>
                        <a:pt x="6" y="0"/>
                        <a:pt x="6" y="0"/>
                      </a:cubicBezTo>
                      <a:cubicBezTo>
                        <a:pt x="6" y="0"/>
                        <a:pt x="5" y="0"/>
                        <a:pt x="5" y="0"/>
                      </a:cubicBezTo>
                      <a:cubicBezTo>
                        <a:pt x="5" y="0"/>
                        <a:pt x="5" y="0"/>
                        <a:pt x="5" y="0"/>
                      </a:cubicBezTo>
                      <a:cubicBezTo>
                        <a:pt x="5" y="0"/>
                        <a:pt x="4" y="0"/>
                        <a:pt x="4" y="0"/>
                      </a:cubicBezTo>
                      <a:cubicBezTo>
                        <a:pt x="4" y="0"/>
                        <a:pt x="4" y="1"/>
                        <a:pt x="3" y="1"/>
                      </a:cubicBezTo>
                      <a:cubicBezTo>
                        <a:pt x="4" y="1"/>
                        <a:pt x="4" y="1"/>
                        <a:pt x="4" y="1"/>
                      </a:cubicBezTo>
                      <a:cubicBezTo>
                        <a:pt x="4" y="1"/>
                        <a:pt x="4" y="1"/>
                        <a:pt x="4" y="1"/>
                      </a:cubicBezTo>
                      <a:cubicBezTo>
                        <a:pt x="4" y="1"/>
                        <a:pt x="4" y="1"/>
                        <a:pt x="4" y="1"/>
                      </a:cubicBezTo>
                      <a:cubicBezTo>
                        <a:pt x="4" y="1"/>
                        <a:pt x="4"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2"/>
                      </a:cubicBezTo>
                      <a:cubicBezTo>
                        <a:pt x="3" y="2"/>
                        <a:pt x="3" y="2"/>
                        <a:pt x="3" y="2"/>
                      </a:cubicBezTo>
                      <a:cubicBezTo>
                        <a:pt x="2" y="2"/>
                        <a:pt x="2" y="2"/>
                        <a:pt x="2" y="2"/>
                      </a:cubicBezTo>
                      <a:cubicBezTo>
                        <a:pt x="2" y="2"/>
                        <a:pt x="2" y="2"/>
                        <a:pt x="2" y="2"/>
                      </a:cubicBezTo>
                      <a:cubicBezTo>
                        <a:pt x="2" y="2"/>
                        <a:pt x="2" y="2"/>
                        <a:pt x="2" y="2"/>
                      </a:cubicBezTo>
                      <a:cubicBezTo>
                        <a:pt x="2" y="2"/>
                        <a:pt x="2" y="3"/>
                        <a:pt x="2"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1" y="4"/>
                        <a:pt x="1" y="4"/>
                        <a:pt x="1" y="4"/>
                      </a:cubicBezTo>
                      <a:cubicBezTo>
                        <a:pt x="1" y="4"/>
                        <a:pt x="2" y="4"/>
                        <a:pt x="2" y="4"/>
                      </a:cubicBezTo>
                      <a:cubicBezTo>
                        <a:pt x="2" y="4"/>
                        <a:pt x="2"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3" y="5"/>
                        <a:pt x="3" y="5"/>
                      </a:cubicBezTo>
                      <a:cubicBezTo>
                        <a:pt x="3" y="5"/>
                        <a:pt x="3" y="5"/>
                        <a:pt x="3" y="5"/>
                      </a:cubicBezTo>
                      <a:cubicBezTo>
                        <a:pt x="3" y="5"/>
                        <a:pt x="3" y="6"/>
                        <a:pt x="3" y="6"/>
                      </a:cubicBezTo>
                      <a:cubicBezTo>
                        <a:pt x="3" y="6"/>
                        <a:pt x="3" y="6"/>
                        <a:pt x="3" y="6"/>
                      </a:cubicBezTo>
                      <a:cubicBezTo>
                        <a:pt x="3" y="6"/>
                        <a:pt x="4" y="6"/>
                        <a:pt x="4" y="6"/>
                      </a:cubicBezTo>
                      <a:cubicBezTo>
                        <a:pt x="4" y="6"/>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8"/>
                        <a:pt x="4" y="8"/>
                      </a:cubicBezTo>
                      <a:cubicBezTo>
                        <a:pt x="4" y="8"/>
                        <a:pt x="4" y="8"/>
                        <a:pt x="4" y="8"/>
                      </a:cubicBezTo>
                      <a:cubicBezTo>
                        <a:pt x="4" y="8"/>
                        <a:pt x="3" y="9"/>
                        <a:pt x="3" y="9"/>
                      </a:cubicBezTo>
                      <a:cubicBezTo>
                        <a:pt x="3" y="9"/>
                        <a:pt x="3" y="9"/>
                        <a:pt x="3" y="9"/>
                      </a:cubicBezTo>
                      <a:cubicBezTo>
                        <a:pt x="3" y="9"/>
                        <a:pt x="3" y="9"/>
                        <a:pt x="3" y="9"/>
                      </a:cubicBezTo>
                      <a:cubicBezTo>
                        <a:pt x="3" y="9"/>
                        <a:pt x="2" y="9"/>
                        <a:pt x="2" y="9"/>
                      </a:cubicBezTo>
                      <a:cubicBezTo>
                        <a:pt x="2" y="9"/>
                        <a:pt x="2" y="9"/>
                        <a:pt x="2" y="9"/>
                      </a:cubicBezTo>
                      <a:cubicBezTo>
                        <a:pt x="2" y="9"/>
                        <a:pt x="2" y="9"/>
                        <a:pt x="2" y="9"/>
                      </a:cubicBezTo>
                      <a:cubicBezTo>
                        <a:pt x="2" y="10"/>
                        <a:pt x="2" y="10"/>
                        <a:pt x="2" y="10"/>
                      </a:cubicBezTo>
                      <a:cubicBezTo>
                        <a:pt x="2" y="10"/>
                        <a:pt x="2" y="10"/>
                        <a:pt x="2" y="10"/>
                      </a:cubicBezTo>
                      <a:cubicBezTo>
                        <a:pt x="2" y="11"/>
                        <a:pt x="2" y="11"/>
                        <a:pt x="2" y="11"/>
                      </a:cubicBezTo>
                      <a:cubicBezTo>
                        <a:pt x="2" y="11"/>
                        <a:pt x="2" y="11"/>
                        <a:pt x="2" y="11"/>
                      </a:cubicBezTo>
                      <a:cubicBezTo>
                        <a:pt x="1" y="11"/>
                        <a:pt x="1" y="11"/>
                        <a:pt x="1" y="11"/>
                      </a:cubicBezTo>
                      <a:cubicBezTo>
                        <a:pt x="1" y="11"/>
                        <a:pt x="1" y="11"/>
                        <a:pt x="1" y="11"/>
                      </a:cubicBezTo>
                      <a:cubicBezTo>
                        <a:pt x="1" y="11"/>
                        <a:pt x="1" y="11"/>
                        <a:pt x="1" y="11"/>
                      </a:cubicBezTo>
                      <a:cubicBezTo>
                        <a:pt x="1" y="12"/>
                        <a:pt x="1" y="12"/>
                        <a:pt x="1" y="12"/>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1" y="15"/>
                        <a:pt x="1" y="15"/>
                      </a:cubicBezTo>
                      <a:cubicBezTo>
                        <a:pt x="1" y="15"/>
                        <a:pt x="1" y="15"/>
                        <a:pt x="1" y="15"/>
                      </a:cubicBezTo>
                      <a:cubicBezTo>
                        <a:pt x="1" y="15"/>
                        <a:pt x="1" y="16"/>
                        <a:pt x="1" y="16"/>
                      </a:cubicBezTo>
                      <a:cubicBezTo>
                        <a:pt x="1" y="16"/>
                        <a:pt x="1" y="16"/>
                        <a:pt x="2" y="16"/>
                      </a:cubicBezTo>
                      <a:cubicBezTo>
                        <a:pt x="2" y="16"/>
                        <a:pt x="2" y="16"/>
                        <a:pt x="2" y="16"/>
                      </a:cubicBezTo>
                      <a:cubicBezTo>
                        <a:pt x="2" y="16"/>
                        <a:pt x="2" y="16"/>
                        <a:pt x="2" y="16"/>
                      </a:cubicBezTo>
                      <a:cubicBezTo>
                        <a:pt x="2" y="17"/>
                        <a:pt x="2" y="17"/>
                        <a:pt x="2" y="17"/>
                      </a:cubicBezTo>
                      <a:cubicBezTo>
                        <a:pt x="2" y="17"/>
                        <a:pt x="2" y="17"/>
                        <a:pt x="2" y="17"/>
                      </a:cubicBezTo>
                      <a:cubicBezTo>
                        <a:pt x="2" y="17"/>
                        <a:pt x="2" y="17"/>
                        <a:pt x="2" y="17"/>
                      </a:cubicBezTo>
                      <a:cubicBezTo>
                        <a:pt x="2" y="17"/>
                        <a:pt x="3" y="17"/>
                        <a:pt x="3" y="17"/>
                      </a:cubicBezTo>
                      <a:cubicBezTo>
                        <a:pt x="3" y="17"/>
                        <a:pt x="3" y="17"/>
                        <a:pt x="3" y="17"/>
                      </a:cubicBezTo>
                      <a:cubicBezTo>
                        <a:pt x="3" y="17"/>
                        <a:pt x="3" y="17"/>
                        <a:pt x="3" y="17"/>
                      </a:cubicBezTo>
                      <a:cubicBezTo>
                        <a:pt x="3" y="17"/>
                        <a:pt x="3" y="17"/>
                        <a:pt x="3" y="17"/>
                      </a:cubicBezTo>
                      <a:cubicBezTo>
                        <a:pt x="3" y="17"/>
                        <a:pt x="3" y="17"/>
                        <a:pt x="3" y="17"/>
                      </a:cubicBezTo>
                      <a:cubicBezTo>
                        <a:pt x="3" y="16"/>
                        <a:pt x="3" y="16"/>
                        <a:pt x="3" y="16"/>
                      </a:cubicBezTo>
                      <a:cubicBezTo>
                        <a:pt x="4" y="16"/>
                        <a:pt x="4" y="16"/>
                        <a:pt x="4" y="16"/>
                      </a:cubicBezTo>
                      <a:cubicBezTo>
                        <a:pt x="4" y="16"/>
                        <a:pt x="4" y="16"/>
                        <a:pt x="4" y="16"/>
                      </a:cubicBezTo>
                      <a:cubicBezTo>
                        <a:pt x="4" y="15"/>
                        <a:pt x="4" y="15"/>
                        <a:pt x="4" y="15"/>
                      </a:cubicBezTo>
                      <a:cubicBezTo>
                        <a:pt x="4" y="15"/>
                        <a:pt x="4" y="15"/>
                        <a:pt x="4" y="15"/>
                      </a:cubicBezTo>
                      <a:cubicBezTo>
                        <a:pt x="4" y="15"/>
                        <a:pt x="5" y="15"/>
                        <a:pt x="5" y="15"/>
                      </a:cubicBezTo>
                      <a:cubicBezTo>
                        <a:pt x="5" y="15"/>
                        <a:pt x="5" y="15"/>
                        <a:pt x="5" y="15"/>
                      </a:cubicBezTo>
                      <a:cubicBezTo>
                        <a:pt x="5" y="15"/>
                        <a:pt x="5" y="15"/>
                        <a:pt x="5"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3" name="Freeform 723">
                  <a:extLst>
                    <a:ext uri="{FF2B5EF4-FFF2-40B4-BE49-F238E27FC236}">
                      <a16:creationId xmlns:a16="http://schemas.microsoft.com/office/drawing/2014/main" id="{DB29D839-E6D9-3DF8-C384-23A3757E90DB}"/>
                    </a:ext>
                  </a:extLst>
                </p:cNvPr>
                <p:cNvSpPr>
                  <a:spLocks noEditPoints="1"/>
                </p:cNvSpPr>
                <p:nvPr/>
              </p:nvSpPr>
              <p:spPr bwMode="auto">
                <a:xfrm>
                  <a:off x="10066338" y="6303963"/>
                  <a:ext cx="84137" cy="200025"/>
                </a:xfrm>
                <a:custGeom>
                  <a:avLst/>
                  <a:gdLst>
                    <a:gd name="T0" fmla="*/ 3 w 20"/>
                    <a:gd name="T1" fmla="*/ 10 h 48"/>
                    <a:gd name="T2" fmla="*/ 1 w 20"/>
                    <a:gd name="T3" fmla="*/ 14 h 48"/>
                    <a:gd name="T4" fmla="*/ 2 w 20"/>
                    <a:gd name="T5" fmla="*/ 14 h 48"/>
                    <a:gd name="T6" fmla="*/ 15 w 20"/>
                    <a:gd name="T7" fmla="*/ 26 h 48"/>
                    <a:gd name="T8" fmla="*/ 1 w 20"/>
                    <a:gd name="T9" fmla="*/ 19 h 48"/>
                    <a:gd name="T10" fmla="*/ 13 w 20"/>
                    <a:gd name="T11" fmla="*/ 28 h 48"/>
                    <a:gd name="T12" fmla="*/ 11 w 20"/>
                    <a:gd name="T13" fmla="*/ 27 h 48"/>
                    <a:gd name="T14" fmla="*/ 9 w 20"/>
                    <a:gd name="T15" fmla="*/ 26 h 48"/>
                    <a:gd name="T16" fmla="*/ 8 w 20"/>
                    <a:gd name="T17" fmla="*/ 29 h 48"/>
                    <a:gd name="T18" fmla="*/ 9 w 20"/>
                    <a:gd name="T19" fmla="*/ 30 h 48"/>
                    <a:gd name="T20" fmla="*/ 12 w 20"/>
                    <a:gd name="T21" fmla="*/ 29 h 48"/>
                    <a:gd name="T22" fmla="*/ 3 w 20"/>
                    <a:gd name="T23" fmla="*/ 18 h 48"/>
                    <a:gd name="T24" fmla="*/ 9 w 20"/>
                    <a:gd name="T25" fmla="*/ 21 h 48"/>
                    <a:gd name="T26" fmla="*/ 17 w 20"/>
                    <a:gd name="T27" fmla="*/ 24 h 48"/>
                    <a:gd name="T28" fmla="*/ 13 w 20"/>
                    <a:gd name="T29" fmla="*/ 24 h 48"/>
                    <a:gd name="T30" fmla="*/ 13 w 20"/>
                    <a:gd name="T31" fmla="*/ 23 h 48"/>
                    <a:gd name="T32" fmla="*/ 9 w 20"/>
                    <a:gd name="T33" fmla="*/ 21 h 48"/>
                    <a:gd name="T34" fmla="*/ 7 w 20"/>
                    <a:gd name="T35" fmla="*/ 20 h 48"/>
                    <a:gd name="T36" fmla="*/ 2 w 20"/>
                    <a:gd name="T37" fmla="*/ 19 h 48"/>
                    <a:gd name="T38" fmla="*/ 2 w 20"/>
                    <a:gd name="T39" fmla="*/ 17 h 48"/>
                    <a:gd name="T40" fmla="*/ 1 w 20"/>
                    <a:gd name="T41" fmla="*/ 16 h 48"/>
                    <a:gd name="T42" fmla="*/ 3 w 20"/>
                    <a:gd name="T43" fmla="*/ 15 h 48"/>
                    <a:gd name="T44" fmla="*/ 3 w 20"/>
                    <a:gd name="T45" fmla="*/ 14 h 48"/>
                    <a:gd name="T46" fmla="*/ 4 w 20"/>
                    <a:gd name="T47" fmla="*/ 13 h 48"/>
                    <a:gd name="T48" fmla="*/ 3 w 20"/>
                    <a:gd name="T49" fmla="*/ 12 h 48"/>
                    <a:gd name="T50" fmla="*/ 4 w 20"/>
                    <a:gd name="T51" fmla="*/ 12 h 48"/>
                    <a:gd name="T52" fmla="*/ 4 w 20"/>
                    <a:gd name="T53" fmla="*/ 11 h 48"/>
                    <a:gd name="T54" fmla="*/ 5 w 20"/>
                    <a:gd name="T55" fmla="*/ 8 h 48"/>
                    <a:gd name="T56" fmla="*/ 6 w 20"/>
                    <a:gd name="T57" fmla="*/ 7 h 48"/>
                    <a:gd name="T58" fmla="*/ 7 w 20"/>
                    <a:gd name="T59" fmla="*/ 6 h 48"/>
                    <a:gd name="T60" fmla="*/ 9 w 20"/>
                    <a:gd name="T61" fmla="*/ 4 h 48"/>
                    <a:gd name="T62" fmla="*/ 10 w 20"/>
                    <a:gd name="T63" fmla="*/ 3 h 48"/>
                    <a:gd name="T64" fmla="*/ 14 w 20"/>
                    <a:gd name="T65" fmla="*/ 1 h 48"/>
                    <a:gd name="T66" fmla="*/ 12 w 20"/>
                    <a:gd name="T67" fmla="*/ 5 h 48"/>
                    <a:gd name="T68" fmla="*/ 13 w 20"/>
                    <a:gd name="T69" fmla="*/ 10 h 48"/>
                    <a:gd name="T70" fmla="*/ 17 w 20"/>
                    <a:gd name="T71" fmla="*/ 12 h 48"/>
                    <a:gd name="T72" fmla="*/ 19 w 20"/>
                    <a:gd name="T73" fmla="*/ 17 h 48"/>
                    <a:gd name="T74" fmla="*/ 19 w 20"/>
                    <a:gd name="T75" fmla="*/ 19 h 48"/>
                    <a:gd name="T76" fmla="*/ 3 w 20"/>
                    <a:gd name="T77" fmla="*/ 17 h 48"/>
                    <a:gd name="T78" fmla="*/ 3 w 20"/>
                    <a:gd name="T79" fmla="*/ 18 h 48"/>
                    <a:gd name="T80" fmla="*/ 11 w 20"/>
                    <a:gd name="T81" fmla="*/ 44 h 48"/>
                    <a:gd name="T82" fmla="*/ 10 w 20"/>
                    <a:gd name="T83" fmla="*/ 44 h 48"/>
                    <a:gd name="T84" fmla="*/ 10 w 20"/>
                    <a:gd name="T85" fmla="*/ 45 h 48"/>
                    <a:gd name="T86" fmla="*/ 11 w 20"/>
                    <a:gd name="T87" fmla="*/ 45 h 48"/>
                    <a:gd name="T88" fmla="*/ 10 w 20"/>
                    <a:gd name="T89" fmla="*/ 46 h 48"/>
                    <a:gd name="T90" fmla="*/ 11 w 20"/>
                    <a:gd name="T91" fmla="*/ 46 h 48"/>
                    <a:gd name="T92" fmla="*/ 11 w 20"/>
                    <a:gd name="T93" fmla="*/ 47 h 48"/>
                    <a:gd name="T94" fmla="*/ 10 w 20"/>
                    <a:gd name="T95" fmla="*/ 47 h 48"/>
                    <a:gd name="T96" fmla="*/ 9 w 20"/>
                    <a:gd name="T97" fmla="*/ 46 h 48"/>
                    <a:gd name="T98" fmla="*/ 9 w 20"/>
                    <a:gd name="T99" fmla="*/ 47 h 48"/>
                    <a:gd name="T100" fmla="*/ 9 w 20"/>
                    <a:gd name="T101" fmla="*/ 46 h 48"/>
                    <a:gd name="T102" fmla="*/ 10 w 20"/>
                    <a:gd name="T103" fmla="*/ 44 h 48"/>
                    <a:gd name="T104" fmla="*/ 10 w 20"/>
                    <a:gd name="T105" fmla="*/ 43 h 48"/>
                    <a:gd name="T106" fmla="*/ 11 w 20"/>
                    <a:gd name="T107" fmla="*/ 44 h 48"/>
                    <a:gd name="T108" fmla="*/ 11 w 20"/>
                    <a:gd name="T109" fmla="*/ 44 h 48"/>
                    <a:gd name="T110" fmla="*/ 10 w 20"/>
                    <a:gd name="T111" fmla="*/ 47 h 48"/>
                    <a:gd name="T112" fmla="*/ 9 w 20"/>
                    <a:gd name="T113" fmla="*/ 47 h 48"/>
                    <a:gd name="T114" fmla="*/ 10 w 20"/>
                    <a:gd name="T115" fmla="*/ 48 h 48"/>
                    <a:gd name="T116" fmla="*/ 11 w 20"/>
                    <a:gd name="T117" fmla="*/ 47 h 48"/>
                    <a:gd name="T118" fmla="*/ 11 w 20"/>
                    <a:gd name="T119"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 h="48">
                      <a:moveTo>
                        <a:pt x="2" y="19"/>
                      </a:moveTo>
                      <a:cubicBezTo>
                        <a:pt x="2" y="19"/>
                        <a:pt x="2" y="19"/>
                        <a:pt x="2" y="19"/>
                      </a:cubicBezTo>
                      <a:cubicBezTo>
                        <a:pt x="2" y="19"/>
                        <a:pt x="2" y="19"/>
                        <a:pt x="2" y="19"/>
                      </a:cubicBezTo>
                      <a:close/>
                      <a:moveTo>
                        <a:pt x="4" y="11"/>
                      </a:moveTo>
                      <a:cubicBezTo>
                        <a:pt x="4" y="11"/>
                        <a:pt x="4" y="11"/>
                        <a:pt x="4" y="11"/>
                      </a:cubicBezTo>
                      <a:cubicBezTo>
                        <a:pt x="4" y="11"/>
                        <a:pt x="4" y="11"/>
                        <a:pt x="4" y="11"/>
                      </a:cubicBezTo>
                      <a:cubicBezTo>
                        <a:pt x="4" y="10"/>
                        <a:pt x="4" y="10"/>
                        <a:pt x="4" y="9"/>
                      </a:cubicBezTo>
                      <a:cubicBezTo>
                        <a:pt x="4" y="9"/>
                        <a:pt x="4" y="9"/>
                        <a:pt x="4" y="9"/>
                      </a:cubicBezTo>
                      <a:cubicBezTo>
                        <a:pt x="4" y="9"/>
                        <a:pt x="4" y="9"/>
                        <a:pt x="4" y="9"/>
                      </a:cubicBezTo>
                      <a:cubicBezTo>
                        <a:pt x="4" y="9"/>
                        <a:pt x="4" y="9"/>
                        <a:pt x="4" y="9"/>
                      </a:cubicBezTo>
                      <a:cubicBezTo>
                        <a:pt x="4" y="9"/>
                        <a:pt x="4" y="9"/>
                        <a:pt x="4" y="10"/>
                      </a:cubicBezTo>
                      <a:cubicBezTo>
                        <a:pt x="3" y="10"/>
                        <a:pt x="3" y="10"/>
                        <a:pt x="3" y="10"/>
                      </a:cubicBezTo>
                      <a:cubicBezTo>
                        <a:pt x="3" y="10"/>
                        <a:pt x="3" y="10"/>
                        <a:pt x="3" y="10"/>
                      </a:cubicBezTo>
                      <a:cubicBezTo>
                        <a:pt x="3" y="10"/>
                        <a:pt x="3" y="10"/>
                        <a:pt x="3" y="10"/>
                      </a:cubicBezTo>
                      <a:cubicBezTo>
                        <a:pt x="3" y="10"/>
                        <a:pt x="4" y="11"/>
                        <a:pt x="4" y="11"/>
                      </a:cubicBezTo>
                      <a:close/>
                      <a:moveTo>
                        <a:pt x="14" y="24"/>
                      </a:moveTo>
                      <a:cubicBezTo>
                        <a:pt x="14" y="24"/>
                        <a:pt x="14" y="24"/>
                        <a:pt x="14" y="24"/>
                      </a:cubicBezTo>
                      <a:cubicBezTo>
                        <a:pt x="14" y="24"/>
                        <a:pt x="14" y="24"/>
                        <a:pt x="15" y="24"/>
                      </a:cubicBezTo>
                      <a:cubicBezTo>
                        <a:pt x="15" y="24"/>
                        <a:pt x="15" y="24"/>
                        <a:pt x="14" y="24"/>
                      </a:cubicBezTo>
                      <a:cubicBezTo>
                        <a:pt x="14" y="24"/>
                        <a:pt x="14" y="24"/>
                        <a:pt x="14" y="24"/>
                      </a:cubicBezTo>
                      <a:close/>
                      <a:moveTo>
                        <a:pt x="15" y="24"/>
                      </a:moveTo>
                      <a:cubicBezTo>
                        <a:pt x="15" y="24"/>
                        <a:pt x="15" y="24"/>
                        <a:pt x="15" y="24"/>
                      </a:cubicBezTo>
                      <a:cubicBezTo>
                        <a:pt x="15" y="24"/>
                        <a:pt x="15" y="24"/>
                        <a:pt x="15" y="24"/>
                      </a:cubicBezTo>
                      <a:cubicBezTo>
                        <a:pt x="15" y="24"/>
                        <a:pt x="15" y="24"/>
                        <a:pt x="15" y="24"/>
                      </a:cubicBezTo>
                      <a:cubicBezTo>
                        <a:pt x="15" y="24"/>
                        <a:pt x="15" y="24"/>
                        <a:pt x="15" y="24"/>
                      </a:cubicBezTo>
                      <a:close/>
                      <a:moveTo>
                        <a:pt x="1" y="14"/>
                      </a:moveTo>
                      <a:cubicBezTo>
                        <a:pt x="1" y="14"/>
                        <a:pt x="1" y="14"/>
                        <a:pt x="1" y="14"/>
                      </a:cubicBezTo>
                      <a:cubicBezTo>
                        <a:pt x="1" y="14"/>
                        <a:pt x="1" y="14"/>
                        <a:pt x="1" y="14"/>
                      </a:cubicBezTo>
                      <a:cubicBezTo>
                        <a:pt x="1" y="14"/>
                        <a:pt x="1" y="14"/>
                        <a:pt x="1" y="14"/>
                      </a:cubicBezTo>
                      <a:cubicBezTo>
                        <a:pt x="1" y="15"/>
                        <a:pt x="1" y="15"/>
                        <a:pt x="1" y="15"/>
                      </a:cubicBezTo>
                      <a:cubicBezTo>
                        <a:pt x="1" y="15"/>
                        <a:pt x="1"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4"/>
                        <a:pt x="2" y="14"/>
                        <a:pt x="2" y="14"/>
                      </a:cubicBezTo>
                      <a:cubicBezTo>
                        <a:pt x="2" y="14"/>
                        <a:pt x="2" y="14"/>
                        <a:pt x="2" y="14"/>
                      </a:cubicBezTo>
                      <a:cubicBezTo>
                        <a:pt x="2" y="14"/>
                        <a:pt x="2" y="14"/>
                        <a:pt x="2" y="14"/>
                      </a:cubicBezTo>
                      <a:cubicBezTo>
                        <a:pt x="2" y="14"/>
                        <a:pt x="2" y="14"/>
                        <a:pt x="2" y="14"/>
                      </a:cubicBezTo>
                      <a:cubicBezTo>
                        <a:pt x="2" y="14"/>
                        <a:pt x="1" y="14"/>
                        <a:pt x="1" y="14"/>
                      </a:cubicBezTo>
                      <a:cubicBezTo>
                        <a:pt x="1" y="14"/>
                        <a:pt x="1" y="14"/>
                        <a:pt x="1" y="14"/>
                      </a:cubicBezTo>
                      <a:cubicBezTo>
                        <a:pt x="1" y="14"/>
                        <a:pt x="1" y="14"/>
                        <a:pt x="1" y="14"/>
                      </a:cubicBezTo>
                      <a:cubicBezTo>
                        <a:pt x="1" y="14"/>
                        <a:pt x="0" y="15"/>
                        <a:pt x="0" y="15"/>
                      </a:cubicBezTo>
                      <a:cubicBezTo>
                        <a:pt x="0" y="15"/>
                        <a:pt x="0" y="15"/>
                        <a:pt x="0" y="15"/>
                      </a:cubicBezTo>
                      <a:cubicBezTo>
                        <a:pt x="1" y="15"/>
                        <a:pt x="1" y="15"/>
                        <a:pt x="1" y="14"/>
                      </a:cubicBezTo>
                      <a:close/>
                      <a:moveTo>
                        <a:pt x="15" y="26"/>
                      </a:moveTo>
                      <a:cubicBezTo>
                        <a:pt x="15" y="26"/>
                        <a:pt x="15" y="26"/>
                        <a:pt x="15" y="26"/>
                      </a:cubicBezTo>
                      <a:cubicBezTo>
                        <a:pt x="15" y="26"/>
                        <a:pt x="15" y="26"/>
                        <a:pt x="15" y="26"/>
                      </a:cubicBezTo>
                      <a:cubicBezTo>
                        <a:pt x="15" y="26"/>
                        <a:pt x="15" y="26"/>
                        <a:pt x="15" y="26"/>
                      </a:cubicBezTo>
                      <a:cubicBezTo>
                        <a:pt x="15" y="26"/>
                        <a:pt x="15" y="26"/>
                        <a:pt x="15" y="26"/>
                      </a:cubicBezTo>
                      <a:close/>
                      <a:moveTo>
                        <a:pt x="9" y="26"/>
                      </a:moveTo>
                      <a:cubicBezTo>
                        <a:pt x="9" y="26"/>
                        <a:pt x="9" y="26"/>
                        <a:pt x="9" y="26"/>
                      </a:cubicBezTo>
                      <a:cubicBezTo>
                        <a:pt x="9" y="26"/>
                        <a:pt x="9" y="26"/>
                        <a:pt x="8" y="26"/>
                      </a:cubicBezTo>
                      <a:cubicBezTo>
                        <a:pt x="8" y="26"/>
                        <a:pt x="8" y="26"/>
                        <a:pt x="8" y="26"/>
                      </a:cubicBezTo>
                      <a:cubicBezTo>
                        <a:pt x="8" y="26"/>
                        <a:pt x="8" y="26"/>
                        <a:pt x="9" y="26"/>
                      </a:cubicBezTo>
                      <a:close/>
                      <a:moveTo>
                        <a:pt x="1" y="19"/>
                      </a:moveTo>
                      <a:cubicBezTo>
                        <a:pt x="1" y="19"/>
                        <a:pt x="1" y="19"/>
                        <a:pt x="1" y="19"/>
                      </a:cubicBezTo>
                      <a:cubicBezTo>
                        <a:pt x="1" y="19"/>
                        <a:pt x="1" y="19"/>
                        <a:pt x="1" y="19"/>
                      </a:cubicBezTo>
                      <a:cubicBezTo>
                        <a:pt x="1" y="19"/>
                        <a:pt x="1" y="19"/>
                        <a:pt x="1" y="19"/>
                      </a:cubicBezTo>
                      <a:close/>
                      <a:moveTo>
                        <a:pt x="2" y="19"/>
                      </a:moveTo>
                      <a:cubicBezTo>
                        <a:pt x="1" y="19"/>
                        <a:pt x="1" y="19"/>
                        <a:pt x="1" y="19"/>
                      </a:cubicBezTo>
                      <a:cubicBezTo>
                        <a:pt x="1" y="19"/>
                        <a:pt x="1" y="19"/>
                        <a:pt x="1" y="19"/>
                      </a:cubicBezTo>
                      <a:cubicBezTo>
                        <a:pt x="1" y="19"/>
                        <a:pt x="1" y="19"/>
                        <a:pt x="1" y="19"/>
                      </a:cubicBezTo>
                      <a:cubicBezTo>
                        <a:pt x="1" y="19"/>
                        <a:pt x="1" y="19"/>
                        <a:pt x="2" y="19"/>
                      </a:cubicBezTo>
                      <a:cubicBezTo>
                        <a:pt x="2" y="19"/>
                        <a:pt x="2" y="19"/>
                        <a:pt x="2" y="19"/>
                      </a:cubicBezTo>
                      <a:close/>
                      <a:moveTo>
                        <a:pt x="7" y="31"/>
                      </a:moveTo>
                      <a:cubicBezTo>
                        <a:pt x="7" y="31"/>
                        <a:pt x="7" y="31"/>
                        <a:pt x="7" y="31"/>
                      </a:cubicBezTo>
                      <a:cubicBezTo>
                        <a:pt x="7" y="31"/>
                        <a:pt x="7" y="31"/>
                        <a:pt x="7" y="31"/>
                      </a:cubicBezTo>
                      <a:cubicBezTo>
                        <a:pt x="7" y="31"/>
                        <a:pt x="7" y="31"/>
                        <a:pt x="7" y="31"/>
                      </a:cubicBezTo>
                      <a:cubicBezTo>
                        <a:pt x="7" y="31"/>
                        <a:pt x="7" y="31"/>
                        <a:pt x="7" y="31"/>
                      </a:cubicBezTo>
                      <a:close/>
                      <a:moveTo>
                        <a:pt x="1" y="18"/>
                      </a:moveTo>
                      <a:cubicBezTo>
                        <a:pt x="1" y="18"/>
                        <a:pt x="1" y="18"/>
                        <a:pt x="1" y="18"/>
                      </a:cubicBezTo>
                      <a:cubicBezTo>
                        <a:pt x="1" y="18"/>
                        <a:pt x="1" y="18"/>
                        <a:pt x="1" y="18"/>
                      </a:cubicBezTo>
                      <a:cubicBezTo>
                        <a:pt x="1" y="18"/>
                        <a:pt x="1" y="18"/>
                        <a:pt x="1" y="18"/>
                      </a:cubicBezTo>
                      <a:cubicBezTo>
                        <a:pt x="1" y="18"/>
                        <a:pt x="1" y="18"/>
                        <a:pt x="1" y="18"/>
                      </a:cubicBezTo>
                      <a:close/>
                      <a:moveTo>
                        <a:pt x="13" y="28"/>
                      </a:moveTo>
                      <a:cubicBezTo>
                        <a:pt x="13" y="28"/>
                        <a:pt x="13" y="28"/>
                        <a:pt x="13" y="28"/>
                      </a:cubicBezTo>
                      <a:cubicBezTo>
                        <a:pt x="13" y="28"/>
                        <a:pt x="13" y="28"/>
                        <a:pt x="13"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1" y="28"/>
                      </a:cubicBezTo>
                      <a:cubicBezTo>
                        <a:pt x="11" y="27"/>
                        <a:pt x="11" y="27"/>
                        <a:pt x="11" y="28"/>
                      </a:cubicBezTo>
                      <a:cubicBezTo>
                        <a:pt x="11" y="28"/>
                        <a:pt x="11" y="28"/>
                        <a:pt x="11" y="28"/>
                      </a:cubicBezTo>
                      <a:cubicBezTo>
                        <a:pt x="11" y="28"/>
                        <a:pt x="11" y="27"/>
                        <a:pt x="11" y="27"/>
                      </a:cubicBezTo>
                      <a:cubicBezTo>
                        <a:pt x="11" y="27"/>
                        <a:pt x="11" y="27"/>
                        <a:pt x="11" y="27"/>
                      </a:cubicBezTo>
                      <a:cubicBezTo>
                        <a:pt x="11" y="27"/>
                        <a:pt x="11" y="27"/>
                        <a:pt x="11" y="27"/>
                      </a:cubicBezTo>
                      <a:cubicBezTo>
                        <a:pt x="11" y="27"/>
                        <a:pt x="11" y="27"/>
                        <a:pt x="11" y="27"/>
                      </a:cubicBezTo>
                      <a:cubicBezTo>
                        <a:pt x="11" y="27"/>
                        <a:pt x="11" y="27"/>
                        <a:pt x="12" y="27"/>
                      </a:cubicBezTo>
                      <a:cubicBezTo>
                        <a:pt x="12" y="27"/>
                        <a:pt x="12" y="27"/>
                        <a:pt x="12" y="27"/>
                      </a:cubicBezTo>
                      <a:cubicBezTo>
                        <a:pt x="12" y="27"/>
                        <a:pt x="12" y="27"/>
                        <a:pt x="12" y="27"/>
                      </a:cubicBezTo>
                      <a:cubicBezTo>
                        <a:pt x="12" y="27"/>
                        <a:pt x="12" y="27"/>
                        <a:pt x="12" y="27"/>
                      </a:cubicBezTo>
                      <a:cubicBezTo>
                        <a:pt x="12" y="27"/>
                        <a:pt x="12" y="27"/>
                        <a:pt x="12" y="27"/>
                      </a:cubicBezTo>
                      <a:cubicBezTo>
                        <a:pt x="12" y="26"/>
                        <a:pt x="12" y="26"/>
                        <a:pt x="12" y="26"/>
                      </a:cubicBezTo>
                      <a:cubicBezTo>
                        <a:pt x="11" y="26"/>
                        <a:pt x="11" y="26"/>
                        <a:pt x="11" y="26"/>
                      </a:cubicBezTo>
                      <a:cubicBezTo>
                        <a:pt x="11" y="25"/>
                        <a:pt x="11" y="25"/>
                        <a:pt x="11" y="25"/>
                      </a:cubicBezTo>
                      <a:cubicBezTo>
                        <a:pt x="10" y="25"/>
                        <a:pt x="10" y="25"/>
                        <a:pt x="10" y="25"/>
                      </a:cubicBezTo>
                      <a:cubicBezTo>
                        <a:pt x="10" y="25"/>
                        <a:pt x="10" y="25"/>
                        <a:pt x="10" y="25"/>
                      </a:cubicBezTo>
                      <a:cubicBezTo>
                        <a:pt x="10" y="25"/>
                        <a:pt x="9" y="25"/>
                        <a:pt x="9" y="25"/>
                      </a:cubicBezTo>
                      <a:cubicBezTo>
                        <a:pt x="9" y="25"/>
                        <a:pt x="9" y="25"/>
                        <a:pt x="9" y="26"/>
                      </a:cubicBezTo>
                      <a:cubicBezTo>
                        <a:pt x="9" y="26"/>
                        <a:pt x="9" y="26"/>
                        <a:pt x="9" y="26"/>
                      </a:cubicBezTo>
                      <a:cubicBezTo>
                        <a:pt x="9" y="26"/>
                        <a:pt x="9" y="26"/>
                        <a:pt x="9" y="26"/>
                      </a:cubicBezTo>
                      <a:cubicBezTo>
                        <a:pt x="9" y="26"/>
                        <a:pt x="9" y="26"/>
                        <a:pt x="9" y="26"/>
                      </a:cubicBezTo>
                      <a:cubicBezTo>
                        <a:pt x="9" y="27"/>
                        <a:pt x="9" y="27"/>
                        <a:pt x="9" y="27"/>
                      </a:cubicBezTo>
                      <a:cubicBezTo>
                        <a:pt x="9" y="27"/>
                        <a:pt x="9" y="27"/>
                        <a:pt x="9" y="27"/>
                      </a:cubicBezTo>
                      <a:cubicBezTo>
                        <a:pt x="9" y="28"/>
                        <a:pt x="9" y="28"/>
                        <a:pt x="9" y="28"/>
                      </a:cubicBezTo>
                      <a:cubicBezTo>
                        <a:pt x="9" y="28"/>
                        <a:pt x="9" y="28"/>
                        <a:pt x="9" y="28"/>
                      </a:cubicBezTo>
                      <a:cubicBezTo>
                        <a:pt x="9" y="28"/>
                        <a:pt x="9" y="28"/>
                        <a:pt x="9" y="28"/>
                      </a:cubicBezTo>
                      <a:cubicBezTo>
                        <a:pt x="9" y="29"/>
                        <a:pt x="9" y="29"/>
                        <a:pt x="9" y="29"/>
                      </a:cubicBezTo>
                      <a:cubicBezTo>
                        <a:pt x="9" y="29"/>
                        <a:pt x="9" y="29"/>
                        <a:pt x="9" y="29"/>
                      </a:cubicBezTo>
                      <a:cubicBezTo>
                        <a:pt x="9" y="29"/>
                        <a:pt x="9" y="29"/>
                        <a:pt x="9" y="29"/>
                      </a:cubicBezTo>
                      <a:cubicBezTo>
                        <a:pt x="9" y="29"/>
                        <a:pt x="9" y="29"/>
                        <a:pt x="9" y="29"/>
                      </a:cubicBezTo>
                      <a:cubicBezTo>
                        <a:pt x="9" y="29"/>
                        <a:pt x="8" y="29"/>
                        <a:pt x="8" y="29"/>
                      </a:cubicBezTo>
                      <a:cubicBezTo>
                        <a:pt x="8" y="29"/>
                        <a:pt x="8" y="29"/>
                        <a:pt x="8" y="30"/>
                      </a:cubicBezTo>
                      <a:cubicBezTo>
                        <a:pt x="8" y="30"/>
                        <a:pt x="8" y="30"/>
                        <a:pt x="8" y="30"/>
                      </a:cubicBezTo>
                      <a:cubicBezTo>
                        <a:pt x="8" y="30"/>
                        <a:pt x="8" y="30"/>
                        <a:pt x="8" y="30"/>
                      </a:cubicBezTo>
                      <a:cubicBezTo>
                        <a:pt x="8" y="30"/>
                        <a:pt x="7" y="30"/>
                        <a:pt x="7" y="31"/>
                      </a:cubicBezTo>
                      <a:cubicBezTo>
                        <a:pt x="7" y="31"/>
                        <a:pt x="7" y="31"/>
                        <a:pt x="7" y="31"/>
                      </a:cubicBezTo>
                      <a:cubicBezTo>
                        <a:pt x="8" y="31"/>
                        <a:pt x="8" y="31"/>
                        <a:pt x="8" y="31"/>
                      </a:cubicBezTo>
                      <a:cubicBezTo>
                        <a:pt x="8" y="31"/>
                        <a:pt x="8" y="31"/>
                        <a:pt x="8" y="31"/>
                      </a:cubicBezTo>
                      <a:cubicBezTo>
                        <a:pt x="9" y="31"/>
                        <a:pt x="9" y="31"/>
                        <a:pt x="9" y="31"/>
                      </a:cubicBezTo>
                      <a:cubicBezTo>
                        <a:pt x="8" y="31"/>
                        <a:pt x="8" y="31"/>
                        <a:pt x="8" y="31"/>
                      </a:cubicBezTo>
                      <a:cubicBezTo>
                        <a:pt x="8" y="31"/>
                        <a:pt x="8" y="31"/>
                        <a:pt x="8" y="30"/>
                      </a:cubicBezTo>
                      <a:cubicBezTo>
                        <a:pt x="8" y="30"/>
                        <a:pt x="8" y="30"/>
                        <a:pt x="9" y="30"/>
                      </a:cubicBezTo>
                      <a:cubicBezTo>
                        <a:pt x="9" y="30"/>
                        <a:pt x="9" y="30"/>
                        <a:pt x="9" y="30"/>
                      </a:cubicBezTo>
                      <a:cubicBezTo>
                        <a:pt x="9" y="30"/>
                        <a:pt x="9" y="30"/>
                        <a:pt x="9" y="30"/>
                      </a:cubicBezTo>
                      <a:cubicBezTo>
                        <a:pt x="9" y="30"/>
                        <a:pt x="9" y="30"/>
                        <a:pt x="9" y="30"/>
                      </a:cubicBezTo>
                      <a:cubicBezTo>
                        <a:pt x="9" y="30"/>
                        <a:pt x="9" y="30"/>
                        <a:pt x="9" y="30"/>
                      </a:cubicBezTo>
                      <a:cubicBezTo>
                        <a:pt x="9" y="30"/>
                        <a:pt x="10" y="30"/>
                        <a:pt x="10" y="30"/>
                      </a:cubicBezTo>
                      <a:cubicBezTo>
                        <a:pt x="10" y="30"/>
                        <a:pt x="10" y="30"/>
                        <a:pt x="10" y="30"/>
                      </a:cubicBezTo>
                      <a:cubicBezTo>
                        <a:pt x="10" y="30"/>
                        <a:pt x="10" y="30"/>
                        <a:pt x="10" y="30"/>
                      </a:cubicBezTo>
                      <a:cubicBezTo>
                        <a:pt x="10" y="30"/>
                        <a:pt x="10" y="30"/>
                        <a:pt x="11" y="30"/>
                      </a:cubicBezTo>
                      <a:cubicBezTo>
                        <a:pt x="11" y="30"/>
                        <a:pt x="11" y="30"/>
                        <a:pt x="11" y="30"/>
                      </a:cubicBezTo>
                      <a:cubicBezTo>
                        <a:pt x="11" y="30"/>
                        <a:pt x="11" y="30"/>
                        <a:pt x="11" y="30"/>
                      </a:cubicBezTo>
                      <a:cubicBezTo>
                        <a:pt x="11" y="30"/>
                        <a:pt x="11" y="30"/>
                        <a:pt x="11" y="30"/>
                      </a:cubicBezTo>
                      <a:cubicBezTo>
                        <a:pt x="11" y="30"/>
                        <a:pt x="11" y="30"/>
                        <a:pt x="11" y="29"/>
                      </a:cubicBezTo>
                      <a:cubicBezTo>
                        <a:pt x="11" y="29"/>
                        <a:pt x="11" y="29"/>
                        <a:pt x="11" y="29"/>
                      </a:cubicBezTo>
                      <a:cubicBezTo>
                        <a:pt x="11" y="30"/>
                        <a:pt x="11" y="30"/>
                        <a:pt x="11"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8"/>
                      </a:cubicBezTo>
                      <a:close/>
                      <a:moveTo>
                        <a:pt x="9" y="21"/>
                      </a:moveTo>
                      <a:cubicBezTo>
                        <a:pt x="9" y="21"/>
                        <a:pt x="9" y="21"/>
                        <a:pt x="9" y="21"/>
                      </a:cubicBezTo>
                      <a:cubicBezTo>
                        <a:pt x="9" y="21"/>
                        <a:pt x="9" y="21"/>
                        <a:pt x="9" y="21"/>
                      </a:cubicBezTo>
                      <a:close/>
                      <a:moveTo>
                        <a:pt x="3" y="17"/>
                      </a:move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ubicBezTo>
                        <a:pt x="3" y="17"/>
                        <a:pt x="3" y="17"/>
                        <a:pt x="3" y="17"/>
                      </a:cubicBezTo>
                      <a:close/>
                      <a:moveTo>
                        <a:pt x="9" y="21"/>
                      </a:moveTo>
                      <a:cubicBezTo>
                        <a:pt x="9" y="21"/>
                        <a:pt x="9" y="21"/>
                        <a:pt x="9" y="21"/>
                      </a:cubicBezTo>
                      <a:cubicBezTo>
                        <a:pt x="9" y="21"/>
                        <a:pt x="9" y="21"/>
                        <a:pt x="9" y="21"/>
                      </a:cubicBezTo>
                      <a:close/>
                      <a:moveTo>
                        <a:pt x="20" y="24"/>
                      </a:moveTo>
                      <a:cubicBezTo>
                        <a:pt x="20" y="25"/>
                        <a:pt x="20" y="25"/>
                        <a:pt x="20" y="25"/>
                      </a:cubicBezTo>
                      <a:cubicBezTo>
                        <a:pt x="20" y="25"/>
                        <a:pt x="19" y="24"/>
                        <a:pt x="19" y="24"/>
                      </a:cubicBezTo>
                      <a:cubicBezTo>
                        <a:pt x="19" y="24"/>
                        <a:pt x="19" y="24"/>
                        <a:pt x="19" y="24"/>
                      </a:cubicBezTo>
                      <a:cubicBezTo>
                        <a:pt x="19" y="24"/>
                        <a:pt x="19" y="24"/>
                        <a:pt x="19" y="24"/>
                      </a:cubicBezTo>
                      <a:cubicBezTo>
                        <a:pt x="19" y="24"/>
                        <a:pt x="19" y="25"/>
                        <a:pt x="19" y="25"/>
                      </a:cubicBezTo>
                      <a:cubicBezTo>
                        <a:pt x="19" y="25"/>
                        <a:pt x="19" y="25"/>
                        <a:pt x="19" y="24"/>
                      </a:cubicBezTo>
                      <a:cubicBezTo>
                        <a:pt x="18" y="25"/>
                        <a:pt x="19" y="25"/>
                        <a:pt x="18" y="25"/>
                      </a:cubicBezTo>
                      <a:cubicBezTo>
                        <a:pt x="18" y="25"/>
                        <a:pt x="18" y="25"/>
                        <a:pt x="18" y="25"/>
                      </a:cubicBezTo>
                      <a:cubicBezTo>
                        <a:pt x="18" y="25"/>
                        <a:pt x="18" y="25"/>
                        <a:pt x="17" y="25"/>
                      </a:cubicBezTo>
                      <a:cubicBezTo>
                        <a:pt x="17" y="25"/>
                        <a:pt x="17" y="25"/>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6"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4" y="24"/>
                        <a:pt x="14" y="24"/>
                        <a:pt x="14" y="24"/>
                      </a:cubicBezTo>
                      <a:cubicBezTo>
                        <a:pt x="14" y="24"/>
                        <a:pt x="14" y="24"/>
                        <a:pt x="14" y="23"/>
                      </a:cubicBezTo>
                      <a:cubicBezTo>
                        <a:pt x="14" y="23"/>
                        <a:pt x="13" y="24"/>
                        <a:pt x="13" y="24"/>
                      </a:cubicBezTo>
                      <a:cubicBezTo>
                        <a:pt x="13" y="24"/>
                        <a:pt x="13" y="24"/>
                        <a:pt x="13" y="24"/>
                      </a:cubicBezTo>
                      <a:cubicBezTo>
                        <a:pt x="13"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3" y="24"/>
                        <a:pt x="13" y="23"/>
                        <a:pt x="13" y="23"/>
                      </a:cubicBezTo>
                      <a:cubicBezTo>
                        <a:pt x="13" y="23"/>
                        <a:pt x="13" y="23"/>
                        <a:pt x="13" y="23"/>
                      </a:cubicBezTo>
                      <a:cubicBezTo>
                        <a:pt x="14" y="23"/>
                        <a:pt x="14" y="23"/>
                        <a:pt x="14" y="22"/>
                      </a:cubicBezTo>
                      <a:cubicBezTo>
                        <a:pt x="14" y="22"/>
                        <a:pt x="14" y="22"/>
                        <a:pt x="14" y="22"/>
                      </a:cubicBezTo>
                      <a:cubicBezTo>
                        <a:pt x="13" y="22"/>
                        <a:pt x="13" y="23"/>
                        <a:pt x="13" y="23"/>
                      </a:cubicBezTo>
                      <a:cubicBezTo>
                        <a:pt x="13" y="23"/>
                        <a:pt x="13" y="23"/>
                        <a:pt x="13" y="23"/>
                      </a:cubicBezTo>
                      <a:cubicBezTo>
                        <a:pt x="13" y="23"/>
                        <a:pt x="13" y="23"/>
                        <a:pt x="13" y="23"/>
                      </a:cubicBezTo>
                      <a:cubicBezTo>
                        <a:pt x="13" y="23"/>
                        <a:pt x="13" y="23"/>
                        <a:pt x="13" y="23"/>
                      </a:cubicBezTo>
                      <a:cubicBezTo>
                        <a:pt x="13" y="23"/>
                        <a:pt x="13" y="23"/>
                        <a:pt x="13" y="23"/>
                      </a:cubicBezTo>
                      <a:cubicBezTo>
                        <a:pt x="13" y="23"/>
                        <a:pt x="13" y="23"/>
                        <a:pt x="13" y="22"/>
                      </a:cubicBezTo>
                      <a:cubicBezTo>
                        <a:pt x="13" y="22"/>
                        <a:pt x="12" y="22"/>
                        <a:pt x="12" y="22"/>
                      </a:cubicBezTo>
                      <a:cubicBezTo>
                        <a:pt x="12" y="21"/>
                        <a:pt x="12" y="21"/>
                        <a:pt x="12" y="21"/>
                      </a:cubicBezTo>
                      <a:cubicBezTo>
                        <a:pt x="11" y="21"/>
                        <a:pt x="11" y="22"/>
                        <a:pt x="11" y="22"/>
                      </a:cubicBezTo>
                      <a:cubicBezTo>
                        <a:pt x="11" y="22"/>
                        <a:pt x="11" y="22"/>
                        <a:pt x="11" y="22"/>
                      </a:cubicBezTo>
                      <a:cubicBezTo>
                        <a:pt x="11" y="22"/>
                        <a:pt x="11" y="22"/>
                        <a:pt x="11" y="22"/>
                      </a:cubicBezTo>
                      <a:cubicBezTo>
                        <a:pt x="11" y="22"/>
                        <a:pt x="10" y="22"/>
                        <a:pt x="10" y="22"/>
                      </a:cubicBezTo>
                      <a:cubicBezTo>
                        <a:pt x="10" y="22"/>
                        <a:pt x="10" y="22"/>
                        <a:pt x="10" y="22"/>
                      </a:cubicBezTo>
                      <a:cubicBezTo>
                        <a:pt x="10" y="22"/>
                        <a:pt x="10" y="22"/>
                        <a:pt x="10" y="22"/>
                      </a:cubicBezTo>
                      <a:cubicBezTo>
                        <a:pt x="10" y="22"/>
                        <a:pt x="9" y="22"/>
                        <a:pt x="9" y="22"/>
                      </a:cubicBezTo>
                      <a:cubicBezTo>
                        <a:pt x="9" y="22"/>
                        <a:pt x="9" y="21"/>
                        <a:pt x="9" y="21"/>
                      </a:cubicBezTo>
                      <a:cubicBezTo>
                        <a:pt x="9" y="21"/>
                        <a:pt x="9" y="21"/>
                        <a:pt x="9" y="21"/>
                      </a:cubicBezTo>
                      <a:cubicBezTo>
                        <a:pt x="9" y="21"/>
                        <a:pt x="9" y="21"/>
                        <a:pt x="9" y="21"/>
                      </a:cubicBezTo>
                      <a:cubicBezTo>
                        <a:pt x="9" y="21"/>
                        <a:pt x="9" y="21"/>
                        <a:pt x="9" y="21"/>
                      </a:cubicBezTo>
                      <a:cubicBezTo>
                        <a:pt x="9" y="21"/>
                        <a:pt x="9" y="20"/>
                        <a:pt x="9" y="20"/>
                      </a:cubicBezTo>
                      <a:cubicBezTo>
                        <a:pt x="9" y="20"/>
                        <a:pt x="9" y="20"/>
                        <a:pt x="9" y="20"/>
                      </a:cubicBezTo>
                      <a:cubicBezTo>
                        <a:pt x="9" y="20"/>
                        <a:pt x="9" y="20"/>
                        <a:pt x="9" y="20"/>
                      </a:cubicBezTo>
                      <a:cubicBezTo>
                        <a:pt x="9" y="20"/>
                        <a:pt x="9" y="20"/>
                        <a:pt x="9" y="20"/>
                      </a:cubicBezTo>
                      <a:cubicBezTo>
                        <a:pt x="8" y="20"/>
                        <a:pt x="8" y="20"/>
                        <a:pt x="8" y="19"/>
                      </a:cubicBezTo>
                      <a:cubicBezTo>
                        <a:pt x="8" y="19"/>
                        <a:pt x="8" y="19"/>
                        <a:pt x="8" y="19"/>
                      </a:cubicBezTo>
                      <a:cubicBezTo>
                        <a:pt x="7" y="19"/>
                        <a:pt x="7" y="19"/>
                        <a:pt x="7" y="19"/>
                      </a:cubicBezTo>
                      <a:cubicBezTo>
                        <a:pt x="7" y="19"/>
                        <a:pt x="7" y="19"/>
                        <a:pt x="7" y="20"/>
                      </a:cubicBezTo>
                      <a:cubicBezTo>
                        <a:pt x="7" y="20"/>
                        <a:pt x="7" y="20"/>
                        <a:pt x="7" y="20"/>
                      </a:cubicBezTo>
                      <a:cubicBezTo>
                        <a:pt x="7" y="20"/>
                        <a:pt x="7" y="20"/>
                        <a:pt x="7" y="20"/>
                      </a:cubicBezTo>
                      <a:cubicBezTo>
                        <a:pt x="7" y="20"/>
                        <a:pt x="7" y="20"/>
                        <a:pt x="7" y="20"/>
                      </a:cubicBezTo>
                      <a:cubicBezTo>
                        <a:pt x="7" y="20"/>
                        <a:pt x="6" y="21"/>
                        <a:pt x="6" y="20"/>
                      </a:cubicBezTo>
                      <a:cubicBezTo>
                        <a:pt x="6" y="20"/>
                        <a:pt x="6" y="20"/>
                        <a:pt x="6" y="21"/>
                      </a:cubicBezTo>
                      <a:cubicBezTo>
                        <a:pt x="6" y="21"/>
                        <a:pt x="5" y="21"/>
                        <a:pt x="5" y="20"/>
                      </a:cubicBezTo>
                      <a:cubicBezTo>
                        <a:pt x="5" y="20"/>
                        <a:pt x="5" y="20"/>
                        <a:pt x="5" y="20"/>
                      </a:cubicBezTo>
                      <a:cubicBezTo>
                        <a:pt x="5" y="20"/>
                        <a:pt x="5" y="20"/>
                        <a:pt x="4" y="20"/>
                      </a:cubicBezTo>
                      <a:cubicBezTo>
                        <a:pt x="4" y="20"/>
                        <a:pt x="4" y="20"/>
                        <a:pt x="4" y="20"/>
                      </a:cubicBezTo>
                      <a:cubicBezTo>
                        <a:pt x="3" y="20"/>
                        <a:pt x="3" y="20"/>
                        <a:pt x="3" y="20"/>
                      </a:cubicBezTo>
                      <a:cubicBezTo>
                        <a:pt x="3" y="20"/>
                        <a:pt x="2" y="20"/>
                        <a:pt x="2" y="20"/>
                      </a:cubicBezTo>
                      <a:cubicBezTo>
                        <a:pt x="2" y="20"/>
                        <a:pt x="2" y="20"/>
                        <a:pt x="2" y="20"/>
                      </a:cubicBezTo>
                      <a:cubicBezTo>
                        <a:pt x="2" y="20"/>
                        <a:pt x="1" y="20"/>
                        <a:pt x="1" y="19"/>
                      </a:cubicBezTo>
                      <a:cubicBezTo>
                        <a:pt x="2" y="19"/>
                        <a:pt x="2" y="19"/>
                        <a:pt x="2" y="19"/>
                      </a:cubicBezTo>
                      <a:cubicBezTo>
                        <a:pt x="2" y="19"/>
                        <a:pt x="2" y="19"/>
                        <a:pt x="2" y="19"/>
                      </a:cubicBezTo>
                      <a:cubicBezTo>
                        <a:pt x="2" y="19"/>
                        <a:pt x="2" y="19"/>
                        <a:pt x="2" y="19"/>
                      </a:cubicBezTo>
                      <a:cubicBezTo>
                        <a:pt x="2" y="19"/>
                        <a:pt x="2" y="18"/>
                        <a:pt x="2" y="18"/>
                      </a:cubicBezTo>
                      <a:cubicBezTo>
                        <a:pt x="2" y="19"/>
                        <a:pt x="2" y="19"/>
                        <a:pt x="1" y="19"/>
                      </a:cubicBezTo>
                      <a:cubicBezTo>
                        <a:pt x="1" y="19"/>
                        <a:pt x="1" y="19"/>
                        <a:pt x="1" y="19"/>
                      </a:cubicBezTo>
                      <a:cubicBezTo>
                        <a:pt x="1" y="19"/>
                        <a:pt x="1" y="18"/>
                        <a:pt x="1" y="18"/>
                      </a:cubicBezTo>
                      <a:cubicBezTo>
                        <a:pt x="1" y="18"/>
                        <a:pt x="1" y="18"/>
                        <a:pt x="1" y="18"/>
                      </a:cubicBezTo>
                      <a:cubicBezTo>
                        <a:pt x="1" y="18"/>
                        <a:pt x="1"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7"/>
                        <a:pt x="2" y="17"/>
                      </a:cubicBezTo>
                      <a:cubicBezTo>
                        <a:pt x="2" y="17"/>
                        <a:pt x="2" y="18"/>
                        <a:pt x="2" y="17"/>
                      </a:cubicBezTo>
                      <a:cubicBezTo>
                        <a:pt x="2" y="17"/>
                        <a:pt x="2" y="17"/>
                        <a:pt x="2" y="17"/>
                      </a:cubicBezTo>
                      <a:cubicBezTo>
                        <a:pt x="2" y="17"/>
                        <a:pt x="2" y="17"/>
                        <a:pt x="2" y="17"/>
                      </a:cubicBezTo>
                      <a:cubicBezTo>
                        <a:pt x="2" y="17"/>
                        <a:pt x="2" y="17"/>
                        <a:pt x="2" y="17"/>
                      </a:cubicBezTo>
                      <a:cubicBezTo>
                        <a:pt x="2" y="17"/>
                        <a:pt x="2" y="17"/>
                        <a:pt x="2" y="17"/>
                      </a:cubicBezTo>
                      <a:cubicBezTo>
                        <a:pt x="2" y="17"/>
                        <a:pt x="2" y="17"/>
                        <a:pt x="1" y="17"/>
                      </a:cubicBezTo>
                      <a:cubicBezTo>
                        <a:pt x="1" y="18"/>
                        <a:pt x="1" y="18"/>
                        <a:pt x="1" y="18"/>
                      </a:cubicBezTo>
                      <a:cubicBezTo>
                        <a:pt x="1" y="18"/>
                        <a:pt x="1" y="18"/>
                        <a:pt x="1" y="18"/>
                      </a:cubicBezTo>
                      <a:cubicBezTo>
                        <a:pt x="1" y="18"/>
                        <a:pt x="1" y="18"/>
                        <a:pt x="1" y="18"/>
                      </a:cubicBezTo>
                      <a:cubicBezTo>
                        <a:pt x="0" y="18"/>
                        <a:pt x="0" y="18"/>
                        <a:pt x="0" y="18"/>
                      </a:cubicBezTo>
                      <a:cubicBezTo>
                        <a:pt x="0" y="18"/>
                        <a:pt x="0" y="18"/>
                        <a:pt x="0" y="18"/>
                      </a:cubicBezTo>
                      <a:cubicBezTo>
                        <a:pt x="0" y="17"/>
                        <a:pt x="0" y="17"/>
                        <a:pt x="0" y="16"/>
                      </a:cubicBezTo>
                      <a:cubicBezTo>
                        <a:pt x="0" y="16"/>
                        <a:pt x="0" y="16"/>
                        <a:pt x="0" y="16"/>
                      </a:cubicBezTo>
                      <a:cubicBezTo>
                        <a:pt x="1" y="16"/>
                        <a:pt x="1" y="16"/>
                        <a:pt x="1" y="16"/>
                      </a:cubicBezTo>
                      <a:cubicBezTo>
                        <a:pt x="1" y="16"/>
                        <a:pt x="1" y="16"/>
                        <a:pt x="1" y="16"/>
                      </a:cubicBezTo>
                      <a:cubicBezTo>
                        <a:pt x="2" y="16"/>
                        <a:pt x="2" y="16"/>
                        <a:pt x="2" y="16"/>
                      </a:cubicBezTo>
                      <a:cubicBezTo>
                        <a:pt x="2" y="16"/>
                        <a:pt x="2" y="16"/>
                        <a:pt x="2" y="16"/>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6"/>
                      </a:cubicBezTo>
                      <a:cubicBezTo>
                        <a:pt x="2" y="16"/>
                        <a:pt x="2" y="16"/>
                        <a:pt x="2" y="16"/>
                      </a:cubicBezTo>
                      <a:cubicBezTo>
                        <a:pt x="2" y="16"/>
                        <a:pt x="3" y="15"/>
                        <a:pt x="3" y="16"/>
                      </a:cubicBezTo>
                      <a:cubicBezTo>
                        <a:pt x="3" y="16"/>
                        <a:pt x="3" y="15"/>
                        <a:pt x="3" y="15"/>
                      </a:cubicBezTo>
                      <a:cubicBezTo>
                        <a:pt x="3" y="15"/>
                        <a:pt x="3" y="15"/>
                        <a:pt x="3" y="15"/>
                      </a:cubicBezTo>
                      <a:cubicBezTo>
                        <a:pt x="3" y="15"/>
                        <a:pt x="3" y="15"/>
                        <a:pt x="3" y="15"/>
                      </a:cubicBezTo>
                      <a:cubicBezTo>
                        <a:pt x="3" y="15"/>
                        <a:pt x="3" y="15"/>
                        <a:pt x="3" y="15"/>
                      </a:cubicBezTo>
                      <a:cubicBezTo>
                        <a:pt x="3" y="15"/>
                        <a:pt x="3" y="15"/>
                        <a:pt x="3" y="15"/>
                      </a:cubicBezTo>
                      <a:cubicBezTo>
                        <a:pt x="3" y="15"/>
                        <a:pt x="3" y="15"/>
                        <a:pt x="4" y="15"/>
                      </a:cubicBezTo>
                      <a:cubicBezTo>
                        <a:pt x="4" y="15"/>
                        <a:pt x="4" y="15"/>
                        <a:pt x="4" y="15"/>
                      </a:cubicBezTo>
                      <a:cubicBezTo>
                        <a:pt x="4" y="15"/>
                        <a:pt x="4" y="15"/>
                        <a:pt x="4" y="15"/>
                      </a:cubicBezTo>
                      <a:cubicBezTo>
                        <a:pt x="4" y="15"/>
                        <a:pt x="4" y="15"/>
                        <a:pt x="4" y="15"/>
                      </a:cubicBezTo>
                      <a:cubicBezTo>
                        <a:pt x="4" y="15"/>
                        <a:pt x="3" y="15"/>
                        <a:pt x="3" y="15"/>
                      </a:cubicBezTo>
                      <a:cubicBezTo>
                        <a:pt x="3" y="15"/>
                        <a:pt x="3" y="15"/>
                        <a:pt x="3" y="15"/>
                      </a:cubicBezTo>
                      <a:cubicBezTo>
                        <a:pt x="3" y="15"/>
                        <a:pt x="3" y="15"/>
                        <a:pt x="2" y="15"/>
                      </a:cubicBezTo>
                      <a:cubicBezTo>
                        <a:pt x="2" y="15"/>
                        <a:pt x="2" y="15"/>
                        <a:pt x="2" y="15"/>
                      </a:cubicBezTo>
                      <a:cubicBezTo>
                        <a:pt x="2" y="15"/>
                        <a:pt x="2" y="15"/>
                        <a:pt x="2"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2" y="14"/>
                        <a:pt x="2" y="14"/>
                        <a:pt x="2" y="14"/>
                      </a:cubicBezTo>
                      <a:cubicBezTo>
                        <a:pt x="2" y="14"/>
                        <a:pt x="2" y="14"/>
                        <a:pt x="3" y="14"/>
                      </a:cubicBezTo>
                      <a:cubicBezTo>
                        <a:pt x="3" y="13"/>
                        <a:pt x="3" y="13"/>
                        <a:pt x="3" y="13"/>
                      </a:cubicBezTo>
                      <a:cubicBezTo>
                        <a:pt x="3" y="13"/>
                        <a:pt x="3" y="13"/>
                        <a:pt x="3" y="13"/>
                      </a:cubicBezTo>
                      <a:cubicBezTo>
                        <a:pt x="3" y="13"/>
                        <a:pt x="3" y="13"/>
                        <a:pt x="3" y="13"/>
                      </a:cubicBezTo>
                      <a:cubicBezTo>
                        <a:pt x="4" y="13"/>
                        <a:pt x="4" y="13"/>
                        <a:pt x="4" y="13"/>
                      </a:cubicBezTo>
                      <a:cubicBezTo>
                        <a:pt x="4" y="13"/>
                        <a:pt x="4" y="13"/>
                        <a:pt x="4" y="13"/>
                      </a:cubicBezTo>
                      <a:cubicBezTo>
                        <a:pt x="4" y="13"/>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2" y="13"/>
                        <a:pt x="2" y="14"/>
                        <a:pt x="2" y="14"/>
                      </a:cubicBezTo>
                      <a:cubicBezTo>
                        <a:pt x="2" y="14"/>
                        <a:pt x="2" y="14"/>
                        <a:pt x="2" y="14"/>
                      </a:cubicBezTo>
                      <a:cubicBezTo>
                        <a:pt x="2" y="14"/>
                        <a:pt x="2" y="13"/>
                        <a:pt x="2" y="13"/>
                      </a:cubicBezTo>
                      <a:cubicBezTo>
                        <a:pt x="2" y="13"/>
                        <a:pt x="2" y="13"/>
                        <a:pt x="2" y="13"/>
                      </a:cubicBezTo>
                      <a:cubicBezTo>
                        <a:pt x="2" y="13"/>
                        <a:pt x="2" y="12"/>
                        <a:pt x="2" y="12"/>
                      </a:cubicBezTo>
                      <a:cubicBezTo>
                        <a:pt x="2" y="12"/>
                        <a:pt x="2"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2"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2"/>
                      </a:cubicBezTo>
                      <a:cubicBezTo>
                        <a:pt x="4" y="12"/>
                        <a:pt x="4" y="12"/>
                        <a:pt x="4" y="12"/>
                      </a:cubicBezTo>
                      <a:cubicBezTo>
                        <a:pt x="4" y="12"/>
                        <a:pt x="4" y="12"/>
                        <a:pt x="4" y="12"/>
                      </a:cubicBezTo>
                      <a:cubicBezTo>
                        <a:pt x="4" y="12"/>
                        <a:pt x="4" y="12"/>
                        <a:pt x="4" y="12"/>
                      </a:cubicBezTo>
                      <a:cubicBezTo>
                        <a:pt x="4" y="12"/>
                        <a:pt x="4" y="11"/>
                        <a:pt x="4" y="11"/>
                      </a:cubicBezTo>
                      <a:cubicBezTo>
                        <a:pt x="5" y="11"/>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4" y="11"/>
                      </a:cubicBezTo>
                      <a:cubicBezTo>
                        <a:pt x="4" y="11"/>
                        <a:pt x="4" y="11"/>
                        <a:pt x="4" y="11"/>
                      </a:cubicBezTo>
                      <a:cubicBezTo>
                        <a:pt x="4" y="11"/>
                        <a:pt x="4" y="11"/>
                        <a:pt x="4" y="11"/>
                      </a:cubicBezTo>
                      <a:cubicBezTo>
                        <a:pt x="4" y="11"/>
                        <a:pt x="5" y="11"/>
                        <a:pt x="5" y="11"/>
                      </a:cubicBezTo>
                      <a:cubicBezTo>
                        <a:pt x="5" y="11"/>
                        <a:pt x="5" y="11"/>
                        <a:pt x="5" y="10"/>
                      </a:cubicBezTo>
                      <a:cubicBezTo>
                        <a:pt x="5" y="10"/>
                        <a:pt x="5" y="11"/>
                        <a:pt x="5" y="10"/>
                      </a:cubicBezTo>
                      <a:cubicBezTo>
                        <a:pt x="5" y="11"/>
                        <a:pt x="4" y="11"/>
                        <a:pt x="4" y="11"/>
                      </a:cubicBezTo>
                      <a:cubicBezTo>
                        <a:pt x="4" y="11"/>
                        <a:pt x="4" y="11"/>
                        <a:pt x="4" y="10"/>
                      </a:cubicBezTo>
                      <a:cubicBezTo>
                        <a:pt x="4" y="10"/>
                        <a:pt x="4" y="10"/>
                        <a:pt x="4" y="10"/>
                      </a:cubicBezTo>
                      <a:cubicBezTo>
                        <a:pt x="4" y="10"/>
                        <a:pt x="4" y="9"/>
                        <a:pt x="4" y="9"/>
                      </a:cubicBezTo>
                      <a:cubicBezTo>
                        <a:pt x="4" y="9"/>
                        <a:pt x="4" y="9"/>
                        <a:pt x="4" y="9"/>
                      </a:cubicBezTo>
                      <a:cubicBezTo>
                        <a:pt x="4" y="9"/>
                        <a:pt x="4" y="9"/>
                        <a:pt x="4" y="9"/>
                      </a:cubicBezTo>
                      <a:cubicBezTo>
                        <a:pt x="4" y="9"/>
                        <a:pt x="5" y="9"/>
                        <a:pt x="5" y="9"/>
                      </a:cubicBezTo>
                      <a:cubicBezTo>
                        <a:pt x="5" y="10"/>
                        <a:pt x="5" y="10"/>
                        <a:pt x="5" y="9"/>
                      </a:cubicBezTo>
                      <a:cubicBezTo>
                        <a:pt x="5" y="9"/>
                        <a:pt x="5" y="9"/>
                        <a:pt x="4" y="9"/>
                      </a:cubicBezTo>
                      <a:cubicBezTo>
                        <a:pt x="4" y="9"/>
                        <a:pt x="4" y="8"/>
                        <a:pt x="5" y="8"/>
                      </a:cubicBezTo>
                      <a:cubicBezTo>
                        <a:pt x="5" y="8"/>
                        <a:pt x="5" y="8"/>
                        <a:pt x="5" y="8"/>
                      </a:cubicBezTo>
                      <a:cubicBezTo>
                        <a:pt x="5" y="9"/>
                        <a:pt x="5" y="9"/>
                        <a:pt x="5" y="9"/>
                      </a:cubicBezTo>
                      <a:cubicBezTo>
                        <a:pt x="5" y="9"/>
                        <a:pt x="5" y="9"/>
                        <a:pt x="5" y="9"/>
                      </a:cubicBezTo>
                      <a:cubicBezTo>
                        <a:pt x="5" y="9"/>
                        <a:pt x="5" y="9"/>
                        <a:pt x="5" y="8"/>
                      </a:cubicBezTo>
                      <a:cubicBezTo>
                        <a:pt x="5" y="8"/>
                        <a:pt x="5" y="8"/>
                        <a:pt x="5" y="8"/>
                      </a:cubicBezTo>
                      <a:cubicBezTo>
                        <a:pt x="5" y="8"/>
                        <a:pt x="5" y="8"/>
                        <a:pt x="5" y="8"/>
                      </a:cubicBezTo>
                      <a:cubicBezTo>
                        <a:pt x="6" y="8"/>
                        <a:pt x="6" y="8"/>
                        <a:pt x="6" y="8"/>
                      </a:cubicBezTo>
                      <a:cubicBezTo>
                        <a:pt x="6" y="8"/>
                        <a:pt x="6" y="8"/>
                        <a:pt x="6" y="8"/>
                      </a:cubicBezTo>
                      <a:cubicBezTo>
                        <a:pt x="6" y="8"/>
                        <a:pt x="5" y="8"/>
                        <a:pt x="5" y="8"/>
                      </a:cubicBezTo>
                      <a:cubicBezTo>
                        <a:pt x="5" y="8"/>
                        <a:pt x="5" y="8"/>
                        <a:pt x="5" y="7"/>
                      </a:cubicBezTo>
                      <a:cubicBezTo>
                        <a:pt x="5" y="7"/>
                        <a:pt x="5" y="7"/>
                        <a:pt x="5" y="7"/>
                      </a:cubicBezTo>
                      <a:cubicBezTo>
                        <a:pt x="5" y="7"/>
                        <a:pt x="6" y="7"/>
                        <a:pt x="6" y="7"/>
                      </a:cubicBezTo>
                      <a:cubicBezTo>
                        <a:pt x="6" y="7"/>
                        <a:pt x="6" y="7"/>
                        <a:pt x="6" y="7"/>
                      </a:cubicBezTo>
                      <a:cubicBezTo>
                        <a:pt x="6" y="7"/>
                        <a:pt x="6" y="6"/>
                        <a:pt x="6" y="6"/>
                      </a:cubicBezTo>
                      <a:cubicBezTo>
                        <a:pt x="6" y="6"/>
                        <a:pt x="6" y="6"/>
                        <a:pt x="6" y="6"/>
                      </a:cubicBezTo>
                      <a:cubicBezTo>
                        <a:pt x="7" y="6"/>
                        <a:pt x="7" y="7"/>
                        <a:pt x="7" y="7"/>
                      </a:cubicBezTo>
                      <a:cubicBezTo>
                        <a:pt x="7" y="7"/>
                        <a:pt x="7" y="7"/>
                        <a:pt x="7" y="7"/>
                      </a:cubicBezTo>
                      <a:cubicBezTo>
                        <a:pt x="7" y="7"/>
                        <a:pt x="7" y="7"/>
                        <a:pt x="7" y="7"/>
                      </a:cubicBezTo>
                      <a:cubicBezTo>
                        <a:pt x="7" y="7"/>
                        <a:pt x="7" y="7"/>
                        <a:pt x="7" y="7"/>
                      </a:cubicBezTo>
                      <a:cubicBezTo>
                        <a:pt x="7" y="7"/>
                        <a:pt x="7" y="7"/>
                        <a:pt x="7" y="7"/>
                      </a:cubicBezTo>
                      <a:cubicBezTo>
                        <a:pt x="7" y="8"/>
                        <a:pt x="7" y="8"/>
                        <a:pt x="7" y="8"/>
                      </a:cubicBezTo>
                      <a:cubicBezTo>
                        <a:pt x="7" y="8"/>
                        <a:pt x="7" y="8"/>
                        <a:pt x="7" y="8"/>
                      </a:cubicBezTo>
                      <a:cubicBezTo>
                        <a:pt x="7" y="8"/>
                        <a:pt x="7" y="7"/>
                        <a:pt x="7" y="7"/>
                      </a:cubicBezTo>
                      <a:cubicBezTo>
                        <a:pt x="7" y="7"/>
                        <a:pt x="7" y="7"/>
                        <a:pt x="7" y="7"/>
                      </a:cubicBezTo>
                      <a:cubicBezTo>
                        <a:pt x="7" y="7"/>
                        <a:pt x="7" y="7"/>
                        <a:pt x="7" y="7"/>
                      </a:cubicBezTo>
                      <a:cubicBezTo>
                        <a:pt x="7" y="7"/>
                        <a:pt x="7" y="6"/>
                        <a:pt x="7" y="6"/>
                      </a:cubicBezTo>
                      <a:cubicBezTo>
                        <a:pt x="7" y="6"/>
                        <a:pt x="7" y="6"/>
                        <a:pt x="7" y="6"/>
                      </a:cubicBezTo>
                      <a:cubicBezTo>
                        <a:pt x="7" y="6"/>
                        <a:pt x="7" y="6"/>
                        <a:pt x="7" y="6"/>
                      </a:cubicBezTo>
                      <a:cubicBezTo>
                        <a:pt x="7" y="5"/>
                        <a:pt x="8" y="5"/>
                        <a:pt x="8" y="6"/>
                      </a:cubicBezTo>
                      <a:cubicBezTo>
                        <a:pt x="8" y="6"/>
                        <a:pt x="8" y="6"/>
                        <a:pt x="8" y="6"/>
                      </a:cubicBezTo>
                      <a:cubicBezTo>
                        <a:pt x="8" y="6"/>
                        <a:pt x="8" y="6"/>
                        <a:pt x="8" y="6"/>
                      </a:cubicBezTo>
                      <a:cubicBezTo>
                        <a:pt x="8" y="6"/>
                        <a:pt x="8" y="6"/>
                        <a:pt x="8" y="5"/>
                      </a:cubicBezTo>
                      <a:cubicBezTo>
                        <a:pt x="8" y="5"/>
                        <a:pt x="8" y="5"/>
                        <a:pt x="8" y="5"/>
                      </a:cubicBezTo>
                      <a:cubicBezTo>
                        <a:pt x="8" y="5"/>
                        <a:pt x="8" y="5"/>
                        <a:pt x="8" y="5"/>
                      </a:cubicBezTo>
                      <a:cubicBezTo>
                        <a:pt x="8" y="5"/>
                        <a:pt x="8" y="4"/>
                        <a:pt x="8" y="4"/>
                      </a:cubicBezTo>
                      <a:cubicBezTo>
                        <a:pt x="8" y="4"/>
                        <a:pt x="9" y="4"/>
                        <a:pt x="9" y="5"/>
                      </a:cubicBezTo>
                      <a:cubicBezTo>
                        <a:pt x="9" y="5"/>
                        <a:pt x="9" y="5"/>
                        <a:pt x="9" y="5"/>
                      </a:cubicBezTo>
                      <a:cubicBezTo>
                        <a:pt x="9" y="5"/>
                        <a:pt x="9" y="4"/>
                        <a:pt x="9" y="4"/>
                      </a:cubicBezTo>
                      <a:cubicBezTo>
                        <a:pt x="9" y="4"/>
                        <a:pt x="9" y="4"/>
                        <a:pt x="9" y="4"/>
                      </a:cubicBezTo>
                      <a:cubicBezTo>
                        <a:pt x="9" y="4"/>
                        <a:pt x="9" y="4"/>
                        <a:pt x="9" y="4"/>
                      </a:cubicBezTo>
                      <a:cubicBezTo>
                        <a:pt x="10" y="3"/>
                        <a:pt x="10" y="4"/>
                        <a:pt x="10" y="4"/>
                      </a:cubicBezTo>
                      <a:cubicBezTo>
                        <a:pt x="10" y="4"/>
                        <a:pt x="10" y="4"/>
                        <a:pt x="10" y="4"/>
                      </a:cubicBezTo>
                      <a:cubicBezTo>
                        <a:pt x="10" y="4"/>
                        <a:pt x="10" y="4"/>
                        <a:pt x="10" y="4"/>
                      </a:cubicBezTo>
                      <a:cubicBezTo>
                        <a:pt x="10" y="4"/>
                        <a:pt x="10" y="4"/>
                        <a:pt x="10" y="4"/>
                      </a:cubicBezTo>
                      <a:cubicBezTo>
                        <a:pt x="10" y="4"/>
                        <a:pt x="10" y="4"/>
                        <a:pt x="11" y="5"/>
                      </a:cubicBezTo>
                      <a:cubicBezTo>
                        <a:pt x="11" y="5"/>
                        <a:pt x="11" y="5"/>
                        <a:pt x="11" y="4"/>
                      </a:cubicBezTo>
                      <a:cubicBezTo>
                        <a:pt x="11" y="4"/>
                        <a:pt x="11"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3"/>
                        <a:pt x="10" y="3"/>
                      </a:cubicBezTo>
                      <a:cubicBezTo>
                        <a:pt x="10" y="3"/>
                        <a:pt x="10" y="2"/>
                        <a:pt x="10" y="2"/>
                      </a:cubicBezTo>
                      <a:cubicBezTo>
                        <a:pt x="11" y="2"/>
                        <a:pt x="11" y="2"/>
                        <a:pt x="11" y="1"/>
                      </a:cubicBezTo>
                      <a:cubicBezTo>
                        <a:pt x="11" y="1"/>
                        <a:pt x="11" y="1"/>
                        <a:pt x="11" y="1"/>
                      </a:cubicBezTo>
                      <a:cubicBezTo>
                        <a:pt x="11" y="1"/>
                        <a:pt x="11" y="1"/>
                        <a:pt x="11" y="1"/>
                      </a:cubicBezTo>
                      <a:cubicBezTo>
                        <a:pt x="11" y="1"/>
                        <a:pt x="12" y="1"/>
                        <a:pt x="12" y="1"/>
                      </a:cubicBezTo>
                      <a:cubicBezTo>
                        <a:pt x="12" y="1"/>
                        <a:pt x="12" y="1"/>
                        <a:pt x="12" y="1"/>
                      </a:cubicBezTo>
                      <a:cubicBezTo>
                        <a:pt x="12" y="1"/>
                        <a:pt x="12" y="1"/>
                        <a:pt x="12" y="1"/>
                      </a:cubicBezTo>
                      <a:cubicBezTo>
                        <a:pt x="12" y="1"/>
                        <a:pt x="12" y="1"/>
                        <a:pt x="12" y="1"/>
                      </a:cubicBezTo>
                      <a:cubicBezTo>
                        <a:pt x="13" y="0"/>
                        <a:pt x="13" y="0"/>
                        <a:pt x="13" y="0"/>
                      </a:cubicBezTo>
                      <a:cubicBezTo>
                        <a:pt x="13" y="0"/>
                        <a:pt x="13" y="1"/>
                        <a:pt x="13" y="1"/>
                      </a:cubicBezTo>
                      <a:cubicBezTo>
                        <a:pt x="13" y="1"/>
                        <a:pt x="13" y="1"/>
                        <a:pt x="13" y="1"/>
                      </a:cubicBezTo>
                      <a:cubicBezTo>
                        <a:pt x="14" y="1"/>
                        <a:pt x="14" y="1"/>
                        <a:pt x="14" y="1"/>
                      </a:cubicBezTo>
                      <a:cubicBezTo>
                        <a:pt x="14" y="1"/>
                        <a:pt x="14" y="1"/>
                        <a:pt x="14" y="1"/>
                      </a:cubicBezTo>
                      <a:cubicBezTo>
                        <a:pt x="14" y="1"/>
                        <a:pt x="14" y="2"/>
                        <a:pt x="14" y="2"/>
                      </a:cubicBezTo>
                      <a:cubicBezTo>
                        <a:pt x="14" y="2"/>
                        <a:pt x="14" y="2"/>
                        <a:pt x="14" y="2"/>
                      </a:cubicBezTo>
                      <a:cubicBezTo>
                        <a:pt x="14" y="2"/>
                        <a:pt x="14" y="2"/>
                        <a:pt x="14" y="2"/>
                      </a:cubicBezTo>
                      <a:cubicBezTo>
                        <a:pt x="14" y="2"/>
                        <a:pt x="13" y="3"/>
                        <a:pt x="13" y="3"/>
                      </a:cubicBezTo>
                      <a:cubicBezTo>
                        <a:pt x="13" y="3"/>
                        <a:pt x="13" y="3"/>
                        <a:pt x="13" y="3"/>
                      </a:cubicBezTo>
                      <a:cubicBezTo>
                        <a:pt x="13" y="3"/>
                        <a:pt x="13" y="3"/>
                        <a:pt x="13" y="3"/>
                      </a:cubicBezTo>
                      <a:cubicBezTo>
                        <a:pt x="13" y="3"/>
                        <a:pt x="13" y="3"/>
                        <a:pt x="13" y="3"/>
                      </a:cubicBezTo>
                      <a:cubicBezTo>
                        <a:pt x="13" y="4"/>
                        <a:pt x="13" y="4"/>
                        <a:pt x="13" y="4"/>
                      </a:cubicBezTo>
                      <a:cubicBezTo>
                        <a:pt x="12" y="4"/>
                        <a:pt x="12"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7"/>
                        <a:pt x="12" y="7"/>
                        <a:pt x="12" y="7"/>
                      </a:cubicBezTo>
                      <a:cubicBezTo>
                        <a:pt x="12" y="7"/>
                        <a:pt x="12" y="7"/>
                        <a:pt x="12" y="7"/>
                      </a:cubicBezTo>
                      <a:cubicBezTo>
                        <a:pt x="12" y="8"/>
                        <a:pt x="12" y="8"/>
                        <a:pt x="12" y="8"/>
                      </a:cubicBezTo>
                      <a:cubicBezTo>
                        <a:pt x="12" y="8"/>
                        <a:pt x="13" y="8"/>
                        <a:pt x="13" y="8"/>
                      </a:cubicBezTo>
                      <a:cubicBezTo>
                        <a:pt x="13" y="8"/>
                        <a:pt x="13" y="8"/>
                        <a:pt x="13" y="8"/>
                      </a:cubicBezTo>
                      <a:cubicBezTo>
                        <a:pt x="13" y="9"/>
                        <a:pt x="13" y="9"/>
                        <a:pt x="13" y="9"/>
                      </a:cubicBezTo>
                      <a:cubicBezTo>
                        <a:pt x="13" y="9"/>
                        <a:pt x="13" y="9"/>
                        <a:pt x="13" y="9"/>
                      </a:cubicBezTo>
                      <a:cubicBezTo>
                        <a:pt x="13" y="10"/>
                        <a:pt x="13" y="10"/>
                        <a:pt x="13" y="10"/>
                      </a:cubicBezTo>
                      <a:cubicBezTo>
                        <a:pt x="13" y="10"/>
                        <a:pt x="13" y="10"/>
                        <a:pt x="13" y="10"/>
                      </a:cubicBezTo>
                      <a:cubicBezTo>
                        <a:pt x="13" y="10"/>
                        <a:pt x="13" y="10"/>
                        <a:pt x="13" y="10"/>
                      </a:cubicBezTo>
                      <a:cubicBezTo>
                        <a:pt x="13" y="11"/>
                        <a:pt x="13" y="11"/>
                        <a:pt x="13" y="11"/>
                      </a:cubicBezTo>
                      <a:cubicBezTo>
                        <a:pt x="13" y="11"/>
                        <a:pt x="13" y="11"/>
                        <a:pt x="13" y="11"/>
                      </a:cubicBezTo>
                      <a:cubicBezTo>
                        <a:pt x="14" y="11"/>
                        <a:pt x="14" y="11"/>
                        <a:pt x="14" y="11"/>
                      </a:cubicBezTo>
                      <a:cubicBezTo>
                        <a:pt x="16" y="10"/>
                        <a:pt x="16" y="10"/>
                        <a:pt x="16" y="10"/>
                      </a:cubicBezTo>
                      <a:cubicBezTo>
                        <a:pt x="16" y="10"/>
                        <a:pt x="16" y="11"/>
                        <a:pt x="16" y="11"/>
                      </a:cubicBezTo>
                      <a:cubicBezTo>
                        <a:pt x="16" y="11"/>
                        <a:pt x="16" y="11"/>
                        <a:pt x="16" y="11"/>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8" y="12"/>
                        <a:pt x="18" y="12"/>
                        <a:pt x="18" y="12"/>
                      </a:cubicBezTo>
                      <a:cubicBezTo>
                        <a:pt x="18" y="11"/>
                        <a:pt x="18" y="11"/>
                        <a:pt x="18" y="11"/>
                      </a:cubicBezTo>
                      <a:cubicBezTo>
                        <a:pt x="18" y="11"/>
                        <a:pt x="18" y="11"/>
                        <a:pt x="18" y="11"/>
                      </a:cubicBezTo>
                      <a:cubicBezTo>
                        <a:pt x="20" y="12"/>
                        <a:pt x="20" y="12"/>
                        <a:pt x="20" y="12"/>
                      </a:cubicBezTo>
                      <a:cubicBezTo>
                        <a:pt x="20" y="12"/>
                        <a:pt x="20" y="12"/>
                        <a:pt x="20" y="12"/>
                      </a:cubicBezTo>
                      <a:cubicBezTo>
                        <a:pt x="19" y="12"/>
                        <a:pt x="19" y="12"/>
                        <a:pt x="19" y="12"/>
                      </a:cubicBezTo>
                      <a:cubicBezTo>
                        <a:pt x="19" y="13"/>
                        <a:pt x="19" y="13"/>
                        <a:pt x="19" y="13"/>
                      </a:cubicBezTo>
                      <a:cubicBezTo>
                        <a:pt x="18" y="15"/>
                        <a:pt x="18" y="15"/>
                        <a:pt x="18" y="15"/>
                      </a:cubicBezTo>
                      <a:cubicBezTo>
                        <a:pt x="18" y="15"/>
                        <a:pt x="18" y="15"/>
                        <a:pt x="18" y="15"/>
                      </a:cubicBezTo>
                      <a:cubicBezTo>
                        <a:pt x="18" y="16"/>
                        <a:pt x="18" y="16"/>
                        <a:pt x="18" y="16"/>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8"/>
                        <a:pt x="19" y="18"/>
                      </a:cubicBezTo>
                      <a:cubicBezTo>
                        <a:pt x="19" y="18"/>
                        <a:pt x="19" y="18"/>
                        <a:pt x="19" y="18"/>
                      </a:cubicBezTo>
                      <a:cubicBezTo>
                        <a:pt x="19" y="18"/>
                        <a:pt x="19" y="18"/>
                        <a:pt x="19" y="18"/>
                      </a:cubicBezTo>
                      <a:cubicBezTo>
                        <a:pt x="19" y="18"/>
                        <a:pt x="19" y="18"/>
                        <a:pt x="19" y="18"/>
                      </a:cubicBezTo>
                      <a:cubicBezTo>
                        <a:pt x="19" y="18"/>
                        <a:pt x="19" y="18"/>
                        <a:pt x="19" y="18"/>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20"/>
                        <a:pt x="19" y="20"/>
                        <a:pt x="19" y="20"/>
                      </a:cubicBezTo>
                      <a:cubicBezTo>
                        <a:pt x="19" y="20"/>
                        <a:pt x="19" y="20"/>
                        <a:pt x="19" y="20"/>
                      </a:cubicBezTo>
                      <a:cubicBezTo>
                        <a:pt x="19" y="21"/>
                        <a:pt x="19" y="21"/>
                        <a:pt x="19" y="21"/>
                      </a:cubicBezTo>
                      <a:cubicBezTo>
                        <a:pt x="19" y="21"/>
                        <a:pt x="19" y="21"/>
                        <a:pt x="19" y="21"/>
                      </a:cubicBezTo>
                      <a:cubicBezTo>
                        <a:pt x="19" y="21"/>
                        <a:pt x="19" y="22"/>
                        <a:pt x="19" y="22"/>
                      </a:cubicBezTo>
                      <a:cubicBezTo>
                        <a:pt x="19" y="22"/>
                        <a:pt x="19" y="22"/>
                        <a:pt x="19" y="22"/>
                      </a:cubicBezTo>
                      <a:cubicBezTo>
                        <a:pt x="19" y="22"/>
                        <a:pt x="19" y="22"/>
                        <a:pt x="19" y="22"/>
                      </a:cubicBezTo>
                      <a:cubicBezTo>
                        <a:pt x="19" y="22"/>
                        <a:pt x="19" y="23"/>
                        <a:pt x="19" y="23"/>
                      </a:cubicBezTo>
                      <a:cubicBezTo>
                        <a:pt x="19" y="23"/>
                        <a:pt x="20" y="23"/>
                        <a:pt x="20" y="23"/>
                      </a:cubicBezTo>
                      <a:cubicBezTo>
                        <a:pt x="20" y="23"/>
                        <a:pt x="20" y="24"/>
                        <a:pt x="20" y="24"/>
                      </a:cubicBezTo>
                      <a:cubicBezTo>
                        <a:pt x="20" y="24"/>
                        <a:pt x="19" y="24"/>
                        <a:pt x="19" y="24"/>
                      </a:cubicBezTo>
                      <a:cubicBezTo>
                        <a:pt x="19" y="24"/>
                        <a:pt x="20" y="24"/>
                        <a:pt x="20" y="24"/>
                      </a:cubicBezTo>
                      <a:close/>
                      <a:moveTo>
                        <a:pt x="3" y="17"/>
                      </a:moveTo>
                      <a:cubicBezTo>
                        <a:pt x="3" y="17"/>
                        <a:pt x="3" y="17"/>
                        <a:pt x="3" y="17"/>
                      </a:cubicBez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lose/>
                      <a:moveTo>
                        <a:pt x="9" y="21"/>
                      </a:moveTo>
                      <a:cubicBezTo>
                        <a:pt x="9" y="21"/>
                        <a:pt x="9" y="21"/>
                        <a:pt x="9" y="21"/>
                      </a:cubicBezTo>
                      <a:cubicBezTo>
                        <a:pt x="9" y="21"/>
                        <a:pt x="9" y="21"/>
                        <a:pt x="9" y="21"/>
                      </a:cubicBezTo>
                      <a:close/>
                      <a:moveTo>
                        <a:pt x="9" y="21"/>
                      </a:moveTo>
                      <a:cubicBezTo>
                        <a:pt x="9" y="21"/>
                        <a:pt x="9" y="21"/>
                        <a:pt x="9" y="21"/>
                      </a:cubicBezTo>
                      <a:cubicBezTo>
                        <a:pt x="9" y="21"/>
                        <a:pt x="9" y="21"/>
                        <a:pt x="9" y="21"/>
                      </a:cubicBezTo>
                      <a:close/>
                      <a:moveTo>
                        <a:pt x="11" y="44"/>
                      </a:move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5"/>
                        <a:pt x="11" y="45"/>
                      </a:cubicBezTo>
                      <a:cubicBezTo>
                        <a:pt x="11" y="45"/>
                        <a:pt x="11" y="44"/>
                        <a:pt x="11" y="44"/>
                      </a:cubicBezTo>
                      <a:cubicBezTo>
                        <a:pt x="11" y="44"/>
                        <a:pt x="11" y="44"/>
                        <a:pt x="10" y="44"/>
                      </a:cubicBezTo>
                      <a:cubicBezTo>
                        <a:pt x="10" y="44"/>
                        <a:pt x="10" y="44"/>
                        <a:pt x="10" y="44"/>
                      </a:cubicBezTo>
                      <a:cubicBezTo>
                        <a:pt x="11" y="44"/>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1" y="45"/>
                      </a:cubicBezTo>
                      <a:cubicBezTo>
                        <a:pt x="11" y="45"/>
                        <a:pt x="11" y="45"/>
                        <a:pt x="11" y="45"/>
                      </a:cubicBezTo>
                      <a:cubicBezTo>
                        <a:pt x="11" y="45"/>
                        <a:pt x="11"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1" y="45"/>
                        <a:pt x="11" y="45"/>
                      </a:cubicBezTo>
                      <a:cubicBezTo>
                        <a:pt x="11" y="45"/>
                        <a:pt x="11" y="45"/>
                        <a:pt x="11" y="45"/>
                      </a:cubicBezTo>
                      <a:cubicBezTo>
                        <a:pt x="11" y="45"/>
                        <a:pt x="11" y="45"/>
                        <a:pt x="11" y="45"/>
                      </a:cubicBezTo>
                      <a:cubicBezTo>
                        <a:pt x="11" y="45"/>
                        <a:pt x="11" y="45"/>
                        <a:pt x="11" y="45"/>
                      </a:cubicBezTo>
                      <a:cubicBezTo>
                        <a:pt x="11" y="46"/>
                        <a:pt x="11" y="46"/>
                        <a:pt x="11" y="45"/>
                      </a:cubicBezTo>
                      <a:cubicBezTo>
                        <a:pt x="10" y="45"/>
                        <a:pt x="10" y="45"/>
                        <a:pt x="10" y="45"/>
                      </a:cubicBezTo>
                      <a:cubicBezTo>
                        <a:pt x="10" y="45"/>
                        <a:pt x="10" y="45"/>
                        <a:pt x="10" y="45"/>
                      </a:cubicBezTo>
                      <a:cubicBezTo>
                        <a:pt x="10" y="45"/>
                        <a:pt x="10" y="45"/>
                        <a:pt x="10" y="45"/>
                      </a:cubicBezTo>
                      <a:cubicBezTo>
                        <a:pt x="10" y="45"/>
                        <a:pt x="10" y="46"/>
                        <a:pt x="10" y="45"/>
                      </a:cubicBezTo>
                      <a:cubicBezTo>
                        <a:pt x="10" y="45"/>
                        <a:pt x="10" y="45"/>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0" y="46"/>
                      </a:cubicBezTo>
                      <a:cubicBezTo>
                        <a:pt x="10" y="46"/>
                        <a:pt x="10" y="46"/>
                        <a:pt x="11" y="46"/>
                      </a:cubicBezTo>
                      <a:cubicBezTo>
                        <a:pt x="11" y="46"/>
                        <a:pt x="11" y="46"/>
                        <a:pt x="11" y="46"/>
                      </a:cubicBezTo>
                      <a:cubicBezTo>
                        <a:pt x="11" y="46"/>
                        <a:pt x="11" y="46"/>
                        <a:pt x="11" y="46"/>
                      </a:cubicBezTo>
                      <a:cubicBezTo>
                        <a:pt x="11" y="46"/>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6"/>
                        <a:pt x="10" y="46"/>
                        <a:pt x="10" y="46"/>
                      </a:cubicBezTo>
                      <a:cubicBezTo>
                        <a:pt x="10" y="46"/>
                        <a:pt x="10" y="46"/>
                        <a:pt x="10" y="46"/>
                      </a:cubicBezTo>
                      <a:cubicBezTo>
                        <a:pt x="10" y="46"/>
                        <a:pt x="10" y="46"/>
                        <a:pt x="10" y="46"/>
                      </a:cubicBezTo>
                      <a:cubicBezTo>
                        <a:pt x="9" y="46"/>
                        <a:pt x="9" y="46"/>
                        <a:pt x="9" y="46"/>
                      </a:cubicBezTo>
                      <a:cubicBezTo>
                        <a:pt x="9" y="46"/>
                        <a:pt x="9" y="46"/>
                        <a:pt x="9" y="46"/>
                      </a:cubicBezTo>
                      <a:cubicBezTo>
                        <a:pt x="9" y="46"/>
                        <a:pt x="9" y="46"/>
                        <a:pt x="9" y="46"/>
                      </a:cubicBezTo>
                      <a:cubicBezTo>
                        <a:pt x="9" y="46"/>
                        <a:pt x="9" y="46"/>
                        <a:pt x="9" y="46"/>
                      </a:cubicBezTo>
                      <a:cubicBezTo>
                        <a:pt x="9" y="46"/>
                        <a:pt x="10" y="46"/>
                        <a:pt x="10" y="46"/>
                      </a:cubicBezTo>
                      <a:cubicBezTo>
                        <a:pt x="10" y="46"/>
                        <a:pt x="10"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8" y="47"/>
                        <a:pt x="9" y="47"/>
                        <a:pt x="9" y="47"/>
                      </a:cubicBezTo>
                      <a:cubicBezTo>
                        <a:pt x="8" y="47"/>
                        <a:pt x="8" y="46"/>
                        <a:pt x="8" y="46"/>
                      </a:cubicBezTo>
                      <a:cubicBezTo>
                        <a:pt x="8" y="46"/>
                        <a:pt x="8" y="46"/>
                        <a:pt x="8" y="46"/>
                      </a:cubicBezTo>
                      <a:cubicBezTo>
                        <a:pt x="8"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4"/>
                        <a:pt x="11" y="44"/>
                        <a:pt x="11" y="44"/>
                      </a:cubicBezTo>
                      <a:cubicBezTo>
                        <a:pt x="11" y="44"/>
                        <a:pt x="11" y="44"/>
                        <a:pt x="11" y="44"/>
                      </a:cubicBezTo>
                      <a:cubicBezTo>
                        <a:pt x="11" y="44"/>
                        <a:pt x="11" y="44"/>
                        <a:pt x="11" y="44"/>
                      </a:cubicBezTo>
                      <a:cubicBezTo>
                        <a:pt x="11" y="44"/>
                        <a:pt x="11" y="44"/>
                        <a:pt x="10" y="44"/>
                      </a:cubicBezTo>
                      <a:cubicBezTo>
                        <a:pt x="11" y="44"/>
                        <a:pt x="11" y="44"/>
                        <a:pt x="11" y="44"/>
                      </a:cubicBezTo>
                      <a:cubicBezTo>
                        <a:pt x="11" y="44"/>
                        <a:pt x="11" y="44"/>
                        <a:pt x="11" y="44"/>
                      </a:cubicBezTo>
                      <a:cubicBezTo>
                        <a:pt x="11" y="44"/>
                        <a:pt x="11" y="44"/>
                        <a:pt x="11" y="44"/>
                      </a:cubicBezTo>
                      <a:cubicBezTo>
                        <a:pt x="11" y="44"/>
                        <a:pt x="11" y="44"/>
                        <a:pt x="11" y="43"/>
                      </a:cubicBezTo>
                      <a:cubicBezTo>
                        <a:pt x="11" y="43"/>
                        <a:pt x="11" y="43"/>
                        <a:pt x="11" y="44"/>
                      </a:cubicBezTo>
                      <a:cubicBezTo>
                        <a:pt x="11" y="44"/>
                        <a:pt x="11" y="44"/>
                        <a:pt x="11" y="44"/>
                      </a:cubicBezTo>
                      <a:cubicBezTo>
                        <a:pt x="11" y="44"/>
                        <a:pt x="11" y="44"/>
                        <a:pt x="11" y="44"/>
                      </a:cubicBezTo>
                      <a:cubicBezTo>
                        <a:pt x="11" y="44"/>
                        <a:pt x="11" y="44"/>
                        <a:pt x="11" y="44"/>
                      </a:cubicBezTo>
                      <a:cubicBezTo>
                        <a:pt x="11" y="44"/>
                        <a:pt x="11" y="44"/>
                        <a:pt x="11" y="44"/>
                      </a:cubicBezTo>
                      <a:close/>
                      <a:moveTo>
                        <a:pt x="11" y="44"/>
                      </a:moveTo>
                      <a:cubicBezTo>
                        <a:pt x="11" y="44"/>
                        <a:pt x="11" y="44"/>
                        <a:pt x="11" y="44"/>
                      </a:cubicBezTo>
                      <a:cubicBezTo>
                        <a:pt x="11" y="44"/>
                        <a:pt x="11" y="44"/>
                        <a:pt x="11" y="44"/>
                      </a:cubicBezTo>
                      <a:close/>
                      <a:moveTo>
                        <a:pt x="12" y="43"/>
                      </a:move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2" y="43"/>
                      </a:cubicBezTo>
                      <a:cubicBezTo>
                        <a:pt x="12" y="43"/>
                        <a:pt x="12" y="43"/>
                        <a:pt x="12" y="43"/>
                      </a:cubicBezTo>
                      <a:close/>
                      <a:moveTo>
                        <a:pt x="11" y="47"/>
                      </a:moveTo>
                      <a:cubicBezTo>
                        <a:pt x="11" y="47"/>
                        <a:pt x="11" y="47"/>
                        <a:pt x="11"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7"/>
                        <a:pt x="10" y="47"/>
                        <a:pt x="10" y="47"/>
                      </a:cubicBezTo>
                      <a:cubicBezTo>
                        <a:pt x="10" y="47"/>
                        <a:pt x="10" y="47"/>
                        <a:pt x="10" y="47"/>
                      </a:cubicBezTo>
                      <a:cubicBezTo>
                        <a:pt x="10" y="48"/>
                        <a:pt x="10" y="48"/>
                        <a:pt x="10" y="48"/>
                      </a:cubicBezTo>
                      <a:cubicBezTo>
                        <a:pt x="10" y="48"/>
                        <a:pt x="10" y="48"/>
                        <a:pt x="10" y="48"/>
                      </a:cubicBezTo>
                      <a:cubicBezTo>
                        <a:pt x="10" y="47"/>
                        <a:pt x="10" y="47"/>
                        <a:pt x="10" y="47"/>
                      </a:cubicBezTo>
                      <a:cubicBezTo>
                        <a:pt x="10" y="47"/>
                        <a:pt x="10" y="47"/>
                        <a:pt x="10" y="47"/>
                      </a:cubicBezTo>
                      <a:cubicBezTo>
                        <a:pt x="10" y="47"/>
                        <a:pt x="10" y="47"/>
                        <a:pt x="10" y="47"/>
                      </a:cubicBezTo>
                      <a:cubicBezTo>
                        <a:pt x="11" y="47"/>
                        <a:pt x="10" y="47"/>
                        <a:pt x="10" y="47"/>
                      </a:cubicBezTo>
                      <a:cubicBezTo>
                        <a:pt x="10" y="47"/>
                        <a:pt x="10" y="47"/>
                        <a:pt x="11" y="47"/>
                      </a:cubicBezTo>
                      <a:cubicBezTo>
                        <a:pt x="11" y="47"/>
                        <a:pt x="11" y="47"/>
                        <a:pt x="11" y="47"/>
                      </a:cubicBezTo>
                      <a:cubicBezTo>
                        <a:pt x="11" y="47"/>
                        <a:pt x="11" y="47"/>
                        <a:pt x="11" y="47"/>
                      </a:cubicBezTo>
                      <a:close/>
                      <a:moveTo>
                        <a:pt x="9" y="44"/>
                      </a:move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4" name="Freeform 724">
                  <a:extLst>
                    <a:ext uri="{FF2B5EF4-FFF2-40B4-BE49-F238E27FC236}">
                      <a16:creationId xmlns:a16="http://schemas.microsoft.com/office/drawing/2014/main" id="{0A532994-7F92-AA85-6712-0ADE8FFC96A5}"/>
                    </a:ext>
                  </a:extLst>
                </p:cNvPr>
                <p:cNvSpPr>
                  <a:spLocks noEditPoints="1"/>
                </p:cNvSpPr>
                <p:nvPr/>
              </p:nvSpPr>
              <p:spPr bwMode="auto">
                <a:xfrm>
                  <a:off x="10117138" y="6291263"/>
                  <a:ext cx="87312" cy="117475"/>
                </a:xfrm>
                <a:custGeom>
                  <a:avLst/>
                  <a:gdLst>
                    <a:gd name="T0" fmla="*/ 18 w 21"/>
                    <a:gd name="T1" fmla="*/ 20 h 28"/>
                    <a:gd name="T2" fmla="*/ 18 w 21"/>
                    <a:gd name="T3" fmla="*/ 10 h 28"/>
                    <a:gd name="T4" fmla="*/ 17 w 21"/>
                    <a:gd name="T5" fmla="*/ 11 h 28"/>
                    <a:gd name="T6" fmla="*/ 16 w 21"/>
                    <a:gd name="T7" fmla="*/ 11 h 28"/>
                    <a:gd name="T8" fmla="*/ 15 w 21"/>
                    <a:gd name="T9" fmla="*/ 10 h 28"/>
                    <a:gd name="T10" fmla="*/ 13 w 21"/>
                    <a:gd name="T11" fmla="*/ 7 h 28"/>
                    <a:gd name="T12" fmla="*/ 11 w 21"/>
                    <a:gd name="T13" fmla="*/ 7 h 28"/>
                    <a:gd name="T14" fmla="*/ 10 w 21"/>
                    <a:gd name="T15" fmla="*/ 5 h 28"/>
                    <a:gd name="T16" fmla="*/ 10 w 21"/>
                    <a:gd name="T17" fmla="*/ 3 h 28"/>
                    <a:gd name="T18" fmla="*/ 11 w 21"/>
                    <a:gd name="T19" fmla="*/ 1 h 28"/>
                    <a:gd name="T20" fmla="*/ 10 w 21"/>
                    <a:gd name="T21" fmla="*/ 1 h 28"/>
                    <a:gd name="T22" fmla="*/ 9 w 21"/>
                    <a:gd name="T23" fmla="*/ 2 h 28"/>
                    <a:gd name="T24" fmla="*/ 7 w 21"/>
                    <a:gd name="T25" fmla="*/ 2 h 28"/>
                    <a:gd name="T26" fmla="*/ 6 w 21"/>
                    <a:gd name="T27" fmla="*/ 2 h 28"/>
                    <a:gd name="T28" fmla="*/ 5 w 21"/>
                    <a:gd name="T29" fmla="*/ 4 h 28"/>
                    <a:gd name="T30" fmla="*/ 4 w 21"/>
                    <a:gd name="T31" fmla="*/ 5 h 28"/>
                    <a:gd name="T32" fmla="*/ 3 w 21"/>
                    <a:gd name="T33" fmla="*/ 6 h 28"/>
                    <a:gd name="T34" fmla="*/ 1 w 21"/>
                    <a:gd name="T35" fmla="*/ 6 h 28"/>
                    <a:gd name="T36" fmla="*/ 1 w 21"/>
                    <a:gd name="T37" fmla="*/ 7 h 28"/>
                    <a:gd name="T38" fmla="*/ 0 w 21"/>
                    <a:gd name="T39" fmla="*/ 8 h 28"/>
                    <a:gd name="T40" fmla="*/ 0 w 21"/>
                    <a:gd name="T41" fmla="*/ 9 h 28"/>
                    <a:gd name="T42" fmla="*/ 0 w 21"/>
                    <a:gd name="T43" fmla="*/ 10 h 28"/>
                    <a:gd name="T44" fmla="*/ 1 w 21"/>
                    <a:gd name="T45" fmla="*/ 12 h 28"/>
                    <a:gd name="T46" fmla="*/ 1 w 21"/>
                    <a:gd name="T47" fmla="*/ 13 h 28"/>
                    <a:gd name="T48" fmla="*/ 4 w 21"/>
                    <a:gd name="T49" fmla="*/ 13 h 28"/>
                    <a:gd name="T50" fmla="*/ 5 w 21"/>
                    <a:gd name="T51" fmla="*/ 15 h 28"/>
                    <a:gd name="T52" fmla="*/ 5 w 21"/>
                    <a:gd name="T53" fmla="*/ 15 h 28"/>
                    <a:gd name="T54" fmla="*/ 8 w 21"/>
                    <a:gd name="T55" fmla="*/ 15 h 28"/>
                    <a:gd name="T56" fmla="*/ 6 w 21"/>
                    <a:gd name="T57" fmla="*/ 18 h 28"/>
                    <a:gd name="T58" fmla="*/ 7 w 21"/>
                    <a:gd name="T59" fmla="*/ 20 h 28"/>
                    <a:gd name="T60" fmla="*/ 7 w 21"/>
                    <a:gd name="T61" fmla="*/ 21 h 28"/>
                    <a:gd name="T62" fmla="*/ 7 w 21"/>
                    <a:gd name="T63" fmla="*/ 21 h 28"/>
                    <a:gd name="T64" fmla="*/ 7 w 21"/>
                    <a:gd name="T65" fmla="*/ 22 h 28"/>
                    <a:gd name="T66" fmla="*/ 7 w 21"/>
                    <a:gd name="T67" fmla="*/ 24 h 28"/>
                    <a:gd name="T68" fmla="*/ 7 w 21"/>
                    <a:gd name="T69" fmla="*/ 25 h 28"/>
                    <a:gd name="T70" fmla="*/ 7 w 21"/>
                    <a:gd name="T71" fmla="*/ 27 h 28"/>
                    <a:gd name="T72" fmla="*/ 8 w 21"/>
                    <a:gd name="T73" fmla="*/ 27 h 28"/>
                    <a:gd name="T74" fmla="*/ 10 w 21"/>
                    <a:gd name="T75" fmla="*/ 27 h 28"/>
                    <a:gd name="T76" fmla="*/ 11 w 21"/>
                    <a:gd name="T77" fmla="*/ 26 h 28"/>
                    <a:gd name="T78" fmla="*/ 12 w 21"/>
                    <a:gd name="T79" fmla="*/ 24 h 28"/>
                    <a:gd name="T80" fmla="*/ 15 w 21"/>
                    <a:gd name="T81" fmla="*/ 21 h 28"/>
                    <a:gd name="T82" fmla="*/ 18 w 21"/>
                    <a:gd name="T83" fmla="*/ 20 h 28"/>
                    <a:gd name="T84" fmla="*/ 18 w 21"/>
                    <a:gd name="T85" fmla="*/ 19 h 28"/>
                    <a:gd name="T86" fmla="*/ 17 w 21"/>
                    <a:gd name="T87" fmla="*/ 20 h 28"/>
                    <a:gd name="T88" fmla="*/ 18 w 21"/>
                    <a:gd name="T89" fmla="*/ 19 h 28"/>
                    <a:gd name="T90" fmla="*/ 17 w 21"/>
                    <a:gd name="T91" fmla="*/ 18 h 28"/>
                    <a:gd name="T92" fmla="*/ 18 w 21"/>
                    <a:gd name="T93" fmla="*/ 17 h 28"/>
                    <a:gd name="T94" fmla="*/ 19 w 21"/>
                    <a:gd name="T95" fmla="*/ 14 h 28"/>
                    <a:gd name="T96" fmla="*/ 21 w 21"/>
                    <a:gd name="T97"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8">
                      <a:moveTo>
                        <a:pt x="18" y="20"/>
                      </a:moveTo>
                      <a:cubicBezTo>
                        <a:pt x="18" y="20"/>
                        <a:pt x="18" y="19"/>
                        <a:pt x="18" y="19"/>
                      </a:cubicBezTo>
                      <a:cubicBezTo>
                        <a:pt x="18" y="19"/>
                        <a:pt x="19" y="19"/>
                        <a:pt x="19" y="19"/>
                      </a:cubicBezTo>
                      <a:cubicBezTo>
                        <a:pt x="19" y="20"/>
                        <a:pt x="18" y="20"/>
                        <a:pt x="18" y="20"/>
                      </a:cubicBezTo>
                      <a:cubicBezTo>
                        <a:pt x="18" y="20"/>
                        <a:pt x="18" y="20"/>
                        <a:pt x="18" y="20"/>
                      </a:cubicBezTo>
                      <a:close/>
                      <a:moveTo>
                        <a:pt x="19" y="10"/>
                      </a:moveTo>
                      <a:cubicBezTo>
                        <a:pt x="19" y="10"/>
                        <a:pt x="19" y="10"/>
                        <a:pt x="19" y="10"/>
                      </a:cubicBezTo>
                      <a:cubicBezTo>
                        <a:pt x="19" y="10"/>
                        <a:pt x="18" y="10"/>
                        <a:pt x="18" y="10"/>
                      </a:cubicBezTo>
                      <a:cubicBezTo>
                        <a:pt x="18" y="10"/>
                        <a:pt x="18" y="10"/>
                        <a:pt x="18" y="10"/>
                      </a:cubicBezTo>
                      <a:cubicBezTo>
                        <a:pt x="18" y="11"/>
                        <a:pt x="18" y="11"/>
                        <a:pt x="18" y="11"/>
                      </a:cubicBezTo>
                      <a:cubicBezTo>
                        <a:pt x="17" y="11"/>
                        <a:pt x="17" y="11"/>
                        <a:pt x="17" y="11"/>
                      </a:cubicBezTo>
                      <a:cubicBezTo>
                        <a:pt x="17" y="11"/>
                        <a:pt x="17" y="11"/>
                        <a:pt x="17" y="11"/>
                      </a:cubicBezTo>
                      <a:cubicBezTo>
                        <a:pt x="16" y="12"/>
                        <a:pt x="16" y="12"/>
                        <a:pt x="16" y="12"/>
                      </a:cubicBezTo>
                      <a:cubicBezTo>
                        <a:pt x="16" y="12"/>
                        <a:pt x="16" y="12"/>
                        <a:pt x="16" y="12"/>
                      </a:cubicBezTo>
                      <a:cubicBezTo>
                        <a:pt x="16" y="12"/>
                        <a:pt x="16" y="11"/>
                        <a:pt x="16" y="11"/>
                      </a:cubicBezTo>
                      <a:cubicBezTo>
                        <a:pt x="16" y="11"/>
                        <a:pt x="16" y="11"/>
                        <a:pt x="16" y="11"/>
                      </a:cubicBezTo>
                      <a:cubicBezTo>
                        <a:pt x="16" y="11"/>
                        <a:pt x="16" y="11"/>
                        <a:pt x="16" y="11"/>
                      </a:cubicBezTo>
                      <a:cubicBezTo>
                        <a:pt x="16" y="10"/>
                        <a:pt x="16" y="10"/>
                        <a:pt x="16" y="10"/>
                      </a:cubicBezTo>
                      <a:cubicBezTo>
                        <a:pt x="15" y="10"/>
                        <a:pt x="15" y="10"/>
                        <a:pt x="15" y="10"/>
                      </a:cubicBezTo>
                      <a:cubicBezTo>
                        <a:pt x="15" y="10"/>
                        <a:pt x="15" y="10"/>
                        <a:pt x="15" y="10"/>
                      </a:cubicBezTo>
                      <a:cubicBezTo>
                        <a:pt x="14" y="10"/>
                        <a:pt x="14" y="10"/>
                        <a:pt x="14" y="10"/>
                      </a:cubicBezTo>
                      <a:cubicBezTo>
                        <a:pt x="13" y="9"/>
                        <a:pt x="13" y="9"/>
                        <a:pt x="13" y="9"/>
                      </a:cubicBezTo>
                      <a:cubicBezTo>
                        <a:pt x="13" y="7"/>
                        <a:pt x="13" y="7"/>
                        <a:pt x="13" y="7"/>
                      </a:cubicBezTo>
                      <a:cubicBezTo>
                        <a:pt x="13" y="7"/>
                        <a:pt x="13" y="7"/>
                        <a:pt x="13"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5"/>
                        <a:pt x="11" y="5"/>
                        <a:pt x="11" y="5"/>
                      </a:cubicBezTo>
                      <a:cubicBezTo>
                        <a:pt x="10" y="5"/>
                        <a:pt x="10" y="5"/>
                        <a:pt x="10" y="5"/>
                      </a:cubicBezTo>
                      <a:cubicBezTo>
                        <a:pt x="10" y="5"/>
                        <a:pt x="10" y="5"/>
                        <a:pt x="10" y="5"/>
                      </a:cubicBezTo>
                      <a:cubicBezTo>
                        <a:pt x="10" y="4"/>
                        <a:pt x="10" y="4"/>
                        <a:pt x="10" y="4"/>
                      </a:cubicBezTo>
                      <a:cubicBezTo>
                        <a:pt x="10" y="3"/>
                        <a:pt x="10" y="3"/>
                        <a:pt x="10" y="3"/>
                      </a:cubicBezTo>
                      <a:cubicBezTo>
                        <a:pt x="10" y="3"/>
                        <a:pt x="10" y="3"/>
                        <a:pt x="10" y="3"/>
                      </a:cubicBezTo>
                      <a:cubicBezTo>
                        <a:pt x="10" y="3"/>
                        <a:pt x="10" y="3"/>
                        <a:pt x="10" y="3"/>
                      </a:cubicBezTo>
                      <a:cubicBezTo>
                        <a:pt x="11" y="1"/>
                        <a:pt x="11" y="1"/>
                        <a:pt x="11" y="1"/>
                      </a:cubicBezTo>
                      <a:cubicBezTo>
                        <a:pt x="11" y="1"/>
                        <a:pt x="11" y="1"/>
                        <a:pt x="11" y="1"/>
                      </a:cubicBezTo>
                      <a:cubicBezTo>
                        <a:pt x="11" y="1"/>
                        <a:pt x="11" y="1"/>
                        <a:pt x="11" y="1"/>
                      </a:cubicBezTo>
                      <a:cubicBezTo>
                        <a:pt x="11" y="1"/>
                        <a:pt x="11" y="1"/>
                        <a:pt x="11" y="1"/>
                      </a:cubicBezTo>
                      <a:cubicBezTo>
                        <a:pt x="11" y="0"/>
                        <a:pt x="11" y="0"/>
                        <a:pt x="11" y="0"/>
                      </a:cubicBezTo>
                      <a:cubicBezTo>
                        <a:pt x="10" y="0"/>
                        <a:pt x="10" y="0"/>
                        <a:pt x="10" y="0"/>
                      </a:cubicBezTo>
                      <a:cubicBezTo>
                        <a:pt x="10" y="1"/>
                        <a:pt x="10" y="1"/>
                        <a:pt x="10" y="1"/>
                      </a:cubicBezTo>
                      <a:cubicBezTo>
                        <a:pt x="10" y="1"/>
                        <a:pt x="10" y="1"/>
                        <a:pt x="10" y="1"/>
                      </a:cubicBezTo>
                      <a:cubicBezTo>
                        <a:pt x="10" y="1"/>
                        <a:pt x="10" y="1"/>
                        <a:pt x="10" y="1"/>
                      </a:cubicBezTo>
                      <a:cubicBezTo>
                        <a:pt x="9" y="1"/>
                        <a:pt x="9" y="1"/>
                        <a:pt x="9" y="1"/>
                      </a:cubicBezTo>
                      <a:cubicBezTo>
                        <a:pt x="9" y="2"/>
                        <a:pt x="9" y="2"/>
                        <a:pt x="9" y="2"/>
                      </a:cubicBezTo>
                      <a:cubicBezTo>
                        <a:pt x="9" y="2"/>
                        <a:pt x="9" y="2"/>
                        <a:pt x="9" y="2"/>
                      </a:cubicBezTo>
                      <a:cubicBezTo>
                        <a:pt x="8" y="1"/>
                        <a:pt x="8" y="1"/>
                        <a:pt x="8" y="1"/>
                      </a:cubicBezTo>
                      <a:cubicBezTo>
                        <a:pt x="8" y="2"/>
                        <a:pt x="8" y="2"/>
                        <a:pt x="8"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3"/>
                        <a:pt x="6" y="3"/>
                      </a:cubicBezTo>
                      <a:cubicBezTo>
                        <a:pt x="6" y="3"/>
                        <a:pt x="5" y="3"/>
                        <a:pt x="5" y="3"/>
                      </a:cubicBezTo>
                      <a:cubicBezTo>
                        <a:pt x="5" y="3"/>
                        <a:pt x="5" y="3"/>
                        <a:pt x="5" y="3"/>
                      </a:cubicBezTo>
                      <a:cubicBezTo>
                        <a:pt x="5" y="4"/>
                        <a:pt x="5" y="4"/>
                        <a:pt x="5" y="4"/>
                      </a:cubicBezTo>
                      <a:cubicBezTo>
                        <a:pt x="5" y="4"/>
                        <a:pt x="5" y="4"/>
                        <a:pt x="5" y="4"/>
                      </a:cubicBezTo>
                      <a:cubicBezTo>
                        <a:pt x="5" y="4"/>
                        <a:pt x="5" y="5"/>
                        <a:pt x="5" y="5"/>
                      </a:cubicBezTo>
                      <a:cubicBezTo>
                        <a:pt x="4" y="5"/>
                        <a:pt x="4" y="5"/>
                        <a:pt x="4" y="5"/>
                      </a:cubicBezTo>
                      <a:cubicBezTo>
                        <a:pt x="4" y="5"/>
                        <a:pt x="4" y="5"/>
                        <a:pt x="4" y="5"/>
                      </a:cubicBezTo>
                      <a:cubicBezTo>
                        <a:pt x="4" y="5"/>
                        <a:pt x="4" y="5"/>
                        <a:pt x="4" y="5"/>
                      </a:cubicBezTo>
                      <a:cubicBezTo>
                        <a:pt x="4" y="5"/>
                        <a:pt x="4" y="5"/>
                        <a:pt x="4" y="5"/>
                      </a:cubicBezTo>
                      <a:cubicBezTo>
                        <a:pt x="4" y="5"/>
                        <a:pt x="3" y="5"/>
                        <a:pt x="3" y="5"/>
                      </a:cubicBezTo>
                      <a:cubicBezTo>
                        <a:pt x="3" y="6"/>
                        <a:pt x="3" y="6"/>
                        <a:pt x="3" y="6"/>
                      </a:cubicBezTo>
                      <a:cubicBezTo>
                        <a:pt x="3" y="6"/>
                        <a:pt x="2" y="6"/>
                        <a:pt x="2" y="6"/>
                      </a:cubicBezTo>
                      <a:cubicBezTo>
                        <a:pt x="2" y="6"/>
                        <a:pt x="2" y="6"/>
                        <a:pt x="2"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1"/>
                        <a:pt x="0" y="11"/>
                        <a:pt x="0" y="11"/>
                      </a:cubicBezTo>
                      <a:cubicBezTo>
                        <a:pt x="0" y="11"/>
                        <a:pt x="1" y="11"/>
                        <a:pt x="1"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4"/>
                        <a:pt x="1" y="14"/>
                        <a:pt x="1" y="14"/>
                      </a:cubicBezTo>
                      <a:cubicBezTo>
                        <a:pt x="1" y="14"/>
                        <a:pt x="1" y="14"/>
                        <a:pt x="1" y="14"/>
                      </a:cubicBezTo>
                      <a:cubicBezTo>
                        <a:pt x="2" y="14"/>
                        <a:pt x="2" y="14"/>
                        <a:pt x="2" y="14"/>
                      </a:cubicBezTo>
                      <a:cubicBezTo>
                        <a:pt x="4" y="13"/>
                        <a:pt x="4" y="13"/>
                        <a:pt x="4" y="13"/>
                      </a:cubicBezTo>
                      <a:cubicBezTo>
                        <a:pt x="4" y="13"/>
                        <a:pt x="4" y="14"/>
                        <a:pt x="4" y="14"/>
                      </a:cubicBezTo>
                      <a:cubicBezTo>
                        <a:pt x="4" y="14"/>
                        <a:pt x="4" y="14"/>
                        <a:pt x="4" y="14"/>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5"/>
                        <a:pt x="6" y="15"/>
                        <a:pt x="6" y="15"/>
                      </a:cubicBezTo>
                      <a:cubicBezTo>
                        <a:pt x="6" y="14"/>
                        <a:pt x="6" y="14"/>
                        <a:pt x="6" y="14"/>
                      </a:cubicBezTo>
                      <a:cubicBezTo>
                        <a:pt x="6" y="14"/>
                        <a:pt x="6" y="14"/>
                        <a:pt x="6" y="14"/>
                      </a:cubicBezTo>
                      <a:cubicBezTo>
                        <a:pt x="8" y="15"/>
                        <a:pt x="8" y="15"/>
                        <a:pt x="8" y="15"/>
                      </a:cubicBezTo>
                      <a:cubicBezTo>
                        <a:pt x="8" y="15"/>
                        <a:pt x="8" y="15"/>
                        <a:pt x="8" y="15"/>
                      </a:cubicBezTo>
                      <a:cubicBezTo>
                        <a:pt x="7" y="15"/>
                        <a:pt x="7" y="15"/>
                        <a:pt x="7" y="15"/>
                      </a:cubicBezTo>
                      <a:cubicBezTo>
                        <a:pt x="7" y="16"/>
                        <a:pt x="7" y="16"/>
                        <a:pt x="7" y="16"/>
                      </a:cubicBezTo>
                      <a:cubicBezTo>
                        <a:pt x="6" y="18"/>
                        <a:pt x="6" y="18"/>
                        <a:pt x="6" y="18"/>
                      </a:cubicBezTo>
                      <a:cubicBezTo>
                        <a:pt x="6" y="18"/>
                        <a:pt x="6" y="18"/>
                        <a:pt x="6" y="18"/>
                      </a:cubicBezTo>
                      <a:cubicBezTo>
                        <a:pt x="6" y="19"/>
                        <a:pt x="6" y="19"/>
                        <a:pt x="6" y="19"/>
                      </a:cubicBezTo>
                      <a:cubicBezTo>
                        <a:pt x="6" y="20"/>
                        <a:pt x="6" y="20"/>
                        <a:pt x="6" y="20"/>
                      </a:cubicBezTo>
                      <a:cubicBezTo>
                        <a:pt x="6" y="20"/>
                        <a:pt x="7" y="20"/>
                        <a:pt x="7" y="20"/>
                      </a:cubicBezTo>
                      <a:cubicBezTo>
                        <a:pt x="7" y="20"/>
                        <a:pt x="7" y="20"/>
                        <a:pt x="7" y="20"/>
                      </a:cubicBezTo>
                      <a:cubicBezTo>
                        <a:pt x="7" y="20"/>
                        <a:pt x="7" y="20"/>
                        <a:pt x="7" y="20"/>
                      </a:cubicBezTo>
                      <a:cubicBezTo>
                        <a:pt x="7" y="20"/>
                        <a:pt x="7" y="20"/>
                        <a:pt x="7" y="20"/>
                      </a:cubicBezTo>
                      <a:cubicBezTo>
                        <a:pt x="7" y="20"/>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2"/>
                        <a:pt x="7" y="22"/>
                        <a:pt x="7" y="22"/>
                      </a:cubicBezTo>
                      <a:cubicBezTo>
                        <a:pt x="7" y="22"/>
                        <a:pt x="7" y="22"/>
                        <a:pt x="7" y="22"/>
                      </a:cubicBezTo>
                      <a:cubicBezTo>
                        <a:pt x="7" y="22"/>
                        <a:pt x="7" y="22"/>
                        <a:pt x="7" y="22"/>
                      </a:cubicBezTo>
                      <a:cubicBezTo>
                        <a:pt x="7" y="22"/>
                        <a:pt x="7" y="22"/>
                        <a:pt x="7" y="22"/>
                      </a:cubicBezTo>
                      <a:cubicBezTo>
                        <a:pt x="7" y="22"/>
                        <a:pt x="7" y="22"/>
                        <a:pt x="7" y="22"/>
                      </a:cubicBezTo>
                      <a:cubicBezTo>
                        <a:pt x="7" y="23"/>
                        <a:pt x="7" y="23"/>
                        <a:pt x="7" y="23"/>
                      </a:cubicBezTo>
                      <a:cubicBezTo>
                        <a:pt x="7" y="23"/>
                        <a:pt x="7" y="23"/>
                        <a:pt x="7" y="23"/>
                      </a:cubicBezTo>
                      <a:cubicBezTo>
                        <a:pt x="7" y="24"/>
                        <a:pt x="7" y="24"/>
                        <a:pt x="7" y="24"/>
                      </a:cubicBezTo>
                      <a:cubicBezTo>
                        <a:pt x="7" y="24"/>
                        <a:pt x="7" y="24"/>
                        <a:pt x="7" y="24"/>
                      </a:cubicBezTo>
                      <a:cubicBezTo>
                        <a:pt x="7" y="24"/>
                        <a:pt x="7" y="25"/>
                        <a:pt x="7" y="25"/>
                      </a:cubicBezTo>
                      <a:cubicBezTo>
                        <a:pt x="7" y="25"/>
                        <a:pt x="7" y="25"/>
                        <a:pt x="7" y="25"/>
                      </a:cubicBezTo>
                      <a:cubicBezTo>
                        <a:pt x="7" y="25"/>
                        <a:pt x="7" y="25"/>
                        <a:pt x="7" y="25"/>
                      </a:cubicBezTo>
                      <a:cubicBezTo>
                        <a:pt x="7" y="25"/>
                        <a:pt x="7" y="26"/>
                        <a:pt x="7" y="26"/>
                      </a:cubicBezTo>
                      <a:cubicBezTo>
                        <a:pt x="7" y="26"/>
                        <a:pt x="8" y="26"/>
                        <a:pt x="8" y="26"/>
                      </a:cubicBezTo>
                      <a:cubicBezTo>
                        <a:pt x="8" y="26"/>
                        <a:pt x="8" y="27"/>
                        <a:pt x="8" y="27"/>
                      </a:cubicBezTo>
                      <a:cubicBezTo>
                        <a:pt x="8" y="27"/>
                        <a:pt x="7" y="27"/>
                        <a:pt x="7" y="27"/>
                      </a:cubicBezTo>
                      <a:cubicBezTo>
                        <a:pt x="7" y="27"/>
                        <a:pt x="8" y="27"/>
                        <a:pt x="8" y="27"/>
                      </a:cubicBezTo>
                      <a:cubicBezTo>
                        <a:pt x="8" y="28"/>
                        <a:pt x="8" y="28"/>
                        <a:pt x="8" y="28"/>
                      </a:cubicBezTo>
                      <a:cubicBezTo>
                        <a:pt x="8" y="28"/>
                        <a:pt x="8" y="28"/>
                        <a:pt x="8" y="28"/>
                      </a:cubicBezTo>
                      <a:cubicBezTo>
                        <a:pt x="8" y="27"/>
                        <a:pt x="8" y="27"/>
                        <a:pt x="8" y="27"/>
                      </a:cubicBezTo>
                      <a:cubicBezTo>
                        <a:pt x="8" y="27"/>
                        <a:pt x="9" y="27"/>
                        <a:pt x="9" y="27"/>
                      </a:cubicBezTo>
                      <a:cubicBezTo>
                        <a:pt x="9" y="27"/>
                        <a:pt x="9" y="27"/>
                        <a:pt x="9" y="27"/>
                      </a:cubicBezTo>
                      <a:cubicBezTo>
                        <a:pt x="9" y="27"/>
                        <a:pt x="9" y="27"/>
                        <a:pt x="9" y="27"/>
                      </a:cubicBezTo>
                      <a:cubicBezTo>
                        <a:pt x="9" y="27"/>
                        <a:pt x="10" y="27"/>
                        <a:pt x="10" y="27"/>
                      </a:cubicBezTo>
                      <a:cubicBezTo>
                        <a:pt x="10" y="27"/>
                        <a:pt x="10" y="27"/>
                        <a:pt x="10" y="27"/>
                      </a:cubicBezTo>
                      <a:cubicBezTo>
                        <a:pt x="10" y="27"/>
                        <a:pt x="10" y="27"/>
                        <a:pt x="10" y="27"/>
                      </a:cubicBezTo>
                      <a:cubicBezTo>
                        <a:pt x="10" y="27"/>
                        <a:pt x="10" y="27"/>
                        <a:pt x="10" y="27"/>
                      </a:cubicBezTo>
                      <a:cubicBezTo>
                        <a:pt x="11" y="26"/>
                        <a:pt x="11" y="26"/>
                        <a:pt x="11" y="26"/>
                      </a:cubicBezTo>
                      <a:cubicBezTo>
                        <a:pt x="11" y="26"/>
                        <a:pt x="11" y="26"/>
                        <a:pt x="11" y="26"/>
                      </a:cubicBezTo>
                      <a:cubicBezTo>
                        <a:pt x="11" y="26"/>
                        <a:pt x="11" y="26"/>
                        <a:pt x="12" y="26"/>
                      </a:cubicBezTo>
                      <a:cubicBezTo>
                        <a:pt x="12" y="26"/>
                        <a:pt x="12" y="25"/>
                        <a:pt x="12" y="25"/>
                      </a:cubicBezTo>
                      <a:cubicBezTo>
                        <a:pt x="12" y="25"/>
                        <a:pt x="12" y="24"/>
                        <a:pt x="12" y="24"/>
                      </a:cubicBezTo>
                      <a:cubicBezTo>
                        <a:pt x="13" y="24"/>
                        <a:pt x="13" y="24"/>
                        <a:pt x="14" y="23"/>
                      </a:cubicBezTo>
                      <a:cubicBezTo>
                        <a:pt x="14" y="23"/>
                        <a:pt x="14" y="23"/>
                        <a:pt x="14" y="23"/>
                      </a:cubicBezTo>
                      <a:cubicBezTo>
                        <a:pt x="14" y="23"/>
                        <a:pt x="15" y="23"/>
                        <a:pt x="15" y="22"/>
                      </a:cubicBezTo>
                      <a:cubicBezTo>
                        <a:pt x="15" y="22"/>
                        <a:pt x="15" y="21"/>
                        <a:pt x="15" y="21"/>
                      </a:cubicBezTo>
                      <a:cubicBezTo>
                        <a:pt x="16" y="20"/>
                        <a:pt x="16" y="20"/>
                        <a:pt x="16" y="20"/>
                      </a:cubicBezTo>
                      <a:cubicBezTo>
                        <a:pt x="16" y="20"/>
                        <a:pt x="17" y="20"/>
                        <a:pt x="17" y="20"/>
                      </a:cubicBezTo>
                      <a:cubicBezTo>
                        <a:pt x="17" y="20"/>
                        <a:pt x="17" y="20"/>
                        <a:pt x="17" y="20"/>
                      </a:cubicBezTo>
                      <a:cubicBezTo>
                        <a:pt x="17" y="20"/>
                        <a:pt x="17"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9" y="19"/>
                        <a:pt x="19" y="19"/>
                        <a:pt x="19" y="19"/>
                      </a:cubicBezTo>
                      <a:cubicBezTo>
                        <a:pt x="19" y="19"/>
                        <a:pt x="19" y="19"/>
                        <a:pt x="18" y="19"/>
                      </a:cubicBezTo>
                      <a:cubicBezTo>
                        <a:pt x="18" y="19"/>
                        <a:pt x="18" y="19"/>
                        <a:pt x="18" y="19"/>
                      </a:cubicBezTo>
                      <a:cubicBezTo>
                        <a:pt x="18" y="19"/>
                        <a:pt x="18" y="19"/>
                        <a:pt x="17" y="20"/>
                      </a:cubicBezTo>
                      <a:cubicBezTo>
                        <a:pt x="17" y="20"/>
                        <a:pt x="17" y="20"/>
                        <a:pt x="17" y="20"/>
                      </a:cubicBezTo>
                      <a:cubicBezTo>
                        <a:pt x="17" y="20"/>
                        <a:pt x="17" y="19"/>
                        <a:pt x="18" y="19"/>
                      </a:cubicBezTo>
                      <a:cubicBezTo>
                        <a:pt x="18" y="19"/>
                        <a:pt x="18" y="19"/>
                        <a:pt x="18" y="19"/>
                      </a:cubicBezTo>
                      <a:cubicBezTo>
                        <a:pt x="18" y="19"/>
                        <a:pt x="18" y="19"/>
                        <a:pt x="18" y="19"/>
                      </a:cubicBezTo>
                      <a:cubicBezTo>
                        <a:pt x="18" y="18"/>
                        <a:pt x="18" y="18"/>
                        <a:pt x="18" y="18"/>
                      </a:cubicBezTo>
                      <a:cubicBezTo>
                        <a:pt x="18" y="18"/>
                        <a:pt x="18" y="18"/>
                        <a:pt x="18" y="18"/>
                      </a:cubicBezTo>
                      <a:cubicBezTo>
                        <a:pt x="18" y="18"/>
                        <a:pt x="18" y="18"/>
                        <a:pt x="18" y="18"/>
                      </a:cubicBezTo>
                      <a:cubicBezTo>
                        <a:pt x="17" y="18"/>
                        <a:pt x="17" y="18"/>
                        <a:pt x="17" y="18"/>
                      </a:cubicBezTo>
                      <a:cubicBezTo>
                        <a:pt x="17" y="18"/>
                        <a:pt x="17" y="18"/>
                        <a:pt x="17" y="18"/>
                      </a:cubicBezTo>
                      <a:cubicBezTo>
                        <a:pt x="18" y="18"/>
                        <a:pt x="18" y="17"/>
                        <a:pt x="18" y="17"/>
                      </a:cubicBezTo>
                      <a:cubicBezTo>
                        <a:pt x="18" y="17"/>
                        <a:pt x="18" y="17"/>
                        <a:pt x="18" y="17"/>
                      </a:cubicBezTo>
                      <a:cubicBezTo>
                        <a:pt x="18" y="17"/>
                        <a:pt x="18" y="17"/>
                        <a:pt x="18" y="17"/>
                      </a:cubicBezTo>
                      <a:cubicBezTo>
                        <a:pt x="18" y="17"/>
                        <a:pt x="19" y="17"/>
                        <a:pt x="19" y="17"/>
                      </a:cubicBezTo>
                      <a:cubicBezTo>
                        <a:pt x="19" y="16"/>
                        <a:pt x="19" y="16"/>
                        <a:pt x="19" y="16"/>
                      </a:cubicBezTo>
                      <a:cubicBezTo>
                        <a:pt x="19" y="16"/>
                        <a:pt x="19" y="15"/>
                        <a:pt x="19" y="15"/>
                      </a:cubicBezTo>
                      <a:cubicBezTo>
                        <a:pt x="19" y="15"/>
                        <a:pt x="19" y="14"/>
                        <a:pt x="19" y="14"/>
                      </a:cubicBezTo>
                      <a:cubicBezTo>
                        <a:pt x="19" y="14"/>
                        <a:pt x="19" y="14"/>
                        <a:pt x="20" y="13"/>
                      </a:cubicBezTo>
                      <a:cubicBezTo>
                        <a:pt x="20" y="13"/>
                        <a:pt x="20" y="12"/>
                        <a:pt x="20" y="12"/>
                      </a:cubicBezTo>
                      <a:cubicBezTo>
                        <a:pt x="20" y="12"/>
                        <a:pt x="20" y="12"/>
                        <a:pt x="20" y="12"/>
                      </a:cubicBezTo>
                      <a:cubicBezTo>
                        <a:pt x="21" y="11"/>
                        <a:pt x="21" y="11"/>
                        <a:pt x="21" y="11"/>
                      </a:cubicBezTo>
                      <a:cubicBezTo>
                        <a:pt x="21" y="11"/>
                        <a:pt x="21" y="11"/>
                        <a:pt x="21" y="10"/>
                      </a:cubicBezTo>
                      <a:cubicBezTo>
                        <a:pt x="20" y="10"/>
                        <a:pt x="20" y="10"/>
                        <a:pt x="20" y="10"/>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5" name="Freeform 725">
                  <a:extLst>
                    <a:ext uri="{FF2B5EF4-FFF2-40B4-BE49-F238E27FC236}">
                      <a16:creationId xmlns:a16="http://schemas.microsoft.com/office/drawing/2014/main" id="{BAB90559-E01E-6206-BEFC-54D500A27608}"/>
                    </a:ext>
                  </a:extLst>
                </p:cNvPr>
                <p:cNvSpPr>
                  <a:spLocks/>
                </p:cNvSpPr>
                <p:nvPr/>
              </p:nvSpPr>
              <p:spPr bwMode="auto">
                <a:xfrm>
                  <a:off x="10266363" y="6178550"/>
                  <a:ext cx="12700" cy="12700"/>
                </a:xfrm>
                <a:custGeom>
                  <a:avLst/>
                  <a:gdLst>
                    <a:gd name="T0" fmla="*/ 1 w 3"/>
                    <a:gd name="T1" fmla="*/ 3 h 3"/>
                    <a:gd name="T2" fmla="*/ 2 w 3"/>
                    <a:gd name="T3" fmla="*/ 2 h 3"/>
                    <a:gd name="T4" fmla="*/ 2 w 3"/>
                    <a:gd name="T5" fmla="*/ 1 h 3"/>
                    <a:gd name="T6" fmla="*/ 2 w 3"/>
                    <a:gd name="T7" fmla="*/ 1 h 3"/>
                    <a:gd name="T8" fmla="*/ 3 w 3"/>
                    <a:gd name="T9" fmla="*/ 0 h 3"/>
                    <a:gd name="T10" fmla="*/ 3 w 3"/>
                    <a:gd name="T11" fmla="*/ 0 h 3"/>
                    <a:gd name="T12" fmla="*/ 2 w 3"/>
                    <a:gd name="T13" fmla="*/ 0 h 3"/>
                    <a:gd name="T14" fmla="*/ 2 w 3"/>
                    <a:gd name="T15" fmla="*/ 0 h 3"/>
                    <a:gd name="T16" fmla="*/ 2 w 3"/>
                    <a:gd name="T17" fmla="*/ 0 h 3"/>
                    <a:gd name="T18" fmla="*/ 2 w 3"/>
                    <a:gd name="T19" fmla="*/ 0 h 3"/>
                    <a:gd name="T20" fmla="*/ 1 w 3"/>
                    <a:gd name="T21" fmla="*/ 1 h 3"/>
                    <a:gd name="T22" fmla="*/ 1 w 3"/>
                    <a:gd name="T23" fmla="*/ 1 h 3"/>
                    <a:gd name="T24" fmla="*/ 1 w 3"/>
                    <a:gd name="T25" fmla="*/ 1 h 3"/>
                    <a:gd name="T26" fmla="*/ 1 w 3"/>
                    <a:gd name="T27" fmla="*/ 1 h 3"/>
                    <a:gd name="T28" fmla="*/ 0 w 3"/>
                    <a:gd name="T29" fmla="*/ 2 h 3"/>
                    <a:gd name="T30" fmla="*/ 0 w 3"/>
                    <a:gd name="T31" fmla="*/ 2 h 3"/>
                    <a:gd name="T32" fmla="*/ 0 w 3"/>
                    <a:gd name="T33" fmla="*/ 2 h 3"/>
                    <a:gd name="T34" fmla="*/ 1 w 3"/>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3">
                      <a:moveTo>
                        <a:pt x="1" y="3"/>
                      </a:moveTo>
                      <a:cubicBezTo>
                        <a:pt x="1" y="3"/>
                        <a:pt x="2" y="2"/>
                        <a:pt x="2" y="2"/>
                      </a:cubicBezTo>
                      <a:cubicBezTo>
                        <a:pt x="2" y="2"/>
                        <a:pt x="2" y="1"/>
                        <a:pt x="2" y="1"/>
                      </a:cubicBezTo>
                      <a:cubicBezTo>
                        <a:pt x="2" y="1"/>
                        <a:pt x="2" y="1"/>
                        <a:pt x="2" y="1"/>
                      </a:cubicBezTo>
                      <a:cubicBezTo>
                        <a:pt x="2" y="1"/>
                        <a:pt x="3" y="0"/>
                        <a:pt x="3" y="0"/>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2" y="0"/>
                        <a:pt x="1" y="0"/>
                        <a:pt x="1" y="1"/>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cubicBezTo>
                        <a:pt x="0" y="2"/>
                        <a:pt x="0" y="2"/>
                        <a:pt x="0" y="2"/>
                      </a:cubicBezTo>
                      <a:lnTo>
                        <a:pt x="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6" name="Freeform 726">
                  <a:extLst>
                    <a:ext uri="{FF2B5EF4-FFF2-40B4-BE49-F238E27FC236}">
                      <a16:creationId xmlns:a16="http://schemas.microsoft.com/office/drawing/2014/main" id="{115CFC2B-AD63-A9E6-ED44-7B987A0E01A8}"/>
                    </a:ext>
                  </a:extLst>
                </p:cNvPr>
                <p:cNvSpPr>
                  <a:spLocks/>
                </p:cNvSpPr>
                <p:nvPr/>
              </p:nvSpPr>
              <p:spPr bwMode="auto">
                <a:xfrm>
                  <a:off x="10312400" y="6083300"/>
                  <a:ext cx="53975" cy="84138"/>
                </a:xfrm>
                <a:custGeom>
                  <a:avLst/>
                  <a:gdLst>
                    <a:gd name="T0" fmla="*/ 12 w 13"/>
                    <a:gd name="T1" fmla="*/ 17 h 20"/>
                    <a:gd name="T2" fmla="*/ 11 w 13"/>
                    <a:gd name="T3" fmla="*/ 17 h 20"/>
                    <a:gd name="T4" fmla="*/ 11 w 13"/>
                    <a:gd name="T5" fmla="*/ 16 h 20"/>
                    <a:gd name="T6" fmla="*/ 11 w 13"/>
                    <a:gd name="T7" fmla="*/ 15 h 20"/>
                    <a:gd name="T8" fmla="*/ 10 w 13"/>
                    <a:gd name="T9" fmla="*/ 14 h 20"/>
                    <a:gd name="T10" fmla="*/ 9 w 13"/>
                    <a:gd name="T11" fmla="*/ 13 h 20"/>
                    <a:gd name="T12" fmla="*/ 9 w 13"/>
                    <a:gd name="T13" fmla="*/ 13 h 20"/>
                    <a:gd name="T14" fmla="*/ 9 w 13"/>
                    <a:gd name="T15" fmla="*/ 12 h 20"/>
                    <a:gd name="T16" fmla="*/ 10 w 13"/>
                    <a:gd name="T17" fmla="*/ 10 h 20"/>
                    <a:gd name="T18" fmla="*/ 10 w 13"/>
                    <a:gd name="T19" fmla="*/ 9 h 20"/>
                    <a:gd name="T20" fmla="*/ 9 w 13"/>
                    <a:gd name="T21" fmla="*/ 8 h 20"/>
                    <a:gd name="T22" fmla="*/ 9 w 13"/>
                    <a:gd name="T23" fmla="*/ 8 h 20"/>
                    <a:gd name="T24" fmla="*/ 9 w 13"/>
                    <a:gd name="T25" fmla="*/ 7 h 20"/>
                    <a:gd name="T26" fmla="*/ 9 w 13"/>
                    <a:gd name="T27" fmla="*/ 6 h 20"/>
                    <a:gd name="T28" fmla="*/ 8 w 13"/>
                    <a:gd name="T29" fmla="*/ 6 h 20"/>
                    <a:gd name="T30" fmla="*/ 8 w 13"/>
                    <a:gd name="T31" fmla="*/ 6 h 20"/>
                    <a:gd name="T32" fmla="*/ 7 w 13"/>
                    <a:gd name="T33" fmla="*/ 7 h 20"/>
                    <a:gd name="T34" fmla="*/ 6 w 13"/>
                    <a:gd name="T35" fmla="*/ 7 h 20"/>
                    <a:gd name="T36" fmla="*/ 6 w 13"/>
                    <a:gd name="T37" fmla="*/ 5 h 20"/>
                    <a:gd name="T38" fmla="*/ 6 w 13"/>
                    <a:gd name="T39" fmla="*/ 4 h 20"/>
                    <a:gd name="T40" fmla="*/ 5 w 13"/>
                    <a:gd name="T41" fmla="*/ 3 h 20"/>
                    <a:gd name="T42" fmla="*/ 5 w 13"/>
                    <a:gd name="T43" fmla="*/ 2 h 20"/>
                    <a:gd name="T44" fmla="*/ 6 w 13"/>
                    <a:gd name="T45" fmla="*/ 1 h 20"/>
                    <a:gd name="T46" fmla="*/ 5 w 13"/>
                    <a:gd name="T47" fmla="*/ 0 h 20"/>
                    <a:gd name="T48" fmla="*/ 4 w 13"/>
                    <a:gd name="T49" fmla="*/ 1 h 20"/>
                    <a:gd name="T50" fmla="*/ 4 w 13"/>
                    <a:gd name="T51" fmla="*/ 1 h 20"/>
                    <a:gd name="T52" fmla="*/ 2 w 13"/>
                    <a:gd name="T53" fmla="*/ 1 h 20"/>
                    <a:gd name="T54" fmla="*/ 1 w 13"/>
                    <a:gd name="T55" fmla="*/ 2 h 20"/>
                    <a:gd name="T56" fmla="*/ 1 w 13"/>
                    <a:gd name="T57" fmla="*/ 2 h 20"/>
                    <a:gd name="T58" fmla="*/ 0 w 13"/>
                    <a:gd name="T59" fmla="*/ 4 h 20"/>
                    <a:gd name="T60" fmla="*/ 0 w 13"/>
                    <a:gd name="T61" fmla="*/ 4 h 20"/>
                    <a:gd name="T62" fmla="*/ 0 w 13"/>
                    <a:gd name="T63" fmla="*/ 5 h 20"/>
                    <a:gd name="T64" fmla="*/ 0 w 13"/>
                    <a:gd name="T65" fmla="*/ 6 h 20"/>
                    <a:gd name="T66" fmla="*/ 0 w 13"/>
                    <a:gd name="T67" fmla="*/ 7 h 20"/>
                    <a:gd name="T68" fmla="*/ 1 w 13"/>
                    <a:gd name="T69" fmla="*/ 8 h 20"/>
                    <a:gd name="T70" fmla="*/ 2 w 13"/>
                    <a:gd name="T71" fmla="*/ 9 h 20"/>
                    <a:gd name="T72" fmla="*/ 2 w 13"/>
                    <a:gd name="T73" fmla="*/ 10 h 20"/>
                    <a:gd name="T74" fmla="*/ 1 w 13"/>
                    <a:gd name="T75" fmla="*/ 11 h 20"/>
                    <a:gd name="T76" fmla="*/ 0 w 13"/>
                    <a:gd name="T77" fmla="*/ 12 h 20"/>
                    <a:gd name="T78" fmla="*/ 1 w 13"/>
                    <a:gd name="T79" fmla="*/ 12 h 20"/>
                    <a:gd name="T80" fmla="*/ 3 w 13"/>
                    <a:gd name="T81" fmla="*/ 15 h 20"/>
                    <a:gd name="T82" fmla="*/ 3 w 13"/>
                    <a:gd name="T83" fmla="*/ 19 h 20"/>
                    <a:gd name="T84" fmla="*/ 3 w 13"/>
                    <a:gd name="T85" fmla="*/ 20 h 20"/>
                    <a:gd name="T86" fmla="*/ 4 w 13"/>
                    <a:gd name="T87" fmla="*/ 20 h 20"/>
                    <a:gd name="T88" fmla="*/ 4 w 13"/>
                    <a:gd name="T89" fmla="*/ 20 h 20"/>
                    <a:gd name="T90" fmla="*/ 5 w 13"/>
                    <a:gd name="T91" fmla="*/ 19 h 20"/>
                    <a:gd name="T92" fmla="*/ 6 w 13"/>
                    <a:gd name="T93" fmla="*/ 20 h 20"/>
                    <a:gd name="T94" fmla="*/ 7 w 13"/>
                    <a:gd name="T95" fmla="*/ 19 h 20"/>
                    <a:gd name="T96" fmla="*/ 7 w 13"/>
                    <a:gd name="T97" fmla="*/ 20 h 20"/>
                    <a:gd name="T98" fmla="*/ 8 w 13"/>
                    <a:gd name="T99" fmla="*/ 20 h 20"/>
                    <a:gd name="T100" fmla="*/ 8 w 13"/>
                    <a:gd name="T101" fmla="*/ 20 h 20"/>
                    <a:gd name="T102" fmla="*/ 9 w 13"/>
                    <a:gd name="T103" fmla="*/ 19 h 20"/>
                    <a:gd name="T104" fmla="*/ 10 w 13"/>
                    <a:gd name="T105" fmla="*/ 19 h 20"/>
                    <a:gd name="T106" fmla="*/ 12 w 13"/>
                    <a:gd name="T10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 h="20">
                      <a:moveTo>
                        <a:pt x="13" y="17"/>
                      </a:moveTo>
                      <a:cubicBezTo>
                        <a:pt x="13" y="17"/>
                        <a:pt x="13" y="17"/>
                        <a:pt x="13" y="17"/>
                      </a:cubicBezTo>
                      <a:cubicBezTo>
                        <a:pt x="12" y="17"/>
                        <a:pt x="12" y="17"/>
                        <a:pt x="12" y="17"/>
                      </a:cubicBezTo>
                      <a:cubicBezTo>
                        <a:pt x="12" y="17"/>
                        <a:pt x="12" y="17"/>
                        <a:pt x="12" y="17"/>
                      </a:cubicBezTo>
                      <a:cubicBezTo>
                        <a:pt x="12" y="17"/>
                        <a:pt x="12" y="17"/>
                        <a:pt x="12" y="17"/>
                      </a:cubicBezTo>
                      <a:cubicBezTo>
                        <a:pt x="11" y="17"/>
                        <a:pt x="11" y="17"/>
                        <a:pt x="11" y="17"/>
                      </a:cubicBezTo>
                      <a:cubicBezTo>
                        <a:pt x="11" y="16"/>
                        <a:pt x="11" y="16"/>
                        <a:pt x="11" y="16"/>
                      </a:cubicBezTo>
                      <a:cubicBezTo>
                        <a:pt x="11" y="16"/>
                        <a:pt x="11" y="16"/>
                        <a:pt x="11" y="16"/>
                      </a:cubicBezTo>
                      <a:cubicBezTo>
                        <a:pt x="11" y="16"/>
                        <a:pt x="11" y="16"/>
                        <a:pt x="11" y="16"/>
                      </a:cubicBezTo>
                      <a:cubicBezTo>
                        <a:pt x="11" y="16"/>
                        <a:pt x="11" y="15"/>
                        <a:pt x="11" y="15"/>
                      </a:cubicBezTo>
                      <a:cubicBezTo>
                        <a:pt x="11" y="15"/>
                        <a:pt x="11" y="15"/>
                        <a:pt x="11" y="15"/>
                      </a:cubicBezTo>
                      <a:cubicBezTo>
                        <a:pt x="11" y="15"/>
                        <a:pt x="11" y="15"/>
                        <a:pt x="11" y="15"/>
                      </a:cubicBezTo>
                      <a:cubicBezTo>
                        <a:pt x="11" y="14"/>
                        <a:pt x="11" y="14"/>
                        <a:pt x="11" y="14"/>
                      </a:cubicBezTo>
                      <a:cubicBezTo>
                        <a:pt x="11" y="14"/>
                        <a:pt x="11" y="14"/>
                        <a:pt x="10" y="14"/>
                      </a:cubicBezTo>
                      <a:cubicBezTo>
                        <a:pt x="10" y="14"/>
                        <a:pt x="10" y="14"/>
                        <a:pt x="10" y="14"/>
                      </a:cubicBezTo>
                      <a:cubicBezTo>
                        <a:pt x="10" y="14"/>
                        <a:pt x="10" y="14"/>
                        <a:pt x="10" y="14"/>
                      </a:cubicBezTo>
                      <a:cubicBezTo>
                        <a:pt x="10" y="14"/>
                        <a:pt x="10" y="14"/>
                        <a:pt x="10" y="14"/>
                      </a:cubicBezTo>
                      <a:cubicBezTo>
                        <a:pt x="9" y="14"/>
                        <a:pt x="9" y="13"/>
                        <a:pt x="9" y="13"/>
                      </a:cubicBezTo>
                      <a:cubicBezTo>
                        <a:pt x="9" y="13"/>
                        <a:pt x="9" y="13"/>
                        <a:pt x="9" y="13"/>
                      </a:cubicBezTo>
                      <a:cubicBezTo>
                        <a:pt x="9"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10" y="10"/>
                        <a:pt x="10" y="10"/>
                        <a:pt x="10" y="10"/>
                      </a:cubicBezTo>
                      <a:cubicBezTo>
                        <a:pt x="10" y="10"/>
                        <a:pt x="10" y="10"/>
                        <a:pt x="10" y="10"/>
                      </a:cubicBezTo>
                      <a:cubicBezTo>
                        <a:pt x="10" y="10"/>
                        <a:pt x="10" y="10"/>
                        <a:pt x="10" y="10"/>
                      </a:cubicBezTo>
                      <a:cubicBezTo>
                        <a:pt x="10" y="10"/>
                        <a:pt x="9" y="10"/>
                        <a:pt x="9" y="10"/>
                      </a:cubicBezTo>
                      <a:cubicBezTo>
                        <a:pt x="9" y="10"/>
                        <a:pt x="10" y="9"/>
                        <a:pt x="10" y="9"/>
                      </a:cubicBezTo>
                      <a:cubicBezTo>
                        <a:pt x="10" y="9"/>
                        <a:pt x="10" y="9"/>
                        <a:pt x="10" y="9"/>
                      </a:cubicBezTo>
                      <a:cubicBezTo>
                        <a:pt x="10" y="9"/>
                        <a:pt x="10" y="9"/>
                        <a:pt x="10" y="9"/>
                      </a:cubicBezTo>
                      <a:cubicBezTo>
                        <a:pt x="10" y="9"/>
                        <a:pt x="9" y="9"/>
                        <a:pt x="9" y="9"/>
                      </a:cubicBezTo>
                      <a:cubicBezTo>
                        <a:pt x="9" y="8"/>
                        <a:pt x="9" y="8"/>
                        <a:pt x="9"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9" y="7"/>
                        <a:pt x="9" y="7"/>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9" y="6"/>
                        <a:pt x="8" y="6"/>
                        <a:pt x="8" y="6"/>
                      </a:cubicBezTo>
                      <a:cubicBezTo>
                        <a:pt x="8" y="6"/>
                        <a:pt x="8" y="6"/>
                        <a:pt x="8" y="6"/>
                      </a:cubicBezTo>
                      <a:cubicBezTo>
                        <a:pt x="8" y="6"/>
                        <a:pt x="8" y="6"/>
                        <a:pt x="8" y="6"/>
                      </a:cubicBezTo>
                      <a:cubicBezTo>
                        <a:pt x="8" y="6"/>
                        <a:pt x="8" y="6"/>
                        <a:pt x="8" y="6"/>
                      </a:cubicBezTo>
                      <a:cubicBezTo>
                        <a:pt x="8" y="7"/>
                        <a:pt x="8" y="7"/>
                        <a:pt x="8" y="7"/>
                      </a:cubicBezTo>
                      <a:cubicBezTo>
                        <a:pt x="8" y="7"/>
                        <a:pt x="8" y="7"/>
                        <a:pt x="8" y="7"/>
                      </a:cubicBezTo>
                      <a:cubicBezTo>
                        <a:pt x="7" y="7"/>
                        <a:pt x="7" y="7"/>
                        <a:pt x="7" y="7"/>
                      </a:cubicBezTo>
                      <a:cubicBezTo>
                        <a:pt x="7" y="7"/>
                        <a:pt x="7" y="7"/>
                        <a:pt x="7" y="7"/>
                      </a:cubicBezTo>
                      <a:cubicBezTo>
                        <a:pt x="6" y="7"/>
                        <a:pt x="6" y="7"/>
                        <a:pt x="6" y="7"/>
                      </a:cubicBezTo>
                      <a:cubicBezTo>
                        <a:pt x="6" y="7"/>
                        <a:pt x="6" y="7"/>
                        <a:pt x="6" y="7"/>
                      </a:cubicBezTo>
                      <a:cubicBezTo>
                        <a:pt x="5" y="7"/>
                        <a:pt x="5" y="7"/>
                        <a:pt x="5" y="7"/>
                      </a:cubicBezTo>
                      <a:cubicBezTo>
                        <a:pt x="6" y="6"/>
                        <a:pt x="6" y="6"/>
                        <a:pt x="6" y="6"/>
                      </a:cubicBezTo>
                      <a:cubicBezTo>
                        <a:pt x="6" y="5"/>
                        <a:pt x="6" y="5"/>
                        <a:pt x="6" y="5"/>
                      </a:cubicBezTo>
                      <a:cubicBezTo>
                        <a:pt x="6" y="5"/>
                        <a:pt x="6" y="5"/>
                        <a:pt x="6" y="5"/>
                      </a:cubicBezTo>
                      <a:cubicBezTo>
                        <a:pt x="6" y="4"/>
                        <a:pt x="6" y="4"/>
                        <a:pt x="6" y="4"/>
                      </a:cubicBezTo>
                      <a:cubicBezTo>
                        <a:pt x="6" y="4"/>
                        <a:pt x="6" y="4"/>
                        <a:pt x="6" y="4"/>
                      </a:cubicBezTo>
                      <a:cubicBezTo>
                        <a:pt x="5" y="4"/>
                        <a:pt x="5" y="4"/>
                        <a:pt x="5" y="4"/>
                      </a:cubicBezTo>
                      <a:cubicBezTo>
                        <a:pt x="5" y="4"/>
                        <a:pt x="5" y="4"/>
                        <a:pt x="5" y="4"/>
                      </a:cubicBezTo>
                      <a:cubicBezTo>
                        <a:pt x="5" y="4"/>
                        <a:pt x="5" y="3"/>
                        <a:pt x="5" y="3"/>
                      </a:cubicBezTo>
                      <a:cubicBezTo>
                        <a:pt x="5" y="3"/>
                        <a:pt x="6" y="3"/>
                        <a:pt x="6" y="3"/>
                      </a:cubicBezTo>
                      <a:cubicBezTo>
                        <a:pt x="6" y="3"/>
                        <a:pt x="5" y="3"/>
                        <a:pt x="5" y="3"/>
                      </a:cubicBezTo>
                      <a:cubicBezTo>
                        <a:pt x="5" y="3"/>
                        <a:pt x="5" y="2"/>
                        <a:pt x="5" y="2"/>
                      </a:cubicBezTo>
                      <a:cubicBezTo>
                        <a:pt x="6" y="1"/>
                        <a:pt x="6" y="1"/>
                        <a:pt x="6" y="1"/>
                      </a:cubicBezTo>
                      <a:cubicBezTo>
                        <a:pt x="6" y="1"/>
                        <a:pt x="6" y="1"/>
                        <a:pt x="6" y="1"/>
                      </a:cubicBezTo>
                      <a:cubicBezTo>
                        <a:pt x="6" y="1"/>
                        <a:pt x="6" y="1"/>
                        <a:pt x="6" y="1"/>
                      </a:cubicBezTo>
                      <a:cubicBezTo>
                        <a:pt x="6" y="0"/>
                        <a:pt x="6" y="0"/>
                        <a:pt x="6" y="0"/>
                      </a:cubicBezTo>
                      <a:cubicBezTo>
                        <a:pt x="5" y="0"/>
                        <a:pt x="5" y="0"/>
                        <a:pt x="5" y="0"/>
                      </a:cubicBezTo>
                      <a:cubicBezTo>
                        <a:pt x="5" y="0"/>
                        <a:pt x="5" y="0"/>
                        <a:pt x="5" y="0"/>
                      </a:cubicBezTo>
                      <a:cubicBezTo>
                        <a:pt x="4" y="0"/>
                        <a:pt x="4" y="0"/>
                        <a:pt x="4" y="0"/>
                      </a:cubicBezTo>
                      <a:cubicBezTo>
                        <a:pt x="4" y="0"/>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3" y="1"/>
                        <a:pt x="3" y="1"/>
                        <a:pt x="3"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0" y="3"/>
                        <a:pt x="0" y="3"/>
                        <a:pt x="0" y="3"/>
                      </a:cubicBezTo>
                      <a:cubicBezTo>
                        <a:pt x="0" y="4"/>
                        <a:pt x="0" y="4"/>
                        <a:pt x="0" y="4"/>
                      </a:cubicBezTo>
                      <a:cubicBezTo>
                        <a:pt x="1" y="4"/>
                        <a:pt x="1" y="4"/>
                        <a:pt x="1" y="4"/>
                      </a:cubicBezTo>
                      <a:cubicBezTo>
                        <a:pt x="0" y="4"/>
                        <a:pt x="0" y="4"/>
                        <a:pt x="0" y="4"/>
                      </a:cubicBezTo>
                      <a:cubicBezTo>
                        <a:pt x="0" y="4"/>
                        <a:pt x="0" y="4"/>
                        <a:pt x="0" y="4"/>
                      </a:cubicBezTo>
                      <a:cubicBezTo>
                        <a:pt x="0" y="4"/>
                        <a:pt x="0" y="4"/>
                        <a:pt x="0" y="4"/>
                      </a:cubicBezTo>
                      <a:cubicBezTo>
                        <a:pt x="0" y="4"/>
                        <a:pt x="0" y="4"/>
                        <a:pt x="0" y="4"/>
                      </a:cubicBezTo>
                      <a:cubicBezTo>
                        <a:pt x="0" y="5"/>
                        <a:pt x="0" y="5"/>
                        <a:pt x="0" y="5"/>
                      </a:cubicBezTo>
                      <a:cubicBezTo>
                        <a:pt x="0" y="5"/>
                        <a:pt x="0" y="5"/>
                        <a:pt x="0" y="5"/>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1" y="7"/>
                        <a:pt x="1" y="7"/>
                      </a:cubicBezTo>
                      <a:cubicBezTo>
                        <a:pt x="1" y="7"/>
                        <a:pt x="1" y="8"/>
                        <a:pt x="1" y="8"/>
                      </a:cubicBezTo>
                      <a:cubicBezTo>
                        <a:pt x="1" y="8"/>
                        <a:pt x="1" y="8"/>
                        <a:pt x="1" y="8"/>
                      </a:cubicBezTo>
                      <a:cubicBezTo>
                        <a:pt x="1" y="9"/>
                        <a:pt x="1" y="9"/>
                        <a:pt x="1" y="9"/>
                      </a:cubicBezTo>
                      <a:cubicBezTo>
                        <a:pt x="1" y="9"/>
                        <a:pt x="2" y="9"/>
                        <a:pt x="2" y="9"/>
                      </a:cubicBezTo>
                      <a:cubicBezTo>
                        <a:pt x="2" y="9"/>
                        <a:pt x="2" y="9"/>
                        <a:pt x="2" y="9"/>
                      </a:cubicBezTo>
                      <a:cubicBezTo>
                        <a:pt x="2" y="9"/>
                        <a:pt x="2" y="10"/>
                        <a:pt x="2" y="10"/>
                      </a:cubicBezTo>
                      <a:cubicBezTo>
                        <a:pt x="2" y="10"/>
                        <a:pt x="2" y="10"/>
                        <a:pt x="2" y="10"/>
                      </a:cubicBezTo>
                      <a:cubicBezTo>
                        <a:pt x="2" y="10"/>
                        <a:pt x="2" y="10"/>
                        <a:pt x="2" y="10"/>
                      </a:cubicBezTo>
                      <a:cubicBezTo>
                        <a:pt x="1" y="10"/>
                        <a:pt x="1" y="10"/>
                        <a:pt x="1" y="10"/>
                      </a:cubicBezTo>
                      <a:cubicBezTo>
                        <a:pt x="1" y="10"/>
                        <a:pt x="1" y="10"/>
                        <a:pt x="1" y="10"/>
                      </a:cubicBezTo>
                      <a:cubicBezTo>
                        <a:pt x="1" y="11"/>
                        <a:pt x="1" y="11"/>
                        <a:pt x="1" y="11"/>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2"/>
                        <a:pt x="1" y="12"/>
                        <a:pt x="1" y="12"/>
                      </a:cubicBezTo>
                      <a:cubicBezTo>
                        <a:pt x="1" y="12"/>
                        <a:pt x="1" y="13"/>
                        <a:pt x="2" y="13"/>
                      </a:cubicBezTo>
                      <a:cubicBezTo>
                        <a:pt x="2" y="13"/>
                        <a:pt x="2" y="14"/>
                        <a:pt x="3" y="14"/>
                      </a:cubicBezTo>
                      <a:cubicBezTo>
                        <a:pt x="3" y="14"/>
                        <a:pt x="3" y="14"/>
                        <a:pt x="3" y="15"/>
                      </a:cubicBezTo>
                      <a:cubicBezTo>
                        <a:pt x="3" y="15"/>
                        <a:pt x="3" y="15"/>
                        <a:pt x="3" y="16"/>
                      </a:cubicBezTo>
                      <a:cubicBezTo>
                        <a:pt x="3" y="16"/>
                        <a:pt x="3" y="17"/>
                        <a:pt x="3" y="17"/>
                      </a:cubicBezTo>
                      <a:cubicBezTo>
                        <a:pt x="3" y="18"/>
                        <a:pt x="3" y="19"/>
                        <a:pt x="3" y="19"/>
                      </a:cubicBezTo>
                      <a:cubicBezTo>
                        <a:pt x="3" y="20"/>
                        <a:pt x="3" y="20"/>
                        <a:pt x="3" y="20"/>
                      </a:cubicBezTo>
                      <a:cubicBezTo>
                        <a:pt x="3" y="20"/>
                        <a:pt x="3" y="20"/>
                        <a:pt x="3" y="20"/>
                      </a:cubicBezTo>
                      <a:cubicBezTo>
                        <a:pt x="3" y="20"/>
                        <a:pt x="3" y="20"/>
                        <a:pt x="3" y="20"/>
                      </a:cubicBezTo>
                      <a:cubicBezTo>
                        <a:pt x="3" y="20"/>
                        <a:pt x="3" y="20"/>
                        <a:pt x="3" y="20"/>
                      </a:cubicBezTo>
                      <a:cubicBezTo>
                        <a:pt x="3" y="20"/>
                        <a:pt x="3" y="20"/>
                        <a:pt x="3" y="20"/>
                      </a:cubicBezTo>
                      <a:cubicBezTo>
                        <a:pt x="4" y="20"/>
                        <a:pt x="4" y="20"/>
                        <a:pt x="4" y="20"/>
                      </a:cubicBezTo>
                      <a:cubicBezTo>
                        <a:pt x="4" y="20"/>
                        <a:pt x="4" y="20"/>
                        <a:pt x="4" y="20"/>
                      </a:cubicBezTo>
                      <a:cubicBezTo>
                        <a:pt x="4" y="20"/>
                        <a:pt x="4" y="20"/>
                        <a:pt x="4" y="20"/>
                      </a:cubicBezTo>
                      <a:cubicBezTo>
                        <a:pt x="4" y="20"/>
                        <a:pt x="4" y="20"/>
                        <a:pt x="4" y="20"/>
                      </a:cubicBezTo>
                      <a:cubicBezTo>
                        <a:pt x="5" y="20"/>
                        <a:pt x="5" y="20"/>
                        <a:pt x="5" y="20"/>
                      </a:cubicBezTo>
                      <a:cubicBezTo>
                        <a:pt x="5" y="19"/>
                        <a:pt x="5" y="19"/>
                        <a:pt x="5" y="19"/>
                      </a:cubicBezTo>
                      <a:cubicBezTo>
                        <a:pt x="5" y="19"/>
                        <a:pt x="5" y="19"/>
                        <a:pt x="5" y="19"/>
                      </a:cubicBezTo>
                      <a:cubicBezTo>
                        <a:pt x="5" y="20"/>
                        <a:pt x="5" y="20"/>
                        <a:pt x="5" y="20"/>
                      </a:cubicBezTo>
                      <a:cubicBezTo>
                        <a:pt x="5" y="20"/>
                        <a:pt x="6" y="20"/>
                        <a:pt x="6" y="20"/>
                      </a:cubicBezTo>
                      <a:cubicBezTo>
                        <a:pt x="6" y="20"/>
                        <a:pt x="6" y="20"/>
                        <a:pt x="6" y="20"/>
                      </a:cubicBezTo>
                      <a:cubicBezTo>
                        <a:pt x="6" y="20"/>
                        <a:pt x="6" y="20"/>
                        <a:pt x="6" y="20"/>
                      </a:cubicBezTo>
                      <a:cubicBezTo>
                        <a:pt x="6" y="19"/>
                        <a:pt x="6" y="19"/>
                        <a:pt x="6" y="19"/>
                      </a:cubicBezTo>
                      <a:cubicBezTo>
                        <a:pt x="6" y="19"/>
                        <a:pt x="7" y="19"/>
                        <a:pt x="7" y="19"/>
                      </a:cubicBezTo>
                      <a:cubicBezTo>
                        <a:pt x="7" y="19"/>
                        <a:pt x="7" y="20"/>
                        <a:pt x="7" y="20"/>
                      </a:cubicBezTo>
                      <a:cubicBezTo>
                        <a:pt x="7" y="20"/>
                        <a:pt x="7" y="20"/>
                        <a:pt x="7" y="20"/>
                      </a:cubicBezTo>
                      <a:cubicBezTo>
                        <a:pt x="7" y="20"/>
                        <a:pt x="7" y="20"/>
                        <a:pt x="7" y="20"/>
                      </a:cubicBezTo>
                      <a:cubicBezTo>
                        <a:pt x="7" y="20"/>
                        <a:pt x="7" y="20"/>
                        <a:pt x="7" y="20"/>
                      </a:cubicBezTo>
                      <a:cubicBezTo>
                        <a:pt x="7" y="20"/>
                        <a:pt x="7" y="20"/>
                        <a:pt x="7" y="20"/>
                      </a:cubicBezTo>
                      <a:cubicBezTo>
                        <a:pt x="7" y="20"/>
                        <a:pt x="8" y="20"/>
                        <a:pt x="8" y="20"/>
                      </a:cubicBezTo>
                      <a:cubicBezTo>
                        <a:pt x="8" y="20"/>
                        <a:pt x="8" y="20"/>
                        <a:pt x="8" y="20"/>
                      </a:cubicBezTo>
                      <a:cubicBezTo>
                        <a:pt x="8" y="20"/>
                        <a:pt x="8" y="20"/>
                        <a:pt x="8" y="20"/>
                      </a:cubicBezTo>
                      <a:cubicBezTo>
                        <a:pt x="8" y="20"/>
                        <a:pt x="8" y="20"/>
                        <a:pt x="8" y="20"/>
                      </a:cubicBezTo>
                      <a:cubicBezTo>
                        <a:pt x="8" y="20"/>
                        <a:pt x="8" y="20"/>
                        <a:pt x="8" y="20"/>
                      </a:cubicBezTo>
                      <a:cubicBezTo>
                        <a:pt x="9" y="20"/>
                        <a:pt x="9" y="20"/>
                        <a:pt x="9" y="20"/>
                      </a:cubicBezTo>
                      <a:cubicBezTo>
                        <a:pt x="9" y="19"/>
                        <a:pt x="9" y="19"/>
                        <a:pt x="9" y="19"/>
                      </a:cubicBezTo>
                      <a:cubicBezTo>
                        <a:pt x="9" y="19"/>
                        <a:pt x="9" y="19"/>
                        <a:pt x="9" y="19"/>
                      </a:cubicBezTo>
                      <a:cubicBezTo>
                        <a:pt x="9" y="19"/>
                        <a:pt x="9" y="19"/>
                        <a:pt x="9" y="19"/>
                      </a:cubicBezTo>
                      <a:cubicBezTo>
                        <a:pt x="10" y="19"/>
                        <a:pt x="10" y="19"/>
                        <a:pt x="10" y="19"/>
                      </a:cubicBezTo>
                      <a:cubicBezTo>
                        <a:pt x="11" y="19"/>
                        <a:pt x="11" y="19"/>
                        <a:pt x="11" y="19"/>
                      </a:cubicBezTo>
                      <a:cubicBezTo>
                        <a:pt x="11" y="19"/>
                        <a:pt x="11" y="19"/>
                        <a:pt x="12" y="18"/>
                      </a:cubicBezTo>
                      <a:cubicBezTo>
                        <a:pt x="12" y="18"/>
                        <a:pt x="12" y="18"/>
                        <a:pt x="12" y="18"/>
                      </a:cubicBezTo>
                      <a:cubicBezTo>
                        <a:pt x="12" y="18"/>
                        <a:pt x="12" y="18"/>
                        <a:pt x="12" y="18"/>
                      </a:cubicBezTo>
                      <a:cubicBezTo>
                        <a:pt x="13" y="18"/>
                        <a:pt x="13" y="18"/>
                        <a:pt x="13"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7" name="Freeform 727">
                  <a:extLst>
                    <a:ext uri="{FF2B5EF4-FFF2-40B4-BE49-F238E27FC236}">
                      <a16:creationId xmlns:a16="http://schemas.microsoft.com/office/drawing/2014/main" id="{E476F0CF-FD2B-8779-546B-C8F496C84C39}"/>
                    </a:ext>
                  </a:extLst>
                </p:cNvPr>
                <p:cNvSpPr>
                  <a:spLocks noEditPoints="1"/>
                </p:cNvSpPr>
                <p:nvPr/>
              </p:nvSpPr>
              <p:spPr bwMode="auto">
                <a:xfrm>
                  <a:off x="10253663" y="6162675"/>
                  <a:ext cx="50800" cy="69850"/>
                </a:xfrm>
                <a:custGeom>
                  <a:avLst/>
                  <a:gdLst>
                    <a:gd name="T0" fmla="*/ 11 w 12"/>
                    <a:gd name="T1" fmla="*/ 5 h 17"/>
                    <a:gd name="T2" fmla="*/ 11 w 12"/>
                    <a:gd name="T3" fmla="*/ 5 h 17"/>
                    <a:gd name="T4" fmla="*/ 11 w 12"/>
                    <a:gd name="T5" fmla="*/ 4 h 17"/>
                    <a:gd name="T6" fmla="*/ 8 w 12"/>
                    <a:gd name="T7" fmla="*/ 3 h 17"/>
                    <a:gd name="T8" fmla="*/ 9 w 12"/>
                    <a:gd name="T9" fmla="*/ 2 h 17"/>
                    <a:gd name="T10" fmla="*/ 7 w 12"/>
                    <a:gd name="T11" fmla="*/ 2 h 17"/>
                    <a:gd name="T12" fmla="*/ 8 w 12"/>
                    <a:gd name="T13" fmla="*/ 1 h 17"/>
                    <a:gd name="T14" fmla="*/ 8 w 12"/>
                    <a:gd name="T15" fmla="*/ 1 h 17"/>
                    <a:gd name="T16" fmla="*/ 7 w 12"/>
                    <a:gd name="T17" fmla="*/ 2 h 17"/>
                    <a:gd name="T18" fmla="*/ 10 w 12"/>
                    <a:gd name="T19" fmla="*/ 6 h 17"/>
                    <a:gd name="T20" fmla="*/ 9 w 12"/>
                    <a:gd name="T21" fmla="*/ 7 h 17"/>
                    <a:gd name="T22" fmla="*/ 9 w 12"/>
                    <a:gd name="T23" fmla="*/ 8 h 17"/>
                    <a:gd name="T24" fmla="*/ 10 w 12"/>
                    <a:gd name="T25" fmla="*/ 9 h 17"/>
                    <a:gd name="T26" fmla="*/ 10 w 12"/>
                    <a:gd name="T27" fmla="*/ 11 h 17"/>
                    <a:gd name="T28" fmla="*/ 8 w 12"/>
                    <a:gd name="T29" fmla="*/ 12 h 17"/>
                    <a:gd name="T30" fmla="*/ 7 w 12"/>
                    <a:gd name="T31" fmla="*/ 12 h 17"/>
                    <a:gd name="T32" fmla="*/ 5 w 12"/>
                    <a:gd name="T33" fmla="*/ 13 h 17"/>
                    <a:gd name="T34" fmla="*/ 4 w 12"/>
                    <a:gd name="T35" fmla="*/ 15 h 17"/>
                    <a:gd name="T36" fmla="*/ 3 w 12"/>
                    <a:gd name="T37" fmla="*/ 17 h 17"/>
                    <a:gd name="T38" fmla="*/ 1 w 12"/>
                    <a:gd name="T39" fmla="*/ 17 h 17"/>
                    <a:gd name="T40" fmla="*/ 1 w 12"/>
                    <a:gd name="T41" fmla="*/ 16 h 17"/>
                    <a:gd name="T42" fmla="*/ 0 w 12"/>
                    <a:gd name="T43" fmla="*/ 15 h 17"/>
                    <a:gd name="T44" fmla="*/ 0 w 12"/>
                    <a:gd name="T45" fmla="*/ 14 h 17"/>
                    <a:gd name="T46" fmla="*/ 0 w 12"/>
                    <a:gd name="T47" fmla="*/ 13 h 17"/>
                    <a:gd name="T48" fmla="*/ 1 w 12"/>
                    <a:gd name="T49" fmla="*/ 11 h 17"/>
                    <a:gd name="T50" fmla="*/ 2 w 12"/>
                    <a:gd name="T51" fmla="*/ 9 h 17"/>
                    <a:gd name="T52" fmla="*/ 3 w 12"/>
                    <a:gd name="T53" fmla="*/ 7 h 17"/>
                    <a:gd name="T54" fmla="*/ 5 w 12"/>
                    <a:gd name="T55" fmla="*/ 6 h 17"/>
                    <a:gd name="T56" fmla="*/ 6 w 12"/>
                    <a:gd name="T57" fmla="*/ 4 h 17"/>
                    <a:gd name="T58" fmla="*/ 7 w 12"/>
                    <a:gd name="T59" fmla="*/ 4 h 17"/>
                    <a:gd name="T60" fmla="*/ 7 w 12"/>
                    <a:gd name="T61" fmla="*/ 3 h 17"/>
                    <a:gd name="T62" fmla="*/ 8 w 12"/>
                    <a:gd name="T63" fmla="*/ 2 h 17"/>
                    <a:gd name="T64" fmla="*/ 8 w 12"/>
                    <a:gd name="T65" fmla="*/ 3 h 17"/>
                    <a:gd name="T66" fmla="*/ 7 w 12"/>
                    <a:gd name="T67" fmla="*/ 3 h 17"/>
                    <a:gd name="T68" fmla="*/ 7 w 12"/>
                    <a:gd name="T69" fmla="*/ 4 h 17"/>
                    <a:gd name="T70" fmla="*/ 8 w 12"/>
                    <a:gd name="T71" fmla="*/ 3 h 17"/>
                    <a:gd name="T72" fmla="*/ 7 w 12"/>
                    <a:gd name="T73" fmla="*/ 4 h 17"/>
                    <a:gd name="T74" fmla="*/ 8 w 12"/>
                    <a:gd name="T75" fmla="*/ 5 h 17"/>
                    <a:gd name="T76" fmla="*/ 7 w 12"/>
                    <a:gd name="T77" fmla="*/ 5 h 17"/>
                    <a:gd name="T78" fmla="*/ 9 w 12"/>
                    <a:gd name="T79" fmla="*/ 5 h 17"/>
                    <a:gd name="T80" fmla="*/ 9 w 12"/>
                    <a:gd name="T81" fmla="*/ 5 h 17"/>
                    <a:gd name="T82" fmla="*/ 8 w 12"/>
                    <a:gd name="T83" fmla="*/ 5 h 17"/>
                    <a:gd name="T84" fmla="*/ 9 w 12"/>
                    <a:gd name="T85" fmla="*/ 4 h 17"/>
                    <a:gd name="T86" fmla="*/ 10 w 12"/>
                    <a:gd name="T87" fmla="*/ 3 h 17"/>
                    <a:gd name="T88" fmla="*/ 10 w 12"/>
                    <a:gd name="T89" fmla="*/ 3 h 17"/>
                    <a:gd name="T90" fmla="*/ 11 w 12"/>
                    <a:gd name="T91" fmla="*/ 3 h 17"/>
                    <a:gd name="T92" fmla="*/ 10 w 12"/>
                    <a:gd name="T93" fmla="*/ 4 h 17"/>
                    <a:gd name="T94" fmla="*/ 10 w 12"/>
                    <a:gd name="T95" fmla="*/ 5 h 17"/>
                    <a:gd name="T96" fmla="*/ 8 w 12"/>
                    <a:gd name="T97" fmla="*/ 5 h 17"/>
                    <a:gd name="T98" fmla="*/ 9 w 12"/>
                    <a:gd name="T99" fmla="*/ 5 h 17"/>
                    <a:gd name="T100" fmla="*/ 11 w 12"/>
                    <a:gd name="T10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17">
                      <a:moveTo>
                        <a:pt x="11" y="4"/>
                      </a:moveTo>
                      <a:cubicBezTo>
                        <a:pt x="11" y="4"/>
                        <a:pt x="11" y="4"/>
                        <a:pt x="11" y="4"/>
                      </a:cubicBezTo>
                      <a:cubicBezTo>
                        <a:pt x="11" y="4"/>
                        <a:pt x="11" y="4"/>
                        <a:pt x="11" y="4"/>
                      </a:cubicBezTo>
                      <a:cubicBezTo>
                        <a:pt x="11" y="4"/>
                        <a:pt x="12"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5"/>
                      </a:cubicBezTo>
                      <a:cubicBezTo>
                        <a:pt x="11" y="5"/>
                        <a:pt x="11" y="5"/>
                        <a:pt x="11" y="5"/>
                      </a:cubicBezTo>
                      <a:cubicBezTo>
                        <a:pt x="11" y="4"/>
                        <a:pt x="11" y="4"/>
                        <a:pt x="11" y="4"/>
                      </a:cubicBezTo>
                      <a:cubicBezTo>
                        <a:pt x="11" y="5"/>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2" y="4"/>
                        <a:pt x="12" y="4"/>
                        <a:pt x="12" y="4"/>
                      </a:cubicBezTo>
                      <a:cubicBezTo>
                        <a:pt x="12" y="4"/>
                        <a:pt x="12" y="4"/>
                        <a:pt x="11" y="4"/>
                      </a:cubicBezTo>
                      <a:close/>
                      <a:moveTo>
                        <a:pt x="8" y="3"/>
                      </a:moveTo>
                      <a:cubicBezTo>
                        <a:pt x="8" y="3"/>
                        <a:pt x="8" y="3"/>
                        <a:pt x="9" y="3"/>
                      </a:cubicBezTo>
                      <a:cubicBezTo>
                        <a:pt x="9" y="3"/>
                        <a:pt x="9" y="3"/>
                        <a:pt x="9" y="3"/>
                      </a:cubicBezTo>
                      <a:cubicBezTo>
                        <a:pt x="9" y="3"/>
                        <a:pt x="9" y="3"/>
                        <a:pt x="9" y="3"/>
                      </a:cubicBezTo>
                      <a:cubicBezTo>
                        <a:pt x="9" y="3"/>
                        <a:pt x="9" y="3"/>
                        <a:pt x="8" y="3"/>
                      </a:cubicBezTo>
                      <a:close/>
                      <a:moveTo>
                        <a:pt x="9" y="2"/>
                      </a:moveTo>
                      <a:cubicBezTo>
                        <a:pt x="9" y="2"/>
                        <a:pt x="9" y="3"/>
                        <a:pt x="9" y="3"/>
                      </a:cubicBezTo>
                      <a:cubicBezTo>
                        <a:pt x="9" y="3"/>
                        <a:pt x="9" y="3"/>
                        <a:pt x="9" y="2"/>
                      </a:cubicBezTo>
                      <a:close/>
                      <a:moveTo>
                        <a:pt x="7" y="2"/>
                      </a:moveTo>
                      <a:cubicBezTo>
                        <a:pt x="7" y="2"/>
                        <a:pt x="7" y="2"/>
                        <a:pt x="7" y="2"/>
                      </a:cubicBezTo>
                      <a:cubicBezTo>
                        <a:pt x="7" y="2"/>
                        <a:pt x="7" y="2"/>
                        <a:pt x="7" y="2"/>
                      </a:cubicBezTo>
                      <a:cubicBezTo>
                        <a:pt x="7" y="2"/>
                        <a:pt x="7" y="2"/>
                        <a:pt x="7" y="2"/>
                      </a:cubicBezTo>
                      <a:cubicBezTo>
                        <a:pt x="8" y="2"/>
                        <a:pt x="8" y="2"/>
                        <a:pt x="8" y="1"/>
                      </a:cubicBezTo>
                      <a:cubicBezTo>
                        <a:pt x="8" y="1"/>
                        <a:pt x="8" y="1"/>
                        <a:pt x="8" y="1"/>
                      </a:cubicBezTo>
                      <a:cubicBezTo>
                        <a:pt x="8" y="1"/>
                        <a:pt x="8" y="1"/>
                        <a:pt x="8" y="1"/>
                      </a:cubicBezTo>
                      <a:cubicBezTo>
                        <a:pt x="8" y="1"/>
                        <a:pt x="8" y="1"/>
                        <a:pt x="8" y="1"/>
                      </a:cubicBezTo>
                      <a:cubicBezTo>
                        <a:pt x="8" y="1"/>
                        <a:pt x="8" y="1"/>
                        <a:pt x="8" y="1"/>
                      </a:cubicBezTo>
                      <a:cubicBezTo>
                        <a:pt x="9" y="1"/>
                        <a:pt x="8" y="1"/>
                        <a:pt x="8" y="0"/>
                      </a:cubicBezTo>
                      <a:cubicBezTo>
                        <a:pt x="8" y="0"/>
                        <a:pt x="9" y="0"/>
                        <a:pt x="8" y="0"/>
                      </a:cubicBezTo>
                      <a:cubicBezTo>
                        <a:pt x="8" y="0"/>
                        <a:pt x="8" y="0"/>
                        <a:pt x="8" y="0"/>
                      </a:cubicBezTo>
                      <a:cubicBezTo>
                        <a:pt x="8" y="1"/>
                        <a:pt x="8" y="1"/>
                        <a:pt x="8" y="1"/>
                      </a:cubicBezTo>
                      <a:cubicBezTo>
                        <a:pt x="8" y="1"/>
                        <a:pt x="8" y="1"/>
                        <a:pt x="8" y="1"/>
                      </a:cubicBezTo>
                      <a:cubicBezTo>
                        <a:pt x="8" y="1"/>
                        <a:pt x="8" y="1"/>
                        <a:pt x="8" y="0"/>
                      </a:cubicBezTo>
                      <a:cubicBezTo>
                        <a:pt x="8" y="1"/>
                        <a:pt x="8" y="1"/>
                        <a:pt x="8" y="1"/>
                      </a:cubicBezTo>
                      <a:cubicBezTo>
                        <a:pt x="7" y="1"/>
                        <a:pt x="7" y="1"/>
                        <a:pt x="8" y="1"/>
                      </a:cubicBezTo>
                      <a:cubicBezTo>
                        <a:pt x="8" y="2"/>
                        <a:pt x="8" y="2"/>
                        <a:pt x="7" y="2"/>
                      </a:cubicBezTo>
                      <a:cubicBezTo>
                        <a:pt x="7" y="1"/>
                        <a:pt x="7" y="1"/>
                        <a:pt x="7" y="1"/>
                      </a:cubicBezTo>
                      <a:cubicBezTo>
                        <a:pt x="7" y="2"/>
                        <a:pt x="7" y="2"/>
                        <a:pt x="7" y="2"/>
                      </a:cubicBezTo>
                      <a:close/>
                      <a:moveTo>
                        <a:pt x="10" y="6"/>
                      </a:moveTo>
                      <a:cubicBezTo>
                        <a:pt x="10" y="6"/>
                        <a:pt x="10" y="6"/>
                        <a:pt x="10" y="6"/>
                      </a:cubicBezTo>
                      <a:cubicBezTo>
                        <a:pt x="10" y="6"/>
                        <a:pt x="10" y="6"/>
                        <a:pt x="10" y="6"/>
                      </a:cubicBezTo>
                      <a:cubicBezTo>
                        <a:pt x="10" y="6"/>
                        <a:pt x="10" y="6"/>
                        <a:pt x="10" y="6"/>
                      </a:cubicBezTo>
                      <a:cubicBezTo>
                        <a:pt x="10" y="6"/>
                        <a:pt x="10" y="6"/>
                        <a:pt x="9" y="6"/>
                      </a:cubicBezTo>
                      <a:cubicBezTo>
                        <a:pt x="9" y="6"/>
                        <a:pt x="9" y="6"/>
                        <a:pt x="9" y="6"/>
                      </a:cubicBezTo>
                      <a:cubicBezTo>
                        <a:pt x="9" y="6"/>
                        <a:pt x="9" y="6"/>
                        <a:pt x="9" y="6"/>
                      </a:cubicBezTo>
                      <a:cubicBezTo>
                        <a:pt x="9" y="7"/>
                        <a:pt x="9" y="7"/>
                        <a:pt x="9" y="7"/>
                      </a:cubicBezTo>
                      <a:cubicBezTo>
                        <a:pt x="9" y="7"/>
                        <a:pt x="9" y="7"/>
                        <a:pt x="9" y="7"/>
                      </a:cubicBezTo>
                      <a:cubicBezTo>
                        <a:pt x="9" y="7"/>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8"/>
                      </a:cubicBezTo>
                      <a:cubicBezTo>
                        <a:pt x="10" y="8"/>
                        <a:pt x="10" y="8"/>
                        <a:pt x="10" y="8"/>
                      </a:cubicBezTo>
                      <a:cubicBezTo>
                        <a:pt x="10" y="9"/>
                        <a:pt x="10" y="9"/>
                        <a:pt x="10" y="9"/>
                      </a:cubicBezTo>
                      <a:cubicBezTo>
                        <a:pt x="10" y="9"/>
                        <a:pt x="10" y="9"/>
                        <a:pt x="10" y="10"/>
                      </a:cubicBezTo>
                      <a:cubicBezTo>
                        <a:pt x="10" y="10"/>
                        <a:pt x="10" y="10"/>
                        <a:pt x="10" y="10"/>
                      </a:cubicBezTo>
                      <a:cubicBezTo>
                        <a:pt x="10" y="10"/>
                        <a:pt x="11" y="10"/>
                        <a:pt x="11" y="10"/>
                      </a:cubicBezTo>
                      <a:cubicBezTo>
                        <a:pt x="11" y="10"/>
                        <a:pt x="11" y="10"/>
                        <a:pt x="10" y="10"/>
                      </a:cubicBezTo>
                      <a:cubicBezTo>
                        <a:pt x="10" y="10"/>
                        <a:pt x="10" y="11"/>
                        <a:pt x="10" y="11"/>
                      </a:cubicBezTo>
                      <a:cubicBezTo>
                        <a:pt x="10" y="11"/>
                        <a:pt x="10" y="11"/>
                        <a:pt x="10" y="11"/>
                      </a:cubicBezTo>
                      <a:cubicBezTo>
                        <a:pt x="10" y="12"/>
                        <a:pt x="9" y="12"/>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2"/>
                      </a:cubicBezTo>
                      <a:cubicBezTo>
                        <a:pt x="7" y="12"/>
                        <a:pt x="6" y="13"/>
                        <a:pt x="6" y="13"/>
                      </a:cubicBezTo>
                      <a:cubicBezTo>
                        <a:pt x="6" y="13"/>
                        <a:pt x="6" y="13"/>
                        <a:pt x="6" y="13"/>
                      </a:cubicBezTo>
                      <a:cubicBezTo>
                        <a:pt x="6" y="13"/>
                        <a:pt x="6" y="13"/>
                        <a:pt x="6" y="13"/>
                      </a:cubicBezTo>
                      <a:cubicBezTo>
                        <a:pt x="5" y="13"/>
                        <a:pt x="5" y="13"/>
                        <a:pt x="5" y="13"/>
                      </a:cubicBezTo>
                      <a:cubicBezTo>
                        <a:pt x="5" y="13"/>
                        <a:pt x="5" y="13"/>
                        <a:pt x="5" y="13"/>
                      </a:cubicBezTo>
                      <a:cubicBezTo>
                        <a:pt x="5" y="14"/>
                        <a:pt x="5" y="14"/>
                        <a:pt x="5" y="14"/>
                      </a:cubicBezTo>
                      <a:cubicBezTo>
                        <a:pt x="5" y="14"/>
                        <a:pt x="5" y="14"/>
                        <a:pt x="5" y="14"/>
                      </a:cubicBezTo>
                      <a:cubicBezTo>
                        <a:pt x="5" y="14"/>
                        <a:pt x="5" y="14"/>
                        <a:pt x="5" y="14"/>
                      </a:cubicBezTo>
                      <a:cubicBezTo>
                        <a:pt x="4" y="15"/>
                        <a:pt x="4" y="15"/>
                        <a:pt x="4" y="15"/>
                      </a:cubicBezTo>
                      <a:cubicBezTo>
                        <a:pt x="4" y="15"/>
                        <a:pt x="4" y="15"/>
                        <a:pt x="4" y="15"/>
                      </a:cubicBezTo>
                      <a:cubicBezTo>
                        <a:pt x="4" y="15"/>
                        <a:pt x="3" y="16"/>
                        <a:pt x="3" y="16"/>
                      </a:cubicBezTo>
                      <a:cubicBezTo>
                        <a:pt x="3" y="16"/>
                        <a:pt x="3" y="16"/>
                        <a:pt x="3" y="16"/>
                      </a:cubicBezTo>
                      <a:cubicBezTo>
                        <a:pt x="3" y="16"/>
                        <a:pt x="3" y="16"/>
                        <a:pt x="3" y="16"/>
                      </a:cubicBezTo>
                      <a:cubicBezTo>
                        <a:pt x="3" y="16"/>
                        <a:pt x="3" y="16"/>
                        <a:pt x="3" y="16"/>
                      </a:cubicBezTo>
                      <a:cubicBezTo>
                        <a:pt x="3" y="16"/>
                        <a:pt x="3" y="17"/>
                        <a:pt x="3" y="17"/>
                      </a:cubicBezTo>
                      <a:cubicBezTo>
                        <a:pt x="3" y="17"/>
                        <a:pt x="2" y="17"/>
                        <a:pt x="2" y="17"/>
                      </a:cubicBezTo>
                      <a:cubicBezTo>
                        <a:pt x="2" y="17"/>
                        <a:pt x="2" y="17"/>
                        <a:pt x="2" y="17"/>
                      </a:cubicBezTo>
                      <a:cubicBezTo>
                        <a:pt x="2" y="17"/>
                        <a:pt x="2" y="17"/>
                        <a:pt x="2" y="17"/>
                      </a:cubicBezTo>
                      <a:cubicBezTo>
                        <a:pt x="2" y="17"/>
                        <a:pt x="2" y="17"/>
                        <a:pt x="2" y="17"/>
                      </a:cubicBezTo>
                      <a:cubicBezTo>
                        <a:pt x="2" y="17"/>
                        <a:pt x="1" y="17"/>
                        <a:pt x="1" y="17"/>
                      </a:cubicBezTo>
                      <a:cubicBezTo>
                        <a:pt x="1" y="17"/>
                        <a:pt x="2" y="16"/>
                        <a:pt x="2" y="16"/>
                      </a:cubicBezTo>
                      <a:cubicBezTo>
                        <a:pt x="2" y="16"/>
                        <a:pt x="2" y="16"/>
                        <a:pt x="2" y="16"/>
                      </a:cubicBezTo>
                      <a:cubicBezTo>
                        <a:pt x="2" y="16"/>
                        <a:pt x="1" y="16"/>
                        <a:pt x="1" y="16"/>
                      </a:cubicBezTo>
                      <a:cubicBezTo>
                        <a:pt x="1" y="16"/>
                        <a:pt x="1" y="16"/>
                        <a:pt x="1" y="16"/>
                      </a:cubicBezTo>
                      <a:cubicBezTo>
                        <a:pt x="1" y="16"/>
                        <a:pt x="1" y="16"/>
                        <a:pt x="1" y="16"/>
                      </a:cubicBezTo>
                      <a:cubicBezTo>
                        <a:pt x="1" y="16"/>
                        <a:pt x="1" y="16"/>
                        <a:pt x="1" y="15"/>
                      </a:cubicBezTo>
                      <a:cubicBezTo>
                        <a:pt x="1" y="15"/>
                        <a:pt x="1" y="15"/>
                        <a:pt x="1" y="15"/>
                      </a:cubicBezTo>
                      <a:cubicBezTo>
                        <a:pt x="1" y="15"/>
                        <a:pt x="1" y="15"/>
                        <a:pt x="1" y="15"/>
                      </a:cubicBezTo>
                      <a:cubicBezTo>
                        <a:pt x="1" y="16"/>
                        <a:pt x="1" y="15"/>
                        <a:pt x="1" y="15"/>
                      </a:cubicBezTo>
                      <a:cubicBezTo>
                        <a:pt x="0" y="15"/>
                        <a:pt x="0" y="15"/>
                        <a:pt x="0" y="15"/>
                      </a:cubicBezTo>
                      <a:cubicBezTo>
                        <a:pt x="0" y="15"/>
                        <a:pt x="1" y="15"/>
                        <a:pt x="1" y="15"/>
                      </a:cubicBezTo>
                      <a:cubicBezTo>
                        <a:pt x="1" y="15"/>
                        <a:pt x="0" y="15"/>
                        <a:pt x="0" y="15"/>
                      </a:cubicBezTo>
                      <a:cubicBezTo>
                        <a:pt x="0" y="15"/>
                        <a:pt x="0" y="14"/>
                        <a:pt x="0" y="14"/>
                      </a:cubicBezTo>
                      <a:cubicBezTo>
                        <a:pt x="0" y="14"/>
                        <a:pt x="0" y="14"/>
                        <a:pt x="0" y="14"/>
                      </a:cubicBezTo>
                      <a:cubicBezTo>
                        <a:pt x="0" y="14"/>
                        <a:pt x="0" y="14"/>
                        <a:pt x="0" y="14"/>
                      </a:cubicBezTo>
                      <a:cubicBezTo>
                        <a:pt x="0" y="14"/>
                        <a:pt x="0" y="14"/>
                        <a:pt x="0" y="14"/>
                      </a:cubicBezTo>
                      <a:cubicBezTo>
                        <a:pt x="0" y="14"/>
                        <a:pt x="0" y="13"/>
                        <a:pt x="0" y="13"/>
                      </a:cubicBezTo>
                      <a:cubicBezTo>
                        <a:pt x="0" y="13"/>
                        <a:pt x="0" y="13"/>
                        <a:pt x="0" y="13"/>
                      </a:cubicBezTo>
                      <a:cubicBezTo>
                        <a:pt x="0" y="13"/>
                        <a:pt x="0" y="13"/>
                        <a:pt x="0" y="13"/>
                      </a:cubicBezTo>
                      <a:cubicBezTo>
                        <a:pt x="0" y="13"/>
                        <a:pt x="0" y="13"/>
                        <a:pt x="0" y="13"/>
                      </a:cubicBezTo>
                      <a:cubicBezTo>
                        <a:pt x="0" y="13"/>
                        <a:pt x="0" y="12"/>
                        <a:pt x="0" y="12"/>
                      </a:cubicBezTo>
                      <a:cubicBezTo>
                        <a:pt x="0" y="12"/>
                        <a:pt x="0" y="12"/>
                        <a:pt x="0" y="12"/>
                      </a:cubicBezTo>
                      <a:cubicBezTo>
                        <a:pt x="0" y="12"/>
                        <a:pt x="0" y="12"/>
                        <a:pt x="0" y="12"/>
                      </a:cubicBezTo>
                      <a:cubicBezTo>
                        <a:pt x="0" y="12"/>
                        <a:pt x="0" y="11"/>
                        <a:pt x="0" y="11"/>
                      </a:cubicBezTo>
                      <a:cubicBezTo>
                        <a:pt x="0" y="11"/>
                        <a:pt x="1" y="11"/>
                        <a:pt x="1" y="11"/>
                      </a:cubicBezTo>
                      <a:cubicBezTo>
                        <a:pt x="1" y="11"/>
                        <a:pt x="1" y="10"/>
                        <a:pt x="1" y="10"/>
                      </a:cubicBezTo>
                      <a:cubicBezTo>
                        <a:pt x="1" y="10"/>
                        <a:pt x="1" y="10"/>
                        <a:pt x="1" y="10"/>
                      </a:cubicBezTo>
                      <a:cubicBezTo>
                        <a:pt x="1" y="10"/>
                        <a:pt x="1" y="10"/>
                        <a:pt x="1" y="10"/>
                      </a:cubicBezTo>
                      <a:cubicBezTo>
                        <a:pt x="1" y="10"/>
                        <a:pt x="2" y="10"/>
                        <a:pt x="2" y="10"/>
                      </a:cubicBezTo>
                      <a:cubicBezTo>
                        <a:pt x="2" y="10"/>
                        <a:pt x="2" y="9"/>
                        <a:pt x="2" y="9"/>
                      </a:cubicBezTo>
                      <a:cubicBezTo>
                        <a:pt x="2" y="9"/>
                        <a:pt x="2" y="9"/>
                        <a:pt x="2" y="9"/>
                      </a:cubicBezTo>
                      <a:cubicBezTo>
                        <a:pt x="3" y="8"/>
                        <a:pt x="3" y="8"/>
                        <a:pt x="3" y="8"/>
                      </a:cubicBezTo>
                      <a:cubicBezTo>
                        <a:pt x="3" y="8"/>
                        <a:pt x="3" y="8"/>
                        <a:pt x="3" y="8"/>
                      </a:cubicBezTo>
                      <a:cubicBezTo>
                        <a:pt x="4" y="8"/>
                        <a:pt x="4" y="8"/>
                        <a:pt x="4" y="8"/>
                      </a:cubicBezTo>
                      <a:cubicBezTo>
                        <a:pt x="4" y="8"/>
                        <a:pt x="4" y="8"/>
                        <a:pt x="3" y="7"/>
                      </a:cubicBezTo>
                      <a:cubicBezTo>
                        <a:pt x="3" y="7"/>
                        <a:pt x="3" y="7"/>
                        <a:pt x="3" y="7"/>
                      </a:cubicBezTo>
                      <a:cubicBezTo>
                        <a:pt x="3" y="7"/>
                        <a:pt x="4" y="7"/>
                        <a:pt x="4" y="7"/>
                      </a:cubicBezTo>
                      <a:cubicBezTo>
                        <a:pt x="4" y="7"/>
                        <a:pt x="4" y="7"/>
                        <a:pt x="4" y="7"/>
                      </a:cubicBezTo>
                      <a:cubicBezTo>
                        <a:pt x="4" y="7"/>
                        <a:pt x="4" y="7"/>
                        <a:pt x="4" y="7"/>
                      </a:cubicBezTo>
                      <a:cubicBezTo>
                        <a:pt x="4" y="7"/>
                        <a:pt x="5" y="6"/>
                        <a:pt x="5" y="6"/>
                      </a:cubicBezTo>
                      <a:cubicBezTo>
                        <a:pt x="5" y="6"/>
                        <a:pt x="5" y="5"/>
                        <a:pt x="5" y="5"/>
                      </a:cubicBezTo>
                      <a:cubicBezTo>
                        <a:pt x="5" y="5"/>
                        <a:pt x="5" y="5"/>
                        <a:pt x="5" y="5"/>
                      </a:cubicBezTo>
                      <a:cubicBezTo>
                        <a:pt x="5" y="5"/>
                        <a:pt x="6" y="4"/>
                        <a:pt x="6" y="4"/>
                      </a:cubicBezTo>
                      <a:cubicBezTo>
                        <a:pt x="6" y="4"/>
                        <a:pt x="6" y="4"/>
                        <a:pt x="6" y="4"/>
                      </a:cubicBezTo>
                      <a:cubicBezTo>
                        <a:pt x="6" y="4"/>
                        <a:pt x="6" y="4"/>
                        <a:pt x="6" y="4"/>
                      </a:cubicBezTo>
                      <a:cubicBezTo>
                        <a:pt x="6" y="4"/>
                        <a:pt x="6" y="3"/>
                        <a:pt x="6" y="3"/>
                      </a:cubicBezTo>
                      <a:cubicBezTo>
                        <a:pt x="6" y="3"/>
                        <a:pt x="6" y="4"/>
                        <a:pt x="6" y="4"/>
                      </a:cubicBezTo>
                      <a:cubicBezTo>
                        <a:pt x="6" y="4"/>
                        <a:pt x="6" y="4"/>
                        <a:pt x="6" y="4"/>
                      </a:cubicBezTo>
                      <a:cubicBezTo>
                        <a:pt x="6" y="4"/>
                        <a:pt x="6" y="4"/>
                        <a:pt x="6" y="4"/>
                      </a:cubicBezTo>
                      <a:cubicBezTo>
                        <a:pt x="6" y="4"/>
                        <a:pt x="6" y="4"/>
                        <a:pt x="7" y="4"/>
                      </a:cubicBezTo>
                      <a:cubicBezTo>
                        <a:pt x="7" y="4"/>
                        <a:pt x="7" y="3"/>
                        <a:pt x="7" y="3"/>
                      </a:cubicBezTo>
                      <a:cubicBezTo>
                        <a:pt x="7" y="3"/>
                        <a:pt x="7" y="3"/>
                        <a:pt x="7" y="3"/>
                      </a:cubicBezTo>
                      <a:cubicBezTo>
                        <a:pt x="7" y="3"/>
                        <a:pt x="7" y="3"/>
                        <a:pt x="7" y="3"/>
                      </a:cubicBezTo>
                      <a:cubicBezTo>
                        <a:pt x="7" y="3"/>
                        <a:pt x="6" y="3"/>
                        <a:pt x="7" y="3"/>
                      </a:cubicBezTo>
                      <a:cubicBezTo>
                        <a:pt x="7" y="3"/>
                        <a:pt x="7" y="3"/>
                        <a:pt x="7" y="3"/>
                      </a:cubicBezTo>
                      <a:cubicBezTo>
                        <a:pt x="7" y="3"/>
                        <a:pt x="7" y="3"/>
                        <a:pt x="7" y="3"/>
                      </a:cubicBezTo>
                      <a:cubicBezTo>
                        <a:pt x="7" y="3"/>
                        <a:pt x="7" y="3"/>
                        <a:pt x="8" y="2"/>
                      </a:cubicBezTo>
                      <a:cubicBezTo>
                        <a:pt x="8" y="3"/>
                        <a:pt x="8" y="3"/>
                        <a:pt x="8" y="3"/>
                      </a:cubicBezTo>
                      <a:cubicBezTo>
                        <a:pt x="8" y="3"/>
                        <a:pt x="8" y="2"/>
                        <a:pt x="8" y="2"/>
                      </a:cubicBezTo>
                      <a:cubicBezTo>
                        <a:pt x="8" y="2"/>
                        <a:pt x="8" y="2"/>
                        <a:pt x="8" y="2"/>
                      </a:cubicBezTo>
                      <a:cubicBezTo>
                        <a:pt x="9" y="2"/>
                        <a:pt x="9" y="2"/>
                        <a:pt x="9" y="2"/>
                      </a:cubicBezTo>
                      <a:cubicBezTo>
                        <a:pt x="9" y="2"/>
                        <a:pt x="9" y="2"/>
                        <a:pt x="9" y="2"/>
                      </a:cubicBezTo>
                      <a:cubicBezTo>
                        <a:pt x="8" y="2"/>
                        <a:pt x="8" y="2"/>
                        <a:pt x="8" y="2"/>
                      </a:cubicBezTo>
                      <a:cubicBezTo>
                        <a:pt x="8" y="3"/>
                        <a:pt x="8" y="2"/>
                        <a:pt x="8" y="3"/>
                      </a:cubicBezTo>
                      <a:cubicBezTo>
                        <a:pt x="8" y="3"/>
                        <a:pt x="8" y="3"/>
                        <a:pt x="8" y="3"/>
                      </a:cubicBezTo>
                      <a:cubicBezTo>
                        <a:pt x="8" y="3"/>
                        <a:pt x="8" y="3"/>
                        <a:pt x="8" y="3"/>
                      </a:cubicBezTo>
                      <a:cubicBezTo>
                        <a:pt x="8" y="3"/>
                        <a:pt x="8" y="3"/>
                        <a:pt x="8" y="3"/>
                      </a:cubicBezTo>
                      <a:cubicBezTo>
                        <a:pt x="8"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8" y="4"/>
                      </a:cubicBezTo>
                      <a:cubicBezTo>
                        <a:pt x="8" y="3"/>
                        <a:pt x="8" y="3"/>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5"/>
                        <a:pt x="7" y="4"/>
                      </a:cubicBezTo>
                      <a:cubicBezTo>
                        <a:pt x="7" y="4"/>
                        <a:pt x="7" y="4"/>
                        <a:pt x="8" y="4"/>
                      </a:cubicBezTo>
                      <a:cubicBezTo>
                        <a:pt x="8" y="4"/>
                        <a:pt x="8" y="4"/>
                        <a:pt x="8" y="4"/>
                      </a:cubicBezTo>
                      <a:cubicBezTo>
                        <a:pt x="8" y="4"/>
                        <a:pt x="8" y="5"/>
                        <a:pt x="8" y="5"/>
                      </a:cubicBezTo>
                      <a:cubicBezTo>
                        <a:pt x="8" y="5"/>
                        <a:pt x="8" y="5"/>
                        <a:pt x="7" y="5"/>
                      </a:cubicBezTo>
                      <a:cubicBezTo>
                        <a:pt x="7" y="5"/>
                        <a:pt x="7" y="5"/>
                        <a:pt x="7" y="5"/>
                      </a:cubicBezTo>
                      <a:cubicBezTo>
                        <a:pt x="7" y="5"/>
                        <a:pt x="7" y="5"/>
                        <a:pt x="7" y="5"/>
                      </a:cubicBezTo>
                      <a:cubicBezTo>
                        <a:pt x="7" y="5"/>
                        <a:pt x="7" y="5"/>
                        <a:pt x="7" y="5"/>
                      </a:cubicBezTo>
                      <a:cubicBezTo>
                        <a:pt x="7" y="5"/>
                        <a:pt x="7" y="5"/>
                        <a:pt x="7" y="5"/>
                      </a:cubicBezTo>
                      <a:cubicBezTo>
                        <a:pt x="8" y="6"/>
                        <a:pt x="8" y="5"/>
                        <a:pt x="8" y="5"/>
                      </a:cubicBezTo>
                      <a:cubicBezTo>
                        <a:pt x="8" y="5"/>
                        <a:pt x="8" y="5"/>
                        <a:pt x="8" y="5"/>
                      </a:cubicBezTo>
                      <a:cubicBezTo>
                        <a:pt x="8" y="5"/>
                        <a:pt x="8" y="5"/>
                        <a:pt x="8" y="5"/>
                      </a:cubicBezTo>
                      <a:cubicBezTo>
                        <a:pt x="8" y="5"/>
                        <a:pt x="8" y="5"/>
                        <a:pt x="8" y="5"/>
                      </a:cubicBezTo>
                      <a:cubicBezTo>
                        <a:pt x="9" y="5"/>
                        <a:pt x="9" y="5"/>
                        <a:pt x="9" y="5"/>
                      </a:cubicBezTo>
                      <a:cubicBezTo>
                        <a:pt x="9" y="5"/>
                        <a:pt x="10" y="5"/>
                        <a:pt x="10" y="4"/>
                      </a:cubicBezTo>
                      <a:cubicBezTo>
                        <a:pt x="10" y="4"/>
                        <a:pt x="10" y="4"/>
                        <a:pt x="10" y="4"/>
                      </a:cubicBezTo>
                      <a:cubicBezTo>
                        <a:pt x="9" y="5"/>
                        <a:pt x="9" y="5"/>
                        <a:pt x="9" y="4"/>
                      </a:cubicBezTo>
                      <a:cubicBezTo>
                        <a:pt x="9" y="4"/>
                        <a:pt x="9" y="4"/>
                        <a:pt x="9" y="4"/>
                      </a:cubicBezTo>
                      <a:cubicBezTo>
                        <a:pt x="9" y="4"/>
                        <a:pt x="9" y="5"/>
                        <a:pt x="9" y="5"/>
                      </a:cubicBezTo>
                      <a:cubicBezTo>
                        <a:pt x="9" y="5"/>
                        <a:pt x="9" y="5"/>
                        <a:pt x="9" y="5"/>
                      </a:cubicBezTo>
                      <a:cubicBezTo>
                        <a:pt x="9"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9" y="4"/>
                        <a:pt x="9" y="4"/>
                        <a:pt x="9" y="4"/>
                      </a:cubicBezTo>
                      <a:cubicBezTo>
                        <a:pt x="8" y="4"/>
                        <a:pt x="8" y="4"/>
                        <a:pt x="9" y="4"/>
                      </a:cubicBezTo>
                      <a:cubicBezTo>
                        <a:pt x="9" y="4"/>
                        <a:pt x="9" y="4"/>
                        <a:pt x="9" y="4"/>
                      </a:cubicBezTo>
                      <a:cubicBezTo>
                        <a:pt x="9" y="4"/>
                        <a:pt x="9" y="4"/>
                        <a:pt x="9" y="4"/>
                      </a:cubicBezTo>
                      <a:cubicBezTo>
                        <a:pt x="9" y="4"/>
                        <a:pt x="9" y="4"/>
                        <a:pt x="9" y="4"/>
                      </a:cubicBezTo>
                      <a:cubicBezTo>
                        <a:pt x="9" y="4"/>
                        <a:pt x="9" y="3"/>
                        <a:pt x="9" y="3"/>
                      </a:cubicBezTo>
                      <a:cubicBezTo>
                        <a:pt x="9" y="3"/>
                        <a:pt x="9" y="3"/>
                        <a:pt x="9" y="3"/>
                      </a:cubicBezTo>
                      <a:cubicBezTo>
                        <a:pt x="9" y="3"/>
                        <a:pt x="9"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4"/>
                        <a:pt x="11" y="3"/>
                      </a:cubicBezTo>
                      <a:cubicBezTo>
                        <a:pt x="11" y="3"/>
                        <a:pt x="11" y="3"/>
                        <a:pt x="11" y="3"/>
                      </a:cubicBezTo>
                      <a:cubicBezTo>
                        <a:pt x="11" y="3"/>
                        <a:pt x="11" y="3"/>
                        <a:pt x="11" y="3"/>
                      </a:cubicBezTo>
                      <a:cubicBezTo>
                        <a:pt x="11" y="4"/>
                        <a:pt x="10" y="4"/>
                        <a:pt x="11" y="4"/>
                      </a:cubicBezTo>
                      <a:cubicBezTo>
                        <a:pt x="11"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5"/>
                        <a:pt x="10" y="5"/>
                      </a:cubicBezTo>
                      <a:cubicBezTo>
                        <a:pt x="10" y="5"/>
                        <a:pt x="10" y="5"/>
                        <a:pt x="10" y="5"/>
                      </a:cubicBezTo>
                      <a:cubicBezTo>
                        <a:pt x="10" y="5"/>
                        <a:pt x="10" y="5"/>
                        <a:pt x="10" y="5"/>
                      </a:cubicBezTo>
                      <a:cubicBezTo>
                        <a:pt x="9" y="5"/>
                        <a:pt x="9" y="5"/>
                        <a:pt x="9" y="5"/>
                      </a:cubicBezTo>
                      <a:cubicBezTo>
                        <a:pt x="9" y="5"/>
                        <a:pt x="9" y="5"/>
                        <a:pt x="9" y="5"/>
                      </a:cubicBezTo>
                      <a:cubicBezTo>
                        <a:pt x="9" y="5"/>
                        <a:pt x="9" y="5"/>
                        <a:pt x="9" y="5"/>
                      </a:cubicBezTo>
                      <a:cubicBezTo>
                        <a:pt x="9" y="5"/>
                        <a:pt x="9"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10" y="5"/>
                        <a:pt x="10" y="5"/>
                        <a:pt x="10" y="5"/>
                      </a:cubicBezTo>
                      <a:cubicBezTo>
                        <a:pt x="10" y="5"/>
                        <a:pt x="10" y="5"/>
                        <a:pt x="10" y="5"/>
                      </a:cubicBezTo>
                      <a:cubicBezTo>
                        <a:pt x="10" y="5"/>
                        <a:pt x="10" y="5"/>
                        <a:pt x="11" y="5"/>
                      </a:cubicBezTo>
                      <a:cubicBezTo>
                        <a:pt x="11" y="5"/>
                        <a:pt x="11" y="5"/>
                        <a:pt x="11" y="5"/>
                      </a:cubicBezTo>
                      <a:cubicBezTo>
                        <a:pt x="11" y="5"/>
                        <a:pt x="11" y="5"/>
                        <a:pt x="11" y="5"/>
                      </a:cubicBezTo>
                      <a:cubicBezTo>
                        <a:pt x="11" y="5"/>
                        <a:pt x="11" y="5"/>
                        <a:pt x="11" y="5"/>
                      </a:cubicBezTo>
                      <a:cubicBezTo>
                        <a:pt x="11" y="5"/>
                        <a:pt x="11" y="5"/>
                        <a:pt x="11" y="5"/>
                      </a:cubicBezTo>
                      <a:cubicBezTo>
                        <a:pt x="10" y="6"/>
                        <a:pt x="10" y="6"/>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8" name="Freeform 728">
                  <a:extLst>
                    <a:ext uri="{FF2B5EF4-FFF2-40B4-BE49-F238E27FC236}">
                      <a16:creationId xmlns:a16="http://schemas.microsoft.com/office/drawing/2014/main" id="{D4A31E8A-AF12-678A-2F07-9CBDDFA3D5C8}"/>
                    </a:ext>
                  </a:extLst>
                </p:cNvPr>
                <p:cNvSpPr>
                  <a:spLocks/>
                </p:cNvSpPr>
                <p:nvPr/>
              </p:nvSpPr>
              <p:spPr bwMode="auto">
                <a:xfrm>
                  <a:off x="10348913" y="6088063"/>
                  <a:ext cx="55562" cy="66675"/>
                </a:xfrm>
                <a:custGeom>
                  <a:avLst/>
                  <a:gdLst>
                    <a:gd name="T0" fmla="*/ 11 w 13"/>
                    <a:gd name="T1" fmla="*/ 3 h 16"/>
                    <a:gd name="T2" fmla="*/ 11 w 13"/>
                    <a:gd name="T3" fmla="*/ 2 h 16"/>
                    <a:gd name="T4" fmla="*/ 10 w 13"/>
                    <a:gd name="T5" fmla="*/ 2 h 16"/>
                    <a:gd name="T6" fmla="*/ 9 w 13"/>
                    <a:gd name="T7" fmla="*/ 1 h 16"/>
                    <a:gd name="T8" fmla="*/ 9 w 13"/>
                    <a:gd name="T9" fmla="*/ 1 h 16"/>
                    <a:gd name="T10" fmla="*/ 9 w 13"/>
                    <a:gd name="T11" fmla="*/ 0 h 16"/>
                    <a:gd name="T12" fmla="*/ 8 w 13"/>
                    <a:gd name="T13" fmla="*/ 1 h 16"/>
                    <a:gd name="T14" fmla="*/ 7 w 13"/>
                    <a:gd name="T15" fmla="*/ 0 h 16"/>
                    <a:gd name="T16" fmla="*/ 6 w 13"/>
                    <a:gd name="T17" fmla="*/ 0 h 16"/>
                    <a:gd name="T18" fmla="*/ 6 w 13"/>
                    <a:gd name="T19" fmla="*/ 1 h 16"/>
                    <a:gd name="T20" fmla="*/ 5 w 13"/>
                    <a:gd name="T21" fmla="*/ 1 h 16"/>
                    <a:gd name="T22" fmla="*/ 4 w 13"/>
                    <a:gd name="T23" fmla="*/ 2 h 16"/>
                    <a:gd name="T24" fmla="*/ 4 w 13"/>
                    <a:gd name="T25" fmla="*/ 2 h 16"/>
                    <a:gd name="T26" fmla="*/ 3 w 13"/>
                    <a:gd name="T27" fmla="*/ 2 h 16"/>
                    <a:gd name="T28" fmla="*/ 2 w 13"/>
                    <a:gd name="T29" fmla="*/ 3 h 16"/>
                    <a:gd name="T30" fmla="*/ 2 w 13"/>
                    <a:gd name="T31" fmla="*/ 3 h 16"/>
                    <a:gd name="T32" fmla="*/ 2 w 13"/>
                    <a:gd name="T33" fmla="*/ 3 h 16"/>
                    <a:gd name="T34" fmla="*/ 1 w 13"/>
                    <a:gd name="T35" fmla="*/ 3 h 16"/>
                    <a:gd name="T36" fmla="*/ 1 w 13"/>
                    <a:gd name="T37" fmla="*/ 4 h 16"/>
                    <a:gd name="T38" fmla="*/ 0 w 13"/>
                    <a:gd name="T39" fmla="*/ 5 h 16"/>
                    <a:gd name="T40" fmla="*/ 0 w 13"/>
                    <a:gd name="T41" fmla="*/ 6 h 16"/>
                    <a:gd name="T42" fmla="*/ 0 w 13"/>
                    <a:gd name="T43" fmla="*/ 7 h 16"/>
                    <a:gd name="T44" fmla="*/ 1 w 13"/>
                    <a:gd name="T45" fmla="*/ 8 h 16"/>
                    <a:gd name="T46" fmla="*/ 0 w 13"/>
                    <a:gd name="T47" fmla="*/ 9 h 16"/>
                    <a:gd name="T48" fmla="*/ 1 w 13"/>
                    <a:gd name="T49" fmla="*/ 9 h 16"/>
                    <a:gd name="T50" fmla="*/ 0 w 13"/>
                    <a:gd name="T51" fmla="*/ 11 h 16"/>
                    <a:gd name="T52" fmla="*/ 0 w 13"/>
                    <a:gd name="T53" fmla="*/ 12 h 16"/>
                    <a:gd name="T54" fmla="*/ 1 w 13"/>
                    <a:gd name="T55" fmla="*/ 13 h 16"/>
                    <a:gd name="T56" fmla="*/ 2 w 13"/>
                    <a:gd name="T57" fmla="*/ 13 h 16"/>
                    <a:gd name="T58" fmla="*/ 2 w 13"/>
                    <a:gd name="T59" fmla="*/ 14 h 16"/>
                    <a:gd name="T60" fmla="*/ 2 w 13"/>
                    <a:gd name="T61" fmla="*/ 15 h 16"/>
                    <a:gd name="T62" fmla="*/ 3 w 13"/>
                    <a:gd name="T63" fmla="*/ 16 h 16"/>
                    <a:gd name="T64" fmla="*/ 4 w 13"/>
                    <a:gd name="T65" fmla="*/ 15 h 16"/>
                    <a:gd name="T66" fmla="*/ 5 w 13"/>
                    <a:gd name="T67" fmla="*/ 13 h 16"/>
                    <a:gd name="T68" fmla="*/ 6 w 13"/>
                    <a:gd name="T69" fmla="*/ 11 h 16"/>
                    <a:gd name="T70" fmla="*/ 7 w 13"/>
                    <a:gd name="T71" fmla="*/ 9 h 16"/>
                    <a:gd name="T72" fmla="*/ 6 w 13"/>
                    <a:gd name="T73" fmla="*/ 9 h 16"/>
                    <a:gd name="T74" fmla="*/ 5 w 13"/>
                    <a:gd name="T75" fmla="*/ 8 h 16"/>
                    <a:gd name="T76" fmla="*/ 6 w 13"/>
                    <a:gd name="T77" fmla="*/ 6 h 16"/>
                    <a:gd name="T78" fmla="*/ 8 w 13"/>
                    <a:gd name="T79" fmla="*/ 4 h 16"/>
                    <a:gd name="T80" fmla="*/ 10 w 13"/>
                    <a:gd name="T81" fmla="*/ 4 h 16"/>
                    <a:gd name="T82" fmla="*/ 12 w 13"/>
                    <a:gd name="T83" fmla="*/ 4 h 16"/>
                    <a:gd name="T84" fmla="*/ 12 w 13"/>
                    <a:gd name="T85" fmla="*/ 5 h 16"/>
                    <a:gd name="T86" fmla="*/ 12 w 13"/>
                    <a:gd name="T87" fmla="*/ 6 h 16"/>
                    <a:gd name="T88" fmla="*/ 13 w 13"/>
                    <a:gd name="T89" fmla="*/ 5 h 16"/>
                    <a:gd name="T90" fmla="*/ 12 w 13"/>
                    <a:gd name="T9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16">
                      <a:moveTo>
                        <a:pt x="12" y="3"/>
                      </a:moveTo>
                      <a:cubicBezTo>
                        <a:pt x="11" y="3"/>
                        <a:pt x="11" y="3"/>
                        <a:pt x="11" y="3"/>
                      </a:cubicBezTo>
                      <a:cubicBezTo>
                        <a:pt x="11" y="3"/>
                        <a:pt x="11" y="3"/>
                        <a:pt x="11" y="3"/>
                      </a:cubicBezTo>
                      <a:cubicBezTo>
                        <a:pt x="11" y="3"/>
                        <a:pt x="11" y="3"/>
                        <a:pt x="11" y="3"/>
                      </a:cubicBezTo>
                      <a:cubicBezTo>
                        <a:pt x="11" y="3"/>
                        <a:pt x="11" y="3"/>
                        <a:pt x="11" y="3"/>
                      </a:cubicBezTo>
                      <a:cubicBezTo>
                        <a:pt x="11" y="2"/>
                        <a:pt x="11" y="2"/>
                        <a:pt x="11" y="2"/>
                      </a:cubicBezTo>
                      <a:cubicBezTo>
                        <a:pt x="11" y="2"/>
                        <a:pt x="10" y="2"/>
                        <a:pt x="10" y="2"/>
                      </a:cubicBezTo>
                      <a:cubicBezTo>
                        <a:pt x="10" y="2"/>
                        <a:pt x="10" y="2"/>
                        <a:pt x="10" y="2"/>
                      </a:cubicBezTo>
                      <a:cubicBezTo>
                        <a:pt x="10" y="2"/>
                        <a:pt x="10" y="2"/>
                        <a:pt x="10" y="2"/>
                      </a:cubicBezTo>
                      <a:cubicBezTo>
                        <a:pt x="10" y="2"/>
                        <a:pt x="10" y="2"/>
                        <a:pt x="10" y="2"/>
                      </a:cubicBezTo>
                      <a:cubicBezTo>
                        <a:pt x="9" y="2"/>
                        <a:pt x="9" y="2"/>
                        <a:pt x="9" y="2"/>
                      </a:cubicBezTo>
                      <a:cubicBezTo>
                        <a:pt x="9" y="2"/>
                        <a:pt x="9" y="1"/>
                        <a:pt x="9" y="1"/>
                      </a:cubicBezTo>
                      <a:cubicBezTo>
                        <a:pt x="9" y="1"/>
                        <a:pt x="9" y="1"/>
                        <a:pt x="9" y="1"/>
                      </a:cubicBezTo>
                      <a:cubicBezTo>
                        <a:pt x="9" y="1"/>
                        <a:pt x="9" y="1"/>
                        <a:pt x="9" y="1"/>
                      </a:cubicBezTo>
                      <a:cubicBezTo>
                        <a:pt x="9" y="1"/>
                        <a:pt x="9" y="1"/>
                        <a:pt x="9" y="1"/>
                      </a:cubicBezTo>
                      <a:cubicBezTo>
                        <a:pt x="9" y="1"/>
                        <a:pt x="9" y="1"/>
                        <a:pt x="9" y="1"/>
                      </a:cubicBezTo>
                      <a:cubicBezTo>
                        <a:pt x="9" y="0"/>
                        <a:pt x="9" y="0"/>
                        <a:pt x="9" y="0"/>
                      </a:cubicBezTo>
                      <a:cubicBezTo>
                        <a:pt x="9" y="0"/>
                        <a:pt x="9" y="0"/>
                        <a:pt x="9" y="0"/>
                      </a:cubicBezTo>
                      <a:cubicBezTo>
                        <a:pt x="9" y="0"/>
                        <a:pt x="9" y="0"/>
                        <a:pt x="9" y="0"/>
                      </a:cubicBezTo>
                      <a:cubicBezTo>
                        <a:pt x="8" y="0"/>
                        <a:pt x="8" y="0"/>
                        <a:pt x="8" y="0"/>
                      </a:cubicBezTo>
                      <a:cubicBezTo>
                        <a:pt x="8" y="0"/>
                        <a:pt x="8" y="1"/>
                        <a:pt x="8" y="1"/>
                      </a:cubicBezTo>
                      <a:cubicBezTo>
                        <a:pt x="8" y="1"/>
                        <a:pt x="8" y="0"/>
                        <a:pt x="8" y="0"/>
                      </a:cubicBezTo>
                      <a:cubicBezTo>
                        <a:pt x="8" y="0"/>
                        <a:pt x="7" y="0"/>
                        <a:pt x="7" y="0"/>
                      </a:cubicBezTo>
                      <a:cubicBezTo>
                        <a:pt x="7" y="0"/>
                        <a:pt x="7" y="0"/>
                        <a:pt x="7" y="0"/>
                      </a:cubicBezTo>
                      <a:cubicBezTo>
                        <a:pt x="7" y="0"/>
                        <a:pt x="7" y="0"/>
                        <a:pt x="7" y="0"/>
                      </a:cubicBezTo>
                      <a:cubicBezTo>
                        <a:pt x="7" y="0"/>
                        <a:pt x="7" y="0"/>
                        <a:pt x="7" y="0"/>
                      </a:cubicBezTo>
                      <a:cubicBezTo>
                        <a:pt x="6" y="0"/>
                        <a:pt x="6" y="0"/>
                        <a:pt x="6" y="0"/>
                      </a:cubicBezTo>
                      <a:cubicBezTo>
                        <a:pt x="6" y="1"/>
                        <a:pt x="6" y="1"/>
                        <a:pt x="6" y="1"/>
                      </a:cubicBezTo>
                      <a:cubicBezTo>
                        <a:pt x="6"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ubicBezTo>
                        <a:pt x="3" y="2"/>
                        <a:pt x="3" y="3"/>
                        <a:pt x="3" y="3"/>
                      </a:cubicBezTo>
                      <a:cubicBezTo>
                        <a:pt x="3" y="3"/>
                        <a:pt x="2" y="3"/>
                        <a:pt x="2" y="3"/>
                      </a:cubicBezTo>
                      <a:cubicBezTo>
                        <a:pt x="2" y="3"/>
                        <a:pt x="2" y="3"/>
                        <a:pt x="2" y="3"/>
                      </a:cubicBezTo>
                      <a:cubicBezTo>
                        <a:pt x="2" y="3"/>
                        <a:pt x="2" y="3"/>
                        <a:pt x="2" y="3"/>
                      </a:cubicBezTo>
                      <a:cubicBezTo>
                        <a:pt x="2" y="3"/>
                        <a:pt x="2" y="3"/>
                        <a:pt x="2" y="3"/>
                      </a:cubicBezTo>
                      <a:cubicBezTo>
                        <a:pt x="2" y="3"/>
                        <a:pt x="2" y="4"/>
                        <a:pt x="2" y="4"/>
                      </a:cubicBezTo>
                      <a:cubicBezTo>
                        <a:pt x="2" y="4"/>
                        <a:pt x="2" y="4"/>
                        <a:pt x="2" y="4"/>
                      </a:cubicBezTo>
                      <a:cubicBezTo>
                        <a:pt x="2" y="4"/>
                        <a:pt x="2" y="3"/>
                        <a:pt x="2" y="3"/>
                      </a:cubicBezTo>
                      <a:cubicBezTo>
                        <a:pt x="2" y="3"/>
                        <a:pt x="2" y="3"/>
                        <a:pt x="2" y="3"/>
                      </a:cubicBezTo>
                      <a:cubicBezTo>
                        <a:pt x="1" y="3"/>
                        <a:pt x="1" y="3"/>
                        <a:pt x="1" y="3"/>
                      </a:cubicBezTo>
                      <a:cubicBezTo>
                        <a:pt x="1" y="3"/>
                        <a:pt x="1" y="3"/>
                        <a:pt x="1" y="3"/>
                      </a:cubicBezTo>
                      <a:cubicBezTo>
                        <a:pt x="1" y="3"/>
                        <a:pt x="1" y="3"/>
                        <a:pt x="1" y="3"/>
                      </a:cubicBezTo>
                      <a:cubicBezTo>
                        <a:pt x="0" y="4"/>
                        <a:pt x="0" y="4"/>
                        <a:pt x="0" y="4"/>
                      </a:cubicBezTo>
                      <a:cubicBezTo>
                        <a:pt x="1" y="4"/>
                        <a:pt x="1" y="4"/>
                        <a:pt x="1" y="4"/>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8"/>
                        <a:pt x="0" y="8"/>
                        <a:pt x="0" y="8"/>
                      </a:cubicBezTo>
                      <a:cubicBezTo>
                        <a:pt x="0" y="8"/>
                        <a:pt x="1" y="8"/>
                        <a:pt x="1" y="8"/>
                      </a:cubicBezTo>
                      <a:cubicBezTo>
                        <a:pt x="1" y="8"/>
                        <a:pt x="1" y="8"/>
                        <a:pt x="1" y="8"/>
                      </a:cubicBezTo>
                      <a:cubicBezTo>
                        <a:pt x="1" y="8"/>
                        <a:pt x="1" y="8"/>
                        <a:pt x="1" y="8"/>
                      </a:cubicBezTo>
                      <a:cubicBezTo>
                        <a:pt x="1" y="8"/>
                        <a:pt x="0" y="9"/>
                        <a:pt x="0" y="9"/>
                      </a:cubicBezTo>
                      <a:cubicBezTo>
                        <a:pt x="0" y="9"/>
                        <a:pt x="1" y="9"/>
                        <a:pt x="1" y="9"/>
                      </a:cubicBezTo>
                      <a:cubicBezTo>
                        <a:pt x="1" y="9"/>
                        <a:pt x="1" y="9"/>
                        <a:pt x="1" y="9"/>
                      </a:cubicBezTo>
                      <a:cubicBezTo>
                        <a:pt x="1" y="9"/>
                        <a:pt x="1" y="9"/>
                        <a:pt x="1" y="9"/>
                      </a:cubicBezTo>
                      <a:cubicBezTo>
                        <a:pt x="0" y="11"/>
                        <a:pt x="0" y="11"/>
                        <a:pt x="0" y="11"/>
                      </a:cubicBezTo>
                      <a:cubicBezTo>
                        <a:pt x="0" y="11"/>
                        <a:pt x="0" y="11"/>
                        <a:pt x="0" y="11"/>
                      </a:cubicBezTo>
                      <a:cubicBezTo>
                        <a:pt x="0" y="11"/>
                        <a:pt x="0" y="11"/>
                        <a:pt x="0" y="11"/>
                      </a:cubicBezTo>
                      <a:cubicBezTo>
                        <a:pt x="0" y="11"/>
                        <a:pt x="0" y="12"/>
                        <a:pt x="0" y="12"/>
                      </a:cubicBezTo>
                      <a:cubicBezTo>
                        <a:pt x="0" y="12"/>
                        <a:pt x="0" y="12"/>
                        <a:pt x="0" y="12"/>
                      </a:cubicBezTo>
                      <a:cubicBezTo>
                        <a:pt x="0" y="12"/>
                        <a:pt x="0" y="12"/>
                        <a:pt x="0" y="12"/>
                      </a:cubicBezTo>
                      <a:cubicBezTo>
                        <a:pt x="0" y="12"/>
                        <a:pt x="0" y="12"/>
                        <a:pt x="0" y="12"/>
                      </a:cubicBezTo>
                      <a:cubicBezTo>
                        <a:pt x="0" y="12"/>
                        <a:pt x="0" y="13"/>
                        <a:pt x="1" y="13"/>
                      </a:cubicBezTo>
                      <a:cubicBezTo>
                        <a:pt x="1" y="13"/>
                        <a:pt x="1" y="13"/>
                        <a:pt x="1" y="13"/>
                      </a:cubicBezTo>
                      <a:cubicBezTo>
                        <a:pt x="1" y="13"/>
                        <a:pt x="1" y="13"/>
                        <a:pt x="1" y="13"/>
                      </a:cubicBezTo>
                      <a:cubicBezTo>
                        <a:pt x="1" y="13"/>
                        <a:pt x="1" y="13"/>
                        <a:pt x="1" y="13"/>
                      </a:cubicBezTo>
                      <a:cubicBezTo>
                        <a:pt x="2" y="13"/>
                        <a:pt x="2" y="13"/>
                        <a:pt x="2" y="13"/>
                      </a:cubicBezTo>
                      <a:cubicBezTo>
                        <a:pt x="2" y="14"/>
                        <a:pt x="2" y="14"/>
                        <a:pt x="2" y="14"/>
                      </a:cubicBezTo>
                      <a:cubicBezTo>
                        <a:pt x="2" y="14"/>
                        <a:pt x="2" y="14"/>
                        <a:pt x="2" y="14"/>
                      </a:cubicBezTo>
                      <a:cubicBezTo>
                        <a:pt x="2" y="14"/>
                        <a:pt x="2" y="14"/>
                        <a:pt x="2" y="14"/>
                      </a:cubicBezTo>
                      <a:cubicBezTo>
                        <a:pt x="2" y="14"/>
                        <a:pt x="2" y="15"/>
                        <a:pt x="2" y="15"/>
                      </a:cubicBezTo>
                      <a:cubicBezTo>
                        <a:pt x="2" y="15"/>
                        <a:pt x="2" y="15"/>
                        <a:pt x="2" y="15"/>
                      </a:cubicBezTo>
                      <a:cubicBezTo>
                        <a:pt x="2" y="15"/>
                        <a:pt x="2" y="15"/>
                        <a:pt x="2" y="15"/>
                      </a:cubicBezTo>
                      <a:cubicBezTo>
                        <a:pt x="2" y="16"/>
                        <a:pt x="2" y="16"/>
                        <a:pt x="2" y="16"/>
                      </a:cubicBezTo>
                      <a:cubicBezTo>
                        <a:pt x="3" y="16"/>
                        <a:pt x="3" y="16"/>
                        <a:pt x="3" y="16"/>
                      </a:cubicBezTo>
                      <a:cubicBezTo>
                        <a:pt x="3" y="16"/>
                        <a:pt x="3" y="16"/>
                        <a:pt x="3" y="16"/>
                      </a:cubicBezTo>
                      <a:cubicBezTo>
                        <a:pt x="3" y="16"/>
                        <a:pt x="3" y="16"/>
                        <a:pt x="3" y="16"/>
                      </a:cubicBezTo>
                      <a:cubicBezTo>
                        <a:pt x="3" y="16"/>
                        <a:pt x="3" y="16"/>
                        <a:pt x="4" y="16"/>
                      </a:cubicBezTo>
                      <a:cubicBezTo>
                        <a:pt x="4" y="16"/>
                        <a:pt x="4" y="16"/>
                        <a:pt x="4" y="15"/>
                      </a:cubicBezTo>
                      <a:cubicBezTo>
                        <a:pt x="4" y="15"/>
                        <a:pt x="4" y="15"/>
                        <a:pt x="4" y="15"/>
                      </a:cubicBezTo>
                      <a:cubicBezTo>
                        <a:pt x="4" y="15"/>
                        <a:pt x="4" y="15"/>
                        <a:pt x="4" y="14"/>
                      </a:cubicBezTo>
                      <a:cubicBezTo>
                        <a:pt x="5" y="14"/>
                        <a:pt x="5" y="14"/>
                        <a:pt x="5" y="13"/>
                      </a:cubicBezTo>
                      <a:cubicBezTo>
                        <a:pt x="5" y="13"/>
                        <a:pt x="5" y="12"/>
                        <a:pt x="6" y="12"/>
                      </a:cubicBezTo>
                      <a:cubicBezTo>
                        <a:pt x="6" y="12"/>
                        <a:pt x="6" y="11"/>
                        <a:pt x="6" y="11"/>
                      </a:cubicBezTo>
                      <a:cubicBezTo>
                        <a:pt x="6" y="11"/>
                        <a:pt x="6" y="11"/>
                        <a:pt x="6" y="11"/>
                      </a:cubicBezTo>
                      <a:cubicBezTo>
                        <a:pt x="6" y="10"/>
                        <a:pt x="6" y="10"/>
                        <a:pt x="6" y="10"/>
                      </a:cubicBezTo>
                      <a:cubicBezTo>
                        <a:pt x="7" y="10"/>
                        <a:pt x="7" y="10"/>
                        <a:pt x="7" y="9"/>
                      </a:cubicBezTo>
                      <a:cubicBezTo>
                        <a:pt x="7" y="9"/>
                        <a:pt x="7" y="9"/>
                        <a:pt x="7" y="9"/>
                      </a:cubicBezTo>
                      <a:cubicBezTo>
                        <a:pt x="7" y="9"/>
                        <a:pt x="7" y="9"/>
                        <a:pt x="6" y="9"/>
                      </a:cubicBezTo>
                      <a:cubicBezTo>
                        <a:pt x="6" y="9"/>
                        <a:pt x="6" y="9"/>
                        <a:pt x="6" y="9"/>
                      </a:cubicBezTo>
                      <a:cubicBezTo>
                        <a:pt x="6" y="9"/>
                        <a:pt x="6" y="9"/>
                        <a:pt x="6" y="9"/>
                      </a:cubicBezTo>
                      <a:cubicBezTo>
                        <a:pt x="6" y="9"/>
                        <a:pt x="6" y="8"/>
                        <a:pt x="6" y="8"/>
                      </a:cubicBezTo>
                      <a:cubicBezTo>
                        <a:pt x="6" y="8"/>
                        <a:pt x="6" y="8"/>
                        <a:pt x="6" y="8"/>
                      </a:cubicBezTo>
                      <a:cubicBezTo>
                        <a:pt x="6" y="8"/>
                        <a:pt x="6" y="8"/>
                        <a:pt x="5" y="8"/>
                      </a:cubicBezTo>
                      <a:cubicBezTo>
                        <a:pt x="5" y="8"/>
                        <a:pt x="5" y="8"/>
                        <a:pt x="5" y="8"/>
                      </a:cubicBezTo>
                      <a:cubicBezTo>
                        <a:pt x="5" y="7"/>
                        <a:pt x="5" y="7"/>
                        <a:pt x="6" y="7"/>
                      </a:cubicBezTo>
                      <a:cubicBezTo>
                        <a:pt x="6" y="6"/>
                        <a:pt x="6" y="6"/>
                        <a:pt x="6" y="6"/>
                      </a:cubicBezTo>
                      <a:cubicBezTo>
                        <a:pt x="6" y="6"/>
                        <a:pt x="6" y="6"/>
                        <a:pt x="6" y="6"/>
                      </a:cubicBezTo>
                      <a:cubicBezTo>
                        <a:pt x="6" y="5"/>
                        <a:pt x="7" y="5"/>
                        <a:pt x="7" y="5"/>
                      </a:cubicBezTo>
                      <a:cubicBezTo>
                        <a:pt x="7" y="5"/>
                        <a:pt x="8" y="5"/>
                        <a:pt x="8" y="4"/>
                      </a:cubicBezTo>
                      <a:cubicBezTo>
                        <a:pt x="8" y="4"/>
                        <a:pt x="8" y="4"/>
                        <a:pt x="8" y="4"/>
                      </a:cubicBezTo>
                      <a:cubicBezTo>
                        <a:pt x="8" y="4"/>
                        <a:pt x="8" y="4"/>
                        <a:pt x="8" y="4"/>
                      </a:cubicBezTo>
                      <a:cubicBezTo>
                        <a:pt x="9" y="4"/>
                        <a:pt x="9" y="4"/>
                        <a:pt x="10" y="4"/>
                      </a:cubicBezTo>
                      <a:cubicBezTo>
                        <a:pt x="10" y="4"/>
                        <a:pt x="10" y="4"/>
                        <a:pt x="10" y="4"/>
                      </a:cubicBezTo>
                      <a:cubicBezTo>
                        <a:pt x="10" y="4"/>
                        <a:pt x="10" y="4"/>
                        <a:pt x="10" y="4"/>
                      </a:cubicBezTo>
                      <a:cubicBezTo>
                        <a:pt x="11" y="4"/>
                        <a:pt x="11" y="4"/>
                        <a:pt x="12" y="4"/>
                      </a:cubicBezTo>
                      <a:cubicBezTo>
                        <a:pt x="12" y="4"/>
                        <a:pt x="12" y="4"/>
                        <a:pt x="12" y="4"/>
                      </a:cubicBezTo>
                      <a:cubicBezTo>
                        <a:pt x="12" y="5"/>
                        <a:pt x="12" y="5"/>
                        <a:pt x="12" y="5"/>
                      </a:cubicBezTo>
                      <a:cubicBezTo>
                        <a:pt x="12" y="5"/>
                        <a:pt x="12" y="5"/>
                        <a:pt x="12" y="5"/>
                      </a:cubicBezTo>
                      <a:cubicBezTo>
                        <a:pt x="12" y="5"/>
                        <a:pt x="12" y="5"/>
                        <a:pt x="12" y="6"/>
                      </a:cubicBezTo>
                      <a:cubicBezTo>
                        <a:pt x="12" y="6"/>
                        <a:pt x="12" y="6"/>
                        <a:pt x="12" y="6"/>
                      </a:cubicBezTo>
                      <a:cubicBezTo>
                        <a:pt x="12" y="6"/>
                        <a:pt x="12" y="6"/>
                        <a:pt x="12" y="6"/>
                      </a:cubicBezTo>
                      <a:cubicBezTo>
                        <a:pt x="12" y="6"/>
                        <a:pt x="12" y="6"/>
                        <a:pt x="12" y="5"/>
                      </a:cubicBezTo>
                      <a:cubicBezTo>
                        <a:pt x="12" y="5"/>
                        <a:pt x="12" y="5"/>
                        <a:pt x="13" y="5"/>
                      </a:cubicBezTo>
                      <a:cubicBezTo>
                        <a:pt x="13" y="5"/>
                        <a:pt x="13" y="5"/>
                        <a:pt x="13" y="5"/>
                      </a:cubicBezTo>
                      <a:cubicBezTo>
                        <a:pt x="13" y="5"/>
                        <a:pt x="13" y="5"/>
                        <a:pt x="13" y="5"/>
                      </a:cubicBezTo>
                      <a:cubicBezTo>
                        <a:pt x="12" y="4"/>
                        <a:pt x="12" y="4"/>
                        <a:pt x="12" y="4"/>
                      </a:cubicBezTo>
                      <a:cubicBezTo>
                        <a:pt x="12" y="4"/>
                        <a:pt x="12" y="4"/>
                        <a:pt x="12" y="3"/>
                      </a:cubicBezTo>
                      <a:cubicBezTo>
                        <a:pt x="12" y="3"/>
                        <a:pt x="12" y="3"/>
                        <a:pt x="12" y="3"/>
                      </a:cubicBezTo>
                      <a:cubicBezTo>
                        <a:pt x="12" y="3"/>
                        <a:pt x="12" y="3"/>
                        <a:pt x="12"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9" name="Freeform 729">
                  <a:extLst>
                    <a:ext uri="{FF2B5EF4-FFF2-40B4-BE49-F238E27FC236}">
                      <a16:creationId xmlns:a16="http://schemas.microsoft.com/office/drawing/2014/main" id="{30715D06-FBF3-E763-5BA0-D61A5EC9B0E9}"/>
                    </a:ext>
                  </a:extLst>
                </p:cNvPr>
                <p:cNvSpPr>
                  <a:spLocks/>
                </p:cNvSpPr>
                <p:nvPr/>
              </p:nvSpPr>
              <p:spPr bwMode="auto">
                <a:xfrm>
                  <a:off x="10379075" y="6049963"/>
                  <a:ext cx="41275" cy="50800"/>
                </a:xfrm>
                <a:custGeom>
                  <a:avLst/>
                  <a:gdLst>
                    <a:gd name="T0" fmla="*/ 9 w 10"/>
                    <a:gd name="T1" fmla="*/ 1 h 12"/>
                    <a:gd name="T2" fmla="*/ 8 w 10"/>
                    <a:gd name="T3" fmla="*/ 1 h 12"/>
                    <a:gd name="T4" fmla="*/ 8 w 10"/>
                    <a:gd name="T5" fmla="*/ 1 h 12"/>
                    <a:gd name="T6" fmla="*/ 8 w 10"/>
                    <a:gd name="T7" fmla="*/ 0 h 12"/>
                    <a:gd name="T8" fmla="*/ 8 w 10"/>
                    <a:gd name="T9" fmla="*/ 0 h 12"/>
                    <a:gd name="T10" fmla="*/ 7 w 10"/>
                    <a:gd name="T11" fmla="*/ 0 h 12"/>
                    <a:gd name="T12" fmla="*/ 6 w 10"/>
                    <a:gd name="T13" fmla="*/ 0 h 12"/>
                    <a:gd name="T14" fmla="*/ 7 w 10"/>
                    <a:gd name="T15" fmla="*/ 1 h 12"/>
                    <a:gd name="T16" fmla="*/ 6 w 10"/>
                    <a:gd name="T17" fmla="*/ 1 h 12"/>
                    <a:gd name="T18" fmla="*/ 6 w 10"/>
                    <a:gd name="T19" fmla="*/ 1 h 12"/>
                    <a:gd name="T20" fmla="*/ 6 w 10"/>
                    <a:gd name="T21" fmla="*/ 2 h 12"/>
                    <a:gd name="T22" fmla="*/ 6 w 10"/>
                    <a:gd name="T23" fmla="*/ 2 h 12"/>
                    <a:gd name="T24" fmla="*/ 6 w 10"/>
                    <a:gd name="T25" fmla="*/ 3 h 12"/>
                    <a:gd name="T26" fmla="*/ 4 w 10"/>
                    <a:gd name="T27" fmla="*/ 5 h 12"/>
                    <a:gd name="T28" fmla="*/ 4 w 10"/>
                    <a:gd name="T29" fmla="*/ 4 h 12"/>
                    <a:gd name="T30" fmla="*/ 4 w 10"/>
                    <a:gd name="T31" fmla="*/ 4 h 12"/>
                    <a:gd name="T32" fmla="*/ 4 w 10"/>
                    <a:gd name="T33" fmla="*/ 5 h 12"/>
                    <a:gd name="T34" fmla="*/ 3 w 10"/>
                    <a:gd name="T35" fmla="*/ 6 h 12"/>
                    <a:gd name="T36" fmla="*/ 2 w 10"/>
                    <a:gd name="T37" fmla="*/ 6 h 12"/>
                    <a:gd name="T38" fmla="*/ 2 w 10"/>
                    <a:gd name="T39" fmla="*/ 6 h 12"/>
                    <a:gd name="T40" fmla="*/ 2 w 10"/>
                    <a:gd name="T41" fmla="*/ 7 h 12"/>
                    <a:gd name="T42" fmla="*/ 1 w 10"/>
                    <a:gd name="T43" fmla="*/ 8 h 12"/>
                    <a:gd name="T44" fmla="*/ 1 w 10"/>
                    <a:gd name="T45" fmla="*/ 8 h 12"/>
                    <a:gd name="T46" fmla="*/ 0 w 10"/>
                    <a:gd name="T47" fmla="*/ 9 h 12"/>
                    <a:gd name="T48" fmla="*/ 0 w 10"/>
                    <a:gd name="T49" fmla="*/ 9 h 12"/>
                    <a:gd name="T50" fmla="*/ 1 w 10"/>
                    <a:gd name="T51" fmla="*/ 10 h 12"/>
                    <a:gd name="T52" fmla="*/ 2 w 10"/>
                    <a:gd name="T53" fmla="*/ 9 h 12"/>
                    <a:gd name="T54" fmla="*/ 2 w 10"/>
                    <a:gd name="T55" fmla="*/ 9 h 12"/>
                    <a:gd name="T56" fmla="*/ 2 w 10"/>
                    <a:gd name="T57" fmla="*/ 10 h 12"/>
                    <a:gd name="T58" fmla="*/ 2 w 10"/>
                    <a:gd name="T59" fmla="*/ 10 h 12"/>
                    <a:gd name="T60" fmla="*/ 2 w 10"/>
                    <a:gd name="T61" fmla="*/ 11 h 12"/>
                    <a:gd name="T62" fmla="*/ 3 w 10"/>
                    <a:gd name="T63" fmla="*/ 11 h 12"/>
                    <a:gd name="T64" fmla="*/ 3 w 10"/>
                    <a:gd name="T65" fmla="*/ 11 h 12"/>
                    <a:gd name="T66" fmla="*/ 4 w 10"/>
                    <a:gd name="T67" fmla="*/ 12 h 12"/>
                    <a:gd name="T68" fmla="*/ 4 w 10"/>
                    <a:gd name="T69" fmla="*/ 12 h 12"/>
                    <a:gd name="T70" fmla="*/ 5 w 10"/>
                    <a:gd name="T71" fmla="*/ 12 h 12"/>
                    <a:gd name="T72" fmla="*/ 5 w 10"/>
                    <a:gd name="T73" fmla="*/ 12 h 12"/>
                    <a:gd name="T74" fmla="*/ 5 w 10"/>
                    <a:gd name="T75" fmla="*/ 12 h 12"/>
                    <a:gd name="T76" fmla="*/ 6 w 10"/>
                    <a:gd name="T77" fmla="*/ 11 h 12"/>
                    <a:gd name="T78" fmla="*/ 6 w 10"/>
                    <a:gd name="T79" fmla="*/ 10 h 12"/>
                    <a:gd name="T80" fmla="*/ 6 w 10"/>
                    <a:gd name="T81" fmla="*/ 10 h 12"/>
                    <a:gd name="T82" fmla="*/ 7 w 10"/>
                    <a:gd name="T83" fmla="*/ 9 h 12"/>
                    <a:gd name="T84" fmla="*/ 8 w 10"/>
                    <a:gd name="T85" fmla="*/ 9 h 12"/>
                    <a:gd name="T86" fmla="*/ 8 w 10"/>
                    <a:gd name="T87" fmla="*/ 7 h 12"/>
                    <a:gd name="T88" fmla="*/ 8 w 10"/>
                    <a:gd name="T89" fmla="*/ 7 h 12"/>
                    <a:gd name="T90" fmla="*/ 8 w 10"/>
                    <a:gd name="T91" fmla="*/ 6 h 12"/>
                    <a:gd name="T92" fmla="*/ 8 w 10"/>
                    <a:gd name="T93" fmla="*/ 5 h 12"/>
                    <a:gd name="T94" fmla="*/ 8 w 10"/>
                    <a:gd name="T95" fmla="*/ 5 h 12"/>
                    <a:gd name="T96" fmla="*/ 8 w 10"/>
                    <a:gd name="T97" fmla="*/ 4 h 12"/>
                    <a:gd name="T98" fmla="*/ 8 w 10"/>
                    <a:gd name="T99" fmla="*/ 4 h 12"/>
                    <a:gd name="T100" fmla="*/ 8 w 10"/>
                    <a:gd name="T101" fmla="*/ 4 h 12"/>
                    <a:gd name="T102" fmla="*/ 9 w 10"/>
                    <a:gd name="T103" fmla="*/ 2 h 12"/>
                    <a:gd name="T104" fmla="*/ 9 w 10"/>
                    <a:gd name="T10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12">
                      <a:moveTo>
                        <a:pt x="9" y="1"/>
                      </a:move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6" y="0"/>
                      </a:cubicBezTo>
                      <a:cubicBezTo>
                        <a:pt x="6" y="0"/>
                        <a:pt x="6" y="0"/>
                        <a:pt x="6" y="0"/>
                      </a:cubicBezTo>
                      <a:cubicBezTo>
                        <a:pt x="7" y="1"/>
                        <a:pt x="7" y="1"/>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2"/>
                        <a:pt x="6" y="2"/>
                      </a:cubicBezTo>
                      <a:cubicBezTo>
                        <a:pt x="6" y="2"/>
                        <a:pt x="6" y="2"/>
                        <a:pt x="6" y="2"/>
                      </a:cubicBezTo>
                      <a:cubicBezTo>
                        <a:pt x="6" y="2"/>
                        <a:pt x="6" y="2"/>
                        <a:pt x="6" y="2"/>
                      </a:cubicBezTo>
                      <a:cubicBezTo>
                        <a:pt x="6" y="2"/>
                        <a:pt x="6" y="2"/>
                        <a:pt x="6" y="2"/>
                      </a:cubicBezTo>
                      <a:cubicBezTo>
                        <a:pt x="6" y="3"/>
                        <a:pt x="6" y="3"/>
                        <a:pt x="6" y="3"/>
                      </a:cubicBezTo>
                      <a:cubicBezTo>
                        <a:pt x="5" y="5"/>
                        <a:pt x="5" y="5"/>
                        <a:pt x="5" y="5"/>
                      </a:cubicBezTo>
                      <a:cubicBezTo>
                        <a:pt x="4" y="5"/>
                        <a:pt x="4" y="5"/>
                        <a:pt x="4" y="5"/>
                      </a:cubicBezTo>
                      <a:cubicBezTo>
                        <a:pt x="4" y="5"/>
                        <a:pt x="4" y="4"/>
                        <a:pt x="4" y="4"/>
                      </a:cubicBezTo>
                      <a:cubicBezTo>
                        <a:pt x="4" y="4"/>
                        <a:pt x="4" y="4"/>
                        <a:pt x="4" y="4"/>
                      </a:cubicBezTo>
                      <a:cubicBezTo>
                        <a:pt x="4" y="4"/>
                        <a:pt x="4" y="4"/>
                        <a:pt x="4" y="4"/>
                      </a:cubicBezTo>
                      <a:cubicBezTo>
                        <a:pt x="4" y="4"/>
                        <a:pt x="4" y="4"/>
                        <a:pt x="4" y="4"/>
                      </a:cubicBezTo>
                      <a:cubicBezTo>
                        <a:pt x="4" y="4"/>
                        <a:pt x="4" y="5"/>
                        <a:pt x="4" y="5"/>
                      </a:cubicBezTo>
                      <a:cubicBezTo>
                        <a:pt x="4" y="5"/>
                        <a:pt x="4" y="5"/>
                        <a:pt x="4" y="5"/>
                      </a:cubicBezTo>
                      <a:cubicBezTo>
                        <a:pt x="4" y="5"/>
                        <a:pt x="3" y="5"/>
                        <a:pt x="3" y="5"/>
                      </a:cubicBezTo>
                      <a:cubicBezTo>
                        <a:pt x="3" y="5"/>
                        <a:pt x="3" y="6"/>
                        <a:pt x="3" y="6"/>
                      </a:cubicBezTo>
                      <a:cubicBezTo>
                        <a:pt x="3" y="6"/>
                        <a:pt x="3" y="6"/>
                        <a:pt x="3" y="6"/>
                      </a:cubicBezTo>
                      <a:cubicBezTo>
                        <a:pt x="3" y="6"/>
                        <a:pt x="2" y="6"/>
                        <a:pt x="2" y="6"/>
                      </a:cubicBezTo>
                      <a:cubicBezTo>
                        <a:pt x="2" y="6"/>
                        <a:pt x="2" y="6"/>
                        <a:pt x="2" y="6"/>
                      </a:cubicBezTo>
                      <a:cubicBezTo>
                        <a:pt x="2" y="6"/>
                        <a:pt x="2" y="6"/>
                        <a:pt x="2" y="6"/>
                      </a:cubicBezTo>
                      <a:cubicBezTo>
                        <a:pt x="2" y="7"/>
                        <a:pt x="2" y="7"/>
                        <a:pt x="2" y="7"/>
                      </a:cubicBezTo>
                      <a:cubicBezTo>
                        <a:pt x="2" y="7"/>
                        <a:pt x="2" y="7"/>
                        <a:pt x="2" y="7"/>
                      </a:cubicBezTo>
                      <a:cubicBezTo>
                        <a:pt x="2" y="7"/>
                        <a:pt x="2" y="7"/>
                        <a:pt x="2" y="7"/>
                      </a:cubicBezTo>
                      <a:cubicBezTo>
                        <a:pt x="2" y="7"/>
                        <a:pt x="1" y="8"/>
                        <a:pt x="1" y="8"/>
                      </a:cubicBezTo>
                      <a:cubicBezTo>
                        <a:pt x="1" y="8"/>
                        <a:pt x="1" y="8"/>
                        <a:pt x="1" y="8"/>
                      </a:cubicBezTo>
                      <a:cubicBezTo>
                        <a:pt x="1" y="8"/>
                        <a:pt x="1" y="8"/>
                        <a:pt x="1" y="8"/>
                      </a:cubicBezTo>
                      <a:cubicBezTo>
                        <a:pt x="1" y="8"/>
                        <a:pt x="1" y="8"/>
                        <a:pt x="1" y="8"/>
                      </a:cubicBezTo>
                      <a:cubicBezTo>
                        <a:pt x="0" y="9"/>
                        <a:pt x="0" y="9"/>
                        <a:pt x="0" y="9"/>
                      </a:cubicBezTo>
                      <a:cubicBezTo>
                        <a:pt x="0" y="9"/>
                        <a:pt x="0" y="9"/>
                        <a:pt x="0" y="9"/>
                      </a:cubicBezTo>
                      <a:cubicBezTo>
                        <a:pt x="0" y="9"/>
                        <a:pt x="0" y="9"/>
                        <a:pt x="0" y="9"/>
                      </a:cubicBezTo>
                      <a:cubicBezTo>
                        <a:pt x="0" y="9"/>
                        <a:pt x="1" y="9"/>
                        <a:pt x="1" y="9"/>
                      </a:cubicBezTo>
                      <a:cubicBezTo>
                        <a:pt x="1" y="9"/>
                        <a:pt x="1" y="10"/>
                        <a:pt x="1" y="10"/>
                      </a:cubicBezTo>
                      <a:cubicBezTo>
                        <a:pt x="1" y="10"/>
                        <a:pt x="1" y="9"/>
                        <a:pt x="1"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1"/>
                        <a:pt x="5" y="11"/>
                        <a:pt x="5" y="11"/>
                      </a:cubicBezTo>
                      <a:cubicBezTo>
                        <a:pt x="5" y="11"/>
                        <a:pt x="5" y="11"/>
                        <a:pt x="6" y="11"/>
                      </a:cubicBezTo>
                      <a:cubicBezTo>
                        <a:pt x="6" y="11"/>
                        <a:pt x="6" y="11"/>
                        <a:pt x="6" y="11"/>
                      </a:cubicBezTo>
                      <a:cubicBezTo>
                        <a:pt x="5" y="10"/>
                        <a:pt x="6" y="10"/>
                        <a:pt x="6" y="10"/>
                      </a:cubicBezTo>
                      <a:cubicBezTo>
                        <a:pt x="6" y="10"/>
                        <a:pt x="6" y="10"/>
                        <a:pt x="6" y="10"/>
                      </a:cubicBezTo>
                      <a:cubicBezTo>
                        <a:pt x="6" y="10"/>
                        <a:pt x="6" y="10"/>
                        <a:pt x="6" y="10"/>
                      </a:cubicBezTo>
                      <a:cubicBezTo>
                        <a:pt x="7" y="10"/>
                        <a:pt x="7" y="10"/>
                        <a:pt x="7" y="10"/>
                      </a:cubicBezTo>
                      <a:cubicBezTo>
                        <a:pt x="7" y="10"/>
                        <a:pt x="7" y="10"/>
                        <a:pt x="7" y="9"/>
                      </a:cubicBezTo>
                      <a:cubicBezTo>
                        <a:pt x="7" y="9"/>
                        <a:pt x="7" y="9"/>
                        <a:pt x="8" y="9"/>
                      </a:cubicBezTo>
                      <a:cubicBezTo>
                        <a:pt x="8" y="9"/>
                        <a:pt x="8" y="9"/>
                        <a:pt x="8" y="9"/>
                      </a:cubicBezTo>
                      <a:cubicBezTo>
                        <a:pt x="8" y="8"/>
                        <a:pt x="8" y="8"/>
                        <a:pt x="8" y="8"/>
                      </a:cubicBezTo>
                      <a:cubicBezTo>
                        <a:pt x="8" y="8"/>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5"/>
                      </a:cubicBezTo>
                      <a:cubicBezTo>
                        <a:pt x="8"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3"/>
                        <a:pt x="8" y="3"/>
                        <a:pt x="9" y="3"/>
                      </a:cubicBezTo>
                      <a:cubicBezTo>
                        <a:pt x="9" y="3"/>
                        <a:pt x="9" y="2"/>
                        <a:pt x="9" y="2"/>
                      </a:cubicBezTo>
                      <a:cubicBezTo>
                        <a:pt x="9" y="2"/>
                        <a:pt x="9" y="2"/>
                        <a:pt x="9" y="2"/>
                      </a:cubicBezTo>
                      <a:cubicBezTo>
                        <a:pt x="9" y="2"/>
                        <a:pt x="10" y="2"/>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0" name="Freeform 730">
                  <a:extLst>
                    <a:ext uri="{FF2B5EF4-FFF2-40B4-BE49-F238E27FC236}">
                      <a16:creationId xmlns:a16="http://schemas.microsoft.com/office/drawing/2014/main" id="{F689ADF6-5E57-20DD-3400-008DD8160D50}"/>
                    </a:ext>
                  </a:extLst>
                </p:cNvPr>
                <p:cNvSpPr>
                  <a:spLocks noEditPoints="1"/>
                </p:cNvSpPr>
                <p:nvPr/>
              </p:nvSpPr>
              <p:spPr bwMode="auto">
                <a:xfrm>
                  <a:off x="10548938" y="6283325"/>
                  <a:ext cx="20637" cy="25400"/>
                </a:xfrm>
                <a:custGeom>
                  <a:avLst/>
                  <a:gdLst>
                    <a:gd name="T0" fmla="*/ 4 w 5"/>
                    <a:gd name="T1" fmla="*/ 1 h 6"/>
                    <a:gd name="T2" fmla="*/ 3 w 5"/>
                    <a:gd name="T3" fmla="*/ 1 h 6"/>
                    <a:gd name="T4" fmla="*/ 3 w 5"/>
                    <a:gd name="T5" fmla="*/ 2 h 6"/>
                    <a:gd name="T6" fmla="*/ 3 w 5"/>
                    <a:gd name="T7" fmla="*/ 2 h 6"/>
                    <a:gd name="T8" fmla="*/ 4 w 5"/>
                    <a:gd name="T9" fmla="*/ 3 h 6"/>
                    <a:gd name="T10" fmla="*/ 4 w 5"/>
                    <a:gd name="T11" fmla="*/ 3 h 6"/>
                    <a:gd name="T12" fmla="*/ 3 w 5"/>
                    <a:gd name="T13" fmla="*/ 3 h 6"/>
                    <a:gd name="T14" fmla="*/ 3 w 5"/>
                    <a:gd name="T15" fmla="*/ 3 h 6"/>
                    <a:gd name="T16" fmla="*/ 2 w 5"/>
                    <a:gd name="T17" fmla="*/ 4 h 6"/>
                    <a:gd name="T18" fmla="*/ 2 w 5"/>
                    <a:gd name="T19" fmla="*/ 4 h 6"/>
                    <a:gd name="T20" fmla="*/ 2 w 5"/>
                    <a:gd name="T21" fmla="*/ 3 h 6"/>
                    <a:gd name="T22" fmla="*/ 2 w 5"/>
                    <a:gd name="T23" fmla="*/ 3 h 6"/>
                    <a:gd name="T24" fmla="*/ 2 w 5"/>
                    <a:gd name="T25" fmla="*/ 2 h 6"/>
                    <a:gd name="T26" fmla="*/ 2 w 5"/>
                    <a:gd name="T27" fmla="*/ 2 h 6"/>
                    <a:gd name="T28" fmla="*/ 3 w 5"/>
                    <a:gd name="T29" fmla="*/ 2 h 6"/>
                    <a:gd name="T30" fmla="*/ 2 w 5"/>
                    <a:gd name="T31" fmla="*/ 1 h 6"/>
                    <a:gd name="T32" fmla="*/ 2 w 5"/>
                    <a:gd name="T33" fmla="*/ 1 h 6"/>
                    <a:gd name="T34" fmla="*/ 1 w 5"/>
                    <a:gd name="T35" fmla="*/ 1 h 6"/>
                    <a:gd name="T36" fmla="*/ 1 w 5"/>
                    <a:gd name="T37" fmla="*/ 1 h 6"/>
                    <a:gd name="T38" fmla="*/ 1 w 5"/>
                    <a:gd name="T39" fmla="*/ 1 h 6"/>
                    <a:gd name="T40" fmla="*/ 1 w 5"/>
                    <a:gd name="T41" fmla="*/ 1 h 6"/>
                    <a:gd name="T42" fmla="*/ 1 w 5"/>
                    <a:gd name="T43" fmla="*/ 1 h 6"/>
                    <a:gd name="T44" fmla="*/ 0 w 5"/>
                    <a:gd name="T45" fmla="*/ 1 h 6"/>
                    <a:gd name="T46" fmla="*/ 0 w 5"/>
                    <a:gd name="T47" fmla="*/ 1 h 6"/>
                    <a:gd name="T48" fmla="*/ 0 w 5"/>
                    <a:gd name="T49" fmla="*/ 1 h 6"/>
                    <a:gd name="T50" fmla="*/ 1 w 5"/>
                    <a:gd name="T51" fmla="*/ 0 h 6"/>
                    <a:gd name="T52" fmla="*/ 2 w 5"/>
                    <a:gd name="T53" fmla="*/ 0 h 6"/>
                    <a:gd name="T54" fmla="*/ 2 w 5"/>
                    <a:gd name="T55" fmla="*/ 0 h 6"/>
                    <a:gd name="T56" fmla="*/ 2 w 5"/>
                    <a:gd name="T57" fmla="*/ 0 h 6"/>
                    <a:gd name="T58" fmla="*/ 3 w 5"/>
                    <a:gd name="T59" fmla="*/ 0 h 6"/>
                    <a:gd name="T60" fmla="*/ 3 w 5"/>
                    <a:gd name="T61" fmla="*/ 0 h 6"/>
                    <a:gd name="T62" fmla="*/ 4 w 5"/>
                    <a:gd name="T63" fmla="*/ 0 h 6"/>
                    <a:gd name="T64" fmla="*/ 4 w 5"/>
                    <a:gd name="T65" fmla="*/ 0 h 6"/>
                    <a:gd name="T66" fmla="*/ 4 w 5"/>
                    <a:gd name="T67" fmla="*/ 0 h 6"/>
                    <a:gd name="T68" fmla="*/ 4 w 5"/>
                    <a:gd name="T69" fmla="*/ 0 h 6"/>
                    <a:gd name="T70" fmla="*/ 5 w 5"/>
                    <a:gd name="T71" fmla="*/ 0 h 6"/>
                    <a:gd name="T72" fmla="*/ 4 w 5"/>
                    <a:gd name="T73" fmla="*/ 0 h 6"/>
                    <a:gd name="T74" fmla="*/ 4 w 5"/>
                    <a:gd name="T75" fmla="*/ 0 h 6"/>
                    <a:gd name="T76" fmla="*/ 5 w 5"/>
                    <a:gd name="T77" fmla="*/ 5 h 6"/>
                    <a:gd name="T78" fmla="*/ 4 w 5"/>
                    <a:gd name="T79" fmla="*/ 5 h 6"/>
                    <a:gd name="T80" fmla="*/ 4 w 5"/>
                    <a:gd name="T81" fmla="*/ 5 h 6"/>
                    <a:gd name="T82" fmla="*/ 4 w 5"/>
                    <a:gd name="T83" fmla="*/ 6 h 6"/>
                    <a:gd name="T84" fmla="*/ 4 w 5"/>
                    <a:gd name="T85" fmla="*/ 6 h 6"/>
                    <a:gd name="T86" fmla="*/ 5 w 5"/>
                    <a:gd name="T87" fmla="*/ 5 h 6"/>
                    <a:gd name="T88" fmla="*/ 5 w 5"/>
                    <a:gd name="T89" fmla="*/ 5 h 6"/>
                    <a:gd name="T90" fmla="*/ 5 w 5"/>
                    <a:gd name="T91" fmla="*/ 6 h 6"/>
                    <a:gd name="T92" fmla="*/ 4 w 5"/>
                    <a:gd name="T93" fmla="*/ 5 h 6"/>
                    <a:gd name="T94" fmla="*/ 4 w 5"/>
                    <a:gd name="T9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 h="6">
                      <a:moveTo>
                        <a:pt x="4" y="0"/>
                      </a:moveTo>
                      <a:cubicBezTo>
                        <a:pt x="4" y="0"/>
                        <a:pt x="4" y="0"/>
                        <a:pt x="4" y="0"/>
                      </a:cubicBezTo>
                      <a:cubicBezTo>
                        <a:pt x="4" y="1"/>
                        <a:pt x="4" y="1"/>
                        <a:pt x="4" y="1"/>
                      </a:cubicBezTo>
                      <a:cubicBezTo>
                        <a:pt x="4" y="1"/>
                        <a:pt x="4" y="1"/>
                        <a:pt x="4" y="1"/>
                      </a:cubicBezTo>
                      <a:cubicBezTo>
                        <a:pt x="4" y="1"/>
                        <a:pt x="4" y="1"/>
                        <a:pt x="4" y="1"/>
                      </a:cubicBezTo>
                      <a:cubicBezTo>
                        <a:pt x="4" y="1"/>
                        <a:pt x="3" y="1"/>
                        <a:pt x="3" y="1"/>
                      </a:cubicBezTo>
                      <a:cubicBezTo>
                        <a:pt x="4" y="1"/>
                        <a:pt x="3" y="1"/>
                        <a:pt x="3" y="1"/>
                      </a:cubicBezTo>
                      <a:cubicBezTo>
                        <a:pt x="3" y="1"/>
                        <a:pt x="3" y="1"/>
                        <a:pt x="3" y="1"/>
                      </a:cubicBezTo>
                      <a:cubicBezTo>
                        <a:pt x="3" y="1"/>
                        <a:pt x="3" y="2"/>
                        <a:pt x="3" y="2"/>
                      </a:cubicBezTo>
                      <a:cubicBezTo>
                        <a:pt x="3" y="2"/>
                        <a:pt x="3" y="2"/>
                        <a:pt x="3" y="2"/>
                      </a:cubicBezTo>
                      <a:cubicBezTo>
                        <a:pt x="3" y="2"/>
                        <a:pt x="3" y="2"/>
                        <a:pt x="3" y="2"/>
                      </a:cubicBezTo>
                      <a:cubicBezTo>
                        <a:pt x="3" y="2"/>
                        <a:pt x="3" y="2"/>
                        <a:pt x="3" y="2"/>
                      </a:cubicBezTo>
                      <a:cubicBezTo>
                        <a:pt x="3" y="2"/>
                        <a:pt x="3" y="2"/>
                        <a:pt x="3" y="3"/>
                      </a:cubicBezTo>
                      <a:cubicBezTo>
                        <a:pt x="3"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4"/>
                        <a:pt x="3"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1" y="3"/>
                        <a:pt x="1" y="3"/>
                        <a:pt x="2" y="3"/>
                      </a:cubicBezTo>
                      <a:cubicBezTo>
                        <a:pt x="2" y="3"/>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3" y="2"/>
                        <a:pt x="3"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5" y="0"/>
                        <a:pt x="5" y="0"/>
                        <a:pt x="4" y="0"/>
                      </a:cubicBezTo>
                      <a:cubicBezTo>
                        <a:pt x="4" y="0"/>
                        <a:pt x="4" y="0"/>
                        <a:pt x="4" y="0"/>
                      </a:cubicBezTo>
                      <a:cubicBezTo>
                        <a:pt x="4" y="0"/>
                        <a:pt x="4" y="0"/>
                        <a:pt x="4" y="0"/>
                      </a:cubicBezTo>
                      <a:close/>
                      <a:moveTo>
                        <a:pt x="5" y="5"/>
                      </a:moveTo>
                      <a:cubicBezTo>
                        <a:pt x="5" y="5"/>
                        <a:pt x="5" y="5"/>
                        <a:pt x="5" y="5"/>
                      </a:cubicBezTo>
                      <a:cubicBezTo>
                        <a:pt x="5" y="5"/>
                        <a:pt x="5" y="5"/>
                        <a:pt x="5" y="5"/>
                      </a:cubicBezTo>
                      <a:cubicBezTo>
                        <a:pt x="5" y="5"/>
                        <a:pt x="5" y="5"/>
                        <a:pt x="4" y="5"/>
                      </a:cubicBezTo>
                      <a:cubicBezTo>
                        <a:pt x="4" y="5"/>
                        <a:pt x="4" y="5"/>
                        <a:pt x="4" y="5"/>
                      </a:cubicBezTo>
                      <a:cubicBezTo>
                        <a:pt x="4" y="5"/>
                        <a:pt x="4" y="5"/>
                        <a:pt x="4" y="5"/>
                      </a:cubicBezTo>
                      <a:cubicBezTo>
                        <a:pt x="5" y="5"/>
                        <a:pt x="4" y="5"/>
                        <a:pt x="4" y="5"/>
                      </a:cubicBezTo>
                      <a:cubicBezTo>
                        <a:pt x="4" y="5"/>
                        <a:pt x="4" y="5"/>
                        <a:pt x="4" y="5"/>
                      </a:cubicBezTo>
                      <a:cubicBezTo>
                        <a:pt x="4" y="5"/>
                        <a:pt x="4" y="5"/>
                        <a:pt x="4" y="5"/>
                      </a:cubicBezTo>
                      <a:cubicBezTo>
                        <a:pt x="4" y="5"/>
                        <a:pt x="4" y="5"/>
                        <a:pt x="4" y="5"/>
                      </a:cubicBezTo>
                      <a:cubicBezTo>
                        <a:pt x="4" y="5"/>
                        <a:pt x="4" y="6"/>
                        <a:pt x="4" y="6"/>
                      </a:cubicBezTo>
                      <a:cubicBezTo>
                        <a:pt x="4" y="6"/>
                        <a:pt x="4" y="6"/>
                        <a:pt x="4" y="6"/>
                      </a:cubicBezTo>
                      <a:cubicBezTo>
                        <a:pt x="4" y="6"/>
                        <a:pt x="4" y="6"/>
                        <a:pt x="4" y="6"/>
                      </a:cubicBezTo>
                      <a:cubicBezTo>
                        <a:pt x="4" y="6"/>
                        <a:pt x="4" y="6"/>
                        <a:pt x="4" y="6"/>
                      </a:cubicBezTo>
                      <a:cubicBezTo>
                        <a:pt x="4" y="6"/>
                        <a:pt x="4" y="6"/>
                        <a:pt x="5" y="6"/>
                      </a:cubicBezTo>
                      <a:cubicBezTo>
                        <a:pt x="5" y="6"/>
                        <a:pt x="5" y="6"/>
                        <a:pt x="5" y="6"/>
                      </a:cubicBezTo>
                      <a:cubicBezTo>
                        <a:pt x="5" y="6"/>
                        <a:pt x="5" y="6"/>
                        <a:pt x="5" y="5"/>
                      </a:cubicBezTo>
                      <a:cubicBezTo>
                        <a:pt x="5" y="5"/>
                        <a:pt x="5" y="5"/>
                        <a:pt x="5" y="5"/>
                      </a:cubicBezTo>
                      <a:cubicBezTo>
                        <a:pt x="5" y="5"/>
                        <a:pt x="5" y="5"/>
                        <a:pt x="5" y="5"/>
                      </a:cubicBezTo>
                      <a:cubicBezTo>
                        <a:pt x="5" y="5"/>
                        <a:pt x="5" y="5"/>
                        <a:pt x="5" y="5"/>
                      </a:cubicBezTo>
                      <a:close/>
                      <a:moveTo>
                        <a:pt x="5" y="6"/>
                      </a:moveTo>
                      <a:cubicBezTo>
                        <a:pt x="5" y="6"/>
                        <a:pt x="5" y="6"/>
                        <a:pt x="5" y="6"/>
                      </a:cubicBezTo>
                      <a:cubicBezTo>
                        <a:pt x="5" y="6"/>
                        <a:pt x="5" y="6"/>
                        <a:pt x="5" y="6"/>
                      </a:cubicBezTo>
                      <a:cubicBezTo>
                        <a:pt x="5" y="6"/>
                        <a:pt x="5" y="6"/>
                        <a:pt x="5" y="6"/>
                      </a:cubicBezTo>
                      <a:cubicBezTo>
                        <a:pt x="5" y="6"/>
                        <a:pt x="5" y="6"/>
                        <a:pt x="5" y="6"/>
                      </a:cubicBezTo>
                      <a:close/>
                      <a:moveTo>
                        <a:pt x="4" y="5"/>
                      </a:moveTo>
                      <a:cubicBezTo>
                        <a:pt x="4" y="5"/>
                        <a:pt x="4" y="5"/>
                        <a:pt x="4" y="5"/>
                      </a:cubicBezTo>
                      <a:cubicBezTo>
                        <a:pt x="4" y="5"/>
                        <a:pt x="4" y="5"/>
                        <a:pt x="4" y="5"/>
                      </a:cubicBezTo>
                      <a:cubicBezTo>
                        <a:pt x="4" y="5"/>
                        <a:pt x="4" y="5"/>
                        <a:pt x="4" y="5"/>
                      </a:cubicBezTo>
                      <a:cubicBezTo>
                        <a:pt x="4" y="5"/>
                        <a:pt x="4" y="5"/>
                        <a:pt x="4"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1" name="Freeform 731">
                  <a:extLst>
                    <a:ext uri="{FF2B5EF4-FFF2-40B4-BE49-F238E27FC236}">
                      <a16:creationId xmlns:a16="http://schemas.microsoft.com/office/drawing/2014/main" id="{C8C2946C-8E07-F5B9-3FB5-0654D2ACBBB7}"/>
                    </a:ext>
                  </a:extLst>
                </p:cNvPr>
                <p:cNvSpPr>
                  <a:spLocks/>
                </p:cNvSpPr>
                <p:nvPr/>
              </p:nvSpPr>
              <p:spPr bwMode="auto">
                <a:xfrm>
                  <a:off x="10158413" y="6211888"/>
                  <a:ext cx="133350" cy="130175"/>
                </a:xfrm>
                <a:custGeom>
                  <a:avLst/>
                  <a:gdLst>
                    <a:gd name="T0" fmla="*/ 30 w 32"/>
                    <a:gd name="T1" fmla="*/ 0 h 31"/>
                    <a:gd name="T2" fmla="*/ 29 w 32"/>
                    <a:gd name="T3" fmla="*/ 1 h 31"/>
                    <a:gd name="T4" fmla="*/ 28 w 32"/>
                    <a:gd name="T5" fmla="*/ 1 h 31"/>
                    <a:gd name="T6" fmla="*/ 27 w 32"/>
                    <a:gd name="T7" fmla="*/ 3 h 31"/>
                    <a:gd name="T8" fmla="*/ 26 w 32"/>
                    <a:gd name="T9" fmla="*/ 4 h 31"/>
                    <a:gd name="T10" fmla="*/ 25 w 32"/>
                    <a:gd name="T11" fmla="*/ 5 h 31"/>
                    <a:gd name="T12" fmla="*/ 25 w 32"/>
                    <a:gd name="T13" fmla="*/ 4 h 31"/>
                    <a:gd name="T14" fmla="*/ 24 w 32"/>
                    <a:gd name="T15" fmla="*/ 4 h 31"/>
                    <a:gd name="T16" fmla="*/ 24 w 32"/>
                    <a:gd name="T17" fmla="*/ 3 h 31"/>
                    <a:gd name="T18" fmla="*/ 23 w 32"/>
                    <a:gd name="T19" fmla="*/ 2 h 31"/>
                    <a:gd name="T20" fmla="*/ 23 w 32"/>
                    <a:gd name="T21" fmla="*/ 1 h 31"/>
                    <a:gd name="T22" fmla="*/ 22 w 32"/>
                    <a:gd name="T23" fmla="*/ 2 h 31"/>
                    <a:gd name="T24" fmla="*/ 21 w 32"/>
                    <a:gd name="T25" fmla="*/ 3 h 31"/>
                    <a:gd name="T26" fmla="*/ 21 w 32"/>
                    <a:gd name="T27" fmla="*/ 4 h 31"/>
                    <a:gd name="T28" fmla="*/ 19 w 32"/>
                    <a:gd name="T29" fmla="*/ 5 h 31"/>
                    <a:gd name="T30" fmla="*/ 18 w 32"/>
                    <a:gd name="T31" fmla="*/ 6 h 31"/>
                    <a:gd name="T32" fmla="*/ 17 w 32"/>
                    <a:gd name="T33" fmla="*/ 7 h 31"/>
                    <a:gd name="T34" fmla="*/ 16 w 32"/>
                    <a:gd name="T35" fmla="*/ 9 h 31"/>
                    <a:gd name="T36" fmla="*/ 15 w 32"/>
                    <a:gd name="T37" fmla="*/ 9 h 31"/>
                    <a:gd name="T38" fmla="*/ 13 w 32"/>
                    <a:gd name="T39" fmla="*/ 9 h 31"/>
                    <a:gd name="T40" fmla="*/ 11 w 32"/>
                    <a:gd name="T41" fmla="*/ 11 h 31"/>
                    <a:gd name="T42" fmla="*/ 9 w 32"/>
                    <a:gd name="T43" fmla="*/ 13 h 31"/>
                    <a:gd name="T44" fmla="*/ 8 w 32"/>
                    <a:gd name="T45" fmla="*/ 14 h 31"/>
                    <a:gd name="T46" fmla="*/ 6 w 32"/>
                    <a:gd name="T47" fmla="*/ 15 h 31"/>
                    <a:gd name="T48" fmla="*/ 5 w 32"/>
                    <a:gd name="T49" fmla="*/ 15 h 31"/>
                    <a:gd name="T50" fmla="*/ 4 w 32"/>
                    <a:gd name="T51" fmla="*/ 16 h 31"/>
                    <a:gd name="T52" fmla="*/ 3 w 32"/>
                    <a:gd name="T53" fmla="*/ 17 h 31"/>
                    <a:gd name="T54" fmla="*/ 2 w 32"/>
                    <a:gd name="T55" fmla="*/ 19 h 31"/>
                    <a:gd name="T56" fmla="*/ 1 w 32"/>
                    <a:gd name="T57" fmla="*/ 20 h 31"/>
                    <a:gd name="T58" fmla="*/ 0 w 32"/>
                    <a:gd name="T59" fmla="*/ 22 h 31"/>
                    <a:gd name="T60" fmla="*/ 0 w 32"/>
                    <a:gd name="T61" fmla="*/ 24 h 31"/>
                    <a:gd name="T62" fmla="*/ 1 w 32"/>
                    <a:gd name="T63" fmla="*/ 26 h 31"/>
                    <a:gd name="T64" fmla="*/ 3 w 32"/>
                    <a:gd name="T65" fmla="*/ 26 h 31"/>
                    <a:gd name="T66" fmla="*/ 5 w 32"/>
                    <a:gd name="T67" fmla="*/ 29 h 31"/>
                    <a:gd name="T68" fmla="*/ 6 w 32"/>
                    <a:gd name="T69" fmla="*/ 30 h 31"/>
                    <a:gd name="T70" fmla="*/ 7 w 32"/>
                    <a:gd name="T71" fmla="*/ 30 h 31"/>
                    <a:gd name="T72" fmla="*/ 8 w 32"/>
                    <a:gd name="T73" fmla="*/ 29 h 31"/>
                    <a:gd name="T74" fmla="*/ 11 w 32"/>
                    <a:gd name="T75" fmla="*/ 29 h 31"/>
                    <a:gd name="T76" fmla="*/ 12 w 32"/>
                    <a:gd name="T77" fmla="*/ 27 h 31"/>
                    <a:gd name="T78" fmla="*/ 12 w 32"/>
                    <a:gd name="T79" fmla="*/ 23 h 31"/>
                    <a:gd name="T80" fmla="*/ 18 w 32"/>
                    <a:gd name="T81" fmla="*/ 19 h 31"/>
                    <a:gd name="T82" fmla="*/ 21 w 32"/>
                    <a:gd name="T83" fmla="*/ 17 h 31"/>
                    <a:gd name="T84" fmla="*/ 22 w 32"/>
                    <a:gd name="T85" fmla="*/ 17 h 31"/>
                    <a:gd name="T86" fmla="*/ 21 w 32"/>
                    <a:gd name="T87" fmla="*/ 18 h 31"/>
                    <a:gd name="T88" fmla="*/ 23 w 32"/>
                    <a:gd name="T89" fmla="*/ 18 h 31"/>
                    <a:gd name="T90" fmla="*/ 24 w 32"/>
                    <a:gd name="T91" fmla="*/ 18 h 31"/>
                    <a:gd name="T92" fmla="*/ 24 w 32"/>
                    <a:gd name="T93" fmla="*/ 18 h 31"/>
                    <a:gd name="T94" fmla="*/ 26 w 32"/>
                    <a:gd name="T95" fmla="*/ 17 h 31"/>
                    <a:gd name="T96" fmla="*/ 24 w 32"/>
                    <a:gd name="T97" fmla="*/ 16 h 31"/>
                    <a:gd name="T98" fmla="*/ 24 w 32"/>
                    <a:gd name="T99" fmla="*/ 16 h 31"/>
                    <a:gd name="T100" fmla="*/ 23 w 32"/>
                    <a:gd name="T101" fmla="*/ 16 h 31"/>
                    <a:gd name="T102" fmla="*/ 22 w 32"/>
                    <a:gd name="T103" fmla="*/ 16 h 31"/>
                    <a:gd name="T104" fmla="*/ 23 w 32"/>
                    <a:gd name="T105" fmla="*/ 16 h 31"/>
                    <a:gd name="T106" fmla="*/ 23 w 32"/>
                    <a:gd name="T107" fmla="*/ 14 h 31"/>
                    <a:gd name="T108" fmla="*/ 23 w 32"/>
                    <a:gd name="T109" fmla="*/ 13 h 31"/>
                    <a:gd name="T110" fmla="*/ 25 w 32"/>
                    <a:gd name="T111" fmla="*/ 11 h 31"/>
                    <a:gd name="T112" fmla="*/ 27 w 32"/>
                    <a:gd name="T113" fmla="*/ 9 h 31"/>
                    <a:gd name="T114" fmla="*/ 28 w 32"/>
                    <a:gd name="T115" fmla="*/ 6 h 31"/>
                    <a:gd name="T116" fmla="*/ 30 w 32"/>
                    <a:gd name="T117" fmla="*/ 4 h 31"/>
                    <a:gd name="T118" fmla="*/ 30 w 32"/>
                    <a:gd name="T119" fmla="*/ 3 h 31"/>
                    <a:gd name="T120" fmla="*/ 32 w 32"/>
                    <a:gd name="T1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31">
                      <a:moveTo>
                        <a:pt x="31" y="0"/>
                      </a:moveTo>
                      <a:cubicBezTo>
                        <a:pt x="31" y="0"/>
                        <a:pt x="31" y="0"/>
                        <a:pt x="31" y="0"/>
                      </a:cubicBezTo>
                      <a:cubicBezTo>
                        <a:pt x="31" y="0"/>
                        <a:pt x="31" y="0"/>
                        <a:pt x="31" y="0"/>
                      </a:cubicBezTo>
                      <a:cubicBezTo>
                        <a:pt x="31" y="0"/>
                        <a:pt x="30" y="0"/>
                        <a:pt x="30" y="0"/>
                      </a:cubicBezTo>
                      <a:cubicBezTo>
                        <a:pt x="30" y="0"/>
                        <a:pt x="30" y="0"/>
                        <a:pt x="30" y="0"/>
                      </a:cubicBezTo>
                      <a:cubicBezTo>
                        <a:pt x="30" y="0"/>
                        <a:pt x="30" y="0"/>
                        <a:pt x="30" y="0"/>
                      </a:cubicBezTo>
                      <a:cubicBezTo>
                        <a:pt x="30" y="0"/>
                        <a:pt x="30" y="0"/>
                        <a:pt x="30" y="0"/>
                      </a:cubicBezTo>
                      <a:cubicBezTo>
                        <a:pt x="30" y="0"/>
                        <a:pt x="29" y="1"/>
                        <a:pt x="29" y="1"/>
                      </a:cubicBezTo>
                      <a:cubicBezTo>
                        <a:pt x="29" y="1"/>
                        <a:pt x="29" y="1"/>
                        <a:pt x="29" y="1"/>
                      </a:cubicBezTo>
                      <a:cubicBezTo>
                        <a:pt x="29" y="1"/>
                        <a:pt x="29" y="1"/>
                        <a:pt x="29" y="1"/>
                      </a:cubicBezTo>
                      <a:cubicBezTo>
                        <a:pt x="28" y="1"/>
                        <a:pt x="28" y="1"/>
                        <a:pt x="28" y="1"/>
                      </a:cubicBezTo>
                      <a:cubicBezTo>
                        <a:pt x="28" y="1"/>
                        <a:pt x="28" y="1"/>
                        <a:pt x="28" y="1"/>
                      </a:cubicBezTo>
                      <a:cubicBezTo>
                        <a:pt x="28" y="2"/>
                        <a:pt x="28" y="2"/>
                        <a:pt x="28" y="2"/>
                      </a:cubicBezTo>
                      <a:cubicBezTo>
                        <a:pt x="28" y="2"/>
                        <a:pt x="28" y="2"/>
                        <a:pt x="28" y="2"/>
                      </a:cubicBezTo>
                      <a:cubicBezTo>
                        <a:pt x="28" y="2"/>
                        <a:pt x="28" y="2"/>
                        <a:pt x="28" y="2"/>
                      </a:cubicBezTo>
                      <a:cubicBezTo>
                        <a:pt x="27" y="3"/>
                        <a:pt x="27" y="3"/>
                        <a:pt x="27" y="3"/>
                      </a:cubicBezTo>
                      <a:cubicBezTo>
                        <a:pt x="27" y="3"/>
                        <a:pt x="27" y="3"/>
                        <a:pt x="27" y="3"/>
                      </a:cubicBezTo>
                      <a:cubicBezTo>
                        <a:pt x="27" y="3"/>
                        <a:pt x="26" y="4"/>
                        <a:pt x="26" y="4"/>
                      </a:cubicBezTo>
                      <a:cubicBezTo>
                        <a:pt x="26" y="4"/>
                        <a:pt x="26" y="4"/>
                        <a:pt x="26" y="4"/>
                      </a:cubicBezTo>
                      <a:cubicBezTo>
                        <a:pt x="26" y="4"/>
                        <a:pt x="26" y="4"/>
                        <a:pt x="26" y="4"/>
                      </a:cubicBezTo>
                      <a:cubicBezTo>
                        <a:pt x="26" y="4"/>
                        <a:pt x="26" y="4"/>
                        <a:pt x="26" y="4"/>
                      </a:cubicBezTo>
                      <a:cubicBezTo>
                        <a:pt x="26" y="4"/>
                        <a:pt x="26" y="5"/>
                        <a:pt x="26" y="5"/>
                      </a:cubicBezTo>
                      <a:cubicBezTo>
                        <a:pt x="26"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5" y="4"/>
                        <a:pt x="25" y="4"/>
                      </a:cubicBezTo>
                      <a:cubicBezTo>
                        <a:pt x="25" y="4"/>
                        <a:pt x="25" y="4"/>
                        <a:pt x="25" y="4"/>
                      </a:cubicBezTo>
                      <a:cubicBezTo>
                        <a:pt x="25" y="4"/>
                        <a:pt x="24" y="4"/>
                        <a:pt x="24" y="4"/>
                      </a:cubicBezTo>
                      <a:cubicBezTo>
                        <a:pt x="24" y="4"/>
                        <a:pt x="24" y="4"/>
                        <a:pt x="24" y="4"/>
                      </a:cubicBezTo>
                      <a:cubicBezTo>
                        <a:pt x="24" y="4"/>
                        <a:pt x="24" y="4"/>
                        <a:pt x="24" y="4"/>
                      </a:cubicBezTo>
                      <a:cubicBezTo>
                        <a:pt x="24" y="4"/>
                        <a:pt x="24" y="4"/>
                        <a:pt x="24" y="3"/>
                      </a:cubicBezTo>
                      <a:cubicBezTo>
                        <a:pt x="24" y="3"/>
                        <a:pt x="24" y="3"/>
                        <a:pt x="24" y="3"/>
                      </a:cubicBezTo>
                      <a:cubicBezTo>
                        <a:pt x="24" y="3"/>
                        <a:pt x="24" y="3"/>
                        <a:pt x="24" y="3"/>
                      </a:cubicBezTo>
                      <a:cubicBezTo>
                        <a:pt x="24" y="4"/>
                        <a:pt x="24" y="3"/>
                        <a:pt x="24" y="3"/>
                      </a:cubicBezTo>
                      <a:cubicBezTo>
                        <a:pt x="23" y="3"/>
                        <a:pt x="23" y="3"/>
                        <a:pt x="23" y="3"/>
                      </a:cubicBezTo>
                      <a:cubicBezTo>
                        <a:pt x="23" y="3"/>
                        <a:pt x="24" y="3"/>
                        <a:pt x="24" y="3"/>
                      </a:cubicBezTo>
                      <a:cubicBezTo>
                        <a:pt x="24" y="3"/>
                        <a:pt x="23" y="3"/>
                        <a:pt x="23" y="3"/>
                      </a:cubicBezTo>
                      <a:cubicBezTo>
                        <a:pt x="23" y="3"/>
                        <a:pt x="23" y="2"/>
                        <a:pt x="23" y="2"/>
                      </a:cubicBezTo>
                      <a:cubicBezTo>
                        <a:pt x="23" y="2"/>
                        <a:pt x="23" y="2"/>
                        <a:pt x="23" y="2"/>
                      </a:cubicBezTo>
                      <a:cubicBezTo>
                        <a:pt x="23" y="2"/>
                        <a:pt x="23" y="2"/>
                        <a:pt x="23" y="2"/>
                      </a:cubicBezTo>
                      <a:cubicBezTo>
                        <a:pt x="23" y="2"/>
                        <a:pt x="23" y="2"/>
                        <a:pt x="23" y="2"/>
                      </a:cubicBezTo>
                      <a:cubicBezTo>
                        <a:pt x="23" y="2"/>
                        <a:pt x="23" y="1"/>
                        <a:pt x="23" y="1"/>
                      </a:cubicBezTo>
                      <a:cubicBezTo>
                        <a:pt x="23" y="1"/>
                        <a:pt x="22" y="1"/>
                        <a:pt x="22" y="1"/>
                      </a:cubicBezTo>
                      <a:cubicBezTo>
                        <a:pt x="22" y="1"/>
                        <a:pt x="22" y="1"/>
                        <a:pt x="22" y="1"/>
                      </a:cubicBezTo>
                      <a:cubicBezTo>
                        <a:pt x="22" y="2"/>
                        <a:pt x="22" y="2"/>
                        <a:pt x="22" y="2"/>
                      </a:cubicBezTo>
                      <a:cubicBezTo>
                        <a:pt x="22" y="2"/>
                        <a:pt x="22" y="2"/>
                        <a:pt x="22" y="2"/>
                      </a:cubicBezTo>
                      <a:cubicBezTo>
                        <a:pt x="21" y="2"/>
                        <a:pt x="21" y="2"/>
                        <a:pt x="21" y="2"/>
                      </a:cubicBezTo>
                      <a:cubicBezTo>
                        <a:pt x="21" y="3"/>
                        <a:pt x="21" y="3"/>
                        <a:pt x="21" y="3"/>
                      </a:cubicBezTo>
                      <a:cubicBezTo>
                        <a:pt x="21" y="3"/>
                        <a:pt x="21" y="3"/>
                        <a:pt x="21" y="3"/>
                      </a:cubicBezTo>
                      <a:cubicBezTo>
                        <a:pt x="21" y="3"/>
                        <a:pt x="21" y="3"/>
                        <a:pt x="21" y="3"/>
                      </a:cubicBezTo>
                      <a:cubicBezTo>
                        <a:pt x="21" y="3"/>
                        <a:pt x="21" y="3"/>
                        <a:pt x="21" y="3"/>
                      </a:cubicBezTo>
                      <a:cubicBezTo>
                        <a:pt x="21" y="3"/>
                        <a:pt x="21" y="3"/>
                        <a:pt x="21" y="3"/>
                      </a:cubicBezTo>
                      <a:cubicBezTo>
                        <a:pt x="21" y="3"/>
                        <a:pt x="21" y="4"/>
                        <a:pt x="21" y="4"/>
                      </a:cubicBezTo>
                      <a:cubicBezTo>
                        <a:pt x="21" y="4"/>
                        <a:pt x="21" y="4"/>
                        <a:pt x="21" y="4"/>
                      </a:cubicBezTo>
                      <a:cubicBezTo>
                        <a:pt x="21" y="4"/>
                        <a:pt x="20" y="4"/>
                        <a:pt x="20" y="4"/>
                      </a:cubicBezTo>
                      <a:cubicBezTo>
                        <a:pt x="20" y="4"/>
                        <a:pt x="20" y="4"/>
                        <a:pt x="20" y="4"/>
                      </a:cubicBezTo>
                      <a:cubicBezTo>
                        <a:pt x="20" y="4"/>
                        <a:pt x="20" y="5"/>
                        <a:pt x="20" y="5"/>
                      </a:cubicBezTo>
                      <a:cubicBezTo>
                        <a:pt x="19" y="5"/>
                        <a:pt x="19" y="5"/>
                        <a:pt x="19" y="5"/>
                      </a:cubicBezTo>
                      <a:cubicBezTo>
                        <a:pt x="19" y="5"/>
                        <a:pt x="19" y="5"/>
                        <a:pt x="19" y="5"/>
                      </a:cubicBezTo>
                      <a:cubicBezTo>
                        <a:pt x="19" y="5"/>
                        <a:pt x="19" y="5"/>
                        <a:pt x="19" y="5"/>
                      </a:cubicBezTo>
                      <a:cubicBezTo>
                        <a:pt x="18" y="6"/>
                        <a:pt x="18" y="6"/>
                        <a:pt x="18" y="6"/>
                      </a:cubicBezTo>
                      <a:cubicBezTo>
                        <a:pt x="18" y="6"/>
                        <a:pt x="18" y="6"/>
                        <a:pt x="18" y="6"/>
                      </a:cubicBezTo>
                      <a:cubicBezTo>
                        <a:pt x="18" y="6"/>
                        <a:pt x="18" y="6"/>
                        <a:pt x="18" y="6"/>
                      </a:cubicBezTo>
                      <a:cubicBezTo>
                        <a:pt x="17" y="6"/>
                        <a:pt x="17" y="6"/>
                        <a:pt x="17" y="6"/>
                      </a:cubicBezTo>
                      <a:cubicBezTo>
                        <a:pt x="17" y="6"/>
                        <a:pt x="17" y="7"/>
                        <a:pt x="17" y="7"/>
                      </a:cubicBezTo>
                      <a:cubicBezTo>
                        <a:pt x="17" y="7"/>
                        <a:pt x="17" y="7"/>
                        <a:pt x="17" y="7"/>
                      </a:cubicBezTo>
                      <a:cubicBezTo>
                        <a:pt x="17" y="8"/>
                        <a:pt x="17" y="8"/>
                        <a:pt x="17" y="8"/>
                      </a:cubicBezTo>
                      <a:cubicBezTo>
                        <a:pt x="16" y="8"/>
                        <a:pt x="16" y="8"/>
                        <a:pt x="16" y="8"/>
                      </a:cubicBezTo>
                      <a:cubicBezTo>
                        <a:pt x="16" y="8"/>
                        <a:pt x="16" y="8"/>
                        <a:pt x="16" y="8"/>
                      </a:cubicBezTo>
                      <a:cubicBezTo>
                        <a:pt x="16" y="9"/>
                        <a:pt x="16" y="9"/>
                        <a:pt x="16" y="9"/>
                      </a:cubicBezTo>
                      <a:cubicBezTo>
                        <a:pt x="16" y="9"/>
                        <a:pt x="16" y="9"/>
                        <a:pt x="16" y="9"/>
                      </a:cubicBezTo>
                      <a:cubicBezTo>
                        <a:pt x="15" y="9"/>
                        <a:pt x="15" y="9"/>
                        <a:pt x="15" y="9"/>
                      </a:cubicBezTo>
                      <a:cubicBezTo>
                        <a:pt x="15" y="9"/>
                        <a:pt x="15" y="9"/>
                        <a:pt x="15" y="9"/>
                      </a:cubicBezTo>
                      <a:cubicBezTo>
                        <a:pt x="15" y="9"/>
                        <a:pt x="15" y="9"/>
                        <a:pt x="15" y="9"/>
                      </a:cubicBezTo>
                      <a:cubicBezTo>
                        <a:pt x="14" y="9"/>
                        <a:pt x="14" y="9"/>
                        <a:pt x="14" y="9"/>
                      </a:cubicBezTo>
                      <a:cubicBezTo>
                        <a:pt x="13" y="9"/>
                        <a:pt x="13" y="9"/>
                        <a:pt x="13" y="9"/>
                      </a:cubicBezTo>
                      <a:cubicBezTo>
                        <a:pt x="13" y="9"/>
                        <a:pt x="13" y="9"/>
                        <a:pt x="13" y="9"/>
                      </a:cubicBezTo>
                      <a:cubicBezTo>
                        <a:pt x="13" y="9"/>
                        <a:pt x="13" y="9"/>
                        <a:pt x="13" y="9"/>
                      </a:cubicBezTo>
                      <a:cubicBezTo>
                        <a:pt x="12" y="10"/>
                        <a:pt x="12" y="10"/>
                        <a:pt x="12" y="10"/>
                      </a:cubicBezTo>
                      <a:cubicBezTo>
                        <a:pt x="12" y="11"/>
                        <a:pt x="12" y="11"/>
                        <a:pt x="12" y="11"/>
                      </a:cubicBezTo>
                      <a:cubicBezTo>
                        <a:pt x="12" y="11"/>
                        <a:pt x="12" y="11"/>
                        <a:pt x="12" y="11"/>
                      </a:cubicBezTo>
                      <a:cubicBezTo>
                        <a:pt x="11" y="11"/>
                        <a:pt x="11" y="11"/>
                        <a:pt x="11" y="11"/>
                      </a:cubicBezTo>
                      <a:cubicBezTo>
                        <a:pt x="10" y="12"/>
                        <a:pt x="10" y="12"/>
                        <a:pt x="10" y="12"/>
                      </a:cubicBezTo>
                      <a:cubicBezTo>
                        <a:pt x="10" y="12"/>
                        <a:pt x="10" y="12"/>
                        <a:pt x="10" y="12"/>
                      </a:cubicBezTo>
                      <a:cubicBezTo>
                        <a:pt x="9" y="13"/>
                        <a:pt x="9" y="13"/>
                        <a:pt x="9" y="13"/>
                      </a:cubicBezTo>
                      <a:cubicBezTo>
                        <a:pt x="9" y="13"/>
                        <a:pt x="9" y="13"/>
                        <a:pt x="9" y="13"/>
                      </a:cubicBezTo>
                      <a:cubicBezTo>
                        <a:pt x="9" y="13"/>
                        <a:pt x="9" y="13"/>
                        <a:pt x="9" y="13"/>
                      </a:cubicBezTo>
                      <a:cubicBezTo>
                        <a:pt x="8" y="13"/>
                        <a:pt x="8" y="13"/>
                        <a:pt x="8" y="13"/>
                      </a:cubicBezTo>
                      <a:cubicBezTo>
                        <a:pt x="8" y="13"/>
                        <a:pt x="8" y="13"/>
                        <a:pt x="8" y="13"/>
                      </a:cubicBezTo>
                      <a:cubicBezTo>
                        <a:pt x="8" y="14"/>
                        <a:pt x="8" y="14"/>
                        <a:pt x="8" y="14"/>
                      </a:cubicBezTo>
                      <a:cubicBezTo>
                        <a:pt x="7" y="14"/>
                        <a:pt x="7" y="14"/>
                        <a:pt x="7" y="14"/>
                      </a:cubicBezTo>
                      <a:cubicBezTo>
                        <a:pt x="7" y="14"/>
                        <a:pt x="7" y="14"/>
                        <a:pt x="7" y="14"/>
                      </a:cubicBezTo>
                      <a:cubicBezTo>
                        <a:pt x="7" y="14"/>
                        <a:pt x="7" y="14"/>
                        <a:pt x="6" y="14"/>
                      </a:cubicBezTo>
                      <a:cubicBezTo>
                        <a:pt x="6" y="14"/>
                        <a:pt x="6" y="15"/>
                        <a:pt x="6" y="15"/>
                      </a:cubicBezTo>
                      <a:cubicBezTo>
                        <a:pt x="6" y="15"/>
                        <a:pt x="6" y="15"/>
                        <a:pt x="6" y="15"/>
                      </a:cubicBezTo>
                      <a:cubicBezTo>
                        <a:pt x="5" y="15"/>
                        <a:pt x="5" y="15"/>
                        <a:pt x="5" y="15"/>
                      </a:cubicBezTo>
                      <a:cubicBezTo>
                        <a:pt x="5" y="15"/>
                        <a:pt x="5" y="15"/>
                        <a:pt x="5" y="15"/>
                      </a:cubicBezTo>
                      <a:cubicBezTo>
                        <a:pt x="5" y="15"/>
                        <a:pt x="5" y="15"/>
                        <a:pt x="5" y="15"/>
                      </a:cubicBezTo>
                      <a:cubicBezTo>
                        <a:pt x="5" y="15"/>
                        <a:pt x="4" y="15"/>
                        <a:pt x="4" y="15"/>
                      </a:cubicBezTo>
                      <a:cubicBezTo>
                        <a:pt x="4" y="16"/>
                        <a:pt x="4" y="16"/>
                        <a:pt x="4" y="16"/>
                      </a:cubicBezTo>
                      <a:cubicBezTo>
                        <a:pt x="4" y="16"/>
                        <a:pt x="4" y="16"/>
                        <a:pt x="4" y="16"/>
                      </a:cubicBezTo>
                      <a:cubicBezTo>
                        <a:pt x="4" y="16"/>
                        <a:pt x="4" y="16"/>
                        <a:pt x="4" y="16"/>
                      </a:cubicBezTo>
                      <a:cubicBezTo>
                        <a:pt x="4" y="17"/>
                        <a:pt x="4" y="17"/>
                        <a:pt x="4" y="17"/>
                      </a:cubicBezTo>
                      <a:cubicBezTo>
                        <a:pt x="3" y="17"/>
                        <a:pt x="3" y="17"/>
                        <a:pt x="3" y="17"/>
                      </a:cubicBezTo>
                      <a:cubicBezTo>
                        <a:pt x="3" y="17"/>
                        <a:pt x="3" y="17"/>
                        <a:pt x="3" y="17"/>
                      </a:cubicBezTo>
                      <a:cubicBezTo>
                        <a:pt x="3" y="17"/>
                        <a:pt x="3" y="17"/>
                        <a:pt x="3" y="17"/>
                      </a:cubicBezTo>
                      <a:cubicBezTo>
                        <a:pt x="3" y="17"/>
                        <a:pt x="3" y="18"/>
                        <a:pt x="3" y="18"/>
                      </a:cubicBezTo>
                      <a:cubicBezTo>
                        <a:pt x="3" y="18"/>
                        <a:pt x="3" y="18"/>
                        <a:pt x="3" y="18"/>
                      </a:cubicBezTo>
                      <a:cubicBezTo>
                        <a:pt x="2" y="18"/>
                        <a:pt x="2" y="18"/>
                        <a:pt x="2" y="18"/>
                      </a:cubicBezTo>
                      <a:cubicBezTo>
                        <a:pt x="2" y="19"/>
                        <a:pt x="2" y="19"/>
                        <a:pt x="2"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0" y="22"/>
                        <a:pt x="0" y="22"/>
                        <a:pt x="0" y="22"/>
                      </a:cubicBezTo>
                      <a:cubicBezTo>
                        <a:pt x="0" y="22"/>
                        <a:pt x="0" y="22"/>
                        <a:pt x="0" y="22"/>
                      </a:cubicBezTo>
                      <a:cubicBezTo>
                        <a:pt x="0" y="22"/>
                        <a:pt x="0" y="22"/>
                        <a:pt x="0" y="22"/>
                      </a:cubicBezTo>
                      <a:cubicBezTo>
                        <a:pt x="0" y="23"/>
                        <a:pt x="0" y="23"/>
                        <a:pt x="0" y="23"/>
                      </a:cubicBezTo>
                      <a:cubicBezTo>
                        <a:pt x="0" y="24"/>
                        <a:pt x="0" y="24"/>
                        <a:pt x="0" y="24"/>
                      </a:cubicBezTo>
                      <a:cubicBezTo>
                        <a:pt x="0" y="24"/>
                        <a:pt x="0" y="24"/>
                        <a:pt x="0" y="24"/>
                      </a:cubicBezTo>
                      <a:cubicBezTo>
                        <a:pt x="1" y="24"/>
                        <a:pt x="1" y="24"/>
                        <a:pt x="1" y="24"/>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2" y="26"/>
                        <a:pt x="2" y="26"/>
                        <a:pt x="2" y="26"/>
                      </a:cubicBezTo>
                      <a:cubicBezTo>
                        <a:pt x="3" y="26"/>
                        <a:pt x="3" y="26"/>
                        <a:pt x="3" y="26"/>
                      </a:cubicBezTo>
                      <a:cubicBezTo>
                        <a:pt x="3" y="26"/>
                        <a:pt x="3" y="26"/>
                        <a:pt x="3" y="26"/>
                      </a:cubicBezTo>
                      <a:cubicBezTo>
                        <a:pt x="3" y="28"/>
                        <a:pt x="3" y="28"/>
                        <a:pt x="3" y="28"/>
                      </a:cubicBezTo>
                      <a:cubicBezTo>
                        <a:pt x="4" y="29"/>
                        <a:pt x="4" y="29"/>
                        <a:pt x="4" y="29"/>
                      </a:cubicBezTo>
                      <a:cubicBezTo>
                        <a:pt x="5" y="29"/>
                        <a:pt x="5" y="29"/>
                        <a:pt x="5" y="29"/>
                      </a:cubicBezTo>
                      <a:cubicBezTo>
                        <a:pt x="5" y="29"/>
                        <a:pt x="5" y="29"/>
                        <a:pt x="5" y="29"/>
                      </a:cubicBezTo>
                      <a:cubicBezTo>
                        <a:pt x="6" y="29"/>
                        <a:pt x="6" y="29"/>
                        <a:pt x="6" y="29"/>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7" y="30"/>
                        <a:pt x="7" y="30"/>
                        <a:pt x="7" y="30"/>
                      </a:cubicBezTo>
                      <a:cubicBezTo>
                        <a:pt x="7" y="30"/>
                        <a:pt x="7" y="30"/>
                        <a:pt x="7" y="30"/>
                      </a:cubicBezTo>
                      <a:cubicBezTo>
                        <a:pt x="8" y="30"/>
                        <a:pt x="8" y="30"/>
                        <a:pt x="8" y="30"/>
                      </a:cubicBezTo>
                      <a:cubicBezTo>
                        <a:pt x="8" y="29"/>
                        <a:pt x="8" y="29"/>
                        <a:pt x="8" y="29"/>
                      </a:cubicBezTo>
                      <a:cubicBezTo>
                        <a:pt x="8" y="29"/>
                        <a:pt x="8" y="29"/>
                        <a:pt x="8" y="29"/>
                      </a:cubicBezTo>
                      <a:cubicBezTo>
                        <a:pt x="8" y="29"/>
                        <a:pt x="9" y="29"/>
                        <a:pt x="9" y="29"/>
                      </a:cubicBezTo>
                      <a:cubicBezTo>
                        <a:pt x="9" y="29"/>
                        <a:pt x="9" y="29"/>
                        <a:pt x="9" y="29"/>
                      </a:cubicBezTo>
                      <a:cubicBezTo>
                        <a:pt x="10" y="29"/>
                        <a:pt x="10" y="29"/>
                        <a:pt x="10" y="29"/>
                      </a:cubicBezTo>
                      <a:cubicBezTo>
                        <a:pt x="11" y="29"/>
                        <a:pt x="11" y="29"/>
                        <a:pt x="11" y="29"/>
                      </a:cubicBezTo>
                      <a:cubicBezTo>
                        <a:pt x="12" y="29"/>
                        <a:pt x="12" y="29"/>
                        <a:pt x="12" y="29"/>
                      </a:cubicBezTo>
                      <a:cubicBezTo>
                        <a:pt x="12" y="28"/>
                        <a:pt x="12" y="28"/>
                        <a:pt x="12" y="27"/>
                      </a:cubicBezTo>
                      <a:cubicBezTo>
                        <a:pt x="12" y="27"/>
                        <a:pt x="12" y="27"/>
                        <a:pt x="12" y="27"/>
                      </a:cubicBezTo>
                      <a:cubicBezTo>
                        <a:pt x="11" y="27"/>
                        <a:pt x="11" y="27"/>
                        <a:pt x="12" y="27"/>
                      </a:cubicBezTo>
                      <a:cubicBezTo>
                        <a:pt x="12" y="27"/>
                        <a:pt x="12" y="26"/>
                        <a:pt x="12" y="26"/>
                      </a:cubicBezTo>
                      <a:cubicBezTo>
                        <a:pt x="12" y="26"/>
                        <a:pt x="12" y="25"/>
                        <a:pt x="12" y="25"/>
                      </a:cubicBezTo>
                      <a:cubicBezTo>
                        <a:pt x="12" y="24"/>
                        <a:pt x="12" y="24"/>
                        <a:pt x="12" y="24"/>
                      </a:cubicBezTo>
                      <a:cubicBezTo>
                        <a:pt x="12" y="23"/>
                        <a:pt x="12" y="23"/>
                        <a:pt x="12" y="23"/>
                      </a:cubicBezTo>
                      <a:cubicBezTo>
                        <a:pt x="12" y="23"/>
                        <a:pt x="12" y="23"/>
                        <a:pt x="13" y="23"/>
                      </a:cubicBezTo>
                      <a:cubicBezTo>
                        <a:pt x="13" y="22"/>
                        <a:pt x="14" y="22"/>
                        <a:pt x="14" y="22"/>
                      </a:cubicBezTo>
                      <a:cubicBezTo>
                        <a:pt x="15" y="21"/>
                        <a:pt x="15" y="21"/>
                        <a:pt x="16" y="21"/>
                      </a:cubicBezTo>
                      <a:cubicBezTo>
                        <a:pt x="16" y="20"/>
                        <a:pt x="17" y="20"/>
                        <a:pt x="18" y="19"/>
                      </a:cubicBezTo>
                      <a:cubicBezTo>
                        <a:pt x="19" y="19"/>
                        <a:pt x="19" y="19"/>
                        <a:pt x="20" y="18"/>
                      </a:cubicBezTo>
                      <a:cubicBezTo>
                        <a:pt x="20" y="18"/>
                        <a:pt x="20" y="18"/>
                        <a:pt x="20" y="18"/>
                      </a:cubicBezTo>
                      <a:cubicBezTo>
                        <a:pt x="20" y="18"/>
                        <a:pt x="20" y="17"/>
                        <a:pt x="20" y="17"/>
                      </a:cubicBezTo>
                      <a:cubicBezTo>
                        <a:pt x="21" y="17"/>
                        <a:pt x="21" y="17"/>
                        <a:pt x="21" y="17"/>
                      </a:cubicBezTo>
                      <a:cubicBezTo>
                        <a:pt x="21" y="17"/>
                        <a:pt x="21" y="17"/>
                        <a:pt x="21" y="17"/>
                      </a:cubicBezTo>
                      <a:cubicBezTo>
                        <a:pt x="21" y="17"/>
                        <a:pt x="21" y="17"/>
                        <a:pt x="21" y="17"/>
                      </a:cubicBezTo>
                      <a:cubicBezTo>
                        <a:pt x="21" y="17"/>
                        <a:pt x="22" y="18"/>
                        <a:pt x="22" y="17"/>
                      </a:cubicBezTo>
                      <a:cubicBezTo>
                        <a:pt x="22" y="17"/>
                        <a:pt x="22" y="17"/>
                        <a:pt x="22" y="17"/>
                      </a:cubicBezTo>
                      <a:cubicBezTo>
                        <a:pt x="22" y="17"/>
                        <a:pt x="22" y="18"/>
                        <a:pt x="22" y="18"/>
                      </a:cubicBezTo>
                      <a:cubicBezTo>
                        <a:pt x="22" y="18"/>
                        <a:pt x="22" y="18"/>
                        <a:pt x="22" y="18"/>
                      </a:cubicBezTo>
                      <a:cubicBezTo>
                        <a:pt x="22" y="18"/>
                        <a:pt x="21" y="18"/>
                        <a:pt x="21" y="18"/>
                      </a:cubicBezTo>
                      <a:cubicBezTo>
                        <a:pt x="21" y="18"/>
                        <a:pt x="20" y="18"/>
                        <a:pt x="21" y="18"/>
                      </a:cubicBezTo>
                      <a:cubicBezTo>
                        <a:pt x="21" y="18"/>
                        <a:pt x="21" y="18"/>
                        <a:pt x="21" y="18"/>
                      </a:cubicBezTo>
                      <a:cubicBezTo>
                        <a:pt x="22" y="18"/>
                        <a:pt x="22" y="18"/>
                        <a:pt x="23" y="18"/>
                      </a:cubicBezTo>
                      <a:cubicBezTo>
                        <a:pt x="23" y="18"/>
                        <a:pt x="23" y="18"/>
                        <a:pt x="23" y="18"/>
                      </a:cubicBezTo>
                      <a:cubicBezTo>
                        <a:pt x="23" y="18"/>
                        <a:pt x="23" y="18"/>
                        <a:pt x="23" y="18"/>
                      </a:cubicBezTo>
                      <a:cubicBezTo>
                        <a:pt x="23" y="18"/>
                        <a:pt x="23" y="18"/>
                        <a:pt x="23" y="19"/>
                      </a:cubicBezTo>
                      <a:cubicBezTo>
                        <a:pt x="24" y="19"/>
                        <a:pt x="24" y="19"/>
                        <a:pt x="24" y="19"/>
                      </a:cubicBezTo>
                      <a:cubicBezTo>
                        <a:pt x="24" y="19"/>
                        <a:pt x="24" y="19"/>
                        <a:pt x="24" y="19"/>
                      </a:cubicBezTo>
                      <a:cubicBezTo>
                        <a:pt x="24" y="19"/>
                        <a:pt x="24" y="19"/>
                        <a:pt x="24" y="18"/>
                      </a:cubicBezTo>
                      <a:cubicBezTo>
                        <a:pt x="24" y="18"/>
                        <a:pt x="24" y="18"/>
                        <a:pt x="24" y="18"/>
                      </a:cubicBezTo>
                      <a:cubicBezTo>
                        <a:pt x="24" y="18"/>
                        <a:pt x="24" y="18"/>
                        <a:pt x="24" y="17"/>
                      </a:cubicBezTo>
                      <a:cubicBezTo>
                        <a:pt x="24" y="18"/>
                        <a:pt x="24" y="18"/>
                        <a:pt x="24" y="18"/>
                      </a:cubicBezTo>
                      <a:cubicBezTo>
                        <a:pt x="24" y="18"/>
                        <a:pt x="24" y="18"/>
                        <a:pt x="24" y="18"/>
                      </a:cubicBezTo>
                      <a:cubicBezTo>
                        <a:pt x="24" y="19"/>
                        <a:pt x="25" y="19"/>
                        <a:pt x="25" y="19"/>
                      </a:cubicBezTo>
                      <a:cubicBezTo>
                        <a:pt x="25" y="18"/>
                        <a:pt x="25" y="18"/>
                        <a:pt x="25" y="18"/>
                      </a:cubicBezTo>
                      <a:cubicBezTo>
                        <a:pt x="26" y="18"/>
                        <a:pt x="26" y="17"/>
                        <a:pt x="26" y="17"/>
                      </a:cubicBezTo>
                      <a:cubicBezTo>
                        <a:pt x="26" y="17"/>
                        <a:pt x="26" y="17"/>
                        <a:pt x="26" y="17"/>
                      </a:cubicBezTo>
                      <a:cubicBezTo>
                        <a:pt x="26" y="17"/>
                        <a:pt x="25" y="17"/>
                        <a:pt x="25" y="17"/>
                      </a:cubicBezTo>
                      <a:cubicBezTo>
                        <a:pt x="25" y="17"/>
                        <a:pt x="25" y="17"/>
                        <a:pt x="25" y="17"/>
                      </a:cubicBezTo>
                      <a:cubicBezTo>
                        <a:pt x="25" y="16"/>
                        <a:pt x="25" y="16"/>
                        <a:pt x="25" y="16"/>
                      </a:cubicBezTo>
                      <a:cubicBezTo>
                        <a:pt x="25"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3" y="16"/>
                        <a:pt x="23" y="16"/>
                      </a:cubicBezTo>
                      <a:cubicBezTo>
                        <a:pt x="23" y="16"/>
                        <a:pt x="23" y="16"/>
                        <a:pt x="23" y="16"/>
                      </a:cubicBezTo>
                      <a:cubicBezTo>
                        <a:pt x="23" y="16"/>
                        <a:pt x="23" y="16"/>
                        <a:pt x="23" y="16"/>
                      </a:cubicBezTo>
                      <a:cubicBezTo>
                        <a:pt x="23" y="16"/>
                        <a:pt x="23" y="16"/>
                        <a:pt x="23" y="16"/>
                      </a:cubicBezTo>
                      <a:cubicBezTo>
                        <a:pt x="23" y="16"/>
                        <a:pt x="22" y="16"/>
                        <a:pt x="22" y="16"/>
                      </a:cubicBezTo>
                      <a:cubicBezTo>
                        <a:pt x="22" y="16"/>
                        <a:pt x="22" y="16"/>
                        <a:pt x="22" y="16"/>
                      </a:cubicBezTo>
                      <a:cubicBezTo>
                        <a:pt x="22" y="16"/>
                        <a:pt x="23" y="16"/>
                        <a:pt x="23" y="16"/>
                      </a:cubicBezTo>
                      <a:cubicBezTo>
                        <a:pt x="23" y="16"/>
                        <a:pt x="23" y="16"/>
                        <a:pt x="23" y="16"/>
                      </a:cubicBezTo>
                      <a:cubicBezTo>
                        <a:pt x="23" y="16"/>
                        <a:pt x="23" y="16"/>
                        <a:pt x="23" y="16"/>
                      </a:cubicBezTo>
                      <a:cubicBezTo>
                        <a:pt x="23" y="16"/>
                        <a:pt x="23" y="16"/>
                        <a:pt x="23" y="15"/>
                      </a:cubicBezTo>
                      <a:cubicBezTo>
                        <a:pt x="23" y="15"/>
                        <a:pt x="23" y="15"/>
                        <a:pt x="23" y="15"/>
                      </a:cubicBezTo>
                      <a:cubicBezTo>
                        <a:pt x="23" y="15"/>
                        <a:pt x="23" y="15"/>
                        <a:pt x="23" y="15"/>
                      </a:cubicBezTo>
                      <a:cubicBezTo>
                        <a:pt x="23" y="15"/>
                        <a:pt x="23" y="14"/>
                        <a:pt x="23" y="14"/>
                      </a:cubicBezTo>
                      <a:cubicBezTo>
                        <a:pt x="23" y="14"/>
                        <a:pt x="22" y="14"/>
                        <a:pt x="23" y="14"/>
                      </a:cubicBezTo>
                      <a:cubicBezTo>
                        <a:pt x="23" y="13"/>
                        <a:pt x="23" y="13"/>
                        <a:pt x="23" y="13"/>
                      </a:cubicBezTo>
                      <a:cubicBezTo>
                        <a:pt x="23" y="13"/>
                        <a:pt x="23" y="13"/>
                        <a:pt x="23" y="13"/>
                      </a:cubicBezTo>
                      <a:cubicBezTo>
                        <a:pt x="23" y="13"/>
                        <a:pt x="23" y="13"/>
                        <a:pt x="23" y="13"/>
                      </a:cubicBezTo>
                      <a:cubicBezTo>
                        <a:pt x="23" y="13"/>
                        <a:pt x="23" y="13"/>
                        <a:pt x="23" y="13"/>
                      </a:cubicBezTo>
                      <a:cubicBezTo>
                        <a:pt x="23" y="12"/>
                        <a:pt x="23" y="11"/>
                        <a:pt x="24" y="11"/>
                      </a:cubicBezTo>
                      <a:cubicBezTo>
                        <a:pt x="24" y="11"/>
                        <a:pt x="24" y="11"/>
                        <a:pt x="24" y="11"/>
                      </a:cubicBezTo>
                      <a:cubicBezTo>
                        <a:pt x="25" y="11"/>
                        <a:pt x="25" y="11"/>
                        <a:pt x="25" y="11"/>
                      </a:cubicBezTo>
                      <a:cubicBezTo>
                        <a:pt x="25" y="10"/>
                        <a:pt x="25" y="11"/>
                        <a:pt x="25" y="10"/>
                      </a:cubicBezTo>
                      <a:cubicBezTo>
                        <a:pt x="25" y="10"/>
                        <a:pt x="25" y="10"/>
                        <a:pt x="25" y="10"/>
                      </a:cubicBezTo>
                      <a:cubicBezTo>
                        <a:pt x="26" y="10"/>
                        <a:pt x="26" y="10"/>
                        <a:pt x="26" y="10"/>
                      </a:cubicBezTo>
                      <a:cubicBezTo>
                        <a:pt x="26" y="10"/>
                        <a:pt x="27" y="9"/>
                        <a:pt x="27" y="9"/>
                      </a:cubicBezTo>
                      <a:cubicBezTo>
                        <a:pt x="27" y="9"/>
                        <a:pt x="27" y="9"/>
                        <a:pt x="27" y="9"/>
                      </a:cubicBezTo>
                      <a:cubicBezTo>
                        <a:pt x="27" y="9"/>
                        <a:pt x="27" y="8"/>
                        <a:pt x="27" y="8"/>
                      </a:cubicBezTo>
                      <a:cubicBezTo>
                        <a:pt x="27" y="8"/>
                        <a:pt x="27" y="8"/>
                        <a:pt x="27" y="8"/>
                      </a:cubicBezTo>
                      <a:cubicBezTo>
                        <a:pt x="28" y="7"/>
                        <a:pt x="28" y="7"/>
                        <a:pt x="28" y="6"/>
                      </a:cubicBezTo>
                      <a:cubicBezTo>
                        <a:pt x="28" y="6"/>
                        <a:pt x="28" y="5"/>
                        <a:pt x="28" y="5"/>
                      </a:cubicBezTo>
                      <a:cubicBezTo>
                        <a:pt x="29" y="5"/>
                        <a:pt x="29" y="4"/>
                        <a:pt x="29" y="4"/>
                      </a:cubicBezTo>
                      <a:cubicBezTo>
                        <a:pt x="29" y="4"/>
                        <a:pt x="29" y="4"/>
                        <a:pt x="29" y="4"/>
                      </a:cubicBezTo>
                      <a:cubicBezTo>
                        <a:pt x="30" y="4"/>
                        <a:pt x="30" y="4"/>
                        <a:pt x="30" y="4"/>
                      </a:cubicBezTo>
                      <a:cubicBezTo>
                        <a:pt x="30" y="4"/>
                        <a:pt x="30" y="4"/>
                        <a:pt x="30" y="4"/>
                      </a:cubicBezTo>
                      <a:cubicBezTo>
                        <a:pt x="30" y="4"/>
                        <a:pt x="30" y="4"/>
                        <a:pt x="30" y="4"/>
                      </a:cubicBezTo>
                      <a:cubicBezTo>
                        <a:pt x="30" y="4"/>
                        <a:pt x="30" y="3"/>
                        <a:pt x="30" y="3"/>
                      </a:cubicBezTo>
                      <a:cubicBezTo>
                        <a:pt x="30" y="3"/>
                        <a:pt x="30" y="3"/>
                        <a:pt x="30" y="3"/>
                      </a:cubicBezTo>
                      <a:cubicBezTo>
                        <a:pt x="31" y="3"/>
                        <a:pt x="31" y="2"/>
                        <a:pt x="31" y="2"/>
                      </a:cubicBezTo>
                      <a:cubicBezTo>
                        <a:pt x="31" y="2"/>
                        <a:pt x="31" y="1"/>
                        <a:pt x="31" y="1"/>
                      </a:cubicBezTo>
                      <a:cubicBezTo>
                        <a:pt x="31" y="1"/>
                        <a:pt x="31" y="1"/>
                        <a:pt x="31" y="1"/>
                      </a:cubicBezTo>
                      <a:cubicBezTo>
                        <a:pt x="32" y="1"/>
                        <a:pt x="32" y="0"/>
                        <a:pt x="32" y="0"/>
                      </a:cubicBezTo>
                      <a:cubicBezTo>
                        <a:pt x="32" y="0"/>
                        <a:pt x="32" y="0"/>
                        <a:pt x="32" y="0"/>
                      </a:cubicBezTo>
                      <a:lnTo>
                        <a:pt x="31"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2" name="Freeform 732">
                  <a:extLst>
                    <a:ext uri="{FF2B5EF4-FFF2-40B4-BE49-F238E27FC236}">
                      <a16:creationId xmlns:a16="http://schemas.microsoft.com/office/drawing/2014/main" id="{8721F9C5-26C4-E8D5-8013-E8090CF4E3D7}"/>
                    </a:ext>
                  </a:extLst>
                </p:cNvPr>
                <p:cNvSpPr>
                  <a:spLocks noEditPoints="1"/>
                </p:cNvSpPr>
                <p:nvPr/>
              </p:nvSpPr>
              <p:spPr bwMode="auto">
                <a:xfrm>
                  <a:off x="10340975" y="6042025"/>
                  <a:ext cx="66675" cy="61913"/>
                </a:xfrm>
                <a:custGeom>
                  <a:avLst/>
                  <a:gdLst>
                    <a:gd name="T0" fmla="*/ 2 w 16"/>
                    <a:gd name="T1" fmla="*/ 2 h 15"/>
                    <a:gd name="T2" fmla="*/ 2 w 16"/>
                    <a:gd name="T3" fmla="*/ 3 h 15"/>
                    <a:gd name="T4" fmla="*/ 2 w 16"/>
                    <a:gd name="T5" fmla="*/ 3 h 15"/>
                    <a:gd name="T6" fmla="*/ 2 w 16"/>
                    <a:gd name="T7" fmla="*/ 3 h 15"/>
                    <a:gd name="T8" fmla="*/ 2 w 16"/>
                    <a:gd name="T9" fmla="*/ 3 h 15"/>
                    <a:gd name="T10" fmla="*/ 2 w 16"/>
                    <a:gd name="T11" fmla="*/ 3 h 15"/>
                    <a:gd name="T12" fmla="*/ 2 w 16"/>
                    <a:gd name="T13" fmla="*/ 3 h 15"/>
                    <a:gd name="T14" fmla="*/ 2 w 16"/>
                    <a:gd name="T15" fmla="*/ 2 h 15"/>
                    <a:gd name="T16" fmla="*/ 3 w 16"/>
                    <a:gd name="T17" fmla="*/ 0 h 15"/>
                    <a:gd name="T18" fmla="*/ 3 w 16"/>
                    <a:gd name="T19" fmla="*/ 0 h 15"/>
                    <a:gd name="T20" fmla="*/ 15 w 16"/>
                    <a:gd name="T21" fmla="*/ 4 h 15"/>
                    <a:gd name="T22" fmla="*/ 15 w 16"/>
                    <a:gd name="T23" fmla="*/ 3 h 15"/>
                    <a:gd name="T24" fmla="*/ 16 w 16"/>
                    <a:gd name="T25" fmla="*/ 3 h 15"/>
                    <a:gd name="T26" fmla="*/ 15 w 16"/>
                    <a:gd name="T27" fmla="*/ 2 h 15"/>
                    <a:gd name="T28" fmla="*/ 14 w 16"/>
                    <a:gd name="T29" fmla="*/ 3 h 15"/>
                    <a:gd name="T30" fmla="*/ 13 w 16"/>
                    <a:gd name="T31" fmla="*/ 3 h 15"/>
                    <a:gd name="T32" fmla="*/ 12 w 16"/>
                    <a:gd name="T33" fmla="*/ 4 h 15"/>
                    <a:gd name="T34" fmla="*/ 12 w 16"/>
                    <a:gd name="T35" fmla="*/ 5 h 15"/>
                    <a:gd name="T36" fmla="*/ 11 w 16"/>
                    <a:gd name="T37" fmla="*/ 6 h 15"/>
                    <a:gd name="T38" fmla="*/ 10 w 16"/>
                    <a:gd name="T39" fmla="*/ 6 h 15"/>
                    <a:gd name="T40" fmla="*/ 9 w 16"/>
                    <a:gd name="T41" fmla="*/ 6 h 15"/>
                    <a:gd name="T42" fmla="*/ 9 w 16"/>
                    <a:gd name="T43" fmla="*/ 6 h 15"/>
                    <a:gd name="T44" fmla="*/ 7 w 16"/>
                    <a:gd name="T45" fmla="*/ 5 h 15"/>
                    <a:gd name="T46" fmla="*/ 5 w 16"/>
                    <a:gd name="T47" fmla="*/ 4 h 15"/>
                    <a:gd name="T48" fmla="*/ 3 w 16"/>
                    <a:gd name="T49" fmla="*/ 3 h 15"/>
                    <a:gd name="T50" fmla="*/ 2 w 16"/>
                    <a:gd name="T51" fmla="*/ 3 h 15"/>
                    <a:gd name="T52" fmla="*/ 1 w 16"/>
                    <a:gd name="T53" fmla="*/ 3 h 15"/>
                    <a:gd name="T54" fmla="*/ 1 w 16"/>
                    <a:gd name="T55" fmla="*/ 2 h 15"/>
                    <a:gd name="T56" fmla="*/ 1 w 16"/>
                    <a:gd name="T57" fmla="*/ 1 h 15"/>
                    <a:gd name="T58" fmla="*/ 1 w 16"/>
                    <a:gd name="T59" fmla="*/ 1 h 15"/>
                    <a:gd name="T60" fmla="*/ 1 w 16"/>
                    <a:gd name="T61" fmla="*/ 2 h 15"/>
                    <a:gd name="T62" fmla="*/ 0 w 16"/>
                    <a:gd name="T63" fmla="*/ 1 h 15"/>
                    <a:gd name="T64" fmla="*/ 0 w 16"/>
                    <a:gd name="T65" fmla="*/ 2 h 15"/>
                    <a:gd name="T66" fmla="*/ 0 w 16"/>
                    <a:gd name="T67" fmla="*/ 3 h 15"/>
                    <a:gd name="T68" fmla="*/ 1 w 16"/>
                    <a:gd name="T69" fmla="*/ 4 h 15"/>
                    <a:gd name="T70" fmla="*/ 1 w 16"/>
                    <a:gd name="T71" fmla="*/ 5 h 15"/>
                    <a:gd name="T72" fmla="*/ 1 w 16"/>
                    <a:gd name="T73" fmla="*/ 6 h 15"/>
                    <a:gd name="T74" fmla="*/ 2 w 16"/>
                    <a:gd name="T75" fmla="*/ 7 h 15"/>
                    <a:gd name="T76" fmla="*/ 3 w 16"/>
                    <a:gd name="T77" fmla="*/ 8 h 15"/>
                    <a:gd name="T78" fmla="*/ 4 w 16"/>
                    <a:gd name="T79" fmla="*/ 9 h 15"/>
                    <a:gd name="T80" fmla="*/ 5 w 16"/>
                    <a:gd name="T81" fmla="*/ 9 h 15"/>
                    <a:gd name="T82" fmla="*/ 4 w 16"/>
                    <a:gd name="T83" fmla="*/ 11 h 15"/>
                    <a:gd name="T84" fmla="*/ 3 w 16"/>
                    <a:gd name="T85" fmla="*/ 13 h 15"/>
                    <a:gd name="T86" fmla="*/ 4 w 16"/>
                    <a:gd name="T87" fmla="*/ 14 h 15"/>
                    <a:gd name="T88" fmla="*/ 4 w 16"/>
                    <a:gd name="T89" fmla="*/ 15 h 15"/>
                    <a:gd name="T90" fmla="*/ 4 w 16"/>
                    <a:gd name="T91" fmla="*/ 14 h 15"/>
                    <a:gd name="T92" fmla="*/ 5 w 16"/>
                    <a:gd name="T93" fmla="*/ 13 h 15"/>
                    <a:gd name="T94" fmla="*/ 5 w 16"/>
                    <a:gd name="T95" fmla="*/ 13 h 15"/>
                    <a:gd name="T96" fmla="*/ 6 w 16"/>
                    <a:gd name="T97" fmla="*/ 13 h 15"/>
                    <a:gd name="T98" fmla="*/ 6 w 16"/>
                    <a:gd name="T99" fmla="*/ 12 h 15"/>
                    <a:gd name="T100" fmla="*/ 7 w 16"/>
                    <a:gd name="T101" fmla="*/ 12 h 15"/>
                    <a:gd name="T102" fmla="*/ 8 w 16"/>
                    <a:gd name="T103" fmla="*/ 12 h 15"/>
                    <a:gd name="T104" fmla="*/ 9 w 16"/>
                    <a:gd name="T105" fmla="*/ 11 h 15"/>
                    <a:gd name="T106" fmla="*/ 10 w 16"/>
                    <a:gd name="T107" fmla="*/ 10 h 15"/>
                    <a:gd name="T108" fmla="*/ 10 w 16"/>
                    <a:gd name="T109" fmla="*/ 10 h 15"/>
                    <a:gd name="T110" fmla="*/ 11 w 16"/>
                    <a:gd name="T111" fmla="*/ 9 h 15"/>
                    <a:gd name="T112" fmla="*/ 11 w 16"/>
                    <a:gd name="T113" fmla="*/ 8 h 15"/>
                    <a:gd name="T114" fmla="*/ 12 w 16"/>
                    <a:gd name="T115" fmla="*/ 7 h 15"/>
                    <a:gd name="T116" fmla="*/ 13 w 16"/>
                    <a:gd name="T117" fmla="*/ 6 h 15"/>
                    <a:gd name="T118" fmla="*/ 13 w 16"/>
                    <a:gd name="T119" fmla="*/ 6 h 15"/>
                    <a:gd name="T120" fmla="*/ 15 w 16"/>
                    <a:gd name="T1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5">
                      <a:moveTo>
                        <a:pt x="1" y="2"/>
                      </a:moveTo>
                      <a:cubicBezTo>
                        <a:pt x="1" y="2"/>
                        <a:pt x="1" y="2"/>
                        <a:pt x="1" y="2"/>
                      </a:cubicBezTo>
                      <a:cubicBezTo>
                        <a:pt x="1"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1" y="2"/>
                      </a:cubicBezTo>
                      <a:close/>
                      <a:moveTo>
                        <a:pt x="3" y="0"/>
                      </a:moveTo>
                      <a:cubicBezTo>
                        <a:pt x="3" y="0"/>
                        <a:pt x="3" y="0"/>
                        <a:pt x="3" y="0"/>
                      </a:cubicBezTo>
                      <a:cubicBezTo>
                        <a:pt x="3" y="0"/>
                        <a:pt x="3" y="0"/>
                        <a:pt x="3" y="0"/>
                      </a:cubicBezTo>
                      <a:cubicBezTo>
                        <a:pt x="3" y="0"/>
                        <a:pt x="3" y="0"/>
                        <a:pt x="3" y="0"/>
                      </a:cubicBezTo>
                      <a:cubicBezTo>
                        <a:pt x="3" y="0"/>
                        <a:pt x="3" y="0"/>
                        <a:pt x="3" y="0"/>
                      </a:cubicBezTo>
                      <a:close/>
                      <a:moveTo>
                        <a:pt x="15" y="4"/>
                      </a:moveTo>
                      <a:cubicBezTo>
                        <a:pt x="15" y="4"/>
                        <a:pt x="15" y="4"/>
                        <a:pt x="15" y="4"/>
                      </a:cubicBezTo>
                      <a:cubicBezTo>
                        <a:pt x="15" y="4"/>
                        <a:pt x="15" y="3"/>
                        <a:pt x="15" y="3"/>
                      </a:cubicBezTo>
                      <a:cubicBezTo>
                        <a:pt x="15" y="3"/>
                        <a:pt x="15" y="3"/>
                        <a:pt x="15" y="3"/>
                      </a:cubicBezTo>
                      <a:cubicBezTo>
                        <a:pt x="15" y="3"/>
                        <a:pt x="15" y="3"/>
                        <a:pt x="15" y="3"/>
                      </a:cubicBezTo>
                      <a:cubicBezTo>
                        <a:pt x="15" y="3"/>
                        <a:pt x="15" y="3"/>
                        <a:pt x="15" y="3"/>
                      </a:cubicBezTo>
                      <a:cubicBezTo>
                        <a:pt x="15" y="3"/>
                        <a:pt x="15" y="3"/>
                        <a:pt x="15" y="3"/>
                      </a:cubicBezTo>
                      <a:cubicBezTo>
                        <a:pt x="16" y="3"/>
                        <a:pt x="16" y="3"/>
                        <a:pt x="16" y="3"/>
                      </a:cubicBezTo>
                      <a:cubicBezTo>
                        <a:pt x="15" y="2"/>
                        <a:pt x="15" y="2"/>
                        <a:pt x="15" y="2"/>
                      </a:cubicBezTo>
                      <a:cubicBezTo>
                        <a:pt x="15" y="2"/>
                        <a:pt x="15" y="2"/>
                        <a:pt x="15" y="2"/>
                      </a:cubicBezTo>
                      <a:cubicBezTo>
                        <a:pt x="15" y="2"/>
                        <a:pt x="15" y="2"/>
                        <a:pt x="15" y="2"/>
                      </a:cubicBezTo>
                      <a:cubicBezTo>
                        <a:pt x="15" y="2"/>
                        <a:pt x="15" y="3"/>
                        <a:pt x="15"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3" y="3"/>
                      </a:cubicBezTo>
                      <a:cubicBezTo>
                        <a:pt x="13" y="4"/>
                        <a:pt x="13" y="4"/>
                        <a:pt x="13" y="4"/>
                      </a:cubicBezTo>
                      <a:cubicBezTo>
                        <a:pt x="13" y="4"/>
                        <a:pt x="12" y="4"/>
                        <a:pt x="13" y="4"/>
                      </a:cubicBezTo>
                      <a:cubicBezTo>
                        <a:pt x="12" y="4"/>
                        <a:pt x="12" y="4"/>
                        <a:pt x="12" y="4"/>
                      </a:cubicBezTo>
                      <a:cubicBezTo>
                        <a:pt x="12" y="5"/>
                        <a:pt x="12" y="5"/>
                        <a:pt x="12" y="5"/>
                      </a:cubicBezTo>
                      <a:cubicBezTo>
                        <a:pt x="12" y="5"/>
                        <a:pt x="12" y="5"/>
                        <a:pt x="12" y="5"/>
                      </a:cubicBezTo>
                      <a:cubicBezTo>
                        <a:pt x="12" y="5"/>
                        <a:pt x="12" y="5"/>
                        <a:pt x="12" y="5"/>
                      </a:cubicBezTo>
                      <a:cubicBezTo>
                        <a:pt x="12" y="5"/>
                        <a:pt x="11" y="5"/>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8" y="6"/>
                        <a:pt x="8" y="6"/>
                      </a:cubicBezTo>
                      <a:cubicBezTo>
                        <a:pt x="8" y="5"/>
                        <a:pt x="7" y="5"/>
                        <a:pt x="7" y="5"/>
                      </a:cubicBezTo>
                      <a:cubicBezTo>
                        <a:pt x="7" y="5"/>
                        <a:pt x="7" y="5"/>
                        <a:pt x="7" y="5"/>
                      </a:cubicBezTo>
                      <a:cubicBezTo>
                        <a:pt x="6" y="5"/>
                        <a:pt x="6" y="5"/>
                        <a:pt x="5" y="4"/>
                      </a:cubicBezTo>
                      <a:cubicBezTo>
                        <a:pt x="5" y="4"/>
                        <a:pt x="5" y="4"/>
                        <a:pt x="5" y="4"/>
                      </a:cubicBezTo>
                      <a:cubicBezTo>
                        <a:pt x="5" y="4"/>
                        <a:pt x="5" y="4"/>
                        <a:pt x="5" y="4"/>
                      </a:cubicBezTo>
                      <a:cubicBezTo>
                        <a:pt x="4" y="4"/>
                        <a:pt x="4" y="4"/>
                        <a:pt x="4" y="4"/>
                      </a:cubicBezTo>
                      <a:cubicBezTo>
                        <a:pt x="4" y="4"/>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1"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0"/>
                        <a:pt x="1" y="0"/>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0" y="2"/>
                        <a:pt x="0" y="2"/>
                      </a:cubicBezTo>
                      <a:cubicBezTo>
                        <a:pt x="0" y="2"/>
                        <a:pt x="0" y="1"/>
                        <a:pt x="0" y="1"/>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1" y="3"/>
                        <a:pt x="1" y="3"/>
                        <a:pt x="1" y="3"/>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6"/>
                        <a:pt x="1" y="6"/>
                      </a:cubicBezTo>
                      <a:cubicBezTo>
                        <a:pt x="1" y="6"/>
                        <a:pt x="1" y="6"/>
                        <a:pt x="1" y="6"/>
                      </a:cubicBezTo>
                      <a:cubicBezTo>
                        <a:pt x="1" y="6"/>
                        <a:pt x="2" y="6"/>
                        <a:pt x="2" y="6"/>
                      </a:cubicBezTo>
                      <a:cubicBezTo>
                        <a:pt x="2" y="6"/>
                        <a:pt x="2" y="6"/>
                        <a:pt x="2" y="6"/>
                      </a:cubicBezTo>
                      <a:cubicBezTo>
                        <a:pt x="2" y="7"/>
                        <a:pt x="2" y="7"/>
                        <a:pt x="2" y="7"/>
                      </a:cubicBezTo>
                      <a:cubicBezTo>
                        <a:pt x="2" y="8"/>
                        <a:pt x="2" y="8"/>
                        <a:pt x="2" y="8"/>
                      </a:cubicBezTo>
                      <a:cubicBezTo>
                        <a:pt x="2" y="8"/>
                        <a:pt x="3" y="8"/>
                        <a:pt x="3" y="8"/>
                      </a:cubicBezTo>
                      <a:cubicBezTo>
                        <a:pt x="3" y="8"/>
                        <a:pt x="3" y="8"/>
                        <a:pt x="3" y="8"/>
                      </a:cubicBezTo>
                      <a:cubicBezTo>
                        <a:pt x="3" y="8"/>
                        <a:pt x="3" y="8"/>
                        <a:pt x="3" y="8"/>
                      </a:cubicBezTo>
                      <a:cubicBezTo>
                        <a:pt x="3" y="8"/>
                        <a:pt x="3" y="8"/>
                        <a:pt x="4" y="8"/>
                      </a:cubicBezTo>
                      <a:cubicBezTo>
                        <a:pt x="4" y="8"/>
                        <a:pt x="4" y="9"/>
                        <a:pt x="4" y="9"/>
                      </a:cubicBezTo>
                      <a:cubicBezTo>
                        <a:pt x="4" y="9"/>
                        <a:pt x="4" y="9"/>
                        <a:pt x="4" y="9"/>
                      </a:cubicBezTo>
                      <a:cubicBezTo>
                        <a:pt x="4" y="9"/>
                        <a:pt x="4" y="9"/>
                        <a:pt x="4" y="9"/>
                      </a:cubicBezTo>
                      <a:cubicBezTo>
                        <a:pt x="4" y="9"/>
                        <a:pt x="5" y="9"/>
                        <a:pt x="5" y="9"/>
                      </a:cubicBezTo>
                      <a:cubicBezTo>
                        <a:pt x="5" y="9"/>
                        <a:pt x="5" y="9"/>
                        <a:pt x="5" y="9"/>
                      </a:cubicBezTo>
                      <a:cubicBezTo>
                        <a:pt x="5" y="10"/>
                        <a:pt x="5" y="10"/>
                        <a:pt x="5" y="10"/>
                      </a:cubicBezTo>
                      <a:cubicBezTo>
                        <a:pt x="4" y="11"/>
                        <a:pt x="4" y="11"/>
                        <a:pt x="4" y="11"/>
                      </a:cubicBezTo>
                      <a:cubicBezTo>
                        <a:pt x="4" y="12"/>
                        <a:pt x="4" y="12"/>
                        <a:pt x="4" y="12"/>
                      </a:cubicBezTo>
                      <a:cubicBezTo>
                        <a:pt x="3" y="13"/>
                        <a:pt x="3" y="13"/>
                        <a:pt x="3" y="13"/>
                      </a:cubicBezTo>
                      <a:cubicBezTo>
                        <a:pt x="3" y="13"/>
                        <a:pt x="3" y="13"/>
                        <a:pt x="3" y="13"/>
                      </a:cubicBezTo>
                      <a:cubicBezTo>
                        <a:pt x="3" y="14"/>
                        <a:pt x="3" y="14"/>
                        <a:pt x="3" y="14"/>
                      </a:cubicBezTo>
                      <a:cubicBezTo>
                        <a:pt x="3" y="14"/>
                        <a:pt x="3" y="14"/>
                        <a:pt x="3" y="14"/>
                      </a:cubicBezTo>
                      <a:cubicBezTo>
                        <a:pt x="4" y="14"/>
                        <a:pt x="4" y="14"/>
                        <a:pt x="4" y="14"/>
                      </a:cubicBezTo>
                      <a:cubicBezTo>
                        <a:pt x="4" y="14"/>
                        <a:pt x="4" y="14"/>
                        <a:pt x="4" y="14"/>
                      </a:cubicBezTo>
                      <a:cubicBezTo>
                        <a:pt x="4" y="14"/>
                        <a:pt x="4" y="15"/>
                        <a:pt x="4" y="15"/>
                      </a:cubicBezTo>
                      <a:cubicBezTo>
                        <a:pt x="4" y="15"/>
                        <a:pt x="4" y="15"/>
                        <a:pt x="4" y="15"/>
                      </a:cubicBezTo>
                      <a:cubicBezTo>
                        <a:pt x="4" y="15"/>
                        <a:pt x="4" y="14"/>
                        <a:pt x="4" y="14"/>
                      </a:cubicBezTo>
                      <a:cubicBezTo>
                        <a:pt x="4" y="14"/>
                        <a:pt x="4" y="14"/>
                        <a:pt x="4" y="14"/>
                      </a:cubicBezTo>
                      <a:cubicBezTo>
                        <a:pt x="4" y="14"/>
                        <a:pt x="4" y="14"/>
                        <a:pt x="4" y="14"/>
                      </a:cubicBezTo>
                      <a:cubicBezTo>
                        <a:pt x="4" y="14"/>
                        <a:pt x="4" y="14"/>
                        <a:pt x="4" y="14"/>
                      </a:cubicBezTo>
                      <a:cubicBezTo>
                        <a:pt x="4" y="14"/>
                        <a:pt x="5" y="14"/>
                        <a:pt x="5" y="14"/>
                      </a:cubicBezTo>
                      <a:cubicBezTo>
                        <a:pt x="5" y="14"/>
                        <a:pt x="5" y="13"/>
                        <a:pt x="5" y="13"/>
                      </a:cubicBezTo>
                      <a:cubicBezTo>
                        <a:pt x="5" y="13"/>
                        <a:pt x="5" y="13"/>
                        <a:pt x="5" y="13"/>
                      </a:cubicBezTo>
                      <a:cubicBezTo>
                        <a:pt x="5" y="13"/>
                        <a:pt x="5" y="13"/>
                        <a:pt x="5" y="13"/>
                      </a:cubicBezTo>
                      <a:cubicBezTo>
                        <a:pt x="5" y="13"/>
                        <a:pt x="5" y="13"/>
                        <a:pt x="5" y="13"/>
                      </a:cubicBezTo>
                      <a:cubicBezTo>
                        <a:pt x="5"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8" y="12"/>
                        <a:pt x="8" y="12"/>
                        <a:pt x="8" y="12"/>
                      </a:cubicBezTo>
                      <a:cubicBezTo>
                        <a:pt x="8" y="11"/>
                        <a:pt x="8" y="11"/>
                        <a:pt x="8" y="11"/>
                      </a:cubicBezTo>
                      <a:cubicBezTo>
                        <a:pt x="9" y="11"/>
                        <a:pt x="9" y="11"/>
                        <a:pt x="9" y="11"/>
                      </a:cubicBezTo>
                      <a:cubicBezTo>
                        <a:pt x="9" y="11"/>
                        <a:pt x="9" y="11"/>
                        <a:pt x="9" y="11"/>
                      </a:cubicBezTo>
                      <a:cubicBezTo>
                        <a:pt x="9" y="11"/>
                        <a:pt x="9" y="11"/>
                        <a:pt x="9" y="11"/>
                      </a:cubicBezTo>
                      <a:cubicBezTo>
                        <a:pt x="9" y="11"/>
                        <a:pt x="9" y="11"/>
                        <a:pt x="9" y="11"/>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1" y="9"/>
                        <a:pt x="11" y="9"/>
                      </a:cubicBezTo>
                      <a:cubicBezTo>
                        <a:pt x="11" y="9"/>
                        <a:pt x="11" y="9"/>
                        <a:pt x="11" y="9"/>
                      </a:cubicBezTo>
                      <a:cubicBezTo>
                        <a:pt x="11" y="9"/>
                        <a:pt x="11" y="9"/>
                        <a:pt x="11" y="9"/>
                      </a:cubicBezTo>
                      <a:cubicBezTo>
                        <a:pt x="11" y="8"/>
                        <a:pt x="11" y="8"/>
                        <a:pt x="11" y="8"/>
                      </a:cubicBezTo>
                      <a:cubicBezTo>
                        <a:pt x="11" y="8"/>
                        <a:pt x="11" y="8"/>
                        <a:pt x="11" y="8"/>
                      </a:cubicBezTo>
                      <a:cubicBezTo>
                        <a:pt x="11" y="8"/>
                        <a:pt x="11" y="8"/>
                        <a:pt x="11" y="8"/>
                      </a:cubicBezTo>
                      <a:cubicBezTo>
                        <a:pt x="11" y="8"/>
                        <a:pt x="12" y="8"/>
                        <a:pt x="12" y="8"/>
                      </a:cubicBezTo>
                      <a:cubicBezTo>
                        <a:pt x="12" y="8"/>
                        <a:pt x="12" y="8"/>
                        <a:pt x="12" y="8"/>
                      </a:cubicBezTo>
                      <a:cubicBezTo>
                        <a:pt x="12" y="8"/>
                        <a:pt x="12" y="7"/>
                        <a:pt x="12" y="7"/>
                      </a:cubicBezTo>
                      <a:cubicBezTo>
                        <a:pt x="12"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4" y="7"/>
                        <a:pt x="14" y="7"/>
                        <a:pt x="14" y="7"/>
                      </a:cubicBezTo>
                      <a:cubicBezTo>
                        <a:pt x="15" y="5"/>
                        <a:pt x="15" y="5"/>
                        <a:pt x="15" y="5"/>
                      </a:cubicBezTo>
                      <a:cubicBezTo>
                        <a:pt x="15" y="4"/>
                        <a:pt x="15" y="4"/>
                        <a:pt x="15" y="4"/>
                      </a:cubicBezTo>
                      <a:cubicBezTo>
                        <a:pt x="15" y="4"/>
                        <a:pt x="15" y="4"/>
                        <a:pt x="15"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3" name="Freeform 733">
                  <a:extLst>
                    <a:ext uri="{FF2B5EF4-FFF2-40B4-BE49-F238E27FC236}">
                      <a16:creationId xmlns:a16="http://schemas.microsoft.com/office/drawing/2014/main" id="{F1ED936F-BE28-9DD2-CA41-D0842DB00D61}"/>
                    </a:ext>
                  </a:extLst>
                </p:cNvPr>
                <p:cNvSpPr>
                  <a:spLocks noEditPoints="1"/>
                </p:cNvSpPr>
                <p:nvPr/>
              </p:nvSpPr>
              <p:spPr bwMode="auto">
                <a:xfrm>
                  <a:off x="10294938" y="6000750"/>
                  <a:ext cx="38100" cy="41275"/>
                </a:xfrm>
                <a:custGeom>
                  <a:avLst/>
                  <a:gdLst>
                    <a:gd name="T0" fmla="*/ 8 w 9"/>
                    <a:gd name="T1" fmla="*/ 1 h 10"/>
                    <a:gd name="T2" fmla="*/ 8 w 9"/>
                    <a:gd name="T3" fmla="*/ 0 h 10"/>
                    <a:gd name="T4" fmla="*/ 8 w 9"/>
                    <a:gd name="T5" fmla="*/ 0 h 10"/>
                    <a:gd name="T6" fmla="*/ 9 w 9"/>
                    <a:gd name="T7" fmla="*/ 1 h 10"/>
                    <a:gd name="T8" fmla="*/ 9 w 9"/>
                    <a:gd name="T9" fmla="*/ 1 h 10"/>
                    <a:gd name="T10" fmla="*/ 9 w 9"/>
                    <a:gd name="T11" fmla="*/ 2 h 10"/>
                    <a:gd name="T12" fmla="*/ 9 w 9"/>
                    <a:gd name="T13" fmla="*/ 2 h 10"/>
                    <a:gd name="T14" fmla="*/ 8 w 9"/>
                    <a:gd name="T15" fmla="*/ 1 h 10"/>
                    <a:gd name="T16" fmla="*/ 6 w 9"/>
                    <a:gd name="T17" fmla="*/ 1 h 10"/>
                    <a:gd name="T18" fmla="*/ 6 w 9"/>
                    <a:gd name="T19" fmla="*/ 1 h 10"/>
                    <a:gd name="T20" fmla="*/ 5 w 9"/>
                    <a:gd name="T21" fmla="*/ 6 h 10"/>
                    <a:gd name="T22" fmla="*/ 5 w 9"/>
                    <a:gd name="T23" fmla="*/ 6 h 10"/>
                    <a:gd name="T24" fmla="*/ 5 w 9"/>
                    <a:gd name="T25" fmla="*/ 5 h 10"/>
                    <a:gd name="T26" fmla="*/ 5 w 9"/>
                    <a:gd name="T27" fmla="*/ 6 h 10"/>
                    <a:gd name="T28" fmla="*/ 5 w 9"/>
                    <a:gd name="T29" fmla="*/ 3 h 10"/>
                    <a:gd name="T30" fmla="*/ 5 w 9"/>
                    <a:gd name="T31" fmla="*/ 3 h 10"/>
                    <a:gd name="T32" fmla="*/ 6 w 9"/>
                    <a:gd name="T33" fmla="*/ 6 h 10"/>
                    <a:gd name="T34" fmla="*/ 7 w 9"/>
                    <a:gd name="T35" fmla="*/ 6 h 10"/>
                    <a:gd name="T36" fmla="*/ 7 w 9"/>
                    <a:gd name="T37" fmla="*/ 6 h 10"/>
                    <a:gd name="T38" fmla="*/ 6 w 9"/>
                    <a:gd name="T39" fmla="*/ 6 h 10"/>
                    <a:gd name="T40" fmla="*/ 6 w 9"/>
                    <a:gd name="T41" fmla="*/ 6 h 10"/>
                    <a:gd name="T42" fmla="*/ 7 w 9"/>
                    <a:gd name="T43" fmla="*/ 7 h 10"/>
                    <a:gd name="T44" fmla="*/ 7 w 9"/>
                    <a:gd name="T45" fmla="*/ 6 h 10"/>
                    <a:gd name="T46" fmla="*/ 4 w 9"/>
                    <a:gd name="T47" fmla="*/ 4 h 10"/>
                    <a:gd name="T48" fmla="*/ 5 w 9"/>
                    <a:gd name="T49" fmla="*/ 10 h 10"/>
                    <a:gd name="T50" fmla="*/ 6 w 9"/>
                    <a:gd name="T51" fmla="*/ 9 h 10"/>
                    <a:gd name="T52" fmla="*/ 7 w 9"/>
                    <a:gd name="T53" fmla="*/ 9 h 10"/>
                    <a:gd name="T54" fmla="*/ 8 w 9"/>
                    <a:gd name="T55" fmla="*/ 8 h 10"/>
                    <a:gd name="T56" fmla="*/ 7 w 9"/>
                    <a:gd name="T57" fmla="*/ 7 h 10"/>
                    <a:gd name="T58" fmla="*/ 6 w 9"/>
                    <a:gd name="T59" fmla="*/ 7 h 10"/>
                    <a:gd name="T60" fmla="*/ 5 w 9"/>
                    <a:gd name="T61" fmla="*/ 7 h 10"/>
                    <a:gd name="T62" fmla="*/ 5 w 9"/>
                    <a:gd name="T63" fmla="*/ 7 h 10"/>
                    <a:gd name="T64" fmla="*/ 4 w 9"/>
                    <a:gd name="T65" fmla="*/ 6 h 10"/>
                    <a:gd name="T66" fmla="*/ 4 w 9"/>
                    <a:gd name="T67" fmla="*/ 6 h 10"/>
                    <a:gd name="T68" fmla="*/ 4 w 9"/>
                    <a:gd name="T69" fmla="*/ 6 h 10"/>
                    <a:gd name="T70" fmla="*/ 4 w 9"/>
                    <a:gd name="T71" fmla="*/ 4 h 10"/>
                    <a:gd name="T72" fmla="*/ 4 w 9"/>
                    <a:gd name="T73" fmla="*/ 4 h 10"/>
                    <a:gd name="T74" fmla="*/ 4 w 9"/>
                    <a:gd name="T75" fmla="*/ 3 h 10"/>
                    <a:gd name="T76" fmla="*/ 4 w 9"/>
                    <a:gd name="T77" fmla="*/ 3 h 10"/>
                    <a:gd name="T78" fmla="*/ 5 w 9"/>
                    <a:gd name="T79" fmla="*/ 2 h 10"/>
                    <a:gd name="T80" fmla="*/ 4 w 9"/>
                    <a:gd name="T81" fmla="*/ 2 h 10"/>
                    <a:gd name="T82" fmla="*/ 4 w 9"/>
                    <a:gd name="T83" fmla="*/ 2 h 10"/>
                    <a:gd name="T84" fmla="*/ 3 w 9"/>
                    <a:gd name="T85" fmla="*/ 1 h 10"/>
                    <a:gd name="T86" fmla="*/ 2 w 9"/>
                    <a:gd name="T87" fmla="*/ 1 h 10"/>
                    <a:gd name="T88" fmla="*/ 1 w 9"/>
                    <a:gd name="T89" fmla="*/ 2 h 10"/>
                    <a:gd name="T90" fmla="*/ 1 w 9"/>
                    <a:gd name="T91" fmla="*/ 2 h 10"/>
                    <a:gd name="T92" fmla="*/ 2 w 9"/>
                    <a:gd name="T93" fmla="*/ 3 h 10"/>
                    <a:gd name="T94" fmla="*/ 2 w 9"/>
                    <a:gd name="T95" fmla="*/ 3 h 10"/>
                    <a:gd name="T96" fmla="*/ 1 w 9"/>
                    <a:gd name="T97" fmla="*/ 4 h 10"/>
                    <a:gd name="T98" fmla="*/ 1 w 9"/>
                    <a:gd name="T99" fmla="*/ 3 h 10"/>
                    <a:gd name="T100" fmla="*/ 0 w 9"/>
                    <a:gd name="T101" fmla="*/ 3 h 10"/>
                    <a:gd name="T102" fmla="*/ 2 w 9"/>
                    <a:gd name="T103" fmla="*/ 6 h 10"/>
                    <a:gd name="T104" fmla="*/ 2 w 9"/>
                    <a:gd name="T105" fmla="*/ 8 h 10"/>
                    <a:gd name="T106" fmla="*/ 3 w 9"/>
                    <a:gd name="T107" fmla="*/ 8 h 10"/>
                    <a:gd name="T108" fmla="*/ 4 w 9"/>
                    <a:gd name="T109" fmla="*/ 7 h 10"/>
                    <a:gd name="T110" fmla="*/ 4 w 9"/>
                    <a:gd name="T111" fmla="*/ 8 h 10"/>
                    <a:gd name="T112" fmla="*/ 5 w 9"/>
                    <a:gd name="T113" fmla="*/ 8 h 10"/>
                    <a:gd name="T114" fmla="*/ 4 w 9"/>
                    <a:gd name="T115" fmla="*/ 8 h 10"/>
                    <a:gd name="T116" fmla="*/ 3 w 9"/>
                    <a:gd name="T117" fmla="*/ 9 h 10"/>
                    <a:gd name="T118" fmla="*/ 3 w 9"/>
                    <a:gd name="T119" fmla="*/ 8 h 10"/>
                    <a:gd name="T120" fmla="*/ 3 w 9"/>
                    <a:gd name="T121" fmla="*/ 8 h 10"/>
                    <a:gd name="T122" fmla="*/ 4 w 9"/>
                    <a:gd name="T1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 h="10">
                      <a:moveTo>
                        <a:pt x="8" y="1"/>
                      </a:move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9" y="0"/>
                        <a:pt x="8" y="0"/>
                        <a:pt x="8" y="0"/>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1"/>
                        <a:pt x="8" y="1"/>
                        <a:pt x="8" y="1"/>
                      </a:cubicBezTo>
                      <a:cubicBezTo>
                        <a:pt x="8" y="1"/>
                        <a:pt x="8" y="1"/>
                        <a:pt x="8" y="1"/>
                      </a:cubicBezTo>
                      <a:cubicBezTo>
                        <a:pt x="8" y="1"/>
                        <a:pt x="8" y="1"/>
                        <a:pt x="8" y="1"/>
                      </a:cubicBezTo>
                      <a:close/>
                      <a:moveTo>
                        <a:pt x="6" y="1"/>
                      </a:moveTo>
                      <a:cubicBezTo>
                        <a:pt x="6" y="1"/>
                        <a:pt x="6" y="1"/>
                        <a:pt x="6" y="1"/>
                      </a:cubicBezTo>
                      <a:cubicBezTo>
                        <a:pt x="6" y="1"/>
                        <a:pt x="6" y="1"/>
                        <a:pt x="6" y="1"/>
                      </a:cubicBezTo>
                      <a:cubicBezTo>
                        <a:pt x="6" y="1"/>
                        <a:pt x="6" y="1"/>
                        <a:pt x="6" y="1"/>
                      </a:cubicBezTo>
                      <a:cubicBezTo>
                        <a:pt x="6" y="1"/>
                        <a:pt x="6" y="1"/>
                        <a:pt x="6" y="1"/>
                      </a:cubicBezTo>
                      <a:close/>
                      <a:moveTo>
                        <a:pt x="5" y="6"/>
                      </a:move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5"/>
                      </a:cubicBezTo>
                      <a:cubicBezTo>
                        <a:pt x="5" y="5"/>
                        <a:pt x="5" y="6"/>
                        <a:pt x="5" y="6"/>
                      </a:cubicBezTo>
                      <a:cubicBezTo>
                        <a:pt x="5" y="6"/>
                        <a:pt x="5" y="6"/>
                        <a:pt x="5" y="6"/>
                      </a:cubicBezTo>
                      <a:cubicBezTo>
                        <a:pt x="5" y="6"/>
                        <a:pt x="5" y="6"/>
                        <a:pt x="5" y="6"/>
                      </a:cubicBezTo>
                      <a:cubicBezTo>
                        <a:pt x="5" y="6"/>
                        <a:pt x="5" y="6"/>
                        <a:pt x="5" y="6"/>
                      </a:cubicBezTo>
                      <a:cubicBezTo>
                        <a:pt x="5" y="6"/>
                        <a:pt x="5" y="6"/>
                        <a:pt x="5" y="6"/>
                      </a:cubicBezTo>
                      <a:close/>
                      <a:moveTo>
                        <a:pt x="5" y="3"/>
                      </a:moveTo>
                      <a:cubicBezTo>
                        <a:pt x="5" y="3"/>
                        <a:pt x="5" y="3"/>
                        <a:pt x="5" y="3"/>
                      </a:cubicBezTo>
                      <a:cubicBezTo>
                        <a:pt x="5" y="3"/>
                        <a:pt x="5" y="3"/>
                        <a:pt x="5" y="3"/>
                      </a:cubicBezTo>
                      <a:cubicBezTo>
                        <a:pt x="5" y="3"/>
                        <a:pt x="5" y="3"/>
                        <a:pt x="5" y="3"/>
                      </a:cubicBezTo>
                      <a:cubicBezTo>
                        <a:pt x="5" y="3"/>
                        <a:pt x="5" y="3"/>
                        <a:pt x="5" y="3"/>
                      </a:cubicBezTo>
                      <a:close/>
                      <a:moveTo>
                        <a:pt x="6" y="6"/>
                      </a:moveTo>
                      <a:cubicBezTo>
                        <a:pt x="6" y="6"/>
                        <a:pt x="6" y="6"/>
                        <a:pt x="6" y="6"/>
                      </a:cubicBezTo>
                      <a:cubicBezTo>
                        <a:pt x="6" y="6"/>
                        <a:pt x="6" y="6"/>
                        <a:pt x="6" y="6"/>
                      </a:cubicBezTo>
                      <a:cubicBezTo>
                        <a:pt x="6" y="6"/>
                        <a:pt x="6" y="6"/>
                        <a:pt x="6" y="6"/>
                      </a:cubicBezTo>
                      <a:cubicBezTo>
                        <a:pt x="6" y="6"/>
                        <a:pt x="6" y="6"/>
                        <a:pt x="7" y="6"/>
                      </a:cubicBezTo>
                      <a:cubicBezTo>
                        <a:pt x="7" y="6"/>
                        <a:pt x="7" y="6"/>
                        <a:pt x="7" y="6"/>
                      </a:cubicBezTo>
                      <a:cubicBezTo>
                        <a:pt x="7" y="6"/>
                        <a:pt x="7" y="6"/>
                        <a:pt x="7" y="6"/>
                      </a:cubicBezTo>
                      <a:cubicBezTo>
                        <a:pt x="7" y="6"/>
                        <a:pt x="7" y="6"/>
                        <a:pt x="7" y="6"/>
                      </a:cubicBezTo>
                      <a:cubicBezTo>
                        <a:pt x="7" y="5"/>
                        <a:pt x="7" y="5"/>
                        <a:pt x="7" y="6"/>
                      </a:cubicBezTo>
                      <a:cubicBezTo>
                        <a:pt x="7" y="6"/>
                        <a:pt x="7" y="6"/>
                        <a:pt x="7"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lose/>
                      <a:moveTo>
                        <a:pt x="7" y="6"/>
                      </a:moveTo>
                      <a:cubicBezTo>
                        <a:pt x="7" y="6"/>
                        <a:pt x="7" y="7"/>
                        <a:pt x="7" y="7"/>
                      </a:cubicBezTo>
                      <a:cubicBezTo>
                        <a:pt x="7" y="7"/>
                        <a:pt x="7" y="7"/>
                        <a:pt x="7" y="7"/>
                      </a:cubicBezTo>
                      <a:cubicBezTo>
                        <a:pt x="7" y="7"/>
                        <a:pt x="7" y="7"/>
                        <a:pt x="7" y="7"/>
                      </a:cubicBezTo>
                      <a:cubicBezTo>
                        <a:pt x="7" y="7"/>
                        <a:pt x="7" y="6"/>
                        <a:pt x="7" y="6"/>
                      </a:cubicBezTo>
                      <a:close/>
                      <a:moveTo>
                        <a:pt x="4" y="4"/>
                      </a:moveTo>
                      <a:cubicBezTo>
                        <a:pt x="4" y="4"/>
                        <a:pt x="4" y="4"/>
                        <a:pt x="4" y="4"/>
                      </a:cubicBezTo>
                      <a:cubicBezTo>
                        <a:pt x="4" y="4"/>
                        <a:pt x="4" y="4"/>
                        <a:pt x="4" y="4"/>
                      </a:cubicBezTo>
                      <a:cubicBezTo>
                        <a:pt x="4" y="4"/>
                        <a:pt x="4" y="4"/>
                        <a:pt x="4" y="4"/>
                      </a:cubicBezTo>
                      <a:close/>
                      <a:moveTo>
                        <a:pt x="4" y="9"/>
                      </a:moveTo>
                      <a:cubicBezTo>
                        <a:pt x="5" y="10"/>
                        <a:pt x="5" y="10"/>
                        <a:pt x="5" y="10"/>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7" y="9"/>
                        <a:pt x="7" y="9"/>
                        <a:pt x="7" y="9"/>
                      </a:cubicBezTo>
                      <a:cubicBezTo>
                        <a:pt x="7" y="8"/>
                        <a:pt x="7" y="8"/>
                        <a:pt x="7" y="8"/>
                      </a:cubicBezTo>
                      <a:cubicBezTo>
                        <a:pt x="7" y="9"/>
                        <a:pt x="7" y="9"/>
                        <a:pt x="7" y="9"/>
                      </a:cubicBezTo>
                      <a:cubicBezTo>
                        <a:pt x="8" y="8"/>
                        <a:pt x="8" y="8"/>
                        <a:pt x="8" y="8"/>
                      </a:cubicBezTo>
                      <a:cubicBezTo>
                        <a:pt x="8" y="8"/>
                        <a:pt x="8" y="8"/>
                        <a:pt x="8" y="8"/>
                      </a:cubicBezTo>
                      <a:cubicBezTo>
                        <a:pt x="8" y="8"/>
                        <a:pt x="8" y="8"/>
                        <a:pt x="8" y="8"/>
                      </a:cubicBezTo>
                      <a:cubicBezTo>
                        <a:pt x="8"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5" y="7"/>
                      </a:cubicBezTo>
                      <a:cubicBezTo>
                        <a:pt x="5" y="7"/>
                        <a:pt x="5" y="7"/>
                        <a:pt x="5" y="7"/>
                      </a:cubicBezTo>
                      <a:cubicBezTo>
                        <a:pt x="5" y="7"/>
                        <a:pt x="5" y="7"/>
                        <a:pt x="5" y="7"/>
                      </a:cubicBezTo>
                      <a:cubicBezTo>
                        <a:pt x="5" y="7"/>
                        <a:pt x="5" y="7"/>
                        <a:pt x="5" y="7"/>
                      </a:cubicBezTo>
                      <a:cubicBezTo>
                        <a:pt x="5" y="7"/>
                        <a:pt x="5" y="7"/>
                        <a:pt x="5" y="7"/>
                      </a:cubicBezTo>
                      <a:cubicBezTo>
                        <a:pt x="5" y="6"/>
                        <a:pt x="5" y="6"/>
                        <a:pt x="5"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2"/>
                        <a:pt x="4" y="2"/>
                      </a:cubicBezTo>
                      <a:cubicBezTo>
                        <a:pt x="4" y="2"/>
                        <a:pt x="5" y="3"/>
                        <a:pt x="5" y="2"/>
                      </a:cubicBezTo>
                      <a:cubicBezTo>
                        <a:pt x="5" y="2"/>
                        <a:pt x="5" y="2"/>
                        <a:pt x="4" y="2"/>
                      </a:cubicBezTo>
                      <a:cubicBezTo>
                        <a:pt x="4" y="2"/>
                        <a:pt x="4" y="2"/>
                        <a:pt x="4" y="2"/>
                      </a:cubicBezTo>
                      <a:cubicBezTo>
                        <a:pt x="4" y="2"/>
                        <a:pt x="4" y="2"/>
                        <a:pt x="4" y="2"/>
                      </a:cubicBezTo>
                      <a:cubicBezTo>
                        <a:pt x="4" y="2"/>
                        <a:pt x="4" y="2"/>
                        <a:pt x="4" y="2"/>
                      </a:cubicBezTo>
                      <a:cubicBezTo>
                        <a:pt x="4" y="2"/>
                        <a:pt x="4" y="2"/>
                        <a:pt x="4" y="2"/>
                      </a:cubicBezTo>
                      <a:cubicBezTo>
                        <a:pt x="5" y="2"/>
                        <a:pt x="4" y="2"/>
                        <a:pt x="4" y="2"/>
                      </a:cubicBezTo>
                      <a:cubicBezTo>
                        <a:pt x="4" y="1"/>
                        <a:pt x="4" y="1"/>
                        <a:pt x="4" y="1"/>
                      </a:cubicBezTo>
                      <a:cubicBezTo>
                        <a:pt x="4" y="1"/>
                        <a:pt x="3" y="1"/>
                        <a:pt x="3" y="0"/>
                      </a:cubicBezTo>
                      <a:cubicBezTo>
                        <a:pt x="3" y="1"/>
                        <a:pt x="3" y="1"/>
                        <a:pt x="3" y="1"/>
                      </a:cubicBezTo>
                      <a:cubicBezTo>
                        <a:pt x="3" y="1"/>
                        <a:pt x="3" y="1"/>
                        <a:pt x="3" y="1"/>
                      </a:cubicBezTo>
                      <a:cubicBezTo>
                        <a:pt x="3" y="1"/>
                        <a:pt x="3" y="1"/>
                        <a:pt x="3" y="1"/>
                      </a:cubicBezTo>
                      <a:cubicBezTo>
                        <a:pt x="3" y="1"/>
                        <a:pt x="2" y="1"/>
                        <a:pt x="2" y="1"/>
                      </a:cubicBezTo>
                      <a:cubicBezTo>
                        <a:pt x="2" y="1"/>
                        <a:pt x="2" y="1"/>
                        <a:pt x="2" y="1"/>
                      </a:cubicBezTo>
                      <a:cubicBezTo>
                        <a:pt x="2" y="1"/>
                        <a:pt x="2" y="2"/>
                        <a:pt x="2" y="2"/>
                      </a:cubicBezTo>
                      <a:cubicBezTo>
                        <a:pt x="2" y="2"/>
                        <a:pt x="1" y="2"/>
                        <a:pt x="1" y="2"/>
                      </a:cubicBezTo>
                      <a:cubicBezTo>
                        <a:pt x="1" y="2"/>
                        <a:pt x="1" y="2"/>
                        <a:pt x="1" y="2"/>
                      </a:cubicBezTo>
                      <a:cubicBezTo>
                        <a:pt x="1" y="2"/>
                        <a:pt x="1" y="2"/>
                        <a:pt x="1" y="2"/>
                      </a:cubicBezTo>
                      <a:cubicBezTo>
                        <a:pt x="1" y="2"/>
                        <a:pt x="1" y="2"/>
                        <a:pt x="1" y="2"/>
                      </a:cubicBezTo>
                      <a:cubicBezTo>
                        <a:pt x="1" y="2"/>
                        <a:pt x="1" y="2"/>
                        <a:pt x="1" y="2"/>
                      </a:cubicBezTo>
                      <a:cubicBezTo>
                        <a:pt x="1"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5"/>
                      </a:cubicBezTo>
                      <a:cubicBezTo>
                        <a:pt x="2" y="5"/>
                        <a:pt x="1" y="4"/>
                        <a:pt x="1" y="4"/>
                      </a:cubicBezTo>
                      <a:cubicBezTo>
                        <a:pt x="2" y="4"/>
                        <a:pt x="1" y="4"/>
                        <a:pt x="1" y="4"/>
                      </a:cubicBezTo>
                      <a:cubicBezTo>
                        <a:pt x="1" y="4"/>
                        <a:pt x="1" y="4"/>
                        <a:pt x="1" y="4"/>
                      </a:cubicBezTo>
                      <a:cubicBezTo>
                        <a:pt x="1" y="3"/>
                        <a:pt x="1" y="3"/>
                        <a:pt x="1" y="3"/>
                      </a:cubicBezTo>
                      <a:cubicBezTo>
                        <a:pt x="0" y="3"/>
                        <a:pt x="0" y="3"/>
                        <a:pt x="0" y="3"/>
                      </a:cubicBezTo>
                      <a:cubicBezTo>
                        <a:pt x="0" y="3"/>
                        <a:pt x="0" y="3"/>
                        <a:pt x="0" y="3"/>
                      </a:cubicBezTo>
                      <a:cubicBezTo>
                        <a:pt x="0" y="3"/>
                        <a:pt x="0" y="3"/>
                        <a:pt x="0" y="3"/>
                      </a:cubicBezTo>
                      <a:cubicBezTo>
                        <a:pt x="0" y="3"/>
                        <a:pt x="0" y="4"/>
                        <a:pt x="0" y="4"/>
                      </a:cubicBezTo>
                      <a:cubicBezTo>
                        <a:pt x="1" y="4"/>
                        <a:pt x="1" y="5"/>
                        <a:pt x="1" y="5"/>
                      </a:cubicBezTo>
                      <a:cubicBezTo>
                        <a:pt x="1" y="6"/>
                        <a:pt x="2" y="6"/>
                        <a:pt x="2" y="6"/>
                      </a:cubicBezTo>
                      <a:cubicBezTo>
                        <a:pt x="2" y="6"/>
                        <a:pt x="2" y="6"/>
                        <a:pt x="2" y="6"/>
                      </a:cubicBezTo>
                      <a:cubicBezTo>
                        <a:pt x="2" y="7"/>
                        <a:pt x="2" y="7"/>
                        <a:pt x="2" y="7"/>
                      </a:cubicBezTo>
                      <a:cubicBezTo>
                        <a:pt x="2" y="7"/>
                        <a:pt x="2" y="7"/>
                        <a:pt x="2" y="8"/>
                      </a:cubicBezTo>
                      <a:cubicBezTo>
                        <a:pt x="2" y="8"/>
                        <a:pt x="2" y="8"/>
                        <a:pt x="2" y="8"/>
                      </a:cubicBezTo>
                      <a:cubicBezTo>
                        <a:pt x="2" y="8"/>
                        <a:pt x="3" y="8"/>
                        <a:pt x="3" y="8"/>
                      </a:cubicBezTo>
                      <a:cubicBezTo>
                        <a:pt x="3" y="8"/>
                        <a:pt x="3" y="8"/>
                        <a:pt x="3" y="8"/>
                      </a:cubicBezTo>
                      <a:cubicBezTo>
                        <a:pt x="3" y="8"/>
                        <a:pt x="3" y="8"/>
                        <a:pt x="3" y="7"/>
                      </a:cubicBezTo>
                      <a:cubicBezTo>
                        <a:pt x="3" y="7"/>
                        <a:pt x="3" y="7"/>
                        <a:pt x="3" y="7"/>
                      </a:cubicBezTo>
                      <a:cubicBezTo>
                        <a:pt x="3" y="7"/>
                        <a:pt x="3" y="7"/>
                        <a:pt x="4" y="7"/>
                      </a:cubicBezTo>
                      <a:cubicBezTo>
                        <a:pt x="4" y="7"/>
                        <a:pt x="4" y="7"/>
                        <a:pt x="4" y="7"/>
                      </a:cubicBezTo>
                      <a:cubicBezTo>
                        <a:pt x="4" y="7"/>
                        <a:pt x="4" y="7"/>
                        <a:pt x="4" y="7"/>
                      </a:cubicBezTo>
                      <a:cubicBezTo>
                        <a:pt x="4" y="7"/>
                        <a:pt x="4" y="7"/>
                        <a:pt x="4" y="8"/>
                      </a:cubicBezTo>
                      <a:cubicBezTo>
                        <a:pt x="4" y="8"/>
                        <a:pt x="4" y="8"/>
                        <a:pt x="4" y="8"/>
                      </a:cubicBezTo>
                      <a:cubicBezTo>
                        <a:pt x="4"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9"/>
                        <a:pt x="4" y="9"/>
                      </a:cubicBezTo>
                      <a:cubicBezTo>
                        <a:pt x="4" y="9"/>
                        <a:pt x="4" y="9"/>
                        <a:pt x="4" y="9"/>
                      </a:cubicBezTo>
                      <a:cubicBezTo>
                        <a:pt x="4" y="9"/>
                        <a:pt x="4"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10"/>
                      </a:cubicBezTo>
                      <a:cubicBezTo>
                        <a:pt x="4" y="10"/>
                        <a:pt x="4" y="10"/>
                        <a:pt x="4" y="10"/>
                      </a:cubicBezTo>
                      <a:lnTo>
                        <a:pt x="4"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4" name="Freeform 734">
                  <a:extLst>
                    <a:ext uri="{FF2B5EF4-FFF2-40B4-BE49-F238E27FC236}">
                      <a16:creationId xmlns:a16="http://schemas.microsoft.com/office/drawing/2014/main" id="{DB9E8F1B-5BEB-7B6D-BD39-92B948594399}"/>
                    </a:ext>
                  </a:extLst>
                </p:cNvPr>
                <p:cNvSpPr>
                  <a:spLocks/>
                </p:cNvSpPr>
                <p:nvPr/>
              </p:nvSpPr>
              <p:spPr bwMode="auto">
                <a:xfrm>
                  <a:off x="10253663" y="5942013"/>
                  <a:ext cx="53975" cy="69850"/>
                </a:xfrm>
                <a:custGeom>
                  <a:avLst/>
                  <a:gdLst>
                    <a:gd name="T0" fmla="*/ 13 w 13"/>
                    <a:gd name="T1" fmla="*/ 15 h 17"/>
                    <a:gd name="T2" fmla="*/ 13 w 13"/>
                    <a:gd name="T3" fmla="*/ 14 h 17"/>
                    <a:gd name="T4" fmla="*/ 12 w 13"/>
                    <a:gd name="T5" fmla="*/ 12 h 17"/>
                    <a:gd name="T6" fmla="*/ 11 w 13"/>
                    <a:gd name="T7" fmla="*/ 11 h 17"/>
                    <a:gd name="T8" fmla="*/ 12 w 13"/>
                    <a:gd name="T9" fmla="*/ 12 h 17"/>
                    <a:gd name="T10" fmla="*/ 12 w 13"/>
                    <a:gd name="T11" fmla="*/ 10 h 17"/>
                    <a:gd name="T12" fmla="*/ 12 w 13"/>
                    <a:gd name="T13" fmla="*/ 10 h 17"/>
                    <a:gd name="T14" fmla="*/ 12 w 13"/>
                    <a:gd name="T15" fmla="*/ 9 h 17"/>
                    <a:gd name="T16" fmla="*/ 11 w 13"/>
                    <a:gd name="T17" fmla="*/ 8 h 17"/>
                    <a:gd name="T18" fmla="*/ 11 w 13"/>
                    <a:gd name="T19" fmla="*/ 7 h 17"/>
                    <a:gd name="T20" fmla="*/ 10 w 13"/>
                    <a:gd name="T21" fmla="*/ 7 h 17"/>
                    <a:gd name="T22" fmla="*/ 10 w 13"/>
                    <a:gd name="T23" fmla="*/ 7 h 17"/>
                    <a:gd name="T24" fmla="*/ 10 w 13"/>
                    <a:gd name="T25" fmla="*/ 8 h 17"/>
                    <a:gd name="T26" fmla="*/ 10 w 13"/>
                    <a:gd name="T27" fmla="*/ 7 h 17"/>
                    <a:gd name="T28" fmla="*/ 9 w 13"/>
                    <a:gd name="T29" fmla="*/ 7 h 17"/>
                    <a:gd name="T30" fmla="*/ 9 w 13"/>
                    <a:gd name="T31" fmla="*/ 6 h 17"/>
                    <a:gd name="T32" fmla="*/ 9 w 13"/>
                    <a:gd name="T33" fmla="*/ 6 h 17"/>
                    <a:gd name="T34" fmla="*/ 8 w 13"/>
                    <a:gd name="T35" fmla="*/ 5 h 17"/>
                    <a:gd name="T36" fmla="*/ 7 w 13"/>
                    <a:gd name="T37" fmla="*/ 5 h 17"/>
                    <a:gd name="T38" fmla="*/ 6 w 13"/>
                    <a:gd name="T39" fmla="*/ 5 h 17"/>
                    <a:gd name="T40" fmla="*/ 6 w 13"/>
                    <a:gd name="T41" fmla="*/ 5 h 17"/>
                    <a:gd name="T42" fmla="*/ 5 w 13"/>
                    <a:gd name="T43" fmla="*/ 5 h 17"/>
                    <a:gd name="T44" fmla="*/ 5 w 13"/>
                    <a:gd name="T45" fmla="*/ 4 h 17"/>
                    <a:gd name="T46" fmla="*/ 4 w 13"/>
                    <a:gd name="T47" fmla="*/ 4 h 17"/>
                    <a:gd name="T48" fmla="*/ 4 w 13"/>
                    <a:gd name="T49" fmla="*/ 5 h 17"/>
                    <a:gd name="T50" fmla="*/ 4 w 13"/>
                    <a:gd name="T51" fmla="*/ 4 h 17"/>
                    <a:gd name="T52" fmla="*/ 3 w 13"/>
                    <a:gd name="T53" fmla="*/ 3 h 17"/>
                    <a:gd name="T54" fmla="*/ 2 w 13"/>
                    <a:gd name="T55" fmla="*/ 2 h 17"/>
                    <a:gd name="T56" fmla="*/ 2 w 13"/>
                    <a:gd name="T57" fmla="*/ 2 h 17"/>
                    <a:gd name="T58" fmla="*/ 2 w 13"/>
                    <a:gd name="T59" fmla="*/ 2 h 17"/>
                    <a:gd name="T60" fmla="*/ 2 w 13"/>
                    <a:gd name="T61" fmla="*/ 1 h 17"/>
                    <a:gd name="T62" fmla="*/ 2 w 13"/>
                    <a:gd name="T63" fmla="*/ 1 h 17"/>
                    <a:gd name="T64" fmla="*/ 2 w 13"/>
                    <a:gd name="T65" fmla="*/ 0 h 17"/>
                    <a:gd name="T66" fmla="*/ 0 w 13"/>
                    <a:gd name="T67" fmla="*/ 0 h 17"/>
                    <a:gd name="T68" fmla="*/ 1 w 13"/>
                    <a:gd name="T69" fmla="*/ 2 h 17"/>
                    <a:gd name="T70" fmla="*/ 3 w 13"/>
                    <a:gd name="T71" fmla="*/ 4 h 17"/>
                    <a:gd name="T72" fmla="*/ 3 w 13"/>
                    <a:gd name="T73" fmla="*/ 6 h 17"/>
                    <a:gd name="T74" fmla="*/ 4 w 13"/>
                    <a:gd name="T75" fmla="*/ 8 h 17"/>
                    <a:gd name="T76" fmla="*/ 4 w 13"/>
                    <a:gd name="T77" fmla="*/ 9 h 17"/>
                    <a:gd name="T78" fmla="*/ 5 w 13"/>
                    <a:gd name="T79" fmla="*/ 9 h 17"/>
                    <a:gd name="T80" fmla="*/ 6 w 13"/>
                    <a:gd name="T81" fmla="*/ 8 h 17"/>
                    <a:gd name="T82" fmla="*/ 5 w 13"/>
                    <a:gd name="T83" fmla="*/ 9 h 17"/>
                    <a:gd name="T84" fmla="*/ 5 w 13"/>
                    <a:gd name="T85" fmla="*/ 10 h 17"/>
                    <a:gd name="T86" fmla="*/ 7 w 13"/>
                    <a:gd name="T87" fmla="*/ 13 h 17"/>
                    <a:gd name="T88" fmla="*/ 10 w 13"/>
                    <a:gd name="T89" fmla="*/ 16 h 17"/>
                    <a:gd name="T90" fmla="*/ 9 w 13"/>
                    <a:gd name="T91" fmla="*/ 14 h 17"/>
                    <a:gd name="T92" fmla="*/ 10 w 13"/>
                    <a:gd name="T93" fmla="*/ 15 h 17"/>
                    <a:gd name="T94" fmla="*/ 11 w 13"/>
                    <a:gd name="T95" fmla="*/ 15 h 17"/>
                    <a:gd name="T96" fmla="*/ 11 w 13"/>
                    <a:gd name="T97" fmla="*/ 15 h 17"/>
                    <a:gd name="T98" fmla="*/ 11 w 13"/>
                    <a:gd name="T99" fmla="*/ 15 h 17"/>
                    <a:gd name="T100" fmla="*/ 12 w 13"/>
                    <a:gd name="T10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 h="17">
                      <a:moveTo>
                        <a:pt x="12" y="15"/>
                      </a:moveTo>
                      <a:cubicBezTo>
                        <a:pt x="12" y="15"/>
                        <a:pt x="12" y="15"/>
                        <a:pt x="12" y="15"/>
                      </a:cubicBezTo>
                      <a:cubicBezTo>
                        <a:pt x="12" y="15"/>
                        <a:pt x="13" y="15"/>
                        <a:pt x="13" y="15"/>
                      </a:cubicBezTo>
                      <a:cubicBezTo>
                        <a:pt x="13" y="15"/>
                        <a:pt x="13" y="15"/>
                        <a:pt x="13" y="15"/>
                      </a:cubicBezTo>
                      <a:cubicBezTo>
                        <a:pt x="13" y="15"/>
                        <a:pt x="13" y="15"/>
                        <a:pt x="13" y="15"/>
                      </a:cubicBezTo>
                      <a:cubicBezTo>
                        <a:pt x="13" y="14"/>
                        <a:pt x="13" y="14"/>
                        <a:pt x="13" y="14"/>
                      </a:cubicBezTo>
                      <a:cubicBezTo>
                        <a:pt x="13" y="14"/>
                        <a:pt x="13" y="14"/>
                        <a:pt x="13" y="14"/>
                      </a:cubicBezTo>
                      <a:cubicBezTo>
                        <a:pt x="13" y="14"/>
                        <a:pt x="13" y="14"/>
                        <a:pt x="13" y="14"/>
                      </a:cubicBezTo>
                      <a:cubicBezTo>
                        <a:pt x="13" y="14"/>
                        <a:pt x="13" y="14"/>
                        <a:pt x="13" y="14"/>
                      </a:cubicBezTo>
                      <a:cubicBezTo>
                        <a:pt x="12" y="13"/>
                        <a:pt x="12" y="13"/>
                        <a:pt x="12" y="12"/>
                      </a:cubicBezTo>
                      <a:cubicBezTo>
                        <a:pt x="12" y="12"/>
                        <a:pt x="12" y="12"/>
                        <a:pt x="12" y="12"/>
                      </a:cubicBezTo>
                      <a:cubicBezTo>
                        <a:pt x="12" y="12"/>
                        <a:pt x="12" y="12"/>
                        <a:pt x="12" y="12"/>
                      </a:cubicBezTo>
                      <a:cubicBezTo>
                        <a:pt x="12" y="12"/>
                        <a:pt x="12" y="12"/>
                        <a:pt x="12" y="12"/>
                      </a:cubicBezTo>
                      <a:cubicBezTo>
                        <a:pt x="12" y="12"/>
                        <a:pt x="12" y="12"/>
                        <a:pt x="11" y="12"/>
                      </a:cubicBezTo>
                      <a:cubicBezTo>
                        <a:pt x="11" y="12"/>
                        <a:pt x="11" y="12"/>
                        <a:pt x="11" y="12"/>
                      </a:cubicBezTo>
                      <a:cubicBezTo>
                        <a:pt x="11" y="12"/>
                        <a:pt x="11" y="12"/>
                        <a:pt x="11" y="11"/>
                      </a:cubicBezTo>
                      <a:cubicBezTo>
                        <a:pt x="11" y="11"/>
                        <a:pt x="11" y="11"/>
                        <a:pt x="11" y="11"/>
                      </a:cubicBezTo>
                      <a:cubicBezTo>
                        <a:pt x="12" y="11"/>
                        <a:pt x="12" y="11"/>
                        <a:pt x="12" y="11"/>
                      </a:cubicBezTo>
                      <a:cubicBezTo>
                        <a:pt x="12" y="11"/>
                        <a:pt x="12" y="11"/>
                        <a:pt x="12" y="11"/>
                      </a:cubicBezTo>
                      <a:cubicBezTo>
                        <a:pt x="12" y="11"/>
                        <a:pt x="12" y="12"/>
                        <a:pt x="12" y="12"/>
                      </a:cubicBezTo>
                      <a:cubicBezTo>
                        <a:pt x="12" y="12"/>
                        <a:pt x="13" y="12"/>
                        <a:pt x="13" y="12"/>
                      </a:cubicBezTo>
                      <a:cubicBezTo>
                        <a:pt x="13" y="12"/>
                        <a:pt x="13" y="12"/>
                        <a:pt x="13" y="12"/>
                      </a:cubicBezTo>
                      <a:cubicBezTo>
                        <a:pt x="13" y="11"/>
                        <a:pt x="13" y="11"/>
                        <a:pt x="13" y="11"/>
                      </a:cubicBezTo>
                      <a:cubicBezTo>
                        <a:pt x="12" y="11"/>
                        <a:pt x="12" y="11"/>
                        <a:pt x="12" y="10"/>
                      </a:cubicBezTo>
                      <a:cubicBezTo>
                        <a:pt x="12" y="10"/>
                        <a:pt x="12" y="10"/>
                        <a:pt x="12" y="10"/>
                      </a:cubicBezTo>
                      <a:cubicBezTo>
                        <a:pt x="12" y="10"/>
                        <a:pt x="13" y="10"/>
                        <a:pt x="13" y="10"/>
                      </a:cubicBezTo>
                      <a:cubicBezTo>
                        <a:pt x="13" y="10"/>
                        <a:pt x="13" y="10"/>
                        <a:pt x="12" y="10"/>
                      </a:cubicBezTo>
                      <a:cubicBezTo>
                        <a:pt x="12" y="10"/>
                        <a:pt x="12" y="10"/>
                        <a:pt x="12" y="10"/>
                      </a:cubicBezTo>
                      <a:cubicBezTo>
                        <a:pt x="12" y="10"/>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1" y="9"/>
                        <a:pt x="11" y="9"/>
                      </a:cubicBezTo>
                      <a:cubicBezTo>
                        <a:pt x="11" y="9"/>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1" y="8"/>
                        <a:pt x="11" y="8"/>
                        <a:pt x="11" y="7"/>
                      </a:cubicBezTo>
                      <a:cubicBezTo>
                        <a:pt x="11" y="7"/>
                        <a:pt x="11" y="7"/>
                        <a:pt x="11" y="7"/>
                      </a:cubicBezTo>
                      <a:cubicBezTo>
                        <a:pt x="11" y="7"/>
                        <a:pt x="11" y="7"/>
                        <a:pt x="11" y="7"/>
                      </a:cubicBezTo>
                      <a:cubicBezTo>
                        <a:pt x="11" y="7"/>
                        <a:pt x="11" y="7"/>
                        <a:pt x="11" y="7"/>
                      </a:cubicBezTo>
                      <a:cubicBezTo>
                        <a:pt x="11"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7"/>
                        <a:pt x="10" y="7"/>
                        <a:pt x="10" y="6"/>
                      </a:cubicBezTo>
                      <a:cubicBezTo>
                        <a:pt x="10" y="6"/>
                        <a:pt x="10" y="6"/>
                        <a:pt x="10" y="6"/>
                      </a:cubicBezTo>
                      <a:cubicBezTo>
                        <a:pt x="10" y="6"/>
                        <a:pt x="9" y="6"/>
                        <a:pt x="9" y="6"/>
                      </a:cubicBezTo>
                      <a:cubicBezTo>
                        <a:pt x="9" y="6"/>
                        <a:pt x="9" y="6"/>
                        <a:pt x="9" y="6"/>
                      </a:cubicBezTo>
                      <a:cubicBezTo>
                        <a:pt x="9" y="6"/>
                        <a:pt x="9" y="5"/>
                        <a:pt x="8" y="5"/>
                      </a:cubicBezTo>
                      <a:cubicBezTo>
                        <a:pt x="8" y="5"/>
                        <a:pt x="8" y="5"/>
                        <a:pt x="8" y="5"/>
                      </a:cubicBezTo>
                      <a:cubicBezTo>
                        <a:pt x="8" y="5"/>
                        <a:pt x="8" y="5"/>
                        <a:pt x="8" y="5"/>
                      </a:cubicBezTo>
                      <a:cubicBezTo>
                        <a:pt x="8" y="5"/>
                        <a:pt x="8" y="5"/>
                        <a:pt x="8" y="5"/>
                      </a:cubicBezTo>
                      <a:cubicBezTo>
                        <a:pt x="8" y="5"/>
                        <a:pt x="7" y="5"/>
                        <a:pt x="7" y="5"/>
                      </a:cubicBezTo>
                      <a:cubicBezTo>
                        <a:pt x="7" y="5"/>
                        <a:pt x="8" y="5"/>
                        <a:pt x="7" y="5"/>
                      </a:cubicBezTo>
                      <a:cubicBezTo>
                        <a:pt x="7" y="5"/>
                        <a:pt x="7" y="6"/>
                        <a:pt x="7" y="6"/>
                      </a:cubicBezTo>
                      <a:cubicBezTo>
                        <a:pt x="7" y="6"/>
                        <a:pt x="7" y="5"/>
                        <a:pt x="7" y="5"/>
                      </a:cubicBezTo>
                      <a:cubicBezTo>
                        <a:pt x="7" y="5"/>
                        <a:pt x="7" y="5"/>
                        <a:pt x="7" y="5"/>
                      </a:cubicBezTo>
                      <a:cubicBezTo>
                        <a:pt x="7" y="5"/>
                        <a:pt x="7" y="5"/>
                        <a:pt x="7" y="5"/>
                      </a:cubicBezTo>
                      <a:cubicBezTo>
                        <a:pt x="7" y="5"/>
                        <a:pt x="7" y="5"/>
                        <a:pt x="7" y="5"/>
                      </a:cubicBezTo>
                      <a:cubicBezTo>
                        <a:pt x="6" y="5"/>
                        <a:pt x="6" y="5"/>
                        <a:pt x="6" y="5"/>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5" y="5"/>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4" y="4"/>
                      </a:cubicBezTo>
                      <a:cubicBezTo>
                        <a:pt x="4" y="4"/>
                        <a:pt x="4" y="4"/>
                        <a:pt x="4" y="4"/>
                      </a:cubicBezTo>
                      <a:cubicBezTo>
                        <a:pt x="4" y="4"/>
                        <a:pt x="4" y="5"/>
                        <a:pt x="5" y="5"/>
                      </a:cubicBezTo>
                      <a:cubicBezTo>
                        <a:pt x="5"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3" y="4"/>
                        <a:pt x="3" y="4"/>
                        <a:pt x="3" y="4"/>
                      </a:cubicBezTo>
                      <a:cubicBezTo>
                        <a:pt x="3" y="4"/>
                        <a:pt x="3" y="3"/>
                        <a:pt x="3" y="3"/>
                      </a:cubicBezTo>
                      <a:cubicBezTo>
                        <a:pt x="3" y="3"/>
                        <a:pt x="3" y="3"/>
                        <a:pt x="3" y="3"/>
                      </a:cubicBezTo>
                      <a:cubicBezTo>
                        <a:pt x="3" y="3"/>
                        <a:pt x="3" y="4"/>
                        <a:pt x="3" y="4"/>
                      </a:cubicBezTo>
                      <a:cubicBezTo>
                        <a:pt x="3" y="3"/>
                        <a:pt x="3" y="3"/>
                        <a:pt x="3" y="3"/>
                      </a:cubicBezTo>
                      <a:cubicBezTo>
                        <a:pt x="3" y="3"/>
                        <a:pt x="3" y="2"/>
                        <a:pt x="2" y="2"/>
                      </a:cubicBezTo>
                      <a:cubicBezTo>
                        <a:pt x="2" y="2"/>
                        <a:pt x="2" y="2"/>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0"/>
                        <a:pt x="2" y="0"/>
                        <a:pt x="2" y="0"/>
                      </a:cubicBezTo>
                      <a:cubicBezTo>
                        <a:pt x="2" y="0"/>
                        <a:pt x="1" y="0"/>
                        <a:pt x="1" y="0"/>
                      </a:cubicBezTo>
                      <a:cubicBezTo>
                        <a:pt x="1" y="0"/>
                        <a:pt x="1" y="1"/>
                        <a:pt x="1" y="1"/>
                      </a:cubicBezTo>
                      <a:cubicBezTo>
                        <a:pt x="1" y="0"/>
                        <a:pt x="0" y="0"/>
                        <a:pt x="0" y="0"/>
                      </a:cubicBezTo>
                      <a:cubicBezTo>
                        <a:pt x="0" y="0"/>
                        <a:pt x="0" y="0"/>
                        <a:pt x="0" y="0"/>
                      </a:cubicBezTo>
                      <a:cubicBezTo>
                        <a:pt x="0" y="0"/>
                        <a:pt x="0" y="0"/>
                        <a:pt x="0" y="1"/>
                      </a:cubicBezTo>
                      <a:cubicBezTo>
                        <a:pt x="0" y="1"/>
                        <a:pt x="0" y="1"/>
                        <a:pt x="0" y="1"/>
                      </a:cubicBezTo>
                      <a:cubicBezTo>
                        <a:pt x="0" y="1"/>
                        <a:pt x="1" y="1"/>
                        <a:pt x="1" y="2"/>
                      </a:cubicBezTo>
                      <a:cubicBezTo>
                        <a:pt x="1" y="2"/>
                        <a:pt x="1" y="2"/>
                        <a:pt x="1" y="2"/>
                      </a:cubicBezTo>
                      <a:cubicBezTo>
                        <a:pt x="1" y="2"/>
                        <a:pt x="2" y="2"/>
                        <a:pt x="2" y="3"/>
                      </a:cubicBezTo>
                      <a:cubicBezTo>
                        <a:pt x="2" y="3"/>
                        <a:pt x="2" y="3"/>
                        <a:pt x="2" y="3"/>
                      </a:cubicBezTo>
                      <a:cubicBezTo>
                        <a:pt x="2" y="3"/>
                        <a:pt x="2" y="3"/>
                        <a:pt x="2" y="3"/>
                      </a:cubicBezTo>
                      <a:cubicBezTo>
                        <a:pt x="2" y="3"/>
                        <a:pt x="3" y="4"/>
                        <a:pt x="3" y="4"/>
                      </a:cubicBezTo>
                      <a:cubicBezTo>
                        <a:pt x="3" y="5"/>
                        <a:pt x="3" y="5"/>
                        <a:pt x="3" y="5"/>
                      </a:cubicBezTo>
                      <a:cubicBezTo>
                        <a:pt x="3" y="6"/>
                        <a:pt x="4" y="6"/>
                        <a:pt x="3" y="6"/>
                      </a:cubicBezTo>
                      <a:cubicBezTo>
                        <a:pt x="3" y="6"/>
                        <a:pt x="3" y="6"/>
                        <a:pt x="3" y="6"/>
                      </a:cubicBezTo>
                      <a:cubicBezTo>
                        <a:pt x="3" y="6"/>
                        <a:pt x="3" y="6"/>
                        <a:pt x="3" y="6"/>
                      </a:cubicBezTo>
                      <a:cubicBezTo>
                        <a:pt x="3" y="7"/>
                        <a:pt x="3" y="7"/>
                        <a:pt x="3" y="7"/>
                      </a:cubicBezTo>
                      <a:cubicBezTo>
                        <a:pt x="3" y="7"/>
                        <a:pt x="3" y="7"/>
                        <a:pt x="3" y="7"/>
                      </a:cubicBezTo>
                      <a:cubicBezTo>
                        <a:pt x="3" y="7"/>
                        <a:pt x="3" y="7"/>
                        <a:pt x="3" y="7"/>
                      </a:cubicBezTo>
                      <a:cubicBezTo>
                        <a:pt x="3" y="8"/>
                        <a:pt x="3" y="8"/>
                        <a:pt x="4" y="8"/>
                      </a:cubicBezTo>
                      <a:cubicBezTo>
                        <a:pt x="4" y="8"/>
                        <a:pt x="4" y="8"/>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5" y="9"/>
                        <a:pt x="5" y="9"/>
                      </a:cubicBezTo>
                      <a:cubicBezTo>
                        <a:pt x="5" y="9"/>
                        <a:pt x="5" y="9"/>
                        <a:pt x="5" y="9"/>
                      </a:cubicBezTo>
                      <a:cubicBezTo>
                        <a:pt x="5" y="9"/>
                        <a:pt x="5" y="9"/>
                        <a:pt x="5" y="9"/>
                      </a:cubicBezTo>
                      <a:cubicBezTo>
                        <a:pt x="5" y="9"/>
                        <a:pt x="5" y="8"/>
                        <a:pt x="5" y="8"/>
                      </a:cubicBezTo>
                      <a:cubicBezTo>
                        <a:pt x="5" y="8"/>
                        <a:pt x="6" y="8"/>
                        <a:pt x="6" y="8"/>
                      </a:cubicBezTo>
                      <a:cubicBezTo>
                        <a:pt x="6" y="8"/>
                        <a:pt x="6" y="8"/>
                        <a:pt x="6" y="8"/>
                      </a:cubicBezTo>
                      <a:cubicBezTo>
                        <a:pt x="6" y="8"/>
                        <a:pt x="6" y="8"/>
                        <a:pt x="5" y="8"/>
                      </a:cubicBezTo>
                      <a:cubicBezTo>
                        <a:pt x="5" y="8"/>
                        <a:pt x="5" y="8"/>
                        <a:pt x="5" y="9"/>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5" y="10"/>
                        <a:pt x="5" y="10"/>
                        <a:pt x="6" y="11"/>
                      </a:cubicBezTo>
                      <a:cubicBezTo>
                        <a:pt x="6" y="11"/>
                        <a:pt x="6" y="11"/>
                        <a:pt x="6" y="11"/>
                      </a:cubicBezTo>
                      <a:cubicBezTo>
                        <a:pt x="6" y="11"/>
                        <a:pt x="7" y="12"/>
                        <a:pt x="7" y="13"/>
                      </a:cubicBezTo>
                      <a:cubicBezTo>
                        <a:pt x="8" y="13"/>
                        <a:pt x="8" y="14"/>
                        <a:pt x="9" y="15"/>
                      </a:cubicBezTo>
                      <a:cubicBezTo>
                        <a:pt x="9" y="15"/>
                        <a:pt x="9" y="16"/>
                        <a:pt x="9" y="16"/>
                      </a:cubicBezTo>
                      <a:cubicBezTo>
                        <a:pt x="9" y="17"/>
                        <a:pt x="9" y="17"/>
                        <a:pt x="10" y="17"/>
                      </a:cubicBezTo>
                      <a:cubicBezTo>
                        <a:pt x="10" y="16"/>
                        <a:pt x="10" y="16"/>
                        <a:pt x="10" y="16"/>
                      </a:cubicBezTo>
                      <a:cubicBezTo>
                        <a:pt x="10" y="16"/>
                        <a:pt x="10" y="15"/>
                        <a:pt x="10" y="15"/>
                      </a:cubicBezTo>
                      <a:cubicBezTo>
                        <a:pt x="10" y="15"/>
                        <a:pt x="10" y="15"/>
                        <a:pt x="10" y="15"/>
                      </a:cubicBezTo>
                      <a:cubicBezTo>
                        <a:pt x="9" y="15"/>
                        <a:pt x="9" y="15"/>
                        <a:pt x="9" y="14"/>
                      </a:cubicBezTo>
                      <a:cubicBezTo>
                        <a:pt x="9" y="14"/>
                        <a:pt x="9" y="14"/>
                        <a:pt x="9" y="14"/>
                      </a:cubicBezTo>
                      <a:cubicBezTo>
                        <a:pt x="9" y="14"/>
                        <a:pt x="9" y="14"/>
                        <a:pt x="9" y="14"/>
                      </a:cubicBezTo>
                      <a:cubicBezTo>
                        <a:pt x="9" y="15"/>
                        <a:pt x="9" y="15"/>
                        <a:pt x="10" y="15"/>
                      </a:cubicBezTo>
                      <a:cubicBezTo>
                        <a:pt x="10" y="15"/>
                        <a:pt x="10" y="15"/>
                        <a:pt x="10" y="15"/>
                      </a:cubicBezTo>
                      <a:cubicBezTo>
                        <a:pt x="10" y="15"/>
                        <a:pt x="10" y="15"/>
                        <a:pt x="10" y="15"/>
                      </a:cubicBezTo>
                      <a:cubicBezTo>
                        <a:pt x="10" y="15"/>
                        <a:pt x="11" y="15"/>
                        <a:pt x="11" y="15"/>
                      </a:cubicBezTo>
                      <a:cubicBezTo>
                        <a:pt x="11" y="15"/>
                        <a:pt x="11" y="15"/>
                        <a:pt x="11" y="15"/>
                      </a:cubicBezTo>
                      <a:cubicBezTo>
                        <a:pt x="11" y="15"/>
                        <a:pt x="11" y="15"/>
                        <a:pt x="11" y="15"/>
                      </a:cubicBezTo>
                      <a:cubicBezTo>
                        <a:pt x="11" y="15"/>
                        <a:pt x="11" y="15"/>
                        <a:pt x="11" y="15"/>
                      </a:cubicBezTo>
                      <a:cubicBezTo>
                        <a:pt x="11" y="15"/>
                        <a:pt x="10" y="15"/>
                        <a:pt x="10" y="15"/>
                      </a:cubicBezTo>
                      <a:cubicBezTo>
                        <a:pt x="10" y="15"/>
                        <a:pt x="10" y="14"/>
                        <a:pt x="10" y="14"/>
                      </a:cubicBezTo>
                      <a:cubicBezTo>
                        <a:pt x="10" y="14"/>
                        <a:pt x="11" y="14"/>
                        <a:pt x="11" y="14"/>
                      </a:cubicBezTo>
                      <a:cubicBezTo>
                        <a:pt x="11" y="15"/>
                        <a:pt x="11" y="15"/>
                        <a:pt x="11" y="15"/>
                      </a:cubicBezTo>
                      <a:cubicBezTo>
                        <a:pt x="11" y="15"/>
                        <a:pt x="11" y="15"/>
                        <a:pt x="11" y="15"/>
                      </a:cubicBezTo>
                      <a:cubicBezTo>
                        <a:pt x="11" y="15"/>
                        <a:pt x="11" y="15"/>
                        <a:pt x="11" y="15"/>
                      </a:cubicBezTo>
                      <a:cubicBezTo>
                        <a:pt x="11" y="15"/>
                        <a:pt x="11" y="15"/>
                        <a:pt x="11" y="16"/>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2" y="16"/>
                        <a:pt x="12" y="16"/>
                      </a:cubicBezTo>
                      <a:cubicBezTo>
                        <a:pt x="12" y="16"/>
                        <a:pt x="12" y="15"/>
                        <a:pt x="12"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4" name="Group 333">
                <a:extLst>
                  <a:ext uri="{FF2B5EF4-FFF2-40B4-BE49-F238E27FC236}">
                    <a16:creationId xmlns:a16="http://schemas.microsoft.com/office/drawing/2014/main" id="{EB305030-69FB-6853-7ABC-4068A320433B}"/>
                  </a:ext>
                </a:extLst>
              </p:cNvPr>
              <p:cNvGrpSpPr/>
              <p:nvPr/>
            </p:nvGrpSpPr>
            <p:grpSpPr>
              <a:xfrm>
                <a:off x="9766300" y="5083175"/>
                <a:ext cx="736600" cy="474663"/>
                <a:chOff x="9766300" y="5083175"/>
                <a:chExt cx="736600" cy="474663"/>
              </a:xfrm>
              <a:grpFill/>
            </p:grpSpPr>
            <p:sp>
              <p:nvSpPr>
                <p:cNvPr id="344" name="Freeform 695">
                  <a:extLst>
                    <a:ext uri="{FF2B5EF4-FFF2-40B4-BE49-F238E27FC236}">
                      <a16:creationId xmlns:a16="http://schemas.microsoft.com/office/drawing/2014/main" id="{6E09A193-3A36-319E-F69C-97D6A173E098}"/>
                    </a:ext>
                  </a:extLst>
                </p:cNvPr>
                <p:cNvSpPr>
                  <a:spLocks noEditPoints="1"/>
                </p:cNvSpPr>
                <p:nvPr/>
              </p:nvSpPr>
              <p:spPr bwMode="auto">
                <a:xfrm>
                  <a:off x="10079038" y="5270500"/>
                  <a:ext cx="95250" cy="212725"/>
                </a:xfrm>
                <a:custGeom>
                  <a:avLst/>
                  <a:gdLst>
                    <a:gd name="T0" fmla="*/ 2 w 23"/>
                    <a:gd name="T1" fmla="*/ 15 h 51"/>
                    <a:gd name="T2" fmla="*/ 3 w 23"/>
                    <a:gd name="T3" fmla="*/ 13 h 51"/>
                    <a:gd name="T4" fmla="*/ 4 w 23"/>
                    <a:gd name="T5" fmla="*/ 16 h 51"/>
                    <a:gd name="T6" fmla="*/ 4 w 23"/>
                    <a:gd name="T7" fmla="*/ 18 h 51"/>
                    <a:gd name="T8" fmla="*/ 1 w 23"/>
                    <a:gd name="T9" fmla="*/ 18 h 51"/>
                    <a:gd name="T10" fmla="*/ 0 w 23"/>
                    <a:gd name="T11" fmla="*/ 14 h 51"/>
                    <a:gd name="T12" fmla="*/ 0 w 23"/>
                    <a:gd name="T13" fmla="*/ 11 h 51"/>
                    <a:gd name="T14" fmla="*/ 8 w 23"/>
                    <a:gd name="T15" fmla="*/ 24 h 51"/>
                    <a:gd name="T16" fmla="*/ 7 w 23"/>
                    <a:gd name="T17" fmla="*/ 22 h 51"/>
                    <a:gd name="T18" fmla="*/ 5 w 23"/>
                    <a:gd name="T19" fmla="*/ 20 h 51"/>
                    <a:gd name="T20" fmla="*/ 5 w 23"/>
                    <a:gd name="T21" fmla="*/ 22 h 51"/>
                    <a:gd name="T22" fmla="*/ 6 w 23"/>
                    <a:gd name="T23" fmla="*/ 24 h 51"/>
                    <a:gd name="T24" fmla="*/ 7 w 23"/>
                    <a:gd name="T25" fmla="*/ 24 h 51"/>
                    <a:gd name="T26" fmla="*/ 13 w 23"/>
                    <a:gd name="T27" fmla="*/ 32 h 51"/>
                    <a:gd name="T28" fmla="*/ 11 w 23"/>
                    <a:gd name="T29" fmla="*/ 33 h 51"/>
                    <a:gd name="T30" fmla="*/ 12 w 23"/>
                    <a:gd name="T31" fmla="*/ 33 h 51"/>
                    <a:gd name="T32" fmla="*/ 14 w 23"/>
                    <a:gd name="T33" fmla="*/ 33 h 51"/>
                    <a:gd name="T34" fmla="*/ 18 w 23"/>
                    <a:gd name="T35" fmla="*/ 41 h 51"/>
                    <a:gd name="T36" fmla="*/ 17 w 23"/>
                    <a:gd name="T37" fmla="*/ 40 h 51"/>
                    <a:gd name="T38" fmla="*/ 18 w 23"/>
                    <a:gd name="T39" fmla="*/ 42 h 51"/>
                    <a:gd name="T40" fmla="*/ 9 w 23"/>
                    <a:gd name="T41" fmla="*/ 23 h 51"/>
                    <a:gd name="T42" fmla="*/ 11 w 23"/>
                    <a:gd name="T43" fmla="*/ 22 h 51"/>
                    <a:gd name="T44" fmla="*/ 20 w 23"/>
                    <a:gd name="T45" fmla="*/ 46 h 51"/>
                    <a:gd name="T46" fmla="*/ 18 w 23"/>
                    <a:gd name="T47" fmla="*/ 45 h 51"/>
                    <a:gd name="T48" fmla="*/ 20 w 23"/>
                    <a:gd name="T49" fmla="*/ 46 h 51"/>
                    <a:gd name="T50" fmla="*/ 11 w 23"/>
                    <a:gd name="T51" fmla="*/ 19 h 51"/>
                    <a:gd name="T52" fmla="*/ 11 w 23"/>
                    <a:gd name="T53" fmla="*/ 21 h 51"/>
                    <a:gd name="T54" fmla="*/ 11 w 23"/>
                    <a:gd name="T55" fmla="*/ 19 h 51"/>
                    <a:gd name="T56" fmla="*/ 12 w 23"/>
                    <a:gd name="T57" fmla="*/ 26 h 51"/>
                    <a:gd name="T58" fmla="*/ 12 w 23"/>
                    <a:gd name="T59" fmla="*/ 26 h 51"/>
                    <a:gd name="T60" fmla="*/ 11 w 23"/>
                    <a:gd name="T61" fmla="*/ 25 h 51"/>
                    <a:gd name="T62" fmla="*/ 6 w 23"/>
                    <a:gd name="T63" fmla="*/ 6 h 51"/>
                    <a:gd name="T64" fmla="*/ 6 w 23"/>
                    <a:gd name="T65" fmla="*/ 5 h 51"/>
                    <a:gd name="T66" fmla="*/ 9 w 23"/>
                    <a:gd name="T67" fmla="*/ 17 h 51"/>
                    <a:gd name="T68" fmla="*/ 8 w 23"/>
                    <a:gd name="T69" fmla="*/ 17 h 51"/>
                    <a:gd name="T70" fmla="*/ 10 w 23"/>
                    <a:gd name="T71" fmla="*/ 15 h 51"/>
                    <a:gd name="T72" fmla="*/ 11 w 23"/>
                    <a:gd name="T73" fmla="*/ 17 h 51"/>
                    <a:gd name="T74" fmla="*/ 10 w 23"/>
                    <a:gd name="T75" fmla="*/ 13 h 51"/>
                    <a:gd name="T76" fmla="*/ 7 w 23"/>
                    <a:gd name="T77" fmla="*/ 8 h 51"/>
                    <a:gd name="T78" fmla="*/ 23 w 23"/>
                    <a:gd name="T79" fmla="*/ 51 h 51"/>
                    <a:gd name="T80" fmla="*/ 4 w 23"/>
                    <a:gd name="T81" fmla="*/ 18 h 51"/>
                    <a:gd name="T82" fmla="*/ 4 w 23"/>
                    <a:gd name="T83" fmla="*/ 18 h 51"/>
                    <a:gd name="T84" fmla="*/ 5 w 23"/>
                    <a:gd name="T85" fmla="*/ 3 h 51"/>
                    <a:gd name="T86" fmla="*/ 13 w 23"/>
                    <a:gd name="T87" fmla="*/ 28 h 51"/>
                    <a:gd name="T88" fmla="*/ 11 w 23"/>
                    <a:gd name="T89" fmla="*/ 24 h 51"/>
                    <a:gd name="T90" fmla="*/ 7 w 23"/>
                    <a:gd name="T91" fmla="*/ 4 h 51"/>
                    <a:gd name="T92" fmla="*/ 0 w 23"/>
                    <a:gd name="T93" fmla="*/ 1 h 51"/>
                    <a:gd name="T94" fmla="*/ 12 w 23"/>
                    <a:gd name="T95" fmla="*/ 31 h 51"/>
                    <a:gd name="T96" fmla="*/ 13 w 23"/>
                    <a:gd name="T97" fmla="*/ 27 h 51"/>
                    <a:gd name="T98" fmla="*/ 12 w 23"/>
                    <a:gd name="T99" fmla="*/ 25 h 51"/>
                    <a:gd name="T100" fmla="*/ 10 w 23"/>
                    <a:gd name="T101" fmla="*/ 10 h 51"/>
                    <a:gd name="T102" fmla="*/ 1 w 23"/>
                    <a:gd name="T103" fmla="*/ 3 h 51"/>
                    <a:gd name="T104" fmla="*/ 7 w 23"/>
                    <a:gd name="T105" fmla="*/ 4 h 51"/>
                    <a:gd name="T106" fmla="*/ 0 w 23"/>
                    <a:gd name="T107"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51">
                      <a:moveTo>
                        <a:pt x="1" y="12"/>
                      </a:moveTo>
                      <a:cubicBezTo>
                        <a:pt x="1" y="12"/>
                        <a:pt x="1" y="13"/>
                        <a:pt x="1" y="13"/>
                      </a:cubicBezTo>
                      <a:cubicBezTo>
                        <a:pt x="2" y="13"/>
                        <a:pt x="1" y="14"/>
                        <a:pt x="2" y="14"/>
                      </a:cubicBezTo>
                      <a:cubicBezTo>
                        <a:pt x="2" y="14"/>
                        <a:pt x="2" y="14"/>
                        <a:pt x="2" y="15"/>
                      </a:cubicBezTo>
                      <a:cubicBezTo>
                        <a:pt x="2" y="15"/>
                        <a:pt x="2" y="15"/>
                        <a:pt x="2" y="15"/>
                      </a:cubicBezTo>
                      <a:cubicBezTo>
                        <a:pt x="3" y="15"/>
                        <a:pt x="3" y="15"/>
                        <a:pt x="3" y="14"/>
                      </a:cubicBezTo>
                      <a:cubicBezTo>
                        <a:pt x="3" y="14"/>
                        <a:pt x="3" y="14"/>
                        <a:pt x="3" y="14"/>
                      </a:cubicBezTo>
                      <a:cubicBezTo>
                        <a:pt x="3" y="13"/>
                        <a:pt x="3" y="13"/>
                        <a:pt x="3" y="13"/>
                      </a:cubicBezTo>
                      <a:cubicBezTo>
                        <a:pt x="3" y="13"/>
                        <a:pt x="3" y="13"/>
                        <a:pt x="3" y="13"/>
                      </a:cubicBezTo>
                      <a:cubicBezTo>
                        <a:pt x="3" y="13"/>
                        <a:pt x="3" y="13"/>
                        <a:pt x="3" y="13"/>
                      </a:cubicBezTo>
                      <a:cubicBezTo>
                        <a:pt x="3" y="14"/>
                        <a:pt x="4" y="14"/>
                        <a:pt x="4" y="15"/>
                      </a:cubicBezTo>
                      <a:cubicBezTo>
                        <a:pt x="4" y="15"/>
                        <a:pt x="4" y="15"/>
                        <a:pt x="4" y="15"/>
                      </a:cubicBezTo>
                      <a:cubicBezTo>
                        <a:pt x="4" y="15"/>
                        <a:pt x="4" y="15"/>
                        <a:pt x="4" y="15"/>
                      </a:cubicBezTo>
                      <a:cubicBezTo>
                        <a:pt x="4" y="15"/>
                        <a:pt x="4" y="15"/>
                        <a:pt x="4" y="15"/>
                      </a:cubicBezTo>
                      <a:cubicBezTo>
                        <a:pt x="4" y="16"/>
                        <a:pt x="4" y="16"/>
                        <a:pt x="4" y="16"/>
                      </a:cubicBezTo>
                      <a:cubicBezTo>
                        <a:pt x="4" y="16"/>
                        <a:pt x="4" y="16"/>
                        <a:pt x="4" y="16"/>
                      </a:cubicBezTo>
                      <a:cubicBezTo>
                        <a:pt x="4" y="17"/>
                        <a:pt x="4" y="17"/>
                        <a:pt x="5" y="17"/>
                      </a:cubicBezTo>
                      <a:cubicBezTo>
                        <a:pt x="5" y="17"/>
                        <a:pt x="5" y="17"/>
                        <a:pt x="5" y="17"/>
                      </a:cubicBezTo>
                      <a:cubicBezTo>
                        <a:pt x="5" y="17"/>
                        <a:pt x="5" y="17"/>
                        <a:pt x="5" y="17"/>
                      </a:cubicBezTo>
                      <a:cubicBezTo>
                        <a:pt x="4" y="17"/>
                        <a:pt x="4" y="18"/>
                        <a:pt x="4" y="18"/>
                      </a:cubicBezTo>
                      <a:cubicBezTo>
                        <a:pt x="4" y="18"/>
                        <a:pt x="4" y="18"/>
                        <a:pt x="3" y="18"/>
                      </a:cubicBezTo>
                      <a:cubicBezTo>
                        <a:pt x="3" y="18"/>
                        <a:pt x="2" y="18"/>
                        <a:pt x="2" y="18"/>
                      </a:cubicBezTo>
                      <a:cubicBezTo>
                        <a:pt x="2" y="19"/>
                        <a:pt x="2" y="19"/>
                        <a:pt x="2" y="19"/>
                      </a:cubicBezTo>
                      <a:cubicBezTo>
                        <a:pt x="2" y="18"/>
                        <a:pt x="1" y="18"/>
                        <a:pt x="1" y="18"/>
                      </a:cubicBezTo>
                      <a:cubicBezTo>
                        <a:pt x="1" y="18"/>
                        <a:pt x="1" y="18"/>
                        <a:pt x="1" y="18"/>
                      </a:cubicBezTo>
                      <a:cubicBezTo>
                        <a:pt x="1" y="17"/>
                        <a:pt x="1" y="17"/>
                        <a:pt x="1" y="17"/>
                      </a:cubicBezTo>
                      <a:cubicBezTo>
                        <a:pt x="0" y="16"/>
                        <a:pt x="1" y="16"/>
                        <a:pt x="1" y="16"/>
                      </a:cubicBezTo>
                      <a:cubicBezTo>
                        <a:pt x="1" y="16"/>
                        <a:pt x="1" y="16"/>
                        <a:pt x="1" y="15"/>
                      </a:cubicBezTo>
                      <a:cubicBezTo>
                        <a:pt x="0" y="15"/>
                        <a:pt x="1" y="15"/>
                        <a:pt x="0" y="14"/>
                      </a:cubicBezTo>
                      <a:cubicBezTo>
                        <a:pt x="0" y="14"/>
                        <a:pt x="0" y="14"/>
                        <a:pt x="0" y="14"/>
                      </a:cubicBezTo>
                      <a:cubicBezTo>
                        <a:pt x="0" y="13"/>
                        <a:pt x="0" y="13"/>
                        <a:pt x="0" y="13"/>
                      </a:cubicBezTo>
                      <a:cubicBezTo>
                        <a:pt x="0" y="13"/>
                        <a:pt x="0" y="12"/>
                        <a:pt x="0" y="12"/>
                      </a:cubicBezTo>
                      <a:cubicBezTo>
                        <a:pt x="0" y="12"/>
                        <a:pt x="0" y="12"/>
                        <a:pt x="0" y="12"/>
                      </a:cubicBezTo>
                      <a:cubicBezTo>
                        <a:pt x="0" y="11"/>
                        <a:pt x="0" y="11"/>
                        <a:pt x="0" y="11"/>
                      </a:cubicBezTo>
                      <a:cubicBezTo>
                        <a:pt x="0" y="11"/>
                        <a:pt x="0" y="11"/>
                        <a:pt x="0" y="11"/>
                      </a:cubicBezTo>
                      <a:cubicBezTo>
                        <a:pt x="1" y="12"/>
                        <a:pt x="1" y="12"/>
                        <a:pt x="1" y="12"/>
                      </a:cubicBezTo>
                      <a:close/>
                      <a:moveTo>
                        <a:pt x="9" y="24"/>
                      </a:moveTo>
                      <a:cubicBezTo>
                        <a:pt x="9" y="24"/>
                        <a:pt x="9" y="24"/>
                        <a:pt x="9" y="24"/>
                      </a:cubicBezTo>
                      <a:cubicBezTo>
                        <a:pt x="8" y="24"/>
                        <a:pt x="8" y="24"/>
                        <a:pt x="8" y="24"/>
                      </a:cubicBezTo>
                      <a:cubicBezTo>
                        <a:pt x="8" y="24"/>
                        <a:pt x="8" y="24"/>
                        <a:pt x="8" y="24"/>
                      </a:cubicBezTo>
                      <a:cubicBezTo>
                        <a:pt x="8" y="24"/>
                        <a:pt x="8" y="23"/>
                        <a:pt x="8" y="23"/>
                      </a:cubicBezTo>
                      <a:cubicBezTo>
                        <a:pt x="8" y="23"/>
                        <a:pt x="8" y="23"/>
                        <a:pt x="7" y="23"/>
                      </a:cubicBezTo>
                      <a:cubicBezTo>
                        <a:pt x="7" y="23"/>
                        <a:pt x="7" y="23"/>
                        <a:pt x="7" y="23"/>
                      </a:cubicBezTo>
                      <a:cubicBezTo>
                        <a:pt x="7" y="23"/>
                        <a:pt x="7" y="22"/>
                        <a:pt x="7" y="22"/>
                      </a:cubicBezTo>
                      <a:cubicBezTo>
                        <a:pt x="7" y="22"/>
                        <a:pt x="7" y="22"/>
                        <a:pt x="7" y="22"/>
                      </a:cubicBezTo>
                      <a:cubicBezTo>
                        <a:pt x="7" y="22"/>
                        <a:pt x="6" y="22"/>
                        <a:pt x="6" y="22"/>
                      </a:cubicBezTo>
                      <a:cubicBezTo>
                        <a:pt x="6" y="22"/>
                        <a:pt x="6" y="22"/>
                        <a:pt x="6" y="22"/>
                      </a:cubicBezTo>
                      <a:cubicBezTo>
                        <a:pt x="6" y="22"/>
                        <a:pt x="6" y="22"/>
                        <a:pt x="6" y="22"/>
                      </a:cubicBezTo>
                      <a:cubicBezTo>
                        <a:pt x="6" y="22"/>
                        <a:pt x="6" y="21"/>
                        <a:pt x="6" y="21"/>
                      </a:cubicBezTo>
                      <a:cubicBezTo>
                        <a:pt x="6" y="21"/>
                        <a:pt x="5" y="21"/>
                        <a:pt x="5" y="20"/>
                      </a:cubicBezTo>
                      <a:cubicBezTo>
                        <a:pt x="5" y="20"/>
                        <a:pt x="5" y="20"/>
                        <a:pt x="4" y="20"/>
                      </a:cubicBezTo>
                      <a:cubicBezTo>
                        <a:pt x="4" y="20"/>
                        <a:pt x="4" y="20"/>
                        <a:pt x="4" y="20"/>
                      </a:cubicBezTo>
                      <a:cubicBezTo>
                        <a:pt x="4" y="21"/>
                        <a:pt x="4" y="21"/>
                        <a:pt x="4" y="21"/>
                      </a:cubicBezTo>
                      <a:cubicBezTo>
                        <a:pt x="4" y="21"/>
                        <a:pt x="4" y="22"/>
                        <a:pt x="4" y="22"/>
                      </a:cubicBezTo>
                      <a:cubicBezTo>
                        <a:pt x="4" y="22"/>
                        <a:pt x="5" y="22"/>
                        <a:pt x="5" y="22"/>
                      </a:cubicBezTo>
                      <a:cubicBezTo>
                        <a:pt x="5" y="22"/>
                        <a:pt x="5" y="22"/>
                        <a:pt x="5" y="22"/>
                      </a:cubicBezTo>
                      <a:cubicBezTo>
                        <a:pt x="5" y="22"/>
                        <a:pt x="5" y="22"/>
                        <a:pt x="6" y="22"/>
                      </a:cubicBezTo>
                      <a:cubicBezTo>
                        <a:pt x="6" y="22"/>
                        <a:pt x="5" y="22"/>
                        <a:pt x="6" y="23"/>
                      </a:cubicBezTo>
                      <a:cubicBezTo>
                        <a:pt x="6" y="23"/>
                        <a:pt x="6" y="23"/>
                        <a:pt x="6" y="23"/>
                      </a:cubicBezTo>
                      <a:cubicBezTo>
                        <a:pt x="5" y="23"/>
                        <a:pt x="6" y="23"/>
                        <a:pt x="6" y="24"/>
                      </a:cubicBezTo>
                      <a:cubicBezTo>
                        <a:pt x="6" y="24"/>
                        <a:pt x="6" y="24"/>
                        <a:pt x="6" y="24"/>
                      </a:cubicBezTo>
                      <a:cubicBezTo>
                        <a:pt x="6" y="24"/>
                        <a:pt x="6" y="24"/>
                        <a:pt x="6" y="24"/>
                      </a:cubicBezTo>
                      <a:cubicBezTo>
                        <a:pt x="6" y="25"/>
                        <a:pt x="6" y="25"/>
                        <a:pt x="6" y="25"/>
                      </a:cubicBezTo>
                      <a:cubicBezTo>
                        <a:pt x="7" y="25"/>
                        <a:pt x="7" y="25"/>
                        <a:pt x="7" y="25"/>
                      </a:cubicBezTo>
                      <a:cubicBezTo>
                        <a:pt x="7" y="25"/>
                        <a:pt x="7" y="24"/>
                        <a:pt x="7" y="24"/>
                      </a:cubicBezTo>
                      <a:cubicBezTo>
                        <a:pt x="7" y="24"/>
                        <a:pt x="8" y="24"/>
                        <a:pt x="8" y="25"/>
                      </a:cubicBezTo>
                      <a:cubicBezTo>
                        <a:pt x="8" y="25"/>
                        <a:pt x="8" y="24"/>
                        <a:pt x="9" y="24"/>
                      </a:cubicBezTo>
                      <a:cubicBezTo>
                        <a:pt x="9" y="24"/>
                        <a:pt x="9" y="24"/>
                        <a:pt x="9" y="24"/>
                      </a:cubicBezTo>
                      <a:close/>
                      <a:moveTo>
                        <a:pt x="14" y="33"/>
                      </a:moveTo>
                      <a:cubicBezTo>
                        <a:pt x="13" y="33"/>
                        <a:pt x="13" y="33"/>
                        <a:pt x="13" y="32"/>
                      </a:cubicBezTo>
                      <a:cubicBezTo>
                        <a:pt x="13" y="32"/>
                        <a:pt x="13" y="32"/>
                        <a:pt x="12" y="32"/>
                      </a:cubicBezTo>
                      <a:cubicBezTo>
                        <a:pt x="12" y="32"/>
                        <a:pt x="12" y="32"/>
                        <a:pt x="12" y="32"/>
                      </a:cubicBezTo>
                      <a:cubicBezTo>
                        <a:pt x="12" y="32"/>
                        <a:pt x="11" y="32"/>
                        <a:pt x="11" y="32"/>
                      </a:cubicBezTo>
                      <a:cubicBezTo>
                        <a:pt x="11" y="32"/>
                        <a:pt x="11" y="32"/>
                        <a:pt x="11" y="32"/>
                      </a:cubicBezTo>
                      <a:cubicBezTo>
                        <a:pt x="11" y="33"/>
                        <a:pt x="11" y="33"/>
                        <a:pt x="11" y="33"/>
                      </a:cubicBezTo>
                      <a:cubicBezTo>
                        <a:pt x="11" y="33"/>
                        <a:pt x="11" y="33"/>
                        <a:pt x="11" y="33"/>
                      </a:cubicBezTo>
                      <a:cubicBezTo>
                        <a:pt x="11" y="33"/>
                        <a:pt x="11" y="33"/>
                        <a:pt x="11" y="33"/>
                      </a:cubicBezTo>
                      <a:cubicBezTo>
                        <a:pt x="11" y="33"/>
                        <a:pt x="11" y="33"/>
                        <a:pt x="11" y="33"/>
                      </a:cubicBezTo>
                      <a:cubicBezTo>
                        <a:pt x="12" y="33"/>
                        <a:pt x="12" y="33"/>
                        <a:pt x="12" y="33"/>
                      </a:cubicBezTo>
                      <a:cubicBezTo>
                        <a:pt x="12" y="33"/>
                        <a:pt x="12" y="33"/>
                        <a:pt x="12" y="33"/>
                      </a:cubicBezTo>
                      <a:cubicBezTo>
                        <a:pt x="12" y="33"/>
                        <a:pt x="12" y="33"/>
                        <a:pt x="12" y="34"/>
                      </a:cubicBezTo>
                      <a:cubicBezTo>
                        <a:pt x="12" y="34"/>
                        <a:pt x="12" y="33"/>
                        <a:pt x="12" y="34"/>
                      </a:cubicBezTo>
                      <a:cubicBezTo>
                        <a:pt x="12" y="34"/>
                        <a:pt x="13" y="34"/>
                        <a:pt x="13" y="34"/>
                      </a:cubicBezTo>
                      <a:cubicBezTo>
                        <a:pt x="13" y="34"/>
                        <a:pt x="13" y="34"/>
                        <a:pt x="13" y="34"/>
                      </a:cubicBezTo>
                      <a:cubicBezTo>
                        <a:pt x="13" y="34"/>
                        <a:pt x="14" y="33"/>
                        <a:pt x="14" y="33"/>
                      </a:cubicBezTo>
                      <a:cubicBezTo>
                        <a:pt x="14" y="33"/>
                        <a:pt x="14" y="33"/>
                        <a:pt x="14" y="33"/>
                      </a:cubicBezTo>
                      <a:close/>
                      <a:moveTo>
                        <a:pt x="19" y="42"/>
                      </a:moveTo>
                      <a:cubicBezTo>
                        <a:pt x="19" y="42"/>
                        <a:pt x="19" y="42"/>
                        <a:pt x="19" y="42"/>
                      </a:cubicBezTo>
                      <a:cubicBezTo>
                        <a:pt x="19" y="42"/>
                        <a:pt x="19" y="41"/>
                        <a:pt x="19" y="41"/>
                      </a:cubicBezTo>
                      <a:cubicBezTo>
                        <a:pt x="18" y="41"/>
                        <a:pt x="18" y="41"/>
                        <a:pt x="18" y="41"/>
                      </a:cubicBezTo>
                      <a:cubicBezTo>
                        <a:pt x="18" y="41"/>
                        <a:pt x="18" y="41"/>
                        <a:pt x="18" y="41"/>
                      </a:cubicBezTo>
                      <a:cubicBezTo>
                        <a:pt x="18" y="41"/>
                        <a:pt x="18" y="40"/>
                        <a:pt x="18" y="40"/>
                      </a:cubicBezTo>
                      <a:cubicBezTo>
                        <a:pt x="18" y="41"/>
                        <a:pt x="18" y="40"/>
                        <a:pt x="18" y="40"/>
                      </a:cubicBezTo>
                      <a:cubicBezTo>
                        <a:pt x="18" y="40"/>
                        <a:pt x="17" y="39"/>
                        <a:pt x="17" y="40"/>
                      </a:cubicBezTo>
                      <a:cubicBezTo>
                        <a:pt x="17" y="40"/>
                        <a:pt x="17" y="40"/>
                        <a:pt x="17" y="40"/>
                      </a:cubicBezTo>
                      <a:cubicBezTo>
                        <a:pt x="17" y="40"/>
                        <a:pt x="17" y="40"/>
                        <a:pt x="17" y="40"/>
                      </a:cubicBezTo>
                      <a:cubicBezTo>
                        <a:pt x="16" y="40"/>
                        <a:pt x="16" y="41"/>
                        <a:pt x="17" y="41"/>
                      </a:cubicBezTo>
                      <a:cubicBezTo>
                        <a:pt x="17" y="41"/>
                        <a:pt x="17" y="41"/>
                        <a:pt x="17" y="41"/>
                      </a:cubicBezTo>
                      <a:cubicBezTo>
                        <a:pt x="16" y="41"/>
                        <a:pt x="16" y="41"/>
                        <a:pt x="17" y="42"/>
                      </a:cubicBezTo>
                      <a:cubicBezTo>
                        <a:pt x="17" y="42"/>
                        <a:pt x="17" y="42"/>
                        <a:pt x="18" y="42"/>
                      </a:cubicBezTo>
                      <a:cubicBezTo>
                        <a:pt x="18" y="42"/>
                        <a:pt x="18" y="42"/>
                        <a:pt x="18" y="42"/>
                      </a:cubicBezTo>
                      <a:cubicBezTo>
                        <a:pt x="19" y="42"/>
                        <a:pt x="19" y="42"/>
                        <a:pt x="19" y="42"/>
                      </a:cubicBezTo>
                      <a:close/>
                      <a:moveTo>
                        <a:pt x="10" y="22"/>
                      </a:moveTo>
                      <a:cubicBezTo>
                        <a:pt x="10" y="22"/>
                        <a:pt x="9" y="22"/>
                        <a:pt x="9" y="22"/>
                      </a:cubicBezTo>
                      <a:cubicBezTo>
                        <a:pt x="9" y="22"/>
                        <a:pt x="9" y="23"/>
                        <a:pt x="9" y="23"/>
                      </a:cubicBezTo>
                      <a:cubicBezTo>
                        <a:pt x="10" y="23"/>
                        <a:pt x="10" y="23"/>
                        <a:pt x="10" y="23"/>
                      </a:cubicBezTo>
                      <a:cubicBezTo>
                        <a:pt x="11" y="24"/>
                        <a:pt x="11" y="23"/>
                        <a:pt x="11" y="23"/>
                      </a:cubicBezTo>
                      <a:cubicBezTo>
                        <a:pt x="12" y="23"/>
                        <a:pt x="12" y="23"/>
                        <a:pt x="12" y="23"/>
                      </a:cubicBezTo>
                      <a:cubicBezTo>
                        <a:pt x="12" y="23"/>
                        <a:pt x="12" y="23"/>
                        <a:pt x="12" y="23"/>
                      </a:cubicBezTo>
                      <a:cubicBezTo>
                        <a:pt x="11" y="23"/>
                        <a:pt x="11" y="22"/>
                        <a:pt x="11" y="22"/>
                      </a:cubicBezTo>
                      <a:cubicBezTo>
                        <a:pt x="11" y="22"/>
                        <a:pt x="11" y="22"/>
                        <a:pt x="11" y="22"/>
                      </a:cubicBezTo>
                      <a:cubicBezTo>
                        <a:pt x="11" y="22"/>
                        <a:pt x="11" y="22"/>
                        <a:pt x="11" y="22"/>
                      </a:cubicBezTo>
                      <a:cubicBezTo>
                        <a:pt x="10" y="22"/>
                        <a:pt x="10" y="22"/>
                        <a:pt x="10" y="22"/>
                      </a:cubicBezTo>
                      <a:cubicBezTo>
                        <a:pt x="10" y="22"/>
                        <a:pt x="10" y="22"/>
                        <a:pt x="10" y="22"/>
                      </a:cubicBezTo>
                      <a:close/>
                      <a:moveTo>
                        <a:pt x="20" y="46"/>
                      </a:moveTo>
                      <a:cubicBezTo>
                        <a:pt x="20" y="46"/>
                        <a:pt x="20" y="46"/>
                        <a:pt x="19" y="46"/>
                      </a:cubicBezTo>
                      <a:cubicBezTo>
                        <a:pt x="19" y="46"/>
                        <a:pt x="19" y="45"/>
                        <a:pt x="19" y="45"/>
                      </a:cubicBezTo>
                      <a:cubicBezTo>
                        <a:pt x="19" y="45"/>
                        <a:pt x="19" y="45"/>
                        <a:pt x="19" y="45"/>
                      </a:cubicBezTo>
                      <a:cubicBezTo>
                        <a:pt x="19" y="45"/>
                        <a:pt x="18" y="45"/>
                        <a:pt x="18" y="45"/>
                      </a:cubicBezTo>
                      <a:cubicBezTo>
                        <a:pt x="18" y="45"/>
                        <a:pt x="18" y="45"/>
                        <a:pt x="18" y="45"/>
                      </a:cubicBezTo>
                      <a:cubicBezTo>
                        <a:pt x="18" y="46"/>
                        <a:pt x="18" y="46"/>
                        <a:pt x="18" y="46"/>
                      </a:cubicBezTo>
                      <a:cubicBezTo>
                        <a:pt x="18" y="46"/>
                        <a:pt x="19" y="47"/>
                        <a:pt x="19" y="47"/>
                      </a:cubicBezTo>
                      <a:cubicBezTo>
                        <a:pt x="20" y="47"/>
                        <a:pt x="20" y="47"/>
                        <a:pt x="20" y="47"/>
                      </a:cubicBezTo>
                      <a:cubicBezTo>
                        <a:pt x="20" y="47"/>
                        <a:pt x="20" y="47"/>
                        <a:pt x="20" y="47"/>
                      </a:cubicBezTo>
                      <a:cubicBezTo>
                        <a:pt x="20" y="46"/>
                        <a:pt x="20" y="46"/>
                        <a:pt x="20" y="46"/>
                      </a:cubicBezTo>
                      <a:close/>
                      <a:moveTo>
                        <a:pt x="11" y="17"/>
                      </a:moveTo>
                      <a:cubicBezTo>
                        <a:pt x="11" y="17"/>
                        <a:pt x="11" y="17"/>
                        <a:pt x="11" y="17"/>
                      </a:cubicBezTo>
                      <a:cubicBezTo>
                        <a:pt x="11" y="17"/>
                        <a:pt x="11" y="18"/>
                        <a:pt x="11" y="18"/>
                      </a:cubicBezTo>
                      <a:cubicBezTo>
                        <a:pt x="11" y="18"/>
                        <a:pt x="11" y="18"/>
                        <a:pt x="11" y="18"/>
                      </a:cubicBezTo>
                      <a:cubicBezTo>
                        <a:pt x="11" y="18"/>
                        <a:pt x="11" y="19"/>
                        <a:pt x="11" y="19"/>
                      </a:cubicBezTo>
                      <a:cubicBezTo>
                        <a:pt x="11" y="19"/>
                        <a:pt x="11" y="19"/>
                        <a:pt x="11" y="19"/>
                      </a:cubicBezTo>
                      <a:cubicBezTo>
                        <a:pt x="11" y="20"/>
                        <a:pt x="11" y="20"/>
                        <a:pt x="11" y="20"/>
                      </a:cubicBezTo>
                      <a:cubicBezTo>
                        <a:pt x="11" y="20"/>
                        <a:pt x="11" y="20"/>
                        <a:pt x="11" y="20"/>
                      </a:cubicBezTo>
                      <a:cubicBezTo>
                        <a:pt x="11" y="20"/>
                        <a:pt x="11" y="20"/>
                        <a:pt x="11" y="21"/>
                      </a:cubicBezTo>
                      <a:cubicBezTo>
                        <a:pt x="11" y="21"/>
                        <a:pt x="11" y="21"/>
                        <a:pt x="11" y="21"/>
                      </a:cubicBezTo>
                      <a:cubicBezTo>
                        <a:pt x="11" y="21"/>
                        <a:pt x="11" y="21"/>
                        <a:pt x="11" y="21"/>
                      </a:cubicBezTo>
                      <a:cubicBezTo>
                        <a:pt x="12" y="21"/>
                        <a:pt x="12" y="21"/>
                        <a:pt x="12" y="21"/>
                      </a:cubicBezTo>
                      <a:cubicBezTo>
                        <a:pt x="12" y="20"/>
                        <a:pt x="12" y="20"/>
                        <a:pt x="12" y="20"/>
                      </a:cubicBezTo>
                      <a:cubicBezTo>
                        <a:pt x="11" y="20"/>
                        <a:pt x="12" y="19"/>
                        <a:pt x="11" y="19"/>
                      </a:cubicBezTo>
                      <a:cubicBezTo>
                        <a:pt x="11" y="19"/>
                        <a:pt x="11" y="19"/>
                        <a:pt x="11" y="19"/>
                      </a:cubicBezTo>
                      <a:cubicBezTo>
                        <a:pt x="11" y="18"/>
                        <a:pt x="11" y="18"/>
                        <a:pt x="11" y="18"/>
                      </a:cubicBezTo>
                      <a:cubicBezTo>
                        <a:pt x="11" y="18"/>
                        <a:pt x="11" y="18"/>
                        <a:pt x="11" y="17"/>
                      </a:cubicBezTo>
                      <a:cubicBezTo>
                        <a:pt x="11" y="17"/>
                        <a:pt x="11" y="17"/>
                        <a:pt x="11" y="17"/>
                      </a:cubicBezTo>
                      <a:close/>
                      <a:moveTo>
                        <a:pt x="12" y="27"/>
                      </a:moveTo>
                      <a:cubicBezTo>
                        <a:pt x="12" y="27"/>
                        <a:pt x="12" y="27"/>
                        <a:pt x="12" y="26"/>
                      </a:cubicBezTo>
                      <a:cubicBezTo>
                        <a:pt x="12" y="26"/>
                        <a:pt x="12" y="26"/>
                        <a:pt x="12" y="26"/>
                      </a:cubicBezTo>
                      <a:cubicBezTo>
                        <a:pt x="12" y="27"/>
                        <a:pt x="13" y="27"/>
                        <a:pt x="13" y="27"/>
                      </a:cubicBezTo>
                      <a:cubicBezTo>
                        <a:pt x="13" y="27"/>
                        <a:pt x="13" y="27"/>
                        <a:pt x="13" y="27"/>
                      </a:cubicBezTo>
                      <a:cubicBezTo>
                        <a:pt x="13" y="27"/>
                        <a:pt x="13" y="26"/>
                        <a:pt x="13" y="26"/>
                      </a:cubicBezTo>
                      <a:cubicBezTo>
                        <a:pt x="12" y="27"/>
                        <a:pt x="12" y="26"/>
                        <a:pt x="12" y="26"/>
                      </a:cubicBezTo>
                      <a:cubicBezTo>
                        <a:pt x="12" y="26"/>
                        <a:pt x="12" y="26"/>
                        <a:pt x="12" y="26"/>
                      </a:cubicBezTo>
                      <a:cubicBezTo>
                        <a:pt x="11" y="26"/>
                        <a:pt x="11" y="26"/>
                        <a:pt x="11" y="26"/>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7"/>
                        <a:pt x="11" y="27"/>
                        <a:pt x="12" y="27"/>
                      </a:cubicBezTo>
                      <a:close/>
                      <a:moveTo>
                        <a:pt x="6" y="6"/>
                      </a:moveTo>
                      <a:cubicBezTo>
                        <a:pt x="6" y="6"/>
                        <a:pt x="6" y="6"/>
                        <a:pt x="6" y="6"/>
                      </a:cubicBezTo>
                      <a:cubicBezTo>
                        <a:pt x="6" y="6"/>
                        <a:pt x="6" y="6"/>
                        <a:pt x="7" y="6"/>
                      </a:cubicBezTo>
                      <a:cubicBezTo>
                        <a:pt x="7" y="6"/>
                        <a:pt x="7" y="6"/>
                        <a:pt x="7" y="6"/>
                      </a:cubicBezTo>
                      <a:cubicBezTo>
                        <a:pt x="7" y="6"/>
                        <a:pt x="7" y="6"/>
                        <a:pt x="7" y="6"/>
                      </a:cubicBezTo>
                      <a:cubicBezTo>
                        <a:pt x="7" y="5"/>
                        <a:pt x="7" y="5"/>
                        <a:pt x="7" y="5"/>
                      </a:cubicBezTo>
                      <a:cubicBezTo>
                        <a:pt x="6" y="5"/>
                        <a:pt x="6" y="5"/>
                        <a:pt x="6" y="5"/>
                      </a:cubicBezTo>
                      <a:cubicBezTo>
                        <a:pt x="6" y="5"/>
                        <a:pt x="5" y="5"/>
                        <a:pt x="5" y="5"/>
                      </a:cubicBezTo>
                      <a:cubicBezTo>
                        <a:pt x="5" y="6"/>
                        <a:pt x="6" y="6"/>
                        <a:pt x="6" y="6"/>
                      </a:cubicBezTo>
                      <a:cubicBezTo>
                        <a:pt x="6" y="6"/>
                        <a:pt x="6" y="6"/>
                        <a:pt x="6" y="6"/>
                      </a:cubicBezTo>
                      <a:close/>
                      <a:moveTo>
                        <a:pt x="8" y="17"/>
                      </a:moveTo>
                      <a:cubicBezTo>
                        <a:pt x="8" y="17"/>
                        <a:pt x="9" y="17"/>
                        <a:pt x="9" y="17"/>
                      </a:cubicBezTo>
                      <a:cubicBezTo>
                        <a:pt x="9" y="17"/>
                        <a:pt x="9" y="16"/>
                        <a:pt x="10" y="16"/>
                      </a:cubicBezTo>
                      <a:cubicBezTo>
                        <a:pt x="10" y="16"/>
                        <a:pt x="10" y="16"/>
                        <a:pt x="9" y="16"/>
                      </a:cubicBezTo>
                      <a:cubicBezTo>
                        <a:pt x="9" y="16"/>
                        <a:pt x="9" y="16"/>
                        <a:pt x="9" y="16"/>
                      </a:cubicBezTo>
                      <a:cubicBezTo>
                        <a:pt x="9" y="16"/>
                        <a:pt x="8" y="16"/>
                        <a:pt x="8" y="17"/>
                      </a:cubicBezTo>
                      <a:cubicBezTo>
                        <a:pt x="8" y="17"/>
                        <a:pt x="7" y="17"/>
                        <a:pt x="8" y="17"/>
                      </a:cubicBezTo>
                      <a:close/>
                      <a:moveTo>
                        <a:pt x="10" y="13"/>
                      </a:moveTo>
                      <a:cubicBezTo>
                        <a:pt x="10" y="13"/>
                        <a:pt x="10" y="13"/>
                        <a:pt x="10" y="14"/>
                      </a:cubicBezTo>
                      <a:cubicBezTo>
                        <a:pt x="10" y="14"/>
                        <a:pt x="10" y="14"/>
                        <a:pt x="10" y="14"/>
                      </a:cubicBezTo>
                      <a:cubicBezTo>
                        <a:pt x="10" y="14"/>
                        <a:pt x="10" y="14"/>
                        <a:pt x="10" y="14"/>
                      </a:cubicBezTo>
                      <a:cubicBezTo>
                        <a:pt x="10" y="14"/>
                        <a:pt x="10" y="14"/>
                        <a:pt x="10" y="15"/>
                      </a:cubicBezTo>
                      <a:cubicBezTo>
                        <a:pt x="10" y="15"/>
                        <a:pt x="10" y="15"/>
                        <a:pt x="11" y="15"/>
                      </a:cubicBezTo>
                      <a:cubicBezTo>
                        <a:pt x="11" y="15"/>
                        <a:pt x="10" y="16"/>
                        <a:pt x="11" y="16"/>
                      </a:cubicBezTo>
                      <a:cubicBezTo>
                        <a:pt x="11" y="16"/>
                        <a:pt x="11" y="16"/>
                        <a:pt x="11" y="16"/>
                      </a:cubicBezTo>
                      <a:cubicBezTo>
                        <a:pt x="11" y="16"/>
                        <a:pt x="11" y="16"/>
                        <a:pt x="11" y="16"/>
                      </a:cubicBezTo>
                      <a:cubicBezTo>
                        <a:pt x="11" y="17"/>
                        <a:pt x="11" y="17"/>
                        <a:pt x="11" y="17"/>
                      </a:cubicBezTo>
                      <a:cubicBezTo>
                        <a:pt x="11" y="16"/>
                        <a:pt x="11" y="16"/>
                        <a:pt x="11" y="16"/>
                      </a:cubicBezTo>
                      <a:cubicBezTo>
                        <a:pt x="11" y="16"/>
                        <a:pt x="11" y="15"/>
                        <a:pt x="11" y="15"/>
                      </a:cubicBezTo>
                      <a:cubicBezTo>
                        <a:pt x="11" y="15"/>
                        <a:pt x="11" y="15"/>
                        <a:pt x="11" y="15"/>
                      </a:cubicBezTo>
                      <a:cubicBezTo>
                        <a:pt x="11" y="14"/>
                        <a:pt x="10" y="14"/>
                        <a:pt x="10" y="13"/>
                      </a:cubicBezTo>
                      <a:cubicBezTo>
                        <a:pt x="10" y="13"/>
                        <a:pt x="10" y="13"/>
                        <a:pt x="10" y="13"/>
                      </a:cubicBezTo>
                      <a:cubicBezTo>
                        <a:pt x="10" y="13"/>
                        <a:pt x="10" y="13"/>
                        <a:pt x="10" y="13"/>
                      </a:cubicBezTo>
                      <a:close/>
                      <a:moveTo>
                        <a:pt x="6" y="8"/>
                      </a:moveTo>
                      <a:cubicBezTo>
                        <a:pt x="6" y="9"/>
                        <a:pt x="6" y="9"/>
                        <a:pt x="6" y="9"/>
                      </a:cubicBezTo>
                      <a:cubicBezTo>
                        <a:pt x="6" y="9"/>
                        <a:pt x="6" y="9"/>
                        <a:pt x="7" y="9"/>
                      </a:cubicBezTo>
                      <a:cubicBezTo>
                        <a:pt x="7" y="9"/>
                        <a:pt x="7" y="9"/>
                        <a:pt x="7" y="8"/>
                      </a:cubicBezTo>
                      <a:cubicBezTo>
                        <a:pt x="7" y="8"/>
                        <a:pt x="6" y="8"/>
                        <a:pt x="6" y="8"/>
                      </a:cubicBezTo>
                      <a:close/>
                      <a:moveTo>
                        <a:pt x="22" y="51"/>
                      </a:moveTo>
                      <a:cubicBezTo>
                        <a:pt x="22" y="51"/>
                        <a:pt x="22" y="51"/>
                        <a:pt x="22" y="51"/>
                      </a:cubicBezTo>
                      <a:cubicBezTo>
                        <a:pt x="22" y="51"/>
                        <a:pt x="22" y="51"/>
                        <a:pt x="22" y="51"/>
                      </a:cubicBezTo>
                      <a:cubicBezTo>
                        <a:pt x="23" y="51"/>
                        <a:pt x="23" y="51"/>
                        <a:pt x="23" y="51"/>
                      </a:cubicBezTo>
                      <a:cubicBezTo>
                        <a:pt x="23" y="51"/>
                        <a:pt x="22" y="51"/>
                        <a:pt x="22" y="51"/>
                      </a:cubicBezTo>
                      <a:close/>
                      <a:moveTo>
                        <a:pt x="4" y="18"/>
                      </a:moveTo>
                      <a:cubicBezTo>
                        <a:pt x="4" y="19"/>
                        <a:pt x="4" y="19"/>
                        <a:pt x="4" y="19"/>
                      </a:cubicBezTo>
                      <a:cubicBezTo>
                        <a:pt x="5" y="19"/>
                        <a:pt x="5" y="19"/>
                        <a:pt x="5" y="19"/>
                      </a:cubicBezTo>
                      <a:cubicBezTo>
                        <a:pt x="5" y="18"/>
                        <a:pt x="4" y="18"/>
                        <a:pt x="4" y="18"/>
                      </a:cubicBezTo>
                      <a:cubicBezTo>
                        <a:pt x="4" y="18"/>
                        <a:pt x="4" y="18"/>
                        <a:pt x="4" y="18"/>
                      </a:cubicBezTo>
                      <a:close/>
                      <a:moveTo>
                        <a:pt x="4" y="18"/>
                      </a:moveTo>
                      <a:cubicBezTo>
                        <a:pt x="4" y="18"/>
                        <a:pt x="4" y="18"/>
                        <a:pt x="4" y="18"/>
                      </a:cubicBezTo>
                      <a:cubicBezTo>
                        <a:pt x="4" y="18"/>
                        <a:pt x="4" y="18"/>
                        <a:pt x="4" y="18"/>
                      </a:cubicBezTo>
                      <a:cubicBezTo>
                        <a:pt x="4" y="18"/>
                        <a:pt x="4" y="18"/>
                        <a:pt x="4" y="18"/>
                      </a:cubicBezTo>
                      <a:cubicBezTo>
                        <a:pt x="4" y="18"/>
                        <a:pt x="4" y="18"/>
                        <a:pt x="4" y="18"/>
                      </a:cubicBezTo>
                      <a:close/>
                      <a:moveTo>
                        <a:pt x="5" y="4"/>
                      </a:moveTo>
                      <a:cubicBezTo>
                        <a:pt x="5" y="4"/>
                        <a:pt x="5" y="3"/>
                        <a:pt x="5" y="3"/>
                      </a:cubicBezTo>
                      <a:cubicBezTo>
                        <a:pt x="5" y="3"/>
                        <a:pt x="5" y="3"/>
                        <a:pt x="5" y="3"/>
                      </a:cubicBezTo>
                      <a:cubicBezTo>
                        <a:pt x="5" y="3"/>
                        <a:pt x="5" y="3"/>
                        <a:pt x="5" y="3"/>
                      </a:cubicBezTo>
                      <a:cubicBezTo>
                        <a:pt x="5" y="3"/>
                        <a:pt x="5" y="4"/>
                        <a:pt x="5" y="4"/>
                      </a:cubicBezTo>
                      <a:close/>
                      <a:moveTo>
                        <a:pt x="12" y="28"/>
                      </a:moveTo>
                      <a:cubicBezTo>
                        <a:pt x="12" y="28"/>
                        <a:pt x="12" y="29"/>
                        <a:pt x="12" y="29"/>
                      </a:cubicBezTo>
                      <a:cubicBezTo>
                        <a:pt x="12" y="29"/>
                        <a:pt x="12" y="29"/>
                        <a:pt x="12" y="29"/>
                      </a:cubicBezTo>
                      <a:cubicBezTo>
                        <a:pt x="12" y="29"/>
                        <a:pt x="13" y="28"/>
                        <a:pt x="13" y="28"/>
                      </a:cubicBezTo>
                      <a:cubicBezTo>
                        <a:pt x="12" y="28"/>
                        <a:pt x="12" y="28"/>
                        <a:pt x="12" y="28"/>
                      </a:cubicBezTo>
                      <a:close/>
                      <a:moveTo>
                        <a:pt x="11" y="24"/>
                      </a:moveTo>
                      <a:cubicBezTo>
                        <a:pt x="11" y="24"/>
                        <a:pt x="11" y="24"/>
                        <a:pt x="11" y="24"/>
                      </a:cubicBezTo>
                      <a:cubicBezTo>
                        <a:pt x="11" y="24"/>
                        <a:pt x="11" y="25"/>
                        <a:pt x="11" y="24"/>
                      </a:cubicBezTo>
                      <a:cubicBezTo>
                        <a:pt x="11" y="24"/>
                        <a:pt x="12" y="24"/>
                        <a:pt x="11" y="24"/>
                      </a:cubicBezTo>
                      <a:cubicBezTo>
                        <a:pt x="11" y="24"/>
                        <a:pt x="12" y="24"/>
                        <a:pt x="11" y="24"/>
                      </a:cubicBezTo>
                      <a:close/>
                      <a:moveTo>
                        <a:pt x="7" y="5"/>
                      </a:moveTo>
                      <a:cubicBezTo>
                        <a:pt x="8" y="5"/>
                        <a:pt x="8" y="5"/>
                        <a:pt x="8" y="4"/>
                      </a:cubicBezTo>
                      <a:cubicBezTo>
                        <a:pt x="8" y="4"/>
                        <a:pt x="8" y="4"/>
                        <a:pt x="8" y="4"/>
                      </a:cubicBezTo>
                      <a:cubicBezTo>
                        <a:pt x="7" y="4"/>
                        <a:pt x="7" y="4"/>
                        <a:pt x="7" y="4"/>
                      </a:cubicBezTo>
                      <a:cubicBezTo>
                        <a:pt x="7" y="5"/>
                        <a:pt x="7" y="5"/>
                        <a:pt x="7" y="5"/>
                      </a:cubicBezTo>
                      <a:close/>
                      <a:moveTo>
                        <a:pt x="0" y="2"/>
                      </a:moveTo>
                      <a:cubicBezTo>
                        <a:pt x="0" y="2"/>
                        <a:pt x="1" y="2"/>
                        <a:pt x="1" y="1"/>
                      </a:cubicBezTo>
                      <a:cubicBezTo>
                        <a:pt x="1" y="1"/>
                        <a:pt x="1" y="1"/>
                        <a:pt x="1" y="1"/>
                      </a:cubicBezTo>
                      <a:cubicBezTo>
                        <a:pt x="0" y="1"/>
                        <a:pt x="0" y="1"/>
                        <a:pt x="0" y="1"/>
                      </a:cubicBezTo>
                      <a:cubicBezTo>
                        <a:pt x="0" y="1"/>
                        <a:pt x="0" y="2"/>
                        <a:pt x="0" y="2"/>
                      </a:cubicBezTo>
                      <a:close/>
                      <a:moveTo>
                        <a:pt x="12" y="31"/>
                      </a:moveTo>
                      <a:cubicBezTo>
                        <a:pt x="12" y="31"/>
                        <a:pt x="12" y="31"/>
                        <a:pt x="12" y="31"/>
                      </a:cubicBezTo>
                      <a:cubicBezTo>
                        <a:pt x="12" y="31"/>
                        <a:pt x="12" y="31"/>
                        <a:pt x="12" y="31"/>
                      </a:cubicBezTo>
                      <a:cubicBezTo>
                        <a:pt x="12" y="31"/>
                        <a:pt x="12" y="31"/>
                        <a:pt x="12" y="31"/>
                      </a:cubicBezTo>
                      <a:close/>
                      <a:moveTo>
                        <a:pt x="13" y="27"/>
                      </a:moveTo>
                      <a:cubicBezTo>
                        <a:pt x="13" y="27"/>
                        <a:pt x="13" y="27"/>
                        <a:pt x="13" y="27"/>
                      </a:cubicBezTo>
                      <a:cubicBezTo>
                        <a:pt x="13" y="27"/>
                        <a:pt x="13" y="27"/>
                        <a:pt x="14" y="27"/>
                      </a:cubicBezTo>
                      <a:cubicBezTo>
                        <a:pt x="14" y="27"/>
                        <a:pt x="14" y="27"/>
                        <a:pt x="14" y="27"/>
                      </a:cubicBezTo>
                      <a:cubicBezTo>
                        <a:pt x="14" y="27"/>
                        <a:pt x="14" y="27"/>
                        <a:pt x="13" y="27"/>
                      </a:cubicBezTo>
                      <a:close/>
                      <a:moveTo>
                        <a:pt x="12" y="25"/>
                      </a:moveTo>
                      <a:cubicBezTo>
                        <a:pt x="12" y="25"/>
                        <a:pt x="12" y="25"/>
                        <a:pt x="12" y="24"/>
                      </a:cubicBezTo>
                      <a:cubicBezTo>
                        <a:pt x="12" y="24"/>
                        <a:pt x="12" y="24"/>
                        <a:pt x="12" y="24"/>
                      </a:cubicBezTo>
                      <a:cubicBezTo>
                        <a:pt x="12" y="24"/>
                        <a:pt x="12" y="24"/>
                        <a:pt x="12" y="24"/>
                      </a:cubicBezTo>
                      <a:cubicBezTo>
                        <a:pt x="12" y="25"/>
                        <a:pt x="12" y="25"/>
                        <a:pt x="12" y="25"/>
                      </a:cubicBezTo>
                      <a:close/>
                      <a:moveTo>
                        <a:pt x="10" y="10"/>
                      </a:moveTo>
                      <a:cubicBezTo>
                        <a:pt x="10" y="10"/>
                        <a:pt x="10" y="10"/>
                        <a:pt x="10" y="10"/>
                      </a:cubicBezTo>
                      <a:cubicBezTo>
                        <a:pt x="10" y="10"/>
                        <a:pt x="10" y="10"/>
                        <a:pt x="10" y="10"/>
                      </a:cubicBezTo>
                      <a:cubicBezTo>
                        <a:pt x="10" y="10"/>
                        <a:pt x="10" y="10"/>
                        <a:pt x="10" y="10"/>
                      </a:cubicBezTo>
                      <a:cubicBezTo>
                        <a:pt x="10" y="10"/>
                        <a:pt x="10" y="10"/>
                        <a:pt x="10" y="10"/>
                      </a:cubicBezTo>
                      <a:close/>
                      <a:moveTo>
                        <a:pt x="1" y="3"/>
                      </a:moveTo>
                      <a:cubicBezTo>
                        <a:pt x="1" y="3"/>
                        <a:pt x="1" y="3"/>
                        <a:pt x="1" y="3"/>
                      </a:cubicBezTo>
                      <a:cubicBezTo>
                        <a:pt x="1" y="3"/>
                        <a:pt x="1" y="2"/>
                        <a:pt x="1" y="2"/>
                      </a:cubicBezTo>
                      <a:cubicBezTo>
                        <a:pt x="1" y="2"/>
                        <a:pt x="1" y="3"/>
                        <a:pt x="1" y="3"/>
                      </a:cubicBezTo>
                      <a:cubicBezTo>
                        <a:pt x="1" y="3"/>
                        <a:pt x="1" y="3"/>
                        <a:pt x="1" y="3"/>
                      </a:cubicBezTo>
                      <a:close/>
                      <a:moveTo>
                        <a:pt x="0" y="2"/>
                      </a:moveTo>
                      <a:cubicBezTo>
                        <a:pt x="1" y="2"/>
                        <a:pt x="1" y="2"/>
                        <a:pt x="1" y="2"/>
                      </a:cubicBezTo>
                      <a:cubicBezTo>
                        <a:pt x="1" y="2"/>
                        <a:pt x="0" y="2"/>
                        <a:pt x="0" y="2"/>
                      </a:cubicBezTo>
                      <a:cubicBezTo>
                        <a:pt x="0" y="2"/>
                        <a:pt x="0" y="2"/>
                        <a:pt x="0" y="2"/>
                      </a:cubicBezTo>
                      <a:close/>
                      <a:moveTo>
                        <a:pt x="7" y="4"/>
                      </a:moveTo>
                      <a:cubicBezTo>
                        <a:pt x="7" y="4"/>
                        <a:pt x="7" y="4"/>
                        <a:pt x="7" y="4"/>
                      </a:cubicBezTo>
                      <a:cubicBezTo>
                        <a:pt x="7" y="4"/>
                        <a:pt x="7" y="4"/>
                        <a:pt x="7" y="4"/>
                      </a:cubicBezTo>
                      <a:cubicBezTo>
                        <a:pt x="7" y="4"/>
                        <a:pt x="6" y="4"/>
                        <a:pt x="6" y="4"/>
                      </a:cubicBezTo>
                      <a:cubicBezTo>
                        <a:pt x="6" y="4"/>
                        <a:pt x="7" y="4"/>
                        <a:pt x="7" y="4"/>
                      </a:cubicBezTo>
                      <a:close/>
                      <a:moveTo>
                        <a:pt x="0" y="1"/>
                      </a:moveTo>
                      <a:cubicBezTo>
                        <a:pt x="0" y="1"/>
                        <a:pt x="0" y="1"/>
                        <a:pt x="0" y="1"/>
                      </a:cubicBezTo>
                      <a:cubicBezTo>
                        <a:pt x="0" y="1"/>
                        <a:pt x="0" y="1"/>
                        <a:pt x="0" y="1"/>
                      </a:cubicBezTo>
                      <a:cubicBezTo>
                        <a:pt x="0" y="1"/>
                        <a:pt x="0" y="0"/>
                        <a:pt x="0" y="0"/>
                      </a:cubicBezTo>
                      <a:cubicBezTo>
                        <a:pt x="0" y="0"/>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5" name="Freeform 696">
                  <a:extLst>
                    <a:ext uri="{FF2B5EF4-FFF2-40B4-BE49-F238E27FC236}">
                      <a16:creationId xmlns:a16="http://schemas.microsoft.com/office/drawing/2014/main" id="{EDBC9DE5-5572-AEC0-BE52-F602E0FD1976}"/>
                    </a:ext>
                  </a:extLst>
                </p:cNvPr>
                <p:cNvSpPr>
                  <a:spLocks noEditPoints="1"/>
                </p:cNvSpPr>
                <p:nvPr/>
              </p:nvSpPr>
              <p:spPr bwMode="auto">
                <a:xfrm>
                  <a:off x="9766300" y="5083175"/>
                  <a:ext cx="325437" cy="150813"/>
                </a:xfrm>
                <a:custGeom>
                  <a:avLst/>
                  <a:gdLst>
                    <a:gd name="T0" fmla="*/ 30 w 78"/>
                    <a:gd name="T1" fmla="*/ 20 h 36"/>
                    <a:gd name="T2" fmla="*/ 29 w 78"/>
                    <a:gd name="T3" fmla="*/ 22 h 36"/>
                    <a:gd name="T4" fmla="*/ 35 w 78"/>
                    <a:gd name="T5" fmla="*/ 23 h 36"/>
                    <a:gd name="T6" fmla="*/ 36 w 78"/>
                    <a:gd name="T7" fmla="*/ 18 h 36"/>
                    <a:gd name="T8" fmla="*/ 34 w 78"/>
                    <a:gd name="T9" fmla="*/ 13 h 36"/>
                    <a:gd name="T10" fmla="*/ 37 w 78"/>
                    <a:gd name="T11" fmla="*/ 14 h 36"/>
                    <a:gd name="T12" fmla="*/ 38 w 78"/>
                    <a:gd name="T13" fmla="*/ 17 h 36"/>
                    <a:gd name="T14" fmla="*/ 39 w 78"/>
                    <a:gd name="T15" fmla="*/ 20 h 36"/>
                    <a:gd name="T16" fmla="*/ 41 w 78"/>
                    <a:gd name="T17" fmla="*/ 21 h 36"/>
                    <a:gd name="T18" fmla="*/ 25 w 78"/>
                    <a:gd name="T19" fmla="*/ 11 h 36"/>
                    <a:gd name="T20" fmla="*/ 21 w 78"/>
                    <a:gd name="T21" fmla="*/ 8 h 36"/>
                    <a:gd name="T22" fmla="*/ 19 w 78"/>
                    <a:gd name="T23" fmla="*/ 7 h 36"/>
                    <a:gd name="T24" fmla="*/ 19 w 78"/>
                    <a:gd name="T25" fmla="*/ 6 h 36"/>
                    <a:gd name="T26" fmla="*/ 21 w 78"/>
                    <a:gd name="T27" fmla="*/ 7 h 36"/>
                    <a:gd name="T28" fmla="*/ 24 w 78"/>
                    <a:gd name="T29" fmla="*/ 9 h 36"/>
                    <a:gd name="T30" fmla="*/ 28 w 78"/>
                    <a:gd name="T31" fmla="*/ 13 h 36"/>
                    <a:gd name="T32" fmla="*/ 27 w 78"/>
                    <a:gd name="T33" fmla="*/ 12 h 36"/>
                    <a:gd name="T34" fmla="*/ 6 w 78"/>
                    <a:gd name="T35" fmla="*/ 0 h 36"/>
                    <a:gd name="T36" fmla="*/ 11 w 78"/>
                    <a:gd name="T37" fmla="*/ 4 h 36"/>
                    <a:gd name="T38" fmla="*/ 14 w 78"/>
                    <a:gd name="T39" fmla="*/ 6 h 36"/>
                    <a:gd name="T40" fmla="*/ 11 w 78"/>
                    <a:gd name="T41" fmla="*/ 5 h 36"/>
                    <a:gd name="T42" fmla="*/ 45 w 78"/>
                    <a:gd name="T43" fmla="*/ 28 h 36"/>
                    <a:gd name="T44" fmla="*/ 41 w 78"/>
                    <a:gd name="T45" fmla="*/ 26 h 36"/>
                    <a:gd name="T46" fmla="*/ 40 w 78"/>
                    <a:gd name="T47" fmla="*/ 27 h 36"/>
                    <a:gd name="T48" fmla="*/ 42 w 78"/>
                    <a:gd name="T49" fmla="*/ 29 h 36"/>
                    <a:gd name="T50" fmla="*/ 16 w 78"/>
                    <a:gd name="T51" fmla="*/ 14 h 36"/>
                    <a:gd name="T52" fmla="*/ 13 w 78"/>
                    <a:gd name="T53" fmla="*/ 12 h 36"/>
                    <a:gd name="T54" fmla="*/ 11 w 78"/>
                    <a:gd name="T55" fmla="*/ 11 h 36"/>
                    <a:gd name="T56" fmla="*/ 14 w 78"/>
                    <a:gd name="T57" fmla="*/ 11 h 36"/>
                    <a:gd name="T58" fmla="*/ 8 w 78"/>
                    <a:gd name="T59" fmla="*/ 10 h 36"/>
                    <a:gd name="T60" fmla="*/ 8 w 78"/>
                    <a:gd name="T61" fmla="*/ 8 h 36"/>
                    <a:gd name="T62" fmla="*/ 17 w 78"/>
                    <a:gd name="T63" fmla="*/ 14 h 36"/>
                    <a:gd name="T64" fmla="*/ 17 w 78"/>
                    <a:gd name="T65" fmla="*/ 13 h 36"/>
                    <a:gd name="T66" fmla="*/ 12 w 78"/>
                    <a:gd name="T67" fmla="*/ 14 h 36"/>
                    <a:gd name="T68" fmla="*/ 1 w 78"/>
                    <a:gd name="T69" fmla="*/ 3 h 36"/>
                    <a:gd name="T70" fmla="*/ 32 w 78"/>
                    <a:gd name="T71" fmla="*/ 17 h 36"/>
                    <a:gd name="T72" fmla="*/ 28 w 78"/>
                    <a:gd name="T73" fmla="*/ 13 h 36"/>
                    <a:gd name="T74" fmla="*/ 13 w 78"/>
                    <a:gd name="T75" fmla="*/ 15 h 36"/>
                    <a:gd name="T76" fmla="*/ 32 w 78"/>
                    <a:gd name="T77" fmla="*/ 17 h 36"/>
                    <a:gd name="T78" fmla="*/ 0 w 78"/>
                    <a:gd name="T79" fmla="*/ 6 h 36"/>
                    <a:gd name="T80" fmla="*/ 3 w 78"/>
                    <a:gd name="T81" fmla="*/ 3 h 36"/>
                    <a:gd name="T82" fmla="*/ 10 w 78"/>
                    <a:gd name="T83" fmla="*/ 11 h 36"/>
                    <a:gd name="T84" fmla="*/ 24 w 78"/>
                    <a:gd name="T85" fmla="*/ 17 h 36"/>
                    <a:gd name="T86" fmla="*/ 42 w 78"/>
                    <a:gd name="T87" fmla="*/ 25 h 36"/>
                    <a:gd name="T88" fmla="*/ 31 w 78"/>
                    <a:gd name="T89" fmla="*/ 16 h 36"/>
                    <a:gd name="T90" fmla="*/ 30 w 78"/>
                    <a:gd name="T91" fmla="*/ 16 h 36"/>
                    <a:gd name="T92" fmla="*/ 13 w 78"/>
                    <a:gd name="T93" fmla="*/ 12 h 36"/>
                    <a:gd name="T94" fmla="*/ 2 w 78"/>
                    <a:gd name="T95" fmla="*/ 4 h 36"/>
                    <a:gd name="T96" fmla="*/ 36 w 78"/>
                    <a:gd name="T97" fmla="*/ 22 h 36"/>
                    <a:gd name="T98" fmla="*/ 21 w 78"/>
                    <a:gd name="T99" fmla="*/ 7 h 36"/>
                    <a:gd name="T100" fmla="*/ 13 w 78"/>
                    <a:gd name="T101" fmla="*/ 12 h 36"/>
                    <a:gd name="T102" fmla="*/ 27 w 78"/>
                    <a:gd name="T103" fmla="*/ 11 h 36"/>
                    <a:gd name="T104" fmla="*/ 22 w 78"/>
                    <a:gd name="T105" fmla="*/ 7 h 36"/>
                    <a:gd name="T106" fmla="*/ 30 w 78"/>
                    <a:gd name="T107" fmla="*/ 16 h 36"/>
                    <a:gd name="T108" fmla="*/ 24 w 78"/>
                    <a:gd name="T109" fmla="*/ 17 h 36"/>
                    <a:gd name="T110" fmla="*/ 43 w 78"/>
                    <a:gd name="T111" fmla="*/ 24 h 36"/>
                    <a:gd name="T112" fmla="*/ 12 w 78"/>
                    <a:gd name="T113" fmla="*/ 12 h 36"/>
                    <a:gd name="T114" fmla="*/ 30 w 78"/>
                    <a:gd name="T115" fmla="*/ 34 h 36"/>
                    <a:gd name="T116" fmla="*/ 34 w 78"/>
                    <a:gd name="T117" fmla="*/ 36 h 36"/>
                    <a:gd name="T118" fmla="*/ 70 w 78"/>
                    <a:gd name="T119" fmla="*/ 29 h 36"/>
                    <a:gd name="T120" fmla="*/ 77 w 78"/>
                    <a:gd name="T121" fmla="*/ 36 h 36"/>
                    <a:gd name="T122" fmla="*/ 70 w 78"/>
                    <a:gd name="T1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 h="36">
                      <a:moveTo>
                        <a:pt x="36" y="22"/>
                      </a:moveTo>
                      <a:cubicBezTo>
                        <a:pt x="35" y="22"/>
                        <a:pt x="36" y="22"/>
                        <a:pt x="36" y="22"/>
                      </a:cubicBezTo>
                      <a:cubicBezTo>
                        <a:pt x="36" y="22"/>
                        <a:pt x="35" y="22"/>
                        <a:pt x="35" y="22"/>
                      </a:cubicBezTo>
                      <a:cubicBezTo>
                        <a:pt x="36" y="22"/>
                        <a:pt x="35" y="22"/>
                        <a:pt x="35" y="22"/>
                      </a:cubicBezTo>
                      <a:cubicBezTo>
                        <a:pt x="35" y="22"/>
                        <a:pt x="35" y="22"/>
                        <a:pt x="35" y="22"/>
                      </a:cubicBezTo>
                      <a:cubicBezTo>
                        <a:pt x="35" y="22"/>
                        <a:pt x="35" y="22"/>
                        <a:pt x="35" y="22"/>
                      </a:cubicBezTo>
                      <a:cubicBezTo>
                        <a:pt x="35" y="22"/>
                        <a:pt x="35" y="21"/>
                        <a:pt x="35" y="22"/>
                      </a:cubicBezTo>
                      <a:cubicBezTo>
                        <a:pt x="35" y="22"/>
                        <a:pt x="35" y="22"/>
                        <a:pt x="35" y="21"/>
                      </a:cubicBezTo>
                      <a:cubicBezTo>
                        <a:pt x="35" y="21"/>
                        <a:pt x="34" y="21"/>
                        <a:pt x="34" y="21"/>
                      </a:cubicBezTo>
                      <a:cubicBezTo>
                        <a:pt x="35" y="21"/>
                        <a:pt x="34" y="21"/>
                        <a:pt x="34" y="21"/>
                      </a:cubicBezTo>
                      <a:cubicBezTo>
                        <a:pt x="34" y="21"/>
                        <a:pt x="34" y="21"/>
                        <a:pt x="34" y="21"/>
                      </a:cubicBezTo>
                      <a:cubicBezTo>
                        <a:pt x="34" y="21"/>
                        <a:pt x="34" y="20"/>
                        <a:pt x="34" y="20"/>
                      </a:cubicBezTo>
                      <a:cubicBezTo>
                        <a:pt x="33" y="20"/>
                        <a:pt x="33" y="20"/>
                        <a:pt x="33" y="20"/>
                      </a:cubicBezTo>
                      <a:cubicBezTo>
                        <a:pt x="33" y="20"/>
                        <a:pt x="33" y="20"/>
                        <a:pt x="33" y="20"/>
                      </a:cubicBezTo>
                      <a:cubicBezTo>
                        <a:pt x="33" y="20"/>
                        <a:pt x="33" y="20"/>
                        <a:pt x="33" y="20"/>
                      </a:cubicBezTo>
                      <a:cubicBezTo>
                        <a:pt x="33" y="20"/>
                        <a:pt x="32" y="19"/>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1" y="19"/>
                        <a:pt x="31" y="20"/>
                        <a:pt x="31" y="19"/>
                      </a:cubicBezTo>
                      <a:cubicBezTo>
                        <a:pt x="31" y="19"/>
                        <a:pt x="31" y="20"/>
                        <a:pt x="31" y="20"/>
                      </a:cubicBezTo>
                      <a:cubicBezTo>
                        <a:pt x="31" y="20"/>
                        <a:pt x="31" y="20"/>
                        <a:pt x="30" y="20"/>
                      </a:cubicBezTo>
                      <a:cubicBezTo>
                        <a:pt x="30" y="19"/>
                        <a:pt x="30" y="19"/>
                        <a:pt x="30" y="20"/>
                      </a:cubicBezTo>
                      <a:cubicBezTo>
                        <a:pt x="30" y="20"/>
                        <a:pt x="30" y="20"/>
                        <a:pt x="30" y="20"/>
                      </a:cubicBezTo>
                      <a:cubicBezTo>
                        <a:pt x="30" y="20"/>
                        <a:pt x="30" y="20"/>
                        <a:pt x="30" y="20"/>
                      </a:cubicBezTo>
                      <a:cubicBezTo>
                        <a:pt x="29" y="20"/>
                        <a:pt x="29" y="19"/>
                        <a:pt x="29" y="19"/>
                      </a:cubicBezTo>
                      <a:cubicBezTo>
                        <a:pt x="29" y="19"/>
                        <a:pt x="29" y="19"/>
                        <a:pt x="29" y="19"/>
                      </a:cubicBezTo>
                      <a:cubicBezTo>
                        <a:pt x="29" y="19"/>
                        <a:pt x="29" y="19"/>
                        <a:pt x="29" y="19"/>
                      </a:cubicBezTo>
                      <a:cubicBezTo>
                        <a:pt x="29" y="19"/>
                        <a:pt x="29" y="19"/>
                        <a:pt x="29" y="19"/>
                      </a:cubicBezTo>
                      <a:cubicBezTo>
                        <a:pt x="28" y="19"/>
                        <a:pt x="28" y="19"/>
                        <a:pt x="28" y="18"/>
                      </a:cubicBezTo>
                      <a:cubicBezTo>
                        <a:pt x="28" y="18"/>
                        <a:pt x="28" y="18"/>
                        <a:pt x="28" y="18"/>
                      </a:cubicBezTo>
                      <a:cubicBezTo>
                        <a:pt x="28" y="19"/>
                        <a:pt x="28" y="19"/>
                        <a:pt x="28" y="19"/>
                      </a:cubicBezTo>
                      <a:cubicBezTo>
                        <a:pt x="27" y="19"/>
                        <a:pt x="27" y="19"/>
                        <a:pt x="27" y="19"/>
                      </a:cubicBezTo>
                      <a:cubicBezTo>
                        <a:pt x="27" y="19"/>
                        <a:pt x="27" y="19"/>
                        <a:pt x="27" y="19"/>
                      </a:cubicBezTo>
                      <a:cubicBezTo>
                        <a:pt x="27" y="19"/>
                        <a:pt x="27" y="20"/>
                        <a:pt x="27" y="20"/>
                      </a:cubicBezTo>
                      <a:cubicBezTo>
                        <a:pt x="27" y="20"/>
                        <a:pt x="27" y="20"/>
                        <a:pt x="27" y="20"/>
                      </a:cubicBezTo>
                      <a:cubicBezTo>
                        <a:pt x="27" y="20"/>
                        <a:pt x="27" y="20"/>
                        <a:pt x="27" y="20"/>
                      </a:cubicBezTo>
                      <a:cubicBezTo>
                        <a:pt x="27" y="20"/>
                        <a:pt x="27" y="20"/>
                        <a:pt x="27" y="20"/>
                      </a:cubicBezTo>
                      <a:cubicBezTo>
                        <a:pt x="28" y="20"/>
                        <a:pt x="28" y="21"/>
                        <a:pt x="28" y="21"/>
                      </a:cubicBezTo>
                      <a:cubicBezTo>
                        <a:pt x="28" y="21"/>
                        <a:pt x="28" y="21"/>
                        <a:pt x="28" y="21"/>
                      </a:cubicBezTo>
                      <a:cubicBezTo>
                        <a:pt x="28" y="21"/>
                        <a:pt x="28" y="21"/>
                        <a:pt x="28" y="21"/>
                      </a:cubicBezTo>
                      <a:cubicBezTo>
                        <a:pt x="28" y="21"/>
                        <a:pt x="28" y="21"/>
                        <a:pt x="28" y="21"/>
                      </a:cubicBezTo>
                      <a:cubicBezTo>
                        <a:pt x="28" y="21"/>
                        <a:pt x="28" y="21"/>
                        <a:pt x="28" y="22"/>
                      </a:cubicBezTo>
                      <a:cubicBezTo>
                        <a:pt x="28" y="22"/>
                        <a:pt x="28" y="22"/>
                        <a:pt x="28" y="22"/>
                      </a:cubicBezTo>
                      <a:cubicBezTo>
                        <a:pt x="28" y="22"/>
                        <a:pt x="28" y="22"/>
                        <a:pt x="29" y="22"/>
                      </a:cubicBezTo>
                      <a:cubicBezTo>
                        <a:pt x="29" y="22"/>
                        <a:pt x="29" y="22"/>
                        <a:pt x="29" y="22"/>
                      </a:cubicBezTo>
                      <a:cubicBezTo>
                        <a:pt x="29" y="22"/>
                        <a:pt x="29" y="22"/>
                        <a:pt x="29" y="22"/>
                      </a:cubicBezTo>
                      <a:cubicBezTo>
                        <a:pt x="29" y="22"/>
                        <a:pt x="29" y="22"/>
                        <a:pt x="29" y="22"/>
                      </a:cubicBezTo>
                      <a:cubicBezTo>
                        <a:pt x="29" y="22"/>
                        <a:pt x="30" y="22"/>
                        <a:pt x="30" y="22"/>
                      </a:cubicBezTo>
                      <a:cubicBezTo>
                        <a:pt x="30" y="22"/>
                        <a:pt x="30" y="22"/>
                        <a:pt x="30" y="22"/>
                      </a:cubicBezTo>
                      <a:cubicBezTo>
                        <a:pt x="30" y="22"/>
                        <a:pt x="30" y="22"/>
                        <a:pt x="30" y="22"/>
                      </a:cubicBezTo>
                      <a:cubicBezTo>
                        <a:pt x="30" y="22"/>
                        <a:pt x="30" y="22"/>
                        <a:pt x="30" y="22"/>
                      </a:cubicBezTo>
                      <a:cubicBezTo>
                        <a:pt x="30" y="22"/>
                        <a:pt x="31" y="22"/>
                        <a:pt x="31" y="22"/>
                      </a:cubicBezTo>
                      <a:cubicBezTo>
                        <a:pt x="31" y="22"/>
                        <a:pt x="31" y="22"/>
                        <a:pt x="31" y="22"/>
                      </a:cubicBezTo>
                      <a:cubicBezTo>
                        <a:pt x="31" y="22"/>
                        <a:pt x="31" y="22"/>
                        <a:pt x="32" y="22"/>
                      </a:cubicBezTo>
                      <a:cubicBezTo>
                        <a:pt x="32" y="22"/>
                        <a:pt x="32" y="22"/>
                        <a:pt x="32" y="22"/>
                      </a:cubicBezTo>
                      <a:cubicBezTo>
                        <a:pt x="32" y="22"/>
                        <a:pt x="32" y="22"/>
                        <a:pt x="32" y="22"/>
                      </a:cubicBezTo>
                      <a:cubicBezTo>
                        <a:pt x="32" y="22"/>
                        <a:pt x="32" y="22"/>
                        <a:pt x="32" y="22"/>
                      </a:cubicBezTo>
                      <a:cubicBezTo>
                        <a:pt x="33" y="22"/>
                        <a:pt x="33" y="23"/>
                        <a:pt x="33" y="23"/>
                      </a:cubicBezTo>
                      <a:cubicBezTo>
                        <a:pt x="33" y="23"/>
                        <a:pt x="33" y="23"/>
                        <a:pt x="33" y="23"/>
                      </a:cubicBezTo>
                      <a:cubicBezTo>
                        <a:pt x="33" y="23"/>
                        <a:pt x="33" y="23"/>
                        <a:pt x="33" y="23"/>
                      </a:cubicBezTo>
                      <a:cubicBezTo>
                        <a:pt x="33" y="23"/>
                        <a:pt x="33" y="23"/>
                        <a:pt x="33" y="23"/>
                      </a:cubicBezTo>
                      <a:cubicBezTo>
                        <a:pt x="33" y="23"/>
                        <a:pt x="34" y="23"/>
                        <a:pt x="34" y="23"/>
                      </a:cubicBezTo>
                      <a:cubicBezTo>
                        <a:pt x="34" y="23"/>
                        <a:pt x="34" y="23"/>
                        <a:pt x="34" y="23"/>
                      </a:cubicBezTo>
                      <a:cubicBezTo>
                        <a:pt x="34" y="23"/>
                        <a:pt x="34" y="23"/>
                        <a:pt x="34" y="23"/>
                      </a:cubicBezTo>
                      <a:cubicBezTo>
                        <a:pt x="34" y="23"/>
                        <a:pt x="34" y="23"/>
                        <a:pt x="34" y="23"/>
                      </a:cubicBezTo>
                      <a:cubicBezTo>
                        <a:pt x="34" y="23"/>
                        <a:pt x="34" y="23"/>
                        <a:pt x="34" y="23"/>
                      </a:cubicBezTo>
                      <a:cubicBezTo>
                        <a:pt x="34" y="23"/>
                        <a:pt x="35" y="23"/>
                        <a:pt x="35" y="23"/>
                      </a:cubicBezTo>
                      <a:cubicBezTo>
                        <a:pt x="35" y="23"/>
                        <a:pt x="35" y="23"/>
                        <a:pt x="35" y="23"/>
                      </a:cubicBezTo>
                      <a:cubicBezTo>
                        <a:pt x="35" y="23"/>
                        <a:pt x="35" y="23"/>
                        <a:pt x="35" y="23"/>
                      </a:cubicBezTo>
                      <a:cubicBezTo>
                        <a:pt x="35" y="23"/>
                        <a:pt x="36" y="23"/>
                        <a:pt x="36" y="23"/>
                      </a:cubicBezTo>
                      <a:cubicBezTo>
                        <a:pt x="36" y="23"/>
                        <a:pt x="36" y="23"/>
                        <a:pt x="36" y="22"/>
                      </a:cubicBezTo>
                      <a:cubicBezTo>
                        <a:pt x="36" y="22"/>
                        <a:pt x="36" y="22"/>
                        <a:pt x="36" y="22"/>
                      </a:cubicBezTo>
                      <a:cubicBezTo>
                        <a:pt x="36" y="22"/>
                        <a:pt x="36" y="22"/>
                        <a:pt x="36" y="22"/>
                      </a:cubicBezTo>
                      <a:close/>
                      <a:moveTo>
                        <a:pt x="39" y="20"/>
                      </a:moveTo>
                      <a:cubicBezTo>
                        <a:pt x="39" y="20"/>
                        <a:pt x="39" y="20"/>
                        <a:pt x="39" y="20"/>
                      </a:cubicBezTo>
                      <a:cubicBezTo>
                        <a:pt x="39" y="20"/>
                        <a:pt x="38" y="20"/>
                        <a:pt x="38" y="20"/>
                      </a:cubicBezTo>
                      <a:cubicBezTo>
                        <a:pt x="38" y="20"/>
                        <a:pt x="38" y="20"/>
                        <a:pt x="38" y="19"/>
                      </a:cubicBezTo>
                      <a:cubicBezTo>
                        <a:pt x="38" y="19"/>
                        <a:pt x="38" y="19"/>
                        <a:pt x="38" y="19"/>
                      </a:cubicBezTo>
                      <a:cubicBezTo>
                        <a:pt x="38" y="19"/>
                        <a:pt x="38" y="19"/>
                        <a:pt x="38" y="19"/>
                      </a:cubicBezTo>
                      <a:cubicBezTo>
                        <a:pt x="38" y="19"/>
                        <a:pt x="38" y="19"/>
                        <a:pt x="38"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8"/>
                        <a:pt x="37" y="18"/>
                      </a:cubicBezTo>
                      <a:cubicBezTo>
                        <a:pt x="37" y="18"/>
                        <a:pt x="37" y="18"/>
                        <a:pt x="37" y="18"/>
                      </a:cubicBezTo>
                      <a:cubicBezTo>
                        <a:pt x="37" y="18"/>
                        <a:pt x="36" y="18"/>
                        <a:pt x="36" y="18"/>
                      </a:cubicBezTo>
                      <a:cubicBezTo>
                        <a:pt x="36" y="18"/>
                        <a:pt x="36" y="18"/>
                        <a:pt x="36" y="18"/>
                      </a:cubicBezTo>
                      <a:cubicBezTo>
                        <a:pt x="36" y="18"/>
                        <a:pt x="36" y="18"/>
                        <a:pt x="36" y="18"/>
                      </a:cubicBezTo>
                      <a:cubicBezTo>
                        <a:pt x="36" y="18"/>
                        <a:pt x="36"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6"/>
                        <a:pt x="35" y="16"/>
                      </a:cubicBezTo>
                      <a:cubicBezTo>
                        <a:pt x="35" y="16"/>
                        <a:pt x="35" y="16"/>
                        <a:pt x="35" y="16"/>
                      </a:cubicBezTo>
                      <a:cubicBezTo>
                        <a:pt x="35" y="16"/>
                        <a:pt x="35" y="16"/>
                        <a:pt x="35" y="16"/>
                      </a:cubicBezTo>
                      <a:cubicBezTo>
                        <a:pt x="35" y="16"/>
                        <a:pt x="35" y="16"/>
                        <a:pt x="35" y="16"/>
                      </a:cubicBezTo>
                      <a:cubicBezTo>
                        <a:pt x="35" y="16"/>
                        <a:pt x="35" y="15"/>
                        <a:pt x="35" y="15"/>
                      </a:cubicBezTo>
                      <a:cubicBezTo>
                        <a:pt x="35" y="15"/>
                        <a:pt x="35" y="15"/>
                        <a:pt x="35" y="15"/>
                      </a:cubicBezTo>
                      <a:cubicBezTo>
                        <a:pt x="35" y="15"/>
                        <a:pt x="35" y="15"/>
                        <a:pt x="35" y="15"/>
                      </a:cubicBezTo>
                      <a:cubicBezTo>
                        <a:pt x="35" y="15"/>
                        <a:pt x="35" y="15"/>
                        <a:pt x="35" y="15"/>
                      </a:cubicBezTo>
                      <a:cubicBezTo>
                        <a:pt x="35" y="14"/>
                        <a:pt x="35" y="14"/>
                        <a:pt x="35" y="14"/>
                      </a:cubicBezTo>
                      <a:cubicBezTo>
                        <a:pt x="35" y="14"/>
                        <a:pt x="35" y="14"/>
                        <a:pt x="35" y="14"/>
                      </a:cubicBezTo>
                      <a:cubicBezTo>
                        <a:pt x="34" y="14"/>
                        <a:pt x="34" y="14"/>
                        <a:pt x="35" y="14"/>
                      </a:cubicBezTo>
                      <a:cubicBezTo>
                        <a:pt x="35" y="14"/>
                        <a:pt x="35" y="14"/>
                        <a:pt x="35" y="14"/>
                      </a:cubicBezTo>
                      <a:cubicBezTo>
                        <a:pt x="35" y="14"/>
                        <a:pt x="35" y="14"/>
                        <a:pt x="35" y="14"/>
                      </a:cubicBezTo>
                      <a:cubicBezTo>
                        <a:pt x="35" y="14"/>
                        <a:pt x="35" y="14"/>
                        <a:pt x="35" y="14"/>
                      </a:cubicBezTo>
                      <a:cubicBezTo>
                        <a:pt x="35" y="14"/>
                        <a:pt x="35" y="14"/>
                        <a:pt x="35" y="14"/>
                      </a:cubicBezTo>
                      <a:cubicBezTo>
                        <a:pt x="35" y="13"/>
                        <a:pt x="35" y="13"/>
                        <a:pt x="35" y="13"/>
                      </a:cubicBezTo>
                      <a:cubicBezTo>
                        <a:pt x="35" y="13"/>
                        <a:pt x="34" y="13"/>
                        <a:pt x="34" y="13"/>
                      </a:cubicBezTo>
                      <a:cubicBezTo>
                        <a:pt x="34" y="13"/>
                        <a:pt x="34" y="13"/>
                        <a:pt x="34" y="13"/>
                      </a:cubicBezTo>
                      <a:cubicBezTo>
                        <a:pt x="34" y="13"/>
                        <a:pt x="34" y="13"/>
                        <a:pt x="34" y="13"/>
                      </a:cubicBezTo>
                      <a:cubicBezTo>
                        <a:pt x="34" y="12"/>
                        <a:pt x="34" y="12"/>
                        <a:pt x="34" y="12"/>
                      </a:cubicBezTo>
                      <a:cubicBezTo>
                        <a:pt x="34" y="12"/>
                        <a:pt x="34" y="12"/>
                        <a:pt x="34" y="12"/>
                      </a:cubicBezTo>
                      <a:cubicBezTo>
                        <a:pt x="34"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4"/>
                        <a:pt x="36" y="14"/>
                        <a:pt x="36" y="14"/>
                      </a:cubicBezTo>
                      <a:cubicBezTo>
                        <a:pt x="37" y="14"/>
                        <a:pt x="37" y="14"/>
                        <a:pt x="37" y="14"/>
                      </a:cubicBezTo>
                      <a:cubicBezTo>
                        <a:pt x="37" y="14"/>
                        <a:pt x="37" y="14"/>
                        <a:pt x="37" y="14"/>
                      </a:cubicBezTo>
                      <a:cubicBezTo>
                        <a:pt x="37" y="14"/>
                        <a:pt x="37" y="14"/>
                        <a:pt x="37" y="14"/>
                      </a:cubicBezTo>
                      <a:cubicBezTo>
                        <a:pt x="37" y="15"/>
                        <a:pt x="37" y="15"/>
                        <a:pt x="37" y="15"/>
                      </a:cubicBezTo>
                      <a:cubicBezTo>
                        <a:pt x="36" y="15"/>
                        <a:pt x="36" y="15"/>
                        <a:pt x="36" y="15"/>
                      </a:cubicBezTo>
                      <a:cubicBezTo>
                        <a:pt x="37" y="15"/>
                        <a:pt x="37" y="15"/>
                        <a:pt x="36" y="15"/>
                      </a:cubicBezTo>
                      <a:cubicBezTo>
                        <a:pt x="36" y="15"/>
                        <a:pt x="36" y="15"/>
                        <a:pt x="36" y="15"/>
                      </a:cubicBezTo>
                      <a:cubicBezTo>
                        <a:pt x="36" y="15"/>
                        <a:pt x="36" y="15"/>
                        <a:pt x="36" y="15"/>
                      </a:cubicBezTo>
                      <a:cubicBezTo>
                        <a:pt x="36" y="15"/>
                        <a:pt x="36"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8" y="16"/>
                        <a:pt x="38" y="16"/>
                        <a:pt x="38" y="16"/>
                      </a:cubicBezTo>
                      <a:cubicBezTo>
                        <a:pt x="38" y="16"/>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8"/>
                        <a:pt x="38" y="18"/>
                      </a:cubicBezTo>
                      <a:cubicBezTo>
                        <a:pt x="38" y="18"/>
                        <a:pt x="38" y="18"/>
                        <a:pt x="38" y="18"/>
                      </a:cubicBezTo>
                      <a:cubicBezTo>
                        <a:pt x="38" y="18"/>
                        <a:pt x="38" y="18"/>
                        <a:pt x="38" y="18"/>
                      </a:cubicBezTo>
                      <a:cubicBezTo>
                        <a:pt x="38" y="18"/>
                        <a:pt x="39" y="18"/>
                        <a:pt x="38" y="18"/>
                      </a:cubicBezTo>
                      <a:cubicBezTo>
                        <a:pt x="38" y="18"/>
                        <a:pt x="39" y="18"/>
                        <a:pt x="39" y="18"/>
                      </a:cubicBezTo>
                      <a:cubicBezTo>
                        <a:pt x="39" y="18"/>
                        <a:pt x="38" y="18"/>
                        <a:pt x="38" y="18"/>
                      </a:cubicBezTo>
                      <a:cubicBezTo>
                        <a:pt x="38" y="18"/>
                        <a:pt x="38" y="18"/>
                        <a:pt x="38" y="18"/>
                      </a:cubicBezTo>
                      <a:cubicBezTo>
                        <a:pt x="39" y="18"/>
                        <a:pt x="39" y="19"/>
                        <a:pt x="39" y="19"/>
                      </a:cubicBezTo>
                      <a:cubicBezTo>
                        <a:pt x="39" y="19"/>
                        <a:pt x="39" y="19"/>
                        <a:pt x="39" y="19"/>
                      </a:cubicBezTo>
                      <a:cubicBezTo>
                        <a:pt x="38" y="19"/>
                        <a:pt x="38" y="19"/>
                        <a:pt x="38" y="19"/>
                      </a:cubicBezTo>
                      <a:cubicBezTo>
                        <a:pt x="38" y="19"/>
                        <a:pt x="38" y="19"/>
                        <a:pt x="38" y="19"/>
                      </a:cubicBezTo>
                      <a:cubicBezTo>
                        <a:pt x="38" y="19"/>
                        <a:pt x="38" y="19"/>
                        <a:pt x="38" y="19"/>
                      </a:cubicBezTo>
                      <a:cubicBezTo>
                        <a:pt x="38" y="19"/>
                        <a:pt x="38" y="19"/>
                        <a:pt x="39" y="19"/>
                      </a:cubicBezTo>
                      <a:cubicBezTo>
                        <a:pt x="39" y="19"/>
                        <a:pt x="39" y="19"/>
                        <a:pt x="39" y="19"/>
                      </a:cubicBezTo>
                      <a:cubicBezTo>
                        <a:pt x="39" y="19"/>
                        <a:pt x="39" y="19"/>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40" y="20"/>
                        <a:pt x="39" y="20"/>
                        <a:pt x="39" y="20"/>
                      </a:cubicBezTo>
                      <a:cubicBezTo>
                        <a:pt x="39" y="20"/>
                        <a:pt x="39" y="20"/>
                        <a:pt x="39" y="20"/>
                      </a:cubicBezTo>
                      <a:cubicBezTo>
                        <a:pt x="39" y="20"/>
                        <a:pt x="39" y="20"/>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40" y="19"/>
                        <a:pt x="40" y="19"/>
                        <a:pt x="40" y="20"/>
                      </a:cubicBezTo>
                      <a:cubicBezTo>
                        <a:pt x="40" y="20"/>
                        <a:pt x="40" y="20"/>
                        <a:pt x="40" y="20"/>
                      </a:cubicBezTo>
                      <a:cubicBezTo>
                        <a:pt x="40" y="20"/>
                        <a:pt x="40" y="20"/>
                        <a:pt x="40" y="20"/>
                      </a:cubicBezTo>
                      <a:cubicBezTo>
                        <a:pt x="40" y="20"/>
                        <a:pt x="40" y="20"/>
                        <a:pt x="40" y="20"/>
                      </a:cubicBezTo>
                      <a:cubicBezTo>
                        <a:pt x="40" y="20"/>
                        <a:pt x="40" y="20"/>
                        <a:pt x="40" y="20"/>
                      </a:cubicBezTo>
                      <a:cubicBezTo>
                        <a:pt x="41" y="20"/>
                        <a:pt x="41" y="21"/>
                        <a:pt x="41" y="21"/>
                      </a:cubicBezTo>
                      <a:cubicBezTo>
                        <a:pt x="41" y="21"/>
                        <a:pt x="41" y="21"/>
                        <a:pt x="41" y="21"/>
                      </a:cubicBezTo>
                      <a:cubicBezTo>
                        <a:pt x="40" y="21"/>
                        <a:pt x="41" y="21"/>
                        <a:pt x="41" y="21"/>
                      </a:cubicBezTo>
                      <a:cubicBezTo>
                        <a:pt x="41" y="21"/>
                        <a:pt x="41" y="22"/>
                        <a:pt x="41" y="22"/>
                      </a:cubicBezTo>
                      <a:cubicBezTo>
                        <a:pt x="41" y="22"/>
                        <a:pt x="41" y="22"/>
                        <a:pt x="41" y="22"/>
                      </a:cubicBezTo>
                      <a:cubicBezTo>
                        <a:pt x="40" y="21"/>
                        <a:pt x="40" y="21"/>
                        <a:pt x="40" y="21"/>
                      </a:cubicBezTo>
                      <a:cubicBezTo>
                        <a:pt x="40" y="21"/>
                        <a:pt x="40" y="21"/>
                        <a:pt x="40" y="21"/>
                      </a:cubicBezTo>
                      <a:cubicBezTo>
                        <a:pt x="40" y="21"/>
                        <a:pt x="40" y="21"/>
                        <a:pt x="40" y="21"/>
                      </a:cubicBezTo>
                      <a:cubicBezTo>
                        <a:pt x="40" y="21"/>
                        <a:pt x="40" y="21"/>
                        <a:pt x="40" y="21"/>
                      </a:cubicBezTo>
                      <a:cubicBezTo>
                        <a:pt x="39" y="21"/>
                        <a:pt x="40" y="21"/>
                        <a:pt x="40" y="21"/>
                      </a:cubicBezTo>
                      <a:cubicBezTo>
                        <a:pt x="40" y="21"/>
                        <a:pt x="40" y="21"/>
                        <a:pt x="39" y="21"/>
                      </a:cubicBezTo>
                      <a:cubicBezTo>
                        <a:pt x="39" y="21"/>
                        <a:pt x="39" y="21"/>
                        <a:pt x="39" y="21"/>
                      </a:cubicBezTo>
                      <a:cubicBezTo>
                        <a:pt x="39" y="21"/>
                        <a:pt x="39" y="21"/>
                        <a:pt x="39" y="20"/>
                      </a:cubicBezTo>
                      <a:cubicBezTo>
                        <a:pt x="39" y="20"/>
                        <a:pt x="39" y="20"/>
                        <a:pt x="39" y="20"/>
                      </a:cubicBezTo>
                      <a:cubicBezTo>
                        <a:pt x="39" y="20"/>
                        <a:pt x="39" y="20"/>
                        <a:pt x="39" y="20"/>
                      </a:cubicBezTo>
                      <a:close/>
                      <a:moveTo>
                        <a:pt x="27" y="12"/>
                      </a:moveTo>
                      <a:cubicBezTo>
                        <a:pt x="27" y="12"/>
                        <a:pt x="27" y="12"/>
                        <a:pt x="27" y="12"/>
                      </a:cubicBezTo>
                      <a:cubicBezTo>
                        <a:pt x="27" y="12"/>
                        <a:pt x="26" y="12"/>
                        <a:pt x="26" y="12"/>
                      </a:cubicBezTo>
                      <a:cubicBezTo>
                        <a:pt x="26" y="12"/>
                        <a:pt x="26" y="12"/>
                        <a:pt x="26" y="12"/>
                      </a:cubicBezTo>
                      <a:cubicBezTo>
                        <a:pt x="26" y="12"/>
                        <a:pt x="25" y="12"/>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4" y="11"/>
                      </a:cubicBezTo>
                      <a:cubicBezTo>
                        <a:pt x="24" y="11"/>
                        <a:pt x="24" y="11"/>
                        <a:pt x="24" y="11"/>
                      </a:cubicBezTo>
                      <a:cubicBezTo>
                        <a:pt x="24" y="11"/>
                        <a:pt x="24" y="11"/>
                        <a:pt x="24" y="11"/>
                      </a:cubicBezTo>
                      <a:cubicBezTo>
                        <a:pt x="24" y="11"/>
                        <a:pt x="24" y="11"/>
                        <a:pt x="24" y="10"/>
                      </a:cubicBezTo>
                      <a:cubicBezTo>
                        <a:pt x="24" y="11"/>
                        <a:pt x="24" y="10"/>
                        <a:pt x="23" y="10"/>
                      </a:cubicBezTo>
                      <a:cubicBezTo>
                        <a:pt x="23" y="10"/>
                        <a:pt x="23"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9"/>
                        <a:pt x="21" y="8"/>
                        <a:pt x="21" y="8"/>
                      </a:cubicBezTo>
                      <a:cubicBezTo>
                        <a:pt x="21" y="8"/>
                        <a:pt x="21" y="8"/>
                        <a:pt x="21" y="8"/>
                      </a:cubicBezTo>
                      <a:cubicBezTo>
                        <a:pt x="21" y="8"/>
                        <a:pt x="21" y="8"/>
                        <a:pt x="21" y="8"/>
                      </a:cubicBezTo>
                      <a:cubicBezTo>
                        <a:pt x="21" y="8"/>
                        <a:pt x="21" y="8"/>
                        <a:pt x="21" y="8"/>
                      </a:cubicBezTo>
                      <a:cubicBezTo>
                        <a:pt x="21" y="8"/>
                        <a:pt x="20" y="8"/>
                        <a:pt x="21" y="8"/>
                      </a:cubicBezTo>
                      <a:cubicBezTo>
                        <a:pt x="21" y="8"/>
                        <a:pt x="21" y="8"/>
                        <a:pt x="21" y="8"/>
                      </a:cubicBezTo>
                      <a:cubicBezTo>
                        <a:pt x="20" y="8"/>
                        <a:pt x="20" y="8"/>
                        <a:pt x="20" y="8"/>
                      </a:cubicBezTo>
                      <a:cubicBezTo>
                        <a:pt x="20" y="8"/>
                        <a:pt x="20" y="8"/>
                        <a:pt x="20" y="8"/>
                      </a:cubicBezTo>
                      <a:cubicBezTo>
                        <a:pt x="20" y="8"/>
                        <a:pt x="20" y="8"/>
                        <a:pt x="20" y="8"/>
                      </a:cubicBezTo>
                      <a:cubicBezTo>
                        <a:pt x="20" y="7"/>
                        <a:pt x="20" y="8"/>
                        <a:pt x="20" y="8"/>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8"/>
                        <a:pt x="20" y="8"/>
                        <a:pt x="20" y="7"/>
                      </a:cubicBezTo>
                      <a:cubicBezTo>
                        <a:pt x="20" y="7"/>
                        <a:pt x="20" y="7"/>
                        <a:pt x="20" y="7"/>
                      </a:cubicBezTo>
                      <a:cubicBezTo>
                        <a:pt x="20" y="7"/>
                        <a:pt x="20" y="7"/>
                        <a:pt x="20" y="7"/>
                      </a:cubicBezTo>
                      <a:cubicBezTo>
                        <a:pt x="20"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8" y="6"/>
                        <a:pt x="18" y="6"/>
                      </a:cubicBezTo>
                      <a:cubicBezTo>
                        <a:pt x="18" y="6"/>
                        <a:pt x="18" y="6"/>
                        <a:pt x="19" y="6"/>
                      </a:cubicBezTo>
                      <a:cubicBezTo>
                        <a:pt x="19" y="6"/>
                        <a:pt x="19" y="6"/>
                        <a:pt x="19" y="6"/>
                      </a:cubicBezTo>
                      <a:cubicBezTo>
                        <a:pt x="19" y="7"/>
                        <a:pt x="19" y="7"/>
                        <a:pt x="19" y="7"/>
                      </a:cubicBezTo>
                      <a:cubicBezTo>
                        <a:pt x="19" y="6"/>
                        <a:pt x="19" y="6"/>
                        <a:pt x="19" y="6"/>
                      </a:cubicBezTo>
                      <a:cubicBezTo>
                        <a:pt x="19" y="6"/>
                        <a:pt x="19" y="6"/>
                        <a:pt x="19" y="6"/>
                      </a:cubicBezTo>
                      <a:cubicBezTo>
                        <a:pt x="19" y="6"/>
                        <a:pt x="19" y="6"/>
                        <a:pt x="19" y="6"/>
                      </a:cubicBezTo>
                      <a:cubicBezTo>
                        <a:pt x="19" y="6"/>
                        <a:pt x="19" y="7"/>
                        <a:pt x="19" y="7"/>
                      </a:cubicBezTo>
                      <a:cubicBezTo>
                        <a:pt x="19" y="6"/>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1" y="7"/>
                      </a:cubicBezTo>
                      <a:cubicBezTo>
                        <a:pt x="21" y="7"/>
                        <a:pt x="21" y="7"/>
                        <a:pt x="21" y="7"/>
                      </a:cubicBezTo>
                      <a:cubicBezTo>
                        <a:pt x="21" y="7"/>
                        <a:pt x="21" y="7"/>
                        <a:pt x="21" y="7"/>
                      </a:cubicBezTo>
                      <a:cubicBezTo>
                        <a:pt x="21" y="7"/>
                        <a:pt x="21" y="7"/>
                        <a:pt x="21" y="7"/>
                      </a:cubicBezTo>
                      <a:cubicBezTo>
                        <a:pt x="21" y="7"/>
                        <a:pt x="21" y="7"/>
                        <a:pt x="21" y="7"/>
                      </a:cubicBezTo>
                      <a:cubicBezTo>
                        <a:pt x="22" y="7"/>
                        <a:pt x="22" y="7"/>
                        <a:pt x="22" y="7"/>
                      </a:cubicBezTo>
                      <a:cubicBezTo>
                        <a:pt x="22" y="7"/>
                        <a:pt x="22" y="7"/>
                        <a:pt x="22" y="7"/>
                      </a:cubicBezTo>
                      <a:cubicBezTo>
                        <a:pt x="22" y="7"/>
                        <a:pt x="22" y="7"/>
                        <a:pt x="22" y="7"/>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9"/>
                      </a:cubicBezTo>
                      <a:cubicBezTo>
                        <a:pt x="23" y="9"/>
                        <a:pt x="23" y="9"/>
                        <a:pt x="23" y="9"/>
                      </a:cubicBezTo>
                      <a:cubicBezTo>
                        <a:pt x="23" y="9"/>
                        <a:pt x="23" y="9"/>
                        <a:pt x="23" y="9"/>
                      </a:cubicBezTo>
                      <a:cubicBezTo>
                        <a:pt x="23" y="9"/>
                        <a:pt x="23" y="9"/>
                        <a:pt x="23"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5" y="9"/>
                      </a:cubicBezTo>
                      <a:cubicBezTo>
                        <a:pt x="25" y="9"/>
                        <a:pt x="25" y="9"/>
                        <a:pt x="25" y="9"/>
                      </a:cubicBezTo>
                      <a:cubicBezTo>
                        <a:pt x="25" y="9"/>
                        <a:pt x="25" y="9"/>
                        <a:pt x="25" y="9"/>
                      </a:cubicBezTo>
                      <a:cubicBezTo>
                        <a:pt x="25" y="9"/>
                        <a:pt x="24" y="9"/>
                        <a:pt x="24" y="9"/>
                      </a:cubicBezTo>
                      <a:cubicBezTo>
                        <a:pt x="25" y="9"/>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7" y="10"/>
                        <a:pt x="27" y="10"/>
                        <a:pt x="27" y="10"/>
                      </a:cubicBezTo>
                      <a:cubicBezTo>
                        <a:pt x="27" y="10"/>
                        <a:pt x="27" y="11"/>
                        <a:pt x="27" y="11"/>
                      </a:cubicBezTo>
                      <a:cubicBezTo>
                        <a:pt x="27" y="11"/>
                        <a:pt x="27" y="11"/>
                        <a:pt x="27" y="11"/>
                      </a:cubicBezTo>
                      <a:cubicBezTo>
                        <a:pt x="27" y="11"/>
                        <a:pt x="28" y="11"/>
                        <a:pt x="28" y="11"/>
                      </a:cubicBezTo>
                      <a:cubicBezTo>
                        <a:pt x="28" y="11"/>
                        <a:pt x="28" y="11"/>
                        <a:pt x="28" y="11"/>
                      </a:cubicBezTo>
                      <a:cubicBezTo>
                        <a:pt x="28" y="11"/>
                        <a:pt x="28" y="12"/>
                        <a:pt x="28" y="12"/>
                      </a:cubicBezTo>
                      <a:cubicBezTo>
                        <a:pt x="28" y="12"/>
                        <a:pt x="29" y="12"/>
                        <a:pt x="29" y="12"/>
                      </a:cubicBezTo>
                      <a:cubicBezTo>
                        <a:pt x="29" y="12"/>
                        <a:pt x="29" y="12"/>
                        <a:pt x="29" y="12"/>
                      </a:cubicBezTo>
                      <a:cubicBezTo>
                        <a:pt x="29" y="12"/>
                        <a:pt x="29" y="12"/>
                        <a:pt x="29" y="12"/>
                      </a:cubicBezTo>
                      <a:cubicBezTo>
                        <a:pt x="29" y="12"/>
                        <a:pt x="29" y="12"/>
                        <a:pt x="29" y="13"/>
                      </a:cubicBezTo>
                      <a:cubicBezTo>
                        <a:pt x="29" y="13"/>
                        <a:pt x="29" y="13"/>
                        <a:pt x="29" y="13"/>
                      </a:cubicBezTo>
                      <a:cubicBezTo>
                        <a:pt x="28" y="12"/>
                        <a:pt x="28" y="13"/>
                        <a:pt x="28" y="13"/>
                      </a:cubicBezTo>
                      <a:cubicBezTo>
                        <a:pt x="28"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4"/>
                        <a:pt x="29" y="14"/>
                      </a:cubicBezTo>
                      <a:cubicBezTo>
                        <a:pt x="29" y="14"/>
                        <a:pt x="29" y="14"/>
                        <a:pt x="29" y="14"/>
                      </a:cubicBezTo>
                      <a:cubicBezTo>
                        <a:pt x="29" y="14"/>
                        <a:pt x="29" y="14"/>
                        <a:pt x="29" y="14"/>
                      </a:cubicBezTo>
                      <a:cubicBezTo>
                        <a:pt x="29" y="14"/>
                        <a:pt x="29" y="14"/>
                        <a:pt x="29" y="13"/>
                      </a:cubicBezTo>
                      <a:cubicBezTo>
                        <a:pt x="29" y="13"/>
                        <a:pt x="29" y="13"/>
                        <a:pt x="29" y="13"/>
                      </a:cubicBezTo>
                      <a:cubicBezTo>
                        <a:pt x="29" y="13"/>
                        <a:pt x="29"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2"/>
                        <a:pt x="28" y="12"/>
                      </a:cubicBezTo>
                      <a:cubicBezTo>
                        <a:pt x="27" y="12"/>
                        <a:pt x="27" y="12"/>
                        <a:pt x="27" y="12"/>
                      </a:cubicBezTo>
                      <a:cubicBezTo>
                        <a:pt x="27" y="12"/>
                        <a:pt x="27" y="12"/>
                        <a:pt x="27" y="12"/>
                      </a:cubicBezTo>
                      <a:cubicBezTo>
                        <a:pt x="27" y="12"/>
                        <a:pt x="27" y="12"/>
                        <a:pt x="27" y="12"/>
                      </a:cubicBezTo>
                      <a:cubicBezTo>
                        <a:pt x="27" y="12"/>
                        <a:pt x="27" y="12"/>
                        <a:pt x="27" y="12"/>
                      </a:cubicBezTo>
                      <a:close/>
                      <a:moveTo>
                        <a:pt x="9" y="5"/>
                      </a:move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8" y="4"/>
                      </a:cubicBezTo>
                      <a:cubicBezTo>
                        <a:pt x="8" y="4"/>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7" y="2"/>
                      </a:cubicBezTo>
                      <a:cubicBezTo>
                        <a:pt x="7" y="2"/>
                        <a:pt x="7" y="2"/>
                        <a:pt x="7" y="2"/>
                      </a:cubicBezTo>
                      <a:cubicBezTo>
                        <a:pt x="7" y="2"/>
                        <a:pt x="6" y="2"/>
                        <a:pt x="6" y="2"/>
                      </a:cubicBezTo>
                      <a:cubicBezTo>
                        <a:pt x="6" y="2"/>
                        <a:pt x="6" y="2"/>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0"/>
                      </a:cubicBezTo>
                      <a:cubicBezTo>
                        <a:pt x="6" y="0"/>
                        <a:pt x="6" y="0"/>
                        <a:pt x="6" y="0"/>
                      </a:cubicBezTo>
                      <a:cubicBezTo>
                        <a:pt x="6" y="0"/>
                        <a:pt x="6" y="0"/>
                        <a:pt x="6" y="0"/>
                      </a:cubicBezTo>
                      <a:cubicBezTo>
                        <a:pt x="6" y="0"/>
                        <a:pt x="6" y="0"/>
                        <a:pt x="6" y="0"/>
                      </a:cubicBezTo>
                      <a:cubicBezTo>
                        <a:pt x="7" y="0"/>
                        <a:pt x="7" y="0"/>
                        <a:pt x="7" y="0"/>
                      </a:cubicBezTo>
                      <a:cubicBezTo>
                        <a:pt x="7" y="1"/>
                        <a:pt x="7" y="1"/>
                        <a:pt x="7" y="1"/>
                      </a:cubicBezTo>
                      <a:cubicBezTo>
                        <a:pt x="7" y="1"/>
                        <a:pt x="7" y="1"/>
                        <a:pt x="7" y="1"/>
                      </a:cubicBezTo>
                      <a:cubicBezTo>
                        <a:pt x="7" y="1"/>
                        <a:pt x="7" y="1"/>
                        <a:pt x="8" y="1"/>
                      </a:cubicBezTo>
                      <a:cubicBezTo>
                        <a:pt x="8" y="1"/>
                        <a:pt x="8" y="1"/>
                        <a:pt x="8" y="1"/>
                      </a:cubicBezTo>
                      <a:cubicBezTo>
                        <a:pt x="8" y="1"/>
                        <a:pt x="8" y="1"/>
                        <a:pt x="8" y="1"/>
                      </a:cubicBezTo>
                      <a:cubicBezTo>
                        <a:pt x="8" y="1"/>
                        <a:pt x="8" y="1"/>
                        <a:pt x="8" y="1"/>
                      </a:cubicBezTo>
                      <a:cubicBezTo>
                        <a:pt x="8" y="1"/>
                        <a:pt x="8" y="2"/>
                        <a:pt x="8" y="2"/>
                      </a:cubicBezTo>
                      <a:cubicBezTo>
                        <a:pt x="8" y="2"/>
                        <a:pt x="9" y="2"/>
                        <a:pt x="9" y="2"/>
                      </a:cubicBezTo>
                      <a:cubicBezTo>
                        <a:pt x="9" y="2"/>
                        <a:pt x="9" y="2"/>
                        <a:pt x="9" y="2"/>
                      </a:cubicBezTo>
                      <a:cubicBezTo>
                        <a:pt x="9" y="2"/>
                        <a:pt x="9" y="2"/>
                        <a:pt x="9" y="2"/>
                      </a:cubicBezTo>
                      <a:cubicBezTo>
                        <a:pt x="10" y="2"/>
                        <a:pt x="10" y="2"/>
                        <a:pt x="10" y="2"/>
                      </a:cubicBezTo>
                      <a:cubicBezTo>
                        <a:pt x="10" y="2"/>
                        <a:pt x="10" y="2"/>
                        <a:pt x="10" y="2"/>
                      </a:cubicBezTo>
                      <a:cubicBezTo>
                        <a:pt x="10" y="2"/>
                        <a:pt x="10" y="2"/>
                        <a:pt x="10" y="2"/>
                      </a:cubicBezTo>
                      <a:cubicBezTo>
                        <a:pt x="10" y="2"/>
                        <a:pt x="10" y="2"/>
                        <a:pt x="10" y="2"/>
                      </a:cubicBezTo>
                      <a:cubicBezTo>
                        <a:pt x="10" y="3"/>
                        <a:pt x="10" y="3"/>
                        <a:pt x="10" y="3"/>
                      </a:cubicBezTo>
                      <a:cubicBezTo>
                        <a:pt x="11" y="3"/>
                        <a:pt x="11" y="3"/>
                        <a:pt x="11" y="3"/>
                      </a:cubicBezTo>
                      <a:cubicBezTo>
                        <a:pt x="11" y="3"/>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4" y="5"/>
                      </a:cubicBezTo>
                      <a:cubicBezTo>
                        <a:pt x="14" y="5"/>
                        <a:pt x="14" y="5"/>
                        <a:pt x="14" y="5"/>
                      </a:cubicBezTo>
                      <a:cubicBezTo>
                        <a:pt x="14"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2" y="6"/>
                      </a:cubicBezTo>
                      <a:cubicBezTo>
                        <a:pt x="12" y="6"/>
                        <a:pt x="12" y="6"/>
                        <a:pt x="12" y="6"/>
                      </a:cubicBezTo>
                      <a:cubicBezTo>
                        <a:pt x="12" y="6"/>
                        <a:pt x="12" y="6"/>
                        <a:pt x="12" y="5"/>
                      </a:cubicBezTo>
                      <a:cubicBezTo>
                        <a:pt x="12" y="5"/>
                        <a:pt x="12" y="5"/>
                        <a:pt x="12" y="5"/>
                      </a:cubicBezTo>
                      <a:cubicBezTo>
                        <a:pt x="12" y="5"/>
                        <a:pt x="12" y="5"/>
                        <a:pt x="12" y="5"/>
                      </a:cubicBezTo>
                      <a:cubicBezTo>
                        <a:pt x="12" y="5"/>
                        <a:pt x="12" y="6"/>
                        <a:pt x="12" y="5"/>
                      </a:cubicBezTo>
                      <a:cubicBezTo>
                        <a:pt x="12" y="5"/>
                        <a:pt x="12" y="5"/>
                        <a:pt x="11" y="5"/>
                      </a:cubicBezTo>
                      <a:cubicBezTo>
                        <a:pt x="11" y="6"/>
                        <a:pt x="11" y="6"/>
                        <a:pt x="11" y="5"/>
                      </a:cubicBezTo>
                      <a:cubicBezTo>
                        <a:pt x="11" y="5"/>
                        <a:pt x="11" y="5"/>
                        <a:pt x="11" y="5"/>
                      </a:cubicBezTo>
                      <a:cubicBezTo>
                        <a:pt x="11" y="5"/>
                        <a:pt x="11" y="5"/>
                        <a:pt x="11" y="5"/>
                      </a:cubicBezTo>
                      <a:cubicBezTo>
                        <a:pt x="11" y="5"/>
                        <a:pt x="11" y="5"/>
                        <a:pt x="11" y="5"/>
                      </a:cubicBezTo>
                      <a:cubicBezTo>
                        <a:pt x="11" y="5"/>
                        <a:pt x="11" y="6"/>
                        <a:pt x="11"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9" y="5"/>
                      </a:cubicBezTo>
                      <a:close/>
                      <a:moveTo>
                        <a:pt x="46" y="29"/>
                      </a:moveTo>
                      <a:cubicBezTo>
                        <a:pt x="46" y="29"/>
                        <a:pt x="46" y="29"/>
                        <a:pt x="46" y="29"/>
                      </a:cubicBezTo>
                      <a:cubicBezTo>
                        <a:pt x="46" y="29"/>
                        <a:pt x="46" y="29"/>
                        <a:pt x="45" y="29"/>
                      </a:cubicBezTo>
                      <a:cubicBezTo>
                        <a:pt x="45" y="29"/>
                        <a:pt x="45" y="29"/>
                        <a:pt x="45" y="29"/>
                      </a:cubicBezTo>
                      <a:cubicBezTo>
                        <a:pt x="45" y="29"/>
                        <a:pt x="45" y="29"/>
                        <a:pt x="45" y="29"/>
                      </a:cubicBezTo>
                      <a:cubicBezTo>
                        <a:pt x="45" y="29"/>
                        <a:pt x="45" y="29"/>
                        <a:pt x="45" y="29"/>
                      </a:cubicBezTo>
                      <a:cubicBezTo>
                        <a:pt x="45" y="29"/>
                        <a:pt x="45" y="29"/>
                        <a:pt x="45" y="29"/>
                      </a:cubicBezTo>
                      <a:cubicBezTo>
                        <a:pt x="46" y="29"/>
                        <a:pt x="46" y="29"/>
                        <a:pt x="45" y="29"/>
                      </a:cubicBezTo>
                      <a:cubicBezTo>
                        <a:pt x="45" y="29"/>
                        <a:pt x="45" y="28"/>
                        <a:pt x="45" y="28"/>
                      </a:cubicBezTo>
                      <a:cubicBezTo>
                        <a:pt x="45" y="28"/>
                        <a:pt x="45" y="28"/>
                        <a:pt x="45" y="28"/>
                      </a:cubicBezTo>
                      <a:cubicBezTo>
                        <a:pt x="45" y="28"/>
                        <a:pt x="45" y="28"/>
                        <a:pt x="45" y="28"/>
                      </a:cubicBezTo>
                      <a:cubicBezTo>
                        <a:pt x="45" y="28"/>
                        <a:pt x="45" y="28"/>
                        <a:pt x="45" y="28"/>
                      </a:cubicBezTo>
                      <a:cubicBezTo>
                        <a:pt x="45" y="28"/>
                        <a:pt x="45" y="28"/>
                        <a:pt x="45" y="28"/>
                      </a:cubicBezTo>
                      <a:cubicBezTo>
                        <a:pt x="45" y="27"/>
                        <a:pt x="45"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3" y="27"/>
                        <a:pt x="43" y="27"/>
                        <a:pt x="43" y="27"/>
                      </a:cubicBezTo>
                      <a:cubicBezTo>
                        <a:pt x="43" y="27"/>
                        <a:pt x="43" y="27"/>
                        <a:pt x="43" y="27"/>
                      </a:cubicBezTo>
                      <a:cubicBezTo>
                        <a:pt x="43" y="27"/>
                        <a:pt x="43" y="27"/>
                        <a:pt x="43" y="27"/>
                      </a:cubicBezTo>
                      <a:cubicBezTo>
                        <a:pt x="43" y="27"/>
                        <a:pt x="43" y="27"/>
                        <a:pt x="43" y="27"/>
                      </a:cubicBezTo>
                      <a:cubicBezTo>
                        <a:pt x="43" y="27"/>
                        <a:pt x="42" y="27"/>
                        <a:pt x="42" y="26"/>
                      </a:cubicBezTo>
                      <a:cubicBezTo>
                        <a:pt x="42" y="26"/>
                        <a:pt x="42" y="26"/>
                        <a:pt x="42" y="26"/>
                      </a:cubicBezTo>
                      <a:cubicBezTo>
                        <a:pt x="42" y="26"/>
                        <a:pt x="42" y="26"/>
                        <a:pt x="42" y="26"/>
                      </a:cubicBezTo>
                      <a:cubicBezTo>
                        <a:pt x="42"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5"/>
                        <a:pt x="41" y="25"/>
                        <a:pt x="40" y="25"/>
                      </a:cubicBezTo>
                      <a:cubicBezTo>
                        <a:pt x="40" y="25"/>
                        <a:pt x="40" y="25"/>
                        <a:pt x="40" y="25"/>
                      </a:cubicBezTo>
                      <a:cubicBezTo>
                        <a:pt x="40" y="25"/>
                        <a:pt x="40" y="25"/>
                        <a:pt x="40" y="25"/>
                      </a:cubicBezTo>
                      <a:cubicBezTo>
                        <a:pt x="39" y="25"/>
                        <a:pt x="39" y="25"/>
                        <a:pt x="39" y="25"/>
                      </a:cubicBezTo>
                      <a:cubicBezTo>
                        <a:pt x="39" y="25"/>
                        <a:pt x="39" y="25"/>
                        <a:pt x="39" y="25"/>
                      </a:cubicBezTo>
                      <a:cubicBezTo>
                        <a:pt x="39" y="25"/>
                        <a:pt x="39" y="25"/>
                        <a:pt x="39" y="25"/>
                      </a:cubicBezTo>
                      <a:cubicBezTo>
                        <a:pt x="39" y="25"/>
                        <a:pt x="39" y="25"/>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8"/>
                        <a:pt x="41" y="27"/>
                      </a:cubicBezTo>
                      <a:cubicBezTo>
                        <a:pt x="41" y="27"/>
                        <a:pt x="41" y="27"/>
                        <a:pt x="41" y="27"/>
                      </a:cubicBezTo>
                      <a:cubicBezTo>
                        <a:pt x="41" y="27"/>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2" y="28"/>
                      </a:cubicBezTo>
                      <a:cubicBezTo>
                        <a:pt x="42" y="28"/>
                        <a:pt x="42" y="28"/>
                        <a:pt x="41" y="28"/>
                      </a:cubicBezTo>
                      <a:cubicBezTo>
                        <a:pt x="42" y="28"/>
                        <a:pt x="42" y="28"/>
                        <a:pt x="42" y="28"/>
                      </a:cubicBezTo>
                      <a:cubicBezTo>
                        <a:pt x="42" y="28"/>
                        <a:pt x="42" y="28"/>
                        <a:pt x="42" y="28"/>
                      </a:cubicBezTo>
                      <a:cubicBezTo>
                        <a:pt x="42" y="28"/>
                        <a:pt x="42" y="28"/>
                        <a:pt x="42" y="28"/>
                      </a:cubicBezTo>
                      <a:cubicBezTo>
                        <a:pt x="42" y="28"/>
                        <a:pt x="42" y="28"/>
                        <a:pt x="42" y="28"/>
                      </a:cubicBezTo>
                      <a:cubicBezTo>
                        <a:pt x="42" y="29"/>
                        <a:pt x="42" y="28"/>
                        <a:pt x="42" y="28"/>
                      </a:cubicBezTo>
                      <a:cubicBezTo>
                        <a:pt x="42" y="29"/>
                        <a:pt x="42" y="29"/>
                        <a:pt x="42" y="29"/>
                      </a:cubicBezTo>
                      <a:cubicBezTo>
                        <a:pt x="42" y="29"/>
                        <a:pt x="42" y="29"/>
                        <a:pt x="42" y="29"/>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29"/>
                        <a:pt x="43" y="29"/>
                        <a:pt x="43" y="29"/>
                      </a:cubicBezTo>
                      <a:cubicBezTo>
                        <a:pt x="44" y="29"/>
                        <a:pt x="44" y="29"/>
                        <a:pt x="44" y="29"/>
                      </a:cubicBezTo>
                      <a:cubicBezTo>
                        <a:pt x="44" y="29"/>
                        <a:pt x="44" y="29"/>
                        <a:pt x="44" y="29"/>
                      </a:cubicBezTo>
                      <a:cubicBezTo>
                        <a:pt x="44" y="29"/>
                        <a:pt x="44" y="29"/>
                        <a:pt x="44" y="29"/>
                      </a:cubicBezTo>
                      <a:cubicBezTo>
                        <a:pt x="44" y="29"/>
                        <a:pt x="44" y="29"/>
                        <a:pt x="45" y="29"/>
                      </a:cubicBezTo>
                      <a:cubicBezTo>
                        <a:pt x="45" y="29"/>
                        <a:pt x="45" y="29"/>
                        <a:pt x="45" y="29"/>
                      </a:cubicBezTo>
                      <a:cubicBezTo>
                        <a:pt x="45" y="29"/>
                        <a:pt x="45" y="29"/>
                        <a:pt x="45" y="29"/>
                      </a:cubicBezTo>
                      <a:cubicBezTo>
                        <a:pt x="45" y="29"/>
                        <a:pt x="46" y="29"/>
                        <a:pt x="46" y="29"/>
                      </a:cubicBezTo>
                      <a:cubicBezTo>
                        <a:pt x="46" y="29"/>
                        <a:pt x="46" y="29"/>
                        <a:pt x="46" y="29"/>
                      </a:cubicBezTo>
                      <a:cubicBezTo>
                        <a:pt x="46" y="29"/>
                        <a:pt x="46" y="29"/>
                        <a:pt x="46" y="29"/>
                      </a:cubicBezTo>
                      <a:cubicBezTo>
                        <a:pt x="46" y="29"/>
                        <a:pt x="46" y="29"/>
                        <a:pt x="46" y="29"/>
                      </a:cubicBezTo>
                      <a:close/>
                      <a:moveTo>
                        <a:pt x="43" y="27"/>
                      </a:moveTo>
                      <a:cubicBezTo>
                        <a:pt x="43" y="27"/>
                        <a:pt x="43" y="27"/>
                        <a:pt x="43" y="27"/>
                      </a:cubicBezTo>
                      <a:cubicBezTo>
                        <a:pt x="43" y="27"/>
                        <a:pt x="43" y="27"/>
                        <a:pt x="43" y="27"/>
                      </a:cubicBezTo>
                      <a:cubicBezTo>
                        <a:pt x="43" y="27"/>
                        <a:pt x="43" y="27"/>
                        <a:pt x="43" y="27"/>
                      </a:cubicBezTo>
                      <a:close/>
                      <a:moveTo>
                        <a:pt x="43" y="27"/>
                      </a:moveTo>
                      <a:cubicBezTo>
                        <a:pt x="43" y="27"/>
                        <a:pt x="43" y="27"/>
                        <a:pt x="43" y="27"/>
                      </a:cubicBezTo>
                      <a:cubicBezTo>
                        <a:pt x="43" y="27"/>
                        <a:pt x="43" y="27"/>
                        <a:pt x="43" y="27"/>
                      </a:cubicBezTo>
                      <a:close/>
                      <a:moveTo>
                        <a:pt x="16" y="14"/>
                      </a:moveTo>
                      <a:cubicBezTo>
                        <a:pt x="16" y="14"/>
                        <a:pt x="15" y="14"/>
                        <a:pt x="15" y="14"/>
                      </a:cubicBezTo>
                      <a:cubicBezTo>
                        <a:pt x="15" y="14"/>
                        <a:pt x="15" y="14"/>
                        <a:pt x="15" y="14"/>
                      </a:cubicBezTo>
                      <a:cubicBezTo>
                        <a:pt x="15" y="14"/>
                        <a:pt x="15" y="14"/>
                        <a:pt x="15" y="14"/>
                      </a:cubicBezTo>
                      <a:cubicBezTo>
                        <a:pt x="15" y="14"/>
                        <a:pt x="15" y="14"/>
                        <a:pt x="15" y="14"/>
                      </a:cubicBezTo>
                      <a:cubicBezTo>
                        <a:pt x="15" y="14"/>
                        <a:pt x="15" y="14"/>
                        <a:pt x="15" y="14"/>
                      </a:cubicBezTo>
                      <a:cubicBezTo>
                        <a:pt x="15" y="14"/>
                        <a:pt x="15" y="13"/>
                        <a:pt x="15" y="13"/>
                      </a:cubicBezTo>
                      <a:cubicBezTo>
                        <a:pt x="15" y="13"/>
                        <a:pt x="15" y="13"/>
                        <a:pt x="15" y="13"/>
                      </a:cubicBezTo>
                      <a:cubicBezTo>
                        <a:pt x="15" y="13"/>
                        <a:pt x="15" y="13"/>
                        <a:pt x="15"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2"/>
                      </a:cubicBezTo>
                      <a:cubicBezTo>
                        <a:pt x="14" y="13"/>
                        <a:pt x="14" y="12"/>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1"/>
                        <a:pt x="11" y="11"/>
                        <a:pt x="11" y="11"/>
                      </a:cubicBezTo>
                      <a:cubicBezTo>
                        <a:pt x="11" y="11"/>
                        <a:pt x="11" y="11"/>
                        <a:pt x="11" y="11"/>
                      </a:cubicBezTo>
                      <a:cubicBezTo>
                        <a:pt x="10" y="11"/>
                        <a:pt x="10" y="11"/>
                        <a:pt x="10" y="11"/>
                      </a:cubicBezTo>
                      <a:cubicBezTo>
                        <a:pt x="10"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2"/>
                        <a:pt x="11" y="12"/>
                      </a:cubicBezTo>
                      <a:cubicBezTo>
                        <a:pt x="11" y="12"/>
                        <a:pt x="11" y="12"/>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0"/>
                        <a:pt x="12" y="10"/>
                        <a:pt x="12" y="10"/>
                      </a:cubicBezTo>
                      <a:cubicBezTo>
                        <a:pt x="12" y="10"/>
                        <a:pt x="12"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4" y="10"/>
                        <a:pt x="14" y="10"/>
                        <a:pt x="14" y="10"/>
                      </a:cubicBezTo>
                      <a:cubicBezTo>
                        <a:pt x="14" y="10"/>
                        <a:pt x="14" y="10"/>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2"/>
                        <a:pt x="15" y="12"/>
                      </a:cubicBezTo>
                      <a:cubicBezTo>
                        <a:pt x="15" y="12"/>
                        <a:pt x="15" y="12"/>
                        <a:pt x="15" y="12"/>
                      </a:cubicBezTo>
                      <a:cubicBezTo>
                        <a:pt x="15" y="12"/>
                        <a:pt x="15" y="12"/>
                        <a:pt x="16" y="12"/>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4"/>
                        <a:pt x="16" y="14"/>
                      </a:cubicBezTo>
                      <a:cubicBezTo>
                        <a:pt x="16" y="14"/>
                        <a:pt x="16" y="14"/>
                        <a:pt x="16" y="14"/>
                      </a:cubicBezTo>
                      <a:close/>
                      <a:moveTo>
                        <a:pt x="8" y="9"/>
                      </a:moveTo>
                      <a:cubicBezTo>
                        <a:pt x="8" y="9"/>
                        <a:pt x="8" y="9"/>
                        <a:pt x="8" y="9"/>
                      </a:cubicBezTo>
                      <a:cubicBezTo>
                        <a:pt x="8" y="9"/>
                        <a:pt x="8" y="9"/>
                        <a:pt x="8" y="9"/>
                      </a:cubicBezTo>
                      <a:cubicBezTo>
                        <a:pt x="8" y="10"/>
                        <a:pt x="8" y="10"/>
                        <a:pt x="8" y="10"/>
                      </a:cubicBezTo>
                      <a:cubicBezTo>
                        <a:pt x="8" y="10"/>
                        <a:pt x="8" y="10"/>
                        <a:pt x="8" y="10"/>
                      </a:cubicBezTo>
                      <a:cubicBezTo>
                        <a:pt x="8" y="9"/>
                        <a:pt x="8" y="9"/>
                        <a:pt x="8"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7" y="8"/>
                        <a:pt x="7" y="8"/>
                      </a:cubicBezTo>
                      <a:cubicBezTo>
                        <a:pt x="6" y="7"/>
                        <a:pt x="7" y="7"/>
                        <a:pt x="7" y="7"/>
                      </a:cubicBezTo>
                      <a:cubicBezTo>
                        <a:pt x="7" y="7"/>
                        <a:pt x="7" y="7"/>
                        <a:pt x="7" y="7"/>
                      </a:cubicBezTo>
                      <a:cubicBezTo>
                        <a:pt x="7" y="7"/>
                        <a:pt x="7" y="7"/>
                        <a:pt x="7" y="7"/>
                      </a:cubicBezTo>
                      <a:cubicBezTo>
                        <a:pt x="7" y="7"/>
                        <a:pt x="7" y="7"/>
                        <a:pt x="8" y="7"/>
                      </a:cubicBezTo>
                      <a:cubicBezTo>
                        <a:pt x="8" y="7"/>
                        <a:pt x="8" y="7"/>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9"/>
                        <a:pt x="8" y="9"/>
                      </a:cubicBezTo>
                      <a:close/>
                      <a:moveTo>
                        <a:pt x="10" y="11"/>
                      </a:moveTo>
                      <a:cubicBezTo>
                        <a:pt x="10" y="11"/>
                        <a:pt x="10" y="10"/>
                        <a:pt x="10" y="10"/>
                      </a:cubicBezTo>
                      <a:cubicBezTo>
                        <a:pt x="9" y="10"/>
                        <a:pt x="9" y="10"/>
                        <a:pt x="9" y="9"/>
                      </a:cubicBezTo>
                      <a:cubicBezTo>
                        <a:pt x="10" y="9"/>
                        <a:pt x="10" y="9"/>
                        <a:pt x="10" y="9"/>
                      </a:cubicBezTo>
                      <a:cubicBezTo>
                        <a:pt x="10" y="9"/>
                        <a:pt x="10" y="9"/>
                        <a:pt x="10" y="9"/>
                      </a:cubicBezTo>
                      <a:cubicBezTo>
                        <a:pt x="11" y="9"/>
                        <a:pt x="11" y="9"/>
                        <a:pt x="11" y="9"/>
                      </a:cubicBezTo>
                      <a:cubicBezTo>
                        <a:pt x="11" y="9"/>
                        <a:pt x="11" y="10"/>
                        <a:pt x="11" y="10"/>
                      </a:cubicBezTo>
                      <a:cubicBezTo>
                        <a:pt x="11" y="10"/>
                        <a:pt x="11" y="10"/>
                        <a:pt x="11" y="10"/>
                      </a:cubicBezTo>
                      <a:cubicBezTo>
                        <a:pt x="11" y="10"/>
                        <a:pt x="11" y="11"/>
                        <a:pt x="11" y="11"/>
                      </a:cubicBezTo>
                      <a:cubicBezTo>
                        <a:pt x="11" y="11"/>
                        <a:pt x="11" y="11"/>
                        <a:pt x="11" y="11"/>
                      </a:cubicBezTo>
                      <a:cubicBezTo>
                        <a:pt x="11" y="11"/>
                        <a:pt x="11" y="11"/>
                        <a:pt x="11" y="11"/>
                      </a:cubicBezTo>
                      <a:cubicBezTo>
                        <a:pt x="11" y="11"/>
                        <a:pt x="11" y="11"/>
                        <a:pt x="11" y="11"/>
                      </a:cubicBezTo>
                      <a:cubicBezTo>
                        <a:pt x="10" y="11"/>
                        <a:pt x="10" y="11"/>
                        <a:pt x="10" y="11"/>
                      </a:cubicBezTo>
                      <a:close/>
                      <a:moveTo>
                        <a:pt x="17" y="14"/>
                      </a:moveTo>
                      <a:cubicBezTo>
                        <a:pt x="17" y="14"/>
                        <a:pt x="17" y="14"/>
                        <a:pt x="17" y="14"/>
                      </a:cubicBezTo>
                      <a:cubicBezTo>
                        <a:pt x="17" y="14"/>
                        <a:pt x="17" y="14"/>
                        <a:pt x="17" y="14"/>
                      </a:cubicBezTo>
                      <a:cubicBezTo>
                        <a:pt x="17" y="14"/>
                        <a:pt x="17" y="14"/>
                        <a:pt x="17" y="14"/>
                      </a:cubicBezTo>
                      <a:cubicBezTo>
                        <a:pt x="17" y="14"/>
                        <a:pt x="17" y="14"/>
                        <a:pt x="17" y="14"/>
                      </a:cubicBezTo>
                      <a:cubicBezTo>
                        <a:pt x="17" y="14"/>
                        <a:pt x="17" y="14"/>
                        <a:pt x="17" y="14"/>
                      </a:cubicBezTo>
                      <a:cubicBezTo>
                        <a:pt x="17" y="14"/>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4"/>
                        <a:pt x="16"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3"/>
                        <a:pt x="17" y="13"/>
                      </a:cubicBezTo>
                      <a:cubicBezTo>
                        <a:pt x="17" y="13"/>
                        <a:pt x="17" y="13"/>
                        <a:pt x="17" y="13"/>
                      </a:cubicBezTo>
                      <a:cubicBezTo>
                        <a:pt x="17" y="14"/>
                        <a:pt x="17" y="14"/>
                        <a:pt x="17" y="14"/>
                      </a:cubicBezTo>
                      <a:cubicBezTo>
                        <a:pt x="17" y="14"/>
                        <a:pt x="17" y="14"/>
                        <a:pt x="17" y="14"/>
                      </a:cubicBezTo>
                      <a:close/>
                      <a:moveTo>
                        <a:pt x="12" y="14"/>
                      </a:move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5"/>
                      </a:cubicBezTo>
                      <a:cubicBezTo>
                        <a:pt x="12" y="15"/>
                        <a:pt x="12" y="15"/>
                        <a:pt x="12" y="15"/>
                      </a:cubicBezTo>
                      <a:cubicBezTo>
                        <a:pt x="12" y="15"/>
                        <a:pt x="12" y="15"/>
                        <a:pt x="13" y="15"/>
                      </a:cubicBezTo>
                      <a:cubicBezTo>
                        <a:pt x="13" y="15"/>
                        <a:pt x="13" y="15"/>
                        <a:pt x="13" y="15"/>
                      </a:cubicBezTo>
                      <a:cubicBezTo>
                        <a:pt x="13" y="15"/>
                        <a:pt x="13" y="15"/>
                        <a:pt x="12" y="15"/>
                      </a:cubicBezTo>
                      <a:cubicBezTo>
                        <a:pt x="12" y="15"/>
                        <a:pt x="12" y="15"/>
                        <a:pt x="12" y="15"/>
                      </a:cubicBezTo>
                      <a:cubicBezTo>
                        <a:pt x="12" y="15"/>
                        <a:pt x="12" y="15"/>
                        <a:pt x="12" y="15"/>
                      </a:cubicBezTo>
                      <a:cubicBezTo>
                        <a:pt x="12" y="15"/>
                        <a:pt x="12" y="15"/>
                        <a:pt x="12" y="15"/>
                      </a:cubicBezTo>
                      <a:cubicBezTo>
                        <a:pt x="12" y="14"/>
                        <a:pt x="12" y="14"/>
                        <a:pt x="12" y="14"/>
                      </a:cubicBezTo>
                      <a:cubicBezTo>
                        <a:pt x="11" y="14"/>
                        <a:pt x="11" y="14"/>
                        <a:pt x="11" y="14"/>
                      </a:cubicBezTo>
                      <a:cubicBezTo>
                        <a:pt x="11" y="14"/>
                        <a:pt x="11" y="14"/>
                        <a:pt x="11" y="14"/>
                      </a:cubicBezTo>
                      <a:cubicBezTo>
                        <a:pt x="11" y="14"/>
                        <a:pt x="11" y="14"/>
                        <a:pt x="11" y="13"/>
                      </a:cubicBezTo>
                      <a:cubicBezTo>
                        <a:pt x="11" y="13"/>
                        <a:pt x="11" y="13"/>
                        <a:pt x="12" y="13"/>
                      </a:cubicBezTo>
                      <a:cubicBezTo>
                        <a:pt x="12" y="13"/>
                        <a:pt x="12" y="13"/>
                        <a:pt x="12" y="13"/>
                      </a:cubicBezTo>
                      <a:cubicBezTo>
                        <a:pt x="12" y="13"/>
                        <a:pt x="12" y="13"/>
                        <a:pt x="12" y="13"/>
                      </a:cubicBezTo>
                      <a:cubicBezTo>
                        <a:pt x="12" y="13"/>
                        <a:pt x="12" y="13"/>
                        <a:pt x="12" y="13"/>
                      </a:cubicBezTo>
                      <a:cubicBezTo>
                        <a:pt x="12" y="13"/>
                        <a:pt x="12" y="13"/>
                        <a:pt x="13" y="13"/>
                      </a:cubicBezTo>
                      <a:cubicBezTo>
                        <a:pt x="13" y="13"/>
                        <a:pt x="13" y="13"/>
                        <a:pt x="12" y="14"/>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1" y="4"/>
                        <a:pt x="1" y="4"/>
                      </a:cubicBezTo>
                      <a:cubicBezTo>
                        <a:pt x="1" y="4"/>
                        <a:pt x="1" y="4"/>
                        <a:pt x="1" y="4"/>
                      </a:cubicBezTo>
                      <a:cubicBezTo>
                        <a:pt x="1" y="4"/>
                        <a:pt x="1" y="4"/>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4"/>
                      </a:cubicBezTo>
                      <a:cubicBezTo>
                        <a:pt x="2" y="4"/>
                        <a:pt x="2" y="4"/>
                        <a:pt x="2" y="4"/>
                      </a:cubicBezTo>
                      <a:cubicBezTo>
                        <a:pt x="2" y="4"/>
                        <a:pt x="2" y="4"/>
                        <a:pt x="2" y="4"/>
                      </a:cubicBezTo>
                      <a:cubicBezTo>
                        <a:pt x="2" y="4"/>
                        <a:pt x="2" y="4"/>
                        <a:pt x="2" y="4"/>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8"/>
                      </a:cubicBezTo>
                      <a:cubicBezTo>
                        <a:pt x="32" y="18"/>
                        <a:pt x="32" y="18"/>
                        <a:pt x="32" y="18"/>
                      </a:cubicBezTo>
                      <a:cubicBezTo>
                        <a:pt x="32" y="18"/>
                        <a:pt x="32" y="18"/>
                        <a:pt x="32" y="18"/>
                      </a:cubicBezTo>
                      <a:cubicBezTo>
                        <a:pt x="32" y="18"/>
                        <a:pt x="32" y="17"/>
                        <a:pt x="32" y="17"/>
                      </a:cubicBezTo>
                      <a:cubicBezTo>
                        <a:pt x="32" y="17"/>
                        <a:pt x="32" y="17"/>
                        <a:pt x="32" y="17"/>
                      </a:cubicBezTo>
                      <a:cubicBezTo>
                        <a:pt x="32" y="17"/>
                        <a:pt x="32" y="17"/>
                        <a:pt x="32" y="17"/>
                      </a:cubicBezTo>
                      <a:cubicBezTo>
                        <a:pt x="31" y="17"/>
                        <a:pt x="31" y="17"/>
                        <a:pt x="31" y="17"/>
                      </a:cubicBezTo>
                      <a:cubicBezTo>
                        <a:pt x="31" y="17"/>
                        <a:pt x="31" y="17"/>
                        <a:pt x="31" y="17"/>
                      </a:cubicBezTo>
                      <a:cubicBezTo>
                        <a:pt x="31" y="17"/>
                        <a:pt x="31" y="17"/>
                        <a:pt x="31" y="17"/>
                      </a:cubicBezTo>
                      <a:close/>
                      <a:moveTo>
                        <a:pt x="27" y="13"/>
                      </a:moveTo>
                      <a:cubicBezTo>
                        <a:pt x="27" y="13"/>
                        <a:pt x="27" y="13"/>
                        <a:pt x="27" y="13"/>
                      </a:cubicBezTo>
                      <a:cubicBezTo>
                        <a:pt x="27" y="13"/>
                        <a:pt x="27" y="13"/>
                        <a:pt x="27" y="13"/>
                      </a:cubicBezTo>
                      <a:cubicBezTo>
                        <a:pt x="27" y="12"/>
                        <a:pt x="27" y="12"/>
                        <a:pt x="27" y="12"/>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4"/>
                        <a:pt x="28" y="14"/>
                      </a:cubicBezTo>
                      <a:cubicBezTo>
                        <a:pt x="28" y="14"/>
                        <a:pt x="28" y="14"/>
                        <a:pt x="28" y="14"/>
                      </a:cubicBezTo>
                      <a:cubicBezTo>
                        <a:pt x="28" y="14"/>
                        <a:pt x="27" y="14"/>
                        <a:pt x="27" y="13"/>
                      </a:cubicBezTo>
                      <a:cubicBezTo>
                        <a:pt x="27" y="13"/>
                        <a:pt x="27" y="13"/>
                        <a:pt x="27" y="13"/>
                      </a:cubicBezTo>
                      <a:close/>
                      <a:moveTo>
                        <a:pt x="7" y="11"/>
                      </a:moveTo>
                      <a:cubicBezTo>
                        <a:pt x="7" y="11"/>
                        <a:pt x="7" y="11"/>
                        <a:pt x="7" y="11"/>
                      </a:cubicBezTo>
                      <a:cubicBezTo>
                        <a:pt x="7" y="11"/>
                        <a:pt x="7" y="11"/>
                        <a:pt x="7" y="11"/>
                      </a:cubicBezTo>
                      <a:cubicBezTo>
                        <a:pt x="7" y="11"/>
                        <a:pt x="7" y="11"/>
                        <a:pt x="7" y="11"/>
                      </a:cubicBezTo>
                      <a:cubicBezTo>
                        <a:pt x="7" y="11"/>
                        <a:pt x="7" y="10"/>
                        <a:pt x="7" y="10"/>
                      </a:cubicBezTo>
                      <a:cubicBezTo>
                        <a:pt x="7" y="10"/>
                        <a:pt x="7" y="10"/>
                        <a:pt x="7" y="10"/>
                      </a:cubicBezTo>
                      <a:cubicBezTo>
                        <a:pt x="7" y="10"/>
                        <a:pt x="7" y="10"/>
                        <a:pt x="7" y="10"/>
                      </a:cubicBezTo>
                      <a:cubicBezTo>
                        <a:pt x="7" y="10"/>
                        <a:pt x="7" y="10"/>
                        <a:pt x="7" y="9"/>
                      </a:cubicBezTo>
                      <a:cubicBezTo>
                        <a:pt x="7" y="9"/>
                        <a:pt x="7" y="9"/>
                        <a:pt x="7" y="9"/>
                      </a:cubicBezTo>
                      <a:cubicBezTo>
                        <a:pt x="7" y="9"/>
                        <a:pt x="7" y="9"/>
                        <a:pt x="7" y="9"/>
                      </a:cubicBezTo>
                      <a:cubicBezTo>
                        <a:pt x="7" y="10"/>
                        <a:pt x="7" y="10"/>
                        <a:pt x="7" y="10"/>
                      </a:cubicBezTo>
                      <a:cubicBezTo>
                        <a:pt x="7" y="10"/>
                        <a:pt x="7" y="10"/>
                        <a:pt x="7" y="10"/>
                      </a:cubicBezTo>
                      <a:cubicBezTo>
                        <a:pt x="7" y="11"/>
                        <a:pt x="7" y="11"/>
                        <a:pt x="7" y="11"/>
                      </a:cubicBezTo>
                      <a:close/>
                      <a:moveTo>
                        <a:pt x="14" y="15"/>
                      </a:move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lose/>
                      <a:moveTo>
                        <a:pt x="32" y="18"/>
                      </a:moveTo>
                      <a:cubicBezTo>
                        <a:pt x="32" y="18"/>
                        <a:pt x="32" y="18"/>
                        <a:pt x="32" y="18"/>
                      </a:cubicBezTo>
                      <a:cubicBezTo>
                        <a:pt x="32" y="18"/>
                        <a:pt x="32" y="18"/>
                        <a:pt x="32" y="18"/>
                      </a:cubicBezTo>
                      <a:cubicBezTo>
                        <a:pt x="32" y="18"/>
                        <a:pt x="32" y="18"/>
                        <a:pt x="32" y="18"/>
                      </a:cubicBezTo>
                      <a:cubicBezTo>
                        <a:pt x="32" y="18"/>
                        <a:pt x="32" y="18"/>
                        <a:pt x="32" y="18"/>
                      </a:cubicBezTo>
                      <a:cubicBezTo>
                        <a:pt x="32" y="18"/>
                        <a:pt x="31" y="18"/>
                        <a:pt x="31" y="18"/>
                      </a:cubicBezTo>
                      <a:cubicBezTo>
                        <a:pt x="32" y="18"/>
                        <a:pt x="32" y="18"/>
                        <a:pt x="32" y="18"/>
                      </a:cubicBezTo>
                      <a:cubicBezTo>
                        <a:pt x="32" y="18"/>
                        <a:pt x="32" y="18"/>
                        <a:pt x="32" y="18"/>
                      </a:cubicBezTo>
                      <a:cubicBezTo>
                        <a:pt x="32" y="18"/>
                        <a:pt x="32" y="18"/>
                        <a:pt x="32" y="18"/>
                      </a:cubicBezTo>
                      <a:cubicBezTo>
                        <a:pt x="32" y="18"/>
                        <a:pt x="32" y="18"/>
                        <a:pt x="32" y="18"/>
                      </a:cubicBezTo>
                      <a:cubicBezTo>
                        <a:pt x="32" y="18"/>
                        <a:pt x="32" y="18"/>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3" y="17"/>
                        <a:pt x="33" y="17"/>
                      </a:cubicBezTo>
                      <a:cubicBezTo>
                        <a:pt x="33" y="17"/>
                        <a:pt x="33" y="17"/>
                        <a:pt x="33" y="18"/>
                      </a:cubicBezTo>
                      <a:cubicBezTo>
                        <a:pt x="33" y="18"/>
                        <a:pt x="33" y="18"/>
                        <a:pt x="33" y="18"/>
                      </a:cubicBezTo>
                      <a:cubicBezTo>
                        <a:pt x="33" y="18"/>
                        <a:pt x="33" y="18"/>
                        <a:pt x="33" y="18"/>
                      </a:cubicBezTo>
                      <a:cubicBezTo>
                        <a:pt x="33" y="18"/>
                        <a:pt x="32" y="18"/>
                        <a:pt x="32" y="18"/>
                      </a:cubicBezTo>
                      <a:cubicBezTo>
                        <a:pt x="32" y="18"/>
                        <a:pt x="32" y="18"/>
                        <a:pt x="32" y="18"/>
                      </a:cubicBezTo>
                      <a:cubicBezTo>
                        <a:pt x="32" y="18"/>
                        <a:pt x="32" y="18"/>
                        <a:pt x="32" y="18"/>
                      </a:cubicBezTo>
                      <a:close/>
                      <a:moveTo>
                        <a:pt x="18" y="15"/>
                      </a:moveTo>
                      <a:cubicBezTo>
                        <a:pt x="18" y="15"/>
                        <a:pt x="18" y="15"/>
                        <a:pt x="18" y="15"/>
                      </a:cubicBezTo>
                      <a:cubicBezTo>
                        <a:pt x="18" y="15"/>
                        <a:pt x="18" y="15"/>
                        <a:pt x="18" y="15"/>
                      </a:cubicBezTo>
                      <a:cubicBezTo>
                        <a:pt x="18" y="16"/>
                        <a:pt x="18" y="16"/>
                        <a:pt x="18" y="16"/>
                      </a:cubicBezTo>
                      <a:cubicBezTo>
                        <a:pt x="18" y="15"/>
                        <a:pt x="18" y="16"/>
                        <a:pt x="18" y="15"/>
                      </a:cubicBezTo>
                      <a:cubicBezTo>
                        <a:pt x="17" y="15"/>
                        <a:pt x="17" y="15"/>
                        <a:pt x="17"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lose/>
                      <a:moveTo>
                        <a:pt x="1" y="6"/>
                      </a:moveTo>
                      <a:cubicBezTo>
                        <a:pt x="1" y="6"/>
                        <a:pt x="1" y="6"/>
                        <a:pt x="1"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0" y="5"/>
                        <a:pt x="0" y="5"/>
                        <a:pt x="0" y="5"/>
                      </a:cubicBezTo>
                      <a:cubicBezTo>
                        <a:pt x="0" y="5"/>
                        <a:pt x="0" y="5"/>
                        <a:pt x="1" y="6"/>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4" y="3"/>
                      </a:move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3" y="3"/>
                        <a:pt x="3" y="3"/>
                        <a:pt x="3" y="3"/>
                      </a:cubicBezTo>
                      <a:cubicBezTo>
                        <a:pt x="3" y="3"/>
                        <a:pt x="3" y="3"/>
                        <a:pt x="3" y="3"/>
                      </a:cubicBezTo>
                      <a:cubicBezTo>
                        <a:pt x="3" y="3"/>
                        <a:pt x="3" y="3"/>
                        <a:pt x="3" y="3"/>
                      </a:cubicBezTo>
                      <a:cubicBezTo>
                        <a:pt x="3" y="3"/>
                        <a:pt x="4" y="3"/>
                        <a:pt x="3" y="3"/>
                      </a:cubicBezTo>
                      <a:cubicBezTo>
                        <a:pt x="3" y="2"/>
                        <a:pt x="3" y="2"/>
                        <a:pt x="3" y="2"/>
                      </a:cubicBezTo>
                      <a:cubicBezTo>
                        <a:pt x="4" y="2"/>
                        <a:pt x="4" y="2"/>
                        <a:pt x="4" y="2"/>
                      </a:cubicBezTo>
                      <a:cubicBezTo>
                        <a:pt x="3" y="2"/>
                        <a:pt x="3" y="2"/>
                        <a:pt x="3" y="2"/>
                      </a:cubicBezTo>
                      <a:cubicBezTo>
                        <a:pt x="3" y="2"/>
                        <a:pt x="3" y="2"/>
                        <a:pt x="3" y="2"/>
                      </a:cubicBezTo>
                      <a:cubicBezTo>
                        <a:pt x="4" y="2"/>
                        <a:pt x="4" y="2"/>
                        <a:pt x="4" y="2"/>
                      </a:cubicBezTo>
                      <a:cubicBezTo>
                        <a:pt x="4" y="2"/>
                        <a:pt x="4" y="2"/>
                        <a:pt x="4" y="2"/>
                      </a:cubicBezTo>
                      <a:cubicBezTo>
                        <a:pt x="4" y="2"/>
                        <a:pt x="3" y="2"/>
                        <a:pt x="3" y="2"/>
                      </a:cubicBezTo>
                      <a:cubicBezTo>
                        <a:pt x="3" y="2"/>
                        <a:pt x="3" y="2"/>
                        <a:pt x="4" y="2"/>
                      </a:cubicBezTo>
                      <a:cubicBezTo>
                        <a:pt x="4" y="2"/>
                        <a:pt x="4" y="2"/>
                        <a:pt x="4" y="2"/>
                      </a:cubicBezTo>
                      <a:cubicBezTo>
                        <a:pt x="4" y="2"/>
                        <a:pt x="4" y="2"/>
                        <a:pt x="4" y="3"/>
                      </a:cubicBezTo>
                      <a:cubicBezTo>
                        <a:pt x="4" y="3"/>
                        <a:pt x="4" y="3"/>
                        <a:pt x="4" y="3"/>
                      </a:cubicBezTo>
                      <a:close/>
                      <a:moveTo>
                        <a:pt x="11" y="12"/>
                      </a:moveTo>
                      <a:cubicBezTo>
                        <a:pt x="11" y="12"/>
                        <a:pt x="11" y="12"/>
                        <a:pt x="11" y="12"/>
                      </a:cubicBezTo>
                      <a:cubicBezTo>
                        <a:pt x="11" y="12"/>
                        <a:pt x="11" y="12"/>
                        <a:pt x="10" y="12"/>
                      </a:cubicBezTo>
                      <a:cubicBezTo>
                        <a:pt x="10" y="12"/>
                        <a:pt x="10" y="12"/>
                        <a:pt x="10" y="12"/>
                      </a:cubicBezTo>
                      <a:cubicBezTo>
                        <a:pt x="10" y="12"/>
                        <a:pt x="10" y="12"/>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1" y="11"/>
                        <a:pt x="11" y="11"/>
                        <a:pt x="11" y="12"/>
                      </a:cubicBezTo>
                      <a:cubicBezTo>
                        <a:pt x="10" y="12"/>
                        <a:pt x="11" y="12"/>
                        <a:pt x="11" y="12"/>
                      </a:cubicBezTo>
                      <a:cubicBezTo>
                        <a:pt x="11" y="12"/>
                        <a:pt x="11" y="12"/>
                        <a:pt x="11" y="12"/>
                      </a:cubicBezTo>
                      <a:close/>
                      <a:moveTo>
                        <a:pt x="44" y="22"/>
                      </a:moveTo>
                      <a:cubicBezTo>
                        <a:pt x="44" y="22"/>
                        <a:pt x="43" y="22"/>
                        <a:pt x="44" y="22"/>
                      </a:cubicBezTo>
                      <a:cubicBezTo>
                        <a:pt x="44" y="23"/>
                        <a:pt x="44" y="23"/>
                        <a:pt x="43" y="23"/>
                      </a:cubicBezTo>
                      <a:cubicBezTo>
                        <a:pt x="43" y="23"/>
                        <a:pt x="43" y="23"/>
                        <a:pt x="43" y="23"/>
                      </a:cubicBezTo>
                      <a:cubicBezTo>
                        <a:pt x="43" y="22"/>
                        <a:pt x="43" y="22"/>
                        <a:pt x="43" y="22"/>
                      </a:cubicBezTo>
                      <a:cubicBezTo>
                        <a:pt x="43" y="22"/>
                        <a:pt x="43" y="22"/>
                        <a:pt x="43" y="22"/>
                      </a:cubicBezTo>
                      <a:cubicBezTo>
                        <a:pt x="43" y="22"/>
                        <a:pt x="43" y="22"/>
                        <a:pt x="44" y="22"/>
                      </a:cubicBezTo>
                      <a:cubicBezTo>
                        <a:pt x="44" y="22"/>
                        <a:pt x="44" y="22"/>
                        <a:pt x="44" y="22"/>
                      </a:cubicBezTo>
                      <a:cubicBezTo>
                        <a:pt x="44" y="22"/>
                        <a:pt x="44" y="22"/>
                        <a:pt x="44" y="22"/>
                      </a:cubicBezTo>
                      <a:cubicBezTo>
                        <a:pt x="43" y="22"/>
                        <a:pt x="44" y="22"/>
                        <a:pt x="44" y="22"/>
                      </a:cubicBezTo>
                      <a:close/>
                      <a:moveTo>
                        <a:pt x="25" y="17"/>
                      </a:moveTo>
                      <a:cubicBezTo>
                        <a:pt x="25" y="17"/>
                        <a:pt x="25" y="18"/>
                        <a:pt x="25" y="18"/>
                      </a:cubicBezTo>
                      <a:cubicBezTo>
                        <a:pt x="25" y="18"/>
                        <a:pt x="25" y="18"/>
                        <a:pt x="25" y="18"/>
                      </a:cubicBezTo>
                      <a:cubicBezTo>
                        <a:pt x="24" y="18"/>
                        <a:pt x="24" y="18"/>
                        <a:pt x="24" y="17"/>
                      </a:cubicBezTo>
                      <a:cubicBezTo>
                        <a:pt x="24" y="17"/>
                        <a:pt x="24" y="17"/>
                        <a:pt x="24" y="17"/>
                      </a:cubicBezTo>
                      <a:cubicBezTo>
                        <a:pt x="24" y="17"/>
                        <a:pt x="24" y="18"/>
                        <a:pt x="24" y="17"/>
                      </a:cubicBezTo>
                      <a:cubicBezTo>
                        <a:pt x="24" y="17"/>
                        <a:pt x="24" y="17"/>
                        <a:pt x="24" y="18"/>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5" y="17"/>
                        <a:pt x="25" y="17"/>
                      </a:cubicBezTo>
                      <a:cubicBezTo>
                        <a:pt x="25" y="17"/>
                        <a:pt x="25" y="17"/>
                        <a:pt x="24" y="17"/>
                      </a:cubicBezTo>
                      <a:cubicBezTo>
                        <a:pt x="25" y="17"/>
                        <a:pt x="25" y="17"/>
                        <a:pt x="25" y="17"/>
                      </a:cubicBezTo>
                      <a:cubicBezTo>
                        <a:pt x="25" y="17"/>
                        <a:pt x="25" y="17"/>
                        <a:pt x="25" y="17"/>
                      </a:cubicBezTo>
                      <a:cubicBezTo>
                        <a:pt x="25" y="17"/>
                        <a:pt x="25" y="17"/>
                        <a:pt x="25" y="17"/>
                      </a:cubicBezTo>
                      <a:cubicBezTo>
                        <a:pt x="25" y="17"/>
                        <a:pt x="25" y="17"/>
                        <a:pt x="25" y="17"/>
                      </a:cubicBezTo>
                      <a:close/>
                      <a:moveTo>
                        <a:pt x="42" y="26"/>
                      </a:moveTo>
                      <a:cubicBezTo>
                        <a:pt x="42" y="25"/>
                        <a:pt x="42" y="25"/>
                        <a:pt x="42" y="25"/>
                      </a:cubicBezTo>
                      <a:cubicBezTo>
                        <a:pt x="42" y="25"/>
                        <a:pt x="42" y="25"/>
                        <a:pt x="42" y="25"/>
                      </a:cubicBezTo>
                      <a:cubicBezTo>
                        <a:pt x="42" y="25"/>
                        <a:pt x="42" y="25"/>
                        <a:pt x="42" y="25"/>
                      </a:cubicBezTo>
                      <a:cubicBezTo>
                        <a:pt x="42" y="25"/>
                        <a:pt x="42" y="25"/>
                        <a:pt x="42" y="25"/>
                      </a:cubicBezTo>
                      <a:cubicBezTo>
                        <a:pt x="42" y="25"/>
                        <a:pt x="42" y="26"/>
                        <a:pt x="42" y="26"/>
                      </a:cubicBezTo>
                      <a:cubicBezTo>
                        <a:pt x="42" y="26"/>
                        <a:pt x="42" y="26"/>
                        <a:pt x="42" y="26"/>
                      </a:cubicBezTo>
                      <a:cubicBezTo>
                        <a:pt x="42" y="26"/>
                        <a:pt x="42" y="26"/>
                        <a:pt x="42" y="26"/>
                      </a:cubicBezTo>
                      <a:close/>
                      <a:moveTo>
                        <a:pt x="9" y="10"/>
                      </a:moveTo>
                      <a:cubicBezTo>
                        <a:pt x="9" y="10"/>
                        <a:pt x="9" y="10"/>
                        <a:pt x="9" y="11"/>
                      </a:cubicBezTo>
                      <a:cubicBezTo>
                        <a:pt x="9" y="11"/>
                        <a:pt x="9" y="11"/>
                        <a:pt x="9" y="11"/>
                      </a:cubicBezTo>
                      <a:cubicBezTo>
                        <a:pt x="9" y="11"/>
                        <a:pt x="8" y="11"/>
                        <a:pt x="8" y="10"/>
                      </a:cubicBezTo>
                      <a:cubicBezTo>
                        <a:pt x="8" y="10"/>
                        <a:pt x="8" y="10"/>
                        <a:pt x="8" y="10"/>
                      </a:cubicBezTo>
                      <a:cubicBezTo>
                        <a:pt x="8" y="10"/>
                        <a:pt x="8" y="10"/>
                        <a:pt x="8" y="10"/>
                      </a:cubicBezTo>
                      <a:cubicBezTo>
                        <a:pt x="8" y="10"/>
                        <a:pt x="9" y="10"/>
                        <a:pt x="9" y="10"/>
                      </a:cubicBezTo>
                      <a:close/>
                      <a:moveTo>
                        <a:pt x="29" y="18"/>
                      </a:moveTo>
                      <a:cubicBezTo>
                        <a:pt x="29" y="18"/>
                        <a:pt x="29" y="18"/>
                        <a:pt x="29" y="18"/>
                      </a:cubicBezTo>
                      <a:cubicBezTo>
                        <a:pt x="29" y="18"/>
                        <a:pt x="29" y="18"/>
                        <a:pt x="29" y="18"/>
                      </a:cubicBezTo>
                      <a:cubicBezTo>
                        <a:pt x="29" y="18"/>
                        <a:pt x="29" y="17"/>
                        <a:pt x="29" y="17"/>
                      </a:cubicBezTo>
                      <a:cubicBezTo>
                        <a:pt x="29" y="17"/>
                        <a:pt x="29" y="17"/>
                        <a:pt x="29" y="18"/>
                      </a:cubicBezTo>
                      <a:close/>
                      <a:moveTo>
                        <a:pt x="7" y="9"/>
                      </a:moveTo>
                      <a:cubicBezTo>
                        <a:pt x="7" y="9"/>
                        <a:pt x="7" y="9"/>
                        <a:pt x="7" y="9"/>
                      </a:cubicBezTo>
                      <a:cubicBezTo>
                        <a:pt x="7" y="9"/>
                        <a:pt x="6" y="9"/>
                        <a:pt x="7" y="8"/>
                      </a:cubicBezTo>
                      <a:cubicBezTo>
                        <a:pt x="7" y="8"/>
                        <a:pt x="7" y="8"/>
                        <a:pt x="7" y="8"/>
                      </a:cubicBezTo>
                      <a:cubicBezTo>
                        <a:pt x="7" y="9"/>
                        <a:pt x="7" y="9"/>
                        <a:pt x="7" y="9"/>
                      </a:cubicBezTo>
                      <a:close/>
                      <a:moveTo>
                        <a:pt x="31" y="17"/>
                      </a:moveTo>
                      <a:cubicBezTo>
                        <a:pt x="31" y="17"/>
                        <a:pt x="31" y="16"/>
                        <a:pt x="31" y="16"/>
                      </a:cubicBezTo>
                      <a:cubicBezTo>
                        <a:pt x="31" y="16"/>
                        <a:pt x="31" y="16"/>
                        <a:pt x="31" y="16"/>
                      </a:cubicBezTo>
                      <a:cubicBezTo>
                        <a:pt x="31" y="16"/>
                        <a:pt x="31" y="16"/>
                        <a:pt x="31" y="16"/>
                      </a:cubicBezTo>
                      <a:cubicBezTo>
                        <a:pt x="31" y="16"/>
                        <a:pt x="31" y="17"/>
                        <a:pt x="31" y="17"/>
                      </a:cubicBezTo>
                      <a:cubicBezTo>
                        <a:pt x="31" y="17"/>
                        <a:pt x="31" y="17"/>
                        <a:pt x="31" y="17"/>
                      </a:cubicBezTo>
                      <a:cubicBezTo>
                        <a:pt x="31" y="17"/>
                        <a:pt x="31" y="17"/>
                        <a:pt x="31" y="17"/>
                      </a:cubicBezTo>
                      <a:cubicBezTo>
                        <a:pt x="31" y="17"/>
                        <a:pt x="31" y="17"/>
                        <a:pt x="31" y="17"/>
                      </a:cubicBezTo>
                      <a:cubicBezTo>
                        <a:pt x="30" y="17"/>
                        <a:pt x="30" y="17"/>
                        <a:pt x="31" y="17"/>
                      </a:cubicBezTo>
                      <a:cubicBezTo>
                        <a:pt x="31" y="17"/>
                        <a:pt x="31" y="17"/>
                        <a:pt x="31" y="17"/>
                      </a:cubicBezTo>
                      <a:close/>
                      <a:moveTo>
                        <a:pt x="3" y="2"/>
                      </a:moveTo>
                      <a:cubicBezTo>
                        <a:pt x="3" y="2"/>
                        <a:pt x="3" y="2"/>
                        <a:pt x="3" y="2"/>
                      </a:cubicBezTo>
                      <a:cubicBezTo>
                        <a:pt x="3" y="2"/>
                        <a:pt x="3" y="2"/>
                        <a:pt x="3" y="2"/>
                      </a:cubicBezTo>
                      <a:cubicBezTo>
                        <a:pt x="3" y="2"/>
                        <a:pt x="3" y="2"/>
                        <a:pt x="3" y="2"/>
                      </a:cubicBezTo>
                      <a:cubicBezTo>
                        <a:pt x="3" y="2"/>
                        <a:pt x="3" y="2"/>
                        <a:pt x="3" y="2"/>
                      </a:cubicBezTo>
                      <a:close/>
                      <a:moveTo>
                        <a:pt x="35" y="12"/>
                      </a:moveTo>
                      <a:cubicBezTo>
                        <a:pt x="35" y="12"/>
                        <a:pt x="36" y="12"/>
                        <a:pt x="36" y="12"/>
                      </a:cubicBezTo>
                      <a:cubicBezTo>
                        <a:pt x="36" y="12"/>
                        <a:pt x="35" y="12"/>
                        <a:pt x="35" y="12"/>
                      </a:cubicBezTo>
                      <a:cubicBezTo>
                        <a:pt x="35" y="12"/>
                        <a:pt x="35" y="12"/>
                        <a:pt x="35" y="12"/>
                      </a:cubicBezTo>
                      <a:cubicBezTo>
                        <a:pt x="35" y="12"/>
                        <a:pt x="35" y="12"/>
                        <a:pt x="35" y="12"/>
                      </a:cubicBezTo>
                      <a:cubicBezTo>
                        <a:pt x="35" y="12"/>
                        <a:pt x="35" y="12"/>
                        <a:pt x="35" y="12"/>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lose/>
                      <a:moveTo>
                        <a:pt x="29" y="33"/>
                      </a:moveTo>
                      <a:cubicBezTo>
                        <a:pt x="29" y="33"/>
                        <a:pt x="29" y="33"/>
                        <a:pt x="28" y="32"/>
                      </a:cubicBezTo>
                      <a:cubicBezTo>
                        <a:pt x="29" y="32"/>
                        <a:pt x="29" y="32"/>
                        <a:pt x="29" y="33"/>
                      </a:cubicBezTo>
                      <a:close/>
                      <a:moveTo>
                        <a:pt x="34" y="9"/>
                      </a:move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lose/>
                      <a:moveTo>
                        <a:pt x="47" y="29"/>
                      </a:moveTo>
                      <a:cubicBezTo>
                        <a:pt x="47" y="29"/>
                        <a:pt x="47" y="29"/>
                        <a:pt x="47" y="29"/>
                      </a:cubicBezTo>
                      <a:cubicBezTo>
                        <a:pt x="47" y="29"/>
                        <a:pt x="47" y="29"/>
                        <a:pt x="47" y="29"/>
                      </a:cubicBezTo>
                      <a:cubicBezTo>
                        <a:pt x="47" y="29"/>
                        <a:pt x="47" y="29"/>
                        <a:pt x="47" y="29"/>
                      </a:cubicBezTo>
                      <a:cubicBezTo>
                        <a:pt x="47" y="29"/>
                        <a:pt x="47" y="29"/>
                        <a:pt x="47" y="29"/>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lose/>
                      <a:moveTo>
                        <a:pt x="7" y="12"/>
                      </a:move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lose/>
                      <a:moveTo>
                        <a:pt x="22" y="7"/>
                      </a:moveTo>
                      <a:cubicBezTo>
                        <a:pt x="22" y="7"/>
                        <a:pt x="22" y="7"/>
                        <a:pt x="22" y="7"/>
                      </a:cubicBezTo>
                      <a:cubicBezTo>
                        <a:pt x="22" y="7"/>
                        <a:pt x="21" y="7"/>
                        <a:pt x="21" y="7"/>
                      </a:cubicBezTo>
                      <a:cubicBezTo>
                        <a:pt x="21" y="7"/>
                        <a:pt x="21" y="7"/>
                        <a:pt x="21" y="7"/>
                      </a:cubicBezTo>
                      <a:cubicBezTo>
                        <a:pt x="21" y="7"/>
                        <a:pt x="21" y="7"/>
                        <a:pt x="22" y="7"/>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lose/>
                      <a:moveTo>
                        <a:pt x="0" y="6"/>
                      </a:moveTo>
                      <a:cubicBezTo>
                        <a:pt x="0" y="6"/>
                        <a:pt x="0" y="6"/>
                        <a:pt x="0" y="6"/>
                      </a:cubicBezTo>
                      <a:cubicBezTo>
                        <a:pt x="0" y="6"/>
                        <a:pt x="0" y="6"/>
                        <a:pt x="0" y="6"/>
                      </a:cubicBezTo>
                      <a:cubicBezTo>
                        <a:pt x="0" y="6"/>
                        <a:pt x="0" y="6"/>
                        <a:pt x="0" y="6"/>
                      </a:cubicBezTo>
                      <a:cubicBezTo>
                        <a:pt x="0" y="6"/>
                        <a:pt x="0" y="6"/>
                        <a:pt x="0" y="6"/>
                      </a:cubicBezTo>
                      <a:close/>
                      <a:moveTo>
                        <a:pt x="13" y="12"/>
                      </a:moveTo>
                      <a:cubicBezTo>
                        <a:pt x="13" y="12"/>
                        <a:pt x="13" y="12"/>
                        <a:pt x="13" y="12"/>
                      </a:cubicBezTo>
                      <a:cubicBezTo>
                        <a:pt x="13" y="13"/>
                        <a:pt x="13" y="13"/>
                        <a:pt x="14" y="13"/>
                      </a:cubicBezTo>
                      <a:cubicBezTo>
                        <a:pt x="13" y="13"/>
                        <a:pt x="13" y="13"/>
                        <a:pt x="13" y="13"/>
                      </a:cubicBezTo>
                      <a:cubicBezTo>
                        <a:pt x="13" y="12"/>
                        <a:pt x="13" y="12"/>
                        <a:pt x="13" y="12"/>
                      </a:cubicBezTo>
                      <a:close/>
                      <a:moveTo>
                        <a:pt x="19" y="15"/>
                      </a:moveTo>
                      <a:cubicBezTo>
                        <a:pt x="19" y="15"/>
                        <a:pt x="19" y="15"/>
                        <a:pt x="18" y="15"/>
                      </a:cubicBezTo>
                      <a:cubicBezTo>
                        <a:pt x="18" y="15"/>
                        <a:pt x="18" y="15"/>
                        <a:pt x="18" y="15"/>
                      </a:cubicBezTo>
                      <a:cubicBezTo>
                        <a:pt x="18" y="15"/>
                        <a:pt x="18" y="15"/>
                        <a:pt x="18" y="15"/>
                      </a:cubicBezTo>
                      <a:cubicBezTo>
                        <a:pt x="19" y="15"/>
                        <a:pt x="19" y="15"/>
                        <a:pt x="19" y="15"/>
                      </a:cubicBezTo>
                      <a:close/>
                      <a:moveTo>
                        <a:pt x="36" y="22"/>
                      </a:moveTo>
                      <a:cubicBezTo>
                        <a:pt x="36" y="22"/>
                        <a:pt x="36" y="22"/>
                        <a:pt x="36" y="22"/>
                      </a:cubicBezTo>
                      <a:cubicBezTo>
                        <a:pt x="36" y="22"/>
                        <a:pt x="36" y="22"/>
                        <a:pt x="36" y="22"/>
                      </a:cubicBezTo>
                      <a:cubicBezTo>
                        <a:pt x="36" y="22"/>
                        <a:pt x="36" y="22"/>
                        <a:pt x="36" y="22"/>
                      </a:cubicBezTo>
                      <a:cubicBezTo>
                        <a:pt x="36" y="22"/>
                        <a:pt x="36" y="22"/>
                        <a:pt x="36" y="22"/>
                      </a:cubicBezTo>
                      <a:cubicBezTo>
                        <a:pt x="36" y="22"/>
                        <a:pt x="36" y="22"/>
                        <a:pt x="36" y="22"/>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24" y="18"/>
                      </a:moveTo>
                      <a:cubicBezTo>
                        <a:pt x="24" y="18"/>
                        <a:pt x="24" y="18"/>
                        <a:pt x="24" y="18"/>
                      </a:cubicBezTo>
                      <a:cubicBezTo>
                        <a:pt x="24" y="18"/>
                        <a:pt x="24" y="18"/>
                        <a:pt x="24" y="18"/>
                      </a:cubicBezTo>
                      <a:cubicBezTo>
                        <a:pt x="24" y="18"/>
                        <a:pt x="24" y="18"/>
                        <a:pt x="24" y="18"/>
                      </a:cubicBezTo>
                      <a:cubicBezTo>
                        <a:pt x="24" y="18"/>
                        <a:pt x="24" y="18"/>
                        <a:pt x="24" y="18"/>
                      </a:cubicBezTo>
                      <a:close/>
                      <a:moveTo>
                        <a:pt x="16" y="6"/>
                      </a:moveTo>
                      <a:cubicBezTo>
                        <a:pt x="16" y="6"/>
                        <a:pt x="17" y="6"/>
                        <a:pt x="17" y="6"/>
                      </a:cubicBezTo>
                      <a:cubicBezTo>
                        <a:pt x="16" y="6"/>
                        <a:pt x="16" y="6"/>
                        <a:pt x="16" y="6"/>
                      </a:cubicBezTo>
                      <a:cubicBezTo>
                        <a:pt x="16" y="6"/>
                        <a:pt x="16" y="6"/>
                        <a:pt x="16" y="6"/>
                      </a:cubicBezTo>
                      <a:cubicBezTo>
                        <a:pt x="16" y="6"/>
                        <a:pt x="16" y="6"/>
                        <a:pt x="16" y="6"/>
                      </a:cubicBezTo>
                      <a:close/>
                      <a:moveTo>
                        <a:pt x="17" y="6"/>
                      </a:moveTo>
                      <a:cubicBezTo>
                        <a:pt x="18" y="6"/>
                        <a:pt x="18" y="6"/>
                        <a:pt x="18" y="6"/>
                      </a:cubicBezTo>
                      <a:cubicBezTo>
                        <a:pt x="18" y="6"/>
                        <a:pt x="18" y="6"/>
                        <a:pt x="17" y="6"/>
                      </a:cubicBezTo>
                      <a:cubicBezTo>
                        <a:pt x="17" y="6"/>
                        <a:pt x="17" y="6"/>
                        <a:pt x="17" y="6"/>
                      </a:cubicBezTo>
                      <a:close/>
                      <a:moveTo>
                        <a:pt x="21" y="7"/>
                      </a:moveTo>
                      <a:cubicBezTo>
                        <a:pt x="21" y="7"/>
                        <a:pt x="21" y="7"/>
                        <a:pt x="21" y="7"/>
                      </a:cubicBezTo>
                      <a:cubicBezTo>
                        <a:pt x="21" y="7"/>
                        <a:pt x="21" y="7"/>
                        <a:pt x="21" y="7"/>
                      </a:cubicBezTo>
                      <a:cubicBezTo>
                        <a:pt x="21" y="7"/>
                        <a:pt x="21" y="7"/>
                        <a:pt x="21" y="7"/>
                      </a:cubicBezTo>
                      <a:close/>
                      <a:moveTo>
                        <a:pt x="2" y="3"/>
                      </a:moveTo>
                      <a:cubicBezTo>
                        <a:pt x="2" y="3"/>
                        <a:pt x="2" y="3"/>
                        <a:pt x="2" y="3"/>
                      </a:cubicBezTo>
                      <a:cubicBezTo>
                        <a:pt x="2" y="3"/>
                        <a:pt x="2" y="3"/>
                        <a:pt x="2" y="3"/>
                      </a:cubicBezTo>
                      <a:cubicBezTo>
                        <a:pt x="2" y="3"/>
                        <a:pt x="2" y="3"/>
                        <a:pt x="2" y="3"/>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20" y="8"/>
                      </a:moveTo>
                      <a:cubicBezTo>
                        <a:pt x="20" y="8"/>
                        <a:pt x="20" y="8"/>
                        <a:pt x="20" y="8"/>
                      </a:cubicBezTo>
                      <a:cubicBezTo>
                        <a:pt x="20" y="8"/>
                        <a:pt x="20" y="8"/>
                        <a:pt x="20" y="8"/>
                      </a:cubicBezTo>
                      <a:cubicBezTo>
                        <a:pt x="20" y="8"/>
                        <a:pt x="20" y="8"/>
                        <a:pt x="20" y="8"/>
                      </a:cubicBezTo>
                      <a:cubicBezTo>
                        <a:pt x="20" y="8"/>
                        <a:pt x="20" y="8"/>
                        <a:pt x="20" y="8"/>
                      </a:cubicBezTo>
                      <a:close/>
                      <a:moveTo>
                        <a:pt x="25" y="17"/>
                      </a:moveTo>
                      <a:cubicBezTo>
                        <a:pt x="25" y="18"/>
                        <a:pt x="25" y="18"/>
                        <a:pt x="25" y="18"/>
                      </a:cubicBezTo>
                      <a:cubicBezTo>
                        <a:pt x="25" y="18"/>
                        <a:pt x="25" y="18"/>
                        <a:pt x="25" y="18"/>
                      </a:cubicBezTo>
                      <a:cubicBezTo>
                        <a:pt x="25" y="17"/>
                        <a:pt x="25" y="17"/>
                        <a:pt x="25" y="17"/>
                      </a:cubicBezTo>
                      <a:cubicBezTo>
                        <a:pt x="25" y="17"/>
                        <a:pt x="25" y="17"/>
                        <a:pt x="25" y="17"/>
                      </a:cubicBezTo>
                      <a:close/>
                      <a:moveTo>
                        <a:pt x="13" y="12"/>
                      </a:moveTo>
                      <a:cubicBezTo>
                        <a:pt x="12" y="12"/>
                        <a:pt x="12" y="12"/>
                        <a:pt x="12" y="12"/>
                      </a:cubicBezTo>
                      <a:cubicBezTo>
                        <a:pt x="12" y="12"/>
                        <a:pt x="12" y="12"/>
                        <a:pt x="13" y="12"/>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lose/>
                      <a:moveTo>
                        <a:pt x="40" y="27"/>
                      </a:moveTo>
                      <a:cubicBezTo>
                        <a:pt x="40" y="27"/>
                        <a:pt x="40" y="27"/>
                        <a:pt x="40" y="27"/>
                      </a:cubicBezTo>
                      <a:cubicBezTo>
                        <a:pt x="40" y="27"/>
                        <a:pt x="40" y="27"/>
                        <a:pt x="40" y="27"/>
                      </a:cubicBezTo>
                      <a:cubicBezTo>
                        <a:pt x="40" y="27"/>
                        <a:pt x="40" y="27"/>
                        <a:pt x="40" y="27"/>
                      </a:cubicBezTo>
                      <a:cubicBezTo>
                        <a:pt x="40" y="27"/>
                        <a:pt x="40" y="27"/>
                        <a:pt x="40" y="27"/>
                      </a:cubicBezTo>
                      <a:close/>
                      <a:moveTo>
                        <a:pt x="47" y="30"/>
                      </a:moveTo>
                      <a:cubicBezTo>
                        <a:pt x="47" y="30"/>
                        <a:pt x="47" y="30"/>
                        <a:pt x="47" y="30"/>
                      </a:cubicBezTo>
                      <a:cubicBezTo>
                        <a:pt x="47" y="30"/>
                        <a:pt x="47" y="30"/>
                        <a:pt x="47" y="30"/>
                      </a:cubicBezTo>
                      <a:cubicBezTo>
                        <a:pt x="47" y="30"/>
                        <a:pt x="47" y="30"/>
                        <a:pt x="47" y="30"/>
                      </a:cubicBezTo>
                      <a:close/>
                      <a:moveTo>
                        <a:pt x="41" y="25"/>
                      </a:moveTo>
                      <a:cubicBezTo>
                        <a:pt x="41" y="25"/>
                        <a:pt x="41" y="25"/>
                        <a:pt x="41" y="25"/>
                      </a:cubicBezTo>
                      <a:cubicBezTo>
                        <a:pt x="41" y="25"/>
                        <a:pt x="41" y="25"/>
                        <a:pt x="41" y="25"/>
                      </a:cubicBezTo>
                      <a:cubicBezTo>
                        <a:pt x="41" y="25"/>
                        <a:pt x="41" y="25"/>
                        <a:pt x="41" y="25"/>
                      </a:cubicBezTo>
                      <a:close/>
                      <a:moveTo>
                        <a:pt x="27" y="11"/>
                      </a:move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15" y="12"/>
                      </a:moveTo>
                      <a:cubicBezTo>
                        <a:pt x="15" y="12"/>
                        <a:pt x="15" y="12"/>
                        <a:pt x="15" y="12"/>
                      </a:cubicBezTo>
                      <a:cubicBezTo>
                        <a:pt x="15" y="12"/>
                        <a:pt x="15" y="12"/>
                        <a:pt x="15" y="12"/>
                      </a:cubicBezTo>
                      <a:close/>
                      <a:moveTo>
                        <a:pt x="18" y="14"/>
                      </a:moveTo>
                      <a:cubicBezTo>
                        <a:pt x="18" y="14"/>
                        <a:pt x="18" y="14"/>
                        <a:pt x="18" y="14"/>
                      </a:cubicBezTo>
                      <a:cubicBezTo>
                        <a:pt x="18" y="14"/>
                        <a:pt x="18" y="14"/>
                        <a:pt x="18" y="14"/>
                      </a:cubicBezTo>
                      <a:cubicBezTo>
                        <a:pt x="18" y="14"/>
                        <a:pt x="18" y="15"/>
                        <a:pt x="18" y="15"/>
                      </a:cubicBezTo>
                      <a:cubicBezTo>
                        <a:pt x="18" y="15"/>
                        <a:pt x="18" y="14"/>
                        <a:pt x="18" y="14"/>
                      </a:cubicBezTo>
                      <a:close/>
                      <a:moveTo>
                        <a:pt x="29" y="13"/>
                      </a:moveTo>
                      <a:cubicBezTo>
                        <a:pt x="30" y="13"/>
                        <a:pt x="30" y="13"/>
                        <a:pt x="30" y="13"/>
                      </a:cubicBezTo>
                      <a:cubicBezTo>
                        <a:pt x="30" y="13"/>
                        <a:pt x="30" y="13"/>
                        <a:pt x="30" y="13"/>
                      </a:cubicBezTo>
                      <a:cubicBezTo>
                        <a:pt x="29" y="13"/>
                        <a:pt x="29" y="13"/>
                        <a:pt x="29" y="13"/>
                      </a:cubicBezTo>
                      <a:cubicBezTo>
                        <a:pt x="29" y="13"/>
                        <a:pt x="29" y="13"/>
                        <a:pt x="29" y="13"/>
                      </a:cubicBezTo>
                      <a:close/>
                      <a:moveTo>
                        <a:pt x="22" y="7"/>
                      </a:moveTo>
                      <a:cubicBezTo>
                        <a:pt x="22" y="7"/>
                        <a:pt x="22" y="7"/>
                        <a:pt x="22" y="7"/>
                      </a:cubicBezTo>
                      <a:cubicBezTo>
                        <a:pt x="22" y="7"/>
                        <a:pt x="22" y="7"/>
                        <a:pt x="22" y="7"/>
                      </a:cubicBezTo>
                      <a:cubicBezTo>
                        <a:pt x="22" y="7"/>
                        <a:pt x="22" y="7"/>
                        <a:pt x="22" y="7"/>
                      </a:cubicBezTo>
                      <a:cubicBezTo>
                        <a:pt x="22" y="7"/>
                        <a:pt x="22" y="7"/>
                        <a:pt x="22" y="7"/>
                      </a:cubicBezTo>
                      <a:close/>
                      <a:moveTo>
                        <a:pt x="27" y="10"/>
                      </a:moveTo>
                      <a:cubicBezTo>
                        <a:pt x="27" y="10"/>
                        <a:pt x="27" y="10"/>
                        <a:pt x="27" y="10"/>
                      </a:cubicBezTo>
                      <a:cubicBezTo>
                        <a:pt x="27" y="10"/>
                        <a:pt x="27" y="10"/>
                        <a:pt x="27" y="10"/>
                      </a:cubicBezTo>
                      <a:cubicBezTo>
                        <a:pt x="27" y="10"/>
                        <a:pt x="27" y="10"/>
                        <a:pt x="27" y="10"/>
                      </a:cubicBezTo>
                      <a:close/>
                      <a:moveTo>
                        <a:pt x="16" y="6"/>
                      </a:moveTo>
                      <a:cubicBezTo>
                        <a:pt x="16" y="6"/>
                        <a:pt x="16" y="6"/>
                        <a:pt x="16" y="6"/>
                      </a:cubicBezTo>
                      <a:cubicBezTo>
                        <a:pt x="16" y="6"/>
                        <a:pt x="16" y="6"/>
                        <a:pt x="16" y="6"/>
                      </a:cubicBezTo>
                      <a:cubicBezTo>
                        <a:pt x="16" y="6"/>
                        <a:pt x="16" y="6"/>
                        <a:pt x="16" y="6"/>
                      </a:cubicBezTo>
                      <a:close/>
                      <a:moveTo>
                        <a:pt x="4" y="2"/>
                      </a:moveTo>
                      <a:cubicBezTo>
                        <a:pt x="4" y="2"/>
                        <a:pt x="4" y="2"/>
                        <a:pt x="4" y="2"/>
                      </a:cubicBezTo>
                      <a:cubicBezTo>
                        <a:pt x="4" y="2"/>
                        <a:pt x="4" y="2"/>
                        <a:pt x="4" y="2"/>
                      </a:cubicBezTo>
                      <a:cubicBezTo>
                        <a:pt x="4" y="2"/>
                        <a:pt x="4" y="2"/>
                        <a:pt x="4" y="2"/>
                      </a:cubicBezTo>
                      <a:cubicBezTo>
                        <a:pt x="4" y="2"/>
                        <a:pt x="4" y="2"/>
                        <a:pt x="4" y="2"/>
                      </a:cubicBezTo>
                      <a:close/>
                      <a:moveTo>
                        <a:pt x="14" y="11"/>
                      </a:moveTo>
                      <a:cubicBezTo>
                        <a:pt x="14" y="11"/>
                        <a:pt x="14" y="11"/>
                        <a:pt x="14" y="11"/>
                      </a:cubicBezTo>
                      <a:cubicBezTo>
                        <a:pt x="14" y="11"/>
                        <a:pt x="14" y="11"/>
                        <a:pt x="14" y="11"/>
                      </a:cubicBezTo>
                      <a:close/>
                      <a:moveTo>
                        <a:pt x="26" y="18"/>
                      </a:moveTo>
                      <a:cubicBezTo>
                        <a:pt x="26" y="18"/>
                        <a:pt x="26" y="18"/>
                        <a:pt x="26" y="18"/>
                      </a:cubicBezTo>
                      <a:cubicBezTo>
                        <a:pt x="26" y="18"/>
                        <a:pt x="26" y="18"/>
                        <a:pt x="26" y="18"/>
                      </a:cubicBezTo>
                      <a:cubicBezTo>
                        <a:pt x="26" y="18"/>
                        <a:pt x="26" y="17"/>
                        <a:pt x="26" y="17"/>
                      </a:cubicBezTo>
                      <a:cubicBezTo>
                        <a:pt x="26" y="17"/>
                        <a:pt x="26" y="17"/>
                        <a:pt x="26" y="18"/>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lose/>
                      <a:moveTo>
                        <a:pt x="24" y="17"/>
                      </a:moveTo>
                      <a:cubicBezTo>
                        <a:pt x="24" y="17"/>
                        <a:pt x="24" y="17"/>
                        <a:pt x="24" y="17"/>
                      </a:cubicBezTo>
                      <a:cubicBezTo>
                        <a:pt x="24" y="17"/>
                        <a:pt x="24" y="17"/>
                        <a:pt x="24" y="17"/>
                      </a:cubicBezTo>
                      <a:cubicBezTo>
                        <a:pt x="24" y="17"/>
                        <a:pt x="24" y="17"/>
                        <a:pt x="24" y="17"/>
                      </a:cubicBezTo>
                      <a:close/>
                      <a:moveTo>
                        <a:pt x="20" y="8"/>
                      </a:moveTo>
                      <a:cubicBezTo>
                        <a:pt x="21" y="8"/>
                        <a:pt x="21" y="8"/>
                        <a:pt x="20" y="8"/>
                      </a:cubicBezTo>
                      <a:cubicBezTo>
                        <a:pt x="20" y="8"/>
                        <a:pt x="20" y="8"/>
                        <a:pt x="20" y="8"/>
                      </a:cubicBezTo>
                      <a:cubicBezTo>
                        <a:pt x="20" y="8"/>
                        <a:pt x="20" y="8"/>
                        <a:pt x="20" y="8"/>
                      </a:cubicBezTo>
                      <a:close/>
                      <a:moveTo>
                        <a:pt x="15" y="12"/>
                      </a:moveTo>
                      <a:cubicBezTo>
                        <a:pt x="15" y="12"/>
                        <a:pt x="15" y="12"/>
                        <a:pt x="15" y="12"/>
                      </a:cubicBezTo>
                      <a:cubicBezTo>
                        <a:pt x="15" y="12"/>
                        <a:pt x="15" y="12"/>
                        <a:pt x="15" y="12"/>
                      </a:cubicBezTo>
                      <a:close/>
                      <a:moveTo>
                        <a:pt x="24" y="17"/>
                      </a:moveTo>
                      <a:cubicBezTo>
                        <a:pt x="24" y="17"/>
                        <a:pt x="24" y="17"/>
                        <a:pt x="24" y="17"/>
                      </a:cubicBezTo>
                      <a:cubicBezTo>
                        <a:pt x="24" y="17"/>
                        <a:pt x="24" y="17"/>
                        <a:pt x="24" y="17"/>
                      </a:cubicBezTo>
                      <a:cubicBezTo>
                        <a:pt x="24" y="17"/>
                        <a:pt x="24" y="17"/>
                        <a:pt x="24" y="17"/>
                      </a:cubicBezTo>
                      <a:cubicBezTo>
                        <a:pt x="24" y="17"/>
                        <a:pt x="24" y="17"/>
                        <a:pt x="24" y="17"/>
                      </a:cubicBezTo>
                      <a:close/>
                      <a:moveTo>
                        <a:pt x="24" y="17"/>
                      </a:moveTo>
                      <a:cubicBezTo>
                        <a:pt x="24" y="17"/>
                        <a:pt x="24" y="17"/>
                        <a:pt x="24" y="17"/>
                      </a:cubicBezTo>
                      <a:cubicBezTo>
                        <a:pt x="24" y="17"/>
                        <a:pt x="24" y="16"/>
                        <a:pt x="24" y="16"/>
                      </a:cubicBezTo>
                      <a:cubicBezTo>
                        <a:pt x="24" y="17"/>
                        <a:pt x="24" y="17"/>
                        <a:pt x="24" y="17"/>
                      </a:cubicBezTo>
                      <a:cubicBezTo>
                        <a:pt x="24" y="17"/>
                        <a:pt x="24" y="17"/>
                        <a:pt x="24" y="17"/>
                      </a:cubicBezTo>
                      <a:close/>
                      <a:moveTo>
                        <a:pt x="18" y="6"/>
                      </a:moveTo>
                      <a:cubicBezTo>
                        <a:pt x="18" y="6"/>
                        <a:pt x="18" y="6"/>
                        <a:pt x="18" y="6"/>
                      </a:cubicBezTo>
                      <a:cubicBezTo>
                        <a:pt x="18" y="6"/>
                        <a:pt x="18" y="6"/>
                        <a:pt x="18" y="6"/>
                      </a:cubicBezTo>
                      <a:cubicBezTo>
                        <a:pt x="18" y="6"/>
                        <a:pt x="18" y="6"/>
                        <a:pt x="18" y="6"/>
                      </a:cubicBezTo>
                      <a:cubicBezTo>
                        <a:pt x="18" y="5"/>
                        <a:pt x="18" y="6"/>
                        <a:pt x="18" y="6"/>
                      </a:cubicBezTo>
                      <a:close/>
                      <a:moveTo>
                        <a:pt x="34" y="12"/>
                      </a:moveTo>
                      <a:cubicBezTo>
                        <a:pt x="34" y="12"/>
                        <a:pt x="34" y="12"/>
                        <a:pt x="34" y="12"/>
                      </a:cubicBezTo>
                      <a:cubicBezTo>
                        <a:pt x="34" y="12"/>
                        <a:pt x="34" y="12"/>
                        <a:pt x="34" y="12"/>
                      </a:cubicBezTo>
                      <a:cubicBezTo>
                        <a:pt x="34" y="12"/>
                        <a:pt x="34" y="12"/>
                        <a:pt x="34" y="12"/>
                      </a:cubicBezTo>
                      <a:cubicBezTo>
                        <a:pt x="34" y="12"/>
                        <a:pt x="34" y="12"/>
                        <a:pt x="34" y="12"/>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lose/>
                      <a:moveTo>
                        <a:pt x="38" y="20"/>
                      </a:moveTo>
                      <a:cubicBezTo>
                        <a:pt x="38" y="20"/>
                        <a:pt x="38" y="20"/>
                        <a:pt x="38" y="20"/>
                      </a:cubicBezTo>
                      <a:cubicBezTo>
                        <a:pt x="38" y="20"/>
                        <a:pt x="38" y="20"/>
                        <a:pt x="38" y="20"/>
                      </a:cubicBezTo>
                      <a:cubicBezTo>
                        <a:pt x="38" y="20"/>
                        <a:pt x="38" y="20"/>
                        <a:pt x="38" y="20"/>
                      </a:cubicBezTo>
                      <a:close/>
                      <a:moveTo>
                        <a:pt x="43" y="24"/>
                      </a:moveTo>
                      <a:cubicBezTo>
                        <a:pt x="43" y="25"/>
                        <a:pt x="43" y="25"/>
                        <a:pt x="43" y="25"/>
                      </a:cubicBezTo>
                      <a:cubicBezTo>
                        <a:pt x="43" y="25"/>
                        <a:pt x="43" y="25"/>
                        <a:pt x="43" y="24"/>
                      </a:cubicBezTo>
                      <a:cubicBezTo>
                        <a:pt x="43" y="24"/>
                        <a:pt x="43" y="24"/>
                        <a:pt x="43" y="24"/>
                      </a:cubicBezTo>
                      <a:cubicBezTo>
                        <a:pt x="43" y="24"/>
                        <a:pt x="43" y="24"/>
                        <a:pt x="43" y="24"/>
                      </a:cubicBezTo>
                      <a:close/>
                      <a:moveTo>
                        <a:pt x="14" y="12"/>
                      </a:moveTo>
                      <a:cubicBezTo>
                        <a:pt x="14" y="12"/>
                        <a:pt x="14" y="12"/>
                        <a:pt x="14" y="12"/>
                      </a:cubicBezTo>
                      <a:cubicBezTo>
                        <a:pt x="13" y="12"/>
                        <a:pt x="13" y="12"/>
                        <a:pt x="13" y="12"/>
                      </a:cubicBezTo>
                      <a:cubicBezTo>
                        <a:pt x="13" y="12"/>
                        <a:pt x="13" y="12"/>
                        <a:pt x="14" y="12"/>
                      </a:cubicBezTo>
                      <a:cubicBezTo>
                        <a:pt x="14" y="12"/>
                        <a:pt x="14" y="12"/>
                        <a:pt x="14" y="12"/>
                      </a:cubicBezTo>
                      <a:cubicBezTo>
                        <a:pt x="14" y="12"/>
                        <a:pt x="14" y="12"/>
                        <a:pt x="14" y="12"/>
                      </a:cubicBezTo>
                      <a:close/>
                      <a:moveTo>
                        <a:pt x="18" y="15"/>
                      </a:moveTo>
                      <a:cubicBezTo>
                        <a:pt x="18" y="15"/>
                        <a:pt x="18" y="15"/>
                        <a:pt x="18" y="15"/>
                      </a:cubicBezTo>
                      <a:cubicBezTo>
                        <a:pt x="18" y="15"/>
                        <a:pt x="18" y="15"/>
                        <a:pt x="18" y="15"/>
                      </a:cubicBezTo>
                      <a:cubicBezTo>
                        <a:pt x="18" y="15"/>
                        <a:pt x="18" y="15"/>
                        <a:pt x="18" y="15"/>
                      </a:cubicBezTo>
                      <a:cubicBezTo>
                        <a:pt x="18" y="15"/>
                        <a:pt x="18" y="15"/>
                        <a:pt x="18" y="15"/>
                      </a:cubicBezTo>
                      <a:close/>
                      <a:moveTo>
                        <a:pt x="14" y="12"/>
                      </a:moveTo>
                      <a:cubicBezTo>
                        <a:pt x="14" y="12"/>
                        <a:pt x="14" y="12"/>
                        <a:pt x="14" y="12"/>
                      </a:cubicBezTo>
                      <a:cubicBezTo>
                        <a:pt x="14" y="12"/>
                        <a:pt x="14" y="12"/>
                        <a:pt x="14" y="12"/>
                      </a:cubicBezTo>
                      <a:cubicBezTo>
                        <a:pt x="14" y="12"/>
                        <a:pt x="14" y="12"/>
                        <a:pt x="14" y="12"/>
                      </a:cubicBezTo>
                      <a:close/>
                      <a:moveTo>
                        <a:pt x="3" y="2"/>
                      </a:moveTo>
                      <a:cubicBezTo>
                        <a:pt x="3" y="2"/>
                        <a:pt x="3" y="2"/>
                        <a:pt x="3" y="2"/>
                      </a:cubicBezTo>
                      <a:cubicBezTo>
                        <a:pt x="3" y="2"/>
                        <a:pt x="3" y="2"/>
                        <a:pt x="3" y="2"/>
                      </a:cubicBezTo>
                      <a:cubicBezTo>
                        <a:pt x="3" y="2"/>
                        <a:pt x="3" y="2"/>
                        <a:pt x="3" y="2"/>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15" y="11"/>
                      </a:moveTo>
                      <a:cubicBezTo>
                        <a:pt x="15" y="11"/>
                        <a:pt x="15" y="11"/>
                        <a:pt x="15" y="11"/>
                      </a:cubicBezTo>
                      <a:cubicBezTo>
                        <a:pt x="15" y="11"/>
                        <a:pt x="15" y="11"/>
                        <a:pt x="15" y="11"/>
                      </a:cubicBezTo>
                      <a:cubicBezTo>
                        <a:pt x="15" y="11"/>
                        <a:pt x="15" y="11"/>
                        <a:pt x="15" y="11"/>
                      </a:cubicBezTo>
                      <a:cubicBezTo>
                        <a:pt x="15" y="11"/>
                        <a:pt x="15" y="11"/>
                        <a:pt x="15" y="11"/>
                      </a:cubicBezTo>
                      <a:close/>
                      <a:moveTo>
                        <a:pt x="34" y="36"/>
                      </a:moveTo>
                      <a:cubicBezTo>
                        <a:pt x="34" y="36"/>
                        <a:pt x="34" y="36"/>
                        <a:pt x="34" y="36"/>
                      </a:cubicBezTo>
                      <a:cubicBezTo>
                        <a:pt x="34" y="36"/>
                        <a:pt x="34" y="36"/>
                        <a:pt x="34" y="35"/>
                      </a:cubicBezTo>
                      <a:cubicBezTo>
                        <a:pt x="33" y="35"/>
                        <a:pt x="33" y="35"/>
                        <a:pt x="33" y="35"/>
                      </a:cubicBezTo>
                      <a:cubicBezTo>
                        <a:pt x="33" y="35"/>
                        <a:pt x="33" y="35"/>
                        <a:pt x="33" y="35"/>
                      </a:cubicBezTo>
                      <a:cubicBezTo>
                        <a:pt x="33" y="35"/>
                        <a:pt x="33" y="35"/>
                        <a:pt x="33" y="35"/>
                      </a:cubicBezTo>
                      <a:cubicBezTo>
                        <a:pt x="33" y="35"/>
                        <a:pt x="33" y="35"/>
                        <a:pt x="32" y="35"/>
                      </a:cubicBezTo>
                      <a:cubicBezTo>
                        <a:pt x="32" y="35"/>
                        <a:pt x="32" y="35"/>
                        <a:pt x="32" y="34"/>
                      </a:cubicBezTo>
                      <a:cubicBezTo>
                        <a:pt x="32" y="34"/>
                        <a:pt x="31" y="34"/>
                        <a:pt x="31" y="34"/>
                      </a:cubicBezTo>
                      <a:cubicBezTo>
                        <a:pt x="31" y="34"/>
                        <a:pt x="31" y="34"/>
                        <a:pt x="31" y="34"/>
                      </a:cubicBezTo>
                      <a:cubicBezTo>
                        <a:pt x="31" y="34"/>
                        <a:pt x="31" y="34"/>
                        <a:pt x="31" y="34"/>
                      </a:cubicBezTo>
                      <a:cubicBezTo>
                        <a:pt x="30" y="34"/>
                        <a:pt x="30" y="34"/>
                        <a:pt x="30" y="34"/>
                      </a:cubicBezTo>
                      <a:cubicBezTo>
                        <a:pt x="30" y="33"/>
                        <a:pt x="30" y="34"/>
                        <a:pt x="30" y="34"/>
                      </a:cubicBezTo>
                      <a:cubicBezTo>
                        <a:pt x="30" y="34"/>
                        <a:pt x="30" y="34"/>
                        <a:pt x="30" y="34"/>
                      </a:cubicBezTo>
                      <a:cubicBezTo>
                        <a:pt x="30" y="34"/>
                        <a:pt x="30" y="34"/>
                        <a:pt x="30" y="34"/>
                      </a:cubicBezTo>
                      <a:cubicBezTo>
                        <a:pt x="30" y="35"/>
                        <a:pt x="30" y="35"/>
                        <a:pt x="30" y="35"/>
                      </a:cubicBezTo>
                      <a:cubicBezTo>
                        <a:pt x="30" y="35"/>
                        <a:pt x="30" y="35"/>
                        <a:pt x="30" y="35"/>
                      </a:cubicBezTo>
                      <a:cubicBezTo>
                        <a:pt x="30" y="34"/>
                        <a:pt x="31" y="35"/>
                        <a:pt x="31" y="35"/>
                      </a:cubicBezTo>
                      <a:cubicBezTo>
                        <a:pt x="31" y="35"/>
                        <a:pt x="31" y="35"/>
                        <a:pt x="31" y="35"/>
                      </a:cubicBezTo>
                      <a:cubicBezTo>
                        <a:pt x="31" y="35"/>
                        <a:pt x="31" y="35"/>
                        <a:pt x="31" y="35"/>
                      </a:cubicBezTo>
                      <a:cubicBezTo>
                        <a:pt x="31" y="35"/>
                        <a:pt x="31" y="35"/>
                        <a:pt x="31" y="35"/>
                      </a:cubicBezTo>
                      <a:cubicBezTo>
                        <a:pt x="31" y="35"/>
                        <a:pt x="31" y="35"/>
                        <a:pt x="31" y="35"/>
                      </a:cubicBezTo>
                      <a:cubicBezTo>
                        <a:pt x="31"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3" y="35"/>
                        <a:pt x="33" y="35"/>
                        <a:pt x="33" y="36"/>
                      </a:cubicBezTo>
                      <a:cubicBezTo>
                        <a:pt x="33" y="36"/>
                        <a:pt x="33" y="36"/>
                        <a:pt x="33" y="36"/>
                      </a:cubicBezTo>
                      <a:cubicBezTo>
                        <a:pt x="33" y="36"/>
                        <a:pt x="33" y="36"/>
                        <a:pt x="33" y="36"/>
                      </a:cubicBezTo>
                      <a:cubicBezTo>
                        <a:pt x="33" y="36"/>
                        <a:pt x="33" y="36"/>
                        <a:pt x="33"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5" y="36"/>
                        <a:pt x="34" y="36"/>
                        <a:pt x="34" y="36"/>
                      </a:cubicBezTo>
                      <a:close/>
                      <a:moveTo>
                        <a:pt x="34" y="36"/>
                      </a:moveTo>
                      <a:cubicBezTo>
                        <a:pt x="34" y="36"/>
                        <a:pt x="34" y="36"/>
                        <a:pt x="34" y="36"/>
                      </a:cubicBezTo>
                      <a:cubicBezTo>
                        <a:pt x="34" y="36"/>
                        <a:pt x="34" y="36"/>
                        <a:pt x="34" y="36"/>
                      </a:cubicBezTo>
                      <a:cubicBezTo>
                        <a:pt x="34" y="36"/>
                        <a:pt x="34" y="36"/>
                        <a:pt x="34" y="36"/>
                      </a:cubicBezTo>
                      <a:cubicBezTo>
                        <a:pt x="34" y="36"/>
                        <a:pt x="34" y="36"/>
                        <a:pt x="33" y="36"/>
                      </a:cubicBezTo>
                      <a:cubicBezTo>
                        <a:pt x="33" y="36"/>
                        <a:pt x="33" y="36"/>
                        <a:pt x="33" y="36"/>
                      </a:cubicBezTo>
                      <a:cubicBezTo>
                        <a:pt x="33" y="36"/>
                        <a:pt x="33" y="36"/>
                        <a:pt x="33" y="36"/>
                      </a:cubicBezTo>
                      <a:cubicBezTo>
                        <a:pt x="33" y="36"/>
                        <a:pt x="33" y="36"/>
                        <a:pt x="33" y="36"/>
                      </a:cubicBezTo>
                      <a:cubicBezTo>
                        <a:pt x="33" y="35"/>
                        <a:pt x="33" y="35"/>
                        <a:pt x="33" y="35"/>
                      </a:cubicBezTo>
                      <a:cubicBezTo>
                        <a:pt x="33" y="35"/>
                        <a:pt x="33" y="35"/>
                        <a:pt x="33" y="35"/>
                      </a:cubicBezTo>
                      <a:cubicBezTo>
                        <a:pt x="33" y="35"/>
                        <a:pt x="33" y="35"/>
                        <a:pt x="33" y="35"/>
                      </a:cubicBezTo>
                      <a:cubicBezTo>
                        <a:pt x="33" y="35"/>
                        <a:pt x="33" y="35"/>
                        <a:pt x="33" y="35"/>
                      </a:cubicBezTo>
                      <a:cubicBezTo>
                        <a:pt x="34" y="35"/>
                        <a:pt x="34" y="36"/>
                        <a:pt x="34" y="36"/>
                      </a:cubicBezTo>
                      <a:cubicBezTo>
                        <a:pt x="34" y="36"/>
                        <a:pt x="34" y="36"/>
                        <a:pt x="34" y="36"/>
                      </a:cubicBezTo>
                      <a:cubicBezTo>
                        <a:pt x="34" y="36"/>
                        <a:pt x="34" y="36"/>
                        <a:pt x="34" y="36"/>
                      </a:cubicBezTo>
                      <a:close/>
                      <a:moveTo>
                        <a:pt x="69" y="29"/>
                      </a:moveTo>
                      <a:cubicBezTo>
                        <a:pt x="70" y="29"/>
                        <a:pt x="70" y="29"/>
                        <a:pt x="70" y="29"/>
                      </a:cubicBezTo>
                      <a:cubicBezTo>
                        <a:pt x="70" y="29"/>
                        <a:pt x="70" y="29"/>
                        <a:pt x="70" y="29"/>
                      </a:cubicBezTo>
                      <a:cubicBezTo>
                        <a:pt x="70" y="29"/>
                        <a:pt x="70" y="29"/>
                        <a:pt x="70" y="29"/>
                      </a:cubicBezTo>
                      <a:cubicBezTo>
                        <a:pt x="70" y="29"/>
                        <a:pt x="70" y="29"/>
                        <a:pt x="70" y="29"/>
                      </a:cubicBezTo>
                      <a:cubicBezTo>
                        <a:pt x="70" y="29"/>
                        <a:pt x="70" y="28"/>
                        <a:pt x="70" y="28"/>
                      </a:cubicBezTo>
                      <a:cubicBezTo>
                        <a:pt x="71" y="28"/>
                        <a:pt x="71" y="28"/>
                        <a:pt x="71" y="28"/>
                      </a:cubicBezTo>
                      <a:cubicBezTo>
                        <a:pt x="71" y="28"/>
                        <a:pt x="71" y="28"/>
                        <a:pt x="71" y="28"/>
                      </a:cubicBezTo>
                      <a:cubicBezTo>
                        <a:pt x="71" y="28"/>
                        <a:pt x="72" y="28"/>
                        <a:pt x="72" y="28"/>
                      </a:cubicBezTo>
                      <a:cubicBezTo>
                        <a:pt x="72" y="28"/>
                        <a:pt x="72" y="28"/>
                        <a:pt x="72" y="28"/>
                      </a:cubicBezTo>
                      <a:cubicBezTo>
                        <a:pt x="72" y="29"/>
                        <a:pt x="72" y="29"/>
                        <a:pt x="71" y="29"/>
                      </a:cubicBezTo>
                      <a:cubicBezTo>
                        <a:pt x="71" y="29"/>
                        <a:pt x="71" y="29"/>
                        <a:pt x="71" y="29"/>
                      </a:cubicBezTo>
                      <a:cubicBezTo>
                        <a:pt x="71" y="29"/>
                        <a:pt x="71" y="29"/>
                        <a:pt x="71" y="29"/>
                      </a:cubicBezTo>
                      <a:cubicBezTo>
                        <a:pt x="71" y="29"/>
                        <a:pt x="70" y="29"/>
                        <a:pt x="70" y="29"/>
                      </a:cubicBezTo>
                      <a:cubicBezTo>
                        <a:pt x="70" y="30"/>
                        <a:pt x="70" y="30"/>
                        <a:pt x="70" y="29"/>
                      </a:cubicBezTo>
                      <a:cubicBezTo>
                        <a:pt x="70" y="30"/>
                        <a:pt x="70" y="30"/>
                        <a:pt x="70" y="30"/>
                      </a:cubicBezTo>
                      <a:cubicBezTo>
                        <a:pt x="70" y="30"/>
                        <a:pt x="70" y="29"/>
                        <a:pt x="69" y="29"/>
                      </a:cubicBezTo>
                      <a:cubicBezTo>
                        <a:pt x="69" y="29"/>
                        <a:pt x="69" y="29"/>
                        <a:pt x="69" y="29"/>
                      </a:cubicBezTo>
                      <a:close/>
                      <a:moveTo>
                        <a:pt x="77" y="35"/>
                      </a:moveTo>
                      <a:cubicBezTo>
                        <a:pt x="76" y="35"/>
                        <a:pt x="77" y="35"/>
                        <a:pt x="77" y="35"/>
                      </a:cubicBezTo>
                      <a:cubicBezTo>
                        <a:pt x="77" y="35"/>
                        <a:pt x="77" y="35"/>
                        <a:pt x="78" y="35"/>
                      </a:cubicBezTo>
                      <a:cubicBezTo>
                        <a:pt x="78" y="35"/>
                        <a:pt x="78" y="35"/>
                        <a:pt x="78" y="35"/>
                      </a:cubicBezTo>
                      <a:cubicBezTo>
                        <a:pt x="78" y="35"/>
                        <a:pt x="78" y="35"/>
                        <a:pt x="78" y="35"/>
                      </a:cubicBezTo>
                      <a:cubicBezTo>
                        <a:pt x="78" y="35"/>
                        <a:pt x="78" y="35"/>
                        <a:pt x="78" y="35"/>
                      </a:cubicBezTo>
                      <a:cubicBezTo>
                        <a:pt x="78" y="35"/>
                        <a:pt x="78" y="35"/>
                        <a:pt x="78" y="36"/>
                      </a:cubicBezTo>
                      <a:cubicBezTo>
                        <a:pt x="78" y="36"/>
                        <a:pt x="77" y="36"/>
                        <a:pt x="77" y="36"/>
                      </a:cubicBezTo>
                      <a:cubicBezTo>
                        <a:pt x="77" y="36"/>
                        <a:pt x="77" y="36"/>
                        <a:pt x="77" y="36"/>
                      </a:cubicBezTo>
                      <a:cubicBezTo>
                        <a:pt x="77" y="36"/>
                        <a:pt x="77" y="35"/>
                        <a:pt x="77" y="35"/>
                      </a:cubicBezTo>
                      <a:close/>
                      <a:moveTo>
                        <a:pt x="74" y="32"/>
                      </a:moveTo>
                      <a:cubicBezTo>
                        <a:pt x="74" y="32"/>
                        <a:pt x="74" y="32"/>
                        <a:pt x="75" y="32"/>
                      </a:cubicBezTo>
                      <a:cubicBezTo>
                        <a:pt x="75" y="32"/>
                        <a:pt x="75" y="32"/>
                        <a:pt x="75" y="33"/>
                      </a:cubicBezTo>
                      <a:cubicBezTo>
                        <a:pt x="75" y="33"/>
                        <a:pt x="75" y="33"/>
                        <a:pt x="75" y="33"/>
                      </a:cubicBezTo>
                      <a:cubicBezTo>
                        <a:pt x="74" y="33"/>
                        <a:pt x="74" y="33"/>
                        <a:pt x="74" y="32"/>
                      </a:cubicBezTo>
                      <a:close/>
                      <a:moveTo>
                        <a:pt x="73" y="26"/>
                      </a:moveTo>
                      <a:cubicBezTo>
                        <a:pt x="73" y="26"/>
                        <a:pt x="73" y="26"/>
                        <a:pt x="73" y="26"/>
                      </a:cubicBezTo>
                      <a:cubicBezTo>
                        <a:pt x="73" y="26"/>
                        <a:pt x="74" y="26"/>
                        <a:pt x="74" y="26"/>
                      </a:cubicBezTo>
                      <a:cubicBezTo>
                        <a:pt x="73" y="26"/>
                        <a:pt x="73" y="26"/>
                        <a:pt x="73" y="26"/>
                      </a:cubicBezTo>
                      <a:cubicBezTo>
                        <a:pt x="73" y="26"/>
                        <a:pt x="73" y="26"/>
                        <a:pt x="73" y="26"/>
                      </a:cubicBezTo>
                      <a:close/>
                      <a:moveTo>
                        <a:pt x="71" y="29"/>
                      </a:moveTo>
                      <a:cubicBezTo>
                        <a:pt x="71" y="29"/>
                        <a:pt x="72" y="29"/>
                        <a:pt x="72" y="29"/>
                      </a:cubicBezTo>
                      <a:cubicBezTo>
                        <a:pt x="72" y="29"/>
                        <a:pt x="72" y="29"/>
                        <a:pt x="71" y="29"/>
                      </a:cubicBezTo>
                      <a:close/>
                      <a:moveTo>
                        <a:pt x="70" y="29"/>
                      </a:moveTo>
                      <a:cubicBezTo>
                        <a:pt x="70" y="28"/>
                        <a:pt x="70" y="28"/>
                        <a:pt x="70" y="28"/>
                      </a:cubicBezTo>
                      <a:cubicBezTo>
                        <a:pt x="70" y="28"/>
                        <a:pt x="70" y="28"/>
                        <a:pt x="70" y="28"/>
                      </a:cubicBezTo>
                      <a:cubicBezTo>
                        <a:pt x="70" y="29"/>
                        <a:pt x="70" y="29"/>
                        <a:pt x="70" y="29"/>
                      </a:cubicBezTo>
                      <a:cubicBezTo>
                        <a:pt x="70" y="29"/>
                        <a:pt x="70" y="29"/>
                        <a:pt x="70" y="29"/>
                      </a:cubicBezTo>
                      <a:close/>
                      <a:moveTo>
                        <a:pt x="70" y="26"/>
                      </a:moveTo>
                      <a:cubicBezTo>
                        <a:pt x="70" y="26"/>
                        <a:pt x="70" y="26"/>
                        <a:pt x="70" y="26"/>
                      </a:cubicBezTo>
                      <a:cubicBezTo>
                        <a:pt x="70" y="26"/>
                        <a:pt x="70" y="26"/>
                        <a:pt x="70" y="26"/>
                      </a:cubicBezTo>
                      <a:cubicBezTo>
                        <a:pt x="70" y="26"/>
                        <a:pt x="70" y="26"/>
                        <a:pt x="70" y="26"/>
                      </a:cubicBezTo>
                      <a:cubicBezTo>
                        <a:pt x="70" y="26"/>
                        <a:pt x="70" y="26"/>
                        <a:pt x="70"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6" name="Freeform 735">
                  <a:extLst>
                    <a:ext uri="{FF2B5EF4-FFF2-40B4-BE49-F238E27FC236}">
                      <a16:creationId xmlns:a16="http://schemas.microsoft.com/office/drawing/2014/main" id="{74E9E00F-22CB-A7F1-4098-0B94523ADD18}"/>
                    </a:ext>
                  </a:extLst>
                </p:cNvPr>
                <p:cNvSpPr>
                  <a:spLocks noEditPoints="1"/>
                </p:cNvSpPr>
                <p:nvPr/>
              </p:nvSpPr>
              <p:spPr bwMode="auto">
                <a:xfrm>
                  <a:off x="9996488" y="5462588"/>
                  <a:ext cx="128587" cy="95250"/>
                </a:xfrm>
                <a:custGeom>
                  <a:avLst/>
                  <a:gdLst>
                    <a:gd name="T0" fmla="*/ 24 w 31"/>
                    <a:gd name="T1" fmla="*/ 11 h 23"/>
                    <a:gd name="T2" fmla="*/ 24 w 31"/>
                    <a:gd name="T3" fmla="*/ 9 h 23"/>
                    <a:gd name="T4" fmla="*/ 23 w 31"/>
                    <a:gd name="T5" fmla="*/ 9 h 23"/>
                    <a:gd name="T6" fmla="*/ 25 w 31"/>
                    <a:gd name="T7" fmla="*/ 9 h 23"/>
                    <a:gd name="T8" fmla="*/ 26 w 31"/>
                    <a:gd name="T9" fmla="*/ 11 h 23"/>
                    <a:gd name="T10" fmla="*/ 26 w 31"/>
                    <a:gd name="T11" fmla="*/ 22 h 23"/>
                    <a:gd name="T12" fmla="*/ 26 w 31"/>
                    <a:gd name="T13" fmla="*/ 22 h 23"/>
                    <a:gd name="T14" fmla="*/ 20 w 31"/>
                    <a:gd name="T15" fmla="*/ 8 h 23"/>
                    <a:gd name="T16" fmla="*/ 6 w 31"/>
                    <a:gd name="T17" fmla="*/ 11 h 23"/>
                    <a:gd name="T18" fmla="*/ 6 w 31"/>
                    <a:gd name="T19" fmla="*/ 11 h 23"/>
                    <a:gd name="T20" fmla="*/ 16 w 31"/>
                    <a:gd name="T21" fmla="*/ 19 h 23"/>
                    <a:gd name="T22" fmla="*/ 0 w 31"/>
                    <a:gd name="T23" fmla="*/ 2 h 23"/>
                    <a:gd name="T24" fmla="*/ 14 w 31"/>
                    <a:gd name="T25" fmla="*/ 17 h 23"/>
                    <a:gd name="T26" fmla="*/ 22 w 31"/>
                    <a:gd name="T27" fmla="*/ 22 h 23"/>
                    <a:gd name="T28" fmla="*/ 4 w 31"/>
                    <a:gd name="T29" fmla="*/ 5 h 23"/>
                    <a:gd name="T30" fmla="*/ 4 w 31"/>
                    <a:gd name="T31" fmla="*/ 5 h 23"/>
                    <a:gd name="T32" fmla="*/ 8 w 31"/>
                    <a:gd name="T33" fmla="*/ 12 h 23"/>
                    <a:gd name="T34" fmla="*/ 10 w 31"/>
                    <a:gd name="T35" fmla="*/ 14 h 23"/>
                    <a:gd name="T36" fmla="*/ 2 w 31"/>
                    <a:gd name="T37" fmla="*/ 4 h 23"/>
                    <a:gd name="T38" fmla="*/ 22 w 31"/>
                    <a:gd name="T39" fmla="*/ 21 h 23"/>
                    <a:gd name="T40" fmla="*/ 21 w 31"/>
                    <a:gd name="T41" fmla="*/ 21 h 23"/>
                    <a:gd name="T42" fmla="*/ 20 w 31"/>
                    <a:gd name="T43" fmla="*/ 20 h 23"/>
                    <a:gd name="T44" fmla="*/ 19 w 31"/>
                    <a:gd name="T45" fmla="*/ 20 h 23"/>
                    <a:gd name="T46" fmla="*/ 19 w 31"/>
                    <a:gd name="T47" fmla="*/ 20 h 23"/>
                    <a:gd name="T48" fmla="*/ 17 w 31"/>
                    <a:gd name="T49" fmla="*/ 19 h 23"/>
                    <a:gd name="T50" fmla="*/ 16 w 31"/>
                    <a:gd name="T51" fmla="*/ 18 h 23"/>
                    <a:gd name="T52" fmla="*/ 14 w 31"/>
                    <a:gd name="T53" fmla="*/ 16 h 23"/>
                    <a:gd name="T54" fmla="*/ 13 w 31"/>
                    <a:gd name="T55" fmla="*/ 17 h 23"/>
                    <a:gd name="T56" fmla="*/ 12 w 31"/>
                    <a:gd name="T57" fmla="*/ 15 h 23"/>
                    <a:gd name="T58" fmla="*/ 9 w 31"/>
                    <a:gd name="T59" fmla="*/ 13 h 23"/>
                    <a:gd name="T60" fmla="*/ 9 w 31"/>
                    <a:gd name="T61" fmla="*/ 13 h 23"/>
                    <a:gd name="T62" fmla="*/ 7 w 31"/>
                    <a:gd name="T63" fmla="*/ 11 h 23"/>
                    <a:gd name="T64" fmla="*/ 7 w 31"/>
                    <a:gd name="T65" fmla="*/ 10 h 23"/>
                    <a:gd name="T66" fmla="*/ 5 w 31"/>
                    <a:gd name="T67" fmla="*/ 9 h 23"/>
                    <a:gd name="T68" fmla="*/ 4 w 31"/>
                    <a:gd name="T69" fmla="*/ 7 h 23"/>
                    <a:gd name="T70" fmla="*/ 3 w 31"/>
                    <a:gd name="T71" fmla="*/ 6 h 23"/>
                    <a:gd name="T72" fmla="*/ 3 w 31"/>
                    <a:gd name="T73" fmla="*/ 5 h 23"/>
                    <a:gd name="T74" fmla="*/ 3 w 31"/>
                    <a:gd name="T75" fmla="*/ 5 h 23"/>
                    <a:gd name="T76" fmla="*/ 5 w 31"/>
                    <a:gd name="T77" fmla="*/ 6 h 23"/>
                    <a:gd name="T78" fmla="*/ 7 w 31"/>
                    <a:gd name="T79" fmla="*/ 7 h 23"/>
                    <a:gd name="T80" fmla="*/ 11 w 31"/>
                    <a:gd name="T81" fmla="*/ 10 h 23"/>
                    <a:gd name="T82" fmla="*/ 13 w 31"/>
                    <a:gd name="T83" fmla="*/ 12 h 23"/>
                    <a:gd name="T84" fmla="*/ 15 w 31"/>
                    <a:gd name="T85" fmla="*/ 14 h 23"/>
                    <a:gd name="T86" fmla="*/ 16 w 31"/>
                    <a:gd name="T87" fmla="*/ 14 h 23"/>
                    <a:gd name="T88" fmla="*/ 18 w 31"/>
                    <a:gd name="T89" fmla="*/ 15 h 23"/>
                    <a:gd name="T90" fmla="*/ 20 w 31"/>
                    <a:gd name="T91" fmla="*/ 17 h 23"/>
                    <a:gd name="T92" fmla="*/ 23 w 31"/>
                    <a:gd name="T93" fmla="*/ 19 h 23"/>
                    <a:gd name="T94" fmla="*/ 1 w 31"/>
                    <a:gd name="T95" fmla="*/ 4 h 23"/>
                    <a:gd name="T96" fmla="*/ 0 w 31"/>
                    <a:gd name="T97" fmla="*/ 1 h 23"/>
                    <a:gd name="T98" fmla="*/ 31 w 31"/>
                    <a:gd name="T99" fmla="*/ 14 h 23"/>
                    <a:gd name="T100" fmla="*/ 28 w 31"/>
                    <a:gd name="T101" fmla="*/ 14 h 23"/>
                    <a:gd name="T102" fmla="*/ 30 w 31"/>
                    <a:gd name="T103" fmla="*/ 16 h 23"/>
                    <a:gd name="T104" fmla="*/ 20 w 31"/>
                    <a:gd name="T105" fmla="*/ 7 h 23"/>
                    <a:gd name="T106" fmla="*/ 20 w 31"/>
                    <a:gd name="T107" fmla="*/ 7 h 23"/>
                    <a:gd name="T108" fmla="*/ 16 w 31"/>
                    <a:gd name="T109" fmla="*/ 18 h 23"/>
                    <a:gd name="T110" fmla="*/ 16 w 31"/>
                    <a:gd name="T111" fmla="*/ 19 h 23"/>
                    <a:gd name="T112" fmla="*/ 16 w 31"/>
                    <a:gd name="T113"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 h="23">
                      <a:moveTo>
                        <a:pt x="26" y="12"/>
                      </a:moveTo>
                      <a:cubicBezTo>
                        <a:pt x="26" y="12"/>
                        <a:pt x="26" y="12"/>
                        <a:pt x="26" y="12"/>
                      </a:cubicBezTo>
                      <a:cubicBezTo>
                        <a:pt x="25" y="12"/>
                        <a:pt x="25" y="12"/>
                        <a:pt x="25" y="12"/>
                      </a:cubicBezTo>
                      <a:cubicBezTo>
                        <a:pt x="25" y="12"/>
                        <a:pt x="25" y="12"/>
                        <a:pt x="24" y="11"/>
                      </a:cubicBezTo>
                      <a:cubicBezTo>
                        <a:pt x="24" y="11"/>
                        <a:pt x="24" y="11"/>
                        <a:pt x="24" y="11"/>
                      </a:cubicBezTo>
                      <a:cubicBezTo>
                        <a:pt x="23" y="11"/>
                        <a:pt x="23" y="11"/>
                        <a:pt x="23" y="10"/>
                      </a:cubicBezTo>
                      <a:cubicBezTo>
                        <a:pt x="23" y="10"/>
                        <a:pt x="23" y="10"/>
                        <a:pt x="23" y="10"/>
                      </a:cubicBezTo>
                      <a:cubicBezTo>
                        <a:pt x="23" y="10"/>
                        <a:pt x="23" y="10"/>
                        <a:pt x="23" y="10"/>
                      </a:cubicBezTo>
                      <a:cubicBezTo>
                        <a:pt x="24" y="10"/>
                        <a:pt x="24" y="10"/>
                        <a:pt x="24" y="10"/>
                      </a:cubicBezTo>
                      <a:cubicBezTo>
                        <a:pt x="24" y="10"/>
                        <a:pt x="24" y="9"/>
                        <a:pt x="24" y="9"/>
                      </a:cubicBezTo>
                      <a:cubicBezTo>
                        <a:pt x="24" y="9"/>
                        <a:pt x="24" y="9"/>
                        <a:pt x="24" y="9"/>
                      </a:cubicBezTo>
                      <a:cubicBezTo>
                        <a:pt x="24" y="9"/>
                        <a:pt x="24" y="9"/>
                        <a:pt x="24" y="9"/>
                      </a:cubicBezTo>
                      <a:cubicBezTo>
                        <a:pt x="24" y="9"/>
                        <a:pt x="24" y="9"/>
                        <a:pt x="24" y="9"/>
                      </a:cubicBezTo>
                      <a:cubicBezTo>
                        <a:pt x="24" y="9"/>
                        <a:pt x="23" y="9"/>
                        <a:pt x="23" y="9"/>
                      </a:cubicBezTo>
                      <a:cubicBezTo>
                        <a:pt x="23" y="9"/>
                        <a:pt x="23" y="9"/>
                        <a:pt x="23" y="9"/>
                      </a:cubicBezTo>
                      <a:cubicBezTo>
                        <a:pt x="23" y="9"/>
                        <a:pt x="23" y="9"/>
                        <a:pt x="24" y="9"/>
                      </a:cubicBezTo>
                      <a:cubicBezTo>
                        <a:pt x="24" y="9"/>
                        <a:pt x="24" y="9"/>
                        <a:pt x="24" y="9"/>
                      </a:cubicBezTo>
                      <a:cubicBezTo>
                        <a:pt x="24" y="9"/>
                        <a:pt x="24" y="9"/>
                        <a:pt x="24" y="9"/>
                      </a:cubicBezTo>
                      <a:cubicBezTo>
                        <a:pt x="24" y="8"/>
                        <a:pt x="24" y="9"/>
                        <a:pt x="25" y="9"/>
                      </a:cubicBezTo>
                      <a:cubicBezTo>
                        <a:pt x="25" y="9"/>
                        <a:pt x="25" y="9"/>
                        <a:pt x="25" y="9"/>
                      </a:cubicBezTo>
                      <a:cubicBezTo>
                        <a:pt x="25" y="9"/>
                        <a:pt x="25" y="9"/>
                        <a:pt x="25" y="9"/>
                      </a:cubicBezTo>
                      <a:cubicBezTo>
                        <a:pt x="25" y="9"/>
                        <a:pt x="25" y="10"/>
                        <a:pt x="25" y="10"/>
                      </a:cubicBezTo>
                      <a:cubicBezTo>
                        <a:pt x="25" y="10"/>
                        <a:pt x="25" y="10"/>
                        <a:pt x="25" y="10"/>
                      </a:cubicBezTo>
                      <a:cubicBezTo>
                        <a:pt x="25" y="10"/>
                        <a:pt x="25" y="10"/>
                        <a:pt x="25" y="10"/>
                      </a:cubicBezTo>
                      <a:cubicBezTo>
                        <a:pt x="25" y="10"/>
                        <a:pt x="26" y="11"/>
                        <a:pt x="26" y="11"/>
                      </a:cubicBezTo>
                      <a:cubicBezTo>
                        <a:pt x="26" y="11"/>
                        <a:pt x="26" y="11"/>
                        <a:pt x="26" y="11"/>
                      </a:cubicBezTo>
                      <a:cubicBezTo>
                        <a:pt x="26" y="11"/>
                        <a:pt x="26" y="11"/>
                        <a:pt x="26" y="12"/>
                      </a:cubicBezTo>
                      <a:cubicBezTo>
                        <a:pt x="26" y="12"/>
                        <a:pt x="26" y="12"/>
                        <a:pt x="26" y="12"/>
                      </a:cubicBezTo>
                      <a:close/>
                      <a:moveTo>
                        <a:pt x="26" y="22"/>
                      </a:moveTo>
                      <a:cubicBezTo>
                        <a:pt x="26" y="22"/>
                        <a:pt x="26" y="22"/>
                        <a:pt x="26" y="22"/>
                      </a:cubicBezTo>
                      <a:cubicBezTo>
                        <a:pt x="26" y="22"/>
                        <a:pt x="26" y="22"/>
                        <a:pt x="26" y="22"/>
                      </a:cubicBezTo>
                      <a:cubicBezTo>
                        <a:pt x="26" y="22"/>
                        <a:pt x="26" y="23"/>
                        <a:pt x="26" y="23"/>
                      </a:cubicBezTo>
                      <a:cubicBezTo>
                        <a:pt x="26" y="23"/>
                        <a:pt x="26" y="23"/>
                        <a:pt x="26" y="23"/>
                      </a:cubicBezTo>
                      <a:cubicBezTo>
                        <a:pt x="26" y="23"/>
                        <a:pt x="27" y="23"/>
                        <a:pt x="27" y="23"/>
                      </a:cubicBezTo>
                      <a:cubicBezTo>
                        <a:pt x="27" y="23"/>
                        <a:pt x="27" y="22"/>
                        <a:pt x="26" y="22"/>
                      </a:cubicBezTo>
                      <a:close/>
                      <a:moveTo>
                        <a:pt x="20" y="9"/>
                      </a:moveTo>
                      <a:cubicBezTo>
                        <a:pt x="19" y="9"/>
                        <a:pt x="19" y="9"/>
                        <a:pt x="19" y="9"/>
                      </a:cubicBezTo>
                      <a:cubicBezTo>
                        <a:pt x="19" y="9"/>
                        <a:pt x="19" y="9"/>
                        <a:pt x="19" y="9"/>
                      </a:cubicBezTo>
                      <a:cubicBezTo>
                        <a:pt x="20" y="9"/>
                        <a:pt x="20" y="9"/>
                        <a:pt x="20" y="9"/>
                      </a:cubicBezTo>
                      <a:cubicBezTo>
                        <a:pt x="20" y="8"/>
                        <a:pt x="20" y="8"/>
                        <a:pt x="20" y="8"/>
                      </a:cubicBezTo>
                      <a:cubicBezTo>
                        <a:pt x="20" y="8"/>
                        <a:pt x="20" y="8"/>
                        <a:pt x="20" y="8"/>
                      </a:cubicBezTo>
                      <a:cubicBezTo>
                        <a:pt x="20" y="8"/>
                        <a:pt x="20" y="8"/>
                        <a:pt x="20" y="7"/>
                      </a:cubicBezTo>
                      <a:cubicBezTo>
                        <a:pt x="20" y="8"/>
                        <a:pt x="20" y="8"/>
                        <a:pt x="20" y="9"/>
                      </a:cubicBezTo>
                      <a:close/>
                      <a:moveTo>
                        <a:pt x="6" y="11"/>
                      </a:moveTo>
                      <a:cubicBezTo>
                        <a:pt x="6" y="11"/>
                        <a:pt x="6" y="10"/>
                        <a:pt x="6" y="11"/>
                      </a:cubicBezTo>
                      <a:cubicBezTo>
                        <a:pt x="6" y="11"/>
                        <a:pt x="6" y="11"/>
                        <a:pt x="5" y="11"/>
                      </a:cubicBezTo>
                      <a:cubicBezTo>
                        <a:pt x="6" y="11"/>
                        <a:pt x="6" y="11"/>
                        <a:pt x="6" y="11"/>
                      </a:cubicBezTo>
                      <a:cubicBezTo>
                        <a:pt x="6" y="11"/>
                        <a:pt x="6" y="11"/>
                        <a:pt x="6" y="11"/>
                      </a:cubicBezTo>
                      <a:cubicBezTo>
                        <a:pt x="6" y="11"/>
                        <a:pt x="6" y="11"/>
                        <a:pt x="7" y="11"/>
                      </a:cubicBezTo>
                      <a:cubicBezTo>
                        <a:pt x="7" y="11"/>
                        <a:pt x="6" y="11"/>
                        <a:pt x="6" y="11"/>
                      </a:cubicBezTo>
                      <a:close/>
                      <a:moveTo>
                        <a:pt x="16" y="19"/>
                      </a:moveTo>
                      <a:cubicBezTo>
                        <a:pt x="16" y="19"/>
                        <a:pt x="16" y="19"/>
                        <a:pt x="16" y="19"/>
                      </a:cubicBezTo>
                      <a:cubicBezTo>
                        <a:pt x="16" y="19"/>
                        <a:pt x="16" y="19"/>
                        <a:pt x="16" y="19"/>
                      </a:cubicBezTo>
                      <a:cubicBezTo>
                        <a:pt x="16" y="19"/>
                        <a:pt x="17" y="19"/>
                        <a:pt x="17" y="19"/>
                      </a:cubicBezTo>
                      <a:cubicBezTo>
                        <a:pt x="17" y="19"/>
                        <a:pt x="17" y="19"/>
                        <a:pt x="16" y="19"/>
                      </a:cubicBezTo>
                      <a:close/>
                      <a:moveTo>
                        <a:pt x="0" y="1"/>
                      </a:moveTo>
                      <a:cubicBezTo>
                        <a:pt x="0" y="1"/>
                        <a:pt x="0" y="1"/>
                        <a:pt x="0" y="1"/>
                      </a:cubicBezTo>
                      <a:cubicBezTo>
                        <a:pt x="0" y="1"/>
                        <a:pt x="0" y="1"/>
                        <a:pt x="0" y="1"/>
                      </a:cubicBezTo>
                      <a:cubicBezTo>
                        <a:pt x="0" y="2"/>
                        <a:pt x="0" y="2"/>
                        <a:pt x="0" y="2"/>
                      </a:cubicBezTo>
                      <a:cubicBezTo>
                        <a:pt x="0" y="2"/>
                        <a:pt x="0" y="2"/>
                        <a:pt x="0" y="2"/>
                      </a:cubicBezTo>
                      <a:cubicBezTo>
                        <a:pt x="0" y="2"/>
                        <a:pt x="0" y="1"/>
                        <a:pt x="0" y="1"/>
                      </a:cubicBezTo>
                      <a:close/>
                      <a:moveTo>
                        <a:pt x="14" y="17"/>
                      </a:moveTo>
                      <a:cubicBezTo>
                        <a:pt x="14" y="17"/>
                        <a:pt x="14" y="16"/>
                        <a:pt x="14" y="16"/>
                      </a:cubicBezTo>
                      <a:cubicBezTo>
                        <a:pt x="14" y="16"/>
                        <a:pt x="14" y="17"/>
                        <a:pt x="14" y="17"/>
                      </a:cubicBezTo>
                      <a:cubicBezTo>
                        <a:pt x="14" y="17"/>
                        <a:pt x="14" y="17"/>
                        <a:pt x="14" y="17"/>
                      </a:cubicBezTo>
                      <a:cubicBezTo>
                        <a:pt x="14" y="17"/>
                        <a:pt x="14" y="17"/>
                        <a:pt x="14" y="17"/>
                      </a:cubicBezTo>
                      <a:cubicBezTo>
                        <a:pt x="14" y="17"/>
                        <a:pt x="14" y="17"/>
                        <a:pt x="14" y="17"/>
                      </a:cubicBezTo>
                      <a:close/>
                      <a:moveTo>
                        <a:pt x="22" y="21"/>
                      </a:moveTo>
                      <a:cubicBezTo>
                        <a:pt x="22" y="21"/>
                        <a:pt x="21" y="21"/>
                        <a:pt x="21" y="21"/>
                      </a:cubicBezTo>
                      <a:cubicBezTo>
                        <a:pt x="21" y="22"/>
                        <a:pt x="21" y="22"/>
                        <a:pt x="22" y="22"/>
                      </a:cubicBezTo>
                      <a:cubicBezTo>
                        <a:pt x="22" y="22"/>
                        <a:pt x="22" y="21"/>
                        <a:pt x="22" y="21"/>
                      </a:cubicBezTo>
                      <a:cubicBezTo>
                        <a:pt x="22" y="21"/>
                        <a:pt x="22" y="21"/>
                        <a:pt x="22" y="21"/>
                      </a:cubicBezTo>
                      <a:close/>
                      <a:moveTo>
                        <a:pt x="4" y="5"/>
                      </a:moveTo>
                      <a:cubicBezTo>
                        <a:pt x="4" y="5"/>
                        <a:pt x="4" y="5"/>
                        <a:pt x="4" y="5"/>
                      </a:cubicBezTo>
                      <a:cubicBezTo>
                        <a:pt x="4" y="5"/>
                        <a:pt x="4" y="5"/>
                        <a:pt x="4" y="5"/>
                      </a:cubicBezTo>
                      <a:cubicBezTo>
                        <a:pt x="4" y="4"/>
                        <a:pt x="4" y="4"/>
                        <a:pt x="4" y="4"/>
                      </a:cubicBezTo>
                      <a:cubicBezTo>
                        <a:pt x="3" y="4"/>
                        <a:pt x="4" y="4"/>
                        <a:pt x="4" y="5"/>
                      </a:cubicBezTo>
                      <a:cubicBezTo>
                        <a:pt x="4" y="5"/>
                        <a:pt x="4" y="5"/>
                        <a:pt x="4" y="5"/>
                      </a:cubicBezTo>
                      <a:cubicBezTo>
                        <a:pt x="4" y="5"/>
                        <a:pt x="4" y="4"/>
                        <a:pt x="3" y="4"/>
                      </a:cubicBezTo>
                      <a:cubicBezTo>
                        <a:pt x="3" y="5"/>
                        <a:pt x="4" y="5"/>
                        <a:pt x="4" y="5"/>
                      </a:cubicBezTo>
                      <a:close/>
                      <a:moveTo>
                        <a:pt x="8" y="12"/>
                      </a:moveTo>
                      <a:cubicBezTo>
                        <a:pt x="7" y="12"/>
                        <a:pt x="8" y="12"/>
                        <a:pt x="8" y="12"/>
                      </a:cubicBezTo>
                      <a:cubicBezTo>
                        <a:pt x="8" y="12"/>
                        <a:pt x="7" y="12"/>
                        <a:pt x="8" y="12"/>
                      </a:cubicBezTo>
                      <a:cubicBezTo>
                        <a:pt x="8" y="12"/>
                        <a:pt x="8" y="12"/>
                        <a:pt x="8" y="12"/>
                      </a:cubicBezTo>
                      <a:cubicBezTo>
                        <a:pt x="8" y="12"/>
                        <a:pt x="8" y="12"/>
                        <a:pt x="8" y="12"/>
                      </a:cubicBezTo>
                      <a:close/>
                      <a:moveTo>
                        <a:pt x="10" y="14"/>
                      </a:moveTo>
                      <a:cubicBezTo>
                        <a:pt x="10" y="14"/>
                        <a:pt x="10" y="14"/>
                        <a:pt x="10" y="14"/>
                      </a:cubicBezTo>
                      <a:cubicBezTo>
                        <a:pt x="10" y="14"/>
                        <a:pt x="10" y="14"/>
                        <a:pt x="10" y="14"/>
                      </a:cubicBezTo>
                      <a:cubicBezTo>
                        <a:pt x="10" y="14"/>
                        <a:pt x="10" y="15"/>
                        <a:pt x="10" y="15"/>
                      </a:cubicBezTo>
                      <a:cubicBezTo>
                        <a:pt x="10" y="15"/>
                        <a:pt x="10" y="14"/>
                        <a:pt x="10" y="14"/>
                      </a:cubicBezTo>
                      <a:close/>
                      <a:moveTo>
                        <a:pt x="2" y="4"/>
                      </a:moveTo>
                      <a:cubicBezTo>
                        <a:pt x="2" y="4"/>
                        <a:pt x="2" y="4"/>
                        <a:pt x="2" y="4"/>
                      </a:cubicBezTo>
                      <a:cubicBezTo>
                        <a:pt x="2" y="4"/>
                        <a:pt x="2" y="4"/>
                        <a:pt x="2" y="4"/>
                      </a:cubicBezTo>
                      <a:cubicBezTo>
                        <a:pt x="2" y="4"/>
                        <a:pt x="2" y="4"/>
                        <a:pt x="2" y="4"/>
                      </a:cubicBezTo>
                      <a:cubicBezTo>
                        <a:pt x="2" y="4"/>
                        <a:pt x="2" y="4"/>
                        <a:pt x="2" y="4"/>
                      </a:cubicBezTo>
                      <a:close/>
                      <a:moveTo>
                        <a:pt x="23" y="21"/>
                      </a:moveTo>
                      <a:cubicBezTo>
                        <a:pt x="23" y="21"/>
                        <a:pt x="23" y="21"/>
                        <a:pt x="23" y="21"/>
                      </a:cubicBezTo>
                      <a:cubicBezTo>
                        <a:pt x="23" y="21"/>
                        <a:pt x="23" y="21"/>
                        <a:pt x="23" y="21"/>
                      </a:cubicBezTo>
                      <a:cubicBezTo>
                        <a:pt x="22" y="21"/>
                        <a:pt x="22" y="21"/>
                        <a:pt x="22" y="21"/>
                      </a:cubicBezTo>
                      <a:cubicBezTo>
                        <a:pt x="22" y="21"/>
                        <a:pt x="22" y="21"/>
                        <a:pt x="22" y="21"/>
                      </a:cubicBezTo>
                      <a:cubicBezTo>
                        <a:pt x="22" y="21"/>
                        <a:pt x="22" y="21"/>
                        <a:pt x="22" y="21"/>
                      </a:cubicBezTo>
                      <a:cubicBezTo>
                        <a:pt x="22" y="21"/>
                        <a:pt x="22" y="21"/>
                        <a:pt x="22" y="21"/>
                      </a:cubicBezTo>
                      <a:cubicBezTo>
                        <a:pt x="22" y="21"/>
                        <a:pt x="22" y="21"/>
                        <a:pt x="22" y="21"/>
                      </a:cubicBezTo>
                      <a:cubicBezTo>
                        <a:pt x="21" y="21"/>
                        <a:pt x="21" y="21"/>
                        <a:pt x="21" y="21"/>
                      </a:cubicBezTo>
                      <a:cubicBezTo>
                        <a:pt x="21" y="21"/>
                        <a:pt x="21" y="21"/>
                        <a:pt x="21" y="21"/>
                      </a:cubicBezTo>
                      <a:cubicBezTo>
                        <a:pt x="21" y="21"/>
                        <a:pt x="21" y="21"/>
                        <a:pt x="21" y="20"/>
                      </a:cubicBezTo>
                      <a:cubicBezTo>
                        <a:pt x="21" y="20"/>
                        <a:pt x="21" y="20"/>
                        <a:pt x="20" y="20"/>
                      </a:cubicBezTo>
                      <a:cubicBezTo>
                        <a:pt x="20" y="20"/>
                        <a:pt x="20" y="20"/>
                        <a:pt x="20" y="20"/>
                      </a:cubicBezTo>
                      <a:cubicBezTo>
                        <a:pt x="20" y="20"/>
                        <a:pt x="20" y="20"/>
                        <a:pt x="20" y="20"/>
                      </a:cubicBezTo>
                      <a:cubicBezTo>
                        <a:pt x="20" y="20"/>
                        <a:pt x="20" y="20"/>
                        <a:pt x="20" y="20"/>
                      </a:cubicBezTo>
                      <a:cubicBezTo>
                        <a:pt x="20" y="20"/>
                        <a:pt x="20" y="20"/>
                        <a:pt x="20" y="20"/>
                      </a:cubicBezTo>
                      <a:cubicBezTo>
                        <a:pt x="19" y="20"/>
                        <a:pt x="20" y="20"/>
                        <a:pt x="20"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8" y="19"/>
                        <a:pt x="18" y="20"/>
                        <a:pt x="18" y="19"/>
                      </a:cubicBezTo>
                      <a:cubicBezTo>
                        <a:pt x="18" y="19"/>
                        <a:pt x="17" y="19"/>
                        <a:pt x="17" y="19"/>
                      </a:cubicBezTo>
                      <a:cubicBezTo>
                        <a:pt x="17" y="19"/>
                        <a:pt x="17" y="19"/>
                        <a:pt x="17" y="19"/>
                      </a:cubicBezTo>
                      <a:cubicBezTo>
                        <a:pt x="17" y="19"/>
                        <a:pt x="17" y="19"/>
                        <a:pt x="17" y="19"/>
                      </a:cubicBezTo>
                      <a:cubicBezTo>
                        <a:pt x="17" y="19"/>
                        <a:pt x="17" y="18"/>
                        <a:pt x="17" y="18"/>
                      </a:cubicBezTo>
                      <a:cubicBezTo>
                        <a:pt x="17" y="18"/>
                        <a:pt x="17" y="18"/>
                        <a:pt x="17" y="18"/>
                      </a:cubicBezTo>
                      <a:cubicBezTo>
                        <a:pt x="17" y="18"/>
                        <a:pt x="17" y="18"/>
                        <a:pt x="17" y="18"/>
                      </a:cubicBezTo>
                      <a:cubicBezTo>
                        <a:pt x="17" y="18"/>
                        <a:pt x="17" y="18"/>
                        <a:pt x="17" y="18"/>
                      </a:cubicBezTo>
                      <a:cubicBezTo>
                        <a:pt x="17" y="18"/>
                        <a:pt x="16" y="18"/>
                        <a:pt x="16" y="18"/>
                      </a:cubicBezTo>
                      <a:cubicBezTo>
                        <a:pt x="16" y="18"/>
                        <a:pt x="16" y="18"/>
                        <a:pt x="16" y="18"/>
                      </a:cubicBezTo>
                      <a:cubicBezTo>
                        <a:pt x="16" y="17"/>
                        <a:pt x="15" y="17"/>
                        <a:pt x="15" y="17"/>
                      </a:cubicBezTo>
                      <a:cubicBezTo>
                        <a:pt x="15" y="17"/>
                        <a:pt x="15" y="17"/>
                        <a:pt x="15" y="17"/>
                      </a:cubicBezTo>
                      <a:cubicBezTo>
                        <a:pt x="15" y="17"/>
                        <a:pt x="14" y="17"/>
                        <a:pt x="14" y="17"/>
                      </a:cubicBezTo>
                      <a:cubicBezTo>
                        <a:pt x="15" y="16"/>
                        <a:pt x="14" y="16"/>
                        <a:pt x="14" y="16"/>
                      </a:cubicBezTo>
                      <a:cubicBezTo>
                        <a:pt x="14" y="16"/>
                        <a:pt x="14" y="16"/>
                        <a:pt x="14" y="16"/>
                      </a:cubicBezTo>
                      <a:cubicBezTo>
                        <a:pt x="14" y="16"/>
                        <a:pt x="14" y="16"/>
                        <a:pt x="14" y="16"/>
                      </a:cubicBezTo>
                      <a:cubicBezTo>
                        <a:pt x="13" y="16"/>
                        <a:pt x="13" y="16"/>
                        <a:pt x="14" y="16"/>
                      </a:cubicBezTo>
                      <a:cubicBezTo>
                        <a:pt x="14" y="16"/>
                        <a:pt x="14" y="17"/>
                        <a:pt x="13" y="17"/>
                      </a:cubicBezTo>
                      <a:cubicBezTo>
                        <a:pt x="13" y="17"/>
                        <a:pt x="13" y="17"/>
                        <a:pt x="13" y="17"/>
                      </a:cubicBezTo>
                      <a:cubicBezTo>
                        <a:pt x="13" y="17"/>
                        <a:pt x="13" y="17"/>
                        <a:pt x="13" y="17"/>
                      </a:cubicBezTo>
                      <a:cubicBezTo>
                        <a:pt x="13" y="16"/>
                        <a:pt x="12" y="16"/>
                        <a:pt x="12" y="16"/>
                      </a:cubicBezTo>
                      <a:cubicBezTo>
                        <a:pt x="12" y="16"/>
                        <a:pt x="12" y="16"/>
                        <a:pt x="13" y="16"/>
                      </a:cubicBezTo>
                      <a:cubicBezTo>
                        <a:pt x="13" y="15"/>
                        <a:pt x="12" y="15"/>
                        <a:pt x="12" y="15"/>
                      </a:cubicBezTo>
                      <a:cubicBezTo>
                        <a:pt x="12" y="15"/>
                        <a:pt x="12" y="15"/>
                        <a:pt x="12" y="15"/>
                      </a:cubicBezTo>
                      <a:cubicBezTo>
                        <a:pt x="11" y="15"/>
                        <a:pt x="11" y="15"/>
                        <a:pt x="11" y="15"/>
                      </a:cubicBezTo>
                      <a:cubicBezTo>
                        <a:pt x="11" y="15"/>
                        <a:pt x="11" y="15"/>
                        <a:pt x="11" y="15"/>
                      </a:cubicBezTo>
                      <a:cubicBezTo>
                        <a:pt x="11" y="15"/>
                        <a:pt x="11" y="15"/>
                        <a:pt x="11" y="15"/>
                      </a:cubicBezTo>
                      <a:cubicBezTo>
                        <a:pt x="11" y="15"/>
                        <a:pt x="10" y="14"/>
                        <a:pt x="10" y="14"/>
                      </a:cubicBezTo>
                      <a:cubicBezTo>
                        <a:pt x="10" y="14"/>
                        <a:pt x="10" y="14"/>
                        <a:pt x="9" y="13"/>
                      </a:cubicBezTo>
                      <a:cubicBezTo>
                        <a:pt x="9" y="13"/>
                        <a:pt x="9" y="13"/>
                        <a:pt x="9" y="13"/>
                      </a:cubicBezTo>
                      <a:cubicBezTo>
                        <a:pt x="9" y="14"/>
                        <a:pt x="9" y="14"/>
                        <a:pt x="9" y="14"/>
                      </a:cubicBezTo>
                      <a:cubicBezTo>
                        <a:pt x="9" y="14"/>
                        <a:pt x="9" y="14"/>
                        <a:pt x="9" y="14"/>
                      </a:cubicBezTo>
                      <a:cubicBezTo>
                        <a:pt x="8" y="13"/>
                        <a:pt x="9" y="13"/>
                        <a:pt x="9" y="13"/>
                      </a:cubicBezTo>
                      <a:cubicBezTo>
                        <a:pt x="9" y="13"/>
                        <a:pt x="9" y="13"/>
                        <a:pt x="9" y="13"/>
                      </a:cubicBezTo>
                      <a:cubicBezTo>
                        <a:pt x="9" y="13"/>
                        <a:pt x="9" y="13"/>
                        <a:pt x="9" y="13"/>
                      </a:cubicBezTo>
                      <a:cubicBezTo>
                        <a:pt x="9" y="13"/>
                        <a:pt x="8" y="12"/>
                        <a:pt x="8" y="12"/>
                      </a:cubicBezTo>
                      <a:cubicBezTo>
                        <a:pt x="8" y="12"/>
                        <a:pt x="8" y="12"/>
                        <a:pt x="8" y="12"/>
                      </a:cubicBezTo>
                      <a:cubicBezTo>
                        <a:pt x="8" y="11"/>
                        <a:pt x="8" y="11"/>
                        <a:pt x="8"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0"/>
                      </a:cubicBezTo>
                      <a:cubicBezTo>
                        <a:pt x="7" y="10"/>
                        <a:pt x="7" y="10"/>
                        <a:pt x="7" y="10"/>
                      </a:cubicBezTo>
                      <a:cubicBezTo>
                        <a:pt x="7" y="10"/>
                        <a:pt x="6" y="10"/>
                        <a:pt x="6" y="10"/>
                      </a:cubicBezTo>
                      <a:cubicBezTo>
                        <a:pt x="6" y="10"/>
                        <a:pt x="6" y="10"/>
                        <a:pt x="6" y="10"/>
                      </a:cubicBezTo>
                      <a:cubicBezTo>
                        <a:pt x="5" y="10"/>
                        <a:pt x="5" y="9"/>
                        <a:pt x="5" y="9"/>
                      </a:cubicBezTo>
                      <a:cubicBezTo>
                        <a:pt x="5" y="9"/>
                        <a:pt x="5" y="9"/>
                        <a:pt x="5" y="9"/>
                      </a:cubicBezTo>
                      <a:cubicBezTo>
                        <a:pt x="5" y="9"/>
                        <a:pt x="5" y="9"/>
                        <a:pt x="5" y="9"/>
                      </a:cubicBezTo>
                      <a:cubicBezTo>
                        <a:pt x="5" y="9"/>
                        <a:pt x="5" y="8"/>
                        <a:pt x="5" y="8"/>
                      </a:cubicBezTo>
                      <a:cubicBezTo>
                        <a:pt x="5" y="8"/>
                        <a:pt x="4" y="8"/>
                        <a:pt x="4" y="8"/>
                      </a:cubicBezTo>
                      <a:cubicBezTo>
                        <a:pt x="4" y="8"/>
                        <a:pt x="4" y="7"/>
                        <a:pt x="4" y="7"/>
                      </a:cubicBezTo>
                      <a:cubicBezTo>
                        <a:pt x="4" y="7"/>
                        <a:pt x="4" y="7"/>
                        <a:pt x="4" y="7"/>
                      </a:cubicBezTo>
                      <a:cubicBezTo>
                        <a:pt x="3" y="7"/>
                        <a:pt x="3" y="6"/>
                        <a:pt x="4" y="6"/>
                      </a:cubicBezTo>
                      <a:cubicBezTo>
                        <a:pt x="4" y="6"/>
                        <a:pt x="4" y="6"/>
                        <a:pt x="4" y="6"/>
                      </a:cubicBezTo>
                      <a:cubicBezTo>
                        <a:pt x="4" y="6"/>
                        <a:pt x="3" y="6"/>
                        <a:pt x="3" y="6"/>
                      </a:cubicBezTo>
                      <a:cubicBezTo>
                        <a:pt x="3" y="6"/>
                        <a:pt x="3" y="6"/>
                        <a:pt x="3" y="6"/>
                      </a:cubicBezTo>
                      <a:cubicBezTo>
                        <a:pt x="3" y="6"/>
                        <a:pt x="3" y="6"/>
                        <a:pt x="3" y="6"/>
                      </a:cubicBezTo>
                      <a:cubicBezTo>
                        <a:pt x="3" y="6"/>
                        <a:pt x="3" y="6"/>
                        <a:pt x="3" y="6"/>
                      </a:cubicBezTo>
                      <a:cubicBezTo>
                        <a:pt x="3" y="6"/>
                        <a:pt x="3" y="6"/>
                        <a:pt x="2" y="6"/>
                      </a:cubicBezTo>
                      <a:cubicBezTo>
                        <a:pt x="2" y="5"/>
                        <a:pt x="2" y="5"/>
                        <a:pt x="3" y="5"/>
                      </a:cubicBezTo>
                      <a:cubicBezTo>
                        <a:pt x="3" y="5"/>
                        <a:pt x="3" y="5"/>
                        <a:pt x="3" y="5"/>
                      </a:cubicBezTo>
                      <a:cubicBezTo>
                        <a:pt x="3" y="5"/>
                        <a:pt x="3" y="5"/>
                        <a:pt x="3" y="5"/>
                      </a:cubicBezTo>
                      <a:cubicBezTo>
                        <a:pt x="3" y="5"/>
                        <a:pt x="3" y="5"/>
                        <a:pt x="3" y="5"/>
                      </a:cubicBezTo>
                      <a:cubicBezTo>
                        <a:pt x="3" y="5"/>
                        <a:pt x="3" y="5"/>
                        <a:pt x="3" y="4"/>
                      </a:cubicBezTo>
                      <a:cubicBezTo>
                        <a:pt x="3" y="4"/>
                        <a:pt x="2" y="4"/>
                        <a:pt x="3" y="4"/>
                      </a:cubicBezTo>
                      <a:cubicBezTo>
                        <a:pt x="3" y="4"/>
                        <a:pt x="3" y="4"/>
                        <a:pt x="3" y="4"/>
                      </a:cubicBezTo>
                      <a:cubicBezTo>
                        <a:pt x="3" y="5"/>
                        <a:pt x="3" y="5"/>
                        <a:pt x="3" y="5"/>
                      </a:cubicBezTo>
                      <a:cubicBezTo>
                        <a:pt x="3" y="5"/>
                        <a:pt x="3" y="5"/>
                        <a:pt x="3" y="5"/>
                      </a:cubicBezTo>
                      <a:cubicBezTo>
                        <a:pt x="3" y="5"/>
                        <a:pt x="3" y="5"/>
                        <a:pt x="4" y="5"/>
                      </a:cubicBezTo>
                      <a:cubicBezTo>
                        <a:pt x="4" y="5"/>
                        <a:pt x="4" y="5"/>
                        <a:pt x="4" y="5"/>
                      </a:cubicBezTo>
                      <a:cubicBezTo>
                        <a:pt x="4" y="6"/>
                        <a:pt x="4" y="6"/>
                        <a:pt x="5" y="6"/>
                      </a:cubicBezTo>
                      <a:cubicBezTo>
                        <a:pt x="5" y="6"/>
                        <a:pt x="5" y="6"/>
                        <a:pt x="5" y="6"/>
                      </a:cubicBezTo>
                      <a:cubicBezTo>
                        <a:pt x="5" y="6"/>
                        <a:pt x="4" y="5"/>
                        <a:pt x="5" y="5"/>
                      </a:cubicBezTo>
                      <a:cubicBezTo>
                        <a:pt x="5" y="5"/>
                        <a:pt x="5" y="5"/>
                        <a:pt x="5" y="5"/>
                      </a:cubicBezTo>
                      <a:cubicBezTo>
                        <a:pt x="5" y="5"/>
                        <a:pt x="5" y="6"/>
                        <a:pt x="5" y="6"/>
                      </a:cubicBezTo>
                      <a:cubicBezTo>
                        <a:pt x="6" y="6"/>
                        <a:pt x="6" y="6"/>
                        <a:pt x="6" y="6"/>
                      </a:cubicBezTo>
                      <a:cubicBezTo>
                        <a:pt x="6" y="6"/>
                        <a:pt x="7" y="7"/>
                        <a:pt x="7" y="7"/>
                      </a:cubicBezTo>
                      <a:cubicBezTo>
                        <a:pt x="7" y="7"/>
                        <a:pt x="8" y="7"/>
                        <a:pt x="8" y="8"/>
                      </a:cubicBezTo>
                      <a:cubicBezTo>
                        <a:pt x="8" y="8"/>
                        <a:pt x="8" y="8"/>
                        <a:pt x="8" y="8"/>
                      </a:cubicBezTo>
                      <a:cubicBezTo>
                        <a:pt x="9" y="8"/>
                        <a:pt x="9" y="9"/>
                        <a:pt x="10" y="9"/>
                      </a:cubicBezTo>
                      <a:cubicBezTo>
                        <a:pt x="10" y="9"/>
                        <a:pt x="10" y="9"/>
                        <a:pt x="10" y="9"/>
                      </a:cubicBezTo>
                      <a:cubicBezTo>
                        <a:pt x="11" y="9"/>
                        <a:pt x="11" y="9"/>
                        <a:pt x="11" y="10"/>
                      </a:cubicBezTo>
                      <a:cubicBezTo>
                        <a:pt x="11" y="10"/>
                        <a:pt x="11" y="10"/>
                        <a:pt x="12" y="10"/>
                      </a:cubicBezTo>
                      <a:cubicBezTo>
                        <a:pt x="12" y="10"/>
                        <a:pt x="12" y="10"/>
                        <a:pt x="12" y="11"/>
                      </a:cubicBezTo>
                      <a:cubicBezTo>
                        <a:pt x="12" y="11"/>
                        <a:pt x="12" y="11"/>
                        <a:pt x="12" y="12"/>
                      </a:cubicBezTo>
                      <a:cubicBezTo>
                        <a:pt x="12" y="12"/>
                        <a:pt x="13" y="12"/>
                        <a:pt x="13" y="12"/>
                      </a:cubicBezTo>
                      <a:cubicBezTo>
                        <a:pt x="13" y="12"/>
                        <a:pt x="13" y="12"/>
                        <a:pt x="13" y="12"/>
                      </a:cubicBezTo>
                      <a:cubicBezTo>
                        <a:pt x="14" y="12"/>
                        <a:pt x="13" y="12"/>
                        <a:pt x="13" y="12"/>
                      </a:cubicBezTo>
                      <a:cubicBezTo>
                        <a:pt x="13" y="13"/>
                        <a:pt x="13" y="13"/>
                        <a:pt x="13" y="13"/>
                      </a:cubicBezTo>
                      <a:cubicBezTo>
                        <a:pt x="13" y="13"/>
                        <a:pt x="14" y="13"/>
                        <a:pt x="14" y="13"/>
                      </a:cubicBezTo>
                      <a:cubicBezTo>
                        <a:pt x="14" y="13"/>
                        <a:pt x="14" y="13"/>
                        <a:pt x="14" y="13"/>
                      </a:cubicBezTo>
                      <a:cubicBezTo>
                        <a:pt x="15" y="13"/>
                        <a:pt x="15" y="13"/>
                        <a:pt x="15" y="14"/>
                      </a:cubicBezTo>
                      <a:cubicBezTo>
                        <a:pt x="15" y="14"/>
                        <a:pt x="15" y="14"/>
                        <a:pt x="15" y="14"/>
                      </a:cubicBezTo>
                      <a:cubicBezTo>
                        <a:pt x="16" y="14"/>
                        <a:pt x="16" y="14"/>
                        <a:pt x="16" y="14"/>
                      </a:cubicBezTo>
                      <a:cubicBezTo>
                        <a:pt x="16" y="14"/>
                        <a:pt x="16" y="15"/>
                        <a:pt x="16" y="15"/>
                      </a:cubicBezTo>
                      <a:cubicBezTo>
                        <a:pt x="16" y="14"/>
                        <a:pt x="16" y="14"/>
                        <a:pt x="16" y="14"/>
                      </a:cubicBezTo>
                      <a:cubicBezTo>
                        <a:pt x="16" y="14"/>
                        <a:pt x="16" y="14"/>
                        <a:pt x="16" y="14"/>
                      </a:cubicBezTo>
                      <a:cubicBezTo>
                        <a:pt x="16" y="14"/>
                        <a:pt x="16" y="14"/>
                        <a:pt x="16" y="14"/>
                      </a:cubicBezTo>
                      <a:cubicBezTo>
                        <a:pt x="16" y="14"/>
                        <a:pt x="17" y="14"/>
                        <a:pt x="17" y="15"/>
                      </a:cubicBezTo>
                      <a:cubicBezTo>
                        <a:pt x="17" y="15"/>
                        <a:pt x="17" y="15"/>
                        <a:pt x="17" y="15"/>
                      </a:cubicBezTo>
                      <a:cubicBezTo>
                        <a:pt x="17" y="15"/>
                        <a:pt x="17" y="15"/>
                        <a:pt x="17" y="15"/>
                      </a:cubicBezTo>
                      <a:cubicBezTo>
                        <a:pt x="18" y="15"/>
                        <a:pt x="18" y="15"/>
                        <a:pt x="18" y="15"/>
                      </a:cubicBezTo>
                      <a:cubicBezTo>
                        <a:pt x="18" y="15"/>
                        <a:pt x="18" y="16"/>
                        <a:pt x="18" y="16"/>
                      </a:cubicBezTo>
                      <a:cubicBezTo>
                        <a:pt x="18" y="16"/>
                        <a:pt x="18" y="16"/>
                        <a:pt x="18" y="16"/>
                      </a:cubicBezTo>
                      <a:cubicBezTo>
                        <a:pt x="18" y="16"/>
                        <a:pt x="18" y="16"/>
                        <a:pt x="18" y="16"/>
                      </a:cubicBezTo>
                      <a:cubicBezTo>
                        <a:pt x="18" y="16"/>
                        <a:pt x="19" y="16"/>
                        <a:pt x="19" y="16"/>
                      </a:cubicBezTo>
                      <a:cubicBezTo>
                        <a:pt x="19" y="17"/>
                        <a:pt x="20" y="17"/>
                        <a:pt x="20" y="17"/>
                      </a:cubicBezTo>
                      <a:cubicBezTo>
                        <a:pt x="20" y="18"/>
                        <a:pt x="20" y="18"/>
                        <a:pt x="20" y="18"/>
                      </a:cubicBezTo>
                      <a:cubicBezTo>
                        <a:pt x="20" y="18"/>
                        <a:pt x="21" y="18"/>
                        <a:pt x="21" y="18"/>
                      </a:cubicBezTo>
                      <a:cubicBezTo>
                        <a:pt x="21" y="18"/>
                        <a:pt x="21" y="18"/>
                        <a:pt x="21" y="18"/>
                      </a:cubicBezTo>
                      <a:cubicBezTo>
                        <a:pt x="21" y="18"/>
                        <a:pt x="21" y="18"/>
                        <a:pt x="22" y="18"/>
                      </a:cubicBezTo>
                      <a:cubicBezTo>
                        <a:pt x="22" y="18"/>
                        <a:pt x="22" y="19"/>
                        <a:pt x="23" y="19"/>
                      </a:cubicBezTo>
                      <a:cubicBezTo>
                        <a:pt x="23" y="19"/>
                        <a:pt x="23" y="19"/>
                        <a:pt x="23" y="19"/>
                      </a:cubicBezTo>
                      <a:cubicBezTo>
                        <a:pt x="23" y="19"/>
                        <a:pt x="23" y="19"/>
                        <a:pt x="23" y="19"/>
                      </a:cubicBezTo>
                      <a:cubicBezTo>
                        <a:pt x="23" y="20"/>
                        <a:pt x="23" y="20"/>
                        <a:pt x="23" y="20"/>
                      </a:cubicBezTo>
                      <a:cubicBezTo>
                        <a:pt x="23" y="20"/>
                        <a:pt x="23" y="20"/>
                        <a:pt x="23" y="21"/>
                      </a:cubicBezTo>
                      <a:close/>
                      <a:moveTo>
                        <a:pt x="1" y="4"/>
                      </a:moveTo>
                      <a:cubicBezTo>
                        <a:pt x="1" y="4"/>
                        <a:pt x="1" y="4"/>
                        <a:pt x="1" y="4"/>
                      </a:cubicBezTo>
                      <a:cubicBezTo>
                        <a:pt x="1" y="4"/>
                        <a:pt x="1" y="4"/>
                        <a:pt x="1" y="4"/>
                      </a:cubicBezTo>
                      <a:cubicBezTo>
                        <a:pt x="1" y="4"/>
                        <a:pt x="1" y="4"/>
                        <a:pt x="1" y="4"/>
                      </a:cubicBezTo>
                      <a:cubicBezTo>
                        <a:pt x="1" y="4"/>
                        <a:pt x="1" y="4"/>
                        <a:pt x="1" y="4"/>
                      </a:cubicBezTo>
                      <a:close/>
                      <a:moveTo>
                        <a:pt x="0" y="1"/>
                      </a:moveTo>
                      <a:cubicBezTo>
                        <a:pt x="0" y="0"/>
                        <a:pt x="0" y="1"/>
                        <a:pt x="0" y="1"/>
                      </a:cubicBezTo>
                      <a:cubicBezTo>
                        <a:pt x="0" y="1"/>
                        <a:pt x="0" y="1"/>
                        <a:pt x="0" y="1"/>
                      </a:cubicBezTo>
                      <a:cubicBezTo>
                        <a:pt x="0" y="1"/>
                        <a:pt x="0" y="1"/>
                        <a:pt x="0" y="1"/>
                      </a:cubicBezTo>
                      <a:cubicBezTo>
                        <a:pt x="0" y="1"/>
                        <a:pt x="0" y="1"/>
                        <a:pt x="0" y="1"/>
                      </a:cubicBezTo>
                      <a:close/>
                      <a:moveTo>
                        <a:pt x="31" y="14"/>
                      </a:moveTo>
                      <a:cubicBezTo>
                        <a:pt x="30" y="14"/>
                        <a:pt x="30" y="14"/>
                        <a:pt x="30" y="14"/>
                      </a:cubicBezTo>
                      <a:cubicBezTo>
                        <a:pt x="30" y="14"/>
                        <a:pt x="29" y="14"/>
                        <a:pt x="30" y="14"/>
                      </a:cubicBezTo>
                      <a:cubicBezTo>
                        <a:pt x="30" y="14"/>
                        <a:pt x="29" y="14"/>
                        <a:pt x="29" y="14"/>
                      </a:cubicBezTo>
                      <a:cubicBezTo>
                        <a:pt x="29" y="14"/>
                        <a:pt x="29" y="14"/>
                        <a:pt x="29" y="14"/>
                      </a:cubicBezTo>
                      <a:cubicBezTo>
                        <a:pt x="29" y="14"/>
                        <a:pt x="28" y="14"/>
                        <a:pt x="28" y="14"/>
                      </a:cubicBezTo>
                      <a:cubicBezTo>
                        <a:pt x="29" y="14"/>
                        <a:pt x="29" y="15"/>
                        <a:pt x="29" y="15"/>
                      </a:cubicBezTo>
                      <a:cubicBezTo>
                        <a:pt x="29" y="15"/>
                        <a:pt x="29" y="15"/>
                        <a:pt x="29" y="15"/>
                      </a:cubicBezTo>
                      <a:cubicBezTo>
                        <a:pt x="29" y="15"/>
                        <a:pt x="29" y="15"/>
                        <a:pt x="29" y="15"/>
                      </a:cubicBezTo>
                      <a:cubicBezTo>
                        <a:pt x="29" y="16"/>
                        <a:pt x="30" y="16"/>
                        <a:pt x="30" y="16"/>
                      </a:cubicBezTo>
                      <a:cubicBezTo>
                        <a:pt x="30" y="16"/>
                        <a:pt x="30" y="16"/>
                        <a:pt x="30" y="16"/>
                      </a:cubicBezTo>
                      <a:cubicBezTo>
                        <a:pt x="31" y="16"/>
                        <a:pt x="31" y="15"/>
                        <a:pt x="31" y="15"/>
                      </a:cubicBezTo>
                      <a:cubicBezTo>
                        <a:pt x="31" y="15"/>
                        <a:pt x="31" y="15"/>
                        <a:pt x="30" y="15"/>
                      </a:cubicBezTo>
                      <a:cubicBezTo>
                        <a:pt x="31" y="15"/>
                        <a:pt x="30" y="15"/>
                        <a:pt x="31" y="15"/>
                      </a:cubicBezTo>
                      <a:cubicBezTo>
                        <a:pt x="31" y="14"/>
                        <a:pt x="31" y="14"/>
                        <a:pt x="31" y="14"/>
                      </a:cubicBezTo>
                      <a:close/>
                      <a:moveTo>
                        <a:pt x="20" y="7"/>
                      </a:moveTo>
                      <a:cubicBezTo>
                        <a:pt x="21" y="7"/>
                        <a:pt x="21" y="7"/>
                        <a:pt x="20" y="7"/>
                      </a:cubicBezTo>
                      <a:cubicBezTo>
                        <a:pt x="20" y="7"/>
                        <a:pt x="20" y="7"/>
                        <a:pt x="20" y="7"/>
                      </a:cubicBezTo>
                      <a:cubicBezTo>
                        <a:pt x="20" y="6"/>
                        <a:pt x="20" y="6"/>
                        <a:pt x="20" y="7"/>
                      </a:cubicBezTo>
                      <a:cubicBezTo>
                        <a:pt x="20" y="7"/>
                        <a:pt x="20" y="7"/>
                        <a:pt x="20" y="7"/>
                      </a:cubicBezTo>
                      <a:cubicBezTo>
                        <a:pt x="20" y="7"/>
                        <a:pt x="20" y="7"/>
                        <a:pt x="20" y="7"/>
                      </a:cubicBezTo>
                      <a:cubicBezTo>
                        <a:pt x="20" y="7"/>
                        <a:pt x="20" y="7"/>
                        <a:pt x="20" y="7"/>
                      </a:cubicBezTo>
                      <a:cubicBezTo>
                        <a:pt x="20" y="7"/>
                        <a:pt x="20" y="7"/>
                        <a:pt x="20" y="7"/>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moveTo>
                        <a:pt x="16" y="19"/>
                      </a:moveTo>
                      <a:cubicBezTo>
                        <a:pt x="16" y="19"/>
                        <a:pt x="16" y="19"/>
                        <a:pt x="16" y="19"/>
                      </a:cubicBezTo>
                      <a:cubicBezTo>
                        <a:pt x="16" y="19"/>
                        <a:pt x="16" y="19"/>
                        <a:pt x="16" y="19"/>
                      </a:cubicBezTo>
                      <a:cubicBezTo>
                        <a:pt x="16" y="19"/>
                        <a:pt x="16" y="19"/>
                        <a:pt x="16" y="19"/>
                      </a:cubicBezTo>
                      <a:cubicBezTo>
                        <a:pt x="16" y="19"/>
                        <a:pt x="16" y="19"/>
                        <a:pt x="16" y="19"/>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7" name="Freeform 736">
                  <a:extLst>
                    <a:ext uri="{FF2B5EF4-FFF2-40B4-BE49-F238E27FC236}">
                      <a16:creationId xmlns:a16="http://schemas.microsoft.com/office/drawing/2014/main" id="{0EA087DC-A560-8B43-DBB9-19763413980E}"/>
                    </a:ext>
                  </a:extLst>
                </p:cNvPr>
                <p:cNvSpPr>
                  <a:spLocks noEditPoints="1"/>
                </p:cNvSpPr>
                <p:nvPr/>
              </p:nvSpPr>
              <p:spPr bwMode="auto">
                <a:xfrm>
                  <a:off x="10374313" y="5362575"/>
                  <a:ext cx="128587" cy="92075"/>
                </a:xfrm>
                <a:custGeom>
                  <a:avLst/>
                  <a:gdLst>
                    <a:gd name="T0" fmla="*/ 9 w 31"/>
                    <a:gd name="T1" fmla="*/ 20 h 22"/>
                    <a:gd name="T2" fmla="*/ 7 w 31"/>
                    <a:gd name="T3" fmla="*/ 21 h 22"/>
                    <a:gd name="T4" fmla="*/ 9 w 31"/>
                    <a:gd name="T5" fmla="*/ 20 h 22"/>
                    <a:gd name="T6" fmla="*/ 11 w 31"/>
                    <a:gd name="T7" fmla="*/ 14 h 22"/>
                    <a:gd name="T8" fmla="*/ 9 w 31"/>
                    <a:gd name="T9" fmla="*/ 14 h 22"/>
                    <a:gd name="T10" fmla="*/ 6 w 31"/>
                    <a:gd name="T11" fmla="*/ 15 h 22"/>
                    <a:gd name="T12" fmla="*/ 2 w 31"/>
                    <a:gd name="T13" fmla="*/ 13 h 22"/>
                    <a:gd name="T14" fmla="*/ 3 w 31"/>
                    <a:gd name="T15" fmla="*/ 11 h 22"/>
                    <a:gd name="T16" fmla="*/ 5 w 31"/>
                    <a:gd name="T17" fmla="*/ 9 h 22"/>
                    <a:gd name="T18" fmla="*/ 7 w 31"/>
                    <a:gd name="T19" fmla="*/ 9 h 22"/>
                    <a:gd name="T20" fmla="*/ 9 w 31"/>
                    <a:gd name="T21" fmla="*/ 9 h 22"/>
                    <a:gd name="T22" fmla="*/ 11 w 31"/>
                    <a:gd name="T23" fmla="*/ 12 h 22"/>
                    <a:gd name="T24" fmla="*/ 15 w 31"/>
                    <a:gd name="T25" fmla="*/ 13 h 22"/>
                    <a:gd name="T26" fmla="*/ 18 w 31"/>
                    <a:gd name="T27" fmla="*/ 4 h 22"/>
                    <a:gd name="T28" fmla="*/ 16 w 31"/>
                    <a:gd name="T29" fmla="*/ 4 h 22"/>
                    <a:gd name="T30" fmla="*/ 14 w 31"/>
                    <a:gd name="T31" fmla="*/ 6 h 22"/>
                    <a:gd name="T32" fmla="*/ 12 w 31"/>
                    <a:gd name="T33" fmla="*/ 6 h 22"/>
                    <a:gd name="T34" fmla="*/ 11 w 31"/>
                    <a:gd name="T35" fmla="*/ 4 h 22"/>
                    <a:gd name="T36" fmla="*/ 12 w 31"/>
                    <a:gd name="T37" fmla="*/ 3 h 22"/>
                    <a:gd name="T38" fmla="*/ 14 w 31"/>
                    <a:gd name="T39" fmla="*/ 2 h 22"/>
                    <a:gd name="T40" fmla="*/ 17 w 31"/>
                    <a:gd name="T41" fmla="*/ 1 h 22"/>
                    <a:gd name="T42" fmla="*/ 18 w 31"/>
                    <a:gd name="T43" fmla="*/ 1 h 22"/>
                    <a:gd name="T44" fmla="*/ 19 w 31"/>
                    <a:gd name="T45" fmla="*/ 0 h 22"/>
                    <a:gd name="T46" fmla="*/ 19 w 31"/>
                    <a:gd name="T47" fmla="*/ 1 h 22"/>
                    <a:gd name="T48" fmla="*/ 17 w 31"/>
                    <a:gd name="T49" fmla="*/ 4 h 22"/>
                    <a:gd name="T50" fmla="*/ 20 w 31"/>
                    <a:gd name="T51" fmla="*/ 2 h 22"/>
                    <a:gd name="T52" fmla="*/ 20 w 31"/>
                    <a:gd name="T53" fmla="*/ 4 h 22"/>
                    <a:gd name="T54" fmla="*/ 27 w 31"/>
                    <a:gd name="T55" fmla="*/ 7 h 22"/>
                    <a:gd name="T56" fmla="*/ 21 w 31"/>
                    <a:gd name="T57" fmla="*/ 2 h 22"/>
                    <a:gd name="T58" fmla="*/ 19 w 31"/>
                    <a:gd name="T59" fmla="*/ 17 h 22"/>
                    <a:gd name="T60" fmla="*/ 22 w 31"/>
                    <a:gd name="T61" fmla="*/ 4 h 22"/>
                    <a:gd name="T62" fmla="*/ 8 w 31"/>
                    <a:gd name="T63" fmla="*/ 16 h 22"/>
                    <a:gd name="T64" fmla="*/ 22 w 31"/>
                    <a:gd name="T65" fmla="*/ 5 h 22"/>
                    <a:gd name="T66" fmla="*/ 2 w 31"/>
                    <a:gd name="T67" fmla="*/ 7 h 22"/>
                    <a:gd name="T68" fmla="*/ 25 w 31"/>
                    <a:gd name="T69" fmla="*/ 11 h 22"/>
                    <a:gd name="T70" fmla="*/ 3 w 31"/>
                    <a:gd name="T71" fmla="*/ 5 h 22"/>
                    <a:gd name="T72" fmla="*/ 10 w 31"/>
                    <a:gd name="T73" fmla="*/ 20 h 22"/>
                    <a:gd name="T74" fmla="*/ 1 w 31"/>
                    <a:gd name="T75" fmla="*/ 11 h 22"/>
                    <a:gd name="T76" fmla="*/ 26 w 31"/>
                    <a:gd name="T77" fmla="*/ 9 h 22"/>
                    <a:gd name="T78" fmla="*/ 17 w 31"/>
                    <a:gd name="T79" fmla="*/ 12 h 22"/>
                    <a:gd name="T80" fmla="*/ 27 w 31"/>
                    <a:gd name="T81" fmla="*/ 13 h 22"/>
                    <a:gd name="T82" fmla="*/ 28 w 31"/>
                    <a:gd name="T83" fmla="*/ 11 h 22"/>
                    <a:gd name="T84" fmla="*/ 12 w 31"/>
                    <a:gd name="T85" fmla="*/ 3 h 22"/>
                    <a:gd name="T86" fmla="*/ 14 w 31"/>
                    <a:gd name="T87" fmla="*/ 10 h 22"/>
                    <a:gd name="T88" fmla="*/ 1 w 31"/>
                    <a:gd name="T89" fmla="*/ 11 h 22"/>
                    <a:gd name="T90" fmla="*/ 16 w 31"/>
                    <a:gd name="T91" fmla="*/ 1 h 22"/>
                    <a:gd name="T92" fmla="*/ 3 w 31"/>
                    <a:gd name="T93" fmla="*/ 6 h 22"/>
                    <a:gd name="T94" fmla="*/ 1 w 31"/>
                    <a:gd name="T95" fmla="*/ 8 h 22"/>
                    <a:gd name="T96" fmla="*/ 12 w 31"/>
                    <a:gd name="T97" fmla="*/ 3 h 22"/>
                    <a:gd name="T98" fmla="*/ 0 w 31"/>
                    <a:gd name="T99" fmla="*/ 7 h 22"/>
                    <a:gd name="T100" fmla="*/ 4 w 31"/>
                    <a:gd name="T101" fmla="*/ 9 h 22"/>
                    <a:gd name="T102" fmla="*/ 13 w 31"/>
                    <a:gd name="T103" fmla="*/ 2 h 22"/>
                    <a:gd name="T104" fmla="*/ 12 w 31"/>
                    <a:gd name="T105" fmla="*/ 10 h 22"/>
                    <a:gd name="T106" fmla="*/ 28 w 31"/>
                    <a:gd name="T107" fmla="*/ 7 h 22"/>
                    <a:gd name="T108" fmla="*/ 31 w 31"/>
                    <a:gd name="T109" fmla="*/ 20 h 22"/>
                    <a:gd name="T110" fmla="*/ 12 w 31"/>
                    <a:gd name="T111" fmla="*/ 11 h 22"/>
                    <a:gd name="T112" fmla="*/ 15 w 31"/>
                    <a:gd name="T113" fmla="*/ 2 h 22"/>
                    <a:gd name="T114" fmla="*/ 2 w 31"/>
                    <a:gd name="T115" fmla="*/ 7 h 22"/>
                    <a:gd name="T116" fmla="*/ 23 w 31"/>
                    <a:gd name="T117" fmla="*/ 2 h 22"/>
                    <a:gd name="T118" fmla="*/ 9 w 31"/>
                    <a:gd name="T119" fmla="*/ 14 h 22"/>
                    <a:gd name="T120" fmla="*/ 1 w 31"/>
                    <a:gd name="T12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 h="22">
                      <a:moveTo>
                        <a:pt x="10" y="20"/>
                      </a:move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9" y="21"/>
                      </a:cubicBezTo>
                      <a:cubicBezTo>
                        <a:pt x="9" y="21"/>
                        <a:pt x="9" y="21"/>
                        <a:pt x="9" y="20"/>
                      </a:cubicBezTo>
                      <a:cubicBezTo>
                        <a:pt x="9" y="20"/>
                        <a:pt x="9" y="20"/>
                        <a:pt x="9" y="20"/>
                      </a:cubicBezTo>
                      <a:cubicBezTo>
                        <a:pt x="9" y="21"/>
                        <a:pt x="9" y="21"/>
                        <a:pt x="9" y="21"/>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8" y="20"/>
                        <a:pt x="9" y="20"/>
                        <a:pt x="9" y="20"/>
                      </a:cubicBezTo>
                      <a:cubicBezTo>
                        <a:pt x="9" y="20"/>
                        <a:pt x="8" y="20"/>
                        <a:pt x="8" y="20"/>
                      </a:cubicBezTo>
                      <a:cubicBezTo>
                        <a:pt x="8" y="20"/>
                        <a:pt x="8" y="21"/>
                        <a:pt x="8" y="20"/>
                      </a:cubicBezTo>
                      <a:cubicBezTo>
                        <a:pt x="8" y="20"/>
                        <a:pt x="8" y="20"/>
                        <a:pt x="8" y="20"/>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8" y="21"/>
                        <a:pt x="8" y="21"/>
                      </a:cubicBezTo>
                      <a:cubicBezTo>
                        <a:pt x="8" y="21"/>
                        <a:pt x="8" y="21"/>
                        <a:pt x="8" y="21"/>
                      </a:cubicBezTo>
                      <a:cubicBezTo>
                        <a:pt x="8" y="21"/>
                        <a:pt x="8" y="21"/>
                        <a:pt x="8" y="21"/>
                      </a:cubicBezTo>
                      <a:cubicBezTo>
                        <a:pt x="8" y="20"/>
                        <a:pt x="8" y="20"/>
                        <a:pt x="8" y="20"/>
                      </a:cubicBezTo>
                      <a:cubicBezTo>
                        <a:pt x="8" y="21"/>
                        <a:pt x="8" y="20"/>
                        <a:pt x="8" y="20"/>
                      </a:cubicBezTo>
                      <a:cubicBezTo>
                        <a:pt x="8" y="20"/>
                        <a:pt x="8" y="20"/>
                        <a:pt x="8" y="20"/>
                      </a:cubicBezTo>
                      <a:cubicBezTo>
                        <a:pt x="8" y="20"/>
                        <a:pt x="8" y="20"/>
                        <a:pt x="8" y="20"/>
                      </a:cubicBezTo>
                      <a:cubicBezTo>
                        <a:pt x="8" y="20"/>
                        <a:pt x="8" y="20"/>
                        <a:pt x="8" y="20"/>
                      </a:cubicBezTo>
                      <a:cubicBezTo>
                        <a:pt x="8"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lose/>
                      <a:moveTo>
                        <a:pt x="12" y="13"/>
                      </a:moveTo>
                      <a:cubicBezTo>
                        <a:pt x="11" y="13"/>
                        <a:pt x="11" y="13"/>
                        <a:pt x="12" y="13"/>
                      </a:cubicBezTo>
                      <a:cubicBezTo>
                        <a:pt x="12" y="13"/>
                        <a:pt x="12" y="13"/>
                        <a:pt x="12"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8" y="14"/>
                        <a:pt x="8" y="14"/>
                      </a:cubicBezTo>
                      <a:cubicBezTo>
                        <a:pt x="8" y="14"/>
                        <a:pt x="8" y="14"/>
                        <a:pt x="8" y="14"/>
                      </a:cubicBezTo>
                      <a:cubicBezTo>
                        <a:pt x="8" y="14"/>
                        <a:pt x="8" y="15"/>
                        <a:pt x="8" y="15"/>
                      </a:cubicBezTo>
                      <a:cubicBezTo>
                        <a:pt x="8" y="15"/>
                        <a:pt x="8" y="15"/>
                        <a:pt x="8" y="15"/>
                      </a:cubicBezTo>
                      <a:cubicBezTo>
                        <a:pt x="8" y="15"/>
                        <a:pt x="8" y="15"/>
                        <a:pt x="8" y="15"/>
                      </a:cubicBezTo>
                      <a:cubicBezTo>
                        <a:pt x="8" y="15"/>
                        <a:pt x="8" y="15"/>
                        <a:pt x="8"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5" y="15"/>
                      </a:cubicBezTo>
                      <a:cubicBezTo>
                        <a:pt x="5" y="15"/>
                        <a:pt x="5" y="15"/>
                        <a:pt x="5" y="15"/>
                      </a:cubicBezTo>
                      <a:cubicBezTo>
                        <a:pt x="5" y="15"/>
                        <a:pt x="5" y="15"/>
                        <a:pt x="5" y="15"/>
                      </a:cubicBezTo>
                      <a:cubicBezTo>
                        <a:pt x="5" y="15"/>
                        <a:pt x="5" y="15"/>
                        <a:pt x="5" y="14"/>
                      </a:cubicBezTo>
                      <a:cubicBezTo>
                        <a:pt x="5" y="14"/>
                        <a:pt x="5" y="14"/>
                        <a:pt x="5" y="14"/>
                      </a:cubicBezTo>
                      <a:cubicBezTo>
                        <a:pt x="5" y="14"/>
                        <a:pt x="5" y="15"/>
                        <a:pt x="5" y="14"/>
                      </a:cubicBezTo>
                      <a:cubicBezTo>
                        <a:pt x="5" y="14"/>
                        <a:pt x="5" y="14"/>
                        <a:pt x="5" y="14"/>
                      </a:cubicBezTo>
                      <a:cubicBezTo>
                        <a:pt x="5" y="14"/>
                        <a:pt x="4" y="14"/>
                        <a:pt x="4" y="14"/>
                      </a:cubicBezTo>
                      <a:cubicBezTo>
                        <a:pt x="4" y="14"/>
                        <a:pt x="4" y="14"/>
                        <a:pt x="4" y="14"/>
                      </a:cubicBezTo>
                      <a:cubicBezTo>
                        <a:pt x="4" y="14"/>
                        <a:pt x="4" y="14"/>
                        <a:pt x="4" y="14"/>
                      </a:cubicBezTo>
                      <a:cubicBezTo>
                        <a:pt x="4" y="14"/>
                        <a:pt x="4" y="14"/>
                        <a:pt x="4" y="14"/>
                      </a:cubicBezTo>
                      <a:cubicBezTo>
                        <a:pt x="4" y="14"/>
                        <a:pt x="4"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2" y="14"/>
                        <a:pt x="2" y="14"/>
                      </a:cubicBezTo>
                      <a:cubicBezTo>
                        <a:pt x="2" y="14"/>
                        <a:pt x="2" y="14"/>
                        <a:pt x="2" y="14"/>
                      </a:cubicBezTo>
                      <a:cubicBezTo>
                        <a:pt x="2" y="14"/>
                        <a:pt x="2" y="14"/>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3" y="12"/>
                        <a:pt x="3" y="12"/>
                      </a:cubicBezTo>
                      <a:cubicBezTo>
                        <a:pt x="3" y="12"/>
                        <a:pt x="3" y="12"/>
                        <a:pt x="3" y="12"/>
                      </a:cubicBezTo>
                      <a:cubicBezTo>
                        <a:pt x="3" y="12"/>
                        <a:pt x="3" y="12"/>
                        <a:pt x="3" y="12"/>
                      </a:cubicBezTo>
                      <a:cubicBezTo>
                        <a:pt x="3" y="12"/>
                        <a:pt x="3" y="12"/>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0"/>
                      </a:cubicBezTo>
                      <a:cubicBezTo>
                        <a:pt x="3" y="11"/>
                        <a:pt x="3" y="11"/>
                        <a:pt x="3" y="11"/>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9" y="8"/>
                        <a:pt x="9" y="8"/>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10"/>
                        <a:pt x="9" y="10"/>
                      </a:cubicBezTo>
                      <a:cubicBezTo>
                        <a:pt x="9" y="10"/>
                        <a:pt x="10" y="10"/>
                        <a:pt x="9"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1" y="10"/>
                        <a:pt x="11" y="10"/>
                        <a:pt x="11" y="10"/>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3"/>
                        <a:pt x="12" y="13"/>
                      </a:cubicBezTo>
                      <a:close/>
                      <a:moveTo>
                        <a:pt x="16" y="13"/>
                      </a:moveTo>
                      <a:cubicBezTo>
                        <a:pt x="16" y="13"/>
                        <a:pt x="16" y="13"/>
                        <a:pt x="16" y="13"/>
                      </a:cubicBezTo>
                      <a:cubicBezTo>
                        <a:pt x="16" y="13"/>
                        <a:pt x="16" y="13"/>
                        <a:pt x="16" y="13"/>
                      </a:cubicBezTo>
                      <a:cubicBezTo>
                        <a:pt x="16" y="13"/>
                        <a:pt x="16" y="13"/>
                        <a:pt x="16" y="13"/>
                      </a:cubicBezTo>
                      <a:cubicBezTo>
                        <a:pt x="16" y="13"/>
                        <a:pt x="16"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3"/>
                      </a:cubicBezTo>
                      <a:cubicBezTo>
                        <a:pt x="16" y="13"/>
                        <a:pt x="16" y="13"/>
                        <a:pt x="16" y="13"/>
                      </a:cubicBezTo>
                      <a:cubicBezTo>
                        <a:pt x="16" y="13"/>
                        <a:pt x="16" y="13"/>
                        <a:pt x="16" y="14"/>
                      </a:cubicBezTo>
                      <a:cubicBezTo>
                        <a:pt x="16" y="14"/>
                        <a:pt x="16" y="14"/>
                        <a:pt x="16" y="14"/>
                      </a:cubicBezTo>
                      <a:cubicBezTo>
                        <a:pt x="16" y="14"/>
                        <a:pt x="16" y="14"/>
                        <a:pt x="16" y="14"/>
                      </a:cubicBezTo>
                      <a:cubicBezTo>
                        <a:pt x="16" y="14"/>
                        <a:pt x="16" y="14"/>
                        <a:pt x="16" y="14"/>
                      </a:cubicBezTo>
                      <a:cubicBezTo>
                        <a:pt x="16" y="14"/>
                        <a:pt x="16" y="13"/>
                        <a:pt x="16" y="13"/>
                      </a:cubicBezTo>
                      <a:close/>
                      <a:moveTo>
                        <a:pt x="19" y="4"/>
                      </a:move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5"/>
                        <a:pt x="18" y="5"/>
                        <a:pt x="18" y="5"/>
                      </a:cubicBezTo>
                      <a:cubicBezTo>
                        <a:pt x="18" y="5"/>
                        <a:pt x="18" y="5"/>
                        <a:pt x="18" y="5"/>
                      </a:cubicBezTo>
                      <a:cubicBezTo>
                        <a:pt x="18" y="5"/>
                        <a:pt x="17" y="5"/>
                        <a:pt x="17" y="5"/>
                      </a:cubicBezTo>
                      <a:cubicBezTo>
                        <a:pt x="17" y="4"/>
                        <a:pt x="17" y="4"/>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6"/>
                        <a:pt x="14" y="6"/>
                        <a:pt x="14" y="6"/>
                      </a:cubicBezTo>
                      <a:cubicBezTo>
                        <a:pt x="14" y="6"/>
                        <a:pt x="14" y="6"/>
                        <a:pt x="14" y="5"/>
                      </a:cubicBezTo>
                      <a:cubicBezTo>
                        <a:pt x="14" y="5"/>
                        <a:pt x="14"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1" y="6"/>
                      </a:cubicBezTo>
                      <a:cubicBezTo>
                        <a:pt x="11" y="6"/>
                        <a:pt x="11" y="6"/>
                        <a:pt x="11" y="6"/>
                      </a:cubicBezTo>
                      <a:cubicBezTo>
                        <a:pt x="11" y="6"/>
                        <a:pt x="11" y="6"/>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0" y="5"/>
                        <a:pt x="10" y="5"/>
                        <a:pt x="10" y="5"/>
                      </a:cubicBezTo>
                      <a:cubicBezTo>
                        <a:pt x="10" y="5"/>
                        <a:pt x="10" y="5"/>
                        <a:pt x="10" y="5"/>
                      </a:cubicBezTo>
                      <a:cubicBezTo>
                        <a:pt x="10" y="5"/>
                        <a:pt x="10" y="4"/>
                        <a:pt x="10"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0" y="4"/>
                        <a:pt x="10"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3"/>
                        <a:pt x="11" y="3"/>
                        <a:pt x="11" y="3"/>
                      </a:cubicBezTo>
                      <a:cubicBezTo>
                        <a:pt x="11" y="3"/>
                        <a:pt x="11" y="3"/>
                        <a:pt x="11" y="3"/>
                      </a:cubicBezTo>
                      <a:cubicBezTo>
                        <a:pt x="11" y="3"/>
                        <a:pt x="11" y="3"/>
                        <a:pt x="11" y="3"/>
                      </a:cubicBezTo>
                      <a:cubicBezTo>
                        <a:pt x="11" y="3"/>
                        <a:pt x="11" y="3"/>
                        <a:pt x="11" y="4"/>
                      </a:cubicBezTo>
                      <a:cubicBezTo>
                        <a:pt x="11" y="4"/>
                        <a:pt x="11" y="4"/>
                        <a:pt x="11" y="4"/>
                      </a:cubicBezTo>
                      <a:cubicBezTo>
                        <a:pt x="11" y="4"/>
                        <a:pt x="11" y="4"/>
                        <a:pt x="11" y="4"/>
                      </a:cubicBezTo>
                      <a:cubicBezTo>
                        <a:pt x="11" y="3"/>
                        <a:pt x="11" y="3"/>
                        <a:pt x="11" y="4"/>
                      </a:cubicBezTo>
                      <a:cubicBezTo>
                        <a:pt x="11" y="4"/>
                        <a:pt x="11" y="4"/>
                        <a:pt x="11" y="4"/>
                      </a:cubicBezTo>
                      <a:cubicBezTo>
                        <a:pt x="12" y="4"/>
                        <a:pt x="12" y="4"/>
                        <a:pt x="12" y="4"/>
                      </a:cubicBezTo>
                      <a:cubicBezTo>
                        <a:pt x="12" y="3"/>
                        <a:pt x="12" y="3"/>
                        <a:pt x="12" y="3"/>
                      </a:cubicBezTo>
                      <a:cubicBezTo>
                        <a:pt x="12" y="3"/>
                        <a:pt x="12" y="3"/>
                        <a:pt x="12"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1"/>
                      </a:cubicBezTo>
                      <a:cubicBezTo>
                        <a:pt x="16" y="1"/>
                        <a:pt x="16" y="1"/>
                        <a:pt x="16" y="1"/>
                      </a:cubicBezTo>
                      <a:cubicBezTo>
                        <a:pt x="16" y="1"/>
                        <a:pt x="16" y="2"/>
                        <a:pt x="16" y="1"/>
                      </a:cubicBezTo>
                      <a:cubicBezTo>
                        <a:pt x="16" y="1"/>
                        <a:pt x="16" y="1"/>
                        <a:pt x="16" y="1"/>
                      </a:cubicBezTo>
                      <a:cubicBezTo>
                        <a:pt x="16" y="1"/>
                        <a:pt x="16" y="2"/>
                        <a:pt x="16" y="1"/>
                      </a:cubicBezTo>
                      <a:cubicBezTo>
                        <a:pt x="16" y="1"/>
                        <a:pt x="16" y="1"/>
                        <a:pt x="16" y="1"/>
                      </a:cubicBezTo>
                      <a:cubicBezTo>
                        <a:pt x="16" y="1"/>
                        <a:pt x="16" y="1"/>
                        <a:pt x="16" y="1"/>
                      </a:cubicBezTo>
                      <a:cubicBezTo>
                        <a:pt x="16" y="1"/>
                        <a:pt x="16" y="1"/>
                        <a:pt x="16" y="1"/>
                      </a:cubicBezTo>
                      <a:cubicBezTo>
                        <a:pt x="16" y="1"/>
                        <a:pt x="16" y="1"/>
                        <a:pt x="16"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8" y="1"/>
                      </a:cubicBezTo>
                      <a:cubicBezTo>
                        <a:pt x="18" y="1"/>
                        <a:pt x="18" y="1"/>
                        <a:pt x="18" y="1"/>
                      </a:cubicBezTo>
                      <a:cubicBezTo>
                        <a:pt x="17" y="1"/>
                        <a:pt x="17"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0"/>
                        <a:pt x="19" y="1"/>
                      </a:cubicBezTo>
                      <a:cubicBezTo>
                        <a:pt x="19" y="1"/>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1"/>
                        <a:pt x="19" y="1"/>
                      </a:cubicBezTo>
                      <a:cubicBezTo>
                        <a:pt x="19"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1" y="0"/>
                        <a:pt x="21" y="0"/>
                      </a:cubicBezTo>
                      <a:cubicBezTo>
                        <a:pt x="21" y="0"/>
                        <a:pt x="21" y="0"/>
                        <a:pt x="21" y="0"/>
                      </a:cubicBezTo>
                      <a:cubicBezTo>
                        <a:pt x="21" y="0"/>
                        <a:pt x="21" y="0"/>
                        <a:pt x="21" y="0"/>
                      </a:cubicBezTo>
                      <a:cubicBezTo>
                        <a:pt x="21" y="0"/>
                        <a:pt x="20" y="0"/>
                        <a:pt x="20" y="0"/>
                      </a:cubicBezTo>
                      <a:cubicBezTo>
                        <a:pt x="20" y="0"/>
                        <a:pt x="20" y="0"/>
                        <a:pt x="20" y="0"/>
                      </a:cubicBezTo>
                      <a:cubicBezTo>
                        <a:pt x="20" y="0"/>
                        <a:pt x="20" y="0"/>
                        <a:pt x="20" y="0"/>
                      </a:cubicBezTo>
                      <a:cubicBezTo>
                        <a:pt x="20" y="0"/>
                        <a:pt x="20" y="0"/>
                        <a:pt x="20" y="0"/>
                      </a:cubicBezTo>
                      <a:cubicBezTo>
                        <a:pt x="20" y="1"/>
                        <a:pt x="20" y="1"/>
                        <a:pt x="20" y="1"/>
                      </a:cubicBezTo>
                      <a:cubicBezTo>
                        <a:pt x="20" y="1"/>
                        <a:pt x="20" y="1"/>
                        <a:pt x="20" y="1"/>
                      </a:cubicBezTo>
                      <a:cubicBezTo>
                        <a:pt x="20" y="1"/>
                        <a:pt x="19" y="1"/>
                        <a:pt x="19" y="1"/>
                      </a:cubicBezTo>
                      <a:cubicBezTo>
                        <a:pt x="19" y="1"/>
                        <a:pt x="19" y="1"/>
                        <a:pt x="19" y="1"/>
                      </a:cubicBezTo>
                      <a:cubicBezTo>
                        <a:pt x="19" y="1"/>
                        <a:pt x="19" y="1"/>
                        <a:pt x="19" y="1"/>
                      </a:cubicBezTo>
                      <a:cubicBezTo>
                        <a:pt x="19" y="1"/>
                        <a:pt x="19" y="1"/>
                        <a:pt x="19" y="1"/>
                      </a:cubicBezTo>
                      <a:cubicBezTo>
                        <a:pt x="19" y="1"/>
                        <a:pt x="19" y="2"/>
                        <a:pt x="19" y="2"/>
                      </a:cubicBezTo>
                      <a:cubicBezTo>
                        <a:pt x="19" y="2"/>
                        <a:pt x="19" y="2"/>
                        <a:pt x="19" y="2"/>
                      </a:cubicBezTo>
                      <a:cubicBezTo>
                        <a:pt x="19" y="2"/>
                        <a:pt x="19" y="2"/>
                        <a:pt x="19" y="2"/>
                      </a:cubicBezTo>
                      <a:cubicBezTo>
                        <a:pt x="19" y="2"/>
                        <a:pt x="19" y="2"/>
                        <a:pt x="19" y="2"/>
                      </a:cubicBezTo>
                      <a:cubicBezTo>
                        <a:pt x="19" y="2"/>
                        <a:pt x="18" y="2"/>
                        <a:pt x="18" y="2"/>
                      </a:cubicBezTo>
                      <a:cubicBezTo>
                        <a:pt x="18" y="2"/>
                        <a:pt x="18" y="2"/>
                        <a:pt x="18" y="2"/>
                      </a:cubicBezTo>
                      <a:cubicBezTo>
                        <a:pt x="18" y="2"/>
                        <a:pt x="18" y="2"/>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7"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3"/>
                        <a:pt x="18" y="3"/>
                      </a:cubicBezTo>
                      <a:cubicBezTo>
                        <a:pt x="18"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20" y="2"/>
                      </a:cubicBezTo>
                      <a:cubicBezTo>
                        <a:pt x="20" y="2"/>
                        <a:pt x="20" y="2"/>
                        <a:pt x="20" y="2"/>
                      </a:cubicBezTo>
                      <a:cubicBezTo>
                        <a:pt x="20" y="2"/>
                        <a:pt x="20" y="2"/>
                        <a:pt x="20" y="2"/>
                      </a:cubicBezTo>
                      <a:cubicBezTo>
                        <a:pt x="20" y="2"/>
                        <a:pt x="20" y="2"/>
                        <a:pt x="20" y="2"/>
                      </a:cubicBezTo>
                      <a:cubicBezTo>
                        <a:pt x="20" y="2"/>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19" y="3"/>
                      </a:cubicBezTo>
                      <a:cubicBezTo>
                        <a:pt x="19" y="3"/>
                        <a:pt x="19" y="3"/>
                        <a:pt x="19" y="3"/>
                      </a:cubicBezTo>
                      <a:cubicBezTo>
                        <a:pt x="19" y="4"/>
                        <a:pt x="19" y="4"/>
                        <a:pt x="19" y="4"/>
                      </a:cubicBezTo>
                      <a:cubicBezTo>
                        <a:pt x="19" y="4"/>
                        <a:pt x="19" y="4"/>
                        <a:pt x="19" y="4"/>
                      </a:cubicBezTo>
                      <a:cubicBezTo>
                        <a:pt x="19" y="4"/>
                        <a:pt x="19" y="4"/>
                        <a:pt x="19"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lose/>
                      <a:moveTo>
                        <a:pt x="16" y="9"/>
                      </a:moveTo>
                      <a:cubicBezTo>
                        <a:pt x="16" y="9"/>
                        <a:pt x="17" y="9"/>
                        <a:pt x="17" y="8"/>
                      </a:cubicBezTo>
                      <a:cubicBezTo>
                        <a:pt x="17" y="8"/>
                        <a:pt x="17" y="8"/>
                        <a:pt x="17" y="8"/>
                      </a:cubicBezTo>
                      <a:cubicBezTo>
                        <a:pt x="17" y="8"/>
                        <a:pt x="17" y="8"/>
                        <a:pt x="17" y="8"/>
                      </a:cubicBezTo>
                      <a:cubicBezTo>
                        <a:pt x="17" y="8"/>
                        <a:pt x="17" y="8"/>
                        <a:pt x="17" y="8"/>
                      </a:cubicBezTo>
                      <a:cubicBezTo>
                        <a:pt x="17" y="8"/>
                        <a:pt x="17" y="8"/>
                        <a:pt x="17"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9"/>
                        <a:pt x="16" y="9"/>
                      </a:cubicBezTo>
                      <a:cubicBezTo>
                        <a:pt x="16" y="9"/>
                        <a:pt x="16" y="9"/>
                        <a:pt x="16" y="9"/>
                      </a:cubicBezTo>
                      <a:close/>
                      <a:moveTo>
                        <a:pt x="28" y="7"/>
                      </a:moveTo>
                      <a:cubicBezTo>
                        <a:pt x="28" y="7"/>
                        <a:pt x="28" y="7"/>
                        <a:pt x="28"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8"/>
                      </a:cubicBezTo>
                      <a:cubicBezTo>
                        <a:pt x="27" y="8"/>
                        <a:pt x="27" y="8"/>
                        <a:pt x="27" y="8"/>
                      </a:cubicBezTo>
                      <a:cubicBezTo>
                        <a:pt x="27" y="8"/>
                        <a:pt x="27" y="8"/>
                        <a:pt x="27" y="8"/>
                      </a:cubicBezTo>
                      <a:cubicBezTo>
                        <a:pt x="27" y="8"/>
                        <a:pt x="27" y="9"/>
                        <a:pt x="28" y="8"/>
                      </a:cubicBezTo>
                      <a:cubicBezTo>
                        <a:pt x="28" y="8"/>
                        <a:pt x="28" y="8"/>
                        <a:pt x="28" y="8"/>
                      </a:cubicBezTo>
                      <a:cubicBezTo>
                        <a:pt x="28" y="8"/>
                        <a:pt x="28" y="8"/>
                        <a:pt x="28" y="8"/>
                      </a:cubicBezTo>
                      <a:cubicBezTo>
                        <a:pt x="27" y="8"/>
                        <a:pt x="27" y="8"/>
                        <a:pt x="27" y="8"/>
                      </a:cubicBezTo>
                      <a:cubicBezTo>
                        <a:pt x="27" y="8"/>
                        <a:pt x="27" y="8"/>
                        <a:pt x="27" y="8"/>
                      </a:cubicBezTo>
                      <a:cubicBezTo>
                        <a:pt x="27" y="8"/>
                        <a:pt x="27" y="8"/>
                        <a:pt x="27" y="8"/>
                      </a:cubicBezTo>
                      <a:cubicBezTo>
                        <a:pt x="27" y="8"/>
                        <a:pt x="27" y="8"/>
                        <a:pt x="27" y="8"/>
                      </a:cubicBezTo>
                      <a:cubicBezTo>
                        <a:pt x="27" y="8"/>
                        <a:pt x="28" y="8"/>
                        <a:pt x="28" y="8"/>
                      </a:cubicBezTo>
                      <a:cubicBezTo>
                        <a:pt x="28" y="8"/>
                        <a:pt x="28" y="8"/>
                        <a:pt x="28" y="7"/>
                      </a:cubicBezTo>
                      <a:cubicBezTo>
                        <a:pt x="28" y="7"/>
                        <a:pt x="28" y="7"/>
                        <a:pt x="28" y="7"/>
                      </a:cubicBezTo>
                      <a:close/>
                      <a:moveTo>
                        <a:pt x="21" y="2"/>
                      </a:moveTo>
                      <a:cubicBezTo>
                        <a:pt x="21" y="2"/>
                        <a:pt x="21" y="2"/>
                        <a:pt x="21" y="2"/>
                      </a:cubicBezTo>
                      <a:cubicBezTo>
                        <a:pt x="20" y="2"/>
                        <a:pt x="20" y="2"/>
                        <a:pt x="20" y="3"/>
                      </a:cubicBezTo>
                      <a:cubicBezTo>
                        <a:pt x="20" y="3"/>
                        <a:pt x="20" y="3"/>
                        <a:pt x="20" y="3"/>
                      </a:cubicBezTo>
                      <a:cubicBezTo>
                        <a:pt x="20" y="3"/>
                        <a:pt x="20" y="3"/>
                        <a:pt x="20" y="3"/>
                      </a:cubicBezTo>
                      <a:cubicBezTo>
                        <a:pt x="20" y="3"/>
                        <a:pt x="20" y="3"/>
                        <a:pt x="20" y="3"/>
                      </a:cubicBezTo>
                      <a:cubicBezTo>
                        <a:pt x="20" y="3"/>
                        <a:pt x="20" y="3"/>
                        <a:pt x="21" y="3"/>
                      </a:cubicBezTo>
                      <a:cubicBezTo>
                        <a:pt x="21" y="3"/>
                        <a:pt x="21" y="3"/>
                        <a:pt x="21" y="3"/>
                      </a:cubicBezTo>
                      <a:cubicBezTo>
                        <a:pt x="21" y="3"/>
                        <a:pt x="21" y="3"/>
                        <a:pt x="21" y="3"/>
                      </a:cubicBezTo>
                      <a:cubicBezTo>
                        <a:pt x="21" y="3"/>
                        <a:pt x="21" y="3"/>
                        <a:pt x="21" y="3"/>
                      </a:cubicBezTo>
                      <a:cubicBezTo>
                        <a:pt x="21" y="3"/>
                        <a:pt x="21" y="3"/>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lose/>
                      <a:moveTo>
                        <a:pt x="20" y="17"/>
                      </a:moveTo>
                      <a:cubicBezTo>
                        <a:pt x="20" y="17"/>
                        <a:pt x="20" y="17"/>
                        <a:pt x="20" y="17"/>
                      </a:cubicBezTo>
                      <a:cubicBezTo>
                        <a:pt x="20" y="17"/>
                        <a:pt x="20" y="17"/>
                        <a:pt x="20" y="17"/>
                      </a:cubicBezTo>
                      <a:cubicBezTo>
                        <a:pt x="19" y="17"/>
                        <a:pt x="19" y="17"/>
                        <a:pt x="19" y="17"/>
                      </a:cubicBezTo>
                      <a:cubicBezTo>
                        <a:pt x="19" y="17"/>
                        <a:pt x="19" y="17"/>
                        <a:pt x="19" y="17"/>
                      </a:cubicBezTo>
                      <a:cubicBezTo>
                        <a:pt x="19" y="17"/>
                        <a:pt x="19" y="17"/>
                        <a:pt x="20" y="17"/>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lose/>
                      <a:moveTo>
                        <a:pt x="21" y="5"/>
                      </a:move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4"/>
                        <a:pt x="22" y="4"/>
                        <a:pt x="22" y="4"/>
                      </a:cubicBezTo>
                      <a:cubicBezTo>
                        <a:pt x="22" y="4"/>
                        <a:pt x="22"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0" y="4"/>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1" y="6"/>
                        <a:pt x="21" y="5"/>
                      </a:cubicBezTo>
                      <a:cubicBezTo>
                        <a:pt x="21" y="5"/>
                        <a:pt x="21" y="5"/>
                        <a:pt x="21" y="5"/>
                      </a:cubicBezTo>
                      <a:cubicBezTo>
                        <a:pt x="21" y="5"/>
                        <a:pt x="21" y="5"/>
                        <a:pt x="21" y="5"/>
                      </a:cubicBezTo>
                      <a:close/>
                      <a:moveTo>
                        <a:pt x="8" y="16"/>
                      </a:move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lose/>
                      <a:moveTo>
                        <a:pt x="22" y="4"/>
                      </a:move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5"/>
                      </a:cubicBezTo>
                      <a:cubicBezTo>
                        <a:pt x="22" y="5"/>
                        <a:pt x="22" y="5"/>
                        <a:pt x="22" y="4"/>
                      </a:cubicBezTo>
                      <a:cubicBezTo>
                        <a:pt x="22" y="4"/>
                        <a:pt x="22" y="5"/>
                        <a:pt x="22" y="5"/>
                      </a:cubicBezTo>
                      <a:cubicBezTo>
                        <a:pt x="22" y="5"/>
                        <a:pt x="22" y="5"/>
                        <a:pt x="22" y="5"/>
                      </a:cubicBezTo>
                      <a:cubicBezTo>
                        <a:pt x="22" y="5"/>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lose/>
                      <a:moveTo>
                        <a:pt x="2" y="7"/>
                      </a:moveTo>
                      <a:cubicBezTo>
                        <a:pt x="2" y="7"/>
                        <a:pt x="2" y="6"/>
                        <a:pt x="2" y="6"/>
                      </a:cubicBezTo>
                      <a:cubicBezTo>
                        <a:pt x="2" y="6"/>
                        <a:pt x="2" y="6"/>
                        <a:pt x="2" y="7"/>
                      </a:cubicBezTo>
                      <a:cubicBezTo>
                        <a:pt x="2" y="7"/>
                        <a:pt x="2" y="7"/>
                        <a:pt x="2" y="7"/>
                      </a:cubicBezTo>
                      <a:cubicBezTo>
                        <a:pt x="2" y="7"/>
                        <a:pt x="2" y="7"/>
                        <a:pt x="2" y="7"/>
                      </a:cubicBezTo>
                      <a:cubicBezTo>
                        <a:pt x="2" y="7"/>
                        <a:pt x="2" y="7"/>
                        <a:pt x="2" y="7"/>
                      </a:cubicBezTo>
                      <a:cubicBezTo>
                        <a:pt x="2" y="7"/>
                        <a:pt x="2" y="6"/>
                        <a:pt x="2" y="6"/>
                      </a:cubicBezTo>
                      <a:cubicBezTo>
                        <a:pt x="2" y="6"/>
                        <a:pt x="2" y="6"/>
                        <a:pt x="2" y="6"/>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lose/>
                      <a:moveTo>
                        <a:pt x="22" y="20"/>
                      </a:moveTo>
                      <a:cubicBezTo>
                        <a:pt x="22"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2" y="20"/>
                      </a:cubicBezTo>
                      <a:cubicBezTo>
                        <a:pt x="22" y="20"/>
                        <a:pt x="22" y="20"/>
                        <a:pt x="22" y="20"/>
                      </a:cubicBezTo>
                      <a:cubicBezTo>
                        <a:pt x="22" y="20"/>
                        <a:pt x="22" y="20"/>
                        <a:pt x="22" y="20"/>
                      </a:cubicBezTo>
                      <a:cubicBezTo>
                        <a:pt x="22" y="20"/>
                        <a:pt x="22" y="20"/>
                        <a:pt x="22" y="20"/>
                      </a:cubicBezTo>
                      <a:cubicBezTo>
                        <a:pt x="22" y="20"/>
                        <a:pt x="22" y="20"/>
                        <a:pt x="22" y="20"/>
                      </a:cubicBezTo>
                      <a:cubicBezTo>
                        <a:pt x="22" y="20"/>
                        <a:pt x="22" y="20"/>
                        <a:pt x="22" y="20"/>
                      </a:cubicBezTo>
                      <a:close/>
                      <a:moveTo>
                        <a:pt x="25" y="11"/>
                      </a:move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lose/>
                      <a:moveTo>
                        <a:pt x="3" y="5"/>
                      </a:moveTo>
                      <a:cubicBezTo>
                        <a:pt x="3" y="5"/>
                        <a:pt x="3" y="5"/>
                        <a:pt x="3" y="5"/>
                      </a:cubicBezTo>
                      <a:cubicBezTo>
                        <a:pt x="3" y="5"/>
                        <a:pt x="3" y="5"/>
                        <a:pt x="3" y="5"/>
                      </a:cubicBezTo>
                      <a:cubicBezTo>
                        <a:pt x="3" y="5"/>
                        <a:pt x="3" y="5"/>
                        <a:pt x="4" y="5"/>
                      </a:cubicBezTo>
                      <a:cubicBezTo>
                        <a:pt x="4" y="5"/>
                        <a:pt x="4" y="5"/>
                        <a:pt x="4" y="5"/>
                      </a:cubicBezTo>
                      <a:cubicBezTo>
                        <a:pt x="3" y="5"/>
                        <a:pt x="4" y="5"/>
                        <a:pt x="4" y="5"/>
                      </a:cubicBezTo>
                      <a:cubicBezTo>
                        <a:pt x="4" y="5"/>
                        <a:pt x="4" y="5"/>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9" y="21"/>
                      </a:move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2"/>
                        <a:pt x="19" y="21"/>
                      </a:cubicBezTo>
                      <a:cubicBezTo>
                        <a:pt x="19" y="21"/>
                        <a:pt x="19" y="21"/>
                        <a:pt x="19" y="21"/>
                      </a:cubicBezTo>
                      <a:cubicBezTo>
                        <a:pt x="19" y="21"/>
                        <a:pt x="19" y="21"/>
                        <a:pt x="19" y="21"/>
                      </a:cubicBezTo>
                      <a:cubicBezTo>
                        <a:pt x="19" y="21"/>
                        <a:pt x="19" y="21"/>
                        <a:pt x="19" y="21"/>
                      </a:cubicBezTo>
                      <a:close/>
                      <a:moveTo>
                        <a:pt x="10" y="19"/>
                      </a:moveTo>
                      <a:cubicBezTo>
                        <a:pt x="10" y="19"/>
                        <a:pt x="10" y="19"/>
                        <a:pt x="10" y="19"/>
                      </a:cubicBezTo>
                      <a:cubicBezTo>
                        <a:pt x="10" y="19"/>
                        <a:pt x="10" y="19"/>
                        <a:pt x="10" y="19"/>
                      </a:cubicBezTo>
                      <a:cubicBezTo>
                        <a:pt x="10" y="19"/>
                        <a:pt x="10" y="19"/>
                        <a:pt x="10" y="19"/>
                      </a:cubicBezTo>
                      <a:cubicBezTo>
                        <a:pt x="10" y="19"/>
                        <a:pt x="10" y="19"/>
                        <a:pt x="10" y="19"/>
                      </a:cubicBezTo>
                      <a:cubicBezTo>
                        <a:pt x="10" y="19"/>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19"/>
                        <a:pt x="10" y="19"/>
                      </a:cubicBezTo>
                      <a:cubicBezTo>
                        <a:pt x="10" y="19"/>
                        <a:pt x="10" y="19"/>
                        <a:pt x="10" y="19"/>
                      </a:cubicBezTo>
                      <a:close/>
                      <a:moveTo>
                        <a:pt x="27" y="20"/>
                      </a:moveTo>
                      <a:cubicBezTo>
                        <a:pt x="27" y="20"/>
                        <a:pt x="27" y="20"/>
                        <a:pt x="27" y="20"/>
                      </a:cubicBezTo>
                      <a:cubicBezTo>
                        <a:pt x="27" y="20"/>
                        <a:pt x="27" y="20"/>
                        <a:pt x="27" y="20"/>
                      </a:cubicBezTo>
                      <a:cubicBezTo>
                        <a:pt x="27" y="20"/>
                        <a:pt x="27" y="20"/>
                        <a:pt x="28" y="20"/>
                      </a:cubicBezTo>
                      <a:cubicBezTo>
                        <a:pt x="28" y="20"/>
                        <a:pt x="28" y="20"/>
                        <a:pt x="28" y="20"/>
                      </a:cubicBezTo>
                      <a:cubicBezTo>
                        <a:pt x="28" y="20"/>
                        <a:pt x="28" y="20"/>
                        <a:pt x="28" y="20"/>
                      </a:cubicBezTo>
                      <a:cubicBezTo>
                        <a:pt x="28" y="20"/>
                        <a:pt x="28" y="20"/>
                        <a:pt x="27" y="20"/>
                      </a:cubicBezTo>
                      <a:close/>
                      <a:moveTo>
                        <a:pt x="5" y="17"/>
                      </a:moveTo>
                      <a:cubicBezTo>
                        <a:pt x="5" y="17"/>
                        <a:pt x="5" y="17"/>
                        <a:pt x="5" y="17"/>
                      </a:cubicBezTo>
                      <a:cubicBezTo>
                        <a:pt x="5" y="17"/>
                        <a:pt x="5" y="17"/>
                        <a:pt x="4" y="17"/>
                      </a:cubicBezTo>
                      <a:cubicBezTo>
                        <a:pt x="4" y="16"/>
                        <a:pt x="4" y="17"/>
                        <a:pt x="4" y="17"/>
                      </a:cubicBezTo>
                      <a:cubicBezTo>
                        <a:pt x="4" y="17"/>
                        <a:pt x="4" y="17"/>
                        <a:pt x="4" y="17"/>
                      </a:cubicBezTo>
                      <a:cubicBezTo>
                        <a:pt x="4" y="17"/>
                        <a:pt x="4" y="17"/>
                        <a:pt x="4" y="17"/>
                      </a:cubicBezTo>
                      <a:cubicBezTo>
                        <a:pt x="4" y="17"/>
                        <a:pt x="4" y="17"/>
                        <a:pt x="4" y="17"/>
                      </a:cubicBezTo>
                      <a:cubicBezTo>
                        <a:pt x="4" y="17"/>
                        <a:pt x="5" y="17"/>
                        <a:pt x="5" y="17"/>
                      </a:cubicBezTo>
                      <a:cubicBezTo>
                        <a:pt x="5" y="17"/>
                        <a:pt x="5" y="17"/>
                        <a:pt x="5" y="17"/>
                      </a:cubicBezTo>
                      <a:cubicBezTo>
                        <a:pt x="5" y="17"/>
                        <a:pt x="5" y="17"/>
                        <a:pt x="5" y="17"/>
                      </a:cubicBezTo>
                      <a:cubicBezTo>
                        <a:pt x="5" y="17"/>
                        <a:pt x="5" y="17"/>
                        <a:pt x="5" y="17"/>
                      </a:cubicBezTo>
                      <a:close/>
                      <a:moveTo>
                        <a:pt x="1" y="12"/>
                      </a:moveTo>
                      <a:cubicBezTo>
                        <a:pt x="1" y="11"/>
                        <a:pt x="1" y="11"/>
                        <a:pt x="1" y="11"/>
                      </a:cubicBezTo>
                      <a:cubicBezTo>
                        <a:pt x="1" y="11"/>
                        <a:pt x="1" y="11"/>
                        <a:pt x="1" y="11"/>
                      </a:cubicBezTo>
                      <a:cubicBezTo>
                        <a:pt x="1" y="11"/>
                        <a:pt x="1" y="11"/>
                        <a:pt x="1" y="11"/>
                      </a:cubicBezTo>
                      <a:cubicBezTo>
                        <a:pt x="1" y="11"/>
                        <a:pt x="1" y="11"/>
                        <a:pt x="1"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lose/>
                      <a:moveTo>
                        <a:pt x="26" y="9"/>
                      </a:moveTo>
                      <a:cubicBezTo>
                        <a:pt x="26" y="9"/>
                        <a:pt x="26" y="9"/>
                        <a:pt x="26" y="9"/>
                      </a:cubicBezTo>
                      <a:cubicBezTo>
                        <a:pt x="26" y="9"/>
                        <a:pt x="26" y="9"/>
                        <a:pt x="26" y="9"/>
                      </a:cubicBezTo>
                      <a:cubicBezTo>
                        <a:pt x="26" y="9"/>
                        <a:pt x="26" y="9"/>
                        <a:pt x="26" y="9"/>
                      </a:cubicBezTo>
                      <a:cubicBezTo>
                        <a:pt x="26" y="9"/>
                        <a:pt x="26" y="9"/>
                        <a:pt x="26" y="9"/>
                      </a:cubicBezTo>
                      <a:close/>
                      <a:moveTo>
                        <a:pt x="3" y="5"/>
                      </a:move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7" y="11"/>
                      </a:moveTo>
                      <a:cubicBezTo>
                        <a:pt x="16" y="11"/>
                        <a:pt x="16" y="11"/>
                        <a:pt x="16" y="11"/>
                      </a:cubicBezTo>
                      <a:cubicBezTo>
                        <a:pt x="16" y="11"/>
                        <a:pt x="16" y="11"/>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7" y="12"/>
                        <a:pt x="17" y="12"/>
                        <a:pt x="17" y="12"/>
                      </a:cubicBezTo>
                      <a:cubicBezTo>
                        <a:pt x="17" y="12"/>
                        <a:pt x="17" y="12"/>
                        <a:pt x="17" y="12"/>
                      </a:cubicBezTo>
                      <a:cubicBezTo>
                        <a:pt x="17" y="12"/>
                        <a:pt x="16" y="12"/>
                        <a:pt x="17" y="12"/>
                      </a:cubicBezTo>
                      <a:cubicBezTo>
                        <a:pt x="17" y="12"/>
                        <a:pt x="17" y="12"/>
                        <a:pt x="17" y="12"/>
                      </a:cubicBezTo>
                      <a:cubicBezTo>
                        <a:pt x="17" y="12"/>
                        <a:pt x="17" y="12"/>
                        <a:pt x="17" y="12"/>
                      </a:cubicBezTo>
                      <a:cubicBezTo>
                        <a:pt x="17" y="11"/>
                        <a:pt x="17" y="11"/>
                        <a:pt x="17" y="11"/>
                      </a:cubicBezTo>
                      <a:close/>
                      <a:moveTo>
                        <a:pt x="30" y="21"/>
                      </a:move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lose/>
                      <a:moveTo>
                        <a:pt x="27" y="13"/>
                      </a:move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lose/>
                      <a:moveTo>
                        <a:pt x="20" y="4"/>
                      </a:moveTo>
                      <a:cubicBezTo>
                        <a:pt x="20" y="4"/>
                        <a:pt x="20" y="4"/>
                        <a:pt x="20" y="4"/>
                      </a:cubicBezTo>
                      <a:cubicBezTo>
                        <a:pt x="20" y="4"/>
                        <a:pt x="20" y="4"/>
                        <a:pt x="20" y="4"/>
                      </a:cubicBezTo>
                      <a:cubicBezTo>
                        <a:pt x="20" y="4"/>
                        <a:pt x="20" y="4"/>
                        <a:pt x="20" y="4"/>
                      </a:cubicBezTo>
                      <a:cubicBezTo>
                        <a:pt x="20" y="4"/>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4"/>
                        <a:pt x="20" y="4"/>
                        <a:pt x="20" y="4"/>
                      </a:cubicBezTo>
                      <a:close/>
                      <a:moveTo>
                        <a:pt x="28" y="11"/>
                      </a:moveTo>
                      <a:cubicBezTo>
                        <a:pt x="28" y="11"/>
                        <a:pt x="28" y="11"/>
                        <a:pt x="28"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lose/>
                      <a:moveTo>
                        <a:pt x="9" y="5"/>
                      </a:move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lose/>
                      <a:moveTo>
                        <a:pt x="26" y="8"/>
                      </a:move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lose/>
                      <a:moveTo>
                        <a:pt x="23" y="4"/>
                      </a:moveTo>
                      <a:cubicBezTo>
                        <a:pt x="23" y="4"/>
                        <a:pt x="23" y="4"/>
                        <a:pt x="22" y="4"/>
                      </a:cubicBezTo>
                      <a:cubicBezTo>
                        <a:pt x="22" y="4"/>
                        <a:pt x="22" y="4"/>
                        <a:pt x="22" y="4"/>
                      </a:cubicBezTo>
                      <a:cubicBezTo>
                        <a:pt x="23" y="4"/>
                        <a:pt x="23" y="4"/>
                        <a:pt x="22" y="4"/>
                      </a:cubicBezTo>
                      <a:cubicBezTo>
                        <a:pt x="22" y="4"/>
                        <a:pt x="22" y="4"/>
                        <a:pt x="23" y="4"/>
                      </a:cubicBezTo>
                      <a:cubicBezTo>
                        <a:pt x="23" y="4"/>
                        <a:pt x="23" y="4"/>
                        <a:pt x="23" y="4"/>
                      </a:cubicBezTo>
                      <a:cubicBezTo>
                        <a:pt x="23" y="4"/>
                        <a:pt x="23" y="4"/>
                        <a:pt x="23" y="4"/>
                      </a:cubicBezTo>
                      <a:cubicBezTo>
                        <a:pt x="23" y="4"/>
                        <a:pt x="23" y="4"/>
                        <a:pt x="23" y="4"/>
                      </a:cubicBezTo>
                      <a:cubicBezTo>
                        <a:pt x="23" y="4"/>
                        <a:pt x="23" y="4"/>
                        <a:pt x="23" y="4"/>
                      </a:cubicBezTo>
                      <a:close/>
                      <a:moveTo>
                        <a:pt x="12" y="3"/>
                      </a:moveTo>
                      <a:cubicBezTo>
                        <a:pt x="12" y="3"/>
                        <a:pt x="12" y="3"/>
                        <a:pt x="12" y="3"/>
                      </a:cubicBezTo>
                      <a:cubicBezTo>
                        <a:pt x="12" y="3"/>
                        <a:pt x="13" y="3"/>
                        <a:pt x="13" y="2"/>
                      </a:cubicBezTo>
                      <a:cubicBezTo>
                        <a:pt x="13" y="2"/>
                        <a:pt x="12" y="2"/>
                        <a:pt x="12" y="2"/>
                      </a:cubicBezTo>
                      <a:cubicBezTo>
                        <a:pt x="12" y="2"/>
                        <a:pt x="12" y="2"/>
                        <a:pt x="12" y="2"/>
                      </a:cubicBezTo>
                      <a:cubicBezTo>
                        <a:pt x="12" y="3"/>
                        <a:pt x="12" y="3"/>
                        <a:pt x="12" y="3"/>
                      </a:cubicBezTo>
                      <a:cubicBezTo>
                        <a:pt x="12" y="3"/>
                        <a:pt x="12" y="3"/>
                        <a:pt x="12" y="3"/>
                      </a:cubicBezTo>
                      <a:cubicBezTo>
                        <a:pt x="12" y="3"/>
                        <a:pt x="12" y="3"/>
                        <a:pt x="12" y="3"/>
                      </a:cubicBezTo>
                      <a:close/>
                      <a:moveTo>
                        <a:pt x="30" y="18"/>
                      </a:moveTo>
                      <a:cubicBezTo>
                        <a:pt x="30" y="18"/>
                        <a:pt x="30" y="18"/>
                        <a:pt x="30" y="18"/>
                      </a:cubicBezTo>
                      <a:cubicBezTo>
                        <a:pt x="30" y="18"/>
                        <a:pt x="30" y="18"/>
                        <a:pt x="30" y="18"/>
                      </a:cubicBezTo>
                      <a:cubicBezTo>
                        <a:pt x="31" y="18"/>
                        <a:pt x="31" y="18"/>
                        <a:pt x="31" y="18"/>
                      </a:cubicBezTo>
                      <a:cubicBezTo>
                        <a:pt x="31" y="18"/>
                        <a:pt x="31" y="17"/>
                        <a:pt x="30" y="18"/>
                      </a:cubicBezTo>
                      <a:close/>
                      <a:moveTo>
                        <a:pt x="30" y="19"/>
                      </a:moveTo>
                      <a:cubicBezTo>
                        <a:pt x="30" y="19"/>
                        <a:pt x="30" y="19"/>
                        <a:pt x="29" y="19"/>
                      </a:cubicBezTo>
                      <a:cubicBezTo>
                        <a:pt x="29" y="19"/>
                        <a:pt x="29" y="19"/>
                        <a:pt x="29" y="19"/>
                      </a:cubicBezTo>
                      <a:cubicBezTo>
                        <a:pt x="29" y="19"/>
                        <a:pt x="29" y="19"/>
                        <a:pt x="29" y="19"/>
                      </a:cubicBezTo>
                      <a:cubicBezTo>
                        <a:pt x="29" y="19"/>
                        <a:pt x="30" y="19"/>
                        <a:pt x="30" y="19"/>
                      </a:cubicBezTo>
                      <a:cubicBezTo>
                        <a:pt x="30" y="19"/>
                        <a:pt x="30" y="19"/>
                        <a:pt x="30" y="19"/>
                      </a:cubicBezTo>
                      <a:cubicBezTo>
                        <a:pt x="30" y="19"/>
                        <a:pt x="30" y="19"/>
                        <a:pt x="30" y="19"/>
                      </a:cubicBezTo>
                      <a:cubicBezTo>
                        <a:pt x="30" y="19"/>
                        <a:pt x="30" y="19"/>
                        <a:pt x="30" y="19"/>
                      </a:cubicBezTo>
                      <a:cubicBezTo>
                        <a:pt x="30" y="19"/>
                        <a:pt x="30" y="19"/>
                        <a:pt x="30" y="19"/>
                      </a:cubicBezTo>
                      <a:close/>
                      <a:moveTo>
                        <a:pt x="14" y="10"/>
                      </a:moveTo>
                      <a:cubicBezTo>
                        <a:pt x="14" y="10"/>
                        <a:pt x="14" y="10"/>
                        <a:pt x="14" y="10"/>
                      </a:cubicBezTo>
                      <a:cubicBezTo>
                        <a:pt x="14" y="10"/>
                        <a:pt x="14" y="10"/>
                        <a:pt x="14" y="10"/>
                      </a:cubicBezTo>
                      <a:cubicBezTo>
                        <a:pt x="14" y="10"/>
                        <a:pt x="14" y="10"/>
                        <a:pt x="14" y="11"/>
                      </a:cubicBezTo>
                      <a:cubicBezTo>
                        <a:pt x="14" y="11"/>
                        <a:pt x="14" y="11"/>
                        <a:pt x="14" y="11"/>
                      </a:cubicBezTo>
                      <a:cubicBezTo>
                        <a:pt x="14" y="11"/>
                        <a:pt x="14" y="11"/>
                        <a:pt x="14" y="11"/>
                      </a:cubicBezTo>
                      <a:cubicBezTo>
                        <a:pt x="14" y="10"/>
                        <a:pt x="14" y="10"/>
                        <a:pt x="14" y="10"/>
                      </a:cubicBezTo>
                      <a:close/>
                      <a:moveTo>
                        <a:pt x="31" y="21"/>
                      </a:move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6"/>
                        <a:pt x="2" y="6"/>
                        <a:pt x="3" y="6"/>
                      </a:cubicBezTo>
                      <a:close/>
                      <a:moveTo>
                        <a:pt x="1" y="11"/>
                      </a:moveTo>
                      <a:cubicBezTo>
                        <a:pt x="1" y="11"/>
                        <a:pt x="1" y="11"/>
                        <a:pt x="1" y="11"/>
                      </a:cubicBezTo>
                      <a:cubicBezTo>
                        <a:pt x="1" y="11"/>
                        <a:pt x="1" y="11"/>
                        <a:pt x="1" y="11"/>
                      </a:cubicBezTo>
                      <a:cubicBezTo>
                        <a:pt x="1" y="11"/>
                        <a:pt x="1" y="11"/>
                        <a:pt x="1" y="11"/>
                      </a:cubicBezTo>
                      <a:cubicBezTo>
                        <a:pt x="1" y="11"/>
                        <a:pt x="1" y="11"/>
                        <a:pt x="1" y="11"/>
                      </a:cubicBezTo>
                      <a:close/>
                      <a:moveTo>
                        <a:pt x="15" y="11"/>
                      </a:moveTo>
                      <a:cubicBezTo>
                        <a:pt x="15" y="11"/>
                        <a:pt x="15" y="11"/>
                        <a:pt x="15" y="11"/>
                      </a:cubicBezTo>
                      <a:cubicBezTo>
                        <a:pt x="15" y="11"/>
                        <a:pt x="15" y="11"/>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1"/>
                        <a:pt x="15" y="11"/>
                        <a:pt x="15" y="11"/>
                      </a:cubicBezTo>
                      <a:close/>
                      <a:moveTo>
                        <a:pt x="11" y="3"/>
                      </a:moveTo>
                      <a:cubicBezTo>
                        <a:pt x="11" y="3"/>
                        <a:pt x="11" y="3"/>
                        <a:pt x="11" y="3"/>
                      </a:cubicBezTo>
                      <a:cubicBezTo>
                        <a:pt x="11" y="3"/>
                        <a:pt x="11" y="3"/>
                        <a:pt x="11" y="3"/>
                      </a:cubicBezTo>
                      <a:cubicBezTo>
                        <a:pt x="11" y="3"/>
                        <a:pt x="11" y="3"/>
                        <a:pt x="11" y="3"/>
                      </a:cubicBezTo>
                      <a:close/>
                      <a:moveTo>
                        <a:pt x="25" y="6"/>
                      </a:move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23" y="18"/>
                      </a:moveTo>
                      <a:cubicBezTo>
                        <a:pt x="23" y="18"/>
                        <a:pt x="23" y="18"/>
                        <a:pt x="23" y="18"/>
                      </a:cubicBezTo>
                      <a:cubicBezTo>
                        <a:pt x="23" y="18"/>
                        <a:pt x="23" y="18"/>
                        <a:pt x="23" y="18"/>
                      </a:cubicBezTo>
                      <a:cubicBezTo>
                        <a:pt x="23" y="18"/>
                        <a:pt x="23" y="18"/>
                        <a:pt x="23" y="18"/>
                      </a:cubicBezTo>
                      <a:cubicBezTo>
                        <a:pt x="23" y="18"/>
                        <a:pt x="23" y="18"/>
                        <a:pt x="23" y="18"/>
                      </a:cubicBezTo>
                      <a:close/>
                      <a:moveTo>
                        <a:pt x="24" y="8"/>
                      </a:moveTo>
                      <a:cubicBezTo>
                        <a:pt x="24" y="8"/>
                        <a:pt x="23" y="8"/>
                        <a:pt x="24" y="8"/>
                      </a:cubicBezTo>
                      <a:cubicBezTo>
                        <a:pt x="24" y="8"/>
                        <a:pt x="24" y="8"/>
                        <a:pt x="24" y="8"/>
                      </a:cubicBezTo>
                      <a:cubicBezTo>
                        <a:pt x="24" y="8"/>
                        <a:pt x="24" y="8"/>
                        <a:pt x="24" y="8"/>
                      </a:cubicBezTo>
                      <a:cubicBezTo>
                        <a:pt x="24" y="8"/>
                        <a:pt x="24" y="8"/>
                        <a:pt x="24" y="8"/>
                      </a:cubicBezTo>
                      <a:close/>
                      <a:moveTo>
                        <a:pt x="13" y="9"/>
                      </a:moveTo>
                      <a:cubicBezTo>
                        <a:pt x="13" y="9"/>
                        <a:pt x="13" y="9"/>
                        <a:pt x="13" y="9"/>
                      </a:cubicBezTo>
                      <a:cubicBezTo>
                        <a:pt x="13" y="9"/>
                        <a:pt x="13" y="9"/>
                        <a:pt x="13" y="9"/>
                      </a:cubicBezTo>
                      <a:cubicBezTo>
                        <a:pt x="13" y="9"/>
                        <a:pt x="14" y="9"/>
                        <a:pt x="14" y="9"/>
                      </a:cubicBezTo>
                      <a:cubicBezTo>
                        <a:pt x="14" y="9"/>
                        <a:pt x="13" y="9"/>
                        <a:pt x="13" y="9"/>
                      </a:cubicBezTo>
                      <a:close/>
                      <a:moveTo>
                        <a:pt x="2" y="6"/>
                      </a:moveTo>
                      <a:cubicBezTo>
                        <a:pt x="2" y="6"/>
                        <a:pt x="2" y="6"/>
                        <a:pt x="3" y="6"/>
                      </a:cubicBezTo>
                      <a:cubicBezTo>
                        <a:pt x="3" y="6"/>
                        <a:pt x="3" y="6"/>
                        <a:pt x="3" y="6"/>
                      </a:cubicBezTo>
                      <a:cubicBezTo>
                        <a:pt x="3" y="6"/>
                        <a:pt x="3" y="6"/>
                        <a:pt x="3" y="6"/>
                      </a:cubicBezTo>
                      <a:cubicBezTo>
                        <a:pt x="3" y="6"/>
                        <a:pt x="2" y="6"/>
                        <a:pt x="2" y="6"/>
                      </a:cubicBezTo>
                      <a:cubicBezTo>
                        <a:pt x="2" y="6"/>
                        <a:pt x="2" y="6"/>
                        <a:pt x="2" y="6"/>
                      </a:cubicBezTo>
                      <a:cubicBezTo>
                        <a:pt x="2" y="6"/>
                        <a:pt x="2" y="6"/>
                        <a:pt x="2" y="6"/>
                      </a:cubicBezTo>
                      <a:cubicBezTo>
                        <a:pt x="2" y="6"/>
                        <a:pt x="2" y="6"/>
                        <a:pt x="2" y="6"/>
                      </a:cubicBezTo>
                      <a:close/>
                      <a:moveTo>
                        <a:pt x="28" y="19"/>
                      </a:moveTo>
                      <a:cubicBezTo>
                        <a:pt x="28" y="19"/>
                        <a:pt x="28" y="19"/>
                        <a:pt x="28" y="19"/>
                      </a:cubicBezTo>
                      <a:cubicBezTo>
                        <a:pt x="28" y="19"/>
                        <a:pt x="28" y="19"/>
                        <a:pt x="28" y="19"/>
                      </a:cubicBezTo>
                      <a:cubicBezTo>
                        <a:pt x="28" y="19"/>
                        <a:pt x="28" y="19"/>
                        <a:pt x="28" y="19"/>
                      </a:cubicBezTo>
                      <a:close/>
                      <a:moveTo>
                        <a:pt x="12" y="10"/>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3" y="11"/>
                        <a:pt x="13" y="11"/>
                      </a:cubicBezTo>
                      <a:cubicBezTo>
                        <a:pt x="13" y="11"/>
                        <a:pt x="13" y="11"/>
                        <a:pt x="12" y="10"/>
                      </a:cubicBezTo>
                      <a:cubicBezTo>
                        <a:pt x="12" y="10"/>
                        <a:pt x="12" y="10"/>
                        <a:pt x="12" y="10"/>
                      </a:cubicBezTo>
                      <a:close/>
                      <a:moveTo>
                        <a:pt x="1" y="8"/>
                      </a:moveTo>
                      <a:cubicBezTo>
                        <a:pt x="1" y="8"/>
                        <a:pt x="1" y="8"/>
                        <a:pt x="1" y="8"/>
                      </a:cubicBezTo>
                      <a:cubicBezTo>
                        <a:pt x="1" y="8"/>
                        <a:pt x="1" y="8"/>
                        <a:pt x="1" y="8"/>
                      </a:cubicBezTo>
                      <a:cubicBezTo>
                        <a:pt x="1" y="8"/>
                        <a:pt x="1" y="8"/>
                        <a:pt x="1" y="8"/>
                      </a:cubicBezTo>
                      <a:cubicBezTo>
                        <a:pt x="1" y="8"/>
                        <a:pt x="1" y="8"/>
                        <a:pt x="1" y="8"/>
                      </a:cubicBezTo>
                      <a:close/>
                      <a:moveTo>
                        <a:pt x="14" y="2"/>
                      </a:move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2"/>
                        <a:pt x="14" y="2"/>
                      </a:cubicBezTo>
                      <a:close/>
                      <a:moveTo>
                        <a:pt x="31" y="22"/>
                      </a:moveTo>
                      <a:cubicBezTo>
                        <a:pt x="31" y="22"/>
                        <a:pt x="31" y="22"/>
                        <a:pt x="31" y="22"/>
                      </a:cubicBezTo>
                      <a:cubicBezTo>
                        <a:pt x="31" y="22"/>
                        <a:pt x="31" y="22"/>
                        <a:pt x="31" y="22"/>
                      </a:cubicBezTo>
                      <a:cubicBezTo>
                        <a:pt x="31" y="22"/>
                        <a:pt x="31" y="22"/>
                        <a:pt x="31" y="22"/>
                      </a:cubicBezTo>
                      <a:cubicBezTo>
                        <a:pt x="31" y="21"/>
                        <a:pt x="31" y="22"/>
                        <a:pt x="31" y="22"/>
                      </a:cubicBezTo>
                      <a:close/>
                      <a:moveTo>
                        <a:pt x="12" y="3"/>
                      </a:move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lose/>
                      <a:moveTo>
                        <a:pt x="28" y="8"/>
                      </a:moveTo>
                      <a:cubicBezTo>
                        <a:pt x="28" y="8"/>
                        <a:pt x="28" y="9"/>
                        <a:pt x="28" y="9"/>
                      </a:cubicBezTo>
                      <a:cubicBezTo>
                        <a:pt x="28" y="9"/>
                        <a:pt x="28" y="9"/>
                        <a:pt x="28" y="9"/>
                      </a:cubicBezTo>
                      <a:cubicBezTo>
                        <a:pt x="28" y="9"/>
                        <a:pt x="28" y="9"/>
                        <a:pt x="28" y="8"/>
                      </a:cubicBezTo>
                      <a:cubicBezTo>
                        <a:pt x="28" y="8"/>
                        <a:pt x="28" y="8"/>
                        <a:pt x="28" y="8"/>
                      </a:cubicBezTo>
                      <a:close/>
                      <a:moveTo>
                        <a:pt x="29" y="15"/>
                      </a:moveTo>
                      <a:cubicBezTo>
                        <a:pt x="29" y="14"/>
                        <a:pt x="29" y="14"/>
                        <a:pt x="29" y="14"/>
                      </a:cubicBezTo>
                      <a:cubicBezTo>
                        <a:pt x="29" y="14"/>
                        <a:pt x="29" y="14"/>
                        <a:pt x="29" y="14"/>
                      </a:cubicBezTo>
                      <a:cubicBezTo>
                        <a:pt x="29" y="14"/>
                        <a:pt x="29" y="14"/>
                        <a:pt x="29" y="14"/>
                      </a:cubicBezTo>
                      <a:cubicBezTo>
                        <a:pt x="29" y="14"/>
                        <a:pt x="28" y="14"/>
                        <a:pt x="28" y="14"/>
                      </a:cubicBezTo>
                      <a:cubicBezTo>
                        <a:pt x="28" y="14"/>
                        <a:pt x="28" y="14"/>
                        <a:pt x="28" y="14"/>
                      </a:cubicBezTo>
                      <a:cubicBezTo>
                        <a:pt x="28" y="15"/>
                        <a:pt x="28" y="15"/>
                        <a:pt x="28" y="15"/>
                      </a:cubicBezTo>
                      <a:cubicBezTo>
                        <a:pt x="28" y="15"/>
                        <a:pt x="29" y="15"/>
                        <a:pt x="28" y="15"/>
                      </a:cubicBezTo>
                      <a:cubicBezTo>
                        <a:pt x="28"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lose/>
                      <a:moveTo>
                        <a:pt x="0" y="7"/>
                      </a:moveTo>
                      <a:cubicBezTo>
                        <a:pt x="0" y="7"/>
                        <a:pt x="0" y="7"/>
                        <a:pt x="0" y="7"/>
                      </a:cubicBezTo>
                      <a:cubicBezTo>
                        <a:pt x="0" y="7"/>
                        <a:pt x="0" y="7"/>
                        <a:pt x="0" y="7"/>
                      </a:cubicBezTo>
                      <a:cubicBezTo>
                        <a:pt x="0" y="7"/>
                        <a:pt x="0" y="7"/>
                        <a:pt x="0" y="7"/>
                      </a:cubicBezTo>
                      <a:cubicBezTo>
                        <a:pt x="0" y="7"/>
                        <a:pt x="0" y="7"/>
                        <a:pt x="0" y="7"/>
                      </a:cubicBezTo>
                      <a:cubicBezTo>
                        <a:pt x="0" y="7"/>
                        <a:pt x="0" y="7"/>
                        <a:pt x="0" y="7"/>
                      </a:cubicBezTo>
                      <a:close/>
                      <a:moveTo>
                        <a:pt x="31" y="16"/>
                      </a:move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8" y="8"/>
                      </a:moveTo>
                      <a:cubicBezTo>
                        <a:pt x="8" y="8"/>
                        <a:pt x="8" y="8"/>
                        <a:pt x="8" y="8"/>
                      </a:cubicBezTo>
                      <a:cubicBezTo>
                        <a:pt x="8" y="8"/>
                        <a:pt x="8" y="8"/>
                        <a:pt x="8" y="8"/>
                      </a:cubicBezTo>
                      <a:cubicBezTo>
                        <a:pt x="8" y="8"/>
                        <a:pt x="8" y="8"/>
                        <a:pt x="8" y="8"/>
                      </a:cubicBezTo>
                      <a:cubicBezTo>
                        <a:pt x="8" y="8"/>
                        <a:pt x="8" y="8"/>
                        <a:pt x="8" y="8"/>
                      </a:cubicBezTo>
                      <a:close/>
                      <a:moveTo>
                        <a:pt x="4" y="9"/>
                      </a:moveTo>
                      <a:cubicBezTo>
                        <a:pt x="4" y="9"/>
                        <a:pt x="4" y="9"/>
                        <a:pt x="4" y="9"/>
                      </a:cubicBezTo>
                      <a:cubicBezTo>
                        <a:pt x="4" y="9"/>
                        <a:pt x="4" y="9"/>
                        <a:pt x="4" y="9"/>
                      </a:cubicBezTo>
                      <a:cubicBezTo>
                        <a:pt x="4" y="9"/>
                        <a:pt x="4" y="9"/>
                        <a:pt x="4" y="9"/>
                      </a:cubicBezTo>
                      <a:cubicBezTo>
                        <a:pt x="4" y="9"/>
                        <a:pt x="4" y="9"/>
                        <a:pt x="4" y="9"/>
                      </a:cubicBezTo>
                      <a:close/>
                      <a:moveTo>
                        <a:pt x="25" y="16"/>
                      </a:moveTo>
                      <a:cubicBezTo>
                        <a:pt x="25" y="16"/>
                        <a:pt x="25" y="16"/>
                        <a:pt x="25" y="16"/>
                      </a:cubicBezTo>
                      <a:cubicBezTo>
                        <a:pt x="25" y="16"/>
                        <a:pt x="25" y="16"/>
                        <a:pt x="25" y="16"/>
                      </a:cubicBezTo>
                      <a:cubicBezTo>
                        <a:pt x="25" y="16"/>
                        <a:pt x="25" y="16"/>
                        <a:pt x="25" y="16"/>
                      </a:cubicBezTo>
                      <a:cubicBezTo>
                        <a:pt x="25" y="16"/>
                        <a:pt x="25" y="16"/>
                        <a:pt x="25" y="16"/>
                      </a:cubicBezTo>
                      <a:close/>
                      <a:moveTo>
                        <a:pt x="1" y="11"/>
                      </a:moveTo>
                      <a:cubicBezTo>
                        <a:pt x="1" y="12"/>
                        <a:pt x="1" y="12"/>
                        <a:pt x="2" y="12"/>
                      </a:cubicBezTo>
                      <a:cubicBezTo>
                        <a:pt x="1" y="12"/>
                        <a:pt x="1" y="11"/>
                        <a:pt x="1" y="11"/>
                      </a:cubicBezTo>
                      <a:close/>
                      <a:moveTo>
                        <a:pt x="24" y="9"/>
                      </a:moveTo>
                      <a:cubicBezTo>
                        <a:pt x="24" y="9"/>
                        <a:pt x="24" y="9"/>
                        <a:pt x="24" y="9"/>
                      </a:cubicBezTo>
                      <a:cubicBezTo>
                        <a:pt x="24" y="9"/>
                        <a:pt x="24" y="9"/>
                        <a:pt x="24" y="9"/>
                      </a:cubicBezTo>
                      <a:cubicBezTo>
                        <a:pt x="24" y="9"/>
                        <a:pt x="24" y="9"/>
                        <a:pt x="24" y="9"/>
                      </a:cubicBezTo>
                      <a:cubicBezTo>
                        <a:pt x="24" y="9"/>
                        <a:pt x="24" y="9"/>
                        <a:pt x="24" y="9"/>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lose/>
                      <a:moveTo>
                        <a:pt x="13" y="2"/>
                      </a:move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lose/>
                      <a:moveTo>
                        <a:pt x="14" y="2"/>
                      </a:moveTo>
                      <a:cubicBezTo>
                        <a:pt x="14" y="2"/>
                        <a:pt x="14" y="2"/>
                        <a:pt x="14" y="2"/>
                      </a:cubicBezTo>
                      <a:cubicBezTo>
                        <a:pt x="14" y="2"/>
                        <a:pt x="14" y="2"/>
                        <a:pt x="14" y="2"/>
                      </a:cubicBezTo>
                      <a:cubicBezTo>
                        <a:pt x="14" y="2"/>
                        <a:pt x="14" y="2"/>
                        <a:pt x="14" y="2"/>
                      </a:cubicBezTo>
                      <a:cubicBezTo>
                        <a:pt x="14" y="2"/>
                        <a:pt x="14" y="2"/>
                        <a:pt x="14" y="2"/>
                      </a:cubicBezTo>
                      <a:close/>
                      <a:moveTo>
                        <a:pt x="8" y="21"/>
                      </a:moveTo>
                      <a:cubicBezTo>
                        <a:pt x="8" y="21"/>
                        <a:pt x="8" y="21"/>
                        <a:pt x="8" y="21"/>
                      </a:cubicBezTo>
                      <a:cubicBezTo>
                        <a:pt x="8" y="21"/>
                        <a:pt x="8" y="21"/>
                        <a:pt x="8" y="21"/>
                      </a:cubicBezTo>
                      <a:cubicBezTo>
                        <a:pt x="8" y="21"/>
                        <a:pt x="8" y="21"/>
                        <a:pt x="8" y="21"/>
                      </a:cubicBezTo>
                      <a:cubicBezTo>
                        <a:pt x="8" y="21"/>
                        <a:pt x="8" y="21"/>
                        <a:pt x="8" y="21"/>
                      </a:cubicBezTo>
                      <a:close/>
                      <a:moveTo>
                        <a:pt x="8" y="8"/>
                      </a:moveTo>
                      <a:cubicBezTo>
                        <a:pt x="9" y="8"/>
                        <a:pt x="9" y="8"/>
                        <a:pt x="9" y="8"/>
                      </a:cubicBezTo>
                      <a:cubicBezTo>
                        <a:pt x="9" y="8"/>
                        <a:pt x="9" y="8"/>
                        <a:pt x="9" y="8"/>
                      </a:cubicBezTo>
                      <a:cubicBezTo>
                        <a:pt x="9" y="8"/>
                        <a:pt x="9" y="8"/>
                        <a:pt x="9" y="8"/>
                      </a:cubicBezTo>
                      <a:cubicBezTo>
                        <a:pt x="9" y="8"/>
                        <a:pt x="8" y="8"/>
                        <a:pt x="8" y="8"/>
                      </a:cubicBezTo>
                      <a:close/>
                      <a:moveTo>
                        <a:pt x="31" y="20"/>
                      </a:moveTo>
                      <a:cubicBezTo>
                        <a:pt x="31" y="20"/>
                        <a:pt x="31" y="20"/>
                        <a:pt x="31" y="20"/>
                      </a:cubicBezTo>
                      <a:cubicBezTo>
                        <a:pt x="31" y="20"/>
                        <a:pt x="31" y="20"/>
                        <a:pt x="31" y="20"/>
                      </a:cubicBezTo>
                      <a:close/>
                      <a:moveTo>
                        <a:pt x="12" y="10"/>
                      </a:moveTo>
                      <a:cubicBezTo>
                        <a:pt x="12" y="10"/>
                        <a:pt x="12" y="10"/>
                        <a:pt x="12" y="10"/>
                      </a:cubicBezTo>
                      <a:cubicBezTo>
                        <a:pt x="12" y="10"/>
                        <a:pt x="12" y="10"/>
                        <a:pt x="12" y="10"/>
                      </a:cubicBezTo>
                      <a:cubicBezTo>
                        <a:pt x="11" y="10"/>
                        <a:pt x="11" y="10"/>
                        <a:pt x="11" y="10"/>
                      </a:cubicBezTo>
                      <a:cubicBezTo>
                        <a:pt x="11" y="10"/>
                        <a:pt x="11" y="10"/>
                        <a:pt x="12" y="10"/>
                      </a:cubicBezTo>
                      <a:close/>
                      <a:moveTo>
                        <a:pt x="10" y="14"/>
                      </a:moveTo>
                      <a:cubicBezTo>
                        <a:pt x="10" y="14"/>
                        <a:pt x="10" y="14"/>
                        <a:pt x="11" y="14"/>
                      </a:cubicBezTo>
                      <a:cubicBezTo>
                        <a:pt x="11" y="14"/>
                        <a:pt x="10" y="14"/>
                        <a:pt x="10" y="14"/>
                      </a:cubicBezTo>
                      <a:close/>
                      <a:moveTo>
                        <a:pt x="11" y="19"/>
                      </a:moveTo>
                      <a:cubicBezTo>
                        <a:pt x="11" y="19"/>
                        <a:pt x="10" y="19"/>
                        <a:pt x="10" y="19"/>
                      </a:cubicBezTo>
                      <a:cubicBezTo>
                        <a:pt x="11" y="19"/>
                        <a:pt x="11" y="19"/>
                        <a:pt x="11" y="19"/>
                      </a:cubicBezTo>
                      <a:cubicBezTo>
                        <a:pt x="11" y="19"/>
                        <a:pt x="11" y="19"/>
                        <a:pt x="11" y="19"/>
                      </a:cubicBezTo>
                      <a:cubicBezTo>
                        <a:pt x="11" y="19"/>
                        <a:pt x="11" y="19"/>
                        <a:pt x="11" y="19"/>
                      </a:cubicBezTo>
                      <a:close/>
                      <a:moveTo>
                        <a:pt x="2" y="11"/>
                      </a:moveTo>
                      <a:cubicBezTo>
                        <a:pt x="2" y="11"/>
                        <a:pt x="2" y="11"/>
                        <a:pt x="2" y="11"/>
                      </a:cubicBezTo>
                      <a:cubicBezTo>
                        <a:pt x="2" y="11"/>
                        <a:pt x="1" y="11"/>
                        <a:pt x="1" y="11"/>
                      </a:cubicBezTo>
                      <a:cubicBezTo>
                        <a:pt x="2" y="11"/>
                        <a:pt x="2" y="11"/>
                        <a:pt x="2" y="11"/>
                      </a:cubicBezTo>
                      <a:cubicBezTo>
                        <a:pt x="2" y="11"/>
                        <a:pt x="2" y="11"/>
                        <a:pt x="2" y="11"/>
                      </a:cubicBezTo>
                      <a:cubicBezTo>
                        <a:pt x="2" y="11"/>
                        <a:pt x="2" y="11"/>
                        <a:pt x="2" y="11"/>
                      </a:cubicBezTo>
                      <a:close/>
                      <a:moveTo>
                        <a:pt x="8" y="8"/>
                      </a:moveTo>
                      <a:cubicBezTo>
                        <a:pt x="8" y="8"/>
                        <a:pt x="8" y="8"/>
                        <a:pt x="8" y="8"/>
                      </a:cubicBezTo>
                      <a:cubicBezTo>
                        <a:pt x="8" y="8"/>
                        <a:pt x="8" y="8"/>
                        <a:pt x="8" y="8"/>
                      </a:cubicBezTo>
                      <a:cubicBezTo>
                        <a:pt x="8" y="8"/>
                        <a:pt x="8" y="8"/>
                        <a:pt x="8" y="8"/>
                      </a:cubicBezTo>
                      <a:close/>
                      <a:moveTo>
                        <a:pt x="28" y="7"/>
                      </a:moveTo>
                      <a:cubicBezTo>
                        <a:pt x="28" y="7"/>
                        <a:pt x="28" y="7"/>
                        <a:pt x="28" y="7"/>
                      </a:cubicBezTo>
                      <a:cubicBezTo>
                        <a:pt x="28" y="7"/>
                        <a:pt x="28" y="7"/>
                        <a:pt x="28" y="7"/>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1" y="21"/>
                      </a:moveTo>
                      <a:cubicBezTo>
                        <a:pt x="31" y="21"/>
                        <a:pt x="31" y="21"/>
                        <a:pt x="31" y="21"/>
                      </a:cubicBezTo>
                      <a:cubicBezTo>
                        <a:pt x="31" y="21"/>
                        <a:pt x="31" y="21"/>
                        <a:pt x="31" y="21"/>
                      </a:cubicBezTo>
                      <a:close/>
                      <a:moveTo>
                        <a:pt x="24" y="8"/>
                      </a:moveTo>
                      <a:cubicBezTo>
                        <a:pt x="24" y="8"/>
                        <a:pt x="24" y="8"/>
                        <a:pt x="24" y="8"/>
                      </a:cubicBezTo>
                      <a:cubicBezTo>
                        <a:pt x="24" y="8"/>
                        <a:pt x="24" y="8"/>
                        <a:pt x="24" y="8"/>
                      </a:cubicBezTo>
                      <a:cubicBezTo>
                        <a:pt x="24" y="8"/>
                        <a:pt x="24" y="8"/>
                        <a:pt x="24" y="8"/>
                      </a:cubicBezTo>
                      <a:cubicBezTo>
                        <a:pt x="24" y="8"/>
                        <a:pt x="24" y="8"/>
                        <a:pt x="24" y="8"/>
                      </a:cubicBezTo>
                      <a:close/>
                      <a:moveTo>
                        <a:pt x="30" y="18"/>
                      </a:moveTo>
                      <a:cubicBezTo>
                        <a:pt x="30" y="18"/>
                        <a:pt x="30" y="18"/>
                        <a:pt x="30" y="18"/>
                      </a:cubicBezTo>
                      <a:cubicBezTo>
                        <a:pt x="30" y="18"/>
                        <a:pt x="30" y="18"/>
                        <a:pt x="30" y="18"/>
                      </a:cubicBezTo>
                      <a:close/>
                      <a:moveTo>
                        <a:pt x="1" y="10"/>
                      </a:moveTo>
                      <a:cubicBezTo>
                        <a:pt x="1" y="10"/>
                        <a:pt x="1" y="10"/>
                        <a:pt x="1" y="10"/>
                      </a:cubicBezTo>
                      <a:cubicBezTo>
                        <a:pt x="1" y="10"/>
                        <a:pt x="1" y="10"/>
                        <a:pt x="1" y="10"/>
                      </a:cubicBezTo>
                      <a:cubicBezTo>
                        <a:pt x="1" y="10"/>
                        <a:pt x="1" y="10"/>
                        <a:pt x="1" y="10"/>
                      </a:cubicBezTo>
                      <a:cubicBezTo>
                        <a:pt x="1" y="10"/>
                        <a:pt x="1" y="10"/>
                        <a:pt x="1" y="10"/>
                      </a:cubicBezTo>
                      <a:close/>
                      <a:moveTo>
                        <a:pt x="31" y="20"/>
                      </a:moveTo>
                      <a:cubicBezTo>
                        <a:pt x="31" y="20"/>
                        <a:pt x="31" y="20"/>
                        <a:pt x="31" y="20"/>
                      </a:cubicBezTo>
                      <a:cubicBezTo>
                        <a:pt x="31" y="20"/>
                        <a:pt x="31" y="20"/>
                        <a:pt x="31" y="20"/>
                      </a:cubicBezTo>
                      <a:cubicBezTo>
                        <a:pt x="31" y="20"/>
                        <a:pt x="31" y="20"/>
                        <a:pt x="31" y="20"/>
                      </a:cubicBezTo>
                      <a:cubicBezTo>
                        <a:pt x="31" y="20"/>
                        <a:pt x="31" y="20"/>
                        <a:pt x="31" y="20"/>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3" y="6"/>
                        <a:pt x="3" y="6"/>
                      </a:cubicBezTo>
                      <a:close/>
                      <a:moveTo>
                        <a:pt x="3" y="6"/>
                      </a:moveTo>
                      <a:cubicBezTo>
                        <a:pt x="3" y="6"/>
                        <a:pt x="3" y="6"/>
                        <a:pt x="3" y="6"/>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2"/>
                        <a:pt x="12" y="12"/>
                      </a:cubicBezTo>
                      <a:cubicBezTo>
                        <a:pt x="12" y="12"/>
                        <a:pt x="12" y="11"/>
                        <a:pt x="12" y="11"/>
                      </a:cubicBezTo>
                      <a:cubicBezTo>
                        <a:pt x="12" y="11"/>
                        <a:pt x="12" y="11"/>
                        <a:pt x="12" y="11"/>
                      </a:cubicBezTo>
                      <a:cubicBezTo>
                        <a:pt x="12" y="11"/>
                        <a:pt x="12" y="11"/>
                        <a:pt x="12" y="11"/>
                      </a:cubicBezTo>
                      <a:cubicBezTo>
                        <a:pt x="12" y="11"/>
                        <a:pt x="12" y="11"/>
                        <a:pt x="12" y="11"/>
                      </a:cubicBezTo>
                      <a:close/>
                      <a:moveTo>
                        <a:pt x="7" y="16"/>
                      </a:moveTo>
                      <a:cubicBezTo>
                        <a:pt x="7" y="16"/>
                        <a:pt x="7" y="16"/>
                        <a:pt x="7" y="16"/>
                      </a:cubicBezTo>
                      <a:cubicBezTo>
                        <a:pt x="7" y="16"/>
                        <a:pt x="7" y="16"/>
                        <a:pt x="7" y="16"/>
                      </a:cubicBezTo>
                      <a:cubicBezTo>
                        <a:pt x="7" y="16"/>
                        <a:pt x="7" y="16"/>
                        <a:pt x="7" y="16"/>
                      </a:cubicBezTo>
                      <a:cubicBezTo>
                        <a:pt x="7" y="16"/>
                        <a:pt x="7" y="16"/>
                        <a:pt x="7" y="16"/>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3" y="6"/>
                      </a:moveTo>
                      <a:cubicBezTo>
                        <a:pt x="3" y="6"/>
                        <a:pt x="3" y="6"/>
                        <a:pt x="3" y="6"/>
                      </a:cubicBezTo>
                      <a:cubicBezTo>
                        <a:pt x="3" y="6"/>
                        <a:pt x="3" y="6"/>
                        <a:pt x="3" y="6"/>
                      </a:cubicBezTo>
                      <a:cubicBezTo>
                        <a:pt x="3" y="6"/>
                        <a:pt x="3" y="6"/>
                        <a:pt x="3" y="6"/>
                      </a:cubicBezTo>
                      <a:close/>
                      <a:moveTo>
                        <a:pt x="26" y="0"/>
                      </a:moveTo>
                      <a:cubicBezTo>
                        <a:pt x="26" y="0"/>
                        <a:pt x="26" y="0"/>
                        <a:pt x="26" y="0"/>
                      </a:cubicBezTo>
                      <a:cubicBezTo>
                        <a:pt x="26" y="0"/>
                        <a:pt x="26" y="0"/>
                        <a:pt x="26" y="0"/>
                      </a:cubicBezTo>
                      <a:cubicBezTo>
                        <a:pt x="26" y="0"/>
                        <a:pt x="26" y="0"/>
                        <a:pt x="26" y="0"/>
                      </a:cubicBezTo>
                      <a:close/>
                      <a:moveTo>
                        <a:pt x="14" y="1"/>
                      </a:moveTo>
                      <a:cubicBezTo>
                        <a:pt x="14" y="1"/>
                        <a:pt x="14" y="1"/>
                        <a:pt x="14" y="1"/>
                      </a:cubicBezTo>
                      <a:cubicBezTo>
                        <a:pt x="14" y="1"/>
                        <a:pt x="14" y="1"/>
                        <a:pt x="14" y="1"/>
                      </a:cubicBezTo>
                      <a:cubicBezTo>
                        <a:pt x="14" y="1"/>
                        <a:pt x="14" y="1"/>
                        <a:pt x="14"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 y="10"/>
                      </a:moveTo>
                      <a:cubicBezTo>
                        <a:pt x="3" y="10"/>
                        <a:pt x="3" y="10"/>
                        <a:pt x="3" y="10"/>
                      </a:cubicBezTo>
                      <a:cubicBezTo>
                        <a:pt x="3" y="10"/>
                        <a:pt x="3" y="10"/>
                        <a:pt x="3" y="10"/>
                      </a:cubicBezTo>
                      <a:cubicBezTo>
                        <a:pt x="3" y="10"/>
                        <a:pt x="3" y="10"/>
                        <a:pt x="3" y="10"/>
                      </a:cubicBezTo>
                      <a:close/>
                      <a:moveTo>
                        <a:pt x="1" y="10"/>
                      </a:moveTo>
                      <a:cubicBezTo>
                        <a:pt x="1" y="10"/>
                        <a:pt x="1" y="10"/>
                        <a:pt x="1" y="10"/>
                      </a:cubicBezTo>
                      <a:cubicBezTo>
                        <a:pt x="1" y="10"/>
                        <a:pt x="1" y="10"/>
                        <a:pt x="1" y="10"/>
                      </a:cubicBezTo>
                      <a:close/>
                      <a:moveTo>
                        <a:pt x="28" y="20"/>
                      </a:moveTo>
                      <a:cubicBezTo>
                        <a:pt x="28" y="20"/>
                        <a:pt x="28" y="20"/>
                        <a:pt x="28" y="20"/>
                      </a:cubicBezTo>
                      <a:cubicBezTo>
                        <a:pt x="28" y="20"/>
                        <a:pt x="28" y="20"/>
                        <a:pt x="28" y="20"/>
                      </a:cubicBezTo>
                      <a:cubicBezTo>
                        <a:pt x="28" y="20"/>
                        <a:pt x="28" y="20"/>
                        <a:pt x="28" y="20"/>
                      </a:cubicBezTo>
                      <a:cubicBezTo>
                        <a:pt x="28" y="20"/>
                        <a:pt x="28" y="20"/>
                        <a:pt x="28" y="20"/>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1" y="11"/>
                      </a:moveTo>
                      <a:cubicBezTo>
                        <a:pt x="1" y="11"/>
                        <a:pt x="1" y="11"/>
                        <a:pt x="1" y="11"/>
                      </a:cubicBezTo>
                      <a:cubicBezTo>
                        <a:pt x="1" y="11"/>
                        <a:pt x="1" y="11"/>
                        <a:pt x="1" y="11"/>
                      </a:cubicBezTo>
                      <a:close/>
                      <a:moveTo>
                        <a:pt x="2" y="7"/>
                      </a:moveTo>
                      <a:cubicBezTo>
                        <a:pt x="2" y="7"/>
                        <a:pt x="2" y="7"/>
                        <a:pt x="2" y="7"/>
                      </a:cubicBezTo>
                      <a:cubicBezTo>
                        <a:pt x="2" y="7"/>
                        <a:pt x="2" y="7"/>
                        <a:pt x="2" y="7"/>
                      </a:cubicBezTo>
                      <a:cubicBezTo>
                        <a:pt x="2" y="7"/>
                        <a:pt x="1" y="7"/>
                        <a:pt x="1" y="7"/>
                      </a:cubicBezTo>
                      <a:cubicBezTo>
                        <a:pt x="1" y="7"/>
                        <a:pt x="2" y="7"/>
                        <a:pt x="2" y="7"/>
                      </a:cubicBezTo>
                      <a:close/>
                      <a:moveTo>
                        <a:pt x="12" y="3"/>
                      </a:moveTo>
                      <a:cubicBezTo>
                        <a:pt x="12" y="3"/>
                        <a:pt x="12" y="3"/>
                        <a:pt x="12" y="3"/>
                      </a:cubicBezTo>
                      <a:cubicBezTo>
                        <a:pt x="12" y="3"/>
                        <a:pt x="12" y="3"/>
                        <a:pt x="12" y="3"/>
                      </a:cubicBezTo>
                      <a:cubicBezTo>
                        <a:pt x="12" y="3"/>
                        <a:pt x="12" y="3"/>
                        <a:pt x="12" y="3"/>
                      </a:cubicBezTo>
                      <a:cubicBezTo>
                        <a:pt x="12" y="3"/>
                        <a:pt x="12" y="3"/>
                        <a:pt x="12" y="3"/>
                      </a:cubicBezTo>
                      <a:close/>
                      <a:moveTo>
                        <a:pt x="2" y="9"/>
                      </a:moveTo>
                      <a:cubicBezTo>
                        <a:pt x="2" y="9"/>
                        <a:pt x="2" y="9"/>
                        <a:pt x="2" y="9"/>
                      </a:cubicBezTo>
                      <a:cubicBezTo>
                        <a:pt x="2" y="9"/>
                        <a:pt x="2" y="9"/>
                        <a:pt x="2" y="9"/>
                      </a:cubicBezTo>
                      <a:close/>
                      <a:moveTo>
                        <a:pt x="13" y="9"/>
                      </a:moveTo>
                      <a:cubicBezTo>
                        <a:pt x="13" y="9"/>
                        <a:pt x="13" y="9"/>
                        <a:pt x="13" y="9"/>
                      </a:cubicBezTo>
                      <a:cubicBezTo>
                        <a:pt x="13" y="9"/>
                        <a:pt x="13" y="9"/>
                        <a:pt x="13" y="9"/>
                      </a:cubicBezTo>
                      <a:close/>
                      <a:moveTo>
                        <a:pt x="5" y="9"/>
                      </a:moveTo>
                      <a:cubicBezTo>
                        <a:pt x="5" y="9"/>
                        <a:pt x="5" y="9"/>
                        <a:pt x="5" y="9"/>
                      </a:cubicBezTo>
                      <a:cubicBezTo>
                        <a:pt x="5" y="9"/>
                        <a:pt x="5" y="9"/>
                        <a:pt x="5" y="9"/>
                      </a:cubicBezTo>
                      <a:cubicBezTo>
                        <a:pt x="5" y="9"/>
                        <a:pt x="5" y="9"/>
                        <a:pt x="5" y="9"/>
                      </a:cubicBezTo>
                      <a:cubicBezTo>
                        <a:pt x="5" y="9"/>
                        <a:pt x="5" y="9"/>
                        <a:pt x="5" y="9"/>
                      </a:cubicBezTo>
                      <a:close/>
                      <a:moveTo>
                        <a:pt x="18" y="0"/>
                      </a:moveTo>
                      <a:cubicBezTo>
                        <a:pt x="18" y="0"/>
                        <a:pt x="18" y="0"/>
                        <a:pt x="18" y="0"/>
                      </a:cubicBezTo>
                      <a:cubicBezTo>
                        <a:pt x="18" y="0"/>
                        <a:pt x="18" y="0"/>
                        <a:pt x="18" y="0"/>
                      </a:cubicBezTo>
                      <a:close/>
                      <a:moveTo>
                        <a:pt x="23" y="2"/>
                      </a:moveTo>
                      <a:cubicBezTo>
                        <a:pt x="23" y="2"/>
                        <a:pt x="22" y="2"/>
                        <a:pt x="22" y="2"/>
                      </a:cubicBezTo>
                      <a:cubicBezTo>
                        <a:pt x="22" y="2"/>
                        <a:pt x="22" y="2"/>
                        <a:pt x="22" y="2"/>
                      </a:cubicBezTo>
                      <a:cubicBezTo>
                        <a:pt x="22" y="2"/>
                        <a:pt x="22" y="2"/>
                        <a:pt x="22" y="2"/>
                      </a:cubicBezTo>
                      <a:cubicBezTo>
                        <a:pt x="22" y="2"/>
                        <a:pt x="23" y="2"/>
                        <a:pt x="23" y="2"/>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30" y="20"/>
                      </a:moveTo>
                      <a:cubicBezTo>
                        <a:pt x="30" y="20"/>
                        <a:pt x="30" y="20"/>
                        <a:pt x="30" y="20"/>
                      </a:cubicBezTo>
                      <a:cubicBezTo>
                        <a:pt x="30" y="20"/>
                        <a:pt x="30" y="20"/>
                        <a:pt x="30" y="20"/>
                      </a:cubicBezTo>
                      <a:cubicBezTo>
                        <a:pt x="30" y="20"/>
                        <a:pt x="30" y="20"/>
                        <a:pt x="30" y="20"/>
                      </a:cubicBezTo>
                      <a:cubicBezTo>
                        <a:pt x="30" y="20"/>
                        <a:pt x="30" y="20"/>
                        <a:pt x="30" y="20"/>
                      </a:cubicBezTo>
                      <a:close/>
                      <a:moveTo>
                        <a:pt x="19" y="0"/>
                      </a:moveTo>
                      <a:cubicBezTo>
                        <a:pt x="19" y="0"/>
                        <a:pt x="19" y="0"/>
                        <a:pt x="19" y="0"/>
                      </a:cubicBezTo>
                      <a:cubicBezTo>
                        <a:pt x="19" y="0"/>
                        <a:pt x="19" y="0"/>
                        <a:pt x="19" y="0"/>
                      </a:cubicBezTo>
                      <a:cubicBezTo>
                        <a:pt x="19" y="0"/>
                        <a:pt x="19" y="0"/>
                        <a:pt x="19" y="0"/>
                      </a:cubicBezTo>
                      <a:cubicBezTo>
                        <a:pt x="19" y="0"/>
                        <a:pt x="19" y="0"/>
                        <a:pt x="19" y="0"/>
                      </a:cubicBezTo>
                      <a:close/>
                      <a:moveTo>
                        <a:pt x="9" y="14"/>
                      </a:moveTo>
                      <a:cubicBezTo>
                        <a:pt x="9" y="14"/>
                        <a:pt x="9" y="14"/>
                        <a:pt x="9" y="14"/>
                      </a:cubicBezTo>
                      <a:cubicBezTo>
                        <a:pt x="9" y="14"/>
                        <a:pt x="9" y="14"/>
                        <a:pt x="9" y="14"/>
                      </a:cubicBezTo>
                      <a:cubicBezTo>
                        <a:pt x="9" y="14"/>
                        <a:pt x="9" y="14"/>
                        <a:pt x="9" y="14"/>
                      </a:cubicBezTo>
                      <a:cubicBezTo>
                        <a:pt x="9" y="14"/>
                        <a:pt x="9" y="14"/>
                        <a:pt x="9" y="14"/>
                      </a:cubicBezTo>
                      <a:close/>
                      <a:moveTo>
                        <a:pt x="29" y="8"/>
                      </a:moveTo>
                      <a:cubicBezTo>
                        <a:pt x="29" y="8"/>
                        <a:pt x="29" y="8"/>
                        <a:pt x="29" y="8"/>
                      </a:cubicBezTo>
                      <a:cubicBezTo>
                        <a:pt x="29" y="8"/>
                        <a:pt x="29" y="8"/>
                        <a:pt x="29" y="8"/>
                      </a:cubicBezTo>
                      <a:cubicBezTo>
                        <a:pt x="29" y="8"/>
                        <a:pt x="29" y="8"/>
                        <a:pt x="29" y="8"/>
                      </a:cubicBezTo>
                      <a:cubicBezTo>
                        <a:pt x="29" y="8"/>
                        <a:pt x="29" y="8"/>
                        <a:pt x="29" y="8"/>
                      </a:cubicBezTo>
                      <a:close/>
                      <a:moveTo>
                        <a:pt x="22" y="4"/>
                      </a:moveTo>
                      <a:cubicBezTo>
                        <a:pt x="22" y="4"/>
                        <a:pt x="22" y="4"/>
                        <a:pt x="22" y="4"/>
                      </a:cubicBezTo>
                      <a:cubicBezTo>
                        <a:pt x="22" y="4"/>
                        <a:pt x="22" y="4"/>
                        <a:pt x="22" y="4"/>
                      </a:cubicBezTo>
                      <a:close/>
                      <a:moveTo>
                        <a:pt x="1" y="10"/>
                      </a:moveTo>
                      <a:cubicBezTo>
                        <a:pt x="1" y="10"/>
                        <a:pt x="1" y="10"/>
                        <a:pt x="1" y="10"/>
                      </a:cubicBezTo>
                      <a:cubicBezTo>
                        <a:pt x="1" y="10"/>
                        <a:pt x="1" y="10"/>
                        <a:pt x="1" y="10"/>
                      </a:cubicBezTo>
                      <a:cubicBezTo>
                        <a:pt x="1" y="10"/>
                        <a:pt x="1" y="10"/>
                        <a:pt x="1" y="10"/>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11" y="13"/>
                      </a:moveTo>
                      <a:cubicBezTo>
                        <a:pt x="11" y="13"/>
                        <a:pt x="11" y="13"/>
                        <a:pt x="11" y="13"/>
                      </a:cubicBezTo>
                      <a:cubicBezTo>
                        <a:pt x="11" y="13"/>
                        <a:pt x="11" y="13"/>
                        <a:pt x="11" y="13"/>
                      </a:cubicBezTo>
                      <a:cubicBezTo>
                        <a:pt x="11" y="13"/>
                        <a:pt x="11" y="13"/>
                        <a:pt x="11" y="13"/>
                      </a:cubicBezTo>
                      <a:cubicBezTo>
                        <a:pt x="11" y="13"/>
                        <a:pt x="11" y="13"/>
                        <a:pt x="11"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5" name="Group 334">
                <a:extLst>
                  <a:ext uri="{FF2B5EF4-FFF2-40B4-BE49-F238E27FC236}">
                    <a16:creationId xmlns:a16="http://schemas.microsoft.com/office/drawing/2014/main" id="{5BECF261-09DD-ADDE-1893-349F42E01865}"/>
                  </a:ext>
                </a:extLst>
              </p:cNvPr>
              <p:cNvGrpSpPr/>
              <p:nvPr/>
            </p:nvGrpSpPr>
            <p:grpSpPr>
              <a:xfrm>
                <a:off x="8555038" y="5203825"/>
                <a:ext cx="1154112" cy="1074738"/>
                <a:chOff x="8555038" y="5203825"/>
                <a:chExt cx="1154112" cy="1074738"/>
              </a:xfrm>
              <a:grpFill/>
            </p:grpSpPr>
            <p:sp>
              <p:nvSpPr>
                <p:cNvPr id="336" name="Freeform 737">
                  <a:extLst>
                    <a:ext uri="{FF2B5EF4-FFF2-40B4-BE49-F238E27FC236}">
                      <a16:creationId xmlns:a16="http://schemas.microsoft.com/office/drawing/2014/main" id="{B6A3312F-5158-C368-5D51-351AF21A8720}"/>
                    </a:ext>
                  </a:extLst>
                </p:cNvPr>
                <p:cNvSpPr>
                  <a:spLocks noEditPoints="1"/>
                </p:cNvSpPr>
                <p:nvPr/>
              </p:nvSpPr>
              <p:spPr bwMode="auto">
                <a:xfrm>
                  <a:off x="8555038" y="5291138"/>
                  <a:ext cx="454025" cy="676275"/>
                </a:xfrm>
                <a:custGeom>
                  <a:avLst/>
                  <a:gdLst>
                    <a:gd name="T0" fmla="*/ 5 w 109"/>
                    <a:gd name="T1" fmla="*/ 87 h 162"/>
                    <a:gd name="T2" fmla="*/ 5 w 109"/>
                    <a:gd name="T3" fmla="*/ 90 h 162"/>
                    <a:gd name="T4" fmla="*/ 1 w 109"/>
                    <a:gd name="T5" fmla="*/ 88 h 162"/>
                    <a:gd name="T6" fmla="*/ 1 w 109"/>
                    <a:gd name="T7" fmla="*/ 88 h 162"/>
                    <a:gd name="T8" fmla="*/ 2 w 109"/>
                    <a:gd name="T9" fmla="*/ 89 h 162"/>
                    <a:gd name="T10" fmla="*/ 17 w 109"/>
                    <a:gd name="T11" fmla="*/ 50 h 162"/>
                    <a:gd name="T12" fmla="*/ 17 w 109"/>
                    <a:gd name="T13" fmla="*/ 50 h 162"/>
                    <a:gd name="T14" fmla="*/ 79 w 109"/>
                    <a:gd name="T15" fmla="*/ 12 h 162"/>
                    <a:gd name="T16" fmla="*/ 84 w 109"/>
                    <a:gd name="T17" fmla="*/ 6 h 162"/>
                    <a:gd name="T18" fmla="*/ 83 w 109"/>
                    <a:gd name="T19" fmla="*/ 7 h 162"/>
                    <a:gd name="T20" fmla="*/ 106 w 109"/>
                    <a:gd name="T21" fmla="*/ 9 h 162"/>
                    <a:gd name="T22" fmla="*/ 103 w 109"/>
                    <a:gd name="T23" fmla="*/ 12 h 162"/>
                    <a:gd name="T24" fmla="*/ 103 w 109"/>
                    <a:gd name="T25" fmla="*/ 6 h 162"/>
                    <a:gd name="T26" fmla="*/ 97 w 109"/>
                    <a:gd name="T27" fmla="*/ 2 h 162"/>
                    <a:gd name="T28" fmla="*/ 93 w 109"/>
                    <a:gd name="T29" fmla="*/ 3 h 162"/>
                    <a:gd name="T30" fmla="*/ 90 w 109"/>
                    <a:gd name="T31" fmla="*/ 3 h 162"/>
                    <a:gd name="T32" fmla="*/ 88 w 109"/>
                    <a:gd name="T33" fmla="*/ 7 h 162"/>
                    <a:gd name="T34" fmla="*/ 86 w 109"/>
                    <a:gd name="T35" fmla="*/ 6 h 162"/>
                    <a:gd name="T36" fmla="*/ 85 w 109"/>
                    <a:gd name="T37" fmla="*/ 10 h 162"/>
                    <a:gd name="T38" fmla="*/ 83 w 109"/>
                    <a:gd name="T39" fmla="*/ 12 h 162"/>
                    <a:gd name="T40" fmla="*/ 80 w 109"/>
                    <a:gd name="T41" fmla="*/ 12 h 162"/>
                    <a:gd name="T42" fmla="*/ 79 w 109"/>
                    <a:gd name="T43" fmla="*/ 16 h 162"/>
                    <a:gd name="T44" fmla="*/ 78 w 109"/>
                    <a:gd name="T45" fmla="*/ 18 h 162"/>
                    <a:gd name="T46" fmla="*/ 74 w 109"/>
                    <a:gd name="T47" fmla="*/ 17 h 162"/>
                    <a:gd name="T48" fmla="*/ 72 w 109"/>
                    <a:gd name="T49" fmla="*/ 20 h 162"/>
                    <a:gd name="T50" fmla="*/ 73 w 109"/>
                    <a:gd name="T51" fmla="*/ 25 h 162"/>
                    <a:gd name="T52" fmla="*/ 70 w 109"/>
                    <a:gd name="T53" fmla="*/ 22 h 162"/>
                    <a:gd name="T54" fmla="*/ 67 w 109"/>
                    <a:gd name="T55" fmla="*/ 21 h 162"/>
                    <a:gd name="T56" fmla="*/ 63 w 109"/>
                    <a:gd name="T57" fmla="*/ 26 h 162"/>
                    <a:gd name="T58" fmla="*/ 60 w 109"/>
                    <a:gd name="T59" fmla="*/ 35 h 162"/>
                    <a:gd name="T60" fmla="*/ 51 w 109"/>
                    <a:gd name="T61" fmla="*/ 44 h 162"/>
                    <a:gd name="T62" fmla="*/ 42 w 109"/>
                    <a:gd name="T63" fmla="*/ 45 h 162"/>
                    <a:gd name="T64" fmla="*/ 30 w 109"/>
                    <a:gd name="T65" fmla="*/ 50 h 162"/>
                    <a:gd name="T66" fmla="*/ 26 w 109"/>
                    <a:gd name="T67" fmla="*/ 50 h 162"/>
                    <a:gd name="T68" fmla="*/ 20 w 109"/>
                    <a:gd name="T69" fmla="*/ 53 h 162"/>
                    <a:gd name="T70" fmla="*/ 13 w 109"/>
                    <a:gd name="T71" fmla="*/ 58 h 162"/>
                    <a:gd name="T72" fmla="*/ 8 w 109"/>
                    <a:gd name="T73" fmla="*/ 60 h 162"/>
                    <a:gd name="T74" fmla="*/ 6 w 109"/>
                    <a:gd name="T75" fmla="*/ 67 h 162"/>
                    <a:gd name="T76" fmla="*/ 4 w 109"/>
                    <a:gd name="T77" fmla="*/ 79 h 162"/>
                    <a:gd name="T78" fmla="*/ 9 w 109"/>
                    <a:gd name="T79" fmla="*/ 89 h 162"/>
                    <a:gd name="T80" fmla="*/ 7 w 109"/>
                    <a:gd name="T81" fmla="*/ 90 h 162"/>
                    <a:gd name="T82" fmla="*/ 4 w 109"/>
                    <a:gd name="T83" fmla="*/ 91 h 162"/>
                    <a:gd name="T84" fmla="*/ 4 w 109"/>
                    <a:gd name="T85" fmla="*/ 94 h 162"/>
                    <a:gd name="T86" fmla="*/ 11 w 109"/>
                    <a:gd name="T87" fmla="*/ 109 h 162"/>
                    <a:gd name="T88" fmla="*/ 16 w 109"/>
                    <a:gd name="T89" fmla="*/ 127 h 162"/>
                    <a:gd name="T90" fmla="*/ 19 w 109"/>
                    <a:gd name="T91" fmla="*/ 144 h 162"/>
                    <a:gd name="T92" fmla="*/ 15 w 109"/>
                    <a:gd name="T93" fmla="*/ 154 h 162"/>
                    <a:gd name="T94" fmla="*/ 24 w 109"/>
                    <a:gd name="T95" fmla="*/ 160 h 162"/>
                    <a:gd name="T96" fmla="*/ 31 w 109"/>
                    <a:gd name="T97" fmla="*/ 161 h 162"/>
                    <a:gd name="T98" fmla="*/ 36 w 109"/>
                    <a:gd name="T99" fmla="*/ 160 h 162"/>
                    <a:gd name="T100" fmla="*/ 42 w 109"/>
                    <a:gd name="T101" fmla="*/ 156 h 162"/>
                    <a:gd name="T102" fmla="*/ 47 w 109"/>
                    <a:gd name="T103" fmla="*/ 152 h 162"/>
                    <a:gd name="T104" fmla="*/ 58 w 109"/>
                    <a:gd name="T105" fmla="*/ 151 h 162"/>
                    <a:gd name="T106" fmla="*/ 64 w 109"/>
                    <a:gd name="T107" fmla="*/ 152 h 162"/>
                    <a:gd name="T108" fmla="*/ 71 w 109"/>
                    <a:gd name="T109" fmla="*/ 152 h 162"/>
                    <a:gd name="T110" fmla="*/ 75 w 109"/>
                    <a:gd name="T111" fmla="*/ 149 h 162"/>
                    <a:gd name="T112" fmla="*/ 81 w 109"/>
                    <a:gd name="T113" fmla="*/ 143 h 162"/>
                    <a:gd name="T114" fmla="*/ 91 w 109"/>
                    <a:gd name="T115" fmla="*/ 138 h 162"/>
                    <a:gd name="T116" fmla="*/ 109 w 109"/>
                    <a:gd name="T117"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162">
                      <a:moveTo>
                        <a:pt x="3" y="87"/>
                      </a:moveTo>
                      <a:cubicBezTo>
                        <a:pt x="3" y="87"/>
                        <a:pt x="3" y="87"/>
                        <a:pt x="3" y="87"/>
                      </a:cubicBezTo>
                      <a:cubicBezTo>
                        <a:pt x="3" y="87"/>
                        <a:pt x="4" y="87"/>
                        <a:pt x="4" y="87"/>
                      </a:cubicBezTo>
                      <a:cubicBezTo>
                        <a:pt x="4" y="87"/>
                        <a:pt x="4" y="87"/>
                        <a:pt x="4" y="86"/>
                      </a:cubicBezTo>
                      <a:cubicBezTo>
                        <a:pt x="4" y="86"/>
                        <a:pt x="4" y="86"/>
                        <a:pt x="4" y="86"/>
                      </a:cubicBezTo>
                      <a:cubicBezTo>
                        <a:pt x="4" y="86"/>
                        <a:pt x="4" y="86"/>
                        <a:pt x="4" y="86"/>
                      </a:cubicBezTo>
                      <a:cubicBezTo>
                        <a:pt x="4" y="86"/>
                        <a:pt x="4" y="86"/>
                        <a:pt x="4" y="86"/>
                      </a:cubicBezTo>
                      <a:cubicBezTo>
                        <a:pt x="4" y="86"/>
                        <a:pt x="4" y="86"/>
                        <a:pt x="5" y="86"/>
                      </a:cubicBezTo>
                      <a:cubicBezTo>
                        <a:pt x="5" y="86"/>
                        <a:pt x="5" y="87"/>
                        <a:pt x="5" y="87"/>
                      </a:cubicBezTo>
                      <a:cubicBezTo>
                        <a:pt x="5" y="87"/>
                        <a:pt x="5" y="87"/>
                        <a:pt x="5" y="87"/>
                      </a:cubicBezTo>
                      <a:cubicBezTo>
                        <a:pt x="5" y="87"/>
                        <a:pt x="5" y="87"/>
                        <a:pt x="5" y="87"/>
                      </a:cubicBezTo>
                      <a:cubicBezTo>
                        <a:pt x="5" y="87"/>
                        <a:pt x="5" y="87"/>
                        <a:pt x="5" y="87"/>
                      </a:cubicBezTo>
                      <a:cubicBezTo>
                        <a:pt x="5" y="88"/>
                        <a:pt x="6" y="88"/>
                        <a:pt x="6" y="88"/>
                      </a:cubicBezTo>
                      <a:cubicBezTo>
                        <a:pt x="6" y="88"/>
                        <a:pt x="6" y="88"/>
                        <a:pt x="6" y="88"/>
                      </a:cubicBezTo>
                      <a:cubicBezTo>
                        <a:pt x="6" y="88"/>
                        <a:pt x="6" y="88"/>
                        <a:pt x="6" y="89"/>
                      </a:cubicBezTo>
                      <a:cubicBezTo>
                        <a:pt x="6" y="89"/>
                        <a:pt x="6" y="89"/>
                        <a:pt x="6" y="89"/>
                      </a:cubicBezTo>
                      <a:cubicBezTo>
                        <a:pt x="6" y="89"/>
                        <a:pt x="6" y="89"/>
                        <a:pt x="6" y="90"/>
                      </a:cubicBezTo>
                      <a:cubicBezTo>
                        <a:pt x="5" y="90"/>
                        <a:pt x="6" y="90"/>
                        <a:pt x="5" y="91"/>
                      </a:cubicBezTo>
                      <a:cubicBezTo>
                        <a:pt x="5" y="91"/>
                        <a:pt x="5" y="91"/>
                        <a:pt x="5" y="90"/>
                      </a:cubicBezTo>
                      <a:cubicBezTo>
                        <a:pt x="5" y="90"/>
                        <a:pt x="5" y="90"/>
                        <a:pt x="5" y="90"/>
                      </a:cubicBezTo>
                      <a:cubicBezTo>
                        <a:pt x="5" y="90"/>
                        <a:pt x="5" y="90"/>
                        <a:pt x="5" y="89"/>
                      </a:cubicBezTo>
                      <a:cubicBezTo>
                        <a:pt x="5" y="89"/>
                        <a:pt x="5" y="89"/>
                        <a:pt x="5" y="89"/>
                      </a:cubicBezTo>
                      <a:cubicBezTo>
                        <a:pt x="5" y="89"/>
                        <a:pt x="5" y="89"/>
                        <a:pt x="4" y="89"/>
                      </a:cubicBezTo>
                      <a:cubicBezTo>
                        <a:pt x="4" y="89"/>
                        <a:pt x="4" y="88"/>
                        <a:pt x="4" y="88"/>
                      </a:cubicBezTo>
                      <a:cubicBezTo>
                        <a:pt x="4" y="87"/>
                        <a:pt x="4" y="87"/>
                        <a:pt x="4" y="87"/>
                      </a:cubicBezTo>
                      <a:cubicBezTo>
                        <a:pt x="4" y="87"/>
                        <a:pt x="4" y="87"/>
                        <a:pt x="4" y="87"/>
                      </a:cubicBezTo>
                      <a:cubicBezTo>
                        <a:pt x="4" y="87"/>
                        <a:pt x="3" y="87"/>
                        <a:pt x="3" y="87"/>
                      </a:cubicBezTo>
                      <a:cubicBezTo>
                        <a:pt x="3" y="87"/>
                        <a:pt x="3" y="87"/>
                        <a:pt x="3" y="87"/>
                      </a:cubicBezTo>
                      <a:close/>
                      <a:moveTo>
                        <a:pt x="1" y="88"/>
                      </a:moveTo>
                      <a:cubicBezTo>
                        <a:pt x="1" y="88"/>
                        <a:pt x="1" y="88"/>
                        <a:pt x="1" y="88"/>
                      </a:cubicBezTo>
                      <a:cubicBezTo>
                        <a:pt x="1" y="88"/>
                        <a:pt x="1" y="88"/>
                        <a:pt x="1" y="88"/>
                      </a:cubicBezTo>
                      <a:cubicBezTo>
                        <a:pt x="1" y="87"/>
                        <a:pt x="1" y="87"/>
                        <a:pt x="1" y="87"/>
                      </a:cubicBezTo>
                      <a:cubicBezTo>
                        <a:pt x="1" y="87"/>
                        <a:pt x="1" y="87"/>
                        <a:pt x="1" y="87"/>
                      </a:cubicBezTo>
                      <a:cubicBezTo>
                        <a:pt x="1" y="87"/>
                        <a:pt x="1" y="87"/>
                        <a:pt x="1" y="87"/>
                      </a:cubicBezTo>
                      <a:cubicBezTo>
                        <a:pt x="1" y="86"/>
                        <a:pt x="1" y="86"/>
                        <a:pt x="1" y="86"/>
                      </a:cubicBezTo>
                      <a:cubicBezTo>
                        <a:pt x="1" y="86"/>
                        <a:pt x="1" y="86"/>
                        <a:pt x="1" y="86"/>
                      </a:cubicBezTo>
                      <a:cubicBezTo>
                        <a:pt x="1" y="86"/>
                        <a:pt x="1" y="86"/>
                        <a:pt x="1" y="86"/>
                      </a:cubicBezTo>
                      <a:cubicBezTo>
                        <a:pt x="1" y="86"/>
                        <a:pt x="0" y="86"/>
                        <a:pt x="0" y="86"/>
                      </a:cubicBezTo>
                      <a:cubicBezTo>
                        <a:pt x="0" y="86"/>
                        <a:pt x="0" y="87"/>
                        <a:pt x="1" y="87"/>
                      </a:cubicBezTo>
                      <a:cubicBezTo>
                        <a:pt x="1" y="87"/>
                        <a:pt x="1" y="88"/>
                        <a:pt x="1" y="88"/>
                      </a:cubicBezTo>
                      <a:cubicBezTo>
                        <a:pt x="1" y="88"/>
                        <a:pt x="1" y="88"/>
                        <a:pt x="1" y="88"/>
                      </a:cubicBezTo>
                      <a:cubicBezTo>
                        <a:pt x="1" y="88"/>
                        <a:pt x="1" y="88"/>
                        <a:pt x="1" y="88"/>
                      </a:cubicBezTo>
                      <a:cubicBezTo>
                        <a:pt x="1" y="89"/>
                        <a:pt x="1" y="89"/>
                        <a:pt x="2" y="90"/>
                      </a:cubicBezTo>
                      <a:cubicBezTo>
                        <a:pt x="2" y="90"/>
                        <a:pt x="2" y="90"/>
                        <a:pt x="2" y="90"/>
                      </a:cubicBezTo>
                      <a:cubicBezTo>
                        <a:pt x="2" y="90"/>
                        <a:pt x="2" y="90"/>
                        <a:pt x="2" y="90"/>
                      </a:cubicBezTo>
                      <a:cubicBezTo>
                        <a:pt x="2" y="90"/>
                        <a:pt x="2" y="90"/>
                        <a:pt x="2" y="90"/>
                      </a:cubicBezTo>
                      <a:cubicBezTo>
                        <a:pt x="2" y="90"/>
                        <a:pt x="2" y="90"/>
                        <a:pt x="2" y="89"/>
                      </a:cubicBezTo>
                      <a:cubicBezTo>
                        <a:pt x="2" y="89"/>
                        <a:pt x="2" y="89"/>
                        <a:pt x="2" y="89"/>
                      </a:cubicBezTo>
                      <a:cubicBezTo>
                        <a:pt x="2" y="89"/>
                        <a:pt x="2" y="89"/>
                        <a:pt x="2" y="89"/>
                      </a:cubicBezTo>
                      <a:cubicBezTo>
                        <a:pt x="2" y="89"/>
                        <a:pt x="2" y="89"/>
                        <a:pt x="2" y="89"/>
                      </a:cubicBezTo>
                      <a:cubicBezTo>
                        <a:pt x="2" y="89"/>
                        <a:pt x="2" y="89"/>
                        <a:pt x="2" y="89"/>
                      </a:cubicBezTo>
                      <a:cubicBezTo>
                        <a:pt x="2" y="88"/>
                        <a:pt x="2" y="88"/>
                        <a:pt x="2" y="88"/>
                      </a:cubicBezTo>
                      <a:cubicBezTo>
                        <a:pt x="2" y="88"/>
                        <a:pt x="2" y="88"/>
                        <a:pt x="2" y="88"/>
                      </a:cubicBezTo>
                      <a:cubicBezTo>
                        <a:pt x="1" y="88"/>
                        <a:pt x="1" y="88"/>
                        <a:pt x="1" y="88"/>
                      </a:cubicBezTo>
                      <a:cubicBezTo>
                        <a:pt x="1" y="88"/>
                        <a:pt x="1" y="88"/>
                        <a:pt x="1" y="88"/>
                      </a:cubicBezTo>
                      <a:close/>
                      <a:moveTo>
                        <a:pt x="17" y="50"/>
                      </a:moveTo>
                      <a:cubicBezTo>
                        <a:pt x="17" y="50"/>
                        <a:pt x="17" y="50"/>
                        <a:pt x="17" y="50"/>
                      </a:cubicBezTo>
                      <a:cubicBezTo>
                        <a:pt x="17" y="50"/>
                        <a:pt x="17" y="50"/>
                        <a:pt x="17" y="50"/>
                      </a:cubicBezTo>
                      <a:cubicBezTo>
                        <a:pt x="17" y="50"/>
                        <a:pt x="17" y="50"/>
                        <a:pt x="17" y="50"/>
                      </a:cubicBezTo>
                      <a:cubicBezTo>
                        <a:pt x="17" y="50"/>
                        <a:pt x="17" y="50"/>
                        <a:pt x="17" y="50"/>
                      </a:cubicBezTo>
                      <a:cubicBezTo>
                        <a:pt x="17" y="51"/>
                        <a:pt x="17" y="51"/>
                        <a:pt x="17" y="51"/>
                      </a:cubicBezTo>
                      <a:cubicBezTo>
                        <a:pt x="17" y="51"/>
                        <a:pt x="17" y="51"/>
                        <a:pt x="17" y="51"/>
                      </a:cubicBezTo>
                      <a:cubicBezTo>
                        <a:pt x="17" y="51"/>
                        <a:pt x="17" y="51"/>
                        <a:pt x="17" y="51"/>
                      </a:cubicBezTo>
                      <a:cubicBezTo>
                        <a:pt x="17" y="51"/>
                        <a:pt x="17" y="52"/>
                        <a:pt x="17" y="52"/>
                      </a:cubicBezTo>
                      <a:cubicBezTo>
                        <a:pt x="17" y="52"/>
                        <a:pt x="17" y="51"/>
                        <a:pt x="17" y="51"/>
                      </a:cubicBezTo>
                      <a:cubicBezTo>
                        <a:pt x="17" y="51"/>
                        <a:pt x="17" y="51"/>
                        <a:pt x="17" y="51"/>
                      </a:cubicBezTo>
                      <a:cubicBezTo>
                        <a:pt x="17" y="51"/>
                        <a:pt x="17" y="51"/>
                        <a:pt x="17" y="51"/>
                      </a:cubicBezTo>
                      <a:cubicBezTo>
                        <a:pt x="18" y="51"/>
                        <a:pt x="18" y="51"/>
                        <a:pt x="18" y="51"/>
                      </a:cubicBezTo>
                      <a:cubicBezTo>
                        <a:pt x="18" y="51"/>
                        <a:pt x="18" y="51"/>
                        <a:pt x="18" y="50"/>
                      </a:cubicBezTo>
                      <a:cubicBezTo>
                        <a:pt x="18" y="50"/>
                        <a:pt x="18" y="50"/>
                        <a:pt x="17" y="50"/>
                      </a:cubicBezTo>
                      <a:close/>
                      <a:moveTo>
                        <a:pt x="80" y="12"/>
                      </a:moveTo>
                      <a:cubicBezTo>
                        <a:pt x="80" y="11"/>
                        <a:pt x="80" y="11"/>
                        <a:pt x="80" y="11"/>
                      </a:cubicBezTo>
                      <a:cubicBezTo>
                        <a:pt x="80" y="11"/>
                        <a:pt x="80" y="11"/>
                        <a:pt x="79" y="11"/>
                      </a:cubicBezTo>
                      <a:cubicBezTo>
                        <a:pt x="79" y="11"/>
                        <a:pt x="79" y="11"/>
                        <a:pt x="79" y="11"/>
                      </a:cubicBezTo>
                      <a:cubicBezTo>
                        <a:pt x="79" y="11"/>
                        <a:pt x="79" y="11"/>
                        <a:pt x="79" y="11"/>
                      </a:cubicBezTo>
                      <a:cubicBezTo>
                        <a:pt x="79" y="11"/>
                        <a:pt x="79" y="11"/>
                        <a:pt x="79" y="11"/>
                      </a:cubicBezTo>
                      <a:cubicBezTo>
                        <a:pt x="79" y="11"/>
                        <a:pt x="79" y="11"/>
                        <a:pt x="79" y="11"/>
                      </a:cubicBezTo>
                      <a:cubicBezTo>
                        <a:pt x="79" y="12"/>
                        <a:pt x="79" y="12"/>
                        <a:pt x="79" y="12"/>
                      </a:cubicBezTo>
                      <a:cubicBezTo>
                        <a:pt x="79" y="12"/>
                        <a:pt x="79" y="12"/>
                        <a:pt x="79" y="12"/>
                      </a:cubicBezTo>
                      <a:cubicBezTo>
                        <a:pt x="79" y="12"/>
                        <a:pt x="79" y="12"/>
                        <a:pt x="79" y="12"/>
                      </a:cubicBezTo>
                      <a:cubicBezTo>
                        <a:pt x="79" y="12"/>
                        <a:pt x="79" y="12"/>
                        <a:pt x="79" y="12"/>
                      </a:cubicBezTo>
                      <a:cubicBezTo>
                        <a:pt x="80" y="12"/>
                        <a:pt x="80" y="12"/>
                        <a:pt x="80" y="12"/>
                      </a:cubicBezTo>
                      <a:cubicBezTo>
                        <a:pt x="80" y="12"/>
                        <a:pt x="80" y="12"/>
                        <a:pt x="80" y="12"/>
                      </a:cubicBezTo>
                      <a:cubicBezTo>
                        <a:pt x="80" y="12"/>
                        <a:pt x="80" y="12"/>
                        <a:pt x="80" y="12"/>
                      </a:cubicBezTo>
                      <a:cubicBezTo>
                        <a:pt x="80" y="12"/>
                        <a:pt x="80" y="12"/>
                        <a:pt x="80" y="12"/>
                      </a:cubicBezTo>
                      <a:close/>
                      <a:moveTo>
                        <a:pt x="84" y="6"/>
                      </a:move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7"/>
                        <a:pt x="83" y="7"/>
                      </a:cubicBezTo>
                      <a:cubicBezTo>
                        <a:pt x="83" y="7"/>
                        <a:pt x="83" y="7"/>
                        <a:pt x="83" y="7"/>
                      </a:cubicBezTo>
                      <a:cubicBezTo>
                        <a:pt x="83" y="6"/>
                        <a:pt x="84" y="6"/>
                        <a:pt x="84" y="6"/>
                      </a:cubicBezTo>
                      <a:cubicBezTo>
                        <a:pt x="84" y="6"/>
                        <a:pt x="84" y="6"/>
                        <a:pt x="84" y="6"/>
                      </a:cubicBezTo>
                      <a:cubicBezTo>
                        <a:pt x="84" y="6"/>
                        <a:pt x="84" y="6"/>
                        <a:pt x="84" y="6"/>
                      </a:cubicBezTo>
                      <a:close/>
                      <a:moveTo>
                        <a:pt x="108" y="8"/>
                      </a:moveTo>
                      <a:cubicBezTo>
                        <a:pt x="108" y="8"/>
                        <a:pt x="108" y="8"/>
                        <a:pt x="108" y="8"/>
                      </a:cubicBezTo>
                      <a:cubicBezTo>
                        <a:pt x="107" y="8"/>
                        <a:pt x="107" y="8"/>
                        <a:pt x="107" y="8"/>
                      </a:cubicBezTo>
                      <a:cubicBezTo>
                        <a:pt x="106" y="8"/>
                        <a:pt x="106" y="8"/>
                        <a:pt x="106" y="8"/>
                      </a:cubicBezTo>
                      <a:cubicBezTo>
                        <a:pt x="105" y="8"/>
                        <a:pt x="105" y="8"/>
                        <a:pt x="106" y="8"/>
                      </a:cubicBezTo>
                      <a:cubicBezTo>
                        <a:pt x="106" y="8"/>
                        <a:pt x="106" y="8"/>
                        <a:pt x="106" y="9"/>
                      </a:cubicBezTo>
                      <a:cubicBezTo>
                        <a:pt x="106" y="9"/>
                        <a:pt x="106" y="9"/>
                        <a:pt x="106" y="9"/>
                      </a:cubicBezTo>
                      <a:cubicBezTo>
                        <a:pt x="106" y="9"/>
                        <a:pt x="106" y="10"/>
                        <a:pt x="106" y="10"/>
                      </a:cubicBezTo>
                      <a:cubicBezTo>
                        <a:pt x="105" y="10"/>
                        <a:pt x="105" y="9"/>
                        <a:pt x="105" y="9"/>
                      </a:cubicBezTo>
                      <a:cubicBezTo>
                        <a:pt x="105" y="9"/>
                        <a:pt x="104" y="9"/>
                        <a:pt x="104" y="9"/>
                      </a:cubicBezTo>
                      <a:cubicBezTo>
                        <a:pt x="104" y="9"/>
                        <a:pt x="104" y="10"/>
                        <a:pt x="104" y="10"/>
                      </a:cubicBezTo>
                      <a:cubicBezTo>
                        <a:pt x="104" y="10"/>
                        <a:pt x="105" y="11"/>
                        <a:pt x="105" y="11"/>
                      </a:cubicBezTo>
                      <a:cubicBezTo>
                        <a:pt x="104" y="11"/>
                        <a:pt x="104" y="11"/>
                        <a:pt x="104" y="11"/>
                      </a:cubicBezTo>
                      <a:cubicBezTo>
                        <a:pt x="104" y="11"/>
                        <a:pt x="104" y="11"/>
                        <a:pt x="104" y="11"/>
                      </a:cubicBezTo>
                      <a:cubicBezTo>
                        <a:pt x="104" y="11"/>
                        <a:pt x="104" y="12"/>
                        <a:pt x="104" y="12"/>
                      </a:cubicBezTo>
                      <a:cubicBezTo>
                        <a:pt x="104" y="12"/>
                        <a:pt x="103" y="12"/>
                        <a:pt x="103" y="12"/>
                      </a:cubicBezTo>
                      <a:cubicBezTo>
                        <a:pt x="103" y="12"/>
                        <a:pt x="103" y="12"/>
                        <a:pt x="103" y="12"/>
                      </a:cubicBezTo>
                      <a:cubicBezTo>
                        <a:pt x="103" y="11"/>
                        <a:pt x="103" y="11"/>
                        <a:pt x="103" y="11"/>
                      </a:cubicBezTo>
                      <a:cubicBezTo>
                        <a:pt x="104" y="11"/>
                        <a:pt x="104" y="11"/>
                        <a:pt x="104" y="11"/>
                      </a:cubicBezTo>
                      <a:cubicBezTo>
                        <a:pt x="104" y="11"/>
                        <a:pt x="104" y="10"/>
                        <a:pt x="104" y="10"/>
                      </a:cubicBezTo>
                      <a:cubicBezTo>
                        <a:pt x="104" y="10"/>
                        <a:pt x="104" y="10"/>
                        <a:pt x="104" y="10"/>
                      </a:cubicBezTo>
                      <a:cubicBezTo>
                        <a:pt x="104" y="10"/>
                        <a:pt x="104" y="10"/>
                        <a:pt x="104" y="10"/>
                      </a:cubicBezTo>
                      <a:cubicBezTo>
                        <a:pt x="104" y="9"/>
                        <a:pt x="104" y="9"/>
                        <a:pt x="104" y="9"/>
                      </a:cubicBezTo>
                      <a:cubicBezTo>
                        <a:pt x="104" y="9"/>
                        <a:pt x="104" y="8"/>
                        <a:pt x="104" y="8"/>
                      </a:cubicBezTo>
                      <a:cubicBezTo>
                        <a:pt x="104" y="8"/>
                        <a:pt x="104" y="7"/>
                        <a:pt x="104" y="7"/>
                      </a:cubicBezTo>
                      <a:cubicBezTo>
                        <a:pt x="104" y="7"/>
                        <a:pt x="104" y="7"/>
                        <a:pt x="103" y="7"/>
                      </a:cubicBezTo>
                      <a:cubicBezTo>
                        <a:pt x="103" y="7"/>
                        <a:pt x="103" y="7"/>
                        <a:pt x="103" y="6"/>
                      </a:cubicBezTo>
                      <a:cubicBezTo>
                        <a:pt x="103" y="6"/>
                        <a:pt x="103" y="6"/>
                        <a:pt x="102" y="6"/>
                      </a:cubicBezTo>
                      <a:cubicBezTo>
                        <a:pt x="102" y="6"/>
                        <a:pt x="102" y="6"/>
                        <a:pt x="102" y="6"/>
                      </a:cubicBezTo>
                      <a:cubicBezTo>
                        <a:pt x="102" y="6"/>
                        <a:pt x="102" y="6"/>
                        <a:pt x="102" y="5"/>
                      </a:cubicBezTo>
                      <a:cubicBezTo>
                        <a:pt x="102" y="5"/>
                        <a:pt x="102" y="5"/>
                        <a:pt x="101" y="5"/>
                      </a:cubicBezTo>
                      <a:cubicBezTo>
                        <a:pt x="101" y="4"/>
                        <a:pt x="101" y="4"/>
                        <a:pt x="101" y="4"/>
                      </a:cubicBezTo>
                      <a:cubicBezTo>
                        <a:pt x="101" y="4"/>
                        <a:pt x="99" y="3"/>
                        <a:pt x="99" y="3"/>
                      </a:cubicBezTo>
                      <a:cubicBezTo>
                        <a:pt x="99" y="3"/>
                        <a:pt x="99" y="2"/>
                        <a:pt x="99" y="2"/>
                      </a:cubicBezTo>
                      <a:cubicBezTo>
                        <a:pt x="99" y="2"/>
                        <a:pt x="98" y="2"/>
                        <a:pt x="98" y="2"/>
                      </a:cubicBezTo>
                      <a:cubicBezTo>
                        <a:pt x="98" y="1"/>
                        <a:pt x="98" y="2"/>
                        <a:pt x="97" y="2"/>
                      </a:cubicBezTo>
                      <a:cubicBezTo>
                        <a:pt x="97" y="2"/>
                        <a:pt x="97" y="2"/>
                        <a:pt x="97" y="2"/>
                      </a:cubicBezTo>
                      <a:cubicBezTo>
                        <a:pt x="97" y="2"/>
                        <a:pt x="96" y="1"/>
                        <a:pt x="96" y="1"/>
                      </a:cubicBezTo>
                      <a:cubicBezTo>
                        <a:pt x="96" y="1"/>
                        <a:pt x="96" y="0"/>
                        <a:pt x="96" y="0"/>
                      </a:cubicBezTo>
                      <a:cubicBezTo>
                        <a:pt x="95" y="0"/>
                        <a:pt x="95" y="1"/>
                        <a:pt x="95" y="1"/>
                      </a:cubicBezTo>
                      <a:cubicBezTo>
                        <a:pt x="95" y="1"/>
                        <a:pt x="94" y="1"/>
                        <a:pt x="94" y="1"/>
                      </a:cubicBezTo>
                      <a:cubicBezTo>
                        <a:pt x="94" y="1"/>
                        <a:pt x="95" y="2"/>
                        <a:pt x="95" y="2"/>
                      </a:cubicBezTo>
                      <a:cubicBezTo>
                        <a:pt x="95" y="2"/>
                        <a:pt x="95" y="2"/>
                        <a:pt x="94" y="2"/>
                      </a:cubicBezTo>
                      <a:cubicBezTo>
                        <a:pt x="94" y="2"/>
                        <a:pt x="94" y="3"/>
                        <a:pt x="94" y="3"/>
                      </a:cubicBezTo>
                      <a:cubicBezTo>
                        <a:pt x="94" y="3"/>
                        <a:pt x="94" y="3"/>
                        <a:pt x="93" y="4"/>
                      </a:cubicBezTo>
                      <a:cubicBezTo>
                        <a:pt x="93" y="4"/>
                        <a:pt x="93" y="3"/>
                        <a:pt x="93" y="3"/>
                      </a:cubicBezTo>
                      <a:cubicBezTo>
                        <a:pt x="92" y="3"/>
                        <a:pt x="93" y="3"/>
                        <a:pt x="93" y="3"/>
                      </a:cubicBezTo>
                      <a:cubicBezTo>
                        <a:pt x="93" y="2"/>
                        <a:pt x="92" y="2"/>
                        <a:pt x="92" y="2"/>
                      </a:cubicBezTo>
                      <a:cubicBezTo>
                        <a:pt x="92" y="2"/>
                        <a:pt x="92" y="2"/>
                        <a:pt x="92" y="3"/>
                      </a:cubicBezTo>
                      <a:cubicBezTo>
                        <a:pt x="91" y="3"/>
                        <a:pt x="91" y="3"/>
                        <a:pt x="91" y="3"/>
                      </a:cubicBezTo>
                      <a:cubicBezTo>
                        <a:pt x="91" y="4"/>
                        <a:pt x="91" y="4"/>
                        <a:pt x="91" y="4"/>
                      </a:cubicBezTo>
                      <a:cubicBezTo>
                        <a:pt x="91" y="4"/>
                        <a:pt x="91" y="3"/>
                        <a:pt x="91" y="3"/>
                      </a:cubicBezTo>
                      <a:cubicBezTo>
                        <a:pt x="90" y="3"/>
                        <a:pt x="90" y="2"/>
                        <a:pt x="90" y="2"/>
                      </a:cubicBezTo>
                      <a:cubicBezTo>
                        <a:pt x="90" y="2"/>
                        <a:pt x="90" y="2"/>
                        <a:pt x="90" y="2"/>
                      </a:cubicBezTo>
                      <a:cubicBezTo>
                        <a:pt x="90" y="2"/>
                        <a:pt x="90" y="2"/>
                        <a:pt x="90" y="2"/>
                      </a:cubicBezTo>
                      <a:cubicBezTo>
                        <a:pt x="90" y="2"/>
                        <a:pt x="90" y="3"/>
                        <a:pt x="90" y="3"/>
                      </a:cubicBezTo>
                      <a:cubicBezTo>
                        <a:pt x="90" y="3"/>
                        <a:pt x="90" y="3"/>
                        <a:pt x="90" y="3"/>
                      </a:cubicBezTo>
                      <a:cubicBezTo>
                        <a:pt x="90" y="3"/>
                        <a:pt x="90" y="4"/>
                        <a:pt x="90" y="4"/>
                      </a:cubicBezTo>
                      <a:cubicBezTo>
                        <a:pt x="90" y="4"/>
                        <a:pt x="90" y="4"/>
                        <a:pt x="90" y="4"/>
                      </a:cubicBezTo>
                      <a:cubicBezTo>
                        <a:pt x="90" y="4"/>
                        <a:pt x="90" y="4"/>
                        <a:pt x="90" y="5"/>
                      </a:cubicBezTo>
                      <a:cubicBezTo>
                        <a:pt x="90" y="5"/>
                        <a:pt x="89" y="5"/>
                        <a:pt x="89" y="5"/>
                      </a:cubicBezTo>
                      <a:cubicBezTo>
                        <a:pt x="89" y="5"/>
                        <a:pt x="89" y="5"/>
                        <a:pt x="89" y="6"/>
                      </a:cubicBezTo>
                      <a:cubicBezTo>
                        <a:pt x="89" y="6"/>
                        <a:pt x="90" y="6"/>
                        <a:pt x="90" y="6"/>
                      </a:cubicBezTo>
                      <a:cubicBezTo>
                        <a:pt x="90" y="6"/>
                        <a:pt x="90" y="6"/>
                        <a:pt x="90" y="6"/>
                      </a:cubicBezTo>
                      <a:cubicBezTo>
                        <a:pt x="90" y="6"/>
                        <a:pt x="89" y="6"/>
                        <a:pt x="89" y="6"/>
                      </a:cubicBezTo>
                      <a:cubicBezTo>
                        <a:pt x="89" y="6"/>
                        <a:pt x="89" y="7"/>
                        <a:pt x="89" y="7"/>
                      </a:cubicBezTo>
                      <a:cubicBezTo>
                        <a:pt x="89" y="7"/>
                        <a:pt x="88" y="7"/>
                        <a:pt x="88" y="7"/>
                      </a:cubicBezTo>
                      <a:cubicBezTo>
                        <a:pt x="88" y="7"/>
                        <a:pt x="88" y="6"/>
                        <a:pt x="88" y="6"/>
                      </a:cubicBezTo>
                      <a:cubicBezTo>
                        <a:pt x="88" y="6"/>
                        <a:pt x="88" y="6"/>
                        <a:pt x="87" y="6"/>
                      </a:cubicBezTo>
                      <a:cubicBezTo>
                        <a:pt x="87" y="6"/>
                        <a:pt x="87" y="6"/>
                        <a:pt x="87" y="6"/>
                      </a:cubicBezTo>
                      <a:cubicBezTo>
                        <a:pt x="87" y="6"/>
                        <a:pt x="87" y="6"/>
                        <a:pt x="87" y="6"/>
                      </a:cubicBezTo>
                      <a:cubicBezTo>
                        <a:pt x="87" y="6"/>
                        <a:pt x="87" y="5"/>
                        <a:pt x="87" y="5"/>
                      </a:cubicBezTo>
                      <a:cubicBezTo>
                        <a:pt x="87" y="5"/>
                        <a:pt x="87" y="4"/>
                        <a:pt x="87" y="4"/>
                      </a:cubicBezTo>
                      <a:cubicBezTo>
                        <a:pt x="87" y="4"/>
                        <a:pt x="87" y="4"/>
                        <a:pt x="87" y="4"/>
                      </a:cubicBezTo>
                      <a:cubicBezTo>
                        <a:pt x="87" y="4"/>
                        <a:pt x="86" y="5"/>
                        <a:pt x="86" y="5"/>
                      </a:cubicBezTo>
                      <a:cubicBezTo>
                        <a:pt x="86" y="5"/>
                        <a:pt x="86" y="6"/>
                        <a:pt x="86" y="6"/>
                      </a:cubicBezTo>
                      <a:cubicBezTo>
                        <a:pt x="86" y="6"/>
                        <a:pt x="86" y="6"/>
                        <a:pt x="86" y="6"/>
                      </a:cubicBezTo>
                      <a:cubicBezTo>
                        <a:pt x="86" y="6"/>
                        <a:pt x="85" y="6"/>
                        <a:pt x="85" y="6"/>
                      </a:cubicBezTo>
                      <a:cubicBezTo>
                        <a:pt x="85" y="6"/>
                        <a:pt x="85" y="6"/>
                        <a:pt x="85" y="6"/>
                      </a:cubicBezTo>
                      <a:cubicBezTo>
                        <a:pt x="85" y="6"/>
                        <a:pt x="85" y="6"/>
                        <a:pt x="85" y="6"/>
                      </a:cubicBezTo>
                      <a:cubicBezTo>
                        <a:pt x="84" y="6"/>
                        <a:pt x="84" y="7"/>
                        <a:pt x="84" y="7"/>
                      </a:cubicBezTo>
                      <a:cubicBezTo>
                        <a:pt x="84" y="7"/>
                        <a:pt x="84" y="7"/>
                        <a:pt x="84" y="7"/>
                      </a:cubicBezTo>
                      <a:cubicBezTo>
                        <a:pt x="84" y="7"/>
                        <a:pt x="84" y="8"/>
                        <a:pt x="84" y="8"/>
                      </a:cubicBezTo>
                      <a:cubicBezTo>
                        <a:pt x="84" y="8"/>
                        <a:pt x="84" y="9"/>
                        <a:pt x="84" y="9"/>
                      </a:cubicBezTo>
                      <a:cubicBezTo>
                        <a:pt x="84" y="9"/>
                        <a:pt x="84" y="9"/>
                        <a:pt x="84" y="9"/>
                      </a:cubicBezTo>
                      <a:cubicBezTo>
                        <a:pt x="85" y="9"/>
                        <a:pt x="85" y="9"/>
                        <a:pt x="85" y="9"/>
                      </a:cubicBezTo>
                      <a:cubicBezTo>
                        <a:pt x="85" y="10"/>
                        <a:pt x="85" y="10"/>
                        <a:pt x="85" y="10"/>
                      </a:cubicBezTo>
                      <a:cubicBezTo>
                        <a:pt x="85" y="10"/>
                        <a:pt x="85" y="10"/>
                        <a:pt x="85" y="10"/>
                      </a:cubicBezTo>
                      <a:cubicBezTo>
                        <a:pt x="84" y="10"/>
                        <a:pt x="84" y="10"/>
                        <a:pt x="83" y="10"/>
                      </a:cubicBezTo>
                      <a:cubicBezTo>
                        <a:pt x="83" y="10"/>
                        <a:pt x="83" y="10"/>
                        <a:pt x="83" y="9"/>
                      </a:cubicBezTo>
                      <a:cubicBezTo>
                        <a:pt x="83" y="9"/>
                        <a:pt x="83" y="9"/>
                        <a:pt x="83" y="9"/>
                      </a:cubicBezTo>
                      <a:cubicBezTo>
                        <a:pt x="83" y="9"/>
                        <a:pt x="83" y="10"/>
                        <a:pt x="83" y="10"/>
                      </a:cubicBezTo>
                      <a:cubicBezTo>
                        <a:pt x="83" y="10"/>
                        <a:pt x="82" y="10"/>
                        <a:pt x="82" y="10"/>
                      </a:cubicBezTo>
                      <a:cubicBezTo>
                        <a:pt x="82" y="10"/>
                        <a:pt x="82" y="10"/>
                        <a:pt x="82" y="11"/>
                      </a:cubicBezTo>
                      <a:cubicBezTo>
                        <a:pt x="81" y="11"/>
                        <a:pt x="82" y="11"/>
                        <a:pt x="82" y="11"/>
                      </a:cubicBezTo>
                      <a:cubicBezTo>
                        <a:pt x="82" y="11"/>
                        <a:pt x="82" y="11"/>
                        <a:pt x="82" y="12"/>
                      </a:cubicBezTo>
                      <a:cubicBezTo>
                        <a:pt x="83" y="12"/>
                        <a:pt x="83" y="12"/>
                        <a:pt x="83" y="12"/>
                      </a:cubicBezTo>
                      <a:cubicBezTo>
                        <a:pt x="83" y="12"/>
                        <a:pt x="83" y="12"/>
                        <a:pt x="83" y="12"/>
                      </a:cubicBezTo>
                      <a:cubicBezTo>
                        <a:pt x="83" y="12"/>
                        <a:pt x="83" y="13"/>
                        <a:pt x="83" y="13"/>
                      </a:cubicBezTo>
                      <a:cubicBezTo>
                        <a:pt x="82" y="13"/>
                        <a:pt x="82" y="13"/>
                        <a:pt x="82" y="12"/>
                      </a:cubicBezTo>
                      <a:cubicBezTo>
                        <a:pt x="82" y="12"/>
                        <a:pt x="82" y="12"/>
                        <a:pt x="82" y="12"/>
                      </a:cubicBezTo>
                      <a:cubicBezTo>
                        <a:pt x="81" y="12"/>
                        <a:pt x="81" y="12"/>
                        <a:pt x="81" y="11"/>
                      </a:cubicBezTo>
                      <a:cubicBezTo>
                        <a:pt x="81" y="11"/>
                        <a:pt x="81" y="11"/>
                        <a:pt x="81" y="11"/>
                      </a:cubicBezTo>
                      <a:cubicBezTo>
                        <a:pt x="81" y="11"/>
                        <a:pt x="80" y="11"/>
                        <a:pt x="80" y="11"/>
                      </a:cubicBezTo>
                      <a:cubicBezTo>
                        <a:pt x="80" y="11"/>
                        <a:pt x="80" y="11"/>
                        <a:pt x="80" y="12"/>
                      </a:cubicBezTo>
                      <a:cubicBezTo>
                        <a:pt x="81" y="12"/>
                        <a:pt x="80" y="12"/>
                        <a:pt x="80" y="12"/>
                      </a:cubicBezTo>
                      <a:cubicBezTo>
                        <a:pt x="80" y="12"/>
                        <a:pt x="80" y="12"/>
                        <a:pt x="80" y="12"/>
                      </a:cubicBezTo>
                      <a:cubicBezTo>
                        <a:pt x="80" y="12"/>
                        <a:pt x="80" y="13"/>
                        <a:pt x="80" y="13"/>
                      </a:cubicBezTo>
                      <a:cubicBezTo>
                        <a:pt x="80" y="13"/>
                        <a:pt x="80" y="13"/>
                        <a:pt x="79" y="13"/>
                      </a:cubicBezTo>
                      <a:cubicBezTo>
                        <a:pt x="79" y="13"/>
                        <a:pt x="79" y="13"/>
                        <a:pt x="79" y="13"/>
                      </a:cubicBezTo>
                      <a:cubicBezTo>
                        <a:pt x="79" y="13"/>
                        <a:pt x="79" y="13"/>
                        <a:pt x="79" y="13"/>
                      </a:cubicBezTo>
                      <a:cubicBezTo>
                        <a:pt x="79" y="13"/>
                        <a:pt x="79" y="14"/>
                        <a:pt x="79" y="14"/>
                      </a:cubicBezTo>
                      <a:cubicBezTo>
                        <a:pt x="79" y="14"/>
                        <a:pt x="78" y="14"/>
                        <a:pt x="78" y="14"/>
                      </a:cubicBezTo>
                      <a:cubicBezTo>
                        <a:pt x="78" y="14"/>
                        <a:pt x="78" y="15"/>
                        <a:pt x="78" y="15"/>
                      </a:cubicBezTo>
                      <a:cubicBezTo>
                        <a:pt x="78" y="15"/>
                        <a:pt x="79" y="15"/>
                        <a:pt x="79" y="16"/>
                      </a:cubicBezTo>
                      <a:cubicBezTo>
                        <a:pt x="79" y="16"/>
                        <a:pt x="79" y="16"/>
                        <a:pt x="79" y="16"/>
                      </a:cubicBezTo>
                      <a:cubicBezTo>
                        <a:pt x="79" y="16"/>
                        <a:pt x="79" y="16"/>
                        <a:pt x="79" y="16"/>
                      </a:cubicBezTo>
                      <a:cubicBezTo>
                        <a:pt x="79" y="16"/>
                        <a:pt x="79" y="15"/>
                        <a:pt x="80" y="15"/>
                      </a:cubicBezTo>
                      <a:cubicBezTo>
                        <a:pt x="80" y="15"/>
                        <a:pt x="80" y="15"/>
                        <a:pt x="80" y="15"/>
                      </a:cubicBezTo>
                      <a:cubicBezTo>
                        <a:pt x="80" y="15"/>
                        <a:pt x="80" y="15"/>
                        <a:pt x="80" y="15"/>
                      </a:cubicBezTo>
                      <a:cubicBezTo>
                        <a:pt x="80" y="15"/>
                        <a:pt x="80" y="16"/>
                        <a:pt x="80" y="16"/>
                      </a:cubicBezTo>
                      <a:cubicBezTo>
                        <a:pt x="80" y="16"/>
                        <a:pt x="80" y="17"/>
                        <a:pt x="80" y="17"/>
                      </a:cubicBezTo>
                      <a:cubicBezTo>
                        <a:pt x="80" y="17"/>
                        <a:pt x="80" y="17"/>
                        <a:pt x="80" y="17"/>
                      </a:cubicBezTo>
                      <a:cubicBezTo>
                        <a:pt x="79" y="17"/>
                        <a:pt x="79" y="17"/>
                        <a:pt x="79" y="17"/>
                      </a:cubicBezTo>
                      <a:cubicBezTo>
                        <a:pt x="79" y="17"/>
                        <a:pt x="79" y="17"/>
                        <a:pt x="79" y="17"/>
                      </a:cubicBezTo>
                      <a:cubicBezTo>
                        <a:pt x="79" y="17"/>
                        <a:pt x="78" y="18"/>
                        <a:pt x="78" y="18"/>
                      </a:cubicBezTo>
                      <a:cubicBezTo>
                        <a:pt x="78" y="18"/>
                        <a:pt x="78" y="18"/>
                        <a:pt x="78" y="18"/>
                      </a:cubicBezTo>
                      <a:cubicBezTo>
                        <a:pt x="78" y="18"/>
                        <a:pt x="78" y="19"/>
                        <a:pt x="78" y="19"/>
                      </a:cubicBezTo>
                      <a:cubicBezTo>
                        <a:pt x="78" y="19"/>
                        <a:pt x="78" y="19"/>
                        <a:pt x="78" y="19"/>
                      </a:cubicBezTo>
                      <a:cubicBezTo>
                        <a:pt x="78" y="19"/>
                        <a:pt x="77" y="19"/>
                        <a:pt x="77" y="19"/>
                      </a:cubicBezTo>
                      <a:cubicBezTo>
                        <a:pt x="77" y="19"/>
                        <a:pt x="77" y="19"/>
                        <a:pt x="76" y="18"/>
                      </a:cubicBezTo>
                      <a:cubicBezTo>
                        <a:pt x="76" y="18"/>
                        <a:pt x="75" y="18"/>
                        <a:pt x="75" y="18"/>
                      </a:cubicBezTo>
                      <a:cubicBezTo>
                        <a:pt x="75" y="18"/>
                        <a:pt x="75" y="19"/>
                        <a:pt x="75" y="19"/>
                      </a:cubicBezTo>
                      <a:cubicBezTo>
                        <a:pt x="75" y="19"/>
                        <a:pt x="75" y="19"/>
                        <a:pt x="75" y="19"/>
                      </a:cubicBezTo>
                      <a:cubicBezTo>
                        <a:pt x="75" y="19"/>
                        <a:pt x="74" y="19"/>
                        <a:pt x="74" y="19"/>
                      </a:cubicBezTo>
                      <a:cubicBezTo>
                        <a:pt x="74" y="19"/>
                        <a:pt x="74" y="18"/>
                        <a:pt x="74" y="18"/>
                      </a:cubicBezTo>
                      <a:cubicBezTo>
                        <a:pt x="74" y="18"/>
                        <a:pt x="74" y="18"/>
                        <a:pt x="74" y="17"/>
                      </a:cubicBezTo>
                      <a:cubicBezTo>
                        <a:pt x="74" y="17"/>
                        <a:pt x="73" y="17"/>
                        <a:pt x="73" y="17"/>
                      </a:cubicBezTo>
                      <a:cubicBezTo>
                        <a:pt x="73" y="18"/>
                        <a:pt x="73" y="18"/>
                        <a:pt x="73" y="18"/>
                      </a:cubicBezTo>
                      <a:cubicBezTo>
                        <a:pt x="73" y="18"/>
                        <a:pt x="73" y="18"/>
                        <a:pt x="73" y="18"/>
                      </a:cubicBezTo>
                      <a:cubicBezTo>
                        <a:pt x="73" y="18"/>
                        <a:pt x="73" y="18"/>
                        <a:pt x="73" y="19"/>
                      </a:cubicBezTo>
                      <a:cubicBezTo>
                        <a:pt x="73" y="19"/>
                        <a:pt x="73" y="19"/>
                        <a:pt x="73" y="19"/>
                      </a:cubicBezTo>
                      <a:cubicBezTo>
                        <a:pt x="73" y="19"/>
                        <a:pt x="73" y="19"/>
                        <a:pt x="73" y="19"/>
                      </a:cubicBezTo>
                      <a:cubicBezTo>
                        <a:pt x="73" y="19"/>
                        <a:pt x="73" y="19"/>
                        <a:pt x="73" y="19"/>
                      </a:cubicBezTo>
                      <a:cubicBezTo>
                        <a:pt x="73" y="20"/>
                        <a:pt x="73" y="20"/>
                        <a:pt x="73" y="20"/>
                      </a:cubicBezTo>
                      <a:cubicBezTo>
                        <a:pt x="73" y="20"/>
                        <a:pt x="73" y="20"/>
                        <a:pt x="73" y="20"/>
                      </a:cubicBezTo>
                      <a:cubicBezTo>
                        <a:pt x="73" y="20"/>
                        <a:pt x="72" y="20"/>
                        <a:pt x="72" y="20"/>
                      </a:cubicBezTo>
                      <a:cubicBezTo>
                        <a:pt x="72" y="20"/>
                        <a:pt x="72" y="21"/>
                        <a:pt x="72" y="21"/>
                      </a:cubicBezTo>
                      <a:cubicBezTo>
                        <a:pt x="73" y="21"/>
                        <a:pt x="73" y="21"/>
                        <a:pt x="73" y="21"/>
                      </a:cubicBezTo>
                      <a:cubicBezTo>
                        <a:pt x="73" y="22"/>
                        <a:pt x="74" y="22"/>
                        <a:pt x="74" y="22"/>
                      </a:cubicBezTo>
                      <a:cubicBezTo>
                        <a:pt x="74" y="22"/>
                        <a:pt x="74" y="23"/>
                        <a:pt x="75" y="23"/>
                      </a:cubicBezTo>
                      <a:cubicBezTo>
                        <a:pt x="75" y="23"/>
                        <a:pt x="75" y="23"/>
                        <a:pt x="75" y="23"/>
                      </a:cubicBezTo>
                      <a:cubicBezTo>
                        <a:pt x="74" y="23"/>
                        <a:pt x="74" y="24"/>
                        <a:pt x="74" y="24"/>
                      </a:cubicBezTo>
                      <a:cubicBezTo>
                        <a:pt x="74" y="24"/>
                        <a:pt x="74" y="24"/>
                        <a:pt x="74" y="24"/>
                      </a:cubicBezTo>
                      <a:cubicBezTo>
                        <a:pt x="74" y="24"/>
                        <a:pt x="74" y="24"/>
                        <a:pt x="74" y="24"/>
                      </a:cubicBezTo>
                      <a:cubicBezTo>
                        <a:pt x="74" y="24"/>
                        <a:pt x="73" y="24"/>
                        <a:pt x="73" y="24"/>
                      </a:cubicBezTo>
                      <a:cubicBezTo>
                        <a:pt x="73" y="24"/>
                        <a:pt x="73" y="24"/>
                        <a:pt x="73" y="25"/>
                      </a:cubicBezTo>
                      <a:cubicBezTo>
                        <a:pt x="73" y="25"/>
                        <a:pt x="73" y="25"/>
                        <a:pt x="73" y="26"/>
                      </a:cubicBezTo>
                      <a:cubicBezTo>
                        <a:pt x="73" y="26"/>
                        <a:pt x="73" y="26"/>
                        <a:pt x="73" y="26"/>
                      </a:cubicBezTo>
                      <a:cubicBezTo>
                        <a:pt x="73" y="27"/>
                        <a:pt x="73" y="27"/>
                        <a:pt x="73" y="27"/>
                      </a:cubicBezTo>
                      <a:cubicBezTo>
                        <a:pt x="72" y="27"/>
                        <a:pt x="72" y="26"/>
                        <a:pt x="72" y="26"/>
                      </a:cubicBezTo>
                      <a:cubicBezTo>
                        <a:pt x="72" y="26"/>
                        <a:pt x="72" y="26"/>
                        <a:pt x="71" y="25"/>
                      </a:cubicBezTo>
                      <a:cubicBezTo>
                        <a:pt x="71" y="25"/>
                        <a:pt x="71" y="25"/>
                        <a:pt x="71" y="25"/>
                      </a:cubicBezTo>
                      <a:cubicBezTo>
                        <a:pt x="71" y="25"/>
                        <a:pt x="71" y="24"/>
                        <a:pt x="71" y="24"/>
                      </a:cubicBezTo>
                      <a:cubicBezTo>
                        <a:pt x="71" y="24"/>
                        <a:pt x="70" y="24"/>
                        <a:pt x="70" y="23"/>
                      </a:cubicBezTo>
                      <a:cubicBezTo>
                        <a:pt x="70" y="23"/>
                        <a:pt x="70" y="23"/>
                        <a:pt x="70" y="23"/>
                      </a:cubicBezTo>
                      <a:cubicBezTo>
                        <a:pt x="70" y="22"/>
                        <a:pt x="70" y="22"/>
                        <a:pt x="70" y="22"/>
                      </a:cubicBezTo>
                      <a:cubicBezTo>
                        <a:pt x="69" y="22"/>
                        <a:pt x="69" y="21"/>
                        <a:pt x="69" y="21"/>
                      </a:cubicBezTo>
                      <a:cubicBezTo>
                        <a:pt x="69" y="21"/>
                        <a:pt x="69" y="21"/>
                        <a:pt x="69" y="21"/>
                      </a:cubicBezTo>
                      <a:cubicBezTo>
                        <a:pt x="69" y="21"/>
                        <a:pt x="69" y="21"/>
                        <a:pt x="69" y="21"/>
                      </a:cubicBezTo>
                      <a:cubicBezTo>
                        <a:pt x="68" y="21"/>
                        <a:pt x="69" y="20"/>
                        <a:pt x="69" y="20"/>
                      </a:cubicBezTo>
                      <a:cubicBezTo>
                        <a:pt x="69" y="20"/>
                        <a:pt x="69" y="20"/>
                        <a:pt x="69" y="19"/>
                      </a:cubicBezTo>
                      <a:cubicBezTo>
                        <a:pt x="69" y="19"/>
                        <a:pt x="69" y="19"/>
                        <a:pt x="69" y="19"/>
                      </a:cubicBezTo>
                      <a:cubicBezTo>
                        <a:pt x="69" y="19"/>
                        <a:pt x="68" y="19"/>
                        <a:pt x="68" y="19"/>
                      </a:cubicBezTo>
                      <a:cubicBezTo>
                        <a:pt x="68" y="19"/>
                        <a:pt x="68" y="20"/>
                        <a:pt x="68" y="20"/>
                      </a:cubicBezTo>
                      <a:cubicBezTo>
                        <a:pt x="68" y="20"/>
                        <a:pt x="68" y="20"/>
                        <a:pt x="68" y="20"/>
                      </a:cubicBezTo>
                      <a:cubicBezTo>
                        <a:pt x="68" y="20"/>
                        <a:pt x="67" y="20"/>
                        <a:pt x="67" y="21"/>
                      </a:cubicBezTo>
                      <a:cubicBezTo>
                        <a:pt x="67" y="21"/>
                        <a:pt x="67" y="22"/>
                        <a:pt x="67" y="22"/>
                      </a:cubicBezTo>
                      <a:cubicBezTo>
                        <a:pt x="67" y="22"/>
                        <a:pt x="67" y="22"/>
                        <a:pt x="67" y="22"/>
                      </a:cubicBezTo>
                      <a:cubicBezTo>
                        <a:pt x="67" y="22"/>
                        <a:pt x="66" y="22"/>
                        <a:pt x="66" y="22"/>
                      </a:cubicBezTo>
                      <a:cubicBezTo>
                        <a:pt x="66" y="22"/>
                        <a:pt x="66" y="23"/>
                        <a:pt x="66" y="23"/>
                      </a:cubicBezTo>
                      <a:cubicBezTo>
                        <a:pt x="66" y="23"/>
                        <a:pt x="66" y="23"/>
                        <a:pt x="66" y="23"/>
                      </a:cubicBezTo>
                      <a:cubicBezTo>
                        <a:pt x="66" y="23"/>
                        <a:pt x="66" y="23"/>
                        <a:pt x="66" y="23"/>
                      </a:cubicBezTo>
                      <a:cubicBezTo>
                        <a:pt x="66" y="23"/>
                        <a:pt x="65" y="23"/>
                        <a:pt x="65" y="23"/>
                      </a:cubicBezTo>
                      <a:cubicBezTo>
                        <a:pt x="64" y="23"/>
                        <a:pt x="64" y="24"/>
                        <a:pt x="64" y="24"/>
                      </a:cubicBezTo>
                      <a:cubicBezTo>
                        <a:pt x="64" y="24"/>
                        <a:pt x="63" y="25"/>
                        <a:pt x="63" y="25"/>
                      </a:cubicBezTo>
                      <a:cubicBezTo>
                        <a:pt x="63" y="25"/>
                        <a:pt x="63" y="26"/>
                        <a:pt x="63" y="26"/>
                      </a:cubicBezTo>
                      <a:cubicBezTo>
                        <a:pt x="63" y="26"/>
                        <a:pt x="63" y="27"/>
                        <a:pt x="63" y="28"/>
                      </a:cubicBezTo>
                      <a:cubicBezTo>
                        <a:pt x="63" y="28"/>
                        <a:pt x="63" y="28"/>
                        <a:pt x="63" y="28"/>
                      </a:cubicBezTo>
                      <a:cubicBezTo>
                        <a:pt x="63" y="29"/>
                        <a:pt x="63" y="30"/>
                        <a:pt x="63" y="30"/>
                      </a:cubicBezTo>
                      <a:cubicBezTo>
                        <a:pt x="64" y="30"/>
                        <a:pt x="64" y="30"/>
                        <a:pt x="64" y="31"/>
                      </a:cubicBezTo>
                      <a:cubicBezTo>
                        <a:pt x="65" y="31"/>
                        <a:pt x="64" y="31"/>
                        <a:pt x="64" y="31"/>
                      </a:cubicBezTo>
                      <a:cubicBezTo>
                        <a:pt x="64" y="32"/>
                        <a:pt x="64" y="32"/>
                        <a:pt x="64" y="32"/>
                      </a:cubicBezTo>
                      <a:cubicBezTo>
                        <a:pt x="63" y="32"/>
                        <a:pt x="63" y="33"/>
                        <a:pt x="63" y="33"/>
                      </a:cubicBezTo>
                      <a:cubicBezTo>
                        <a:pt x="63" y="33"/>
                        <a:pt x="62" y="34"/>
                        <a:pt x="62" y="34"/>
                      </a:cubicBezTo>
                      <a:cubicBezTo>
                        <a:pt x="61" y="34"/>
                        <a:pt x="61" y="34"/>
                        <a:pt x="61" y="34"/>
                      </a:cubicBezTo>
                      <a:cubicBezTo>
                        <a:pt x="60" y="34"/>
                        <a:pt x="60" y="35"/>
                        <a:pt x="60" y="35"/>
                      </a:cubicBezTo>
                      <a:cubicBezTo>
                        <a:pt x="60" y="35"/>
                        <a:pt x="60" y="35"/>
                        <a:pt x="60" y="35"/>
                      </a:cubicBezTo>
                      <a:cubicBezTo>
                        <a:pt x="60" y="36"/>
                        <a:pt x="60" y="36"/>
                        <a:pt x="59" y="36"/>
                      </a:cubicBezTo>
                      <a:cubicBezTo>
                        <a:pt x="59" y="36"/>
                        <a:pt x="60" y="36"/>
                        <a:pt x="60" y="36"/>
                      </a:cubicBezTo>
                      <a:cubicBezTo>
                        <a:pt x="60" y="36"/>
                        <a:pt x="60" y="37"/>
                        <a:pt x="59" y="37"/>
                      </a:cubicBezTo>
                      <a:cubicBezTo>
                        <a:pt x="59" y="37"/>
                        <a:pt x="59" y="38"/>
                        <a:pt x="59" y="38"/>
                      </a:cubicBezTo>
                      <a:cubicBezTo>
                        <a:pt x="58" y="39"/>
                        <a:pt x="58" y="40"/>
                        <a:pt x="57" y="41"/>
                      </a:cubicBezTo>
                      <a:cubicBezTo>
                        <a:pt x="57" y="41"/>
                        <a:pt x="55" y="42"/>
                        <a:pt x="55" y="42"/>
                      </a:cubicBezTo>
                      <a:cubicBezTo>
                        <a:pt x="55" y="43"/>
                        <a:pt x="54" y="43"/>
                        <a:pt x="53" y="43"/>
                      </a:cubicBezTo>
                      <a:cubicBezTo>
                        <a:pt x="53" y="43"/>
                        <a:pt x="52" y="43"/>
                        <a:pt x="52" y="43"/>
                      </a:cubicBezTo>
                      <a:cubicBezTo>
                        <a:pt x="51" y="43"/>
                        <a:pt x="51" y="44"/>
                        <a:pt x="51" y="44"/>
                      </a:cubicBezTo>
                      <a:cubicBezTo>
                        <a:pt x="51" y="44"/>
                        <a:pt x="50" y="44"/>
                        <a:pt x="50" y="44"/>
                      </a:cubicBezTo>
                      <a:cubicBezTo>
                        <a:pt x="49" y="44"/>
                        <a:pt x="48" y="44"/>
                        <a:pt x="48" y="45"/>
                      </a:cubicBezTo>
                      <a:cubicBezTo>
                        <a:pt x="47" y="45"/>
                        <a:pt x="47" y="45"/>
                        <a:pt x="47" y="45"/>
                      </a:cubicBezTo>
                      <a:cubicBezTo>
                        <a:pt x="47" y="45"/>
                        <a:pt x="47" y="45"/>
                        <a:pt x="47" y="45"/>
                      </a:cubicBezTo>
                      <a:cubicBezTo>
                        <a:pt x="47" y="45"/>
                        <a:pt x="46" y="45"/>
                        <a:pt x="46" y="45"/>
                      </a:cubicBezTo>
                      <a:cubicBezTo>
                        <a:pt x="46" y="45"/>
                        <a:pt x="45" y="45"/>
                        <a:pt x="45" y="45"/>
                      </a:cubicBezTo>
                      <a:cubicBezTo>
                        <a:pt x="45" y="45"/>
                        <a:pt x="45" y="45"/>
                        <a:pt x="44" y="45"/>
                      </a:cubicBezTo>
                      <a:cubicBezTo>
                        <a:pt x="44" y="45"/>
                        <a:pt x="43" y="45"/>
                        <a:pt x="43" y="45"/>
                      </a:cubicBezTo>
                      <a:cubicBezTo>
                        <a:pt x="43" y="45"/>
                        <a:pt x="43" y="45"/>
                        <a:pt x="42" y="45"/>
                      </a:cubicBezTo>
                      <a:cubicBezTo>
                        <a:pt x="42" y="45"/>
                        <a:pt x="42" y="45"/>
                        <a:pt x="42" y="45"/>
                      </a:cubicBezTo>
                      <a:cubicBezTo>
                        <a:pt x="42" y="45"/>
                        <a:pt x="42" y="46"/>
                        <a:pt x="41" y="46"/>
                      </a:cubicBezTo>
                      <a:cubicBezTo>
                        <a:pt x="41" y="46"/>
                        <a:pt x="40" y="47"/>
                        <a:pt x="40" y="47"/>
                      </a:cubicBezTo>
                      <a:cubicBezTo>
                        <a:pt x="39" y="47"/>
                        <a:pt x="39" y="47"/>
                        <a:pt x="39" y="47"/>
                      </a:cubicBezTo>
                      <a:cubicBezTo>
                        <a:pt x="38" y="47"/>
                        <a:pt x="37" y="47"/>
                        <a:pt x="37" y="47"/>
                      </a:cubicBezTo>
                      <a:cubicBezTo>
                        <a:pt x="37" y="48"/>
                        <a:pt x="36" y="48"/>
                        <a:pt x="36" y="48"/>
                      </a:cubicBezTo>
                      <a:cubicBezTo>
                        <a:pt x="35" y="48"/>
                        <a:pt x="35" y="48"/>
                        <a:pt x="35" y="48"/>
                      </a:cubicBezTo>
                      <a:cubicBezTo>
                        <a:pt x="34" y="49"/>
                        <a:pt x="34" y="49"/>
                        <a:pt x="34" y="49"/>
                      </a:cubicBezTo>
                      <a:cubicBezTo>
                        <a:pt x="34" y="49"/>
                        <a:pt x="33" y="50"/>
                        <a:pt x="33" y="50"/>
                      </a:cubicBezTo>
                      <a:cubicBezTo>
                        <a:pt x="33" y="50"/>
                        <a:pt x="32" y="50"/>
                        <a:pt x="31" y="50"/>
                      </a:cubicBezTo>
                      <a:cubicBezTo>
                        <a:pt x="31" y="50"/>
                        <a:pt x="30" y="50"/>
                        <a:pt x="30" y="50"/>
                      </a:cubicBezTo>
                      <a:cubicBezTo>
                        <a:pt x="29" y="50"/>
                        <a:pt x="29" y="50"/>
                        <a:pt x="29" y="50"/>
                      </a:cubicBezTo>
                      <a:cubicBezTo>
                        <a:pt x="29" y="50"/>
                        <a:pt x="29" y="49"/>
                        <a:pt x="29" y="49"/>
                      </a:cubicBezTo>
                      <a:cubicBezTo>
                        <a:pt x="28" y="49"/>
                        <a:pt x="28" y="50"/>
                        <a:pt x="28" y="50"/>
                      </a:cubicBezTo>
                      <a:cubicBezTo>
                        <a:pt x="27" y="50"/>
                        <a:pt x="27" y="50"/>
                        <a:pt x="27" y="50"/>
                      </a:cubicBezTo>
                      <a:cubicBezTo>
                        <a:pt x="27" y="50"/>
                        <a:pt x="27" y="50"/>
                        <a:pt x="27" y="50"/>
                      </a:cubicBezTo>
                      <a:cubicBezTo>
                        <a:pt x="27" y="50"/>
                        <a:pt x="27" y="49"/>
                        <a:pt x="27" y="49"/>
                      </a:cubicBezTo>
                      <a:cubicBezTo>
                        <a:pt x="27" y="49"/>
                        <a:pt x="27" y="49"/>
                        <a:pt x="27" y="49"/>
                      </a:cubicBezTo>
                      <a:cubicBezTo>
                        <a:pt x="27" y="49"/>
                        <a:pt x="26" y="49"/>
                        <a:pt x="26" y="50"/>
                      </a:cubicBezTo>
                      <a:cubicBezTo>
                        <a:pt x="26" y="50"/>
                        <a:pt x="26" y="50"/>
                        <a:pt x="26" y="50"/>
                      </a:cubicBezTo>
                      <a:cubicBezTo>
                        <a:pt x="26" y="50"/>
                        <a:pt x="26" y="50"/>
                        <a:pt x="26" y="50"/>
                      </a:cubicBezTo>
                      <a:cubicBezTo>
                        <a:pt x="26" y="50"/>
                        <a:pt x="26" y="50"/>
                        <a:pt x="25" y="50"/>
                      </a:cubicBezTo>
                      <a:cubicBezTo>
                        <a:pt x="25" y="50"/>
                        <a:pt x="25" y="50"/>
                        <a:pt x="25" y="50"/>
                      </a:cubicBezTo>
                      <a:cubicBezTo>
                        <a:pt x="25" y="50"/>
                        <a:pt x="24" y="51"/>
                        <a:pt x="24" y="51"/>
                      </a:cubicBezTo>
                      <a:cubicBezTo>
                        <a:pt x="24" y="51"/>
                        <a:pt x="24" y="51"/>
                        <a:pt x="23" y="51"/>
                      </a:cubicBezTo>
                      <a:cubicBezTo>
                        <a:pt x="23" y="51"/>
                        <a:pt x="23" y="51"/>
                        <a:pt x="23" y="51"/>
                      </a:cubicBezTo>
                      <a:cubicBezTo>
                        <a:pt x="23" y="51"/>
                        <a:pt x="23" y="52"/>
                        <a:pt x="23" y="52"/>
                      </a:cubicBezTo>
                      <a:cubicBezTo>
                        <a:pt x="22" y="52"/>
                        <a:pt x="22" y="52"/>
                        <a:pt x="22" y="52"/>
                      </a:cubicBezTo>
                      <a:cubicBezTo>
                        <a:pt x="22" y="52"/>
                        <a:pt x="22" y="52"/>
                        <a:pt x="21" y="52"/>
                      </a:cubicBezTo>
                      <a:cubicBezTo>
                        <a:pt x="21" y="52"/>
                        <a:pt x="21" y="53"/>
                        <a:pt x="21" y="53"/>
                      </a:cubicBezTo>
                      <a:cubicBezTo>
                        <a:pt x="20" y="53"/>
                        <a:pt x="21" y="53"/>
                        <a:pt x="20" y="53"/>
                      </a:cubicBezTo>
                      <a:cubicBezTo>
                        <a:pt x="20" y="54"/>
                        <a:pt x="20" y="54"/>
                        <a:pt x="20" y="54"/>
                      </a:cubicBezTo>
                      <a:cubicBezTo>
                        <a:pt x="20" y="54"/>
                        <a:pt x="19" y="54"/>
                        <a:pt x="19" y="54"/>
                      </a:cubicBezTo>
                      <a:cubicBezTo>
                        <a:pt x="19" y="54"/>
                        <a:pt x="19" y="55"/>
                        <a:pt x="18" y="55"/>
                      </a:cubicBezTo>
                      <a:cubicBezTo>
                        <a:pt x="18" y="55"/>
                        <a:pt x="18" y="56"/>
                        <a:pt x="18" y="56"/>
                      </a:cubicBezTo>
                      <a:cubicBezTo>
                        <a:pt x="18" y="56"/>
                        <a:pt x="17" y="56"/>
                        <a:pt x="17" y="56"/>
                      </a:cubicBezTo>
                      <a:cubicBezTo>
                        <a:pt x="17" y="56"/>
                        <a:pt x="16" y="56"/>
                        <a:pt x="16" y="56"/>
                      </a:cubicBezTo>
                      <a:cubicBezTo>
                        <a:pt x="16" y="56"/>
                        <a:pt x="16" y="57"/>
                        <a:pt x="16" y="57"/>
                      </a:cubicBezTo>
                      <a:cubicBezTo>
                        <a:pt x="16" y="57"/>
                        <a:pt x="15" y="57"/>
                        <a:pt x="15" y="57"/>
                      </a:cubicBezTo>
                      <a:cubicBezTo>
                        <a:pt x="15" y="57"/>
                        <a:pt x="14" y="57"/>
                        <a:pt x="14" y="57"/>
                      </a:cubicBezTo>
                      <a:cubicBezTo>
                        <a:pt x="14" y="57"/>
                        <a:pt x="13" y="58"/>
                        <a:pt x="13" y="58"/>
                      </a:cubicBezTo>
                      <a:cubicBezTo>
                        <a:pt x="12" y="58"/>
                        <a:pt x="12" y="58"/>
                        <a:pt x="12" y="59"/>
                      </a:cubicBezTo>
                      <a:cubicBezTo>
                        <a:pt x="12" y="59"/>
                        <a:pt x="11" y="60"/>
                        <a:pt x="11" y="60"/>
                      </a:cubicBezTo>
                      <a:cubicBezTo>
                        <a:pt x="11" y="60"/>
                        <a:pt x="11" y="61"/>
                        <a:pt x="10" y="62"/>
                      </a:cubicBezTo>
                      <a:cubicBezTo>
                        <a:pt x="10" y="62"/>
                        <a:pt x="10" y="63"/>
                        <a:pt x="10" y="63"/>
                      </a:cubicBezTo>
                      <a:cubicBezTo>
                        <a:pt x="10" y="63"/>
                        <a:pt x="10" y="63"/>
                        <a:pt x="10" y="63"/>
                      </a:cubicBezTo>
                      <a:cubicBezTo>
                        <a:pt x="10" y="63"/>
                        <a:pt x="9" y="63"/>
                        <a:pt x="9" y="63"/>
                      </a:cubicBezTo>
                      <a:cubicBezTo>
                        <a:pt x="9" y="63"/>
                        <a:pt x="9" y="63"/>
                        <a:pt x="9" y="63"/>
                      </a:cubicBezTo>
                      <a:cubicBezTo>
                        <a:pt x="9" y="62"/>
                        <a:pt x="9" y="62"/>
                        <a:pt x="8" y="62"/>
                      </a:cubicBezTo>
                      <a:cubicBezTo>
                        <a:pt x="8" y="62"/>
                        <a:pt x="8" y="61"/>
                        <a:pt x="8" y="61"/>
                      </a:cubicBezTo>
                      <a:cubicBezTo>
                        <a:pt x="8" y="61"/>
                        <a:pt x="8" y="60"/>
                        <a:pt x="8" y="60"/>
                      </a:cubicBezTo>
                      <a:cubicBezTo>
                        <a:pt x="8" y="60"/>
                        <a:pt x="8" y="60"/>
                        <a:pt x="9" y="59"/>
                      </a:cubicBezTo>
                      <a:cubicBezTo>
                        <a:pt x="9" y="59"/>
                        <a:pt x="9" y="58"/>
                        <a:pt x="8" y="58"/>
                      </a:cubicBezTo>
                      <a:cubicBezTo>
                        <a:pt x="8" y="58"/>
                        <a:pt x="8" y="58"/>
                        <a:pt x="8" y="59"/>
                      </a:cubicBezTo>
                      <a:cubicBezTo>
                        <a:pt x="7" y="59"/>
                        <a:pt x="7" y="60"/>
                        <a:pt x="7" y="60"/>
                      </a:cubicBezTo>
                      <a:cubicBezTo>
                        <a:pt x="7" y="60"/>
                        <a:pt x="7" y="61"/>
                        <a:pt x="6" y="62"/>
                      </a:cubicBezTo>
                      <a:cubicBezTo>
                        <a:pt x="6" y="62"/>
                        <a:pt x="6" y="62"/>
                        <a:pt x="6" y="63"/>
                      </a:cubicBezTo>
                      <a:cubicBezTo>
                        <a:pt x="6" y="63"/>
                        <a:pt x="5" y="63"/>
                        <a:pt x="5" y="64"/>
                      </a:cubicBezTo>
                      <a:cubicBezTo>
                        <a:pt x="5" y="64"/>
                        <a:pt x="5" y="64"/>
                        <a:pt x="6" y="65"/>
                      </a:cubicBezTo>
                      <a:cubicBezTo>
                        <a:pt x="6" y="65"/>
                        <a:pt x="6" y="65"/>
                        <a:pt x="6" y="66"/>
                      </a:cubicBezTo>
                      <a:cubicBezTo>
                        <a:pt x="6" y="66"/>
                        <a:pt x="6" y="67"/>
                        <a:pt x="6" y="67"/>
                      </a:cubicBezTo>
                      <a:cubicBezTo>
                        <a:pt x="6" y="68"/>
                        <a:pt x="6" y="68"/>
                        <a:pt x="6" y="68"/>
                      </a:cubicBezTo>
                      <a:cubicBezTo>
                        <a:pt x="6" y="68"/>
                        <a:pt x="6" y="69"/>
                        <a:pt x="6" y="69"/>
                      </a:cubicBezTo>
                      <a:cubicBezTo>
                        <a:pt x="6" y="70"/>
                        <a:pt x="6" y="70"/>
                        <a:pt x="6" y="71"/>
                      </a:cubicBezTo>
                      <a:cubicBezTo>
                        <a:pt x="6" y="71"/>
                        <a:pt x="5" y="71"/>
                        <a:pt x="5" y="72"/>
                      </a:cubicBezTo>
                      <a:cubicBezTo>
                        <a:pt x="5" y="72"/>
                        <a:pt x="5" y="72"/>
                        <a:pt x="5" y="72"/>
                      </a:cubicBezTo>
                      <a:cubicBezTo>
                        <a:pt x="5" y="73"/>
                        <a:pt x="4" y="73"/>
                        <a:pt x="4" y="73"/>
                      </a:cubicBezTo>
                      <a:cubicBezTo>
                        <a:pt x="4" y="74"/>
                        <a:pt x="4" y="74"/>
                        <a:pt x="4" y="75"/>
                      </a:cubicBezTo>
                      <a:cubicBezTo>
                        <a:pt x="4" y="75"/>
                        <a:pt x="4" y="76"/>
                        <a:pt x="4" y="76"/>
                      </a:cubicBezTo>
                      <a:cubicBezTo>
                        <a:pt x="3" y="77"/>
                        <a:pt x="3" y="77"/>
                        <a:pt x="3" y="78"/>
                      </a:cubicBezTo>
                      <a:cubicBezTo>
                        <a:pt x="3" y="78"/>
                        <a:pt x="4" y="78"/>
                        <a:pt x="4" y="79"/>
                      </a:cubicBezTo>
                      <a:cubicBezTo>
                        <a:pt x="4" y="79"/>
                        <a:pt x="5" y="79"/>
                        <a:pt x="5" y="80"/>
                      </a:cubicBezTo>
                      <a:cubicBezTo>
                        <a:pt x="5" y="80"/>
                        <a:pt x="5" y="80"/>
                        <a:pt x="5" y="80"/>
                      </a:cubicBezTo>
                      <a:cubicBezTo>
                        <a:pt x="5" y="81"/>
                        <a:pt x="5" y="81"/>
                        <a:pt x="5" y="81"/>
                      </a:cubicBezTo>
                      <a:cubicBezTo>
                        <a:pt x="5" y="81"/>
                        <a:pt x="5" y="82"/>
                        <a:pt x="5" y="82"/>
                      </a:cubicBezTo>
                      <a:cubicBezTo>
                        <a:pt x="5" y="82"/>
                        <a:pt x="6" y="83"/>
                        <a:pt x="6" y="83"/>
                      </a:cubicBezTo>
                      <a:cubicBezTo>
                        <a:pt x="6" y="83"/>
                        <a:pt x="7" y="84"/>
                        <a:pt x="7" y="84"/>
                      </a:cubicBezTo>
                      <a:cubicBezTo>
                        <a:pt x="7" y="85"/>
                        <a:pt x="7" y="85"/>
                        <a:pt x="7" y="85"/>
                      </a:cubicBezTo>
                      <a:cubicBezTo>
                        <a:pt x="7" y="86"/>
                        <a:pt x="8" y="86"/>
                        <a:pt x="8" y="87"/>
                      </a:cubicBezTo>
                      <a:cubicBezTo>
                        <a:pt x="8" y="88"/>
                        <a:pt x="9" y="88"/>
                        <a:pt x="9" y="89"/>
                      </a:cubicBezTo>
                      <a:cubicBezTo>
                        <a:pt x="9" y="89"/>
                        <a:pt x="9" y="89"/>
                        <a:pt x="9" y="89"/>
                      </a:cubicBezTo>
                      <a:cubicBezTo>
                        <a:pt x="9" y="89"/>
                        <a:pt x="9" y="89"/>
                        <a:pt x="9" y="90"/>
                      </a:cubicBezTo>
                      <a:cubicBezTo>
                        <a:pt x="9" y="90"/>
                        <a:pt x="9" y="90"/>
                        <a:pt x="9" y="90"/>
                      </a:cubicBezTo>
                      <a:cubicBezTo>
                        <a:pt x="9" y="90"/>
                        <a:pt x="9" y="91"/>
                        <a:pt x="9" y="91"/>
                      </a:cubicBezTo>
                      <a:cubicBezTo>
                        <a:pt x="9" y="91"/>
                        <a:pt x="9" y="91"/>
                        <a:pt x="9" y="91"/>
                      </a:cubicBezTo>
                      <a:cubicBezTo>
                        <a:pt x="9" y="92"/>
                        <a:pt x="9" y="92"/>
                        <a:pt x="9" y="92"/>
                      </a:cubicBezTo>
                      <a:cubicBezTo>
                        <a:pt x="8" y="93"/>
                        <a:pt x="8" y="93"/>
                        <a:pt x="8" y="93"/>
                      </a:cubicBezTo>
                      <a:cubicBezTo>
                        <a:pt x="8" y="93"/>
                        <a:pt x="8" y="93"/>
                        <a:pt x="8" y="93"/>
                      </a:cubicBezTo>
                      <a:cubicBezTo>
                        <a:pt x="8" y="93"/>
                        <a:pt x="7" y="92"/>
                        <a:pt x="7" y="92"/>
                      </a:cubicBezTo>
                      <a:cubicBezTo>
                        <a:pt x="7" y="92"/>
                        <a:pt x="7" y="91"/>
                        <a:pt x="7" y="91"/>
                      </a:cubicBezTo>
                      <a:cubicBezTo>
                        <a:pt x="7" y="91"/>
                        <a:pt x="7" y="91"/>
                        <a:pt x="7" y="90"/>
                      </a:cubicBezTo>
                      <a:cubicBezTo>
                        <a:pt x="7" y="90"/>
                        <a:pt x="7" y="90"/>
                        <a:pt x="6" y="90"/>
                      </a:cubicBezTo>
                      <a:cubicBezTo>
                        <a:pt x="6" y="90"/>
                        <a:pt x="6" y="91"/>
                        <a:pt x="6" y="91"/>
                      </a:cubicBezTo>
                      <a:cubicBezTo>
                        <a:pt x="6" y="91"/>
                        <a:pt x="6" y="91"/>
                        <a:pt x="6" y="91"/>
                      </a:cubicBezTo>
                      <a:cubicBezTo>
                        <a:pt x="6" y="91"/>
                        <a:pt x="7" y="92"/>
                        <a:pt x="7" y="92"/>
                      </a:cubicBezTo>
                      <a:cubicBezTo>
                        <a:pt x="7" y="92"/>
                        <a:pt x="7" y="93"/>
                        <a:pt x="7" y="93"/>
                      </a:cubicBezTo>
                      <a:cubicBezTo>
                        <a:pt x="6" y="94"/>
                        <a:pt x="6" y="94"/>
                        <a:pt x="6" y="94"/>
                      </a:cubicBezTo>
                      <a:cubicBezTo>
                        <a:pt x="6" y="94"/>
                        <a:pt x="6" y="94"/>
                        <a:pt x="5" y="94"/>
                      </a:cubicBezTo>
                      <a:cubicBezTo>
                        <a:pt x="5" y="94"/>
                        <a:pt x="5" y="94"/>
                        <a:pt x="5" y="94"/>
                      </a:cubicBezTo>
                      <a:cubicBezTo>
                        <a:pt x="5" y="93"/>
                        <a:pt x="5" y="92"/>
                        <a:pt x="5" y="92"/>
                      </a:cubicBezTo>
                      <a:cubicBezTo>
                        <a:pt x="5" y="92"/>
                        <a:pt x="4" y="91"/>
                        <a:pt x="4" y="91"/>
                      </a:cubicBezTo>
                      <a:cubicBezTo>
                        <a:pt x="4" y="91"/>
                        <a:pt x="4" y="90"/>
                        <a:pt x="4" y="90"/>
                      </a:cubicBezTo>
                      <a:cubicBezTo>
                        <a:pt x="3" y="90"/>
                        <a:pt x="3" y="91"/>
                        <a:pt x="3" y="91"/>
                      </a:cubicBezTo>
                      <a:cubicBezTo>
                        <a:pt x="3" y="91"/>
                        <a:pt x="3" y="91"/>
                        <a:pt x="3" y="91"/>
                      </a:cubicBezTo>
                      <a:cubicBezTo>
                        <a:pt x="3" y="91"/>
                        <a:pt x="3" y="90"/>
                        <a:pt x="3" y="90"/>
                      </a:cubicBezTo>
                      <a:cubicBezTo>
                        <a:pt x="3" y="89"/>
                        <a:pt x="3" y="90"/>
                        <a:pt x="3" y="90"/>
                      </a:cubicBezTo>
                      <a:cubicBezTo>
                        <a:pt x="3" y="90"/>
                        <a:pt x="2" y="90"/>
                        <a:pt x="2" y="90"/>
                      </a:cubicBezTo>
                      <a:cubicBezTo>
                        <a:pt x="2" y="91"/>
                        <a:pt x="2" y="91"/>
                        <a:pt x="2" y="91"/>
                      </a:cubicBezTo>
                      <a:cubicBezTo>
                        <a:pt x="2" y="91"/>
                        <a:pt x="2" y="91"/>
                        <a:pt x="2" y="92"/>
                      </a:cubicBezTo>
                      <a:cubicBezTo>
                        <a:pt x="3" y="92"/>
                        <a:pt x="2" y="92"/>
                        <a:pt x="3" y="92"/>
                      </a:cubicBezTo>
                      <a:cubicBezTo>
                        <a:pt x="3" y="93"/>
                        <a:pt x="4" y="93"/>
                        <a:pt x="4" y="94"/>
                      </a:cubicBezTo>
                      <a:cubicBezTo>
                        <a:pt x="5" y="95"/>
                        <a:pt x="6" y="96"/>
                        <a:pt x="6" y="97"/>
                      </a:cubicBezTo>
                      <a:cubicBezTo>
                        <a:pt x="7" y="98"/>
                        <a:pt x="8" y="99"/>
                        <a:pt x="8" y="99"/>
                      </a:cubicBezTo>
                      <a:cubicBezTo>
                        <a:pt x="8" y="100"/>
                        <a:pt x="8" y="102"/>
                        <a:pt x="9" y="102"/>
                      </a:cubicBezTo>
                      <a:cubicBezTo>
                        <a:pt x="9" y="103"/>
                        <a:pt x="8" y="103"/>
                        <a:pt x="8" y="103"/>
                      </a:cubicBezTo>
                      <a:cubicBezTo>
                        <a:pt x="8" y="103"/>
                        <a:pt x="8" y="104"/>
                        <a:pt x="8" y="104"/>
                      </a:cubicBezTo>
                      <a:cubicBezTo>
                        <a:pt x="9" y="104"/>
                        <a:pt x="9" y="104"/>
                        <a:pt x="9" y="105"/>
                      </a:cubicBezTo>
                      <a:cubicBezTo>
                        <a:pt x="9" y="106"/>
                        <a:pt x="9" y="105"/>
                        <a:pt x="9" y="106"/>
                      </a:cubicBezTo>
                      <a:cubicBezTo>
                        <a:pt x="9" y="106"/>
                        <a:pt x="10" y="106"/>
                        <a:pt x="10" y="107"/>
                      </a:cubicBezTo>
                      <a:cubicBezTo>
                        <a:pt x="10" y="107"/>
                        <a:pt x="10" y="107"/>
                        <a:pt x="11" y="108"/>
                      </a:cubicBezTo>
                      <a:cubicBezTo>
                        <a:pt x="11" y="108"/>
                        <a:pt x="11" y="108"/>
                        <a:pt x="11" y="109"/>
                      </a:cubicBezTo>
                      <a:cubicBezTo>
                        <a:pt x="11" y="109"/>
                        <a:pt x="11" y="110"/>
                        <a:pt x="11" y="110"/>
                      </a:cubicBezTo>
                      <a:cubicBezTo>
                        <a:pt x="11" y="111"/>
                        <a:pt x="12" y="112"/>
                        <a:pt x="12" y="112"/>
                      </a:cubicBezTo>
                      <a:cubicBezTo>
                        <a:pt x="13" y="113"/>
                        <a:pt x="13" y="113"/>
                        <a:pt x="13" y="114"/>
                      </a:cubicBezTo>
                      <a:cubicBezTo>
                        <a:pt x="13" y="114"/>
                        <a:pt x="14" y="114"/>
                        <a:pt x="14" y="115"/>
                      </a:cubicBezTo>
                      <a:cubicBezTo>
                        <a:pt x="14" y="115"/>
                        <a:pt x="14" y="115"/>
                        <a:pt x="14" y="116"/>
                      </a:cubicBezTo>
                      <a:cubicBezTo>
                        <a:pt x="14" y="116"/>
                        <a:pt x="14" y="116"/>
                        <a:pt x="14" y="117"/>
                      </a:cubicBezTo>
                      <a:cubicBezTo>
                        <a:pt x="14" y="117"/>
                        <a:pt x="14" y="118"/>
                        <a:pt x="14" y="118"/>
                      </a:cubicBezTo>
                      <a:cubicBezTo>
                        <a:pt x="14" y="119"/>
                        <a:pt x="14" y="121"/>
                        <a:pt x="14" y="122"/>
                      </a:cubicBezTo>
                      <a:cubicBezTo>
                        <a:pt x="14" y="122"/>
                        <a:pt x="15" y="124"/>
                        <a:pt x="15" y="125"/>
                      </a:cubicBezTo>
                      <a:cubicBezTo>
                        <a:pt x="15" y="126"/>
                        <a:pt x="16" y="127"/>
                        <a:pt x="16" y="127"/>
                      </a:cubicBezTo>
                      <a:cubicBezTo>
                        <a:pt x="16" y="127"/>
                        <a:pt x="17" y="129"/>
                        <a:pt x="18" y="130"/>
                      </a:cubicBezTo>
                      <a:cubicBezTo>
                        <a:pt x="18" y="131"/>
                        <a:pt x="18" y="132"/>
                        <a:pt x="19" y="133"/>
                      </a:cubicBezTo>
                      <a:cubicBezTo>
                        <a:pt x="19" y="133"/>
                        <a:pt x="19" y="134"/>
                        <a:pt x="19" y="135"/>
                      </a:cubicBezTo>
                      <a:cubicBezTo>
                        <a:pt x="19" y="135"/>
                        <a:pt x="19" y="136"/>
                        <a:pt x="19" y="137"/>
                      </a:cubicBezTo>
                      <a:cubicBezTo>
                        <a:pt x="20" y="137"/>
                        <a:pt x="19" y="138"/>
                        <a:pt x="19" y="138"/>
                      </a:cubicBezTo>
                      <a:cubicBezTo>
                        <a:pt x="19" y="138"/>
                        <a:pt x="19" y="139"/>
                        <a:pt x="19" y="139"/>
                      </a:cubicBezTo>
                      <a:cubicBezTo>
                        <a:pt x="19" y="140"/>
                        <a:pt x="19" y="140"/>
                        <a:pt x="19" y="141"/>
                      </a:cubicBezTo>
                      <a:cubicBezTo>
                        <a:pt x="18" y="141"/>
                        <a:pt x="18" y="142"/>
                        <a:pt x="19" y="142"/>
                      </a:cubicBezTo>
                      <a:cubicBezTo>
                        <a:pt x="19" y="142"/>
                        <a:pt x="19" y="142"/>
                        <a:pt x="19" y="143"/>
                      </a:cubicBezTo>
                      <a:cubicBezTo>
                        <a:pt x="19" y="143"/>
                        <a:pt x="19" y="144"/>
                        <a:pt x="19" y="144"/>
                      </a:cubicBezTo>
                      <a:cubicBezTo>
                        <a:pt x="19" y="145"/>
                        <a:pt x="19" y="146"/>
                        <a:pt x="19" y="146"/>
                      </a:cubicBezTo>
                      <a:cubicBezTo>
                        <a:pt x="19" y="147"/>
                        <a:pt x="19" y="147"/>
                        <a:pt x="18" y="147"/>
                      </a:cubicBezTo>
                      <a:cubicBezTo>
                        <a:pt x="18" y="148"/>
                        <a:pt x="18" y="149"/>
                        <a:pt x="18" y="149"/>
                      </a:cubicBezTo>
                      <a:cubicBezTo>
                        <a:pt x="17" y="149"/>
                        <a:pt x="17" y="149"/>
                        <a:pt x="16" y="150"/>
                      </a:cubicBezTo>
                      <a:cubicBezTo>
                        <a:pt x="16" y="150"/>
                        <a:pt x="15" y="149"/>
                        <a:pt x="15" y="149"/>
                      </a:cubicBezTo>
                      <a:cubicBezTo>
                        <a:pt x="15" y="149"/>
                        <a:pt x="15" y="149"/>
                        <a:pt x="15" y="149"/>
                      </a:cubicBezTo>
                      <a:cubicBezTo>
                        <a:pt x="14" y="149"/>
                        <a:pt x="15" y="149"/>
                        <a:pt x="14" y="150"/>
                      </a:cubicBezTo>
                      <a:cubicBezTo>
                        <a:pt x="14" y="150"/>
                        <a:pt x="14" y="150"/>
                        <a:pt x="14" y="151"/>
                      </a:cubicBezTo>
                      <a:cubicBezTo>
                        <a:pt x="14" y="151"/>
                        <a:pt x="14" y="153"/>
                        <a:pt x="15" y="153"/>
                      </a:cubicBezTo>
                      <a:cubicBezTo>
                        <a:pt x="15" y="153"/>
                        <a:pt x="15" y="153"/>
                        <a:pt x="15" y="154"/>
                      </a:cubicBezTo>
                      <a:cubicBezTo>
                        <a:pt x="15" y="154"/>
                        <a:pt x="15" y="155"/>
                        <a:pt x="15" y="155"/>
                      </a:cubicBezTo>
                      <a:cubicBezTo>
                        <a:pt x="15" y="155"/>
                        <a:pt x="15" y="155"/>
                        <a:pt x="16" y="155"/>
                      </a:cubicBezTo>
                      <a:cubicBezTo>
                        <a:pt x="16" y="155"/>
                        <a:pt x="16" y="155"/>
                        <a:pt x="16" y="155"/>
                      </a:cubicBezTo>
                      <a:cubicBezTo>
                        <a:pt x="17" y="155"/>
                        <a:pt x="17" y="155"/>
                        <a:pt x="17" y="155"/>
                      </a:cubicBezTo>
                      <a:cubicBezTo>
                        <a:pt x="17" y="155"/>
                        <a:pt x="18" y="155"/>
                        <a:pt x="18" y="156"/>
                      </a:cubicBezTo>
                      <a:cubicBezTo>
                        <a:pt x="18" y="156"/>
                        <a:pt x="19" y="156"/>
                        <a:pt x="19" y="157"/>
                      </a:cubicBezTo>
                      <a:cubicBezTo>
                        <a:pt x="20" y="157"/>
                        <a:pt x="20" y="158"/>
                        <a:pt x="21" y="158"/>
                      </a:cubicBezTo>
                      <a:cubicBezTo>
                        <a:pt x="21" y="159"/>
                        <a:pt x="21" y="159"/>
                        <a:pt x="21" y="159"/>
                      </a:cubicBezTo>
                      <a:cubicBezTo>
                        <a:pt x="21" y="159"/>
                        <a:pt x="22" y="159"/>
                        <a:pt x="22" y="159"/>
                      </a:cubicBezTo>
                      <a:cubicBezTo>
                        <a:pt x="22" y="159"/>
                        <a:pt x="23" y="160"/>
                        <a:pt x="24" y="160"/>
                      </a:cubicBezTo>
                      <a:cubicBezTo>
                        <a:pt x="24" y="160"/>
                        <a:pt x="25" y="161"/>
                        <a:pt x="25" y="161"/>
                      </a:cubicBezTo>
                      <a:cubicBezTo>
                        <a:pt x="25" y="161"/>
                        <a:pt x="26" y="161"/>
                        <a:pt x="26" y="161"/>
                      </a:cubicBezTo>
                      <a:cubicBezTo>
                        <a:pt x="26" y="161"/>
                        <a:pt x="27" y="161"/>
                        <a:pt x="27" y="161"/>
                      </a:cubicBezTo>
                      <a:cubicBezTo>
                        <a:pt x="27" y="161"/>
                        <a:pt x="28" y="161"/>
                        <a:pt x="28" y="161"/>
                      </a:cubicBezTo>
                      <a:cubicBezTo>
                        <a:pt x="28" y="161"/>
                        <a:pt x="28" y="161"/>
                        <a:pt x="28" y="161"/>
                      </a:cubicBezTo>
                      <a:cubicBezTo>
                        <a:pt x="28" y="161"/>
                        <a:pt x="29" y="161"/>
                        <a:pt x="29" y="161"/>
                      </a:cubicBezTo>
                      <a:cubicBezTo>
                        <a:pt x="29" y="161"/>
                        <a:pt x="30" y="161"/>
                        <a:pt x="30" y="161"/>
                      </a:cubicBezTo>
                      <a:cubicBezTo>
                        <a:pt x="30" y="161"/>
                        <a:pt x="30" y="160"/>
                        <a:pt x="31" y="160"/>
                      </a:cubicBezTo>
                      <a:cubicBezTo>
                        <a:pt x="31" y="160"/>
                        <a:pt x="31" y="160"/>
                        <a:pt x="31" y="160"/>
                      </a:cubicBezTo>
                      <a:cubicBezTo>
                        <a:pt x="31" y="160"/>
                        <a:pt x="31" y="161"/>
                        <a:pt x="31" y="161"/>
                      </a:cubicBezTo>
                      <a:cubicBezTo>
                        <a:pt x="31" y="161"/>
                        <a:pt x="31" y="161"/>
                        <a:pt x="31" y="161"/>
                      </a:cubicBezTo>
                      <a:cubicBezTo>
                        <a:pt x="31" y="161"/>
                        <a:pt x="32" y="162"/>
                        <a:pt x="32" y="162"/>
                      </a:cubicBezTo>
                      <a:cubicBezTo>
                        <a:pt x="32" y="161"/>
                        <a:pt x="32" y="161"/>
                        <a:pt x="32" y="161"/>
                      </a:cubicBezTo>
                      <a:cubicBezTo>
                        <a:pt x="32" y="161"/>
                        <a:pt x="32" y="161"/>
                        <a:pt x="33" y="161"/>
                      </a:cubicBezTo>
                      <a:cubicBezTo>
                        <a:pt x="33" y="161"/>
                        <a:pt x="33" y="161"/>
                        <a:pt x="33" y="161"/>
                      </a:cubicBezTo>
                      <a:cubicBezTo>
                        <a:pt x="33" y="161"/>
                        <a:pt x="34" y="162"/>
                        <a:pt x="34" y="162"/>
                      </a:cubicBezTo>
                      <a:cubicBezTo>
                        <a:pt x="34" y="161"/>
                        <a:pt x="34" y="161"/>
                        <a:pt x="34" y="161"/>
                      </a:cubicBezTo>
                      <a:cubicBezTo>
                        <a:pt x="34" y="161"/>
                        <a:pt x="34" y="161"/>
                        <a:pt x="35" y="161"/>
                      </a:cubicBezTo>
                      <a:cubicBezTo>
                        <a:pt x="35" y="160"/>
                        <a:pt x="35" y="160"/>
                        <a:pt x="36" y="160"/>
                      </a:cubicBezTo>
                      <a:cubicBezTo>
                        <a:pt x="36" y="160"/>
                        <a:pt x="36" y="160"/>
                        <a:pt x="36" y="160"/>
                      </a:cubicBezTo>
                      <a:cubicBezTo>
                        <a:pt x="36" y="160"/>
                        <a:pt x="37" y="160"/>
                        <a:pt x="37" y="160"/>
                      </a:cubicBezTo>
                      <a:cubicBezTo>
                        <a:pt x="38" y="160"/>
                        <a:pt x="38" y="159"/>
                        <a:pt x="38" y="159"/>
                      </a:cubicBezTo>
                      <a:cubicBezTo>
                        <a:pt x="38" y="159"/>
                        <a:pt x="38" y="159"/>
                        <a:pt x="38" y="159"/>
                      </a:cubicBezTo>
                      <a:cubicBezTo>
                        <a:pt x="38" y="158"/>
                        <a:pt x="38" y="158"/>
                        <a:pt x="38" y="158"/>
                      </a:cubicBezTo>
                      <a:cubicBezTo>
                        <a:pt x="38" y="158"/>
                        <a:pt x="39" y="158"/>
                        <a:pt x="39" y="158"/>
                      </a:cubicBezTo>
                      <a:cubicBezTo>
                        <a:pt x="39" y="158"/>
                        <a:pt x="40" y="157"/>
                        <a:pt x="40" y="157"/>
                      </a:cubicBezTo>
                      <a:cubicBezTo>
                        <a:pt x="40" y="157"/>
                        <a:pt x="40" y="157"/>
                        <a:pt x="40" y="157"/>
                      </a:cubicBezTo>
                      <a:cubicBezTo>
                        <a:pt x="40" y="156"/>
                        <a:pt x="41" y="156"/>
                        <a:pt x="41" y="156"/>
                      </a:cubicBezTo>
                      <a:cubicBezTo>
                        <a:pt x="41" y="156"/>
                        <a:pt x="41" y="156"/>
                        <a:pt x="41" y="156"/>
                      </a:cubicBezTo>
                      <a:cubicBezTo>
                        <a:pt x="41" y="156"/>
                        <a:pt x="42" y="156"/>
                        <a:pt x="42" y="156"/>
                      </a:cubicBezTo>
                      <a:cubicBezTo>
                        <a:pt x="43" y="156"/>
                        <a:pt x="43" y="156"/>
                        <a:pt x="43" y="156"/>
                      </a:cubicBezTo>
                      <a:cubicBezTo>
                        <a:pt x="43" y="156"/>
                        <a:pt x="43" y="156"/>
                        <a:pt x="43" y="156"/>
                      </a:cubicBezTo>
                      <a:cubicBezTo>
                        <a:pt x="44" y="156"/>
                        <a:pt x="44" y="156"/>
                        <a:pt x="44" y="156"/>
                      </a:cubicBezTo>
                      <a:cubicBezTo>
                        <a:pt x="44" y="156"/>
                        <a:pt x="44" y="156"/>
                        <a:pt x="44" y="156"/>
                      </a:cubicBezTo>
                      <a:cubicBezTo>
                        <a:pt x="44" y="155"/>
                        <a:pt x="44" y="155"/>
                        <a:pt x="44" y="155"/>
                      </a:cubicBezTo>
                      <a:cubicBezTo>
                        <a:pt x="45" y="155"/>
                        <a:pt x="45" y="155"/>
                        <a:pt x="45" y="155"/>
                      </a:cubicBezTo>
                      <a:cubicBezTo>
                        <a:pt x="45" y="155"/>
                        <a:pt x="45" y="154"/>
                        <a:pt x="45" y="154"/>
                      </a:cubicBezTo>
                      <a:cubicBezTo>
                        <a:pt x="45" y="154"/>
                        <a:pt x="45" y="154"/>
                        <a:pt x="45" y="154"/>
                      </a:cubicBezTo>
                      <a:cubicBezTo>
                        <a:pt x="46" y="153"/>
                        <a:pt x="46" y="153"/>
                        <a:pt x="46" y="153"/>
                      </a:cubicBezTo>
                      <a:cubicBezTo>
                        <a:pt x="47" y="153"/>
                        <a:pt x="47" y="152"/>
                        <a:pt x="47" y="152"/>
                      </a:cubicBezTo>
                      <a:cubicBezTo>
                        <a:pt x="47" y="152"/>
                        <a:pt x="48" y="152"/>
                        <a:pt x="48" y="152"/>
                      </a:cubicBezTo>
                      <a:cubicBezTo>
                        <a:pt x="49" y="152"/>
                        <a:pt x="49" y="152"/>
                        <a:pt x="49" y="152"/>
                      </a:cubicBezTo>
                      <a:cubicBezTo>
                        <a:pt x="50" y="152"/>
                        <a:pt x="50" y="152"/>
                        <a:pt x="50" y="152"/>
                      </a:cubicBezTo>
                      <a:cubicBezTo>
                        <a:pt x="51" y="152"/>
                        <a:pt x="51" y="152"/>
                        <a:pt x="51" y="152"/>
                      </a:cubicBezTo>
                      <a:cubicBezTo>
                        <a:pt x="52" y="152"/>
                        <a:pt x="53" y="151"/>
                        <a:pt x="53" y="151"/>
                      </a:cubicBezTo>
                      <a:cubicBezTo>
                        <a:pt x="53" y="151"/>
                        <a:pt x="53" y="151"/>
                        <a:pt x="54" y="151"/>
                      </a:cubicBezTo>
                      <a:cubicBezTo>
                        <a:pt x="54" y="151"/>
                        <a:pt x="54" y="151"/>
                        <a:pt x="54" y="151"/>
                      </a:cubicBezTo>
                      <a:cubicBezTo>
                        <a:pt x="54" y="151"/>
                        <a:pt x="55" y="151"/>
                        <a:pt x="56" y="151"/>
                      </a:cubicBezTo>
                      <a:cubicBezTo>
                        <a:pt x="56" y="151"/>
                        <a:pt x="56" y="151"/>
                        <a:pt x="57" y="151"/>
                      </a:cubicBezTo>
                      <a:cubicBezTo>
                        <a:pt x="57" y="151"/>
                        <a:pt x="57" y="151"/>
                        <a:pt x="58" y="151"/>
                      </a:cubicBezTo>
                      <a:cubicBezTo>
                        <a:pt x="58" y="151"/>
                        <a:pt x="59" y="151"/>
                        <a:pt x="59" y="151"/>
                      </a:cubicBezTo>
                      <a:cubicBezTo>
                        <a:pt x="59" y="151"/>
                        <a:pt x="59" y="151"/>
                        <a:pt x="59" y="151"/>
                      </a:cubicBezTo>
                      <a:cubicBezTo>
                        <a:pt x="59" y="151"/>
                        <a:pt x="60" y="151"/>
                        <a:pt x="60" y="151"/>
                      </a:cubicBezTo>
                      <a:cubicBezTo>
                        <a:pt x="60" y="151"/>
                        <a:pt x="60" y="151"/>
                        <a:pt x="60" y="151"/>
                      </a:cubicBezTo>
                      <a:cubicBezTo>
                        <a:pt x="60" y="151"/>
                        <a:pt x="60" y="151"/>
                        <a:pt x="61" y="151"/>
                      </a:cubicBezTo>
                      <a:cubicBezTo>
                        <a:pt x="61" y="151"/>
                        <a:pt x="61" y="151"/>
                        <a:pt x="62" y="151"/>
                      </a:cubicBezTo>
                      <a:cubicBezTo>
                        <a:pt x="62" y="151"/>
                        <a:pt x="62" y="151"/>
                        <a:pt x="62" y="151"/>
                      </a:cubicBezTo>
                      <a:cubicBezTo>
                        <a:pt x="62" y="151"/>
                        <a:pt x="62" y="152"/>
                        <a:pt x="63" y="152"/>
                      </a:cubicBezTo>
                      <a:cubicBezTo>
                        <a:pt x="63" y="152"/>
                        <a:pt x="63" y="152"/>
                        <a:pt x="63" y="152"/>
                      </a:cubicBezTo>
                      <a:cubicBezTo>
                        <a:pt x="63" y="152"/>
                        <a:pt x="64" y="152"/>
                        <a:pt x="64" y="152"/>
                      </a:cubicBezTo>
                      <a:cubicBezTo>
                        <a:pt x="64" y="152"/>
                        <a:pt x="64" y="152"/>
                        <a:pt x="64" y="152"/>
                      </a:cubicBezTo>
                      <a:cubicBezTo>
                        <a:pt x="64" y="152"/>
                        <a:pt x="65" y="152"/>
                        <a:pt x="65" y="152"/>
                      </a:cubicBezTo>
                      <a:cubicBezTo>
                        <a:pt x="65" y="152"/>
                        <a:pt x="66" y="152"/>
                        <a:pt x="66" y="152"/>
                      </a:cubicBezTo>
                      <a:cubicBezTo>
                        <a:pt x="66" y="152"/>
                        <a:pt x="66" y="151"/>
                        <a:pt x="66" y="151"/>
                      </a:cubicBezTo>
                      <a:cubicBezTo>
                        <a:pt x="66" y="151"/>
                        <a:pt x="67" y="151"/>
                        <a:pt x="67" y="151"/>
                      </a:cubicBezTo>
                      <a:cubicBezTo>
                        <a:pt x="68" y="151"/>
                        <a:pt x="68" y="151"/>
                        <a:pt x="68" y="151"/>
                      </a:cubicBezTo>
                      <a:cubicBezTo>
                        <a:pt x="69" y="151"/>
                        <a:pt x="69" y="151"/>
                        <a:pt x="69" y="151"/>
                      </a:cubicBezTo>
                      <a:cubicBezTo>
                        <a:pt x="69" y="151"/>
                        <a:pt x="70" y="152"/>
                        <a:pt x="70" y="152"/>
                      </a:cubicBezTo>
                      <a:cubicBezTo>
                        <a:pt x="70" y="152"/>
                        <a:pt x="70" y="152"/>
                        <a:pt x="70" y="152"/>
                      </a:cubicBezTo>
                      <a:cubicBezTo>
                        <a:pt x="70" y="152"/>
                        <a:pt x="70" y="152"/>
                        <a:pt x="71" y="152"/>
                      </a:cubicBezTo>
                      <a:cubicBezTo>
                        <a:pt x="71" y="152"/>
                        <a:pt x="71" y="152"/>
                        <a:pt x="71" y="152"/>
                      </a:cubicBezTo>
                      <a:cubicBezTo>
                        <a:pt x="71" y="151"/>
                        <a:pt x="71" y="151"/>
                        <a:pt x="72" y="151"/>
                      </a:cubicBezTo>
                      <a:cubicBezTo>
                        <a:pt x="72" y="151"/>
                        <a:pt x="72" y="152"/>
                        <a:pt x="72" y="152"/>
                      </a:cubicBezTo>
                      <a:cubicBezTo>
                        <a:pt x="72" y="152"/>
                        <a:pt x="73" y="152"/>
                        <a:pt x="73" y="151"/>
                      </a:cubicBezTo>
                      <a:cubicBezTo>
                        <a:pt x="73" y="151"/>
                        <a:pt x="73" y="151"/>
                        <a:pt x="73" y="151"/>
                      </a:cubicBezTo>
                      <a:cubicBezTo>
                        <a:pt x="74" y="151"/>
                        <a:pt x="74" y="151"/>
                        <a:pt x="74" y="150"/>
                      </a:cubicBezTo>
                      <a:cubicBezTo>
                        <a:pt x="74" y="150"/>
                        <a:pt x="74" y="150"/>
                        <a:pt x="74" y="150"/>
                      </a:cubicBezTo>
                      <a:cubicBezTo>
                        <a:pt x="74" y="150"/>
                        <a:pt x="74" y="150"/>
                        <a:pt x="74" y="150"/>
                      </a:cubicBezTo>
                      <a:cubicBezTo>
                        <a:pt x="74" y="149"/>
                        <a:pt x="75" y="149"/>
                        <a:pt x="75" y="149"/>
                      </a:cubicBezTo>
                      <a:cubicBezTo>
                        <a:pt x="75" y="149"/>
                        <a:pt x="75" y="149"/>
                        <a:pt x="75" y="149"/>
                      </a:cubicBezTo>
                      <a:cubicBezTo>
                        <a:pt x="75" y="149"/>
                        <a:pt x="75" y="149"/>
                        <a:pt x="76" y="149"/>
                      </a:cubicBezTo>
                      <a:cubicBezTo>
                        <a:pt x="76" y="148"/>
                        <a:pt x="75" y="148"/>
                        <a:pt x="76" y="147"/>
                      </a:cubicBezTo>
                      <a:cubicBezTo>
                        <a:pt x="76" y="147"/>
                        <a:pt x="76" y="147"/>
                        <a:pt x="76" y="147"/>
                      </a:cubicBezTo>
                      <a:cubicBezTo>
                        <a:pt x="76" y="146"/>
                        <a:pt x="76" y="146"/>
                        <a:pt x="76" y="146"/>
                      </a:cubicBezTo>
                      <a:cubicBezTo>
                        <a:pt x="76" y="146"/>
                        <a:pt x="76" y="145"/>
                        <a:pt x="77" y="145"/>
                      </a:cubicBezTo>
                      <a:cubicBezTo>
                        <a:pt x="77" y="145"/>
                        <a:pt x="77" y="144"/>
                        <a:pt x="78" y="144"/>
                      </a:cubicBezTo>
                      <a:cubicBezTo>
                        <a:pt x="78" y="144"/>
                        <a:pt x="79" y="144"/>
                        <a:pt x="79" y="144"/>
                      </a:cubicBezTo>
                      <a:cubicBezTo>
                        <a:pt x="79" y="144"/>
                        <a:pt x="79" y="144"/>
                        <a:pt x="80" y="144"/>
                      </a:cubicBezTo>
                      <a:cubicBezTo>
                        <a:pt x="80" y="143"/>
                        <a:pt x="80" y="143"/>
                        <a:pt x="80" y="143"/>
                      </a:cubicBezTo>
                      <a:cubicBezTo>
                        <a:pt x="80" y="143"/>
                        <a:pt x="81" y="143"/>
                        <a:pt x="81" y="143"/>
                      </a:cubicBezTo>
                      <a:cubicBezTo>
                        <a:pt x="81" y="143"/>
                        <a:pt x="81" y="143"/>
                        <a:pt x="82" y="143"/>
                      </a:cubicBezTo>
                      <a:cubicBezTo>
                        <a:pt x="82" y="143"/>
                        <a:pt x="82" y="142"/>
                        <a:pt x="82" y="142"/>
                      </a:cubicBezTo>
                      <a:cubicBezTo>
                        <a:pt x="82" y="142"/>
                        <a:pt x="83" y="142"/>
                        <a:pt x="83" y="142"/>
                      </a:cubicBezTo>
                      <a:cubicBezTo>
                        <a:pt x="83" y="142"/>
                        <a:pt x="84" y="142"/>
                        <a:pt x="84" y="141"/>
                      </a:cubicBezTo>
                      <a:cubicBezTo>
                        <a:pt x="84" y="141"/>
                        <a:pt x="85" y="141"/>
                        <a:pt x="85" y="141"/>
                      </a:cubicBezTo>
                      <a:cubicBezTo>
                        <a:pt x="85" y="141"/>
                        <a:pt x="85" y="141"/>
                        <a:pt x="86" y="140"/>
                      </a:cubicBezTo>
                      <a:cubicBezTo>
                        <a:pt x="87" y="140"/>
                        <a:pt x="87" y="140"/>
                        <a:pt x="87" y="140"/>
                      </a:cubicBezTo>
                      <a:cubicBezTo>
                        <a:pt x="87" y="139"/>
                        <a:pt x="88" y="139"/>
                        <a:pt x="88" y="139"/>
                      </a:cubicBezTo>
                      <a:cubicBezTo>
                        <a:pt x="89" y="138"/>
                        <a:pt x="89" y="138"/>
                        <a:pt x="90" y="138"/>
                      </a:cubicBezTo>
                      <a:cubicBezTo>
                        <a:pt x="90" y="138"/>
                        <a:pt x="91" y="138"/>
                        <a:pt x="91" y="138"/>
                      </a:cubicBezTo>
                      <a:cubicBezTo>
                        <a:pt x="92" y="138"/>
                        <a:pt x="92" y="138"/>
                        <a:pt x="92" y="139"/>
                      </a:cubicBezTo>
                      <a:cubicBezTo>
                        <a:pt x="93" y="139"/>
                        <a:pt x="95" y="139"/>
                        <a:pt x="95" y="138"/>
                      </a:cubicBezTo>
                      <a:cubicBezTo>
                        <a:pt x="96" y="138"/>
                        <a:pt x="98" y="138"/>
                        <a:pt x="98" y="138"/>
                      </a:cubicBezTo>
                      <a:cubicBezTo>
                        <a:pt x="99" y="138"/>
                        <a:pt x="99" y="138"/>
                        <a:pt x="100" y="138"/>
                      </a:cubicBezTo>
                      <a:cubicBezTo>
                        <a:pt x="100" y="137"/>
                        <a:pt x="101" y="137"/>
                        <a:pt x="101" y="137"/>
                      </a:cubicBezTo>
                      <a:cubicBezTo>
                        <a:pt x="101" y="137"/>
                        <a:pt x="103" y="137"/>
                        <a:pt x="103" y="137"/>
                      </a:cubicBezTo>
                      <a:cubicBezTo>
                        <a:pt x="103" y="137"/>
                        <a:pt x="104" y="136"/>
                        <a:pt x="104" y="136"/>
                      </a:cubicBezTo>
                      <a:cubicBezTo>
                        <a:pt x="105" y="136"/>
                        <a:pt x="107" y="135"/>
                        <a:pt x="107" y="135"/>
                      </a:cubicBezTo>
                      <a:cubicBezTo>
                        <a:pt x="108" y="135"/>
                        <a:pt x="109" y="134"/>
                        <a:pt x="109" y="134"/>
                      </a:cubicBezTo>
                      <a:cubicBezTo>
                        <a:pt x="109" y="134"/>
                        <a:pt x="109" y="134"/>
                        <a:pt x="109" y="134"/>
                      </a:cubicBezTo>
                      <a:cubicBezTo>
                        <a:pt x="109" y="89"/>
                        <a:pt x="109" y="89"/>
                        <a:pt x="109" y="89"/>
                      </a:cubicBezTo>
                      <a:cubicBezTo>
                        <a:pt x="109" y="8"/>
                        <a:pt x="109" y="8"/>
                        <a:pt x="109" y="8"/>
                      </a:cubicBezTo>
                      <a:cubicBezTo>
                        <a:pt x="109" y="8"/>
                        <a:pt x="108" y="8"/>
                        <a:pt x="108"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7" name="Freeform 738">
                  <a:extLst>
                    <a:ext uri="{FF2B5EF4-FFF2-40B4-BE49-F238E27FC236}">
                      <a16:creationId xmlns:a16="http://schemas.microsoft.com/office/drawing/2014/main" id="{31D00BD6-254B-BB46-1155-704140AF1119}"/>
                    </a:ext>
                  </a:extLst>
                </p:cNvPr>
                <p:cNvSpPr>
                  <a:spLocks noEditPoints="1"/>
                </p:cNvSpPr>
                <p:nvPr/>
              </p:nvSpPr>
              <p:spPr bwMode="auto">
                <a:xfrm>
                  <a:off x="9350375" y="5924550"/>
                  <a:ext cx="254000" cy="184150"/>
                </a:xfrm>
                <a:custGeom>
                  <a:avLst/>
                  <a:gdLst>
                    <a:gd name="T0" fmla="*/ 29 w 61"/>
                    <a:gd name="T1" fmla="*/ 38 h 44"/>
                    <a:gd name="T2" fmla="*/ 29 w 61"/>
                    <a:gd name="T3" fmla="*/ 38 h 44"/>
                    <a:gd name="T4" fmla="*/ 29 w 61"/>
                    <a:gd name="T5" fmla="*/ 39 h 44"/>
                    <a:gd name="T6" fmla="*/ 29 w 61"/>
                    <a:gd name="T7" fmla="*/ 37 h 44"/>
                    <a:gd name="T8" fmla="*/ 29 w 61"/>
                    <a:gd name="T9" fmla="*/ 37 h 44"/>
                    <a:gd name="T10" fmla="*/ 30 w 61"/>
                    <a:gd name="T11" fmla="*/ 37 h 44"/>
                    <a:gd name="T12" fmla="*/ 30 w 61"/>
                    <a:gd name="T13" fmla="*/ 37 h 44"/>
                    <a:gd name="T14" fmla="*/ 49 w 61"/>
                    <a:gd name="T15" fmla="*/ 24 h 44"/>
                    <a:gd name="T16" fmla="*/ 48 w 61"/>
                    <a:gd name="T17" fmla="*/ 20 h 44"/>
                    <a:gd name="T18" fmla="*/ 45 w 61"/>
                    <a:gd name="T19" fmla="*/ 16 h 44"/>
                    <a:gd name="T20" fmla="*/ 43 w 61"/>
                    <a:gd name="T21" fmla="*/ 17 h 44"/>
                    <a:gd name="T22" fmla="*/ 40 w 61"/>
                    <a:gd name="T23" fmla="*/ 17 h 44"/>
                    <a:gd name="T24" fmla="*/ 34 w 61"/>
                    <a:gd name="T25" fmla="*/ 17 h 44"/>
                    <a:gd name="T26" fmla="*/ 28 w 61"/>
                    <a:gd name="T27" fmla="*/ 15 h 44"/>
                    <a:gd name="T28" fmla="*/ 27 w 61"/>
                    <a:gd name="T29" fmla="*/ 17 h 44"/>
                    <a:gd name="T30" fmla="*/ 23 w 61"/>
                    <a:gd name="T31" fmla="*/ 15 h 44"/>
                    <a:gd name="T32" fmla="*/ 18 w 61"/>
                    <a:gd name="T33" fmla="*/ 11 h 44"/>
                    <a:gd name="T34" fmla="*/ 15 w 61"/>
                    <a:gd name="T35" fmla="*/ 6 h 44"/>
                    <a:gd name="T36" fmla="*/ 11 w 61"/>
                    <a:gd name="T37" fmla="*/ 6 h 44"/>
                    <a:gd name="T38" fmla="*/ 9 w 61"/>
                    <a:gd name="T39" fmla="*/ 3 h 44"/>
                    <a:gd name="T40" fmla="*/ 4 w 61"/>
                    <a:gd name="T41" fmla="*/ 2 h 44"/>
                    <a:gd name="T42" fmla="*/ 0 w 61"/>
                    <a:gd name="T43" fmla="*/ 0 h 44"/>
                    <a:gd name="T44" fmla="*/ 3 w 61"/>
                    <a:gd name="T45" fmla="*/ 37 h 44"/>
                    <a:gd name="T46" fmla="*/ 7 w 61"/>
                    <a:gd name="T47" fmla="*/ 36 h 44"/>
                    <a:gd name="T48" fmla="*/ 10 w 61"/>
                    <a:gd name="T49" fmla="*/ 37 h 44"/>
                    <a:gd name="T50" fmla="*/ 15 w 61"/>
                    <a:gd name="T51" fmla="*/ 40 h 44"/>
                    <a:gd name="T52" fmla="*/ 19 w 61"/>
                    <a:gd name="T53" fmla="*/ 40 h 44"/>
                    <a:gd name="T54" fmla="*/ 21 w 61"/>
                    <a:gd name="T55" fmla="*/ 38 h 44"/>
                    <a:gd name="T56" fmla="*/ 25 w 61"/>
                    <a:gd name="T57" fmla="*/ 36 h 44"/>
                    <a:gd name="T58" fmla="*/ 23 w 61"/>
                    <a:gd name="T59" fmla="*/ 35 h 44"/>
                    <a:gd name="T60" fmla="*/ 26 w 61"/>
                    <a:gd name="T61" fmla="*/ 33 h 44"/>
                    <a:gd name="T62" fmla="*/ 28 w 61"/>
                    <a:gd name="T63" fmla="*/ 36 h 44"/>
                    <a:gd name="T64" fmla="*/ 27 w 61"/>
                    <a:gd name="T65" fmla="*/ 38 h 44"/>
                    <a:gd name="T66" fmla="*/ 29 w 61"/>
                    <a:gd name="T67" fmla="*/ 37 h 44"/>
                    <a:gd name="T68" fmla="*/ 31 w 61"/>
                    <a:gd name="T69" fmla="*/ 36 h 44"/>
                    <a:gd name="T70" fmla="*/ 31 w 61"/>
                    <a:gd name="T71" fmla="*/ 39 h 44"/>
                    <a:gd name="T72" fmla="*/ 34 w 61"/>
                    <a:gd name="T73" fmla="*/ 42 h 44"/>
                    <a:gd name="T74" fmla="*/ 35 w 61"/>
                    <a:gd name="T75" fmla="*/ 41 h 44"/>
                    <a:gd name="T76" fmla="*/ 37 w 61"/>
                    <a:gd name="T77" fmla="*/ 44 h 44"/>
                    <a:gd name="T78" fmla="*/ 37 w 61"/>
                    <a:gd name="T79" fmla="*/ 42 h 44"/>
                    <a:gd name="T80" fmla="*/ 37 w 61"/>
                    <a:gd name="T81" fmla="*/ 42 h 44"/>
                    <a:gd name="T82" fmla="*/ 36 w 61"/>
                    <a:gd name="T83" fmla="*/ 40 h 44"/>
                    <a:gd name="T84" fmla="*/ 39 w 61"/>
                    <a:gd name="T85" fmla="*/ 40 h 44"/>
                    <a:gd name="T86" fmla="*/ 44 w 61"/>
                    <a:gd name="T87" fmla="*/ 36 h 44"/>
                    <a:gd name="T88" fmla="*/ 44 w 61"/>
                    <a:gd name="T89" fmla="*/ 34 h 44"/>
                    <a:gd name="T90" fmla="*/ 46 w 61"/>
                    <a:gd name="T91" fmla="*/ 33 h 44"/>
                    <a:gd name="T92" fmla="*/ 49 w 61"/>
                    <a:gd name="T93" fmla="*/ 32 h 44"/>
                    <a:gd name="T94" fmla="*/ 55 w 61"/>
                    <a:gd name="T95" fmla="*/ 32 h 44"/>
                    <a:gd name="T96" fmla="*/ 59 w 61"/>
                    <a:gd name="T97" fmla="*/ 31 h 44"/>
                    <a:gd name="T98" fmla="*/ 60 w 61"/>
                    <a:gd name="T99"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44">
                      <a:moveTo>
                        <a:pt x="29" y="39"/>
                      </a:move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9"/>
                        <a:pt x="29" y="39"/>
                        <a:pt x="29" y="39"/>
                      </a:cubicBezTo>
                      <a:cubicBezTo>
                        <a:pt x="29" y="39"/>
                        <a:pt x="29" y="39"/>
                        <a:pt x="29" y="39"/>
                      </a:cubicBezTo>
                      <a:cubicBezTo>
                        <a:pt x="29" y="39"/>
                        <a:pt x="29" y="39"/>
                        <a:pt x="29" y="39"/>
                      </a:cubicBezTo>
                      <a:cubicBezTo>
                        <a:pt x="29" y="39"/>
                        <a:pt x="29" y="39"/>
                        <a:pt x="29" y="39"/>
                      </a:cubicBezTo>
                      <a:cubicBezTo>
                        <a:pt x="29" y="39"/>
                        <a:pt x="29" y="39"/>
                        <a:pt x="29" y="39"/>
                      </a:cubicBezTo>
                      <a:close/>
                      <a:moveTo>
                        <a:pt x="30" y="36"/>
                      </a:moveTo>
                      <a:cubicBezTo>
                        <a:pt x="30" y="36"/>
                        <a:pt x="30"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30" y="37"/>
                        <a:pt x="30" y="37"/>
                      </a:cubicBezTo>
                      <a:cubicBezTo>
                        <a:pt x="30" y="37"/>
                        <a:pt x="30" y="37"/>
                        <a:pt x="30" y="37"/>
                      </a:cubicBezTo>
                      <a:cubicBezTo>
                        <a:pt x="30" y="37"/>
                        <a:pt x="30" y="37"/>
                        <a:pt x="30" y="37"/>
                      </a:cubicBezTo>
                      <a:cubicBezTo>
                        <a:pt x="30" y="37"/>
                        <a:pt x="30" y="37"/>
                        <a:pt x="30" y="37"/>
                      </a:cubicBezTo>
                      <a:cubicBezTo>
                        <a:pt x="31" y="37"/>
                        <a:pt x="31" y="37"/>
                        <a:pt x="31" y="37"/>
                      </a:cubicBezTo>
                      <a:cubicBezTo>
                        <a:pt x="31" y="37"/>
                        <a:pt x="31" y="37"/>
                        <a:pt x="31" y="37"/>
                      </a:cubicBezTo>
                      <a:cubicBezTo>
                        <a:pt x="30" y="37"/>
                        <a:pt x="30" y="37"/>
                        <a:pt x="30" y="37"/>
                      </a:cubicBezTo>
                      <a:cubicBezTo>
                        <a:pt x="30" y="37"/>
                        <a:pt x="30" y="37"/>
                        <a:pt x="30" y="37"/>
                      </a:cubicBezTo>
                      <a:cubicBezTo>
                        <a:pt x="30" y="37"/>
                        <a:pt x="30" y="36"/>
                        <a:pt x="30" y="36"/>
                      </a:cubicBezTo>
                      <a:close/>
                      <a:moveTo>
                        <a:pt x="58" y="28"/>
                      </a:moveTo>
                      <a:cubicBezTo>
                        <a:pt x="58" y="28"/>
                        <a:pt x="56" y="27"/>
                        <a:pt x="56" y="27"/>
                      </a:cubicBezTo>
                      <a:cubicBezTo>
                        <a:pt x="55" y="27"/>
                        <a:pt x="49" y="24"/>
                        <a:pt x="49" y="24"/>
                      </a:cubicBezTo>
                      <a:cubicBezTo>
                        <a:pt x="49" y="24"/>
                        <a:pt x="49" y="24"/>
                        <a:pt x="49" y="24"/>
                      </a:cubicBezTo>
                      <a:cubicBezTo>
                        <a:pt x="49" y="24"/>
                        <a:pt x="49" y="23"/>
                        <a:pt x="49" y="23"/>
                      </a:cubicBezTo>
                      <a:cubicBezTo>
                        <a:pt x="49" y="23"/>
                        <a:pt x="49" y="22"/>
                        <a:pt x="49" y="22"/>
                      </a:cubicBezTo>
                      <a:cubicBezTo>
                        <a:pt x="49" y="22"/>
                        <a:pt x="48" y="20"/>
                        <a:pt x="48" y="20"/>
                      </a:cubicBezTo>
                      <a:cubicBezTo>
                        <a:pt x="48" y="20"/>
                        <a:pt x="48" y="19"/>
                        <a:pt x="48" y="18"/>
                      </a:cubicBezTo>
                      <a:cubicBezTo>
                        <a:pt x="48" y="18"/>
                        <a:pt x="47" y="17"/>
                        <a:pt x="47" y="17"/>
                      </a:cubicBezTo>
                      <a:cubicBezTo>
                        <a:pt x="47" y="17"/>
                        <a:pt x="46" y="16"/>
                        <a:pt x="46" y="16"/>
                      </a:cubicBezTo>
                      <a:cubicBezTo>
                        <a:pt x="46" y="16"/>
                        <a:pt x="45" y="16"/>
                        <a:pt x="45" y="16"/>
                      </a:cubicBezTo>
                      <a:cubicBezTo>
                        <a:pt x="45" y="17"/>
                        <a:pt x="45" y="17"/>
                        <a:pt x="45" y="17"/>
                      </a:cubicBezTo>
                      <a:cubicBezTo>
                        <a:pt x="45" y="17"/>
                        <a:pt x="44" y="16"/>
                        <a:pt x="44" y="16"/>
                      </a:cubicBezTo>
                      <a:cubicBezTo>
                        <a:pt x="44" y="16"/>
                        <a:pt x="44" y="16"/>
                        <a:pt x="43" y="17"/>
                      </a:cubicBezTo>
                      <a:cubicBezTo>
                        <a:pt x="43" y="17"/>
                        <a:pt x="43" y="17"/>
                        <a:pt x="43" y="17"/>
                      </a:cubicBezTo>
                      <a:cubicBezTo>
                        <a:pt x="43" y="17"/>
                        <a:pt x="42" y="17"/>
                        <a:pt x="42" y="17"/>
                      </a:cubicBezTo>
                      <a:cubicBezTo>
                        <a:pt x="42" y="17"/>
                        <a:pt x="41" y="17"/>
                        <a:pt x="41" y="17"/>
                      </a:cubicBezTo>
                      <a:cubicBezTo>
                        <a:pt x="41" y="17"/>
                        <a:pt x="41" y="18"/>
                        <a:pt x="41" y="18"/>
                      </a:cubicBezTo>
                      <a:cubicBezTo>
                        <a:pt x="41" y="18"/>
                        <a:pt x="40" y="17"/>
                        <a:pt x="40" y="17"/>
                      </a:cubicBezTo>
                      <a:cubicBezTo>
                        <a:pt x="39" y="17"/>
                        <a:pt x="39" y="16"/>
                        <a:pt x="38" y="16"/>
                      </a:cubicBezTo>
                      <a:cubicBezTo>
                        <a:pt x="38" y="16"/>
                        <a:pt x="37" y="16"/>
                        <a:pt x="37" y="16"/>
                      </a:cubicBezTo>
                      <a:cubicBezTo>
                        <a:pt x="37" y="17"/>
                        <a:pt x="36" y="17"/>
                        <a:pt x="36" y="17"/>
                      </a:cubicBezTo>
                      <a:cubicBezTo>
                        <a:pt x="35" y="17"/>
                        <a:pt x="34" y="17"/>
                        <a:pt x="34" y="17"/>
                      </a:cubicBezTo>
                      <a:cubicBezTo>
                        <a:pt x="34" y="17"/>
                        <a:pt x="33" y="16"/>
                        <a:pt x="32" y="16"/>
                      </a:cubicBezTo>
                      <a:cubicBezTo>
                        <a:pt x="32" y="16"/>
                        <a:pt x="31" y="15"/>
                        <a:pt x="31" y="15"/>
                      </a:cubicBezTo>
                      <a:cubicBezTo>
                        <a:pt x="31" y="15"/>
                        <a:pt x="30" y="15"/>
                        <a:pt x="30" y="15"/>
                      </a:cubicBezTo>
                      <a:cubicBezTo>
                        <a:pt x="30" y="15"/>
                        <a:pt x="29" y="15"/>
                        <a:pt x="28" y="15"/>
                      </a:cubicBezTo>
                      <a:cubicBezTo>
                        <a:pt x="28" y="15"/>
                        <a:pt x="28" y="15"/>
                        <a:pt x="28" y="15"/>
                      </a:cubicBezTo>
                      <a:cubicBezTo>
                        <a:pt x="27" y="16"/>
                        <a:pt x="27" y="16"/>
                        <a:pt x="27" y="16"/>
                      </a:cubicBezTo>
                      <a:cubicBezTo>
                        <a:pt x="27" y="16"/>
                        <a:pt x="27" y="17"/>
                        <a:pt x="27" y="17"/>
                      </a:cubicBezTo>
                      <a:cubicBezTo>
                        <a:pt x="27" y="17"/>
                        <a:pt x="27" y="17"/>
                        <a:pt x="27" y="17"/>
                      </a:cubicBezTo>
                      <a:cubicBezTo>
                        <a:pt x="27" y="17"/>
                        <a:pt x="26" y="18"/>
                        <a:pt x="26" y="18"/>
                      </a:cubicBezTo>
                      <a:cubicBezTo>
                        <a:pt x="26" y="18"/>
                        <a:pt x="25" y="17"/>
                        <a:pt x="24" y="17"/>
                      </a:cubicBezTo>
                      <a:cubicBezTo>
                        <a:pt x="24" y="17"/>
                        <a:pt x="24" y="16"/>
                        <a:pt x="23" y="16"/>
                      </a:cubicBezTo>
                      <a:cubicBezTo>
                        <a:pt x="23" y="16"/>
                        <a:pt x="23" y="15"/>
                        <a:pt x="23" y="15"/>
                      </a:cubicBezTo>
                      <a:cubicBezTo>
                        <a:pt x="23" y="15"/>
                        <a:pt x="22" y="14"/>
                        <a:pt x="22" y="14"/>
                      </a:cubicBezTo>
                      <a:cubicBezTo>
                        <a:pt x="21" y="14"/>
                        <a:pt x="20" y="13"/>
                        <a:pt x="20" y="12"/>
                      </a:cubicBezTo>
                      <a:cubicBezTo>
                        <a:pt x="19" y="12"/>
                        <a:pt x="18" y="12"/>
                        <a:pt x="18" y="11"/>
                      </a:cubicBezTo>
                      <a:cubicBezTo>
                        <a:pt x="18" y="11"/>
                        <a:pt x="18" y="11"/>
                        <a:pt x="18" y="11"/>
                      </a:cubicBezTo>
                      <a:cubicBezTo>
                        <a:pt x="18" y="10"/>
                        <a:pt x="16" y="10"/>
                        <a:pt x="16" y="10"/>
                      </a:cubicBezTo>
                      <a:cubicBezTo>
                        <a:pt x="16" y="9"/>
                        <a:pt x="16" y="8"/>
                        <a:pt x="16" y="8"/>
                      </a:cubicBezTo>
                      <a:cubicBezTo>
                        <a:pt x="16" y="8"/>
                        <a:pt x="16" y="8"/>
                        <a:pt x="16" y="7"/>
                      </a:cubicBezTo>
                      <a:cubicBezTo>
                        <a:pt x="16" y="7"/>
                        <a:pt x="16" y="6"/>
                        <a:pt x="15" y="6"/>
                      </a:cubicBezTo>
                      <a:cubicBezTo>
                        <a:pt x="15" y="6"/>
                        <a:pt x="14" y="6"/>
                        <a:pt x="13" y="6"/>
                      </a:cubicBezTo>
                      <a:cubicBezTo>
                        <a:pt x="13" y="6"/>
                        <a:pt x="13" y="5"/>
                        <a:pt x="12" y="5"/>
                      </a:cubicBezTo>
                      <a:cubicBezTo>
                        <a:pt x="12" y="5"/>
                        <a:pt x="12" y="5"/>
                        <a:pt x="12" y="5"/>
                      </a:cubicBezTo>
                      <a:cubicBezTo>
                        <a:pt x="12" y="6"/>
                        <a:pt x="11" y="6"/>
                        <a:pt x="11" y="6"/>
                      </a:cubicBezTo>
                      <a:cubicBezTo>
                        <a:pt x="11" y="6"/>
                        <a:pt x="11" y="7"/>
                        <a:pt x="11" y="6"/>
                      </a:cubicBezTo>
                      <a:cubicBezTo>
                        <a:pt x="10" y="6"/>
                        <a:pt x="10" y="5"/>
                        <a:pt x="10" y="5"/>
                      </a:cubicBezTo>
                      <a:cubicBezTo>
                        <a:pt x="9" y="4"/>
                        <a:pt x="9" y="4"/>
                        <a:pt x="9" y="4"/>
                      </a:cubicBezTo>
                      <a:cubicBezTo>
                        <a:pt x="9" y="3"/>
                        <a:pt x="9" y="3"/>
                        <a:pt x="9" y="3"/>
                      </a:cubicBezTo>
                      <a:cubicBezTo>
                        <a:pt x="8" y="2"/>
                        <a:pt x="8" y="2"/>
                        <a:pt x="8" y="2"/>
                      </a:cubicBezTo>
                      <a:cubicBezTo>
                        <a:pt x="8" y="1"/>
                        <a:pt x="7" y="2"/>
                        <a:pt x="7" y="1"/>
                      </a:cubicBezTo>
                      <a:cubicBezTo>
                        <a:pt x="6" y="1"/>
                        <a:pt x="6" y="1"/>
                        <a:pt x="6" y="1"/>
                      </a:cubicBezTo>
                      <a:cubicBezTo>
                        <a:pt x="5" y="1"/>
                        <a:pt x="5" y="1"/>
                        <a:pt x="4" y="2"/>
                      </a:cubicBezTo>
                      <a:cubicBezTo>
                        <a:pt x="4" y="2"/>
                        <a:pt x="4" y="2"/>
                        <a:pt x="4" y="2"/>
                      </a:cubicBezTo>
                      <a:cubicBezTo>
                        <a:pt x="3" y="2"/>
                        <a:pt x="3" y="1"/>
                        <a:pt x="2" y="1"/>
                      </a:cubicBezTo>
                      <a:cubicBezTo>
                        <a:pt x="2" y="1"/>
                        <a:pt x="1" y="1"/>
                        <a:pt x="1" y="1"/>
                      </a:cubicBezTo>
                      <a:cubicBezTo>
                        <a:pt x="1" y="1"/>
                        <a:pt x="0" y="0"/>
                        <a:pt x="0" y="0"/>
                      </a:cubicBezTo>
                      <a:cubicBezTo>
                        <a:pt x="0" y="34"/>
                        <a:pt x="0" y="34"/>
                        <a:pt x="0" y="34"/>
                      </a:cubicBezTo>
                      <a:cubicBezTo>
                        <a:pt x="0" y="34"/>
                        <a:pt x="1" y="35"/>
                        <a:pt x="1" y="35"/>
                      </a:cubicBezTo>
                      <a:cubicBezTo>
                        <a:pt x="2" y="35"/>
                        <a:pt x="2" y="36"/>
                        <a:pt x="2" y="36"/>
                      </a:cubicBezTo>
                      <a:cubicBezTo>
                        <a:pt x="3" y="37"/>
                        <a:pt x="3" y="37"/>
                        <a:pt x="3" y="37"/>
                      </a:cubicBezTo>
                      <a:cubicBezTo>
                        <a:pt x="4" y="37"/>
                        <a:pt x="4" y="37"/>
                        <a:pt x="4" y="37"/>
                      </a:cubicBezTo>
                      <a:cubicBezTo>
                        <a:pt x="4" y="37"/>
                        <a:pt x="5" y="37"/>
                        <a:pt x="5" y="36"/>
                      </a:cubicBezTo>
                      <a:cubicBezTo>
                        <a:pt x="5" y="36"/>
                        <a:pt x="5" y="36"/>
                        <a:pt x="5" y="36"/>
                      </a:cubicBezTo>
                      <a:cubicBezTo>
                        <a:pt x="6" y="36"/>
                        <a:pt x="6" y="36"/>
                        <a:pt x="7" y="36"/>
                      </a:cubicBezTo>
                      <a:cubicBezTo>
                        <a:pt x="7" y="36"/>
                        <a:pt x="7" y="37"/>
                        <a:pt x="8" y="37"/>
                      </a:cubicBezTo>
                      <a:cubicBezTo>
                        <a:pt x="8" y="37"/>
                        <a:pt x="8" y="37"/>
                        <a:pt x="8" y="37"/>
                      </a:cubicBezTo>
                      <a:cubicBezTo>
                        <a:pt x="9" y="37"/>
                        <a:pt x="9" y="37"/>
                        <a:pt x="9" y="37"/>
                      </a:cubicBezTo>
                      <a:cubicBezTo>
                        <a:pt x="9" y="37"/>
                        <a:pt x="10" y="37"/>
                        <a:pt x="10" y="37"/>
                      </a:cubicBezTo>
                      <a:cubicBezTo>
                        <a:pt x="11" y="37"/>
                        <a:pt x="11" y="38"/>
                        <a:pt x="12" y="38"/>
                      </a:cubicBezTo>
                      <a:cubicBezTo>
                        <a:pt x="12" y="38"/>
                        <a:pt x="13" y="39"/>
                        <a:pt x="13" y="39"/>
                      </a:cubicBezTo>
                      <a:cubicBezTo>
                        <a:pt x="13" y="39"/>
                        <a:pt x="14" y="39"/>
                        <a:pt x="14" y="40"/>
                      </a:cubicBezTo>
                      <a:cubicBezTo>
                        <a:pt x="15" y="40"/>
                        <a:pt x="15" y="40"/>
                        <a:pt x="15" y="40"/>
                      </a:cubicBezTo>
                      <a:cubicBezTo>
                        <a:pt x="15" y="41"/>
                        <a:pt x="16" y="41"/>
                        <a:pt x="16" y="41"/>
                      </a:cubicBezTo>
                      <a:cubicBezTo>
                        <a:pt x="17" y="41"/>
                        <a:pt x="17" y="41"/>
                        <a:pt x="17" y="41"/>
                      </a:cubicBezTo>
                      <a:cubicBezTo>
                        <a:pt x="18" y="42"/>
                        <a:pt x="18" y="41"/>
                        <a:pt x="18" y="41"/>
                      </a:cubicBezTo>
                      <a:cubicBezTo>
                        <a:pt x="18" y="41"/>
                        <a:pt x="19" y="40"/>
                        <a:pt x="19" y="40"/>
                      </a:cubicBezTo>
                      <a:cubicBezTo>
                        <a:pt x="19" y="40"/>
                        <a:pt x="20" y="40"/>
                        <a:pt x="20" y="40"/>
                      </a:cubicBezTo>
                      <a:cubicBezTo>
                        <a:pt x="20" y="39"/>
                        <a:pt x="20" y="39"/>
                        <a:pt x="20" y="39"/>
                      </a:cubicBezTo>
                      <a:cubicBezTo>
                        <a:pt x="20" y="39"/>
                        <a:pt x="20" y="39"/>
                        <a:pt x="21" y="39"/>
                      </a:cubicBezTo>
                      <a:cubicBezTo>
                        <a:pt x="21" y="38"/>
                        <a:pt x="21" y="38"/>
                        <a:pt x="21" y="38"/>
                      </a:cubicBezTo>
                      <a:cubicBezTo>
                        <a:pt x="21" y="38"/>
                        <a:pt x="22" y="37"/>
                        <a:pt x="22" y="37"/>
                      </a:cubicBezTo>
                      <a:cubicBezTo>
                        <a:pt x="22" y="37"/>
                        <a:pt x="23" y="36"/>
                        <a:pt x="23" y="36"/>
                      </a:cubicBezTo>
                      <a:cubicBezTo>
                        <a:pt x="24" y="36"/>
                        <a:pt x="24" y="36"/>
                        <a:pt x="25" y="36"/>
                      </a:cubicBezTo>
                      <a:cubicBezTo>
                        <a:pt x="25" y="36"/>
                        <a:pt x="25" y="36"/>
                        <a:pt x="25" y="36"/>
                      </a:cubicBezTo>
                      <a:cubicBezTo>
                        <a:pt x="25" y="35"/>
                        <a:pt x="25" y="35"/>
                        <a:pt x="25" y="35"/>
                      </a:cubicBezTo>
                      <a:cubicBezTo>
                        <a:pt x="25" y="35"/>
                        <a:pt x="25" y="35"/>
                        <a:pt x="25" y="35"/>
                      </a:cubicBezTo>
                      <a:cubicBezTo>
                        <a:pt x="24" y="35"/>
                        <a:pt x="24" y="35"/>
                        <a:pt x="24" y="35"/>
                      </a:cubicBezTo>
                      <a:cubicBezTo>
                        <a:pt x="23" y="35"/>
                        <a:pt x="23" y="35"/>
                        <a:pt x="23" y="35"/>
                      </a:cubicBezTo>
                      <a:cubicBezTo>
                        <a:pt x="23" y="35"/>
                        <a:pt x="24" y="35"/>
                        <a:pt x="24" y="35"/>
                      </a:cubicBezTo>
                      <a:cubicBezTo>
                        <a:pt x="24" y="35"/>
                        <a:pt x="24" y="34"/>
                        <a:pt x="25" y="34"/>
                      </a:cubicBezTo>
                      <a:cubicBezTo>
                        <a:pt x="25" y="34"/>
                        <a:pt x="25" y="34"/>
                        <a:pt x="26" y="33"/>
                      </a:cubicBezTo>
                      <a:cubicBezTo>
                        <a:pt x="26" y="33"/>
                        <a:pt x="26" y="33"/>
                        <a:pt x="26" y="33"/>
                      </a:cubicBezTo>
                      <a:cubicBezTo>
                        <a:pt x="27" y="33"/>
                        <a:pt x="27" y="33"/>
                        <a:pt x="27" y="33"/>
                      </a:cubicBezTo>
                      <a:cubicBezTo>
                        <a:pt x="27" y="33"/>
                        <a:pt x="28" y="34"/>
                        <a:pt x="28" y="34"/>
                      </a:cubicBezTo>
                      <a:cubicBezTo>
                        <a:pt x="28" y="34"/>
                        <a:pt x="28" y="35"/>
                        <a:pt x="28" y="35"/>
                      </a:cubicBezTo>
                      <a:cubicBezTo>
                        <a:pt x="28" y="35"/>
                        <a:pt x="28" y="35"/>
                        <a:pt x="28" y="36"/>
                      </a:cubicBezTo>
                      <a:cubicBezTo>
                        <a:pt x="28" y="36"/>
                        <a:pt x="27" y="36"/>
                        <a:pt x="27" y="37"/>
                      </a:cubicBezTo>
                      <a:cubicBezTo>
                        <a:pt x="27" y="37"/>
                        <a:pt x="26" y="37"/>
                        <a:pt x="26" y="37"/>
                      </a:cubicBezTo>
                      <a:cubicBezTo>
                        <a:pt x="26" y="37"/>
                        <a:pt x="26" y="37"/>
                        <a:pt x="26" y="38"/>
                      </a:cubicBezTo>
                      <a:cubicBezTo>
                        <a:pt x="27" y="38"/>
                        <a:pt x="27" y="38"/>
                        <a:pt x="27" y="38"/>
                      </a:cubicBezTo>
                      <a:cubicBezTo>
                        <a:pt x="27" y="38"/>
                        <a:pt x="27" y="38"/>
                        <a:pt x="27" y="38"/>
                      </a:cubicBezTo>
                      <a:cubicBezTo>
                        <a:pt x="27" y="38"/>
                        <a:pt x="28" y="38"/>
                        <a:pt x="28" y="38"/>
                      </a:cubicBezTo>
                      <a:cubicBezTo>
                        <a:pt x="28" y="38"/>
                        <a:pt x="28" y="37"/>
                        <a:pt x="28" y="37"/>
                      </a:cubicBezTo>
                      <a:cubicBezTo>
                        <a:pt x="28" y="37"/>
                        <a:pt x="29" y="37"/>
                        <a:pt x="29" y="37"/>
                      </a:cubicBezTo>
                      <a:cubicBezTo>
                        <a:pt x="29" y="37"/>
                        <a:pt x="29" y="37"/>
                        <a:pt x="29" y="36"/>
                      </a:cubicBezTo>
                      <a:cubicBezTo>
                        <a:pt x="29" y="36"/>
                        <a:pt x="29" y="36"/>
                        <a:pt x="30" y="36"/>
                      </a:cubicBezTo>
                      <a:cubicBezTo>
                        <a:pt x="30" y="36"/>
                        <a:pt x="30" y="36"/>
                        <a:pt x="30" y="36"/>
                      </a:cubicBezTo>
                      <a:cubicBezTo>
                        <a:pt x="31" y="36"/>
                        <a:pt x="31" y="36"/>
                        <a:pt x="31" y="36"/>
                      </a:cubicBezTo>
                      <a:cubicBezTo>
                        <a:pt x="31" y="36"/>
                        <a:pt x="31" y="37"/>
                        <a:pt x="31" y="37"/>
                      </a:cubicBezTo>
                      <a:cubicBezTo>
                        <a:pt x="31" y="38"/>
                        <a:pt x="30" y="38"/>
                        <a:pt x="30" y="38"/>
                      </a:cubicBezTo>
                      <a:cubicBezTo>
                        <a:pt x="30" y="38"/>
                        <a:pt x="30" y="38"/>
                        <a:pt x="31" y="39"/>
                      </a:cubicBezTo>
                      <a:cubicBezTo>
                        <a:pt x="31" y="39"/>
                        <a:pt x="31" y="39"/>
                        <a:pt x="31" y="39"/>
                      </a:cubicBezTo>
                      <a:cubicBezTo>
                        <a:pt x="31" y="40"/>
                        <a:pt x="32" y="40"/>
                        <a:pt x="32" y="40"/>
                      </a:cubicBezTo>
                      <a:cubicBezTo>
                        <a:pt x="32" y="40"/>
                        <a:pt x="33" y="40"/>
                        <a:pt x="33" y="40"/>
                      </a:cubicBezTo>
                      <a:cubicBezTo>
                        <a:pt x="33" y="40"/>
                        <a:pt x="33" y="40"/>
                        <a:pt x="33" y="41"/>
                      </a:cubicBezTo>
                      <a:cubicBezTo>
                        <a:pt x="34" y="42"/>
                        <a:pt x="34" y="42"/>
                        <a:pt x="34" y="42"/>
                      </a:cubicBezTo>
                      <a:cubicBezTo>
                        <a:pt x="34" y="42"/>
                        <a:pt x="34" y="42"/>
                        <a:pt x="34" y="41"/>
                      </a:cubicBezTo>
                      <a:cubicBezTo>
                        <a:pt x="34" y="41"/>
                        <a:pt x="35" y="41"/>
                        <a:pt x="35" y="41"/>
                      </a:cubicBezTo>
                      <a:cubicBezTo>
                        <a:pt x="35" y="41"/>
                        <a:pt x="35" y="41"/>
                        <a:pt x="35" y="41"/>
                      </a:cubicBezTo>
                      <a:cubicBezTo>
                        <a:pt x="35" y="41"/>
                        <a:pt x="35" y="41"/>
                        <a:pt x="35" y="41"/>
                      </a:cubicBezTo>
                      <a:cubicBezTo>
                        <a:pt x="35" y="41"/>
                        <a:pt x="36" y="41"/>
                        <a:pt x="36" y="41"/>
                      </a:cubicBezTo>
                      <a:cubicBezTo>
                        <a:pt x="36" y="42"/>
                        <a:pt x="36" y="42"/>
                        <a:pt x="36" y="42"/>
                      </a:cubicBezTo>
                      <a:cubicBezTo>
                        <a:pt x="36" y="42"/>
                        <a:pt x="36" y="43"/>
                        <a:pt x="37" y="43"/>
                      </a:cubicBezTo>
                      <a:cubicBezTo>
                        <a:pt x="37" y="43"/>
                        <a:pt x="37" y="44"/>
                        <a:pt x="37" y="44"/>
                      </a:cubicBezTo>
                      <a:cubicBezTo>
                        <a:pt x="37" y="44"/>
                        <a:pt x="38" y="44"/>
                        <a:pt x="38" y="43"/>
                      </a:cubicBezTo>
                      <a:cubicBezTo>
                        <a:pt x="38" y="43"/>
                        <a:pt x="38" y="43"/>
                        <a:pt x="38" y="43"/>
                      </a:cubicBezTo>
                      <a:cubicBezTo>
                        <a:pt x="38" y="43"/>
                        <a:pt x="37" y="43"/>
                        <a:pt x="37" y="42"/>
                      </a:cubicBezTo>
                      <a:cubicBezTo>
                        <a:pt x="37" y="42"/>
                        <a:pt x="37" y="42"/>
                        <a:pt x="37" y="42"/>
                      </a:cubicBezTo>
                      <a:cubicBezTo>
                        <a:pt x="38" y="41"/>
                        <a:pt x="38" y="41"/>
                        <a:pt x="38" y="41"/>
                      </a:cubicBezTo>
                      <a:cubicBezTo>
                        <a:pt x="38" y="41"/>
                        <a:pt x="37" y="41"/>
                        <a:pt x="37" y="41"/>
                      </a:cubicBezTo>
                      <a:cubicBezTo>
                        <a:pt x="37" y="41"/>
                        <a:pt x="37" y="41"/>
                        <a:pt x="37" y="41"/>
                      </a:cubicBezTo>
                      <a:cubicBezTo>
                        <a:pt x="37" y="41"/>
                        <a:pt x="37" y="41"/>
                        <a:pt x="37" y="42"/>
                      </a:cubicBezTo>
                      <a:cubicBezTo>
                        <a:pt x="37" y="42"/>
                        <a:pt x="36" y="42"/>
                        <a:pt x="36" y="42"/>
                      </a:cubicBezTo>
                      <a:cubicBezTo>
                        <a:pt x="36" y="42"/>
                        <a:pt x="36" y="41"/>
                        <a:pt x="36" y="41"/>
                      </a:cubicBezTo>
                      <a:cubicBezTo>
                        <a:pt x="36" y="41"/>
                        <a:pt x="36" y="41"/>
                        <a:pt x="36" y="41"/>
                      </a:cubicBezTo>
                      <a:cubicBezTo>
                        <a:pt x="35" y="41"/>
                        <a:pt x="36" y="40"/>
                        <a:pt x="36" y="40"/>
                      </a:cubicBezTo>
                      <a:cubicBezTo>
                        <a:pt x="36" y="40"/>
                        <a:pt x="36" y="40"/>
                        <a:pt x="37" y="40"/>
                      </a:cubicBezTo>
                      <a:cubicBezTo>
                        <a:pt x="37" y="40"/>
                        <a:pt x="37" y="40"/>
                        <a:pt x="38" y="40"/>
                      </a:cubicBezTo>
                      <a:cubicBezTo>
                        <a:pt x="38" y="40"/>
                        <a:pt x="38" y="40"/>
                        <a:pt x="38" y="40"/>
                      </a:cubicBezTo>
                      <a:cubicBezTo>
                        <a:pt x="38" y="40"/>
                        <a:pt x="39" y="40"/>
                        <a:pt x="39" y="40"/>
                      </a:cubicBezTo>
                      <a:cubicBezTo>
                        <a:pt x="40" y="40"/>
                        <a:pt x="40" y="40"/>
                        <a:pt x="40" y="40"/>
                      </a:cubicBezTo>
                      <a:cubicBezTo>
                        <a:pt x="40" y="39"/>
                        <a:pt x="41" y="39"/>
                        <a:pt x="41" y="39"/>
                      </a:cubicBezTo>
                      <a:cubicBezTo>
                        <a:pt x="41" y="39"/>
                        <a:pt x="42" y="38"/>
                        <a:pt x="42" y="38"/>
                      </a:cubicBezTo>
                      <a:cubicBezTo>
                        <a:pt x="42" y="37"/>
                        <a:pt x="44" y="36"/>
                        <a:pt x="44" y="36"/>
                      </a:cubicBezTo>
                      <a:cubicBezTo>
                        <a:pt x="44" y="35"/>
                        <a:pt x="45" y="35"/>
                        <a:pt x="45" y="35"/>
                      </a:cubicBezTo>
                      <a:cubicBezTo>
                        <a:pt x="45" y="35"/>
                        <a:pt x="45" y="34"/>
                        <a:pt x="45" y="34"/>
                      </a:cubicBezTo>
                      <a:cubicBezTo>
                        <a:pt x="45" y="34"/>
                        <a:pt x="44" y="35"/>
                        <a:pt x="44" y="34"/>
                      </a:cubicBezTo>
                      <a:cubicBezTo>
                        <a:pt x="44" y="34"/>
                        <a:pt x="44" y="34"/>
                        <a:pt x="44" y="34"/>
                      </a:cubicBezTo>
                      <a:cubicBezTo>
                        <a:pt x="44" y="34"/>
                        <a:pt x="45" y="34"/>
                        <a:pt x="45" y="34"/>
                      </a:cubicBezTo>
                      <a:cubicBezTo>
                        <a:pt x="45" y="34"/>
                        <a:pt x="46" y="34"/>
                        <a:pt x="46" y="33"/>
                      </a:cubicBezTo>
                      <a:cubicBezTo>
                        <a:pt x="46" y="33"/>
                        <a:pt x="46" y="33"/>
                        <a:pt x="46" y="33"/>
                      </a:cubicBezTo>
                      <a:cubicBezTo>
                        <a:pt x="46" y="33"/>
                        <a:pt x="46" y="33"/>
                        <a:pt x="46" y="33"/>
                      </a:cubicBezTo>
                      <a:cubicBezTo>
                        <a:pt x="46" y="33"/>
                        <a:pt x="46" y="33"/>
                        <a:pt x="46" y="33"/>
                      </a:cubicBezTo>
                      <a:cubicBezTo>
                        <a:pt x="46" y="33"/>
                        <a:pt x="47" y="33"/>
                        <a:pt x="47" y="33"/>
                      </a:cubicBezTo>
                      <a:cubicBezTo>
                        <a:pt x="48" y="33"/>
                        <a:pt x="49" y="33"/>
                        <a:pt x="49" y="33"/>
                      </a:cubicBezTo>
                      <a:cubicBezTo>
                        <a:pt x="49" y="33"/>
                        <a:pt x="49" y="32"/>
                        <a:pt x="49" y="32"/>
                      </a:cubicBezTo>
                      <a:cubicBezTo>
                        <a:pt x="50" y="32"/>
                        <a:pt x="52" y="32"/>
                        <a:pt x="52" y="32"/>
                      </a:cubicBezTo>
                      <a:cubicBezTo>
                        <a:pt x="52" y="32"/>
                        <a:pt x="54" y="32"/>
                        <a:pt x="54" y="32"/>
                      </a:cubicBezTo>
                      <a:cubicBezTo>
                        <a:pt x="54" y="32"/>
                        <a:pt x="54" y="32"/>
                        <a:pt x="54" y="32"/>
                      </a:cubicBezTo>
                      <a:cubicBezTo>
                        <a:pt x="55" y="32"/>
                        <a:pt x="55" y="32"/>
                        <a:pt x="55" y="32"/>
                      </a:cubicBezTo>
                      <a:cubicBezTo>
                        <a:pt x="55" y="32"/>
                        <a:pt x="55" y="32"/>
                        <a:pt x="55" y="32"/>
                      </a:cubicBezTo>
                      <a:cubicBezTo>
                        <a:pt x="56" y="32"/>
                        <a:pt x="57" y="32"/>
                        <a:pt x="58" y="32"/>
                      </a:cubicBezTo>
                      <a:cubicBezTo>
                        <a:pt x="58" y="32"/>
                        <a:pt x="58" y="32"/>
                        <a:pt x="58" y="32"/>
                      </a:cubicBezTo>
                      <a:cubicBezTo>
                        <a:pt x="59" y="32"/>
                        <a:pt x="59" y="31"/>
                        <a:pt x="59" y="31"/>
                      </a:cubicBezTo>
                      <a:cubicBezTo>
                        <a:pt x="60" y="31"/>
                        <a:pt x="60" y="31"/>
                        <a:pt x="60" y="30"/>
                      </a:cubicBezTo>
                      <a:cubicBezTo>
                        <a:pt x="60" y="30"/>
                        <a:pt x="60" y="30"/>
                        <a:pt x="60" y="30"/>
                      </a:cubicBezTo>
                      <a:cubicBezTo>
                        <a:pt x="60" y="30"/>
                        <a:pt x="60" y="30"/>
                        <a:pt x="60" y="30"/>
                      </a:cubicBezTo>
                      <a:cubicBezTo>
                        <a:pt x="60" y="30"/>
                        <a:pt x="60" y="30"/>
                        <a:pt x="60" y="30"/>
                      </a:cubicBezTo>
                      <a:cubicBezTo>
                        <a:pt x="60" y="30"/>
                        <a:pt x="61" y="30"/>
                        <a:pt x="61" y="30"/>
                      </a:cubicBezTo>
                      <a:cubicBezTo>
                        <a:pt x="61" y="30"/>
                        <a:pt x="60" y="29"/>
                        <a:pt x="60" y="29"/>
                      </a:cubicBezTo>
                      <a:cubicBezTo>
                        <a:pt x="60" y="29"/>
                        <a:pt x="59" y="28"/>
                        <a:pt x="58"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8" name="Freeform 739">
                  <a:extLst>
                    <a:ext uri="{FF2B5EF4-FFF2-40B4-BE49-F238E27FC236}">
                      <a16:creationId xmlns:a16="http://schemas.microsoft.com/office/drawing/2014/main" id="{4BA7CF07-B54A-DF95-4EA3-7C775C6DADE8}"/>
                    </a:ext>
                  </a:extLst>
                </p:cNvPr>
                <p:cNvSpPr>
                  <a:spLocks noEditPoints="1"/>
                </p:cNvSpPr>
                <p:nvPr/>
              </p:nvSpPr>
              <p:spPr bwMode="auto">
                <a:xfrm>
                  <a:off x="9267825" y="5203825"/>
                  <a:ext cx="441325" cy="563563"/>
                </a:xfrm>
                <a:custGeom>
                  <a:avLst/>
                  <a:gdLst>
                    <a:gd name="T0" fmla="*/ 8 w 106"/>
                    <a:gd name="T1" fmla="*/ 42 h 135"/>
                    <a:gd name="T2" fmla="*/ 9 w 106"/>
                    <a:gd name="T3" fmla="*/ 41 h 135"/>
                    <a:gd name="T4" fmla="*/ 11 w 106"/>
                    <a:gd name="T5" fmla="*/ 40 h 135"/>
                    <a:gd name="T6" fmla="*/ 10 w 106"/>
                    <a:gd name="T7" fmla="*/ 41 h 135"/>
                    <a:gd name="T8" fmla="*/ 9 w 106"/>
                    <a:gd name="T9" fmla="*/ 42 h 135"/>
                    <a:gd name="T10" fmla="*/ 102 w 106"/>
                    <a:gd name="T11" fmla="*/ 104 h 135"/>
                    <a:gd name="T12" fmla="*/ 102 w 106"/>
                    <a:gd name="T13" fmla="*/ 109 h 135"/>
                    <a:gd name="T14" fmla="*/ 104 w 106"/>
                    <a:gd name="T15" fmla="*/ 101 h 135"/>
                    <a:gd name="T16" fmla="*/ 105 w 106"/>
                    <a:gd name="T17" fmla="*/ 120 h 135"/>
                    <a:gd name="T18" fmla="*/ 104 w 106"/>
                    <a:gd name="T19" fmla="*/ 119 h 135"/>
                    <a:gd name="T20" fmla="*/ 105 w 106"/>
                    <a:gd name="T21" fmla="*/ 124 h 135"/>
                    <a:gd name="T22" fmla="*/ 105 w 106"/>
                    <a:gd name="T23" fmla="*/ 121 h 135"/>
                    <a:gd name="T24" fmla="*/ 81 w 106"/>
                    <a:gd name="T25" fmla="*/ 130 h 135"/>
                    <a:gd name="T26" fmla="*/ 90 w 106"/>
                    <a:gd name="T27" fmla="*/ 133 h 135"/>
                    <a:gd name="T28" fmla="*/ 95 w 106"/>
                    <a:gd name="T29" fmla="*/ 131 h 135"/>
                    <a:gd name="T30" fmla="*/ 100 w 106"/>
                    <a:gd name="T31" fmla="*/ 128 h 135"/>
                    <a:gd name="T32" fmla="*/ 105 w 106"/>
                    <a:gd name="T33" fmla="*/ 125 h 135"/>
                    <a:gd name="T34" fmla="*/ 103 w 106"/>
                    <a:gd name="T35" fmla="*/ 121 h 135"/>
                    <a:gd name="T36" fmla="*/ 103 w 106"/>
                    <a:gd name="T37" fmla="*/ 117 h 135"/>
                    <a:gd name="T38" fmla="*/ 102 w 106"/>
                    <a:gd name="T39" fmla="*/ 112 h 135"/>
                    <a:gd name="T40" fmla="*/ 101 w 106"/>
                    <a:gd name="T41" fmla="*/ 108 h 135"/>
                    <a:gd name="T42" fmla="*/ 98 w 106"/>
                    <a:gd name="T43" fmla="*/ 103 h 135"/>
                    <a:gd name="T44" fmla="*/ 95 w 106"/>
                    <a:gd name="T45" fmla="*/ 97 h 135"/>
                    <a:gd name="T46" fmla="*/ 89 w 106"/>
                    <a:gd name="T47" fmla="*/ 94 h 135"/>
                    <a:gd name="T48" fmla="*/ 89 w 106"/>
                    <a:gd name="T49" fmla="*/ 91 h 135"/>
                    <a:gd name="T50" fmla="*/ 87 w 106"/>
                    <a:gd name="T51" fmla="*/ 88 h 135"/>
                    <a:gd name="T52" fmla="*/ 86 w 106"/>
                    <a:gd name="T53" fmla="*/ 84 h 135"/>
                    <a:gd name="T54" fmla="*/ 85 w 106"/>
                    <a:gd name="T55" fmla="*/ 84 h 135"/>
                    <a:gd name="T56" fmla="*/ 82 w 106"/>
                    <a:gd name="T57" fmla="*/ 82 h 135"/>
                    <a:gd name="T58" fmla="*/ 81 w 106"/>
                    <a:gd name="T59" fmla="*/ 84 h 135"/>
                    <a:gd name="T60" fmla="*/ 78 w 106"/>
                    <a:gd name="T61" fmla="*/ 81 h 135"/>
                    <a:gd name="T62" fmla="*/ 77 w 106"/>
                    <a:gd name="T63" fmla="*/ 77 h 135"/>
                    <a:gd name="T64" fmla="*/ 76 w 106"/>
                    <a:gd name="T65" fmla="*/ 73 h 135"/>
                    <a:gd name="T66" fmla="*/ 73 w 106"/>
                    <a:gd name="T67" fmla="*/ 71 h 135"/>
                    <a:gd name="T68" fmla="*/ 73 w 106"/>
                    <a:gd name="T69" fmla="*/ 68 h 135"/>
                    <a:gd name="T70" fmla="*/ 70 w 106"/>
                    <a:gd name="T71" fmla="*/ 67 h 135"/>
                    <a:gd name="T72" fmla="*/ 66 w 106"/>
                    <a:gd name="T73" fmla="*/ 65 h 135"/>
                    <a:gd name="T74" fmla="*/ 62 w 106"/>
                    <a:gd name="T75" fmla="*/ 61 h 135"/>
                    <a:gd name="T76" fmla="*/ 56 w 106"/>
                    <a:gd name="T77" fmla="*/ 58 h 135"/>
                    <a:gd name="T78" fmla="*/ 54 w 106"/>
                    <a:gd name="T79" fmla="*/ 53 h 135"/>
                    <a:gd name="T80" fmla="*/ 54 w 106"/>
                    <a:gd name="T81" fmla="*/ 47 h 135"/>
                    <a:gd name="T82" fmla="*/ 51 w 106"/>
                    <a:gd name="T83" fmla="*/ 42 h 135"/>
                    <a:gd name="T84" fmla="*/ 50 w 106"/>
                    <a:gd name="T85" fmla="*/ 36 h 135"/>
                    <a:gd name="T86" fmla="*/ 50 w 106"/>
                    <a:gd name="T87" fmla="*/ 30 h 135"/>
                    <a:gd name="T88" fmla="*/ 45 w 106"/>
                    <a:gd name="T89" fmla="*/ 27 h 135"/>
                    <a:gd name="T90" fmla="*/ 42 w 106"/>
                    <a:gd name="T91" fmla="*/ 25 h 135"/>
                    <a:gd name="T92" fmla="*/ 38 w 106"/>
                    <a:gd name="T93" fmla="*/ 23 h 135"/>
                    <a:gd name="T94" fmla="*/ 37 w 106"/>
                    <a:gd name="T95" fmla="*/ 18 h 135"/>
                    <a:gd name="T96" fmla="*/ 36 w 106"/>
                    <a:gd name="T97" fmla="*/ 13 h 135"/>
                    <a:gd name="T98" fmla="*/ 34 w 106"/>
                    <a:gd name="T99" fmla="*/ 9 h 135"/>
                    <a:gd name="T100" fmla="*/ 32 w 106"/>
                    <a:gd name="T101" fmla="*/ 2 h 135"/>
                    <a:gd name="T102" fmla="*/ 29 w 106"/>
                    <a:gd name="T103" fmla="*/ 2 h 135"/>
                    <a:gd name="T104" fmla="*/ 27 w 106"/>
                    <a:gd name="T105" fmla="*/ 7 h 135"/>
                    <a:gd name="T106" fmla="*/ 26 w 106"/>
                    <a:gd name="T107" fmla="*/ 9 h 135"/>
                    <a:gd name="T108" fmla="*/ 25 w 106"/>
                    <a:gd name="T109" fmla="*/ 13 h 135"/>
                    <a:gd name="T110" fmla="*/ 25 w 106"/>
                    <a:gd name="T111" fmla="*/ 15 h 135"/>
                    <a:gd name="T112" fmla="*/ 23 w 106"/>
                    <a:gd name="T113" fmla="*/ 21 h 135"/>
                    <a:gd name="T114" fmla="*/ 24 w 106"/>
                    <a:gd name="T115" fmla="*/ 28 h 135"/>
                    <a:gd name="T116" fmla="*/ 23 w 106"/>
                    <a:gd name="T117" fmla="*/ 36 h 135"/>
                    <a:gd name="T118" fmla="*/ 20 w 106"/>
                    <a:gd name="T119" fmla="*/ 44 h 135"/>
                    <a:gd name="T120" fmla="*/ 13 w 106"/>
                    <a:gd name="T121" fmla="*/ 49 h 135"/>
                    <a:gd name="T122" fmla="*/ 7 w 106"/>
                    <a:gd name="T123" fmla="*/ 44 h 135"/>
                    <a:gd name="T124" fmla="*/ 0 w 106"/>
                    <a:gd name="T125" fmla="*/ 11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35">
                      <a:moveTo>
                        <a:pt x="9" y="42"/>
                      </a:moveTo>
                      <a:cubicBezTo>
                        <a:pt x="9" y="42"/>
                        <a:pt x="9" y="42"/>
                        <a:pt x="9" y="42"/>
                      </a:cubicBezTo>
                      <a:cubicBezTo>
                        <a:pt x="9" y="42"/>
                        <a:pt x="9" y="43"/>
                        <a:pt x="8" y="43"/>
                      </a:cubicBezTo>
                      <a:cubicBezTo>
                        <a:pt x="8" y="43"/>
                        <a:pt x="8" y="43"/>
                        <a:pt x="8" y="43"/>
                      </a:cubicBezTo>
                      <a:cubicBezTo>
                        <a:pt x="8" y="43"/>
                        <a:pt x="8" y="43"/>
                        <a:pt x="8" y="43"/>
                      </a:cubicBezTo>
                      <a:cubicBezTo>
                        <a:pt x="8" y="42"/>
                        <a:pt x="8" y="42"/>
                        <a:pt x="8" y="42"/>
                      </a:cubicBezTo>
                      <a:cubicBezTo>
                        <a:pt x="8" y="42"/>
                        <a:pt x="8" y="43"/>
                        <a:pt x="8" y="43"/>
                      </a:cubicBezTo>
                      <a:cubicBezTo>
                        <a:pt x="8" y="42"/>
                        <a:pt x="8" y="42"/>
                        <a:pt x="8" y="42"/>
                      </a:cubicBezTo>
                      <a:cubicBezTo>
                        <a:pt x="8" y="42"/>
                        <a:pt x="8" y="42"/>
                        <a:pt x="8" y="42"/>
                      </a:cubicBezTo>
                      <a:cubicBezTo>
                        <a:pt x="8" y="42"/>
                        <a:pt x="8" y="42"/>
                        <a:pt x="8" y="42"/>
                      </a:cubicBezTo>
                      <a:cubicBezTo>
                        <a:pt x="8" y="42"/>
                        <a:pt x="8" y="42"/>
                        <a:pt x="8" y="42"/>
                      </a:cubicBezTo>
                      <a:cubicBezTo>
                        <a:pt x="8" y="42"/>
                        <a:pt x="8" y="41"/>
                        <a:pt x="8" y="41"/>
                      </a:cubicBezTo>
                      <a:cubicBezTo>
                        <a:pt x="8" y="41"/>
                        <a:pt x="8" y="41"/>
                        <a:pt x="8" y="41"/>
                      </a:cubicBezTo>
                      <a:cubicBezTo>
                        <a:pt x="8" y="41"/>
                        <a:pt x="8" y="41"/>
                        <a:pt x="8" y="41"/>
                      </a:cubicBezTo>
                      <a:cubicBezTo>
                        <a:pt x="8" y="41"/>
                        <a:pt x="8" y="41"/>
                        <a:pt x="8" y="41"/>
                      </a:cubicBezTo>
                      <a:cubicBezTo>
                        <a:pt x="9" y="41"/>
                        <a:pt x="9" y="41"/>
                        <a:pt x="9" y="41"/>
                      </a:cubicBezTo>
                      <a:cubicBezTo>
                        <a:pt x="9" y="41"/>
                        <a:pt x="9" y="41"/>
                        <a:pt x="9" y="41"/>
                      </a:cubicBezTo>
                      <a:cubicBezTo>
                        <a:pt x="9" y="41"/>
                        <a:pt x="9" y="41"/>
                        <a:pt x="9" y="41"/>
                      </a:cubicBezTo>
                      <a:cubicBezTo>
                        <a:pt x="9" y="40"/>
                        <a:pt x="10" y="40"/>
                        <a:pt x="10" y="40"/>
                      </a:cubicBezTo>
                      <a:cubicBezTo>
                        <a:pt x="10" y="40"/>
                        <a:pt x="10" y="40"/>
                        <a:pt x="10" y="40"/>
                      </a:cubicBezTo>
                      <a:cubicBezTo>
                        <a:pt x="10" y="40"/>
                        <a:pt x="10" y="40"/>
                        <a:pt x="10" y="40"/>
                      </a:cubicBezTo>
                      <a:cubicBezTo>
                        <a:pt x="10" y="40"/>
                        <a:pt x="10" y="40"/>
                        <a:pt x="10" y="40"/>
                      </a:cubicBezTo>
                      <a:cubicBezTo>
                        <a:pt x="10"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cubicBezTo>
                        <a:pt x="12" y="41"/>
                        <a:pt x="11" y="41"/>
                        <a:pt x="11" y="41"/>
                      </a:cubicBezTo>
                      <a:cubicBezTo>
                        <a:pt x="11" y="41"/>
                        <a:pt x="11" y="41"/>
                        <a:pt x="11" y="41"/>
                      </a:cubicBezTo>
                      <a:cubicBezTo>
                        <a:pt x="11" y="41"/>
                        <a:pt x="11" y="41"/>
                        <a:pt x="10" y="41"/>
                      </a:cubicBezTo>
                      <a:cubicBezTo>
                        <a:pt x="10" y="41"/>
                        <a:pt x="10" y="41"/>
                        <a:pt x="10" y="41"/>
                      </a:cubicBezTo>
                      <a:cubicBezTo>
                        <a:pt x="10" y="41"/>
                        <a:pt x="10" y="41"/>
                        <a:pt x="10" y="41"/>
                      </a:cubicBezTo>
                      <a:cubicBezTo>
                        <a:pt x="10" y="41"/>
                        <a:pt x="10" y="41"/>
                        <a:pt x="10" y="41"/>
                      </a:cubicBezTo>
                      <a:cubicBezTo>
                        <a:pt x="10" y="42"/>
                        <a:pt x="10" y="42"/>
                        <a:pt x="10" y="42"/>
                      </a:cubicBezTo>
                      <a:cubicBezTo>
                        <a:pt x="10" y="42"/>
                        <a:pt x="10" y="42"/>
                        <a:pt x="10" y="42"/>
                      </a:cubicBezTo>
                      <a:cubicBezTo>
                        <a:pt x="10" y="42"/>
                        <a:pt x="10" y="42"/>
                        <a:pt x="10" y="42"/>
                      </a:cubicBezTo>
                      <a:cubicBezTo>
                        <a:pt x="9" y="42"/>
                        <a:pt x="9" y="42"/>
                        <a:pt x="9" y="42"/>
                      </a:cubicBezTo>
                      <a:cubicBezTo>
                        <a:pt x="9" y="42"/>
                        <a:pt x="9" y="42"/>
                        <a:pt x="9" y="42"/>
                      </a:cubicBezTo>
                      <a:cubicBezTo>
                        <a:pt x="9" y="42"/>
                        <a:pt x="9" y="42"/>
                        <a:pt x="9" y="42"/>
                      </a:cubicBezTo>
                      <a:cubicBezTo>
                        <a:pt x="9" y="42"/>
                        <a:pt x="9" y="42"/>
                        <a:pt x="9" y="42"/>
                      </a:cubicBezTo>
                      <a:cubicBezTo>
                        <a:pt x="9" y="42"/>
                        <a:pt x="9" y="42"/>
                        <a:pt x="9" y="42"/>
                      </a:cubicBezTo>
                      <a:close/>
                      <a:moveTo>
                        <a:pt x="103" y="102"/>
                      </a:moveTo>
                      <a:cubicBezTo>
                        <a:pt x="103" y="102"/>
                        <a:pt x="104" y="102"/>
                        <a:pt x="104" y="102"/>
                      </a:cubicBezTo>
                      <a:cubicBezTo>
                        <a:pt x="103" y="103"/>
                        <a:pt x="103" y="103"/>
                        <a:pt x="103" y="103"/>
                      </a:cubicBezTo>
                      <a:cubicBezTo>
                        <a:pt x="103" y="103"/>
                        <a:pt x="103" y="103"/>
                        <a:pt x="103" y="103"/>
                      </a:cubicBezTo>
                      <a:cubicBezTo>
                        <a:pt x="103" y="103"/>
                        <a:pt x="103" y="104"/>
                        <a:pt x="103" y="104"/>
                      </a:cubicBezTo>
                      <a:cubicBezTo>
                        <a:pt x="103" y="104"/>
                        <a:pt x="102" y="104"/>
                        <a:pt x="102" y="104"/>
                      </a:cubicBezTo>
                      <a:cubicBezTo>
                        <a:pt x="102" y="104"/>
                        <a:pt x="102" y="104"/>
                        <a:pt x="102" y="104"/>
                      </a:cubicBezTo>
                      <a:cubicBezTo>
                        <a:pt x="102" y="104"/>
                        <a:pt x="102" y="104"/>
                        <a:pt x="102" y="104"/>
                      </a:cubicBezTo>
                      <a:cubicBezTo>
                        <a:pt x="102" y="104"/>
                        <a:pt x="102" y="104"/>
                        <a:pt x="102" y="105"/>
                      </a:cubicBezTo>
                      <a:cubicBezTo>
                        <a:pt x="102" y="105"/>
                        <a:pt x="102" y="105"/>
                        <a:pt x="102" y="105"/>
                      </a:cubicBezTo>
                      <a:cubicBezTo>
                        <a:pt x="102" y="106"/>
                        <a:pt x="102" y="106"/>
                        <a:pt x="102" y="106"/>
                      </a:cubicBezTo>
                      <a:cubicBezTo>
                        <a:pt x="102" y="106"/>
                        <a:pt x="102" y="106"/>
                        <a:pt x="102" y="106"/>
                      </a:cubicBezTo>
                      <a:cubicBezTo>
                        <a:pt x="102" y="107"/>
                        <a:pt x="102" y="107"/>
                        <a:pt x="102" y="107"/>
                      </a:cubicBezTo>
                      <a:cubicBezTo>
                        <a:pt x="102" y="108"/>
                        <a:pt x="102" y="108"/>
                        <a:pt x="102" y="109"/>
                      </a:cubicBezTo>
                      <a:cubicBezTo>
                        <a:pt x="102" y="109"/>
                        <a:pt x="102" y="109"/>
                        <a:pt x="102" y="109"/>
                      </a:cubicBezTo>
                      <a:cubicBezTo>
                        <a:pt x="102" y="108"/>
                        <a:pt x="102" y="108"/>
                        <a:pt x="102" y="108"/>
                      </a:cubicBezTo>
                      <a:cubicBezTo>
                        <a:pt x="102" y="108"/>
                        <a:pt x="102" y="108"/>
                        <a:pt x="103" y="108"/>
                      </a:cubicBezTo>
                      <a:cubicBezTo>
                        <a:pt x="103" y="107"/>
                        <a:pt x="103" y="106"/>
                        <a:pt x="103" y="106"/>
                      </a:cubicBezTo>
                      <a:cubicBezTo>
                        <a:pt x="103" y="106"/>
                        <a:pt x="103" y="105"/>
                        <a:pt x="103" y="105"/>
                      </a:cubicBezTo>
                      <a:cubicBezTo>
                        <a:pt x="103" y="105"/>
                        <a:pt x="104" y="105"/>
                        <a:pt x="104" y="105"/>
                      </a:cubicBezTo>
                      <a:cubicBezTo>
                        <a:pt x="104" y="104"/>
                        <a:pt x="104" y="103"/>
                        <a:pt x="104" y="103"/>
                      </a:cubicBezTo>
                      <a:cubicBezTo>
                        <a:pt x="104" y="102"/>
                        <a:pt x="104" y="102"/>
                        <a:pt x="104" y="102"/>
                      </a:cubicBezTo>
                      <a:cubicBezTo>
                        <a:pt x="104" y="101"/>
                        <a:pt x="104" y="101"/>
                        <a:pt x="104" y="101"/>
                      </a:cubicBezTo>
                      <a:cubicBezTo>
                        <a:pt x="104" y="101"/>
                        <a:pt x="103" y="101"/>
                        <a:pt x="103" y="101"/>
                      </a:cubicBezTo>
                      <a:cubicBezTo>
                        <a:pt x="103" y="101"/>
                        <a:pt x="103" y="101"/>
                        <a:pt x="103" y="101"/>
                      </a:cubicBezTo>
                      <a:cubicBezTo>
                        <a:pt x="103" y="101"/>
                        <a:pt x="103" y="101"/>
                        <a:pt x="103" y="102"/>
                      </a:cubicBezTo>
                      <a:cubicBezTo>
                        <a:pt x="103" y="102"/>
                        <a:pt x="103" y="102"/>
                        <a:pt x="103" y="102"/>
                      </a:cubicBezTo>
                      <a:cubicBezTo>
                        <a:pt x="103" y="102"/>
                        <a:pt x="103" y="102"/>
                        <a:pt x="103" y="102"/>
                      </a:cubicBezTo>
                      <a:close/>
                      <a:moveTo>
                        <a:pt x="104" y="119"/>
                      </a:moveTo>
                      <a:cubicBezTo>
                        <a:pt x="104" y="119"/>
                        <a:pt x="104" y="119"/>
                        <a:pt x="105" y="120"/>
                      </a:cubicBezTo>
                      <a:cubicBezTo>
                        <a:pt x="105" y="120"/>
                        <a:pt x="105" y="120"/>
                        <a:pt x="105" y="120"/>
                      </a:cubicBezTo>
                      <a:cubicBezTo>
                        <a:pt x="105" y="120"/>
                        <a:pt x="105" y="120"/>
                        <a:pt x="105" y="120"/>
                      </a:cubicBezTo>
                      <a:cubicBezTo>
                        <a:pt x="105" y="120"/>
                        <a:pt x="105" y="120"/>
                        <a:pt x="105" y="120"/>
                      </a:cubicBezTo>
                      <a:cubicBezTo>
                        <a:pt x="105" y="120"/>
                        <a:pt x="105" y="120"/>
                        <a:pt x="105" y="119"/>
                      </a:cubicBezTo>
                      <a:cubicBezTo>
                        <a:pt x="105" y="119"/>
                        <a:pt x="105" y="119"/>
                        <a:pt x="105" y="119"/>
                      </a:cubicBezTo>
                      <a:cubicBezTo>
                        <a:pt x="105" y="119"/>
                        <a:pt x="105" y="119"/>
                        <a:pt x="105" y="119"/>
                      </a:cubicBezTo>
                      <a:cubicBezTo>
                        <a:pt x="105" y="119"/>
                        <a:pt x="105" y="118"/>
                        <a:pt x="105" y="118"/>
                      </a:cubicBezTo>
                      <a:cubicBezTo>
                        <a:pt x="105" y="118"/>
                        <a:pt x="105" y="118"/>
                        <a:pt x="105" y="118"/>
                      </a:cubicBezTo>
                      <a:cubicBezTo>
                        <a:pt x="105" y="118"/>
                        <a:pt x="105" y="118"/>
                        <a:pt x="104" y="119"/>
                      </a:cubicBezTo>
                      <a:close/>
                      <a:moveTo>
                        <a:pt x="105" y="121"/>
                      </a:moveTo>
                      <a:cubicBezTo>
                        <a:pt x="105" y="121"/>
                        <a:pt x="105" y="121"/>
                        <a:pt x="105" y="121"/>
                      </a:cubicBezTo>
                      <a:cubicBezTo>
                        <a:pt x="105" y="122"/>
                        <a:pt x="105" y="122"/>
                        <a:pt x="105" y="122"/>
                      </a:cubicBezTo>
                      <a:cubicBezTo>
                        <a:pt x="105" y="122"/>
                        <a:pt x="105" y="123"/>
                        <a:pt x="105" y="123"/>
                      </a:cubicBezTo>
                      <a:cubicBezTo>
                        <a:pt x="105" y="123"/>
                        <a:pt x="105" y="123"/>
                        <a:pt x="105" y="123"/>
                      </a:cubicBezTo>
                      <a:cubicBezTo>
                        <a:pt x="105" y="123"/>
                        <a:pt x="104" y="123"/>
                        <a:pt x="104" y="123"/>
                      </a:cubicBezTo>
                      <a:cubicBezTo>
                        <a:pt x="104" y="123"/>
                        <a:pt x="104" y="123"/>
                        <a:pt x="104" y="123"/>
                      </a:cubicBezTo>
                      <a:cubicBezTo>
                        <a:pt x="105" y="123"/>
                        <a:pt x="105" y="123"/>
                        <a:pt x="105" y="124"/>
                      </a:cubicBezTo>
                      <a:cubicBezTo>
                        <a:pt x="105" y="124"/>
                        <a:pt x="105" y="124"/>
                        <a:pt x="105" y="123"/>
                      </a:cubicBezTo>
                      <a:cubicBezTo>
                        <a:pt x="105" y="123"/>
                        <a:pt x="105" y="123"/>
                        <a:pt x="105" y="123"/>
                      </a:cubicBezTo>
                      <a:cubicBezTo>
                        <a:pt x="105" y="123"/>
                        <a:pt x="105" y="123"/>
                        <a:pt x="105" y="123"/>
                      </a:cubicBezTo>
                      <a:cubicBezTo>
                        <a:pt x="105" y="122"/>
                        <a:pt x="105" y="122"/>
                        <a:pt x="105" y="122"/>
                      </a:cubicBezTo>
                      <a:cubicBezTo>
                        <a:pt x="105" y="122"/>
                        <a:pt x="105" y="122"/>
                        <a:pt x="105" y="122"/>
                      </a:cubicBezTo>
                      <a:cubicBezTo>
                        <a:pt x="105" y="122"/>
                        <a:pt x="105" y="122"/>
                        <a:pt x="106" y="121"/>
                      </a:cubicBezTo>
                      <a:cubicBezTo>
                        <a:pt x="106" y="121"/>
                        <a:pt x="106" y="121"/>
                        <a:pt x="105" y="121"/>
                      </a:cubicBezTo>
                      <a:cubicBezTo>
                        <a:pt x="105" y="121"/>
                        <a:pt x="105" y="121"/>
                        <a:pt x="105" y="121"/>
                      </a:cubicBezTo>
                      <a:cubicBezTo>
                        <a:pt x="105" y="121"/>
                        <a:pt x="105" y="121"/>
                        <a:pt x="105" y="121"/>
                      </a:cubicBezTo>
                      <a:cubicBezTo>
                        <a:pt x="105" y="121"/>
                        <a:pt x="105" y="121"/>
                        <a:pt x="105" y="121"/>
                      </a:cubicBezTo>
                      <a:close/>
                      <a:moveTo>
                        <a:pt x="74" y="133"/>
                      </a:moveTo>
                      <a:cubicBezTo>
                        <a:pt x="75" y="133"/>
                        <a:pt x="76" y="132"/>
                        <a:pt x="76" y="132"/>
                      </a:cubicBezTo>
                      <a:cubicBezTo>
                        <a:pt x="76" y="131"/>
                        <a:pt x="77" y="131"/>
                        <a:pt x="77" y="131"/>
                      </a:cubicBezTo>
                      <a:cubicBezTo>
                        <a:pt x="77" y="130"/>
                        <a:pt x="78" y="130"/>
                        <a:pt x="78" y="130"/>
                      </a:cubicBezTo>
                      <a:cubicBezTo>
                        <a:pt x="78" y="130"/>
                        <a:pt x="79" y="130"/>
                        <a:pt x="79" y="130"/>
                      </a:cubicBezTo>
                      <a:cubicBezTo>
                        <a:pt x="80" y="130"/>
                        <a:pt x="81" y="130"/>
                        <a:pt x="81" y="130"/>
                      </a:cubicBezTo>
                      <a:cubicBezTo>
                        <a:pt x="81" y="130"/>
                        <a:pt x="83" y="130"/>
                        <a:pt x="83" y="130"/>
                      </a:cubicBezTo>
                      <a:cubicBezTo>
                        <a:pt x="83" y="130"/>
                        <a:pt x="84" y="130"/>
                        <a:pt x="84" y="130"/>
                      </a:cubicBezTo>
                      <a:cubicBezTo>
                        <a:pt x="84" y="130"/>
                        <a:pt x="85" y="130"/>
                        <a:pt x="85" y="131"/>
                      </a:cubicBezTo>
                      <a:cubicBezTo>
                        <a:pt x="86" y="131"/>
                        <a:pt x="87" y="130"/>
                        <a:pt x="87" y="130"/>
                      </a:cubicBezTo>
                      <a:cubicBezTo>
                        <a:pt x="87" y="130"/>
                        <a:pt x="88" y="131"/>
                        <a:pt x="88" y="131"/>
                      </a:cubicBezTo>
                      <a:cubicBezTo>
                        <a:pt x="88" y="131"/>
                        <a:pt x="88" y="132"/>
                        <a:pt x="89" y="132"/>
                      </a:cubicBezTo>
                      <a:cubicBezTo>
                        <a:pt x="89" y="132"/>
                        <a:pt x="89" y="132"/>
                        <a:pt x="90" y="132"/>
                      </a:cubicBezTo>
                      <a:cubicBezTo>
                        <a:pt x="90" y="133"/>
                        <a:pt x="90" y="133"/>
                        <a:pt x="90" y="133"/>
                      </a:cubicBezTo>
                      <a:cubicBezTo>
                        <a:pt x="90" y="135"/>
                        <a:pt x="90" y="135"/>
                        <a:pt x="90" y="135"/>
                      </a:cubicBezTo>
                      <a:cubicBezTo>
                        <a:pt x="90" y="135"/>
                        <a:pt x="91" y="134"/>
                        <a:pt x="92" y="133"/>
                      </a:cubicBezTo>
                      <a:cubicBezTo>
                        <a:pt x="92" y="133"/>
                        <a:pt x="92" y="133"/>
                        <a:pt x="92" y="133"/>
                      </a:cubicBezTo>
                      <a:cubicBezTo>
                        <a:pt x="92" y="133"/>
                        <a:pt x="92" y="132"/>
                        <a:pt x="93" y="132"/>
                      </a:cubicBezTo>
                      <a:cubicBezTo>
                        <a:pt x="93" y="132"/>
                        <a:pt x="93" y="133"/>
                        <a:pt x="93" y="133"/>
                      </a:cubicBezTo>
                      <a:cubicBezTo>
                        <a:pt x="94" y="133"/>
                        <a:pt x="94" y="133"/>
                        <a:pt x="95" y="133"/>
                      </a:cubicBezTo>
                      <a:cubicBezTo>
                        <a:pt x="95" y="132"/>
                        <a:pt x="95" y="132"/>
                        <a:pt x="95" y="132"/>
                      </a:cubicBezTo>
                      <a:cubicBezTo>
                        <a:pt x="95" y="132"/>
                        <a:pt x="95" y="131"/>
                        <a:pt x="95" y="131"/>
                      </a:cubicBezTo>
                      <a:cubicBezTo>
                        <a:pt x="95" y="130"/>
                        <a:pt x="95" y="130"/>
                        <a:pt x="95" y="130"/>
                      </a:cubicBezTo>
                      <a:cubicBezTo>
                        <a:pt x="95" y="130"/>
                        <a:pt x="95" y="129"/>
                        <a:pt x="95" y="129"/>
                      </a:cubicBezTo>
                      <a:cubicBezTo>
                        <a:pt x="95" y="129"/>
                        <a:pt x="96" y="129"/>
                        <a:pt x="97" y="129"/>
                      </a:cubicBezTo>
                      <a:cubicBezTo>
                        <a:pt x="97" y="129"/>
                        <a:pt x="97" y="128"/>
                        <a:pt x="98" y="128"/>
                      </a:cubicBezTo>
                      <a:cubicBezTo>
                        <a:pt x="98" y="128"/>
                        <a:pt x="98" y="128"/>
                        <a:pt x="98" y="128"/>
                      </a:cubicBezTo>
                      <a:cubicBezTo>
                        <a:pt x="99" y="128"/>
                        <a:pt x="99" y="128"/>
                        <a:pt x="99" y="128"/>
                      </a:cubicBezTo>
                      <a:cubicBezTo>
                        <a:pt x="99" y="128"/>
                        <a:pt x="99" y="128"/>
                        <a:pt x="99" y="128"/>
                      </a:cubicBezTo>
                      <a:cubicBezTo>
                        <a:pt x="99" y="127"/>
                        <a:pt x="100" y="128"/>
                        <a:pt x="100" y="128"/>
                      </a:cubicBezTo>
                      <a:cubicBezTo>
                        <a:pt x="100" y="128"/>
                        <a:pt x="101" y="128"/>
                        <a:pt x="101" y="128"/>
                      </a:cubicBezTo>
                      <a:cubicBezTo>
                        <a:pt x="102" y="128"/>
                        <a:pt x="102" y="128"/>
                        <a:pt x="102" y="128"/>
                      </a:cubicBezTo>
                      <a:cubicBezTo>
                        <a:pt x="102" y="128"/>
                        <a:pt x="103" y="128"/>
                        <a:pt x="103" y="127"/>
                      </a:cubicBezTo>
                      <a:cubicBezTo>
                        <a:pt x="103" y="127"/>
                        <a:pt x="104" y="127"/>
                        <a:pt x="104" y="127"/>
                      </a:cubicBezTo>
                      <a:cubicBezTo>
                        <a:pt x="104" y="127"/>
                        <a:pt x="105" y="127"/>
                        <a:pt x="105" y="127"/>
                      </a:cubicBezTo>
                      <a:cubicBezTo>
                        <a:pt x="105" y="127"/>
                        <a:pt x="105" y="127"/>
                        <a:pt x="105" y="127"/>
                      </a:cubicBezTo>
                      <a:cubicBezTo>
                        <a:pt x="105" y="127"/>
                        <a:pt x="105" y="126"/>
                        <a:pt x="105" y="126"/>
                      </a:cubicBezTo>
                      <a:cubicBezTo>
                        <a:pt x="105" y="126"/>
                        <a:pt x="105" y="125"/>
                        <a:pt x="105" y="125"/>
                      </a:cubicBezTo>
                      <a:cubicBezTo>
                        <a:pt x="105" y="125"/>
                        <a:pt x="105" y="125"/>
                        <a:pt x="104" y="125"/>
                      </a:cubicBezTo>
                      <a:cubicBezTo>
                        <a:pt x="104" y="125"/>
                        <a:pt x="104" y="125"/>
                        <a:pt x="104" y="125"/>
                      </a:cubicBezTo>
                      <a:cubicBezTo>
                        <a:pt x="104" y="124"/>
                        <a:pt x="104" y="124"/>
                        <a:pt x="104" y="124"/>
                      </a:cubicBezTo>
                      <a:cubicBezTo>
                        <a:pt x="104" y="124"/>
                        <a:pt x="104" y="124"/>
                        <a:pt x="104" y="124"/>
                      </a:cubicBezTo>
                      <a:cubicBezTo>
                        <a:pt x="104" y="124"/>
                        <a:pt x="104" y="123"/>
                        <a:pt x="104" y="123"/>
                      </a:cubicBezTo>
                      <a:cubicBezTo>
                        <a:pt x="104" y="123"/>
                        <a:pt x="104" y="123"/>
                        <a:pt x="104" y="122"/>
                      </a:cubicBezTo>
                      <a:cubicBezTo>
                        <a:pt x="104" y="122"/>
                        <a:pt x="104" y="122"/>
                        <a:pt x="103" y="122"/>
                      </a:cubicBezTo>
                      <a:cubicBezTo>
                        <a:pt x="103" y="121"/>
                        <a:pt x="103" y="121"/>
                        <a:pt x="103" y="121"/>
                      </a:cubicBezTo>
                      <a:cubicBezTo>
                        <a:pt x="103" y="121"/>
                        <a:pt x="103" y="121"/>
                        <a:pt x="102" y="120"/>
                      </a:cubicBezTo>
                      <a:cubicBezTo>
                        <a:pt x="102" y="120"/>
                        <a:pt x="102" y="120"/>
                        <a:pt x="102" y="120"/>
                      </a:cubicBezTo>
                      <a:cubicBezTo>
                        <a:pt x="102" y="119"/>
                        <a:pt x="102" y="120"/>
                        <a:pt x="102" y="119"/>
                      </a:cubicBezTo>
                      <a:cubicBezTo>
                        <a:pt x="102" y="119"/>
                        <a:pt x="102" y="119"/>
                        <a:pt x="102" y="119"/>
                      </a:cubicBezTo>
                      <a:cubicBezTo>
                        <a:pt x="102" y="119"/>
                        <a:pt x="102" y="119"/>
                        <a:pt x="103" y="119"/>
                      </a:cubicBezTo>
                      <a:cubicBezTo>
                        <a:pt x="103" y="119"/>
                        <a:pt x="103" y="118"/>
                        <a:pt x="103" y="118"/>
                      </a:cubicBezTo>
                      <a:cubicBezTo>
                        <a:pt x="103" y="118"/>
                        <a:pt x="103" y="118"/>
                        <a:pt x="103" y="118"/>
                      </a:cubicBezTo>
                      <a:cubicBezTo>
                        <a:pt x="103" y="118"/>
                        <a:pt x="103" y="117"/>
                        <a:pt x="103" y="117"/>
                      </a:cubicBezTo>
                      <a:cubicBezTo>
                        <a:pt x="103" y="117"/>
                        <a:pt x="103" y="116"/>
                        <a:pt x="103" y="116"/>
                      </a:cubicBezTo>
                      <a:cubicBezTo>
                        <a:pt x="103" y="116"/>
                        <a:pt x="103" y="115"/>
                        <a:pt x="103" y="115"/>
                      </a:cubicBezTo>
                      <a:cubicBezTo>
                        <a:pt x="102" y="115"/>
                        <a:pt x="102" y="115"/>
                        <a:pt x="102" y="115"/>
                      </a:cubicBezTo>
                      <a:cubicBezTo>
                        <a:pt x="102" y="114"/>
                        <a:pt x="102" y="114"/>
                        <a:pt x="102" y="114"/>
                      </a:cubicBezTo>
                      <a:cubicBezTo>
                        <a:pt x="102" y="114"/>
                        <a:pt x="103" y="114"/>
                        <a:pt x="103" y="113"/>
                      </a:cubicBezTo>
                      <a:cubicBezTo>
                        <a:pt x="103" y="113"/>
                        <a:pt x="103" y="113"/>
                        <a:pt x="103" y="113"/>
                      </a:cubicBezTo>
                      <a:cubicBezTo>
                        <a:pt x="102" y="113"/>
                        <a:pt x="102" y="113"/>
                        <a:pt x="102" y="113"/>
                      </a:cubicBezTo>
                      <a:cubicBezTo>
                        <a:pt x="102" y="112"/>
                        <a:pt x="102" y="112"/>
                        <a:pt x="102" y="112"/>
                      </a:cubicBezTo>
                      <a:cubicBezTo>
                        <a:pt x="102" y="112"/>
                        <a:pt x="102" y="112"/>
                        <a:pt x="102" y="112"/>
                      </a:cubicBezTo>
                      <a:cubicBezTo>
                        <a:pt x="102" y="112"/>
                        <a:pt x="102" y="112"/>
                        <a:pt x="102" y="112"/>
                      </a:cubicBezTo>
                      <a:cubicBezTo>
                        <a:pt x="103" y="112"/>
                        <a:pt x="103" y="112"/>
                        <a:pt x="103" y="112"/>
                      </a:cubicBezTo>
                      <a:cubicBezTo>
                        <a:pt x="103" y="111"/>
                        <a:pt x="103" y="111"/>
                        <a:pt x="103" y="111"/>
                      </a:cubicBezTo>
                      <a:cubicBezTo>
                        <a:pt x="103" y="111"/>
                        <a:pt x="103" y="110"/>
                        <a:pt x="103" y="110"/>
                      </a:cubicBezTo>
                      <a:cubicBezTo>
                        <a:pt x="103" y="110"/>
                        <a:pt x="103" y="110"/>
                        <a:pt x="102" y="109"/>
                      </a:cubicBezTo>
                      <a:cubicBezTo>
                        <a:pt x="102" y="109"/>
                        <a:pt x="102" y="109"/>
                        <a:pt x="102" y="109"/>
                      </a:cubicBezTo>
                      <a:cubicBezTo>
                        <a:pt x="101" y="109"/>
                        <a:pt x="101" y="108"/>
                        <a:pt x="101" y="108"/>
                      </a:cubicBezTo>
                      <a:cubicBezTo>
                        <a:pt x="101" y="108"/>
                        <a:pt x="101" y="108"/>
                        <a:pt x="101" y="108"/>
                      </a:cubicBezTo>
                      <a:cubicBezTo>
                        <a:pt x="101" y="107"/>
                        <a:pt x="101" y="106"/>
                        <a:pt x="101" y="106"/>
                      </a:cubicBezTo>
                      <a:cubicBezTo>
                        <a:pt x="101" y="106"/>
                        <a:pt x="101" y="105"/>
                        <a:pt x="101" y="105"/>
                      </a:cubicBezTo>
                      <a:cubicBezTo>
                        <a:pt x="101" y="105"/>
                        <a:pt x="101" y="105"/>
                        <a:pt x="100" y="105"/>
                      </a:cubicBezTo>
                      <a:cubicBezTo>
                        <a:pt x="100" y="105"/>
                        <a:pt x="100" y="105"/>
                        <a:pt x="100" y="105"/>
                      </a:cubicBezTo>
                      <a:cubicBezTo>
                        <a:pt x="100" y="105"/>
                        <a:pt x="100" y="104"/>
                        <a:pt x="99" y="104"/>
                      </a:cubicBezTo>
                      <a:cubicBezTo>
                        <a:pt x="99" y="104"/>
                        <a:pt x="99" y="104"/>
                        <a:pt x="99" y="103"/>
                      </a:cubicBezTo>
                      <a:cubicBezTo>
                        <a:pt x="99" y="103"/>
                        <a:pt x="99" y="103"/>
                        <a:pt x="98" y="103"/>
                      </a:cubicBezTo>
                      <a:cubicBezTo>
                        <a:pt x="98" y="103"/>
                        <a:pt x="98" y="103"/>
                        <a:pt x="98" y="103"/>
                      </a:cubicBezTo>
                      <a:cubicBezTo>
                        <a:pt x="98" y="102"/>
                        <a:pt x="98" y="102"/>
                        <a:pt x="98" y="101"/>
                      </a:cubicBezTo>
                      <a:cubicBezTo>
                        <a:pt x="98" y="101"/>
                        <a:pt x="98" y="101"/>
                        <a:pt x="98" y="101"/>
                      </a:cubicBezTo>
                      <a:cubicBezTo>
                        <a:pt x="97" y="101"/>
                        <a:pt x="97" y="101"/>
                        <a:pt x="97" y="100"/>
                      </a:cubicBezTo>
                      <a:cubicBezTo>
                        <a:pt x="96" y="100"/>
                        <a:pt x="96" y="100"/>
                        <a:pt x="96" y="100"/>
                      </a:cubicBezTo>
                      <a:cubicBezTo>
                        <a:pt x="96" y="99"/>
                        <a:pt x="96" y="99"/>
                        <a:pt x="95" y="99"/>
                      </a:cubicBezTo>
                      <a:cubicBezTo>
                        <a:pt x="95" y="99"/>
                        <a:pt x="95" y="98"/>
                        <a:pt x="95" y="98"/>
                      </a:cubicBezTo>
                      <a:cubicBezTo>
                        <a:pt x="95" y="98"/>
                        <a:pt x="95" y="98"/>
                        <a:pt x="95" y="97"/>
                      </a:cubicBezTo>
                      <a:cubicBezTo>
                        <a:pt x="94" y="97"/>
                        <a:pt x="94" y="97"/>
                        <a:pt x="94" y="96"/>
                      </a:cubicBezTo>
                      <a:cubicBezTo>
                        <a:pt x="94" y="96"/>
                        <a:pt x="93" y="96"/>
                        <a:pt x="93" y="96"/>
                      </a:cubicBezTo>
                      <a:cubicBezTo>
                        <a:pt x="93" y="96"/>
                        <a:pt x="93" y="96"/>
                        <a:pt x="93" y="96"/>
                      </a:cubicBezTo>
                      <a:cubicBezTo>
                        <a:pt x="93" y="96"/>
                        <a:pt x="92" y="96"/>
                        <a:pt x="92" y="96"/>
                      </a:cubicBezTo>
                      <a:cubicBezTo>
                        <a:pt x="92" y="96"/>
                        <a:pt x="91" y="96"/>
                        <a:pt x="91" y="96"/>
                      </a:cubicBezTo>
                      <a:cubicBezTo>
                        <a:pt x="91" y="96"/>
                        <a:pt x="91" y="95"/>
                        <a:pt x="91" y="95"/>
                      </a:cubicBezTo>
                      <a:cubicBezTo>
                        <a:pt x="91" y="95"/>
                        <a:pt x="90" y="94"/>
                        <a:pt x="90" y="94"/>
                      </a:cubicBezTo>
                      <a:cubicBezTo>
                        <a:pt x="90" y="94"/>
                        <a:pt x="90" y="94"/>
                        <a:pt x="89" y="94"/>
                      </a:cubicBezTo>
                      <a:cubicBezTo>
                        <a:pt x="89" y="94"/>
                        <a:pt x="89" y="94"/>
                        <a:pt x="89" y="94"/>
                      </a:cubicBezTo>
                      <a:cubicBezTo>
                        <a:pt x="89" y="93"/>
                        <a:pt x="89" y="93"/>
                        <a:pt x="89" y="93"/>
                      </a:cubicBezTo>
                      <a:cubicBezTo>
                        <a:pt x="89" y="93"/>
                        <a:pt x="90" y="94"/>
                        <a:pt x="90" y="94"/>
                      </a:cubicBezTo>
                      <a:cubicBezTo>
                        <a:pt x="90" y="94"/>
                        <a:pt x="90" y="94"/>
                        <a:pt x="90" y="94"/>
                      </a:cubicBezTo>
                      <a:cubicBezTo>
                        <a:pt x="90" y="93"/>
                        <a:pt x="90" y="93"/>
                        <a:pt x="90" y="93"/>
                      </a:cubicBezTo>
                      <a:cubicBezTo>
                        <a:pt x="90" y="93"/>
                        <a:pt x="90" y="93"/>
                        <a:pt x="90" y="92"/>
                      </a:cubicBezTo>
                      <a:cubicBezTo>
                        <a:pt x="90" y="92"/>
                        <a:pt x="90" y="92"/>
                        <a:pt x="90" y="92"/>
                      </a:cubicBezTo>
                      <a:cubicBezTo>
                        <a:pt x="90" y="92"/>
                        <a:pt x="90" y="92"/>
                        <a:pt x="89" y="91"/>
                      </a:cubicBezTo>
                      <a:cubicBezTo>
                        <a:pt x="89" y="91"/>
                        <a:pt x="89" y="91"/>
                        <a:pt x="88" y="91"/>
                      </a:cubicBezTo>
                      <a:cubicBezTo>
                        <a:pt x="88" y="91"/>
                        <a:pt x="88" y="92"/>
                        <a:pt x="88" y="92"/>
                      </a:cubicBezTo>
                      <a:cubicBezTo>
                        <a:pt x="88" y="92"/>
                        <a:pt x="87" y="92"/>
                        <a:pt x="87" y="92"/>
                      </a:cubicBezTo>
                      <a:cubicBezTo>
                        <a:pt x="87" y="92"/>
                        <a:pt x="87" y="92"/>
                        <a:pt x="87" y="92"/>
                      </a:cubicBezTo>
                      <a:cubicBezTo>
                        <a:pt x="87" y="91"/>
                        <a:pt x="87" y="91"/>
                        <a:pt x="87" y="91"/>
                      </a:cubicBezTo>
                      <a:cubicBezTo>
                        <a:pt x="87" y="91"/>
                        <a:pt x="87" y="90"/>
                        <a:pt x="87" y="90"/>
                      </a:cubicBezTo>
                      <a:cubicBezTo>
                        <a:pt x="87" y="90"/>
                        <a:pt x="87" y="90"/>
                        <a:pt x="87" y="89"/>
                      </a:cubicBezTo>
                      <a:cubicBezTo>
                        <a:pt x="87" y="88"/>
                        <a:pt x="87" y="89"/>
                        <a:pt x="87" y="88"/>
                      </a:cubicBezTo>
                      <a:cubicBezTo>
                        <a:pt x="87" y="88"/>
                        <a:pt x="87" y="88"/>
                        <a:pt x="87" y="88"/>
                      </a:cubicBezTo>
                      <a:cubicBezTo>
                        <a:pt x="87" y="88"/>
                        <a:pt x="87" y="88"/>
                        <a:pt x="87" y="87"/>
                      </a:cubicBezTo>
                      <a:cubicBezTo>
                        <a:pt x="87" y="87"/>
                        <a:pt x="87" y="87"/>
                        <a:pt x="87" y="87"/>
                      </a:cubicBezTo>
                      <a:cubicBezTo>
                        <a:pt x="87" y="87"/>
                        <a:pt x="87" y="86"/>
                        <a:pt x="87" y="86"/>
                      </a:cubicBezTo>
                      <a:cubicBezTo>
                        <a:pt x="87" y="85"/>
                        <a:pt x="87" y="85"/>
                        <a:pt x="87" y="85"/>
                      </a:cubicBezTo>
                      <a:cubicBezTo>
                        <a:pt x="87" y="85"/>
                        <a:pt x="87" y="85"/>
                        <a:pt x="87" y="85"/>
                      </a:cubicBezTo>
                      <a:cubicBezTo>
                        <a:pt x="86" y="85"/>
                        <a:pt x="86" y="85"/>
                        <a:pt x="86" y="84"/>
                      </a:cubicBezTo>
                      <a:cubicBezTo>
                        <a:pt x="86" y="84"/>
                        <a:pt x="86" y="84"/>
                        <a:pt x="86" y="84"/>
                      </a:cubicBezTo>
                      <a:cubicBezTo>
                        <a:pt x="86" y="84"/>
                        <a:pt x="86" y="84"/>
                        <a:pt x="86" y="84"/>
                      </a:cubicBezTo>
                      <a:cubicBezTo>
                        <a:pt x="86" y="83"/>
                        <a:pt x="86" y="83"/>
                        <a:pt x="86" y="83"/>
                      </a:cubicBezTo>
                      <a:cubicBezTo>
                        <a:pt x="86" y="83"/>
                        <a:pt x="86" y="83"/>
                        <a:pt x="85" y="83"/>
                      </a:cubicBezTo>
                      <a:cubicBezTo>
                        <a:pt x="85" y="83"/>
                        <a:pt x="85" y="83"/>
                        <a:pt x="85" y="83"/>
                      </a:cubicBezTo>
                      <a:cubicBezTo>
                        <a:pt x="85" y="82"/>
                        <a:pt x="85" y="82"/>
                        <a:pt x="85" y="82"/>
                      </a:cubicBezTo>
                      <a:cubicBezTo>
                        <a:pt x="85" y="82"/>
                        <a:pt x="85" y="83"/>
                        <a:pt x="85" y="83"/>
                      </a:cubicBezTo>
                      <a:cubicBezTo>
                        <a:pt x="85" y="83"/>
                        <a:pt x="85" y="83"/>
                        <a:pt x="85" y="83"/>
                      </a:cubicBezTo>
                      <a:cubicBezTo>
                        <a:pt x="85" y="83"/>
                        <a:pt x="85" y="84"/>
                        <a:pt x="85" y="84"/>
                      </a:cubicBezTo>
                      <a:cubicBezTo>
                        <a:pt x="85" y="84"/>
                        <a:pt x="85" y="84"/>
                        <a:pt x="85" y="84"/>
                      </a:cubicBezTo>
                      <a:cubicBezTo>
                        <a:pt x="86" y="84"/>
                        <a:pt x="85" y="85"/>
                        <a:pt x="85" y="85"/>
                      </a:cubicBezTo>
                      <a:cubicBezTo>
                        <a:pt x="85" y="85"/>
                        <a:pt x="85" y="85"/>
                        <a:pt x="85" y="84"/>
                      </a:cubicBezTo>
                      <a:cubicBezTo>
                        <a:pt x="84" y="84"/>
                        <a:pt x="84" y="84"/>
                        <a:pt x="84" y="84"/>
                      </a:cubicBezTo>
                      <a:cubicBezTo>
                        <a:pt x="84" y="84"/>
                        <a:pt x="84" y="84"/>
                        <a:pt x="84" y="84"/>
                      </a:cubicBezTo>
                      <a:cubicBezTo>
                        <a:pt x="83" y="84"/>
                        <a:pt x="83" y="83"/>
                        <a:pt x="83" y="83"/>
                      </a:cubicBezTo>
                      <a:cubicBezTo>
                        <a:pt x="83" y="83"/>
                        <a:pt x="82" y="83"/>
                        <a:pt x="82" y="82"/>
                      </a:cubicBezTo>
                      <a:cubicBezTo>
                        <a:pt x="82" y="82"/>
                        <a:pt x="82" y="82"/>
                        <a:pt x="82" y="82"/>
                      </a:cubicBezTo>
                      <a:cubicBezTo>
                        <a:pt x="82" y="81"/>
                        <a:pt x="81" y="82"/>
                        <a:pt x="81" y="81"/>
                      </a:cubicBezTo>
                      <a:cubicBezTo>
                        <a:pt x="81" y="81"/>
                        <a:pt x="81" y="81"/>
                        <a:pt x="81" y="81"/>
                      </a:cubicBezTo>
                      <a:cubicBezTo>
                        <a:pt x="81" y="81"/>
                        <a:pt x="81" y="81"/>
                        <a:pt x="81" y="82"/>
                      </a:cubicBezTo>
                      <a:cubicBezTo>
                        <a:pt x="81" y="82"/>
                        <a:pt x="81" y="82"/>
                        <a:pt x="81" y="82"/>
                      </a:cubicBezTo>
                      <a:cubicBezTo>
                        <a:pt x="81" y="83"/>
                        <a:pt x="81" y="83"/>
                        <a:pt x="81" y="83"/>
                      </a:cubicBezTo>
                      <a:cubicBezTo>
                        <a:pt x="81" y="83"/>
                        <a:pt x="81" y="84"/>
                        <a:pt x="81" y="84"/>
                      </a:cubicBezTo>
                      <a:cubicBezTo>
                        <a:pt x="81" y="84"/>
                        <a:pt x="81" y="84"/>
                        <a:pt x="81" y="84"/>
                      </a:cubicBezTo>
                      <a:cubicBezTo>
                        <a:pt x="81" y="84"/>
                        <a:pt x="81" y="84"/>
                        <a:pt x="81" y="84"/>
                      </a:cubicBezTo>
                      <a:cubicBezTo>
                        <a:pt x="80" y="84"/>
                        <a:pt x="80" y="84"/>
                        <a:pt x="80" y="84"/>
                      </a:cubicBezTo>
                      <a:cubicBezTo>
                        <a:pt x="80" y="84"/>
                        <a:pt x="80" y="84"/>
                        <a:pt x="80" y="84"/>
                      </a:cubicBezTo>
                      <a:cubicBezTo>
                        <a:pt x="79" y="84"/>
                        <a:pt x="79" y="83"/>
                        <a:pt x="79" y="83"/>
                      </a:cubicBezTo>
                      <a:cubicBezTo>
                        <a:pt x="79" y="83"/>
                        <a:pt x="79" y="83"/>
                        <a:pt x="79" y="83"/>
                      </a:cubicBezTo>
                      <a:cubicBezTo>
                        <a:pt x="79" y="83"/>
                        <a:pt x="79" y="82"/>
                        <a:pt x="79" y="82"/>
                      </a:cubicBezTo>
                      <a:cubicBezTo>
                        <a:pt x="79" y="82"/>
                        <a:pt x="78" y="82"/>
                        <a:pt x="78" y="82"/>
                      </a:cubicBezTo>
                      <a:cubicBezTo>
                        <a:pt x="78" y="82"/>
                        <a:pt x="78" y="82"/>
                        <a:pt x="78" y="82"/>
                      </a:cubicBezTo>
                      <a:cubicBezTo>
                        <a:pt x="78" y="82"/>
                        <a:pt x="78" y="81"/>
                        <a:pt x="78" y="81"/>
                      </a:cubicBezTo>
                      <a:cubicBezTo>
                        <a:pt x="78" y="81"/>
                        <a:pt x="78" y="80"/>
                        <a:pt x="78" y="80"/>
                      </a:cubicBezTo>
                      <a:cubicBezTo>
                        <a:pt x="78" y="80"/>
                        <a:pt x="78" y="80"/>
                        <a:pt x="78" y="80"/>
                      </a:cubicBezTo>
                      <a:cubicBezTo>
                        <a:pt x="78" y="79"/>
                        <a:pt x="78" y="79"/>
                        <a:pt x="78" y="79"/>
                      </a:cubicBezTo>
                      <a:cubicBezTo>
                        <a:pt x="78" y="79"/>
                        <a:pt x="78" y="79"/>
                        <a:pt x="78" y="78"/>
                      </a:cubicBezTo>
                      <a:cubicBezTo>
                        <a:pt x="78" y="78"/>
                        <a:pt x="78" y="78"/>
                        <a:pt x="78" y="78"/>
                      </a:cubicBezTo>
                      <a:cubicBezTo>
                        <a:pt x="78" y="78"/>
                        <a:pt x="78" y="77"/>
                        <a:pt x="78" y="77"/>
                      </a:cubicBezTo>
                      <a:cubicBezTo>
                        <a:pt x="78" y="77"/>
                        <a:pt x="78" y="77"/>
                        <a:pt x="77" y="77"/>
                      </a:cubicBezTo>
                      <a:cubicBezTo>
                        <a:pt x="77" y="77"/>
                        <a:pt x="77" y="77"/>
                        <a:pt x="77" y="77"/>
                      </a:cubicBezTo>
                      <a:cubicBezTo>
                        <a:pt x="77" y="77"/>
                        <a:pt x="77" y="76"/>
                        <a:pt x="77" y="76"/>
                      </a:cubicBezTo>
                      <a:cubicBezTo>
                        <a:pt x="77" y="76"/>
                        <a:pt x="77" y="75"/>
                        <a:pt x="77" y="75"/>
                      </a:cubicBezTo>
                      <a:cubicBezTo>
                        <a:pt x="77" y="75"/>
                        <a:pt x="76" y="75"/>
                        <a:pt x="76" y="75"/>
                      </a:cubicBezTo>
                      <a:cubicBezTo>
                        <a:pt x="76" y="75"/>
                        <a:pt x="76" y="75"/>
                        <a:pt x="76" y="75"/>
                      </a:cubicBezTo>
                      <a:cubicBezTo>
                        <a:pt x="76" y="75"/>
                        <a:pt x="76" y="75"/>
                        <a:pt x="76" y="75"/>
                      </a:cubicBezTo>
                      <a:cubicBezTo>
                        <a:pt x="76" y="75"/>
                        <a:pt x="76" y="74"/>
                        <a:pt x="76" y="74"/>
                      </a:cubicBezTo>
                      <a:cubicBezTo>
                        <a:pt x="76" y="74"/>
                        <a:pt x="76" y="74"/>
                        <a:pt x="76" y="74"/>
                      </a:cubicBezTo>
                      <a:cubicBezTo>
                        <a:pt x="76" y="74"/>
                        <a:pt x="76" y="73"/>
                        <a:pt x="76" y="73"/>
                      </a:cubicBezTo>
                      <a:cubicBezTo>
                        <a:pt x="76" y="73"/>
                        <a:pt x="76" y="73"/>
                        <a:pt x="75" y="73"/>
                      </a:cubicBezTo>
                      <a:cubicBezTo>
                        <a:pt x="75" y="73"/>
                        <a:pt x="75" y="73"/>
                        <a:pt x="75" y="73"/>
                      </a:cubicBezTo>
                      <a:cubicBezTo>
                        <a:pt x="75" y="73"/>
                        <a:pt x="75" y="73"/>
                        <a:pt x="75" y="73"/>
                      </a:cubicBezTo>
                      <a:cubicBezTo>
                        <a:pt x="75" y="73"/>
                        <a:pt x="74" y="73"/>
                        <a:pt x="74" y="73"/>
                      </a:cubicBezTo>
                      <a:cubicBezTo>
                        <a:pt x="74" y="73"/>
                        <a:pt x="74" y="72"/>
                        <a:pt x="74" y="72"/>
                      </a:cubicBezTo>
                      <a:cubicBezTo>
                        <a:pt x="73" y="72"/>
                        <a:pt x="73" y="72"/>
                        <a:pt x="73" y="72"/>
                      </a:cubicBezTo>
                      <a:cubicBezTo>
                        <a:pt x="73" y="72"/>
                        <a:pt x="73" y="72"/>
                        <a:pt x="73" y="72"/>
                      </a:cubicBezTo>
                      <a:cubicBezTo>
                        <a:pt x="73" y="71"/>
                        <a:pt x="73" y="71"/>
                        <a:pt x="73" y="71"/>
                      </a:cubicBezTo>
                      <a:cubicBezTo>
                        <a:pt x="73" y="71"/>
                        <a:pt x="73" y="71"/>
                        <a:pt x="73" y="71"/>
                      </a:cubicBezTo>
                      <a:cubicBezTo>
                        <a:pt x="73" y="71"/>
                        <a:pt x="73" y="70"/>
                        <a:pt x="73" y="70"/>
                      </a:cubicBezTo>
                      <a:cubicBezTo>
                        <a:pt x="72" y="70"/>
                        <a:pt x="73" y="70"/>
                        <a:pt x="73" y="70"/>
                      </a:cubicBezTo>
                      <a:cubicBezTo>
                        <a:pt x="73" y="69"/>
                        <a:pt x="73" y="69"/>
                        <a:pt x="73" y="69"/>
                      </a:cubicBezTo>
                      <a:cubicBezTo>
                        <a:pt x="73" y="69"/>
                        <a:pt x="73" y="69"/>
                        <a:pt x="73" y="69"/>
                      </a:cubicBezTo>
                      <a:cubicBezTo>
                        <a:pt x="73" y="69"/>
                        <a:pt x="74" y="70"/>
                        <a:pt x="74" y="70"/>
                      </a:cubicBezTo>
                      <a:cubicBezTo>
                        <a:pt x="74" y="69"/>
                        <a:pt x="74" y="69"/>
                        <a:pt x="74" y="69"/>
                      </a:cubicBezTo>
                      <a:cubicBezTo>
                        <a:pt x="74" y="69"/>
                        <a:pt x="74" y="69"/>
                        <a:pt x="73" y="68"/>
                      </a:cubicBezTo>
                      <a:cubicBezTo>
                        <a:pt x="73" y="68"/>
                        <a:pt x="73" y="68"/>
                        <a:pt x="73" y="68"/>
                      </a:cubicBezTo>
                      <a:cubicBezTo>
                        <a:pt x="73" y="68"/>
                        <a:pt x="73" y="68"/>
                        <a:pt x="73" y="68"/>
                      </a:cubicBezTo>
                      <a:cubicBezTo>
                        <a:pt x="73" y="68"/>
                        <a:pt x="73" y="68"/>
                        <a:pt x="72" y="68"/>
                      </a:cubicBezTo>
                      <a:cubicBezTo>
                        <a:pt x="72" y="68"/>
                        <a:pt x="72" y="68"/>
                        <a:pt x="72" y="67"/>
                      </a:cubicBezTo>
                      <a:cubicBezTo>
                        <a:pt x="72" y="67"/>
                        <a:pt x="72" y="67"/>
                        <a:pt x="72" y="67"/>
                      </a:cubicBezTo>
                      <a:cubicBezTo>
                        <a:pt x="72" y="67"/>
                        <a:pt x="72" y="67"/>
                        <a:pt x="72" y="67"/>
                      </a:cubicBezTo>
                      <a:cubicBezTo>
                        <a:pt x="71" y="66"/>
                        <a:pt x="71" y="67"/>
                        <a:pt x="71" y="67"/>
                      </a:cubicBezTo>
                      <a:cubicBezTo>
                        <a:pt x="71" y="67"/>
                        <a:pt x="71" y="67"/>
                        <a:pt x="70" y="67"/>
                      </a:cubicBezTo>
                      <a:cubicBezTo>
                        <a:pt x="70" y="67"/>
                        <a:pt x="70" y="67"/>
                        <a:pt x="70" y="67"/>
                      </a:cubicBezTo>
                      <a:cubicBezTo>
                        <a:pt x="70" y="66"/>
                        <a:pt x="69" y="66"/>
                        <a:pt x="69" y="66"/>
                      </a:cubicBezTo>
                      <a:cubicBezTo>
                        <a:pt x="69" y="65"/>
                        <a:pt x="69" y="66"/>
                        <a:pt x="68" y="65"/>
                      </a:cubicBezTo>
                      <a:cubicBezTo>
                        <a:pt x="68" y="65"/>
                        <a:pt x="67" y="65"/>
                        <a:pt x="67" y="65"/>
                      </a:cubicBezTo>
                      <a:cubicBezTo>
                        <a:pt x="67" y="65"/>
                        <a:pt x="67" y="64"/>
                        <a:pt x="67" y="64"/>
                      </a:cubicBezTo>
                      <a:cubicBezTo>
                        <a:pt x="67" y="64"/>
                        <a:pt x="66" y="64"/>
                        <a:pt x="66" y="64"/>
                      </a:cubicBezTo>
                      <a:cubicBezTo>
                        <a:pt x="66" y="64"/>
                        <a:pt x="66" y="64"/>
                        <a:pt x="66" y="65"/>
                      </a:cubicBezTo>
                      <a:cubicBezTo>
                        <a:pt x="66" y="65"/>
                        <a:pt x="66" y="65"/>
                        <a:pt x="66" y="65"/>
                      </a:cubicBezTo>
                      <a:cubicBezTo>
                        <a:pt x="65" y="65"/>
                        <a:pt x="65" y="64"/>
                        <a:pt x="65" y="64"/>
                      </a:cubicBezTo>
                      <a:cubicBezTo>
                        <a:pt x="64" y="64"/>
                        <a:pt x="65" y="64"/>
                        <a:pt x="65" y="63"/>
                      </a:cubicBezTo>
                      <a:cubicBezTo>
                        <a:pt x="65" y="63"/>
                        <a:pt x="65" y="63"/>
                        <a:pt x="65" y="63"/>
                      </a:cubicBezTo>
                      <a:cubicBezTo>
                        <a:pt x="65" y="63"/>
                        <a:pt x="65" y="63"/>
                        <a:pt x="65" y="63"/>
                      </a:cubicBezTo>
                      <a:cubicBezTo>
                        <a:pt x="65" y="62"/>
                        <a:pt x="65" y="62"/>
                        <a:pt x="64" y="62"/>
                      </a:cubicBezTo>
                      <a:cubicBezTo>
                        <a:pt x="64" y="62"/>
                        <a:pt x="64" y="62"/>
                        <a:pt x="63" y="62"/>
                      </a:cubicBezTo>
                      <a:cubicBezTo>
                        <a:pt x="63" y="62"/>
                        <a:pt x="62" y="62"/>
                        <a:pt x="62" y="62"/>
                      </a:cubicBezTo>
                      <a:cubicBezTo>
                        <a:pt x="62" y="62"/>
                        <a:pt x="62" y="61"/>
                        <a:pt x="62" y="61"/>
                      </a:cubicBezTo>
                      <a:cubicBezTo>
                        <a:pt x="61" y="61"/>
                        <a:pt x="61" y="61"/>
                        <a:pt x="61" y="61"/>
                      </a:cubicBezTo>
                      <a:cubicBezTo>
                        <a:pt x="61" y="60"/>
                        <a:pt x="61" y="61"/>
                        <a:pt x="61" y="61"/>
                      </a:cubicBezTo>
                      <a:cubicBezTo>
                        <a:pt x="61" y="61"/>
                        <a:pt x="61" y="61"/>
                        <a:pt x="60" y="61"/>
                      </a:cubicBezTo>
                      <a:cubicBezTo>
                        <a:pt x="60" y="61"/>
                        <a:pt x="60" y="61"/>
                        <a:pt x="60" y="60"/>
                      </a:cubicBezTo>
                      <a:cubicBezTo>
                        <a:pt x="60" y="60"/>
                        <a:pt x="59" y="60"/>
                        <a:pt x="59" y="60"/>
                      </a:cubicBezTo>
                      <a:cubicBezTo>
                        <a:pt x="59" y="60"/>
                        <a:pt x="59" y="60"/>
                        <a:pt x="58" y="60"/>
                      </a:cubicBezTo>
                      <a:cubicBezTo>
                        <a:pt x="58" y="60"/>
                        <a:pt x="57" y="59"/>
                        <a:pt x="57" y="59"/>
                      </a:cubicBezTo>
                      <a:cubicBezTo>
                        <a:pt x="57" y="59"/>
                        <a:pt x="57" y="59"/>
                        <a:pt x="56" y="58"/>
                      </a:cubicBezTo>
                      <a:cubicBezTo>
                        <a:pt x="56" y="58"/>
                        <a:pt x="56" y="58"/>
                        <a:pt x="56" y="58"/>
                      </a:cubicBezTo>
                      <a:cubicBezTo>
                        <a:pt x="56" y="58"/>
                        <a:pt x="56" y="57"/>
                        <a:pt x="56" y="57"/>
                      </a:cubicBezTo>
                      <a:cubicBezTo>
                        <a:pt x="56" y="57"/>
                        <a:pt x="56" y="57"/>
                        <a:pt x="56" y="56"/>
                      </a:cubicBezTo>
                      <a:cubicBezTo>
                        <a:pt x="57" y="56"/>
                        <a:pt x="57" y="55"/>
                        <a:pt x="56" y="55"/>
                      </a:cubicBezTo>
                      <a:cubicBezTo>
                        <a:pt x="56" y="54"/>
                        <a:pt x="56" y="54"/>
                        <a:pt x="56" y="54"/>
                      </a:cubicBezTo>
                      <a:cubicBezTo>
                        <a:pt x="56" y="54"/>
                        <a:pt x="56" y="54"/>
                        <a:pt x="56" y="54"/>
                      </a:cubicBezTo>
                      <a:cubicBezTo>
                        <a:pt x="55" y="54"/>
                        <a:pt x="55" y="54"/>
                        <a:pt x="55" y="54"/>
                      </a:cubicBezTo>
                      <a:cubicBezTo>
                        <a:pt x="55" y="54"/>
                        <a:pt x="54" y="53"/>
                        <a:pt x="54" y="53"/>
                      </a:cubicBezTo>
                      <a:cubicBezTo>
                        <a:pt x="54" y="53"/>
                        <a:pt x="54" y="53"/>
                        <a:pt x="54" y="52"/>
                      </a:cubicBezTo>
                      <a:cubicBezTo>
                        <a:pt x="54" y="52"/>
                        <a:pt x="55" y="52"/>
                        <a:pt x="55" y="52"/>
                      </a:cubicBezTo>
                      <a:cubicBezTo>
                        <a:pt x="55" y="52"/>
                        <a:pt x="55" y="51"/>
                        <a:pt x="55" y="51"/>
                      </a:cubicBezTo>
                      <a:cubicBezTo>
                        <a:pt x="55" y="51"/>
                        <a:pt x="55" y="50"/>
                        <a:pt x="55" y="50"/>
                      </a:cubicBezTo>
                      <a:cubicBezTo>
                        <a:pt x="55" y="50"/>
                        <a:pt x="55" y="49"/>
                        <a:pt x="55" y="49"/>
                      </a:cubicBezTo>
                      <a:cubicBezTo>
                        <a:pt x="55" y="49"/>
                        <a:pt x="55" y="48"/>
                        <a:pt x="55" y="48"/>
                      </a:cubicBezTo>
                      <a:cubicBezTo>
                        <a:pt x="55" y="48"/>
                        <a:pt x="55" y="48"/>
                        <a:pt x="55" y="48"/>
                      </a:cubicBezTo>
                      <a:cubicBezTo>
                        <a:pt x="55" y="48"/>
                        <a:pt x="54" y="47"/>
                        <a:pt x="54" y="47"/>
                      </a:cubicBezTo>
                      <a:cubicBezTo>
                        <a:pt x="54" y="47"/>
                        <a:pt x="54" y="46"/>
                        <a:pt x="54" y="46"/>
                      </a:cubicBezTo>
                      <a:cubicBezTo>
                        <a:pt x="54" y="46"/>
                        <a:pt x="54" y="46"/>
                        <a:pt x="54" y="45"/>
                      </a:cubicBezTo>
                      <a:cubicBezTo>
                        <a:pt x="54" y="45"/>
                        <a:pt x="54" y="45"/>
                        <a:pt x="53" y="45"/>
                      </a:cubicBezTo>
                      <a:cubicBezTo>
                        <a:pt x="53" y="44"/>
                        <a:pt x="54" y="44"/>
                        <a:pt x="54" y="44"/>
                      </a:cubicBezTo>
                      <a:cubicBezTo>
                        <a:pt x="54" y="44"/>
                        <a:pt x="53" y="44"/>
                        <a:pt x="53" y="44"/>
                      </a:cubicBezTo>
                      <a:cubicBezTo>
                        <a:pt x="53" y="44"/>
                        <a:pt x="52" y="43"/>
                        <a:pt x="52" y="43"/>
                      </a:cubicBezTo>
                      <a:cubicBezTo>
                        <a:pt x="52" y="43"/>
                        <a:pt x="52" y="43"/>
                        <a:pt x="52" y="43"/>
                      </a:cubicBezTo>
                      <a:cubicBezTo>
                        <a:pt x="52" y="42"/>
                        <a:pt x="51" y="42"/>
                        <a:pt x="51" y="42"/>
                      </a:cubicBezTo>
                      <a:cubicBezTo>
                        <a:pt x="51" y="42"/>
                        <a:pt x="50" y="41"/>
                        <a:pt x="50" y="41"/>
                      </a:cubicBezTo>
                      <a:cubicBezTo>
                        <a:pt x="50" y="40"/>
                        <a:pt x="50" y="40"/>
                        <a:pt x="50" y="40"/>
                      </a:cubicBezTo>
                      <a:cubicBezTo>
                        <a:pt x="50" y="40"/>
                        <a:pt x="51" y="39"/>
                        <a:pt x="51" y="39"/>
                      </a:cubicBezTo>
                      <a:cubicBezTo>
                        <a:pt x="51" y="39"/>
                        <a:pt x="50" y="39"/>
                        <a:pt x="50" y="39"/>
                      </a:cubicBezTo>
                      <a:cubicBezTo>
                        <a:pt x="50" y="39"/>
                        <a:pt x="50" y="38"/>
                        <a:pt x="50" y="38"/>
                      </a:cubicBezTo>
                      <a:cubicBezTo>
                        <a:pt x="50" y="38"/>
                        <a:pt x="50" y="37"/>
                        <a:pt x="50" y="37"/>
                      </a:cubicBezTo>
                      <a:cubicBezTo>
                        <a:pt x="50" y="37"/>
                        <a:pt x="50" y="37"/>
                        <a:pt x="50" y="37"/>
                      </a:cubicBezTo>
                      <a:cubicBezTo>
                        <a:pt x="50" y="36"/>
                        <a:pt x="50" y="36"/>
                        <a:pt x="50" y="36"/>
                      </a:cubicBezTo>
                      <a:cubicBezTo>
                        <a:pt x="50" y="36"/>
                        <a:pt x="50" y="35"/>
                        <a:pt x="50" y="35"/>
                      </a:cubicBezTo>
                      <a:cubicBezTo>
                        <a:pt x="50" y="35"/>
                        <a:pt x="49" y="34"/>
                        <a:pt x="49" y="34"/>
                      </a:cubicBezTo>
                      <a:cubicBezTo>
                        <a:pt x="49" y="34"/>
                        <a:pt x="49" y="34"/>
                        <a:pt x="49" y="33"/>
                      </a:cubicBezTo>
                      <a:cubicBezTo>
                        <a:pt x="49" y="33"/>
                        <a:pt x="49" y="33"/>
                        <a:pt x="49" y="33"/>
                      </a:cubicBezTo>
                      <a:cubicBezTo>
                        <a:pt x="50" y="32"/>
                        <a:pt x="49" y="32"/>
                        <a:pt x="49" y="32"/>
                      </a:cubicBezTo>
                      <a:cubicBezTo>
                        <a:pt x="49" y="32"/>
                        <a:pt x="49" y="32"/>
                        <a:pt x="49" y="31"/>
                      </a:cubicBezTo>
                      <a:cubicBezTo>
                        <a:pt x="49" y="31"/>
                        <a:pt x="49" y="31"/>
                        <a:pt x="49" y="31"/>
                      </a:cubicBezTo>
                      <a:cubicBezTo>
                        <a:pt x="50" y="30"/>
                        <a:pt x="50" y="30"/>
                        <a:pt x="50" y="30"/>
                      </a:cubicBezTo>
                      <a:cubicBezTo>
                        <a:pt x="50" y="30"/>
                        <a:pt x="49" y="29"/>
                        <a:pt x="49" y="29"/>
                      </a:cubicBezTo>
                      <a:cubicBezTo>
                        <a:pt x="49" y="29"/>
                        <a:pt x="48" y="29"/>
                        <a:pt x="48" y="29"/>
                      </a:cubicBezTo>
                      <a:cubicBezTo>
                        <a:pt x="48" y="29"/>
                        <a:pt x="47" y="29"/>
                        <a:pt x="47" y="29"/>
                      </a:cubicBezTo>
                      <a:cubicBezTo>
                        <a:pt x="47" y="28"/>
                        <a:pt x="47" y="28"/>
                        <a:pt x="47" y="28"/>
                      </a:cubicBezTo>
                      <a:cubicBezTo>
                        <a:pt x="47" y="28"/>
                        <a:pt x="47" y="28"/>
                        <a:pt x="47" y="28"/>
                      </a:cubicBezTo>
                      <a:cubicBezTo>
                        <a:pt x="47" y="28"/>
                        <a:pt x="47" y="28"/>
                        <a:pt x="46" y="28"/>
                      </a:cubicBezTo>
                      <a:cubicBezTo>
                        <a:pt x="46" y="28"/>
                        <a:pt x="46" y="27"/>
                        <a:pt x="46" y="27"/>
                      </a:cubicBezTo>
                      <a:cubicBezTo>
                        <a:pt x="46" y="27"/>
                        <a:pt x="45" y="27"/>
                        <a:pt x="45" y="27"/>
                      </a:cubicBezTo>
                      <a:cubicBezTo>
                        <a:pt x="45" y="27"/>
                        <a:pt x="45" y="27"/>
                        <a:pt x="45" y="27"/>
                      </a:cubicBezTo>
                      <a:cubicBezTo>
                        <a:pt x="45" y="27"/>
                        <a:pt x="45" y="26"/>
                        <a:pt x="45" y="26"/>
                      </a:cubicBezTo>
                      <a:cubicBezTo>
                        <a:pt x="45" y="26"/>
                        <a:pt x="45" y="26"/>
                        <a:pt x="45" y="26"/>
                      </a:cubicBezTo>
                      <a:cubicBezTo>
                        <a:pt x="45" y="26"/>
                        <a:pt x="45" y="25"/>
                        <a:pt x="45" y="25"/>
                      </a:cubicBezTo>
                      <a:cubicBezTo>
                        <a:pt x="44" y="25"/>
                        <a:pt x="44" y="25"/>
                        <a:pt x="44" y="25"/>
                      </a:cubicBezTo>
                      <a:cubicBezTo>
                        <a:pt x="44" y="25"/>
                        <a:pt x="44" y="25"/>
                        <a:pt x="44" y="25"/>
                      </a:cubicBezTo>
                      <a:cubicBezTo>
                        <a:pt x="44" y="25"/>
                        <a:pt x="43" y="25"/>
                        <a:pt x="43" y="25"/>
                      </a:cubicBezTo>
                      <a:cubicBezTo>
                        <a:pt x="43" y="25"/>
                        <a:pt x="43" y="25"/>
                        <a:pt x="42" y="25"/>
                      </a:cubicBezTo>
                      <a:cubicBezTo>
                        <a:pt x="42" y="25"/>
                        <a:pt x="42" y="25"/>
                        <a:pt x="42" y="26"/>
                      </a:cubicBezTo>
                      <a:cubicBezTo>
                        <a:pt x="42" y="26"/>
                        <a:pt x="42" y="26"/>
                        <a:pt x="42" y="26"/>
                      </a:cubicBezTo>
                      <a:cubicBezTo>
                        <a:pt x="41" y="26"/>
                        <a:pt x="41" y="27"/>
                        <a:pt x="41" y="27"/>
                      </a:cubicBezTo>
                      <a:cubicBezTo>
                        <a:pt x="40" y="27"/>
                        <a:pt x="40" y="27"/>
                        <a:pt x="40" y="27"/>
                      </a:cubicBezTo>
                      <a:cubicBezTo>
                        <a:pt x="39" y="27"/>
                        <a:pt x="39" y="26"/>
                        <a:pt x="39" y="26"/>
                      </a:cubicBezTo>
                      <a:cubicBezTo>
                        <a:pt x="39" y="26"/>
                        <a:pt x="39" y="26"/>
                        <a:pt x="39" y="25"/>
                      </a:cubicBezTo>
                      <a:cubicBezTo>
                        <a:pt x="39" y="25"/>
                        <a:pt x="39" y="25"/>
                        <a:pt x="39" y="24"/>
                      </a:cubicBezTo>
                      <a:cubicBezTo>
                        <a:pt x="39" y="24"/>
                        <a:pt x="39" y="23"/>
                        <a:pt x="38" y="23"/>
                      </a:cubicBezTo>
                      <a:cubicBezTo>
                        <a:pt x="38" y="23"/>
                        <a:pt x="38" y="23"/>
                        <a:pt x="38" y="23"/>
                      </a:cubicBezTo>
                      <a:cubicBezTo>
                        <a:pt x="38" y="23"/>
                        <a:pt x="38" y="22"/>
                        <a:pt x="38" y="22"/>
                      </a:cubicBezTo>
                      <a:cubicBezTo>
                        <a:pt x="38" y="22"/>
                        <a:pt x="38" y="22"/>
                        <a:pt x="38" y="22"/>
                      </a:cubicBezTo>
                      <a:cubicBezTo>
                        <a:pt x="38" y="21"/>
                        <a:pt x="38" y="21"/>
                        <a:pt x="38" y="21"/>
                      </a:cubicBezTo>
                      <a:cubicBezTo>
                        <a:pt x="38" y="20"/>
                        <a:pt x="38" y="20"/>
                        <a:pt x="38" y="20"/>
                      </a:cubicBezTo>
                      <a:cubicBezTo>
                        <a:pt x="38" y="20"/>
                        <a:pt x="38" y="20"/>
                        <a:pt x="38" y="19"/>
                      </a:cubicBezTo>
                      <a:cubicBezTo>
                        <a:pt x="38" y="19"/>
                        <a:pt x="38" y="19"/>
                        <a:pt x="38" y="19"/>
                      </a:cubicBezTo>
                      <a:cubicBezTo>
                        <a:pt x="37" y="19"/>
                        <a:pt x="37" y="18"/>
                        <a:pt x="37" y="18"/>
                      </a:cubicBezTo>
                      <a:cubicBezTo>
                        <a:pt x="37" y="18"/>
                        <a:pt x="37" y="17"/>
                        <a:pt x="37" y="17"/>
                      </a:cubicBezTo>
                      <a:cubicBezTo>
                        <a:pt x="37" y="16"/>
                        <a:pt x="37" y="16"/>
                        <a:pt x="37" y="16"/>
                      </a:cubicBezTo>
                      <a:cubicBezTo>
                        <a:pt x="37" y="15"/>
                        <a:pt x="37" y="15"/>
                        <a:pt x="37" y="15"/>
                      </a:cubicBezTo>
                      <a:cubicBezTo>
                        <a:pt x="36" y="15"/>
                        <a:pt x="36" y="15"/>
                        <a:pt x="36" y="15"/>
                      </a:cubicBezTo>
                      <a:cubicBezTo>
                        <a:pt x="36" y="14"/>
                        <a:pt x="37" y="14"/>
                        <a:pt x="37" y="14"/>
                      </a:cubicBezTo>
                      <a:cubicBezTo>
                        <a:pt x="37" y="14"/>
                        <a:pt x="37" y="14"/>
                        <a:pt x="37" y="13"/>
                      </a:cubicBezTo>
                      <a:cubicBezTo>
                        <a:pt x="36" y="13"/>
                        <a:pt x="36" y="13"/>
                        <a:pt x="36" y="13"/>
                      </a:cubicBezTo>
                      <a:cubicBezTo>
                        <a:pt x="36" y="13"/>
                        <a:pt x="36" y="13"/>
                        <a:pt x="36" y="13"/>
                      </a:cubicBezTo>
                      <a:cubicBezTo>
                        <a:pt x="36" y="13"/>
                        <a:pt x="35" y="12"/>
                        <a:pt x="35" y="12"/>
                      </a:cubicBezTo>
                      <a:cubicBezTo>
                        <a:pt x="35" y="12"/>
                        <a:pt x="35" y="12"/>
                        <a:pt x="35" y="12"/>
                      </a:cubicBezTo>
                      <a:cubicBezTo>
                        <a:pt x="35" y="12"/>
                        <a:pt x="34" y="12"/>
                        <a:pt x="34" y="12"/>
                      </a:cubicBezTo>
                      <a:cubicBezTo>
                        <a:pt x="34" y="12"/>
                        <a:pt x="34" y="11"/>
                        <a:pt x="34" y="11"/>
                      </a:cubicBezTo>
                      <a:cubicBezTo>
                        <a:pt x="34" y="11"/>
                        <a:pt x="35" y="10"/>
                        <a:pt x="35" y="10"/>
                      </a:cubicBezTo>
                      <a:cubicBezTo>
                        <a:pt x="35" y="10"/>
                        <a:pt x="35" y="9"/>
                        <a:pt x="35" y="9"/>
                      </a:cubicBezTo>
                      <a:cubicBezTo>
                        <a:pt x="35" y="9"/>
                        <a:pt x="35" y="9"/>
                        <a:pt x="35" y="9"/>
                      </a:cubicBezTo>
                      <a:cubicBezTo>
                        <a:pt x="35" y="9"/>
                        <a:pt x="34" y="9"/>
                        <a:pt x="34" y="9"/>
                      </a:cubicBezTo>
                      <a:cubicBezTo>
                        <a:pt x="34" y="9"/>
                        <a:pt x="33" y="9"/>
                        <a:pt x="33" y="9"/>
                      </a:cubicBezTo>
                      <a:cubicBezTo>
                        <a:pt x="33" y="9"/>
                        <a:pt x="33" y="8"/>
                        <a:pt x="33" y="8"/>
                      </a:cubicBezTo>
                      <a:cubicBezTo>
                        <a:pt x="33" y="8"/>
                        <a:pt x="33" y="7"/>
                        <a:pt x="33" y="7"/>
                      </a:cubicBezTo>
                      <a:cubicBezTo>
                        <a:pt x="33" y="7"/>
                        <a:pt x="33" y="6"/>
                        <a:pt x="33" y="6"/>
                      </a:cubicBezTo>
                      <a:cubicBezTo>
                        <a:pt x="33" y="6"/>
                        <a:pt x="33" y="5"/>
                        <a:pt x="33" y="5"/>
                      </a:cubicBezTo>
                      <a:cubicBezTo>
                        <a:pt x="33" y="5"/>
                        <a:pt x="33" y="4"/>
                        <a:pt x="33" y="4"/>
                      </a:cubicBezTo>
                      <a:cubicBezTo>
                        <a:pt x="33" y="4"/>
                        <a:pt x="33" y="3"/>
                        <a:pt x="33" y="3"/>
                      </a:cubicBezTo>
                      <a:cubicBezTo>
                        <a:pt x="33" y="3"/>
                        <a:pt x="32" y="3"/>
                        <a:pt x="32" y="2"/>
                      </a:cubicBezTo>
                      <a:cubicBezTo>
                        <a:pt x="32" y="2"/>
                        <a:pt x="32" y="2"/>
                        <a:pt x="32" y="2"/>
                      </a:cubicBezTo>
                      <a:cubicBezTo>
                        <a:pt x="31" y="2"/>
                        <a:pt x="31" y="2"/>
                        <a:pt x="31" y="1"/>
                      </a:cubicBezTo>
                      <a:cubicBezTo>
                        <a:pt x="31" y="1"/>
                        <a:pt x="31" y="1"/>
                        <a:pt x="31" y="1"/>
                      </a:cubicBezTo>
                      <a:cubicBezTo>
                        <a:pt x="31" y="1"/>
                        <a:pt x="31" y="1"/>
                        <a:pt x="31" y="1"/>
                      </a:cubicBezTo>
                      <a:cubicBezTo>
                        <a:pt x="31" y="0"/>
                        <a:pt x="31" y="0"/>
                        <a:pt x="31" y="0"/>
                      </a:cubicBezTo>
                      <a:cubicBezTo>
                        <a:pt x="31" y="0"/>
                        <a:pt x="30" y="0"/>
                        <a:pt x="30" y="0"/>
                      </a:cubicBezTo>
                      <a:cubicBezTo>
                        <a:pt x="30" y="0"/>
                        <a:pt x="30" y="1"/>
                        <a:pt x="30" y="1"/>
                      </a:cubicBezTo>
                      <a:cubicBezTo>
                        <a:pt x="30" y="1"/>
                        <a:pt x="29" y="2"/>
                        <a:pt x="29" y="2"/>
                      </a:cubicBezTo>
                      <a:cubicBezTo>
                        <a:pt x="29" y="2"/>
                        <a:pt x="28" y="2"/>
                        <a:pt x="28" y="2"/>
                      </a:cubicBezTo>
                      <a:cubicBezTo>
                        <a:pt x="28" y="2"/>
                        <a:pt x="28" y="2"/>
                        <a:pt x="28" y="2"/>
                      </a:cubicBezTo>
                      <a:cubicBezTo>
                        <a:pt x="28" y="3"/>
                        <a:pt x="28" y="3"/>
                        <a:pt x="28" y="4"/>
                      </a:cubicBezTo>
                      <a:cubicBezTo>
                        <a:pt x="28" y="4"/>
                        <a:pt x="28" y="5"/>
                        <a:pt x="28" y="5"/>
                      </a:cubicBezTo>
                      <a:cubicBezTo>
                        <a:pt x="28" y="5"/>
                        <a:pt x="28" y="5"/>
                        <a:pt x="28" y="5"/>
                      </a:cubicBezTo>
                      <a:cubicBezTo>
                        <a:pt x="28" y="6"/>
                        <a:pt x="28" y="6"/>
                        <a:pt x="27" y="6"/>
                      </a:cubicBezTo>
                      <a:cubicBezTo>
                        <a:pt x="27" y="6"/>
                        <a:pt x="27" y="7"/>
                        <a:pt x="27" y="7"/>
                      </a:cubicBezTo>
                      <a:cubicBezTo>
                        <a:pt x="27" y="7"/>
                        <a:pt x="27" y="7"/>
                        <a:pt x="27" y="7"/>
                      </a:cubicBezTo>
                      <a:cubicBezTo>
                        <a:pt x="27" y="8"/>
                        <a:pt x="28" y="8"/>
                        <a:pt x="28" y="8"/>
                      </a:cubicBezTo>
                      <a:cubicBezTo>
                        <a:pt x="28" y="8"/>
                        <a:pt x="27" y="8"/>
                        <a:pt x="27" y="8"/>
                      </a:cubicBezTo>
                      <a:cubicBezTo>
                        <a:pt x="27" y="8"/>
                        <a:pt x="27" y="8"/>
                        <a:pt x="27" y="8"/>
                      </a:cubicBezTo>
                      <a:cubicBezTo>
                        <a:pt x="27" y="8"/>
                        <a:pt x="27" y="8"/>
                        <a:pt x="27" y="8"/>
                      </a:cubicBezTo>
                      <a:cubicBezTo>
                        <a:pt x="27" y="8"/>
                        <a:pt x="27" y="8"/>
                        <a:pt x="27" y="9"/>
                      </a:cubicBezTo>
                      <a:cubicBezTo>
                        <a:pt x="27" y="9"/>
                        <a:pt x="27" y="9"/>
                        <a:pt x="27" y="10"/>
                      </a:cubicBezTo>
                      <a:cubicBezTo>
                        <a:pt x="27" y="10"/>
                        <a:pt x="27" y="10"/>
                        <a:pt x="27" y="10"/>
                      </a:cubicBezTo>
                      <a:cubicBezTo>
                        <a:pt x="27" y="10"/>
                        <a:pt x="26" y="9"/>
                        <a:pt x="26" y="9"/>
                      </a:cubicBezTo>
                      <a:cubicBezTo>
                        <a:pt x="26" y="9"/>
                        <a:pt x="26" y="9"/>
                        <a:pt x="26" y="9"/>
                      </a:cubicBezTo>
                      <a:cubicBezTo>
                        <a:pt x="26" y="10"/>
                        <a:pt x="25" y="10"/>
                        <a:pt x="25" y="10"/>
                      </a:cubicBezTo>
                      <a:cubicBezTo>
                        <a:pt x="25" y="11"/>
                        <a:pt x="25" y="11"/>
                        <a:pt x="25" y="11"/>
                      </a:cubicBezTo>
                      <a:cubicBezTo>
                        <a:pt x="25" y="11"/>
                        <a:pt x="25" y="12"/>
                        <a:pt x="25" y="12"/>
                      </a:cubicBezTo>
                      <a:cubicBezTo>
                        <a:pt x="24" y="12"/>
                        <a:pt x="24" y="13"/>
                        <a:pt x="24" y="13"/>
                      </a:cubicBezTo>
                      <a:cubicBezTo>
                        <a:pt x="24" y="13"/>
                        <a:pt x="24" y="13"/>
                        <a:pt x="25" y="13"/>
                      </a:cubicBezTo>
                      <a:cubicBezTo>
                        <a:pt x="25" y="13"/>
                        <a:pt x="25" y="13"/>
                        <a:pt x="25" y="13"/>
                      </a:cubicBezTo>
                      <a:cubicBezTo>
                        <a:pt x="25" y="13"/>
                        <a:pt x="25" y="13"/>
                        <a:pt x="25" y="13"/>
                      </a:cubicBezTo>
                      <a:cubicBezTo>
                        <a:pt x="25" y="13"/>
                        <a:pt x="25" y="13"/>
                        <a:pt x="25" y="13"/>
                      </a:cubicBezTo>
                      <a:cubicBezTo>
                        <a:pt x="25" y="13"/>
                        <a:pt x="25" y="12"/>
                        <a:pt x="25" y="12"/>
                      </a:cubicBezTo>
                      <a:cubicBezTo>
                        <a:pt x="25" y="12"/>
                        <a:pt x="25" y="12"/>
                        <a:pt x="25" y="12"/>
                      </a:cubicBezTo>
                      <a:cubicBezTo>
                        <a:pt x="25" y="13"/>
                        <a:pt x="25" y="13"/>
                        <a:pt x="26" y="13"/>
                      </a:cubicBezTo>
                      <a:cubicBezTo>
                        <a:pt x="26" y="13"/>
                        <a:pt x="26" y="14"/>
                        <a:pt x="26" y="14"/>
                      </a:cubicBezTo>
                      <a:cubicBezTo>
                        <a:pt x="26" y="14"/>
                        <a:pt x="26" y="14"/>
                        <a:pt x="26" y="14"/>
                      </a:cubicBezTo>
                      <a:cubicBezTo>
                        <a:pt x="26" y="14"/>
                        <a:pt x="25" y="15"/>
                        <a:pt x="25" y="15"/>
                      </a:cubicBezTo>
                      <a:cubicBezTo>
                        <a:pt x="25" y="15"/>
                        <a:pt x="25" y="15"/>
                        <a:pt x="25" y="15"/>
                      </a:cubicBezTo>
                      <a:cubicBezTo>
                        <a:pt x="25" y="15"/>
                        <a:pt x="24" y="16"/>
                        <a:pt x="24" y="16"/>
                      </a:cubicBezTo>
                      <a:cubicBezTo>
                        <a:pt x="24" y="16"/>
                        <a:pt x="24" y="17"/>
                        <a:pt x="24" y="17"/>
                      </a:cubicBezTo>
                      <a:cubicBezTo>
                        <a:pt x="24" y="17"/>
                        <a:pt x="24" y="17"/>
                        <a:pt x="25" y="18"/>
                      </a:cubicBezTo>
                      <a:cubicBezTo>
                        <a:pt x="25" y="18"/>
                        <a:pt x="25" y="18"/>
                        <a:pt x="25" y="18"/>
                      </a:cubicBezTo>
                      <a:cubicBezTo>
                        <a:pt x="25" y="19"/>
                        <a:pt x="25" y="19"/>
                        <a:pt x="24" y="19"/>
                      </a:cubicBezTo>
                      <a:cubicBezTo>
                        <a:pt x="24" y="20"/>
                        <a:pt x="24" y="19"/>
                        <a:pt x="24" y="20"/>
                      </a:cubicBezTo>
                      <a:cubicBezTo>
                        <a:pt x="24" y="20"/>
                        <a:pt x="24" y="20"/>
                        <a:pt x="24" y="21"/>
                      </a:cubicBezTo>
                      <a:cubicBezTo>
                        <a:pt x="24" y="21"/>
                        <a:pt x="23" y="21"/>
                        <a:pt x="23" y="21"/>
                      </a:cubicBezTo>
                      <a:cubicBezTo>
                        <a:pt x="23" y="21"/>
                        <a:pt x="24" y="22"/>
                        <a:pt x="24" y="22"/>
                      </a:cubicBezTo>
                      <a:cubicBezTo>
                        <a:pt x="24" y="22"/>
                        <a:pt x="24" y="23"/>
                        <a:pt x="24" y="23"/>
                      </a:cubicBezTo>
                      <a:cubicBezTo>
                        <a:pt x="24" y="23"/>
                        <a:pt x="24" y="23"/>
                        <a:pt x="24" y="23"/>
                      </a:cubicBezTo>
                      <a:cubicBezTo>
                        <a:pt x="24" y="24"/>
                        <a:pt x="24" y="24"/>
                        <a:pt x="24" y="24"/>
                      </a:cubicBezTo>
                      <a:cubicBezTo>
                        <a:pt x="24" y="25"/>
                        <a:pt x="24" y="25"/>
                        <a:pt x="24" y="25"/>
                      </a:cubicBezTo>
                      <a:cubicBezTo>
                        <a:pt x="24" y="26"/>
                        <a:pt x="24" y="26"/>
                        <a:pt x="24" y="26"/>
                      </a:cubicBezTo>
                      <a:cubicBezTo>
                        <a:pt x="24" y="27"/>
                        <a:pt x="24" y="27"/>
                        <a:pt x="24" y="27"/>
                      </a:cubicBezTo>
                      <a:cubicBezTo>
                        <a:pt x="24" y="27"/>
                        <a:pt x="24" y="28"/>
                        <a:pt x="24" y="28"/>
                      </a:cubicBezTo>
                      <a:cubicBezTo>
                        <a:pt x="24" y="28"/>
                        <a:pt x="24" y="29"/>
                        <a:pt x="24" y="29"/>
                      </a:cubicBezTo>
                      <a:cubicBezTo>
                        <a:pt x="24" y="30"/>
                        <a:pt x="25" y="30"/>
                        <a:pt x="25" y="30"/>
                      </a:cubicBezTo>
                      <a:cubicBezTo>
                        <a:pt x="25" y="31"/>
                        <a:pt x="25" y="31"/>
                        <a:pt x="25" y="31"/>
                      </a:cubicBezTo>
                      <a:cubicBezTo>
                        <a:pt x="24" y="32"/>
                        <a:pt x="24" y="32"/>
                        <a:pt x="24" y="32"/>
                      </a:cubicBezTo>
                      <a:cubicBezTo>
                        <a:pt x="24" y="32"/>
                        <a:pt x="24" y="33"/>
                        <a:pt x="24" y="33"/>
                      </a:cubicBezTo>
                      <a:cubicBezTo>
                        <a:pt x="24" y="33"/>
                        <a:pt x="24" y="33"/>
                        <a:pt x="24" y="34"/>
                      </a:cubicBezTo>
                      <a:cubicBezTo>
                        <a:pt x="24" y="34"/>
                        <a:pt x="23" y="35"/>
                        <a:pt x="23" y="35"/>
                      </a:cubicBezTo>
                      <a:cubicBezTo>
                        <a:pt x="23" y="35"/>
                        <a:pt x="23" y="36"/>
                        <a:pt x="23" y="36"/>
                      </a:cubicBezTo>
                      <a:cubicBezTo>
                        <a:pt x="23" y="36"/>
                        <a:pt x="23" y="37"/>
                        <a:pt x="23" y="37"/>
                      </a:cubicBezTo>
                      <a:cubicBezTo>
                        <a:pt x="23" y="37"/>
                        <a:pt x="23" y="38"/>
                        <a:pt x="23" y="38"/>
                      </a:cubicBezTo>
                      <a:cubicBezTo>
                        <a:pt x="23" y="38"/>
                        <a:pt x="23" y="38"/>
                        <a:pt x="23" y="39"/>
                      </a:cubicBezTo>
                      <a:cubicBezTo>
                        <a:pt x="23" y="39"/>
                        <a:pt x="23" y="39"/>
                        <a:pt x="22" y="40"/>
                      </a:cubicBezTo>
                      <a:cubicBezTo>
                        <a:pt x="22" y="40"/>
                        <a:pt x="22" y="41"/>
                        <a:pt x="22" y="41"/>
                      </a:cubicBezTo>
                      <a:cubicBezTo>
                        <a:pt x="22" y="41"/>
                        <a:pt x="22" y="42"/>
                        <a:pt x="22" y="42"/>
                      </a:cubicBezTo>
                      <a:cubicBezTo>
                        <a:pt x="22" y="42"/>
                        <a:pt x="21" y="43"/>
                        <a:pt x="21" y="43"/>
                      </a:cubicBezTo>
                      <a:cubicBezTo>
                        <a:pt x="21" y="43"/>
                        <a:pt x="20" y="44"/>
                        <a:pt x="20" y="44"/>
                      </a:cubicBezTo>
                      <a:cubicBezTo>
                        <a:pt x="20" y="44"/>
                        <a:pt x="20" y="45"/>
                        <a:pt x="20" y="45"/>
                      </a:cubicBezTo>
                      <a:cubicBezTo>
                        <a:pt x="20" y="45"/>
                        <a:pt x="20" y="46"/>
                        <a:pt x="20" y="46"/>
                      </a:cubicBezTo>
                      <a:cubicBezTo>
                        <a:pt x="20" y="46"/>
                        <a:pt x="20" y="47"/>
                        <a:pt x="20" y="47"/>
                      </a:cubicBezTo>
                      <a:cubicBezTo>
                        <a:pt x="19" y="48"/>
                        <a:pt x="19" y="48"/>
                        <a:pt x="19" y="48"/>
                      </a:cubicBezTo>
                      <a:cubicBezTo>
                        <a:pt x="19" y="48"/>
                        <a:pt x="18" y="49"/>
                        <a:pt x="17" y="49"/>
                      </a:cubicBezTo>
                      <a:cubicBezTo>
                        <a:pt x="17" y="49"/>
                        <a:pt x="16" y="49"/>
                        <a:pt x="16" y="49"/>
                      </a:cubicBezTo>
                      <a:cubicBezTo>
                        <a:pt x="15" y="50"/>
                        <a:pt x="15" y="50"/>
                        <a:pt x="14" y="50"/>
                      </a:cubicBezTo>
                      <a:cubicBezTo>
                        <a:pt x="14" y="50"/>
                        <a:pt x="13" y="49"/>
                        <a:pt x="13" y="49"/>
                      </a:cubicBezTo>
                      <a:cubicBezTo>
                        <a:pt x="13" y="49"/>
                        <a:pt x="13" y="49"/>
                        <a:pt x="12" y="49"/>
                      </a:cubicBezTo>
                      <a:cubicBezTo>
                        <a:pt x="12" y="49"/>
                        <a:pt x="11" y="48"/>
                        <a:pt x="11" y="48"/>
                      </a:cubicBezTo>
                      <a:cubicBezTo>
                        <a:pt x="11" y="48"/>
                        <a:pt x="10" y="47"/>
                        <a:pt x="10" y="47"/>
                      </a:cubicBezTo>
                      <a:cubicBezTo>
                        <a:pt x="10" y="47"/>
                        <a:pt x="9" y="47"/>
                        <a:pt x="9" y="47"/>
                      </a:cubicBezTo>
                      <a:cubicBezTo>
                        <a:pt x="9" y="47"/>
                        <a:pt x="8" y="47"/>
                        <a:pt x="8" y="47"/>
                      </a:cubicBezTo>
                      <a:cubicBezTo>
                        <a:pt x="8" y="47"/>
                        <a:pt x="8" y="46"/>
                        <a:pt x="8" y="46"/>
                      </a:cubicBezTo>
                      <a:cubicBezTo>
                        <a:pt x="8" y="46"/>
                        <a:pt x="8" y="45"/>
                        <a:pt x="8" y="45"/>
                      </a:cubicBezTo>
                      <a:cubicBezTo>
                        <a:pt x="8" y="45"/>
                        <a:pt x="8" y="44"/>
                        <a:pt x="7" y="44"/>
                      </a:cubicBezTo>
                      <a:cubicBezTo>
                        <a:pt x="7" y="44"/>
                        <a:pt x="7" y="44"/>
                        <a:pt x="7" y="44"/>
                      </a:cubicBezTo>
                      <a:cubicBezTo>
                        <a:pt x="6" y="44"/>
                        <a:pt x="6" y="44"/>
                        <a:pt x="5" y="43"/>
                      </a:cubicBezTo>
                      <a:cubicBezTo>
                        <a:pt x="5" y="43"/>
                        <a:pt x="5" y="43"/>
                        <a:pt x="5" y="43"/>
                      </a:cubicBezTo>
                      <a:cubicBezTo>
                        <a:pt x="4" y="43"/>
                        <a:pt x="4" y="43"/>
                        <a:pt x="3" y="43"/>
                      </a:cubicBezTo>
                      <a:cubicBezTo>
                        <a:pt x="3" y="43"/>
                        <a:pt x="2" y="43"/>
                        <a:pt x="2" y="43"/>
                      </a:cubicBezTo>
                      <a:cubicBezTo>
                        <a:pt x="1" y="42"/>
                        <a:pt x="1" y="42"/>
                        <a:pt x="1" y="42"/>
                      </a:cubicBezTo>
                      <a:cubicBezTo>
                        <a:pt x="0" y="42"/>
                        <a:pt x="0" y="41"/>
                        <a:pt x="0" y="41"/>
                      </a:cubicBezTo>
                      <a:cubicBezTo>
                        <a:pt x="0" y="110"/>
                        <a:pt x="0" y="110"/>
                        <a:pt x="0" y="110"/>
                      </a:cubicBezTo>
                      <a:cubicBezTo>
                        <a:pt x="20" y="110"/>
                        <a:pt x="20" y="110"/>
                        <a:pt x="20" y="110"/>
                      </a:cubicBezTo>
                      <a:cubicBezTo>
                        <a:pt x="20" y="133"/>
                        <a:pt x="20" y="133"/>
                        <a:pt x="20" y="133"/>
                      </a:cubicBezTo>
                      <a:cubicBezTo>
                        <a:pt x="74" y="133"/>
                        <a:pt x="74" y="133"/>
                        <a:pt x="74" y="133"/>
                      </a:cubicBezTo>
                      <a:cubicBezTo>
                        <a:pt x="74" y="133"/>
                        <a:pt x="74" y="133"/>
                        <a:pt x="74" y="1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9" name="Freeform 740">
                  <a:extLst>
                    <a:ext uri="{FF2B5EF4-FFF2-40B4-BE49-F238E27FC236}">
                      <a16:creationId xmlns:a16="http://schemas.microsoft.com/office/drawing/2014/main" id="{F04E11F9-9104-A584-D891-11B39C762543}"/>
                    </a:ext>
                  </a:extLst>
                </p:cNvPr>
                <p:cNvSpPr>
                  <a:spLocks noEditPoints="1"/>
                </p:cNvSpPr>
                <p:nvPr/>
              </p:nvSpPr>
              <p:spPr bwMode="auto">
                <a:xfrm>
                  <a:off x="9429750" y="6124575"/>
                  <a:ext cx="133350" cy="153988"/>
                </a:xfrm>
                <a:custGeom>
                  <a:avLst/>
                  <a:gdLst>
                    <a:gd name="T0" fmla="*/ 2 w 32"/>
                    <a:gd name="T1" fmla="*/ 0 h 37"/>
                    <a:gd name="T2" fmla="*/ 2 w 32"/>
                    <a:gd name="T3" fmla="*/ 4 h 37"/>
                    <a:gd name="T4" fmla="*/ 1 w 32"/>
                    <a:gd name="T5" fmla="*/ 3 h 37"/>
                    <a:gd name="T6" fmla="*/ 29 w 32"/>
                    <a:gd name="T7" fmla="*/ 6 h 37"/>
                    <a:gd name="T8" fmla="*/ 30 w 32"/>
                    <a:gd name="T9" fmla="*/ 5 h 37"/>
                    <a:gd name="T10" fmla="*/ 31 w 32"/>
                    <a:gd name="T11" fmla="*/ 3 h 37"/>
                    <a:gd name="T12" fmla="*/ 29 w 32"/>
                    <a:gd name="T13" fmla="*/ 1 h 37"/>
                    <a:gd name="T14" fmla="*/ 27 w 32"/>
                    <a:gd name="T15" fmla="*/ 2 h 37"/>
                    <a:gd name="T16" fmla="*/ 29 w 32"/>
                    <a:gd name="T17" fmla="*/ 4 h 37"/>
                    <a:gd name="T18" fmla="*/ 30 w 32"/>
                    <a:gd name="T19" fmla="*/ 8 h 37"/>
                    <a:gd name="T20" fmla="*/ 31 w 32"/>
                    <a:gd name="T21" fmla="*/ 8 h 37"/>
                    <a:gd name="T22" fmla="*/ 32 w 32"/>
                    <a:gd name="T23" fmla="*/ 8 h 37"/>
                    <a:gd name="T24" fmla="*/ 31 w 32"/>
                    <a:gd name="T25" fmla="*/ 6 h 37"/>
                    <a:gd name="T26" fmla="*/ 30 w 32"/>
                    <a:gd name="T27" fmla="*/ 7 h 37"/>
                    <a:gd name="T28" fmla="*/ 30 w 32"/>
                    <a:gd name="T29" fmla="*/ 8 h 37"/>
                    <a:gd name="T30" fmla="*/ 21 w 32"/>
                    <a:gd name="T31" fmla="*/ 37 h 37"/>
                    <a:gd name="T32" fmla="*/ 22 w 32"/>
                    <a:gd name="T33" fmla="*/ 35 h 37"/>
                    <a:gd name="T34" fmla="*/ 22 w 32"/>
                    <a:gd name="T35" fmla="*/ 33 h 37"/>
                    <a:gd name="T36" fmla="*/ 24 w 32"/>
                    <a:gd name="T37" fmla="*/ 32 h 37"/>
                    <a:gd name="T38" fmla="*/ 24 w 32"/>
                    <a:gd name="T39" fmla="*/ 31 h 37"/>
                    <a:gd name="T40" fmla="*/ 26 w 32"/>
                    <a:gd name="T41" fmla="*/ 30 h 37"/>
                    <a:gd name="T42" fmla="*/ 27 w 32"/>
                    <a:gd name="T43" fmla="*/ 30 h 37"/>
                    <a:gd name="T44" fmla="*/ 26 w 32"/>
                    <a:gd name="T45" fmla="*/ 31 h 37"/>
                    <a:gd name="T46" fmla="*/ 27 w 32"/>
                    <a:gd name="T47" fmla="*/ 32 h 37"/>
                    <a:gd name="T48" fmla="*/ 29 w 32"/>
                    <a:gd name="T49" fmla="*/ 32 h 37"/>
                    <a:gd name="T50" fmla="*/ 28 w 32"/>
                    <a:gd name="T51" fmla="*/ 29 h 37"/>
                    <a:gd name="T52" fmla="*/ 28 w 32"/>
                    <a:gd name="T53" fmla="*/ 27 h 37"/>
                    <a:gd name="T54" fmla="*/ 29 w 32"/>
                    <a:gd name="T55" fmla="*/ 23 h 37"/>
                    <a:gd name="T56" fmla="*/ 31 w 32"/>
                    <a:gd name="T57" fmla="*/ 24 h 37"/>
                    <a:gd name="T58" fmla="*/ 31 w 32"/>
                    <a:gd name="T59" fmla="*/ 21 h 37"/>
                    <a:gd name="T60" fmla="*/ 30 w 32"/>
                    <a:gd name="T61" fmla="*/ 17 h 37"/>
                    <a:gd name="T62" fmla="*/ 31 w 32"/>
                    <a:gd name="T63" fmla="*/ 14 h 37"/>
                    <a:gd name="T64" fmla="*/ 30 w 32"/>
                    <a:gd name="T65" fmla="*/ 11 h 37"/>
                    <a:gd name="T66" fmla="*/ 28 w 32"/>
                    <a:gd name="T67" fmla="*/ 11 h 37"/>
                    <a:gd name="T68" fmla="*/ 24 w 32"/>
                    <a:gd name="T69" fmla="*/ 12 h 37"/>
                    <a:gd name="T70" fmla="*/ 21 w 32"/>
                    <a:gd name="T71" fmla="*/ 13 h 37"/>
                    <a:gd name="T72" fmla="*/ 10 w 32"/>
                    <a:gd name="T73" fmla="*/ 11 h 37"/>
                    <a:gd name="T74" fmla="*/ 7 w 32"/>
                    <a:gd name="T75" fmla="*/ 10 h 37"/>
                    <a:gd name="T76" fmla="*/ 6 w 32"/>
                    <a:gd name="T77" fmla="*/ 15 h 37"/>
                    <a:gd name="T78" fmla="*/ 8 w 32"/>
                    <a:gd name="T79" fmla="*/ 19 h 37"/>
                    <a:gd name="T80" fmla="*/ 10 w 32"/>
                    <a:gd name="T81" fmla="*/ 24 h 37"/>
                    <a:gd name="T82" fmla="*/ 12 w 32"/>
                    <a:gd name="T83" fmla="*/ 25 h 37"/>
                    <a:gd name="T84" fmla="*/ 11 w 32"/>
                    <a:gd name="T85" fmla="*/ 27 h 37"/>
                    <a:gd name="T86" fmla="*/ 12 w 32"/>
                    <a:gd name="T87" fmla="*/ 30 h 37"/>
                    <a:gd name="T88" fmla="*/ 15 w 32"/>
                    <a:gd name="T89" fmla="*/ 33 h 37"/>
                    <a:gd name="T90" fmla="*/ 16 w 32"/>
                    <a:gd name="T91" fmla="*/ 36 h 37"/>
                    <a:gd name="T92" fmla="*/ 21 w 32"/>
                    <a:gd name="T93" fmla="*/ 37 h 37"/>
                    <a:gd name="T94" fmla="*/ 30 w 32"/>
                    <a:gd name="T95" fmla="*/ 27 h 37"/>
                    <a:gd name="T96" fmla="*/ 29 w 32"/>
                    <a:gd name="T97" fmla="*/ 27 h 37"/>
                    <a:gd name="T98" fmla="*/ 29 w 32"/>
                    <a:gd name="T99" fmla="*/ 27 h 37"/>
                    <a:gd name="T100" fmla="*/ 31 w 32"/>
                    <a:gd name="T101" fmla="*/ 24 h 37"/>
                    <a:gd name="T102" fmla="*/ 31 w 32"/>
                    <a:gd name="T103" fmla="*/ 24 h 37"/>
                    <a:gd name="T104" fmla="*/ 24 w 32"/>
                    <a:gd name="T105" fmla="*/ 35 h 37"/>
                    <a:gd name="T106" fmla="*/ 24 w 32"/>
                    <a:gd name="T107" fmla="*/ 34 h 37"/>
                    <a:gd name="T108" fmla="*/ 24 w 32"/>
                    <a:gd name="T109" fmla="*/ 34 h 37"/>
                    <a:gd name="T110" fmla="*/ 24 w 32"/>
                    <a:gd name="T111" fmla="*/ 35 h 37"/>
                    <a:gd name="T112" fmla="*/ 7 w 32"/>
                    <a:gd name="T113" fmla="*/ 8 h 37"/>
                    <a:gd name="T114" fmla="*/ 8 w 32"/>
                    <a:gd name="T115" fmla="*/ 7 h 37"/>
                    <a:gd name="T116" fmla="*/ 8 w 32"/>
                    <a:gd name="T117"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37">
                      <a:moveTo>
                        <a:pt x="1" y="1"/>
                      </a:moveTo>
                      <a:cubicBezTo>
                        <a:pt x="1" y="1"/>
                        <a:pt x="1" y="1"/>
                        <a:pt x="1" y="1"/>
                      </a:cubicBezTo>
                      <a:cubicBezTo>
                        <a:pt x="1" y="1"/>
                        <a:pt x="1" y="1"/>
                        <a:pt x="1" y="1"/>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1"/>
                        <a:pt x="2" y="1"/>
                        <a:pt x="2" y="1"/>
                      </a:cubicBezTo>
                      <a:cubicBezTo>
                        <a:pt x="3" y="2"/>
                        <a:pt x="3" y="2"/>
                        <a:pt x="2" y="3"/>
                      </a:cubicBezTo>
                      <a:cubicBezTo>
                        <a:pt x="2" y="3"/>
                        <a:pt x="2" y="3"/>
                        <a:pt x="2" y="4"/>
                      </a:cubicBezTo>
                      <a:cubicBezTo>
                        <a:pt x="2" y="4"/>
                        <a:pt x="2" y="4"/>
                        <a:pt x="2" y="4"/>
                      </a:cubicBezTo>
                      <a:cubicBezTo>
                        <a:pt x="2" y="4"/>
                        <a:pt x="1" y="4"/>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0" y="2"/>
                        <a:pt x="1" y="1"/>
                      </a:cubicBezTo>
                      <a:close/>
                      <a:moveTo>
                        <a:pt x="29" y="4"/>
                      </a:moveTo>
                      <a:cubicBezTo>
                        <a:pt x="29" y="4"/>
                        <a:pt x="29" y="5"/>
                        <a:pt x="29" y="5"/>
                      </a:cubicBezTo>
                      <a:cubicBezTo>
                        <a:pt x="29" y="5"/>
                        <a:pt x="29" y="5"/>
                        <a:pt x="29" y="5"/>
                      </a:cubicBezTo>
                      <a:cubicBezTo>
                        <a:pt x="29" y="5"/>
                        <a:pt x="29" y="6"/>
                        <a:pt x="29" y="6"/>
                      </a:cubicBezTo>
                      <a:cubicBezTo>
                        <a:pt x="29" y="6"/>
                        <a:pt x="29" y="6"/>
                        <a:pt x="29" y="6"/>
                      </a:cubicBezTo>
                      <a:cubicBezTo>
                        <a:pt x="29" y="6"/>
                        <a:pt x="29" y="6"/>
                        <a:pt x="29" y="6"/>
                      </a:cubicBezTo>
                      <a:cubicBezTo>
                        <a:pt x="30" y="6"/>
                        <a:pt x="30" y="6"/>
                        <a:pt x="30" y="6"/>
                      </a:cubicBezTo>
                      <a:cubicBezTo>
                        <a:pt x="30" y="6"/>
                        <a:pt x="30" y="6"/>
                        <a:pt x="30" y="6"/>
                      </a:cubicBezTo>
                      <a:cubicBezTo>
                        <a:pt x="30" y="6"/>
                        <a:pt x="30" y="6"/>
                        <a:pt x="30" y="6"/>
                      </a:cubicBezTo>
                      <a:cubicBezTo>
                        <a:pt x="30" y="6"/>
                        <a:pt x="30" y="5"/>
                        <a:pt x="30" y="5"/>
                      </a:cubicBezTo>
                      <a:cubicBezTo>
                        <a:pt x="30" y="5"/>
                        <a:pt x="30" y="5"/>
                        <a:pt x="30" y="5"/>
                      </a:cubicBezTo>
                      <a:cubicBezTo>
                        <a:pt x="30" y="5"/>
                        <a:pt x="30" y="5"/>
                        <a:pt x="30" y="5"/>
                      </a:cubicBezTo>
                      <a:cubicBezTo>
                        <a:pt x="31" y="5"/>
                        <a:pt x="31" y="5"/>
                        <a:pt x="31" y="5"/>
                      </a:cubicBezTo>
                      <a:cubicBezTo>
                        <a:pt x="31" y="5"/>
                        <a:pt x="31" y="5"/>
                        <a:pt x="31" y="5"/>
                      </a:cubicBezTo>
                      <a:cubicBezTo>
                        <a:pt x="31" y="4"/>
                        <a:pt x="31" y="4"/>
                        <a:pt x="31" y="3"/>
                      </a:cubicBezTo>
                      <a:cubicBezTo>
                        <a:pt x="31" y="3"/>
                        <a:pt x="31" y="3"/>
                        <a:pt x="31" y="3"/>
                      </a:cubicBezTo>
                      <a:cubicBezTo>
                        <a:pt x="31" y="3"/>
                        <a:pt x="31" y="3"/>
                        <a:pt x="31" y="3"/>
                      </a:cubicBezTo>
                      <a:cubicBezTo>
                        <a:pt x="30" y="3"/>
                        <a:pt x="30" y="3"/>
                        <a:pt x="30" y="3"/>
                      </a:cubicBezTo>
                      <a:cubicBezTo>
                        <a:pt x="30" y="3"/>
                        <a:pt x="30" y="3"/>
                        <a:pt x="30" y="3"/>
                      </a:cubicBezTo>
                      <a:cubicBezTo>
                        <a:pt x="30" y="3"/>
                        <a:pt x="30" y="2"/>
                        <a:pt x="30" y="2"/>
                      </a:cubicBezTo>
                      <a:cubicBezTo>
                        <a:pt x="29" y="2"/>
                        <a:pt x="29" y="2"/>
                        <a:pt x="29" y="2"/>
                      </a:cubicBezTo>
                      <a:cubicBezTo>
                        <a:pt x="29" y="2"/>
                        <a:pt x="29" y="2"/>
                        <a:pt x="29" y="2"/>
                      </a:cubicBezTo>
                      <a:cubicBezTo>
                        <a:pt x="29" y="2"/>
                        <a:pt x="29" y="1"/>
                        <a:pt x="29" y="1"/>
                      </a:cubicBezTo>
                      <a:cubicBezTo>
                        <a:pt x="29" y="1"/>
                        <a:pt x="29" y="1"/>
                        <a:pt x="28" y="1"/>
                      </a:cubicBezTo>
                      <a:cubicBezTo>
                        <a:pt x="28" y="1"/>
                        <a:pt x="28" y="1"/>
                        <a:pt x="28" y="1"/>
                      </a:cubicBezTo>
                      <a:cubicBezTo>
                        <a:pt x="28" y="1"/>
                        <a:pt x="28" y="1"/>
                        <a:pt x="28" y="2"/>
                      </a:cubicBezTo>
                      <a:cubicBezTo>
                        <a:pt x="28" y="2"/>
                        <a:pt x="28" y="2"/>
                        <a:pt x="28" y="2"/>
                      </a:cubicBezTo>
                      <a:cubicBezTo>
                        <a:pt x="28" y="2"/>
                        <a:pt x="27" y="2"/>
                        <a:pt x="27" y="2"/>
                      </a:cubicBezTo>
                      <a:cubicBezTo>
                        <a:pt x="27" y="2"/>
                        <a:pt x="27" y="2"/>
                        <a:pt x="27" y="2"/>
                      </a:cubicBezTo>
                      <a:cubicBezTo>
                        <a:pt x="27" y="3"/>
                        <a:pt x="28" y="3"/>
                        <a:pt x="28" y="3"/>
                      </a:cubicBezTo>
                      <a:cubicBezTo>
                        <a:pt x="28" y="3"/>
                        <a:pt x="28" y="3"/>
                        <a:pt x="28" y="3"/>
                      </a:cubicBezTo>
                      <a:cubicBezTo>
                        <a:pt x="28" y="3"/>
                        <a:pt x="28" y="3"/>
                        <a:pt x="28" y="3"/>
                      </a:cubicBezTo>
                      <a:cubicBezTo>
                        <a:pt x="28" y="3"/>
                        <a:pt x="28" y="3"/>
                        <a:pt x="28" y="3"/>
                      </a:cubicBezTo>
                      <a:cubicBezTo>
                        <a:pt x="28" y="3"/>
                        <a:pt x="28" y="3"/>
                        <a:pt x="28" y="3"/>
                      </a:cubicBezTo>
                      <a:cubicBezTo>
                        <a:pt x="29" y="4"/>
                        <a:pt x="28" y="4"/>
                        <a:pt x="29" y="4"/>
                      </a:cubicBezTo>
                      <a:cubicBezTo>
                        <a:pt x="29" y="4"/>
                        <a:pt x="29" y="4"/>
                        <a:pt x="29" y="4"/>
                      </a:cubicBezTo>
                      <a:close/>
                      <a:moveTo>
                        <a:pt x="29" y="7"/>
                      </a:moveTo>
                      <a:cubicBezTo>
                        <a:pt x="29" y="7"/>
                        <a:pt x="29" y="7"/>
                        <a:pt x="29" y="7"/>
                      </a:cubicBezTo>
                      <a:cubicBezTo>
                        <a:pt x="29" y="7"/>
                        <a:pt x="29" y="8"/>
                        <a:pt x="29" y="8"/>
                      </a:cubicBezTo>
                      <a:cubicBezTo>
                        <a:pt x="30" y="8"/>
                        <a:pt x="30" y="8"/>
                        <a:pt x="30" y="8"/>
                      </a:cubicBezTo>
                      <a:cubicBezTo>
                        <a:pt x="30" y="8"/>
                        <a:pt x="30" y="8"/>
                        <a:pt x="30" y="8"/>
                      </a:cubicBezTo>
                      <a:cubicBezTo>
                        <a:pt x="30" y="8"/>
                        <a:pt x="31" y="8"/>
                        <a:pt x="31" y="7"/>
                      </a:cubicBezTo>
                      <a:cubicBezTo>
                        <a:pt x="31" y="7"/>
                        <a:pt x="31" y="7"/>
                        <a:pt x="31" y="7"/>
                      </a:cubicBezTo>
                      <a:cubicBezTo>
                        <a:pt x="31" y="7"/>
                        <a:pt x="31" y="7"/>
                        <a:pt x="31" y="7"/>
                      </a:cubicBezTo>
                      <a:cubicBezTo>
                        <a:pt x="31" y="7"/>
                        <a:pt x="31" y="7"/>
                        <a:pt x="31" y="7"/>
                      </a:cubicBezTo>
                      <a:cubicBezTo>
                        <a:pt x="31" y="7"/>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2" y="8"/>
                        <a:pt x="32" y="8"/>
                        <a:pt x="32" y="8"/>
                      </a:cubicBezTo>
                      <a:cubicBezTo>
                        <a:pt x="32" y="8"/>
                        <a:pt x="32" y="8"/>
                        <a:pt x="32" y="8"/>
                      </a:cubicBezTo>
                      <a:cubicBezTo>
                        <a:pt x="32" y="7"/>
                        <a:pt x="32" y="7"/>
                        <a:pt x="32" y="7"/>
                      </a:cubicBezTo>
                      <a:cubicBezTo>
                        <a:pt x="32" y="7"/>
                        <a:pt x="32" y="7"/>
                        <a:pt x="32" y="7"/>
                      </a:cubicBezTo>
                      <a:cubicBezTo>
                        <a:pt x="32" y="7"/>
                        <a:pt x="32" y="7"/>
                        <a:pt x="32" y="7"/>
                      </a:cubicBezTo>
                      <a:cubicBezTo>
                        <a:pt x="32" y="7"/>
                        <a:pt x="32" y="7"/>
                        <a:pt x="32" y="7"/>
                      </a:cubicBezTo>
                      <a:cubicBezTo>
                        <a:pt x="32" y="7"/>
                        <a:pt x="31" y="7"/>
                        <a:pt x="31" y="6"/>
                      </a:cubicBezTo>
                      <a:cubicBezTo>
                        <a:pt x="31" y="6"/>
                        <a:pt x="31" y="6"/>
                        <a:pt x="31" y="6"/>
                      </a:cubicBezTo>
                      <a:cubicBezTo>
                        <a:pt x="31" y="6"/>
                        <a:pt x="31" y="6"/>
                        <a:pt x="31" y="6"/>
                      </a:cubicBezTo>
                      <a:cubicBezTo>
                        <a:pt x="31" y="6"/>
                        <a:pt x="31" y="6"/>
                        <a:pt x="31" y="6"/>
                      </a:cubicBezTo>
                      <a:cubicBezTo>
                        <a:pt x="31" y="6"/>
                        <a:pt x="31" y="6"/>
                        <a:pt x="31" y="6"/>
                      </a:cubicBezTo>
                      <a:cubicBezTo>
                        <a:pt x="31" y="6"/>
                        <a:pt x="31" y="6"/>
                        <a:pt x="30" y="6"/>
                      </a:cubicBezTo>
                      <a:cubicBezTo>
                        <a:pt x="30" y="6"/>
                        <a:pt x="30" y="6"/>
                        <a:pt x="30" y="6"/>
                      </a:cubicBezTo>
                      <a:cubicBezTo>
                        <a:pt x="30" y="7"/>
                        <a:pt x="30" y="7"/>
                        <a:pt x="30" y="7"/>
                      </a:cubicBezTo>
                      <a:cubicBezTo>
                        <a:pt x="30" y="7"/>
                        <a:pt x="29" y="7"/>
                        <a:pt x="29" y="7"/>
                      </a:cubicBezTo>
                      <a:cubicBezTo>
                        <a:pt x="29" y="7"/>
                        <a:pt x="29" y="7"/>
                        <a:pt x="29" y="7"/>
                      </a:cubicBezTo>
                      <a:cubicBezTo>
                        <a:pt x="29" y="7"/>
                        <a:pt x="29" y="7"/>
                        <a:pt x="29" y="7"/>
                      </a:cubicBezTo>
                      <a:cubicBezTo>
                        <a:pt x="29" y="7"/>
                        <a:pt x="29" y="7"/>
                        <a:pt x="29" y="7"/>
                      </a:cubicBezTo>
                      <a:cubicBezTo>
                        <a:pt x="29" y="7"/>
                        <a:pt x="29" y="7"/>
                        <a:pt x="29" y="7"/>
                      </a:cubicBezTo>
                      <a:close/>
                      <a:moveTo>
                        <a:pt x="30" y="8"/>
                      </a:moveTo>
                      <a:cubicBezTo>
                        <a:pt x="30" y="8"/>
                        <a:pt x="30" y="8"/>
                        <a:pt x="30" y="8"/>
                      </a:cubicBezTo>
                      <a:cubicBezTo>
                        <a:pt x="30" y="8"/>
                        <a:pt x="30" y="8"/>
                        <a:pt x="30" y="8"/>
                      </a:cubicBezTo>
                      <a:cubicBezTo>
                        <a:pt x="30" y="8"/>
                        <a:pt x="30" y="8"/>
                        <a:pt x="30" y="8"/>
                      </a:cubicBezTo>
                      <a:cubicBezTo>
                        <a:pt x="30" y="8"/>
                        <a:pt x="30" y="9"/>
                        <a:pt x="30" y="9"/>
                      </a:cubicBezTo>
                      <a:cubicBezTo>
                        <a:pt x="30" y="8"/>
                        <a:pt x="30" y="8"/>
                        <a:pt x="30" y="8"/>
                      </a:cubicBezTo>
                      <a:close/>
                      <a:moveTo>
                        <a:pt x="21" y="37"/>
                      </a:moveTo>
                      <a:cubicBezTo>
                        <a:pt x="21" y="37"/>
                        <a:pt x="21" y="37"/>
                        <a:pt x="21" y="37"/>
                      </a:cubicBezTo>
                      <a:cubicBezTo>
                        <a:pt x="21" y="37"/>
                        <a:pt x="21" y="36"/>
                        <a:pt x="21" y="36"/>
                      </a:cubicBezTo>
                      <a:cubicBezTo>
                        <a:pt x="21" y="36"/>
                        <a:pt x="21" y="36"/>
                        <a:pt x="21" y="36"/>
                      </a:cubicBezTo>
                      <a:cubicBezTo>
                        <a:pt x="21" y="35"/>
                        <a:pt x="22" y="35"/>
                        <a:pt x="22" y="35"/>
                      </a:cubicBezTo>
                      <a:cubicBezTo>
                        <a:pt x="22" y="35"/>
                        <a:pt x="22" y="35"/>
                        <a:pt x="22" y="35"/>
                      </a:cubicBezTo>
                      <a:cubicBezTo>
                        <a:pt x="22" y="35"/>
                        <a:pt x="22" y="35"/>
                        <a:pt x="22" y="35"/>
                      </a:cubicBezTo>
                      <a:cubicBezTo>
                        <a:pt x="22" y="34"/>
                        <a:pt x="22" y="34"/>
                        <a:pt x="22" y="34"/>
                      </a:cubicBezTo>
                      <a:cubicBezTo>
                        <a:pt x="22" y="34"/>
                        <a:pt x="22" y="34"/>
                        <a:pt x="22" y="34"/>
                      </a:cubicBezTo>
                      <a:cubicBezTo>
                        <a:pt x="22" y="34"/>
                        <a:pt x="22" y="33"/>
                        <a:pt x="22" y="33"/>
                      </a:cubicBezTo>
                      <a:cubicBezTo>
                        <a:pt x="22" y="33"/>
                        <a:pt x="23" y="33"/>
                        <a:pt x="23" y="33"/>
                      </a:cubicBezTo>
                      <a:cubicBezTo>
                        <a:pt x="22" y="33"/>
                        <a:pt x="22" y="33"/>
                        <a:pt x="22" y="33"/>
                      </a:cubicBezTo>
                      <a:cubicBezTo>
                        <a:pt x="22" y="33"/>
                        <a:pt x="22" y="33"/>
                        <a:pt x="22" y="33"/>
                      </a:cubicBezTo>
                      <a:cubicBezTo>
                        <a:pt x="22" y="33"/>
                        <a:pt x="23" y="33"/>
                        <a:pt x="23" y="33"/>
                      </a:cubicBezTo>
                      <a:cubicBezTo>
                        <a:pt x="23" y="33"/>
                        <a:pt x="23" y="33"/>
                        <a:pt x="23" y="33"/>
                      </a:cubicBezTo>
                      <a:cubicBezTo>
                        <a:pt x="23" y="33"/>
                        <a:pt x="23" y="33"/>
                        <a:pt x="23" y="33"/>
                      </a:cubicBezTo>
                      <a:cubicBezTo>
                        <a:pt x="23" y="33"/>
                        <a:pt x="24" y="33"/>
                        <a:pt x="24" y="33"/>
                      </a:cubicBezTo>
                      <a:cubicBezTo>
                        <a:pt x="24" y="33"/>
                        <a:pt x="24" y="33"/>
                        <a:pt x="24" y="33"/>
                      </a:cubicBezTo>
                      <a:cubicBezTo>
                        <a:pt x="24" y="32"/>
                        <a:pt x="24" y="32"/>
                        <a:pt x="24" y="32"/>
                      </a:cubicBezTo>
                      <a:cubicBezTo>
                        <a:pt x="24" y="32"/>
                        <a:pt x="24" y="32"/>
                        <a:pt x="24" y="32"/>
                      </a:cubicBezTo>
                      <a:cubicBezTo>
                        <a:pt x="24" y="32"/>
                        <a:pt x="24" y="32"/>
                        <a:pt x="24" y="32"/>
                      </a:cubicBezTo>
                      <a:cubicBezTo>
                        <a:pt x="25" y="32"/>
                        <a:pt x="25" y="33"/>
                        <a:pt x="25" y="33"/>
                      </a:cubicBezTo>
                      <a:cubicBezTo>
                        <a:pt x="25" y="33"/>
                        <a:pt x="25" y="33"/>
                        <a:pt x="25" y="33"/>
                      </a:cubicBezTo>
                      <a:cubicBezTo>
                        <a:pt x="25" y="33"/>
                        <a:pt x="25" y="32"/>
                        <a:pt x="25" y="32"/>
                      </a:cubicBezTo>
                      <a:cubicBezTo>
                        <a:pt x="25" y="32"/>
                        <a:pt x="25" y="32"/>
                        <a:pt x="24" y="31"/>
                      </a:cubicBezTo>
                      <a:cubicBezTo>
                        <a:pt x="24" y="31"/>
                        <a:pt x="24" y="30"/>
                        <a:pt x="24" y="30"/>
                      </a:cubicBezTo>
                      <a:cubicBezTo>
                        <a:pt x="24" y="30"/>
                        <a:pt x="24" y="30"/>
                        <a:pt x="24" y="30"/>
                      </a:cubicBezTo>
                      <a:cubicBezTo>
                        <a:pt x="24" y="30"/>
                        <a:pt x="25" y="30"/>
                        <a:pt x="25" y="30"/>
                      </a:cubicBezTo>
                      <a:cubicBezTo>
                        <a:pt x="25" y="30"/>
                        <a:pt x="25" y="30"/>
                        <a:pt x="25" y="30"/>
                      </a:cubicBezTo>
                      <a:cubicBezTo>
                        <a:pt x="25" y="30"/>
                        <a:pt x="25" y="30"/>
                        <a:pt x="25" y="30"/>
                      </a:cubicBezTo>
                      <a:cubicBezTo>
                        <a:pt x="25" y="31"/>
                        <a:pt x="26" y="30"/>
                        <a:pt x="26" y="30"/>
                      </a:cubicBezTo>
                      <a:cubicBezTo>
                        <a:pt x="26" y="30"/>
                        <a:pt x="26" y="30"/>
                        <a:pt x="25" y="30"/>
                      </a:cubicBezTo>
                      <a:cubicBezTo>
                        <a:pt x="25" y="30"/>
                        <a:pt x="25" y="30"/>
                        <a:pt x="26" y="30"/>
                      </a:cubicBezTo>
                      <a:cubicBezTo>
                        <a:pt x="26" y="29"/>
                        <a:pt x="26" y="29"/>
                        <a:pt x="26" y="29"/>
                      </a:cubicBezTo>
                      <a:cubicBezTo>
                        <a:pt x="26" y="29"/>
                        <a:pt x="26" y="29"/>
                        <a:pt x="26" y="29"/>
                      </a:cubicBezTo>
                      <a:cubicBezTo>
                        <a:pt x="26" y="29"/>
                        <a:pt x="26" y="30"/>
                        <a:pt x="27" y="30"/>
                      </a:cubicBezTo>
                      <a:cubicBezTo>
                        <a:pt x="27" y="30"/>
                        <a:pt x="27" y="30"/>
                        <a:pt x="27" y="30"/>
                      </a:cubicBezTo>
                      <a:cubicBezTo>
                        <a:pt x="27" y="30"/>
                        <a:pt x="28" y="30"/>
                        <a:pt x="28" y="30"/>
                      </a:cubicBezTo>
                      <a:cubicBezTo>
                        <a:pt x="28" y="30"/>
                        <a:pt x="28" y="30"/>
                        <a:pt x="28" y="30"/>
                      </a:cubicBezTo>
                      <a:cubicBezTo>
                        <a:pt x="28" y="31"/>
                        <a:pt x="28" y="31"/>
                        <a:pt x="28" y="31"/>
                      </a:cubicBezTo>
                      <a:cubicBezTo>
                        <a:pt x="28" y="31"/>
                        <a:pt x="27" y="31"/>
                        <a:pt x="27" y="31"/>
                      </a:cubicBezTo>
                      <a:cubicBezTo>
                        <a:pt x="27" y="31"/>
                        <a:pt x="27" y="31"/>
                        <a:pt x="27" y="30"/>
                      </a:cubicBezTo>
                      <a:cubicBezTo>
                        <a:pt x="27" y="30"/>
                        <a:pt x="26" y="31"/>
                        <a:pt x="26" y="31"/>
                      </a:cubicBezTo>
                      <a:cubicBezTo>
                        <a:pt x="26" y="31"/>
                        <a:pt x="26" y="31"/>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3"/>
                        <a:pt x="27" y="33"/>
                        <a:pt x="27" y="33"/>
                      </a:cubicBezTo>
                      <a:cubicBezTo>
                        <a:pt x="27" y="33"/>
                        <a:pt x="28" y="33"/>
                        <a:pt x="28" y="32"/>
                      </a:cubicBezTo>
                      <a:cubicBezTo>
                        <a:pt x="28" y="32"/>
                        <a:pt x="28" y="33"/>
                        <a:pt x="29" y="33"/>
                      </a:cubicBezTo>
                      <a:cubicBezTo>
                        <a:pt x="29" y="33"/>
                        <a:pt x="29" y="33"/>
                        <a:pt x="29" y="33"/>
                      </a:cubicBezTo>
                      <a:cubicBezTo>
                        <a:pt x="29" y="33"/>
                        <a:pt x="29" y="32"/>
                        <a:pt x="29" y="32"/>
                      </a:cubicBezTo>
                      <a:cubicBezTo>
                        <a:pt x="29" y="32"/>
                        <a:pt x="29" y="32"/>
                        <a:pt x="29" y="32"/>
                      </a:cubicBezTo>
                      <a:cubicBezTo>
                        <a:pt x="28" y="31"/>
                        <a:pt x="29" y="31"/>
                        <a:pt x="29" y="31"/>
                      </a:cubicBezTo>
                      <a:cubicBezTo>
                        <a:pt x="29" y="30"/>
                        <a:pt x="29" y="30"/>
                        <a:pt x="29" y="30"/>
                      </a:cubicBezTo>
                      <a:cubicBezTo>
                        <a:pt x="29" y="30"/>
                        <a:pt x="29" y="30"/>
                        <a:pt x="28" y="30"/>
                      </a:cubicBezTo>
                      <a:cubicBezTo>
                        <a:pt x="28" y="30"/>
                        <a:pt x="28" y="29"/>
                        <a:pt x="28" y="29"/>
                      </a:cubicBezTo>
                      <a:cubicBezTo>
                        <a:pt x="28" y="29"/>
                        <a:pt x="28" y="29"/>
                        <a:pt x="28" y="29"/>
                      </a:cubicBezTo>
                      <a:cubicBezTo>
                        <a:pt x="28" y="30"/>
                        <a:pt x="28" y="30"/>
                        <a:pt x="28" y="30"/>
                      </a:cubicBezTo>
                      <a:cubicBezTo>
                        <a:pt x="28" y="30"/>
                        <a:pt x="28" y="29"/>
                        <a:pt x="28" y="29"/>
                      </a:cubicBezTo>
                      <a:cubicBezTo>
                        <a:pt x="28" y="29"/>
                        <a:pt x="28" y="29"/>
                        <a:pt x="28" y="29"/>
                      </a:cubicBezTo>
                      <a:cubicBezTo>
                        <a:pt x="28" y="29"/>
                        <a:pt x="28" y="28"/>
                        <a:pt x="28" y="28"/>
                      </a:cubicBezTo>
                      <a:cubicBezTo>
                        <a:pt x="28" y="28"/>
                        <a:pt x="28" y="27"/>
                        <a:pt x="28" y="27"/>
                      </a:cubicBezTo>
                      <a:cubicBezTo>
                        <a:pt x="28" y="27"/>
                        <a:pt x="28" y="27"/>
                        <a:pt x="28" y="27"/>
                      </a:cubicBezTo>
                      <a:cubicBezTo>
                        <a:pt x="28" y="27"/>
                        <a:pt x="28" y="27"/>
                        <a:pt x="28" y="26"/>
                      </a:cubicBezTo>
                      <a:cubicBezTo>
                        <a:pt x="28" y="26"/>
                        <a:pt x="28" y="26"/>
                        <a:pt x="28" y="26"/>
                      </a:cubicBezTo>
                      <a:cubicBezTo>
                        <a:pt x="29" y="26"/>
                        <a:pt x="29" y="26"/>
                        <a:pt x="29" y="26"/>
                      </a:cubicBezTo>
                      <a:cubicBezTo>
                        <a:pt x="29" y="26"/>
                        <a:pt x="29" y="26"/>
                        <a:pt x="29" y="26"/>
                      </a:cubicBezTo>
                      <a:cubicBezTo>
                        <a:pt x="29" y="25"/>
                        <a:pt x="29" y="24"/>
                        <a:pt x="29" y="24"/>
                      </a:cubicBezTo>
                      <a:cubicBezTo>
                        <a:pt x="29" y="23"/>
                        <a:pt x="29" y="23"/>
                        <a:pt x="29" y="23"/>
                      </a:cubicBezTo>
                      <a:cubicBezTo>
                        <a:pt x="29" y="23"/>
                        <a:pt x="29" y="23"/>
                        <a:pt x="29" y="23"/>
                      </a:cubicBezTo>
                      <a:cubicBezTo>
                        <a:pt x="29" y="22"/>
                        <a:pt x="29" y="22"/>
                        <a:pt x="30" y="22"/>
                      </a:cubicBezTo>
                      <a:cubicBezTo>
                        <a:pt x="30" y="22"/>
                        <a:pt x="30" y="22"/>
                        <a:pt x="31" y="23"/>
                      </a:cubicBezTo>
                      <a:cubicBezTo>
                        <a:pt x="31" y="23"/>
                        <a:pt x="31" y="23"/>
                        <a:pt x="31" y="23"/>
                      </a:cubicBezTo>
                      <a:cubicBezTo>
                        <a:pt x="31" y="23"/>
                        <a:pt x="31" y="23"/>
                        <a:pt x="31" y="23"/>
                      </a:cubicBezTo>
                      <a:cubicBezTo>
                        <a:pt x="31" y="23"/>
                        <a:pt x="31" y="23"/>
                        <a:pt x="31" y="24"/>
                      </a:cubicBezTo>
                      <a:cubicBezTo>
                        <a:pt x="31" y="24"/>
                        <a:pt x="31" y="24"/>
                        <a:pt x="31" y="24"/>
                      </a:cubicBezTo>
                      <a:cubicBezTo>
                        <a:pt x="31" y="24"/>
                        <a:pt x="31" y="24"/>
                        <a:pt x="31" y="24"/>
                      </a:cubicBezTo>
                      <a:cubicBezTo>
                        <a:pt x="31" y="23"/>
                        <a:pt x="31" y="23"/>
                        <a:pt x="31" y="23"/>
                      </a:cubicBezTo>
                      <a:cubicBezTo>
                        <a:pt x="31" y="23"/>
                        <a:pt x="31" y="23"/>
                        <a:pt x="31" y="22"/>
                      </a:cubicBezTo>
                      <a:cubicBezTo>
                        <a:pt x="31" y="22"/>
                        <a:pt x="31" y="22"/>
                        <a:pt x="31" y="22"/>
                      </a:cubicBezTo>
                      <a:cubicBezTo>
                        <a:pt x="31" y="22"/>
                        <a:pt x="31" y="22"/>
                        <a:pt x="31" y="21"/>
                      </a:cubicBezTo>
                      <a:cubicBezTo>
                        <a:pt x="31" y="21"/>
                        <a:pt x="31" y="20"/>
                        <a:pt x="31" y="20"/>
                      </a:cubicBezTo>
                      <a:cubicBezTo>
                        <a:pt x="31" y="20"/>
                        <a:pt x="31" y="20"/>
                        <a:pt x="31" y="20"/>
                      </a:cubicBezTo>
                      <a:cubicBezTo>
                        <a:pt x="31" y="20"/>
                        <a:pt x="31" y="19"/>
                        <a:pt x="31" y="19"/>
                      </a:cubicBezTo>
                      <a:cubicBezTo>
                        <a:pt x="31" y="19"/>
                        <a:pt x="31" y="18"/>
                        <a:pt x="31" y="17"/>
                      </a:cubicBezTo>
                      <a:cubicBezTo>
                        <a:pt x="31" y="17"/>
                        <a:pt x="31" y="17"/>
                        <a:pt x="31" y="17"/>
                      </a:cubicBezTo>
                      <a:cubicBezTo>
                        <a:pt x="31" y="17"/>
                        <a:pt x="30" y="17"/>
                        <a:pt x="30" y="17"/>
                      </a:cubicBezTo>
                      <a:cubicBezTo>
                        <a:pt x="31" y="17"/>
                        <a:pt x="31" y="16"/>
                        <a:pt x="31" y="16"/>
                      </a:cubicBezTo>
                      <a:cubicBezTo>
                        <a:pt x="31" y="16"/>
                        <a:pt x="31" y="16"/>
                        <a:pt x="31" y="16"/>
                      </a:cubicBezTo>
                      <a:cubicBezTo>
                        <a:pt x="31" y="16"/>
                        <a:pt x="31" y="15"/>
                        <a:pt x="31" y="15"/>
                      </a:cubicBezTo>
                      <a:cubicBezTo>
                        <a:pt x="31" y="15"/>
                        <a:pt x="31" y="15"/>
                        <a:pt x="31" y="15"/>
                      </a:cubicBezTo>
                      <a:cubicBezTo>
                        <a:pt x="31" y="15"/>
                        <a:pt x="31" y="15"/>
                        <a:pt x="31" y="15"/>
                      </a:cubicBezTo>
                      <a:cubicBezTo>
                        <a:pt x="31" y="14"/>
                        <a:pt x="31" y="14"/>
                        <a:pt x="31" y="14"/>
                      </a:cubicBezTo>
                      <a:cubicBezTo>
                        <a:pt x="31" y="14"/>
                        <a:pt x="31" y="13"/>
                        <a:pt x="31" y="13"/>
                      </a:cubicBezTo>
                      <a:cubicBezTo>
                        <a:pt x="31" y="13"/>
                        <a:pt x="31" y="13"/>
                        <a:pt x="31" y="12"/>
                      </a:cubicBezTo>
                      <a:cubicBezTo>
                        <a:pt x="31" y="12"/>
                        <a:pt x="31" y="12"/>
                        <a:pt x="31" y="12"/>
                      </a:cubicBezTo>
                      <a:cubicBezTo>
                        <a:pt x="31" y="12"/>
                        <a:pt x="31" y="12"/>
                        <a:pt x="31" y="12"/>
                      </a:cubicBezTo>
                      <a:cubicBezTo>
                        <a:pt x="31" y="12"/>
                        <a:pt x="31" y="12"/>
                        <a:pt x="31" y="12"/>
                      </a:cubicBezTo>
                      <a:cubicBezTo>
                        <a:pt x="31" y="12"/>
                        <a:pt x="31" y="11"/>
                        <a:pt x="30" y="11"/>
                      </a:cubicBezTo>
                      <a:cubicBezTo>
                        <a:pt x="30" y="11"/>
                        <a:pt x="30" y="11"/>
                        <a:pt x="30" y="11"/>
                      </a:cubicBezTo>
                      <a:cubicBezTo>
                        <a:pt x="30" y="11"/>
                        <a:pt x="30" y="11"/>
                        <a:pt x="29" y="10"/>
                      </a:cubicBezTo>
                      <a:cubicBezTo>
                        <a:pt x="29" y="10"/>
                        <a:pt x="29" y="10"/>
                        <a:pt x="29" y="10"/>
                      </a:cubicBezTo>
                      <a:cubicBezTo>
                        <a:pt x="29" y="10"/>
                        <a:pt x="29" y="10"/>
                        <a:pt x="28" y="10"/>
                      </a:cubicBezTo>
                      <a:cubicBezTo>
                        <a:pt x="28" y="11"/>
                        <a:pt x="28" y="11"/>
                        <a:pt x="28" y="11"/>
                      </a:cubicBezTo>
                      <a:cubicBezTo>
                        <a:pt x="28" y="11"/>
                        <a:pt x="28" y="11"/>
                        <a:pt x="28" y="11"/>
                      </a:cubicBezTo>
                      <a:cubicBezTo>
                        <a:pt x="27" y="11"/>
                        <a:pt x="27" y="11"/>
                        <a:pt x="27" y="11"/>
                      </a:cubicBezTo>
                      <a:cubicBezTo>
                        <a:pt x="27" y="11"/>
                        <a:pt x="27" y="11"/>
                        <a:pt x="26" y="11"/>
                      </a:cubicBezTo>
                      <a:cubicBezTo>
                        <a:pt x="26" y="11"/>
                        <a:pt x="26" y="11"/>
                        <a:pt x="26" y="11"/>
                      </a:cubicBezTo>
                      <a:cubicBezTo>
                        <a:pt x="26" y="12"/>
                        <a:pt x="26" y="12"/>
                        <a:pt x="26" y="12"/>
                      </a:cubicBezTo>
                      <a:cubicBezTo>
                        <a:pt x="25" y="12"/>
                        <a:pt x="25" y="12"/>
                        <a:pt x="25" y="12"/>
                      </a:cubicBezTo>
                      <a:cubicBezTo>
                        <a:pt x="25" y="12"/>
                        <a:pt x="25" y="12"/>
                        <a:pt x="24" y="12"/>
                      </a:cubicBezTo>
                      <a:cubicBezTo>
                        <a:pt x="24" y="12"/>
                        <a:pt x="24" y="12"/>
                        <a:pt x="24" y="12"/>
                      </a:cubicBezTo>
                      <a:cubicBezTo>
                        <a:pt x="24" y="12"/>
                        <a:pt x="24" y="12"/>
                        <a:pt x="24" y="12"/>
                      </a:cubicBezTo>
                      <a:cubicBezTo>
                        <a:pt x="24" y="12"/>
                        <a:pt x="23" y="12"/>
                        <a:pt x="23" y="12"/>
                      </a:cubicBezTo>
                      <a:cubicBezTo>
                        <a:pt x="23" y="12"/>
                        <a:pt x="22" y="12"/>
                        <a:pt x="22" y="12"/>
                      </a:cubicBezTo>
                      <a:cubicBezTo>
                        <a:pt x="22" y="12"/>
                        <a:pt x="22" y="12"/>
                        <a:pt x="22" y="13"/>
                      </a:cubicBezTo>
                      <a:cubicBezTo>
                        <a:pt x="22" y="13"/>
                        <a:pt x="21" y="13"/>
                        <a:pt x="21" y="13"/>
                      </a:cubicBezTo>
                      <a:cubicBezTo>
                        <a:pt x="21" y="13"/>
                        <a:pt x="20" y="13"/>
                        <a:pt x="19" y="13"/>
                      </a:cubicBezTo>
                      <a:cubicBezTo>
                        <a:pt x="19" y="14"/>
                        <a:pt x="18" y="14"/>
                        <a:pt x="18" y="14"/>
                      </a:cubicBezTo>
                      <a:cubicBezTo>
                        <a:pt x="17" y="14"/>
                        <a:pt x="16" y="13"/>
                        <a:pt x="15" y="13"/>
                      </a:cubicBezTo>
                      <a:cubicBezTo>
                        <a:pt x="14" y="13"/>
                        <a:pt x="14" y="12"/>
                        <a:pt x="14" y="12"/>
                      </a:cubicBezTo>
                      <a:cubicBezTo>
                        <a:pt x="13" y="12"/>
                        <a:pt x="12" y="11"/>
                        <a:pt x="11" y="11"/>
                      </a:cubicBezTo>
                      <a:cubicBezTo>
                        <a:pt x="11" y="11"/>
                        <a:pt x="10" y="11"/>
                        <a:pt x="10" y="11"/>
                      </a:cubicBezTo>
                      <a:cubicBezTo>
                        <a:pt x="9" y="10"/>
                        <a:pt x="9" y="10"/>
                        <a:pt x="8" y="10"/>
                      </a:cubicBezTo>
                      <a:cubicBezTo>
                        <a:pt x="8" y="10"/>
                        <a:pt x="8" y="10"/>
                        <a:pt x="8" y="10"/>
                      </a:cubicBezTo>
                      <a:cubicBezTo>
                        <a:pt x="8" y="10"/>
                        <a:pt x="8" y="10"/>
                        <a:pt x="8" y="10"/>
                      </a:cubicBezTo>
                      <a:cubicBezTo>
                        <a:pt x="8" y="9"/>
                        <a:pt x="8" y="9"/>
                        <a:pt x="8" y="9"/>
                      </a:cubicBezTo>
                      <a:cubicBezTo>
                        <a:pt x="8" y="9"/>
                        <a:pt x="8" y="9"/>
                        <a:pt x="8" y="10"/>
                      </a:cubicBezTo>
                      <a:cubicBezTo>
                        <a:pt x="8" y="10"/>
                        <a:pt x="7" y="10"/>
                        <a:pt x="7" y="10"/>
                      </a:cubicBezTo>
                      <a:cubicBezTo>
                        <a:pt x="7" y="10"/>
                        <a:pt x="7" y="10"/>
                        <a:pt x="7" y="9"/>
                      </a:cubicBezTo>
                      <a:cubicBezTo>
                        <a:pt x="6" y="9"/>
                        <a:pt x="6" y="10"/>
                        <a:pt x="6" y="10"/>
                      </a:cubicBezTo>
                      <a:cubicBezTo>
                        <a:pt x="6" y="11"/>
                        <a:pt x="6" y="11"/>
                        <a:pt x="6" y="12"/>
                      </a:cubicBezTo>
                      <a:cubicBezTo>
                        <a:pt x="6" y="12"/>
                        <a:pt x="6" y="12"/>
                        <a:pt x="6" y="12"/>
                      </a:cubicBezTo>
                      <a:cubicBezTo>
                        <a:pt x="6" y="13"/>
                        <a:pt x="6" y="13"/>
                        <a:pt x="6" y="13"/>
                      </a:cubicBezTo>
                      <a:cubicBezTo>
                        <a:pt x="6" y="13"/>
                        <a:pt x="6" y="14"/>
                        <a:pt x="6" y="15"/>
                      </a:cubicBezTo>
                      <a:cubicBezTo>
                        <a:pt x="7" y="15"/>
                        <a:pt x="7" y="15"/>
                        <a:pt x="7" y="16"/>
                      </a:cubicBezTo>
                      <a:cubicBezTo>
                        <a:pt x="7" y="16"/>
                        <a:pt x="7" y="16"/>
                        <a:pt x="7" y="16"/>
                      </a:cubicBezTo>
                      <a:cubicBezTo>
                        <a:pt x="7" y="17"/>
                        <a:pt x="7" y="17"/>
                        <a:pt x="7" y="17"/>
                      </a:cubicBezTo>
                      <a:cubicBezTo>
                        <a:pt x="8" y="17"/>
                        <a:pt x="8" y="18"/>
                        <a:pt x="8" y="18"/>
                      </a:cubicBezTo>
                      <a:cubicBezTo>
                        <a:pt x="8" y="18"/>
                        <a:pt x="8" y="19"/>
                        <a:pt x="8" y="19"/>
                      </a:cubicBezTo>
                      <a:cubicBezTo>
                        <a:pt x="8" y="19"/>
                        <a:pt x="8" y="19"/>
                        <a:pt x="8" y="19"/>
                      </a:cubicBezTo>
                      <a:cubicBezTo>
                        <a:pt x="8" y="19"/>
                        <a:pt x="8" y="19"/>
                        <a:pt x="8" y="19"/>
                      </a:cubicBezTo>
                      <a:cubicBezTo>
                        <a:pt x="9" y="20"/>
                        <a:pt x="9" y="20"/>
                        <a:pt x="9" y="20"/>
                      </a:cubicBezTo>
                      <a:cubicBezTo>
                        <a:pt x="9" y="20"/>
                        <a:pt x="9" y="20"/>
                        <a:pt x="9" y="21"/>
                      </a:cubicBezTo>
                      <a:cubicBezTo>
                        <a:pt x="10" y="21"/>
                        <a:pt x="10" y="21"/>
                        <a:pt x="10" y="22"/>
                      </a:cubicBezTo>
                      <a:cubicBezTo>
                        <a:pt x="10" y="22"/>
                        <a:pt x="10" y="23"/>
                        <a:pt x="10" y="23"/>
                      </a:cubicBezTo>
                      <a:cubicBezTo>
                        <a:pt x="10" y="23"/>
                        <a:pt x="10" y="23"/>
                        <a:pt x="10" y="24"/>
                      </a:cubicBezTo>
                      <a:cubicBezTo>
                        <a:pt x="10" y="24"/>
                        <a:pt x="10" y="24"/>
                        <a:pt x="10" y="23"/>
                      </a:cubicBezTo>
                      <a:cubicBezTo>
                        <a:pt x="10" y="23"/>
                        <a:pt x="11" y="23"/>
                        <a:pt x="11" y="23"/>
                      </a:cubicBezTo>
                      <a:cubicBezTo>
                        <a:pt x="11" y="23"/>
                        <a:pt x="11" y="23"/>
                        <a:pt x="11" y="23"/>
                      </a:cubicBezTo>
                      <a:cubicBezTo>
                        <a:pt x="11" y="24"/>
                        <a:pt x="11" y="24"/>
                        <a:pt x="12" y="25"/>
                      </a:cubicBezTo>
                      <a:cubicBezTo>
                        <a:pt x="12" y="25"/>
                        <a:pt x="12" y="25"/>
                        <a:pt x="12" y="25"/>
                      </a:cubicBezTo>
                      <a:cubicBezTo>
                        <a:pt x="12" y="25"/>
                        <a:pt x="12" y="25"/>
                        <a:pt x="12" y="25"/>
                      </a:cubicBezTo>
                      <a:cubicBezTo>
                        <a:pt x="11" y="25"/>
                        <a:pt x="11" y="25"/>
                        <a:pt x="11" y="25"/>
                      </a:cubicBezTo>
                      <a:cubicBezTo>
                        <a:pt x="11" y="24"/>
                        <a:pt x="10" y="24"/>
                        <a:pt x="10" y="24"/>
                      </a:cubicBezTo>
                      <a:cubicBezTo>
                        <a:pt x="10" y="25"/>
                        <a:pt x="10" y="25"/>
                        <a:pt x="10" y="26"/>
                      </a:cubicBezTo>
                      <a:cubicBezTo>
                        <a:pt x="10" y="26"/>
                        <a:pt x="10" y="26"/>
                        <a:pt x="10" y="27"/>
                      </a:cubicBezTo>
                      <a:cubicBezTo>
                        <a:pt x="10" y="27"/>
                        <a:pt x="10" y="27"/>
                        <a:pt x="10" y="27"/>
                      </a:cubicBezTo>
                      <a:cubicBezTo>
                        <a:pt x="10" y="27"/>
                        <a:pt x="10" y="27"/>
                        <a:pt x="11" y="27"/>
                      </a:cubicBezTo>
                      <a:cubicBezTo>
                        <a:pt x="11" y="27"/>
                        <a:pt x="11" y="27"/>
                        <a:pt x="11" y="28"/>
                      </a:cubicBezTo>
                      <a:cubicBezTo>
                        <a:pt x="11" y="28"/>
                        <a:pt x="11" y="28"/>
                        <a:pt x="11" y="28"/>
                      </a:cubicBezTo>
                      <a:cubicBezTo>
                        <a:pt x="11" y="28"/>
                        <a:pt x="11" y="29"/>
                        <a:pt x="11" y="29"/>
                      </a:cubicBezTo>
                      <a:cubicBezTo>
                        <a:pt x="11" y="29"/>
                        <a:pt x="12" y="29"/>
                        <a:pt x="12" y="30"/>
                      </a:cubicBezTo>
                      <a:cubicBezTo>
                        <a:pt x="12" y="30"/>
                        <a:pt x="12" y="30"/>
                        <a:pt x="12" y="30"/>
                      </a:cubicBezTo>
                      <a:cubicBezTo>
                        <a:pt x="12" y="30"/>
                        <a:pt x="12" y="30"/>
                        <a:pt x="12" y="30"/>
                      </a:cubicBezTo>
                      <a:cubicBezTo>
                        <a:pt x="13" y="31"/>
                        <a:pt x="13" y="31"/>
                        <a:pt x="13" y="31"/>
                      </a:cubicBezTo>
                      <a:cubicBezTo>
                        <a:pt x="13" y="31"/>
                        <a:pt x="13" y="32"/>
                        <a:pt x="13" y="32"/>
                      </a:cubicBezTo>
                      <a:cubicBezTo>
                        <a:pt x="13" y="32"/>
                        <a:pt x="14" y="33"/>
                        <a:pt x="14" y="33"/>
                      </a:cubicBezTo>
                      <a:cubicBezTo>
                        <a:pt x="14" y="33"/>
                        <a:pt x="14" y="34"/>
                        <a:pt x="14" y="33"/>
                      </a:cubicBezTo>
                      <a:cubicBezTo>
                        <a:pt x="15" y="33"/>
                        <a:pt x="15" y="33"/>
                        <a:pt x="15" y="33"/>
                      </a:cubicBezTo>
                      <a:cubicBezTo>
                        <a:pt x="15" y="33"/>
                        <a:pt x="15" y="33"/>
                        <a:pt x="15" y="33"/>
                      </a:cubicBezTo>
                      <a:cubicBezTo>
                        <a:pt x="15" y="33"/>
                        <a:pt x="15" y="33"/>
                        <a:pt x="15" y="33"/>
                      </a:cubicBezTo>
                      <a:cubicBezTo>
                        <a:pt x="15" y="34"/>
                        <a:pt x="15" y="34"/>
                        <a:pt x="15" y="34"/>
                      </a:cubicBezTo>
                      <a:cubicBezTo>
                        <a:pt x="15" y="34"/>
                        <a:pt x="15" y="34"/>
                        <a:pt x="15" y="34"/>
                      </a:cubicBezTo>
                      <a:cubicBezTo>
                        <a:pt x="15" y="34"/>
                        <a:pt x="15" y="35"/>
                        <a:pt x="15" y="35"/>
                      </a:cubicBezTo>
                      <a:cubicBezTo>
                        <a:pt x="15" y="35"/>
                        <a:pt x="15" y="35"/>
                        <a:pt x="15" y="35"/>
                      </a:cubicBezTo>
                      <a:cubicBezTo>
                        <a:pt x="15" y="35"/>
                        <a:pt x="16" y="36"/>
                        <a:pt x="16" y="36"/>
                      </a:cubicBezTo>
                      <a:cubicBezTo>
                        <a:pt x="16" y="36"/>
                        <a:pt x="16" y="35"/>
                        <a:pt x="16" y="35"/>
                      </a:cubicBezTo>
                      <a:cubicBezTo>
                        <a:pt x="16" y="35"/>
                        <a:pt x="17" y="35"/>
                        <a:pt x="17" y="36"/>
                      </a:cubicBezTo>
                      <a:cubicBezTo>
                        <a:pt x="18" y="36"/>
                        <a:pt x="18" y="35"/>
                        <a:pt x="19" y="36"/>
                      </a:cubicBezTo>
                      <a:cubicBezTo>
                        <a:pt x="19" y="36"/>
                        <a:pt x="19" y="36"/>
                        <a:pt x="19" y="36"/>
                      </a:cubicBezTo>
                      <a:cubicBezTo>
                        <a:pt x="19" y="36"/>
                        <a:pt x="20" y="36"/>
                        <a:pt x="20" y="37"/>
                      </a:cubicBezTo>
                      <a:cubicBezTo>
                        <a:pt x="20" y="37"/>
                        <a:pt x="21" y="37"/>
                        <a:pt x="21" y="37"/>
                      </a:cubicBezTo>
                      <a:close/>
                      <a:moveTo>
                        <a:pt x="29" y="28"/>
                      </a:moveTo>
                      <a:cubicBezTo>
                        <a:pt x="29" y="28"/>
                        <a:pt x="29" y="28"/>
                        <a:pt x="29" y="28"/>
                      </a:cubicBezTo>
                      <a:cubicBezTo>
                        <a:pt x="29" y="28"/>
                        <a:pt x="29" y="28"/>
                        <a:pt x="29" y="28"/>
                      </a:cubicBezTo>
                      <a:cubicBezTo>
                        <a:pt x="30" y="28"/>
                        <a:pt x="30" y="28"/>
                        <a:pt x="30" y="28"/>
                      </a:cubicBezTo>
                      <a:cubicBezTo>
                        <a:pt x="30" y="28"/>
                        <a:pt x="30" y="28"/>
                        <a:pt x="30" y="28"/>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8"/>
                      </a:cubicBezTo>
                      <a:close/>
                      <a:moveTo>
                        <a:pt x="31" y="24"/>
                      </a:move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5"/>
                      </a:cubicBezTo>
                      <a:cubicBezTo>
                        <a:pt x="31" y="25"/>
                        <a:pt x="31" y="25"/>
                        <a:pt x="31" y="25"/>
                      </a:cubicBezTo>
                      <a:cubicBezTo>
                        <a:pt x="31" y="25"/>
                        <a:pt x="31" y="25"/>
                        <a:pt x="31" y="25"/>
                      </a:cubicBezTo>
                      <a:cubicBezTo>
                        <a:pt x="31" y="25"/>
                        <a:pt x="31" y="25"/>
                        <a:pt x="31" y="24"/>
                      </a:cubicBezTo>
                      <a:cubicBezTo>
                        <a:pt x="31" y="24"/>
                        <a:pt x="31" y="24"/>
                        <a:pt x="31" y="24"/>
                      </a:cubicBezTo>
                      <a:cubicBezTo>
                        <a:pt x="31" y="24"/>
                        <a:pt x="31" y="24"/>
                        <a:pt x="31" y="24"/>
                      </a:cubicBezTo>
                      <a:cubicBezTo>
                        <a:pt x="31" y="24"/>
                        <a:pt x="31" y="24"/>
                        <a:pt x="31" y="24"/>
                      </a:cubicBezTo>
                      <a:close/>
                      <a:moveTo>
                        <a:pt x="24" y="35"/>
                      </a:move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4"/>
                      </a:cubicBezTo>
                      <a:cubicBezTo>
                        <a:pt x="24" y="34"/>
                        <a:pt x="24" y="34"/>
                        <a:pt x="24" y="34"/>
                      </a:cubicBezTo>
                      <a:cubicBezTo>
                        <a:pt x="24" y="34"/>
                        <a:pt x="24" y="34"/>
                        <a:pt x="24" y="34"/>
                      </a:cubicBezTo>
                      <a:cubicBezTo>
                        <a:pt x="24" y="34"/>
                        <a:pt x="24" y="34"/>
                        <a:pt x="24" y="34"/>
                      </a:cubicBezTo>
                      <a:cubicBezTo>
                        <a:pt x="24" y="34"/>
                        <a:pt x="24" y="33"/>
                        <a:pt x="24" y="33"/>
                      </a:cubicBezTo>
                      <a:cubicBezTo>
                        <a:pt x="24" y="33"/>
                        <a:pt x="24" y="33"/>
                        <a:pt x="24" y="33"/>
                      </a:cubicBezTo>
                      <a:cubicBezTo>
                        <a:pt x="24" y="33"/>
                        <a:pt x="24" y="33"/>
                        <a:pt x="24" y="33"/>
                      </a:cubicBezTo>
                      <a:cubicBezTo>
                        <a:pt x="24" y="34"/>
                        <a:pt x="24" y="34"/>
                        <a:pt x="24" y="34"/>
                      </a:cubicBezTo>
                      <a:cubicBezTo>
                        <a:pt x="24" y="34"/>
                        <a:pt x="24" y="34"/>
                        <a:pt x="24" y="34"/>
                      </a:cubicBezTo>
                      <a:cubicBezTo>
                        <a:pt x="24" y="34"/>
                        <a:pt x="24" y="34"/>
                        <a:pt x="24" y="34"/>
                      </a:cubicBezTo>
                      <a:cubicBezTo>
                        <a:pt x="24" y="34"/>
                        <a:pt x="23" y="34"/>
                        <a:pt x="23" y="34"/>
                      </a:cubicBezTo>
                      <a:cubicBezTo>
                        <a:pt x="23" y="34"/>
                        <a:pt x="23" y="34"/>
                        <a:pt x="23" y="34"/>
                      </a:cubicBezTo>
                      <a:cubicBezTo>
                        <a:pt x="23" y="35"/>
                        <a:pt x="23" y="35"/>
                        <a:pt x="23" y="35"/>
                      </a:cubicBezTo>
                      <a:cubicBezTo>
                        <a:pt x="23" y="35"/>
                        <a:pt x="24" y="35"/>
                        <a:pt x="24" y="35"/>
                      </a:cubicBezTo>
                      <a:cubicBezTo>
                        <a:pt x="24" y="35"/>
                        <a:pt x="24" y="35"/>
                        <a:pt x="24" y="35"/>
                      </a:cubicBezTo>
                      <a:cubicBezTo>
                        <a:pt x="24" y="35"/>
                        <a:pt x="24" y="35"/>
                        <a:pt x="24" y="35"/>
                      </a:cubicBezTo>
                      <a:cubicBezTo>
                        <a:pt x="24" y="35"/>
                        <a:pt x="24" y="35"/>
                        <a:pt x="24" y="35"/>
                      </a:cubicBezTo>
                      <a:close/>
                      <a:moveTo>
                        <a:pt x="7" y="8"/>
                      </a:moveTo>
                      <a:cubicBezTo>
                        <a:pt x="7" y="8"/>
                        <a:pt x="7" y="9"/>
                        <a:pt x="7" y="9"/>
                      </a:cubicBezTo>
                      <a:cubicBezTo>
                        <a:pt x="7" y="9"/>
                        <a:pt x="7" y="9"/>
                        <a:pt x="7" y="9"/>
                      </a:cubicBezTo>
                      <a:cubicBezTo>
                        <a:pt x="7" y="9"/>
                        <a:pt x="7" y="8"/>
                        <a:pt x="7" y="8"/>
                      </a:cubicBezTo>
                      <a:cubicBezTo>
                        <a:pt x="7" y="8"/>
                        <a:pt x="7" y="8"/>
                        <a:pt x="7" y="8"/>
                      </a:cubicBezTo>
                      <a:cubicBezTo>
                        <a:pt x="7" y="8"/>
                        <a:pt x="7" y="8"/>
                        <a:pt x="7" y="8"/>
                      </a:cubicBezTo>
                      <a:cubicBezTo>
                        <a:pt x="7" y="8"/>
                        <a:pt x="7" y="8"/>
                        <a:pt x="7"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0" name="Freeform 741">
                  <a:extLst>
                    <a:ext uri="{FF2B5EF4-FFF2-40B4-BE49-F238E27FC236}">
                      <a16:creationId xmlns:a16="http://schemas.microsoft.com/office/drawing/2014/main" id="{A9C1BC88-4DA7-BE13-C272-6680AF4AEA07}"/>
                    </a:ext>
                  </a:extLst>
                </p:cNvPr>
                <p:cNvSpPr>
                  <a:spLocks noEditPoints="1"/>
                </p:cNvSpPr>
                <p:nvPr/>
              </p:nvSpPr>
              <p:spPr bwMode="auto">
                <a:xfrm>
                  <a:off x="9009063" y="5662613"/>
                  <a:ext cx="341312" cy="404813"/>
                </a:xfrm>
                <a:custGeom>
                  <a:avLst/>
                  <a:gdLst>
                    <a:gd name="T0" fmla="*/ 53 w 82"/>
                    <a:gd name="T1" fmla="*/ 80 h 97"/>
                    <a:gd name="T2" fmla="*/ 52 w 82"/>
                    <a:gd name="T3" fmla="*/ 78 h 97"/>
                    <a:gd name="T4" fmla="*/ 56 w 82"/>
                    <a:gd name="T5" fmla="*/ 77 h 97"/>
                    <a:gd name="T6" fmla="*/ 59 w 82"/>
                    <a:gd name="T7" fmla="*/ 77 h 97"/>
                    <a:gd name="T8" fmla="*/ 60 w 82"/>
                    <a:gd name="T9" fmla="*/ 78 h 97"/>
                    <a:gd name="T10" fmla="*/ 62 w 82"/>
                    <a:gd name="T11" fmla="*/ 78 h 97"/>
                    <a:gd name="T12" fmla="*/ 62 w 82"/>
                    <a:gd name="T13" fmla="*/ 79 h 97"/>
                    <a:gd name="T14" fmla="*/ 59 w 82"/>
                    <a:gd name="T15" fmla="*/ 79 h 97"/>
                    <a:gd name="T16" fmla="*/ 57 w 82"/>
                    <a:gd name="T17" fmla="*/ 80 h 97"/>
                    <a:gd name="T18" fmla="*/ 49 w 82"/>
                    <a:gd name="T19" fmla="*/ 72 h 97"/>
                    <a:gd name="T20" fmla="*/ 49 w 82"/>
                    <a:gd name="T21" fmla="*/ 72 h 97"/>
                    <a:gd name="T22" fmla="*/ 49 w 82"/>
                    <a:gd name="T23" fmla="*/ 71 h 97"/>
                    <a:gd name="T24" fmla="*/ 38 w 82"/>
                    <a:gd name="T25" fmla="*/ 61 h 97"/>
                    <a:gd name="T26" fmla="*/ 38 w 82"/>
                    <a:gd name="T27" fmla="*/ 61 h 97"/>
                    <a:gd name="T28" fmla="*/ 38 w 82"/>
                    <a:gd name="T29" fmla="*/ 61 h 97"/>
                    <a:gd name="T30" fmla="*/ 3 w 82"/>
                    <a:gd name="T31" fmla="*/ 44 h 97"/>
                    <a:gd name="T32" fmla="*/ 13 w 82"/>
                    <a:gd name="T33" fmla="*/ 44 h 97"/>
                    <a:gd name="T34" fmla="*/ 19 w 82"/>
                    <a:gd name="T35" fmla="*/ 45 h 97"/>
                    <a:gd name="T36" fmla="*/ 24 w 82"/>
                    <a:gd name="T37" fmla="*/ 47 h 97"/>
                    <a:gd name="T38" fmla="*/ 29 w 82"/>
                    <a:gd name="T39" fmla="*/ 49 h 97"/>
                    <a:gd name="T40" fmla="*/ 32 w 82"/>
                    <a:gd name="T41" fmla="*/ 48 h 97"/>
                    <a:gd name="T42" fmla="*/ 34 w 82"/>
                    <a:gd name="T43" fmla="*/ 51 h 97"/>
                    <a:gd name="T44" fmla="*/ 36 w 82"/>
                    <a:gd name="T45" fmla="*/ 53 h 97"/>
                    <a:gd name="T46" fmla="*/ 35 w 82"/>
                    <a:gd name="T47" fmla="*/ 55 h 97"/>
                    <a:gd name="T48" fmla="*/ 37 w 82"/>
                    <a:gd name="T49" fmla="*/ 56 h 97"/>
                    <a:gd name="T50" fmla="*/ 40 w 82"/>
                    <a:gd name="T51" fmla="*/ 58 h 97"/>
                    <a:gd name="T52" fmla="*/ 43 w 82"/>
                    <a:gd name="T53" fmla="*/ 62 h 97"/>
                    <a:gd name="T54" fmla="*/ 44 w 82"/>
                    <a:gd name="T55" fmla="*/ 68 h 97"/>
                    <a:gd name="T56" fmla="*/ 43 w 82"/>
                    <a:gd name="T57" fmla="*/ 67 h 97"/>
                    <a:gd name="T58" fmla="*/ 45 w 82"/>
                    <a:gd name="T59" fmla="*/ 70 h 97"/>
                    <a:gd name="T60" fmla="*/ 47 w 82"/>
                    <a:gd name="T61" fmla="*/ 71 h 97"/>
                    <a:gd name="T62" fmla="*/ 48 w 82"/>
                    <a:gd name="T63" fmla="*/ 70 h 97"/>
                    <a:gd name="T64" fmla="*/ 48 w 82"/>
                    <a:gd name="T65" fmla="*/ 68 h 97"/>
                    <a:gd name="T66" fmla="*/ 49 w 82"/>
                    <a:gd name="T67" fmla="*/ 66 h 97"/>
                    <a:gd name="T68" fmla="*/ 52 w 82"/>
                    <a:gd name="T69" fmla="*/ 63 h 97"/>
                    <a:gd name="T70" fmla="*/ 55 w 82"/>
                    <a:gd name="T71" fmla="*/ 61 h 97"/>
                    <a:gd name="T72" fmla="*/ 58 w 82"/>
                    <a:gd name="T73" fmla="*/ 57 h 97"/>
                    <a:gd name="T74" fmla="*/ 60 w 82"/>
                    <a:gd name="T75" fmla="*/ 55 h 97"/>
                    <a:gd name="T76" fmla="*/ 60 w 82"/>
                    <a:gd name="T77" fmla="*/ 52 h 97"/>
                    <a:gd name="T78" fmla="*/ 61 w 82"/>
                    <a:gd name="T79" fmla="*/ 54 h 97"/>
                    <a:gd name="T80" fmla="*/ 61 w 82"/>
                    <a:gd name="T81" fmla="*/ 58 h 97"/>
                    <a:gd name="T82" fmla="*/ 59 w 82"/>
                    <a:gd name="T83" fmla="*/ 63 h 97"/>
                    <a:gd name="T84" fmla="*/ 58 w 82"/>
                    <a:gd name="T85" fmla="*/ 71 h 97"/>
                    <a:gd name="T86" fmla="*/ 55 w 82"/>
                    <a:gd name="T87" fmla="*/ 72 h 97"/>
                    <a:gd name="T88" fmla="*/ 56 w 82"/>
                    <a:gd name="T89" fmla="*/ 73 h 97"/>
                    <a:gd name="T90" fmla="*/ 59 w 82"/>
                    <a:gd name="T91" fmla="*/ 73 h 97"/>
                    <a:gd name="T92" fmla="*/ 61 w 82"/>
                    <a:gd name="T93" fmla="*/ 70 h 97"/>
                    <a:gd name="T94" fmla="*/ 62 w 82"/>
                    <a:gd name="T95" fmla="*/ 65 h 97"/>
                    <a:gd name="T96" fmla="*/ 65 w 82"/>
                    <a:gd name="T97" fmla="*/ 69 h 97"/>
                    <a:gd name="T98" fmla="*/ 64 w 82"/>
                    <a:gd name="T99" fmla="*/ 75 h 97"/>
                    <a:gd name="T100" fmla="*/ 64 w 82"/>
                    <a:gd name="T101" fmla="*/ 77 h 97"/>
                    <a:gd name="T102" fmla="*/ 69 w 82"/>
                    <a:gd name="T103" fmla="*/ 77 h 97"/>
                    <a:gd name="T104" fmla="*/ 74 w 82"/>
                    <a:gd name="T105" fmla="*/ 87 h 97"/>
                    <a:gd name="T106" fmla="*/ 75 w 82"/>
                    <a:gd name="T107" fmla="*/ 91 h 97"/>
                    <a:gd name="T108" fmla="*/ 79 w 82"/>
                    <a:gd name="T109" fmla="*/ 97 h 97"/>
                    <a:gd name="T110" fmla="*/ 0 w 82"/>
                    <a:gd name="T11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97">
                      <a:moveTo>
                        <a:pt x="57" y="80"/>
                      </a:moveTo>
                      <a:cubicBezTo>
                        <a:pt x="57" y="80"/>
                        <a:pt x="57" y="80"/>
                        <a:pt x="56" y="80"/>
                      </a:cubicBezTo>
                      <a:cubicBezTo>
                        <a:pt x="56" y="80"/>
                        <a:pt x="55" y="80"/>
                        <a:pt x="54" y="80"/>
                      </a:cubicBezTo>
                      <a:cubicBezTo>
                        <a:pt x="54" y="80"/>
                        <a:pt x="54" y="80"/>
                        <a:pt x="54" y="80"/>
                      </a:cubicBezTo>
                      <a:cubicBezTo>
                        <a:pt x="54" y="80"/>
                        <a:pt x="54" y="80"/>
                        <a:pt x="53" y="80"/>
                      </a:cubicBezTo>
                      <a:cubicBezTo>
                        <a:pt x="53" y="80"/>
                        <a:pt x="53" y="80"/>
                        <a:pt x="53" y="80"/>
                      </a:cubicBezTo>
                      <a:cubicBezTo>
                        <a:pt x="53" y="80"/>
                        <a:pt x="53" y="80"/>
                        <a:pt x="53" y="80"/>
                      </a:cubicBezTo>
                      <a:cubicBezTo>
                        <a:pt x="53" y="80"/>
                        <a:pt x="52" y="80"/>
                        <a:pt x="52" y="79"/>
                      </a:cubicBezTo>
                      <a:cubicBezTo>
                        <a:pt x="52" y="79"/>
                        <a:pt x="52" y="79"/>
                        <a:pt x="52" y="79"/>
                      </a:cubicBezTo>
                      <a:cubicBezTo>
                        <a:pt x="52" y="78"/>
                        <a:pt x="52" y="78"/>
                        <a:pt x="52" y="78"/>
                      </a:cubicBezTo>
                      <a:cubicBezTo>
                        <a:pt x="52" y="78"/>
                        <a:pt x="53" y="78"/>
                        <a:pt x="53" y="78"/>
                      </a:cubicBezTo>
                      <a:cubicBezTo>
                        <a:pt x="53" y="78"/>
                        <a:pt x="53" y="78"/>
                        <a:pt x="53" y="77"/>
                      </a:cubicBezTo>
                      <a:cubicBezTo>
                        <a:pt x="54" y="77"/>
                        <a:pt x="54" y="77"/>
                        <a:pt x="54" y="77"/>
                      </a:cubicBezTo>
                      <a:cubicBezTo>
                        <a:pt x="55" y="77"/>
                        <a:pt x="55" y="77"/>
                        <a:pt x="55" y="77"/>
                      </a:cubicBezTo>
                      <a:cubicBezTo>
                        <a:pt x="55" y="77"/>
                        <a:pt x="56" y="77"/>
                        <a:pt x="56" y="77"/>
                      </a:cubicBezTo>
                      <a:cubicBezTo>
                        <a:pt x="57" y="76"/>
                        <a:pt x="58" y="76"/>
                        <a:pt x="59" y="76"/>
                      </a:cubicBezTo>
                      <a:cubicBezTo>
                        <a:pt x="59" y="76"/>
                        <a:pt x="59" y="76"/>
                        <a:pt x="59" y="77"/>
                      </a:cubicBezTo>
                      <a:cubicBezTo>
                        <a:pt x="59" y="77"/>
                        <a:pt x="59" y="77"/>
                        <a:pt x="59" y="77"/>
                      </a:cubicBezTo>
                      <a:cubicBezTo>
                        <a:pt x="59" y="77"/>
                        <a:pt x="59" y="77"/>
                        <a:pt x="59" y="77"/>
                      </a:cubicBezTo>
                      <a:cubicBezTo>
                        <a:pt x="59" y="77"/>
                        <a:pt x="59" y="77"/>
                        <a:pt x="59" y="77"/>
                      </a:cubicBezTo>
                      <a:cubicBezTo>
                        <a:pt x="59" y="77"/>
                        <a:pt x="59" y="77"/>
                        <a:pt x="59" y="78"/>
                      </a:cubicBezTo>
                      <a:cubicBezTo>
                        <a:pt x="59" y="78"/>
                        <a:pt x="59" y="78"/>
                        <a:pt x="59" y="78"/>
                      </a:cubicBezTo>
                      <a:cubicBezTo>
                        <a:pt x="59" y="78"/>
                        <a:pt x="60" y="78"/>
                        <a:pt x="60" y="78"/>
                      </a:cubicBezTo>
                      <a:cubicBezTo>
                        <a:pt x="60" y="78"/>
                        <a:pt x="60" y="78"/>
                        <a:pt x="60" y="78"/>
                      </a:cubicBezTo>
                      <a:cubicBezTo>
                        <a:pt x="60" y="78"/>
                        <a:pt x="60" y="78"/>
                        <a:pt x="60" y="78"/>
                      </a:cubicBezTo>
                      <a:cubicBezTo>
                        <a:pt x="60" y="78"/>
                        <a:pt x="60" y="78"/>
                        <a:pt x="61" y="78"/>
                      </a:cubicBezTo>
                      <a:cubicBezTo>
                        <a:pt x="61" y="78"/>
                        <a:pt x="61" y="78"/>
                        <a:pt x="61" y="78"/>
                      </a:cubicBezTo>
                      <a:cubicBezTo>
                        <a:pt x="61" y="78"/>
                        <a:pt x="61" y="78"/>
                        <a:pt x="61" y="78"/>
                      </a:cubicBezTo>
                      <a:cubicBezTo>
                        <a:pt x="61" y="78"/>
                        <a:pt x="61" y="78"/>
                        <a:pt x="61" y="78"/>
                      </a:cubicBezTo>
                      <a:cubicBezTo>
                        <a:pt x="61" y="78"/>
                        <a:pt x="62" y="78"/>
                        <a:pt x="62" y="78"/>
                      </a:cubicBezTo>
                      <a:cubicBezTo>
                        <a:pt x="62" y="78"/>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2" y="79"/>
                      </a:cubicBezTo>
                      <a:cubicBezTo>
                        <a:pt x="62" y="79"/>
                        <a:pt x="62" y="79"/>
                        <a:pt x="62" y="79"/>
                      </a:cubicBezTo>
                      <a:cubicBezTo>
                        <a:pt x="61" y="79"/>
                        <a:pt x="61" y="79"/>
                        <a:pt x="61" y="79"/>
                      </a:cubicBezTo>
                      <a:cubicBezTo>
                        <a:pt x="61" y="79"/>
                        <a:pt x="61" y="79"/>
                        <a:pt x="60" y="79"/>
                      </a:cubicBezTo>
                      <a:cubicBezTo>
                        <a:pt x="60" y="79"/>
                        <a:pt x="59" y="79"/>
                        <a:pt x="59" y="79"/>
                      </a:cubicBezTo>
                      <a:cubicBezTo>
                        <a:pt x="59" y="80"/>
                        <a:pt x="59" y="80"/>
                        <a:pt x="59" y="80"/>
                      </a:cubicBezTo>
                      <a:cubicBezTo>
                        <a:pt x="59" y="80"/>
                        <a:pt x="59" y="80"/>
                        <a:pt x="58" y="81"/>
                      </a:cubicBezTo>
                      <a:cubicBezTo>
                        <a:pt x="58" y="81"/>
                        <a:pt x="58" y="81"/>
                        <a:pt x="58" y="81"/>
                      </a:cubicBezTo>
                      <a:cubicBezTo>
                        <a:pt x="58" y="81"/>
                        <a:pt x="58" y="81"/>
                        <a:pt x="58" y="81"/>
                      </a:cubicBezTo>
                      <a:cubicBezTo>
                        <a:pt x="58" y="80"/>
                        <a:pt x="57" y="80"/>
                        <a:pt x="57" y="80"/>
                      </a:cubicBezTo>
                      <a:cubicBezTo>
                        <a:pt x="57" y="80"/>
                        <a:pt x="57" y="80"/>
                        <a:pt x="57" y="80"/>
                      </a:cubicBezTo>
                      <a:close/>
                      <a:moveTo>
                        <a:pt x="49" y="71"/>
                      </a:moveTo>
                      <a:cubicBezTo>
                        <a:pt x="49" y="71"/>
                        <a:pt x="49" y="71"/>
                        <a:pt x="49" y="71"/>
                      </a:cubicBezTo>
                      <a:cubicBezTo>
                        <a:pt x="49" y="71"/>
                        <a:pt x="49" y="71"/>
                        <a:pt x="49" y="71"/>
                      </a:cubicBezTo>
                      <a:cubicBezTo>
                        <a:pt x="49" y="72"/>
                        <a:pt x="49" y="72"/>
                        <a:pt x="49" y="72"/>
                      </a:cubicBezTo>
                      <a:cubicBezTo>
                        <a:pt x="49" y="72"/>
                        <a:pt x="49" y="72"/>
                        <a:pt x="49" y="72"/>
                      </a:cubicBezTo>
                      <a:cubicBezTo>
                        <a:pt x="49" y="72"/>
                        <a:pt x="50" y="72"/>
                        <a:pt x="50" y="72"/>
                      </a:cubicBezTo>
                      <a:cubicBezTo>
                        <a:pt x="50" y="72"/>
                        <a:pt x="50" y="72"/>
                        <a:pt x="50" y="72"/>
                      </a:cubicBezTo>
                      <a:cubicBezTo>
                        <a:pt x="50" y="72"/>
                        <a:pt x="50" y="72"/>
                        <a:pt x="50" y="72"/>
                      </a:cubicBezTo>
                      <a:cubicBezTo>
                        <a:pt x="50" y="72"/>
                        <a:pt x="49" y="72"/>
                        <a:pt x="49" y="72"/>
                      </a:cubicBezTo>
                      <a:cubicBezTo>
                        <a:pt x="49" y="72"/>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lose/>
                      <a:moveTo>
                        <a:pt x="38" y="61"/>
                      </a:move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lose/>
                      <a:moveTo>
                        <a:pt x="0" y="0"/>
                      </a:moveTo>
                      <a:cubicBezTo>
                        <a:pt x="0" y="45"/>
                        <a:pt x="0" y="45"/>
                        <a:pt x="0" y="45"/>
                      </a:cubicBezTo>
                      <a:cubicBezTo>
                        <a:pt x="1" y="44"/>
                        <a:pt x="1" y="44"/>
                        <a:pt x="1" y="44"/>
                      </a:cubicBezTo>
                      <a:cubicBezTo>
                        <a:pt x="2" y="44"/>
                        <a:pt x="2" y="44"/>
                        <a:pt x="3" y="44"/>
                      </a:cubicBezTo>
                      <a:cubicBezTo>
                        <a:pt x="3" y="44"/>
                        <a:pt x="4" y="44"/>
                        <a:pt x="4" y="44"/>
                      </a:cubicBezTo>
                      <a:cubicBezTo>
                        <a:pt x="5" y="44"/>
                        <a:pt x="5" y="44"/>
                        <a:pt x="5" y="44"/>
                      </a:cubicBezTo>
                      <a:cubicBezTo>
                        <a:pt x="5" y="44"/>
                        <a:pt x="6" y="44"/>
                        <a:pt x="7" y="44"/>
                      </a:cubicBezTo>
                      <a:cubicBezTo>
                        <a:pt x="7" y="44"/>
                        <a:pt x="12" y="44"/>
                        <a:pt x="12" y="44"/>
                      </a:cubicBezTo>
                      <a:cubicBezTo>
                        <a:pt x="12" y="44"/>
                        <a:pt x="13" y="44"/>
                        <a:pt x="13" y="44"/>
                      </a:cubicBezTo>
                      <a:cubicBezTo>
                        <a:pt x="13" y="44"/>
                        <a:pt x="14" y="44"/>
                        <a:pt x="14" y="44"/>
                      </a:cubicBezTo>
                      <a:cubicBezTo>
                        <a:pt x="14" y="44"/>
                        <a:pt x="15" y="43"/>
                        <a:pt x="15" y="43"/>
                      </a:cubicBezTo>
                      <a:cubicBezTo>
                        <a:pt x="15" y="43"/>
                        <a:pt x="16" y="43"/>
                        <a:pt x="16" y="43"/>
                      </a:cubicBezTo>
                      <a:cubicBezTo>
                        <a:pt x="16" y="43"/>
                        <a:pt x="17" y="43"/>
                        <a:pt x="17" y="44"/>
                      </a:cubicBezTo>
                      <a:cubicBezTo>
                        <a:pt x="17" y="44"/>
                        <a:pt x="19" y="45"/>
                        <a:pt x="19" y="45"/>
                      </a:cubicBezTo>
                      <a:cubicBezTo>
                        <a:pt x="20" y="45"/>
                        <a:pt x="20" y="45"/>
                        <a:pt x="20" y="46"/>
                      </a:cubicBezTo>
                      <a:cubicBezTo>
                        <a:pt x="21" y="46"/>
                        <a:pt x="22" y="46"/>
                        <a:pt x="22" y="47"/>
                      </a:cubicBezTo>
                      <a:cubicBezTo>
                        <a:pt x="22" y="47"/>
                        <a:pt x="22" y="47"/>
                        <a:pt x="22" y="47"/>
                      </a:cubicBezTo>
                      <a:cubicBezTo>
                        <a:pt x="23" y="47"/>
                        <a:pt x="23" y="47"/>
                        <a:pt x="24" y="47"/>
                      </a:cubicBezTo>
                      <a:cubicBezTo>
                        <a:pt x="24" y="47"/>
                        <a:pt x="24" y="47"/>
                        <a:pt x="24" y="47"/>
                      </a:cubicBezTo>
                      <a:cubicBezTo>
                        <a:pt x="24" y="46"/>
                        <a:pt x="25" y="47"/>
                        <a:pt x="25" y="47"/>
                      </a:cubicBezTo>
                      <a:cubicBezTo>
                        <a:pt x="25" y="47"/>
                        <a:pt x="26" y="47"/>
                        <a:pt x="26" y="47"/>
                      </a:cubicBezTo>
                      <a:cubicBezTo>
                        <a:pt x="26" y="47"/>
                        <a:pt x="27" y="47"/>
                        <a:pt x="27" y="47"/>
                      </a:cubicBezTo>
                      <a:cubicBezTo>
                        <a:pt x="27" y="47"/>
                        <a:pt x="28" y="48"/>
                        <a:pt x="29" y="48"/>
                      </a:cubicBezTo>
                      <a:cubicBezTo>
                        <a:pt x="29" y="49"/>
                        <a:pt x="29" y="49"/>
                        <a:pt x="29" y="49"/>
                      </a:cubicBezTo>
                      <a:cubicBezTo>
                        <a:pt x="30" y="49"/>
                        <a:pt x="30" y="49"/>
                        <a:pt x="30" y="49"/>
                      </a:cubicBezTo>
                      <a:cubicBezTo>
                        <a:pt x="31" y="48"/>
                        <a:pt x="31" y="48"/>
                        <a:pt x="31" y="48"/>
                      </a:cubicBezTo>
                      <a:cubicBezTo>
                        <a:pt x="31" y="48"/>
                        <a:pt x="31" y="48"/>
                        <a:pt x="31" y="48"/>
                      </a:cubicBezTo>
                      <a:cubicBezTo>
                        <a:pt x="31" y="48"/>
                        <a:pt x="32" y="48"/>
                        <a:pt x="32" y="48"/>
                      </a:cubicBezTo>
                      <a:cubicBezTo>
                        <a:pt x="32" y="48"/>
                        <a:pt x="32" y="48"/>
                        <a:pt x="32" y="48"/>
                      </a:cubicBezTo>
                      <a:cubicBezTo>
                        <a:pt x="32" y="48"/>
                        <a:pt x="33" y="49"/>
                        <a:pt x="33" y="49"/>
                      </a:cubicBezTo>
                      <a:cubicBezTo>
                        <a:pt x="33" y="49"/>
                        <a:pt x="34" y="50"/>
                        <a:pt x="34" y="50"/>
                      </a:cubicBezTo>
                      <a:cubicBezTo>
                        <a:pt x="34" y="50"/>
                        <a:pt x="34" y="50"/>
                        <a:pt x="34" y="50"/>
                      </a:cubicBezTo>
                      <a:cubicBezTo>
                        <a:pt x="34" y="51"/>
                        <a:pt x="34" y="51"/>
                        <a:pt x="34" y="51"/>
                      </a:cubicBezTo>
                      <a:cubicBezTo>
                        <a:pt x="34" y="51"/>
                        <a:pt x="34" y="51"/>
                        <a:pt x="34" y="51"/>
                      </a:cubicBezTo>
                      <a:cubicBezTo>
                        <a:pt x="34" y="51"/>
                        <a:pt x="35" y="51"/>
                        <a:pt x="35" y="51"/>
                      </a:cubicBezTo>
                      <a:cubicBezTo>
                        <a:pt x="35" y="51"/>
                        <a:pt x="36" y="51"/>
                        <a:pt x="36" y="51"/>
                      </a:cubicBezTo>
                      <a:cubicBezTo>
                        <a:pt x="36" y="51"/>
                        <a:pt x="36" y="51"/>
                        <a:pt x="36" y="52"/>
                      </a:cubicBezTo>
                      <a:cubicBezTo>
                        <a:pt x="37" y="52"/>
                        <a:pt x="37" y="53"/>
                        <a:pt x="37" y="53"/>
                      </a:cubicBezTo>
                      <a:cubicBezTo>
                        <a:pt x="36" y="53"/>
                        <a:pt x="36" y="53"/>
                        <a:pt x="36" y="53"/>
                      </a:cubicBezTo>
                      <a:cubicBezTo>
                        <a:pt x="36" y="53"/>
                        <a:pt x="36" y="53"/>
                        <a:pt x="36" y="53"/>
                      </a:cubicBezTo>
                      <a:cubicBezTo>
                        <a:pt x="35" y="53"/>
                        <a:pt x="35" y="53"/>
                        <a:pt x="35" y="53"/>
                      </a:cubicBezTo>
                      <a:cubicBezTo>
                        <a:pt x="35" y="53"/>
                        <a:pt x="35" y="53"/>
                        <a:pt x="35" y="53"/>
                      </a:cubicBezTo>
                      <a:cubicBezTo>
                        <a:pt x="36" y="53"/>
                        <a:pt x="36" y="54"/>
                        <a:pt x="36" y="54"/>
                      </a:cubicBezTo>
                      <a:cubicBezTo>
                        <a:pt x="36" y="54"/>
                        <a:pt x="35" y="55"/>
                        <a:pt x="35" y="55"/>
                      </a:cubicBezTo>
                      <a:cubicBezTo>
                        <a:pt x="36" y="55"/>
                        <a:pt x="36" y="55"/>
                        <a:pt x="36" y="55"/>
                      </a:cubicBezTo>
                      <a:cubicBezTo>
                        <a:pt x="36" y="55"/>
                        <a:pt x="36" y="55"/>
                        <a:pt x="36" y="55"/>
                      </a:cubicBezTo>
                      <a:cubicBezTo>
                        <a:pt x="36" y="55"/>
                        <a:pt x="36" y="56"/>
                        <a:pt x="36" y="56"/>
                      </a:cubicBezTo>
                      <a:cubicBezTo>
                        <a:pt x="36" y="57"/>
                        <a:pt x="37" y="57"/>
                        <a:pt x="37" y="57"/>
                      </a:cubicBezTo>
                      <a:cubicBezTo>
                        <a:pt x="37" y="57"/>
                        <a:pt x="37" y="57"/>
                        <a:pt x="37" y="56"/>
                      </a:cubicBezTo>
                      <a:cubicBezTo>
                        <a:pt x="37" y="56"/>
                        <a:pt x="37" y="56"/>
                        <a:pt x="38" y="56"/>
                      </a:cubicBezTo>
                      <a:cubicBezTo>
                        <a:pt x="38" y="56"/>
                        <a:pt x="38" y="56"/>
                        <a:pt x="39" y="56"/>
                      </a:cubicBezTo>
                      <a:cubicBezTo>
                        <a:pt x="39" y="56"/>
                        <a:pt x="39" y="57"/>
                        <a:pt x="39" y="57"/>
                      </a:cubicBezTo>
                      <a:cubicBezTo>
                        <a:pt x="39" y="57"/>
                        <a:pt x="40" y="57"/>
                        <a:pt x="40" y="57"/>
                      </a:cubicBezTo>
                      <a:cubicBezTo>
                        <a:pt x="40" y="58"/>
                        <a:pt x="40" y="58"/>
                        <a:pt x="40" y="58"/>
                      </a:cubicBezTo>
                      <a:cubicBezTo>
                        <a:pt x="40" y="58"/>
                        <a:pt x="40" y="58"/>
                        <a:pt x="40" y="59"/>
                      </a:cubicBezTo>
                      <a:cubicBezTo>
                        <a:pt x="40" y="59"/>
                        <a:pt x="40" y="59"/>
                        <a:pt x="40" y="60"/>
                      </a:cubicBezTo>
                      <a:cubicBezTo>
                        <a:pt x="40" y="60"/>
                        <a:pt x="40" y="60"/>
                        <a:pt x="41" y="60"/>
                      </a:cubicBezTo>
                      <a:cubicBezTo>
                        <a:pt x="41" y="61"/>
                        <a:pt x="41" y="61"/>
                        <a:pt x="41" y="61"/>
                      </a:cubicBezTo>
                      <a:cubicBezTo>
                        <a:pt x="42" y="61"/>
                        <a:pt x="43" y="62"/>
                        <a:pt x="43" y="62"/>
                      </a:cubicBezTo>
                      <a:cubicBezTo>
                        <a:pt x="43" y="63"/>
                        <a:pt x="43" y="63"/>
                        <a:pt x="43" y="63"/>
                      </a:cubicBezTo>
                      <a:cubicBezTo>
                        <a:pt x="43" y="64"/>
                        <a:pt x="43" y="64"/>
                        <a:pt x="43" y="64"/>
                      </a:cubicBezTo>
                      <a:cubicBezTo>
                        <a:pt x="44" y="65"/>
                        <a:pt x="44" y="65"/>
                        <a:pt x="44" y="65"/>
                      </a:cubicBezTo>
                      <a:cubicBezTo>
                        <a:pt x="44" y="66"/>
                        <a:pt x="44" y="67"/>
                        <a:pt x="44" y="67"/>
                      </a:cubicBezTo>
                      <a:cubicBezTo>
                        <a:pt x="44" y="67"/>
                        <a:pt x="44" y="68"/>
                        <a:pt x="44" y="68"/>
                      </a:cubicBezTo>
                      <a:cubicBezTo>
                        <a:pt x="44" y="68"/>
                        <a:pt x="44" y="68"/>
                        <a:pt x="44" y="68"/>
                      </a:cubicBezTo>
                      <a:cubicBezTo>
                        <a:pt x="44" y="68"/>
                        <a:pt x="44" y="68"/>
                        <a:pt x="44" y="68"/>
                      </a:cubicBezTo>
                      <a:cubicBezTo>
                        <a:pt x="44" y="68"/>
                        <a:pt x="44" y="68"/>
                        <a:pt x="44" y="68"/>
                      </a:cubicBezTo>
                      <a:cubicBezTo>
                        <a:pt x="44" y="67"/>
                        <a:pt x="43" y="67"/>
                        <a:pt x="43" y="67"/>
                      </a:cubicBezTo>
                      <a:cubicBezTo>
                        <a:pt x="43" y="67"/>
                        <a:pt x="43" y="67"/>
                        <a:pt x="43" y="67"/>
                      </a:cubicBezTo>
                      <a:cubicBezTo>
                        <a:pt x="42" y="67"/>
                        <a:pt x="42" y="67"/>
                        <a:pt x="42" y="68"/>
                      </a:cubicBezTo>
                      <a:cubicBezTo>
                        <a:pt x="42" y="68"/>
                        <a:pt x="43" y="68"/>
                        <a:pt x="43" y="68"/>
                      </a:cubicBezTo>
                      <a:cubicBezTo>
                        <a:pt x="43" y="68"/>
                        <a:pt x="43" y="68"/>
                        <a:pt x="43" y="68"/>
                      </a:cubicBezTo>
                      <a:cubicBezTo>
                        <a:pt x="44" y="68"/>
                        <a:pt x="44" y="69"/>
                        <a:pt x="45" y="69"/>
                      </a:cubicBezTo>
                      <a:cubicBezTo>
                        <a:pt x="45" y="70"/>
                        <a:pt x="45" y="70"/>
                        <a:pt x="45" y="70"/>
                      </a:cubicBezTo>
                      <a:cubicBezTo>
                        <a:pt x="45" y="71"/>
                        <a:pt x="45" y="71"/>
                        <a:pt x="46" y="71"/>
                      </a:cubicBezTo>
                      <a:cubicBezTo>
                        <a:pt x="46" y="71"/>
                        <a:pt x="46" y="71"/>
                        <a:pt x="46" y="71"/>
                      </a:cubicBezTo>
                      <a:cubicBezTo>
                        <a:pt x="46" y="71"/>
                        <a:pt x="46" y="71"/>
                        <a:pt x="46" y="70"/>
                      </a:cubicBezTo>
                      <a:cubicBezTo>
                        <a:pt x="46" y="70"/>
                        <a:pt x="47" y="70"/>
                        <a:pt x="47" y="70"/>
                      </a:cubicBezTo>
                      <a:cubicBezTo>
                        <a:pt x="47" y="71"/>
                        <a:pt x="47" y="71"/>
                        <a:pt x="47" y="71"/>
                      </a:cubicBezTo>
                      <a:cubicBezTo>
                        <a:pt x="47" y="71"/>
                        <a:pt x="47" y="71"/>
                        <a:pt x="48" y="71"/>
                      </a:cubicBezTo>
                      <a:cubicBezTo>
                        <a:pt x="48" y="71"/>
                        <a:pt x="48" y="71"/>
                        <a:pt x="48" y="71"/>
                      </a:cubicBezTo>
                      <a:cubicBezTo>
                        <a:pt x="48" y="71"/>
                        <a:pt x="48" y="71"/>
                        <a:pt x="48" y="71"/>
                      </a:cubicBezTo>
                      <a:cubicBezTo>
                        <a:pt x="48" y="71"/>
                        <a:pt x="48" y="70"/>
                        <a:pt x="48" y="70"/>
                      </a:cubicBezTo>
                      <a:cubicBezTo>
                        <a:pt x="48" y="70"/>
                        <a:pt x="48" y="70"/>
                        <a:pt x="48" y="70"/>
                      </a:cubicBezTo>
                      <a:cubicBezTo>
                        <a:pt x="48" y="70"/>
                        <a:pt x="48" y="70"/>
                        <a:pt x="48" y="70"/>
                      </a:cubicBezTo>
                      <a:cubicBezTo>
                        <a:pt x="48" y="70"/>
                        <a:pt x="48" y="70"/>
                        <a:pt x="47" y="70"/>
                      </a:cubicBezTo>
                      <a:cubicBezTo>
                        <a:pt x="47" y="70"/>
                        <a:pt x="47" y="69"/>
                        <a:pt x="47" y="69"/>
                      </a:cubicBezTo>
                      <a:cubicBezTo>
                        <a:pt x="47" y="69"/>
                        <a:pt x="47" y="69"/>
                        <a:pt x="47" y="68"/>
                      </a:cubicBezTo>
                      <a:cubicBezTo>
                        <a:pt x="47" y="68"/>
                        <a:pt x="47" y="68"/>
                        <a:pt x="48" y="68"/>
                      </a:cubicBezTo>
                      <a:cubicBezTo>
                        <a:pt x="48" y="68"/>
                        <a:pt x="48" y="68"/>
                        <a:pt x="48" y="67"/>
                      </a:cubicBezTo>
                      <a:cubicBezTo>
                        <a:pt x="48" y="67"/>
                        <a:pt x="49" y="67"/>
                        <a:pt x="49" y="67"/>
                      </a:cubicBezTo>
                      <a:cubicBezTo>
                        <a:pt x="49" y="67"/>
                        <a:pt x="49" y="67"/>
                        <a:pt x="49" y="67"/>
                      </a:cubicBezTo>
                      <a:cubicBezTo>
                        <a:pt x="49" y="67"/>
                        <a:pt x="49" y="67"/>
                        <a:pt x="49" y="67"/>
                      </a:cubicBezTo>
                      <a:cubicBezTo>
                        <a:pt x="49" y="67"/>
                        <a:pt x="49" y="66"/>
                        <a:pt x="49" y="66"/>
                      </a:cubicBezTo>
                      <a:cubicBezTo>
                        <a:pt x="49" y="66"/>
                        <a:pt x="50" y="66"/>
                        <a:pt x="50" y="66"/>
                      </a:cubicBezTo>
                      <a:cubicBezTo>
                        <a:pt x="50" y="65"/>
                        <a:pt x="50" y="65"/>
                        <a:pt x="50" y="65"/>
                      </a:cubicBezTo>
                      <a:cubicBezTo>
                        <a:pt x="50" y="65"/>
                        <a:pt x="50" y="65"/>
                        <a:pt x="50" y="64"/>
                      </a:cubicBezTo>
                      <a:cubicBezTo>
                        <a:pt x="51" y="64"/>
                        <a:pt x="51" y="64"/>
                        <a:pt x="51" y="64"/>
                      </a:cubicBezTo>
                      <a:cubicBezTo>
                        <a:pt x="51" y="64"/>
                        <a:pt x="51" y="63"/>
                        <a:pt x="52" y="63"/>
                      </a:cubicBezTo>
                      <a:cubicBezTo>
                        <a:pt x="52" y="63"/>
                        <a:pt x="53" y="62"/>
                        <a:pt x="53" y="62"/>
                      </a:cubicBezTo>
                      <a:cubicBezTo>
                        <a:pt x="53" y="62"/>
                        <a:pt x="54" y="62"/>
                        <a:pt x="54" y="62"/>
                      </a:cubicBezTo>
                      <a:cubicBezTo>
                        <a:pt x="54" y="61"/>
                        <a:pt x="54" y="61"/>
                        <a:pt x="54" y="61"/>
                      </a:cubicBezTo>
                      <a:cubicBezTo>
                        <a:pt x="54" y="61"/>
                        <a:pt x="54" y="61"/>
                        <a:pt x="55" y="61"/>
                      </a:cubicBezTo>
                      <a:cubicBezTo>
                        <a:pt x="55" y="61"/>
                        <a:pt x="55" y="61"/>
                        <a:pt x="55" y="61"/>
                      </a:cubicBezTo>
                      <a:cubicBezTo>
                        <a:pt x="55" y="61"/>
                        <a:pt x="56" y="61"/>
                        <a:pt x="56" y="61"/>
                      </a:cubicBezTo>
                      <a:cubicBezTo>
                        <a:pt x="57" y="61"/>
                        <a:pt x="57" y="60"/>
                        <a:pt x="57" y="60"/>
                      </a:cubicBezTo>
                      <a:cubicBezTo>
                        <a:pt x="57" y="60"/>
                        <a:pt x="57" y="60"/>
                        <a:pt x="57" y="59"/>
                      </a:cubicBezTo>
                      <a:cubicBezTo>
                        <a:pt x="57" y="59"/>
                        <a:pt x="57" y="59"/>
                        <a:pt x="58" y="59"/>
                      </a:cubicBezTo>
                      <a:cubicBezTo>
                        <a:pt x="58" y="58"/>
                        <a:pt x="58" y="58"/>
                        <a:pt x="58" y="57"/>
                      </a:cubicBezTo>
                      <a:cubicBezTo>
                        <a:pt x="58" y="57"/>
                        <a:pt x="58" y="57"/>
                        <a:pt x="58" y="57"/>
                      </a:cubicBezTo>
                      <a:cubicBezTo>
                        <a:pt x="58" y="57"/>
                        <a:pt x="58" y="56"/>
                        <a:pt x="58" y="56"/>
                      </a:cubicBezTo>
                      <a:cubicBezTo>
                        <a:pt x="58" y="56"/>
                        <a:pt x="58" y="56"/>
                        <a:pt x="59" y="56"/>
                      </a:cubicBezTo>
                      <a:cubicBezTo>
                        <a:pt x="59" y="56"/>
                        <a:pt x="59" y="55"/>
                        <a:pt x="59" y="55"/>
                      </a:cubicBezTo>
                      <a:cubicBezTo>
                        <a:pt x="59" y="55"/>
                        <a:pt x="60" y="55"/>
                        <a:pt x="60" y="55"/>
                      </a:cubicBezTo>
                      <a:cubicBezTo>
                        <a:pt x="60" y="55"/>
                        <a:pt x="60" y="55"/>
                        <a:pt x="60" y="55"/>
                      </a:cubicBezTo>
                      <a:cubicBezTo>
                        <a:pt x="60" y="54"/>
                        <a:pt x="60" y="54"/>
                        <a:pt x="60" y="54"/>
                      </a:cubicBezTo>
                      <a:cubicBezTo>
                        <a:pt x="60" y="54"/>
                        <a:pt x="60" y="54"/>
                        <a:pt x="60" y="53"/>
                      </a:cubicBezTo>
                      <a:cubicBezTo>
                        <a:pt x="60" y="53"/>
                        <a:pt x="60" y="53"/>
                        <a:pt x="60" y="53"/>
                      </a:cubicBezTo>
                      <a:cubicBezTo>
                        <a:pt x="60" y="53"/>
                        <a:pt x="60" y="52"/>
                        <a:pt x="60" y="52"/>
                      </a:cubicBezTo>
                      <a:cubicBezTo>
                        <a:pt x="60" y="51"/>
                        <a:pt x="60" y="51"/>
                        <a:pt x="60" y="51"/>
                      </a:cubicBezTo>
                      <a:cubicBezTo>
                        <a:pt x="60" y="51"/>
                        <a:pt x="61" y="51"/>
                        <a:pt x="61" y="51"/>
                      </a:cubicBezTo>
                      <a:cubicBezTo>
                        <a:pt x="61" y="52"/>
                        <a:pt x="61" y="52"/>
                        <a:pt x="61" y="53"/>
                      </a:cubicBezTo>
                      <a:cubicBezTo>
                        <a:pt x="61" y="53"/>
                        <a:pt x="61" y="53"/>
                        <a:pt x="61" y="53"/>
                      </a:cubicBezTo>
                      <a:cubicBezTo>
                        <a:pt x="61" y="53"/>
                        <a:pt x="61" y="54"/>
                        <a:pt x="61" y="54"/>
                      </a:cubicBezTo>
                      <a:cubicBezTo>
                        <a:pt x="61" y="55"/>
                        <a:pt x="61" y="55"/>
                        <a:pt x="62" y="55"/>
                      </a:cubicBezTo>
                      <a:cubicBezTo>
                        <a:pt x="62" y="55"/>
                        <a:pt x="62" y="56"/>
                        <a:pt x="62" y="56"/>
                      </a:cubicBezTo>
                      <a:cubicBezTo>
                        <a:pt x="62" y="56"/>
                        <a:pt x="62" y="56"/>
                        <a:pt x="62" y="56"/>
                      </a:cubicBezTo>
                      <a:cubicBezTo>
                        <a:pt x="62" y="56"/>
                        <a:pt x="61" y="56"/>
                        <a:pt x="61" y="57"/>
                      </a:cubicBezTo>
                      <a:cubicBezTo>
                        <a:pt x="61" y="57"/>
                        <a:pt x="61" y="57"/>
                        <a:pt x="61" y="58"/>
                      </a:cubicBezTo>
                      <a:cubicBezTo>
                        <a:pt x="61" y="58"/>
                        <a:pt x="61" y="58"/>
                        <a:pt x="61" y="59"/>
                      </a:cubicBezTo>
                      <a:cubicBezTo>
                        <a:pt x="61" y="59"/>
                        <a:pt x="61" y="59"/>
                        <a:pt x="61" y="60"/>
                      </a:cubicBezTo>
                      <a:cubicBezTo>
                        <a:pt x="61" y="60"/>
                        <a:pt x="61" y="60"/>
                        <a:pt x="61" y="60"/>
                      </a:cubicBezTo>
                      <a:cubicBezTo>
                        <a:pt x="60" y="61"/>
                        <a:pt x="60" y="61"/>
                        <a:pt x="60" y="62"/>
                      </a:cubicBezTo>
                      <a:cubicBezTo>
                        <a:pt x="59" y="62"/>
                        <a:pt x="59" y="62"/>
                        <a:pt x="59" y="63"/>
                      </a:cubicBezTo>
                      <a:cubicBezTo>
                        <a:pt x="59" y="63"/>
                        <a:pt x="59" y="63"/>
                        <a:pt x="59" y="64"/>
                      </a:cubicBezTo>
                      <a:cubicBezTo>
                        <a:pt x="59" y="64"/>
                        <a:pt x="58" y="64"/>
                        <a:pt x="58" y="65"/>
                      </a:cubicBezTo>
                      <a:cubicBezTo>
                        <a:pt x="58" y="65"/>
                        <a:pt x="58" y="65"/>
                        <a:pt x="58" y="66"/>
                      </a:cubicBezTo>
                      <a:cubicBezTo>
                        <a:pt x="58" y="66"/>
                        <a:pt x="58" y="70"/>
                        <a:pt x="58" y="70"/>
                      </a:cubicBezTo>
                      <a:cubicBezTo>
                        <a:pt x="58" y="71"/>
                        <a:pt x="58" y="71"/>
                        <a:pt x="58" y="71"/>
                      </a:cubicBezTo>
                      <a:cubicBezTo>
                        <a:pt x="58" y="71"/>
                        <a:pt x="57" y="71"/>
                        <a:pt x="57" y="71"/>
                      </a:cubicBezTo>
                      <a:cubicBezTo>
                        <a:pt x="57" y="71"/>
                        <a:pt x="57" y="71"/>
                        <a:pt x="56" y="71"/>
                      </a:cubicBezTo>
                      <a:cubicBezTo>
                        <a:pt x="56" y="71"/>
                        <a:pt x="55" y="71"/>
                        <a:pt x="55" y="71"/>
                      </a:cubicBezTo>
                      <a:cubicBezTo>
                        <a:pt x="55" y="71"/>
                        <a:pt x="55" y="71"/>
                        <a:pt x="55" y="71"/>
                      </a:cubicBezTo>
                      <a:cubicBezTo>
                        <a:pt x="55" y="71"/>
                        <a:pt x="55" y="72"/>
                        <a:pt x="55" y="72"/>
                      </a:cubicBezTo>
                      <a:cubicBezTo>
                        <a:pt x="55" y="73"/>
                        <a:pt x="54" y="73"/>
                        <a:pt x="54" y="73"/>
                      </a:cubicBezTo>
                      <a:cubicBezTo>
                        <a:pt x="54" y="73"/>
                        <a:pt x="54" y="73"/>
                        <a:pt x="54" y="73"/>
                      </a:cubicBezTo>
                      <a:cubicBezTo>
                        <a:pt x="54" y="74"/>
                        <a:pt x="54" y="74"/>
                        <a:pt x="54" y="74"/>
                      </a:cubicBezTo>
                      <a:cubicBezTo>
                        <a:pt x="54" y="74"/>
                        <a:pt x="55" y="74"/>
                        <a:pt x="55" y="74"/>
                      </a:cubicBezTo>
                      <a:cubicBezTo>
                        <a:pt x="55" y="73"/>
                        <a:pt x="55" y="73"/>
                        <a:pt x="56" y="73"/>
                      </a:cubicBezTo>
                      <a:cubicBezTo>
                        <a:pt x="56" y="73"/>
                        <a:pt x="56" y="73"/>
                        <a:pt x="57" y="73"/>
                      </a:cubicBezTo>
                      <a:cubicBezTo>
                        <a:pt x="57" y="73"/>
                        <a:pt x="57" y="73"/>
                        <a:pt x="57" y="73"/>
                      </a:cubicBezTo>
                      <a:cubicBezTo>
                        <a:pt x="57" y="73"/>
                        <a:pt x="57" y="73"/>
                        <a:pt x="58" y="73"/>
                      </a:cubicBezTo>
                      <a:cubicBezTo>
                        <a:pt x="58" y="73"/>
                        <a:pt x="58" y="73"/>
                        <a:pt x="59" y="73"/>
                      </a:cubicBezTo>
                      <a:cubicBezTo>
                        <a:pt x="59" y="73"/>
                        <a:pt x="59" y="73"/>
                        <a:pt x="59" y="73"/>
                      </a:cubicBezTo>
                      <a:cubicBezTo>
                        <a:pt x="59" y="73"/>
                        <a:pt x="60" y="73"/>
                        <a:pt x="60" y="73"/>
                      </a:cubicBezTo>
                      <a:cubicBezTo>
                        <a:pt x="60" y="72"/>
                        <a:pt x="60" y="72"/>
                        <a:pt x="60" y="71"/>
                      </a:cubicBezTo>
                      <a:cubicBezTo>
                        <a:pt x="60" y="71"/>
                        <a:pt x="60" y="71"/>
                        <a:pt x="60" y="71"/>
                      </a:cubicBezTo>
                      <a:cubicBezTo>
                        <a:pt x="60" y="71"/>
                        <a:pt x="60" y="71"/>
                        <a:pt x="60" y="71"/>
                      </a:cubicBezTo>
                      <a:cubicBezTo>
                        <a:pt x="60" y="70"/>
                        <a:pt x="61" y="70"/>
                        <a:pt x="61" y="70"/>
                      </a:cubicBezTo>
                      <a:cubicBezTo>
                        <a:pt x="61" y="70"/>
                        <a:pt x="61" y="69"/>
                        <a:pt x="61" y="69"/>
                      </a:cubicBezTo>
                      <a:cubicBezTo>
                        <a:pt x="61" y="69"/>
                        <a:pt x="61" y="68"/>
                        <a:pt x="61" y="68"/>
                      </a:cubicBezTo>
                      <a:cubicBezTo>
                        <a:pt x="61" y="67"/>
                        <a:pt x="61" y="67"/>
                        <a:pt x="61" y="67"/>
                      </a:cubicBezTo>
                      <a:cubicBezTo>
                        <a:pt x="61" y="67"/>
                        <a:pt x="62" y="66"/>
                        <a:pt x="62" y="66"/>
                      </a:cubicBezTo>
                      <a:cubicBezTo>
                        <a:pt x="62" y="66"/>
                        <a:pt x="62" y="65"/>
                        <a:pt x="62" y="65"/>
                      </a:cubicBezTo>
                      <a:cubicBezTo>
                        <a:pt x="62" y="65"/>
                        <a:pt x="62" y="65"/>
                        <a:pt x="62" y="65"/>
                      </a:cubicBezTo>
                      <a:cubicBezTo>
                        <a:pt x="62" y="65"/>
                        <a:pt x="63" y="65"/>
                        <a:pt x="63" y="65"/>
                      </a:cubicBezTo>
                      <a:cubicBezTo>
                        <a:pt x="63" y="65"/>
                        <a:pt x="63" y="66"/>
                        <a:pt x="63" y="66"/>
                      </a:cubicBezTo>
                      <a:cubicBezTo>
                        <a:pt x="64" y="67"/>
                        <a:pt x="64" y="67"/>
                        <a:pt x="64" y="68"/>
                      </a:cubicBezTo>
                      <a:cubicBezTo>
                        <a:pt x="65" y="68"/>
                        <a:pt x="65" y="69"/>
                        <a:pt x="65" y="69"/>
                      </a:cubicBezTo>
                      <a:cubicBezTo>
                        <a:pt x="65" y="69"/>
                        <a:pt x="65" y="70"/>
                        <a:pt x="65" y="70"/>
                      </a:cubicBezTo>
                      <a:cubicBezTo>
                        <a:pt x="65" y="70"/>
                        <a:pt x="65" y="71"/>
                        <a:pt x="65" y="72"/>
                      </a:cubicBezTo>
                      <a:cubicBezTo>
                        <a:pt x="65" y="72"/>
                        <a:pt x="65" y="72"/>
                        <a:pt x="65" y="73"/>
                      </a:cubicBezTo>
                      <a:cubicBezTo>
                        <a:pt x="65" y="73"/>
                        <a:pt x="65" y="74"/>
                        <a:pt x="65" y="74"/>
                      </a:cubicBezTo>
                      <a:cubicBezTo>
                        <a:pt x="65" y="74"/>
                        <a:pt x="64" y="75"/>
                        <a:pt x="64" y="75"/>
                      </a:cubicBezTo>
                      <a:cubicBezTo>
                        <a:pt x="64" y="76"/>
                        <a:pt x="63" y="76"/>
                        <a:pt x="63" y="76"/>
                      </a:cubicBezTo>
                      <a:cubicBezTo>
                        <a:pt x="63" y="76"/>
                        <a:pt x="63" y="76"/>
                        <a:pt x="63" y="76"/>
                      </a:cubicBezTo>
                      <a:cubicBezTo>
                        <a:pt x="63" y="76"/>
                        <a:pt x="63" y="77"/>
                        <a:pt x="63" y="77"/>
                      </a:cubicBezTo>
                      <a:cubicBezTo>
                        <a:pt x="63" y="77"/>
                        <a:pt x="63" y="77"/>
                        <a:pt x="64" y="77"/>
                      </a:cubicBezTo>
                      <a:cubicBezTo>
                        <a:pt x="64" y="77"/>
                        <a:pt x="64" y="77"/>
                        <a:pt x="64" y="77"/>
                      </a:cubicBezTo>
                      <a:cubicBezTo>
                        <a:pt x="64" y="77"/>
                        <a:pt x="65" y="77"/>
                        <a:pt x="66" y="77"/>
                      </a:cubicBezTo>
                      <a:cubicBezTo>
                        <a:pt x="66" y="76"/>
                        <a:pt x="66" y="76"/>
                        <a:pt x="66" y="76"/>
                      </a:cubicBezTo>
                      <a:cubicBezTo>
                        <a:pt x="67" y="76"/>
                        <a:pt x="67" y="76"/>
                        <a:pt x="67" y="76"/>
                      </a:cubicBezTo>
                      <a:cubicBezTo>
                        <a:pt x="67" y="76"/>
                        <a:pt x="68" y="77"/>
                        <a:pt x="68" y="77"/>
                      </a:cubicBezTo>
                      <a:cubicBezTo>
                        <a:pt x="69" y="77"/>
                        <a:pt x="69" y="77"/>
                        <a:pt x="69" y="77"/>
                      </a:cubicBezTo>
                      <a:cubicBezTo>
                        <a:pt x="70" y="77"/>
                        <a:pt x="70" y="78"/>
                        <a:pt x="71" y="79"/>
                      </a:cubicBezTo>
                      <a:cubicBezTo>
                        <a:pt x="72" y="79"/>
                        <a:pt x="72" y="80"/>
                        <a:pt x="73" y="81"/>
                      </a:cubicBezTo>
                      <a:cubicBezTo>
                        <a:pt x="73" y="81"/>
                        <a:pt x="74" y="83"/>
                        <a:pt x="74" y="83"/>
                      </a:cubicBezTo>
                      <a:cubicBezTo>
                        <a:pt x="74" y="84"/>
                        <a:pt x="74" y="85"/>
                        <a:pt x="74" y="85"/>
                      </a:cubicBezTo>
                      <a:cubicBezTo>
                        <a:pt x="74" y="85"/>
                        <a:pt x="74" y="86"/>
                        <a:pt x="74" y="87"/>
                      </a:cubicBezTo>
                      <a:cubicBezTo>
                        <a:pt x="74" y="87"/>
                        <a:pt x="74" y="88"/>
                        <a:pt x="74" y="88"/>
                      </a:cubicBezTo>
                      <a:cubicBezTo>
                        <a:pt x="73" y="88"/>
                        <a:pt x="73" y="88"/>
                        <a:pt x="73" y="88"/>
                      </a:cubicBezTo>
                      <a:cubicBezTo>
                        <a:pt x="73" y="88"/>
                        <a:pt x="74" y="88"/>
                        <a:pt x="74" y="89"/>
                      </a:cubicBezTo>
                      <a:cubicBezTo>
                        <a:pt x="74" y="89"/>
                        <a:pt x="74" y="90"/>
                        <a:pt x="74" y="91"/>
                      </a:cubicBezTo>
                      <a:cubicBezTo>
                        <a:pt x="74" y="91"/>
                        <a:pt x="74" y="91"/>
                        <a:pt x="75" y="91"/>
                      </a:cubicBezTo>
                      <a:cubicBezTo>
                        <a:pt x="75" y="91"/>
                        <a:pt x="76" y="92"/>
                        <a:pt x="76" y="92"/>
                      </a:cubicBezTo>
                      <a:cubicBezTo>
                        <a:pt x="76" y="92"/>
                        <a:pt x="76" y="93"/>
                        <a:pt x="76" y="93"/>
                      </a:cubicBezTo>
                      <a:cubicBezTo>
                        <a:pt x="76" y="93"/>
                        <a:pt x="77" y="94"/>
                        <a:pt x="77" y="95"/>
                      </a:cubicBezTo>
                      <a:cubicBezTo>
                        <a:pt x="78" y="95"/>
                        <a:pt x="77" y="95"/>
                        <a:pt x="78" y="95"/>
                      </a:cubicBezTo>
                      <a:cubicBezTo>
                        <a:pt x="78" y="96"/>
                        <a:pt x="78" y="97"/>
                        <a:pt x="79" y="97"/>
                      </a:cubicBezTo>
                      <a:cubicBezTo>
                        <a:pt x="79" y="97"/>
                        <a:pt x="80" y="97"/>
                        <a:pt x="80" y="97"/>
                      </a:cubicBezTo>
                      <a:cubicBezTo>
                        <a:pt x="80" y="97"/>
                        <a:pt x="81" y="97"/>
                        <a:pt x="82" y="97"/>
                      </a:cubicBezTo>
                      <a:cubicBezTo>
                        <a:pt x="82" y="63"/>
                        <a:pt x="82" y="63"/>
                        <a:pt x="82" y="63"/>
                      </a:cubicBezTo>
                      <a:cubicBezTo>
                        <a:pt x="82" y="0"/>
                        <a:pt x="82" y="0"/>
                        <a:pt x="82"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1" name="Freeform 742">
                  <a:extLst>
                    <a:ext uri="{FF2B5EF4-FFF2-40B4-BE49-F238E27FC236}">
                      <a16:creationId xmlns:a16="http://schemas.microsoft.com/office/drawing/2014/main" id="{F242BF37-51F8-5BA9-1F23-7A82C04A96F1}"/>
                    </a:ext>
                  </a:extLst>
                </p:cNvPr>
                <p:cNvSpPr>
                  <a:spLocks/>
                </p:cNvSpPr>
                <p:nvPr/>
              </p:nvSpPr>
              <p:spPr bwMode="auto">
                <a:xfrm>
                  <a:off x="9350375" y="5734050"/>
                  <a:ext cx="358775" cy="315913"/>
                </a:xfrm>
                <a:custGeom>
                  <a:avLst/>
                  <a:gdLst>
                    <a:gd name="T0" fmla="*/ 86 w 86"/>
                    <a:gd name="T1" fmla="*/ 0 h 76"/>
                    <a:gd name="T2" fmla="*/ 84 w 86"/>
                    <a:gd name="T3" fmla="*/ 0 h 76"/>
                    <a:gd name="T4" fmla="*/ 80 w 86"/>
                    <a:gd name="T5" fmla="*/ 1 h 76"/>
                    <a:gd name="T6" fmla="*/ 78 w 86"/>
                    <a:gd name="T7" fmla="*/ 1 h 76"/>
                    <a:gd name="T8" fmla="*/ 75 w 86"/>
                    <a:gd name="T9" fmla="*/ 4 h 76"/>
                    <a:gd name="T10" fmla="*/ 73 w 86"/>
                    <a:gd name="T11" fmla="*/ 5 h 76"/>
                    <a:gd name="T12" fmla="*/ 70 w 86"/>
                    <a:gd name="T13" fmla="*/ 6 h 76"/>
                    <a:gd name="T14" fmla="*/ 67 w 86"/>
                    <a:gd name="T15" fmla="*/ 3 h 76"/>
                    <a:gd name="T16" fmla="*/ 61 w 86"/>
                    <a:gd name="T17" fmla="*/ 3 h 76"/>
                    <a:gd name="T18" fmla="*/ 56 w 86"/>
                    <a:gd name="T19" fmla="*/ 5 h 76"/>
                    <a:gd name="T20" fmla="*/ 0 w 86"/>
                    <a:gd name="T21" fmla="*/ 46 h 76"/>
                    <a:gd name="T22" fmla="*/ 4 w 86"/>
                    <a:gd name="T23" fmla="*/ 48 h 76"/>
                    <a:gd name="T24" fmla="*/ 9 w 86"/>
                    <a:gd name="T25" fmla="*/ 49 h 76"/>
                    <a:gd name="T26" fmla="*/ 11 w 86"/>
                    <a:gd name="T27" fmla="*/ 52 h 76"/>
                    <a:gd name="T28" fmla="*/ 15 w 86"/>
                    <a:gd name="T29" fmla="*/ 52 h 76"/>
                    <a:gd name="T30" fmla="*/ 18 w 86"/>
                    <a:gd name="T31" fmla="*/ 57 h 76"/>
                    <a:gd name="T32" fmla="*/ 23 w 86"/>
                    <a:gd name="T33" fmla="*/ 61 h 76"/>
                    <a:gd name="T34" fmla="*/ 27 w 86"/>
                    <a:gd name="T35" fmla="*/ 63 h 76"/>
                    <a:gd name="T36" fmla="*/ 28 w 86"/>
                    <a:gd name="T37" fmla="*/ 61 h 76"/>
                    <a:gd name="T38" fmla="*/ 34 w 86"/>
                    <a:gd name="T39" fmla="*/ 63 h 76"/>
                    <a:gd name="T40" fmla="*/ 40 w 86"/>
                    <a:gd name="T41" fmla="*/ 63 h 76"/>
                    <a:gd name="T42" fmla="*/ 43 w 86"/>
                    <a:gd name="T43" fmla="*/ 63 h 76"/>
                    <a:gd name="T44" fmla="*/ 45 w 86"/>
                    <a:gd name="T45" fmla="*/ 62 h 76"/>
                    <a:gd name="T46" fmla="*/ 48 w 86"/>
                    <a:gd name="T47" fmla="*/ 66 h 76"/>
                    <a:gd name="T48" fmla="*/ 49 w 86"/>
                    <a:gd name="T49" fmla="*/ 70 h 76"/>
                    <a:gd name="T50" fmla="*/ 61 w 86"/>
                    <a:gd name="T51" fmla="*/ 76 h 76"/>
                    <a:gd name="T52" fmla="*/ 61 w 86"/>
                    <a:gd name="T53" fmla="*/ 73 h 76"/>
                    <a:gd name="T54" fmla="*/ 61 w 86"/>
                    <a:gd name="T55" fmla="*/ 71 h 76"/>
                    <a:gd name="T56" fmla="*/ 62 w 86"/>
                    <a:gd name="T57" fmla="*/ 67 h 76"/>
                    <a:gd name="T58" fmla="*/ 62 w 86"/>
                    <a:gd name="T59" fmla="*/ 63 h 76"/>
                    <a:gd name="T60" fmla="*/ 63 w 86"/>
                    <a:gd name="T61" fmla="*/ 60 h 76"/>
                    <a:gd name="T62" fmla="*/ 65 w 86"/>
                    <a:gd name="T63" fmla="*/ 57 h 76"/>
                    <a:gd name="T64" fmla="*/ 66 w 86"/>
                    <a:gd name="T65" fmla="*/ 56 h 76"/>
                    <a:gd name="T66" fmla="*/ 67 w 86"/>
                    <a:gd name="T67" fmla="*/ 54 h 76"/>
                    <a:gd name="T68" fmla="*/ 67 w 86"/>
                    <a:gd name="T69" fmla="*/ 51 h 76"/>
                    <a:gd name="T70" fmla="*/ 69 w 86"/>
                    <a:gd name="T71" fmla="*/ 48 h 76"/>
                    <a:gd name="T72" fmla="*/ 70 w 86"/>
                    <a:gd name="T73" fmla="*/ 46 h 76"/>
                    <a:gd name="T74" fmla="*/ 70 w 86"/>
                    <a:gd name="T75" fmla="*/ 44 h 76"/>
                    <a:gd name="T76" fmla="*/ 71 w 86"/>
                    <a:gd name="T77" fmla="*/ 42 h 76"/>
                    <a:gd name="T78" fmla="*/ 72 w 86"/>
                    <a:gd name="T79" fmla="*/ 40 h 76"/>
                    <a:gd name="T80" fmla="*/ 73 w 86"/>
                    <a:gd name="T81" fmla="*/ 38 h 76"/>
                    <a:gd name="T82" fmla="*/ 75 w 86"/>
                    <a:gd name="T83" fmla="*/ 36 h 76"/>
                    <a:gd name="T84" fmla="*/ 75 w 86"/>
                    <a:gd name="T85" fmla="*/ 36 h 76"/>
                    <a:gd name="T86" fmla="*/ 77 w 86"/>
                    <a:gd name="T87" fmla="*/ 35 h 76"/>
                    <a:gd name="T88" fmla="*/ 79 w 86"/>
                    <a:gd name="T89" fmla="*/ 33 h 76"/>
                    <a:gd name="T90" fmla="*/ 79 w 86"/>
                    <a:gd name="T91" fmla="*/ 31 h 76"/>
                    <a:gd name="T92" fmla="*/ 80 w 86"/>
                    <a:gd name="T93" fmla="*/ 28 h 76"/>
                    <a:gd name="T94" fmla="*/ 81 w 86"/>
                    <a:gd name="T95" fmla="*/ 26 h 76"/>
                    <a:gd name="T96" fmla="*/ 82 w 86"/>
                    <a:gd name="T97" fmla="*/ 23 h 76"/>
                    <a:gd name="T98" fmla="*/ 82 w 86"/>
                    <a:gd name="T99" fmla="*/ 20 h 76"/>
                    <a:gd name="T100" fmla="*/ 83 w 86"/>
                    <a:gd name="T101" fmla="*/ 17 h 76"/>
                    <a:gd name="T102" fmla="*/ 84 w 86"/>
                    <a:gd name="T103" fmla="*/ 14 h 76"/>
                    <a:gd name="T104" fmla="*/ 84 w 86"/>
                    <a:gd name="T105" fmla="*/ 11 h 76"/>
                    <a:gd name="T106" fmla="*/ 85 w 86"/>
                    <a:gd name="T107" fmla="*/ 8 h 76"/>
                    <a:gd name="T108" fmla="*/ 86 w 86"/>
                    <a:gd name="T109" fmla="*/ 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76">
                      <a:moveTo>
                        <a:pt x="86" y="4"/>
                      </a:moveTo>
                      <a:cubicBezTo>
                        <a:pt x="86" y="4"/>
                        <a:pt x="86" y="4"/>
                        <a:pt x="86" y="3"/>
                      </a:cubicBezTo>
                      <a:cubicBezTo>
                        <a:pt x="86" y="3"/>
                        <a:pt x="86" y="2"/>
                        <a:pt x="86" y="2"/>
                      </a:cubicBezTo>
                      <a:cubicBezTo>
                        <a:pt x="86" y="2"/>
                        <a:pt x="86" y="1"/>
                        <a:pt x="86" y="0"/>
                      </a:cubicBezTo>
                      <a:cubicBezTo>
                        <a:pt x="86" y="0"/>
                        <a:pt x="85" y="0"/>
                        <a:pt x="85" y="0"/>
                      </a:cubicBezTo>
                      <a:cubicBezTo>
                        <a:pt x="85" y="0"/>
                        <a:pt x="85" y="0"/>
                        <a:pt x="85" y="0"/>
                      </a:cubicBezTo>
                      <a:cubicBezTo>
                        <a:pt x="85" y="0"/>
                        <a:pt x="85" y="0"/>
                        <a:pt x="85" y="0"/>
                      </a:cubicBezTo>
                      <a:cubicBezTo>
                        <a:pt x="85" y="0"/>
                        <a:pt x="84" y="0"/>
                        <a:pt x="84" y="0"/>
                      </a:cubicBezTo>
                      <a:cubicBezTo>
                        <a:pt x="84" y="0"/>
                        <a:pt x="83" y="0"/>
                        <a:pt x="83" y="0"/>
                      </a:cubicBezTo>
                      <a:cubicBezTo>
                        <a:pt x="83" y="1"/>
                        <a:pt x="82" y="1"/>
                        <a:pt x="82" y="1"/>
                      </a:cubicBezTo>
                      <a:cubicBezTo>
                        <a:pt x="82" y="1"/>
                        <a:pt x="82" y="1"/>
                        <a:pt x="81" y="1"/>
                      </a:cubicBezTo>
                      <a:cubicBezTo>
                        <a:pt x="81" y="1"/>
                        <a:pt x="80" y="1"/>
                        <a:pt x="80" y="1"/>
                      </a:cubicBezTo>
                      <a:cubicBezTo>
                        <a:pt x="80" y="1"/>
                        <a:pt x="79" y="0"/>
                        <a:pt x="79" y="1"/>
                      </a:cubicBezTo>
                      <a:cubicBezTo>
                        <a:pt x="79" y="1"/>
                        <a:pt x="79" y="1"/>
                        <a:pt x="79" y="1"/>
                      </a:cubicBezTo>
                      <a:cubicBezTo>
                        <a:pt x="78" y="1"/>
                        <a:pt x="78" y="1"/>
                        <a:pt x="78" y="1"/>
                      </a:cubicBezTo>
                      <a:cubicBezTo>
                        <a:pt x="78" y="1"/>
                        <a:pt x="78" y="1"/>
                        <a:pt x="78" y="1"/>
                      </a:cubicBezTo>
                      <a:cubicBezTo>
                        <a:pt x="77" y="1"/>
                        <a:pt x="77" y="2"/>
                        <a:pt x="77" y="2"/>
                      </a:cubicBezTo>
                      <a:cubicBezTo>
                        <a:pt x="76" y="2"/>
                        <a:pt x="75" y="2"/>
                        <a:pt x="75" y="2"/>
                      </a:cubicBezTo>
                      <a:cubicBezTo>
                        <a:pt x="75" y="2"/>
                        <a:pt x="75" y="3"/>
                        <a:pt x="75" y="3"/>
                      </a:cubicBezTo>
                      <a:cubicBezTo>
                        <a:pt x="75" y="3"/>
                        <a:pt x="75" y="3"/>
                        <a:pt x="75" y="4"/>
                      </a:cubicBezTo>
                      <a:cubicBezTo>
                        <a:pt x="75" y="4"/>
                        <a:pt x="75" y="5"/>
                        <a:pt x="75" y="5"/>
                      </a:cubicBezTo>
                      <a:cubicBezTo>
                        <a:pt x="75" y="5"/>
                        <a:pt x="75" y="5"/>
                        <a:pt x="75" y="6"/>
                      </a:cubicBezTo>
                      <a:cubicBezTo>
                        <a:pt x="74" y="6"/>
                        <a:pt x="74" y="6"/>
                        <a:pt x="73" y="6"/>
                      </a:cubicBezTo>
                      <a:cubicBezTo>
                        <a:pt x="73" y="6"/>
                        <a:pt x="73" y="5"/>
                        <a:pt x="73" y="5"/>
                      </a:cubicBezTo>
                      <a:cubicBezTo>
                        <a:pt x="72" y="5"/>
                        <a:pt x="72" y="6"/>
                        <a:pt x="72" y="6"/>
                      </a:cubicBezTo>
                      <a:cubicBezTo>
                        <a:pt x="72" y="6"/>
                        <a:pt x="72" y="6"/>
                        <a:pt x="72" y="6"/>
                      </a:cubicBezTo>
                      <a:cubicBezTo>
                        <a:pt x="71" y="7"/>
                        <a:pt x="70" y="8"/>
                        <a:pt x="70" y="8"/>
                      </a:cubicBezTo>
                      <a:cubicBezTo>
                        <a:pt x="70" y="6"/>
                        <a:pt x="70" y="6"/>
                        <a:pt x="70" y="6"/>
                      </a:cubicBezTo>
                      <a:cubicBezTo>
                        <a:pt x="70" y="6"/>
                        <a:pt x="70" y="6"/>
                        <a:pt x="70" y="5"/>
                      </a:cubicBezTo>
                      <a:cubicBezTo>
                        <a:pt x="69" y="5"/>
                        <a:pt x="69" y="5"/>
                        <a:pt x="69" y="5"/>
                      </a:cubicBezTo>
                      <a:cubicBezTo>
                        <a:pt x="68" y="5"/>
                        <a:pt x="68" y="4"/>
                        <a:pt x="68" y="4"/>
                      </a:cubicBezTo>
                      <a:cubicBezTo>
                        <a:pt x="68" y="4"/>
                        <a:pt x="67" y="3"/>
                        <a:pt x="67" y="3"/>
                      </a:cubicBezTo>
                      <a:cubicBezTo>
                        <a:pt x="67" y="3"/>
                        <a:pt x="66" y="4"/>
                        <a:pt x="65" y="4"/>
                      </a:cubicBezTo>
                      <a:cubicBezTo>
                        <a:pt x="65" y="3"/>
                        <a:pt x="64" y="3"/>
                        <a:pt x="64" y="3"/>
                      </a:cubicBezTo>
                      <a:cubicBezTo>
                        <a:pt x="64" y="3"/>
                        <a:pt x="63" y="3"/>
                        <a:pt x="63" y="3"/>
                      </a:cubicBezTo>
                      <a:cubicBezTo>
                        <a:pt x="63" y="3"/>
                        <a:pt x="61" y="3"/>
                        <a:pt x="61" y="3"/>
                      </a:cubicBezTo>
                      <a:cubicBezTo>
                        <a:pt x="61" y="3"/>
                        <a:pt x="60" y="3"/>
                        <a:pt x="59" y="3"/>
                      </a:cubicBezTo>
                      <a:cubicBezTo>
                        <a:pt x="59" y="3"/>
                        <a:pt x="58" y="3"/>
                        <a:pt x="58" y="3"/>
                      </a:cubicBezTo>
                      <a:cubicBezTo>
                        <a:pt x="58" y="3"/>
                        <a:pt x="57" y="3"/>
                        <a:pt x="57" y="4"/>
                      </a:cubicBezTo>
                      <a:cubicBezTo>
                        <a:pt x="57" y="4"/>
                        <a:pt x="56" y="4"/>
                        <a:pt x="56" y="5"/>
                      </a:cubicBezTo>
                      <a:cubicBezTo>
                        <a:pt x="56" y="5"/>
                        <a:pt x="55" y="6"/>
                        <a:pt x="54" y="6"/>
                      </a:cubicBezTo>
                      <a:cubicBezTo>
                        <a:pt x="54" y="6"/>
                        <a:pt x="54" y="6"/>
                        <a:pt x="54" y="6"/>
                      </a:cubicBezTo>
                      <a:cubicBezTo>
                        <a:pt x="0" y="6"/>
                        <a:pt x="0" y="6"/>
                        <a:pt x="0" y="6"/>
                      </a:cubicBezTo>
                      <a:cubicBezTo>
                        <a:pt x="0" y="46"/>
                        <a:pt x="0" y="46"/>
                        <a:pt x="0" y="46"/>
                      </a:cubicBezTo>
                      <a:cubicBezTo>
                        <a:pt x="0" y="46"/>
                        <a:pt x="1" y="47"/>
                        <a:pt x="1" y="47"/>
                      </a:cubicBezTo>
                      <a:cubicBezTo>
                        <a:pt x="1" y="47"/>
                        <a:pt x="2" y="47"/>
                        <a:pt x="2" y="47"/>
                      </a:cubicBezTo>
                      <a:cubicBezTo>
                        <a:pt x="3" y="47"/>
                        <a:pt x="3" y="48"/>
                        <a:pt x="4" y="48"/>
                      </a:cubicBezTo>
                      <a:cubicBezTo>
                        <a:pt x="4" y="48"/>
                        <a:pt x="4" y="48"/>
                        <a:pt x="4" y="48"/>
                      </a:cubicBezTo>
                      <a:cubicBezTo>
                        <a:pt x="5" y="47"/>
                        <a:pt x="5" y="47"/>
                        <a:pt x="6" y="47"/>
                      </a:cubicBezTo>
                      <a:cubicBezTo>
                        <a:pt x="6" y="47"/>
                        <a:pt x="6" y="47"/>
                        <a:pt x="7" y="47"/>
                      </a:cubicBezTo>
                      <a:cubicBezTo>
                        <a:pt x="7" y="48"/>
                        <a:pt x="8" y="47"/>
                        <a:pt x="8" y="48"/>
                      </a:cubicBezTo>
                      <a:cubicBezTo>
                        <a:pt x="8" y="48"/>
                        <a:pt x="8" y="48"/>
                        <a:pt x="9" y="49"/>
                      </a:cubicBezTo>
                      <a:cubicBezTo>
                        <a:pt x="9" y="49"/>
                        <a:pt x="9" y="49"/>
                        <a:pt x="9" y="50"/>
                      </a:cubicBezTo>
                      <a:cubicBezTo>
                        <a:pt x="9" y="50"/>
                        <a:pt x="9" y="50"/>
                        <a:pt x="10" y="51"/>
                      </a:cubicBezTo>
                      <a:cubicBezTo>
                        <a:pt x="10" y="51"/>
                        <a:pt x="10" y="52"/>
                        <a:pt x="11" y="52"/>
                      </a:cubicBezTo>
                      <a:cubicBezTo>
                        <a:pt x="11" y="53"/>
                        <a:pt x="11" y="52"/>
                        <a:pt x="11" y="52"/>
                      </a:cubicBezTo>
                      <a:cubicBezTo>
                        <a:pt x="11" y="52"/>
                        <a:pt x="12" y="52"/>
                        <a:pt x="12" y="51"/>
                      </a:cubicBezTo>
                      <a:cubicBezTo>
                        <a:pt x="12" y="51"/>
                        <a:pt x="12" y="51"/>
                        <a:pt x="12" y="51"/>
                      </a:cubicBezTo>
                      <a:cubicBezTo>
                        <a:pt x="13" y="51"/>
                        <a:pt x="13" y="52"/>
                        <a:pt x="13" y="52"/>
                      </a:cubicBezTo>
                      <a:cubicBezTo>
                        <a:pt x="14" y="52"/>
                        <a:pt x="15" y="52"/>
                        <a:pt x="15" y="52"/>
                      </a:cubicBezTo>
                      <a:cubicBezTo>
                        <a:pt x="16" y="52"/>
                        <a:pt x="16" y="53"/>
                        <a:pt x="16" y="53"/>
                      </a:cubicBezTo>
                      <a:cubicBezTo>
                        <a:pt x="16" y="54"/>
                        <a:pt x="16" y="54"/>
                        <a:pt x="16" y="54"/>
                      </a:cubicBezTo>
                      <a:cubicBezTo>
                        <a:pt x="16" y="54"/>
                        <a:pt x="16" y="55"/>
                        <a:pt x="16" y="56"/>
                      </a:cubicBezTo>
                      <a:cubicBezTo>
                        <a:pt x="16" y="56"/>
                        <a:pt x="18" y="56"/>
                        <a:pt x="18" y="57"/>
                      </a:cubicBezTo>
                      <a:cubicBezTo>
                        <a:pt x="18" y="57"/>
                        <a:pt x="18" y="57"/>
                        <a:pt x="18" y="57"/>
                      </a:cubicBezTo>
                      <a:cubicBezTo>
                        <a:pt x="18" y="58"/>
                        <a:pt x="19" y="58"/>
                        <a:pt x="20" y="58"/>
                      </a:cubicBezTo>
                      <a:cubicBezTo>
                        <a:pt x="20" y="59"/>
                        <a:pt x="21" y="60"/>
                        <a:pt x="22" y="60"/>
                      </a:cubicBezTo>
                      <a:cubicBezTo>
                        <a:pt x="22" y="60"/>
                        <a:pt x="23" y="61"/>
                        <a:pt x="23" y="61"/>
                      </a:cubicBezTo>
                      <a:cubicBezTo>
                        <a:pt x="23" y="61"/>
                        <a:pt x="23" y="62"/>
                        <a:pt x="23" y="62"/>
                      </a:cubicBezTo>
                      <a:cubicBezTo>
                        <a:pt x="24" y="62"/>
                        <a:pt x="24" y="63"/>
                        <a:pt x="24" y="63"/>
                      </a:cubicBezTo>
                      <a:cubicBezTo>
                        <a:pt x="25" y="63"/>
                        <a:pt x="26" y="64"/>
                        <a:pt x="26" y="64"/>
                      </a:cubicBezTo>
                      <a:cubicBezTo>
                        <a:pt x="26" y="64"/>
                        <a:pt x="27" y="63"/>
                        <a:pt x="27" y="63"/>
                      </a:cubicBezTo>
                      <a:cubicBezTo>
                        <a:pt x="27" y="63"/>
                        <a:pt x="27" y="63"/>
                        <a:pt x="27" y="63"/>
                      </a:cubicBezTo>
                      <a:cubicBezTo>
                        <a:pt x="27" y="63"/>
                        <a:pt x="27" y="62"/>
                        <a:pt x="27" y="62"/>
                      </a:cubicBezTo>
                      <a:cubicBezTo>
                        <a:pt x="27" y="62"/>
                        <a:pt x="27" y="62"/>
                        <a:pt x="28" y="61"/>
                      </a:cubicBezTo>
                      <a:cubicBezTo>
                        <a:pt x="28" y="61"/>
                        <a:pt x="28" y="61"/>
                        <a:pt x="28" y="61"/>
                      </a:cubicBezTo>
                      <a:cubicBezTo>
                        <a:pt x="29" y="61"/>
                        <a:pt x="30" y="61"/>
                        <a:pt x="30" y="61"/>
                      </a:cubicBezTo>
                      <a:cubicBezTo>
                        <a:pt x="30" y="61"/>
                        <a:pt x="31" y="61"/>
                        <a:pt x="31" y="61"/>
                      </a:cubicBezTo>
                      <a:cubicBezTo>
                        <a:pt x="31" y="61"/>
                        <a:pt x="32" y="62"/>
                        <a:pt x="32" y="62"/>
                      </a:cubicBezTo>
                      <a:cubicBezTo>
                        <a:pt x="33" y="62"/>
                        <a:pt x="34" y="63"/>
                        <a:pt x="34" y="63"/>
                      </a:cubicBezTo>
                      <a:cubicBezTo>
                        <a:pt x="34" y="63"/>
                        <a:pt x="35" y="63"/>
                        <a:pt x="36" y="63"/>
                      </a:cubicBezTo>
                      <a:cubicBezTo>
                        <a:pt x="36" y="63"/>
                        <a:pt x="37" y="63"/>
                        <a:pt x="37" y="62"/>
                      </a:cubicBezTo>
                      <a:cubicBezTo>
                        <a:pt x="37" y="62"/>
                        <a:pt x="38" y="62"/>
                        <a:pt x="38" y="62"/>
                      </a:cubicBezTo>
                      <a:cubicBezTo>
                        <a:pt x="39" y="62"/>
                        <a:pt x="39" y="63"/>
                        <a:pt x="40" y="63"/>
                      </a:cubicBezTo>
                      <a:cubicBezTo>
                        <a:pt x="40" y="63"/>
                        <a:pt x="41" y="64"/>
                        <a:pt x="41" y="64"/>
                      </a:cubicBezTo>
                      <a:cubicBezTo>
                        <a:pt x="41" y="64"/>
                        <a:pt x="41" y="63"/>
                        <a:pt x="41" y="63"/>
                      </a:cubicBezTo>
                      <a:cubicBezTo>
                        <a:pt x="41" y="63"/>
                        <a:pt x="42" y="63"/>
                        <a:pt x="42" y="63"/>
                      </a:cubicBezTo>
                      <a:cubicBezTo>
                        <a:pt x="42" y="63"/>
                        <a:pt x="43" y="63"/>
                        <a:pt x="43" y="63"/>
                      </a:cubicBezTo>
                      <a:cubicBezTo>
                        <a:pt x="43" y="63"/>
                        <a:pt x="43" y="63"/>
                        <a:pt x="43" y="63"/>
                      </a:cubicBezTo>
                      <a:cubicBezTo>
                        <a:pt x="44" y="62"/>
                        <a:pt x="44" y="62"/>
                        <a:pt x="44" y="62"/>
                      </a:cubicBezTo>
                      <a:cubicBezTo>
                        <a:pt x="44" y="62"/>
                        <a:pt x="45" y="63"/>
                        <a:pt x="45" y="63"/>
                      </a:cubicBezTo>
                      <a:cubicBezTo>
                        <a:pt x="45" y="63"/>
                        <a:pt x="45" y="63"/>
                        <a:pt x="45" y="62"/>
                      </a:cubicBezTo>
                      <a:cubicBezTo>
                        <a:pt x="45" y="62"/>
                        <a:pt x="46" y="62"/>
                        <a:pt x="46" y="62"/>
                      </a:cubicBezTo>
                      <a:cubicBezTo>
                        <a:pt x="46" y="62"/>
                        <a:pt x="47" y="63"/>
                        <a:pt x="47" y="63"/>
                      </a:cubicBezTo>
                      <a:cubicBezTo>
                        <a:pt x="47" y="63"/>
                        <a:pt x="48" y="64"/>
                        <a:pt x="48" y="64"/>
                      </a:cubicBezTo>
                      <a:cubicBezTo>
                        <a:pt x="48" y="65"/>
                        <a:pt x="48" y="66"/>
                        <a:pt x="48" y="66"/>
                      </a:cubicBezTo>
                      <a:cubicBezTo>
                        <a:pt x="48" y="66"/>
                        <a:pt x="49" y="68"/>
                        <a:pt x="49" y="68"/>
                      </a:cubicBezTo>
                      <a:cubicBezTo>
                        <a:pt x="49" y="68"/>
                        <a:pt x="49" y="69"/>
                        <a:pt x="49" y="69"/>
                      </a:cubicBezTo>
                      <a:cubicBezTo>
                        <a:pt x="49" y="69"/>
                        <a:pt x="49" y="70"/>
                        <a:pt x="49" y="70"/>
                      </a:cubicBezTo>
                      <a:cubicBezTo>
                        <a:pt x="49" y="70"/>
                        <a:pt x="49" y="70"/>
                        <a:pt x="49" y="70"/>
                      </a:cubicBezTo>
                      <a:cubicBezTo>
                        <a:pt x="49" y="70"/>
                        <a:pt x="55" y="73"/>
                        <a:pt x="56" y="73"/>
                      </a:cubicBezTo>
                      <a:cubicBezTo>
                        <a:pt x="56" y="73"/>
                        <a:pt x="58" y="74"/>
                        <a:pt x="58" y="74"/>
                      </a:cubicBezTo>
                      <a:cubicBezTo>
                        <a:pt x="59" y="74"/>
                        <a:pt x="60" y="75"/>
                        <a:pt x="60" y="75"/>
                      </a:cubicBezTo>
                      <a:cubicBezTo>
                        <a:pt x="60" y="75"/>
                        <a:pt x="61" y="76"/>
                        <a:pt x="61" y="76"/>
                      </a:cubicBezTo>
                      <a:cubicBezTo>
                        <a:pt x="61" y="76"/>
                        <a:pt x="61" y="75"/>
                        <a:pt x="61" y="75"/>
                      </a:cubicBezTo>
                      <a:cubicBezTo>
                        <a:pt x="61" y="75"/>
                        <a:pt x="61" y="74"/>
                        <a:pt x="61" y="74"/>
                      </a:cubicBezTo>
                      <a:cubicBezTo>
                        <a:pt x="61" y="74"/>
                        <a:pt x="61" y="74"/>
                        <a:pt x="61" y="73"/>
                      </a:cubicBezTo>
                      <a:cubicBezTo>
                        <a:pt x="61" y="73"/>
                        <a:pt x="61" y="73"/>
                        <a:pt x="61" y="73"/>
                      </a:cubicBezTo>
                      <a:cubicBezTo>
                        <a:pt x="61" y="73"/>
                        <a:pt x="61" y="72"/>
                        <a:pt x="61" y="72"/>
                      </a:cubicBezTo>
                      <a:cubicBezTo>
                        <a:pt x="61" y="72"/>
                        <a:pt x="61" y="72"/>
                        <a:pt x="61" y="72"/>
                      </a:cubicBezTo>
                      <a:cubicBezTo>
                        <a:pt x="61" y="72"/>
                        <a:pt x="61" y="72"/>
                        <a:pt x="61" y="72"/>
                      </a:cubicBezTo>
                      <a:cubicBezTo>
                        <a:pt x="61" y="72"/>
                        <a:pt x="61" y="71"/>
                        <a:pt x="61" y="71"/>
                      </a:cubicBezTo>
                      <a:cubicBezTo>
                        <a:pt x="61" y="70"/>
                        <a:pt x="61" y="70"/>
                        <a:pt x="61" y="70"/>
                      </a:cubicBezTo>
                      <a:cubicBezTo>
                        <a:pt x="61" y="70"/>
                        <a:pt x="62" y="69"/>
                        <a:pt x="62" y="69"/>
                      </a:cubicBezTo>
                      <a:cubicBezTo>
                        <a:pt x="62" y="69"/>
                        <a:pt x="62" y="68"/>
                        <a:pt x="62" y="68"/>
                      </a:cubicBezTo>
                      <a:cubicBezTo>
                        <a:pt x="62" y="68"/>
                        <a:pt x="62" y="67"/>
                        <a:pt x="62" y="67"/>
                      </a:cubicBezTo>
                      <a:cubicBezTo>
                        <a:pt x="62" y="67"/>
                        <a:pt x="62" y="67"/>
                        <a:pt x="62" y="66"/>
                      </a:cubicBezTo>
                      <a:cubicBezTo>
                        <a:pt x="62" y="66"/>
                        <a:pt x="62" y="66"/>
                        <a:pt x="62" y="65"/>
                      </a:cubicBezTo>
                      <a:cubicBezTo>
                        <a:pt x="62" y="65"/>
                        <a:pt x="62" y="65"/>
                        <a:pt x="62" y="65"/>
                      </a:cubicBezTo>
                      <a:cubicBezTo>
                        <a:pt x="62" y="64"/>
                        <a:pt x="62" y="63"/>
                        <a:pt x="62" y="63"/>
                      </a:cubicBezTo>
                      <a:cubicBezTo>
                        <a:pt x="62" y="63"/>
                        <a:pt x="62" y="62"/>
                        <a:pt x="63" y="62"/>
                      </a:cubicBezTo>
                      <a:cubicBezTo>
                        <a:pt x="63" y="62"/>
                        <a:pt x="63" y="62"/>
                        <a:pt x="63" y="61"/>
                      </a:cubicBezTo>
                      <a:cubicBezTo>
                        <a:pt x="63" y="61"/>
                        <a:pt x="63" y="61"/>
                        <a:pt x="63" y="61"/>
                      </a:cubicBezTo>
                      <a:cubicBezTo>
                        <a:pt x="63" y="60"/>
                        <a:pt x="63" y="60"/>
                        <a:pt x="63" y="60"/>
                      </a:cubicBezTo>
                      <a:cubicBezTo>
                        <a:pt x="63" y="60"/>
                        <a:pt x="64" y="59"/>
                        <a:pt x="64" y="59"/>
                      </a:cubicBezTo>
                      <a:cubicBezTo>
                        <a:pt x="64" y="59"/>
                        <a:pt x="64" y="59"/>
                        <a:pt x="64" y="59"/>
                      </a:cubicBezTo>
                      <a:cubicBezTo>
                        <a:pt x="64" y="58"/>
                        <a:pt x="65" y="58"/>
                        <a:pt x="65" y="58"/>
                      </a:cubicBezTo>
                      <a:cubicBezTo>
                        <a:pt x="65" y="58"/>
                        <a:pt x="65" y="58"/>
                        <a:pt x="65" y="57"/>
                      </a:cubicBezTo>
                      <a:cubicBezTo>
                        <a:pt x="65" y="57"/>
                        <a:pt x="65" y="57"/>
                        <a:pt x="65" y="57"/>
                      </a:cubicBezTo>
                      <a:cubicBezTo>
                        <a:pt x="65" y="57"/>
                        <a:pt x="65" y="56"/>
                        <a:pt x="65" y="56"/>
                      </a:cubicBezTo>
                      <a:cubicBezTo>
                        <a:pt x="66" y="56"/>
                        <a:pt x="66" y="56"/>
                        <a:pt x="66" y="56"/>
                      </a:cubicBezTo>
                      <a:cubicBezTo>
                        <a:pt x="66" y="56"/>
                        <a:pt x="66" y="56"/>
                        <a:pt x="66" y="56"/>
                      </a:cubicBezTo>
                      <a:cubicBezTo>
                        <a:pt x="66" y="56"/>
                        <a:pt x="67" y="55"/>
                        <a:pt x="67" y="55"/>
                      </a:cubicBezTo>
                      <a:cubicBezTo>
                        <a:pt x="67" y="55"/>
                        <a:pt x="67" y="55"/>
                        <a:pt x="67" y="55"/>
                      </a:cubicBezTo>
                      <a:cubicBezTo>
                        <a:pt x="67" y="55"/>
                        <a:pt x="67" y="55"/>
                        <a:pt x="67" y="55"/>
                      </a:cubicBezTo>
                      <a:cubicBezTo>
                        <a:pt x="67" y="55"/>
                        <a:pt x="67" y="55"/>
                        <a:pt x="67" y="54"/>
                      </a:cubicBezTo>
                      <a:cubicBezTo>
                        <a:pt x="67" y="54"/>
                        <a:pt x="67" y="54"/>
                        <a:pt x="67" y="54"/>
                      </a:cubicBezTo>
                      <a:cubicBezTo>
                        <a:pt x="66" y="54"/>
                        <a:pt x="67" y="53"/>
                        <a:pt x="67" y="53"/>
                      </a:cubicBezTo>
                      <a:cubicBezTo>
                        <a:pt x="67" y="53"/>
                        <a:pt x="67" y="53"/>
                        <a:pt x="67" y="52"/>
                      </a:cubicBezTo>
                      <a:cubicBezTo>
                        <a:pt x="67" y="52"/>
                        <a:pt x="67" y="52"/>
                        <a:pt x="67" y="51"/>
                      </a:cubicBezTo>
                      <a:cubicBezTo>
                        <a:pt x="67" y="51"/>
                        <a:pt x="67" y="51"/>
                        <a:pt x="67" y="50"/>
                      </a:cubicBezTo>
                      <a:cubicBezTo>
                        <a:pt x="68" y="50"/>
                        <a:pt x="68" y="50"/>
                        <a:pt x="68" y="49"/>
                      </a:cubicBezTo>
                      <a:cubicBezTo>
                        <a:pt x="68" y="49"/>
                        <a:pt x="68" y="49"/>
                        <a:pt x="68" y="49"/>
                      </a:cubicBezTo>
                      <a:cubicBezTo>
                        <a:pt x="68" y="48"/>
                        <a:pt x="68" y="48"/>
                        <a:pt x="69" y="48"/>
                      </a:cubicBezTo>
                      <a:cubicBezTo>
                        <a:pt x="69" y="48"/>
                        <a:pt x="69" y="47"/>
                        <a:pt x="69" y="47"/>
                      </a:cubicBezTo>
                      <a:cubicBezTo>
                        <a:pt x="69" y="47"/>
                        <a:pt x="69" y="47"/>
                        <a:pt x="69" y="47"/>
                      </a:cubicBezTo>
                      <a:cubicBezTo>
                        <a:pt x="69" y="46"/>
                        <a:pt x="69" y="46"/>
                        <a:pt x="69" y="46"/>
                      </a:cubicBezTo>
                      <a:cubicBezTo>
                        <a:pt x="69" y="46"/>
                        <a:pt x="69" y="46"/>
                        <a:pt x="70" y="46"/>
                      </a:cubicBezTo>
                      <a:cubicBezTo>
                        <a:pt x="70" y="46"/>
                        <a:pt x="70" y="46"/>
                        <a:pt x="70" y="45"/>
                      </a:cubicBezTo>
                      <a:cubicBezTo>
                        <a:pt x="70" y="45"/>
                        <a:pt x="70" y="45"/>
                        <a:pt x="70" y="45"/>
                      </a:cubicBezTo>
                      <a:cubicBezTo>
                        <a:pt x="70" y="45"/>
                        <a:pt x="70" y="45"/>
                        <a:pt x="70" y="45"/>
                      </a:cubicBezTo>
                      <a:cubicBezTo>
                        <a:pt x="70" y="45"/>
                        <a:pt x="70" y="44"/>
                        <a:pt x="70" y="44"/>
                      </a:cubicBezTo>
                      <a:cubicBezTo>
                        <a:pt x="70" y="44"/>
                        <a:pt x="70" y="44"/>
                        <a:pt x="70" y="44"/>
                      </a:cubicBezTo>
                      <a:cubicBezTo>
                        <a:pt x="70" y="43"/>
                        <a:pt x="70" y="43"/>
                        <a:pt x="70" y="43"/>
                      </a:cubicBezTo>
                      <a:cubicBezTo>
                        <a:pt x="70" y="43"/>
                        <a:pt x="71" y="43"/>
                        <a:pt x="71" y="43"/>
                      </a:cubicBezTo>
                      <a:cubicBezTo>
                        <a:pt x="71" y="42"/>
                        <a:pt x="71" y="42"/>
                        <a:pt x="71" y="42"/>
                      </a:cubicBezTo>
                      <a:cubicBezTo>
                        <a:pt x="71" y="42"/>
                        <a:pt x="71" y="42"/>
                        <a:pt x="71" y="42"/>
                      </a:cubicBezTo>
                      <a:cubicBezTo>
                        <a:pt x="71" y="42"/>
                        <a:pt x="71" y="41"/>
                        <a:pt x="71" y="41"/>
                      </a:cubicBezTo>
                      <a:cubicBezTo>
                        <a:pt x="72" y="41"/>
                        <a:pt x="72" y="41"/>
                        <a:pt x="72" y="41"/>
                      </a:cubicBezTo>
                      <a:cubicBezTo>
                        <a:pt x="72" y="41"/>
                        <a:pt x="72" y="41"/>
                        <a:pt x="72" y="40"/>
                      </a:cubicBezTo>
                      <a:cubicBezTo>
                        <a:pt x="72" y="40"/>
                        <a:pt x="72" y="40"/>
                        <a:pt x="72" y="40"/>
                      </a:cubicBezTo>
                      <a:cubicBezTo>
                        <a:pt x="73" y="40"/>
                        <a:pt x="72" y="39"/>
                        <a:pt x="72" y="39"/>
                      </a:cubicBezTo>
                      <a:cubicBezTo>
                        <a:pt x="72" y="39"/>
                        <a:pt x="73" y="39"/>
                        <a:pt x="73" y="39"/>
                      </a:cubicBezTo>
                      <a:cubicBezTo>
                        <a:pt x="73" y="39"/>
                        <a:pt x="73" y="38"/>
                        <a:pt x="73" y="38"/>
                      </a:cubicBezTo>
                      <a:cubicBezTo>
                        <a:pt x="73" y="38"/>
                        <a:pt x="74" y="37"/>
                        <a:pt x="74" y="37"/>
                      </a:cubicBezTo>
                      <a:cubicBezTo>
                        <a:pt x="74" y="37"/>
                        <a:pt x="74" y="37"/>
                        <a:pt x="74" y="37"/>
                      </a:cubicBezTo>
                      <a:cubicBezTo>
                        <a:pt x="74" y="37"/>
                        <a:pt x="75" y="37"/>
                        <a:pt x="75" y="37"/>
                      </a:cubicBezTo>
                      <a:cubicBezTo>
                        <a:pt x="75" y="37"/>
                        <a:pt x="75" y="37"/>
                        <a:pt x="75" y="36"/>
                      </a:cubicBezTo>
                      <a:cubicBezTo>
                        <a:pt x="75" y="36"/>
                        <a:pt x="75" y="36"/>
                        <a:pt x="76" y="36"/>
                      </a:cubicBezTo>
                      <a:cubicBezTo>
                        <a:pt x="76" y="36"/>
                        <a:pt x="76" y="36"/>
                        <a:pt x="76" y="36"/>
                      </a:cubicBezTo>
                      <a:cubicBezTo>
                        <a:pt x="76" y="36"/>
                        <a:pt x="76" y="36"/>
                        <a:pt x="76" y="36"/>
                      </a:cubicBezTo>
                      <a:cubicBezTo>
                        <a:pt x="76" y="36"/>
                        <a:pt x="75" y="36"/>
                        <a:pt x="75" y="36"/>
                      </a:cubicBezTo>
                      <a:cubicBezTo>
                        <a:pt x="75" y="36"/>
                        <a:pt x="75" y="36"/>
                        <a:pt x="75" y="36"/>
                      </a:cubicBezTo>
                      <a:cubicBezTo>
                        <a:pt x="75" y="35"/>
                        <a:pt x="75" y="35"/>
                        <a:pt x="75" y="35"/>
                      </a:cubicBezTo>
                      <a:cubicBezTo>
                        <a:pt x="76" y="35"/>
                        <a:pt x="76" y="35"/>
                        <a:pt x="76" y="35"/>
                      </a:cubicBezTo>
                      <a:cubicBezTo>
                        <a:pt x="76" y="35"/>
                        <a:pt x="77" y="35"/>
                        <a:pt x="77" y="35"/>
                      </a:cubicBezTo>
                      <a:cubicBezTo>
                        <a:pt x="77" y="35"/>
                        <a:pt x="77" y="35"/>
                        <a:pt x="77" y="34"/>
                      </a:cubicBezTo>
                      <a:cubicBezTo>
                        <a:pt x="77" y="34"/>
                        <a:pt x="78" y="34"/>
                        <a:pt x="78" y="34"/>
                      </a:cubicBezTo>
                      <a:cubicBezTo>
                        <a:pt x="78" y="34"/>
                        <a:pt x="79" y="33"/>
                        <a:pt x="79" y="33"/>
                      </a:cubicBezTo>
                      <a:cubicBezTo>
                        <a:pt x="79" y="33"/>
                        <a:pt x="79" y="33"/>
                        <a:pt x="79" y="33"/>
                      </a:cubicBezTo>
                      <a:cubicBezTo>
                        <a:pt x="79" y="33"/>
                        <a:pt x="78" y="32"/>
                        <a:pt x="78" y="32"/>
                      </a:cubicBezTo>
                      <a:cubicBezTo>
                        <a:pt x="78" y="32"/>
                        <a:pt x="79" y="32"/>
                        <a:pt x="79" y="32"/>
                      </a:cubicBezTo>
                      <a:cubicBezTo>
                        <a:pt x="79" y="32"/>
                        <a:pt x="79" y="32"/>
                        <a:pt x="79" y="32"/>
                      </a:cubicBezTo>
                      <a:cubicBezTo>
                        <a:pt x="79" y="32"/>
                        <a:pt x="78" y="31"/>
                        <a:pt x="79" y="31"/>
                      </a:cubicBezTo>
                      <a:cubicBezTo>
                        <a:pt x="79" y="31"/>
                        <a:pt x="79" y="31"/>
                        <a:pt x="79" y="31"/>
                      </a:cubicBezTo>
                      <a:cubicBezTo>
                        <a:pt x="79" y="30"/>
                        <a:pt x="79" y="30"/>
                        <a:pt x="79" y="30"/>
                      </a:cubicBezTo>
                      <a:cubicBezTo>
                        <a:pt x="79" y="30"/>
                        <a:pt x="80" y="29"/>
                        <a:pt x="80" y="29"/>
                      </a:cubicBezTo>
                      <a:cubicBezTo>
                        <a:pt x="80" y="29"/>
                        <a:pt x="80" y="28"/>
                        <a:pt x="80" y="28"/>
                      </a:cubicBezTo>
                      <a:cubicBezTo>
                        <a:pt x="80" y="28"/>
                        <a:pt x="81" y="28"/>
                        <a:pt x="81" y="28"/>
                      </a:cubicBezTo>
                      <a:cubicBezTo>
                        <a:pt x="81" y="28"/>
                        <a:pt x="81" y="27"/>
                        <a:pt x="81" y="27"/>
                      </a:cubicBezTo>
                      <a:cubicBezTo>
                        <a:pt x="81" y="27"/>
                        <a:pt x="81" y="26"/>
                        <a:pt x="81" y="26"/>
                      </a:cubicBezTo>
                      <a:cubicBezTo>
                        <a:pt x="81" y="26"/>
                        <a:pt x="81" y="26"/>
                        <a:pt x="81" y="26"/>
                      </a:cubicBezTo>
                      <a:cubicBezTo>
                        <a:pt x="81" y="26"/>
                        <a:pt x="81" y="26"/>
                        <a:pt x="82" y="25"/>
                      </a:cubicBezTo>
                      <a:cubicBezTo>
                        <a:pt x="82" y="25"/>
                        <a:pt x="81" y="24"/>
                        <a:pt x="81" y="24"/>
                      </a:cubicBezTo>
                      <a:cubicBezTo>
                        <a:pt x="82" y="23"/>
                        <a:pt x="82" y="23"/>
                        <a:pt x="82" y="23"/>
                      </a:cubicBezTo>
                      <a:cubicBezTo>
                        <a:pt x="82" y="23"/>
                        <a:pt x="82" y="23"/>
                        <a:pt x="82" y="23"/>
                      </a:cubicBezTo>
                      <a:cubicBezTo>
                        <a:pt x="82" y="22"/>
                        <a:pt x="82" y="22"/>
                        <a:pt x="82" y="22"/>
                      </a:cubicBezTo>
                      <a:cubicBezTo>
                        <a:pt x="82" y="22"/>
                        <a:pt x="82" y="21"/>
                        <a:pt x="82" y="21"/>
                      </a:cubicBezTo>
                      <a:cubicBezTo>
                        <a:pt x="82" y="21"/>
                        <a:pt x="82" y="21"/>
                        <a:pt x="82" y="21"/>
                      </a:cubicBezTo>
                      <a:cubicBezTo>
                        <a:pt x="82" y="21"/>
                        <a:pt x="82" y="20"/>
                        <a:pt x="82" y="20"/>
                      </a:cubicBezTo>
                      <a:cubicBezTo>
                        <a:pt x="82" y="20"/>
                        <a:pt x="82" y="20"/>
                        <a:pt x="82" y="19"/>
                      </a:cubicBezTo>
                      <a:cubicBezTo>
                        <a:pt x="82" y="19"/>
                        <a:pt x="82" y="19"/>
                        <a:pt x="82" y="19"/>
                      </a:cubicBezTo>
                      <a:cubicBezTo>
                        <a:pt x="82" y="19"/>
                        <a:pt x="82" y="18"/>
                        <a:pt x="82" y="18"/>
                      </a:cubicBezTo>
                      <a:cubicBezTo>
                        <a:pt x="82" y="18"/>
                        <a:pt x="82" y="17"/>
                        <a:pt x="83" y="17"/>
                      </a:cubicBezTo>
                      <a:cubicBezTo>
                        <a:pt x="83" y="17"/>
                        <a:pt x="83" y="17"/>
                        <a:pt x="83" y="17"/>
                      </a:cubicBezTo>
                      <a:cubicBezTo>
                        <a:pt x="83" y="16"/>
                        <a:pt x="83" y="16"/>
                        <a:pt x="83" y="16"/>
                      </a:cubicBezTo>
                      <a:cubicBezTo>
                        <a:pt x="83" y="16"/>
                        <a:pt x="83" y="15"/>
                        <a:pt x="83" y="15"/>
                      </a:cubicBezTo>
                      <a:cubicBezTo>
                        <a:pt x="83" y="15"/>
                        <a:pt x="83" y="14"/>
                        <a:pt x="84" y="14"/>
                      </a:cubicBezTo>
                      <a:cubicBezTo>
                        <a:pt x="84" y="14"/>
                        <a:pt x="84" y="14"/>
                        <a:pt x="84" y="14"/>
                      </a:cubicBezTo>
                      <a:cubicBezTo>
                        <a:pt x="84" y="13"/>
                        <a:pt x="84" y="13"/>
                        <a:pt x="84" y="13"/>
                      </a:cubicBezTo>
                      <a:cubicBezTo>
                        <a:pt x="84" y="13"/>
                        <a:pt x="84" y="13"/>
                        <a:pt x="84" y="12"/>
                      </a:cubicBezTo>
                      <a:cubicBezTo>
                        <a:pt x="84" y="12"/>
                        <a:pt x="84" y="12"/>
                        <a:pt x="84" y="11"/>
                      </a:cubicBezTo>
                      <a:cubicBezTo>
                        <a:pt x="84" y="11"/>
                        <a:pt x="84" y="11"/>
                        <a:pt x="84" y="11"/>
                      </a:cubicBezTo>
                      <a:cubicBezTo>
                        <a:pt x="84" y="11"/>
                        <a:pt x="84" y="9"/>
                        <a:pt x="84" y="9"/>
                      </a:cubicBezTo>
                      <a:cubicBezTo>
                        <a:pt x="84" y="9"/>
                        <a:pt x="85" y="8"/>
                        <a:pt x="85" y="8"/>
                      </a:cubicBezTo>
                      <a:cubicBezTo>
                        <a:pt x="85" y="8"/>
                        <a:pt x="85" y="8"/>
                        <a:pt x="85" y="8"/>
                      </a:cubicBezTo>
                      <a:cubicBezTo>
                        <a:pt x="85" y="7"/>
                        <a:pt x="85" y="7"/>
                        <a:pt x="85" y="7"/>
                      </a:cubicBezTo>
                      <a:cubicBezTo>
                        <a:pt x="85" y="7"/>
                        <a:pt x="85" y="6"/>
                        <a:pt x="85" y="6"/>
                      </a:cubicBezTo>
                      <a:cubicBezTo>
                        <a:pt x="85" y="6"/>
                        <a:pt x="86" y="6"/>
                        <a:pt x="86" y="6"/>
                      </a:cubicBezTo>
                      <a:cubicBezTo>
                        <a:pt x="86" y="5"/>
                        <a:pt x="86" y="5"/>
                        <a:pt x="86" y="5"/>
                      </a:cubicBezTo>
                      <a:cubicBezTo>
                        <a:pt x="86" y="4"/>
                        <a:pt x="86" y="4"/>
                        <a:pt x="86"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2" name="Freeform 743">
                  <a:extLst>
                    <a:ext uri="{FF2B5EF4-FFF2-40B4-BE49-F238E27FC236}">
                      <a16:creationId xmlns:a16="http://schemas.microsoft.com/office/drawing/2014/main" id="{F668627E-5703-411A-08E9-5D2A02C398E0}"/>
                    </a:ext>
                  </a:extLst>
                </p:cNvPr>
                <p:cNvSpPr>
                  <a:spLocks noEditPoints="1"/>
                </p:cNvSpPr>
                <p:nvPr/>
              </p:nvSpPr>
              <p:spPr bwMode="auto">
                <a:xfrm>
                  <a:off x="9009063" y="5213350"/>
                  <a:ext cx="258762" cy="449263"/>
                </a:xfrm>
                <a:custGeom>
                  <a:avLst/>
                  <a:gdLst>
                    <a:gd name="T0" fmla="*/ 8 w 62"/>
                    <a:gd name="T1" fmla="*/ 5 h 108"/>
                    <a:gd name="T2" fmla="*/ 10 w 62"/>
                    <a:gd name="T3" fmla="*/ 3 h 108"/>
                    <a:gd name="T4" fmla="*/ 11 w 62"/>
                    <a:gd name="T5" fmla="*/ 2 h 108"/>
                    <a:gd name="T6" fmla="*/ 15 w 62"/>
                    <a:gd name="T7" fmla="*/ 2 h 108"/>
                    <a:gd name="T8" fmla="*/ 17 w 62"/>
                    <a:gd name="T9" fmla="*/ 5 h 108"/>
                    <a:gd name="T10" fmla="*/ 12 w 62"/>
                    <a:gd name="T11" fmla="*/ 6 h 108"/>
                    <a:gd name="T12" fmla="*/ 48 w 62"/>
                    <a:gd name="T13" fmla="*/ 6 h 108"/>
                    <a:gd name="T14" fmla="*/ 50 w 62"/>
                    <a:gd name="T15" fmla="*/ 5 h 108"/>
                    <a:gd name="T16" fmla="*/ 52 w 62"/>
                    <a:gd name="T17" fmla="*/ 3 h 108"/>
                    <a:gd name="T18" fmla="*/ 53 w 62"/>
                    <a:gd name="T19" fmla="*/ 1 h 108"/>
                    <a:gd name="T20" fmla="*/ 52 w 62"/>
                    <a:gd name="T21" fmla="*/ 3 h 108"/>
                    <a:gd name="T22" fmla="*/ 50 w 62"/>
                    <a:gd name="T23" fmla="*/ 19 h 108"/>
                    <a:gd name="T24" fmla="*/ 49 w 62"/>
                    <a:gd name="T25" fmla="*/ 20 h 108"/>
                    <a:gd name="T26" fmla="*/ 52 w 62"/>
                    <a:gd name="T27" fmla="*/ 20 h 108"/>
                    <a:gd name="T28" fmla="*/ 51 w 62"/>
                    <a:gd name="T29" fmla="*/ 22 h 108"/>
                    <a:gd name="T30" fmla="*/ 52 w 62"/>
                    <a:gd name="T31" fmla="*/ 23 h 108"/>
                    <a:gd name="T32" fmla="*/ 55 w 62"/>
                    <a:gd name="T33" fmla="*/ 23 h 108"/>
                    <a:gd name="T34" fmla="*/ 53 w 62"/>
                    <a:gd name="T35" fmla="*/ 22 h 108"/>
                    <a:gd name="T36" fmla="*/ 54 w 62"/>
                    <a:gd name="T37" fmla="*/ 20 h 108"/>
                    <a:gd name="T38" fmla="*/ 53 w 62"/>
                    <a:gd name="T39" fmla="*/ 20 h 108"/>
                    <a:gd name="T40" fmla="*/ 52 w 62"/>
                    <a:gd name="T41" fmla="*/ 33 h 108"/>
                    <a:gd name="T42" fmla="*/ 52 w 62"/>
                    <a:gd name="T43" fmla="*/ 32 h 108"/>
                    <a:gd name="T44" fmla="*/ 56 w 62"/>
                    <a:gd name="T45" fmla="*/ 34 h 108"/>
                    <a:gd name="T46" fmla="*/ 55 w 62"/>
                    <a:gd name="T47" fmla="*/ 33 h 108"/>
                    <a:gd name="T48" fmla="*/ 55 w 62"/>
                    <a:gd name="T49" fmla="*/ 33 h 108"/>
                    <a:gd name="T50" fmla="*/ 57 w 62"/>
                    <a:gd name="T51" fmla="*/ 36 h 108"/>
                    <a:gd name="T52" fmla="*/ 52 w 62"/>
                    <a:gd name="T53" fmla="*/ 33 h 108"/>
                    <a:gd name="T54" fmla="*/ 47 w 62"/>
                    <a:gd name="T55" fmla="*/ 30 h 108"/>
                    <a:gd name="T56" fmla="*/ 44 w 62"/>
                    <a:gd name="T57" fmla="*/ 26 h 108"/>
                    <a:gd name="T58" fmla="*/ 48 w 62"/>
                    <a:gd name="T59" fmla="*/ 20 h 108"/>
                    <a:gd name="T60" fmla="*/ 49 w 62"/>
                    <a:gd name="T61" fmla="*/ 16 h 108"/>
                    <a:gd name="T62" fmla="*/ 51 w 62"/>
                    <a:gd name="T63" fmla="*/ 16 h 108"/>
                    <a:gd name="T64" fmla="*/ 52 w 62"/>
                    <a:gd name="T65" fmla="*/ 13 h 108"/>
                    <a:gd name="T66" fmla="*/ 55 w 62"/>
                    <a:gd name="T67" fmla="*/ 10 h 108"/>
                    <a:gd name="T68" fmla="*/ 51 w 62"/>
                    <a:gd name="T69" fmla="*/ 7 h 108"/>
                    <a:gd name="T70" fmla="*/ 50 w 62"/>
                    <a:gd name="T71" fmla="*/ 10 h 108"/>
                    <a:gd name="T72" fmla="*/ 47 w 62"/>
                    <a:gd name="T73" fmla="*/ 9 h 108"/>
                    <a:gd name="T74" fmla="*/ 47 w 62"/>
                    <a:gd name="T75" fmla="*/ 7 h 108"/>
                    <a:gd name="T76" fmla="*/ 43 w 62"/>
                    <a:gd name="T77" fmla="*/ 9 h 108"/>
                    <a:gd name="T78" fmla="*/ 39 w 62"/>
                    <a:gd name="T79" fmla="*/ 8 h 108"/>
                    <a:gd name="T80" fmla="*/ 34 w 62"/>
                    <a:gd name="T81" fmla="*/ 6 h 108"/>
                    <a:gd name="T82" fmla="*/ 31 w 62"/>
                    <a:gd name="T83" fmla="*/ 6 h 108"/>
                    <a:gd name="T84" fmla="*/ 27 w 62"/>
                    <a:gd name="T85" fmla="*/ 3 h 108"/>
                    <a:gd name="T86" fmla="*/ 25 w 62"/>
                    <a:gd name="T87" fmla="*/ 1 h 108"/>
                    <a:gd name="T88" fmla="*/ 22 w 62"/>
                    <a:gd name="T89" fmla="*/ 1 h 108"/>
                    <a:gd name="T90" fmla="*/ 21 w 62"/>
                    <a:gd name="T91" fmla="*/ 2 h 108"/>
                    <a:gd name="T92" fmla="*/ 22 w 62"/>
                    <a:gd name="T93" fmla="*/ 4 h 108"/>
                    <a:gd name="T94" fmla="*/ 25 w 62"/>
                    <a:gd name="T95" fmla="*/ 6 h 108"/>
                    <a:gd name="T96" fmla="*/ 23 w 62"/>
                    <a:gd name="T97" fmla="*/ 9 h 108"/>
                    <a:gd name="T98" fmla="*/ 17 w 62"/>
                    <a:gd name="T99" fmla="*/ 9 h 108"/>
                    <a:gd name="T100" fmla="*/ 14 w 62"/>
                    <a:gd name="T101" fmla="*/ 10 h 108"/>
                    <a:gd name="T102" fmla="*/ 13 w 62"/>
                    <a:gd name="T103" fmla="*/ 10 h 108"/>
                    <a:gd name="T104" fmla="*/ 9 w 62"/>
                    <a:gd name="T105" fmla="*/ 14 h 108"/>
                    <a:gd name="T106" fmla="*/ 6 w 62"/>
                    <a:gd name="T107" fmla="*/ 18 h 108"/>
                    <a:gd name="T108" fmla="*/ 3 w 62"/>
                    <a:gd name="T109" fmla="*/ 24 h 108"/>
                    <a:gd name="T110" fmla="*/ 5 w 62"/>
                    <a:gd name="T111" fmla="*/ 28 h 108"/>
                    <a:gd name="T112" fmla="*/ 2 w 62"/>
                    <a:gd name="T113" fmla="*/ 28 h 108"/>
                    <a:gd name="T114" fmla="*/ 0 w 62"/>
                    <a:gd name="T115" fmla="*/ 2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108">
                      <a:moveTo>
                        <a:pt x="11" y="6"/>
                      </a:moveTo>
                      <a:cubicBezTo>
                        <a:pt x="11" y="6"/>
                        <a:pt x="11" y="6"/>
                        <a:pt x="11" y="6"/>
                      </a:cubicBezTo>
                      <a:cubicBezTo>
                        <a:pt x="10" y="6"/>
                        <a:pt x="10" y="6"/>
                        <a:pt x="10" y="6"/>
                      </a:cubicBezTo>
                      <a:cubicBezTo>
                        <a:pt x="10" y="6"/>
                        <a:pt x="10" y="6"/>
                        <a:pt x="10" y="6"/>
                      </a:cubicBezTo>
                      <a:cubicBezTo>
                        <a:pt x="9" y="6"/>
                        <a:pt x="9" y="6"/>
                        <a:pt x="9" y="6"/>
                      </a:cubicBezTo>
                      <a:cubicBezTo>
                        <a:pt x="9" y="6"/>
                        <a:pt x="9" y="6"/>
                        <a:pt x="9" y="6"/>
                      </a:cubicBezTo>
                      <a:cubicBezTo>
                        <a:pt x="8" y="6"/>
                        <a:pt x="8" y="6"/>
                        <a:pt x="8" y="6"/>
                      </a:cubicBezTo>
                      <a:cubicBezTo>
                        <a:pt x="8" y="6"/>
                        <a:pt x="8" y="5"/>
                        <a:pt x="8" y="5"/>
                      </a:cubicBezTo>
                      <a:cubicBezTo>
                        <a:pt x="8" y="5"/>
                        <a:pt x="8" y="5"/>
                        <a:pt x="9" y="5"/>
                      </a:cubicBezTo>
                      <a:cubicBezTo>
                        <a:pt x="9" y="5"/>
                        <a:pt x="9" y="5"/>
                        <a:pt x="9" y="5"/>
                      </a:cubicBezTo>
                      <a:cubicBezTo>
                        <a:pt x="9" y="4"/>
                        <a:pt x="9" y="4"/>
                        <a:pt x="9" y="4"/>
                      </a:cubicBezTo>
                      <a:cubicBezTo>
                        <a:pt x="9" y="4"/>
                        <a:pt x="9" y="4"/>
                        <a:pt x="9" y="4"/>
                      </a:cubicBezTo>
                      <a:cubicBezTo>
                        <a:pt x="9" y="3"/>
                        <a:pt x="9" y="3"/>
                        <a:pt x="9" y="3"/>
                      </a:cubicBezTo>
                      <a:cubicBezTo>
                        <a:pt x="9" y="3"/>
                        <a:pt x="10" y="3"/>
                        <a:pt x="10" y="3"/>
                      </a:cubicBezTo>
                      <a:cubicBezTo>
                        <a:pt x="10" y="3"/>
                        <a:pt x="10" y="3"/>
                        <a:pt x="10" y="3"/>
                      </a:cubicBezTo>
                      <a:cubicBezTo>
                        <a:pt x="10" y="3"/>
                        <a:pt x="10" y="3"/>
                        <a:pt x="10" y="3"/>
                      </a:cubicBezTo>
                      <a:cubicBezTo>
                        <a:pt x="10" y="3"/>
                        <a:pt x="10" y="3"/>
                        <a:pt x="10" y="3"/>
                      </a:cubicBezTo>
                      <a:cubicBezTo>
                        <a:pt x="10" y="3"/>
                        <a:pt x="10" y="2"/>
                        <a:pt x="10" y="2"/>
                      </a:cubicBezTo>
                      <a:cubicBezTo>
                        <a:pt x="10" y="2"/>
                        <a:pt x="10" y="2"/>
                        <a:pt x="10" y="2"/>
                      </a:cubicBezTo>
                      <a:cubicBezTo>
                        <a:pt x="10" y="2"/>
                        <a:pt x="10" y="2"/>
                        <a:pt x="10" y="2"/>
                      </a:cubicBezTo>
                      <a:cubicBezTo>
                        <a:pt x="10" y="2"/>
                        <a:pt x="10" y="2"/>
                        <a:pt x="10" y="2"/>
                      </a:cubicBezTo>
                      <a:cubicBezTo>
                        <a:pt x="10" y="2"/>
                        <a:pt x="10" y="2"/>
                        <a:pt x="11" y="2"/>
                      </a:cubicBezTo>
                      <a:cubicBezTo>
                        <a:pt x="11" y="2"/>
                        <a:pt x="11" y="2"/>
                        <a:pt x="11" y="2"/>
                      </a:cubicBezTo>
                      <a:cubicBezTo>
                        <a:pt x="11" y="2"/>
                        <a:pt x="11" y="2"/>
                        <a:pt x="11" y="2"/>
                      </a:cubicBezTo>
                      <a:cubicBezTo>
                        <a:pt x="11" y="3"/>
                        <a:pt x="11" y="3"/>
                        <a:pt x="11" y="3"/>
                      </a:cubicBezTo>
                      <a:cubicBezTo>
                        <a:pt x="11" y="3"/>
                        <a:pt x="12" y="3"/>
                        <a:pt x="12" y="3"/>
                      </a:cubicBezTo>
                      <a:cubicBezTo>
                        <a:pt x="12" y="3"/>
                        <a:pt x="13" y="3"/>
                        <a:pt x="13" y="3"/>
                      </a:cubicBezTo>
                      <a:cubicBezTo>
                        <a:pt x="13" y="3"/>
                        <a:pt x="13" y="3"/>
                        <a:pt x="14" y="3"/>
                      </a:cubicBezTo>
                      <a:cubicBezTo>
                        <a:pt x="14" y="3"/>
                        <a:pt x="14" y="3"/>
                        <a:pt x="14" y="3"/>
                      </a:cubicBezTo>
                      <a:cubicBezTo>
                        <a:pt x="14" y="3"/>
                        <a:pt x="14" y="3"/>
                        <a:pt x="15" y="3"/>
                      </a:cubicBezTo>
                      <a:cubicBezTo>
                        <a:pt x="15" y="3"/>
                        <a:pt x="15" y="3"/>
                        <a:pt x="15" y="2"/>
                      </a:cubicBezTo>
                      <a:cubicBezTo>
                        <a:pt x="15" y="2"/>
                        <a:pt x="15" y="2"/>
                        <a:pt x="15" y="2"/>
                      </a:cubicBezTo>
                      <a:cubicBezTo>
                        <a:pt x="15" y="2"/>
                        <a:pt x="15" y="2"/>
                        <a:pt x="15" y="2"/>
                      </a:cubicBezTo>
                      <a:cubicBezTo>
                        <a:pt x="16" y="2"/>
                        <a:pt x="16" y="2"/>
                        <a:pt x="17" y="2"/>
                      </a:cubicBezTo>
                      <a:cubicBezTo>
                        <a:pt x="17" y="2"/>
                        <a:pt x="17" y="2"/>
                        <a:pt x="17" y="3"/>
                      </a:cubicBezTo>
                      <a:cubicBezTo>
                        <a:pt x="17" y="3"/>
                        <a:pt x="17" y="3"/>
                        <a:pt x="17" y="3"/>
                      </a:cubicBezTo>
                      <a:cubicBezTo>
                        <a:pt x="17" y="3"/>
                        <a:pt x="17" y="3"/>
                        <a:pt x="18" y="3"/>
                      </a:cubicBezTo>
                      <a:cubicBezTo>
                        <a:pt x="18" y="3"/>
                        <a:pt x="18" y="3"/>
                        <a:pt x="18" y="4"/>
                      </a:cubicBezTo>
                      <a:cubicBezTo>
                        <a:pt x="18" y="4"/>
                        <a:pt x="18" y="4"/>
                        <a:pt x="17" y="4"/>
                      </a:cubicBezTo>
                      <a:cubicBezTo>
                        <a:pt x="17" y="5"/>
                        <a:pt x="17" y="5"/>
                        <a:pt x="17" y="5"/>
                      </a:cubicBezTo>
                      <a:cubicBezTo>
                        <a:pt x="16" y="5"/>
                        <a:pt x="16" y="5"/>
                        <a:pt x="16" y="6"/>
                      </a:cubicBezTo>
                      <a:cubicBezTo>
                        <a:pt x="16" y="6"/>
                        <a:pt x="15" y="6"/>
                        <a:pt x="14" y="7"/>
                      </a:cubicBezTo>
                      <a:cubicBezTo>
                        <a:pt x="14" y="7"/>
                        <a:pt x="14" y="7"/>
                        <a:pt x="14" y="7"/>
                      </a:cubicBezTo>
                      <a:cubicBezTo>
                        <a:pt x="14" y="7"/>
                        <a:pt x="14" y="7"/>
                        <a:pt x="14" y="7"/>
                      </a:cubicBezTo>
                      <a:cubicBezTo>
                        <a:pt x="14" y="7"/>
                        <a:pt x="14" y="7"/>
                        <a:pt x="14" y="7"/>
                      </a:cubicBezTo>
                      <a:cubicBezTo>
                        <a:pt x="14" y="6"/>
                        <a:pt x="13" y="6"/>
                        <a:pt x="13" y="6"/>
                      </a:cubicBezTo>
                      <a:cubicBezTo>
                        <a:pt x="13" y="6"/>
                        <a:pt x="12" y="6"/>
                        <a:pt x="12" y="6"/>
                      </a:cubicBezTo>
                      <a:cubicBezTo>
                        <a:pt x="12" y="6"/>
                        <a:pt x="12" y="6"/>
                        <a:pt x="12" y="6"/>
                      </a:cubicBezTo>
                      <a:cubicBezTo>
                        <a:pt x="12" y="6"/>
                        <a:pt x="12" y="6"/>
                        <a:pt x="12" y="6"/>
                      </a:cubicBezTo>
                      <a:cubicBezTo>
                        <a:pt x="12" y="6"/>
                        <a:pt x="11" y="6"/>
                        <a:pt x="11" y="6"/>
                      </a:cubicBezTo>
                      <a:close/>
                      <a:moveTo>
                        <a:pt x="47" y="6"/>
                      </a:moveTo>
                      <a:cubicBezTo>
                        <a:pt x="47" y="6"/>
                        <a:pt x="47" y="6"/>
                        <a:pt x="47" y="6"/>
                      </a:cubicBezTo>
                      <a:cubicBezTo>
                        <a:pt x="47" y="6"/>
                        <a:pt x="47" y="6"/>
                        <a:pt x="47" y="6"/>
                      </a:cubicBezTo>
                      <a:cubicBezTo>
                        <a:pt x="47" y="6"/>
                        <a:pt x="47" y="6"/>
                        <a:pt x="47" y="6"/>
                      </a:cubicBezTo>
                      <a:cubicBezTo>
                        <a:pt x="47" y="6"/>
                        <a:pt x="47" y="6"/>
                        <a:pt x="47" y="6"/>
                      </a:cubicBezTo>
                      <a:cubicBezTo>
                        <a:pt x="48" y="6"/>
                        <a:pt x="48" y="6"/>
                        <a:pt x="48" y="6"/>
                      </a:cubicBezTo>
                      <a:cubicBezTo>
                        <a:pt x="48" y="6"/>
                        <a:pt x="47" y="5"/>
                        <a:pt x="47" y="6"/>
                      </a:cubicBezTo>
                      <a:close/>
                      <a:moveTo>
                        <a:pt x="50" y="5"/>
                      </a:move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1" y="5"/>
                      </a:cubicBezTo>
                      <a:cubicBezTo>
                        <a:pt x="51" y="5"/>
                        <a:pt x="51" y="5"/>
                        <a:pt x="51" y="4"/>
                      </a:cubicBezTo>
                      <a:cubicBezTo>
                        <a:pt x="51" y="4"/>
                        <a:pt x="51" y="4"/>
                        <a:pt x="51" y="4"/>
                      </a:cubicBezTo>
                      <a:cubicBezTo>
                        <a:pt x="51" y="4"/>
                        <a:pt x="51" y="4"/>
                        <a:pt x="51" y="4"/>
                      </a:cubicBezTo>
                      <a:cubicBezTo>
                        <a:pt x="51" y="4"/>
                        <a:pt x="50" y="4"/>
                        <a:pt x="50" y="4"/>
                      </a:cubicBezTo>
                      <a:cubicBezTo>
                        <a:pt x="50" y="4"/>
                        <a:pt x="50" y="4"/>
                        <a:pt x="50" y="5"/>
                      </a:cubicBezTo>
                      <a:close/>
                      <a:moveTo>
                        <a:pt x="52" y="3"/>
                      </a:moveTo>
                      <a:cubicBezTo>
                        <a:pt x="52" y="3"/>
                        <a:pt x="52" y="3"/>
                        <a:pt x="52" y="3"/>
                      </a:cubicBezTo>
                      <a:cubicBezTo>
                        <a:pt x="52" y="3"/>
                        <a:pt x="52" y="3"/>
                        <a:pt x="52" y="2"/>
                      </a:cubicBezTo>
                      <a:cubicBezTo>
                        <a:pt x="53" y="2"/>
                        <a:pt x="53" y="2"/>
                        <a:pt x="53" y="2"/>
                      </a:cubicBezTo>
                      <a:cubicBezTo>
                        <a:pt x="53" y="2"/>
                        <a:pt x="53" y="2"/>
                        <a:pt x="53" y="2"/>
                      </a:cubicBezTo>
                      <a:cubicBezTo>
                        <a:pt x="53" y="2"/>
                        <a:pt x="53" y="2"/>
                        <a:pt x="53" y="2"/>
                      </a:cubicBezTo>
                      <a:cubicBezTo>
                        <a:pt x="53" y="2"/>
                        <a:pt x="53" y="2"/>
                        <a:pt x="53" y="1"/>
                      </a:cubicBezTo>
                      <a:cubicBezTo>
                        <a:pt x="53" y="1"/>
                        <a:pt x="53" y="1"/>
                        <a:pt x="53" y="1"/>
                      </a:cubicBezTo>
                      <a:cubicBezTo>
                        <a:pt x="53" y="1"/>
                        <a:pt x="53" y="1"/>
                        <a:pt x="53" y="1"/>
                      </a:cubicBezTo>
                      <a:cubicBezTo>
                        <a:pt x="53" y="1"/>
                        <a:pt x="53" y="1"/>
                        <a:pt x="53" y="1"/>
                      </a:cubicBezTo>
                      <a:cubicBezTo>
                        <a:pt x="53" y="1"/>
                        <a:pt x="53" y="1"/>
                        <a:pt x="53" y="2"/>
                      </a:cubicBezTo>
                      <a:cubicBezTo>
                        <a:pt x="53" y="2"/>
                        <a:pt x="53" y="2"/>
                        <a:pt x="53" y="2"/>
                      </a:cubicBezTo>
                      <a:cubicBezTo>
                        <a:pt x="53" y="2"/>
                        <a:pt x="52" y="2"/>
                        <a:pt x="52" y="2"/>
                      </a:cubicBezTo>
                      <a:cubicBezTo>
                        <a:pt x="52" y="2"/>
                        <a:pt x="52" y="2"/>
                        <a:pt x="52" y="2"/>
                      </a:cubicBezTo>
                      <a:cubicBezTo>
                        <a:pt x="52" y="2"/>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lose/>
                      <a:moveTo>
                        <a:pt x="50" y="20"/>
                      </a:moveTo>
                      <a:cubicBezTo>
                        <a:pt x="50" y="20"/>
                        <a:pt x="50" y="20"/>
                        <a:pt x="50" y="20"/>
                      </a:cubicBezTo>
                      <a:cubicBezTo>
                        <a:pt x="50" y="20"/>
                        <a:pt x="50" y="20"/>
                        <a:pt x="50" y="20"/>
                      </a:cubicBezTo>
                      <a:cubicBezTo>
                        <a:pt x="50" y="20"/>
                        <a:pt x="50" y="20"/>
                        <a:pt x="50" y="20"/>
                      </a:cubicBezTo>
                      <a:cubicBezTo>
                        <a:pt x="50" y="20"/>
                        <a:pt x="50" y="20"/>
                        <a:pt x="50" y="19"/>
                      </a:cubicBezTo>
                      <a:cubicBezTo>
                        <a:pt x="50" y="19"/>
                        <a:pt x="50" y="19"/>
                        <a:pt x="50" y="19"/>
                      </a:cubicBezTo>
                      <a:cubicBezTo>
                        <a:pt x="50" y="19"/>
                        <a:pt x="50" y="19"/>
                        <a:pt x="50" y="19"/>
                      </a:cubicBezTo>
                      <a:cubicBezTo>
                        <a:pt x="50" y="19"/>
                        <a:pt x="50" y="19"/>
                        <a:pt x="49" y="19"/>
                      </a:cubicBezTo>
                      <a:cubicBezTo>
                        <a:pt x="49" y="19"/>
                        <a:pt x="49" y="19"/>
                        <a:pt x="49" y="19"/>
                      </a:cubicBezTo>
                      <a:cubicBezTo>
                        <a:pt x="49" y="19"/>
                        <a:pt x="49" y="19"/>
                        <a:pt x="49" y="20"/>
                      </a:cubicBezTo>
                      <a:cubicBezTo>
                        <a:pt x="49" y="20"/>
                        <a:pt x="49" y="20"/>
                        <a:pt x="49" y="20"/>
                      </a:cubicBezTo>
                      <a:cubicBezTo>
                        <a:pt x="49" y="20"/>
                        <a:pt x="49" y="20"/>
                        <a:pt x="49" y="20"/>
                      </a:cubicBezTo>
                      <a:cubicBezTo>
                        <a:pt x="49" y="20"/>
                        <a:pt x="49" y="20"/>
                        <a:pt x="49" y="20"/>
                      </a:cubicBezTo>
                      <a:cubicBezTo>
                        <a:pt x="49" y="20"/>
                        <a:pt x="49" y="20"/>
                        <a:pt x="49" y="20"/>
                      </a:cubicBezTo>
                      <a:cubicBezTo>
                        <a:pt x="49" y="20"/>
                        <a:pt x="50" y="20"/>
                        <a:pt x="50" y="20"/>
                      </a:cubicBezTo>
                      <a:cubicBezTo>
                        <a:pt x="50" y="20"/>
                        <a:pt x="50" y="20"/>
                        <a:pt x="50" y="20"/>
                      </a:cubicBezTo>
                      <a:close/>
                      <a:moveTo>
                        <a:pt x="53" y="19"/>
                      </a:moveTo>
                      <a:cubicBezTo>
                        <a:pt x="53" y="19"/>
                        <a:pt x="53" y="19"/>
                        <a:pt x="53" y="19"/>
                      </a:cubicBezTo>
                      <a:cubicBezTo>
                        <a:pt x="53" y="19"/>
                        <a:pt x="53" y="19"/>
                        <a:pt x="53" y="19"/>
                      </a:cubicBezTo>
                      <a:cubicBezTo>
                        <a:pt x="53" y="19"/>
                        <a:pt x="53" y="19"/>
                        <a:pt x="52" y="19"/>
                      </a:cubicBezTo>
                      <a:cubicBezTo>
                        <a:pt x="52" y="19"/>
                        <a:pt x="52" y="20"/>
                        <a:pt x="52" y="20"/>
                      </a:cubicBezTo>
                      <a:cubicBezTo>
                        <a:pt x="52" y="20"/>
                        <a:pt x="52" y="20"/>
                        <a:pt x="52" y="20"/>
                      </a:cubicBezTo>
                      <a:cubicBezTo>
                        <a:pt x="52" y="20"/>
                        <a:pt x="52" y="20"/>
                        <a:pt x="52" y="20"/>
                      </a:cubicBezTo>
                      <a:cubicBezTo>
                        <a:pt x="51" y="20"/>
                        <a:pt x="51" y="20"/>
                        <a:pt x="51" y="20"/>
                      </a:cubicBezTo>
                      <a:cubicBezTo>
                        <a:pt x="51" y="20"/>
                        <a:pt x="51" y="20"/>
                        <a:pt x="51" y="20"/>
                      </a:cubicBezTo>
                      <a:cubicBezTo>
                        <a:pt x="51" y="20"/>
                        <a:pt x="51" y="20"/>
                        <a:pt x="51" y="21"/>
                      </a:cubicBezTo>
                      <a:cubicBezTo>
                        <a:pt x="51" y="21"/>
                        <a:pt x="51" y="21"/>
                        <a:pt x="51" y="22"/>
                      </a:cubicBezTo>
                      <a:cubicBezTo>
                        <a:pt x="51" y="22"/>
                        <a:pt x="51" y="22"/>
                        <a:pt x="51" y="22"/>
                      </a:cubicBezTo>
                      <a:cubicBezTo>
                        <a:pt x="51" y="22"/>
                        <a:pt x="51" y="22"/>
                        <a:pt x="51" y="22"/>
                      </a:cubicBezTo>
                      <a:cubicBezTo>
                        <a:pt x="51" y="23"/>
                        <a:pt x="51" y="23"/>
                        <a:pt x="51" y="23"/>
                      </a:cubicBezTo>
                      <a:cubicBezTo>
                        <a:pt x="51" y="23"/>
                        <a:pt x="51" y="23"/>
                        <a:pt x="51" y="23"/>
                      </a:cubicBezTo>
                      <a:cubicBezTo>
                        <a:pt x="51" y="23"/>
                        <a:pt x="51"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3" y="23"/>
                        <a:pt x="53" y="23"/>
                        <a:pt x="53" y="23"/>
                      </a:cubicBezTo>
                      <a:cubicBezTo>
                        <a:pt x="53" y="23"/>
                        <a:pt x="53" y="23"/>
                        <a:pt x="53" y="23"/>
                      </a:cubicBezTo>
                      <a:cubicBezTo>
                        <a:pt x="53" y="23"/>
                        <a:pt x="53" y="23"/>
                        <a:pt x="53" y="23"/>
                      </a:cubicBezTo>
                      <a:cubicBezTo>
                        <a:pt x="53" y="23"/>
                        <a:pt x="53" y="23"/>
                        <a:pt x="54" y="23"/>
                      </a:cubicBezTo>
                      <a:cubicBezTo>
                        <a:pt x="54" y="23"/>
                        <a:pt x="54" y="23"/>
                        <a:pt x="54" y="23"/>
                      </a:cubicBezTo>
                      <a:cubicBezTo>
                        <a:pt x="54" y="23"/>
                        <a:pt x="54" y="23"/>
                        <a:pt x="54" y="23"/>
                      </a:cubicBezTo>
                      <a:cubicBezTo>
                        <a:pt x="54" y="23"/>
                        <a:pt x="54" y="23"/>
                        <a:pt x="54" y="23"/>
                      </a:cubicBezTo>
                      <a:cubicBezTo>
                        <a:pt x="54" y="23"/>
                        <a:pt x="55" y="23"/>
                        <a:pt x="55" y="23"/>
                      </a:cubicBezTo>
                      <a:cubicBezTo>
                        <a:pt x="55" y="23"/>
                        <a:pt x="55" y="23"/>
                        <a:pt x="55" y="23"/>
                      </a:cubicBezTo>
                      <a:cubicBezTo>
                        <a:pt x="55" y="23"/>
                        <a:pt x="55" y="23"/>
                        <a:pt x="54" y="23"/>
                      </a:cubicBezTo>
                      <a:cubicBezTo>
                        <a:pt x="54" y="23"/>
                        <a:pt x="54" y="23"/>
                        <a:pt x="54" y="23"/>
                      </a:cubicBezTo>
                      <a:cubicBezTo>
                        <a:pt x="54" y="23"/>
                        <a:pt x="54" y="22"/>
                        <a:pt x="54" y="22"/>
                      </a:cubicBezTo>
                      <a:cubicBezTo>
                        <a:pt x="54" y="22"/>
                        <a:pt x="54" y="22"/>
                        <a:pt x="54" y="22"/>
                      </a:cubicBezTo>
                      <a:cubicBezTo>
                        <a:pt x="54" y="22"/>
                        <a:pt x="53" y="22"/>
                        <a:pt x="53" y="22"/>
                      </a:cubicBezTo>
                      <a:cubicBezTo>
                        <a:pt x="53" y="22"/>
                        <a:pt x="53" y="22"/>
                        <a:pt x="53" y="22"/>
                      </a:cubicBezTo>
                      <a:cubicBezTo>
                        <a:pt x="53" y="22"/>
                        <a:pt x="53" y="22"/>
                        <a:pt x="53" y="22"/>
                      </a:cubicBezTo>
                      <a:cubicBezTo>
                        <a:pt x="53" y="22"/>
                        <a:pt x="53" y="22"/>
                        <a:pt x="53" y="22"/>
                      </a:cubicBezTo>
                      <a:cubicBezTo>
                        <a:pt x="53" y="22"/>
                        <a:pt x="53" y="22"/>
                        <a:pt x="53" y="21"/>
                      </a:cubicBezTo>
                      <a:cubicBezTo>
                        <a:pt x="54" y="21"/>
                        <a:pt x="54" y="21"/>
                        <a:pt x="54" y="21"/>
                      </a:cubicBezTo>
                      <a:cubicBezTo>
                        <a:pt x="54" y="21"/>
                        <a:pt x="54" y="21"/>
                        <a:pt x="54" y="21"/>
                      </a:cubicBezTo>
                      <a:cubicBezTo>
                        <a:pt x="54" y="21"/>
                        <a:pt x="54" y="21"/>
                        <a:pt x="54" y="21"/>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3" y="20"/>
                        <a:pt x="53" y="20"/>
                        <a:pt x="53" y="20"/>
                      </a:cubicBezTo>
                      <a:cubicBezTo>
                        <a:pt x="53" y="20"/>
                        <a:pt x="53" y="20"/>
                        <a:pt x="53" y="20"/>
                      </a:cubicBezTo>
                      <a:cubicBezTo>
                        <a:pt x="53" y="19"/>
                        <a:pt x="53" y="19"/>
                        <a:pt x="53" y="19"/>
                      </a:cubicBezTo>
                      <a:close/>
                      <a:moveTo>
                        <a:pt x="52" y="32"/>
                      </a:moveTo>
                      <a:cubicBezTo>
                        <a:pt x="52" y="32"/>
                        <a:pt x="52" y="32"/>
                        <a:pt x="52" y="32"/>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lose/>
                      <a:moveTo>
                        <a:pt x="55" y="33"/>
                      </a:moveTo>
                      <a:cubicBezTo>
                        <a:pt x="55" y="33"/>
                        <a:pt x="55" y="33"/>
                        <a:pt x="55" y="33"/>
                      </a:cubicBezTo>
                      <a:cubicBezTo>
                        <a:pt x="55" y="34"/>
                        <a:pt x="55" y="34"/>
                        <a:pt x="55" y="34"/>
                      </a:cubicBezTo>
                      <a:cubicBezTo>
                        <a:pt x="55" y="34"/>
                        <a:pt x="55" y="34"/>
                        <a:pt x="55" y="34"/>
                      </a:cubicBezTo>
                      <a:cubicBezTo>
                        <a:pt x="55" y="34"/>
                        <a:pt x="55" y="34"/>
                        <a:pt x="55" y="34"/>
                      </a:cubicBezTo>
                      <a:cubicBezTo>
                        <a:pt x="55" y="34"/>
                        <a:pt x="56" y="34"/>
                        <a:pt x="56" y="34"/>
                      </a:cubicBezTo>
                      <a:cubicBezTo>
                        <a:pt x="56" y="34"/>
                        <a:pt x="56" y="34"/>
                        <a:pt x="56" y="34"/>
                      </a:cubicBezTo>
                      <a:cubicBezTo>
                        <a:pt x="56" y="34"/>
                        <a:pt x="56" y="34"/>
                        <a:pt x="56" y="34"/>
                      </a:cubicBezTo>
                      <a:cubicBezTo>
                        <a:pt x="56" y="34"/>
                        <a:pt x="56" y="34"/>
                        <a:pt x="56" y="34"/>
                      </a:cubicBezTo>
                      <a:cubicBezTo>
                        <a:pt x="56" y="33"/>
                        <a:pt x="56" y="33"/>
                        <a:pt x="56" y="33"/>
                      </a:cubicBezTo>
                      <a:cubicBezTo>
                        <a:pt x="56" y="33"/>
                        <a:pt x="56" y="33"/>
                        <a:pt x="56"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lose/>
                      <a:moveTo>
                        <a:pt x="62" y="39"/>
                      </a:moveTo>
                      <a:cubicBezTo>
                        <a:pt x="61" y="39"/>
                        <a:pt x="61" y="39"/>
                        <a:pt x="61" y="38"/>
                      </a:cubicBezTo>
                      <a:cubicBezTo>
                        <a:pt x="61" y="38"/>
                        <a:pt x="60" y="38"/>
                        <a:pt x="60" y="38"/>
                      </a:cubicBezTo>
                      <a:cubicBezTo>
                        <a:pt x="60" y="37"/>
                        <a:pt x="60" y="37"/>
                        <a:pt x="60" y="37"/>
                      </a:cubicBezTo>
                      <a:cubicBezTo>
                        <a:pt x="59" y="37"/>
                        <a:pt x="59" y="37"/>
                        <a:pt x="59" y="37"/>
                      </a:cubicBezTo>
                      <a:cubicBezTo>
                        <a:pt x="59" y="37"/>
                        <a:pt x="58" y="36"/>
                        <a:pt x="58" y="36"/>
                      </a:cubicBezTo>
                      <a:cubicBezTo>
                        <a:pt x="58" y="36"/>
                        <a:pt x="57" y="36"/>
                        <a:pt x="57" y="36"/>
                      </a:cubicBezTo>
                      <a:cubicBezTo>
                        <a:pt x="57" y="36"/>
                        <a:pt x="57" y="35"/>
                        <a:pt x="56" y="35"/>
                      </a:cubicBezTo>
                      <a:cubicBezTo>
                        <a:pt x="56" y="35"/>
                        <a:pt x="55" y="35"/>
                        <a:pt x="55" y="35"/>
                      </a:cubicBezTo>
                      <a:cubicBezTo>
                        <a:pt x="55" y="35"/>
                        <a:pt x="54" y="35"/>
                        <a:pt x="54" y="35"/>
                      </a:cubicBezTo>
                      <a:cubicBezTo>
                        <a:pt x="54" y="35"/>
                        <a:pt x="54" y="35"/>
                        <a:pt x="54" y="35"/>
                      </a:cubicBezTo>
                      <a:cubicBezTo>
                        <a:pt x="54" y="35"/>
                        <a:pt x="53" y="35"/>
                        <a:pt x="53" y="35"/>
                      </a:cubicBezTo>
                      <a:cubicBezTo>
                        <a:pt x="53" y="35"/>
                        <a:pt x="53" y="34"/>
                        <a:pt x="53" y="34"/>
                      </a:cubicBezTo>
                      <a:cubicBezTo>
                        <a:pt x="53" y="34"/>
                        <a:pt x="53" y="33"/>
                        <a:pt x="53" y="33"/>
                      </a:cubicBezTo>
                      <a:cubicBezTo>
                        <a:pt x="53" y="33"/>
                        <a:pt x="53" y="33"/>
                        <a:pt x="52" y="33"/>
                      </a:cubicBezTo>
                      <a:cubicBezTo>
                        <a:pt x="52" y="33"/>
                        <a:pt x="52" y="33"/>
                        <a:pt x="52" y="33"/>
                      </a:cubicBezTo>
                      <a:cubicBezTo>
                        <a:pt x="52" y="33"/>
                        <a:pt x="51" y="33"/>
                        <a:pt x="51" y="33"/>
                      </a:cubicBezTo>
                      <a:cubicBezTo>
                        <a:pt x="51" y="33"/>
                        <a:pt x="51" y="33"/>
                        <a:pt x="50" y="33"/>
                      </a:cubicBezTo>
                      <a:cubicBezTo>
                        <a:pt x="50" y="33"/>
                        <a:pt x="50" y="32"/>
                        <a:pt x="50" y="32"/>
                      </a:cubicBezTo>
                      <a:cubicBezTo>
                        <a:pt x="50" y="32"/>
                        <a:pt x="50" y="31"/>
                        <a:pt x="50" y="31"/>
                      </a:cubicBezTo>
                      <a:cubicBezTo>
                        <a:pt x="50" y="31"/>
                        <a:pt x="50" y="31"/>
                        <a:pt x="50" y="31"/>
                      </a:cubicBezTo>
                      <a:cubicBezTo>
                        <a:pt x="49" y="31"/>
                        <a:pt x="49" y="31"/>
                        <a:pt x="49" y="31"/>
                      </a:cubicBezTo>
                      <a:cubicBezTo>
                        <a:pt x="48" y="31"/>
                        <a:pt x="48" y="30"/>
                        <a:pt x="47" y="30"/>
                      </a:cubicBezTo>
                      <a:cubicBezTo>
                        <a:pt x="47" y="30"/>
                        <a:pt x="47" y="30"/>
                        <a:pt x="47" y="29"/>
                      </a:cubicBezTo>
                      <a:cubicBezTo>
                        <a:pt x="47" y="29"/>
                        <a:pt x="46" y="29"/>
                        <a:pt x="46" y="29"/>
                      </a:cubicBezTo>
                      <a:cubicBezTo>
                        <a:pt x="46" y="29"/>
                        <a:pt x="46" y="29"/>
                        <a:pt x="45" y="29"/>
                      </a:cubicBezTo>
                      <a:cubicBezTo>
                        <a:pt x="45" y="28"/>
                        <a:pt x="45" y="28"/>
                        <a:pt x="45" y="28"/>
                      </a:cubicBezTo>
                      <a:cubicBezTo>
                        <a:pt x="45" y="28"/>
                        <a:pt x="44" y="28"/>
                        <a:pt x="44" y="28"/>
                      </a:cubicBezTo>
                      <a:cubicBezTo>
                        <a:pt x="44" y="27"/>
                        <a:pt x="44" y="27"/>
                        <a:pt x="44" y="27"/>
                      </a:cubicBezTo>
                      <a:cubicBezTo>
                        <a:pt x="44" y="27"/>
                        <a:pt x="44" y="27"/>
                        <a:pt x="44" y="27"/>
                      </a:cubicBezTo>
                      <a:cubicBezTo>
                        <a:pt x="44" y="26"/>
                        <a:pt x="44" y="26"/>
                        <a:pt x="44" y="26"/>
                      </a:cubicBezTo>
                      <a:cubicBezTo>
                        <a:pt x="44" y="26"/>
                        <a:pt x="45" y="26"/>
                        <a:pt x="45" y="26"/>
                      </a:cubicBezTo>
                      <a:cubicBezTo>
                        <a:pt x="45" y="26"/>
                        <a:pt x="45" y="25"/>
                        <a:pt x="45" y="25"/>
                      </a:cubicBezTo>
                      <a:cubicBezTo>
                        <a:pt x="45" y="25"/>
                        <a:pt x="45" y="25"/>
                        <a:pt x="45" y="25"/>
                      </a:cubicBezTo>
                      <a:cubicBezTo>
                        <a:pt x="46" y="24"/>
                        <a:pt x="46" y="24"/>
                        <a:pt x="46" y="24"/>
                      </a:cubicBezTo>
                      <a:cubicBezTo>
                        <a:pt x="47" y="23"/>
                        <a:pt x="47" y="23"/>
                        <a:pt x="47" y="23"/>
                      </a:cubicBezTo>
                      <a:cubicBezTo>
                        <a:pt x="47" y="23"/>
                        <a:pt x="47" y="23"/>
                        <a:pt x="47" y="22"/>
                      </a:cubicBezTo>
                      <a:cubicBezTo>
                        <a:pt x="47" y="22"/>
                        <a:pt x="48" y="21"/>
                        <a:pt x="48" y="21"/>
                      </a:cubicBezTo>
                      <a:cubicBezTo>
                        <a:pt x="48" y="21"/>
                        <a:pt x="48" y="20"/>
                        <a:pt x="48" y="20"/>
                      </a:cubicBezTo>
                      <a:cubicBezTo>
                        <a:pt x="48" y="20"/>
                        <a:pt x="48" y="20"/>
                        <a:pt x="48" y="20"/>
                      </a:cubicBezTo>
                      <a:cubicBezTo>
                        <a:pt x="48" y="19"/>
                        <a:pt x="48" y="19"/>
                        <a:pt x="48" y="19"/>
                      </a:cubicBezTo>
                      <a:cubicBezTo>
                        <a:pt x="48" y="19"/>
                        <a:pt x="47" y="19"/>
                        <a:pt x="47" y="19"/>
                      </a:cubicBezTo>
                      <a:cubicBezTo>
                        <a:pt x="47" y="19"/>
                        <a:pt x="47" y="17"/>
                        <a:pt x="47" y="17"/>
                      </a:cubicBezTo>
                      <a:cubicBezTo>
                        <a:pt x="47" y="17"/>
                        <a:pt x="47" y="17"/>
                        <a:pt x="47" y="17"/>
                      </a:cubicBezTo>
                      <a:cubicBezTo>
                        <a:pt x="47" y="17"/>
                        <a:pt x="47" y="16"/>
                        <a:pt x="48" y="16"/>
                      </a:cubicBezTo>
                      <a:cubicBezTo>
                        <a:pt x="48" y="16"/>
                        <a:pt x="48" y="16"/>
                        <a:pt x="48" y="16"/>
                      </a:cubicBezTo>
                      <a:cubicBezTo>
                        <a:pt x="49" y="16"/>
                        <a:pt x="49" y="16"/>
                        <a:pt x="49" y="16"/>
                      </a:cubicBezTo>
                      <a:cubicBezTo>
                        <a:pt x="49" y="16"/>
                        <a:pt x="49" y="15"/>
                        <a:pt x="49" y="15"/>
                      </a:cubicBezTo>
                      <a:cubicBezTo>
                        <a:pt x="49" y="15"/>
                        <a:pt x="49" y="16"/>
                        <a:pt x="49" y="16"/>
                      </a:cubicBezTo>
                      <a:cubicBezTo>
                        <a:pt x="50" y="16"/>
                        <a:pt x="50" y="16"/>
                        <a:pt x="50" y="16"/>
                      </a:cubicBezTo>
                      <a:cubicBezTo>
                        <a:pt x="50" y="15"/>
                        <a:pt x="50" y="16"/>
                        <a:pt x="50" y="15"/>
                      </a:cubicBezTo>
                      <a:cubicBezTo>
                        <a:pt x="50" y="15"/>
                        <a:pt x="50" y="15"/>
                        <a:pt x="50" y="15"/>
                      </a:cubicBezTo>
                      <a:cubicBezTo>
                        <a:pt x="51" y="15"/>
                        <a:pt x="50" y="15"/>
                        <a:pt x="51" y="16"/>
                      </a:cubicBezTo>
                      <a:cubicBezTo>
                        <a:pt x="51" y="16"/>
                        <a:pt x="51" y="16"/>
                        <a:pt x="51" y="16"/>
                      </a:cubicBezTo>
                      <a:cubicBezTo>
                        <a:pt x="51" y="16"/>
                        <a:pt x="51" y="16"/>
                        <a:pt x="51" y="16"/>
                      </a:cubicBezTo>
                      <a:cubicBezTo>
                        <a:pt x="52" y="16"/>
                        <a:pt x="51" y="16"/>
                        <a:pt x="51" y="16"/>
                      </a:cubicBezTo>
                      <a:cubicBezTo>
                        <a:pt x="51" y="15"/>
                        <a:pt x="52" y="15"/>
                        <a:pt x="52" y="15"/>
                      </a:cubicBezTo>
                      <a:cubicBezTo>
                        <a:pt x="52" y="15"/>
                        <a:pt x="52" y="15"/>
                        <a:pt x="52" y="15"/>
                      </a:cubicBezTo>
                      <a:cubicBezTo>
                        <a:pt x="52" y="15"/>
                        <a:pt x="52" y="14"/>
                        <a:pt x="52" y="14"/>
                      </a:cubicBezTo>
                      <a:cubicBezTo>
                        <a:pt x="52" y="14"/>
                        <a:pt x="52" y="14"/>
                        <a:pt x="52" y="14"/>
                      </a:cubicBezTo>
                      <a:cubicBezTo>
                        <a:pt x="52" y="14"/>
                        <a:pt x="52" y="14"/>
                        <a:pt x="52" y="14"/>
                      </a:cubicBezTo>
                      <a:cubicBezTo>
                        <a:pt x="52" y="14"/>
                        <a:pt x="52" y="14"/>
                        <a:pt x="52" y="14"/>
                      </a:cubicBezTo>
                      <a:cubicBezTo>
                        <a:pt x="51" y="13"/>
                        <a:pt x="52" y="13"/>
                        <a:pt x="52" y="13"/>
                      </a:cubicBezTo>
                      <a:cubicBezTo>
                        <a:pt x="51" y="13"/>
                        <a:pt x="52" y="13"/>
                        <a:pt x="52" y="13"/>
                      </a:cubicBezTo>
                      <a:cubicBezTo>
                        <a:pt x="52" y="13"/>
                        <a:pt x="52" y="13"/>
                        <a:pt x="52" y="13"/>
                      </a:cubicBezTo>
                      <a:cubicBezTo>
                        <a:pt x="52" y="13"/>
                        <a:pt x="52" y="12"/>
                        <a:pt x="52" y="12"/>
                      </a:cubicBezTo>
                      <a:cubicBezTo>
                        <a:pt x="53" y="12"/>
                        <a:pt x="53" y="12"/>
                        <a:pt x="53" y="12"/>
                      </a:cubicBezTo>
                      <a:cubicBezTo>
                        <a:pt x="53" y="12"/>
                        <a:pt x="53" y="12"/>
                        <a:pt x="53" y="12"/>
                      </a:cubicBezTo>
                      <a:cubicBezTo>
                        <a:pt x="53" y="12"/>
                        <a:pt x="53" y="12"/>
                        <a:pt x="53" y="11"/>
                      </a:cubicBezTo>
                      <a:cubicBezTo>
                        <a:pt x="53" y="11"/>
                        <a:pt x="54" y="11"/>
                        <a:pt x="54" y="11"/>
                      </a:cubicBezTo>
                      <a:cubicBezTo>
                        <a:pt x="54" y="10"/>
                        <a:pt x="55" y="10"/>
                        <a:pt x="55" y="10"/>
                      </a:cubicBezTo>
                      <a:cubicBezTo>
                        <a:pt x="55" y="10"/>
                        <a:pt x="54" y="9"/>
                        <a:pt x="54" y="9"/>
                      </a:cubicBezTo>
                      <a:cubicBezTo>
                        <a:pt x="54" y="9"/>
                        <a:pt x="54" y="8"/>
                        <a:pt x="54" y="8"/>
                      </a:cubicBezTo>
                      <a:cubicBezTo>
                        <a:pt x="54" y="8"/>
                        <a:pt x="53" y="8"/>
                        <a:pt x="53" y="9"/>
                      </a:cubicBezTo>
                      <a:cubicBezTo>
                        <a:pt x="53" y="9"/>
                        <a:pt x="53" y="9"/>
                        <a:pt x="53" y="9"/>
                      </a:cubicBezTo>
                      <a:cubicBezTo>
                        <a:pt x="53" y="9"/>
                        <a:pt x="53" y="9"/>
                        <a:pt x="52" y="9"/>
                      </a:cubicBezTo>
                      <a:cubicBezTo>
                        <a:pt x="52" y="9"/>
                        <a:pt x="52" y="9"/>
                        <a:pt x="52" y="8"/>
                      </a:cubicBezTo>
                      <a:cubicBezTo>
                        <a:pt x="52" y="8"/>
                        <a:pt x="52" y="8"/>
                        <a:pt x="52" y="8"/>
                      </a:cubicBezTo>
                      <a:cubicBezTo>
                        <a:pt x="52" y="7"/>
                        <a:pt x="52" y="7"/>
                        <a:pt x="51" y="7"/>
                      </a:cubicBezTo>
                      <a:cubicBezTo>
                        <a:pt x="51" y="7"/>
                        <a:pt x="51" y="7"/>
                        <a:pt x="51" y="7"/>
                      </a:cubicBezTo>
                      <a:cubicBezTo>
                        <a:pt x="51" y="7"/>
                        <a:pt x="51" y="7"/>
                        <a:pt x="51" y="7"/>
                      </a:cubicBezTo>
                      <a:cubicBezTo>
                        <a:pt x="51" y="7"/>
                        <a:pt x="50" y="8"/>
                        <a:pt x="50" y="8"/>
                      </a:cubicBezTo>
                      <a:cubicBezTo>
                        <a:pt x="50" y="8"/>
                        <a:pt x="50" y="8"/>
                        <a:pt x="50" y="8"/>
                      </a:cubicBezTo>
                      <a:cubicBezTo>
                        <a:pt x="50" y="8"/>
                        <a:pt x="50" y="8"/>
                        <a:pt x="50" y="9"/>
                      </a:cubicBezTo>
                      <a:cubicBezTo>
                        <a:pt x="50" y="9"/>
                        <a:pt x="51" y="9"/>
                        <a:pt x="51" y="9"/>
                      </a:cubicBezTo>
                      <a:cubicBezTo>
                        <a:pt x="51" y="9"/>
                        <a:pt x="51" y="9"/>
                        <a:pt x="51" y="10"/>
                      </a:cubicBezTo>
                      <a:cubicBezTo>
                        <a:pt x="50" y="10"/>
                        <a:pt x="50" y="10"/>
                        <a:pt x="50" y="10"/>
                      </a:cubicBezTo>
                      <a:cubicBezTo>
                        <a:pt x="50" y="10"/>
                        <a:pt x="50" y="10"/>
                        <a:pt x="50" y="10"/>
                      </a:cubicBezTo>
                      <a:cubicBezTo>
                        <a:pt x="50" y="10"/>
                        <a:pt x="49" y="10"/>
                        <a:pt x="49" y="10"/>
                      </a:cubicBezTo>
                      <a:cubicBezTo>
                        <a:pt x="49" y="11"/>
                        <a:pt x="49" y="11"/>
                        <a:pt x="48" y="10"/>
                      </a:cubicBezTo>
                      <a:cubicBezTo>
                        <a:pt x="48" y="10"/>
                        <a:pt x="48" y="10"/>
                        <a:pt x="48" y="10"/>
                      </a:cubicBezTo>
                      <a:cubicBezTo>
                        <a:pt x="48" y="10"/>
                        <a:pt x="48" y="10"/>
                        <a:pt x="48" y="10"/>
                      </a:cubicBezTo>
                      <a:cubicBezTo>
                        <a:pt x="49" y="9"/>
                        <a:pt x="48" y="9"/>
                        <a:pt x="48" y="9"/>
                      </a:cubicBezTo>
                      <a:cubicBezTo>
                        <a:pt x="48" y="9"/>
                        <a:pt x="48" y="9"/>
                        <a:pt x="48" y="9"/>
                      </a:cubicBezTo>
                      <a:cubicBezTo>
                        <a:pt x="48" y="9"/>
                        <a:pt x="48" y="9"/>
                        <a:pt x="47" y="9"/>
                      </a:cubicBezTo>
                      <a:cubicBezTo>
                        <a:pt x="47" y="8"/>
                        <a:pt x="47" y="9"/>
                        <a:pt x="47" y="9"/>
                      </a:cubicBezTo>
                      <a:cubicBezTo>
                        <a:pt x="47" y="9"/>
                        <a:pt x="47" y="9"/>
                        <a:pt x="46" y="9"/>
                      </a:cubicBezTo>
                      <a:cubicBezTo>
                        <a:pt x="46" y="9"/>
                        <a:pt x="46" y="9"/>
                        <a:pt x="46" y="9"/>
                      </a:cubicBezTo>
                      <a:cubicBezTo>
                        <a:pt x="46" y="9"/>
                        <a:pt x="46" y="9"/>
                        <a:pt x="46" y="8"/>
                      </a:cubicBezTo>
                      <a:cubicBezTo>
                        <a:pt x="46" y="8"/>
                        <a:pt x="46" y="8"/>
                        <a:pt x="46" y="8"/>
                      </a:cubicBezTo>
                      <a:cubicBezTo>
                        <a:pt x="47" y="8"/>
                        <a:pt x="47" y="8"/>
                        <a:pt x="47" y="7"/>
                      </a:cubicBezTo>
                      <a:cubicBezTo>
                        <a:pt x="47" y="7"/>
                        <a:pt x="47" y="7"/>
                        <a:pt x="47" y="7"/>
                      </a:cubicBezTo>
                      <a:cubicBezTo>
                        <a:pt x="47" y="7"/>
                        <a:pt x="47" y="7"/>
                        <a:pt x="47" y="7"/>
                      </a:cubicBezTo>
                      <a:cubicBezTo>
                        <a:pt x="47" y="7"/>
                        <a:pt x="47" y="6"/>
                        <a:pt x="47" y="6"/>
                      </a:cubicBezTo>
                      <a:cubicBezTo>
                        <a:pt x="47" y="6"/>
                        <a:pt x="47" y="7"/>
                        <a:pt x="46" y="7"/>
                      </a:cubicBezTo>
                      <a:cubicBezTo>
                        <a:pt x="46" y="7"/>
                        <a:pt x="46" y="7"/>
                        <a:pt x="46" y="7"/>
                      </a:cubicBezTo>
                      <a:cubicBezTo>
                        <a:pt x="46" y="7"/>
                        <a:pt x="45" y="7"/>
                        <a:pt x="45" y="7"/>
                      </a:cubicBezTo>
                      <a:cubicBezTo>
                        <a:pt x="45" y="8"/>
                        <a:pt x="45" y="8"/>
                        <a:pt x="45" y="8"/>
                      </a:cubicBezTo>
                      <a:cubicBezTo>
                        <a:pt x="45" y="8"/>
                        <a:pt x="44" y="8"/>
                        <a:pt x="44" y="8"/>
                      </a:cubicBezTo>
                      <a:cubicBezTo>
                        <a:pt x="44" y="8"/>
                        <a:pt x="44" y="8"/>
                        <a:pt x="44" y="8"/>
                      </a:cubicBezTo>
                      <a:cubicBezTo>
                        <a:pt x="44" y="9"/>
                        <a:pt x="43" y="9"/>
                        <a:pt x="43" y="9"/>
                      </a:cubicBezTo>
                      <a:cubicBezTo>
                        <a:pt x="43" y="9"/>
                        <a:pt x="42" y="9"/>
                        <a:pt x="42" y="9"/>
                      </a:cubicBezTo>
                      <a:cubicBezTo>
                        <a:pt x="42" y="9"/>
                        <a:pt x="42" y="9"/>
                        <a:pt x="41" y="9"/>
                      </a:cubicBezTo>
                      <a:cubicBezTo>
                        <a:pt x="41" y="8"/>
                        <a:pt x="41" y="8"/>
                        <a:pt x="41" y="8"/>
                      </a:cubicBezTo>
                      <a:cubicBezTo>
                        <a:pt x="41" y="8"/>
                        <a:pt x="41" y="8"/>
                        <a:pt x="41" y="8"/>
                      </a:cubicBezTo>
                      <a:cubicBezTo>
                        <a:pt x="41" y="8"/>
                        <a:pt x="40" y="8"/>
                        <a:pt x="40" y="7"/>
                      </a:cubicBezTo>
                      <a:cubicBezTo>
                        <a:pt x="40" y="7"/>
                        <a:pt x="40" y="7"/>
                        <a:pt x="40" y="7"/>
                      </a:cubicBezTo>
                      <a:cubicBezTo>
                        <a:pt x="40" y="7"/>
                        <a:pt x="39" y="7"/>
                        <a:pt x="39" y="7"/>
                      </a:cubicBezTo>
                      <a:cubicBezTo>
                        <a:pt x="39" y="7"/>
                        <a:pt x="39" y="7"/>
                        <a:pt x="39" y="8"/>
                      </a:cubicBezTo>
                      <a:cubicBezTo>
                        <a:pt x="39" y="8"/>
                        <a:pt x="38" y="8"/>
                        <a:pt x="38" y="8"/>
                      </a:cubicBezTo>
                      <a:cubicBezTo>
                        <a:pt x="38" y="8"/>
                        <a:pt x="38" y="8"/>
                        <a:pt x="38" y="8"/>
                      </a:cubicBezTo>
                      <a:cubicBezTo>
                        <a:pt x="38" y="8"/>
                        <a:pt x="36" y="7"/>
                        <a:pt x="36" y="7"/>
                      </a:cubicBezTo>
                      <a:cubicBezTo>
                        <a:pt x="36" y="7"/>
                        <a:pt x="36" y="8"/>
                        <a:pt x="36" y="8"/>
                      </a:cubicBezTo>
                      <a:cubicBezTo>
                        <a:pt x="36" y="8"/>
                        <a:pt x="36" y="7"/>
                        <a:pt x="36" y="7"/>
                      </a:cubicBezTo>
                      <a:cubicBezTo>
                        <a:pt x="36" y="7"/>
                        <a:pt x="35" y="7"/>
                        <a:pt x="35" y="7"/>
                      </a:cubicBezTo>
                      <a:cubicBezTo>
                        <a:pt x="35" y="7"/>
                        <a:pt x="35" y="7"/>
                        <a:pt x="35" y="7"/>
                      </a:cubicBezTo>
                      <a:cubicBezTo>
                        <a:pt x="35" y="7"/>
                        <a:pt x="34" y="6"/>
                        <a:pt x="34" y="6"/>
                      </a:cubicBezTo>
                      <a:cubicBezTo>
                        <a:pt x="34" y="6"/>
                        <a:pt x="34" y="6"/>
                        <a:pt x="34" y="6"/>
                      </a:cubicBezTo>
                      <a:cubicBezTo>
                        <a:pt x="34" y="6"/>
                        <a:pt x="34" y="6"/>
                        <a:pt x="34" y="6"/>
                      </a:cubicBezTo>
                      <a:cubicBezTo>
                        <a:pt x="34" y="6"/>
                        <a:pt x="34" y="5"/>
                        <a:pt x="34" y="5"/>
                      </a:cubicBezTo>
                      <a:cubicBezTo>
                        <a:pt x="34" y="5"/>
                        <a:pt x="34" y="5"/>
                        <a:pt x="34" y="5"/>
                      </a:cubicBezTo>
                      <a:cubicBezTo>
                        <a:pt x="34" y="5"/>
                        <a:pt x="33" y="5"/>
                        <a:pt x="33" y="5"/>
                      </a:cubicBezTo>
                      <a:cubicBezTo>
                        <a:pt x="33" y="6"/>
                        <a:pt x="32" y="6"/>
                        <a:pt x="32" y="6"/>
                      </a:cubicBezTo>
                      <a:cubicBezTo>
                        <a:pt x="32" y="6"/>
                        <a:pt x="32" y="6"/>
                        <a:pt x="32" y="6"/>
                      </a:cubicBezTo>
                      <a:cubicBezTo>
                        <a:pt x="31" y="6"/>
                        <a:pt x="31" y="6"/>
                        <a:pt x="31" y="6"/>
                      </a:cubicBezTo>
                      <a:cubicBezTo>
                        <a:pt x="31" y="6"/>
                        <a:pt x="31" y="6"/>
                        <a:pt x="31" y="6"/>
                      </a:cubicBezTo>
                      <a:cubicBezTo>
                        <a:pt x="31" y="6"/>
                        <a:pt x="30" y="6"/>
                        <a:pt x="30" y="6"/>
                      </a:cubicBezTo>
                      <a:cubicBezTo>
                        <a:pt x="30" y="6"/>
                        <a:pt x="30" y="5"/>
                        <a:pt x="30" y="5"/>
                      </a:cubicBezTo>
                      <a:cubicBezTo>
                        <a:pt x="30" y="5"/>
                        <a:pt x="29" y="5"/>
                        <a:pt x="29" y="5"/>
                      </a:cubicBezTo>
                      <a:cubicBezTo>
                        <a:pt x="28" y="5"/>
                        <a:pt x="29" y="5"/>
                        <a:pt x="29" y="5"/>
                      </a:cubicBezTo>
                      <a:cubicBezTo>
                        <a:pt x="28" y="5"/>
                        <a:pt x="28" y="4"/>
                        <a:pt x="28" y="4"/>
                      </a:cubicBezTo>
                      <a:cubicBezTo>
                        <a:pt x="28" y="4"/>
                        <a:pt x="28" y="4"/>
                        <a:pt x="28" y="4"/>
                      </a:cubicBezTo>
                      <a:cubicBezTo>
                        <a:pt x="28" y="3"/>
                        <a:pt x="28" y="3"/>
                        <a:pt x="27" y="3"/>
                      </a:cubicBezTo>
                      <a:cubicBezTo>
                        <a:pt x="27" y="3"/>
                        <a:pt x="27" y="3"/>
                        <a:pt x="27" y="3"/>
                      </a:cubicBezTo>
                      <a:cubicBezTo>
                        <a:pt x="27" y="3"/>
                        <a:pt x="27" y="3"/>
                        <a:pt x="26" y="3"/>
                      </a:cubicBezTo>
                      <a:cubicBezTo>
                        <a:pt x="26" y="3"/>
                        <a:pt x="26" y="4"/>
                        <a:pt x="26" y="4"/>
                      </a:cubicBezTo>
                      <a:cubicBezTo>
                        <a:pt x="26" y="4"/>
                        <a:pt x="26" y="4"/>
                        <a:pt x="26" y="4"/>
                      </a:cubicBezTo>
                      <a:cubicBezTo>
                        <a:pt x="25" y="4"/>
                        <a:pt x="25" y="3"/>
                        <a:pt x="25" y="3"/>
                      </a:cubicBezTo>
                      <a:cubicBezTo>
                        <a:pt x="25" y="3"/>
                        <a:pt x="25" y="3"/>
                        <a:pt x="25" y="3"/>
                      </a:cubicBezTo>
                      <a:cubicBezTo>
                        <a:pt x="25" y="2"/>
                        <a:pt x="25" y="2"/>
                        <a:pt x="25" y="2"/>
                      </a:cubicBezTo>
                      <a:cubicBezTo>
                        <a:pt x="25" y="2"/>
                        <a:pt x="25" y="2"/>
                        <a:pt x="25" y="1"/>
                      </a:cubicBezTo>
                      <a:cubicBezTo>
                        <a:pt x="25" y="1"/>
                        <a:pt x="25" y="1"/>
                        <a:pt x="25" y="1"/>
                      </a:cubicBezTo>
                      <a:cubicBezTo>
                        <a:pt x="25" y="0"/>
                        <a:pt x="24" y="1"/>
                        <a:pt x="24" y="1"/>
                      </a:cubicBezTo>
                      <a:cubicBezTo>
                        <a:pt x="24" y="1"/>
                        <a:pt x="24" y="1"/>
                        <a:pt x="24" y="2"/>
                      </a:cubicBezTo>
                      <a:cubicBezTo>
                        <a:pt x="24" y="2"/>
                        <a:pt x="24" y="2"/>
                        <a:pt x="24" y="2"/>
                      </a:cubicBezTo>
                      <a:cubicBezTo>
                        <a:pt x="24" y="2"/>
                        <a:pt x="24" y="2"/>
                        <a:pt x="24" y="2"/>
                      </a:cubicBezTo>
                      <a:cubicBezTo>
                        <a:pt x="23" y="2"/>
                        <a:pt x="23" y="2"/>
                        <a:pt x="23" y="2"/>
                      </a:cubicBezTo>
                      <a:cubicBezTo>
                        <a:pt x="23" y="2"/>
                        <a:pt x="23" y="2"/>
                        <a:pt x="23" y="2"/>
                      </a:cubicBezTo>
                      <a:cubicBezTo>
                        <a:pt x="23" y="2"/>
                        <a:pt x="22" y="1"/>
                        <a:pt x="22" y="1"/>
                      </a:cubicBezTo>
                      <a:cubicBezTo>
                        <a:pt x="22" y="1"/>
                        <a:pt x="22" y="2"/>
                        <a:pt x="22" y="2"/>
                      </a:cubicBezTo>
                      <a:cubicBezTo>
                        <a:pt x="22" y="2"/>
                        <a:pt x="22" y="2"/>
                        <a:pt x="22" y="2"/>
                      </a:cubicBezTo>
                      <a:cubicBezTo>
                        <a:pt x="22" y="3"/>
                        <a:pt x="22" y="3"/>
                        <a:pt x="22" y="3"/>
                      </a:cubicBezTo>
                      <a:cubicBezTo>
                        <a:pt x="22" y="3"/>
                        <a:pt x="22" y="3"/>
                        <a:pt x="22" y="3"/>
                      </a:cubicBezTo>
                      <a:cubicBezTo>
                        <a:pt x="22" y="3"/>
                        <a:pt x="22" y="2"/>
                        <a:pt x="22" y="2"/>
                      </a:cubicBezTo>
                      <a:cubicBezTo>
                        <a:pt x="21" y="2"/>
                        <a:pt x="21" y="2"/>
                        <a:pt x="21" y="2"/>
                      </a:cubicBezTo>
                      <a:cubicBezTo>
                        <a:pt x="21" y="1"/>
                        <a:pt x="21" y="1"/>
                        <a:pt x="21" y="1"/>
                      </a:cubicBezTo>
                      <a:cubicBezTo>
                        <a:pt x="21" y="1"/>
                        <a:pt x="21" y="2"/>
                        <a:pt x="21" y="2"/>
                      </a:cubicBezTo>
                      <a:cubicBezTo>
                        <a:pt x="21" y="2"/>
                        <a:pt x="20" y="2"/>
                        <a:pt x="20" y="2"/>
                      </a:cubicBezTo>
                      <a:cubicBezTo>
                        <a:pt x="20" y="2"/>
                        <a:pt x="20" y="2"/>
                        <a:pt x="20" y="2"/>
                      </a:cubicBezTo>
                      <a:cubicBezTo>
                        <a:pt x="20" y="2"/>
                        <a:pt x="20" y="2"/>
                        <a:pt x="20" y="3"/>
                      </a:cubicBezTo>
                      <a:cubicBezTo>
                        <a:pt x="21" y="3"/>
                        <a:pt x="21" y="3"/>
                        <a:pt x="21" y="3"/>
                      </a:cubicBezTo>
                      <a:cubicBezTo>
                        <a:pt x="21" y="3"/>
                        <a:pt x="21" y="3"/>
                        <a:pt x="21" y="3"/>
                      </a:cubicBezTo>
                      <a:cubicBezTo>
                        <a:pt x="21" y="3"/>
                        <a:pt x="21" y="4"/>
                        <a:pt x="21" y="4"/>
                      </a:cubicBezTo>
                      <a:cubicBezTo>
                        <a:pt x="21" y="4"/>
                        <a:pt x="22" y="4"/>
                        <a:pt x="22" y="4"/>
                      </a:cubicBezTo>
                      <a:cubicBezTo>
                        <a:pt x="22" y="4"/>
                        <a:pt x="22" y="4"/>
                        <a:pt x="22" y="4"/>
                      </a:cubicBezTo>
                      <a:cubicBezTo>
                        <a:pt x="23" y="4"/>
                        <a:pt x="24" y="4"/>
                        <a:pt x="24" y="4"/>
                      </a:cubicBezTo>
                      <a:cubicBezTo>
                        <a:pt x="24" y="4"/>
                        <a:pt x="24" y="4"/>
                        <a:pt x="25" y="4"/>
                      </a:cubicBezTo>
                      <a:cubicBezTo>
                        <a:pt x="25" y="4"/>
                        <a:pt x="25" y="4"/>
                        <a:pt x="25" y="5"/>
                      </a:cubicBezTo>
                      <a:cubicBezTo>
                        <a:pt x="25" y="5"/>
                        <a:pt x="25" y="5"/>
                        <a:pt x="25" y="5"/>
                      </a:cubicBezTo>
                      <a:cubicBezTo>
                        <a:pt x="25" y="5"/>
                        <a:pt x="25" y="5"/>
                        <a:pt x="25" y="5"/>
                      </a:cubicBezTo>
                      <a:cubicBezTo>
                        <a:pt x="25" y="5"/>
                        <a:pt x="25" y="5"/>
                        <a:pt x="25" y="5"/>
                      </a:cubicBezTo>
                      <a:cubicBezTo>
                        <a:pt x="25" y="5"/>
                        <a:pt x="25" y="5"/>
                        <a:pt x="25" y="6"/>
                      </a:cubicBezTo>
                      <a:cubicBezTo>
                        <a:pt x="25" y="6"/>
                        <a:pt x="25" y="6"/>
                        <a:pt x="25" y="6"/>
                      </a:cubicBezTo>
                      <a:cubicBezTo>
                        <a:pt x="25" y="6"/>
                        <a:pt x="25" y="6"/>
                        <a:pt x="26" y="6"/>
                      </a:cubicBezTo>
                      <a:cubicBezTo>
                        <a:pt x="26" y="7"/>
                        <a:pt x="26" y="8"/>
                        <a:pt x="26" y="8"/>
                      </a:cubicBezTo>
                      <a:cubicBezTo>
                        <a:pt x="26" y="8"/>
                        <a:pt x="25" y="8"/>
                        <a:pt x="25" y="8"/>
                      </a:cubicBezTo>
                      <a:cubicBezTo>
                        <a:pt x="25" y="8"/>
                        <a:pt x="24" y="8"/>
                        <a:pt x="24" y="8"/>
                      </a:cubicBezTo>
                      <a:cubicBezTo>
                        <a:pt x="24" y="8"/>
                        <a:pt x="24" y="9"/>
                        <a:pt x="24" y="9"/>
                      </a:cubicBezTo>
                      <a:cubicBezTo>
                        <a:pt x="24" y="9"/>
                        <a:pt x="24" y="9"/>
                        <a:pt x="24" y="9"/>
                      </a:cubicBezTo>
                      <a:cubicBezTo>
                        <a:pt x="24" y="9"/>
                        <a:pt x="23" y="9"/>
                        <a:pt x="23" y="9"/>
                      </a:cubicBezTo>
                      <a:cubicBezTo>
                        <a:pt x="23" y="9"/>
                        <a:pt x="23" y="9"/>
                        <a:pt x="23" y="9"/>
                      </a:cubicBezTo>
                      <a:cubicBezTo>
                        <a:pt x="23" y="9"/>
                        <a:pt x="22" y="9"/>
                        <a:pt x="22" y="9"/>
                      </a:cubicBezTo>
                      <a:cubicBezTo>
                        <a:pt x="22" y="9"/>
                        <a:pt x="22" y="9"/>
                        <a:pt x="22" y="9"/>
                      </a:cubicBezTo>
                      <a:cubicBezTo>
                        <a:pt x="21" y="9"/>
                        <a:pt x="21" y="9"/>
                        <a:pt x="21" y="9"/>
                      </a:cubicBezTo>
                      <a:cubicBezTo>
                        <a:pt x="21" y="9"/>
                        <a:pt x="21" y="9"/>
                        <a:pt x="21" y="9"/>
                      </a:cubicBezTo>
                      <a:cubicBezTo>
                        <a:pt x="21" y="9"/>
                        <a:pt x="20" y="9"/>
                        <a:pt x="20" y="9"/>
                      </a:cubicBezTo>
                      <a:cubicBezTo>
                        <a:pt x="20" y="9"/>
                        <a:pt x="20" y="9"/>
                        <a:pt x="20" y="9"/>
                      </a:cubicBezTo>
                      <a:cubicBezTo>
                        <a:pt x="20" y="9"/>
                        <a:pt x="18" y="9"/>
                        <a:pt x="18" y="9"/>
                      </a:cubicBezTo>
                      <a:cubicBezTo>
                        <a:pt x="18" y="9"/>
                        <a:pt x="17" y="9"/>
                        <a:pt x="17" y="9"/>
                      </a:cubicBezTo>
                      <a:cubicBezTo>
                        <a:pt x="17" y="9"/>
                        <a:pt x="17" y="9"/>
                        <a:pt x="17" y="9"/>
                      </a:cubicBezTo>
                      <a:cubicBezTo>
                        <a:pt x="17" y="9"/>
                        <a:pt x="16" y="8"/>
                        <a:pt x="16" y="8"/>
                      </a:cubicBezTo>
                      <a:cubicBezTo>
                        <a:pt x="16" y="8"/>
                        <a:pt x="16" y="8"/>
                        <a:pt x="16" y="8"/>
                      </a:cubicBezTo>
                      <a:cubicBezTo>
                        <a:pt x="16" y="8"/>
                        <a:pt x="16" y="8"/>
                        <a:pt x="16" y="8"/>
                      </a:cubicBezTo>
                      <a:cubicBezTo>
                        <a:pt x="16" y="9"/>
                        <a:pt x="16" y="9"/>
                        <a:pt x="16" y="9"/>
                      </a:cubicBezTo>
                      <a:cubicBezTo>
                        <a:pt x="15" y="9"/>
                        <a:pt x="15" y="8"/>
                        <a:pt x="15" y="8"/>
                      </a:cubicBezTo>
                      <a:cubicBezTo>
                        <a:pt x="15" y="8"/>
                        <a:pt x="15" y="8"/>
                        <a:pt x="15" y="9"/>
                      </a:cubicBezTo>
                      <a:cubicBezTo>
                        <a:pt x="15" y="9"/>
                        <a:pt x="14" y="9"/>
                        <a:pt x="14" y="10"/>
                      </a:cubicBezTo>
                      <a:cubicBezTo>
                        <a:pt x="14" y="10"/>
                        <a:pt x="14" y="10"/>
                        <a:pt x="14" y="10"/>
                      </a:cubicBezTo>
                      <a:cubicBezTo>
                        <a:pt x="14" y="10"/>
                        <a:pt x="13" y="10"/>
                        <a:pt x="13" y="10"/>
                      </a:cubicBezTo>
                      <a:cubicBezTo>
                        <a:pt x="13" y="10"/>
                        <a:pt x="13" y="10"/>
                        <a:pt x="13" y="11"/>
                      </a:cubicBezTo>
                      <a:cubicBezTo>
                        <a:pt x="14" y="11"/>
                        <a:pt x="14" y="11"/>
                        <a:pt x="14" y="11"/>
                      </a:cubicBezTo>
                      <a:cubicBezTo>
                        <a:pt x="14" y="11"/>
                        <a:pt x="14" y="11"/>
                        <a:pt x="13" y="11"/>
                      </a:cubicBezTo>
                      <a:cubicBezTo>
                        <a:pt x="13" y="11"/>
                        <a:pt x="13" y="11"/>
                        <a:pt x="13" y="11"/>
                      </a:cubicBezTo>
                      <a:cubicBezTo>
                        <a:pt x="13" y="11"/>
                        <a:pt x="13" y="11"/>
                        <a:pt x="13" y="11"/>
                      </a:cubicBezTo>
                      <a:cubicBezTo>
                        <a:pt x="12" y="11"/>
                        <a:pt x="13" y="10"/>
                        <a:pt x="13" y="10"/>
                      </a:cubicBezTo>
                      <a:cubicBezTo>
                        <a:pt x="12" y="10"/>
                        <a:pt x="12" y="10"/>
                        <a:pt x="12" y="10"/>
                      </a:cubicBezTo>
                      <a:cubicBezTo>
                        <a:pt x="12" y="10"/>
                        <a:pt x="12" y="10"/>
                        <a:pt x="11" y="10"/>
                      </a:cubicBezTo>
                      <a:cubicBezTo>
                        <a:pt x="11" y="11"/>
                        <a:pt x="11" y="11"/>
                        <a:pt x="11" y="12"/>
                      </a:cubicBezTo>
                      <a:cubicBezTo>
                        <a:pt x="11" y="12"/>
                        <a:pt x="11" y="12"/>
                        <a:pt x="11" y="12"/>
                      </a:cubicBezTo>
                      <a:cubicBezTo>
                        <a:pt x="11" y="12"/>
                        <a:pt x="10" y="12"/>
                        <a:pt x="10" y="12"/>
                      </a:cubicBezTo>
                      <a:cubicBezTo>
                        <a:pt x="10" y="12"/>
                        <a:pt x="10" y="12"/>
                        <a:pt x="10" y="12"/>
                      </a:cubicBezTo>
                      <a:cubicBezTo>
                        <a:pt x="10" y="12"/>
                        <a:pt x="10" y="13"/>
                        <a:pt x="10" y="13"/>
                      </a:cubicBezTo>
                      <a:cubicBezTo>
                        <a:pt x="10" y="13"/>
                        <a:pt x="10" y="13"/>
                        <a:pt x="9" y="14"/>
                      </a:cubicBezTo>
                      <a:cubicBezTo>
                        <a:pt x="9" y="14"/>
                        <a:pt x="9" y="14"/>
                        <a:pt x="9" y="14"/>
                      </a:cubicBezTo>
                      <a:cubicBezTo>
                        <a:pt x="9" y="14"/>
                        <a:pt x="8" y="14"/>
                        <a:pt x="8" y="14"/>
                      </a:cubicBezTo>
                      <a:cubicBezTo>
                        <a:pt x="8" y="14"/>
                        <a:pt x="8" y="15"/>
                        <a:pt x="8" y="15"/>
                      </a:cubicBezTo>
                      <a:cubicBezTo>
                        <a:pt x="8" y="15"/>
                        <a:pt x="9" y="16"/>
                        <a:pt x="9" y="16"/>
                      </a:cubicBezTo>
                      <a:cubicBezTo>
                        <a:pt x="9" y="16"/>
                        <a:pt x="9" y="16"/>
                        <a:pt x="9" y="17"/>
                      </a:cubicBezTo>
                      <a:cubicBezTo>
                        <a:pt x="9" y="17"/>
                        <a:pt x="9" y="17"/>
                        <a:pt x="8" y="17"/>
                      </a:cubicBezTo>
                      <a:cubicBezTo>
                        <a:pt x="8" y="17"/>
                        <a:pt x="8" y="18"/>
                        <a:pt x="8" y="18"/>
                      </a:cubicBezTo>
                      <a:cubicBezTo>
                        <a:pt x="8" y="18"/>
                        <a:pt x="7" y="18"/>
                        <a:pt x="6" y="18"/>
                      </a:cubicBezTo>
                      <a:cubicBezTo>
                        <a:pt x="6" y="18"/>
                        <a:pt x="6" y="19"/>
                        <a:pt x="6" y="19"/>
                      </a:cubicBezTo>
                      <a:cubicBezTo>
                        <a:pt x="6" y="19"/>
                        <a:pt x="6" y="19"/>
                        <a:pt x="6" y="19"/>
                      </a:cubicBezTo>
                      <a:cubicBezTo>
                        <a:pt x="6" y="20"/>
                        <a:pt x="6" y="20"/>
                        <a:pt x="6" y="20"/>
                      </a:cubicBezTo>
                      <a:cubicBezTo>
                        <a:pt x="6" y="20"/>
                        <a:pt x="6" y="21"/>
                        <a:pt x="6" y="21"/>
                      </a:cubicBezTo>
                      <a:cubicBezTo>
                        <a:pt x="6" y="21"/>
                        <a:pt x="5" y="22"/>
                        <a:pt x="5" y="22"/>
                      </a:cubicBezTo>
                      <a:cubicBezTo>
                        <a:pt x="4" y="22"/>
                        <a:pt x="4" y="22"/>
                        <a:pt x="4" y="22"/>
                      </a:cubicBezTo>
                      <a:cubicBezTo>
                        <a:pt x="4" y="22"/>
                        <a:pt x="3" y="23"/>
                        <a:pt x="3" y="23"/>
                      </a:cubicBezTo>
                      <a:cubicBezTo>
                        <a:pt x="3" y="23"/>
                        <a:pt x="3" y="24"/>
                        <a:pt x="3" y="24"/>
                      </a:cubicBezTo>
                      <a:cubicBezTo>
                        <a:pt x="3" y="24"/>
                        <a:pt x="3" y="24"/>
                        <a:pt x="3" y="25"/>
                      </a:cubicBezTo>
                      <a:cubicBezTo>
                        <a:pt x="4" y="25"/>
                        <a:pt x="4" y="25"/>
                        <a:pt x="4" y="25"/>
                      </a:cubicBezTo>
                      <a:cubicBezTo>
                        <a:pt x="5" y="25"/>
                        <a:pt x="5" y="26"/>
                        <a:pt x="5" y="26"/>
                      </a:cubicBezTo>
                      <a:cubicBezTo>
                        <a:pt x="5" y="26"/>
                        <a:pt x="5" y="26"/>
                        <a:pt x="5" y="26"/>
                      </a:cubicBezTo>
                      <a:cubicBezTo>
                        <a:pt x="5" y="26"/>
                        <a:pt x="5" y="27"/>
                        <a:pt x="5" y="27"/>
                      </a:cubicBezTo>
                      <a:cubicBezTo>
                        <a:pt x="5" y="27"/>
                        <a:pt x="5" y="27"/>
                        <a:pt x="5" y="27"/>
                      </a:cubicBezTo>
                      <a:cubicBezTo>
                        <a:pt x="5" y="27"/>
                        <a:pt x="5" y="27"/>
                        <a:pt x="5" y="27"/>
                      </a:cubicBezTo>
                      <a:cubicBezTo>
                        <a:pt x="5" y="28"/>
                        <a:pt x="5" y="28"/>
                        <a:pt x="5" y="28"/>
                      </a:cubicBezTo>
                      <a:cubicBezTo>
                        <a:pt x="5" y="29"/>
                        <a:pt x="5" y="29"/>
                        <a:pt x="5" y="29"/>
                      </a:cubicBezTo>
                      <a:cubicBezTo>
                        <a:pt x="5" y="30"/>
                        <a:pt x="5" y="30"/>
                        <a:pt x="5" y="30"/>
                      </a:cubicBezTo>
                      <a:cubicBezTo>
                        <a:pt x="5" y="30"/>
                        <a:pt x="5" y="29"/>
                        <a:pt x="4" y="29"/>
                      </a:cubicBezTo>
                      <a:cubicBezTo>
                        <a:pt x="4" y="29"/>
                        <a:pt x="4" y="28"/>
                        <a:pt x="4" y="28"/>
                      </a:cubicBezTo>
                      <a:cubicBezTo>
                        <a:pt x="4" y="28"/>
                        <a:pt x="4" y="28"/>
                        <a:pt x="3" y="28"/>
                      </a:cubicBezTo>
                      <a:cubicBezTo>
                        <a:pt x="3" y="28"/>
                        <a:pt x="3" y="27"/>
                        <a:pt x="3" y="27"/>
                      </a:cubicBezTo>
                      <a:cubicBezTo>
                        <a:pt x="2" y="27"/>
                        <a:pt x="2" y="27"/>
                        <a:pt x="2" y="27"/>
                      </a:cubicBezTo>
                      <a:cubicBezTo>
                        <a:pt x="2" y="27"/>
                        <a:pt x="2" y="28"/>
                        <a:pt x="2" y="28"/>
                      </a:cubicBezTo>
                      <a:cubicBezTo>
                        <a:pt x="2" y="28"/>
                        <a:pt x="2" y="29"/>
                        <a:pt x="2" y="29"/>
                      </a:cubicBezTo>
                      <a:cubicBezTo>
                        <a:pt x="2" y="29"/>
                        <a:pt x="2" y="30"/>
                        <a:pt x="2" y="30"/>
                      </a:cubicBezTo>
                      <a:cubicBezTo>
                        <a:pt x="2" y="30"/>
                        <a:pt x="2" y="30"/>
                        <a:pt x="2" y="30"/>
                      </a:cubicBezTo>
                      <a:cubicBezTo>
                        <a:pt x="2" y="29"/>
                        <a:pt x="2" y="29"/>
                        <a:pt x="2" y="29"/>
                      </a:cubicBezTo>
                      <a:cubicBezTo>
                        <a:pt x="2" y="29"/>
                        <a:pt x="2" y="28"/>
                        <a:pt x="2" y="28"/>
                      </a:cubicBezTo>
                      <a:cubicBezTo>
                        <a:pt x="2" y="28"/>
                        <a:pt x="1" y="28"/>
                        <a:pt x="1" y="28"/>
                      </a:cubicBezTo>
                      <a:cubicBezTo>
                        <a:pt x="1" y="28"/>
                        <a:pt x="1" y="27"/>
                        <a:pt x="1" y="27"/>
                      </a:cubicBezTo>
                      <a:cubicBezTo>
                        <a:pt x="1" y="27"/>
                        <a:pt x="1" y="27"/>
                        <a:pt x="0" y="27"/>
                      </a:cubicBezTo>
                      <a:cubicBezTo>
                        <a:pt x="0" y="108"/>
                        <a:pt x="0" y="108"/>
                        <a:pt x="0" y="108"/>
                      </a:cubicBezTo>
                      <a:cubicBezTo>
                        <a:pt x="62" y="108"/>
                        <a:pt x="62" y="108"/>
                        <a:pt x="62" y="108"/>
                      </a:cubicBezTo>
                      <a:cubicBezTo>
                        <a:pt x="62" y="39"/>
                        <a:pt x="62" y="39"/>
                        <a:pt x="62" y="39"/>
                      </a:cubicBezTo>
                      <a:cubicBezTo>
                        <a:pt x="62" y="39"/>
                        <a:pt x="62" y="39"/>
                        <a:pt x="62" y="3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3" name="Freeform 744">
                  <a:extLst>
                    <a:ext uri="{FF2B5EF4-FFF2-40B4-BE49-F238E27FC236}">
                      <a16:creationId xmlns:a16="http://schemas.microsoft.com/office/drawing/2014/main" id="{339A6A45-0BE4-64DB-29C2-6BB68D2FB038}"/>
                    </a:ext>
                  </a:extLst>
                </p:cNvPr>
                <p:cNvSpPr>
                  <a:spLocks/>
                </p:cNvSpPr>
                <p:nvPr/>
              </p:nvSpPr>
              <p:spPr bwMode="auto">
                <a:xfrm>
                  <a:off x="9571038" y="5967413"/>
                  <a:ext cx="17462" cy="23813"/>
                </a:xfrm>
                <a:custGeom>
                  <a:avLst/>
                  <a:gdLst>
                    <a:gd name="T0" fmla="*/ 1 w 4"/>
                    <a:gd name="T1" fmla="*/ 5 h 6"/>
                    <a:gd name="T2" fmla="*/ 1 w 4"/>
                    <a:gd name="T3" fmla="*/ 4 h 6"/>
                    <a:gd name="T4" fmla="*/ 0 w 4"/>
                    <a:gd name="T5" fmla="*/ 4 h 6"/>
                    <a:gd name="T6" fmla="*/ 0 w 4"/>
                    <a:gd name="T7" fmla="*/ 4 h 6"/>
                    <a:gd name="T8" fmla="*/ 0 w 4"/>
                    <a:gd name="T9" fmla="*/ 3 h 6"/>
                    <a:gd name="T10" fmla="*/ 0 w 4"/>
                    <a:gd name="T11" fmla="*/ 2 h 6"/>
                    <a:gd name="T12" fmla="*/ 0 w 4"/>
                    <a:gd name="T13" fmla="*/ 2 h 6"/>
                    <a:gd name="T14" fmla="*/ 0 w 4"/>
                    <a:gd name="T15" fmla="*/ 1 h 6"/>
                    <a:gd name="T16" fmla="*/ 0 w 4"/>
                    <a:gd name="T17" fmla="*/ 1 h 6"/>
                    <a:gd name="T18" fmla="*/ 1 w 4"/>
                    <a:gd name="T19" fmla="*/ 1 h 6"/>
                    <a:gd name="T20" fmla="*/ 1 w 4"/>
                    <a:gd name="T21" fmla="*/ 0 h 6"/>
                    <a:gd name="T22" fmla="*/ 2 w 4"/>
                    <a:gd name="T23" fmla="*/ 0 h 6"/>
                    <a:gd name="T24" fmla="*/ 2 w 4"/>
                    <a:gd name="T25" fmla="*/ 0 h 6"/>
                    <a:gd name="T26" fmla="*/ 3 w 4"/>
                    <a:gd name="T27" fmla="*/ 0 h 6"/>
                    <a:gd name="T28" fmla="*/ 4 w 4"/>
                    <a:gd name="T29" fmla="*/ 1 h 6"/>
                    <a:gd name="T30" fmla="*/ 4 w 4"/>
                    <a:gd name="T31" fmla="*/ 1 h 6"/>
                    <a:gd name="T32" fmla="*/ 4 w 4"/>
                    <a:gd name="T33" fmla="*/ 1 h 6"/>
                    <a:gd name="T34" fmla="*/ 3 w 4"/>
                    <a:gd name="T35" fmla="*/ 1 h 6"/>
                    <a:gd name="T36" fmla="*/ 2 w 4"/>
                    <a:gd name="T37" fmla="*/ 2 h 6"/>
                    <a:gd name="T38" fmla="*/ 2 w 4"/>
                    <a:gd name="T39" fmla="*/ 3 h 6"/>
                    <a:gd name="T40" fmla="*/ 2 w 4"/>
                    <a:gd name="T41" fmla="*/ 4 h 6"/>
                    <a:gd name="T42" fmla="*/ 2 w 4"/>
                    <a:gd name="T43" fmla="*/ 6 h 6"/>
                    <a:gd name="T44" fmla="*/ 1 w 4"/>
                    <a:gd name="T4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6">
                      <a:moveTo>
                        <a:pt x="1" y="5"/>
                      </a:moveTo>
                      <a:cubicBezTo>
                        <a:pt x="1" y="5"/>
                        <a:pt x="1" y="4"/>
                        <a:pt x="1" y="4"/>
                      </a:cubicBezTo>
                      <a:cubicBezTo>
                        <a:pt x="0" y="4"/>
                        <a:pt x="0" y="4"/>
                        <a:pt x="0" y="4"/>
                      </a:cubicBezTo>
                      <a:cubicBezTo>
                        <a:pt x="0" y="4"/>
                        <a:pt x="0" y="4"/>
                        <a:pt x="0" y="4"/>
                      </a:cubicBezTo>
                      <a:cubicBezTo>
                        <a:pt x="0" y="4"/>
                        <a:pt x="0" y="3"/>
                        <a:pt x="0" y="3"/>
                      </a:cubicBezTo>
                      <a:cubicBezTo>
                        <a:pt x="0" y="3"/>
                        <a:pt x="0" y="2"/>
                        <a:pt x="0" y="2"/>
                      </a:cubicBezTo>
                      <a:cubicBezTo>
                        <a:pt x="0" y="2"/>
                        <a:pt x="0" y="2"/>
                        <a:pt x="0" y="2"/>
                      </a:cubicBezTo>
                      <a:cubicBezTo>
                        <a:pt x="0" y="1"/>
                        <a:pt x="0" y="1"/>
                        <a:pt x="0" y="1"/>
                      </a:cubicBezTo>
                      <a:cubicBezTo>
                        <a:pt x="0" y="1"/>
                        <a:pt x="0" y="1"/>
                        <a:pt x="0" y="1"/>
                      </a:cubicBezTo>
                      <a:cubicBezTo>
                        <a:pt x="0" y="1"/>
                        <a:pt x="0" y="1"/>
                        <a:pt x="1" y="1"/>
                      </a:cubicBezTo>
                      <a:cubicBezTo>
                        <a:pt x="1" y="1"/>
                        <a:pt x="1" y="1"/>
                        <a:pt x="1" y="0"/>
                      </a:cubicBezTo>
                      <a:cubicBezTo>
                        <a:pt x="1" y="0"/>
                        <a:pt x="2" y="0"/>
                        <a:pt x="2" y="0"/>
                      </a:cubicBezTo>
                      <a:cubicBezTo>
                        <a:pt x="2" y="0"/>
                        <a:pt x="2" y="0"/>
                        <a:pt x="2" y="0"/>
                      </a:cubicBezTo>
                      <a:cubicBezTo>
                        <a:pt x="3" y="0"/>
                        <a:pt x="3" y="0"/>
                        <a:pt x="3" y="0"/>
                      </a:cubicBezTo>
                      <a:cubicBezTo>
                        <a:pt x="3" y="0"/>
                        <a:pt x="3" y="0"/>
                        <a:pt x="4" y="1"/>
                      </a:cubicBezTo>
                      <a:cubicBezTo>
                        <a:pt x="4" y="1"/>
                        <a:pt x="4" y="1"/>
                        <a:pt x="4" y="1"/>
                      </a:cubicBezTo>
                      <a:cubicBezTo>
                        <a:pt x="4" y="1"/>
                        <a:pt x="4" y="1"/>
                        <a:pt x="4" y="1"/>
                      </a:cubicBezTo>
                      <a:cubicBezTo>
                        <a:pt x="3" y="1"/>
                        <a:pt x="3" y="1"/>
                        <a:pt x="3" y="1"/>
                      </a:cubicBezTo>
                      <a:cubicBezTo>
                        <a:pt x="3" y="2"/>
                        <a:pt x="3" y="2"/>
                        <a:pt x="2" y="2"/>
                      </a:cubicBezTo>
                      <a:cubicBezTo>
                        <a:pt x="2" y="2"/>
                        <a:pt x="2" y="3"/>
                        <a:pt x="2" y="3"/>
                      </a:cubicBezTo>
                      <a:cubicBezTo>
                        <a:pt x="2" y="3"/>
                        <a:pt x="2" y="4"/>
                        <a:pt x="2" y="4"/>
                      </a:cubicBezTo>
                      <a:cubicBezTo>
                        <a:pt x="2" y="5"/>
                        <a:pt x="2" y="5"/>
                        <a:pt x="2" y="6"/>
                      </a:cubicBezTo>
                      <a:cubicBezTo>
                        <a:pt x="1" y="5"/>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02" name="North_America">
              <a:extLst>
                <a:ext uri="{FF2B5EF4-FFF2-40B4-BE49-F238E27FC236}">
                  <a16:creationId xmlns:a16="http://schemas.microsoft.com/office/drawing/2014/main" id="{0D50AD52-13F8-F936-BF30-99864A9C3DAF}"/>
                </a:ext>
              </a:extLst>
            </p:cNvPr>
            <p:cNvGrpSpPr/>
            <p:nvPr/>
          </p:nvGrpSpPr>
          <p:grpSpPr>
            <a:xfrm>
              <a:off x="2754313" y="4500563"/>
              <a:ext cx="1668463" cy="2357437"/>
              <a:chOff x="2754313" y="4500563"/>
              <a:chExt cx="1668463" cy="2357437"/>
            </a:xfrm>
            <a:grpFill/>
          </p:grpSpPr>
          <p:sp>
            <p:nvSpPr>
              <p:cNvPr id="312" name="Freeform 690">
                <a:extLst>
                  <a:ext uri="{FF2B5EF4-FFF2-40B4-BE49-F238E27FC236}">
                    <a16:creationId xmlns:a16="http://schemas.microsoft.com/office/drawing/2014/main" id="{00EDEC84-50FD-E118-0738-2476CBEB1290}"/>
                  </a:ext>
                </a:extLst>
              </p:cNvPr>
              <p:cNvSpPr>
                <a:spLocks noEditPoints="1"/>
              </p:cNvSpPr>
              <p:nvPr/>
            </p:nvSpPr>
            <p:spPr bwMode="auto">
              <a:xfrm>
                <a:off x="2754313" y="4849813"/>
                <a:ext cx="69850" cy="58738"/>
              </a:xfrm>
              <a:custGeom>
                <a:avLst/>
                <a:gdLst>
                  <a:gd name="T0" fmla="*/ 6 w 17"/>
                  <a:gd name="T1" fmla="*/ 9 h 14"/>
                  <a:gd name="T2" fmla="*/ 6 w 17"/>
                  <a:gd name="T3" fmla="*/ 9 h 14"/>
                  <a:gd name="T4" fmla="*/ 5 w 17"/>
                  <a:gd name="T5" fmla="*/ 8 h 14"/>
                  <a:gd name="T6" fmla="*/ 5 w 17"/>
                  <a:gd name="T7" fmla="*/ 7 h 14"/>
                  <a:gd name="T8" fmla="*/ 4 w 17"/>
                  <a:gd name="T9" fmla="*/ 6 h 14"/>
                  <a:gd name="T10" fmla="*/ 3 w 17"/>
                  <a:gd name="T11" fmla="*/ 5 h 14"/>
                  <a:gd name="T12" fmla="*/ 3 w 17"/>
                  <a:gd name="T13" fmla="*/ 4 h 14"/>
                  <a:gd name="T14" fmla="*/ 2 w 17"/>
                  <a:gd name="T15" fmla="*/ 3 h 14"/>
                  <a:gd name="T16" fmla="*/ 1 w 17"/>
                  <a:gd name="T17" fmla="*/ 4 h 14"/>
                  <a:gd name="T18" fmla="*/ 1 w 17"/>
                  <a:gd name="T19" fmla="*/ 5 h 14"/>
                  <a:gd name="T20" fmla="*/ 2 w 17"/>
                  <a:gd name="T21" fmla="*/ 5 h 14"/>
                  <a:gd name="T22" fmla="*/ 2 w 17"/>
                  <a:gd name="T23" fmla="*/ 6 h 14"/>
                  <a:gd name="T24" fmla="*/ 3 w 17"/>
                  <a:gd name="T25" fmla="*/ 7 h 14"/>
                  <a:gd name="T26" fmla="*/ 4 w 17"/>
                  <a:gd name="T27" fmla="*/ 8 h 14"/>
                  <a:gd name="T28" fmla="*/ 4 w 17"/>
                  <a:gd name="T29" fmla="*/ 9 h 14"/>
                  <a:gd name="T30" fmla="*/ 3 w 17"/>
                  <a:gd name="T31" fmla="*/ 9 h 14"/>
                  <a:gd name="T32" fmla="*/ 2 w 17"/>
                  <a:gd name="T33" fmla="*/ 10 h 14"/>
                  <a:gd name="T34" fmla="*/ 1 w 17"/>
                  <a:gd name="T35" fmla="*/ 11 h 14"/>
                  <a:gd name="T36" fmla="*/ 2 w 17"/>
                  <a:gd name="T37" fmla="*/ 11 h 14"/>
                  <a:gd name="T38" fmla="*/ 4 w 17"/>
                  <a:gd name="T39" fmla="*/ 12 h 14"/>
                  <a:gd name="T40" fmla="*/ 4 w 17"/>
                  <a:gd name="T41" fmla="*/ 11 h 14"/>
                  <a:gd name="T42" fmla="*/ 5 w 17"/>
                  <a:gd name="T43" fmla="*/ 11 h 14"/>
                  <a:gd name="T44" fmla="*/ 6 w 17"/>
                  <a:gd name="T45" fmla="*/ 10 h 14"/>
                  <a:gd name="T46" fmla="*/ 1 w 17"/>
                  <a:gd name="T47" fmla="*/ 8 h 14"/>
                  <a:gd name="T48" fmla="*/ 0 w 17"/>
                  <a:gd name="T49" fmla="*/ 6 h 14"/>
                  <a:gd name="T50" fmla="*/ 2 w 17"/>
                  <a:gd name="T51" fmla="*/ 6 h 14"/>
                  <a:gd name="T52" fmla="*/ 2 w 17"/>
                  <a:gd name="T53" fmla="*/ 8 h 14"/>
                  <a:gd name="T54" fmla="*/ 8 w 17"/>
                  <a:gd name="T55" fmla="*/ 7 h 14"/>
                  <a:gd name="T56" fmla="*/ 6 w 17"/>
                  <a:gd name="T57" fmla="*/ 7 h 14"/>
                  <a:gd name="T58" fmla="*/ 6 w 17"/>
                  <a:gd name="T59" fmla="*/ 6 h 14"/>
                  <a:gd name="T60" fmla="*/ 6 w 17"/>
                  <a:gd name="T61" fmla="*/ 5 h 14"/>
                  <a:gd name="T62" fmla="*/ 8 w 17"/>
                  <a:gd name="T63" fmla="*/ 6 h 14"/>
                  <a:gd name="T64" fmla="*/ 17 w 17"/>
                  <a:gd name="T65" fmla="*/ 10 h 14"/>
                  <a:gd name="T66" fmla="*/ 16 w 17"/>
                  <a:gd name="T67" fmla="*/ 11 h 14"/>
                  <a:gd name="T68" fmla="*/ 15 w 17"/>
                  <a:gd name="T69" fmla="*/ 11 h 14"/>
                  <a:gd name="T70" fmla="*/ 15 w 17"/>
                  <a:gd name="T71" fmla="*/ 10 h 14"/>
                  <a:gd name="T72" fmla="*/ 16 w 17"/>
                  <a:gd name="T73" fmla="*/ 9 h 14"/>
                  <a:gd name="T74" fmla="*/ 17 w 17"/>
                  <a:gd name="T75" fmla="*/ 9 h 14"/>
                  <a:gd name="T76" fmla="*/ 11 w 17"/>
                  <a:gd name="T77" fmla="*/ 9 h 14"/>
                  <a:gd name="T78" fmla="*/ 10 w 17"/>
                  <a:gd name="T79" fmla="*/ 9 h 14"/>
                  <a:gd name="T80" fmla="*/ 10 w 17"/>
                  <a:gd name="T81" fmla="*/ 10 h 14"/>
                  <a:gd name="T82" fmla="*/ 9 w 17"/>
                  <a:gd name="T83" fmla="*/ 10 h 14"/>
                  <a:gd name="T84" fmla="*/ 8 w 17"/>
                  <a:gd name="T85" fmla="*/ 9 h 14"/>
                  <a:gd name="T86" fmla="*/ 8 w 17"/>
                  <a:gd name="T87" fmla="*/ 9 h 14"/>
                  <a:gd name="T88" fmla="*/ 8 w 17"/>
                  <a:gd name="T89" fmla="*/ 8 h 14"/>
                  <a:gd name="T90" fmla="*/ 9 w 17"/>
                  <a:gd name="T91" fmla="*/ 8 h 14"/>
                  <a:gd name="T92" fmla="*/ 10 w 17"/>
                  <a:gd name="T93" fmla="*/ 7 h 14"/>
                  <a:gd name="T94" fmla="*/ 10 w 17"/>
                  <a:gd name="T95" fmla="*/ 8 h 14"/>
                  <a:gd name="T96" fmla="*/ 9 w 17"/>
                  <a:gd name="T97" fmla="*/ 13 h 14"/>
                  <a:gd name="T98" fmla="*/ 8 w 17"/>
                  <a:gd name="T99" fmla="*/ 13 h 14"/>
                  <a:gd name="T100" fmla="*/ 9 w 17"/>
                  <a:gd name="T101" fmla="*/ 13 h 14"/>
                  <a:gd name="T102" fmla="*/ 9 w 17"/>
                  <a:gd name="T103" fmla="*/ 2 h 14"/>
                  <a:gd name="T104" fmla="*/ 14 w 17"/>
                  <a:gd name="T105" fmla="*/ 14 h 14"/>
                  <a:gd name="T106" fmla="*/ 14 w 17"/>
                  <a:gd name="T107" fmla="*/ 14 h 14"/>
                  <a:gd name="T108" fmla="*/ 7 w 17"/>
                  <a:gd name="T109" fmla="*/ 0 h 14"/>
                  <a:gd name="T110" fmla="*/ 12 w 17"/>
                  <a:gd name="T111" fmla="*/ 10 h 14"/>
                  <a:gd name="T112" fmla="*/ 12 w 17"/>
                  <a:gd name="T113" fmla="*/ 10 h 14"/>
                  <a:gd name="T114" fmla="*/ 7 w 17"/>
                  <a:gd name="T115" fmla="*/ 7 h 14"/>
                  <a:gd name="T116" fmla="*/ 10 w 17"/>
                  <a:gd name="T117" fmla="*/ 7 h 14"/>
                  <a:gd name="T118" fmla="*/ 14 w 17"/>
                  <a:gd name="T1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 h="14">
                    <a:moveTo>
                      <a:pt x="6" y="10"/>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4" y="7"/>
                    </a:cubicBezTo>
                    <a:cubicBezTo>
                      <a:pt x="4" y="7"/>
                      <a:pt x="4" y="7"/>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4" y="6"/>
                      <a:pt x="3" y="6"/>
                    </a:cubicBezTo>
                    <a:cubicBezTo>
                      <a:pt x="3" y="6"/>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4"/>
                    </a:cubicBezTo>
                    <a:cubicBezTo>
                      <a:pt x="1" y="4"/>
                      <a:pt x="1"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7"/>
                      <a:pt x="2" y="7"/>
                      <a:pt x="2"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8"/>
                      <a:pt x="3" y="8"/>
                      <a:pt x="3" y="8"/>
                    </a:cubicBezTo>
                    <a:cubicBezTo>
                      <a:pt x="3" y="8"/>
                      <a:pt x="3" y="8"/>
                      <a:pt x="3"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1" y="10"/>
                      <a:pt x="1" y="10"/>
                    </a:cubicBezTo>
                    <a:cubicBezTo>
                      <a:pt x="1" y="10"/>
                      <a:pt x="1" y="10"/>
                      <a:pt x="1" y="10"/>
                    </a:cubicBezTo>
                    <a:cubicBezTo>
                      <a:pt x="1" y="10"/>
                      <a:pt x="1" y="10"/>
                      <a:pt x="1" y="10"/>
                    </a:cubicBezTo>
                    <a:cubicBezTo>
                      <a:pt x="1" y="10"/>
                      <a:pt x="1" y="10"/>
                      <a:pt x="1" y="10"/>
                    </a:cubicBezTo>
                    <a:cubicBezTo>
                      <a:pt x="1" y="10"/>
                      <a:pt x="1" y="11"/>
                      <a:pt x="1" y="11"/>
                    </a:cubicBezTo>
                    <a:cubicBezTo>
                      <a:pt x="1" y="11"/>
                      <a:pt x="1" y="11"/>
                      <a:pt x="1" y="11"/>
                    </a:cubicBezTo>
                    <a:cubicBezTo>
                      <a:pt x="1" y="11"/>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3" y="11"/>
                      <a:pt x="3" y="11"/>
                    </a:cubicBezTo>
                    <a:cubicBezTo>
                      <a:pt x="3" y="11"/>
                      <a:pt x="3" y="11"/>
                      <a:pt x="3" y="11"/>
                    </a:cubicBezTo>
                    <a:cubicBezTo>
                      <a:pt x="3" y="11"/>
                      <a:pt x="3" y="11"/>
                      <a:pt x="3" y="11"/>
                    </a:cubicBezTo>
                    <a:cubicBezTo>
                      <a:pt x="3" y="11"/>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0" y="8"/>
                      <a:pt x="0" y="7"/>
                    </a:cubicBezTo>
                    <a:cubicBezTo>
                      <a:pt x="0" y="7"/>
                      <a:pt x="0" y="7"/>
                      <a:pt x="0" y="7"/>
                    </a:cubicBezTo>
                    <a:cubicBezTo>
                      <a:pt x="0" y="7"/>
                      <a:pt x="0" y="7"/>
                      <a:pt x="0" y="7"/>
                    </a:cubicBezTo>
                    <a:cubicBezTo>
                      <a:pt x="0" y="7"/>
                      <a:pt x="0" y="7"/>
                      <a:pt x="0" y="7"/>
                    </a:cubicBezTo>
                    <a:cubicBezTo>
                      <a:pt x="0" y="7"/>
                      <a:pt x="0" y="7"/>
                      <a:pt x="0" y="7"/>
                    </a:cubicBezTo>
                    <a:cubicBezTo>
                      <a:pt x="0" y="7"/>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8"/>
                    </a:cubicBezTo>
                    <a:cubicBezTo>
                      <a:pt x="2" y="8"/>
                      <a:pt x="2" y="8"/>
                      <a:pt x="2" y="8"/>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7"/>
                    </a:cubicBezTo>
                    <a:close/>
                    <a:moveTo>
                      <a:pt x="17" y="9"/>
                    </a:moveTo>
                    <a:cubicBezTo>
                      <a:pt x="17" y="9"/>
                      <a:pt x="17" y="9"/>
                      <a:pt x="17" y="9"/>
                    </a:cubicBezTo>
                    <a:cubicBezTo>
                      <a:pt x="17" y="9"/>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6" y="10"/>
                    </a:cubicBezTo>
                    <a:cubicBezTo>
                      <a:pt x="16" y="10"/>
                      <a:pt x="16" y="10"/>
                      <a:pt x="16" y="10"/>
                    </a:cubicBezTo>
                    <a:cubicBezTo>
                      <a:pt x="16" y="10"/>
                      <a:pt x="16" y="10"/>
                      <a:pt x="16" y="10"/>
                    </a:cubicBezTo>
                    <a:cubicBezTo>
                      <a:pt x="16" y="10"/>
                      <a:pt x="16" y="10"/>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lose/>
                    <a:moveTo>
                      <a:pt x="11" y="8"/>
                    </a:moveTo>
                    <a:cubicBezTo>
                      <a:pt x="11" y="8"/>
                      <a:pt x="11" y="8"/>
                      <a:pt x="11" y="8"/>
                    </a:cubicBezTo>
                    <a:cubicBezTo>
                      <a:pt x="11" y="8"/>
                      <a:pt x="11" y="8"/>
                      <a:pt x="11" y="8"/>
                    </a:cubicBezTo>
                    <a:cubicBezTo>
                      <a:pt x="11" y="8"/>
                      <a:pt x="11" y="8"/>
                      <a:pt x="11" y="8"/>
                    </a:cubicBezTo>
                    <a:cubicBezTo>
                      <a:pt x="11" y="8"/>
                      <a:pt x="10" y="9"/>
                      <a:pt x="11" y="9"/>
                    </a:cubicBezTo>
                    <a:cubicBezTo>
                      <a:pt x="11" y="9"/>
                      <a:pt x="11" y="9"/>
                      <a:pt x="11" y="9"/>
                    </a:cubicBezTo>
                    <a:cubicBezTo>
                      <a:pt x="11" y="9"/>
                      <a:pt x="11" y="9"/>
                      <a:pt x="11" y="9"/>
                    </a:cubicBezTo>
                    <a:cubicBezTo>
                      <a:pt x="11" y="9"/>
                      <a:pt x="11" y="9"/>
                      <a:pt x="11" y="9"/>
                    </a:cubicBezTo>
                    <a:cubicBezTo>
                      <a:pt x="10" y="9"/>
                      <a:pt x="10" y="9"/>
                      <a:pt x="10" y="9"/>
                    </a:cubicBezTo>
                    <a:cubicBezTo>
                      <a:pt x="11" y="9"/>
                      <a:pt x="11"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10"/>
                    </a:cubicBezTo>
                    <a:cubicBezTo>
                      <a:pt x="10" y="10"/>
                      <a:pt x="10" y="10"/>
                      <a:pt x="10" y="10"/>
                    </a:cubicBezTo>
                    <a:cubicBezTo>
                      <a:pt x="10" y="9"/>
                      <a:pt x="10" y="10"/>
                      <a:pt x="10" y="9"/>
                    </a:cubicBezTo>
                    <a:cubicBezTo>
                      <a:pt x="10" y="9"/>
                      <a:pt x="10" y="9"/>
                      <a:pt x="10" y="9"/>
                    </a:cubicBezTo>
                    <a:cubicBezTo>
                      <a:pt x="10" y="9"/>
                      <a:pt x="10" y="9"/>
                      <a:pt x="10" y="9"/>
                    </a:cubicBezTo>
                    <a:cubicBezTo>
                      <a:pt x="10" y="9"/>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9"/>
                      <a:pt x="9" y="9"/>
                      <a:pt x="9" y="9"/>
                    </a:cubicBezTo>
                    <a:cubicBezTo>
                      <a:pt x="9" y="9"/>
                      <a:pt x="9"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1" y="8"/>
                    </a:cubicBezTo>
                    <a:cubicBezTo>
                      <a:pt x="11" y="8"/>
                      <a:pt x="11" y="8"/>
                      <a:pt x="11" y="8"/>
                    </a:cubicBezTo>
                    <a:close/>
                    <a:moveTo>
                      <a:pt x="9" y="13"/>
                    </a:moveTo>
                    <a:cubicBezTo>
                      <a:pt x="9" y="13"/>
                      <a:pt x="9" y="13"/>
                      <a:pt x="9" y="13"/>
                    </a:cubicBezTo>
                    <a:cubicBezTo>
                      <a:pt x="9" y="13"/>
                      <a:pt x="9" y="14"/>
                      <a:pt x="9" y="14"/>
                    </a:cubicBezTo>
                    <a:cubicBezTo>
                      <a:pt x="9" y="14"/>
                      <a:pt x="9" y="14"/>
                      <a:pt x="9" y="14"/>
                    </a:cubicBezTo>
                    <a:cubicBezTo>
                      <a:pt x="9" y="14"/>
                      <a:pt x="9" y="14"/>
                      <a:pt x="9" y="14"/>
                    </a:cubicBezTo>
                    <a:cubicBezTo>
                      <a:pt x="9" y="14"/>
                      <a:pt x="9" y="14"/>
                      <a:pt x="9" y="14"/>
                    </a:cubicBezTo>
                    <a:cubicBezTo>
                      <a:pt x="8" y="14"/>
                      <a:pt x="8" y="14"/>
                      <a:pt x="8" y="14"/>
                    </a:cubicBezTo>
                    <a:cubicBezTo>
                      <a:pt x="8" y="14"/>
                      <a:pt x="8" y="14"/>
                      <a:pt x="8" y="14"/>
                    </a:cubicBezTo>
                    <a:cubicBezTo>
                      <a:pt x="8" y="14"/>
                      <a:pt x="8" y="14"/>
                      <a:pt x="8" y="14"/>
                    </a:cubicBezTo>
                    <a:cubicBezTo>
                      <a:pt x="8" y="14"/>
                      <a:pt x="8" y="14"/>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lose/>
                    <a:moveTo>
                      <a:pt x="8" y="2"/>
                    </a:moveTo>
                    <a:cubicBezTo>
                      <a:pt x="8" y="2"/>
                      <a:pt x="8" y="2"/>
                      <a:pt x="8" y="2"/>
                    </a:cubicBezTo>
                    <a:cubicBezTo>
                      <a:pt x="8" y="2"/>
                      <a:pt x="8"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8" y="2"/>
                    </a:cubicBezTo>
                    <a:cubicBezTo>
                      <a:pt x="8" y="2"/>
                      <a:pt x="8" y="2"/>
                      <a:pt x="8" y="2"/>
                    </a:cubicBezTo>
                    <a:cubicBezTo>
                      <a:pt x="8" y="2"/>
                      <a:pt x="8" y="2"/>
                      <a:pt x="8" y="2"/>
                    </a:cubicBezTo>
                    <a:cubicBezTo>
                      <a:pt x="8" y="2"/>
                      <a:pt x="8" y="2"/>
                      <a:pt x="8" y="2"/>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lose/>
                    <a:moveTo>
                      <a:pt x="6" y="0"/>
                    </a:moveTo>
                    <a:cubicBezTo>
                      <a:pt x="6" y="0"/>
                      <a:pt x="6" y="0"/>
                      <a:pt x="6" y="0"/>
                    </a:cubicBezTo>
                    <a:cubicBezTo>
                      <a:pt x="6" y="0"/>
                      <a:pt x="6" y="0"/>
                      <a:pt x="6" y="0"/>
                    </a:cubicBezTo>
                    <a:cubicBezTo>
                      <a:pt x="6" y="0"/>
                      <a:pt x="6" y="0"/>
                      <a:pt x="6" y="0"/>
                    </a:cubicBezTo>
                    <a:cubicBezTo>
                      <a:pt x="6" y="0"/>
                      <a:pt x="6" y="0"/>
                      <a:pt x="6" y="0"/>
                    </a:cubicBezTo>
                    <a:cubicBezTo>
                      <a:pt x="6" y="0"/>
                      <a:pt x="7" y="0"/>
                      <a:pt x="7" y="0"/>
                    </a:cubicBezTo>
                    <a:cubicBezTo>
                      <a:pt x="7" y="0"/>
                      <a:pt x="7" y="0"/>
                      <a:pt x="7" y="0"/>
                    </a:cubicBezTo>
                    <a:cubicBezTo>
                      <a:pt x="7" y="0"/>
                      <a:pt x="7" y="0"/>
                      <a:pt x="7" y="0"/>
                    </a:cubicBezTo>
                    <a:cubicBezTo>
                      <a:pt x="7" y="0"/>
                      <a:pt x="7" y="0"/>
                      <a:pt x="7" y="0"/>
                    </a:cubicBezTo>
                    <a:cubicBezTo>
                      <a:pt x="7" y="0"/>
                      <a:pt x="7" y="0"/>
                      <a:pt x="7" y="0"/>
                    </a:cubicBezTo>
                    <a:cubicBezTo>
                      <a:pt x="7" y="1"/>
                      <a:pt x="6" y="0"/>
                      <a:pt x="6" y="0"/>
                    </a:cubicBezTo>
                    <a:cubicBezTo>
                      <a:pt x="6" y="0"/>
                      <a:pt x="6" y="0"/>
                      <a:pt x="6" y="0"/>
                    </a:cubicBezTo>
                    <a:cubicBezTo>
                      <a:pt x="6" y="0"/>
                      <a:pt x="6" y="0"/>
                      <a:pt x="6" y="0"/>
                    </a:cubicBezTo>
                    <a:cubicBezTo>
                      <a:pt x="6" y="0"/>
                      <a:pt x="6" y="0"/>
                      <a:pt x="6" y="0"/>
                    </a:cubicBezTo>
                    <a:close/>
                    <a:moveTo>
                      <a:pt x="12" y="10"/>
                    </a:moveTo>
                    <a:cubicBezTo>
                      <a:pt x="12" y="10"/>
                      <a:pt x="12" y="10"/>
                      <a:pt x="12"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2" y="10"/>
                      <a:pt x="12" y="10"/>
                    </a:cubicBezTo>
                    <a:cubicBezTo>
                      <a:pt x="12" y="10"/>
                      <a:pt x="12" y="10"/>
                      <a:pt x="12" y="10"/>
                    </a:cubicBezTo>
                    <a:close/>
                    <a:moveTo>
                      <a:pt x="7" y="9"/>
                    </a:move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9"/>
                    </a:cubicBezTo>
                    <a:cubicBezTo>
                      <a:pt x="7" y="9"/>
                      <a:pt x="7" y="9"/>
                      <a:pt x="7" y="9"/>
                    </a:cubicBezTo>
                    <a:close/>
                    <a:moveTo>
                      <a:pt x="7" y="7"/>
                    </a:move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lose/>
                    <a:moveTo>
                      <a:pt x="10" y="7"/>
                    </a:moveTo>
                    <a:cubicBezTo>
                      <a:pt x="10" y="7"/>
                      <a:pt x="10" y="7"/>
                      <a:pt x="10" y="7"/>
                    </a:cubicBezTo>
                    <a:cubicBezTo>
                      <a:pt x="10" y="7"/>
                      <a:pt x="10" y="7"/>
                      <a:pt x="10" y="7"/>
                    </a:cubicBezTo>
                    <a:cubicBezTo>
                      <a:pt x="10" y="7"/>
                      <a:pt x="10" y="7"/>
                      <a:pt x="10" y="7"/>
                    </a:cubicBezTo>
                    <a:cubicBezTo>
                      <a:pt x="10" y="7"/>
                      <a:pt x="10" y="7"/>
                      <a:pt x="10" y="7"/>
                    </a:cubicBezTo>
                    <a:close/>
                    <a:moveTo>
                      <a:pt x="8" y="6"/>
                    </a:moveTo>
                    <a:cubicBezTo>
                      <a:pt x="8" y="6"/>
                      <a:pt x="8" y="6"/>
                      <a:pt x="8" y="6"/>
                    </a:cubicBezTo>
                    <a:cubicBezTo>
                      <a:pt x="8" y="6"/>
                      <a:pt x="8" y="6"/>
                      <a:pt x="8" y="6"/>
                    </a:cubicBezTo>
                    <a:cubicBezTo>
                      <a:pt x="8" y="6"/>
                      <a:pt x="8" y="6"/>
                      <a:pt x="8" y="6"/>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2" y="2"/>
                    </a:move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3" name="Freeform 679">
                <a:extLst>
                  <a:ext uri="{FF2B5EF4-FFF2-40B4-BE49-F238E27FC236}">
                    <a16:creationId xmlns:a16="http://schemas.microsoft.com/office/drawing/2014/main" id="{87B6BDE2-6B56-5E65-DBDE-B29CEA35318D}"/>
                  </a:ext>
                </a:extLst>
              </p:cNvPr>
              <p:cNvSpPr>
                <a:spLocks noEditPoints="1"/>
              </p:cNvSpPr>
              <p:nvPr/>
            </p:nvSpPr>
            <p:spPr bwMode="auto">
              <a:xfrm>
                <a:off x="3290888" y="4505325"/>
                <a:ext cx="395287" cy="341313"/>
              </a:xfrm>
              <a:custGeom>
                <a:avLst/>
                <a:gdLst>
                  <a:gd name="T0" fmla="*/ 44 w 95"/>
                  <a:gd name="T1" fmla="*/ 74 h 82"/>
                  <a:gd name="T2" fmla="*/ 42 w 95"/>
                  <a:gd name="T3" fmla="*/ 68 h 82"/>
                  <a:gd name="T4" fmla="*/ 42 w 95"/>
                  <a:gd name="T5" fmla="*/ 64 h 82"/>
                  <a:gd name="T6" fmla="*/ 39 w 95"/>
                  <a:gd name="T7" fmla="*/ 57 h 82"/>
                  <a:gd name="T8" fmla="*/ 39 w 95"/>
                  <a:gd name="T9" fmla="*/ 51 h 82"/>
                  <a:gd name="T10" fmla="*/ 42 w 95"/>
                  <a:gd name="T11" fmla="*/ 45 h 82"/>
                  <a:gd name="T12" fmla="*/ 39 w 95"/>
                  <a:gd name="T13" fmla="*/ 42 h 82"/>
                  <a:gd name="T14" fmla="*/ 30 w 95"/>
                  <a:gd name="T15" fmla="*/ 43 h 82"/>
                  <a:gd name="T16" fmla="*/ 22 w 95"/>
                  <a:gd name="T17" fmla="*/ 38 h 82"/>
                  <a:gd name="T18" fmla="*/ 16 w 95"/>
                  <a:gd name="T19" fmla="*/ 37 h 82"/>
                  <a:gd name="T20" fmla="*/ 9 w 95"/>
                  <a:gd name="T21" fmla="*/ 37 h 82"/>
                  <a:gd name="T22" fmla="*/ 7 w 95"/>
                  <a:gd name="T23" fmla="*/ 29 h 82"/>
                  <a:gd name="T24" fmla="*/ 2 w 95"/>
                  <a:gd name="T25" fmla="*/ 21 h 82"/>
                  <a:gd name="T26" fmla="*/ 3 w 95"/>
                  <a:gd name="T27" fmla="*/ 15 h 82"/>
                  <a:gd name="T28" fmla="*/ 9 w 95"/>
                  <a:gd name="T29" fmla="*/ 5 h 82"/>
                  <a:gd name="T30" fmla="*/ 10 w 95"/>
                  <a:gd name="T31" fmla="*/ 7 h 82"/>
                  <a:gd name="T32" fmla="*/ 10 w 95"/>
                  <a:gd name="T33" fmla="*/ 16 h 82"/>
                  <a:gd name="T34" fmla="*/ 13 w 95"/>
                  <a:gd name="T35" fmla="*/ 23 h 82"/>
                  <a:gd name="T36" fmla="*/ 16 w 95"/>
                  <a:gd name="T37" fmla="*/ 17 h 82"/>
                  <a:gd name="T38" fmla="*/ 13 w 95"/>
                  <a:gd name="T39" fmla="*/ 10 h 82"/>
                  <a:gd name="T40" fmla="*/ 22 w 95"/>
                  <a:gd name="T41" fmla="*/ 7 h 82"/>
                  <a:gd name="T42" fmla="*/ 25 w 95"/>
                  <a:gd name="T43" fmla="*/ 4 h 82"/>
                  <a:gd name="T44" fmla="*/ 23 w 95"/>
                  <a:gd name="T45" fmla="*/ 1 h 82"/>
                  <a:gd name="T46" fmla="*/ 29 w 95"/>
                  <a:gd name="T47" fmla="*/ 5 h 82"/>
                  <a:gd name="T48" fmla="*/ 36 w 95"/>
                  <a:gd name="T49" fmla="*/ 10 h 82"/>
                  <a:gd name="T50" fmla="*/ 42 w 95"/>
                  <a:gd name="T51" fmla="*/ 12 h 82"/>
                  <a:gd name="T52" fmla="*/ 51 w 95"/>
                  <a:gd name="T53" fmla="*/ 12 h 82"/>
                  <a:gd name="T54" fmla="*/ 60 w 95"/>
                  <a:gd name="T55" fmla="*/ 16 h 82"/>
                  <a:gd name="T56" fmla="*/ 67 w 95"/>
                  <a:gd name="T57" fmla="*/ 12 h 82"/>
                  <a:gd name="T58" fmla="*/ 67 w 95"/>
                  <a:gd name="T59" fmla="*/ 12 h 82"/>
                  <a:gd name="T60" fmla="*/ 75 w 95"/>
                  <a:gd name="T61" fmla="*/ 11 h 82"/>
                  <a:gd name="T62" fmla="*/ 79 w 95"/>
                  <a:gd name="T63" fmla="*/ 12 h 82"/>
                  <a:gd name="T64" fmla="*/ 74 w 95"/>
                  <a:gd name="T65" fmla="*/ 12 h 82"/>
                  <a:gd name="T66" fmla="*/ 77 w 95"/>
                  <a:gd name="T67" fmla="*/ 17 h 82"/>
                  <a:gd name="T68" fmla="*/ 83 w 95"/>
                  <a:gd name="T69" fmla="*/ 18 h 82"/>
                  <a:gd name="T70" fmla="*/ 87 w 95"/>
                  <a:gd name="T71" fmla="*/ 22 h 82"/>
                  <a:gd name="T72" fmla="*/ 89 w 95"/>
                  <a:gd name="T73" fmla="*/ 25 h 82"/>
                  <a:gd name="T74" fmla="*/ 91 w 95"/>
                  <a:gd name="T75" fmla="*/ 26 h 82"/>
                  <a:gd name="T76" fmla="*/ 94 w 95"/>
                  <a:gd name="T77" fmla="*/ 29 h 82"/>
                  <a:gd name="T78" fmla="*/ 90 w 95"/>
                  <a:gd name="T79" fmla="*/ 35 h 82"/>
                  <a:gd name="T80" fmla="*/ 91 w 95"/>
                  <a:gd name="T81" fmla="*/ 38 h 82"/>
                  <a:gd name="T82" fmla="*/ 86 w 95"/>
                  <a:gd name="T83" fmla="*/ 40 h 82"/>
                  <a:gd name="T84" fmla="*/ 90 w 95"/>
                  <a:gd name="T85" fmla="*/ 52 h 82"/>
                  <a:gd name="T86" fmla="*/ 87 w 95"/>
                  <a:gd name="T87" fmla="*/ 55 h 82"/>
                  <a:gd name="T88" fmla="*/ 83 w 95"/>
                  <a:gd name="T89" fmla="*/ 57 h 82"/>
                  <a:gd name="T90" fmla="*/ 78 w 95"/>
                  <a:gd name="T91" fmla="*/ 58 h 82"/>
                  <a:gd name="T92" fmla="*/ 75 w 95"/>
                  <a:gd name="T93" fmla="*/ 61 h 82"/>
                  <a:gd name="T94" fmla="*/ 72 w 95"/>
                  <a:gd name="T95" fmla="*/ 60 h 82"/>
                  <a:gd name="T96" fmla="*/ 68 w 95"/>
                  <a:gd name="T97" fmla="*/ 59 h 82"/>
                  <a:gd name="T98" fmla="*/ 61 w 95"/>
                  <a:gd name="T99" fmla="*/ 57 h 82"/>
                  <a:gd name="T100" fmla="*/ 65 w 95"/>
                  <a:gd name="T101" fmla="*/ 62 h 82"/>
                  <a:gd name="T102" fmla="*/ 66 w 95"/>
                  <a:gd name="T103" fmla="*/ 69 h 82"/>
                  <a:gd name="T104" fmla="*/ 69 w 95"/>
                  <a:gd name="T105" fmla="*/ 72 h 82"/>
                  <a:gd name="T106" fmla="*/ 63 w 95"/>
                  <a:gd name="T107" fmla="*/ 77 h 82"/>
                  <a:gd name="T108" fmla="*/ 60 w 95"/>
                  <a:gd name="T109" fmla="*/ 78 h 82"/>
                  <a:gd name="T110" fmla="*/ 57 w 95"/>
                  <a:gd name="T111" fmla="*/ 80 h 82"/>
                  <a:gd name="T112" fmla="*/ 55 w 95"/>
                  <a:gd name="T113" fmla="*/ 80 h 82"/>
                  <a:gd name="T114" fmla="*/ 67 w 95"/>
                  <a:gd name="T115" fmla="*/ 9 h 82"/>
                  <a:gd name="T116" fmla="*/ 66 w 95"/>
                  <a:gd name="T117" fmla="*/ 8 h 82"/>
                  <a:gd name="T118" fmla="*/ 64 w 95"/>
                  <a:gd name="T119" fmla="*/ 9 h 82"/>
                  <a:gd name="T120" fmla="*/ 64 w 95"/>
                  <a:gd name="T121" fmla="*/ 9 h 82"/>
                  <a:gd name="T122" fmla="*/ 66 w 95"/>
                  <a:gd name="T123" fmla="*/ 10 h 82"/>
                  <a:gd name="T124" fmla="*/ 67 w 95"/>
                  <a:gd name="T125"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 h="82">
                    <a:moveTo>
                      <a:pt x="49" y="82"/>
                    </a:moveTo>
                    <a:cubicBezTo>
                      <a:pt x="46" y="78"/>
                      <a:pt x="46" y="78"/>
                      <a:pt x="46" y="78"/>
                    </a:cubicBezTo>
                    <a:cubicBezTo>
                      <a:pt x="46" y="78"/>
                      <a:pt x="46" y="77"/>
                      <a:pt x="46" y="77"/>
                    </a:cubicBezTo>
                    <a:cubicBezTo>
                      <a:pt x="46" y="77"/>
                      <a:pt x="46" y="77"/>
                      <a:pt x="46" y="77"/>
                    </a:cubicBezTo>
                    <a:cubicBezTo>
                      <a:pt x="45" y="76"/>
                      <a:pt x="45" y="75"/>
                      <a:pt x="45" y="75"/>
                    </a:cubicBezTo>
                    <a:cubicBezTo>
                      <a:pt x="45" y="75"/>
                      <a:pt x="44" y="74"/>
                      <a:pt x="44" y="74"/>
                    </a:cubicBezTo>
                    <a:cubicBezTo>
                      <a:pt x="44" y="74"/>
                      <a:pt x="44" y="73"/>
                      <a:pt x="44" y="73"/>
                    </a:cubicBezTo>
                    <a:cubicBezTo>
                      <a:pt x="44" y="73"/>
                      <a:pt x="44" y="72"/>
                      <a:pt x="44" y="72"/>
                    </a:cubicBezTo>
                    <a:cubicBezTo>
                      <a:pt x="44" y="72"/>
                      <a:pt x="44" y="72"/>
                      <a:pt x="43" y="72"/>
                    </a:cubicBezTo>
                    <a:cubicBezTo>
                      <a:pt x="43" y="71"/>
                      <a:pt x="43" y="71"/>
                      <a:pt x="43" y="71"/>
                    </a:cubicBezTo>
                    <a:cubicBezTo>
                      <a:pt x="43" y="70"/>
                      <a:pt x="43" y="70"/>
                      <a:pt x="43" y="70"/>
                    </a:cubicBezTo>
                    <a:cubicBezTo>
                      <a:pt x="43" y="70"/>
                      <a:pt x="42" y="69"/>
                      <a:pt x="42" y="68"/>
                    </a:cubicBezTo>
                    <a:cubicBezTo>
                      <a:pt x="42" y="68"/>
                      <a:pt x="41" y="68"/>
                      <a:pt x="41" y="68"/>
                    </a:cubicBezTo>
                    <a:cubicBezTo>
                      <a:pt x="41" y="68"/>
                      <a:pt x="40" y="67"/>
                      <a:pt x="40" y="67"/>
                    </a:cubicBezTo>
                    <a:cubicBezTo>
                      <a:pt x="40" y="67"/>
                      <a:pt x="39" y="67"/>
                      <a:pt x="39" y="67"/>
                    </a:cubicBezTo>
                    <a:cubicBezTo>
                      <a:pt x="39" y="67"/>
                      <a:pt x="39" y="67"/>
                      <a:pt x="39" y="67"/>
                    </a:cubicBezTo>
                    <a:cubicBezTo>
                      <a:pt x="41" y="65"/>
                      <a:pt x="41" y="65"/>
                      <a:pt x="41" y="65"/>
                    </a:cubicBezTo>
                    <a:cubicBezTo>
                      <a:pt x="42" y="64"/>
                      <a:pt x="42" y="64"/>
                      <a:pt x="42" y="64"/>
                    </a:cubicBezTo>
                    <a:cubicBezTo>
                      <a:pt x="42" y="64"/>
                      <a:pt x="43" y="63"/>
                      <a:pt x="43" y="63"/>
                    </a:cubicBezTo>
                    <a:cubicBezTo>
                      <a:pt x="43" y="63"/>
                      <a:pt x="42" y="62"/>
                      <a:pt x="42" y="62"/>
                    </a:cubicBezTo>
                    <a:cubicBezTo>
                      <a:pt x="42" y="62"/>
                      <a:pt x="41" y="60"/>
                      <a:pt x="41" y="60"/>
                    </a:cubicBezTo>
                    <a:cubicBezTo>
                      <a:pt x="40" y="60"/>
                      <a:pt x="40" y="60"/>
                      <a:pt x="40" y="60"/>
                    </a:cubicBezTo>
                    <a:cubicBezTo>
                      <a:pt x="40" y="60"/>
                      <a:pt x="40" y="59"/>
                      <a:pt x="40" y="59"/>
                    </a:cubicBezTo>
                    <a:cubicBezTo>
                      <a:pt x="40" y="59"/>
                      <a:pt x="39" y="57"/>
                      <a:pt x="39" y="57"/>
                    </a:cubicBezTo>
                    <a:cubicBezTo>
                      <a:pt x="39" y="56"/>
                      <a:pt x="39" y="56"/>
                      <a:pt x="39" y="56"/>
                    </a:cubicBezTo>
                    <a:cubicBezTo>
                      <a:pt x="39" y="56"/>
                      <a:pt x="39" y="55"/>
                      <a:pt x="39" y="55"/>
                    </a:cubicBezTo>
                    <a:cubicBezTo>
                      <a:pt x="39" y="55"/>
                      <a:pt x="39" y="55"/>
                      <a:pt x="39" y="54"/>
                    </a:cubicBezTo>
                    <a:cubicBezTo>
                      <a:pt x="39" y="54"/>
                      <a:pt x="39" y="54"/>
                      <a:pt x="39" y="54"/>
                    </a:cubicBezTo>
                    <a:cubicBezTo>
                      <a:pt x="39" y="51"/>
                      <a:pt x="39" y="51"/>
                      <a:pt x="39" y="51"/>
                    </a:cubicBezTo>
                    <a:cubicBezTo>
                      <a:pt x="39" y="51"/>
                      <a:pt x="39" y="51"/>
                      <a:pt x="39" y="51"/>
                    </a:cubicBezTo>
                    <a:cubicBezTo>
                      <a:pt x="39" y="51"/>
                      <a:pt x="39" y="50"/>
                      <a:pt x="39" y="50"/>
                    </a:cubicBezTo>
                    <a:cubicBezTo>
                      <a:pt x="39" y="50"/>
                      <a:pt x="39" y="50"/>
                      <a:pt x="39" y="50"/>
                    </a:cubicBezTo>
                    <a:cubicBezTo>
                      <a:pt x="39" y="49"/>
                      <a:pt x="39" y="49"/>
                      <a:pt x="40" y="49"/>
                    </a:cubicBezTo>
                    <a:cubicBezTo>
                      <a:pt x="40" y="49"/>
                      <a:pt x="40" y="48"/>
                      <a:pt x="40" y="48"/>
                    </a:cubicBezTo>
                    <a:cubicBezTo>
                      <a:pt x="40" y="46"/>
                      <a:pt x="40" y="46"/>
                      <a:pt x="40" y="46"/>
                    </a:cubicBezTo>
                    <a:cubicBezTo>
                      <a:pt x="42" y="45"/>
                      <a:pt x="42" y="45"/>
                      <a:pt x="42" y="45"/>
                    </a:cubicBezTo>
                    <a:cubicBezTo>
                      <a:pt x="42" y="44"/>
                      <a:pt x="42" y="44"/>
                      <a:pt x="42" y="44"/>
                    </a:cubicBezTo>
                    <a:cubicBezTo>
                      <a:pt x="41" y="43"/>
                      <a:pt x="41" y="43"/>
                      <a:pt x="41" y="43"/>
                    </a:cubicBezTo>
                    <a:cubicBezTo>
                      <a:pt x="41" y="43"/>
                      <a:pt x="41" y="43"/>
                      <a:pt x="41" y="43"/>
                    </a:cubicBezTo>
                    <a:cubicBezTo>
                      <a:pt x="41" y="43"/>
                      <a:pt x="40" y="43"/>
                      <a:pt x="40" y="43"/>
                    </a:cubicBezTo>
                    <a:cubicBezTo>
                      <a:pt x="40" y="43"/>
                      <a:pt x="40" y="42"/>
                      <a:pt x="40" y="42"/>
                    </a:cubicBezTo>
                    <a:cubicBezTo>
                      <a:pt x="39" y="42"/>
                      <a:pt x="39" y="42"/>
                      <a:pt x="39" y="42"/>
                    </a:cubicBezTo>
                    <a:cubicBezTo>
                      <a:pt x="39" y="42"/>
                      <a:pt x="38" y="43"/>
                      <a:pt x="38" y="43"/>
                    </a:cubicBezTo>
                    <a:cubicBezTo>
                      <a:pt x="37" y="43"/>
                      <a:pt x="35" y="44"/>
                      <a:pt x="35" y="44"/>
                    </a:cubicBezTo>
                    <a:cubicBezTo>
                      <a:pt x="35" y="44"/>
                      <a:pt x="34" y="44"/>
                      <a:pt x="34" y="44"/>
                    </a:cubicBezTo>
                    <a:cubicBezTo>
                      <a:pt x="34" y="44"/>
                      <a:pt x="32" y="44"/>
                      <a:pt x="32" y="44"/>
                    </a:cubicBezTo>
                    <a:cubicBezTo>
                      <a:pt x="32" y="44"/>
                      <a:pt x="31" y="43"/>
                      <a:pt x="31" y="43"/>
                    </a:cubicBezTo>
                    <a:cubicBezTo>
                      <a:pt x="30" y="43"/>
                      <a:pt x="30" y="43"/>
                      <a:pt x="30" y="43"/>
                    </a:cubicBezTo>
                    <a:cubicBezTo>
                      <a:pt x="30" y="43"/>
                      <a:pt x="29" y="44"/>
                      <a:pt x="29" y="44"/>
                    </a:cubicBezTo>
                    <a:cubicBezTo>
                      <a:pt x="29" y="44"/>
                      <a:pt x="29" y="44"/>
                      <a:pt x="29" y="44"/>
                    </a:cubicBezTo>
                    <a:cubicBezTo>
                      <a:pt x="28" y="44"/>
                      <a:pt x="28" y="44"/>
                      <a:pt x="28" y="44"/>
                    </a:cubicBezTo>
                    <a:cubicBezTo>
                      <a:pt x="28" y="44"/>
                      <a:pt x="28" y="44"/>
                      <a:pt x="28" y="44"/>
                    </a:cubicBezTo>
                    <a:cubicBezTo>
                      <a:pt x="23" y="38"/>
                      <a:pt x="23" y="38"/>
                      <a:pt x="23" y="38"/>
                    </a:cubicBezTo>
                    <a:cubicBezTo>
                      <a:pt x="22" y="38"/>
                      <a:pt x="22" y="38"/>
                      <a:pt x="22" y="38"/>
                    </a:cubicBezTo>
                    <a:cubicBezTo>
                      <a:pt x="21" y="38"/>
                      <a:pt x="21" y="38"/>
                      <a:pt x="21" y="38"/>
                    </a:cubicBezTo>
                    <a:cubicBezTo>
                      <a:pt x="19" y="37"/>
                      <a:pt x="19" y="37"/>
                      <a:pt x="19" y="37"/>
                    </a:cubicBezTo>
                    <a:cubicBezTo>
                      <a:pt x="18" y="37"/>
                      <a:pt x="18" y="37"/>
                      <a:pt x="18" y="37"/>
                    </a:cubicBezTo>
                    <a:cubicBezTo>
                      <a:pt x="17" y="38"/>
                      <a:pt x="17" y="38"/>
                      <a:pt x="17" y="38"/>
                    </a:cubicBezTo>
                    <a:cubicBezTo>
                      <a:pt x="16" y="38"/>
                      <a:pt x="16" y="38"/>
                      <a:pt x="16" y="38"/>
                    </a:cubicBezTo>
                    <a:cubicBezTo>
                      <a:pt x="16" y="37"/>
                      <a:pt x="16" y="37"/>
                      <a:pt x="16" y="37"/>
                    </a:cubicBezTo>
                    <a:cubicBezTo>
                      <a:pt x="12" y="37"/>
                      <a:pt x="12" y="37"/>
                      <a:pt x="12" y="37"/>
                    </a:cubicBezTo>
                    <a:cubicBezTo>
                      <a:pt x="12" y="37"/>
                      <a:pt x="11" y="37"/>
                      <a:pt x="11" y="37"/>
                    </a:cubicBezTo>
                    <a:cubicBezTo>
                      <a:pt x="11" y="37"/>
                      <a:pt x="11" y="37"/>
                      <a:pt x="11" y="37"/>
                    </a:cubicBezTo>
                    <a:cubicBezTo>
                      <a:pt x="10" y="37"/>
                      <a:pt x="10" y="37"/>
                      <a:pt x="10" y="37"/>
                    </a:cubicBezTo>
                    <a:cubicBezTo>
                      <a:pt x="9" y="37"/>
                      <a:pt x="9" y="37"/>
                      <a:pt x="9" y="37"/>
                    </a:cubicBezTo>
                    <a:cubicBezTo>
                      <a:pt x="9" y="37"/>
                      <a:pt x="9" y="37"/>
                      <a:pt x="9" y="37"/>
                    </a:cubicBezTo>
                    <a:cubicBezTo>
                      <a:pt x="9" y="36"/>
                      <a:pt x="8" y="35"/>
                      <a:pt x="8" y="35"/>
                    </a:cubicBezTo>
                    <a:cubicBezTo>
                      <a:pt x="7" y="35"/>
                      <a:pt x="7" y="35"/>
                      <a:pt x="7" y="35"/>
                    </a:cubicBezTo>
                    <a:cubicBezTo>
                      <a:pt x="7" y="35"/>
                      <a:pt x="6" y="34"/>
                      <a:pt x="6" y="34"/>
                    </a:cubicBezTo>
                    <a:cubicBezTo>
                      <a:pt x="6" y="33"/>
                      <a:pt x="6" y="31"/>
                      <a:pt x="6" y="31"/>
                    </a:cubicBezTo>
                    <a:cubicBezTo>
                      <a:pt x="6" y="31"/>
                      <a:pt x="7" y="30"/>
                      <a:pt x="7" y="30"/>
                    </a:cubicBezTo>
                    <a:cubicBezTo>
                      <a:pt x="7" y="30"/>
                      <a:pt x="7" y="29"/>
                      <a:pt x="7" y="29"/>
                    </a:cubicBezTo>
                    <a:cubicBezTo>
                      <a:pt x="7" y="29"/>
                      <a:pt x="7" y="28"/>
                      <a:pt x="6" y="28"/>
                    </a:cubicBezTo>
                    <a:cubicBezTo>
                      <a:pt x="6" y="28"/>
                      <a:pt x="5" y="26"/>
                      <a:pt x="5" y="26"/>
                    </a:cubicBezTo>
                    <a:cubicBezTo>
                      <a:pt x="5" y="26"/>
                      <a:pt x="5" y="25"/>
                      <a:pt x="5" y="25"/>
                    </a:cubicBezTo>
                    <a:cubicBezTo>
                      <a:pt x="5" y="24"/>
                      <a:pt x="4" y="23"/>
                      <a:pt x="4" y="23"/>
                    </a:cubicBezTo>
                    <a:cubicBezTo>
                      <a:pt x="3" y="23"/>
                      <a:pt x="3" y="23"/>
                      <a:pt x="3" y="23"/>
                    </a:cubicBezTo>
                    <a:cubicBezTo>
                      <a:pt x="2" y="21"/>
                      <a:pt x="2" y="21"/>
                      <a:pt x="2" y="21"/>
                    </a:cubicBezTo>
                    <a:cubicBezTo>
                      <a:pt x="1" y="22"/>
                      <a:pt x="1" y="22"/>
                      <a:pt x="1" y="22"/>
                    </a:cubicBezTo>
                    <a:cubicBezTo>
                      <a:pt x="0" y="22"/>
                      <a:pt x="0" y="22"/>
                      <a:pt x="0" y="22"/>
                    </a:cubicBezTo>
                    <a:cubicBezTo>
                      <a:pt x="0" y="22"/>
                      <a:pt x="3" y="18"/>
                      <a:pt x="3" y="18"/>
                    </a:cubicBezTo>
                    <a:cubicBezTo>
                      <a:pt x="3" y="17"/>
                      <a:pt x="3" y="17"/>
                      <a:pt x="3" y="17"/>
                    </a:cubicBezTo>
                    <a:cubicBezTo>
                      <a:pt x="3" y="17"/>
                      <a:pt x="2" y="17"/>
                      <a:pt x="2" y="16"/>
                    </a:cubicBezTo>
                    <a:cubicBezTo>
                      <a:pt x="2" y="16"/>
                      <a:pt x="3" y="16"/>
                      <a:pt x="3" y="15"/>
                    </a:cubicBezTo>
                    <a:cubicBezTo>
                      <a:pt x="3" y="15"/>
                      <a:pt x="3" y="14"/>
                      <a:pt x="3" y="14"/>
                    </a:cubicBezTo>
                    <a:cubicBezTo>
                      <a:pt x="3" y="14"/>
                      <a:pt x="3" y="13"/>
                      <a:pt x="3" y="13"/>
                    </a:cubicBezTo>
                    <a:cubicBezTo>
                      <a:pt x="3" y="13"/>
                      <a:pt x="6" y="8"/>
                      <a:pt x="6" y="8"/>
                    </a:cubicBezTo>
                    <a:cubicBezTo>
                      <a:pt x="6" y="8"/>
                      <a:pt x="7" y="8"/>
                      <a:pt x="7" y="8"/>
                    </a:cubicBezTo>
                    <a:cubicBezTo>
                      <a:pt x="8" y="8"/>
                      <a:pt x="8" y="7"/>
                      <a:pt x="8" y="7"/>
                    </a:cubicBezTo>
                    <a:cubicBezTo>
                      <a:pt x="9" y="5"/>
                      <a:pt x="9" y="5"/>
                      <a:pt x="9" y="5"/>
                    </a:cubicBezTo>
                    <a:cubicBezTo>
                      <a:pt x="10" y="4"/>
                      <a:pt x="10" y="4"/>
                      <a:pt x="10" y="4"/>
                    </a:cubicBezTo>
                    <a:cubicBezTo>
                      <a:pt x="14" y="3"/>
                      <a:pt x="14" y="3"/>
                      <a:pt x="14" y="3"/>
                    </a:cubicBezTo>
                    <a:cubicBezTo>
                      <a:pt x="14" y="3"/>
                      <a:pt x="14" y="4"/>
                      <a:pt x="14" y="4"/>
                    </a:cubicBezTo>
                    <a:cubicBezTo>
                      <a:pt x="13" y="4"/>
                      <a:pt x="11" y="4"/>
                      <a:pt x="11" y="5"/>
                    </a:cubicBezTo>
                    <a:cubicBezTo>
                      <a:pt x="10" y="5"/>
                      <a:pt x="10" y="5"/>
                      <a:pt x="10" y="5"/>
                    </a:cubicBezTo>
                    <a:cubicBezTo>
                      <a:pt x="10" y="5"/>
                      <a:pt x="10" y="6"/>
                      <a:pt x="10" y="7"/>
                    </a:cubicBezTo>
                    <a:cubicBezTo>
                      <a:pt x="10" y="7"/>
                      <a:pt x="10" y="8"/>
                      <a:pt x="11" y="8"/>
                    </a:cubicBezTo>
                    <a:cubicBezTo>
                      <a:pt x="11" y="8"/>
                      <a:pt x="11" y="10"/>
                      <a:pt x="12" y="10"/>
                    </a:cubicBezTo>
                    <a:cubicBezTo>
                      <a:pt x="12" y="10"/>
                      <a:pt x="12" y="11"/>
                      <a:pt x="12" y="11"/>
                    </a:cubicBezTo>
                    <a:cubicBezTo>
                      <a:pt x="12" y="11"/>
                      <a:pt x="12" y="13"/>
                      <a:pt x="12" y="13"/>
                    </a:cubicBezTo>
                    <a:cubicBezTo>
                      <a:pt x="12" y="13"/>
                      <a:pt x="11" y="14"/>
                      <a:pt x="11" y="15"/>
                    </a:cubicBezTo>
                    <a:cubicBezTo>
                      <a:pt x="10" y="15"/>
                      <a:pt x="10" y="15"/>
                      <a:pt x="10" y="16"/>
                    </a:cubicBezTo>
                    <a:cubicBezTo>
                      <a:pt x="9" y="16"/>
                      <a:pt x="9" y="17"/>
                      <a:pt x="9" y="17"/>
                    </a:cubicBezTo>
                    <a:cubicBezTo>
                      <a:pt x="8" y="18"/>
                      <a:pt x="9" y="18"/>
                      <a:pt x="9" y="18"/>
                    </a:cubicBezTo>
                    <a:cubicBezTo>
                      <a:pt x="10" y="19"/>
                      <a:pt x="10" y="19"/>
                      <a:pt x="10" y="20"/>
                    </a:cubicBezTo>
                    <a:cubicBezTo>
                      <a:pt x="11" y="20"/>
                      <a:pt x="11" y="21"/>
                      <a:pt x="11" y="21"/>
                    </a:cubicBezTo>
                    <a:cubicBezTo>
                      <a:pt x="11" y="22"/>
                      <a:pt x="11" y="23"/>
                      <a:pt x="12" y="23"/>
                    </a:cubicBezTo>
                    <a:cubicBezTo>
                      <a:pt x="12" y="23"/>
                      <a:pt x="13" y="23"/>
                      <a:pt x="13" y="23"/>
                    </a:cubicBezTo>
                    <a:cubicBezTo>
                      <a:pt x="14" y="23"/>
                      <a:pt x="15" y="23"/>
                      <a:pt x="15" y="22"/>
                    </a:cubicBezTo>
                    <a:cubicBezTo>
                      <a:pt x="15" y="22"/>
                      <a:pt x="16" y="21"/>
                      <a:pt x="16" y="21"/>
                    </a:cubicBezTo>
                    <a:cubicBezTo>
                      <a:pt x="16" y="21"/>
                      <a:pt x="16" y="21"/>
                      <a:pt x="16" y="21"/>
                    </a:cubicBezTo>
                    <a:cubicBezTo>
                      <a:pt x="16" y="20"/>
                      <a:pt x="16" y="19"/>
                      <a:pt x="16" y="19"/>
                    </a:cubicBezTo>
                    <a:cubicBezTo>
                      <a:pt x="16" y="19"/>
                      <a:pt x="16" y="18"/>
                      <a:pt x="16" y="18"/>
                    </a:cubicBezTo>
                    <a:cubicBezTo>
                      <a:pt x="16" y="18"/>
                      <a:pt x="16" y="18"/>
                      <a:pt x="16" y="17"/>
                    </a:cubicBezTo>
                    <a:cubicBezTo>
                      <a:pt x="16" y="17"/>
                      <a:pt x="15" y="16"/>
                      <a:pt x="15" y="16"/>
                    </a:cubicBezTo>
                    <a:cubicBezTo>
                      <a:pt x="15" y="16"/>
                      <a:pt x="15" y="16"/>
                      <a:pt x="15" y="15"/>
                    </a:cubicBezTo>
                    <a:cubicBezTo>
                      <a:pt x="15" y="15"/>
                      <a:pt x="14" y="15"/>
                      <a:pt x="14" y="15"/>
                    </a:cubicBezTo>
                    <a:cubicBezTo>
                      <a:pt x="14" y="14"/>
                      <a:pt x="13" y="13"/>
                      <a:pt x="13" y="13"/>
                    </a:cubicBezTo>
                    <a:cubicBezTo>
                      <a:pt x="13" y="12"/>
                      <a:pt x="13" y="11"/>
                      <a:pt x="13" y="11"/>
                    </a:cubicBezTo>
                    <a:cubicBezTo>
                      <a:pt x="13" y="11"/>
                      <a:pt x="13" y="10"/>
                      <a:pt x="13" y="10"/>
                    </a:cubicBezTo>
                    <a:cubicBezTo>
                      <a:pt x="13" y="10"/>
                      <a:pt x="13" y="10"/>
                      <a:pt x="14" y="10"/>
                    </a:cubicBezTo>
                    <a:cubicBezTo>
                      <a:pt x="14" y="10"/>
                      <a:pt x="15" y="9"/>
                      <a:pt x="15" y="9"/>
                    </a:cubicBezTo>
                    <a:cubicBezTo>
                      <a:pt x="15" y="9"/>
                      <a:pt x="16" y="9"/>
                      <a:pt x="17" y="8"/>
                    </a:cubicBezTo>
                    <a:cubicBezTo>
                      <a:pt x="17" y="8"/>
                      <a:pt x="19" y="7"/>
                      <a:pt x="19" y="7"/>
                    </a:cubicBezTo>
                    <a:cubicBezTo>
                      <a:pt x="19" y="7"/>
                      <a:pt x="20" y="7"/>
                      <a:pt x="20" y="7"/>
                    </a:cubicBezTo>
                    <a:cubicBezTo>
                      <a:pt x="20" y="7"/>
                      <a:pt x="21" y="7"/>
                      <a:pt x="22" y="7"/>
                    </a:cubicBezTo>
                    <a:cubicBezTo>
                      <a:pt x="22" y="7"/>
                      <a:pt x="22" y="6"/>
                      <a:pt x="23" y="6"/>
                    </a:cubicBezTo>
                    <a:cubicBezTo>
                      <a:pt x="23" y="6"/>
                      <a:pt x="23" y="6"/>
                      <a:pt x="23" y="6"/>
                    </a:cubicBezTo>
                    <a:cubicBezTo>
                      <a:pt x="24" y="6"/>
                      <a:pt x="24" y="6"/>
                      <a:pt x="25" y="6"/>
                    </a:cubicBezTo>
                    <a:cubicBezTo>
                      <a:pt x="25" y="6"/>
                      <a:pt x="25" y="6"/>
                      <a:pt x="25" y="5"/>
                    </a:cubicBezTo>
                    <a:cubicBezTo>
                      <a:pt x="26" y="5"/>
                      <a:pt x="25" y="5"/>
                      <a:pt x="25" y="5"/>
                    </a:cubicBezTo>
                    <a:cubicBezTo>
                      <a:pt x="25" y="5"/>
                      <a:pt x="25" y="4"/>
                      <a:pt x="25" y="4"/>
                    </a:cubicBezTo>
                    <a:cubicBezTo>
                      <a:pt x="24" y="4"/>
                      <a:pt x="24" y="4"/>
                      <a:pt x="24" y="4"/>
                    </a:cubicBezTo>
                    <a:cubicBezTo>
                      <a:pt x="24" y="4"/>
                      <a:pt x="22" y="5"/>
                      <a:pt x="22" y="5"/>
                    </a:cubicBezTo>
                    <a:cubicBezTo>
                      <a:pt x="22" y="5"/>
                      <a:pt x="22" y="4"/>
                      <a:pt x="22" y="4"/>
                    </a:cubicBezTo>
                    <a:cubicBezTo>
                      <a:pt x="22" y="4"/>
                      <a:pt x="22" y="3"/>
                      <a:pt x="22" y="3"/>
                    </a:cubicBezTo>
                    <a:cubicBezTo>
                      <a:pt x="22" y="3"/>
                      <a:pt x="21" y="2"/>
                      <a:pt x="21" y="2"/>
                    </a:cubicBezTo>
                    <a:cubicBezTo>
                      <a:pt x="21" y="2"/>
                      <a:pt x="22" y="1"/>
                      <a:pt x="23" y="1"/>
                    </a:cubicBezTo>
                    <a:cubicBezTo>
                      <a:pt x="23" y="0"/>
                      <a:pt x="24" y="1"/>
                      <a:pt x="24" y="1"/>
                    </a:cubicBezTo>
                    <a:cubicBezTo>
                      <a:pt x="25" y="1"/>
                      <a:pt x="25" y="1"/>
                      <a:pt x="25" y="2"/>
                    </a:cubicBezTo>
                    <a:cubicBezTo>
                      <a:pt x="25" y="2"/>
                      <a:pt x="25" y="3"/>
                      <a:pt x="25" y="3"/>
                    </a:cubicBezTo>
                    <a:cubicBezTo>
                      <a:pt x="25" y="3"/>
                      <a:pt x="25" y="4"/>
                      <a:pt x="25" y="4"/>
                    </a:cubicBezTo>
                    <a:cubicBezTo>
                      <a:pt x="26" y="5"/>
                      <a:pt x="26" y="5"/>
                      <a:pt x="26" y="5"/>
                    </a:cubicBezTo>
                    <a:cubicBezTo>
                      <a:pt x="26" y="5"/>
                      <a:pt x="28" y="5"/>
                      <a:pt x="29" y="5"/>
                    </a:cubicBezTo>
                    <a:cubicBezTo>
                      <a:pt x="30" y="5"/>
                      <a:pt x="30" y="6"/>
                      <a:pt x="30" y="6"/>
                    </a:cubicBezTo>
                    <a:cubicBezTo>
                      <a:pt x="30" y="6"/>
                      <a:pt x="32" y="6"/>
                      <a:pt x="32" y="6"/>
                    </a:cubicBezTo>
                    <a:cubicBezTo>
                      <a:pt x="32" y="6"/>
                      <a:pt x="33" y="7"/>
                      <a:pt x="33" y="7"/>
                    </a:cubicBezTo>
                    <a:cubicBezTo>
                      <a:pt x="34" y="7"/>
                      <a:pt x="35" y="8"/>
                      <a:pt x="35" y="8"/>
                    </a:cubicBezTo>
                    <a:cubicBezTo>
                      <a:pt x="35" y="8"/>
                      <a:pt x="35" y="9"/>
                      <a:pt x="36" y="9"/>
                    </a:cubicBezTo>
                    <a:cubicBezTo>
                      <a:pt x="36" y="9"/>
                      <a:pt x="36" y="10"/>
                      <a:pt x="36" y="10"/>
                    </a:cubicBezTo>
                    <a:cubicBezTo>
                      <a:pt x="36" y="10"/>
                      <a:pt x="36" y="11"/>
                      <a:pt x="36" y="11"/>
                    </a:cubicBezTo>
                    <a:cubicBezTo>
                      <a:pt x="36" y="11"/>
                      <a:pt x="36" y="12"/>
                      <a:pt x="36" y="12"/>
                    </a:cubicBezTo>
                    <a:cubicBezTo>
                      <a:pt x="36" y="13"/>
                      <a:pt x="37" y="13"/>
                      <a:pt x="38" y="13"/>
                    </a:cubicBezTo>
                    <a:cubicBezTo>
                      <a:pt x="38" y="13"/>
                      <a:pt x="39" y="13"/>
                      <a:pt x="39" y="13"/>
                    </a:cubicBezTo>
                    <a:cubicBezTo>
                      <a:pt x="39" y="13"/>
                      <a:pt x="41" y="12"/>
                      <a:pt x="41" y="12"/>
                    </a:cubicBezTo>
                    <a:cubicBezTo>
                      <a:pt x="42" y="12"/>
                      <a:pt x="42" y="12"/>
                      <a:pt x="42" y="12"/>
                    </a:cubicBezTo>
                    <a:cubicBezTo>
                      <a:pt x="43" y="12"/>
                      <a:pt x="44" y="12"/>
                      <a:pt x="44" y="12"/>
                    </a:cubicBezTo>
                    <a:cubicBezTo>
                      <a:pt x="44" y="12"/>
                      <a:pt x="45" y="12"/>
                      <a:pt x="45" y="12"/>
                    </a:cubicBezTo>
                    <a:cubicBezTo>
                      <a:pt x="45" y="12"/>
                      <a:pt x="45" y="12"/>
                      <a:pt x="46" y="12"/>
                    </a:cubicBezTo>
                    <a:cubicBezTo>
                      <a:pt x="46" y="12"/>
                      <a:pt x="46" y="12"/>
                      <a:pt x="46" y="12"/>
                    </a:cubicBezTo>
                    <a:cubicBezTo>
                      <a:pt x="47" y="12"/>
                      <a:pt x="48" y="12"/>
                      <a:pt x="48" y="12"/>
                    </a:cubicBezTo>
                    <a:cubicBezTo>
                      <a:pt x="49" y="12"/>
                      <a:pt x="51" y="12"/>
                      <a:pt x="51" y="12"/>
                    </a:cubicBezTo>
                    <a:cubicBezTo>
                      <a:pt x="51" y="12"/>
                      <a:pt x="51" y="12"/>
                      <a:pt x="51" y="13"/>
                    </a:cubicBezTo>
                    <a:cubicBezTo>
                      <a:pt x="51" y="13"/>
                      <a:pt x="51" y="13"/>
                      <a:pt x="51" y="13"/>
                    </a:cubicBezTo>
                    <a:cubicBezTo>
                      <a:pt x="52" y="13"/>
                      <a:pt x="53" y="14"/>
                      <a:pt x="53" y="14"/>
                    </a:cubicBezTo>
                    <a:cubicBezTo>
                      <a:pt x="54" y="15"/>
                      <a:pt x="55" y="15"/>
                      <a:pt x="55" y="15"/>
                    </a:cubicBezTo>
                    <a:cubicBezTo>
                      <a:pt x="56" y="15"/>
                      <a:pt x="57" y="15"/>
                      <a:pt x="58" y="16"/>
                    </a:cubicBezTo>
                    <a:cubicBezTo>
                      <a:pt x="58" y="16"/>
                      <a:pt x="59" y="16"/>
                      <a:pt x="60" y="16"/>
                    </a:cubicBezTo>
                    <a:cubicBezTo>
                      <a:pt x="60" y="16"/>
                      <a:pt x="61" y="15"/>
                      <a:pt x="61" y="15"/>
                    </a:cubicBezTo>
                    <a:cubicBezTo>
                      <a:pt x="61" y="15"/>
                      <a:pt x="62" y="14"/>
                      <a:pt x="62" y="14"/>
                    </a:cubicBezTo>
                    <a:cubicBezTo>
                      <a:pt x="62" y="14"/>
                      <a:pt x="63" y="14"/>
                      <a:pt x="63" y="14"/>
                    </a:cubicBezTo>
                    <a:cubicBezTo>
                      <a:pt x="64" y="13"/>
                      <a:pt x="64" y="13"/>
                      <a:pt x="64" y="13"/>
                    </a:cubicBezTo>
                    <a:cubicBezTo>
                      <a:pt x="65" y="12"/>
                      <a:pt x="65" y="13"/>
                      <a:pt x="66" y="13"/>
                    </a:cubicBezTo>
                    <a:cubicBezTo>
                      <a:pt x="67" y="13"/>
                      <a:pt x="67" y="13"/>
                      <a:pt x="67" y="12"/>
                    </a:cubicBezTo>
                    <a:cubicBezTo>
                      <a:pt x="67" y="12"/>
                      <a:pt x="67" y="12"/>
                      <a:pt x="66" y="12"/>
                    </a:cubicBezTo>
                    <a:cubicBezTo>
                      <a:pt x="66" y="12"/>
                      <a:pt x="65" y="12"/>
                      <a:pt x="65" y="12"/>
                    </a:cubicBezTo>
                    <a:cubicBezTo>
                      <a:pt x="65" y="12"/>
                      <a:pt x="64" y="12"/>
                      <a:pt x="64" y="12"/>
                    </a:cubicBezTo>
                    <a:cubicBezTo>
                      <a:pt x="64" y="12"/>
                      <a:pt x="64" y="12"/>
                      <a:pt x="65" y="12"/>
                    </a:cubicBezTo>
                    <a:cubicBezTo>
                      <a:pt x="65" y="12"/>
                      <a:pt x="65" y="12"/>
                      <a:pt x="65" y="12"/>
                    </a:cubicBezTo>
                    <a:cubicBezTo>
                      <a:pt x="66" y="12"/>
                      <a:pt x="66" y="12"/>
                      <a:pt x="67" y="12"/>
                    </a:cubicBezTo>
                    <a:cubicBezTo>
                      <a:pt x="67" y="11"/>
                      <a:pt x="67" y="11"/>
                      <a:pt x="68" y="11"/>
                    </a:cubicBezTo>
                    <a:cubicBezTo>
                      <a:pt x="68" y="11"/>
                      <a:pt x="69" y="12"/>
                      <a:pt x="69" y="12"/>
                    </a:cubicBezTo>
                    <a:cubicBezTo>
                      <a:pt x="69" y="12"/>
                      <a:pt x="70" y="11"/>
                      <a:pt x="71" y="11"/>
                    </a:cubicBezTo>
                    <a:cubicBezTo>
                      <a:pt x="71" y="11"/>
                      <a:pt x="72" y="11"/>
                      <a:pt x="72" y="11"/>
                    </a:cubicBezTo>
                    <a:cubicBezTo>
                      <a:pt x="72" y="11"/>
                      <a:pt x="73" y="11"/>
                      <a:pt x="74" y="11"/>
                    </a:cubicBezTo>
                    <a:cubicBezTo>
                      <a:pt x="74" y="11"/>
                      <a:pt x="75" y="11"/>
                      <a:pt x="75" y="11"/>
                    </a:cubicBezTo>
                    <a:cubicBezTo>
                      <a:pt x="75" y="11"/>
                      <a:pt x="76" y="11"/>
                      <a:pt x="76" y="11"/>
                    </a:cubicBezTo>
                    <a:cubicBezTo>
                      <a:pt x="76" y="11"/>
                      <a:pt x="77" y="11"/>
                      <a:pt x="77" y="11"/>
                    </a:cubicBezTo>
                    <a:cubicBezTo>
                      <a:pt x="77" y="12"/>
                      <a:pt x="78" y="11"/>
                      <a:pt x="79" y="11"/>
                    </a:cubicBezTo>
                    <a:cubicBezTo>
                      <a:pt x="79" y="11"/>
                      <a:pt x="80" y="11"/>
                      <a:pt x="81" y="11"/>
                    </a:cubicBezTo>
                    <a:cubicBezTo>
                      <a:pt x="81" y="11"/>
                      <a:pt x="81" y="12"/>
                      <a:pt x="81" y="12"/>
                    </a:cubicBezTo>
                    <a:cubicBezTo>
                      <a:pt x="81" y="12"/>
                      <a:pt x="80" y="12"/>
                      <a:pt x="79" y="12"/>
                    </a:cubicBezTo>
                    <a:cubicBezTo>
                      <a:pt x="79" y="12"/>
                      <a:pt x="79" y="12"/>
                      <a:pt x="78" y="12"/>
                    </a:cubicBezTo>
                    <a:cubicBezTo>
                      <a:pt x="78" y="12"/>
                      <a:pt x="78" y="12"/>
                      <a:pt x="77" y="12"/>
                    </a:cubicBezTo>
                    <a:cubicBezTo>
                      <a:pt x="77" y="12"/>
                      <a:pt x="76" y="12"/>
                      <a:pt x="76" y="12"/>
                    </a:cubicBezTo>
                    <a:cubicBezTo>
                      <a:pt x="76" y="12"/>
                      <a:pt x="76" y="12"/>
                      <a:pt x="76" y="12"/>
                    </a:cubicBezTo>
                    <a:cubicBezTo>
                      <a:pt x="75" y="12"/>
                      <a:pt x="75" y="12"/>
                      <a:pt x="75" y="12"/>
                    </a:cubicBezTo>
                    <a:cubicBezTo>
                      <a:pt x="75" y="12"/>
                      <a:pt x="74" y="12"/>
                      <a:pt x="74" y="12"/>
                    </a:cubicBezTo>
                    <a:cubicBezTo>
                      <a:pt x="74" y="13"/>
                      <a:pt x="74" y="13"/>
                      <a:pt x="74" y="13"/>
                    </a:cubicBezTo>
                    <a:cubicBezTo>
                      <a:pt x="74" y="13"/>
                      <a:pt x="75" y="13"/>
                      <a:pt x="75" y="13"/>
                    </a:cubicBezTo>
                    <a:cubicBezTo>
                      <a:pt x="76" y="13"/>
                      <a:pt x="75" y="15"/>
                      <a:pt x="75" y="15"/>
                    </a:cubicBezTo>
                    <a:cubicBezTo>
                      <a:pt x="75" y="15"/>
                      <a:pt x="76" y="15"/>
                      <a:pt x="77" y="15"/>
                    </a:cubicBezTo>
                    <a:cubicBezTo>
                      <a:pt x="77" y="15"/>
                      <a:pt x="77" y="16"/>
                      <a:pt x="77" y="16"/>
                    </a:cubicBezTo>
                    <a:cubicBezTo>
                      <a:pt x="77" y="16"/>
                      <a:pt x="77" y="17"/>
                      <a:pt x="77" y="17"/>
                    </a:cubicBezTo>
                    <a:cubicBezTo>
                      <a:pt x="77" y="17"/>
                      <a:pt x="78" y="17"/>
                      <a:pt x="78" y="17"/>
                    </a:cubicBezTo>
                    <a:cubicBezTo>
                      <a:pt x="78" y="16"/>
                      <a:pt x="78" y="16"/>
                      <a:pt x="78" y="16"/>
                    </a:cubicBezTo>
                    <a:cubicBezTo>
                      <a:pt x="78" y="16"/>
                      <a:pt x="79" y="16"/>
                      <a:pt x="79" y="16"/>
                    </a:cubicBezTo>
                    <a:cubicBezTo>
                      <a:pt x="80" y="16"/>
                      <a:pt x="80" y="17"/>
                      <a:pt x="80" y="17"/>
                    </a:cubicBezTo>
                    <a:cubicBezTo>
                      <a:pt x="81" y="17"/>
                      <a:pt x="81" y="18"/>
                      <a:pt x="81" y="18"/>
                    </a:cubicBezTo>
                    <a:cubicBezTo>
                      <a:pt x="82" y="18"/>
                      <a:pt x="83" y="18"/>
                      <a:pt x="83" y="18"/>
                    </a:cubicBezTo>
                    <a:cubicBezTo>
                      <a:pt x="84" y="18"/>
                      <a:pt x="84" y="18"/>
                      <a:pt x="85" y="18"/>
                    </a:cubicBezTo>
                    <a:cubicBezTo>
                      <a:pt x="85" y="18"/>
                      <a:pt x="86" y="20"/>
                      <a:pt x="86" y="20"/>
                    </a:cubicBezTo>
                    <a:cubicBezTo>
                      <a:pt x="87" y="20"/>
                      <a:pt x="88" y="20"/>
                      <a:pt x="88" y="20"/>
                    </a:cubicBezTo>
                    <a:cubicBezTo>
                      <a:pt x="89" y="21"/>
                      <a:pt x="89" y="21"/>
                      <a:pt x="88" y="21"/>
                    </a:cubicBezTo>
                    <a:cubicBezTo>
                      <a:pt x="88" y="21"/>
                      <a:pt x="88" y="22"/>
                      <a:pt x="87" y="22"/>
                    </a:cubicBezTo>
                    <a:cubicBezTo>
                      <a:pt x="87" y="22"/>
                      <a:pt x="87" y="22"/>
                      <a:pt x="87" y="22"/>
                    </a:cubicBezTo>
                    <a:cubicBezTo>
                      <a:pt x="88" y="22"/>
                      <a:pt x="89" y="22"/>
                      <a:pt x="89" y="22"/>
                    </a:cubicBezTo>
                    <a:cubicBezTo>
                      <a:pt x="89" y="22"/>
                      <a:pt x="89" y="22"/>
                      <a:pt x="88" y="23"/>
                    </a:cubicBezTo>
                    <a:cubicBezTo>
                      <a:pt x="88" y="23"/>
                      <a:pt x="88" y="23"/>
                      <a:pt x="88" y="23"/>
                    </a:cubicBezTo>
                    <a:cubicBezTo>
                      <a:pt x="88" y="24"/>
                      <a:pt x="89" y="24"/>
                      <a:pt x="89" y="24"/>
                    </a:cubicBezTo>
                    <a:cubicBezTo>
                      <a:pt x="89" y="24"/>
                      <a:pt x="88" y="24"/>
                      <a:pt x="88" y="24"/>
                    </a:cubicBezTo>
                    <a:cubicBezTo>
                      <a:pt x="88" y="24"/>
                      <a:pt x="89" y="25"/>
                      <a:pt x="89" y="25"/>
                    </a:cubicBezTo>
                    <a:cubicBezTo>
                      <a:pt x="89" y="25"/>
                      <a:pt x="90" y="26"/>
                      <a:pt x="90" y="26"/>
                    </a:cubicBezTo>
                    <a:cubicBezTo>
                      <a:pt x="90" y="26"/>
                      <a:pt x="89" y="26"/>
                      <a:pt x="88" y="26"/>
                    </a:cubicBezTo>
                    <a:cubicBezTo>
                      <a:pt x="88" y="26"/>
                      <a:pt x="88" y="26"/>
                      <a:pt x="88" y="26"/>
                    </a:cubicBezTo>
                    <a:cubicBezTo>
                      <a:pt x="88" y="26"/>
                      <a:pt x="89" y="26"/>
                      <a:pt x="89" y="26"/>
                    </a:cubicBezTo>
                    <a:cubicBezTo>
                      <a:pt x="90" y="26"/>
                      <a:pt x="90" y="27"/>
                      <a:pt x="90" y="27"/>
                    </a:cubicBezTo>
                    <a:cubicBezTo>
                      <a:pt x="90" y="27"/>
                      <a:pt x="91" y="26"/>
                      <a:pt x="91" y="26"/>
                    </a:cubicBezTo>
                    <a:cubicBezTo>
                      <a:pt x="91" y="26"/>
                      <a:pt x="92" y="26"/>
                      <a:pt x="92" y="26"/>
                    </a:cubicBezTo>
                    <a:cubicBezTo>
                      <a:pt x="92" y="26"/>
                      <a:pt x="93" y="26"/>
                      <a:pt x="94" y="26"/>
                    </a:cubicBezTo>
                    <a:cubicBezTo>
                      <a:pt x="94" y="26"/>
                      <a:pt x="94" y="27"/>
                      <a:pt x="94" y="27"/>
                    </a:cubicBezTo>
                    <a:cubicBezTo>
                      <a:pt x="95" y="27"/>
                      <a:pt x="95" y="28"/>
                      <a:pt x="95" y="28"/>
                    </a:cubicBezTo>
                    <a:cubicBezTo>
                      <a:pt x="95" y="29"/>
                      <a:pt x="95" y="29"/>
                      <a:pt x="95" y="29"/>
                    </a:cubicBezTo>
                    <a:cubicBezTo>
                      <a:pt x="94" y="29"/>
                      <a:pt x="94" y="29"/>
                      <a:pt x="94" y="29"/>
                    </a:cubicBezTo>
                    <a:cubicBezTo>
                      <a:pt x="94" y="29"/>
                      <a:pt x="93" y="31"/>
                      <a:pt x="93" y="31"/>
                    </a:cubicBezTo>
                    <a:cubicBezTo>
                      <a:pt x="93" y="31"/>
                      <a:pt x="91" y="31"/>
                      <a:pt x="91" y="31"/>
                    </a:cubicBezTo>
                    <a:cubicBezTo>
                      <a:pt x="90" y="32"/>
                      <a:pt x="90" y="32"/>
                      <a:pt x="90" y="32"/>
                    </a:cubicBezTo>
                    <a:cubicBezTo>
                      <a:pt x="90" y="33"/>
                      <a:pt x="90" y="33"/>
                      <a:pt x="90" y="33"/>
                    </a:cubicBezTo>
                    <a:cubicBezTo>
                      <a:pt x="89" y="34"/>
                      <a:pt x="89" y="34"/>
                      <a:pt x="89" y="34"/>
                    </a:cubicBezTo>
                    <a:cubicBezTo>
                      <a:pt x="89" y="34"/>
                      <a:pt x="90" y="35"/>
                      <a:pt x="90" y="35"/>
                    </a:cubicBezTo>
                    <a:cubicBezTo>
                      <a:pt x="90" y="35"/>
                      <a:pt x="90" y="36"/>
                      <a:pt x="90" y="36"/>
                    </a:cubicBezTo>
                    <a:cubicBezTo>
                      <a:pt x="90" y="37"/>
                      <a:pt x="90" y="37"/>
                      <a:pt x="90" y="37"/>
                    </a:cubicBezTo>
                    <a:cubicBezTo>
                      <a:pt x="91" y="36"/>
                      <a:pt x="91" y="36"/>
                      <a:pt x="91" y="36"/>
                    </a:cubicBezTo>
                    <a:cubicBezTo>
                      <a:pt x="92" y="37"/>
                      <a:pt x="92" y="37"/>
                      <a:pt x="92" y="37"/>
                    </a:cubicBezTo>
                    <a:cubicBezTo>
                      <a:pt x="92" y="37"/>
                      <a:pt x="92" y="37"/>
                      <a:pt x="92" y="37"/>
                    </a:cubicBezTo>
                    <a:cubicBezTo>
                      <a:pt x="91" y="38"/>
                      <a:pt x="91" y="38"/>
                      <a:pt x="91" y="38"/>
                    </a:cubicBezTo>
                    <a:cubicBezTo>
                      <a:pt x="89" y="39"/>
                      <a:pt x="89" y="39"/>
                      <a:pt x="89" y="39"/>
                    </a:cubicBezTo>
                    <a:cubicBezTo>
                      <a:pt x="89" y="39"/>
                      <a:pt x="88" y="39"/>
                      <a:pt x="88" y="39"/>
                    </a:cubicBezTo>
                    <a:cubicBezTo>
                      <a:pt x="88" y="39"/>
                      <a:pt x="88" y="39"/>
                      <a:pt x="88" y="39"/>
                    </a:cubicBezTo>
                    <a:cubicBezTo>
                      <a:pt x="87" y="39"/>
                      <a:pt x="87" y="39"/>
                      <a:pt x="87" y="39"/>
                    </a:cubicBezTo>
                    <a:cubicBezTo>
                      <a:pt x="86" y="39"/>
                      <a:pt x="86" y="39"/>
                      <a:pt x="86" y="39"/>
                    </a:cubicBezTo>
                    <a:cubicBezTo>
                      <a:pt x="86" y="40"/>
                      <a:pt x="86" y="40"/>
                      <a:pt x="86" y="40"/>
                    </a:cubicBezTo>
                    <a:cubicBezTo>
                      <a:pt x="86" y="40"/>
                      <a:pt x="86" y="40"/>
                      <a:pt x="86" y="40"/>
                    </a:cubicBezTo>
                    <a:cubicBezTo>
                      <a:pt x="86" y="41"/>
                      <a:pt x="86" y="41"/>
                      <a:pt x="86" y="41"/>
                    </a:cubicBezTo>
                    <a:cubicBezTo>
                      <a:pt x="86" y="43"/>
                      <a:pt x="86" y="43"/>
                      <a:pt x="86" y="43"/>
                    </a:cubicBezTo>
                    <a:cubicBezTo>
                      <a:pt x="84" y="45"/>
                      <a:pt x="84" y="45"/>
                      <a:pt x="84" y="45"/>
                    </a:cubicBezTo>
                    <a:cubicBezTo>
                      <a:pt x="89" y="50"/>
                      <a:pt x="89" y="50"/>
                      <a:pt x="89" y="50"/>
                    </a:cubicBezTo>
                    <a:cubicBezTo>
                      <a:pt x="89" y="50"/>
                      <a:pt x="90" y="52"/>
                      <a:pt x="90" y="52"/>
                    </a:cubicBezTo>
                    <a:cubicBezTo>
                      <a:pt x="90" y="52"/>
                      <a:pt x="90" y="53"/>
                      <a:pt x="90" y="53"/>
                    </a:cubicBezTo>
                    <a:cubicBezTo>
                      <a:pt x="90" y="53"/>
                      <a:pt x="89" y="53"/>
                      <a:pt x="89" y="53"/>
                    </a:cubicBezTo>
                    <a:cubicBezTo>
                      <a:pt x="88" y="54"/>
                      <a:pt x="88" y="54"/>
                      <a:pt x="88" y="54"/>
                    </a:cubicBezTo>
                    <a:cubicBezTo>
                      <a:pt x="88" y="55"/>
                      <a:pt x="88" y="55"/>
                      <a:pt x="88" y="55"/>
                    </a:cubicBezTo>
                    <a:cubicBezTo>
                      <a:pt x="87" y="55"/>
                      <a:pt x="87" y="55"/>
                      <a:pt x="87" y="55"/>
                    </a:cubicBezTo>
                    <a:cubicBezTo>
                      <a:pt x="87" y="55"/>
                      <a:pt x="87" y="55"/>
                      <a:pt x="87" y="55"/>
                    </a:cubicBezTo>
                    <a:cubicBezTo>
                      <a:pt x="86" y="55"/>
                      <a:pt x="86" y="55"/>
                      <a:pt x="86" y="55"/>
                    </a:cubicBezTo>
                    <a:cubicBezTo>
                      <a:pt x="85" y="55"/>
                      <a:pt x="85" y="55"/>
                      <a:pt x="85" y="55"/>
                    </a:cubicBezTo>
                    <a:cubicBezTo>
                      <a:pt x="85" y="55"/>
                      <a:pt x="85" y="55"/>
                      <a:pt x="85" y="55"/>
                    </a:cubicBezTo>
                    <a:cubicBezTo>
                      <a:pt x="84" y="56"/>
                      <a:pt x="84" y="56"/>
                      <a:pt x="84" y="56"/>
                    </a:cubicBezTo>
                    <a:cubicBezTo>
                      <a:pt x="84" y="56"/>
                      <a:pt x="84" y="56"/>
                      <a:pt x="84" y="56"/>
                    </a:cubicBezTo>
                    <a:cubicBezTo>
                      <a:pt x="83" y="57"/>
                      <a:pt x="83" y="57"/>
                      <a:pt x="83" y="57"/>
                    </a:cubicBezTo>
                    <a:cubicBezTo>
                      <a:pt x="82" y="57"/>
                      <a:pt x="82" y="57"/>
                      <a:pt x="82" y="57"/>
                    </a:cubicBezTo>
                    <a:cubicBezTo>
                      <a:pt x="82" y="57"/>
                      <a:pt x="81" y="57"/>
                      <a:pt x="81" y="58"/>
                    </a:cubicBezTo>
                    <a:cubicBezTo>
                      <a:pt x="81" y="58"/>
                      <a:pt x="81" y="58"/>
                      <a:pt x="81" y="58"/>
                    </a:cubicBezTo>
                    <a:cubicBezTo>
                      <a:pt x="80" y="57"/>
                      <a:pt x="80" y="57"/>
                      <a:pt x="80" y="57"/>
                    </a:cubicBezTo>
                    <a:cubicBezTo>
                      <a:pt x="79" y="58"/>
                      <a:pt x="79" y="58"/>
                      <a:pt x="79" y="58"/>
                    </a:cubicBezTo>
                    <a:cubicBezTo>
                      <a:pt x="78" y="58"/>
                      <a:pt x="78" y="58"/>
                      <a:pt x="78" y="58"/>
                    </a:cubicBezTo>
                    <a:cubicBezTo>
                      <a:pt x="77" y="57"/>
                      <a:pt x="77" y="57"/>
                      <a:pt x="77" y="57"/>
                    </a:cubicBezTo>
                    <a:cubicBezTo>
                      <a:pt x="76" y="59"/>
                      <a:pt x="76" y="59"/>
                      <a:pt x="76" y="59"/>
                    </a:cubicBezTo>
                    <a:cubicBezTo>
                      <a:pt x="75" y="59"/>
                      <a:pt x="75" y="59"/>
                      <a:pt x="75" y="59"/>
                    </a:cubicBezTo>
                    <a:cubicBezTo>
                      <a:pt x="75" y="59"/>
                      <a:pt x="75" y="59"/>
                      <a:pt x="75" y="60"/>
                    </a:cubicBezTo>
                    <a:cubicBezTo>
                      <a:pt x="75" y="60"/>
                      <a:pt x="75" y="60"/>
                      <a:pt x="75" y="60"/>
                    </a:cubicBezTo>
                    <a:cubicBezTo>
                      <a:pt x="75" y="60"/>
                      <a:pt x="75" y="61"/>
                      <a:pt x="75" y="61"/>
                    </a:cubicBezTo>
                    <a:cubicBezTo>
                      <a:pt x="75" y="61"/>
                      <a:pt x="74" y="61"/>
                      <a:pt x="74" y="61"/>
                    </a:cubicBezTo>
                    <a:cubicBezTo>
                      <a:pt x="74" y="61"/>
                      <a:pt x="74" y="61"/>
                      <a:pt x="74" y="61"/>
                    </a:cubicBezTo>
                    <a:cubicBezTo>
                      <a:pt x="74" y="61"/>
                      <a:pt x="73" y="61"/>
                      <a:pt x="73" y="61"/>
                    </a:cubicBezTo>
                    <a:cubicBezTo>
                      <a:pt x="73" y="61"/>
                      <a:pt x="73" y="61"/>
                      <a:pt x="72" y="61"/>
                    </a:cubicBezTo>
                    <a:cubicBezTo>
                      <a:pt x="72" y="61"/>
                      <a:pt x="72" y="60"/>
                      <a:pt x="72" y="60"/>
                    </a:cubicBezTo>
                    <a:cubicBezTo>
                      <a:pt x="72" y="60"/>
                      <a:pt x="72" y="60"/>
                      <a:pt x="72" y="60"/>
                    </a:cubicBezTo>
                    <a:cubicBezTo>
                      <a:pt x="71" y="60"/>
                      <a:pt x="71" y="60"/>
                      <a:pt x="71" y="59"/>
                    </a:cubicBezTo>
                    <a:cubicBezTo>
                      <a:pt x="71" y="59"/>
                      <a:pt x="71" y="59"/>
                      <a:pt x="71" y="59"/>
                    </a:cubicBezTo>
                    <a:cubicBezTo>
                      <a:pt x="70" y="59"/>
                      <a:pt x="70" y="59"/>
                      <a:pt x="70" y="59"/>
                    </a:cubicBezTo>
                    <a:cubicBezTo>
                      <a:pt x="70" y="59"/>
                      <a:pt x="70" y="59"/>
                      <a:pt x="70" y="59"/>
                    </a:cubicBezTo>
                    <a:cubicBezTo>
                      <a:pt x="70" y="59"/>
                      <a:pt x="69" y="60"/>
                      <a:pt x="69" y="60"/>
                    </a:cubicBezTo>
                    <a:cubicBezTo>
                      <a:pt x="68" y="59"/>
                      <a:pt x="68" y="59"/>
                      <a:pt x="68" y="59"/>
                    </a:cubicBezTo>
                    <a:cubicBezTo>
                      <a:pt x="68" y="59"/>
                      <a:pt x="68" y="59"/>
                      <a:pt x="68" y="59"/>
                    </a:cubicBezTo>
                    <a:cubicBezTo>
                      <a:pt x="68" y="59"/>
                      <a:pt x="67" y="59"/>
                      <a:pt x="67" y="59"/>
                    </a:cubicBezTo>
                    <a:cubicBezTo>
                      <a:pt x="66" y="60"/>
                      <a:pt x="66" y="60"/>
                      <a:pt x="66" y="60"/>
                    </a:cubicBezTo>
                    <a:cubicBezTo>
                      <a:pt x="65" y="58"/>
                      <a:pt x="65" y="58"/>
                      <a:pt x="65" y="58"/>
                    </a:cubicBezTo>
                    <a:cubicBezTo>
                      <a:pt x="62" y="58"/>
                      <a:pt x="62" y="58"/>
                      <a:pt x="62" y="58"/>
                    </a:cubicBezTo>
                    <a:cubicBezTo>
                      <a:pt x="61" y="57"/>
                      <a:pt x="61" y="57"/>
                      <a:pt x="61" y="57"/>
                    </a:cubicBezTo>
                    <a:cubicBezTo>
                      <a:pt x="60" y="57"/>
                      <a:pt x="60" y="57"/>
                      <a:pt x="60" y="57"/>
                    </a:cubicBezTo>
                    <a:cubicBezTo>
                      <a:pt x="60" y="57"/>
                      <a:pt x="60" y="57"/>
                      <a:pt x="60" y="57"/>
                    </a:cubicBezTo>
                    <a:cubicBezTo>
                      <a:pt x="60" y="58"/>
                      <a:pt x="60" y="58"/>
                      <a:pt x="60" y="58"/>
                    </a:cubicBezTo>
                    <a:cubicBezTo>
                      <a:pt x="60" y="58"/>
                      <a:pt x="61" y="58"/>
                      <a:pt x="61" y="58"/>
                    </a:cubicBezTo>
                    <a:cubicBezTo>
                      <a:pt x="61" y="58"/>
                      <a:pt x="62" y="60"/>
                      <a:pt x="62" y="60"/>
                    </a:cubicBezTo>
                    <a:cubicBezTo>
                      <a:pt x="65" y="62"/>
                      <a:pt x="65" y="62"/>
                      <a:pt x="65" y="62"/>
                    </a:cubicBezTo>
                    <a:cubicBezTo>
                      <a:pt x="65" y="64"/>
                      <a:pt x="65" y="64"/>
                      <a:pt x="65" y="64"/>
                    </a:cubicBezTo>
                    <a:cubicBezTo>
                      <a:pt x="64" y="64"/>
                      <a:pt x="64" y="64"/>
                      <a:pt x="64" y="64"/>
                    </a:cubicBezTo>
                    <a:cubicBezTo>
                      <a:pt x="64" y="65"/>
                      <a:pt x="64" y="65"/>
                      <a:pt x="64" y="65"/>
                    </a:cubicBezTo>
                    <a:cubicBezTo>
                      <a:pt x="66" y="68"/>
                      <a:pt x="66" y="68"/>
                      <a:pt x="66" y="68"/>
                    </a:cubicBezTo>
                    <a:cubicBezTo>
                      <a:pt x="66" y="69"/>
                      <a:pt x="66" y="69"/>
                      <a:pt x="66" y="69"/>
                    </a:cubicBezTo>
                    <a:cubicBezTo>
                      <a:pt x="66" y="69"/>
                      <a:pt x="66" y="69"/>
                      <a:pt x="66" y="69"/>
                    </a:cubicBezTo>
                    <a:cubicBezTo>
                      <a:pt x="67" y="70"/>
                      <a:pt x="67" y="70"/>
                      <a:pt x="67" y="70"/>
                    </a:cubicBezTo>
                    <a:cubicBezTo>
                      <a:pt x="67" y="70"/>
                      <a:pt x="69" y="70"/>
                      <a:pt x="69" y="70"/>
                    </a:cubicBezTo>
                    <a:cubicBezTo>
                      <a:pt x="69" y="70"/>
                      <a:pt x="70" y="70"/>
                      <a:pt x="70" y="70"/>
                    </a:cubicBezTo>
                    <a:cubicBezTo>
                      <a:pt x="70" y="71"/>
                      <a:pt x="70" y="71"/>
                      <a:pt x="70" y="71"/>
                    </a:cubicBezTo>
                    <a:cubicBezTo>
                      <a:pt x="70" y="72"/>
                      <a:pt x="70" y="72"/>
                      <a:pt x="70" y="72"/>
                    </a:cubicBezTo>
                    <a:cubicBezTo>
                      <a:pt x="69" y="72"/>
                      <a:pt x="69" y="72"/>
                      <a:pt x="69" y="72"/>
                    </a:cubicBezTo>
                    <a:cubicBezTo>
                      <a:pt x="67" y="73"/>
                      <a:pt x="67" y="73"/>
                      <a:pt x="67" y="73"/>
                    </a:cubicBezTo>
                    <a:cubicBezTo>
                      <a:pt x="65" y="73"/>
                      <a:pt x="65" y="73"/>
                      <a:pt x="65" y="73"/>
                    </a:cubicBezTo>
                    <a:cubicBezTo>
                      <a:pt x="65" y="76"/>
                      <a:pt x="65" y="76"/>
                      <a:pt x="65" y="76"/>
                    </a:cubicBezTo>
                    <a:cubicBezTo>
                      <a:pt x="64" y="77"/>
                      <a:pt x="64" y="77"/>
                      <a:pt x="64" y="77"/>
                    </a:cubicBezTo>
                    <a:cubicBezTo>
                      <a:pt x="64" y="77"/>
                      <a:pt x="64" y="77"/>
                      <a:pt x="64" y="77"/>
                    </a:cubicBezTo>
                    <a:cubicBezTo>
                      <a:pt x="64" y="77"/>
                      <a:pt x="63" y="77"/>
                      <a:pt x="63" y="77"/>
                    </a:cubicBezTo>
                    <a:cubicBezTo>
                      <a:pt x="63" y="77"/>
                      <a:pt x="63" y="76"/>
                      <a:pt x="63" y="76"/>
                    </a:cubicBezTo>
                    <a:cubicBezTo>
                      <a:pt x="63" y="76"/>
                      <a:pt x="63" y="76"/>
                      <a:pt x="63" y="76"/>
                    </a:cubicBezTo>
                    <a:cubicBezTo>
                      <a:pt x="63" y="76"/>
                      <a:pt x="62" y="78"/>
                      <a:pt x="61" y="78"/>
                    </a:cubicBezTo>
                    <a:cubicBezTo>
                      <a:pt x="61" y="78"/>
                      <a:pt x="61" y="78"/>
                      <a:pt x="61" y="78"/>
                    </a:cubicBezTo>
                    <a:cubicBezTo>
                      <a:pt x="60" y="78"/>
                      <a:pt x="60" y="78"/>
                      <a:pt x="60" y="78"/>
                    </a:cubicBezTo>
                    <a:cubicBezTo>
                      <a:pt x="60" y="78"/>
                      <a:pt x="60" y="78"/>
                      <a:pt x="60" y="78"/>
                    </a:cubicBezTo>
                    <a:cubicBezTo>
                      <a:pt x="60" y="78"/>
                      <a:pt x="59" y="78"/>
                      <a:pt x="59" y="78"/>
                    </a:cubicBezTo>
                    <a:cubicBezTo>
                      <a:pt x="59" y="78"/>
                      <a:pt x="59" y="79"/>
                      <a:pt x="59" y="79"/>
                    </a:cubicBezTo>
                    <a:cubicBezTo>
                      <a:pt x="58" y="79"/>
                      <a:pt x="58" y="79"/>
                      <a:pt x="58" y="79"/>
                    </a:cubicBezTo>
                    <a:cubicBezTo>
                      <a:pt x="58" y="79"/>
                      <a:pt x="58" y="80"/>
                      <a:pt x="58" y="80"/>
                    </a:cubicBezTo>
                    <a:cubicBezTo>
                      <a:pt x="58" y="80"/>
                      <a:pt x="58" y="80"/>
                      <a:pt x="58" y="80"/>
                    </a:cubicBezTo>
                    <a:cubicBezTo>
                      <a:pt x="57" y="80"/>
                      <a:pt x="57" y="80"/>
                      <a:pt x="57" y="80"/>
                    </a:cubicBezTo>
                    <a:cubicBezTo>
                      <a:pt x="57" y="80"/>
                      <a:pt x="56" y="81"/>
                      <a:pt x="56" y="82"/>
                    </a:cubicBezTo>
                    <a:cubicBezTo>
                      <a:pt x="56" y="82"/>
                      <a:pt x="55" y="82"/>
                      <a:pt x="55" y="82"/>
                    </a:cubicBezTo>
                    <a:cubicBezTo>
                      <a:pt x="55" y="82"/>
                      <a:pt x="55" y="82"/>
                      <a:pt x="55" y="82"/>
                    </a:cubicBezTo>
                    <a:cubicBezTo>
                      <a:pt x="55" y="82"/>
                      <a:pt x="55" y="82"/>
                      <a:pt x="55" y="82"/>
                    </a:cubicBezTo>
                    <a:cubicBezTo>
                      <a:pt x="55" y="81"/>
                      <a:pt x="55" y="81"/>
                      <a:pt x="55" y="81"/>
                    </a:cubicBezTo>
                    <a:cubicBezTo>
                      <a:pt x="55" y="81"/>
                      <a:pt x="55" y="80"/>
                      <a:pt x="55" y="80"/>
                    </a:cubicBezTo>
                    <a:cubicBezTo>
                      <a:pt x="55" y="80"/>
                      <a:pt x="55" y="80"/>
                      <a:pt x="55" y="80"/>
                    </a:cubicBezTo>
                    <a:cubicBezTo>
                      <a:pt x="55" y="80"/>
                      <a:pt x="53" y="80"/>
                      <a:pt x="53" y="80"/>
                    </a:cubicBezTo>
                    <a:cubicBezTo>
                      <a:pt x="53" y="80"/>
                      <a:pt x="53" y="80"/>
                      <a:pt x="53" y="80"/>
                    </a:cubicBezTo>
                    <a:cubicBezTo>
                      <a:pt x="51" y="82"/>
                      <a:pt x="51" y="82"/>
                      <a:pt x="51" y="82"/>
                    </a:cubicBezTo>
                    <a:lnTo>
                      <a:pt x="49" y="82"/>
                    </a:lnTo>
                    <a:close/>
                    <a:moveTo>
                      <a:pt x="67" y="9"/>
                    </a:moveTo>
                    <a:cubicBezTo>
                      <a:pt x="68" y="9"/>
                      <a:pt x="67" y="9"/>
                      <a:pt x="67" y="8"/>
                    </a:cubicBezTo>
                    <a:cubicBezTo>
                      <a:pt x="67" y="8"/>
                      <a:pt x="67" y="8"/>
                      <a:pt x="67" y="8"/>
                    </a:cubicBezTo>
                    <a:cubicBezTo>
                      <a:pt x="67" y="8"/>
                      <a:pt x="67" y="8"/>
                      <a:pt x="67" y="8"/>
                    </a:cubicBezTo>
                    <a:cubicBezTo>
                      <a:pt x="67" y="8"/>
                      <a:pt x="67" y="8"/>
                      <a:pt x="67" y="8"/>
                    </a:cubicBezTo>
                    <a:cubicBezTo>
                      <a:pt x="67" y="8"/>
                      <a:pt x="66" y="8"/>
                      <a:pt x="66" y="8"/>
                    </a:cubicBezTo>
                    <a:cubicBezTo>
                      <a:pt x="66" y="8"/>
                      <a:pt x="66" y="8"/>
                      <a:pt x="66" y="8"/>
                    </a:cubicBezTo>
                    <a:cubicBezTo>
                      <a:pt x="66" y="8"/>
                      <a:pt x="66" y="8"/>
                      <a:pt x="66" y="8"/>
                    </a:cubicBezTo>
                    <a:cubicBezTo>
                      <a:pt x="66" y="8"/>
                      <a:pt x="66" y="8"/>
                      <a:pt x="66" y="8"/>
                    </a:cubicBezTo>
                    <a:cubicBezTo>
                      <a:pt x="66" y="9"/>
                      <a:pt x="66" y="9"/>
                      <a:pt x="66" y="9"/>
                    </a:cubicBezTo>
                    <a:cubicBezTo>
                      <a:pt x="66" y="9"/>
                      <a:pt x="65" y="9"/>
                      <a:pt x="65" y="9"/>
                    </a:cubicBezTo>
                    <a:cubicBezTo>
                      <a:pt x="65" y="9"/>
                      <a:pt x="65" y="9"/>
                      <a:pt x="65" y="9"/>
                    </a:cubicBezTo>
                    <a:cubicBezTo>
                      <a:pt x="64" y="9"/>
                      <a:pt x="64" y="9"/>
                      <a:pt x="64" y="9"/>
                    </a:cubicBezTo>
                    <a:cubicBezTo>
                      <a:pt x="64" y="9"/>
                      <a:pt x="64" y="9"/>
                      <a:pt x="63" y="9"/>
                    </a:cubicBezTo>
                    <a:cubicBezTo>
                      <a:pt x="63" y="9"/>
                      <a:pt x="63" y="9"/>
                      <a:pt x="63" y="9"/>
                    </a:cubicBezTo>
                    <a:cubicBezTo>
                      <a:pt x="63" y="9"/>
                      <a:pt x="63" y="9"/>
                      <a:pt x="63" y="9"/>
                    </a:cubicBezTo>
                    <a:cubicBezTo>
                      <a:pt x="63" y="9"/>
                      <a:pt x="63" y="9"/>
                      <a:pt x="63" y="9"/>
                    </a:cubicBezTo>
                    <a:cubicBezTo>
                      <a:pt x="63" y="9"/>
                      <a:pt x="63" y="9"/>
                      <a:pt x="63" y="9"/>
                    </a:cubicBezTo>
                    <a:cubicBezTo>
                      <a:pt x="63" y="9"/>
                      <a:pt x="64" y="9"/>
                      <a:pt x="64" y="9"/>
                    </a:cubicBezTo>
                    <a:cubicBezTo>
                      <a:pt x="64" y="9"/>
                      <a:pt x="64" y="9"/>
                      <a:pt x="64" y="10"/>
                    </a:cubicBezTo>
                    <a:cubicBezTo>
                      <a:pt x="64" y="10"/>
                      <a:pt x="64" y="10"/>
                      <a:pt x="65" y="9"/>
                    </a:cubicBezTo>
                    <a:cubicBezTo>
                      <a:pt x="65" y="9"/>
                      <a:pt x="65" y="9"/>
                      <a:pt x="65" y="9"/>
                    </a:cubicBezTo>
                    <a:cubicBezTo>
                      <a:pt x="65" y="9"/>
                      <a:pt x="65" y="9"/>
                      <a:pt x="65" y="9"/>
                    </a:cubicBezTo>
                    <a:cubicBezTo>
                      <a:pt x="65" y="9"/>
                      <a:pt x="65" y="10"/>
                      <a:pt x="65" y="10"/>
                    </a:cubicBezTo>
                    <a:cubicBezTo>
                      <a:pt x="65" y="10"/>
                      <a:pt x="65" y="10"/>
                      <a:pt x="66" y="10"/>
                    </a:cubicBezTo>
                    <a:cubicBezTo>
                      <a:pt x="66" y="10"/>
                      <a:pt x="66" y="10"/>
                      <a:pt x="66" y="10"/>
                    </a:cubicBezTo>
                    <a:cubicBezTo>
                      <a:pt x="66" y="10"/>
                      <a:pt x="67" y="10"/>
                      <a:pt x="67" y="10"/>
                    </a:cubicBezTo>
                    <a:cubicBezTo>
                      <a:pt x="67" y="10"/>
                      <a:pt x="67" y="10"/>
                      <a:pt x="67" y="10"/>
                    </a:cubicBezTo>
                    <a:cubicBezTo>
                      <a:pt x="67" y="9"/>
                      <a:pt x="67" y="9"/>
                      <a:pt x="67" y="9"/>
                    </a:cubicBezTo>
                    <a:cubicBezTo>
                      <a:pt x="67" y="9"/>
                      <a:pt x="67" y="9"/>
                      <a:pt x="67" y="9"/>
                    </a:cubicBezTo>
                    <a:cubicBezTo>
                      <a:pt x="67" y="9"/>
                      <a:pt x="67" y="9"/>
                      <a:pt x="67"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4" name="Freeform 680">
                <a:extLst>
                  <a:ext uri="{FF2B5EF4-FFF2-40B4-BE49-F238E27FC236}">
                    <a16:creationId xmlns:a16="http://schemas.microsoft.com/office/drawing/2014/main" id="{22FAE333-9188-875B-23F2-86E6556BB7C9}"/>
                  </a:ext>
                </a:extLst>
              </p:cNvPr>
              <p:cNvSpPr>
                <a:spLocks/>
              </p:cNvSpPr>
              <p:nvPr/>
            </p:nvSpPr>
            <p:spPr bwMode="auto">
              <a:xfrm>
                <a:off x="3727451" y="5795963"/>
                <a:ext cx="158750" cy="166688"/>
              </a:xfrm>
              <a:custGeom>
                <a:avLst/>
                <a:gdLst>
                  <a:gd name="T0" fmla="*/ 38 w 38"/>
                  <a:gd name="T1" fmla="*/ 22 h 40"/>
                  <a:gd name="T2" fmla="*/ 34 w 38"/>
                  <a:gd name="T3" fmla="*/ 18 h 40"/>
                  <a:gd name="T4" fmla="*/ 33 w 38"/>
                  <a:gd name="T5" fmla="*/ 16 h 40"/>
                  <a:gd name="T6" fmla="*/ 31 w 38"/>
                  <a:gd name="T7" fmla="*/ 15 h 40"/>
                  <a:gd name="T8" fmla="*/ 28 w 38"/>
                  <a:gd name="T9" fmla="*/ 13 h 40"/>
                  <a:gd name="T10" fmla="*/ 26 w 38"/>
                  <a:gd name="T11" fmla="*/ 11 h 40"/>
                  <a:gd name="T12" fmla="*/ 24 w 38"/>
                  <a:gd name="T13" fmla="*/ 9 h 40"/>
                  <a:gd name="T14" fmla="*/ 23 w 38"/>
                  <a:gd name="T15" fmla="*/ 10 h 40"/>
                  <a:gd name="T16" fmla="*/ 22 w 38"/>
                  <a:gd name="T17" fmla="*/ 7 h 40"/>
                  <a:gd name="T18" fmla="*/ 20 w 38"/>
                  <a:gd name="T19" fmla="*/ 6 h 40"/>
                  <a:gd name="T20" fmla="*/ 18 w 38"/>
                  <a:gd name="T21" fmla="*/ 8 h 40"/>
                  <a:gd name="T22" fmla="*/ 17 w 38"/>
                  <a:gd name="T23" fmla="*/ 6 h 40"/>
                  <a:gd name="T24" fmla="*/ 11 w 38"/>
                  <a:gd name="T25" fmla="*/ 0 h 40"/>
                  <a:gd name="T26" fmla="*/ 9 w 38"/>
                  <a:gd name="T27" fmla="*/ 0 h 40"/>
                  <a:gd name="T28" fmla="*/ 8 w 38"/>
                  <a:gd name="T29" fmla="*/ 1 h 40"/>
                  <a:gd name="T30" fmla="*/ 6 w 38"/>
                  <a:gd name="T31" fmla="*/ 1 h 40"/>
                  <a:gd name="T32" fmla="*/ 6 w 38"/>
                  <a:gd name="T33" fmla="*/ 1 h 40"/>
                  <a:gd name="T34" fmla="*/ 4 w 38"/>
                  <a:gd name="T35" fmla="*/ 3 h 40"/>
                  <a:gd name="T36" fmla="*/ 4 w 38"/>
                  <a:gd name="T37" fmla="*/ 5 h 40"/>
                  <a:gd name="T38" fmla="*/ 5 w 38"/>
                  <a:gd name="T39" fmla="*/ 6 h 40"/>
                  <a:gd name="T40" fmla="*/ 4 w 38"/>
                  <a:gd name="T41" fmla="*/ 7 h 40"/>
                  <a:gd name="T42" fmla="*/ 4 w 38"/>
                  <a:gd name="T43" fmla="*/ 10 h 40"/>
                  <a:gd name="T44" fmla="*/ 3 w 38"/>
                  <a:gd name="T45" fmla="*/ 11 h 40"/>
                  <a:gd name="T46" fmla="*/ 3 w 38"/>
                  <a:gd name="T47" fmla="*/ 12 h 40"/>
                  <a:gd name="T48" fmla="*/ 3 w 38"/>
                  <a:gd name="T49" fmla="*/ 13 h 40"/>
                  <a:gd name="T50" fmla="*/ 2 w 38"/>
                  <a:gd name="T51" fmla="*/ 14 h 40"/>
                  <a:gd name="T52" fmla="*/ 2 w 38"/>
                  <a:gd name="T53" fmla="*/ 15 h 40"/>
                  <a:gd name="T54" fmla="*/ 2 w 38"/>
                  <a:gd name="T55" fmla="*/ 17 h 40"/>
                  <a:gd name="T56" fmla="*/ 2 w 38"/>
                  <a:gd name="T57" fmla="*/ 18 h 40"/>
                  <a:gd name="T58" fmla="*/ 2 w 38"/>
                  <a:gd name="T59" fmla="*/ 19 h 40"/>
                  <a:gd name="T60" fmla="*/ 2 w 38"/>
                  <a:gd name="T61" fmla="*/ 20 h 40"/>
                  <a:gd name="T62" fmla="*/ 2 w 38"/>
                  <a:gd name="T63" fmla="*/ 22 h 40"/>
                  <a:gd name="T64" fmla="*/ 2 w 38"/>
                  <a:gd name="T65" fmla="*/ 23 h 40"/>
                  <a:gd name="T66" fmla="*/ 2 w 38"/>
                  <a:gd name="T67" fmla="*/ 25 h 40"/>
                  <a:gd name="T68" fmla="*/ 1 w 38"/>
                  <a:gd name="T69" fmla="*/ 25 h 40"/>
                  <a:gd name="T70" fmla="*/ 0 w 38"/>
                  <a:gd name="T71" fmla="*/ 29 h 40"/>
                  <a:gd name="T72" fmla="*/ 2 w 38"/>
                  <a:gd name="T73" fmla="*/ 34 h 40"/>
                  <a:gd name="T74" fmla="*/ 4 w 38"/>
                  <a:gd name="T75" fmla="*/ 36 h 40"/>
                  <a:gd name="T76" fmla="*/ 8 w 38"/>
                  <a:gd name="T77" fmla="*/ 36 h 40"/>
                  <a:gd name="T78" fmla="*/ 10 w 38"/>
                  <a:gd name="T79" fmla="*/ 37 h 40"/>
                  <a:gd name="T80" fmla="*/ 15 w 38"/>
                  <a:gd name="T81" fmla="*/ 39 h 40"/>
                  <a:gd name="T82" fmla="*/ 16 w 38"/>
                  <a:gd name="T83" fmla="*/ 40 h 40"/>
                  <a:gd name="T84" fmla="*/ 19 w 38"/>
                  <a:gd name="T85" fmla="*/ 39 h 40"/>
                  <a:gd name="T86" fmla="*/ 23 w 38"/>
                  <a:gd name="T87" fmla="*/ 40 h 40"/>
                  <a:gd name="T88" fmla="*/ 25 w 38"/>
                  <a:gd name="T89" fmla="*/ 40 h 40"/>
                  <a:gd name="T90" fmla="*/ 29 w 38"/>
                  <a:gd name="T91" fmla="*/ 38 h 40"/>
                  <a:gd name="T92" fmla="*/ 30 w 38"/>
                  <a:gd name="T93" fmla="*/ 38 h 40"/>
                  <a:gd name="T94" fmla="*/ 33 w 38"/>
                  <a:gd name="T95" fmla="*/ 36 h 40"/>
                  <a:gd name="T96" fmla="*/ 33 w 38"/>
                  <a:gd name="T97" fmla="*/ 35 h 40"/>
                  <a:gd name="T98" fmla="*/ 36 w 38"/>
                  <a:gd name="T99" fmla="*/ 30 h 40"/>
                  <a:gd name="T100" fmla="*/ 35 w 38"/>
                  <a:gd name="T101"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 h="40">
                    <a:moveTo>
                      <a:pt x="35" y="25"/>
                    </a:moveTo>
                    <a:cubicBezTo>
                      <a:pt x="38" y="22"/>
                      <a:pt x="38" y="22"/>
                      <a:pt x="38" y="22"/>
                    </a:cubicBezTo>
                    <a:cubicBezTo>
                      <a:pt x="37" y="21"/>
                      <a:pt x="37" y="21"/>
                      <a:pt x="37" y="21"/>
                    </a:cubicBezTo>
                    <a:cubicBezTo>
                      <a:pt x="37" y="21"/>
                      <a:pt x="34" y="18"/>
                      <a:pt x="34" y="18"/>
                    </a:cubicBezTo>
                    <a:cubicBezTo>
                      <a:pt x="34" y="18"/>
                      <a:pt x="34" y="16"/>
                      <a:pt x="34" y="16"/>
                    </a:cubicBezTo>
                    <a:cubicBezTo>
                      <a:pt x="34" y="16"/>
                      <a:pt x="33" y="16"/>
                      <a:pt x="33" y="16"/>
                    </a:cubicBezTo>
                    <a:cubicBezTo>
                      <a:pt x="33" y="16"/>
                      <a:pt x="32" y="15"/>
                      <a:pt x="32" y="15"/>
                    </a:cubicBezTo>
                    <a:cubicBezTo>
                      <a:pt x="32" y="15"/>
                      <a:pt x="31" y="15"/>
                      <a:pt x="31" y="15"/>
                    </a:cubicBezTo>
                    <a:cubicBezTo>
                      <a:pt x="31" y="15"/>
                      <a:pt x="31" y="15"/>
                      <a:pt x="31" y="15"/>
                    </a:cubicBezTo>
                    <a:cubicBezTo>
                      <a:pt x="28" y="13"/>
                      <a:pt x="28" y="13"/>
                      <a:pt x="28" y="13"/>
                    </a:cubicBezTo>
                    <a:cubicBezTo>
                      <a:pt x="28" y="12"/>
                      <a:pt x="28" y="12"/>
                      <a:pt x="28" y="12"/>
                    </a:cubicBezTo>
                    <a:cubicBezTo>
                      <a:pt x="28" y="12"/>
                      <a:pt x="27" y="11"/>
                      <a:pt x="26" y="11"/>
                    </a:cubicBezTo>
                    <a:cubicBezTo>
                      <a:pt x="26" y="11"/>
                      <a:pt x="25" y="11"/>
                      <a:pt x="25" y="11"/>
                    </a:cubicBezTo>
                    <a:cubicBezTo>
                      <a:pt x="25" y="11"/>
                      <a:pt x="24" y="9"/>
                      <a:pt x="24" y="9"/>
                    </a:cubicBezTo>
                    <a:cubicBezTo>
                      <a:pt x="24" y="10"/>
                      <a:pt x="24" y="10"/>
                      <a:pt x="24" y="10"/>
                    </a:cubicBezTo>
                    <a:cubicBezTo>
                      <a:pt x="24" y="10"/>
                      <a:pt x="23" y="10"/>
                      <a:pt x="23" y="10"/>
                    </a:cubicBezTo>
                    <a:cubicBezTo>
                      <a:pt x="23" y="10"/>
                      <a:pt x="22" y="9"/>
                      <a:pt x="22" y="9"/>
                    </a:cubicBezTo>
                    <a:cubicBezTo>
                      <a:pt x="22" y="9"/>
                      <a:pt x="22" y="7"/>
                      <a:pt x="22" y="7"/>
                    </a:cubicBezTo>
                    <a:cubicBezTo>
                      <a:pt x="22" y="7"/>
                      <a:pt x="21" y="7"/>
                      <a:pt x="21" y="7"/>
                    </a:cubicBezTo>
                    <a:cubicBezTo>
                      <a:pt x="20" y="6"/>
                      <a:pt x="20" y="6"/>
                      <a:pt x="20" y="6"/>
                    </a:cubicBezTo>
                    <a:cubicBezTo>
                      <a:pt x="20" y="6"/>
                      <a:pt x="20" y="7"/>
                      <a:pt x="20" y="7"/>
                    </a:cubicBezTo>
                    <a:cubicBezTo>
                      <a:pt x="19" y="7"/>
                      <a:pt x="18" y="8"/>
                      <a:pt x="18" y="8"/>
                    </a:cubicBezTo>
                    <a:cubicBezTo>
                      <a:pt x="17" y="8"/>
                      <a:pt x="17" y="8"/>
                      <a:pt x="17" y="8"/>
                    </a:cubicBezTo>
                    <a:cubicBezTo>
                      <a:pt x="17" y="6"/>
                      <a:pt x="17" y="6"/>
                      <a:pt x="17" y="6"/>
                    </a:cubicBezTo>
                    <a:cubicBezTo>
                      <a:pt x="17" y="6"/>
                      <a:pt x="16" y="4"/>
                      <a:pt x="15" y="4"/>
                    </a:cubicBezTo>
                    <a:cubicBezTo>
                      <a:pt x="15" y="3"/>
                      <a:pt x="11" y="0"/>
                      <a:pt x="11" y="0"/>
                    </a:cubicBezTo>
                    <a:cubicBezTo>
                      <a:pt x="11" y="0"/>
                      <a:pt x="10" y="0"/>
                      <a:pt x="10" y="0"/>
                    </a:cubicBezTo>
                    <a:cubicBezTo>
                      <a:pt x="10" y="0"/>
                      <a:pt x="10" y="0"/>
                      <a:pt x="9" y="0"/>
                    </a:cubicBezTo>
                    <a:cubicBezTo>
                      <a:pt x="9" y="0"/>
                      <a:pt x="9" y="1"/>
                      <a:pt x="9" y="1"/>
                    </a:cubicBezTo>
                    <a:cubicBezTo>
                      <a:pt x="9" y="1"/>
                      <a:pt x="8" y="1"/>
                      <a:pt x="8" y="1"/>
                    </a:cubicBezTo>
                    <a:cubicBezTo>
                      <a:pt x="8" y="1"/>
                      <a:pt x="7" y="1"/>
                      <a:pt x="7" y="1"/>
                    </a:cubicBezTo>
                    <a:cubicBezTo>
                      <a:pt x="7" y="1"/>
                      <a:pt x="6" y="1"/>
                      <a:pt x="6" y="1"/>
                    </a:cubicBezTo>
                    <a:cubicBezTo>
                      <a:pt x="6" y="1"/>
                      <a:pt x="6" y="1"/>
                      <a:pt x="6" y="1"/>
                    </a:cubicBezTo>
                    <a:cubicBezTo>
                      <a:pt x="6" y="1"/>
                      <a:pt x="6" y="1"/>
                      <a:pt x="6" y="1"/>
                    </a:cubicBezTo>
                    <a:cubicBezTo>
                      <a:pt x="6" y="2"/>
                      <a:pt x="6" y="2"/>
                      <a:pt x="6" y="2"/>
                    </a:cubicBezTo>
                    <a:cubicBezTo>
                      <a:pt x="6" y="2"/>
                      <a:pt x="4" y="3"/>
                      <a:pt x="4" y="3"/>
                    </a:cubicBezTo>
                    <a:cubicBezTo>
                      <a:pt x="4" y="3"/>
                      <a:pt x="4" y="4"/>
                      <a:pt x="4" y="4"/>
                    </a:cubicBezTo>
                    <a:cubicBezTo>
                      <a:pt x="4" y="4"/>
                      <a:pt x="4" y="4"/>
                      <a:pt x="4" y="5"/>
                    </a:cubicBezTo>
                    <a:cubicBezTo>
                      <a:pt x="4" y="5"/>
                      <a:pt x="4" y="5"/>
                      <a:pt x="4" y="6"/>
                    </a:cubicBezTo>
                    <a:cubicBezTo>
                      <a:pt x="4" y="6"/>
                      <a:pt x="5" y="6"/>
                      <a:pt x="5" y="6"/>
                    </a:cubicBezTo>
                    <a:cubicBezTo>
                      <a:pt x="5" y="6"/>
                      <a:pt x="5" y="6"/>
                      <a:pt x="4" y="7"/>
                    </a:cubicBezTo>
                    <a:cubicBezTo>
                      <a:pt x="4" y="7"/>
                      <a:pt x="4" y="7"/>
                      <a:pt x="4" y="7"/>
                    </a:cubicBezTo>
                    <a:cubicBezTo>
                      <a:pt x="4" y="9"/>
                      <a:pt x="4" y="9"/>
                      <a:pt x="4" y="9"/>
                    </a:cubicBezTo>
                    <a:cubicBezTo>
                      <a:pt x="4" y="10"/>
                      <a:pt x="4" y="10"/>
                      <a:pt x="4" y="10"/>
                    </a:cubicBezTo>
                    <a:cubicBezTo>
                      <a:pt x="4" y="10"/>
                      <a:pt x="4" y="10"/>
                      <a:pt x="3" y="10"/>
                    </a:cubicBezTo>
                    <a:cubicBezTo>
                      <a:pt x="3" y="10"/>
                      <a:pt x="3" y="11"/>
                      <a:pt x="3" y="11"/>
                    </a:cubicBezTo>
                    <a:cubicBezTo>
                      <a:pt x="3" y="11"/>
                      <a:pt x="3" y="11"/>
                      <a:pt x="3" y="11"/>
                    </a:cubicBezTo>
                    <a:cubicBezTo>
                      <a:pt x="3" y="11"/>
                      <a:pt x="3" y="12"/>
                      <a:pt x="3" y="12"/>
                    </a:cubicBezTo>
                    <a:cubicBezTo>
                      <a:pt x="3" y="12"/>
                      <a:pt x="3" y="12"/>
                      <a:pt x="3" y="12"/>
                    </a:cubicBezTo>
                    <a:cubicBezTo>
                      <a:pt x="3" y="13"/>
                      <a:pt x="3" y="13"/>
                      <a:pt x="3" y="13"/>
                    </a:cubicBezTo>
                    <a:cubicBezTo>
                      <a:pt x="3" y="14"/>
                      <a:pt x="3" y="14"/>
                      <a:pt x="3" y="14"/>
                    </a:cubicBezTo>
                    <a:cubicBezTo>
                      <a:pt x="3" y="14"/>
                      <a:pt x="2" y="14"/>
                      <a:pt x="2" y="14"/>
                    </a:cubicBezTo>
                    <a:cubicBezTo>
                      <a:pt x="2" y="14"/>
                      <a:pt x="2" y="14"/>
                      <a:pt x="2" y="15"/>
                    </a:cubicBezTo>
                    <a:cubicBezTo>
                      <a:pt x="2" y="15"/>
                      <a:pt x="2" y="15"/>
                      <a:pt x="2" y="15"/>
                    </a:cubicBezTo>
                    <a:cubicBezTo>
                      <a:pt x="2" y="16"/>
                      <a:pt x="2" y="16"/>
                      <a:pt x="2" y="16"/>
                    </a:cubicBezTo>
                    <a:cubicBezTo>
                      <a:pt x="2" y="16"/>
                      <a:pt x="2" y="16"/>
                      <a:pt x="2" y="17"/>
                    </a:cubicBezTo>
                    <a:cubicBezTo>
                      <a:pt x="2" y="17"/>
                      <a:pt x="2" y="17"/>
                      <a:pt x="2" y="17"/>
                    </a:cubicBezTo>
                    <a:cubicBezTo>
                      <a:pt x="2" y="17"/>
                      <a:pt x="2" y="17"/>
                      <a:pt x="2" y="18"/>
                    </a:cubicBezTo>
                    <a:cubicBezTo>
                      <a:pt x="2" y="18"/>
                      <a:pt x="2" y="18"/>
                      <a:pt x="2" y="18"/>
                    </a:cubicBezTo>
                    <a:cubicBezTo>
                      <a:pt x="2" y="18"/>
                      <a:pt x="2" y="18"/>
                      <a:pt x="2" y="19"/>
                    </a:cubicBezTo>
                    <a:cubicBezTo>
                      <a:pt x="2" y="19"/>
                      <a:pt x="2" y="19"/>
                      <a:pt x="2" y="19"/>
                    </a:cubicBezTo>
                    <a:cubicBezTo>
                      <a:pt x="2" y="19"/>
                      <a:pt x="2" y="20"/>
                      <a:pt x="2" y="20"/>
                    </a:cubicBezTo>
                    <a:cubicBezTo>
                      <a:pt x="2" y="20"/>
                      <a:pt x="2" y="21"/>
                      <a:pt x="2" y="21"/>
                    </a:cubicBezTo>
                    <a:cubicBezTo>
                      <a:pt x="2" y="21"/>
                      <a:pt x="2" y="22"/>
                      <a:pt x="2" y="22"/>
                    </a:cubicBezTo>
                    <a:cubicBezTo>
                      <a:pt x="2" y="22"/>
                      <a:pt x="2" y="22"/>
                      <a:pt x="2" y="23"/>
                    </a:cubicBezTo>
                    <a:cubicBezTo>
                      <a:pt x="2" y="23"/>
                      <a:pt x="2" y="23"/>
                      <a:pt x="2" y="23"/>
                    </a:cubicBezTo>
                    <a:cubicBezTo>
                      <a:pt x="2" y="24"/>
                      <a:pt x="2" y="24"/>
                      <a:pt x="2" y="24"/>
                    </a:cubicBezTo>
                    <a:cubicBezTo>
                      <a:pt x="2" y="24"/>
                      <a:pt x="2" y="24"/>
                      <a:pt x="2" y="25"/>
                    </a:cubicBezTo>
                    <a:cubicBezTo>
                      <a:pt x="2" y="25"/>
                      <a:pt x="2" y="25"/>
                      <a:pt x="2" y="25"/>
                    </a:cubicBezTo>
                    <a:cubicBezTo>
                      <a:pt x="2" y="25"/>
                      <a:pt x="1" y="25"/>
                      <a:pt x="1" y="25"/>
                    </a:cubicBezTo>
                    <a:cubicBezTo>
                      <a:pt x="1" y="25"/>
                      <a:pt x="1" y="26"/>
                      <a:pt x="1" y="26"/>
                    </a:cubicBezTo>
                    <a:cubicBezTo>
                      <a:pt x="1" y="27"/>
                      <a:pt x="0" y="28"/>
                      <a:pt x="0" y="29"/>
                    </a:cubicBezTo>
                    <a:cubicBezTo>
                      <a:pt x="0" y="31"/>
                      <a:pt x="1" y="32"/>
                      <a:pt x="2" y="33"/>
                    </a:cubicBezTo>
                    <a:cubicBezTo>
                      <a:pt x="2" y="33"/>
                      <a:pt x="2" y="34"/>
                      <a:pt x="2" y="34"/>
                    </a:cubicBezTo>
                    <a:cubicBezTo>
                      <a:pt x="3" y="35"/>
                      <a:pt x="4" y="35"/>
                      <a:pt x="4" y="36"/>
                    </a:cubicBezTo>
                    <a:cubicBezTo>
                      <a:pt x="4" y="36"/>
                      <a:pt x="4" y="36"/>
                      <a:pt x="4" y="36"/>
                    </a:cubicBezTo>
                    <a:cubicBezTo>
                      <a:pt x="5" y="36"/>
                      <a:pt x="5" y="36"/>
                      <a:pt x="5" y="36"/>
                    </a:cubicBezTo>
                    <a:cubicBezTo>
                      <a:pt x="6" y="36"/>
                      <a:pt x="7" y="36"/>
                      <a:pt x="8" y="36"/>
                    </a:cubicBezTo>
                    <a:cubicBezTo>
                      <a:pt x="9" y="36"/>
                      <a:pt x="9" y="36"/>
                      <a:pt x="9" y="36"/>
                    </a:cubicBezTo>
                    <a:cubicBezTo>
                      <a:pt x="10" y="36"/>
                      <a:pt x="10" y="36"/>
                      <a:pt x="10" y="37"/>
                    </a:cubicBezTo>
                    <a:cubicBezTo>
                      <a:pt x="11" y="38"/>
                      <a:pt x="12" y="38"/>
                      <a:pt x="13" y="39"/>
                    </a:cubicBezTo>
                    <a:cubicBezTo>
                      <a:pt x="14" y="39"/>
                      <a:pt x="15" y="39"/>
                      <a:pt x="15" y="39"/>
                    </a:cubicBezTo>
                    <a:cubicBezTo>
                      <a:pt x="15" y="40"/>
                      <a:pt x="15" y="40"/>
                      <a:pt x="15" y="40"/>
                    </a:cubicBezTo>
                    <a:cubicBezTo>
                      <a:pt x="16" y="40"/>
                      <a:pt x="16" y="40"/>
                      <a:pt x="16" y="40"/>
                    </a:cubicBezTo>
                    <a:cubicBezTo>
                      <a:pt x="16" y="40"/>
                      <a:pt x="16" y="40"/>
                      <a:pt x="17" y="40"/>
                    </a:cubicBezTo>
                    <a:cubicBezTo>
                      <a:pt x="17" y="40"/>
                      <a:pt x="18" y="40"/>
                      <a:pt x="19" y="39"/>
                    </a:cubicBezTo>
                    <a:cubicBezTo>
                      <a:pt x="20" y="39"/>
                      <a:pt x="21" y="39"/>
                      <a:pt x="22" y="40"/>
                    </a:cubicBezTo>
                    <a:cubicBezTo>
                      <a:pt x="22" y="40"/>
                      <a:pt x="23" y="40"/>
                      <a:pt x="23" y="40"/>
                    </a:cubicBezTo>
                    <a:cubicBezTo>
                      <a:pt x="23" y="40"/>
                      <a:pt x="24" y="39"/>
                      <a:pt x="24" y="40"/>
                    </a:cubicBezTo>
                    <a:cubicBezTo>
                      <a:pt x="25" y="40"/>
                      <a:pt x="25" y="40"/>
                      <a:pt x="25" y="40"/>
                    </a:cubicBezTo>
                    <a:cubicBezTo>
                      <a:pt x="27" y="40"/>
                      <a:pt x="28" y="39"/>
                      <a:pt x="30" y="38"/>
                    </a:cubicBezTo>
                    <a:cubicBezTo>
                      <a:pt x="29" y="38"/>
                      <a:pt x="29" y="38"/>
                      <a:pt x="29" y="38"/>
                    </a:cubicBezTo>
                    <a:cubicBezTo>
                      <a:pt x="29" y="38"/>
                      <a:pt x="29" y="37"/>
                      <a:pt x="30" y="38"/>
                    </a:cubicBezTo>
                    <a:cubicBezTo>
                      <a:pt x="30" y="38"/>
                      <a:pt x="30" y="38"/>
                      <a:pt x="30" y="38"/>
                    </a:cubicBezTo>
                    <a:cubicBezTo>
                      <a:pt x="30" y="38"/>
                      <a:pt x="30" y="38"/>
                      <a:pt x="30" y="38"/>
                    </a:cubicBezTo>
                    <a:cubicBezTo>
                      <a:pt x="31" y="37"/>
                      <a:pt x="32" y="36"/>
                      <a:pt x="33" y="36"/>
                    </a:cubicBezTo>
                    <a:cubicBezTo>
                      <a:pt x="33" y="36"/>
                      <a:pt x="33" y="36"/>
                      <a:pt x="33" y="35"/>
                    </a:cubicBezTo>
                    <a:cubicBezTo>
                      <a:pt x="33" y="35"/>
                      <a:pt x="33" y="35"/>
                      <a:pt x="33" y="35"/>
                    </a:cubicBezTo>
                    <a:cubicBezTo>
                      <a:pt x="33" y="35"/>
                      <a:pt x="34" y="34"/>
                      <a:pt x="34" y="34"/>
                    </a:cubicBezTo>
                    <a:cubicBezTo>
                      <a:pt x="35" y="33"/>
                      <a:pt x="35" y="32"/>
                      <a:pt x="36" y="30"/>
                    </a:cubicBezTo>
                    <a:cubicBezTo>
                      <a:pt x="36" y="30"/>
                      <a:pt x="36" y="30"/>
                      <a:pt x="36" y="30"/>
                    </a:cubicBezTo>
                    <a:cubicBezTo>
                      <a:pt x="35" y="30"/>
                      <a:pt x="35" y="30"/>
                      <a:pt x="35" y="30"/>
                    </a:cubicBezTo>
                    <a:lnTo>
                      <a:pt x="35" y="2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5" name="Freeform 681">
                <a:extLst>
                  <a:ext uri="{FF2B5EF4-FFF2-40B4-BE49-F238E27FC236}">
                    <a16:creationId xmlns:a16="http://schemas.microsoft.com/office/drawing/2014/main" id="{765120FF-6C2E-1551-B388-413F08311C64}"/>
                  </a:ext>
                </a:extLst>
              </p:cNvPr>
              <p:cNvSpPr>
                <a:spLocks/>
              </p:cNvSpPr>
              <p:nvPr/>
            </p:nvSpPr>
            <p:spPr bwMode="auto">
              <a:xfrm>
                <a:off x="3740151" y="4692650"/>
                <a:ext cx="120650" cy="120650"/>
              </a:xfrm>
              <a:custGeom>
                <a:avLst/>
                <a:gdLst>
                  <a:gd name="T0" fmla="*/ 26 w 29"/>
                  <a:gd name="T1" fmla="*/ 12 h 29"/>
                  <a:gd name="T2" fmla="*/ 25 w 29"/>
                  <a:gd name="T3" fmla="*/ 8 h 29"/>
                  <a:gd name="T4" fmla="*/ 26 w 29"/>
                  <a:gd name="T5" fmla="*/ 6 h 29"/>
                  <a:gd name="T6" fmla="*/ 29 w 29"/>
                  <a:gd name="T7" fmla="*/ 1 h 29"/>
                  <a:gd name="T8" fmla="*/ 25 w 29"/>
                  <a:gd name="T9" fmla="*/ 0 h 29"/>
                  <a:gd name="T10" fmla="*/ 21 w 29"/>
                  <a:gd name="T11" fmla="*/ 0 h 29"/>
                  <a:gd name="T12" fmla="*/ 19 w 29"/>
                  <a:gd name="T13" fmla="*/ 0 h 29"/>
                  <a:gd name="T14" fmla="*/ 15 w 29"/>
                  <a:gd name="T15" fmla="*/ 0 h 29"/>
                  <a:gd name="T16" fmla="*/ 13 w 29"/>
                  <a:gd name="T17" fmla="*/ 1 h 29"/>
                  <a:gd name="T18" fmla="*/ 9 w 29"/>
                  <a:gd name="T19" fmla="*/ 0 h 29"/>
                  <a:gd name="T20" fmla="*/ 7 w 29"/>
                  <a:gd name="T21" fmla="*/ 1 h 29"/>
                  <a:gd name="T22" fmla="*/ 6 w 29"/>
                  <a:gd name="T23" fmla="*/ 3 h 29"/>
                  <a:gd name="T24" fmla="*/ 5 w 29"/>
                  <a:gd name="T25" fmla="*/ 4 h 29"/>
                  <a:gd name="T26" fmla="*/ 5 w 29"/>
                  <a:gd name="T27" fmla="*/ 5 h 29"/>
                  <a:gd name="T28" fmla="*/ 3 w 29"/>
                  <a:gd name="T29" fmla="*/ 7 h 29"/>
                  <a:gd name="T30" fmla="*/ 1 w 29"/>
                  <a:gd name="T31" fmla="*/ 8 h 29"/>
                  <a:gd name="T32" fmla="*/ 1 w 29"/>
                  <a:gd name="T33" fmla="*/ 10 h 29"/>
                  <a:gd name="T34" fmla="*/ 0 w 29"/>
                  <a:gd name="T35" fmla="*/ 13 h 29"/>
                  <a:gd name="T36" fmla="*/ 0 w 29"/>
                  <a:gd name="T37" fmla="*/ 14 h 29"/>
                  <a:gd name="T38" fmla="*/ 1 w 29"/>
                  <a:gd name="T39" fmla="*/ 16 h 29"/>
                  <a:gd name="T40" fmla="*/ 3 w 29"/>
                  <a:gd name="T41" fmla="*/ 18 h 29"/>
                  <a:gd name="T42" fmla="*/ 5 w 29"/>
                  <a:gd name="T43" fmla="*/ 20 h 29"/>
                  <a:gd name="T44" fmla="*/ 6 w 29"/>
                  <a:gd name="T45" fmla="*/ 22 h 29"/>
                  <a:gd name="T46" fmla="*/ 6 w 29"/>
                  <a:gd name="T47" fmla="*/ 22 h 29"/>
                  <a:gd name="T48" fmla="*/ 9 w 29"/>
                  <a:gd name="T49" fmla="*/ 28 h 29"/>
                  <a:gd name="T50" fmla="*/ 11 w 29"/>
                  <a:gd name="T51" fmla="*/ 28 h 29"/>
                  <a:gd name="T52" fmla="*/ 15 w 29"/>
                  <a:gd name="T53" fmla="*/ 29 h 29"/>
                  <a:gd name="T54" fmla="*/ 15 w 29"/>
                  <a:gd name="T55" fmla="*/ 27 h 29"/>
                  <a:gd name="T56" fmla="*/ 13 w 29"/>
                  <a:gd name="T57" fmla="*/ 26 h 29"/>
                  <a:gd name="T58" fmla="*/ 14 w 29"/>
                  <a:gd name="T59" fmla="*/ 25 h 29"/>
                  <a:gd name="T60" fmla="*/ 14 w 29"/>
                  <a:gd name="T61" fmla="*/ 24 h 29"/>
                  <a:gd name="T62" fmla="*/ 19 w 29"/>
                  <a:gd name="T63" fmla="*/ 25 h 29"/>
                  <a:gd name="T64" fmla="*/ 21 w 29"/>
                  <a:gd name="T65" fmla="*/ 24 h 29"/>
                  <a:gd name="T66" fmla="*/ 22 w 29"/>
                  <a:gd name="T67" fmla="*/ 25 h 29"/>
                  <a:gd name="T68" fmla="*/ 23 w 29"/>
                  <a:gd name="T69" fmla="*/ 26 h 29"/>
                  <a:gd name="T70" fmla="*/ 26 w 29"/>
                  <a:gd name="T71" fmla="*/ 24 h 29"/>
                  <a:gd name="T72" fmla="*/ 27 w 29"/>
                  <a:gd name="T73" fmla="*/ 21 h 29"/>
                  <a:gd name="T74" fmla="*/ 28 w 29"/>
                  <a:gd name="T75" fmla="*/ 18 h 29"/>
                  <a:gd name="T76" fmla="*/ 26 w 29"/>
                  <a:gd name="T77" fmla="*/ 1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29">
                    <a:moveTo>
                      <a:pt x="26" y="13"/>
                    </a:moveTo>
                    <a:cubicBezTo>
                      <a:pt x="26" y="12"/>
                      <a:pt x="26" y="12"/>
                      <a:pt x="26" y="12"/>
                    </a:cubicBezTo>
                    <a:cubicBezTo>
                      <a:pt x="26" y="9"/>
                      <a:pt x="26" y="9"/>
                      <a:pt x="26" y="9"/>
                    </a:cubicBezTo>
                    <a:cubicBezTo>
                      <a:pt x="25" y="8"/>
                      <a:pt x="25" y="8"/>
                      <a:pt x="25" y="8"/>
                    </a:cubicBezTo>
                    <a:cubicBezTo>
                      <a:pt x="25" y="7"/>
                      <a:pt x="25" y="7"/>
                      <a:pt x="25" y="7"/>
                    </a:cubicBezTo>
                    <a:cubicBezTo>
                      <a:pt x="26" y="6"/>
                      <a:pt x="26" y="6"/>
                      <a:pt x="26" y="6"/>
                    </a:cubicBezTo>
                    <a:cubicBezTo>
                      <a:pt x="28" y="3"/>
                      <a:pt x="28" y="3"/>
                      <a:pt x="28" y="3"/>
                    </a:cubicBezTo>
                    <a:cubicBezTo>
                      <a:pt x="29" y="1"/>
                      <a:pt x="29" y="1"/>
                      <a:pt x="29" y="1"/>
                    </a:cubicBezTo>
                    <a:cubicBezTo>
                      <a:pt x="28" y="1"/>
                      <a:pt x="28" y="1"/>
                      <a:pt x="27" y="1"/>
                    </a:cubicBezTo>
                    <a:cubicBezTo>
                      <a:pt x="27" y="1"/>
                      <a:pt x="25" y="0"/>
                      <a:pt x="25" y="0"/>
                    </a:cubicBezTo>
                    <a:cubicBezTo>
                      <a:pt x="24" y="0"/>
                      <a:pt x="21" y="0"/>
                      <a:pt x="21" y="0"/>
                    </a:cubicBezTo>
                    <a:cubicBezTo>
                      <a:pt x="21" y="0"/>
                      <a:pt x="21" y="0"/>
                      <a:pt x="21" y="0"/>
                    </a:cubicBezTo>
                    <a:cubicBezTo>
                      <a:pt x="20" y="0"/>
                      <a:pt x="20" y="1"/>
                      <a:pt x="20" y="0"/>
                    </a:cubicBezTo>
                    <a:cubicBezTo>
                      <a:pt x="19" y="0"/>
                      <a:pt x="19" y="0"/>
                      <a:pt x="19" y="0"/>
                    </a:cubicBezTo>
                    <a:cubicBezTo>
                      <a:pt x="18" y="0"/>
                      <a:pt x="17" y="0"/>
                      <a:pt x="16" y="0"/>
                    </a:cubicBezTo>
                    <a:cubicBezTo>
                      <a:pt x="16" y="0"/>
                      <a:pt x="15" y="0"/>
                      <a:pt x="15" y="0"/>
                    </a:cubicBezTo>
                    <a:cubicBezTo>
                      <a:pt x="15" y="0"/>
                      <a:pt x="15" y="1"/>
                      <a:pt x="15" y="1"/>
                    </a:cubicBezTo>
                    <a:cubicBezTo>
                      <a:pt x="14" y="1"/>
                      <a:pt x="13" y="1"/>
                      <a:pt x="13" y="1"/>
                    </a:cubicBezTo>
                    <a:cubicBezTo>
                      <a:pt x="12" y="1"/>
                      <a:pt x="11" y="0"/>
                      <a:pt x="11" y="0"/>
                    </a:cubicBezTo>
                    <a:cubicBezTo>
                      <a:pt x="10" y="0"/>
                      <a:pt x="10" y="0"/>
                      <a:pt x="9" y="0"/>
                    </a:cubicBezTo>
                    <a:cubicBezTo>
                      <a:pt x="9" y="0"/>
                      <a:pt x="8" y="0"/>
                      <a:pt x="7" y="0"/>
                    </a:cubicBezTo>
                    <a:cubicBezTo>
                      <a:pt x="7" y="0"/>
                      <a:pt x="7" y="1"/>
                      <a:pt x="7" y="1"/>
                    </a:cubicBezTo>
                    <a:cubicBezTo>
                      <a:pt x="7" y="1"/>
                      <a:pt x="6" y="1"/>
                      <a:pt x="6" y="1"/>
                    </a:cubicBezTo>
                    <a:cubicBezTo>
                      <a:pt x="6" y="3"/>
                      <a:pt x="6" y="3"/>
                      <a:pt x="6" y="3"/>
                    </a:cubicBezTo>
                    <a:cubicBezTo>
                      <a:pt x="5" y="4"/>
                      <a:pt x="5" y="4"/>
                      <a:pt x="5" y="4"/>
                    </a:cubicBezTo>
                    <a:cubicBezTo>
                      <a:pt x="5" y="4"/>
                      <a:pt x="5" y="4"/>
                      <a:pt x="5" y="4"/>
                    </a:cubicBezTo>
                    <a:cubicBezTo>
                      <a:pt x="6" y="5"/>
                      <a:pt x="6" y="5"/>
                      <a:pt x="6" y="5"/>
                    </a:cubicBezTo>
                    <a:cubicBezTo>
                      <a:pt x="5" y="5"/>
                      <a:pt x="5" y="5"/>
                      <a:pt x="5" y="5"/>
                    </a:cubicBezTo>
                    <a:cubicBezTo>
                      <a:pt x="5" y="7"/>
                      <a:pt x="5" y="7"/>
                      <a:pt x="5" y="7"/>
                    </a:cubicBezTo>
                    <a:cubicBezTo>
                      <a:pt x="3" y="7"/>
                      <a:pt x="3" y="7"/>
                      <a:pt x="3" y="7"/>
                    </a:cubicBezTo>
                    <a:cubicBezTo>
                      <a:pt x="1" y="8"/>
                      <a:pt x="1" y="8"/>
                      <a:pt x="1" y="8"/>
                    </a:cubicBezTo>
                    <a:cubicBezTo>
                      <a:pt x="1" y="8"/>
                      <a:pt x="1" y="8"/>
                      <a:pt x="1" y="8"/>
                    </a:cubicBezTo>
                    <a:cubicBezTo>
                      <a:pt x="1" y="9"/>
                      <a:pt x="1" y="9"/>
                      <a:pt x="1" y="9"/>
                    </a:cubicBezTo>
                    <a:cubicBezTo>
                      <a:pt x="1" y="10"/>
                      <a:pt x="1" y="10"/>
                      <a:pt x="1" y="10"/>
                    </a:cubicBezTo>
                    <a:cubicBezTo>
                      <a:pt x="0" y="12"/>
                      <a:pt x="0" y="12"/>
                      <a:pt x="0" y="12"/>
                    </a:cubicBezTo>
                    <a:cubicBezTo>
                      <a:pt x="0" y="13"/>
                      <a:pt x="0" y="13"/>
                      <a:pt x="0" y="13"/>
                    </a:cubicBezTo>
                    <a:cubicBezTo>
                      <a:pt x="0" y="13"/>
                      <a:pt x="0" y="13"/>
                      <a:pt x="0" y="13"/>
                    </a:cubicBezTo>
                    <a:cubicBezTo>
                      <a:pt x="0" y="14"/>
                      <a:pt x="0" y="14"/>
                      <a:pt x="0" y="14"/>
                    </a:cubicBezTo>
                    <a:cubicBezTo>
                      <a:pt x="1" y="15"/>
                      <a:pt x="1" y="15"/>
                      <a:pt x="1" y="15"/>
                    </a:cubicBezTo>
                    <a:cubicBezTo>
                      <a:pt x="1" y="16"/>
                      <a:pt x="1" y="16"/>
                      <a:pt x="1" y="16"/>
                    </a:cubicBezTo>
                    <a:cubicBezTo>
                      <a:pt x="3" y="17"/>
                      <a:pt x="3" y="17"/>
                      <a:pt x="3" y="17"/>
                    </a:cubicBezTo>
                    <a:cubicBezTo>
                      <a:pt x="3" y="18"/>
                      <a:pt x="3" y="18"/>
                      <a:pt x="3" y="18"/>
                    </a:cubicBezTo>
                    <a:cubicBezTo>
                      <a:pt x="5" y="18"/>
                      <a:pt x="5" y="18"/>
                      <a:pt x="5" y="18"/>
                    </a:cubicBezTo>
                    <a:cubicBezTo>
                      <a:pt x="5" y="20"/>
                      <a:pt x="5" y="20"/>
                      <a:pt x="5" y="20"/>
                    </a:cubicBezTo>
                    <a:cubicBezTo>
                      <a:pt x="5" y="20"/>
                      <a:pt x="6" y="21"/>
                      <a:pt x="6" y="21"/>
                    </a:cubicBezTo>
                    <a:cubicBezTo>
                      <a:pt x="6" y="21"/>
                      <a:pt x="6" y="22"/>
                      <a:pt x="6" y="22"/>
                    </a:cubicBezTo>
                    <a:cubicBezTo>
                      <a:pt x="6" y="22"/>
                      <a:pt x="6" y="22"/>
                      <a:pt x="6" y="22"/>
                    </a:cubicBezTo>
                    <a:cubicBezTo>
                      <a:pt x="6" y="22"/>
                      <a:pt x="6" y="22"/>
                      <a:pt x="6" y="22"/>
                    </a:cubicBezTo>
                    <a:cubicBezTo>
                      <a:pt x="7" y="22"/>
                      <a:pt x="7" y="22"/>
                      <a:pt x="7" y="22"/>
                    </a:cubicBezTo>
                    <a:cubicBezTo>
                      <a:pt x="9" y="28"/>
                      <a:pt x="9" y="28"/>
                      <a:pt x="9" y="28"/>
                    </a:cubicBezTo>
                    <a:cubicBezTo>
                      <a:pt x="11" y="28"/>
                      <a:pt x="11" y="28"/>
                      <a:pt x="11" y="28"/>
                    </a:cubicBezTo>
                    <a:cubicBezTo>
                      <a:pt x="11" y="28"/>
                      <a:pt x="11" y="28"/>
                      <a:pt x="11" y="28"/>
                    </a:cubicBezTo>
                    <a:cubicBezTo>
                      <a:pt x="11" y="28"/>
                      <a:pt x="13" y="29"/>
                      <a:pt x="13" y="29"/>
                    </a:cubicBezTo>
                    <a:cubicBezTo>
                      <a:pt x="13" y="29"/>
                      <a:pt x="15" y="29"/>
                      <a:pt x="15" y="29"/>
                    </a:cubicBezTo>
                    <a:cubicBezTo>
                      <a:pt x="15" y="28"/>
                      <a:pt x="15" y="28"/>
                      <a:pt x="15" y="28"/>
                    </a:cubicBezTo>
                    <a:cubicBezTo>
                      <a:pt x="15" y="28"/>
                      <a:pt x="15" y="27"/>
                      <a:pt x="15" y="27"/>
                    </a:cubicBezTo>
                    <a:cubicBezTo>
                      <a:pt x="15" y="27"/>
                      <a:pt x="15" y="27"/>
                      <a:pt x="15" y="27"/>
                    </a:cubicBezTo>
                    <a:cubicBezTo>
                      <a:pt x="14" y="27"/>
                      <a:pt x="13" y="26"/>
                      <a:pt x="13" y="26"/>
                    </a:cubicBezTo>
                    <a:cubicBezTo>
                      <a:pt x="13" y="26"/>
                      <a:pt x="13" y="26"/>
                      <a:pt x="13" y="26"/>
                    </a:cubicBezTo>
                    <a:cubicBezTo>
                      <a:pt x="14" y="25"/>
                      <a:pt x="14" y="25"/>
                      <a:pt x="14" y="25"/>
                    </a:cubicBezTo>
                    <a:cubicBezTo>
                      <a:pt x="14" y="25"/>
                      <a:pt x="14" y="25"/>
                      <a:pt x="14" y="25"/>
                    </a:cubicBezTo>
                    <a:cubicBezTo>
                      <a:pt x="14" y="25"/>
                      <a:pt x="14" y="24"/>
                      <a:pt x="14" y="24"/>
                    </a:cubicBezTo>
                    <a:cubicBezTo>
                      <a:pt x="16" y="25"/>
                      <a:pt x="16" y="25"/>
                      <a:pt x="16" y="25"/>
                    </a:cubicBezTo>
                    <a:cubicBezTo>
                      <a:pt x="19" y="25"/>
                      <a:pt x="19" y="25"/>
                      <a:pt x="19" y="25"/>
                    </a:cubicBezTo>
                    <a:cubicBezTo>
                      <a:pt x="19" y="24"/>
                      <a:pt x="19" y="24"/>
                      <a:pt x="19" y="24"/>
                    </a:cubicBezTo>
                    <a:cubicBezTo>
                      <a:pt x="21" y="24"/>
                      <a:pt x="21" y="24"/>
                      <a:pt x="21" y="24"/>
                    </a:cubicBezTo>
                    <a:cubicBezTo>
                      <a:pt x="22" y="24"/>
                      <a:pt x="22" y="24"/>
                      <a:pt x="22" y="24"/>
                    </a:cubicBezTo>
                    <a:cubicBezTo>
                      <a:pt x="22" y="25"/>
                      <a:pt x="22" y="25"/>
                      <a:pt x="22" y="25"/>
                    </a:cubicBezTo>
                    <a:cubicBezTo>
                      <a:pt x="23" y="25"/>
                      <a:pt x="23" y="25"/>
                      <a:pt x="23" y="25"/>
                    </a:cubicBezTo>
                    <a:cubicBezTo>
                      <a:pt x="23" y="26"/>
                      <a:pt x="23" y="26"/>
                      <a:pt x="23" y="26"/>
                    </a:cubicBezTo>
                    <a:cubicBezTo>
                      <a:pt x="25" y="26"/>
                      <a:pt x="25" y="26"/>
                      <a:pt x="25" y="26"/>
                    </a:cubicBezTo>
                    <a:cubicBezTo>
                      <a:pt x="26" y="24"/>
                      <a:pt x="26" y="24"/>
                      <a:pt x="26" y="24"/>
                    </a:cubicBezTo>
                    <a:cubicBezTo>
                      <a:pt x="27" y="22"/>
                      <a:pt x="27" y="22"/>
                      <a:pt x="27" y="22"/>
                    </a:cubicBezTo>
                    <a:cubicBezTo>
                      <a:pt x="27" y="22"/>
                      <a:pt x="27" y="21"/>
                      <a:pt x="27" y="21"/>
                    </a:cubicBezTo>
                    <a:cubicBezTo>
                      <a:pt x="27" y="21"/>
                      <a:pt x="27" y="20"/>
                      <a:pt x="27" y="20"/>
                    </a:cubicBezTo>
                    <a:cubicBezTo>
                      <a:pt x="28" y="18"/>
                      <a:pt x="28" y="18"/>
                      <a:pt x="28" y="18"/>
                    </a:cubicBezTo>
                    <a:cubicBezTo>
                      <a:pt x="28" y="16"/>
                      <a:pt x="28" y="16"/>
                      <a:pt x="28" y="16"/>
                    </a:cubicBezTo>
                    <a:cubicBezTo>
                      <a:pt x="26" y="13"/>
                      <a:pt x="26" y="13"/>
                      <a:pt x="26"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6" name="Freeform 682">
                <a:extLst>
                  <a:ext uri="{FF2B5EF4-FFF2-40B4-BE49-F238E27FC236}">
                    <a16:creationId xmlns:a16="http://schemas.microsoft.com/office/drawing/2014/main" id="{7BD1D696-C99B-E4B4-B35A-AB5753A34F23}"/>
                  </a:ext>
                </a:extLst>
              </p:cNvPr>
              <p:cNvSpPr>
                <a:spLocks/>
              </p:cNvSpPr>
              <p:nvPr/>
            </p:nvSpPr>
            <p:spPr bwMode="auto">
              <a:xfrm>
                <a:off x="4306888" y="6711950"/>
                <a:ext cx="49212" cy="41275"/>
              </a:xfrm>
              <a:custGeom>
                <a:avLst/>
                <a:gdLst>
                  <a:gd name="T0" fmla="*/ 8 w 12"/>
                  <a:gd name="T1" fmla="*/ 4 h 10"/>
                  <a:gd name="T2" fmla="*/ 10 w 12"/>
                  <a:gd name="T3" fmla="*/ 5 h 10"/>
                  <a:gd name="T4" fmla="*/ 10 w 12"/>
                  <a:gd name="T5" fmla="*/ 5 h 10"/>
                  <a:gd name="T6" fmla="*/ 11 w 12"/>
                  <a:gd name="T7" fmla="*/ 7 h 10"/>
                  <a:gd name="T8" fmla="*/ 12 w 12"/>
                  <a:gd name="T9" fmla="*/ 9 h 10"/>
                  <a:gd name="T10" fmla="*/ 11 w 12"/>
                  <a:gd name="T11" fmla="*/ 10 h 10"/>
                  <a:gd name="T12" fmla="*/ 10 w 12"/>
                  <a:gd name="T13" fmla="*/ 9 h 10"/>
                  <a:gd name="T14" fmla="*/ 9 w 12"/>
                  <a:gd name="T15" fmla="*/ 7 h 10"/>
                  <a:gd name="T16" fmla="*/ 8 w 12"/>
                  <a:gd name="T17" fmla="*/ 5 h 10"/>
                  <a:gd name="T18" fmla="*/ 6 w 12"/>
                  <a:gd name="T19" fmla="*/ 5 h 10"/>
                  <a:gd name="T20" fmla="*/ 3 w 12"/>
                  <a:gd name="T21" fmla="*/ 4 h 10"/>
                  <a:gd name="T22" fmla="*/ 2 w 12"/>
                  <a:gd name="T23" fmla="*/ 3 h 10"/>
                  <a:gd name="T24" fmla="*/ 1 w 12"/>
                  <a:gd name="T25" fmla="*/ 2 h 10"/>
                  <a:gd name="T26" fmla="*/ 0 w 12"/>
                  <a:gd name="T27" fmla="*/ 1 h 10"/>
                  <a:gd name="T28" fmla="*/ 1 w 12"/>
                  <a:gd name="T29" fmla="*/ 0 h 10"/>
                  <a:gd name="T30" fmla="*/ 2 w 12"/>
                  <a:gd name="T31" fmla="*/ 0 h 10"/>
                  <a:gd name="T32" fmla="*/ 4 w 12"/>
                  <a:gd name="T33" fmla="*/ 1 h 10"/>
                  <a:gd name="T34" fmla="*/ 6 w 12"/>
                  <a:gd name="T35" fmla="*/ 2 h 10"/>
                  <a:gd name="T36" fmla="*/ 8 w 12"/>
                  <a:gd name="T3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0">
                    <a:moveTo>
                      <a:pt x="8" y="4"/>
                    </a:moveTo>
                    <a:cubicBezTo>
                      <a:pt x="9" y="4"/>
                      <a:pt x="9" y="4"/>
                      <a:pt x="10" y="5"/>
                    </a:cubicBezTo>
                    <a:cubicBezTo>
                      <a:pt x="10" y="5"/>
                      <a:pt x="10" y="5"/>
                      <a:pt x="10" y="5"/>
                    </a:cubicBezTo>
                    <a:cubicBezTo>
                      <a:pt x="11" y="6"/>
                      <a:pt x="11" y="6"/>
                      <a:pt x="11" y="7"/>
                    </a:cubicBezTo>
                    <a:cubicBezTo>
                      <a:pt x="12" y="7"/>
                      <a:pt x="12" y="8"/>
                      <a:pt x="12" y="9"/>
                    </a:cubicBezTo>
                    <a:cubicBezTo>
                      <a:pt x="12" y="10"/>
                      <a:pt x="11" y="10"/>
                      <a:pt x="11" y="10"/>
                    </a:cubicBezTo>
                    <a:cubicBezTo>
                      <a:pt x="10" y="10"/>
                      <a:pt x="10" y="9"/>
                      <a:pt x="10" y="9"/>
                    </a:cubicBezTo>
                    <a:cubicBezTo>
                      <a:pt x="10" y="8"/>
                      <a:pt x="9" y="8"/>
                      <a:pt x="9" y="7"/>
                    </a:cubicBezTo>
                    <a:cubicBezTo>
                      <a:pt x="9" y="7"/>
                      <a:pt x="9" y="6"/>
                      <a:pt x="8" y="5"/>
                    </a:cubicBezTo>
                    <a:cubicBezTo>
                      <a:pt x="7" y="5"/>
                      <a:pt x="7" y="5"/>
                      <a:pt x="6" y="5"/>
                    </a:cubicBezTo>
                    <a:cubicBezTo>
                      <a:pt x="5" y="5"/>
                      <a:pt x="4" y="5"/>
                      <a:pt x="3" y="4"/>
                    </a:cubicBezTo>
                    <a:cubicBezTo>
                      <a:pt x="3" y="4"/>
                      <a:pt x="3" y="3"/>
                      <a:pt x="2" y="3"/>
                    </a:cubicBezTo>
                    <a:cubicBezTo>
                      <a:pt x="2" y="3"/>
                      <a:pt x="1" y="2"/>
                      <a:pt x="1" y="2"/>
                    </a:cubicBezTo>
                    <a:cubicBezTo>
                      <a:pt x="0" y="2"/>
                      <a:pt x="0" y="1"/>
                      <a:pt x="0" y="1"/>
                    </a:cubicBezTo>
                    <a:cubicBezTo>
                      <a:pt x="0" y="0"/>
                      <a:pt x="1" y="0"/>
                      <a:pt x="1" y="0"/>
                    </a:cubicBezTo>
                    <a:cubicBezTo>
                      <a:pt x="1" y="0"/>
                      <a:pt x="1" y="0"/>
                      <a:pt x="2" y="0"/>
                    </a:cubicBezTo>
                    <a:cubicBezTo>
                      <a:pt x="2" y="0"/>
                      <a:pt x="3" y="1"/>
                      <a:pt x="4" y="1"/>
                    </a:cubicBezTo>
                    <a:cubicBezTo>
                      <a:pt x="4" y="1"/>
                      <a:pt x="5" y="1"/>
                      <a:pt x="6" y="2"/>
                    </a:cubicBezTo>
                    <a:cubicBezTo>
                      <a:pt x="7" y="2"/>
                      <a:pt x="7" y="3"/>
                      <a:pt x="8"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7" name="Freeform 683">
                <a:extLst>
                  <a:ext uri="{FF2B5EF4-FFF2-40B4-BE49-F238E27FC236}">
                    <a16:creationId xmlns:a16="http://schemas.microsoft.com/office/drawing/2014/main" id="{A888F1D5-EE3F-C680-7BE9-76B0E08F1A0E}"/>
                  </a:ext>
                </a:extLst>
              </p:cNvPr>
              <p:cNvSpPr>
                <a:spLocks/>
              </p:cNvSpPr>
              <p:nvPr/>
            </p:nvSpPr>
            <p:spPr bwMode="auto">
              <a:xfrm>
                <a:off x="3057526" y="4867275"/>
                <a:ext cx="369887" cy="549275"/>
              </a:xfrm>
              <a:custGeom>
                <a:avLst/>
                <a:gdLst>
                  <a:gd name="T0" fmla="*/ 87 w 89"/>
                  <a:gd name="T1" fmla="*/ 119 h 132"/>
                  <a:gd name="T2" fmla="*/ 84 w 89"/>
                  <a:gd name="T3" fmla="*/ 114 h 132"/>
                  <a:gd name="T4" fmla="*/ 85 w 89"/>
                  <a:gd name="T5" fmla="*/ 104 h 132"/>
                  <a:gd name="T6" fmla="*/ 86 w 89"/>
                  <a:gd name="T7" fmla="*/ 98 h 132"/>
                  <a:gd name="T8" fmla="*/ 89 w 89"/>
                  <a:gd name="T9" fmla="*/ 89 h 132"/>
                  <a:gd name="T10" fmla="*/ 76 w 89"/>
                  <a:gd name="T11" fmla="*/ 78 h 132"/>
                  <a:gd name="T12" fmla="*/ 76 w 89"/>
                  <a:gd name="T13" fmla="*/ 67 h 132"/>
                  <a:gd name="T14" fmla="*/ 64 w 89"/>
                  <a:gd name="T15" fmla="*/ 69 h 132"/>
                  <a:gd name="T16" fmla="*/ 57 w 89"/>
                  <a:gd name="T17" fmla="*/ 61 h 132"/>
                  <a:gd name="T18" fmla="*/ 54 w 89"/>
                  <a:gd name="T19" fmla="*/ 57 h 132"/>
                  <a:gd name="T20" fmla="*/ 53 w 89"/>
                  <a:gd name="T21" fmla="*/ 52 h 132"/>
                  <a:gd name="T22" fmla="*/ 57 w 89"/>
                  <a:gd name="T23" fmla="*/ 44 h 132"/>
                  <a:gd name="T24" fmla="*/ 63 w 89"/>
                  <a:gd name="T25" fmla="*/ 34 h 132"/>
                  <a:gd name="T26" fmla="*/ 69 w 89"/>
                  <a:gd name="T27" fmla="*/ 31 h 132"/>
                  <a:gd name="T28" fmla="*/ 75 w 89"/>
                  <a:gd name="T29" fmla="*/ 29 h 132"/>
                  <a:gd name="T30" fmla="*/ 78 w 89"/>
                  <a:gd name="T31" fmla="*/ 31 h 132"/>
                  <a:gd name="T32" fmla="*/ 77 w 89"/>
                  <a:gd name="T33" fmla="*/ 27 h 132"/>
                  <a:gd name="T34" fmla="*/ 78 w 89"/>
                  <a:gd name="T35" fmla="*/ 18 h 132"/>
                  <a:gd name="T36" fmla="*/ 75 w 89"/>
                  <a:gd name="T37" fmla="*/ 17 h 132"/>
                  <a:gd name="T38" fmla="*/ 72 w 89"/>
                  <a:gd name="T39" fmla="*/ 16 h 132"/>
                  <a:gd name="T40" fmla="*/ 69 w 89"/>
                  <a:gd name="T41" fmla="*/ 16 h 132"/>
                  <a:gd name="T42" fmla="*/ 65 w 89"/>
                  <a:gd name="T43" fmla="*/ 17 h 132"/>
                  <a:gd name="T44" fmla="*/ 62 w 89"/>
                  <a:gd name="T45" fmla="*/ 17 h 132"/>
                  <a:gd name="T46" fmla="*/ 58 w 89"/>
                  <a:gd name="T47" fmla="*/ 16 h 132"/>
                  <a:gd name="T48" fmla="*/ 58 w 89"/>
                  <a:gd name="T49" fmla="*/ 13 h 132"/>
                  <a:gd name="T50" fmla="*/ 55 w 89"/>
                  <a:gd name="T51" fmla="*/ 11 h 132"/>
                  <a:gd name="T52" fmla="*/ 52 w 89"/>
                  <a:gd name="T53" fmla="*/ 8 h 132"/>
                  <a:gd name="T54" fmla="*/ 49 w 89"/>
                  <a:gd name="T55" fmla="*/ 6 h 132"/>
                  <a:gd name="T56" fmla="*/ 46 w 89"/>
                  <a:gd name="T57" fmla="*/ 1 h 132"/>
                  <a:gd name="T58" fmla="*/ 41 w 89"/>
                  <a:gd name="T59" fmla="*/ 1 h 132"/>
                  <a:gd name="T60" fmla="*/ 42 w 89"/>
                  <a:gd name="T61" fmla="*/ 5 h 132"/>
                  <a:gd name="T62" fmla="*/ 33 w 89"/>
                  <a:gd name="T63" fmla="*/ 18 h 132"/>
                  <a:gd name="T64" fmla="*/ 21 w 89"/>
                  <a:gd name="T65" fmla="*/ 24 h 132"/>
                  <a:gd name="T66" fmla="*/ 19 w 89"/>
                  <a:gd name="T67" fmla="*/ 30 h 132"/>
                  <a:gd name="T68" fmla="*/ 16 w 89"/>
                  <a:gd name="T69" fmla="*/ 35 h 132"/>
                  <a:gd name="T70" fmla="*/ 13 w 89"/>
                  <a:gd name="T71" fmla="*/ 32 h 132"/>
                  <a:gd name="T72" fmla="*/ 6 w 89"/>
                  <a:gd name="T73" fmla="*/ 31 h 132"/>
                  <a:gd name="T74" fmla="*/ 6 w 89"/>
                  <a:gd name="T75" fmla="*/ 29 h 132"/>
                  <a:gd name="T76" fmla="*/ 7 w 89"/>
                  <a:gd name="T77" fmla="*/ 24 h 132"/>
                  <a:gd name="T78" fmla="*/ 1 w 89"/>
                  <a:gd name="T79" fmla="*/ 30 h 132"/>
                  <a:gd name="T80" fmla="*/ 2 w 89"/>
                  <a:gd name="T81" fmla="*/ 35 h 132"/>
                  <a:gd name="T82" fmla="*/ 3 w 89"/>
                  <a:gd name="T83" fmla="*/ 41 h 132"/>
                  <a:gd name="T84" fmla="*/ 8 w 89"/>
                  <a:gd name="T85" fmla="*/ 47 h 132"/>
                  <a:gd name="T86" fmla="*/ 12 w 89"/>
                  <a:gd name="T87" fmla="*/ 53 h 132"/>
                  <a:gd name="T88" fmla="*/ 18 w 89"/>
                  <a:gd name="T89" fmla="*/ 61 h 132"/>
                  <a:gd name="T90" fmla="*/ 20 w 89"/>
                  <a:gd name="T91" fmla="*/ 66 h 132"/>
                  <a:gd name="T92" fmla="*/ 22 w 89"/>
                  <a:gd name="T93" fmla="*/ 71 h 132"/>
                  <a:gd name="T94" fmla="*/ 26 w 89"/>
                  <a:gd name="T95" fmla="*/ 78 h 132"/>
                  <a:gd name="T96" fmla="*/ 31 w 89"/>
                  <a:gd name="T97" fmla="*/ 87 h 132"/>
                  <a:gd name="T98" fmla="*/ 34 w 89"/>
                  <a:gd name="T99" fmla="*/ 92 h 132"/>
                  <a:gd name="T100" fmla="*/ 36 w 89"/>
                  <a:gd name="T101" fmla="*/ 98 h 132"/>
                  <a:gd name="T102" fmla="*/ 36 w 89"/>
                  <a:gd name="T103" fmla="*/ 101 h 132"/>
                  <a:gd name="T104" fmla="*/ 41 w 89"/>
                  <a:gd name="T105" fmla="*/ 107 h 132"/>
                  <a:gd name="T106" fmla="*/ 49 w 89"/>
                  <a:gd name="T107" fmla="*/ 113 h 132"/>
                  <a:gd name="T108" fmla="*/ 59 w 89"/>
                  <a:gd name="T109" fmla="*/ 118 h 132"/>
                  <a:gd name="T110" fmla="*/ 68 w 89"/>
                  <a:gd name="T111" fmla="*/ 124 h 132"/>
                  <a:gd name="T112" fmla="*/ 74 w 89"/>
                  <a:gd name="T113" fmla="*/ 130 h 132"/>
                  <a:gd name="T114" fmla="*/ 81 w 89"/>
                  <a:gd name="T115" fmla="*/ 129 h 132"/>
                  <a:gd name="T116" fmla="*/ 83 w 89"/>
                  <a:gd name="T117"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132">
                    <a:moveTo>
                      <a:pt x="83" y="124"/>
                    </a:moveTo>
                    <a:cubicBezTo>
                      <a:pt x="83" y="124"/>
                      <a:pt x="82" y="124"/>
                      <a:pt x="82" y="124"/>
                    </a:cubicBezTo>
                    <a:cubicBezTo>
                      <a:pt x="83" y="123"/>
                      <a:pt x="83" y="123"/>
                      <a:pt x="83" y="123"/>
                    </a:cubicBezTo>
                    <a:cubicBezTo>
                      <a:pt x="83" y="123"/>
                      <a:pt x="84" y="122"/>
                      <a:pt x="84" y="122"/>
                    </a:cubicBezTo>
                    <a:cubicBezTo>
                      <a:pt x="84" y="122"/>
                      <a:pt x="85" y="120"/>
                      <a:pt x="85" y="120"/>
                    </a:cubicBezTo>
                    <a:cubicBezTo>
                      <a:pt x="85" y="120"/>
                      <a:pt x="86" y="120"/>
                      <a:pt x="86" y="119"/>
                    </a:cubicBezTo>
                    <a:cubicBezTo>
                      <a:pt x="86" y="119"/>
                      <a:pt x="87" y="119"/>
                      <a:pt x="87" y="119"/>
                    </a:cubicBezTo>
                    <a:cubicBezTo>
                      <a:pt x="87" y="117"/>
                      <a:pt x="87" y="117"/>
                      <a:pt x="87" y="117"/>
                    </a:cubicBezTo>
                    <a:cubicBezTo>
                      <a:pt x="88" y="117"/>
                      <a:pt x="88" y="117"/>
                      <a:pt x="88" y="117"/>
                    </a:cubicBezTo>
                    <a:cubicBezTo>
                      <a:pt x="87" y="116"/>
                      <a:pt x="87" y="116"/>
                      <a:pt x="87" y="116"/>
                    </a:cubicBezTo>
                    <a:cubicBezTo>
                      <a:pt x="86" y="116"/>
                      <a:pt x="86" y="116"/>
                      <a:pt x="86" y="116"/>
                    </a:cubicBezTo>
                    <a:cubicBezTo>
                      <a:pt x="86" y="116"/>
                      <a:pt x="86" y="116"/>
                      <a:pt x="86" y="116"/>
                    </a:cubicBezTo>
                    <a:cubicBezTo>
                      <a:pt x="86" y="116"/>
                      <a:pt x="85" y="115"/>
                      <a:pt x="85" y="115"/>
                    </a:cubicBezTo>
                    <a:cubicBezTo>
                      <a:pt x="85" y="115"/>
                      <a:pt x="84" y="114"/>
                      <a:pt x="84" y="114"/>
                    </a:cubicBezTo>
                    <a:cubicBezTo>
                      <a:pt x="84" y="114"/>
                      <a:pt x="84" y="113"/>
                      <a:pt x="84" y="113"/>
                    </a:cubicBezTo>
                    <a:cubicBezTo>
                      <a:pt x="84" y="113"/>
                      <a:pt x="84" y="111"/>
                      <a:pt x="84" y="111"/>
                    </a:cubicBezTo>
                    <a:cubicBezTo>
                      <a:pt x="86" y="109"/>
                      <a:pt x="86" y="109"/>
                      <a:pt x="86" y="109"/>
                    </a:cubicBezTo>
                    <a:cubicBezTo>
                      <a:pt x="84" y="107"/>
                      <a:pt x="84" y="107"/>
                      <a:pt x="84" y="107"/>
                    </a:cubicBezTo>
                    <a:cubicBezTo>
                      <a:pt x="84" y="105"/>
                      <a:pt x="84" y="105"/>
                      <a:pt x="84" y="105"/>
                    </a:cubicBezTo>
                    <a:cubicBezTo>
                      <a:pt x="85" y="105"/>
                      <a:pt x="85" y="105"/>
                      <a:pt x="85" y="105"/>
                    </a:cubicBezTo>
                    <a:cubicBezTo>
                      <a:pt x="85" y="104"/>
                      <a:pt x="85" y="104"/>
                      <a:pt x="85" y="104"/>
                    </a:cubicBezTo>
                    <a:cubicBezTo>
                      <a:pt x="87" y="103"/>
                      <a:pt x="87" y="103"/>
                      <a:pt x="87" y="103"/>
                    </a:cubicBezTo>
                    <a:cubicBezTo>
                      <a:pt x="87" y="101"/>
                      <a:pt x="87" y="101"/>
                      <a:pt x="87" y="101"/>
                    </a:cubicBezTo>
                    <a:cubicBezTo>
                      <a:pt x="88" y="101"/>
                      <a:pt x="88" y="101"/>
                      <a:pt x="88" y="101"/>
                    </a:cubicBezTo>
                    <a:cubicBezTo>
                      <a:pt x="87" y="100"/>
                      <a:pt x="87" y="100"/>
                      <a:pt x="87" y="100"/>
                    </a:cubicBezTo>
                    <a:cubicBezTo>
                      <a:pt x="87" y="99"/>
                      <a:pt x="87" y="99"/>
                      <a:pt x="87" y="99"/>
                    </a:cubicBezTo>
                    <a:cubicBezTo>
                      <a:pt x="87" y="98"/>
                      <a:pt x="87" y="98"/>
                      <a:pt x="87" y="98"/>
                    </a:cubicBezTo>
                    <a:cubicBezTo>
                      <a:pt x="86" y="98"/>
                      <a:pt x="86" y="98"/>
                      <a:pt x="86" y="98"/>
                    </a:cubicBezTo>
                    <a:cubicBezTo>
                      <a:pt x="86" y="97"/>
                      <a:pt x="86" y="97"/>
                      <a:pt x="86" y="97"/>
                    </a:cubicBezTo>
                    <a:cubicBezTo>
                      <a:pt x="86" y="97"/>
                      <a:pt x="87" y="97"/>
                      <a:pt x="87" y="97"/>
                    </a:cubicBezTo>
                    <a:cubicBezTo>
                      <a:pt x="87" y="97"/>
                      <a:pt x="88" y="95"/>
                      <a:pt x="88" y="95"/>
                    </a:cubicBezTo>
                    <a:cubicBezTo>
                      <a:pt x="88" y="91"/>
                      <a:pt x="88" y="91"/>
                      <a:pt x="88" y="91"/>
                    </a:cubicBezTo>
                    <a:cubicBezTo>
                      <a:pt x="89" y="90"/>
                      <a:pt x="89" y="90"/>
                      <a:pt x="89" y="90"/>
                    </a:cubicBezTo>
                    <a:cubicBezTo>
                      <a:pt x="88" y="90"/>
                      <a:pt x="88" y="90"/>
                      <a:pt x="88" y="90"/>
                    </a:cubicBezTo>
                    <a:cubicBezTo>
                      <a:pt x="89" y="89"/>
                      <a:pt x="89" y="89"/>
                      <a:pt x="89" y="89"/>
                    </a:cubicBezTo>
                    <a:cubicBezTo>
                      <a:pt x="89" y="88"/>
                      <a:pt x="89" y="88"/>
                      <a:pt x="89" y="88"/>
                    </a:cubicBezTo>
                    <a:cubicBezTo>
                      <a:pt x="88" y="87"/>
                      <a:pt x="88" y="87"/>
                      <a:pt x="88" y="87"/>
                    </a:cubicBezTo>
                    <a:cubicBezTo>
                      <a:pt x="83" y="78"/>
                      <a:pt x="83" y="78"/>
                      <a:pt x="83" y="78"/>
                    </a:cubicBezTo>
                    <a:cubicBezTo>
                      <a:pt x="80" y="78"/>
                      <a:pt x="80" y="78"/>
                      <a:pt x="80" y="78"/>
                    </a:cubicBezTo>
                    <a:cubicBezTo>
                      <a:pt x="78" y="78"/>
                      <a:pt x="78" y="78"/>
                      <a:pt x="78" y="78"/>
                    </a:cubicBezTo>
                    <a:cubicBezTo>
                      <a:pt x="77" y="78"/>
                      <a:pt x="77" y="78"/>
                      <a:pt x="77" y="78"/>
                    </a:cubicBezTo>
                    <a:cubicBezTo>
                      <a:pt x="76" y="78"/>
                      <a:pt x="76" y="78"/>
                      <a:pt x="76" y="78"/>
                    </a:cubicBezTo>
                    <a:cubicBezTo>
                      <a:pt x="75" y="78"/>
                      <a:pt x="75" y="78"/>
                      <a:pt x="75" y="78"/>
                    </a:cubicBezTo>
                    <a:cubicBezTo>
                      <a:pt x="75" y="69"/>
                      <a:pt x="75" y="69"/>
                      <a:pt x="75" y="69"/>
                    </a:cubicBezTo>
                    <a:cubicBezTo>
                      <a:pt x="76" y="69"/>
                      <a:pt x="76" y="69"/>
                      <a:pt x="76" y="69"/>
                    </a:cubicBezTo>
                    <a:cubicBezTo>
                      <a:pt x="76" y="69"/>
                      <a:pt x="76" y="68"/>
                      <a:pt x="76" y="68"/>
                    </a:cubicBezTo>
                    <a:cubicBezTo>
                      <a:pt x="76" y="68"/>
                      <a:pt x="75" y="68"/>
                      <a:pt x="75" y="68"/>
                    </a:cubicBezTo>
                    <a:cubicBezTo>
                      <a:pt x="75" y="68"/>
                      <a:pt x="75" y="68"/>
                      <a:pt x="75" y="68"/>
                    </a:cubicBezTo>
                    <a:cubicBezTo>
                      <a:pt x="76" y="67"/>
                      <a:pt x="76" y="67"/>
                      <a:pt x="76" y="67"/>
                    </a:cubicBezTo>
                    <a:cubicBezTo>
                      <a:pt x="75" y="67"/>
                      <a:pt x="75" y="67"/>
                      <a:pt x="75" y="67"/>
                    </a:cubicBezTo>
                    <a:cubicBezTo>
                      <a:pt x="71" y="71"/>
                      <a:pt x="71" y="71"/>
                      <a:pt x="71" y="71"/>
                    </a:cubicBezTo>
                    <a:cubicBezTo>
                      <a:pt x="64" y="71"/>
                      <a:pt x="64" y="71"/>
                      <a:pt x="64" y="71"/>
                    </a:cubicBezTo>
                    <a:cubicBezTo>
                      <a:pt x="64" y="70"/>
                      <a:pt x="64" y="70"/>
                      <a:pt x="64" y="70"/>
                    </a:cubicBezTo>
                    <a:cubicBezTo>
                      <a:pt x="65" y="70"/>
                      <a:pt x="65" y="70"/>
                      <a:pt x="65" y="70"/>
                    </a:cubicBezTo>
                    <a:cubicBezTo>
                      <a:pt x="65" y="69"/>
                      <a:pt x="65" y="69"/>
                      <a:pt x="65" y="69"/>
                    </a:cubicBezTo>
                    <a:cubicBezTo>
                      <a:pt x="64" y="69"/>
                      <a:pt x="64" y="69"/>
                      <a:pt x="64" y="69"/>
                    </a:cubicBezTo>
                    <a:cubicBezTo>
                      <a:pt x="64" y="68"/>
                      <a:pt x="64" y="68"/>
                      <a:pt x="64" y="68"/>
                    </a:cubicBezTo>
                    <a:cubicBezTo>
                      <a:pt x="61" y="67"/>
                      <a:pt x="61" y="67"/>
                      <a:pt x="61" y="67"/>
                    </a:cubicBezTo>
                    <a:cubicBezTo>
                      <a:pt x="57" y="67"/>
                      <a:pt x="57" y="67"/>
                      <a:pt x="57" y="67"/>
                    </a:cubicBezTo>
                    <a:cubicBezTo>
                      <a:pt x="59" y="65"/>
                      <a:pt x="59" y="65"/>
                      <a:pt x="59" y="65"/>
                    </a:cubicBezTo>
                    <a:cubicBezTo>
                      <a:pt x="59" y="64"/>
                      <a:pt x="59" y="64"/>
                      <a:pt x="59" y="64"/>
                    </a:cubicBezTo>
                    <a:cubicBezTo>
                      <a:pt x="58" y="63"/>
                      <a:pt x="58" y="63"/>
                      <a:pt x="58" y="63"/>
                    </a:cubicBezTo>
                    <a:cubicBezTo>
                      <a:pt x="57" y="61"/>
                      <a:pt x="57" y="61"/>
                      <a:pt x="57" y="61"/>
                    </a:cubicBezTo>
                    <a:cubicBezTo>
                      <a:pt x="56" y="61"/>
                      <a:pt x="56" y="61"/>
                      <a:pt x="56" y="61"/>
                    </a:cubicBezTo>
                    <a:cubicBezTo>
                      <a:pt x="56" y="60"/>
                      <a:pt x="56" y="60"/>
                      <a:pt x="56" y="60"/>
                    </a:cubicBezTo>
                    <a:cubicBezTo>
                      <a:pt x="55" y="59"/>
                      <a:pt x="55" y="59"/>
                      <a:pt x="55" y="59"/>
                    </a:cubicBezTo>
                    <a:cubicBezTo>
                      <a:pt x="55" y="59"/>
                      <a:pt x="55" y="59"/>
                      <a:pt x="55" y="59"/>
                    </a:cubicBezTo>
                    <a:cubicBezTo>
                      <a:pt x="54" y="58"/>
                      <a:pt x="54" y="58"/>
                      <a:pt x="54" y="58"/>
                    </a:cubicBezTo>
                    <a:cubicBezTo>
                      <a:pt x="54" y="58"/>
                      <a:pt x="54" y="58"/>
                      <a:pt x="54" y="58"/>
                    </a:cubicBezTo>
                    <a:cubicBezTo>
                      <a:pt x="54" y="58"/>
                      <a:pt x="54" y="57"/>
                      <a:pt x="54" y="57"/>
                    </a:cubicBezTo>
                    <a:cubicBezTo>
                      <a:pt x="54" y="57"/>
                      <a:pt x="53" y="56"/>
                      <a:pt x="53" y="56"/>
                    </a:cubicBezTo>
                    <a:cubicBezTo>
                      <a:pt x="54" y="55"/>
                      <a:pt x="54" y="55"/>
                      <a:pt x="54" y="55"/>
                    </a:cubicBezTo>
                    <a:cubicBezTo>
                      <a:pt x="54" y="55"/>
                      <a:pt x="54" y="55"/>
                      <a:pt x="54" y="55"/>
                    </a:cubicBezTo>
                    <a:cubicBezTo>
                      <a:pt x="51" y="53"/>
                      <a:pt x="51" y="53"/>
                      <a:pt x="51" y="53"/>
                    </a:cubicBezTo>
                    <a:cubicBezTo>
                      <a:pt x="52" y="53"/>
                      <a:pt x="52" y="53"/>
                      <a:pt x="52" y="53"/>
                    </a:cubicBezTo>
                    <a:cubicBezTo>
                      <a:pt x="52" y="52"/>
                      <a:pt x="52" y="52"/>
                      <a:pt x="52" y="52"/>
                    </a:cubicBezTo>
                    <a:cubicBezTo>
                      <a:pt x="53" y="52"/>
                      <a:pt x="53" y="52"/>
                      <a:pt x="53" y="52"/>
                    </a:cubicBezTo>
                    <a:cubicBezTo>
                      <a:pt x="53" y="51"/>
                      <a:pt x="53" y="51"/>
                      <a:pt x="53" y="51"/>
                    </a:cubicBezTo>
                    <a:cubicBezTo>
                      <a:pt x="53" y="50"/>
                      <a:pt x="53" y="50"/>
                      <a:pt x="53" y="50"/>
                    </a:cubicBezTo>
                    <a:cubicBezTo>
                      <a:pt x="54" y="48"/>
                      <a:pt x="54" y="48"/>
                      <a:pt x="54" y="48"/>
                    </a:cubicBezTo>
                    <a:cubicBezTo>
                      <a:pt x="54" y="48"/>
                      <a:pt x="54" y="48"/>
                      <a:pt x="54" y="48"/>
                    </a:cubicBezTo>
                    <a:cubicBezTo>
                      <a:pt x="58" y="46"/>
                      <a:pt x="58" y="46"/>
                      <a:pt x="58" y="46"/>
                    </a:cubicBezTo>
                    <a:cubicBezTo>
                      <a:pt x="58" y="45"/>
                      <a:pt x="58" y="45"/>
                      <a:pt x="58" y="45"/>
                    </a:cubicBezTo>
                    <a:cubicBezTo>
                      <a:pt x="57" y="44"/>
                      <a:pt x="57" y="44"/>
                      <a:pt x="57" y="44"/>
                    </a:cubicBezTo>
                    <a:cubicBezTo>
                      <a:pt x="57" y="43"/>
                      <a:pt x="57" y="43"/>
                      <a:pt x="57" y="43"/>
                    </a:cubicBezTo>
                    <a:cubicBezTo>
                      <a:pt x="59" y="40"/>
                      <a:pt x="59" y="40"/>
                      <a:pt x="59" y="40"/>
                    </a:cubicBezTo>
                    <a:cubicBezTo>
                      <a:pt x="59" y="39"/>
                      <a:pt x="59" y="39"/>
                      <a:pt x="59" y="39"/>
                    </a:cubicBezTo>
                    <a:cubicBezTo>
                      <a:pt x="59" y="39"/>
                      <a:pt x="59" y="38"/>
                      <a:pt x="59" y="38"/>
                    </a:cubicBezTo>
                    <a:cubicBezTo>
                      <a:pt x="59" y="38"/>
                      <a:pt x="59" y="36"/>
                      <a:pt x="59" y="36"/>
                    </a:cubicBezTo>
                    <a:cubicBezTo>
                      <a:pt x="61" y="36"/>
                      <a:pt x="61" y="36"/>
                      <a:pt x="61" y="36"/>
                    </a:cubicBezTo>
                    <a:cubicBezTo>
                      <a:pt x="63" y="34"/>
                      <a:pt x="63" y="34"/>
                      <a:pt x="63" y="34"/>
                    </a:cubicBezTo>
                    <a:cubicBezTo>
                      <a:pt x="63" y="34"/>
                      <a:pt x="63" y="34"/>
                      <a:pt x="63" y="34"/>
                    </a:cubicBezTo>
                    <a:cubicBezTo>
                      <a:pt x="64" y="34"/>
                      <a:pt x="64" y="34"/>
                      <a:pt x="64" y="34"/>
                    </a:cubicBezTo>
                    <a:cubicBezTo>
                      <a:pt x="66" y="32"/>
                      <a:pt x="66" y="32"/>
                      <a:pt x="66" y="32"/>
                    </a:cubicBezTo>
                    <a:cubicBezTo>
                      <a:pt x="68" y="32"/>
                      <a:pt x="68" y="32"/>
                      <a:pt x="68" y="32"/>
                    </a:cubicBezTo>
                    <a:cubicBezTo>
                      <a:pt x="68" y="32"/>
                      <a:pt x="68" y="32"/>
                      <a:pt x="68" y="32"/>
                    </a:cubicBezTo>
                    <a:cubicBezTo>
                      <a:pt x="69" y="32"/>
                      <a:pt x="69" y="32"/>
                      <a:pt x="69" y="32"/>
                    </a:cubicBezTo>
                    <a:cubicBezTo>
                      <a:pt x="69" y="31"/>
                      <a:pt x="69" y="31"/>
                      <a:pt x="69" y="31"/>
                    </a:cubicBezTo>
                    <a:cubicBezTo>
                      <a:pt x="70" y="31"/>
                      <a:pt x="70" y="31"/>
                      <a:pt x="70" y="31"/>
                    </a:cubicBezTo>
                    <a:cubicBezTo>
                      <a:pt x="71" y="31"/>
                      <a:pt x="71" y="31"/>
                      <a:pt x="71" y="31"/>
                    </a:cubicBezTo>
                    <a:cubicBezTo>
                      <a:pt x="73" y="31"/>
                      <a:pt x="73" y="31"/>
                      <a:pt x="73" y="31"/>
                    </a:cubicBezTo>
                    <a:cubicBezTo>
                      <a:pt x="74" y="29"/>
                      <a:pt x="74" y="29"/>
                      <a:pt x="74" y="29"/>
                    </a:cubicBezTo>
                    <a:cubicBezTo>
                      <a:pt x="75" y="29"/>
                      <a:pt x="75" y="29"/>
                      <a:pt x="75" y="29"/>
                    </a:cubicBezTo>
                    <a:cubicBezTo>
                      <a:pt x="75" y="29"/>
                      <a:pt x="75" y="29"/>
                      <a:pt x="75" y="29"/>
                    </a:cubicBezTo>
                    <a:cubicBezTo>
                      <a:pt x="75" y="29"/>
                      <a:pt x="75" y="29"/>
                      <a:pt x="75" y="29"/>
                    </a:cubicBezTo>
                    <a:cubicBezTo>
                      <a:pt x="76" y="30"/>
                      <a:pt x="76" y="30"/>
                      <a:pt x="76" y="30"/>
                    </a:cubicBezTo>
                    <a:cubicBezTo>
                      <a:pt x="76" y="29"/>
                      <a:pt x="76" y="29"/>
                      <a:pt x="76" y="29"/>
                    </a:cubicBezTo>
                    <a:cubicBezTo>
                      <a:pt x="76" y="29"/>
                      <a:pt x="77" y="29"/>
                      <a:pt x="77" y="29"/>
                    </a:cubicBezTo>
                    <a:cubicBezTo>
                      <a:pt x="77" y="29"/>
                      <a:pt x="77" y="29"/>
                      <a:pt x="77" y="29"/>
                    </a:cubicBezTo>
                    <a:cubicBezTo>
                      <a:pt x="77" y="30"/>
                      <a:pt x="77" y="30"/>
                      <a:pt x="77" y="30"/>
                    </a:cubicBezTo>
                    <a:cubicBezTo>
                      <a:pt x="77" y="30"/>
                      <a:pt x="78" y="30"/>
                      <a:pt x="78" y="30"/>
                    </a:cubicBezTo>
                    <a:cubicBezTo>
                      <a:pt x="78" y="30"/>
                      <a:pt x="78" y="31"/>
                      <a:pt x="78" y="31"/>
                    </a:cubicBezTo>
                    <a:cubicBezTo>
                      <a:pt x="79" y="30"/>
                      <a:pt x="79" y="30"/>
                      <a:pt x="79" y="30"/>
                    </a:cubicBezTo>
                    <a:cubicBezTo>
                      <a:pt x="79" y="30"/>
                      <a:pt x="79" y="30"/>
                      <a:pt x="79" y="30"/>
                    </a:cubicBezTo>
                    <a:cubicBezTo>
                      <a:pt x="79" y="31"/>
                      <a:pt x="79" y="31"/>
                      <a:pt x="79" y="31"/>
                    </a:cubicBezTo>
                    <a:cubicBezTo>
                      <a:pt x="79" y="31"/>
                      <a:pt x="80" y="30"/>
                      <a:pt x="80" y="30"/>
                    </a:cubicBezTo>
                    <a:cubicBezTo>
                      <a:pt x="80" y="30"/>
                      <a:pt x="80" y="30"/>
                      <a:pt x="80" y="30"/>
                    </a:cubicBezTo>
                    <a:cubicBezTo>
                      <a:pt x="78" y="27"/>
                      <a:pt x="78" y="27"/>
                      <a:pt x="78" y="27"/>
                    </a:cubicBezTo>
                    <a:cubicBezTo>
                      <a:pt x="77" y="27"/>
                      <a:pt x="77" y="27"/>
                      <a:pt x="77" y="27"/>
                    </a:cubicBezTo>
                    <a:cubicBezTo>
                      <a:pt x="77" y="27"/>
                      <a:pt x="77" y="27"/>
                      <a:pt x="77" y="27"/>
                    </a:cubicBezTo>
                    <a:cubicBezTo>
                      <a:pt x="76" y="27"/>
                      <a:pt x="76" y="27"/>
                      <a:pt x="76" y="27"/>
                    </a:cubicBezTo>
                    <a:cubicBezTo>
                      <a:pt x="76" y="27"/>
                      <a:pt x="74" y="27"/>
                      <a:pt x="74" y="27"/>
                    </a:cubicBezTo>
                    <a:cubicBezTo>
                      <a:pt x="79" y="20"/>
                      <a:pt x="79" y="20"/>
                      <a:pt x="79" y="20"/>
                    </a:cubicBezTo>
                    <a:cubicBezTo>
                      <a:pt x="79" y="19"/>
                      <a:pt x="79" y="19"/>
                      <a:pt x="79" y="19"/>
                    </a:cubicBezTo>
                    <a:cubicBezTo>
                      <a:pt x="78" y="19"/>
                      <a:pt x="78" y="19"/>
                      <a:pt x="78" y="19"/>
                    </a:cubicBezTo>
                    <a:cubicBezTo>
                      <a:pt x="78" y="19"/>
                      <a:pt x="78" y="18"/>
                      <a:pt x="78" y="18"/>
                    </a:cubicBezTo>
                    <a:cubicBezTo>
                      <a:pt x="78" y="18"/>
                      <a:pt x="78" y="18"/>
                      <a:pt x="78" y="18"/>
                    </a:cubicBezTo>
                    <a:cubicBezTo>
                      <a:pt x="78" y="18"/>
                      <a:pt x="78" y="18"/>
                      <a:pt x="78" y="18"/>
                    </a:cubicBezTo>
                    <a:cubicBezTo>
                      <a:pt x="77" y="18"/>
                      <a:pt x="77" y="18"/>
                      <a:pt x="77" y="18"/>
                    </a:cubicBezTo>
                    <a:cubicBezTo>
                      <a:pt x="77" y="18"/>
                      <a:pt x="77" y="18"/>
                      <a:pt x="77" y="18"/>
                    </a:cubicBezTo>
                    <a:cubicBezTo>
                      <a:pt x="77" y="18"/>
                      <a:pt x="76" y="17"/>
                      <a:pt x="76" y="17"/>
                    </a:cubicBezTo>
                    <a:cubicBezTo>
                      <a:pt x="76" y="17"/>
                      <a:pt x="76" y="17"/>
                      <a:pt x="76" y="17"/>
                    </a:cubicBezTo>
                    <a:cubicBezTo>
                      <a:pt x="75" y="17"/>
                      <a:pt x="75" y="17"/>
                      <a:pt x="75" y="17"/>
                    </a:cubicBezTo>
                    <a:cubicBezTo>
                      <a:pt x="75" y="17"/>
                      <a:pt x="75" y="17"/>
                      <a:pt x="75" y="17"/>
                    </a:cubicBezTo>
                    <a:cubicBezTo>
                      <a:pt x="74" y="16"/>
                      <a:pt x="74" y="16"/>
                      <a:pt x="74" y="16"/>
                    </a:cubicBezTo>
                    <a:cubicBezTo>
                      <a:pt x="73" y="15"/>
                      <a:pt x="73" y="15"/>
                      <a:pt x="73" y="15"/>
                    </a:cubicBezTo>
                    <a:cubicBezTo>
                      <a:pt x="73" y="15"/>
                      <a:pt x="73" y="15"/>
                      <a:pt x="73" y="15"/>
                    </a:cubicBezTo>
                    <a:cubicBezTo>
                      <a:pt x="73" y="16"/>
                      <a:pt x="73" y="16"/>
                      <a:pt x="73" y="16"/>
                    </a:cubicBezTo>
                    <a:cubicBezTo>
                      <a:pt x="72" y="16"/>
                      <a:pt x="72" y="16"/>
                      <a:pt x="72" y="16"/>
                    </a:cubicBezTo>
                    <a:cubicBezTo>
                      <a:pt x="72" y="16"/>
                      <a:pt x="72" y="16"/>
                      <a:pt x="72" y="16"/>
                    </a:cubicBezTo>
                    <a:cubicBezTo>
                      <a:pt x="72" y="17"/>
                      <a:pt x="71" y="17"/>
                      <a:pt x="71" y="17"/>
                    </a:cubicBezTo>
                    <a:cubicBezTo>
                      <a:pt x="71" y="17"/>
                      <a:pt x="71" y="17"/>
                      <a:pt x="71" y="17"/>
                    </a:cubicBezTo>
                    <a:cubicBezTo>
                      <a:pt x="71" y="17"/>
                      <a:pt x="70" y="17"/>
                      <a:pt x="70" y="17"/>
                    </a:cubicBezTo>
                    <a:cubicBezTo>
                      <a:pt x="70" y="17"/>
                      <a:pt x="70" y="17"/>
                      <a:pt x="70" y="17"/>
                    </a:cubicBezTo>
                    <a:cubicBezTo>
                      <a:pt x="70" y="17"/>
                      <a:pt x="70" y="17"/>
                      <a:pt x="70" y="17"/>
                    </a:cubicBezTo>
                    <a:cubicBezTo>
                      <a:pt x="69" y="17"/>
                      <a:pt x="69" y="16"/>
                      <a:pt x="69" y="16"/>
                    </a:cubicBezTo>
                    <a:cubicBezTo>
                      <a:pt x="69" y="16"/>
                      <a:pt x="69" y="16"/>
                      <a:pt x="69" y="16"/>
                    </a:cubicBezTo>
                    <a:cubicBezTo>
                      <a:pt x="69" y="16"/>
                      <a:pt x="69" y="16"/>
                      <a:pt x="69" y="16"/>
                    </a:cubicBezTo>
                    <a:cubicBezTo>
                      <a:pt x="68" y="16"/>
                      <a:pt x="67" y="16"/>
                      <a:pt x="67" y="16"/>
                    </a:cubicBezTo>
                    <a:cubicBezTo>
                      <a:pt x="67" y="15"/>
                      <a:pt x="67" y="15"/>
                      <a:pt x="67" y="15"/>
                    </a:cubicBezTo>
                    <a:cubicBezTo>
                      <a:pt x="67" y="15"/>
                      <a:pt x="67" y="15"/>
                      <a:pt x="67" y="15"/>
                    </a:cubicBezTo>
                    <a:cubicBezTo>
                      <a:pt x="67" y="15"/>
                      <a:pt x="66" y="16"/>
                      <a:pt x="66" y="16"/>
                    </a:cubicBezTo>
                    <a:cubicBezTo>
                      <a:pt x="66" y="16"/>
                      <a:pt x="66" y="17"/>
                      <a:pt x="66" y="17"/>
                    </a:cubicBezTo>
                    <a:cubicBezTo>
                      <a:pt x="66" y="17"/>
                      <a:pt x="65" y="17"/>
                      <a:pt x="65" y="17"/>
                    </a:cubicBezTo>
                    <a:cubicBezTo>
                      <a:pt x="65" y="17"/>
                      <a:pt x="65" y="16"/>
                      <a:pt x="65" y="16"/>
                    </a:cubicBezTo>
                    <a:cubicBezTo>
                      <a:pt x="65" y="16"/>
                      <a:pt x="65" y="17"/>
                      <a:pt x="65" y="17"/>
                    </a:cubicBezTo>
                    <a:cubicBezTo>
                      <a:pt x="65" y="17"/>
                      <a:pt x="65" y="17"/>
                      <a:pt x="65" y="17"/>
                    </a:cubicBezTo>
                    <a:cubicBezTo>
                      <a:pt x="64" y="17"/>
                      <a:pt x="64" y="17"/>
                      <a:pt x="64" y="17"/>
                    </a:cubicBezTo>
                    <a:cubicBezTo>
                      <a:pt x="64" y="17"/>
                      <a:pt x="64" y="17"/>
                      <a:pt x="64" y="17"/>
                    </a:cubicBezTo>
                    <a:cubicBezTo>
                      <a:pt x="64" y="17"/>
                      <a:pt x="63" y="18"/>
                      <a:pt x="63" y="18"/>
                    </a:cubicBezTo>
                    <a:cubicBezTo>
                      <a:pt x="63" y="18"/>
                      <a:pt x="63" y="17"/>
                      <a:pt x="62" y="17"/>
                    </a:cubicBezTo>
                    <a:cubicBezTo>
                      <a:pt x="62" y="17"/>
                      <a:pt x="62" y="16"/>
                      <a:pt x="61" y="16"/>
                    </a:cubicBezTo>
                    <a:cubicBezTo>
                      <a:pt x="61" y="17"/>
                      <a:pt x="61" y="17"/>
                      <a:pt x="61" y="17"/>
                    </a:cubicBezTo>
                    <a:cubicBezTo>
                      <a:pt x="61" y="17"/>
                      <a:pt x="60" y="17"/>
                      <a:pt x="60" y="17"/>
                    </a:cubicBezTo>
                    <a:cubicBezTo>
                      <a:pt x="60" y="17"/>
                      <a:pt x="60" y="17"/>
                      <a:pt x="60" y="17"/>
                    </a:cubicBezTo>
                    <a:cubicBezTo>
                      <a:pt x="60" y="17"/>
                      <a:pt x="59" y="17"/>
                      <a:pt x="59" y="17"/>
                    </a:cubicBezTo>
                    <a:cubicBezTo>
                      <a:pt x="59" y="17"/>
                      <a:pt x="59" y="17"/>
                      <a:pt x="59" y="17"/>
                    </a:cubicBezTo>
                    <a:cubicBezTo>
                      <a:pt x="59" y="17"/>
                      <a:pt x="58" y="16"/>
                      <a:pt x="58" y="16"/>
                    </a:cubicBezTo>
                    <a:cubicBezTo>
                      <a:pt x="58" y="16"/>
                      <a:pt x="58" y="17"/>
                      <a:pt x="58" y="17"/>
                    </a:cubicBezTo>
                    <a:cubicBezTo>
                      <a:pt x="58" y="16"/>
                      <a:pt x="57" y="16"/>
                      <a:pt x="57" y="16"/>
                    </a:cubicBezTo>
                    <a:cubicBezTo>
                      <a:pt x="57" y="16"/>
                      <a:pt x="57" y="16"/>
                      <a:pt x="57" y="15"/>
                    </a:cubicBezTo>
                    <a:cubicBezTo>
                      <a:pt x="57" y="15"/>
                      <a:pt x="58" y="15"/>
                      <a:pt x="58" y="15"/>
                    </a:cubicBezTo>
                    <a:cubicBezTo>
                      <a:pt x="58" y="15"/>
                      <a:pt x="58" y="14"/>
                      <a:pt x="58" y="14"/>
                    </a:cubicBezTo>
                    <a:cubicBezTo>
                      <a:pt x="58" y="14"/>
                      <a:pt x="58" y="14"/>
                      <a:pt x="58" y="14"/>
                    </a:cubicBezTo>
                    <a:cubicBezTo>
                      <a:pt x="58" y="14"/>
                      <a:pt x="58" y="13"/>
                      <a:pt x="58" y="13"/>
                    </a:cubicBezTo>
                    <a:cubicBezTo>
                      <a:pt x="58" y="13"/>
                      <a:pt x="57" y="13"/>
                      <a:pt x="57" y="13"/>
                    </a:cubicBezTo>
                    <a:cubicBezTo>
                      <a:pt x="57" y="13"/>
                      <a:pt x="57" y="12"/>
                      <a:pt x="57" y="12"/>
                    </a:cubicBezTo>
                    <a:cubicBezTo>
                      <a:pt x="56" y="13"/>
                      <a:pt x="56" y="13"/>
                      <a:pt x="56" y="13"/>
                    </a:cubicBezTo>
                    <a:cubicBezTo>
                      <a:pt x="56" y="13"/>
                      <a:pt x="56" y="13"/>
                      <a:pt x="56" y="13"/>
                    </a:cubicBezTo>
                    <a:cubicBezTo>
                      <a:pt x="56" y="13"/>
                      <a:pt x="55" y="13"/>
                      <a:pt x="55" y="12"/>
                    </a:cubicBezTo>
                    <a:cubicBezTo>
                      <a:pt x="55" y="12"/>
                      <a:pt x="55" y="12"/>
                      <a:pt x="55" y="12"/>
                    </a:cubicBezTo>
                    <a:cubicBezTo>
                      <a:pt x="55" y="11"/>
                      <a:pt x="55" y="11"/>
                      <a:pt x="55" y="11"/>
                    </a:cubicBezTo>
                    <a:cubicBezTo>
                      <a:pt x="55" y="11"/>
                      <a:pt x="54" y="10"/>
                      <a:pt x="54" y="10"/>
                    </a:cubicBezTo>
                    <a:cubicBezTo>
                      <a:pt x="54" y="10"/>
                      <a:pt x="54" y="10"/>
                      <a:pt x="54" y="10"/>
                    </a:cubicBezTo>
                    <a:cubicBezTo>
                      <a:pt x="54" y="9"/>
                      <a:pt x="54" y="9"/>
                      <a:pt x="54" y="9"/>
                    </a:cubicBezTo>
                    <a:cubicBezTo>
                      <a:pt x="54" y="9"/>
                      <a:pt x="54" y="8"/>
                      <a:pt x="54" y="8"/>
                    </a:cubicBezTo>
                    <a:cubicBezTo>
                      <a:pt x="54" y="8"/>
                      <a:pt x="53" y="9"/>
                      <a:pt x="53" y="9"/>
                    </a:cubicBezTo>
                    <a:cubicBezTo>
                      <a:pt x="53" y="9"/>
                      <a:pt x="52" y="9"/>
                      <a:pt x="52" y="9"/>
                    </a:cubicBezTo>
                    <a:cubicBezTo>
                      <a:pt x="52" y="9"/>
                      <a:pt x="52" y="8"/>
                      <a:pt x="52" y="8"/>
                    </a:cubicBezTo>
                    <a:cubicBezTo>
                      <a:pt x="52" y="8"/>
                      <a:pt x="51" y="7"/>
                      <a:pt x="51" y="7"/>
                    </a:cubicBezTo>
                    <a:cubicBezTo>
                      <a:pt x="51" y="7"/>
                      <a:pt x="51" y="7"/>
                      <a:pt x="51" y="7"/>
                    </a:cubicBezTo>
                    <a:cubicBezTo>
                      <a:pt x="51" y="7"/>
                      <a:pt x="51" y="7"/>
                      <a:pt x="51" y="7"/>
                    </a:cubicBezTo>
                    <a:cubicBezTo>
                      <a:pt x="50" y="7"/>
                      <a:pt x="50" y="7"/>
                      <a:pt x="50" y="7"/>
                    </a:cubicBezTo>
                    <a:cubicBezTo>
                      <a:pt x="50" y="7"/>
                      <a:pt x="50" y="7"/>
                      <a:pt x="49" y="7"/>
                    </a:cubicBezTo>
                    <a:cubicBezTo>
                      <a:pt x="49" y="7"/>
                      <a:pt x="49" y="7"/>
                      <a:pt x="49" y="6"/>
                    </a:cubicBezTo>
                    <a:cubicBezTo>
                      <a:pt x="49" y="6"/>
                      <a:pt x="49" y="6"/>
                      <a:pt x="49" y="6"/>
                    </a:cubicBezTo>
                    <a:cubicBezTo>
                      <a:pt x="49" y="6"/>
                      <a:pt x="49" y="6"/>
                      <a:pt x="49" y="6"/>
                    </a:cubicBezTo>
                    <a:cubicBezTo>
                      <a:pt x="49" y="5"/>
                      <a:pt x="49" y="5"/>
                      <a:pt x="49" y="5"/>
                    </a:cubicBezTo>
                    <a:cubicBezTo>
                      <a:pt x="49" y="5"/>
                      <a:pt x="49" y="5"/>
                      <a:pt x="49" y="5"/>
                    </a:cubicBezTo>
                    <a:cubicBezTo>
                      <a:pt x="47" y="2"/>
                      <a:pt x="47" y="2"/>
                      <a:pt x="47" y="2"/>
                    </a:cubicBezTo>
                    <a:cubicBezTo>
                      <a:pt x="46" y="2"/>
                      <a:pt x="46" y="2"/>
                      <a:pt x="46" y="2"/>
                    </a:cubicBezTo>
                    <a:cubicBezTo>
                      <a:pt x="46" y="2"/>
                      <a:pt x="46" y="2"/>
                      <a:pt x="46" y="2"/>
                    </a:cubicBezTo>
                    <a:cubicBezTo>
                      <a:pt x="46" y="1"/>
                      <a:pt x="46" y="1"/>
                      <a:pt x="46" y="1"/>
                    </a:cubicBezTo>
                    <a:cubicBezTo>
                      <a:pt x="45" y="1"/>
                      <a:pt x="45" y="1"/>
                      <a:pt x="45" y="1"/>
                    </a:cubicBezTo>
                    <a:cubicBezTo>
                      <a:pt x="45" y="2"/>
                      <a:pt x="45" y="2"/>
                      <a:pt x="45" y="2"/>
                    </a:cubicBezTo>
                    <a:cubicBezTo>
                      <a:pt x="45" y="2"/>
                      <a:pt x="45" y="2"/>
                      <a:pt x="45" y="2"/>
                    </a:cubicBezTo>
                    <a:cubicBezTo>
                      <a:pt x="45" y="2"/>
                      <a:pt x="44" y="1"/>
                      <a:pt x="44" y="1"/>
                    </a:cubicBezTo>
                    <a:cubicBezTo>
                      <a:pt x="43" y="0"/>
                      <a:pt x="43" y="0"/>
                      <a:pt x="43" y="0"/>
                    </a:cubicBezTo>
                    <a:cubicBezTo>
                      <a:pt x="42" y="1"/>
                      <a:pt x="42" y="1"/>
                      <a:pt x="42" y="1"/>
                    </a:cubicBezTo>
                    <a:cubicBezTo>
                      <a:pt x="41" y="1"/>
                      <a:pt x="41" y="1"/>
                      <a:pt x="41" y="1"/>
                    </a:cubicBezTo>
                    <a:cubicBezTo>
                      <a:pt x="41" y="1"/>
                      <a:pt x="41" y="1"/>
                      <a:pt x="41" y="1"/>
                    </a:cubicBezTo>
                    <a:cubicBezTo>
                      <a:pt x="40" y="1"/>
                      <a:pt x="40" y="1"/>
                      <a:pt x="40" y="1"/>
                    </a:cubicBezTo>
                    <a:cubicBezTo>
                      <a:pt x="40" y="1"/>
                      <a:pt x="40" y="1"/>
                      <a:pt x="40" y="1"/>
                    </a:cubicBezTo>
                    <a:cubicBezTo>
                      <a:pt x="40" y="1"/>
                      <a:pt x="41" y="2"/>
                      <a:pt x="41" y="2"/>
                    </a:cubicBezTo>
                    <a:cubicBezTo>
                      <a:pt x="41" y="2"/>
                      <a:pt x="41" y="3"/>
                      <a:pt x="42" y="3"/>
                    </a:cubicBezTo>
                    <a:cubicBezTo>
                      <a:pt x="42" y="3"/>
                      <a:pt x="43" y="4"/>
                      <a:pt x="43" y="4"/>
                    </a:cubicBezTo>
                    <a:cubicBezTo>
                      <a:pt x="42" y="5"/>
                      <a:pt x="42" y="5"/>
                      <a:pt x="42" y="5"/>
                    </a:cubicBezTo>
                    <a:cubicBezTo>
                      <a:pt x="43" y="6"/>
                      <a:pt x="43" y="6"/>
                      <a:pt x="43" y="6"/>
                    </a:cubicBezTo>
                    <a:cubicBezTo>
                      <a:pt x="43" y="7"/>
                      <a:pt x="43" y="7"/>
                      <a:pt x="43" y="7"/>
                    </a:cubicBezTo>
                    <a:cubicBezTo>
                      <a:pt x="43" y="7"/>
                      <a:pt x="42" y="7"/>
                      <a:pt x="42" y="7"/>
                    </a:cubicBezTo>
                    <a:cubicBezTo>
                      <a:pt x="42" y="7"/>
                      <a:pt x="42" y="6"/>
                      <a:pt x="42" y="6"/>
                    </a:cubicBezTo>
                    <a:cubicBezTo>
                      <a:pt x="40" y="11"/>
                      <a:pt x="40" y="11"/>
                      <a:pt x="40" y="11"/>
                    </a:cubicBezTo>
                    <a:cubicBezTo>
                      <a:pt x="37" y="15"/>
                      <a:pt x="37" y="15"/>
                      <a:pt x="37" y="15"/>
                    </a:cubicBezTo>
                    <a:cubicBezTo>
                      <a:pt x="33" y="18"/>
                      <a:pt x="33" y="18"/>
                      <a:pt x="33" y="18"/>
                    </a:cubicBezTo>
                    <a:cubicBezTo>
                      <a:pt x="29" y="20"/>
                      <a:pt x="29" y="20"/>
                      <a:pt x="29" y="20"/>
                    </a:cubicBezTo>
                    <a:cubicBezTo>
                      <a:pt x="24" y="21"/>
                      <a:pt x="24" y="21"/>
                      <a:pt x="24" y="21"/>
                    </a:cubicBezTo>
                    <a:cubicBezTo>
                      <a:pt x="22" y="23"/>
                      <a:pt x="22" y="23"/>
                      <a:pt x="22" y="23"/>
                    </a:cubicBezTo>
                    <a:cubicBezTo>
                      <a:pt x="22" y="24"/>
                      <a:pt x="22" y="24"/>
                      <a:pt x="22" y="24"/>
                    </a:cubicBezTo>
                    <a:cubicBezTo>
                      <a:pt x="22" y="25"/>
                      <a:pt x="22" y="25"/>
                      <a:pt x="22" y="25"/>
                    </a:cubicBezTo>
                    <a:cubicBezTo>
                      <a:pt x="22" y="24"/>
                      <a:pt x="22" y="24"/>
                      <a:pt x="22" y="24"/>
                    </a:cubicBezTo>
                    <a:cubicBezTo>
                      <a:pt x="22" y="24"/>
                      <a:pt x="21" y="24"/>
                      <a:pt x="21" y="24"/>
                    </a:cubicBezTo>
                    <a:cubicBezTo>
                      <a:pt x="21" y="24"/>
                      <a:pt x="21" y="24"/>
                      <a:pt x="21" y="24"/>
                    </a:cubicBezTo>
                    <a:cubicBezTo>
                      <a:pt x="21" y="24"/>
                      <a:pt x="20" y="25"/>
                      <a:pt x="20" y="25"/>
                    </a:cubicBezTo>
                    <a:cubicBezTo>
                      <a:pt x="20" y="25"/>
                      <a:pt x="20" y="26"/>
                      <a:pt x="20" y="26"/>
                    </a:cubicBezTo>
                    <a:cubicBezTo>
                      <a:pt x="20" y="27"/>
                      <a:pt x="20" y="27"/>
                      <a:pt x="20" y="27"/>
                    </a:cubicBezTo>
                    <a:cubicBezTo>
                      <a:pt x="20" y="27"/>
                      <a:pt x="19" y="28"/>
                      <a:pt x="19" y="28"/>
                    </a:cubicBezTo>
                    <a:cubicBezTo>
                      <a:pt x="19" y="28"/>
                      <a:pt x="19" y="29"/>
                      <a:pt x="19" y="29"/>
                    </a:cubicBezTo>
                    <a:cubicBezTo>
                      <a:pt x="19" y="29"/>
                      <a:pt x="19" y="30"/>
                      <a:pt x="19" y="30"/>
                    </a:cubicBezTo>
                    <a:cubicBezTo>
                      <a:pt x="18" y="30"/>
                      <a:pt x="19" y="30"/>
                      <a:pt x="19" y="30"/>
                    </a:cubicBezTo>
                    <a:cubicBezTo>
                      <a:pt x="19" y="31"/>
                      <a:pt x="19" y="31"/>
                      <a:pt x="19" y="31"/>
                    </a:cubicBezTo>
                    <a:cubicBezTo>
                      <a:pt x="19" y="31"/>
                      <a:pt x="19" y="32"/>
                      <a:pt x="19" y="32"/>
                    </a:cubicBezTo>
                    <a:cubicBezTo>
                      <a:pt x="19" y="32"/>
                      <a:pt x="18" y="33"/>
                      <a:pt x="18" y="33"/>
                    </a:cubicBezTo>
                    <a:cubicBezTo>
                      <a:pt x="18" y="33"/>
                      <a:pt x="17" y="33"/>
                      <a:pt x="17" y="33"/>
                    </a:cubicBezTo>
                    <a:cubicBezTo>
                      <a:pt x="17" y="33"/>
                      <a:pt x="17" y="34"/>
                      <a:pt x="17" y="34"/>
                    </a:cubicBezTo>
                    <a:cubicBezTo>
                      <a:pt x="17" y="34"/>
                      <a:pt x="16" y="35"/>
                      <a:pt x="16"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3" y="34"/>
                      <a:pt x="13" y="34"/>
                    </a:cubicBezTo>
                    <a:cubicBezTo>
                      <a:pt x="13" y="34"/>
                      <a:pt x="13" y="33"/>
                      <a:pt x="13" y="33"/>
                    </a:cubicBezTo>
                    <a:cubicBezTo>
                      <a:pt x="13" y="33"/>
                      <a:pt x="13" y="32"/>
                      <a:pt x="13" y="32"/>
                    </a:cubicBezTo>
                    <a:cubicBezTo>
                      <a:pt x="13" y="32"/>
                      <a:pt x="12" y="32"/>
                      <a:pt x="12" y="31"/>
                    </a:cubicBezTo>
                    <a:cubicBezTo>
                      <a:pt x="12" y="31"/>
                      <a:pt x="11" y="31"/>
                      <a:pt x="11" y="31"/>
                    </a:cubicBezTo>
                    <a:cubicBezTo>
                      <a:pt x="11" y="31"/>
                      <a:pt x="10" y="31"/>
                      <a:pt x="10" y="31"/>
                    </a:cubicBezTo>
                    <a:cubicBezTo>
                      <a:pt x="10" y="31"/>
                      <a:pt x="9" y="31"/>
                      <a:pt x="9" y="31"/>
                    </a:cubicBezTo>
                    <a:cubicBezTo>
                      <a:pt x="9" y="31"/>
                      <a:pt x="8" y="30"/>
                      <a:pt x="8" y="30"/>
                    </a:cubicBezTo>
                    <a:cubicBezTo>
                      <a:pt x="8" y="30"/>
                      <a:pt x="7" y="31"/>
                      <a:pt x="7" y="31"/>
                    </a:cubicBezTo>
                    <a:cubicBezTo>
                      <a:pt x="6" y="31"/>
                      <a:pt x="6" y="31"/>
                      <a:pt x="6" y="31"/>
                    </a:cubicBezTo>
                    <a:cubicBezTo>
                      <a:pt x="6" y="31"/>
                      <a:pt x="6" y="31"/>
                      <a:pt x="6" y="31"/>
                    </a:cubicBezTo>
                    <a:cubicBezTo>
                      <a:pt x="6" y="31"/>
                      <a:pt x="6" y="31"/>
                      <a:pt x="6" y="31"/>
                    </a:cubicBezTo>
                    <a:cubicBezTo>
                      <a:pt x="6" y="30"/>
                      <a:pt x="6" y="30"/>
                      <a:pt x="6" y="30"/>
                    </a:cubicBezTo>
                    <a:cubicBezTo>
                      <a:pt x="7" y="30"/>
                      <a:pt x="7" y="30"/>
                      <a:pt x="7" y="30"/>
                    </a:cubicBezTo>
                    <a:cubicBezTo>
                      <a:pt x="6" y="29"/>
                      <a:pt x="6" y="29"/>
                      <a:pt x="6" y="29"/>
                    </a:cubicBezTo>
                    <a:cubicBezTo>
                      <a:pt x="6" y="29"/>
                      <a:pt x="6" y="29"/>
                      <a:pt x="6" y="29"/>
                    </a:cubicBezTo>
                    <a:cubicBezTo>
                      <a:pt x="6" y="29"/>
                      <a:pt x="6" y="29"/>
                      <a:pt x="6" y="29"/>
                    </a:cubicBezTo>
                    <a:cubicBezTo>
                      <a:pt x="6" y="28"/>
                      <a:pt x="6" y="28"/>
                      <a:pt x="6" y="28"/>
                    </a:cubicBezTo>
                    <a:cubicBezTo>
                      <a:pt x="6" y="28"/>
                      <a:pt x="7" y="28"/>
                      <a:pt x="7" y="28"/>
                    </a:cubicBezTo>
                    <a:cubicBezTo>
                      <a:pt x="7" y="28"/>
                      <a:pt x="8" y="28"/>
                      <a:pt x="8" y="28"/>
                    </a:cubicBezTo>
                    <a:cubicBezTo>
                      <a:pt x="8" y="28"/>
                      <a:pt x="8" y="27"/>
                      <a:pt x="8" y="27"/>
                    </a:cubicBezTo>
                    <a:cubicBezTo>
                      <a:pt x="8" y="26"/>
                      <a:pt x="8" y="26"/>
                      <a:pt x="8" y="26"/>
                    </a:cubicBezTo>
                    <a:cubicBezTo>
                      <a:pt x="8" y="26"/>
                      <a:pt x="8" y="26"/>
                      <a:pt x="8" y="26"/>
                    </a:cubicBezTo>
                    <a:cubicBezTo>
                      <a:pt x="7" y="24"/>
                      <a:pt x="7" y="24"/>
                      <a:pt x="7" y="24"/>
                    </a:cubicBezTo>
                    <a:cubicBezTo>
                      <a:pt x="7" y="24"/>
                      <a:pt x="7" y="25"/>
                      <a:pt x="6" y="25"/>
                    </a:cubicBezTo>
                    <a:cubicBezTo>
                      <a:pt x="6" y="25"/>
                      <a:pt x="5" y="25"/>
                      <a:pt x="5" y="26"/>
                    </a:cubicBezTo>
                    <a:cubicBezTo>
                      <a:pt x="5" y="26"/>
                      <a:pt x="4" y="26"/>
                      <a:pt x="4" y="27"/>
                    </a:cubicBezTo>
                    <a:cubicBezTo>
                      <a:pt x="4" y="27"/>
                      <a:pt x="3" y="28"/>
                      <a:pt x="3" y="28"/>
                    </a:cubicBezTo>
                    <a:cubicBezTo>
                      <a:pt x="3" y="28"/>
                      <a:pt x="2" y="29"/>
                      <a:pt x="2" y="29"/>
                    </a:cubicBezTo>
                    <a:cubicBezTo>
                      <a:pt x="2" y="29"/>
                      <a:pt x="2" y="30"/>
                      <a:pt x="1" y="30"/>
                    </a:cubicBezTo>
                    <a:cubicBezTo>
                      <a:pt x="1" y="30"/>
                      <a:pt x="1" y="30"/>
                      <a:pt x="1" y="30"/>
                    </a:cubicBezTo>
                    <a:cubicBezTo>
                      <a:pt x="1" y="30"/>
                      <a:pt x="1" y="31"/>
                      <a:pt x="1" y="31"/>
                    </a:cubicBezTo>
                    <a:cubicBezTo>
                      <a:pt x="1" y="31"/>
                      <a:pt x="1" y="31"/>
                      <a:pt x="0" y="31"/>
                    </a:cubicBezTo>
                    <a:cubicBezTo>
                      <a:pt x="0" y="31"/>
                      <a:pt x="0" y="32"/>
                      <a:pt x="0" y="32"/>
                    </a:cubicBezTo>
                    <a:cubicBezTo>
                      <a:pt x="0" y="32"/>
                      <a:pt x="0" y="32"/>
                      <a:pt x="0" y="33"/>
                    </a:cubicBezTo>
                    <a:cubicBezTo>
                      <a:pt x="0" y="33"/>
                      <a:pt x="0" y="33"/>
                      <a:pt x="0" y="33"/>
                    </a:cubicBezTo>
                    <a:cubicBezTo>
                      <a:pt x="0" y="33"/>
                      <a:pt x="0" y="34"/>
                      <a:pt x="1" y="34"/>
                    </a:cubicBezTo>
                    <a:cubicBezTo>
                      <a:pt x="1" y="34"/>
                      <a:pt x="1" y="35"/>
                      <a:pt x="2" y="35"/>
                    </a:cubicBezTo>
                    <a:cubicBezTo>
                      <a:pt x="2" y="35"/>
                      <a:pt x="2" y="36"/>
                      <a:pt x="2" y="36"/>
                    </a:cubicBezTo>
                    <a:cubicBezTo>
                      <a:pt x="2" y="36"/>
                      <a:pt x="1" y="36"/>
                      <a:pt x="1" y="36"/>
                    </a:cubicBezTo>
                    <a:cubicBezTo>
                      <a:pt x="1" y="36"/>
                      <a:pt x="1" y="37"/>
                      <a:pt x="1" y="37"/>
                    </a:cubicBezTo>
                    <a:cubicBezTo>
                      <a:pt x="1" y="37"/>
                      <a:pt x="2" y="38"/>
                      <a:pt x="2" y="38"/>
                    </a:cubicBezTo>
                    <a:cubicBezTo>
                      <a:pt x="2" y="39"/>
                      <a:pt x="3" y="39"/>
                      <a:pt x="3" y="39"/>
                    </a:cubicBezTo>
                    <a:cubicBezTo>
                      <a:pt x="3" y="39"/>
                      <a:pt x="3" y="40"/>
                      <a:pt x="3" y="40"/>
                    </a:cubicBezTo>
                    <a:cubicBezTo>
                      <a:pt x="3" y="40"/>
                      <a:pt x="3" y="41"/>
                      <a:pt x="3" y="41"/>
                    </a:cubicBezTo>
                    <a:cubicBezTo>
                      <a:pt x="3" y="41"/>
                      <a:pt x="2" y="41"/>
                      <a:pt x="2" y="41"/>
                    </a:cubicBezTo>
                    <a:cubicBezTo>
                      <a:pt x="2" y="41"/>
                      <a:pt x="1" y="41"/>
                      <a:pt x="1" y="42"/>
                    </a:cubicBezTo>
                    <a:cubicBezTo>
                      <a:pt x="1" y="42"/>
                      <a:pt x="1" y="42"/>
                      <a:pt x="1" y="42"/>
                    </a:cubicBezTo>
                    <a:cubicBezTo>
                      <a:pt x="1" y="43"/>
                      <a:pt x="2" y="43"/>
                      <a:pt x="2" y="43"/>
                    </a:cubicBezTo>
                    <a:cubicBezTo>
                      <a:pt x="2" y="43"/>
                      <a:pt x="4" y="45"/>
                      <a:pt x="5" y="45"/>
                    </a:cubicBezTo>
                    <a:cubicBezTo>
                      <a:pt x="5" y="45"/>
                      <a:pt x="6" y="46"/>
                      <a:pt x="6" y="46"/>
                    </a:cubicBezTo>
                    <a:cubicBezTo>
                      <a:pt x="7" y="46"/>
                      <a:pt x="8" y="47"/>
                      <a:pt x="8" y="47"/>
                    </a:cubicBezTo>
                    <a:cubicBezTo>
                      <a:pt x="8" y="47"/>
                      <a:pt x="9" y="48"/>
                      <a:pt x="9" y="48"/>
                    </a:cubicBezTo>
                    <a:cubicBezTo>
                      <a:pt x="9" y="48"/>
                      <a:pt x="11" y="49"/>
                      <a:pt x="11" y="50"/>
                    </a:cubicBezTo>
                    <a:cubicBezTo>
                      <a:pt x="11" y="50"/>
                      <a:pt x="11" y="50"/>
                      <a:pt x="11" y="50"/>
                    </a:cubicBezTo>
                    <a:cubicBezTo>
                      <a:pt x="11" y="51"/>
                      <a:pt x="11" y="51"/>
                      <a:pt x="11" y="51"/>
                    </a:cubicBezTo>
                    <a:cubicBezTo>
                      <a:pt x="12" y="51"/>
                      <a:pt x="12" y="52"/>
                      <a:pt x="12" y="52"/>
                    </a:cubicBezTo>
                    <a:cubicBezTo>
                      <a:pt x="12" y="52"/>
                      <a:pt x="12" y="52"/>
                      <a:pt x="12" y="52"/>
                    </a:cubicBezTo>
                    <a:cubicBezTo>
                      <a:pt x="12" y="53"/>
                      <a:pt x="12" y="53"/>
                      <a:pt x="12" y="53"/>
                    </a:cubicBezTo>
                    <a:cubicBezTo>
                      <a:pt x="13" y="54"/>
                      <a:pt x="13" y="54"/>
                      <a:pt x="13" y="54"/>
                    </a:cubicBezTo>
                    <a:cubicBezTo>
                      <a:pt x="13" y="54"/>
                      <a:pt x="13" y="54"/>
                      <a:pt x="13" y="55"/>
                    </a:cubicBezTo>
                    <a:cubicBezTo>
                      <a:pt x="13" y="55"/>
                      <a:pt x="14" y="56"/>
                      <a:pt x="14" y="56"/>
                    </a:cubicBezTo>
                    <a:cubicBezTo>
                      <a:pt x="14" y="56"/>
                      <a:pt x="16" y="58"/>
                      <a:pt x="16" y="58"/>
                    </a:cubicBezTo>
                    <a:cubicBezTo>
                      <a:pt x="16" y="59"/>
                      <a:pt x="17" y="59"/>
                      <a:pt x="17" y="60"/>
                    </a:cubicBezTo>
                    <a:cubicBezTo>
                      <a:pt x="17" y="60"/>
                      <a:pt x="17" y="60"/>
                      <a:pt x="17" y="60"/>
                    </a:cubicBezTo>
                    <a:cubicBezTo>
                      <a:pt x="17" y="60"/>
                      <a:pt x="18" y="61"/>
                      <a:pt x="18" y="61"/>
                    </a:cubicBezTo>
                    <a:cubicBezTo>
                      <a:pt x="18" y="61"/>
                      <a:pt x="18" y="61"/>
                      <a:pt x="18" y="61"/>
                    </a:cubicBezTo>
                    <a:cubicBezTo>
                      <a:pt x="18" y="61"/>
                      <a:pt x="18" y="62"/>
                      <a:pt x="18" y="62"/>
                    </a:cubicBezTo>
                    <a:cubicBezTo>
                      <a:pt x="18" y="62"/>
                      <a:pt x="18" y="62"/>
                      <a:pt x="18" y="62"/>
                    </a:cubicBezTo>
                    <a:cubicBezTo>
                      <a:pt x="18" y="63"/>
                      <a:pt x="19" y="63"/>
                      <a:pt x="19" y="63"/>
                    </a:cubicBezTo>
                    <a:cubicBezTo>
                      <a:pt x="19" y="63"/>
                      <a:pt x="19" y="64"/>
                      <a:pt x="19" y="64"/>
                    </a:cubicBezTo>
                    <a:cubicBezTo>
                      <a:pt x="19" y="64"/>
                      <a:pt x="19" y="65"/>
                      <a:pt x="19" y="65"/>
                    </a:cubicBezTo>
                    <a:cubicBezTo>
                      <a:pt x="20" y="65"/>
                      <a:pt x="20" y="66"/>
                      <a:pt x="20" y="66"/>
                    </a:cubicBezTo>
                    <a:cubicBezTo>
                      <a:pt x="20" y="66"/>
                      <a:pt x="20" y="66"/>
                      <a:pt x="20" y="67"/>
                    </a:cubicBezTo>
                    <a:cubicBezTo>
                      <a:pt x="20" y="67"/>
                      <a:pt x="20" y="67"/>
                      <a:pt x="20" y="67"/>
                    </a:cubicBezTo>
                    <a:cubicBezTo>
                      <a:pt x="20" y="68"/>
                      <a:pt x="21" y="68"/>
                      <a:pt x="21" y="68"/>
                    </a:cubicBezTo>
                    <a:cubicBezTo>
                      <a:pt x="21" y="68"/>
                      <a:pt x="21" y="69"/>
                      <a:pt x="21" y="69"/>
                    </a:cubicBezTo>
                    <a:cubicBezTo>
                      <a:pt x="21" y="69"/>
                      <a:pt x="22" y="69"/>
                      <a:pt x="22" y="69"/>
                    </a:cubicBezTo>
                    <a:cubicBezTo>
                      <a:pt x="22" y="70"/>
                      <a:pt x="22" y="70"/>
                      <a:pt x="22" y="70"/>
                    </a:cubicBezTo>
                    <a:cubicBezTo>
                      <a:pt x="22" y="71"/>
                      <a:pt x="22" y="71"/>
                      <a:pt x="22" y="71"/>
                    </a:cubicBezTo>
                    <a:cubicBezTo>
                      <a:pt x="22" y="72"/>
                      <a:pt x="22" y="72"/>
                      <a:pt x="22" y="72"/>
                    </a:cubicBezTo>
                    <a:cubicBezTo>
                      <a:pt x="23" y="72"/>
                      <a:pt x="23" y="72"/>
                      <a:pt x="23" y="73"/>
                    </a:cubicBezTo>
                    <a:cubicBezTo>
                      <a:pt x="23" y="73"/>
                      <a:pt x="23" y="73"/>
                      <a:pt x="23" y="74"/>
                    </a:cubicBezTo>
                    <a:cubicBezTo>
                      <a:pt x="23" y="74"/>
                      <a:pt x="23" y="74"/>
                      <a:pt x="24" y="74"/>
                    </a:cubicBezTo>
                    <a:cubicBezTo>
                      <a:pt x="24" y="75"/>
                      <a:pt x="24" y="75"/>
                      <a:pt x="24" y="75"/>
                    </a:cubicBezTo>
                    <a:cubicBezTo>
                      <a:pt x="24" y="76"/>
                      <a:pt x="25" y="76"/>
                      <a:pt x="25" y="76"/>
                    </a:cubicBezTo>
                    <a:cubicBezTo>
                      <a:pt x="25" y="76"/>
                      <a:pt x="26" y="78"/>
                      <a:pt x="26" y="78"/>
                    </a:cubicBezTo>
                    <a:cubicBezTo>
                      <a:pt x="26" y="79"/>
                      <a:pt x="26" y="80"/>
                      <a:pt x="26" y="80"/>
                    </a:cubicBezTo>
                    <a:cubicBezTo>
                      <a:pt x="26" y="80"/>
                      <a:pt x="26" y="81"/>
                      <a:pt x="27" y="81"/>
                    </a:cubicBezTo>
                    <a:cubicBezTo>
                      <a:pt x="27" y="81"/>
                      <a:pt x="28" y="81"/>
                      <a:pt x="28" y="82"/>
                    </a:cubicBezTo>
                    <a:cubicBezTo>
                      <a:pt x="28" y="82"/>
                      <a:pt x="29" y="83"/>
                      <a:pt x="29" y="83"/>
                    </a:cubicBezTo>
                    <a:cubicBezTo>
                      <a:pt x="29" y="83"/>
                      <a:pt x="29" y="84"/>
                      <a:pt x="29" y="84"/>
                    </a:cubicBezTo>
                    <a:cubicBezTo>
                      <a:pt x="29" y="84"/>
                      <a:pt x="29" y="86"/>
                      <a:pt x="29" y="86"/>
                    </a:cubicBezTo>
                    <a:cubicBezTo>
                      <a:pt x="29" y="86"/>
                      <a:pt x="30" y="87"/>
                      <a:pt x="31" y="87"/>
                    </a:cubicBezTo>
                    <a:cubicBezTo>
                      <a:pt x="31" y="87"/>
                      <a:pt x="31" y="88"/>
                      <a:pt x="32" y="88"/>
                    </a:cubicBezTo>
                    <a:cubicBezTo>
                      <a:pt x="32" y="88"/>
                      <a:pt x="32" y="89"/>
                      <a:pt x="32" y="89"/>
                    </a:cubicBezTo>
                    <a:cubicBezTo>
                      <a:pt x="32" y="89"/>
                      <a:pt x="32" y="89"/>
                      <a:pt x="32" y="89"/>
                    </a:cubicBezTo>
                    <a:cubicBezTo>
                      <a:pt x="32" y="90"/>
                      <a:pt x="33" y="90"/>
                      <a:pt x="33" y="90"/>
                    </a:cubicBezTo>
                    <a:cubicBezTo>
                      <a:pt x="33" y="90"/>
                      <a:pt x="33" y="91"/>
                      <a:pt x="33" y="91"/>
                    </a:cubicBezTo>
                    <a:cubicBezTo>
                      <a:pt x="33" y="91"/>
                      <a:pt x="33" y="91"/>
                      <a:pt x="34" y="91"/>
                    </a:cubicBezTo>
                    <a:cubicBezTo>
                      <a:pt x="34" y="91"/>
                      <a:pt x="34" y="92"/>
                      <a:pt x="34" y="92"/>
                    </a:cubicBezTo>
                    <a:cubicBezTo>
                      <a:pt x="34" y="92"/>
                      <a:pt x="34" y="93"/>
                      <a:pt x="34" y="93"/>
                    </a:cubicBezTo>
                    <a:cubicBezTo>
                      <a:pt x="34" y="93"/>
                      <a:pt x="35" y="94"/>
                      <a:pt x="35" y="94"/>
                    </a:cubicBezTo>
                    <a:cubicBezTo>
                      <a:pt x="35" y="94"/>
                      <a:pt x="35" y="94"/>
                      <a:pt x="35" y="95"/>
                    </a:cubicBezTo>
                    <a:cubicBezTo>
                      <a:pt x="36" y="95"/>
                      <a:pt x="36" y="95"/>
                      <a:pt x="36" y="95"/>
                    </a:cubicBezTo>
                    <a:cubicBezTo>
                      <a:pt x="36" y="96"/>
                      <a:pt x="36" y="96"/>
                      <a:pt x="36" y="96"/>
                    </a:cubicBezTo>
                    <a:cubicBezTo>
                      <a:pt x="36" y="96"/>
                      <a:pt x="36" y="97"/>
                      <a:pt x="36" y="97"/>
                    </a:cubicBezTo>
                    <a:cubicBezTo>
                      <a:pt x="36" y="97"/>
                      <a:pt x="36" y="97"/>
                      <a:pt x="36" y="98"/>
                    </a:cubicBezTo>
                    <a:cubicBezTo>
                      <a:pt x="36" y="98"/>
                      <a:pt x="36" y="98"/>
                      <a:pt x="36" y="98"/>
                    </a:cubicBezTo>
                    <a:cubicBezTo>
                      <a:pt x="35" y="98"/>
                      <a:pt x="35" y="98"/>
                      <a:pt x="35" y="98"/>
                    </a:cubicBezTo>
                    <a:cubicBezTo>
                      <a:pt x="35" y="98"/>
                      <a:pt x="35" y="99"/>
                      <a:pt x="35" y="99"/>
                    </a:cubicBezTo>
                    <a:cubicBezTo>
                      <a:pt x="35" y="99"/>
                      <a:pt x="35" y="100"/>
                      <a:pt x="35" y="100"/>
                    </a:cubicBezTo>
                    <a:cubicBezTo>
                      <a:pt x="35" y="100"/>
                      <a:pt x="36" y="100"/>
                      <a:pt x="36" y="100"/>
                    </a:cubicBezTo>
                    <a:cubicBezTo>
                      <a:pt x="36" y="100"/>
                      <a:pt x="36" y="101"/>
                      <a:pt x="36" y="101"/>
                    </a:cubicBezTo>
                    <a:cubicBezTo>
                      <a:pt x="36" y="101"/>
                      <a:pt x="36" y="101"/>
                      <a:pt x="36" y="101"/>
                    </a:cubicBezTo>
                    <a:cubicBezTo>
                      <a:pt x="36" y="101"/>
                      <a:pt x="36" y="102"/>
                      <a:pt x="36" y="102"/>
                    </a:cubicBezTo>
                    <a:cubicBezTo>
                      <a:pt x="37" y="102"/>
                      <a:pt x="37" y="102"/>
                      <a:pt x="37" y="103"/>
                    </a:cubicBezTo>
                    <a:cubicBezTo>
                      <a:pt x="37" y="103"/>
                      <a:pt x="38" y="103"/>
                      <a:pt x="38" y="104"/>
                    </a:cubicBezTo>
                    <a:cubicBezTo>
                      <a:pt x="38" y="104"/>
                      <a:pt x="38" y="104"/>
                      <a:pt x="38" y="105"/>
                    </a:cubicBezTo>
                    <a:cubicBezTo>
                      <a:pt x="38" y="105"/>
                      <a:pt x="39" y="105"/>
                      <a:pt x="39" y="105"/>
                    </a:cubicBezTo>
                    <a:cubicBezTo>
                      <a:pt x="39" y="105"/>
                      <a:pt x="40" y="106"/>
                      <a:pt x="41" y="106"/>
                    </a:cubicBezTo>
                    <a:cubicBezTo>
                      <a:pt x="41" y="107"/>
                      <a:pt x="41" y="107"/>
                      <a:pt x="41" y="107"/>
                    </a:cubicBezTo>
                    <a:cubicBezTo>
                      <a:pt x="41" y="107"/>
                      <a:pt x="42" y="108"/>
                      <a:pt x="42" y="108"/>
                    </a:cubicBezTo>
                    <a:cubicBezTo>
                      <a:pt x="42" y="108"/>
                      <a:pt x="42" y="108"/>
                      <a:pt x="42" y="108"/>
                    </a:cubicBezTo>
                    <a:cubicBezTo>
                      <a:pt x="42" y="108"/>
                      <a:pt x="43" y="109"/>
                      <a:pt x="43" y="109"/>
                    </a:cubicBezTo>
                    <a:cubicBezTo>
                      <a:pt x="43" y="109"/>
                      <a:pt x="43" y="110"/>
                      <a:pt x="44" y="110"/>
                    </a:cubicBezTo>
                    <a:cubicBezTo>
                      <a:pt x="44" y="110"/>
                      <a:pt x="46" y="111"/>
                      <a:pt x="46" y="112"/>
                    </a:cubicBezTo>
                    <a:cubicBezTo>
                      <a:pt x="47" y="112"/>
                      <a:pt x="48" y="112"/>
                      <a:pt x="48" y="112"/>
                    </a:cubicBezTo>
                    <a:cubicBezTo>
                      <a:pt x="48" y="112"/>
                      <a:pt x="48" y="113"/>
                      <a:pt x="49" y="113"/>
                    </a:cubicBezTo>
                    <a:cubicBezTo>
                      <a:pt x="49" y="113"/>
                      <a:pt x="49" y="113"/>
                      <a:pt x="50" y="114"/>
                    </a:cubicBezTo>
                    <a:cubicBezTo>
                      <a:pt x="50" y="114"/>
                      <a:pt x="51" y="114"/>
                      <a:pt x="51" y="114"/>
                    </a:cubicBezTo>
                    <a:cubicBezTo>
                      <a:pt x="51" y="115"/>
                      <a:pt x="52" y="115"/>
                      <a:pt x="52" y="115"/>
                    </a:cubicBezTo>
                    <a:cubicBezTo>
                      <a:pt x="53" y="116"/>
                      <a:pt x="53" y="116"/>
                      <a:pt x="54" y="116"/>
                    </a:cubicBezTo>
                    <a:cubicBezTo>
                      <a:pt x="54" y="116"/>
                      <a:pt x="55" y="117"/>
                      <a:pt x="56" y="117"/>
                    </a:cubicBezTo>
                    <a:cubicBezTo>
                      <a:pt x="57" y="117"/>
                      <a:pt x="57" y="117"/>
                      <a:pt x="58" y="118"/>
                    </a:cubicBezTo>
                    <a:cubicBezTo>
                      <a:pt x="58" y="118"/>
                      <a:pt x="59" y="118"/>
                      <a:pt x="59" y="118"/>
                    </a:cubicBezTo>
                    <a:cubicBezTo>
                      <a:pt x="60" y="119"/>
                      <a:pt x="60" y="119"/>
                      <a:pt x="60" y="119"/>
                    </a:cubicBezTo>
                    <a:cubicBezTo>
                      <a:pt x="61" y="119"/>
                      <a:pt x="61" y="119"/>
                      <a:pt x="62" y="119"/>
                    </a:cubicBezTo>
                    <a:cubicBezTo>
                      <a:pt x="62" y="120"/>
                      <a:pt x="62" y="120"/>
                      <a:pt x="63" y="120"/>
                    </a:cubicBezTo>
                    <a:cubicBezTo>
                      <a:pt x="63" y="120"/>
                      <a:pt x="64" y="121"/>
                      <a:pt x="64" y="121"/>
                    </a:cubicBezTo>
                    <a:cubicBezTo>
                      <a:pt x="65" y="121"/>
                      <a:pt x="65" y="122"/>
                      <a:pt x="65" y="122"/>
                    </a:cubicBezTo>
                    <a:cubicBezTo>
                      <a:pt x="66" y="122"/>
                      <a:pt x="66" y="122"/>
                      <a:pt x="66" y="123"/>
                    </a:cubicBezTo>
                    <a:cubicBezTo>
                      <a:pt x="67" y="123"/>
                      <a:pt x="67" y="123"/>
                      <a:pt x="68" y="124"/>
                    </a:cubicBezTo>
                    <a:cubicBezTo>
                      <a:pt x="69" y="124"/>
                      <a:pt x="69" y="124"/>
                      <a:pt x="69" y="124"/>
                    </a:cubicBezTo>
                    <a:cubicBezTo>
                      <a:pt x="70" y="124"/>
                      <a:pt x="70" y="125"/>
                      <a:pt x="70" y="125"/>
                    </a:cubicBezTo>
                    <a:cubicBezTo>
                      <a:pt x="70" y="126"/>
                      <a:pt x="70" y="126"/>
                      <a:pt x="70" y="126"/>
                    </a:cubicBezTo>
                    <a:cubicBezTo>
                      <a:pt x="70" y="127"/>
                      <a:pt x="70" y="127"/>
                      <a:pt x="70" y="127"/>
                    </a:cubicBezTo>
                    <a:cubicBezTo>
                      <a:pt x="71" y="127"/>
                      <a:pt x="71" y="128"/>
                      <a:pt x="72" y="128"/>
                    </a:cubicBezTo>
                    <a:cubicBezTo>
                      <a:pt x="72" y="128"/>
                      <a:pt x="73" y="128"/>
                      <a:pt x="73" y="129"/>
                    </a:cubicBezTo>
                    <a:cubicBezTo>
                      <a:pt x="73" y="129"/>
                      <a:pt x="74" y="129"/>
                      <a:pt x="74" y="130"/>
                    </a:cubicBezTo>
                    <a:cubicBezTo>
                      <a:pt x="74" y="130"/>
                      <a:pt x="75" y="131"/>
                      <a:pt x="76" y="131"/>
                    </a:cubicBezTo>
                    <a:cubicBezTo>
                      <a:pt x="76" y="131"/>
                      <a:pt x="76" y="131"/>
                      <a:pt x="77" y="131"/>
                    </a:cubicBezTo>
                    <a:cubicBezTo>
                      <a:pt x="77" y="131"/>
                      <a:pt x="77" y="132"/>
                      <a:pt x="77" y="132"/>
                    </a:cubicBezTo>
                    <a:cubicBezTo>
                      <a:pt x="77" y="131"/>
                      <a:pt x="77" y="131"/>
                      <a:pt x="77" y="131"/>
                    </a:cubicBezTo>
                    <a:cubicBezTo>
                      <a:pt x="79" y="131"/>
                      <a:pt x="79" y="131"/>
                      <a:pt x="79" y="131"/>
                    </a:cubicBezTo>
                    <a:cubicBezTo>
                      <a:pt x="81" y="130"/>
                      <a:pt x="81" y="130"/>
                      <a:pt x="81" y="130"/>
                    </a:cubicBezTo>
                    <a:cubicBezTo>
                      <a:pt x="81" y="130"/>
                      <a:pt x="81" y="129"/>
                      <a:pt x="81" y="129"/>
                    </a:cubicBezTo>
                    <a:cubicBezTo>
                      <a:pt x="81" y="129"/>
                      <a:pt x="81" y="128"/>
                      <a:pt x="81" y="128"/>
                    </a:cubicBezTo>
                    <a:cubicBezTo>
                      <a:pt x="81" y="128"/>
                      <a:pt x="81" y="128"/>
                      <a:pt x="81" y="128"/>
                    </a:cubicBezTo>
                    <a:cubicBezTo>
                      <a:pt x="81" y="128"/>
                      <a:pt x="81" y="126"/>
                      <a:pt x="81" y="126"/>
                    </a:cubicBezTo>
                    <a:cubicBezTo>
                      <a:pt x="82" y="126"/>
                      <a:pt x="82" y="126"/>
                      <a:pt x="82" y="126"/>
                    </a:cubicBezTo>
                    <a:cubicBezTo>
                      <a:pt x="82" y="126"/>
                      <a:pt x="82" y="126"/>
                      <a:pt x="82" y="126"/>
                    </a:cubicBezTo>
                    <a:cubicBezTo>
                      <a:pt x="83" y="126"/>
                      <a:pt x="83" y="125"/>
                      <a:pt x="83" y="125"/>
                    </a:cubicBezTo>
                    <a:cubicBezTo>
                      <a:pt x="83" y="125"/>
                      <a:pt x="83" y="125"/>
                      <a:pt x="83" y="125"/>
                    </a:cubicBezTo>
                    <a:cubicBezTo>
                      <a:pt x="83" y="125"/>
                      <a:pt x="84" y="124"/>
                      <a:pt x="83" y="12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8" name="Freeform 684">
                <a:extLst>
                  <a:ext uri="{FF2B5EF4-FFF2-40B4-BE49-F238E27FC236}">
                    <a16:creationId xmlns:a16="http://schemas.microsoft.com/office/drawing/2014/main" id="{54FB5C51-6F1D-4ED7-8816-68BD5B5A784D}"/>
                  </a:ext>
                </a:extLst>
              </p:cNvPr>
              <p:cNvSpPr>
                <a:spLocks/>
              </p:cNvSpPr>
              <p:nvPr/>
            </p:nvSpPr>
            <p:spPr bwMode="auto">
              <a:xfrm>
                <a:off x="3602038" y="5446713"/>
                <a:ext cx="250825" cy="261938"/>
              </a:xfrm>
              <a:custGeom>
                <a:avLst/>
                <a:gdLst>
                  <a:gd name="T0" fmla="*/ 58 w 60"/>
                  <a:gd name="T1" fmla="*/ 44 h 63"/>
                  <a:gd name="T2" fmla="*/ 60 w 60"/>
                  <a:gd name="T3" fmla="*/ 38 h 63"/>
                  <a:gd name="T4" fmla="*/ 59 w 60"/>
                  <a:gd name="T5" fmla="*/ 36 h 63"/>
                  <a:gd name="T6" fmla="*/ 54 w 60"/>
                  <a:gd name="T7" fmla="*/ 35 h 63"/>
                  <a:gd name="T8" fmla="*/ 51 w 60"/>
                  <a:gd name="T9" fmla="*/ 33 h 63"/>
                  <a:gd name="T10" fmla="*/ 50 w 60"/>
                  <a:gd name="T11" fmla="*/ 29 h 63"/>
                  <a:gd name="T12" fmla="*/ 50 w 60"/>
                  <a:gd name="T13" fmla="*/ 27 h 63"/>
                  <a:gd name="T14" fmla="*/ 50 w 60"/>
                  <a:gd name="T15" fmla="*/ 25 h 63"/>
                  <a:gd name="T16" fmla="*/ 48 w 60"/>
                  <a:gd name="T17" fmla="*/ 22 h 63"/>
                  <a:gd name="T18" fmla="*/ 45 w 60"/>
                  <a:gd name="T19" fmla="*/ 21 h 63"/>
                  <a:gd name="T20" fmla="*/ 42 w 60"/>
                  <a:gd name="T21" fmla="*/ 22 h 63"/>
                  <a:gd name="T22" fmla="*/ 37 w 60"/>
                  <a:gd name="T23" fmla="*/ 22 h 63"/>
                  <a:gd name="T24" fmla="*/ 36 w 60"/>
                  <a:gd name="T25" fmla="*/ 21 h 63"/>
                  <a:gd name="T26" fmla="*/ 33 w 60"/>
                  <a:gd name="T27" fmla="*/ 20 h 63"/>
                  <a:gd name="T28" fmla="*/ 33 w 60"/>
                  <a:gd name="T29" fmla="*/ 19 h 63"/>
                  <a:gd name="T30" fmla="*/ 34 w 60"/>
                  <a:gd name="T31" fmla="*/ 17 h 63"/>
                  <a:gd name="T32" fmla="*/ 34 w 60"/>
                  <a:gd name="T33" fmla="*/ 15 h 63"/>
                  <a:gd name="T34" fmla="*/ 35 w 60"/>
                  <a:gd name="T35" fmla="*/ 12 h 63"/>
                  <a:gd name="T36" fmla="*/ 34 w 60"/>
                  <a:gd name="T37" fmla="*/ 11 h 63"/>
                  <a:gd name="T38" fmla="*/ 33 w 60"/>
                  <a:gd name="T39" fmla="*/ 10 h 63"/>
                  <a:gd name="T40" fmla="*/ 32 w 60"/>
                  <a:gd name="T41" fmla="*/ 6 h 63"/>
                  <a:gd name="T42" fmla="*/ 32 w 60"/>
                  <a:gd name="T43" fmla="*/ 4 h 63"/>
                  <a:gd name="T44" fmla="*/ 19 w 60"/>
                  <a:gd name="T45" fmla="*/ 0 h 63"/>
                  <a:gd name="T46" fmla="*/ 3 w 60"/>
                  <a:gd name="T47" fmla="*/ 9 h 63"/>
                  <a:gd name="T48" fmla="*/ 3 w 60"/>
                  <a:gd name="T49" fmla="*/ 24 h 63"/>
                  <a:gd name="T50" fmla="*/ 5 w 60"/>
                  <a:gd name="T51" fmla="*/ 28 h 63"/>
                  <a:gd name="T52" fmla="*/ 9 w 60"/>
                  <a:gd name="T53" fmla="*/ 31 h 63"/>
                  <a:gd name="T54" fmla="*/ 12 w 60"/>
                  <a:gd name="T55" fmla="*/ 34 h 63"/>
                  <a:gd name="T56" fmla="*/ 23 w 60"/>
                  <a:gd name="T57" fmla="*/ 38 h 63"/>
                  <a:gd name="T58" fmla="*/ 30 w 60"/>
                  <a:gd name="T59" fmla="*/ 42 h 63"/>
                  <a:gd name="T60" fmla="*/ 34 w 60"/>
                  <a:gd name="T61" fmla="*/ 44 h 63"/>
                  <a:gd name="T62" fmla="*/ 35 w 60"/>
                  <a:gd name="T63" fmla="*/ 49 h 63"/>
                  <a:gd name="T64" fmla="*/ 34 w 60"/>
                  <a:gd name="T65" fmla="*/ 51 h 63"/>
                  <a:gd name="T66" fmla="*/ 32 w 60"/>
                  <a:gd name="T67" fmla="*/ 53 h 63"/>
                  <a:gd name="T68" fmla="*/ 32 w 60"/>
                  <a:gd name="T69" fmla="*/ 56 h 63"/>
                  <a:gd name="T70" fmla="*/ 31 w 60"/>
                  <a:gd name="T71" fmla="*/ 57 h 63"/>
                  <a:gd name="T72" fmla="*/ 30 w 60"/>
                  <a:gd name="T73" fmla="*/ 58 h 63"/>
                  <a:gd name="T74" fmla="*/ 29 w 60"/>
                  <a:gd name="T75" fmla="*/ 60 h 63"/>
                  <a:gd name="T76" fmla="*/ 29 w 60"/>
                  <a:gd name="T77" fmla="*/ 61 h 63"/>
                  <a:gd name="T78" fmla="*/ 40 w 60"/>
                  <a:gd name="T79" fmla="*/ 63 h 63"/>
                  <a:gd name="T80" fmla="*/ 42 w 60"/>
                  <a:gd name="T81" fmla="*/ 63 h 63"/>
                  <a:gd name="T82" fmla="*/ 44 w 60"/>
                  <a:gd name="T83" fmla="*/ 63 h 63"/>
                  <a:gd name="T84" fmla="*/ 48 w 60"/>
                  <a:gd name="T85" fmla="*/ 62 h 63"/>
                  <a:gd name="T86" fmla="*/ 50 w 60"/>
                  <a:gd name="T87" fmla="*/ 61 h 63"/>
                  <a:gd name="T88" fmla="*/ 51 w 60"/>
                  <a:gd name="T89" fmla="*/ 59 h 63"/>
                  <a:gd name="T90" fmla="*/ 54 w 60"/>
                  <a:gd name="T91" fmla="*/ 58 h 63"/>
                  <a:gd name="T92" fmla="*/ 55 w 60"/>
                  <a:gd name="T93" fmla="*/ 56 h 63"/>
                  <a:gd name="T94" fmla="*/ 57 w 60"/>
                  <a:gd name="T95" fmla="*/ 52 h 63"/>
                  <a:gd name="T96" fmla="*/ 57 w 60"/>
                  <a:gd name="T97" fmla="*/ 50 h 63"/>
                  <a:gd name="T98" fmla="*/ 57 w 60"/>
                  <a:gd name="T99" fmla="*/ 48 h 63"/>
                  <a:gd name="T100" fmla="*/ 58 w 60"/>
                  <a:gd name="T101" fmla="*/ 4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63">
                    <a:moveTo>
                      <a:pt x="58" y="46"/>
                    </a:moveTo>
                    <a:cubicBezTo>
                      <a:pt x="58" y="46"/>
                      <a:pt x="58" y="45"/>
                      <a:pt x="58" y="45"/>
                    </a:cubicBezTo>
                    <a:cubicBezTo>
                      <a:pt x="58" y="45"/>
                      <a:pt x="58" y="44"/>
                      <a:pt x="58" y="44"/>
                    </a:cubicBezTo>
                    <a:cubicBezTo>
                      <a:pt x="58" y="44"/>
                      <a:pt x="58" y="43"/>
                      <a:pt x="58" y="43"/>
                    </a:cubicBezTo>
                    <a:cubicBezTo>
                      <a:pt x="58" y="43"/>
                      <a:pt x="59" y="40"/>
                      <a:pt x="59" y="39"/>
                    </a:cubicBezTo>
                    <a:cubicBezTo>
                      <a:pt x="59" y="39"/>
                      <a:pt x="60" y="38"/>
                      <a:pt x="60" y="38"/>
                    </a:cubicBezTo>
                    <a:cubicBezTo>
                      <a:pt x="60" y="38"/>
                      <a:pt x="59" y="38"/>
                      <a:pt x="59" y="37"/>
                    </a:cubicBezTo>
                    <a:cubicBezTo>
                      <a:pt x="59" y="37"/>
                      <a:pt x="59" y="37"/>
                      <a:pt x="59" y="37"/>
                    </a:cubicBezTo>
                    <a:cubicBezTo>
                      <a:pt x="59" y="37"/>
                      <a:pt x="59" y="36"/>
                      <a:pt x="59" y="36"/>
                    </a:cubicBezTo>
                    <a:cubicBezTo>
                      <a:pt x="59" y="36"/>
                      <a:pt x="59" y="36"/>
                      <a:pt x="59" y="36"/>
                    </a:cubicBezTo>
                    <a:cubicBezTo>
                      <a:pt x="59" y="36"/>
                      <a:pt x="57" y="34"/>
                      <a:pt x="57" y="34"/>
                    </a:cubicBezTo>
                    <a:cubicBezTo>
                      <a:pt x="54" y="35"/>
                      <a:pt x="54" y="35"/>
                      <a:pt x="54" y="35"/>
                    </a:cubicBezTo>
                    <a:cubicBezTo>
                      <a:pt x="51" y="35"/>
                      <a:pt x="51" y="35"/>
                      <a:pt x="51" y="35"/>
                    </a:cubicBezTo>
                    <a:cubicBezTo>
                      <a:pt x="51" y="35"/>
                      <a:pt x="51" y="34"/>
                      <a:pt x="51" y="34"/>
                    </a:cubicBezTo>
                    <a:cubicBezTo>
                      <a:pt x="51" y="34"/>
                      <a:pt x="51" y="33"/>
                      <a:pt x="51" y="33"/>
                    </a:cubicBezTo>
                    <a:cubicBezTo>
                      <a:pt x="51" y="33"/>
                      <a:pt x="51" y="33"/>
                      <a:pt x="51" y="33"/>
                    </a:cubicBezTo>
                    <a:cubicBezTo>
                      <a:pt x="51" y="29"/>
                      <a:pt x="51" y="29"/>
                      <a:pt x="51" y="29"/>
                    </a:cubicBezTo>
                    <a:cubicBezTo>
                      <a:pt x="51" y="29"/>
                      <a:pt x="50" y="29"/>
                      <a:pt x="50" y="29"/>
                    </a:cubicBezTo>
                    <a:cubicBezTo>
                      <a:pt x="50" y="29"/>
                      <a:pt x="50" y="29"/>
                      <a:pt x="50" y="29"/>
                    </a:cubicBezTo>
                    <a:cubicBezTo>
                      <a:pt x="50" y="27"/>
                      <a:pt x="50" y="27"/>
                      <a:pt x="50" y="27"/>
                    </a:cubicBezTo>
                    <a:cubicBezTo>
                      <a:pt x="50" y="27"/>
                      <a:pt x="50" y="27"/>
                      <a:pt x="50" y="27"/>
                    </a:cubicBezTo>
                    <a:cubicBezTo>
                      <a:pt x="50" y="27"/>
                      <a:pt x="50" y="26"/>
                      <a:pt x="50" y="26"/>
                    </a:cubicBezTo>
                    <a:cubicBezTo>
                      <a:pt x="50" y="26"/>
                      <a:pt x="50" y="26"/>
                      <a:pt x="50" y="26"/>
                    </a:cubicBezTo>
                    <a:cubicBezTo>
                      <a:pt x="50" y="26"/>
                      <a:pt x="50" y="25"/>
                      <a:pt x="50" y="25"/>
                    </a:cubicBezTo>
                    <a:cubicBezTo>
                      <a:pt x="49" y="24"/>
                      <a:pt x="49" y="24"/>
                      <a:pt x="49" y="24"/>
                    </a:cubicBezTo>
                    <a:cubicBezTo>
                      <a:pt x="49" y="23"/>
                      <a:pt x="49" y="23"/>
                      <a:pt x="49" y="23"/>
                    </a:cubicBezTo>
                    <a:cubicBezTo>
                      <a:pt x="48" y="22"/>
                      <a:pt x="48" y="22"/>
                      <a:pt x="48" y="22"/>
                    </a:cubicBezTo>
                    <a:cubicBezTo>
                      <a:pt x="46" y="22"/>
                      <a:pt x="46" y="22"/>
                      <a:pt x="46" y="22"/>
                    </a:cubicBezTo>
                    <a:cubicBezTo>
                      <a:pt x="45" y="22"/>
                      <a:pt x="45" y="22"/>
                      <a:pt x="45" y="22"/>
                    </a:cubicBezTo>
                    <a:cubicBezTo>
                      <a:pt x="45" y="21"/>
                      <a:pt x="45" y="21"/>
                      <a:pt x="45" y="21"/>
                    </a:cubicBezTo>
                    <a:cubicBezTo>
                      <a:pt x="44" y="21"/>
                      <a:pt x="44" y="21"/>
                      <a:pt x="44" y="21"/>
                    </a:cubicBezTo>
                    <a:cubicBezTo>
                      <a:pt x="43" y="22"/>
                      <a:pt x="43" y="22"/>
                      <a:pt x="43" y="22"/>
                    </a:cubicBezTo>
                    <a:cubicBezTo>
                      <a:pt x="43" y="22"/>
                      <a:pt x="42" y="22"/>
                      <a:pt x="42" y="22"/>
                    </a:cubicBezTo>
                    <a:cubicBezTo>
                      <a:pt x="42" y="22"/>
                      <a:pt x="42" y="22"/>
                      <a:pt x="42" y="22"/>
                    </a:cubicBezTo>
                    <a:cubicBezTo>
                      <a:pt x="40" y="22"/>
                      <a:pt x="40" y="22"/>
                      <a:pt x="40" y="22"/>
                    </a:cubicBezTo>
                    <a:cubicBezTo>
                      <a:pt x="37" y="22"/>
                      <a:pt x="37" y="22"/>
                      <a:pt x="37" y="22"/>
                    </a:cubicBezTo>
                    <a:cubicBezTo>
                      <a:pt x="36" y="22"/>
                      <a:pt x="36" y="22"/>
                      <a:pt x="36" y="22"/>
                    </a:cubicBezTo>
                    <a:cubicBezTo>
                      <a:pt x="36" y="21"/>
                      <a:pt x="36" y="21"/>
                      <a:pt x="36" y="21"/>
                    </a:cubicBezTo>
                    <a:cubicBezTo>
                      <a:pt x="36" y="21"/>
                      <a:pt x="36" y="21"/>
                      <a:pt x="36" y="21"/>
                    </a:cubicBezTo>
                    <a:cubicBezTo>
                      <a:pt x="35" y="21"/>
                      <a:pt x="35" y="21"/>
                      <a:pt x="35" y="21"/>
                    </a:cubicBezTo>
                    <a:cubicBezTo>
                      <a:pt x="34" y="21"/>
                      <a:pt x="34" y="21"/>
                      <a:pt x="34" y="21"/>
                    </a:cubicBezTo>
                    <a:cubicBezTo>
                      <a:pt x="34" y="21"/>
                      <a:pt x="33" y="20"/>
                      <a:pt x="33" y="20"/>
                    </a:cubicBezTo>
                    <a:cubicBezTo>
                      <a:pt x="33" y="20"/>
                      <a:pt x="34" y="20"/>
                      <a:pt x="34" y="19"/>
                    </a:cubicBezTo>
                    <a:cubicBezTo>
                      <a:pt x="34" y="19"/>
                      <a:pt x="34" y="19"/>
                      <a:pt x="34" y="19"/>
                    </a:cubicBezTo>
                    <a:cubicBezTo>
                      <a:pt x="34" y="19"/>
                      <a:pt x="33" y="19"/>
                      <a:pt x="33" y="19"/>
                    </a:cubicBezTo>
                    <a:cubicBezTo>
                      <a:pt x="33" y="19"/>
                      <a:pt x="34" y="19"/>
                      <a:pt x="34" y="18"/>
                    </a:cubicBezTo>
                    <a:cubicBezTo>
                      <a:pt x="34" y="18"/>
                      <a:pt x="34" y="18"/>
                      <a:pt x="34" y="18"/>
                    </a:cubicBezTo>
                    <a:cubicBezTo>
                      <a:pt x="34" y="17"/>
                      <a:pt x="34" y="17"/>
                      <a:pt x="34" y="17"/>
                    </a:cubicBezTo>
                    <a:cubicBezTo>
                      <a:pt x="34" y="17"/>
                      <a:pt x="34" y="17"/>
                      <a:pt x="34" y="16"/>
                    </a:cubicBezTo>
                    <a:cubicBezTo>
                      <a:pt x="33" y="16"/>
                      <a:pt x="34" y="16"/>
                      <a:pt x="34" y="16"/>
                    </a:cubicBezTo>
                    <a:cubicBezTo>
                      <a:pt x="34" y="16"/>
                      <a:pt x="34" y="15"/>
                      <a:pt x="34" y="15"/>
                    </a:cubicBezTo>
                    <a:cubicBezTo>
                      <a:pt x="34" y="15"/>
                      <a:pt x="34" y="15"/>
                      <a:pt x="34" y="15"/>
                    </a:cubicBezTo>
                    <a:cubicBezTo>
                      <a:pt x="34" y="15"/>
                      <a:pt x="34" y="14"/>
                      <a:pt x="34" y="14"/>
                    </a:cubicBezTo>
                    <a:cubicBezTo>
                      <a:pt x="34" y="14"/>
                      <a:pt x="35" y="12"/>
                      <a:pt x="35" y="12"/>
                    </a:cubicBezTo>
                    <a:cubicBezTo>
                      <a:pt x="35" y="12"/>
                      <a:pt x="34" y="12"/>
                      <a:pt x="34" y="12"/>
                    </a:cubicBezTo>
                    <a:cubicBezTo>
                      <a:pt x="34" y="12"/>
                      <a:pt x="34" y="12"/>
                      <a:pt x="34" y="11"/>
                    </a:cubicBezTo>
                    <a:cubicBezTo>
                      <a:pt x="34" y="11"/>
                      <a:pt x="34" y="11"/>
                      <a:pt x="34" y="11"/>
                    </a:cubicBezTo>
                    <a:cubicBezTo>
                      <a:pt x="34" y="11"/>
                      <a:pt x="34" y="11"/>
                      <a:pt x="34" y="11"/>
                    </a:cubicBezTo>
                    <a:cubicBezTo>
                      <a:pt x="34" y="10"/>
                      <a:pt x="34" y="10"/>
                      <a:pt x="34" y="10"/>
                    </a:cubicBezTo>
                    <a:cubicBezTo>
                      <a:pt x="34" y="10"/>
                      <a:pt x="33" y="10"/>
                      <a:pt x="33" y="10"/>
                    </a:cubicBezTo>
                    <a:cubicBezTo>
                      <a:pt x="33" y="8"/>
                      <a:pt x="33" y="8"/>
                      <a:pt x="33" y="8"/>
                    </a:cubicBezTo>
                    <a:cubicBezTo>
                      <a:pt x="32" y="6"/>
                      <a:pt x="32" y="6"/>
                      <a:pt x="32" y="6"/>
                    </a:cubicBezTo>
                    <a:cubicBezTo>
                      <a:pt x="32" y="6"/>
                      <a:pt x="32" y="6"/>
                      <a:pt x="32" y="6"/>
                    </a:cubicBezTo>
                    <a:cubicBezTo>
                      <a:pt x="32" y="6"/>
                      <a:pt x="32" y="5"/>
                      <a:pt x="32" y="5"/>
                    </a:cubicBezTo>
                    <a:cubicBezTo>
                      <a:pt x="32" y="5"/>
                      <a:pt x="32" y="4"/>
                      <a:pt x="32" y="4"/>
                    </a:cubicBezTo>
                    <a:cubicBezTo>
                      <a:pt x="32" y="4"/>
                      <a:pt x="32" y="4"/>
                      <a:pt x="32" y="4"/>
                    </a:cubicBezTo>
                    <a:cubicBezTo>
                      <a:pt x="32" y="4"/>
                      <a:pt x="32" y="4"/>
                      <a:pt x="32" y="4"/>
                    </a:cubicBezTo>
                    <a:cubicBezTo>
                      <a:pt x="26" y="0"/>
                      <a:pt x="26" y="0"/>
                      <a:pt x="26" y="0"/>
                    </a:cubicBezTo>
                    <a:cubicBezTo>
                      <a:pt x="19" y="0"/>
                      <a:pt x="19" y="0"/>
                      <a:pt x="19" y="0"/>
                    </a:cubicBezTo>
                    <a:cubicBezTo>
                      <a:pt x="7" y="2"/>
                      <a:pt x="7" y="2"/>
                      <a:pt x="7" y="2"/>
                    </a:cubicBezTo>
                    <a:cubicBezTo>
                      <a:pt x="6" y="5"/>
                      <a:pt x="6" y="5"/>
                      <a:pt x="6" y="5"/>
                    </a:cubicBezTo>
                    <a:cubicBezTo>
                      <a:pt x="3" y="9"/>
                      <a:pt x="3" y="9"/>
                      <a:pt x="3" y="9"/>
                    </a:cubicBezTo>
                    <a:cubicBezTo>
                      <a:pt x="3" y="13"/>
                      <a:pt x="3" y="13"/>
                      <a:pt x="3" y="13"/>
                    </a:cubicBezTo>
                    <a:cubicBezTo>
                      <a:pt x="0" y="22"/>
                      <a:pt x="0" y="22"/>
                      <a:pt x="0" y="22"/>
                    </a:cubicBezTo>
                    <a:cubicBezTo>
                      <a:pt x="3" y="24"/>
                      <a:pt x="3" y="24"/>
                      <a:pt x="3" y="24"/>
                    </a:cubicBezTo>
                    <a:cubicBezTo>
                      <a:pt x="3" y="25"/>
                      <a:pt x="3" y="25"/>
                      <a:pt x="3" y="25"/>
                    </a:cubicBezTo>
                    <a:cubicBezTo>
                      <a:pt x="5" y="27"/>
                      <a:pt x="5" y="27"/>
                      <a:pt x="5" y="27"/>
                    </a:cubicBezTo>
                    <a:cubicBezTo>
                      <a:pt x="5" y="28"/>
                      <a:pt x="5" y="28"/>
                      <a:pt x="5" y="28"/>
                    </a:cubicBezTo>
                    <a:cubicBezTo>
                      <a:pt x="7" y="30"/>
                      <a:pt x="7" y="30"/>
                      <a:pt x="7" y="30"/>
                    </a:cubicBezTo>
                    <a:cubicBezTo>
                      <a:pt x="8" y="30"/>
                      <a:pt x="8" y="30"/>
                      <a:pt x="8" y="30"/>
                    </a:cubicBezTo>
                    <a:cubicBezTo>
                      <a:pt x="9" y="31"/>
                      <a:pt x="9" y="31"/>
                      <a:pt x="9" y="31"/>
                    </a:cubicBezTo>
                    <a:cubicBezTo>
                      <a:pt x="10" y="31"/>
                      <a:pt x="10" y="31"/>
                      <a:pt x="10" y="31"/>
                    </a:cubicBezTo>
                    <a:cubicBezTo>
                      <a:pt x="10" y="31"/>
                      <a:pt x="12" y="33"/>
                      <a:pt x="12" y="33"/>
                    </a:cubicBezTo>
                    <a:cubicBezTo>
                      <a:pt x="12" y="33"/>
                      <a:pt x="12" y="34"/>
                      <a:pt x="12" y="34"/>
                    </a:cubicBezTo>
                    <a:cubicBezTo>
                      <a:pt x="16" y="36"/>
                      <a:pt x="16" y="36"/>
                      <a:pt x="16" y="36"/>
                    </a:cubicBezTo>
                    <a:cubicBezTo>
                      <a:pt x="19" y="36"/>
                      <a:pt x="19" y="36"/>
                      <a:pt x="19" y="36"/>
                    </a:cubicBezTo>
                    <a:cubicBezTo>
                      <a:pt x="23" y="38"/>
                      <a:pt x="23" y="38"/>
                      <a:pt x="23" y="38"/>
                    </a:cubicBezTo>
                    <a:cubicBezTo>
                      <a:pt x="25" y="40"/>
                      <a:pt x="25" y="40"/>
                      <a:pt x="25" y="40"/>
                    </a:cubicBezTo>
                    <a:cubicBezTo>
                      <a:pt x="29" y="42"/>
                      <a:pt x="29" y="42"/>
                      <a:pt x="29" y="42"/>
                    </a:cubicBezTo>
                    <a:cubicBezTo>
                      <a:pt x="30" y="42"/>
                      <a:pt x="30" y="42"/>
                      <a:pt x="30" y="42"/>
                    </a:cubicBezTo>
                    <a:cubicBezTo>
                      <a:pt x="31" y="43"/>
                      <a:pt x="31" y="43"/>
                      <a:pt x="31" y="43"/>
                    </a:cubicBezTo>
                    <a:cubicBezTo>
                      <a:pt x="32" y="43"/>
                      <a:pt x="32" y="43"/>
                      <a:pt x="32" y="43"/>
                    </a:cubicBezTo>
                    <a:cubicBezTo>
                      <a:pt x="34" y="44"/>
                      <a:pt x="34" y="44"/>
                      <a:pt x="34" y="44"/>
                    </a:cubicBezTo>
                    <a:cubicBezTo>
                      <a:pt x="36" y="46"/>
                      <a:pt x="36" y="46"/>
                      <a:pt x="36" y="46"/>
                    </a:cubicBezTo>
                    <a:cubicBezTo>
                      <a:pt x="36" y="47"/>
                      <a:pt x="36" y="47"/>
                      <a:pt x="36" y="47"/>
                    </a:cubicBezTo>
                    <a:cubicBezTo>
                      <a:pt x="35" y="49"/>
                      <a:pt x="35" y="49"/>
                      <a:pt x="35" y="49"/>
                    </a:cubicBezTo>
                    <a:cubicBezTo>
                      <a:pt x="35" y="49"/>
                      <a:pt x="35" y="50"/>
                      <a:pt x="35" y="50"/>
                    </a:cubicBezTo>
                    <a:cubicBezTo>
                      <a:pt x="35" y="50"/>
                      <a:pt x="34" y="50"/>
                      <a:pt x="34" y="50"/>
                    </a:cubicBezTo>
                    <a:cubicBezTo>
                      <a:pt x="34" y="50"/>
                      <a:pt x="34" y="51"/>
                      <a:pt x="34" y="51"/>
                    </a:cubicBezTo>
                    <a:cubicBezTo>
                      <a:pt x="34" y="51"/>
                      <a:pt x="32" y="52"/>
                      <a:pt x="32" y="52"/>
                    </a:cubicBezTo>
                    <a:cubicBezTo>
                      <a:pt x="32" y="52"/>
                      <a:pt x="32" y="52"/>
                      <a:pt x="32" y="52"/>
                    </a:cubicBezTo>
                    <a:cubicBezTo>
                      <a:pt x="32" y="53"/>
                      <a:pt x="32" y="53"/>
                      <a:pt x="32" y="53"/>
                    </a:cubicBezTo>
                    <a:cubicBezTo>
                      <a:pt x="32" y="53"/>
                      <a:pt x="32" y="53"/>
                      <a:pt x="32" y="53"/>
                    </a:cubicBezTo>
                    <a:cubicBezTo>
                      <a:pt x="32" y="53"/>
                      <a:pt x="32" y="54"/>
                      <a:pt x="32" y="54"/>
                    </a:cubicBezTo>
                    <a:cubicBezTo>
                      <a:pt x="32" y="56"/>
                      <a:pt x="32" y="56"/>
                      <a:pt x="32" y="56"/>
                    </a:cubicBezTo>
                    <a:cubicBezTo>
                      <a:pt x="32" y="56"/>
                      <a:pt x="32" y="56"/>
                      <a:pt x="31" y="56"/>
                    </a:cubicBezTo>
                    <a:cubicBezTo>
                      <a:pt x="31" y="56"/>
                      <a:pt x="31" y="57"/>
                      <a:pt x="31" y="57"/>
                    </a:cubicBezTo>
                    <a:cubicBezTo>
                      <a:pt x="31" y="57"/>
                      <a:pt x="31" y="57"/>
                      <a:pt x="31" y="57"/>
                    </a:cubicBezTo>
                    <a:cubicBezTo>
                      <a:pt x="31" y="57"/>
                      <a:pt x="31" y="58"/>
                      <a:pt x="31" y="58"/>
                    </a:cubicBezTo>
                    <a:cubicBezTo>
                      <a:pt x="31" y="58"/>
                      <a:pt x="30" y="58"/>
                      <a:pt x="30" y="58"/>
                    </a:cubicBezTo>
                    <a:cubicBezTo>
                      <a:pt x="30" y="58"/>
                      <a:pt x="30" y="58"/>
                      <a:pt x="30" y="58"/>
                    </a:cubicBezTo>
                    <a:cubicBezTo>
                      <a:pt x="30" y="59"/>
                      <a:pt x="30" y="59"/>
                      <a:pt x="30" y="59"/>
                    </a:cubicBezTo>
                    <a:cubicBezTo>
                      <a:pt x="30" y="59"/>
                      <a:pt x="29" y="59"/>
                      <a:pt x="29" y="59"/>
                    </a:cubicBezTo>
                    <a:cubicBezTo>
                      <a:pt x="29" y="59"/>
                      <a:pt x="29" y="60"/>
                      <a:pt x="29" y="60"/>
                    </a:cubicBezTo>
                    <a:cubicBezTo>
                      <a:pt x="29" y="60"/>
                      <a:pt x="28" y="60"/>
                      <a:pt x="28" y="60"/>
                    </a:cubicBezTo>
                    <a:cubicBezTo>
                      <a:pt x="28" y="60"/>
                      <a:pt x="29" y="61"/>
                      <a:pt x="29" y="61"/>
                    </a:cubicBezTo>
                    <a:cubicBezTo>
                      <a:pt x="29" y="61"/>
                      <a:pt x="29" y="61"/>
                      <a:pt x="29" y="61"/>
                    </a:cubicBezTo>
                    <a:cubicBezTo>
                      <a:pt x="33" y="61"/>
                      <a:pt x="33" y="61"/>
                      <a:pt x="33" y="61"/>
                    </a:cubicBezTo>
                    <a:cubicBezTo>
                      <a:pt x="39" y="63"/>
                      <a:pt x="39" y="63"/>
                      <a:pt x="39" y="63"/>
                    </a:cubicBezTo>
                    <a:cubicBezTo>
                      <a:pt x="40" y="63"/>
                      <a:pt x="40" y="63"/>
                      <a:pt x="40" y="63"/>
                    </a:cubicBezTo>
                    <a:cubicBezTo>
                      <a:pt x="41" y="62"/>
                      <a:pt x="41" y="62"/>
                      <a:pt x="41" y="62"/>
                    </a:cubicBezTo>
                    <a:cubicBezTo>
                      <a:pt x="41" y="62"/>
                      <a:pt x="41" y="62"/>
                      <a:pt x="41" y="62"/>
                    </a:cubicBezTo>
                    <a:cubicBezTo>
                      <a:pt x="41" y="63"/>
                      <a:pt x="42" y="63"/>
                      <a:pt x="42" y="63"/>
                    </a:cubicBezTo>
                    <a:cubicBezTo>
                      <a:pt x="42" y="63"/>
                      <a:pt x="43" y="62"/>
                      <a:pt x="43" y="62"/>
                    </a:cubicBezTo>
                    <a:cubicBezTo>
                      <a:pt x="43" y="62"/>
                      <a:pt x="44" y="63"/>
                      <a:pt x="44" y="63"/>
                    </a:cubicBezTo>
                    <a:cubicBezTo>
                      <a:pt x="44" y="63"/>
                      <a:pt x="44" y="63"/>
                      <a:pt x="44" y="63"/>
                    </a:cubicBezTo>
                    <a:cubicBezTo>
                      <a:pt x="45" y="63"/>
                      <a:pt x="45" y="62"/>
                      <a:pt x="45" y="62"/>
                    </a:cubicBezTo>
                    <a:cubicBezTo>
                      <a:pt x="45" y="62"/>
                      <a:pt x="46" y="61"/>
                      <a:pt x="46" y="61"/>
                    </a:cubicBezTo>
                    <a:cubicBezTo>
                      <a:pt x="47" y="61"/>
                      <a:pt x="47" y="62"/>
                      <a:pt x="48" y="62"/>
                    </a:cubicBezTo>
                    <a:cubicBezTo>
                      <a:pt x="48" y="62"/>
                      <a:pt x="49" y="62"/>
                      <a:pt x="49" y="62"/>
                    </a:cubicBezTo>
                    <a:cubicBezTo>
                      <a:pt x="49" y="62"/>
                      <a:pt x="50" y="62"/>
                      <a:pt x="50" y="62"/>
                    </a:cubicBezTo>
                    <a:cubicBezTo>
                      <a:pt x="50" y="62"/>
                      <a:pt x="50" y="61"/>
                      <a:pt x="50" y="61"/>
                    </a:cubicBezTo>
                    <a:cubicBezTo>
                      <a:pt x="50" y="61"/>
                      <a:pt x="50" y="60"/>
                      <a:pt x="50" y="60"/>
                    </a:cubicBezTo>
                    <a:cubicBezTo>
                      <a:pt x="50" y="60"/>
                      <a:pt x="51" y="60"/>
                      <a:pt x="51" y="60"/>
                    </a:cubicBezTo>
                    <a:cubicBezTo>
                      <a:pt x="51" y="60"/>
                      <a:pt x="51" y="60"/>
                      <a:pt x="51" y="59"/>
                    </a:cubicBezTo>
                    <a:cubicBezTo>
                      <a:pt x="51" y="59"/>
                      <a:pt x="52" y="59"/>
                      <a:pt x="52" y="59"/>
                    </a:cubicBezTo>
                    <a:cubicBezTo>
                      <a:pt x="52" y="58"/>
                      <a:pt x="53" y="58"/>
                      <a:pt x="53" y="58"/>
                    </a:cubicBezTo>
                    <a:cubicBezTo>
                      <a:pt x="53" y="58"/>
                      <a:pt x="53" y="58"/>
                      <a:pt x="54" y="58"/>
                    </a:cubicBezTo>
                    <a:cubicBezTo>
                      <a:pt x="54" y="57"/>
                      <a:pt x="54" y="57"/>
                      <a:pt x="54" y="57"/>
                    </a:cubicBezTo>
                    <a:cubicBezTo>
                      <a:pt x="55" y="57"/>
                      <a:pt x="54" y="57"/>
                      <a:pt x="54" y="57"/>
                    </a:cubicBezTo>
                    <a:cubicBezTo>
                      <a:pt x="55" y="56"/>
                      <a:pt x="55" y="56"/>
                      <a:pt x="55" y="56"/>
                    </a:cubicBezTo>
                    <a:cubicBezTo>
                      <a:pt x="56" y="56"/>
                      <a:pt x="56" y="56"/>
                      <a:pt x="56" y="56"/>
                    </a:cubicBezTo>
                    <a:cubicBezTo>
                      <a:pt x="57" y="53"/>
                      <a:pt x="57" y="53"/>
                      <a:pt x="57" y="53"/>
                    </a:cubicBezTo>
                    <a:cubicBezTo>
                      <a:pt x="57" y="53"/>
                      <a:pt x="57" y="52"/>
                      <a:pt x="57" y="52"/>
                    </a:cubicBezTo>
                    <a:cubicBezTo>
                      <a:pt x="57" y="52"/>
                      <a:pt x="57" y="51"/>
                      <a:pt x="57" y="51"/>
                    </a:cubicBezTo>
                    <a:cubicBezTo>
                      <a:pt x="57" y="51"/>
                      <a:pt x="57" y="51"/>
                      <a:pt x="57" y="51"/>
                    </a:cubicBezTo>
                    <a:cubicBezTo>
                      <a:pt x="57" y="51"/>
                      <a:pt x="57" y="50"/>
                      <a:pt x="57" y="50"/>
                    </a:cubicBezTo>
                    <a:cubicBezTo>
                      <a:pt x="57" y="50"/>
                      <a:pt x="57" y="49"/>
                      <a:pt x="57" y="49"/>
                    </a:cubicBezTo>
                    <a:cubicBezTo>
                      <a:pt x="57" y="49"/>
                      <a:pt x="57" y="49"/>
                      <a:pt x="57" y="49"/>
                    </a:cubicBezTo>
                    <a:cubicBezTo>
                      <a:pt x="57" y="49"/>
                      <a:pt x="57" y="48"/>
                      <a:pt x="57" y="48"/>
                    </a:cubicBezTo>
                    <a:cubicBezTo>
                      <a:pt x="57" y="48"/>
                      <a:pt x="57" y="48"/>
                      <a:pt x="57" y="48"/>
                    </a:cubicBezTo>
                    <a:cubicBezTo>
                      <a:pt x="57" y="46"/>
                      <a:pt x="57" y="46"/>
                      <a:pt x="57" y="46"/>
                    </a:cubicBezTo>
                    <a:cubicBezTo>
                      <a:pt x="57" y="46"/>
                      <a:pt x="58" y="46"/>
                      <a:pt x="58"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9" name="Freeform 685">
                <a:extLst>
                  <a:ext uri="{FF2B5EF4-FFF2-40B4-BE49-F238E27FC236}">
                    <a16:creationId xmlns:a16="http://schemas.microsoft.com/office/drawing/2014/main" id="{1397113A-14B0-AC1C-BA06-5BC94B87D568}"/>
                  </a:ext>
                </a:extLst>
              </p:cNvPr>
              <p:cNvSpPr>
                <a:spLocks/>
              </p:cNvSpPr>
              <p:nvPr/>
            </p:nvSpPr>
            <p:spPr bwMode="auto">
              <a:xfrm>
                <a:off x="3640138" y="4616450"/>
                <a:ext cx="146050" cy="217488"/>
              </a:xfrm>
              <a:custGeom>
                <a:avLst/>
                <a:gdLst>
                  <a:gd name="T0" fmla="*/ 31 w 35"/>
                  <a:gd name="T1" fmla="*/ 40 h 52"/>
                  <a:gd name="T2" fmla="*/ 30 w 35"/>
                  <a:gd name="T3" fmla="*/ 40 h 52"/>
                  <a:gd name="T4" fmla="*/ 30 w 35"/>
                  <a:gd name="T5" fmla="*/ 39 h 52"/>
                  <a:gd name="T6" fmla="*/ 29 w 35"/>
                  <a:gd name="T7" fmla="*/ 36 h 52"/>
                  <a:gd name="T8" fmla="*/ 27 w 35"/>
                  <a:gd name="T9" fmla="*/ 35 h 52"/>
                  <a:gd name="T10" fmla="*/ 25 w 35"/>
                  <a:gd name="T11" fmla="*/ 33 h 52"/>
                  <a:gd name="T12" fmla="*/ 24 w 35"/>
                  <a:gd name="T13" fmla="*/ 31 h 52"/>
                  <a:gd name="T14" fmla="*/ 24 w 35"/>
                  <a:gd name="T15" fmla="*/ 30 h 52"/>
                  <a:gd name="T16" fmla="*/ 25 w 35"/>
                  <a:gd name="T17" fmla="*/ 27 h 52"/>
                  <a:gd name="T18" fmla="*/ 25 w 35"/>
                  <a:gd name="T19" fmla="*/ 26 h 52"/>
                  <a:gd name="T20" fmla="*/ 29 w 35"/>
                  <a:gd name="T21" fmla="*/ 25 h 52"/>
                  <a:gd name="T22" fmla="*/ 30 w 35"/>
                  <a:gd name="T23" fmla="*/ 23 h 52"/>
                  <a:gd name="T24" fmla="*/ 29 w 35"/>
                  <a:gd name="T25" fmla="*/ 22 h 52"/>
                  <a:gd name="T26" fmla="*/ 30 w 35"/>
                  <a:gd name="T27" fmla="*/ 19 h 52"/>
                  <a:gd name="T28" fmla="*/ 30 w 35"/>
                  <a:gd name="T29" fmla="*/ 16 h 52"/>
                  <a:gd name="T30" fmla="*/ 27 w 35"/>
                  <a:gd name="T31" fmla="*/ 15 h 52"/>
                  <a:gd name="T32" fmla="*/ 24 w 35"/>
                  <a:gd name="T33" fmla="*/ 12 h 52"/>
                  <a:gd name="T34" fmla="*/ 21 w 35"/>
                  <a:gd name="T35" fmla="*/ 11 h 52"/>
                  <a:gd name="T36" fmla="*/ 21 w 35"/>
                  <a:gd name="T37" fmla="*/ 8 h 52"/>
                  <a:gd name="T38" fmla="*/ 17 w 35"/>
                  <a:gd name="T39" fmla="*/ 4 h 52"/>
                  <a:gd name="T40" fmla="*/ 12 w 35"/>
                  <a:gd name="T41" fmla="*/ 1 h 52"/>
                  <a:gd name="T42" fmla="*/ 11 w 35"/>
                  <a:gd name="T43" fmla="*/ 2 h 52"/>
                  <a:gd name="T44" fmla="*/ 9 w 35"/>
                  <a:gd name="T45" fmla="*/ 4 h 52"/>
                  <a:gd name="T46" fmla="*/ 6 w 35"/>
                  <a:gd name="T47" fmla="*/ 5 h 52"/>
                  <a:gd name="T48" fmla="*/ 5 w 35"/>
                  <a:gd name="T49" fmla="*/ 7 h 52"/>
                  <a:gd name="T50" fmla="*/ 6 w 35"/>
                  <a:gd name="T51" fmla="*/ 9 h 52"/>
                  <a:gd name="T52" fmla="*/ 7 w 35"/>
                  <a:gd name="T53" fmla="*/ 9 h 52"/>
                  <a:gd name="T54" fmla="*/ 8 w 35"/>
                  <a:gd name="T55" fmla="*/ 10 h 52"/>
                  <a:gd name="T56" fmla="*/ 5 w 35"/>
                  <a:gd name="T57" fmla="*/ 12 h 52"/>
                  <a:gd name="T58" fmla="*/ 4 w 35"/>
                  <a:gd name="T59" fmla="*/ 12 h 52"/>
                  <a:gd name="T60" fmla="*/ 2 w 35"/>
                  <a:gd name="T61" fmla="*/ 12 h 52"/>
                  <a:gd name="T62" fmla="*/ 2 w 35"/>
                  <a:gd name="T63" fmla="*/ 13 h 52"/>
                  <a:gd name="T64" fmla="*/ 2 w 35"/>
                  <a:gd name="T65" fmla="*/ 16 h 52"/>
                  <a:gd name="T66" fmla="*/ 5 w 35"/>
                  <a:gd name="T67" fmla="*/ 23 h 52"/>
                  <a:gd name="T68" fmla="*/ 8 w 35"/>
                  <a:gd name="T69" fmla="*/ 23 h 52"/>
                  <a:gd name="T70" fmla="*/ 10 w 35"/>
                  <a:gd name="T71" fmla="*/ 24 h 52"/>
                  <a:gd name="T72" fmla="*/ 10 w 35"/>
                  <a:gd name="T73" fmla="*/ 27 h 52"/>
                  <a:gd name="T74" fmla="*/ 11 w 35"/>
                  <a:gd name="T75" fmla="*/ 28 h 52"/>
                  <a:gd name="T76" fmla="*/ 12 w 35"/>
                  <a:gd name="T77" fmla="*/ 30 h 52"/>
                  <a:gd name="T78" fmla="*/ 12 w 35"/>
                  <a:gd name="T79" fmla="*/ 31 h 52"/>
                  <a:gd name="T80" fmla="*/ 13 w 35"/>
                  <a:gd name="T81" fmla="*/ 31 h 52"/>
                  <a:gd name="T82" fmla="*/ 13 w 35"/>
                  <a:gd name="T83" fmla="*/ 34 h 52"/>
                  <a:gd name="T84" fmla="*/ 11 w 35"/>
                  <a:gd name="T85" fmla="*/ 35 h 52"/>
                  <a:gd name="T86" fmla="*/ 12 w 35"/>
                  <a:gd name="T87" fmla="*/ 36 h 52"/>
                  <a:gd name="T88" fmla="*/ 10 w 35"/>
                  <a:gd name="T89" fmla="*/ 41 h 52"/>
                  <a:gd name="T90" fmla="*/ 12 w 35"/>
                  <a:gd name="T91" fmla="*/ 44 h 52"/>
                  <a:gd name="T92" fmla="*/ 12 w 35"/>
                  <a:gd name="T93" fmla="*/ 47 h 52"/>
                  <a:gd name="T94" fmla="*/ 13 w 35"/>
                  <a:gd name="T95" fmla="*/ 48 h 52"/>
                  <a:gd name="T96" fmla="*/ 17 w 35"/>
                  <a:gd name="T97" fmla="*/ 50 h 52"/>
                  <a:gd name="T98" fmla="*/ 18 w 35"/>
                  <a:gd name="T99" fmla="*/ 52 h 52"/>
                  <a:gd name="T100" fmla="*/ 20 w 35"/>
                  <a:gd name="T101" fmla="*/ 51 h 52"/>
                  <a:gd name="T102" fmla="*/ 21 w 35"/>
                  <a:gd name="T103" fmla="*/ 50 h 52"/>
                  <a:gd name="T104" fmla="*/ 22 w 35"/>
                  <a:gd name="T105" fmla="*/ 49 h 52"/>
                  <a:gd name="T106" fmla="*/ 24 w 35"/>
                  <a:gd name="T107" fmla="*/ 49 h 52"/>
                  <a:gd name="T108" fmla="*/ 24 w 35"/>
                  <a:gd name="T109" fmla="*/ 48 h 52"/>
                  <a:gd name="T110" fmla="*/ 29 w 35"/>
                  <a:gd name="T111" fmla="*/ 46 h 52"/>
                  <a:gd name="T112" fmla="*/ 30 w 35"/>
                  <a:gd name="T113" fmla="*/ 46 h 52"/>
                  <a:gd name="T114" fmla="*/ 33 w 35"/>
                  <a:gd name="T115" fmla="*/ 47 h 52"/>
                  <a:gd name="T116" fmla="*/ 35 w 35"/>
                  <a:gd name="T117" fmla="*/ 46 h 52"/>
                  <a:gd name="T118" fmla="*/ 33 w 35"/>
                  <a:gd name="T119"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 h="52">
                    <a:moveTo>
                      <a:pt x="33" y="46"/>
                    </a:moveTo>
                    <a:cubicBezTo>
                      <a:pt x="31" y="40"/>
                      <a:pt x="31" y="40"/>
                      <a:pt x="31" y="40"/>
                    </a:cubicBezTo>
                    <a:cubicBezTo>
                      <a:pt x="30" y="40"/>
                      <a:pt x="30" y="40"/>
                      <a:pt x="30" y="40"/>
                    </a:cubicBezTo>
                    <a:cubicBezTo>
                      <a:pt x="30" y="40"/>
                      <a:pt x="30" y="40"/>
                      <a:pt x="30" y="40"/>
                    </a:cubicBezTo>
                    <a:cubicBezTo>
                      <a:pt x="30" y="40"/>
                      <a:pt x="30" y="40"/>
                      <a:pt x="30" y="40"/>
                    </a:cubicBezTo>
                    <a:cubicBezTo>
                      <a:pt x="30" y="40"/>
                      <a:pt x="30" y="39"/>
                      <a:pt x="30" y="39"/>
                    </a:cubicBezTo>
                    <a:cubicBezTo>
                      <a:pt x="30" y="39"/>
                      <a:pt x="29" y="38"/>
                      <a:pt x="29" y="38"/>
                    </a:cubicBezTo>
                    <a:cubicBezTo>
                      <a:pt x="29" y="36"/>
                      <a:pt x="29" y="36"/>
                      <a:pt x="29" y="36"/>
                    </a:cubicBezTo>
                    <a:cubicBezTo>
                      <a:pt x="27" y="36"/>
                      <a:pt x="27" y="36"/>
                      <a:pt x="27" y="36"/>
                    </a:cubicBezTo>
                    <a:cubicBezTo>
                      <a:pt x="27" y="35"/>
                      <a:pt x="27" y="35"/>
                      <a:pt x="27" y="35"/>
                    </a:cubicBezTo>
                    <a:cubicBezTo>
                      <a:pt x="25" y="34"/>
                      <a:pt x="25" y="34"/>
                      <a:pt x="25" y="34"/>
                    </a:cubicBezTo>
                    <a:cubicBezTo>
                      <a:pt x="25" y="33"/>
                      <a:pt x="25" y="33"/>
                      <a:pt x="25" y="33"/>
                    </a:cubicBezTo>
                    <a:cubicBezTo>
                      <a:pt x="24" y="32"/>
                      <a:pt x="24" y="32"/>
                      <a:pt x="24" y="32"/>
                    </a:cubicBezTo>
                    <a:cubicBezTo>
                      <a:pt x="24" y="31"/>
                      <a:pt x="24" y="31"/>
                      <a:pt x="24" y="31"/>
                    </a:cubicBezTo>
                    <a:cubicBezTo>
                      <a:pt x="24" y="31"/>
                      <a:pt x="24" y="31"/>
                      <a:pt x="24" y="31"/>
                    </a:cubicBezTo>
                    <a:cubicBezTo>
                      <a:pt x="24" y="30"/>
                      <a:pt x="24" y="30"/>
                      <a:pt x="24" y="30"/>
                    </a:cubicBezTo>
                    <a:cubicBezTo>
                      <a:pt x="25" y="28"/>
                      <a:pt x="25" y="28"/>
                      <a:pt x="25" y="28"/>
                    </a:cubicBezTo>
                    <a:cubicBezTo>
                      <a:pt x="25" y="27"/>
                      <a:pt x="25" y="27"/>
                      <a:pt x="25" y="27"/>
                    </a:cubicBezTo>
                    <a:cubicBezTo>
                      <a:pt x="25" y="26"/>
                      <a:pt x="25" y="26"/>
                      <a:pt x="25" y="26"/>
                    </a:cubicBezTo>
                    <a:cubicBezTo>
                      <a:pt x="25" y="26"/>
                      <a:pt x="25" y="26"/>
                      <a:pt x="25" y="26"/>
                    </a:cubicBezTo>
                    <a:cubicBezTo>
                      <a:pt x="27" y="25"/>
                      <a:pt x="27" y="25"/>
                      <a:pt x="27" y="25"/>
                    </a:cubicBezTo>
                    <a:cubicBezTo>
                      <a:pt x="29" y="25"/>
                      <a:pt x="29" y="25"/>
                      <a:pt x="29" y="25"/>
                    </a:cubicBezTo>
                    <a:cubicBezTo>
                      <a:pt x="29" y="23"/>
                      <a:pt x="29" y="23"/>
                      <a:pt x="29" y="23"/>
                    </a:cubicBezTo>
                    <a:cubicBezTo>
                      <a:pt x="30" y="23"/>
                      <a:pt x="30" y="23"/>
                      <a:pt x="30" y="23"/>
                    </a:cubicBezTo>
                    <a:cubicBezTo>
                      <a:pt x="29" y="22"/>
                      <a:pt x="29" y="22"/>
                      <a:pt x="29" y="22"/>
                    </a:cubicBezTo>
                    <a:cubicBezTo>
                      <a:pt x="29" y="22"/>
                      <a:pt x="29" y="22"/>
                      <a:pt x="29" y="22"/>
                    </a:cubicBezTo>
                    <a:cubicBezTo>
                      <a:pt x="30" y="21"/>
                      <a:pt x="30" y="21"/>
                      <a:pt x="30" y="21"/>
                    </a:cubicBezTo>
                    <a:cubicBezTo>
                      <a:pt x="30" y="19"/>
                      <a:pt x="30" y="19"/>
                      <a:pt x="30" y="19"/>
                    </a:cubicBezTo>
                    <a:cubicBezTo>
                      <a:pt x="30" y="19"/>
                      <a:pt x="30" y="18"/>
                      <a:pt x="30" y="18"/>
                    </a:cubicBezTo>
                    <a:cubicBezTo>
                      <a:pt x="30" y="17"/>
                      <a:pt x="30" y="17"/>
                      <a:pt x="30" y="16"/>
                    </a:cubicBezTo>
                    <a:cubicBezTo>
                      <a:pt x="29" y="16"/>
                      <a:pt x="29" y="16"/>
                      <a:pt x="29" y="16"/>
                    </a:cubicBezTo>
                    <a:cubicBezTo>
                      <a:pt x="28" y="16"/>
                      <a:pt x="28" y="16"/>
                      <a:pt x="27" y="15"/>
                    </a:cubicBezTo>
                    <a:cubicBezTo>
                      <a:pt x="27" y="15"/>
                      <a:pt x="26" y="14"/>
                      <a:pt x="26" y="13"/>
                    </a:cubicBezTo>
                    <a:cubicBezTo>
                      <a:pt x="25" y="13"/>
                      <a:pt x="25" y="12"/>
                      <a:pt x="24" y="12"/>
                    </a:cubicBezTo>
                    <a:cubicBezTo>
                      <a:pt x="24" y="12"/>
                      <a:pt x="23" y="12"/>
                      <a:pt x="23" y="12"/>
                    </a:cubicBezTo>
                    <a:cubicBezTo>
                      <a:pt x="22" y="12"/>
                      <a:pt x="22" y="12"/>
                      <a:pt x="21" y="11"/>
                    </a:cubicBezTo>
                    <a:cubicBezTo>
                      <a:pt x="21" y="11"/>
                      <a:pt x="21" y="10"/>
                      <a:pt x="21" y="9"/>
                    </a:cubicBezTo>
                    <a:cubicBezTo>
                      <a:pt x="21" y="9"/>
                      <a:pt x="21" y="8"/>
                      <a:pt x="21" y="8"/>
                    </a:cubicBezTo>
                    <a:cubicBezTo>
                      <a:pt x="20" y="7"/>
                      <a:pt x="19" y="7"/>
                      <a:pt x="19" y="6"/>
                    </a:cubicBezTo>
                    <a:cubicBezTo>
                      <a:pt x="18" y="5"/>
                      <a:pt x="17" y="4"/>
                      <a:pt x="17" y="4"/>
                    </a:cubicBezTo>
                    <a:cubicBezTo>
                      <a:pt x="17" y="4"/>
                      <a:pt x="15" y="2"/>
                      <a:pt x="14" y="2"/>
                    </a:cubicBezTo>
                    <a:cubicBezTo>
                      <a:pt x="14" y="2"/>
                      <a:pt x="12" y="0"/>
                      <a:pt x="12" y="1"/>
                    </a:cubicBezTo>
                    <a:cubicBezTo>
                      <a:pt x="12" y="1"/>
                      <a:pt x="11" y="1"/>
                      <a:pt x="11" y="1"/>
                    </a:cubicBezTo>
                    <a:cubicBezTo>
                      <a:pt x="11" y="2"/>
                      <a:pt x="11" y="2"/>
                      <a:pt x="11" y="2"/>
                    </a:cubicBezTo>
                    <a:cubicBezTo>
                      <a:pt x="10" y="2"/>
                      <a:pt x="10" y="2"/>
                      <a:pt x="10" y="2"/>
                    </a:cubicBezTo>
                    <a:cubicBezTo>
                      <a:pt x="10" y="2"/>
                      <a:pt x="9" y="4"/>
                      <a:pt x="9" y="4"/>
                    </a:cubicBezTo>
                    <a:cubicBezTo>
                      <a:pt x="9" y="4"/>
                      <a:pt x="7" y="4"/>
                      <a:pt x="7" y="4"/>
                    </a:cubicBezTo>
                    <a:cubicBezTo>
                      <a:pt x="6" y="5"/>
                      <a:pt x="6" y="5"/>
                      <a:pt x="6" y="5"/>
                    </a:cubicBezTo>
                    <a:cubicBezTo>
                      <a:pt x="6" y="6"/>
                      <a:pt x="6" y="6"/>
                      <a:pt x="6" y="6"/>
                    </a:cubicBezTo>
                    <a:cubicBezTo>
                      <a:pt x="5" y="7"/>
                      <a:pt x="5" y="7"/>
                      <a:pt x="5" y="7"/>
                    </a:cubicBezTo>
                    <a:cubicBezTo>
                      <a:pt x="5" y="7"/>
                      <a:pt x="6" y="8"/>
                      <a:pt x="6" y="8"/>
                    </a:cubicBezTo>
                    <a:cubicBezTo>
                      <a:pt x="6" y="8"/>
                      <a:pt x="6" y="9"/>
                      <a:pt x="6" y="9"/>
                    </a:cubicBezTo>
                    <a:cubicBezTo>
                      <a:pt x="6" y="10"/>
                      <a:pt x="6" y="10"/>
                      <a:pt x="6" y="10"/>
                    </a:cubicBezTo>
                    <a:cubicBezTo>
                      <a:pt x="7" y="9"/>
                      <a:pt x="7" y="9"/>
                      <a:pt x="7" y="9"/>
                    </a:cubicBezTo>
                    <a:cubicBezTo>
                      <a:pt x="8" y="10"/>
                      <a:pt x="8" y="10"/>
                      <a:pt x="8" y="10"/>
                    </a:cubicBezTo>
                    <a:cubicBezTo>
                      <a:pt x="8" y="10"/>
                      <a:pt x="8" y="10"/>
                      <a:pt x="8" y="10"/>
                    </a:cubicBezTo>
                    <a:cubicBezTo>
                      <a:pt x="7" y="11"/>
                      <a:pt x="7" y="11"/>
                      <a:pt x="7" y="11"/>
                    </a:cubicBezTo>
                    <a:cubicBezTo>
                      <a:pt x="5" y="12"/>
                      <a:pt x="5" y="12"/>
                      <a:pt x="5" y="12"/>
                    </a:cubicBezTo>
                    <a:cubicBezTo>
                      <a:pt x="5" y="12"/>
                      <a:pt x="4" y="12"/>
                      <a:pt x="4" y="12"/>
                    </a:cubicBezTo>
                    <a:cubicBezTo>
                      <a:pt x="4" y="12"/>
                      <a:pt x="4" y="12"/>
                      <a:pt x="4" y="12"/>
                    </a:cubicBezTo>
                    <a:cubicBezTo>
                      <a:pt x="3" y="12"/>
                      <a:pt x="3" y="12"/>
                      <a:pt x="3" y="12"/>
                    </a:cubicBezTo>
                    <a:cubicBezTo>
                      <a:pt x="2" y="12"/>
                      <a:pt x="2" y="12"/>
                      <a:pt x="2" y="12"/>
                    </a:cubicBezTo>
                    <a:cubicBezTo>
                      <a:pt x="2" y="13"/>
                      <a:pt x="2" y="13"/>
                      <a:pt x="2" y="13"/>
                    </a:cubicBezTo>
                    <a:cubicBezTo>
                      <a:pt x="2" y="13"/>
                      <a:pt x="2" y="13"/>
                      <a:pt x="2" y="13"/>
                    </a:cubicBezTo>
                    <a:cubicBezTo>
                      <a:pt x="2" y="14"/>
                      <a:pt x="2" y="14"/>
                      <a:pt x="2" y="14"/>
                    </a:cubicBezTo>
                    <a:cubicBezTo>
                      <a:pt x="2" y="16"/>
                      <a:pt x="2" y="16"/>
                      <a:pt x="2" y="16"/>
                    </a:cubicBezTo>
                    <a:cubicBezTo>
                      <a:pt x="0" y="18"/>
                      <a:pt x="0" y="18"/>
                      <a:pt x="0" y="18"/>
                    </a:cubicBezTo>
                    <a:cubicBezTo>
                      <a:pt x="5" y="23"/>
                      <a:pt x="5" y="23"/>
                      <a:pt x="5" y="23"/>
                    </a:cubicBezTo>
                    <a:cubicBezTo>
                      <a:pt x="7" y="23"/>
                      <a:pt x="7" y="23"/>
                      <a:pt x="7" y="23"/>
                    </a:cubicBezTo>
                    <a:cubicBezTo>
                      <a:pt x="8" y="23"/>
                      <a:pt x="8" y="23"/>
                      <a:pt x="8" y="23"/>
                    </a:cubicBezTo>
                    <a:cubicBezTo>
                      <a:pt x="9" y="23"/>
                      <a:pt x="9" y="23"/>
                      <a:pt x="9" y="23"/>
                    </a:cubicBezTo>
                    <a:cubicBezTo>
                      <a:pt x="10" y="24"/>
                      <a:pt x="10" y="24"/>
                      <a:pt x="10" y="24"/>
                    </a:cubicBezTo>
                    <a:cubicBezTo>
                      <a:pt x="10" y="26"/>
                      <a:pt x="10" y="26"/>
                      <a:pt x="10" y="26"/>
                    </a:cubicBezTo>
                    <a:cubicBezTo>
                      <a:pt x="10" y="27"/>
                      <a:pt x="10" y="27"/>
                      <a:pt x="10" y="27"/>
                    </a:cubicBezTo>
                    <a:cubicBezTo>
                      <a:pt x="9" y="28"/>
                      <a:pt x="9" y="28"/>
                      <a:pt x="9" y="28"/>
                    </a:cubicBezTo>
                    <a:cubicBezTo>
                      <a:pt x="11" y="28"/>
                      <a:pt x="11" y="28"/>
                      <a:pt x="11" y="28"/>
                    </a:cubicBezTo>
                    <a:cubicBezTo>
                      <a:pt x="12" y="29"/>
                      <a:pt x="12" y="29"/>
                      <a:pt x="12" y="29"/>
                    </a:cubicBezTo>
                    <a:cubicBezTo>
                      <a:pt x="12" y="30"/>
                      <a:pt x="12" y="30"/>
                      <a:pt x="12" y="30"/>
                    </a:cubicBezTo>
                    <a:cubicBezTo>
                      <a:pt x="12" y="30"/>
                      <a:pt x="12" y="30"/>
                      <a:pt x="12" y="30"/>
                    </a:cubicBezTo>
                    <a:cubicBezTo>
                      <a:pt x="12" y="31"/>
                      <a:pt x="12" y="31"/>
                      <a:pt x="12" y="31"/>
                    </a:cubicBezTo>
                    <a:cubicBezTo>
                      <a:pt x="13" y="31"/>
                      <a:pt x="13" y="31"/>
                      <a:pt x="13" y="31"/>
                    </a:cubicBezTo>
                    <a:cubicBezTo>
                      <a:pt x="13" y="31"/>
                      <a:pt x="13" y="31"/>
                      <a:pt x="13" y="31"/>
                    </a:cubicBezTo>
                    <a:cubicBezTo>
                      <a:pt x="13" y="32"/>
                      <a:pt x="13" y="32"/>
                      <a:pt x="13" y="32"/>
                    </a:cubicBezTo>
                    <a:cubicBezTo>
                      <a:pt x="13" y="34"/>
                      <a:pt x="13" y="34"/>
                      <a:pt x="13" y="34"/>
                    </a:cubicBezTo>
                    <a:cubicBezTo>
                      <a:pt x="11" y="35"/>
                      <a:pt x="11" y="35"/>
                      <a:pt x="11" y="35"/>
                    </a:cubicBezTo>
                    <a:cubicBezTo>
                      <a:pt x="11" y="35"/>
                      <a:pt x="11" y="35"/>
                      <a:pt x="11" y="35"/>
                    </a:cubicBezTo>
                    <a:cubicBezTo>
                      <a:pt x="11" y="35"/>
                      <a:pt x="11" y="35"/>
                      <a:pt x="11" y="35"/>
                    </a:cubicBezTo>
                    <a:cubicBezTo>
                      <a:pt x="12" y="36"/>
                      <a:pt x="12" y="36"/>
                      <a:pt x="12" y="36"/>
                    </a:cubicBezTo>
                    <a:cubicBezTo>
                      <a:pt x="10" y="39"/>
                      <a:pt x="10" y="39"/>
                      <a:pt x="10" y="39"/>
                    </a:cubicBezTo>
                    <a:cubicBezTo>
                      <a:pt x="10" y="41"/>
                      <a:pt x="10" y="41"/>
                      <a:pt x="10" y="41"/>
                    </a:cubicBezTo>
                    <a:cubicBezTo>
                      <a:pt x="11" y="43"/>
                      <a:pt x="11" y="43"/>
                      <a:pt x="11" y="43"/>
                    </a:cubicBezTo>
                    <a:cubicBezTo>
                      <a:pt x="12" y="44"/>
                      <a:pt x="12" y="44"/>
                      <a:pt x="12" y="44"/>
                    </a:cubicBezTo>
                    <a:cubicBezTo>
                      <a:pt x="12" y="47"/>
                      <a:pt x="12" y="47"/>
                      <a:pt x="12" y="47"/>
                    </a:cubicBezTo>
                    <a:cubicBezTo>
                      <a:pt x="12" y="47"/>
                      <a:pt x="12" y="47"/>
                      <a:pt x="12" y="47"/>
                    </a:cubicBezTo>
                    <a:cubicBezTo>
                      <a:pt x="12" y="48"/>
                      <a:pt x="12" y="48"/>
                      <a:pt x="12" y="48"/>
                    </a:cubicBezTo>
                    <a:cubicBezTo>
                      <a:pt x="13" y="48"/>
                      <a:pt x="13" y="48"/>
                      <a:pt x="13" y="48"/>
                    </a:cubicBezTo>
                    <a:cubicBezTo>
                      <a:pt x="15" y="50"/>
                      <a:pt x="15" y="50"/>
                      <a:pt x="15" y="50"/>
                    </a:cubicBezTo>
                    <a:cubicBezTo>
                      <a:pt x="17" y="50"/>
                      <a:pt x="17" y="50"/>
                      <a:pt x="17" y="50"/>
                    </a:cubicBezTo>
                    <a:cubicBezTo>
                      <a:pt x="17" y="50"/>
                      <a:pt x="18" y="51"/>
                      <a:pt x="18" y="51"/>
                    </a:cubicBezTo>
                    <a:cubicBezTo>
                      <a:pt x="18" y="51"/>
                      <a:pt x="18" y="52"/>
                      <a:pt x="18" y="52"/>
                    </a:cubicBezTo>
                    <a:cubicBezTo>
                      <a:pt x="19" y="51"/>
                      <a:pt x="19" y="51"/>
                      <a:pt x="19" y="51"/>
                    </a:cubicBezTo>
                    <a:cubicBezTo>
                      <a:pt x="20" y="51"/>
                      <a:pt x="20" y="51"/>
                      <a:pt x="20" y="51"/>
                    </a:cubicBezTo>
                    <a:cubicBezTo>
                      <a:pt x="21" y="51"/>
                      <a:pt x="21" y="51"/>
                      <a:pt x="21" y="51"/>
                    </a:cubicBezTo>
                    <a:cubicBezTo>
                      <a:pt x="21" y="50"/>
                      <a:pt x="21" y="50"/>
                      <a:pt x="21" y="50"/>
                    </a:cubicBezTo>
                    <a:cubicBezTo>
                      <a:pt x="21" y="50"/>
                      <a:pt x="21" y="50"/>
                      <a:pt x="21" y="50"/>
                    </a:cubicBezTo>
                    <a:cubicBezTo>
                      <a:pt x="22" y="49"/>
                      <a:pt x="22" y="49"/>
                      <a:pt x="22" y="49"/>
                    </a:cubicBezTo>
                    <a:cubicBezTo>
                      <a:pt x="23" y="49"/>
                      <a:pt x="23" y="49"/>
                      <a:pt x="23" y="49"/>
                    </a:cubicBezTo>
                    <a:cubicBezTo>
                      <a:pt x="24" y="49"/>
                      <a:pt x="24" y="49"/>
                      <a:pt x="24" y="49"/>
                    </a:cubicBezTo>
                    <a:cubicBezTo>
                      <a:pt x="24" y="49"/>
                      <a:pt x="24" y="49"/>
                      <a:pt x="24" y="49"/>
                    </a:cubicBezTo>
                    <a:cubicBezTo>
                      <a:pt x="24" y="48"/>
                      <a:pt x="24" y="48"/>
                      <a:pt x="24" y="48"/>
                    </a:cubicBezTo>
                    <a:cubicBezTo>
                      <a:pt x="27" y="48"/>
                      <a:pt x="27" y="48"/>
                      <a:pt x="27" y="48"/>
                    </a:cubicBezTo>
                    <a:cubicBezTo>
                      <a:pt x="29" y="46"/>
                      <a:pt x="29" y="46"/>
                      <a:pt x="29" y="46"/>
                    </a:cubicBezTo>
                    <a:cubicBezTo>
                      <a:pt x="29" y="46"/>
                      <a:pt x="29" y="46"/>
                      <a:pt x="29" y="46"/>
                    </a:cubicBezTo>
                    <a:cubicBezTo>
                      <a:pt x="30" y="46"/>
                      <a:pt x="30" y="46"/>
                      <a:pt x="30" y="46"/>
                    </a:cubicBezTo>
                    <a:cubicBezTo>
                      <a:pt x="31" y="46"/>
                      <a:pt x="31" y="46"/>
                      <a:pt x="31" y="46"/>
                    </a:cubicBezTo>
                    <a:cubicBezTo>
                      <a:pt x="33" y="47"/>
                      <a:pt x="33" y="47"/>
                      <a:pt x="33" y="47"/>
                    </a:cubicBezTo>
                    <a:cubicBezTo>
                      <a:pt x="33" y="46"/>
                      <a:pt x="33" y="46"/>
                      <a:pt x="33" y="46"/>
                    </a:cubicBezTo>
                    <a:cubicBezTo>
                      <a:pt x="35" y="46"/>
                      <a:pt x="35" y="46"/>
                      <a:pt x="35" y="46"/>
                    </a:cubicBezTo>
                    <a:cubicBezTo>
                      <a:pt x="35" y="46"/>
                      <a:pt x="35" y="46"/>
                      <a:pt x="35" y="46"/>
                    </a:cubicBezTo>
                    <a:lnTo>
                      <a:pt x="33" y="4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0" name="Freeform 686">
                <a:extLst>
                  <a:ext uri="{FF2B5EF4-FFF2-40B4-BE49-F238E27FC236}">
                    <a16:creationId xmlns:a16="http://schemas.microsoft.com/office/drawing/2014/main" id="{F9C12199-4BA2-5FB0-512F-A7DC53F0F488}"/>
                  </a:ext>
                </a:extLst>
              </p:cNvPr>
              <p:cNvSpPr>
                <a:spLocks/>
              </p:cNvSpPr>
              <p:nvPr/>
            </p:nvSpPr>
            <p:spPr bwMode="auto">
              <a:xfrm>
                <a:off x="3844926" y="4695825"/>
                <a:ext cx="82550" cy="107950"/>
              </a:xfrm>
              <a:custGeom>
                <a:avLst/>
                <a:gdLst>
                  <a:gd name="T0" fmla="*/ 1 w 20"/>
                  <a:gd name="T1" fmla="*/ 5 h 26"/>
                  <a:gd name="T2" fmla="*/ 0 w 20"/>
                  <a:gd name="T3" fmla="*/ 6 h 26"/>
                  <a:gd name="T4" fmla="*/ 0 w 20"/>
                  <a:gd name="T5" fmla="*/ 7 h 26"/>
                  <a:gd name="T6" fmla="*/ 1 w 20"/>
                  <a:gd name="T7" fmla="*/ 8 h 26"/>
                  <a:gd name="T8" fmla="*/ 1 w 20"/>
                  <a:gd name="T9" fmla="*/ 11 h 26"/>
                  <a:gd name="T10" fmla="*/ 1 w 20"/>
                  <a:gd name="T11" fmla="*/ 12 h 26"/>
                  <a:gd name="T12" fmla="*/ 1 w 20"/>
                  <a:gd name="T13" fmla="*/ 12 h 26"/>
                  <a:gd name="T14" fmla="*/ 3 w 20"/>
                  <a:gd name="T15" fmla="*/ 15 h 26"/>
                  <a:gd name="T16" fmla="*/ 3 w 20"/>
                  <a:gd name="T17" fmla="*/ 17 h 26"/>
                  <a:gd name="T18" fmla="*/ 2 w 20"/>
                  <a:gd name="T19" fmla="*/ 19 h 26"/>
                  <a:gd name="T20" fmla="*/ 2 w 20"/>
                  <a:gd name="T21" fmla="*/ 20 h 26"/>
                  <a:gd name="T22" fmla="*/ 2 w 20"/>
                  <a:gd name="T23" fmla="*/ 21 h 26"/>
                  <a:gd name="T24" fmla="*/ 1 w 20"/>
                  <a:gd name="T25" fmla="*/ 23 h 26"/>
                  <a:gd name="T26" fmla="*/ 0 w 20"/>
                  <a:gd name="T27" fmla="*/ 25 h 26"/>
                  <a:gd name="T28" fmla="*/ 0 w 20"/>
                  <a:gd name="T29" fmla="*/ 25 h 26"/>
                  <a:gd name="T30" fmla="*/ 1 w 20"/>
                  <a:gd name="T31" fmla="*/ 26 h 26"/>
                  <a:gd name="T32" fmla="*/ 2 w 20"/>
                  <a:gd name="T33" fmla="*/ 26 h 26"/>
                  <a:gd name="T34" fmla="*/ 3 w 20"/>
                  <a:gd name="T35" fmla="*/ 26 h 26"/>
                  <a:gd name="T36" fmla="*/ 3 w 20"/>
                  <a:gd name="T37" fmla="*/ 25 h 26"/>
                  <a:gd name="T38" fmla="*/ 4 w 20"/>
                  <a:gd name="T39" fmla="*/ 25 h 26"/>
                  <a:gd name="T40" fmla="*/ 5 w 20"/>
                  <a:gd name="T41" fmla="*/ 24 h 26"/>
                  <a:gd name="T42" fmla="*/ 7 w 20"/>
                  <a:gd name="T43" fmla="*/ 25 h 26"/>
                  <a:gd name="T44" fmla="*/ 7 w 20"/>
                  <a:gd name="T45" fmla="*/ 25 h 26"/>
                  <a:gd name="T46" fmla="*/ 8 w 20"/>
                  <a:gd name="T47" fmla="*/ 24 h 26"/>
                  <a:gd name="T48" fmla="*/ 9 w 20"/>
                  <a:gd name="T49" fmla="*/ 24 h 26"/>
                  <a:gd name="T50" fmla="*/ 9 w 20"/>
                  <a:gd name="T51" fmla="*/ 26 h 26"/>
                  <a:gd name="T52" fmla="*/ 11 w 20"/>
                  <a:gd name="T53" fmla="*/ 26 h 26"/>
                  <a:gd name="T54" fmla="*/ 14 w 20"/>
                  <a:gd name="T55" fmla="*/ 23 h 26"/>
                  <a:gd name="T56" fmla="*/ 14 w 20"/>
                  <a:gd name="T57" fmla="*/ 22 h 26"/>
                  <a:gd name="T58" fmla="*/ 15 w 20"/>
                  <a:gd name="T59" fmla="*/ 20 h 26"/>
                  <a:gd name="T60" fmla="*/ 15 w 20"/>
                  <a:gd name="T61" fmla="*/ 19 h 26"/>
                  <a:gd name="T62" fmla="*/ 20 w 20"/>
                  <a:gd name="T63" fmla="*/ 12 h 26"/>
                  <a:gd name="T64" fmla="*/ 19 w 20"/>
                  <a:gd name="T65" fmla="*/ 10 h 26"/>
                  <a:gd name="T66" fmla="*/ 19 w 20"/>
                  <a:gd name="T67" fmla="*/ 10 h 26"/>
                  <a:gd name="T68" fmla="*/ 19 w 20"/>
                  <a:gd name="T69" fmla="*/ 9 h 26"/>
                  <a:gd name="T70" fmla="*/ 19 w 20"/>
                  <a:gd name="T71" fmla="*/ 8 h 26"/>
                  <a:gd name="T72" fmla="*/ 18 w 20"/>
                  <a:gd name="T73" fmla="*/ 9 h 26"/>
                  <a:gd name="T74" fmla="*/ 18 w 20"/>
                  <a:gd name="T75" fmla="*/ 10 h 26"/>
                  <a:gd name="T76" fmla="*/ 18 w 20"/>
                  <a:gd name="T77" fmla="*/ 9 h 26"/>
                  <a:gd name="T78" fmla="*/ 18 w 20"/>
                  <a:gd name="T79" fmla="*/ 8 h 26"/>
                  <a:gd name="T80" fmla="*/ 16 w 20"/>
                  <a:gd name="T81" fmla="*/ 7 h 26"/>
                  <a:gd name="T82" fmla="*/ 14 w 20"/>
                  <a:gd name="T83" fmla="*/ 6 h 26"/>
                  <a:gd name="T84" fmla="*/ 12 w 20"/>
                  <a:gd name="T85" fmla="*/ 4 h 26"/>
                  <a:gd name="T86" fmla="*/ 11 w 20"/>
                  <a:gd name="T87" fmla="*/ 3 h 26"/>
                  <a:gd name="T88" fmla="*/ 9 w 20"/>
                  <a:gd name="T89" fmla="*/ 2 h 26"/>
                  <a:gd name="T90" fmla="*/ 7 w 20"/>
                  <a:gd name="T91" fmla="*/ 2 h 26"/>
                  <a:gd name="T92" fmla="*/ 4 w 20"/>
                  <a:gd name="T93" fmla="*/ 1 h 26"/>
                  <a:gd name="T94" fmla="*/ 4 w 20"/>
                  <a:gd name="T95" fmla="*/ 0 h 26"/>
                  <a:gd name="T96" fmla="*/ 3 w 20"/>
                  <a:gd name="T97" fmla="*/ 2 h 26"/>
                  <a:gd name="T98" fmla="*/ 1 w 20"/>
                  <a:gd name="T9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26">
                    <a:moveTo>
                      <a:pt x="1" y="5"/>
                    </a:moveTo>
                    <a:cubicBezTo>
                      <a:pt x="0" y="6"/>
                      <a:pt x="0" y="6"/>
                      <a:pt x="0" y="6"/>
                    </a:cubicBezTo>
                    <a:cubicBezTo>
                      <a:pt x="0" y="7"/>
                      <a:pt x="0" y="7"/>
                      <a:pt x="0" y="7"/>
                    </a:cubicBezTo>
                    <a:cubicBezTo>
                      <a:pt x="1" y="8"/>
                      <a:pt x="1" y="8"/>
                      <a:pt x="1" y="8"/>
                    </a:cubicBezTo>
                    <a:cubicBezTo>
                      <a:pt x="1" y="11"/>
                      <a:pt x="1" y="11"/>
                      <a:pt x="1" y="11"/>
                    </a:cubicBezTo>
                    <a:cubicBezTo>
                      <a:pt x="1" y="12"/>
                      <a:pt x="1" y="12"/>
                      <a:pt x="1" y="12"/>
                    </a:cubicBezTo>
                    <a:cubicBezTo>
                      <a:pt x="1" y="12"/>
                      <a:pt x="1" y="12"/>
                      <a:pt x="1" y="12"/>
                    </a:cubicBezTo>
                    <a:cubicBezTo>
                      <a:pt x="3" y="15"/>
                      <a:pt x="3" y="15"/>
                      <a:pt x="3" y="15"/>
                    </a:cubicBezTo>
                    <a:cubicBezTo>
                      <a:pt x="3" y="17"/>
                      <a:pt x="3" y="17"/>
                      <a:pt x="3" y="17"/>
                    </a:cubicBezTo>
                    <a:cubicBezTo>
                      <a:pt x="2" y="19"/>
                      <a:pt x="2" y="19"/>
                      <a:pt x="2" y="19"/>
                    </a:cubicBezTo>
                    <a:cubicBezTo>
                      <a:pt x="2" y="19"/>
                      <a:pt x="2" y="20"/>
                      <a:pt x="2" y="20"/>
                    </a:cubicBezTo>
                    <a:cubicBezTo>
                      <a:pt x="2" y="20"/>
                      <a:pt x="2" y="21"/>
                      <a:pt x="2" y="21"/>
                    </a:cubicBezTo>
                    <a:cubicBezTo>
                      <a:pt x="1" y="23"/>
                      <a:pt x="1" y="23"/>
                      <a:pt x="1" y="23"/>
                    </a:cubicBezTo>
                    <a:cubicBezTo>
                      <a:pt x="0" y="25"/>
                      <a:pt x="0" y="25"/>
                      <a:pt x="0" y="25"/>
                    </a:cubicBezTo>
                    <a:cubicBezTo>
                      <a:pt x="0" y="25"/>
                      <a:pt x="0" y="25"/>
                      <a:pt x="0" y="25"/>
                    </a:cubicBezTo>
                    <a:cubicBezTo>
                      <a:pt x="0" y="25"/>
                      <a:pt x="1" y="26"/>
                      <a:pt x="1" y="26"/>
                    </a:cubicBezTo>
                    <a:cubicBezTo>
                      <a:pt x="1" y="26"/>
                      <a:pt x="2" y="26"/>
                      <a:pt x="2" y="26"/>
                    </a:cubicBezTo>
                    <a:cubicBezTo>
                      <a:pt x="3" y="26"/>
                      <a:pt x="3" y="26"/>
                      <a:pt x="3" y="26"/>
                    </a:cubicBezTo>
                    <a:cubicBezTo>
                      <a:pt x="3" y="25"/>
                      <a:pt x="3" y="25"/>
                      <a:pt x="3" y="25"/>
                    </a:cubicBezTo>
                    <a:cubicBezTo>
                      <a:pt x="4" y="25"/>
                      <a:pt x="4" y="25"/>
                      <a:pt x="4" y="25"/>
                    </a:cubicBezTo>
                    <a:cubicBezTo>
                      <a:pt x="5" y="24"/>
                      <a:pt x="5" y="24"/>
                      <a:pt x="5" y="24"/>
                    </a:cubicBezTo>
                    <a:cubicBezTo>
                      <a:pt x="7" y="25"/>
                      <a:pt x="7" y="25"/>
                      <a:pt x="7" y="25"/>
                    </a:cubicBezTo>
                    <a:cubicBezTo>
                      <a:pt x="7" y="25"/>
                      <a:pt x="7" y="25"/>
                      <a:pt x="7" y="25"/>
                    </a:cubicBezTo>
                    <a:cubicBezTo>
                      <a:pt x="8" y="24"/>
                      <a:pt x="8" y="24"/>
                      <a:pt x="8" y="24"/>
                    </a:cubicBezTo>
                    <a:cubicBezTo>
                      <a:pt x="9" y="24"/>
                      <a:pt x="9" y="24"/>
                      <a:pt x="9" y="24"/>
                    </a:cubicBezTo>
                    <a:cubicBezTo>
                      <a:pt x="9" y="26"/>
                      <a:pt x="9" y="26"/>
                      <a:pt x="9" y="26"/>
                    </a:cubicBezTo>
                    <a:cubicBezTo>
                      <a:pt x="11" y="26"/>
                      <a:pt x="11" y="26"/>
                      <a:pt x="11" y="26"/>
                    </a:cubicBezTo>
                    <a:cubicBezTo>
                      <a:pt x="14" y="23"/>
                      <a:pt x="14" y="23"/>
                      <a:pt x="14" y="23"/>
                    </a:cubicBezTo>
                    <a:cubicBezTo>
                      <a:pt x="14" y="22"/>
                      <a:pt x="14" y="22"/>
                      <a:pt x="14" y="22"/>
                    </a:cubicBezTo>
                    <a:cubicBezTo>
                      <a:pt x="15" y="20"/>
                      <a:pt x="15" y="20"/>
                      <a:pt x="15" y="20"/>
                    </a:cubicBezTo>
                    <a:cubicBezTo>
                      <a:pt x="15" y="19"/>
                      <a:pt x="15" y="19"/>
                      <a:pt x="15" y="19"/>
                    </a:cubicBezTo>
                    <a:cubicBezTo>
                      <a:pt x="20" y="12"/>
                      <a:pt x="20" y="12"/>
                      <a:pt x="20" y="12"/>
                    </a:cubicBezTo>
                    <a:cubicBezTo>
                      <a:pt x="20" y="11"/>
                      <a:pt x="20" y="11"/>
                      <a:pt x="19" y="10"/>
                    </a:cubicBezTo>
                    <a:cubicBezTo>
                      <a:pt x="19" y="10"/>
                      <a:pt x="19" y="10"/>
                      <a:pt x="19" y="10"/>
                    </a:cubicBezTo>
                    <a:cubicBezTo>
                      <a:pt x="19" y="9"/>
                      <a:pt x="19" y="9"/>
                      <a:pt x="19" y="9"/>
                    </a:cubicBezTo>
                    <a:cubicBezTo>
                      <a:pt x="19" y="9"/>
                      <a:pt x="19" y="8"/>
                      <a:pt x="19" y="8"/>
                    </a:cubicBezTo>
                    <a:cubicBezTo>
                      <a:pt x="18" y="8"/>
                      <a:pt x="18" y="9"/>
                      <a:pt x="18" y="9"/>
                    </a:cubicBezTo>
                    <a:cubicBezTo>
                      <a:pt x="18" y="9"/>
                      <a:pt x="18" y="10"/>
                      <a:pt x="18" y="10"/>
                    </a:cubicBezTo>
                    <a:cubicBezTo>
                      <a:pt x="18" y="9"/>
                      <a:pt x="18" y="9"/>
                      <a:pt x="18" y="9"/>
                    </a:cubicBezTo>
                    <a:cubicBezTo>
                      <a:pt x="18" y="9"/>
                      <a:pt x="18" y="8"/>
                      <a:pt x="18" y="8"/>
                    </a:cubicBezTo>
                    <a:cubicBezTo>
                      <a:pt x="17" y="8"/>
                      <a:pt x="17" y="7"/>
                      <a:pt x="16" y="7"/>
                    </a:cubicBezTo>
                    <a:cubicBezTo>
                      <a:pt x="16" y="7"/>
                      <a:pt x="15" y="6"/>
                      <a:pt x="14" y="6"/>
                    </a:cubicBezTo>
                    <a:cubicBezTo>
                      <a:pt x="14" y="5"/>
                      <a:pt x="13" y="4"/>
                      <a:pt x="12" y="4"/>
                    </a:cubicBezTo>
                    <a:cubicBezTo>
                      <a:pt x="12" y="4"/>
                      <a:pt x="12" y="3"/>
                      <a:pt x="11" y="3"/>
                    </a:cubicBezTo>
                    <a:cubicBezTo>
                      <a:pt x="11" y="3"/>
                      <a:pt x="10" y="2"/>
                      <a:pt x="9" y="2"/>
                    </a:cubicBezTo>
                    <a:cubicBezTo>
                      <a:pt x="9" y="2"/>
                      <a:pt x="7" y="2"/>
                      <a:pt x="7" y="2"/>
                    </a:cubicBezTo>
                    <a:cubicBezTo>
                      <a:pt x="7" y="2"/>
                      <a:pt x="4" y="1"/>
                      <a:pt x="4" y="1"/>
                    </a:cubicBezTo>
                    <a:cubicBezTo>
                      <a:pt x="4" y="1"/>
                      <a:pt x="4" y="0"/>
                      <a:pt x="4" y="0"/>
                    </a:cubicBezTo>
                    <a:cubicBezTo>
                      <a:pt x="3" y="2"/>
                      <a:pt x="3" y="2"/>
                      <a:pt x="3" y="2"/>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1" name="Freeform 687">
                <a:extLst>
                  <a:ext uri="{FF2B5EF4-FFF2-40B4-BE49-F238E27FC236}">
                    <a16:creationId xmlns:a16="http://schemas.microsoft.com/office/drawing/2014/main" id="{BD4D8B6E-44D7-DAAE-CB06-A43B1CD3AE74}"/>
                  </a:ext>
                </a:extLst>
              </p:cNvPr>
              <p:cNvSpPr>
                <a:spLocks noEditPoints="1"/>
              </p:cNvSpPr>
              <p:nvPr/>
            </p:nvSpPr>
            <p:spPr bwMode="auto">
              <a:xfrm>
                <a:off x="3644901" y="6616700"/>
                <a:ext cx="103187" cy="61913"/>
              </a:xfrm>
              <a:custGeom>
                <a:avLst/>
                <a:gdLst>
                  <a:gd name="T0" fmla="*/ 23 w 25"/>
                  <a:gd name="T1" fmla="*/ 6 h 15"/>
                  <a:gd name="T2" fmla="*/ 25 w 25"/>
                  <a:gd name="T3" fmla="*/ 6 h 15"/>
                  <a:gd name="T4" fmla="*/ 21 w 25"/>
                  <a:gd name="T5" fmla="*/ 5 h 15"/>
                  <a:gd name="T6" fmla="*/ 22 w 25"/>
                  <a:gd name="T7" fmla="*/ 7 h 15"/>
                  <a:gd name="T8" fmla="*/ 20 w 25"/>
                  <a:gd name="T9" fmla="*/ 5 h 15"/>
                  <a:gd name="T10" fmla="*/ 20 w 25"/>
                  <a:gd name="T11" fmla="*/ 4 h 15"/>
                  <a:gd name="T12" fmla="*/ 19 w 25"/>
                  <a:gd name="T13" fmla="*/ 3 h 15"/>
                  <a:gd name="T14" fmla="*/ 17 w 25"/>
                  <a:gd name="T15" fmla="*/ 5 h 15"/>
                  <a:gd name="T16" fmla="*/ 15 w 25"/>
                  <a:gd name="T17" fmla="*/ 6 h 15"/>
                  <a:gd name="T18" fmla="*/ 16 w 25"/>
                  <a:gd name="T19" fmla="*/ 9 h 15"/>
                  <a:gd name="T20" fmla="*/ 14 w 25"/>
                  <a:gd name="T21" fmla="*/ 8 h 15"/>
                  <a:gd name="T22" fmla="*/ 12 w 25"/>
                  <a:gd name="T23" fmla="*/ 10 h 15"/>
                  <a:gd name="T24" fmla="*/ 11 w 25"/>
                  <a:gd name="T25" fmla="*/ 12 h 15"/>
                  <a:gd name="T26" fmla="*/ 13 w 25"/>
                  <a:gd name="T27" fmla="*/ 15 h 15"/>
                  <a:gd name="T28" fmla="*/ 13 w 25"/>
                  <a:gd name="T29" fmla="*/ 13 h 15"/>
                  <a:gd name="T30" fmla="*/ 15 w 25"/>
                  <a:gd name="T31" fmla="*/ 13 h 15"/>
                  <a:gd name="T32" fmla="*/ 15 w 25"/>
                  <a:gd name="T33" fmla="*/ 13 h 15"/>
                  <a:gd name="T34" fmla="*/ 15 w 25"/>
                  <a:gd name="T35" fmla="*/ 11 h 15"/>
                  <a:gd name="T36" fmla="*/ 18 w 25"/>
                  <a:gd name="T37" fmla="*/ 12 h 15"/>
                  <a:gd name="T38" fmla="*/ 18 w 25"/>
                  <a:gd name="T39" fmla="*/ 10 h 15"/>
                  <a:gd name="T40" fmla="*/ 18 w 25"/>
                  <a:gd name="T41" fmla="*/ 10 h 15"/>
                  <a:gd name="T42" fmla="*/ 22 w 25"/>
                  <a:gd name="T43" fmla="*/ 9 h 15"/>
                  <a:gd name="T44" fmla="*/ 24 w 25"/>
                  <a:gd name="T45" fmla="*/ 8 h 15"/>
                  <a:gd name="T46" fmla="*/ 8 w 25"/>
                  <a:gd name="T47" fmla="*/ 11 h 15"/>
                  <a:gd name="T48" fmla="*/ 6 w 25"/>
                  <a:gd name="T49" fmla="*/ 13 h 15"/>
                  <a:gd name="T50" fmla="*/ 5 w 25"/>
                  <a:gd name="T51" fmla="*/ 13 h 15"/>
                  <a:gd name="T52" fmla="*/ 3 w 25"/>
                  <a:gd name="T53" fmla="*/ 12 h 15"/>
                  <a:gd name="T54" fmla="*/ 4 w 25"/>
                  <a:gd name="T55" fmla="*/ 11 h 15"/>
                  <a:gd name="T56" fmla="*/ 5 w 25"/>
                  <a:gd name="T57" fmla="*/ 11 h 15"/>
                  <a:gd name="T58" fmla="*/ 6 w 25"/>
                  <a:gd name="T59" fmla="*/ 9 h 15"/>
                  <a:gd name="T60" fmla="*/ 7 w 25"/>
                  <a:gd name="T61" fmla="*/ 9 h 15"/>
                  <a:gd name="T62" fmla="*/ 6 w 25"/>
                  <a:gd name="T63" fmla="*/ 8 h 15"/>
                  <a:gd name="T64" fmla="*/ 9 w 25"/>
                  <a:gd name="T65" fmla="*/ 7 h 15"/>
                  <a:gd name="T66" fmla="*/ 5 w 25"/>
                  <a:gd name="T67" fmla="*/ 4 h 15"/>
                  <a:gd name="T68" fmla="*/ 9 w 25"/>
                  <a:gd name="T69" fmla="*/ 4 h 15"/>
                  <a:gd name="T70" fmla="*/ 13 w 25"/>
                  <a:gd name="T71" fmla="*/ 4 h 15"/>
                  <a:gd name="T72" fmla="*/ 15 w 25"/>
                  <a:gd name="T73" fmla="*/ 4 h 15"/>
                  <a:gd name="T74" fmla="*/ 13 w 25"/>
                  <a:gd name="T75" fmla="*/ 6 h 15"/>
                  <a:gd name="T76" fmla="*/ 1 w 25"/>
                  <a:gd name="T77" fmla="*/ 9 h 15"/>
                  <a:gd name="T78" fmla="*/ 3 w 25"/>
                  <a:gd name="T79" fmla="*/ 9 h 15"/>
                  <a:gd name="T80" fmla="*/ 2 w 25"/>
                  <a:gd name="T81" fmla="*/ 11 h 15"/>
                  <a:gd name="T82" fmla="*/ 13 w 25"/>
                  <a:gd name="T83" fmla="*/ 4 h 15"/>
                  <a:gd name="T84" fmla="*/ 20 w 25"/>
                  <a:gd name="T85" fmla="*/ 11 h 15"/>
                  <a:gd name="T86" fmla="*/ 11 w 25"/>
                  <a:gd name="T87" fmla="*/ 13 h 15"/>
                  <a:gd name="T88" fmla="*/ 1 w 25"/>
                  <a:gd name="T89" fmla="*/ 9 h 15"/>
                  <a:gd name="T90" fmla="*/ 16 w 25"/>
                  <a:gd name="T91" fmla="*/ 14 h 15"/>
                  <a:gd name="T92" fmla="*/ 5 w 25"/>
                  <a:gd name="T93" fmla="*/ 2 h 15"/>
                  <a:gd name="T94" fmla="*/ 3 w 25"/>
                  <a:gd name="T95" fmla="*/ 11 h 15"/>
                  <a:gd name="T96" fmla="*/ 12 w 25"/>
                  <a:gd name="T97" fmla="*/ 10 h 15"/>
                  <a:gd name="T98" fmla="*/ 9 w 25"/>
                  <a:gd name="T99" fmla="*/ 3 h 15"/>
                  <a:gd name="T100" fmla="*/ 1 w 25"/>
                  <a:gd name="T101" fmla="*/ 0 h 15"/>
                  <a:gd name="T102" fmla="*/ 11 w 25"/>
                  <a:gd name="T103" fmla="*/ 12 h 15"/>
                  <a:gd name="T104" fmla="*/ 20 w 25"/>
                  <a:gd name="T105" fmla="*/ 10 h 15"/>
                  <a:gd name="T106" fmla="*/ 19 w 25"/>
                  <a:gd name="T107" fmla="*/ 12 h 15"/>
                  <a:gd name="T108" fmla="*/ 1 w 25"/>
                  <a:gd name="T109" fmla="*/ 10 h 15"/>
                  <a:gd name="T110" fmla="*/ 2 w 25"/>
                  <a:gd name="T111" fmla="*/ 8 h 15"/>
                  <a:gd name="T112" fmla="*/ 20 w 25"/>
                  <a:gd name="T113" fmla="*/ 10 h 15"/>
                  <a:gd name="T114" fmla="*/ 12 w 25"/>
                  <a:gd name="T115" fmla="*/ 11 h 15"/>
                  <a:gd name="T116" fmla="*/ 12 w 25"/>
                  <a:gd name="T117" fmla="*/ 10 h 15"/>
                  <a:gd name="T118" fmla="*/ 12 w 25"/>
                  <a:gd name="T119" fmla="*/ 10 h 15"/>
                  <a:gd name="T120" fmla="*/ 12 w 25"/>
                  <a:gd name="T121" fmla="*/ 10 h 15"/>
                  <a:gd name="T122" fmla="*/ 16 w 25"/>
                  <a:gd name="T123" fmla="*/ 5 h 15"/>
                  <a:gd name="T124" fmla="*/ 20 w 25"/>
                  <a:gd name="T12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 h="15">
                    <a:moveTo>
                      <a:pt x="25" y="7"/>
                    </a:move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6"/>
                      <a:pt x="24" y="6"/>
                      <a:pt x="24" y="6"/>
                    </a:cubicBezTo>
                    <a:cubicBezTo>
                      <a:pt x="24" y="6"/>
                      <a:pt x="24" y="6"/>
                      <a:pt x="24" y="6"/>
                    </a:cubicBezTo>
                    <a:cubicBezTo>
                      <a:pt x="24" y="6"/>
                      <a:pt x="24" y="6"/>
                      <a:pt x="24" y="6"/>
                    </a:cubicBezTo>
                    <a:cubicBezTo>
                      <a:pt x="24" y="6"/>
                      <a:pt x="24"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3" y="6"/>
                      <a:pt x="23" y="6"/>
                      <a:pt x="23" y="6"/>
                    </a:cubicBezTo>
                    <a:cubicBezTo>
                      <a:pt x="23" y="6"/>
                      <a:pt x="23" y="6"/>
                      <a:pt x="23" y="6"/>
                    </a:cubicBezTo>
                    <a:cubicBezTo>
                      <a:pt x="23" y="6"/>
                      <a:pt x="23" y="6"/>
                      <a:pt x="23" y="6"/>
                    </a:cubicBezTo>
                    <a:cubicBezTo>
                      <a:pt x="23" y="5"/>
                      <a:pt x="23" y="5"/>
                      <a:pt x="23" y="5"/>
                    </a:cubicBezTo>
                    <a:cubicBezTo>
                      <a:pt x="23" y="5"/>
                      <a:pt x="23" y="5"/>
                      <a:pt x="23" y="5"/>
                    </a:cubicBezTo>
                    <a:cubicBezTo>
                      <a:pt x="23" y="5"/>
                      <a:pt x="23" y="5"/>
                      <a:pt x="23" y="5"/>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5"/>
                      <a:pt x="24" y="5"/>
                    </a:cubicBezTo>
                    <a:cubicBezTo>
                      <a:pt x="24" y="5"/>
                      <a:pt x="24" y="5"/>
                      <a:pt x="24" y="5"/>
                    </a:cubicBezTo>
                    <a:cubicBezTo>
                      <a:pt x="24" y="5"/>
                      <a:pt x="24"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2" y="4"/>
                      <a:pt x="22" y="4"/>
                      <a:pt x="22" y="4"/>
                    </a:cubicBezTo>
                    <a:cubicBezTo>
                      <a:pt x="22" y="4"/>
                      <a:pt x="22" y="4"/>
                      <a:pt x="22" y="4"/>
                    </a:cubicBezTo>
                    <a:cubicBezTo>
                      <a:pt x="22" y="4"/>
                      <a:pt x="22" y="4"/>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6"/>
                    </a:cubicBezTo>
                    <a:cubicBezTo>
                      <a:pt x="21" y="6"/>
                      <a:pt x="21" y="6"/>
                      <a:pt x="21" y="6"/>
                    </a:cubicBezTo>
                    <a:cubicBezTo>
                      <a:pt x="21" y="6"/>
                      <a:pt x="21" y="6"/>
                      <a:pt x="21" y="6"/>
                    </a:cubicBezTo>
                    <a:cubicBezTo>
                      <a:pt x="21"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1" y="7"/>
                    </a:cubicBezTo>
                    <a:cubicBezTo>
                      <a:pt x="22" y="7"/>
                      <a:pt x="22" y="7"/>
                      <a:pt x="22" y="7"/>
                    </a:cubicBezTo>
                    <a:cubicBezTo>
                      <a:pt x="21" y="7"/>
                      <a:pt x="21" y="7"/>
                      <a:pt x="22" y="7"/>
                    </a:cubicBezTo>
                    <a:cubicBezTo>
                      <a:pt x="22" y="7"/>
                      <a:pt x="22" y="7"/>
                      <a:pt x="21" y="7"/>
                    </a:cubicBezTo>
                    <a:cubicBezTo>
                      <a:pt x="22" y="7"/>
                      <a:pt x="22"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2"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19"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5"/>
                    </a:cubicBezTo>
                    <a:cubicBezTo>
                      <a:pt x="20" y="5"/>
                      <a:pt x="20" y="5"/>
                      <a:pt x="20" y="5"/>
                    </a:cubicBezTo>
                    <a:cubicBezTo>
                      <a:pt x="20" y="5"/>
                      <a:pt x="20" y="5"/>
                      <a:pt x="20" y="5"/>
                    </a:cubicBezTo>
                    <a:cubicBezTo>
                      <a:pt x="20" y="5"/>
                      <a:pt x="20"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3"/>
                    </a:cubicBezTo>
                    <a:cubicBezTo>
                      <a:pt x="21" y="3"/>
                      <a:pt x="21" y="3"/>
                      <a:pt x="21" y="3"/>
                    </a:cubicBezTo>
                    <a:cubicBezTo>
                      <a:pt x="21" y="3"/>
                      <a:pt x="21" y="3"/>
                      <a:pt x="21" y="3"/>
                    </a:cubicBezTo>
                    <a:cubicBezTo>
                      <a:pt x="21"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4"/>
                      <a:pt x="19" y="3"/>
                      <a:pt x="19" y="3"/>
                    </a:cubicBezTo>
                    <a:cubicBezTo>
                      <a:pt x="19" y="3"/>
                      <a:pt x="19" y="4"/>
                      <a:pt x="19" y="4"/>
                    </a:cubicBezTo>
                    <a:cubicBezTo>
                      <a:pt x="19" y="4"/>
                      <a:pt x="19" y="4"/>
                      <a:pt x="19" y="4"/>
                    </a:cubicBezTo>
                    <a:cubicBezTo>
                      <a:pt x="19" y="4"/>
                      <a:pt x="19" y="4"/>
                      <a:pt x="19" y="4"/>
                    </a:cubicBezTo>
                    <a:cubicBezTo>
                      <a:pt x="19" y="4"/>
                      <a:pt x="19" y="4"/>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7" y="4"/>
                      <a:pt x="17" y="4"/>
                      <a:pt x="17" y="5"/>
                    </a:cubicBezTo>
                    <a:cubicBezTo>
                      <a:pt x="17" y="5"/>
                      <a:pt x="17" y="5"/>
                      <a:pt x="17" y="5"/>
                    </a:cubicBezTo>
                    <a:cubicBezTo>
                      <a:pt x="17" y="5"/>
                      <a:pt x="16" y="5"/>
                      <a:pt x="16" y="5"/>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5" y="5"/>
                      <a:pt x="15" y="5"/>
                      <a:pt x="15" y="5"/>
                    </a:cubicBezTo>
                    <a:cubicBezTo>
                      <a:pt x="15" y="5"/>
                      <a:pt x="15" y="5"/>
                      <a:pt x="15" y="5"/>
                    </a:cubicBezTo>
                    <a:cubicBezTo>
                      <a:pt x="15" y="5"/>
                      <a:pt x="15" y="5"/>
                      <a:pt x="15"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5"/>
                      <a:pt x="16" y="5"/>
                    </a:cubicBezTo>
                    <a:cubicBezTo>
                      <a:pt x="16" y="5"/>
                      <a:pt x="16" y="5"/>
                      <a:pt x="15" y="5"/>
                    </a:cubicBezTo>
                    <a:cubicBezTo>
                      <a:pt x="15" y="5"/>
                      <a:pt x="16" y="5"/>
                      <a:pt x="16" y="5"/>
                    </a:cubicBezTo>
                    <a:cubicBezTo>
                      <a:pt x="16" y="5"/>
                      <a:pt x="16" y="5"/>
                      <a:pt x="16"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6" y="6"/>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7"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7" y="8"/>
                      <a:pt x="17" y="8"/>
                      <a:pt x="17" y="8"/>
                    </a:cubicBezTo>
                    <a:cubicBezTo>
                      <a:pt x="17" y="8"/>
                      <a:pt x="17" y="8"/>
                      <a:pt x="17" y="8"/>
                    </a:cubicBezTo>
                    <a:cubicBezTo>
                      <a:pt x="16" y="8"/>
                      <a:pt x="16" y="8"/>
                      <a:pt x="16" y="8"/>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7"/>
                    </a:cubicBezTo>
                    <a:cubicBezTo>
                      <a:pt x="16" y="7"/>
                      <a:pt x="16" y="7"/>
                      <a:pt x="16" y="7"/>
                    </a:cubicBezTo>
                    <a:cubicBezTo>
                      <a:pt x="16" y="7"/>
                      <a:pt x="16" y="7"/>
                      <a:pt x="16" y="7"/>
                    </a:cubicBezTo>
                    <a:cubicBezTo>
                      <a:pt x="16" y="8"/>
                      <a:pt x="16" y="8"/>
                      <a:pt x="16" y="8"/>
                    </a:cubicBezTo>
                    <a:cubicBezTo>
                      <a:pt x="15" y="7"/>
                      <a:pt x="15" y="7"/>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9"/>
                      <a:pt x="14" y="9"/>
                    </a:cubicBezTo>
                    <a:cubicBezTo>
                      <a:pt x="14" y="9"/>
                      <a:pt x="14" y="9"/>
                      <a:pt x="14" y="9"/>
                    </a:cubicBezTo>
                    <a:cubicBezTo>
                      <a:pt x="14" y="8"/>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8"/>
                      <a:pt x="14" y="8"/>
                      <a:pt x="14" y="8"/>
                    </a:cubicBezTo>
                    <a:cubicBezTo>
                      <a:pt x="14" y="8"/>
                      <a:pt x="14" y="8"/>
                      <a:pt x="14" y="8"/>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3" y="9"/>
                      <a:pt x="13" y="9"/>
                      <a:pt x="13" y="9"/>
                    </a:cubicBezTo>
                    <a:cubicBezTo>
                      <a:pt x="14" y="9"/>
                      <a:pt x="14" y="9"/>
                      <a:pt x="14" y="9"/>
                    </a:cubicBezTo>
                    <a:cubicBezTo>
                      <a:pt x="14"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3" y="10"/>
                      <a:pt x="13" y="10"/>
                    </a:cubicBezTo>
                    <a:cubicBezTo>
                      <a:pt x="13" y="11"/>
                      <a:pt x="13"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2" y="12"/>
                      <a:pt x="12" y="12"/>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4" y="14"/>
                      <a:pt x="14" y="14"/>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3" y="13"/>
                      <a:pt x="13" y="14"/>
                    </a:cubicBezTo>
                    <a:cubicBezTo>
                      <a:pt x="13" y="13"/>
                      <a:pt x="13" y="13"/>
                      <a:pt x="13" y="13"/>
                    </a:cubicBezTo>
                    <a:cubicBezTo>
                      <a:pt x="13"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4" y="13"/>
                    </a:cubicBezTo>
                    <a:cubicBezTo>
                      <a:pt x="14" y="13"/>
                      <a:pt x="14" y="13"/>
                      <a:pt x="14" y="13"/>
                    </a:cubicBezTo>
                    <a:cubicBezTo>
                      <a:pt x="14"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3"/>
                      <a:pt x="14" y="12"/>
                      <a:pt x="14" y="12"/>
                    </a:cubicBezTo>
                    <a:cubicBezTo>
                      <a:pt x="14" y="12"/>
                      <a:pt x="14" y="12"/>
                      <a:pt x="14" y="12"/>
                    </a:cubicBezTo>
                    <a:cubicBezTo>
                      <a:pt x="14" y="12"/>
                      <a:pt x="14" y="12"/>
                      <a:pt x="14" y="12"/>
                    </a:cubicBezTo>
                    <a:cubicBezTo>
                      <a:pt x="14" y="12"/>
                      <a:pt x="14" y="12"/>
                      <a:pt x="14" y="12"/>
                    </a:cubicBezTo>
                    <a:cubicBezTo>
                      <a:pt x="14" y="13"/>
                      <a:pt x="14" y="13"/>
                      <a:pt x="14" y="13"/>
                    </a:cubicBezTo>
                    <a:cubicBezTo>
                      <a:pt x="14" y="13"/>
                      <a:pt x="14" y="13"/>
                      <a:pt x="14" y="13"/>
                    </a:cubicBezTo>
                    <a:cubicBezTo>
                      <a:pt x="14" y="13"/>
                      <a:pt x="14" y="13"/>
                      <a:pt x="14" y="13"/>
                    </a:cubicBezTo>
                    <a:cubicBezTo>
                      <a:pt x="14" y="13"/>
                      <a:pt x="14" y="12"/>
                      <a:pt x="14" y="12"/>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3"/>
                      <a:pt x="15" y="13"/>
                      <a:pt x="15" y="13"/>
                    </a:cubicBezTo>
                    <a:cubicBezTo>
                      <a:pt x="14" y="13"/>
                      <a:pt x="14" y="13"/>
                      <a:pt x="14"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4"/>
                    </a:cubicBezTo>
                    <a:cubicBezTo>
                      <a:pt x="16" y="14"/>
                      <a:pt x="16" y="14"/>
                      <a:pt x="16" y="14"/>
                    </a:cubicBezTo>
                    <a:cubicBezTo>
                      <a:pt x="16" y="14"/>
                      <a:pt x="16" y="13"/>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6" y="13"/>
                      <a:pt x="16" y="13"/>
                      <a:pt x="16" y="13"/>
                    </a:cubicBezTo>
                    <a:cubicBezTo>
                      <a:pt x="16" y="13"/>
                      <a:pt x="16" y="13"/>
                      <a:pt x="16" y="13"/>
                    </a:cubicBezTo>
                    <a:cubicBezTo>
                      <a:pt x="16" y="13"/>
                      <a:pt x="16" y="13"/>
                      <a:pt x="16" y="13"/>
                    </a:cubicBezTo>
                    <a:cubicBezTo>
                      <a:pt x="16" y="12"/>
                      <a:pt x="16" y="13"/>
                      <a:pt x="16" y="13"/>
                    </a:cubicBezTo>
                    <a:cubicBezTo>
                      <a:pt x="15" y="13"/>
                      <a:pt x="15" y="13"/>
                      <a:pt x="15" y="13"/>
                    </a:cubicBezTo>
                    <a:cubicBezTo>
                      <a:pt x="15" y="13"/>
                      <a:pt x="15" y="13"/>
                      <a:pt x="15" y="13"/>
                    </a:cubicBezTo>
                    <a:cubicBezTo>
                      <a:pt x="15" y="13"/>
                      <a:pt x="15" y="13"/>
                      <a:pt x="15" y="13"/>
                    </a:cubicBezTo>
                    <a:cubicBezTo>
                      <a:pt x="15" y="13"/>
                      <a:pt x="15" y="13"/>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5" y="12"/>
                      <a:pt x="15" y="12"/>
                      <a:pt x="15" y="12"/>
                    </a:cubicBezTo>
                    <a:cubicBezTo>
                      <a:pt x="15" y="12"/>
                      <a:pt x="15" y="12"/>
                      <a:pt x="15" y="12"/>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2"/>
                      <a:pt x="16" y="12"/>
                    </a:cubicBezTo>
                    <a:cubicBezTo>
                      <a:pt x="16" y="12"/>
                      <a:pt x="16" y="12"/>
                      <a:pt x="16" y="12"/>
                    </a:cubicBezTo>
                    <a:cubicBezTo>
                      <a:pt x="16" y="12"/>
                      <a:pt x="16" y="12"/>
                      <a:pt x="16" y="12"/>
                    </a:cubicBezTo>
                    <a:cubicBezTo>
                      <a:pt x="16" y="12"/>
                      <a:pt x="16" y="12"/>
                      <a:pt x="16" y="12"/>
                    </a:cubicBezTo>
                    <a:cubicBezTo>
                      <a:pt x="16"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1"/>
                    </a:cubicBezTo>
                    <a:cubicBezTo>
                      <a:pt x="17" y="11"/>
                      <a:pt x="17" y="11"/>
                      <a:pt x="17" y="11"/>
                    </a:cubicBezTo>
                    <a:cubicBezTo>
                      <a:pt x="17" y="11"/>
                      <a:pt x="17" y="11"/>
                      <a:pt x="17" y="11"/>
                    </a:cubicBezTo>
                    <a:cubicBezTo>
                      <a:pt x="17"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0"/>
                      <a:pt x="19" y="11"/>
                      <a:pt x="19" y="11"/>
                    </a:cubicBezTo>
                    <a:cubicBezTo>
                      <a:pt x="19" y="11"/>
                      <a:pt x="19" y="11"/>
                      <a:pt x="19" y="11"/>
                    </a:cubicBezTo>
                    <a:cubicBezTo>
                      <a:pt x="19" y="10"/>
                      <a:pt x="19" y="10"/>
                      <a:pt x="19" y="10"/>
                    </a:cubicBezTo>
                    <a:cubicBezTo>
                      <a:pt x="19" y="11"/>
                      <a:pt x="19" y="11"/>
                      <a:pt x="18" y="10"/>
                    </a:cubicBezTo>
                    <a:cubicBezTo>
                      <a:pt x="18" y="10"/>
                      <a:pt x="18" y="10"/>
                      <a:pt x="18" y="10"/>
                    </a:cubicBezTo>
                    <a:cubicBezTo>
                      <a:pt x="18" y="10"/>
                      <a:pt x="18" y="10"/>
                      <a:pt x="18" y="10"/>
                    </a:cubicBezTo>
                    <a:cubicBezTo>
                      <a:pt x="18" y="10"/>
                      <a:pt x="18" y="10"/>
                      <a:pt x="18" y="10"/>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7" y="10"/>
                      <a:pt x="17" y="10"/>
                      <a:pt x="17" y="10"/>
                    </a:cubicBezTo>
                    <a:cubicBezTo>
                      <a:pt x="17" y="10"/>
                      <a:pt x="17" y="10"/>
                      <a:pt x="17" y="10"/>
                    </a:cubicBezTo>
                    <a:cubicBezTo>
                      <a:pt x="17" y="9"/>
                      <a:pt x="17" y="9"/>
                      <a:pt x="17" y="9"/>
                    </a:cubicBezTo>
                    <a:cubicBezTo>
                      <a:pt x="17" y="9"/>
                      <a:pt x="17" y="9"/>
                      <a:pt x="17" y="9"/>
                    </a:cubicBezTo>
                    <a:cubicBezTo>
                      <a:pt x="17" y="9"/>
                      <a:pt x="17" y="9"/>
                      <a:pt x="17" y="9"/>
                    </a:cubicBezTo>
                    <a:cubicBezTo>
                      <a:pt x="16" y="9"/>
                      <a:pt x="16" y="9"/>
                      <a:pt x="16" y="9"/>
                    </a:cubicBezTo>
                    <a:cubicBezTo>
                      <a:pt x="16" y="9"/>
                      <a:pt x="16" y="9"/>
                      <a:pt x="16" y="9"/>
                    </a:cubicBezTo>
                    <a:cubicBezTo>
                      <a:pt x="17" y="9"/>
                      <a:pt x="17" y="9"/>
                      <a:pt x="16" y="9"/>
                    </a:cubicBezTo>
                    <a:cubicBezTo>
                      <a:pt x="16" y="9"/>
                      <a:pt x="16" y="9"/>
                      <a:pt x="16" y="9"/>
                    </a:cubicBezTo>
                    <a:cubicBezTo>
                      <a:pt x="17" y="9"/>
                      <a:pt x="17" y="9"/>
                      <a:pt x="17" y="9"/>
                    </a:cubicBezTo>
                    <a:cubicBezTo>
                      <a:pt x="17" y="9"/>
                      <a:pt x="17" y="9"/>
                      <a:pt x="17" y="9"/>
                    </a:cubicBezTo>
                    <a:cubicBezTo>
                      <a:pt x="17" y="9"/>
                      <a:pt x="17" y="9"/>
                      <a:pt x="17" y="9"/>
                    </a:cubicBezTo>
                    <a:cubicBezTo>
                      <a:pt x="17" y="9"/>
                      <a:pt x="17" y="8"/>
                      <a:pt x="17" y="8"/>
                    </a:cubicBezTo>
                    <a:cubicBezTo>
                      <a:pt x="17" y="8"/>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8" y="9"/>
                      <a:pt x="18" y="9"/>
                      <a:pt x="18" y="9"/>
                    </a:cubicBezTo>
                    <a:cubicBezTo>
                      <a:pt x="18" y="9"/>
                      <a:pt x="18" y="9"/>
                      <a:pt x="18" y="9"/>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0" y="10"/>
                    </a:cubicBezTo>
                    <a:cubicBezTo>
                      <a:pt x="20" y="10"/>
                      <a:pt x="20" y="10"/>
                      <a:pt x="20" y="10"/>
                    </a:cubicBezTo>
                    <a:cubicBezTo>
                      <a:pt x="20"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8"/>
                      <a:pt x="23" y="9"/>
                      <a:pt x="23"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3" y="8"/>
                      <a:pt x="23" y="8"/>
                    </a:cubicBezTo>
                    <a:cubicBezTo>
                      <a:pt x="23" y="8"/>
                      <a:pt x="23" y="8"/>
                      <a:pt x="23" y="8"/>
                    </a:cubicBezTo>
                    <a:cubicBezTo>
                      <a:pt x="23" y="8"/>
                      <a:pt x="23" y="8"/>
                      <a:pt x="23" y="8"/>
                    </a:cubicBezTo>
                    <a:cubicBezTo>
                      <a:pt x="23" y="8"/>
                      <a:pt x="23" y="8"/>
                      <a:pt x="23" y="8"/>
                    </a:cubicBezTo>
                    <a:cubicBezTo>
                      <a:pt x="23"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5" y="8"/>
                    </a:cubicBezTo>
                    <a:cubicBezTo>
                      <a:pt x="25" y="8"/>
                      <a:pt x="25" y="8"/>
                      <a:pt x="25" y="8"/>
                    </a:cubicBezTo>
                    <a:cubicBezTo>
                      <a:pt x="25" y="8"/>
                      <a:pt x="25" y="8"/>
                      <a:pt x="25" y="8"/>
                    </a:cubicBezTo>
                    <a:cubicBezTo>
                      <a:pt x="25" y="8"/>
                      <a:pt x="25" y="7"/>
                      <a:pt x="25" y="7"/>
                    </a:cubicBezTo>
                    <a:cubicBezTo>
                      <a:pt x="25" y="7"/>
                      <a:pt x="25" y="7"/>
                      <a:pt x="25" y="7"/>
                    </a:cubicBezTo>
                    <a:cubicBezTo>
                      <a:pt x="25" y="7"/>
                      <a:pt x="25" y="7"/>
                      <a:pt x="25" y="7"/>
                    </a:cubicBezTo>
                    <a:cubicBezTo>
                      <a:pt x="25" y="7"/>
                      <a:pt x="25" y="7"/>
                      <a:pt x="25" y="7"/>
                    </a:cubicBezTo>
                    <a:close/>
                    <a:moveTo>
                      <a:pt x="11" y="9"/>
                    </a:moveTo>
                    <a:cubicBezTo>
                      <a:pt x="11" y="10"/>
                      <a:pt x="10" y="10"/>
                      <a:pt x="10" y="10"/>
                    </a:cubicBezTo>
                    <a:cubicBezTo>
                      <a:pt x="10" y="10"/>
                      <a:pt x="10" y="10"/>
                      <a:pt x="10" y="10"/>
                    </a:cubicBezTo>
                    <a:cubicBezTo>
                      <a:pt x="10" y="10"/>
                      <a:pt x="10" y="10"/>
                      <a:pt x="10" y="10"/>
                    </a:cubicBezTo>
                    <a:cubicBezTo>
                      <a:pt x="10" y="11"/>
                      <a:pt x="10" y="11"/>
                      <a:pt x="10" y="11"/>
                    </a:cubicBezTo>
                    <a:cubicBezTo>
                      <a:pt x="10" y="11"/>
                      <a:pt x="10" y="11"/>
                      <a:pt x="10" y="10"/>
                    </a:cubicBezTo>
                    <a:cubicBezTo>
                      <a:pt x="10" y="10"/>
                      <a:pt x="10" y="11"/>
                      <a:pt x="10" y="11"/>
                    </a:cubicBezTo>
                    <a:cubicBezTo>
                      <a:pt x="10" y="11"/>
                      <a:pt x="10" y="11"/>
                      <a:pt x="10" y="11"/>
                    </a:cubicBezTo>
                    <a:cubicBezTo>
                      <a:pt x="10"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0"/>
                      <a:pt x="9" y="10"/>
                      <a:pt x="9" y="10"/>
                    </a:cubicBezTo>
                    <a:cubicBezTo>
                      <a:pt x="9" y="11"/>
                      <a:pt x="9" y="11"/>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1"/>
                    </a:cubicBezTo>
                    <a:cubicBezTo>
                      <a:pt x="9" y="11"/>
                      <a:pt x="9" y="11"/>
                      <a:pt x="9" y="11"/>
                    </a:cubicBezTo>
                    <a:cubicBezTo>
                      <a:pt x="9" y="11"/>
                      <a:pt x="9" y="11"/>
                      <a:pt x="9" y="11"/>
                    </a:cubicBezTo>
                    <a:cubicBezTo>
                      <a:pt x="9" y="11"/>
                      <a:pt x="9" y="11"/>
                      <a:pt x="9" y="11"/>
                    </a:cubicBezTo>
                    <a:cubicBezTo>
                      <a:pt x="9" y="11"/>
                      <a:pt x="9" y="11"/>
                      <a:pt x="9"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2"/>
                      <a:pt x="7" y="12"/>
                      <a:pt x="7" y="12"/>
                    </a:cubicBezTo>
                    <a:cubicBezTo>
                      <a:pt x="7" y="12"/>
                      <a:pt x="7" y="12"/>
                      <a:pt x="7" y="12"/>
                    </a:cubicBezTo>
                    <a:cubicBezTo>
                      <a:pt x="7" y="12"/>
                      <a:pt x="7" y="12"/>
                      <a:pt x="7" y="12"/>
                    </a:cubicBezTo>
                    <a:cubicBezTo>
                      <a:pt x="7" y="12"/>
                      <a:pt x="8" y="12"/>
                      <a:pt x="8" y="11"/>
                    </a:cubicBezTo>
                    <a:cubicBezTo>
                      <a:pt x="8" y="11"/>
                      <a:pt x="8" y="11"/>
                      <a:pt x="8" y="11"/>
                    </a:cubicBezTo>
                    <a:cubicBezTo>
                      <a:pt x="8" y="11"/>
                      <a:pt x="8" y="11"/>
                      <a:pt x="8" y="11"/>
                    </a:cubicBezTo>
                    <a:cubicBezTo>
                      <a:pt x="8" y="11"/>
                      <a:pt x="8" y="11"/>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2"/>
                      <a:pt x="7" y="12"/>
                    </a:cubicBezTo>
                    <a:cubicBezTo>
                      <a:pt x="7" y="12"/>
                      <a:pt x="7" y="12"/>
                      <a:pt x="7" y="12"/>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6" y="13"/>
                      <a:pt x="6" y="13"/>
                      <a:pt x="6" y="13"/>
                    </a:cubicBezTo>
                    <a:cubicBezTo>
                      <a:pt x="6" y="13"/>
                      <a:pt x="7" y="13"/>
                      <a:pt x="7" y="13"/>
                    </a:cubicBezTo>
                    <a:cubicBezTo>
                      <a:pt x="7"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6" y="12"/>
                      <a:pt x="6" y="12"/>
                    </a:cubicBezTo>
                    <a:cubicBezTo>
                      <a:pt x="5" y="12"/>
                      <a:pt x="5" y="12"/>
                      <a:pt x="5" y="12"/>
                    </a:cubicBezTo>
                    <a:cubicBezTo>
                      <a:pt x="5" y="12"/>
                      <a:pt x="5" y="12"/>
                      <a:pt x="5" y="12"/>
                    </a:cubicBezTo>
                    <a:cubicBezTo>
                      <a:pt x="5" y="12"/>
                      <a:pt x="5" y="12"/>
                      <a:pt x="5" y="12"/>
                    </a:cubicBezTo>
                    <a:cubicBezTo>
                      <a:pt x="5" y="12"/>
                      <a:pt x="5" y="12"/>
                      <a:pt x="5" y="13"/>
                    </a:cubicBezTo>
                    <a:cubicBezTo>
                      <a:pt x="5" y="13"/>
                      <a:pt x="5" y="13"/>
                      <a:pt x="5" y="13"/>
                    </a:cubicBezTo>
                    <a:cubicBezTo>
                      <a:pt x="5" y="13"/>
                      <a:pt x="5" y="13"/>
                      <a:pt x="5" y="13"/>
                    </a:cubicBezTo>
                    <a:cubicBezTo>
                      <a:pt x="6" y="13"/>
                      <a:pt x="6" y="12"/>
                      <a:pt x="6" y="12"/>
                    </a:cubicBezTo>
                    <a:cubicBezTo>
                      <a:pt x="6" y="12"/>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5" y="13"/>
                      <a:pt x="5" y="14"/>
                    </a:cubicBezTo>
                    <a:cubicBezTo>
                      <a:pt x="5" y="14"/>
                      <a:pt x="5" y="14"/>
                      <a:pt x="5" y="14"/>
                    </a:cubicBezTo>
                    <a:cubicBezTo>
                      <a:pt x="5" y="13"/>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3"/>
                      <a:pt x="5" y="13"/>
                      <a:pt x="5" y="13"/>
                    </a:cubicBezTo>
                    <a:cubicBezTo>
                      <a:pt x="5" y="13"/>
                      <a:pt x="5" y="13"/>
                      <a:pt x="5" y="13"/>
                    </a:cubicBezTo>
                    <a:cubicBezTo>
                      <a:pt x="5" y="13"/>
                      <a:pt x="5" y="13"/>
                      <a:pt x="5" y="13"/>
                    </a:cubicBezTo>
                    <a:cubicBezTo>
                      <a:pt x="5" y="13"/>
                      <a:pt x="5" y="13"/>
                      <a:pt x="5" y="13"/>
                    </a:cubicBezTo>
                    <a:cubicBezTo>
                      <a:pt x="4"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2"/>
                      <a:pt x="4" y="12"/>
                      <a:pt x="4" y="12"/>
                    </a:cubicBezTo>
                    <a:cubicBezTo>
                      <a:pt x="4" y="12"/>
                      <a:pt x="5" y="12"/>
                      <a:pt x="5" y="12"/>
                    </a:cubicBezTo>
                    <a:cubicBezTo>
                      <a:pt x="5" y="12"/>
                      <a:pt x="5" y="12"/>
                      <a:pt x="5" y="12"/>
                    </a:cubicBezTo>
                    <a:cubicBezTo>
                      <a:pt x="5" y="12"/>
                      <a:pt x="5" y="12"/>
                      <a:pt x="5" y="12"/>
                    </a:cubicBezTo>
                    <a:cubicBezTo>
                      <a:pt x="5"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3" y="12"/>
                      <a:pt x="3" y="12"/>
                      <a:pt x="3" y="12"/>
                    </a:cubicBezTo>
                    <a:cubicBezTo>
                      <a:pt x="3" y="12"/>
                      <a:pt x="3" y="12"/>
                      <a:pt x="4" y="12"/>
                    </a:cubicBezTo>
                    <a:cubicBezTo>
                      <a:pt x="4" y="12"/>
                      <a:pt x="4" y="12"/>
                      <a:pt x="4" y="12"/>
                    </a:cubicBezTo>
                    <a:cubicBezTo>
                      <a:pt x="4" y="12"/>
                      <a:pt x="4" y="12"/>
                      <a:pt x="4" y="12"/>
                    </a:cubicBezTo>
                    <a:cubicBezTo>
                      <a:pt x="4" y="12"/>
                      <a:pt x="4" y="12"/>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3" y="13"/>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2" y="12"/>
                    </a:cubicBezTo>
                    <a:cubicBezTo>
                      <a:pt x="2" y="12"/>
                      <a:pt x="2" y="12"/>
                      <a:pt x="2" y="12"/>
                    </a:cubicBezTo>
                    <a:cubicBezTo>
                      <a:pt x="2" y="12"/>
                      <a:pt x="2" y="12"/>
                      <a:pt x="2" y="11"/>
                    </a:cubicBezTo>
                    <a:cubicBezTo>
                      <a:pt x="2" y="11"/>
                      <a:pt x="2" y="11"/>
                      <a:pt x="2" y="11"/>
                    </a:cubicBezTo>
                    <a:cubicBezTo>
                      <a:pt x="2" y="11"/>
                      <a:pt x="2" y="12"/>
                      <a:pt x="2" y="12"/>
                    </a:cubicBezTo>
                    <a:cubicBezTo>
                      <a:pt x="2" y="12"/>
                      <a:pt x="2" y="12"/>
                      <a:pt x="2" y="12"/>
                    </a:cubicBezTo>
                    <a:cubicBezTo>
                      <a:pt x="2" y="12"/>
                      <a:pt x="2" y="12"/>
                      <a:pt x="2" y="12"/>
                    </a:cubicBezTo>
                    <a:cubicBezTo>
                      <a:pt x="2" y="12"/>
                      <a:pt x="2"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4" y="12"/>
                      <a:pt x="4" y="12"/>
                    </a:cubicBezTo>
                    <a:cubicBezTo>
                      <a:pt x="4" y="12"/>
                      <a:pt x="3" y="12"/>
                      <a:pt x="3" y="12"/>
                    </a:cubicBezTo>
                    <a:cubicBezTo>
                      <a:pt x="3" y="12"/>
                      <a:pt x="3" y="12"/>
                      <a:pt x="3" y="12"/>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3" y="11"/>
                    </a:cubicBezTo>
                    <a:cubicBezTo>
                      <a:pt x="3" y="11"/>
                      <a:pt x="3" y="10"/>
                      <a:pt x="3" y="10"/>
                    </a:cubicBezTo>
                    <a:cubicBezTo>
                      <a:pt x="3" y="10"/>
                      <a:pt x="3" y="10"/>
                      <a:pt x="4" y="10"/>
                    </a:cubicBezTo>
                    <a:cubicBezTo>
                      <a:pt x="4" y="10"/>
                      <a:pt x="4" y="10"/>
                      <a:pt x="4" y="10"/>
                    </a:cubicBezTo>
                    <a:cubicBezTo>
                      <a:pt x="4" y="10"/>
                      <a:pt x="4" y="10"/>
                      <a:pt x="4" y="10"/>
                    </a:cubicBezTo>
                    <a:cubicBezTo>
                      <a:pt x="4" y="10"/>
                      <a:pt x="4" y="10"/>
                      <a:pt x="4" y="10"/>
                    </a:cubicBezTo>
                    <a:cubicBezTo>
                      <a:pt x="4" y="11"/>
                      <a:pt x="4" y="10"/>
                      <a:pt x="4" y="10"/>
                    </a:cubicBezTo>
                    <a:cubicBezTo>
                      <a:pt x="4" y="10"/>
                      <a:pt x="4" y="10"/>
                      <a:pt x="4" y="10"/>
                    </a:cubicBezTo>
                    <a:cubicBezTo>
                      <a:pt x="4" y="10"/>
                      <a:pt x="4" y="10"/>
                      <a:pt x="4" y="10"/>
                    </a:cubicBezTo>
                    <a:cubicBezTo>
                      <a:pt x="4" y="10"/>
                      <a:pt x="4" y="10"/>
                      <a:pt x="4" y="10"/>
                    </a:cubicBezTo>
                    <a:cubicBezTo>
                      <a:pt x="4" y="10"/>
                      <a:pt x="4" y="10"/>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4" y="11"/>
                      <a:pt x="4" y="11"/>
                      <a:pt x="4" y="11"/>
                    </a:cubicBezTo>
                    <a:cubicBezTo>
                      <a:pt x="4" y="11"/>
                      <a:pt x="4" y="11"/>
                      <a:pt x="5" y="11"/>
                    </a:cubicBezTo>
                    <a:cubicBezTo>
                      <a:pt x="5" y="11"/>
                      <a:pt x="5" y="11"/>
                      <a:pt x="5" y="11"/>
                    </a:cubicBezTo>
                    <a:cubicBezTo>
                      <a:pt x="5" y="11"/>
                      <a:pt x="5" y="11"/>
                      <a:pt x="5" y="11"/>
                    </a:cubicBezTo>
                    <a:cubicBezTo>
                      <a:pt x="5" y="11"/>
                      <a:pt x="5" y="11"/>
                      <a:pt x="5" y="11"/>
                    </a:cubicBezTo>
                    <a:cubicBezTo>
                      <a:pt x="5" y="11"/>
                      <a:pt x="5" y="11"/>
                      <a:pt x="5" y="11"/>
                    </a:cubicBezTo>
                    <a:cubicBezTo>
                      <a:pt x="4"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7" y="10"/>
                      <a:pt x="7"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8"/>
                      <a:pt x="6" y="8"/>
                      <a:pt x="6" y="8"/>
                    </a:cubicBezTo>
                    <a:cubicBezTo>
                      <a:pt x="6" y="8"/>
                      <a:pt x="6" y="8"/>
                      <a:pt x="6" y="8"/>
                    </a:cubicBezTo>
                    <a:cubicBezTo>
                      <a:pt x="6" y="8"/>
                      <a:pt x="6" y="8"/>
                      <a:pt x="6" y="9"/>
                    </a:cubicBezTo>
                    <a:cubicBezTo>
                      <a:pt x="6" y="9"/>
                      <a:pt x="6" y="8"/>
                      <a:pt x="6" y="8"/>
                    </a:cubicBezTo>
                    <a:cubicBezTo>
                      <a:pt x="6" y="8"/>
                      <a:pt x="6" y="8"/>
                      <a:pt x="6" y="8"/>
                    </a:cubicBezTo>
                    <a:cubicBezTo>
                      <a:pt x="6" y="8"/>
                      <a:pt x="6"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9"/>
                    </a:cubicBezTo>
                    <a:cubicBezTo>
                      <a:pt x="7" y="9"/>
                      <a:pt x="7" y="9"/>
                      <a:pt x="7" y="9"/>
                    </a:cubicBezTo>
                    <a:cubicBezTo>
                      <a:pt x="7" y="8"/>
                      <a:pt x="7" y="9"/>
                      <a:pt x="7" y="9"/>
                    </a:cubicBezTo>
                    <a:cubicBezTo>
                      <a:pt x="6" y="9"/>
                      <a:pt x="6" y="9"/>
                      <a:pt x="6" y="9"/>
                    </a:cubicBezTo>
                    <a:cubicBezTo>
                      <a:pt x="6"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8" y="8"/>
                      <a:pt x="8" y="8"/>
                      <a:pt x="8" y="8"/>
                    </a:cubicBezTo>
                    <a:cubicBezTo>
                      <a:pt x="8" y="8"/>
                      <a:pt x="8" y="8"/>
                      <a:pt x="8" y="8"/>
                    </a:cubicBezTo>
                    <a:cubicBezTo>
                      <a:pt x="8" y="8"/>
                      <a:pt x="8" y="8"/>
                      <a:pt x="7"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7"/>
                      <a:pt x="8" y="7"/>
                    </a:cubicBezTo>
                    <a:cubicBezTo>
                      <a:pt x="8" y="8"/>
                      <a:pt x="8" y="7"/>
                      <a:pt x="8" y="7"/>
                    </a:cubicBezTo>
                    <a:cubicBezTo>
                      <a:pt x="8" y="7"/>
                      <a:pt x="8" y="7"/>
                      <a:pt x="8" y="8"/>
                    </a:cubicBezTo>
                    <a:cubicBezTo>
                      <a:pt x="7" y="8"/>
                      <a:pt x="7" y="8"/>
                      <a:pt x="7" y="8"/>
                    </a:cubicBezTo>
                    <a:cubicBezTo>
                      <a:pt x="7" y="8"/>
                      <a:pt x="7" y="8"/>
                      <a:pt x="7" y="8"/>
                    </a:cubicBezTo>
                    <a:cubicBezTo>
                      <a:pt x="7" y="8"/>
                      <a:pt x="7" y="8"/>
                      <a:pt x="7" y="7"/>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9"/>
                      <a:pt x="5" y="9"/>
                      <a:pt x="6" y="9"/>
                    </a:cubicBezTo>
                    <a:cubicBezTo>
                      <a:pt x="6" y="9"/>
                      <a:pt x="6" y="9"/>
                      <a:pt x="6" y="9"/>
                    </a:cubicBezTo>
                    <a:cubicBezTo>
                      <a:pt x="6" y="9"/>
                      <a:pt x="6" y="9"/>
                      <a:pt x="6" y="9"/>
                    </a:cubicBezTo>
                    <a:cubicBezTo>
                      <a:pt x="6" y="9"/>
                      <a:pt x="6" y="8"/>
                      <a:pt x="6" y="9"/>
                    </a:cubicBezTo>
                    <a:cubicBezTo>
                      <a:pt x="6" y="9"/>
                      <a:pt x="6" y="9"/>
                      <a:pt x="6" y="9"/>
                    </a:cubicBezTo>
                    <a:cubicBezTo>
                      <a:pt x="6" y="9"/>
                      <a:pt x="6" y="9"/>
                      <a:pt x="6" y="9"/>
                    </a:cubicBezTo>
                    <a:cubicBezTo>
                      <a:pt x="6" y="9"/>
                      <a:pt x="6" y="9"/>
                      <a:pt x="6" y="9"/>
                    </a:cubicBezTo>
                    <a:cubicBezTo>
                      <a:pt x="6" y="9"/>
                      <a:pt x="6" y="9"/>
                      <a:pt x="6"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8"/>
                      <a:pt x="6" y="8"/>
                      <a:pt x="6" y="8"/>
                    </a:cubicBezTo>
                    <a:cubicBezTo>
                      <a:pt x="6" y="8"/>
                      <a:pt x="6" y="8"/>
                      <a:pt x="6" y="8"/>
                    </a:cubicBezTo>
                    <a:cubicBezTo>
                      <a:pt x="6" y="8"/>
                      <a:pt x="6" y="7"/>
                      <a:pt x="6" y="7"/>
                    </a:cubicBezTo>
                    <a:cubicBezTo>
                      <a:pt x="6"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9" y="8"/>
                    </a:cubicBezTo>
                    <a:cubicBezTo>
                      <a:pt x="9" y="8"/>
                      <a:pt x="9" y="8"/>
                      <a:pt x="9" y="8"/>
                    </a:cubicBezTo>
                    <a:cubicBezTo>
                      <a:pt x="9" y="8"/>
                      <a:pt x="9" y="8"/>
                      <a:pt x="9" y="8"/>
                    </a:cubicBezTo>
                    <a:cubicBezTo>
                      <a:pt x="9" y="8"/>
                      <a:pt x="9" y="8"/>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6" y="5"/>
                      <a:pt x="6" y="5"/>
                      <a:pt x="7" y="5"/>
                    </a:cubicBezTo>
                    <a:cubicBezTo>
                      <a:pt x="7" y="5"/>
                      <a:pt x="7" y="5"/>
                      <a:pt x="7" y="5"/>
                    </a:cubicBezTo>
                    <a:cubicBezTo>
                      <a:pt x="7" y="5"/>
                      <a:pt x="7" y="5"/>
                      <a:pt x="7" y="5"/>
                    </a:cubicBezTo>
                    <a:cubicBezTo>
                      <a:pt x="7"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3"/>
                      <a:pt x="5" y="3"/>
                    </a:cubicBezTo>
                    <a:cubicBezTo>
                      <a:pt x="5" y="3"/>
                      <a:pt x="5" y="4"/>
                      <a:pt x="5" y="4"/>
                    </a:cubicBezTo>
                    <a:cubicBezTo>
                      <a:pt x="5" y="4"/>
                      <a:pt x="5" y="4"/>
                      <a:pt x="5" y="4"/>
                    </a:cubicBezTo>
                    <a:cubicBezTo>
                      <a:pt x="5" y="4"/>
                      <a:pt x="5" y="4"/>
                      <a:pt x="5" y="4"/>
                    </a:cubicBezTo>
                    <a:cubicBezTo>
                      <a:pt x="5" y="4"/>
                      <a:pt x="5" y="4"/>
                      <a:pt x="5" y="4"/>
                    </a:cubicBezTo>
                    <a:cubicBezTo>
                      <a:pt x="6" y="4"/>
                      <a:pt x="6" y="4"/>
                      <a:pt x="6" y="4"/>
                    </a:cubicBezTo>
                    <a:cubicBezTo>
                      <a:pt x="6" y="4"/>
                      <a:pt x="6" y="4"/>
                      <a:pt x="6" y="4"/>
                    </a:cubicBezTo>
                    <a:cubicBezTo>
                      <a:pt x="6" y="4"/>
                      <a:pt x="7" y="4"/>
                      <a:pt x="7" y="4"/>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10" y="4"/>
                      <a:pt x="9" y="4"/>
                    </a:cubicBezTo>
                    <a:cubicBezTo>
                      <a:pt x="9"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5"/>
                    </a:cubicBezTo>
                    <a:cubicBezTo>
                      <a:pt x="11" y="5"/>
                      <a:pt x="11" y="5"/>
                      <a:pt x="11" y="5"/>
                    </a:cubicBezTo>
                    <a:cubicBezTo>
                      <a:pt x="11" y="5"/>
                      <a:pt x="11" y="5"/>
                      <a:pt x="11" y="4"/>
                    </a:cubicBezTo>
                    <a:cubicBezTo>
                      <a:pt x="11" y="5"/>
                      <a:pt x="11" y="4"/>
                      <a:pt x="11" y="4"/>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2" y="5"/>
                    </a:cubicBezTo>
                    <a:cubicBezTo>
                      <a:pt x="12" y="5"/>
                      <a:pt x="12" y="5"/>
                      <a:pt x="12" y="5"/>
                    </a:cubicBezTo>
                    <a:cubicBezTo>
                      <a:pt x="12" y="5"/>
                      <a:pt x="12" y="5"/>
                      <a:pt x="12" y="5"/>
                    </a:cubicBezTo>
                    <a:cubicBezTo>
                      <a:pt x="12" y="5"/>
                      <a:pt x="12" y="5"/>
                      <a:pt x="12" y="5"/>
                    </a:cubicBezTo>
                    <a:cubicBezTo>
                      <a:pt x="12" y="5"/>
                      <a:pt x="12" y="4"/>
                      <a:pt x="12" y="5"/>
                    </a:cubicBezTo>
                    <a:cubicBezTo>
                      <a:pt x="12" y="5"/>
                      <a:pt x="12"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5"/>
                      <a:pt x="12" y="5"/>
                      <a:pt x="12" y="5"/>
                    </a:cubicBezTo>
                    <a:cubicBezTo>
                      <a:pt x="12" y="5"/>
                      <a:pt x="12" y="5"/>
                      <a:pt x="12" y="5"/>
                    </a:cubicBezTo>
                    <a:cubicBezTo>
                      <a:pt x="12" y="5"/>
                      <a:pt x="12" y="5"/>
                      <a:pt x="12" y="5"/>
                    </a:cubicBezTo>
                    <a:cubicBezTo>
                      <a:pt x="12" y="5"/>
                      <a:pt x="12" y="5"/>
                      <a:pt x="12" y="5"/>
                    </a:cubicBezTo>
                    <a:cubicBezTo>
                      <a:pt x="12" y="5"/>
                      <a:pt x="12"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4" y="5"/>
                      <a:pt x="14" y="5"/>
                    </a:cubicBezTo>
                    <a:cubicBezTo>
                      <a:pt x="14" y="5"/>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4" y="4"/>
                    </a:cubicBezTo>
                    <a:cubicBezTo>
                      <a:pt x="14" y="4"/>
                      <a:pt x="13" y="4"/>
                      <a:pt x="13" y="4"/>
                    </a:cubicBezTo>
                    <a:cubicBezTo>
                      <a:pt x="14" y="4"/>
                      <a:pt x="13" y="4"/>
                      <a:pt x="13" y="4"/>
                    </a:cubicBezTo>
                    <a:cubicBezTo>
                      <a:pt x="13" y="4"/>
                      <a:pt x="13" y="3"/>
                      <a:pt x="13" y="3"/>
                    </a:cubicBezTo>
                    <a:cubicBezTo>
                      <a:pt x="13" y="3"/>
                      <a:pt x="13"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5" y="5"/>
                    </a:cubicBezTo>
                    <a:cubicBezTo>
                      <a:pt x="15" y="5"/>
                      <a:pt x="15" y="5"/>
                      <a:pt x="15" y="5"/>
                    </a:cubicBezTo>
                    <a:cubicBezTo>
                      <a:pt x="15" y="5"/>
                      <a:pt x="15" y="5"/>
                      <a:pt x="15" y="5"/>
                    </a:cubicBezTo>
                    <a:cubicBezTo>
                      <a:pt x="15" y="5"/>
                      <a:pt x="15" y="5"/>
                      <a:pt x="14" y="5"/>
                    </a:cubicBezTo>
                    <a:cubicBezTo>
                      <a:pt x="14" y="5"/>
                      <a:pt x="14" y="5"/>
                      <a:pt x="14" y="5"/>
                    </a:cubicBezTo>
                    <a:cubicBezTo>
                      <a:pt x="14" y="5"/>
                      <a:pt x="14" y="5"/>
                      <a:pt x="14" y="5"/>
                    </a:cubicBezTo>
                    <a:cubicBezTo>
                      <a:pt x="14" y="5"/>
                      <a:pt x="14" y="6"/>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6"/>
                      <a:pt x="14" y="6"/>
                    </a:cubicBezTo>
                    <a:cubicBezTo>
                      <a:pt x="14" y="6"/>
                      <a:pt x="14" y="6"/>
                      <a:pt x="14" y="6"/>
                    </a:cubicBezTo>
                    <a:cubicBezTo>
                      <a:pt x="14" y="6"/>
                      <a:pt x="14" y="6"/>
                      <a:pt x="14" y="6"/>
                    </a:cubicBezTo>
                    <a:cubicBezTo>
                      <a:pt x="14" y="6"/>
                      <a:pt x="14" y="6"/>
                      <a:pt x="14" y="6"/>
                    </a:cubicBezTo>
                    <a:cubicBezTo>
                      <a:pt x="14" y="6"/>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6"/>
                      <a:pt x="13" y="7"/>
                      <a:pt x="13" y="7"/>
                    </a:cubicBezTo>
                    <a:cubicBezTo>
                      <a:pt x="13"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lose/>
                    <a:moveTo>
                      <a:pt x="2" y="10"/>
                    </a:move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1" y="10"/>
                      <a:pt x="1" y="10"/>
                      <a:pt x="1" y="10"/>
                    </a:cubicBezTo>
                    <a:cubicBezTo>
                      <a:pt x="1" y="10"/>
                      <a:pt x="2" y="10"/>
                      <a:pt x="2" y="10"/>
                    </a:cubicBezTo>
                    <a:cubicBezTo>
                      <a:pt x="1" y="10"/>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8"/>
                      <a:pt x="2" y="8"/>
                      <a:pt x="2" y="8"/>
                    </a:cubicBezTo>
                    <a:cubicBezTo>
                      <a:pt x="2" y="8"/>
                      <a:pt x="2" y="8"/>
                      <a:pt x="2" y="8"/>
                    </a:cubicBezTo>
                    <a:cubicBezTo>
                      <a:pt x="2" y="8"/>
                      <a:pt x="2" y="8"/>
                      <a:pt x="2"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lose/>
                    <a:moveTo>
                      <a:pt x="11" y="3"/>
                    </a:move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3"/>
                      <a:pt x="11" y="3"/>
                      <a:pt x="11" y="3"/>
                    </a:cubicBezTo>
                    <a:cubicBezTo>
                      <a:pt x="11" y="3"/>
                      <a:pt x="11"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4"/>
                      <a:pt x="13" y="4"/>
                    </a:cubicBezTo>
                    <a:cubicBezTo>
                      <a:pt x="13" y="4"/>
                      <a:pt x="13" y="4"/>
                      <a:pt x="13" y="4"/>
                    </a:cubicBezTo>
                    <a:cubicBezTo>
                      <a:pt x="13" y="3"/>
                      <a:pt x="13" y="3"/>
                      <a:pt x="13" y="4"/>
                    </a:cubicBezTo>
                    <a:cubicBezTo>
                      <a:pt x="13" y="4"/>
                      <a:pt x="13" y="4"/>
                      <a:pt x="13" y="4"/>
                    </a:cubicBezTo>
                    <a:cubicBezTo>
                      <a:pt x="13" y="3"/>
                      <a:pt x="13" y="3"/>
                      <a:pt x="13"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lose/>
                    <a:moveTo>
                      <a:pt x="21"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1"/>
                    </a:cubicBezTo>
                    <a:cubicBezTo>
                      <a:pt x="20" y="11"/>
                      <a:pt x="20" y="11"/>
                      <a:pt x="20" y="11"/>
                    </a:cubicBezTo>
                    <a:cubicBezTo>
                      <a:pt x="20" y="11"/>
                      <a:pt x="20" y="11"/>
                      <a:pt x="20" y="11"/>
                    </a:cubicBezTo>
                    <a:cubicBezTo>
                      <a:pt x="20" y="11"/>
                      <a:pt x="20" y="11"/>
                      <a:pt x="19" y="11"/>
                    </a:cubicBezTo>
                    <a:cubicBezTo>
                      <a:pt x="19" y="11"/>
                      <a:pt x="19"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1" y="11"/>
                      <a:pt x="21" y="11"/>
                    </a:cubicBezTo>
                    <a:close/>
                    <a:moveTo>
                      <a:pt x="12" y="13"/>
                    </a:moveTo>
                    <a:cubicBezTo>
                      <a:pt x="11" y="13"/>
                      <a:pt x="12" y="13"/>
                      <a:pt x="12" y="13"/>
                    </a:cubicBezTo>
                    <a:cubicBezTo>
                      <a:pt x="12" y="13"/>
                      <a:pt x="12" y="13"/>
                      <a:pt x="12" y="13"/>
                    </a:cubicBezTo>
                    <a:cubicBezTo>
                      <a:pt x="12" y="13"/>
                      <a:pt x="12" y="14"/>
                      <a:pt x="12" y="14"/>
                    </a:cubicBezTo>
                    <a:cubicBezTo>
                      <a:pt x="12"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2"/>
                    </a:cubicBezTo>
                    <a:cubicBezTo>
                      <a:pt x="11" y="12"/>
                      <a:pt x="11" y="12"/>
                      <a:pt x="11" y="12"/>
                    </a:cubicBezTo>
                    <a:cubicBezTo>
                      <a:pt x="11" y="13"/>
                      <a:pt x="11" y="13"/>
                      <a:pt x="11" y="13"/>
                    </a:cubicBezTo>
                    <a:cubicBezTo>
                      <a:pt x="11" y="13"/>
                      <a:pt x="11" y="13"/>
                      <a:pt x="11" y="13"/>
                    </a:cubicBezTo>
                    <a:cubicBezTo>
                      <a:pt x="11" y="13"/>
                      <a:pt x="11" y="13"/>
                      <a:pt x="11" y="13"/>
                    </a:cubicBezTo>
                    <a:cubicBezTo>
                      <a:pt x="12" y="13"/>
                      <a:pt x="12" y="13"/>
                      <a:pt x="12" y="13"/>
                    </a:cubicBezTo>
                    <a:cubicBezTo>
                      <a:pt x="12" y="13"/>
                      <a:pt x="12" y="13"/>
                      <a:pt x="12" y="13"/>
                    </a:cubicBezTo>
                    <a:close/>
                    <a:moveTo>
                      <a:pt x="9" y="3"/>
                    </a:move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4"/>
                      <a:pt x="10" y="4"/>
                      <a:pt x="10" y="4"/>
                    </a:cubicBezTo>
                    <a:cubicBezTo>
                      <a:pt x="9" y="4"/>
                      <a:pt x="9" y="3"/>
                      <a:pt x="9" y="3"/>
                    </a:cubicBezTo>
                    <a:cubicBezTo>
                      <a:pt x="9" y="3"/>
                      <a:pt x="9" y="3"/>
                      <a:pt x="9" y="3"/>
                    </a:cubicBezTo>
                    <a:close/>
                    <a:moveTo>
                      <a:pt x="1" y="9"/>
                    </a:moveTo>
                    <a:cubicBezTo>
                      <a:pt x="1" y="9"/>
                      <a:pt x="1" y="9"/>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lose/>
                    <a:moveTo>
                      <a:pt x="11" y="15"/>
                    </a:move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2" y="14"/>
                      <a:pt x="12" y="14"/>
                      <a:pt x="12" y="14"/>
                    </a:cubicBezTo>
                    <a:cubicBezTo>
                      <a:pt x="12" y="14"/>
                      <a:pt x="12" y="14"/>
                      <a:pt x="11" y="14"/>
                    </a:cubicBezTo>
                    <a:cubicBezTo>
                      <a:pt x="11" y="14"/>
                      <a:pt x="11" y="14"/>
                      <a:pt x="11" y="14"/>
                    </a:cubicBezTo>
                    <a:cubicBezTo>
                      <a:pt x="11" y="14"/>
                      <a:pt x="11" y="14"/>
                      <a:pt x="11" y="15"/>
                    </a:cubicBezTo>
                    <a:cubicBezTo>
                      <a:pt x="11" y="15"/>
                      <a:pt x="11" y="15"/>
                      <a:pt x="11" y="15"/>
                    </a:cubicBezTo>
                    <a:cubicBezTo>
                      <a:pt x="11" y="15"/>
                      <a:pt x="11" y="15"/>
                      <a:pt x="11" y="15"/>
                    </a:cubicBezTo>
                    <a:cubicBezTo>
                      <a:pt x="11" y="15"/>
                      <a:pt x="11" y="15"/>
                      <a:pt x="11" y="15"/>
                    </a:cubicBezTo>
                    <a:close/>
                    <a:moveTo>
                      <a:pt x="17" y="13"/>
                    </a:moveTo>
                    <a:cubicBezTo>
                      <a:pt x="17" y="13"/>
                      <a:pt x="17" y="13"/>
                      <a:pt x="18" y="13"/>
                    </a:cubicBezTo>
                    <a:cubicBezTo>
                      <a:pt x="18" y="13"/>
                      <a:pt x="18" y="13"/>
                      <a:pt x="17" y="13"/>
                    </a:cubicBezTo>
                    <a:cubicBezTo>
                      <a:pt x="17" y="13"/>
                      <a:pt x="17"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4"/>
                      <a:pt x="17" y="14"/>
                    </a:cubicBezTo>
                    <a:cubicBezTo>
                      <a:pt x="17" y="14"/>
                      <a:pt x="17"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7" y="13"/>
                      <a:pt x="17" y="14"/>
                    </a:cubicBezTo>
                    <a:cubicBezTo>
                      <a:pt x="17" y="14"/>
                      <a:pt x="17" y="14"/>
                      <a:pt x="17" y="14"/>
                    </a:cubicBezTo>
                    <a:cubicBezTo>
                      <a:pt x="17" y="14"/>
                      <a:pt x="17" y="13"/>
                      <a:pt x="17" y="13"/>
                    </a:cubicBezTo>
                    <a:cubicBezTo>
                      <a:pt x="17" y="14"/>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lose/>
                    <a:moveTo>
                      <a:pt x="0" y="8"/>
                    </a:moveTo>
                    <a:cubicBezTo>
                      <a:pt x="0" y="7"/>
                      <a:pt x="0" y="7"/>
                      <a:pt x="0" y="7"/>
                    </a:cubicBezTo>
                    <a:cubicBezTo>
                      <a:pt x="0" y="7"/>
                      <a:pt x="0" y="7"/>
                      <a:pt x="0" y="7"/>
                    </a:cubicBezTo>
                    <a:cubicBezTo>
                      <a:pt x="0" y="7"/>
                      <a:pt x="0" y="7"/>
                      <a:pt x="0" y="7"/>
                    </a:cubicBezTo>
                    <a:cubicBezTo>
                      <a:pt x="0" y="7"/>
                      <a:pt x="0" y="7"/>
                      <a:pt x="0" y="7"/>
                    </a:cubicBezTo>
                    <a:cubicBezTo>
                      <a:pt x="0" y="7"/>
                      <a:pt x="1" y="7"/>
                      <a:pt x="1" y="7"/>
                    </a:cubicBezTo>
                    <a:cubicBezTo>
                      <a:pt x="1" y="7"/>
                      <a:pt x="0"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8"/>
                    </a:cubicBezTo>
                    <a:cubicBezTo>
                      <a:pt x="1" y="8"/>
                      <a:pt x="1" y="8"/>
                      <a:pt x="1" y="8"/>
                    </a:cubicBezTo>
                    <a:cubicBezTo>
                      <a:pt x="1" y="7"/>
                      <a:pt x="1" y="8"/>
                      <a:pt x="1" y="7"/>
                    </a:cubicBezTo>
                    <a:cubicBezTo>
                      <a:pt x="1" y="8"/>
                      <a:pt x="1" y="8"/>
                      <a:pt x="1" y="8"/>
                    </a:cubicBezTo>
                    <a:cubicBezTo>
                      <a:pt x="1" y="8"/>
                      <a:pt x="1" y="8"/>
                      <a:pt x="1" y="8"/>
                    </a:cubicBezTo>
                    <a:cubicBezTo>
                      <a:pt x="1" y="8"/>
                      <a:pt x="1" y="8"/>
                      <a:pt x="1" y="8"/>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lose/>
                    <a:moveTo>
                      <a:pt x="5" y="2"/>
                    </a:moveTo>
                    <a:cubicBezTo>
                      <a:pt x="5" y="2"/>
                      <a:pt x="5" y="2"/>
                      <a:pt x="5" y="2"/>
                    </a:cubicBezTo>
                    <a:cubicBezTo>
                      <a:pt x="5" y="2"/>
                      <a:pt x="5" y="2"/>
                      <a:pt x="5" y="2"/>
                    </a:cubicBezTo>
                    <a:cubicBezTo>
                      <a:pt x="5" y="3"/>
                      <a:pt x="5" y="3"/>
                      <a:pt x="5"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lose/>
                    <a:moveTo>
                      <a:pt x="11" y="4"/>
                    </a:move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3"/>
                      <a:pt x="11" y="3"/>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4"/>
                      <a:pt x="11" y="4"/>
                      <a:pt x="11" y="4"/>
                    </a:cubicBezTo>
                    <a:cubicBezTo>
                      <a:pt x="11" y="4"/>
                      <a:pt x="11" y="4"/>
                      <a:pt x="11" y="4"/>
                    </a:cubicBezTo>
                    <a:close/>
                    <a:moveTo>
                      <a:pt x="3" y="11"/>
                    </a:move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0"/>
                      <a:pt x="3" y="10"/>
                      <a:pt x="3" y="10"/>
                    </a:cubicBezTo>
                    <a:cubicBezTo>
                      <a:pt x="3" y="11"/>
                      <a:pt x="3" y="11"/>
                      <a:pt x="3" y="11"/>
                    </a:cubicBezTo>
                    <a:cubicBezTo>
                      <a:pt x="3" y="11"/>
                      <a:pt x="3" y="11"/>
                      <a:pt x="3" y="11"/>
                    </a:cubicBezTo>
                    <a:close/>
                    <a:moveTo>
                      <a:pt x="1" y="0"/>
                    </a:moveTo>
                    <a:cubicBezTo>
                      <a:pt x="2" y="0"/>
                      <a:pt x="2" y="0"/>
                      <a:pt x="2" y="0"/>
                    </a:cubicBezTo>
                    <a:cubicBezTo>
                      <a:pt x="2" y="0"/>
                      <a:pt x="2" y="0"/>
                      <a:pt x="2" y="0"/>
                    </a:cubicBezTo>
                    <a:cubicBezTo>
                      <a:pt x="2" y="0"/>
                      <a:pt x="2"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1"/>
                    </a:cubicBezTo>
                    <a:cubicBezTo>
                      <a:pt x="2" y="0"/>
                      <a:pt x="2" y="1"/>
                      <a:pt x="2" y="1"/>
                    </a:cubicBezTo>
                    <a:cubicBezTo>
                      <a:pt x="2" y="0"/>
                      <a:pt x="2" y="0"/>
                      <a:pt x="2" y="0"/>
                    </a:cubicBezTo>
                    <a:cubicBezTo>
                      <a:pt x="2" y="0"/>
                      <a:pt x="2" y="0"/>
                      <a:pt x="2" y="0"/>
                    </a:cubicBezTo>
                    <a:cubicBezTo>
                      <a:pt x="1" y="0"/>
                      <a:pt x="2" y="0"/>
                      <a:pt x="1" y="0"/>
                    </a:cubicBezTo>
                    <a:cubicBezTo>
                      <a:pt x="1" y="0"/>
                      <a:pt x="1" y="0"/>
                      <a:pt x="1" y="0"/>
                    </a:cubicBezTo>
                    <a:close/>
                    <a:moveTo>
                      <a:pt x="13" y="8"/>
                    </a:moveTo>
                    <a:cubicBezTo>
                      <a:pt x="12" y="8"/>
                      <a:pt x="12" y="8"/>
                      <a:pt x="12" y="9"/>
                    </a:cubicBezTo>
                    <a:cubicBezTo>
                      <a:pt x="12" y="9"/>
                      <a:pt x="12" y="9"/>
                      <a:pt x="12" y="9"/>
                    </a:cubicBezTo>
                    <a:cubicBezTo>
                      <a:pt x="12" y="9"/>
                      <a:pt x="12" y="9"/>
                      <a:pt x="12" y="9"/>
                    </a:cubicBezTo>
                    <a:cubicBezTo>
                      <a:pt x="12" y="9"/>
                      <a:pt x="12" y="9"/>
                      <a:pt x="12" y="9"/>
                    </a:cubicBezTo>
                    <a:cubicBezTo>
                      <a:pt x="12" y="9"/>
                      <a:pt x="12" y="9"/>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8"/>
                      <a:pt x="13" y="8"/>
                    </a:cubicBezTo>
                    <a:close/>
                    <a:moveTo>
                      <a:pt x="12" y="11"/>
                    </a:moveTo>
                    <a:cubicBezTo>
                      <a:pt x="12" y="11"/>
                      <a:pt x="12" y="11"/>
                      <a:pt x="12" y="11"/>
                    </a:cubicBezTo>
                    <a:cubicBezTo>
                      <a:pt x="12" y="11"/>
                      <a:pt x="11" y="11"/>
                      <a:pt x="11" y="11"/>
                    </a:cubicBezTo>
                    <a:cubicBezTo>
                      <a:pt x="11" y="11"/>
                      <a:pt x="11" y="11"/>
                      <a:pt x="11" y="11"/>
                    </a:cubicBezTo>
                    <a:cubicBezTo>
                      <a:pt x="11" y="11"/>
                      <a:pt x="11" y="11"/>
                      <a:pt x="11" y="11"/>
                    </a:cubicBezTo>
                    <a:cubicBezTo>
                      <a:pt x="11" y="10"/>
                      <a:pt x="11" y="10"/>
                      <a:pt x="11" y="10"/>
                    </a:cubicBezTo>
                    <a:cubicBezTo>
                      <a:pt x="11" y="10"/>
                      <a:pt x="11" y="10"/>
                      <a:pt x="11" y="10"/>
                    </a:cubicBezTo>
                    <a:cubicBezTo>
                      <a:pt x="11" y="10"/>
                      <a:pt x="11" y="10"/>
                      <a:pt x="11" y="10"/>
                    </a:cubicBezTo>
                    <a:cubicBezTo>
                      <a:pt x="12" y="10"/>
                      <a:pt x="12" y="10"/>
                      <a:pt x="12" y="10"/>
                    </a:cubicBezTo>
                    <a:cubicBezTo>
                      <a:pt x="12" y="10"/>
                      <a:pt x="12" y="10"/>
                      <a:pt x="12" y="10"/>
                    </a:cubicBezTo>
                    <a:cubicBezTo>
                      <a:pt x="12" y="10"/>
                      <a:pt x="11" y="10"/>
                      <a:pt x="11" y="10"/>
                    </a:cubicBezTo>
                    <a:cubicBezTo>
                      <a:pt x="11" y="10"/>
                      <a:pt x="11" y="10"/>
                      <a:pt x="12" y="10"/>
                    </a:cubicBezTo>
                    <a:cubicBezTo>
                      <a:pt x="12" y="10"/>
                      <a:pt x="12" y="10"/>
                      <a:pt x="12" y="11"/>
                    </a:cubicBezTo>
                    <a:cubicBezTo>
                      <a:pt x="12" y="11"/>
                      <a:pt x="12" y="11"/>
                      <a:pt x="12" y="11"/>
                    </a:cubicBezTo>
                    <a:close/>
                    <a:moveTo>
                      <a:pt x="4" y="4"/>
                    </a:moveTo>
                    <a:cubicBezTo>
                      <a:pt x="4" y="3"/>
                      <a:pt x="4" y="3"/>
                      <a:pt x="4" y="3"/>
                    </a:cubicBezTo>
                    <a:cubicBezTo>
                      <a:pt x="4" y="3"/>
                      <a:pt x="4" y="3"/>
                      <a:pt x="4" y="3"/>
                    </a:cubicBezTo>
                    <a:cubicBezTo>
                      <a:pt x="5" y="3"/>
                      <a:pt x="5" y="3"/>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4" y="4"/>
                      <a:pt x="4" y="4"/>
                    </a:cubicBezTo>
                    <a:cubicBezTo>
                      <a:pt x="4" y="4"/>
                      <a:pt x="4" y="4"/>
                      <a:pt x="4" y="4"/>
                    </a:cubicBezTo>
                    <a:cubicBezTo>
                      <a:pt x="4" y="4"/>
                      <a:pt x="4" y="4"/>
                      <a:pt x="4" y="4"/>
                    </a:cubicBezTo>
                    <a:close/>
                    <a:moveTo>
                      <a:pt x="12" y="15"/>
                    </a:moveTo>
                    <a:cubicBezTo>
                      <a:pt x="12" y="15"/>
                      <a:pt x="12" y="15"/>
                      <a:pt x="12" y="15"/>
                    </a:cubicBezTo>
                    <a:cubicBezTo>
                      <a:pt x="12" y="15"/>
                      <a:pt x="11" y="15"/>
                      <a:pt x="12" y="15"/>
                    </a:cubicBezTo>
                    <a:cubicBezTo>
                      <a:pt x="12"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2" y="15"/>
                      <a:pt x="12" y="15"/>
                    </a:cubicBezTo>
                    <a:cubicBezTo>
                      <a:pt x="12" y="15"/>
                      <a:pt x="12" y="15"/>
                      <a:pt x="12" y="15"/>
                    </a:cubicBezTo>
                    <a:cubicBezTo>
                      <a:pt x="12" y="15"/>
                      <a:pt x="12" y="15"/>
                      <a:pt x="12" y="15"/>
                    </a:cubicBezTo>
                    <a:cubicBezTo>
                      <a:pt x="12" y="15"/>
                      <a:pt x="12" y="15"/>
                      <a:pt x="12" y="15"/>
                    </a:cubicBezTo>
                    <a:close/>
                    <a:moveTo>
                      <a:pt x="7" y="3"/>
                    </a:moveTo>
                    <a:cubicBezTo>
                      <a:pt x="7" y="3"/>
                      <a:pt x="7" y="3"/>
                      <a:pt x="7" y="3"/>
                    </a:cubicBezTo>
                    <a:cubicBezTo>
                      <a:pt x="7" y="3"/>
                      <a:pt x="7" y="3"/>
                      <a:pt x="7" y="3"/>
                    </a:cubicBezTo>
                    <a:cubicBezTo>
                      <a:pt x="7" y="3"/>
                      <a:pt x="7" y="3"/>
                      <a:pt x="7"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4"/>
                      <a:pt x="9" y="4"/>
                      <a:pt x="9" y="4"/>
                    </a:cubicBezTo>
                    <a:cubicBezTo>
                      <a:pt x="9" y="4"/>
                      <a:pt x="9" y="4"/>
                      <a:pt x="9" y="4"/>
                    </a:cubicBezTo>
                    <a:cubicBezTo>
                      <a:pt x="9" y="4"/>
                      <a:pt x="9" y="4"/>
                      <a:pt x="9" y="4"/>
                    </a:cubicBezTo>
                    <a:cubicBezTo>
                      <a:pt x="9" y="4"/>
                      <a:pt x="9"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8" y="4"/>
                    </a:cubicBezTo>
                    <a:cubicBezTo>
                      <a:pt x="8" y="4"/>
                      <a:pt x="8" y="4"/>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3"/>
                      <a:pt x="8" y="3"/>
                    </a:cubicBezTo>
                    <a:cubicBezTo>
                      <a:pt x="8" y="3"/>
                      <a:pt x="8" y="3"/>
                      <a:pt x="8" y="3"/>
                    </a:cubicBezTo>
                    <a:cubicBezTo>
                      <a:pt x="8" y="3"/>
                      <a:pt x="8" y="3"/>
                      <a:pt x="8" y="3"/>
                    </a:cubicBezTo>
                    <a:cubicBezTo>
                      <a:pt x="8" y="3"/>
                      <a:pt x="8" y="3"/>
                      <a:pt x="8" y="3"/>
                    </a:cubicBezTo>
                    <a:cubicBezTo>
                      <a:pt x="7" y="3"/>
                      <a:pt x="7" y="3"/>
                      <a:pt x="7" y="3"/>
                    </a:cubicBezTo>
                    <a:cubicBezTo>
                      <a:pt x="7" y="3"/>
                      <a:pt x="7" y="3"/>
                      <a:pt x="7" y="3"/>
                    </a:cubicBezTo>
                    <a:close/>
                    <a:moveTo>
                      <a:pt x="11" y="4"/>
                    </a:moveTo>
                    <a:cubicBezTo>
                      <a:pt x="11" y="4"/>
                      <a:pt x="11" y="4"/>
                      <a:pt x="11" y="4"/>
                    </a:cubicBezTo>
                    <a:cubicBezTo>
                      <a:pt x="11" y="4"/>
                      <a:pt x="11" y="4"/>
                      <a:pt x="11" y="4"/>
                    </a:cubicBezTo>
                    <a:cubicBezTo>
                      <a:pt x="12" y="4"/>
                      <a:pt x="12" y="4"/>
                      <a:pt x="12" y="4"/>
                    </a:cubicBezTo>
                    <a:cubicBezTo>
                      <a:pt x="12" y="4"/>
                      <a:pt x="12" y="4"/>
                      <a:pt x="12" y="4"/>
                    </a:cubicBezTo>
                    <a:cubicBezTo>
                      <a:pt x="11" y="4"/>
                      <a:pt x="11" y="4"/>
                      <a:pt x="11" y="4"/>
                    </a:cubicBezTo>
                    <a:cubicBezTo>
                      <a:pt x="11" y="4"/>
                      <a:pt x="11" y="4"/>
                      <a:pt x="11" y="4"/>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moveTo>
                      <a:pt x="5" y="7"/>
                    </a:moveTo>
                    <a:cubicBezTo>
                      <a:pt x="5" y="7"/>
                      <a:pt x="5" y="7"/>
                      <a:pt x="5" y="7"/>
                    </a:cubicBezTo>
                    <a:cubicBezTo>
                      <a:pt x="5" y="7"/>
                      <a:pt x="5" y="7"/>
                      <a:pt x="5" y="7"/>
                    </a:cubicBezTo>
                    <a:cubicBezTo>
                      <a:pt x="5" y="7"/>
                      <a:pt x="5" y="7"/>
                      <a:pt x="5" y="7"/>
                    </a:cubicBezTo>
                    <a:cubicBezTo>
                      <a:pt x="4" y="6"/>
                      <a:pt x="4" y="6"/>
                      <a:pt x="4" y="6"/>
                    </a:cubicBezTo>
                    <a:cubicBezTo>
                      <a:pt x="5" y="6"/>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lose/>
                    <a:moveTo>
                      <a:pt x="4" y="6"/>
                    </a:move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lose/>
                    <a:moveTo>
                      <a:pt x="11" y="3"/>
                    </a:moveTo>
                    <a:cubicBezTo>
                      <a:pt x="11" y="3"/>
                      <a:pt x="11" y="3"/>
                      <a:pt x="11" y="3"/>
                    </a:cubicBezTo>
                    <a:cubicBezTo>
                      <a:pt x="11" y="3"/>
                      <a:pt x="11" y="4"/>
                      <a:pt x="12" y="4"/>
                    </a:cubicBezTo>
                    <a:cubicBezTo>
                      <a:pt x="12" y="4"/>
                      <a:pt x="12" y="4"/>
                      <a:pt x="12" y="4"/>
                    </a:cubicBezTo>
                    <a:cubicBezTo>
                      <a:pt x="12" y="3"/>
                      <a:pt x="12" y="3"/>
                      <a:pt x="12" y="3"/>
                    </a:cubicBezTo>
                    <a:cubicBezTo>
                      <a:pt x="12" y="3"/>
                      <a:pt x="12" y="3"/>
                      <a:pt x="12" y="3"/>
                    </a:cubicBezTo>
                    <a:cubicBezTo>
                      <a:pt x="12" y="3"/>
                      <a:pt x="12" y="3"/>
                      <a:pt x="12" y="4"/>
                    </a:cubicBezTo>
                    <a:cubicBezTo>
                      <a:pt x="12" y="4"/>
                      <a:pt x="12" y="4"/>
                      <a:pt x="12" y="4"/>
                    </a:cubicBezTo>
                    <a:cubicBezTo>
                      <a:pt x="12" y="4"/>
                      <a:pt x="12" y="4"/>
                      <a:pt x="12" y="4"/>
                    </a:cubicBezTo>
                    <a:cubicBezTo>
                      <a:pt x="12" y="4"/>
                      <a:pt x="12" y="3"/>
                      <a:pt x="12" y="3"/>
                    </a:cubicBezTo>
                    <a:cubicBezTo>
                      <a:pt x="12" y="3"/>
                      <a:pt x="12" y="4"/>
                      <a:pt x="12" y="4"/>
                    </a:cubicBezTo>
                    <a:cubicBezTo>
                      <a:pt x="12" y="4"/>
                      <a:pt x="12" y="4"/>
                      <a:pt x="12" y="4"/>
                    </a:cubicBezTo>
                    <a:cubicBezTo>
                      <a:pt x="12" y="4"/>
                      <a:pt x="11" y="4"/>
                      <a:pt x="11" y="3"/>
                    </a:cubicBezTo>
                    <a:cubicBezTo>
                      <a:pt x="11" y="3"/>
                      <a:pt x="11" y="3"/>
                      <a:pt x="11" y="3"/>
                    </a:cubicBezTo>
                    <a:cubicBezTo>
                      <a:pt x="11" y="3"/>
                      <a:pt x="11" y="3"/>
                      <a:pt x="11" y="3"/>
                    </a:cubicBezTo>
                    <a:close/>
                    <a:moveTo>
                      <a:pt x="11" y="12"/>
                    </a:move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1"/>
                    </a:cubicBezTo>
                    <a:cubicBezTo>
                      <a:pt x="11" y="11"/>
                      <a:pt x="11" y="11"/>
                      <a:pt x="11" y="11"/>
                    </a:cubicBezTo>
                    <a:cubicBezTo>
                      <a:pt x="11" y="11"/>
                      <a:pt x="11" y="12"/>
                      <a:pt x="11" y="12"/>
                    </a:cubicBezTo>
                    <a:close/>
                    <a:moveTo>
                      <a:pt x="6" y="9"/>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10" y="2"/>
                    </a:moveTo>
                    <a:cubicBezTo>
                      <a:pt x="10" y="2"/>
                      <a:pt x="10" y="2"/>
                      <a:pt x="10" y="2"/>
                    </a:cubicBezTo>
                    <a:cubicBezTo>
                      <a:pt x="10" y="2"/>
                      <a:pt x="10" y="2"/>
                      <a:pt x="10" y="2"/>
                    </a:cubicBezTo>
                    <a:cubicBezTo>
                      <a:pt x="10" y="2"/>
                      <a:pt x="10" y="2"/>
                      <a:pt x="10" y="3"/>
                    </a:cubicBezTo>
                    <a:cubicBezTo>
                      <a:pt x="10" y="3"/>
                      <a:pt x="10" y="3"/>
                      <a:pt x="10" y="3"/>
                    </a:cubicBezTo>
                    <a:cubicBezTo>
                      <a:pt x="10" y="3"/>
                      <a:pt x="10" y="3"/>
                      <a:pt x="10" y="3"/>
                    </a:cubicBezTo>
                    <a:cubicBezTo>
                      <a:pt x="10" y="3"/>
                      <a:pt x="10" y="3"/>
                      <a:pt x="10" y="3"/>
                    </a:cubicBezTo>
                    <a:cubicBezTo>
                      <a:pt x="10" y="3"/>
                      <a:pt x="10" y="2"/>
                      <a:pt x="10" y="2"/>
                    </a:cubicBezTo>
                    <a:close/>
                    <a:moveTo>
                      <a:pt x="20" y="10"/>
                    </a:moveTo>
                    <a:cubicBezTo>
                      <a:pt x="20" y="10"/>
                      <a:pt x="20" y="10"/>
                      <a:pt x="20" y="10"/>
                    </a:cubicBezTo>
                    <a:cubicBezTo>
                      <a:pt x="20" y="10"/>
                      <a:pt x="20" y="10"/>
                      <a:pt x="20" y="10"/>
                    </a:cubicBezTo>
                    <a:cubicBezTo>
                      <a:pt x="21" y="10"/>
                      <a:pt x="20" y="10"/>
                      <a:pt x="20" y="10"/>
                    </a:cubicBezTo>
                    <a:cubicBezTo>
                      <a:pt x="21"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 y="10"/>
                    </a:moveTo>
                    <a:cubicBezTo>
                      <a:pt x="1" y="10"/>
                      <a:pt x="1" y="10"/>
                      <a:pt x="1" y="10"/>
                    </a:cubicBezTo>
                    <a:cubicBezTo>
                      <a:pt x="1" y="10"/>
                      <a:pt x="1" y="10"/>
                      <a:pt x="1" y="10"/>
                    </a:cubicBezTo>
                    <a:cubicBezTo>
                      <a:pt x="1" y="10"/>
                      <a:pt x="1" y="10"/>
                      <a:pt x="1" y="9"/>
                    </a:cubicBezTo>
                    <a:cubicBezTo>
                      <a:pt x="1" y="9"/>
                      <a:pt x="1" y="9"/>
                      <a:pt x="1" y="9"/>
                    </a:cubicBezTo>
                    <a:cubicBezTo>
                      <a:pt x="1" y="9"/>
                      <a:pt x="1" y="9"/>
                      <a:pt x="1" y="10"/>
                    </a:cubicBezTo>
                    <a:cubicBezTo>
                      <a:pt x="1" y="10"/>
                      <a:pt x="1" y="10"/>
                      <a:pt x="1" y="10"/>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3" y="2"/>
                    </a:moveTo>
                    <a:cubicBezTo>
                      <a:pt x="3" y="2"/>
                      <a:pt x="3" y="2"/>
                      <a:pt x="3" y="2"/>
                    </a:cubicBezTo>
                    <a:cubicBezTo>
                      <a:pt x="3" y="2"/>
                      <a:pt x="3" y="2"/>
                      <a:pt x="3" y="2"/>
                    </a:cubicBezTo>
                    <a:close/>
                    <a:moveTo>
                      <a:pt x="23" y="6"/>
                    </a:move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lose/>
                    <a:moveTo>
                      <a:pt x="3" y="1"/>
                    </a:move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lose/>
                    <a:moveTo>
                      <a:pt x="6" y="1"/>
                    </a:moveTo>
                    <a:cubicBezTo>
                      <a:pt x="6" y="1"/>
                      <a:pt x="6" y="1"/>
                      <a:pt x="6" y="1"/>
                    </a:cubicBezTo>
                    <a:cubicBezTo>
                      <a:pt x="6" y="1"/>
                      <a:pt x="7" y="1"/>
                      <a:pt x="7" y="1"/>
                    </a:cubicBezTo>
                    <a:cubicBezTo>
                      <a:pt x="7" y="1"/>
                      <a:pt x="7" y="1"/>
                      <a:pt x="7" y="1"/>
                    </a:cubicBezTo>
                    <a:cubicBezTo>
                      <a:pt x="7" y="1"/>
                      <a:pt x="7" y="1"/>
                      <a:pt x="7" y="1"/>
                    </a:cubicBezTo>
                    <a:cubicBezTo>
                      <a:pt x="7" y="1"/>
                      <a:pt x="7" y="1"/>
                      <a:pt x="7" y="1"/>
                    </a:cubicBezTo>
                    <a:cubicBezTo>
                      <a:pt x="6" y="1"/>
                      <a:pt x="6" y="1"/>
                      <a:pt x="6" y="1"/>
                    </a:cubicBezTo>
                    <a:cubicBezTo>
                      <a:pt x="6" y="1"/>
                      <a:pt x="6" y="1"/>
                      <a:pt x="6" y="1"/>
                    </a:cubicBezTo>
                    <a:close/>
                    <a:moveTo>
                      <a:pt x="19" y="12"/>
                    </a:moveTo>
                    <a:cubicBezTo>
                      <a:pt x="19" y="13"/>
                      <a:pt x="19" y="13"/>
                      <a:pt x="19" y="13"/>
                    </a:cubicBezTo>
                    <a:cubicBezTo>
                      <a:pt x="19" y="13"/>
                      <a:pt x="19" y="13"/>
                      <a:pt x="19" y="13"/>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lose/>
                    <a:moveTo>
                      <a:pt x="6" y="7"/>
                    </a:moveTo>
                    <a:cubicBezTo>
                      <a:pt x="6" y="7"/>
                      <a:pt x="6" y="7"/>
                      <a:pt x="6" y="7"/>
                    </a:cubicBezTo>
                    <a:cubicBezTo>
                      <a:pt x="6" y="7"/>
                      <a:pt x="6" y="7"/>
                      <a:pt x="6" y="6"/>
                    </a:cubicBezTo>
                    <a:cubicBezTo>
                      <a:pt x="6" y="6"/>
                      <a:pt x="6" y="6"/>
                      <a:pt x="6" y="6"/>
                    </a:cubicBezTo>
                    <a:cubicBezTo>
                      <a:pt x="6" y="6"/>
                      <a:pt x="6" y="6"/>
                      <a:pt x="6" y="6"/>
                    </a:cubicBezTo>
                    <a:cubicBezTo>
                      <a:pt x="6" y="7"/>
                      <a:pt x="6" y="6"/>
                      <a:pt x="6" y="6"/>
                    </a:cubicBezTo>
                    <a:cubicBezTo>
                      <a:pt x="6" y="6"/>
                      <a:pt x="6" y="7"/>
                      <a:pt x="6" y="7"/>
                    </a:cubicBezTo>
                    <a:close/>
                    <a:moveTo>
                      <a:pt x="3" y="1"/>
                    </a:moveTo>
                    <a:cubicBezTo>
                      <a:pt x="3" y="1"/>
                      <a:pt x="3" y="1"/>
                      <a:pt x="3" y="1"/>
                    </a:cubicBezTo>
                    <a:cubicBezTo>
                      <a:pt x="3" y="1"/>
                      <a:pt x="3" y="1"/>
                      <a:pt x="3" y="1"/>
                    </a:cubicBezTo>
                    <a:cubicBezTo>
                      <a:pt x="4" y="1"/>
                      <a:pt x="4" y="1"/>
                      <a:pt x="4" y="1"/>
                    </a:cubicBezTo>
                    <a:cubicBezTo>
                      <a:pt x="4" y="1"/>
                      <a:pt x="4" y="1"/>
                      <a:pt x="4" y="1"/>
                    </a:cubicBezTo>
                    <a:cubicBezTo>
                      <a:pt x="4" y="1"/>
                      <a:pt x="4" y="1"/>
                      <a:pt x="4" y="1"/>
                    </a:cubicBezTo>
                    <a:cubicBezTo>
                      <a:pt x="3" y="1"/>
                      <a:pt x="3" y="1"/>
                      <a:pt x="3" y="2"/>
                    </a:cubicBezTo>
                    <a:cubicBezTo>
                      <a:pt x="3" y="2"/>
                      <a:pt x="3" y="2"/>
                      <a:pt x="3" y="2"/>
                    </a:cubicBezTo>
                    <a:cubicBezTo>
                      <a:pt x="3" y="2"/>
                      <a:pt x="3" y="2"/>
                      <a:pt x="3" y="1"/>
                    </a:cubicBezTo>
                    <a:close/>
                    <a:moveTo>
                      <a:pt x="20"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lose/>
                    <a:moveTo>
                      <a:pt x="10" y="4"/>
                    </a:moveTo>
                    <a:cubicBezTo>
                      <a:pt x="10" y="4"/>
                      <a:pt x="10"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lose/>
                    <a:moveTo>
                      <a:pt x="1" y="10"/>
                    </a:move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lose/>
                    <a:moveTo>
                      <a:pt x="12" y="8"/>
                    </a:moveTo>
                    <a:cubicBezTo>
                      <a:pt x="12" y="8"/>
                      <a:pt x="12" y="8"/>
                      <a:pt x="12" y="9"/>
                    </a:cubicBezTo>
                    <a:cubicBezTo>
                      <a:pt x="12" y="9"/>
                      <a:pt x="12" y="9"/>
                      <a:pt x="12" y="9"/>
                    </a:cubicBezTo>
                    <a:cubicBezTo>
                      <a:pt x="12" y="9"/>
                      <a:pt x="12" y="8"/>
                      <a:pt x="12" y="8"/>
                    </a:cubicBezTo>
                    <a:cubicBezTo>
                      <a:pt x="12" y="8"/>
                      <a:pt x="12" y="8"/>
                      <a:pt x="12" y="8"/>
                    </a:cubicBezTo>
                    <a:close/>
                    <a:moveTo>
                      <a:pt x="7" y="4"/>
                    </a:moveTo>
                    <a:cubicBezTo>
                      <a:pt x="7" y="4"/>
                      <a:pt x="7" y="4"/>
                      <a:pt x="7" y="4"/>
                    </a:cubicBezTo>
                    <a:cubicBezTo>
                      <a:pt x="7" y="4"/>
                      <a:pt x="7" y="4"/>
                      <a:pt x="7" y="4"/>
                    </a:cubicBezTo>
                    <a:cubicBezTo>
                      <a:pt x="7" y="4"/>
                      <a:pt x="7" y="4"/>
                      <a:pt x="7" y="4"/>
                    </a:cubicBezTo>
                    <a:cubicBezTo>
                      <a:pt x="7" y="4"/>
                      <a:pt x="7" y="4"/>
                      <a:pt x="7" y="4"/>
                    </a:cubicBezTo>
                    <a:close/>
                    <a:moveTo>
                      <a:pt x="21" y="11"/>
                    </a:move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lose/>
                    <a:moveTo>
                      <a:pt x="12" y="4"/>
                    </a:moveTo>
                    <a:cubicBezTo>
                      <a:pt x="11" y="4"/>
                      <a:pt x="11" y="4"/>
                      <a:pt x="11" y="4"/>
                    </a:cubicBezTo>
                    <a:cubicBezTo>
                      <a:pt x="11" y="4"/>
                      <a:pt x="11" y="4"/>
                      <a:pt x="12" y="4"/>
                    </a:cubicBezTo>
                    <a:cubicBezTo>
                      <a:pt x="12" y="4"/>
                      <a:pt x="12" y="4"/>
                      <a:pt x="12" y="4"/>
                    </a:cubicBezTo>
                    <a:cubicBezTo>
                      <a:pt x="12" y="4"/>
                      <a:pt x="12" y="4"/>
                      <a:pt x="12" y="4"/>
                    </a:cubicBezTo>
                    <a:close/>
                    <a:moveTo>
                      <a:pt x="12" y="9"/>
                    </a:move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lose/>
                    <a:moveTo>
                      <a:pt x="4" y="5"/>
                    </a:moveTo>
                    <a:cubicBezTo>
                      <a:pt x="4" y="5"/>
                      <a:pt x="4" y="5"/>
                      <a:pt x="4" y="5"/>
                    </a:cubicBezTo>
                    <a:cubicBezTo>
                      <a:pt x="4" y="5"/>
                      <a:pt x="4" y="5"/>
                      <a:pt x="4" y="5"/>
                    </a:cubicBezTo>
                    <a:cubicBezTo>
                      <a:pt x="4" y="5"/>
                      <a:pt x="4" y="5"/>
                      <a:pt x="5" y="5"/>
                    </a:cubicBezTo>
                    <a:cubicBezTo>
                      <a:pt x="5" y="5"/>
                      <a:pt x="5" y="5"/>
                      <a:pt x="5" y="5"/>
                    </a:cubicBezTo>
                    <a:cubicBezTo>
                      <a:pt x="4" y="5"/>
                      <a:pt x="4" y="5"/>
                      <a:pt x="4" y="5"/>
                    </a:cubicBezTo>
                    <a:close/>
                    <a:moveTo>
                      <a:pt x="17" y="13"/>
                    </a:moveTo>
                    <a:cubicBezTo>
                      <a:pt x="17" y="13"/>
                      <a:pt x="17" y="13"/>
                      <a:pt x="17" y="13"/>
                    </a:cubicBezTo>
                    <a:cubicBezTo>
                      <a:pt x="17" y="13"/>
                      <a:pt x="17" y="13"/>
                      <a:pt x="17" y="13"/>
                    </a:cubicBezTo>
                    <a:cubicBezTo>
                      <a:pt x="17" y="13"/>
                      <a:pt x="17" y="13"/>
                      <a:pt x="17" y="13"/>
                    </a:cubicBezTo>
                    <a:cubicBezTo>
                      <a:pt x="17" y="13"/>
                      <a:pt x="17" y="13"/>
                      <a:pt x="17" y="13"/>
                    </a:cubicBezTo>
                    <a:close/>
                    <a:moveTo>
                      <a:pt x="17" y="13"/>
                    </a:moveTo>
                    <a:cubicBezTo>
                      <a:pt x="17" y="13"/>
                      <a:pt x="17" y="13"/>
                      <a:pt x="18" y="12"/>
                    </a:cubicBezTo>
                    <a:cubicBezTo>
                      <a:pt x="18" y="13"/>
                      <a:pt x="18" y="13"/>
                      <a:pt x="17" y="13"/>
                    </a:cubicBezTo>
                    <a:close/>
                    <a:moveTo>
                      <a:pt x="2" y="8"/>
                    </a:moveTo>
                    <a:cubicBezTo>
                      <a:pt x="2" y="8"/>
                      <a:pt x="2" y="8"/>
                      <a:pt x="2" y="8"/>
                    </a:cubicBezTo>
                    <a:cubicBezTo>
                      <a:pt x="2" y="8"/>
                      <a:pt x="2" y="8"/>
                      <a:pt x="2" y="8"/>
                    </a:cubicBezTo>
                    <a:cubicBezTo>
                      <a:pt x="2" y="8"/>
                      <a:pt x="2" y="8"/>
                      <a:pt x="2" y="8"/>
                    </a:cubicBezTo>
                    <a:cubicBezTo>
                      <a:pt x="2" y="8"/>
                      <a:pt x="2" y="9"/>
                      <a:pt x="2" y="9"/>
                    </a:cubicBezTo>
                    <a:cubicBezTo>
                      <a:pt x="2" y="9"/>
                      <a:pt x="2" y="8"/>
                      <a:pt x="2" y="8"/>
                    </a:cubicBezTo>
                    <a:cubicBezTo>
                      <a:pt x="2" y="8"/>
                      <a:pt x="2" y="8"/>
                      <a:pt x="2" y="8"/>
                    </a:cubicBezTo>
                    <a:close/>
                    <a:moveTo>
                      <a:pt x="6" y="13"/>
                    </a:moveTo>
                    <a:cubicBezTo>
                      <a:pt x="6" y="13"/>
                      <a:pt x="6" y="13"/>
                      <a:pt x="6" y="13"/>
                    </a:cubicBezTo>
                    <a:cubicBezTo>
                      <a:pt x="6" y="13"/>
                      <a:pt x="6" y="13"/>
                      <a:pt x="6" y="13"/>
                    </a:cubicBezTo>
                    <a:cubicBezTo>
                      <a:pt x="6" y="13"/>
                      <a:pt x="6" y="13"/>
                      <a:pt x="6" y="13"/>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9" y="4"/>
                    </a:moveTo>
                    <a:cubicBezTo>
                      <a:pt x="8" y="4"/>
                      <a:pt x="8" y="4"/>
                      <a:pt x="8" y="4"/>
                    </a:cubicBezTo>
                    <a:cubicBezTo>
                      <a:pt x="8" y="4"/>
                      <a:pt x="9" y="4"/>
                      <a:pt x="9" y="4"/>
                    </a:cubicBezTo>
                    <a:close/>
                    <a:moveTo>
                      <a:pt x="16" y="13"/>
                    </a:moveTo>
                    <a:cubicBezTo>
                      <a:pt x="16" y="13"/>
                      <a:pt x="16" y="13"/>
                      <a:pt x="16" y="13"/>
                    </a:cubicBezTo>
                    <a:cubicBezTo>
                      <a:pt x="16" y="12"/>
                      <a:pt x="16" y="12"/>
                      <a:pt x="16" y="12"/>
                    </a:cubicBezTo>
                    <a:cubicBezTo>
                      <a:pt x="16" y="12"/>
                      <a:pt x="16" y="12"/>
                      <a:pt x="16" y="12"/>
                    </a:cubicBezTo>
                    <a:cubicBezTo>
                      <a:pt x="16" y="12"/>
                      <a:pt x="16" y="13"/>
                      <a:pt x="16" y="13"/>
                    </a:cubicBezTo>
                    <a:close/>
                    <a:moveTo>
                      <a:pt x="18" y="12"/>
                    </a:move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lose/>
                    <a:moveTo>
                      <a:pt x="3" y="6"/>
                    </a:moveTo>
                    <a:cubicBezTo>
                      <a:pt x="3" y="6"/>
                      <a:pt x="3" y="6"/>
                      <a:pt x="3" y="6"/>
                    </a:cubicBezTo>
                    <a:cubicBezTo>
                      <a:pt x="3" y="6"/>
                      <a:pt x="3" y="6"/>
                      <a:pt x="3" y="6"/>
                    </a:cubicBezTo>
                    <a:cubicBezTo>
                      <a:pt x="3" y="6"/>
                      <a:pt x="3" y="6"/>
                      <a:pt x="3" y="6"/>
                    </a:cubicBezTo>
                    <a:cubicBezTo>
                      <a:pt x="3" y="6"/>
                      <a:pt x="3" y="6"/>
                      <a:pt x="3" y="6"/>
                    </a:cubicBezTo>
                    <a:close/>
                    <a:moveTo>
                      <a:pt x="6" y="6"/>
                    </a:moveTo>
                    <a:cubicBezTo>
                      <a:pt x="6" y="6"/>
                      <a:pt x="6" y="6"/>
                      <a:pt x="6" y="6"/>
                    </a:cubicBezTo>
                    <a:cubicBezTo>
                      <a:pt x="6" y="6"/>
                      <a:pt x="6" y="6"/>
                      <a:pt x="6" y="6"/>
                    </a:cubicBezTo>
                    <a:cubicBezTo>
                      <a:pt x="6" y="6"/>
                      <a:pt x="6" y="6"/>
                      <a:pt x="6" y="6"/>
                    </a:cubicBezTo>
                    <a:cubicBezTo>
                      <a:pt x="6" y="6"/>
                      <a:pt x="6" y="6"/>
                      <a:pt x="6" y="6"/>
                    </a:cubicBezTo>
                    <a:close/>
                    <a:moveTo>
                      <a:pt x="22" y="9"/>
                    </a:moveTo>
                    <a:cubicBezTo>
                      <a:pt x="22" y="9"/>
                      <a:pt x="22" y="9"/>
                      <a:pt x="22" y="9"/>
                    </a:cubicBezTo>
                    <a:cubicBezTo>
                      <a:pt x="22" y="9"/>
                      <a:pt x="22" y="9"/>
                      <a:pt x="22" y="9"/>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0" y="2"/>
                    </a:move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lose/>
                    <a:moveTo>
                      <a:pt x="18" y="10"/>
                    </a:moveTo>
                    <a:cubicBezTo>
                      <a:pt x="18" y="10"/>
                      <a:pt x="18" y="10"/>
                      <a:pt x="18" y="10"/>
                    </a:cubicBezTo>
                    <a:cubicBezTo>
                      <a:pt x="18" y="10"/>
                      <a:pt x="18" y="10"/>
                      <a:pt x="18" y="10"/>
                    </a:cubicBezTo>
                    <a:cubicBezTo>
                      <a:pt x="18" y="10"/>
                      <a:pt x="18" y="10"/>
                      <a:pt x="18" y="10"/>
                    </a:cubicBezTo>
                    <a:cubicBezTo>
                      <a:pt x="18" y="10"/>
                      <a:pt x="18" y="10"/>
                      <a:pt x="18" y="10"/>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23" y="8"/>
                    </a:moveTo>
                    <a:cubicBezTo>
                      <a:pt x="23" y="9"/>
                      <a:pt x="23" y="9"/>
                      <a:pt x="23" y="9"/>
                    </a:cubicBezTo>
                    <a:cubicBezTo>
                      <a:pt x="23" y="9"/>
                      <a:pt x="23" y="8"/>
                      <a:pt x="23" y="8"/>
                    </a:cubicBezTo>
                    <a:cubicBezTo>
                      <a:pt x="23" y="8"/>
                      <a:pt x="23" y="8"/>
                      <a:pt x="23" y="8"/>
                    </a:cubicBezTo>
                    <a:cubicBezTo>
                      <a:pt x="23" y="8"/>
                      <a:pt x="23" y="8"/>
                      <a:pt x="23" y="8"/>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7" y="7"/>
                    </a:moveTo>
                    <a:cubicBezTo>
                      <a:pt x="7" y="7"/>
                      <a:pt x="7" y="7"/>
                      <a:pt x="7" y="7"/>
                    </a:cubicBezTo>
                    <a:cubicBezTo>
                      <a:pt x="7" y="7"/>
                      <a:pt x="7" y="7"/>
                      <a:pt x="7" y="7"/>
                    </a:cubicBezTo>
                    <a:cubicBezTo>
                      <a:pt x="7" y="7"/>
                      <a:pt x="7" y="7"/>
                      <a:pt x="7" y="7"/>
                    </a:cubicBezTo>
                    <a:cubicBezTo>
                      <a:pt x="7" y="7"/>
                      <a:pt x="7" y="7"/>
                      <a:pt x="7" y="7"/>
                    </a:cubicBezTo>
                    <a:close/>
                    <a:moveTo>
                      <a:pt x="6" y="13"/>
                    </a:moveTo>
                    <a:cubicBezTo>
                      <a:pt x="6" y="14"/>
                      <a:pt x="6" y="13"/>
                      <a:pt x="6" y="14"/>
                    </a:cubicBezTo>
                    <a:cubicBezTo>
                      <a:pt x="6" y="14"/>
                      <a:pt x="6" y="14"/>
                      <a:pt x="6" y="13"/>
                    </a:cubicBezTo>
                    <a:cubicBezTo>
                      <a:pt x="6" y="13"/>
                      <a:pt x="6" y="13"/>
                      <a:pt x="6" y="13"/>
                    </a:cubicBezTo>
                    <a:cubicBezTo>
                      <a:pt x="6" y="13"/>
                      <a:pt x="6" y="13"/>
                      <a:pt x="6" y="13"/>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13" y="14"/>
                    </a:moveTo>
                    <a:cubicBezTo>
                      <a:pt x="13" y="14"/>
                      <a:pt x="13" y="14"/>
                      <a:pt x="13" y="14"/>
                    </a:cubicBezTo>
                    <a:cubicBezTo>
                      <a:pt x="12" y="14"/>
                      <a:pt x="12" y="14"/>
                      <a:pt x="12" y="14"/>
                    </a:cubicBezTo>
                    <a:cubicBezTo>
                      <a:pt x="12" y="14"/>
                      <a:pt x="12" y="14"/>
                      <a:pt x="12" y="14"/>
                    </a:cubicBezTo>
                    <a:cubicBezTo>
                      <a:pt x="12" y="14"/>
                      <a:pt x="12" y="14"/>
                      <a:pt x="12" y="14"/>
                    </a:cubicBezTo>
                    <a:cubicBezTo>
                      <a:pt x="13" y="14"/>
                      <a:pt x="13" y="14"/>
                      <a:pt x="13" y="14"/>
                    </a:cubicBezTo>
                    <a:close/>
                    <a:moveTo>
                      <a:pt x="3" y="11"/>
                    </a:moveTo>
                    <a:cubicBezTo>
                      <a:pt x="3" y="11"/>
                      <a:pt x="3" y="11"/>
                      <a:pt x="3" y="11"/>
                    </a:cubicBezTo>
                    <a:cubicBezTo>
                      <a:pt x="3" y="11"/>
                      <a:pt x="3" y="11"/>
                      <a:pt x="3" y="11"/>
                    </a:cubicBezTo>
                    <a:cubicBezTo>
                      <a:pt x="3" y="11"/>
                      <a:pt x="3" y="11"/>
                      <a:pt x="3" y="11"/>
                    </a:cubicBezTo>
                    <a:close/>
                    <a:moveTo>
                      <a:pt x="2" y="11"/>
                    </a:move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4" y="1"/>
                    </a:moveTo>
                    <a:cubicBezTo>
                      <a:pt x="4" y="1"/>
                      <a:pt x="4" y="1"/>
                      <a:pt x="4" y="1"/>
                    </a:cubicBezTo>
                    <a:cubicBezTo>
                      <a:pt x="4" y="1"/>
                      <a:pt x="4" y="1"/>
                      <a:pt x="4" y="1"/>
                    </a:cubicBezTo>
                    <a:cubicBezTo>
                      <a:pt x="4" y="1"/>
                      <a:pt x="4" y="1"/>
                      <a:pt x="4" y="1"/>
                    </a:cubicBezTo>
                    <a:cubicBezTo>
                      <a:pt x="4" y="1"/>
                      <a:pt x="4" y="1"/>
                      <a:pt x="4" y="1"/>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3" y="13"/>
                    </a:move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lose/>
                    <a:moveTo>
                      <a:pt x="6" y="3"/>
                    </a:moveTo>
                    <a:cubicBezTo>
                      <a:pt x="6" y="3"/>
                      <a:pt x="6" y="3"/>
                      <a:pt x="6" y="3"/>
                    </a:cubicBezTo>
                    <a:cubicBezTo>
                      <a:pt x="6" y="3"/>
                      <a:pt x="6" y="3"/>
                      <a:pt x="6" y="3"/>
                    </a:cubicBezTo>
                    <a:cubicBezTo>
                      <a:pt x="6" y="3"/>
                      <a:pt x="6" y="3"/>
                      <a:pt x="6" y="3"/>
                    </a:cubicBezTo>
                    <a:cubicBezTo>
                      <a:pt x="6" y="3"/>
                      <a:pt x="6" y="3"/>
                      <a:pt x="6" y="3"/>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0"/>
                    </a:moveTo>
                    <a:cubicBezTo>
                      <a:pt x="12" y="10"/>
                      <a:pt x="12" y="10"/>
                      <a:pt x="12" y="10"/>
                    </a:cubicBezTo>
                    <a:cubicBezTo>
                      <a:pt x="12" y="10"/>
                      <a:pt x="12" y="10"/>
                      <a:pt x="12" y="10"/>
                    </a:cubicBezTo>
                    <a:cubicBezTo>
                      <a:pt x="12" y="10"/>
                      <a:pt x="12" y="10"/>
                      <a:pt x="12" y="10"/>
                    </a:cubicBezTo>
                    <a:close/>
                    <a:moveTo>
                      <a:pt x="4" y="12"/>
                    </a:moveTo>
                    <a:cubicBezTo>
                      <a:pt x="4" y="13"/>
                      <a:pt x="4" y="13"/>
                      <a:pt x="4" y="13"/>
                    </a:cubicBezTo>
                    <a:cubicBezTo>
                      <a:pt x="4" y="13"/>
                      <a:pt x="4" y="13"/>
                      <a:pt x="4" y="12"/>
                    </a:cubicBezTo>
                    <a:cubicBezTo>
                      <a:pt x="4" y="12"/>
                      <a:pt x="4" y="12"/>
                      <a:pt x="4" y="12"/>
                    </a:cubicBezTo>
                    <a:cubicBezTo>
                      <a:pt x="4" y="12"/>
                      <a:pt x="4" y="12"/>
                      <a:pt x="4" y="12"/>
                    </a:cubicBezTo>
                    <a:close/>
                    <a:moveTo>
                      <a:pt x="11" y="4"/>
                    </a:moveTo>
                    <a:cubicBezTo>
                      <a:pt x="11" y="4"/>
                      <a:pt x="11" y="4"/>
                      <a:pt x="11" y="4"/>
                    </a:cubicBezTo>
                    <a:cubicBezTo>
                      <a:pt x="11" y="4"/>
                      <a:pt x="11" y="4"/>
                      <a:pt x="11" y="4"/>
                    </a:cubicBezTo>
                    <a:cubicBezTo>
                      <a:pt x="11" y="4"/>
                      <a:pt x="11" y="4"/>
                      <a:pt x="11" y="4"/>
                    </a:cubicBezTo>
                    <a:close/>
                    <a:moveTo>
                      <a:pt x="13" y="8"/>
                    </a:moveTo>
                    <a:cubicBezTo>
                      <a:pt x="13" y="8"/>
                      <a:pt x="13" y="8"/>
                      <a:pt x="13" y="8"/>
                    </a:cubicBezTo>
                    <a:cubicBezTo>
                      <a:pt x="13" y="8"/>
                      <a:pt x="13" y="8"/>
                      <a:pt x="13" y="8"/>
                    </a:cubicBezTo>
                    <a:cubicBezTo>
                      <a:pt x="13" y="8"/>
                      <a:pt x="13" y="8"/>
                      <a:pt x="13" y="8"/>
                    </a:cubicBezTo>
                    <a:cubicBezTo>
                      <a:pt x="13" y="8"/>
                      <a:pt x="13" y="8"/>
                      <a:pt x="13" y="8"/>
                    </a:cubicBezTo>
                    <a:close/>
                    <a:moveTo>
                      <a:pt x="2" y="8"/>
                    </a:moveTo>
                    <a:cubicBezTo>
                      <a:pt x="2" y="8"/>
                      <a:pt x="2" y="8"/>
                      <a:pt x="2" y="8"/>
                    </a:cubicBezTo>
                    <a:cubicBezTo>
                      <a:pt x="2" y="8"/>
                      <a:pt x="2" y="8"/>
                      <a:pt x="2" y="8"/>
                    </a:cubicBezTo>
                    <a:cubicBezTo>
                      <a:pt x="2" y="8"/>
                      <a:pt x="2" y="8"/>
                      <a:pt x="2" y="8"/>
                    </a:cubicBezTo>
                    <a:cubicBezTo>
                      <a:pt x="2" y="8"/>
                      <a:pt x="2" y="8"/>
                      <a:pt x="2" y="8"/>
                    </a:cubicBezTo>
                    <a:close/>
                    <a:moveTo>
                      <a:pt x="3" y="6"/>
                    </a:moveTo>
                    <a:cubicBezTo>
                      <a:pt x="3" y="6"/>
                      <a:pt x="3" y="6"/>
                      <a:pt x="3" y="6"/>
                    </a:cubicBezTo>
                    <a:close/>
                    <a:moveTo>
                      <a:pt x="3" y="6"/>
                    </a:moveTo>
                    <a:cubicBezTo>
                      <a:pt x="3" y="6"/>
                      <a:pt x="3" y="6"/>
                      <a:pt x="3" y="6"/>
                    </a:cubicBezTo>
                    <a:cubicBezTo>
                      <a:pt x="3" y="6"/>
                      <a:pt x="3" y="6"/>
                      <a:pt x="4" y="6"/>
                    </a:cubicBezTo>
                    <a:cubicBezTo>
                      <a:pt x="4" y="6"/>
                      <a:pt x="4" y="6"/>
                      <a:pt x="4" y="6"/>
                    </a:cubicBezTo>
                    <a:cubicBezTo>
                      <a:pt x="4" y="6"/>
                      <a:pt x="4" y="6"/>
                      <a:pt x="3" y="6"/>
                    </a:cubicBezTo>
                    <a:close/>
                    <a:moveTo>
                      <a:pt x="1" y="8"/>
                    </a:moveTo>
                    <a:cubicBezTo>
                      <a:pt x="1" y="8"/>
                      <a:pt x="1" y="8"/>
                      <a:pt x="1" y="8"/>
                    </a:cubicBezTo>
                    <a:cubicBezTo>
                      <a:pt x="1" y="8"/>
                      <a:pt x="1" y="8"/>
                      <a:pt x="1" y="8"/>
                    </a:cubicBezTo>
                    <a:cubicBezTo>
                      <a:pt x="1" y="9"/>
                      <a:pt x="1" y="8"/>
                      <a:pt x="1" y="8"/>
                    </a:cubicBezTo>
                    <a:cubicBezTo>
                      <a:pt x="1" y="8"/>
                      <a:pt x="1" y="8"/>
                      <a:pt x="1" y="8"/>
                    </a:cubicBezTo>
                    <a:close/>
                    <a:moveTo>
                      <a:pt x="2" y="8"/>
                    </a:moveTo>
                    <a:cubicBezTo>
                      <a:pt x="2" y="9"/>
                      <a:pt x="2" y="9"/>
                      <a:pt x="2" y="9"/>
                    </a:cubicBezTo>
                    <a:cubicBezTo>
                      <a:pt x="2" y="9"/>
                      <a:pt x="2" y="8"/>
                      <a:pt x="2" y="8"/>
                    </a:cubicBezTo>
                    <a:cubicBezTo>
                      <a:pt x="2" y="8"/>
                      <a:pt x="2" y="8"/>
                      <a:pt x="2" y="8"/>
                    </a:cubicBezTo>
                    <a:cubicBezTo>
                      <a:pt x="2" y="8"/>
                      <a:pt x="2" y="8"/>
                      <a:pt x="2" y="8"/>
                    </a:cubicBezTo>
                    <a:close/>
                    <a:moveTo>
                      <a:pt x="11" y="3"/>
                    </a:moveTo>
                    <a:cubicBezTo>
                      <a:pt x="11" y="3"/>
                      <a:pt x="11" y="3"/>
                      <a:pt x="11" y="3"/>
                    </a:cubicBezTo>
                    <a:cubicBezTo>
                      <a:pt x="11" y="3"/>
                      <a:pt x="11" y="3"/>
                      <a:pt x="11" y="3"/>
                    </a:cubicBezTo>
                    <a:cubicBezTo>
                      <a:pt x="11" y="3"/>
                      <a:pt x="11" y="3"/>
                      <a:pt x="11" y="3"/>
                    </a:cubicBezTo>
                    <a:cubicBezTo>
                      <a:pt x="11" y="3"/>
                      <a:pt x="11" y="3"/>
                      <a:pt x="11" y="3"/>
                    </a:cubicBezTo>
                    <a:close/>
                    <a:moveTo>
                      <a:pt x="12" y="10"/>
                    </a:moveTo>
                    <a:cubicBezTo>
                      <a:pt x="12" y="10"/>
                      <a:pt x="12" y="10"/>
                      <a:pt x="12" y="10"/>
                    </a:cubicBezTo>
                    <a:cubicBezTo>
                      <a:pt x="12" y="10"/>
                      <a:pt x="12" y="10"/>
                      <a:pt x="12" y="11"/>
                    </a:cubicBezTo>
                    <a:cubicBezTo>
                      <a:pt x="12" y="11"/>
                      <a:pt x="12" y="11"/>
                      <a:pt x="12" y="11"/>
                    </a:cubicBezTo>
                    <a:cubicBezTo>
                      <a:pt x="12" y="11"/>
                      <a:pt x="12" y="10"/>
                      <a:pt x="12" y="10"/>
                    </a:cubicBezTo>
                    <a:close/>
                    <a:moveTo>
                      <a:pt x="12" y="4"/>
                    </a:moveTo>
                    <a:cubicBezTo>
                      <a:pt x="12" y="4"/>
                      <a:pt x="12" y="4"/>
                      <a:pt x="12" y="4"/>
                    </a:cubicBezTo>
                    <a:cubicBezTo>
                      <a:pt x="12" y="4"/>
                      <a:pt x="12" y="4"/>
                      <a:pt x="12" y="4"/>
                    </a:cubicBezTo>
                    <a:close/>
                    <a:moveTo>
                      <a:pt x="22" y="9"/>
                    </a:moveTo>
                    <a:cubicBezTo>
                      <a:pt x="21" y="9"/>
                      <a:pt x="21" y="9"/>
                      <a:pt x="21" y="9"/>
                    </a:cubicBezTo>
                    <a:cubicBezTo>
                      <a:pt x="21" y="9"/>
                      <a:pt x="21" y="9"/>
                      <a:pt x="22" y="9"/>
                    </a:cubicBezTo>
                    <a:close/>
                    <a:moveTo>
                      <a:pt x="16" y="12"/>
                    </a:moveTo>
                    <a:cubicBezTo>
                      <a:pt x="16" y="12"/>
                      <a:pt x="16" y="12"/>
                      <a:pt x="16" y="12"/>
                    </a:cubicBezTo>
                    <a:cubicBezTo>
                      <a:pt x="16" y="12"/>
                      <a:pt x="16" y="12"/>
                      <a:pt x="16" y="12"/>
                    </a:cubicBezTo>
                    <a:cubicBezTo>
                      <a:pt x="16" y="12"/>
                      <a:pt x="16" y="12"/>
                      <a:pt x="16" y="12"/>
                    </a:cubicBezTo>
                    <a:cubicBezTo>
                      <a:pt x="16" y="12"/>
                      <a:pt x="16" y="12"/>
                      <a:pt x="16" y="12"/>
                    </a:cubicBezTo>
                    <a:close/>
                    <a:moveTo>
                      <a:pt x="15" y="6"/>
                    </a:moveTo>
                    <a:cubicBezTo>
                      <a:pt x="15" y="6"/>
                      <a:pt x="15" y="6"/>
                      <a:pt x="15" y="6"/>
                    </a:cubicBezTo>
                    <a:cubicBezTo>
                      <a:pt x="15" y="6"/>
                      <a:pt x="15" y="6"/>
                      <a:pt x="15" y="6"/>
                    </a:cubicBezTo>
                    <a:close/>
                    <a:moveTo>
                      <a:pt x="2" y="9"/>
                    </a:moveTo>
                    <a:cubicBezTo>
                      <a:pt x="2" y="9"/>
                      <a:pt x="2" y="9"/>
                      <a:pt x="2" y="9"/>
                    </a:cubicBezTo>
                    <a:cubicBezTo>
                      <a:pt x="2" y="9"/>
                      <a:pt x="2" y="9"/>
                      <a:pt x="2" y="9"/>
                    </a:cubicBezTo>
                    <a:cubicBezTo>
                      <a:pt x="2" y="9"/>
                      <a:pt x="2" y="9"/>
                      <a:pt x="2" y="9"/>
                    </a:cubicBezTo>
                    <a:cubicBezTo>
                      <a:pt x="2" y="9"/>
                      <a:pt x="2" y="9"/>
                      <a:pt x="2" y="9"/>
                    </a:cubicBezTo>
                    <a:close/>
                    <a:moveTo>
                      <a:pt x="15" y="13"/>
                    </a:moveTo>
                    <a:cubicBezTo>
                      <a:pt x="15" y="13"/>
                      <a:pt x="15" y="13"/>
                      <a:pt x="15" y="13"/>
                    </a:cubicBezTo>
                    <a:cubicBezTo>
                      <a:pt x="14" y="13"/>
                      <a:pt x="14" y="13"/>
                      <a:pt x="14" y="13"/>
                    </a:cubicBezTo>
                    <a:cubicBezTo>
                      <a:pt x="14" y="13"/>
                      <a:pt x="14" y="13"/>
                      <a:pt x="15" y="13"/>
                    </a:cubicBezTo>
                    <a:cubicBezTo>
                      <a:pt x="15" y="13"/>
                      <a:pt x="15" y="13"/>
                      <a:pt x="15" y="13"/>
                    </a:cubicBezTo>
                    <a:close/>
                    <a:moveTo>
                      <a:pt x="12" y="4"/>
                    </a:moveTo>
                    <a:cubicBezTo>
                      <a:pt x="12" y="4"/>
                      <a:pt x="12" y="4"/>
                      <a:pt x="12" y="4"/>
                    </a:cubicBezTo>
                    <a:cubicBezTo>
                      <a:pt x="12" y="4"/>
                      <a:pt x="12" y="4"/>
                      <a:pt x="12" y="4"/>
                    </a:cubicBezTo>
                    <a:cubicBezTo>
                      <a:pt x="12" y="4"/>
                      <a:pt x="12" y="4"/>
                      <a:pt x="12" y="4"/>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9" y="10"/>
                    </a:moveTo>
                    <a:cubicBezTo>
                      <a:pt x="19" y="10"/>
                      <a:pt x="19" y="10"/>
                      <a:pt x="19" y="10"/>
                    </a:cubicBezTo>
                    <a:cubicBezTo>
                      <a:pt x="20" y="10"/>
                      <a:pt x="20" y="10"/>
                      <a:pt x="20" y="10"/>
                    </a:cubicBezTo>
                    <a:cubicBezTo>
                      <a:pt x="20" y="10"/>
                      <a:pt x="20" y="10"/>
                      <a:pt x="19" y="10"/>
                    </a:cubicBezTo>
                    <a:close/>
                    <a:moveTo>
                      <a:pt x="21" y="9"/>
                    </a:moveTo>
                    <a:cubicBezTo>
                      <a:pt x="21" y="10"/>
                      <a:pt x="21" y="9"/>
                      <a:pt x="21" y="9"/>
                    </a:cubicBezTo>
                    <a:cubicBezTo>
                      <a:pt x="21" y="9"/>
                      <a:pt x="21" y="9"/>
                      <a:pt x="21" y="9"/>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5" y="13"/>
                    </a:moveTo>
                    <a:cubicBezTo>
                      <a:pt x="4" y="13"/>
                      <a:pt x="4" y="13"/>
                      <a:pt x="4" y="13"/>
                    </a:cubicBezTo>
                    <a:cubicBezTo>
                      <a:pt x="4" y="13"/>
                      <a:pt x="5" y="13"/>
                      <a:pt x="5" y="13"/>
                    </a:cubicBezTo>
                    <a:cubicBezTo>
                      <a:pt x="5" y="13"/>
                      <a:pt x="5" y="13"/>
                      <a:pt x="5" y="13"/>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0" y="9"/>
                    </a:moveTo>
                    <a:cubicBezTo>
                      <a:pt x="0" y="9"/>
                      <a:pt x="0" y="9"/>
                      <a:pt x="0" y="9"/>
                    </a:cubicBezTo>
                    <a:cubicBezTo>
                      <a:pt x="0" y="9"/>
                      <a:pt x="0" y="9"/>
                      <a:pt x="0" y="9"/>
                    </a:cubicBezTo>
                    <a:cubicBezTo>
                      <a:pt x="0" y="9"/>
                      <a:pt x="0" y="9"/>
                      <a:pt x="0" y="9"/>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0" y="4"/>
                    </a:moveTo>
                    <a:cubicBezTo>
                      <a:pt x="10" y="4"/>
                      <a:pt x="11" y="4"/>
                      <a:pt x="10" y="4"/>
                    </a:cubicBezTo>
                    <a:cubicBezTo>
                      <a:pt x="10" y="4"/>
                      <a:pt x="10" y="4"/>
                      <a:pt x="10" y="4"/>
                    </a:cubicBezTo>
                    <a:cubicBezTo>
                      <a:pt x="10" y="4"/>
                      <a:pt x="10" y="4"/>
                      <a:pt x="10" y="4"/>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11"/>
                    </a:moveTo>
                    <a:cubicBezTo>
                      <a:pt x="10" y="11"/>
                      <a:pt x="10" y="11"/>
                      <a:pt x="10" y="11"/>
                    </a:cubicBezTo>
                    <a:cubicBezTo>
                      <a:pt x="10" y="11"/>
                      <a:pt x="10" y="11"/>
                      <a:pt x="10" y="11"/>
                    </a:cubicBezTo>
                    <a:close/>
                    <a:moveTo>
                      <a:pt x="12" y="4"/>
                    </a:moveTo>
                    <a:cubicBezTo>
                      <a:pt x="12" y="4"/>
                      <a:pt x="12" y="4"/>
                      <a:pt x="12" y="4"/>
                    </a:cubicBezTo>
                    <a:cubicBezTo>
                      <a:pt x="12" y="4"/>
                      <a:pt x="12" y="4"/>
                      <a:pt x="12" y="4"/>
                    </a:cubicBezTo>
                    <a:close/>
                    <a:moveTo>
                      <a:pt x="4" y="13"/>
                    </a:moveTo>
                    <a:cubicBezTo>
                      <a:pt x="4" y="13"/>
                      <a:pt x="4" y="13"/>
                      <a:pt x="4" y="13"/>
                    </a:cubicBezTo>
                    <a:cubicBezTo>
                      <a:pt x="4" y="13"/>
                      <a:pt x="4" y="13"/>
                      <a:pt x="4" y="13"/>
                    </a:cubicBezTo>
                    <a:cubicBezTo>
                      <a:pt x="4" y="13"/>
                      <a:pt x="4" y="13"/>
                      <a:pt x="4" y="13"/>
                    </a:cubicBezTo>
                    <a:close/>
                    <a:moveTo>
                      <a:pt x="4" y="13"/>
                    </a:moveTo>
                    <a:cubicBezTo>
                      <a:pt x="4" y="13"/>
                      <a:pt x="4" y="13"/>
                      <a:pt x="4" y="13"/>
                    </a:cubicBezTo>
                    <a:cubicBezTo>
                      <a:pt x="4" y="13"/>
                      <a:pt x="4" y="13"/>
                      <a:pt x="4" y="13"/>
                    </a:cubicBezTo>
                    <a:cubicBezTo>
                      <a:pt x="4" y="13"/>
                      <a:pt x="4" y="13"/>
                      <a:pt x="4" y="13"/>
                    </a:cubicBezTo>
                    <a:cubicBezTo>
                      <a:pt x="4" y="13"/>
                      <a:pt x="4" y="13"/>
                      <a:pt x="4" y="13"/>
                    </a:cubicBezTo>
                    <a:close/>
                    <a:moveTo>
                      <a:pt x="16" y="5"/>
                    </a:moveTo>
                    <a:cubicBezTo>
                      <a:pt x="16" y="5"/>
                      <a:pt x="16" y="5"/>
                      <a:pt x="16" y="5"/>
                    </a:cubicBezTo>
                    <a:cubicBezTo>
                      <a:pt x="16" y="5"/>
                      <a:pt x="16" y="5"/>
                      <a:pt x="16" y="5"/>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1"/>
                    </a:moveTo>
                    <a:cubicBezTo>
                      <a:pt x="12" y="11"/>
                      <a:pt x="12" y="11"/>
                      <a:pt x="12" y="11"/>
                    </a:cubicBezTo>
                    <a:cubicBezTo>
                      <a:pt x="12" y="11"/>
                      <a:pt x="12" y="11"/>
                      <a:pt x="12" y="11"/>
                    </a:cubicBezTo>
                    <a:cubicBezTo>
                      <a:pt x="12" y="11"/>
                      <a:pt x="12" y="11"/>
                      <a:pt x="12" y="11"/>
                    </a:cubicBezTo>
                    <a:close/>
                    <a:moveTo>
                      <a:pt x="12" y="4"/>
                    </a:moveTo>
                    <a:cubicBezTo>
                      <a:pt x="12" y="4"/>
                      <a:pt x="12" y="4"/>
                      <a:pt x="12" y="4"/>
                    </a:cubicBezTo>
                    <a:cubicBezTo>
                      <a:pt x="12" y="4"/>
                      <a:pt x="12" y="4"/>
                      <a:pt x="12" y="4"/>
                    </a:cubicBezTo>
                    <a:cubicBezTo>
                      <a:pt x="12" y="5"/>
                      <a:pt x="12" y="5"/>
                      <a:pt x="12" y="5"/>
                    </a:cubicBezTo>
                    <a:cubicBezTo>
                      <a:pt x="12" y="5"/>
                      <a:pt x="12" y="5"/>
                      <a:pt x="12" y="4"/>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6" y="9"/>
                    </a:moveTo>
                    <a:cubicBezTo>
                      <a:pt x="16" y="9"/>
                      <a:pt x="16" y="9"/>
                      <a:pt x="16" y="9"/>
                    </a:cubicBezTo>
                    <a:cubicBezTo>
                      <a:pt x="16" y="9"/>
                      <a:pt x="16" y="9"/>
                      <a:pt x="16" y="9"/>
                    </a:cubicBezTo>
                    <a:close/>
                    <a:moveTo>
                      <a:pt x="1" y="0"/>
                    </a:moveTo>
                    <a:cubicBezTo>
                      <a:pt x="1" y="0"/>
                      <a:pt x="1" y="0"/>
                      <a:pt x="1" y="0"/>
                    </a:cubicBezTo>
                    <a:cubicBezTo>
                      <a:pt x="1" y="0"/>
                      <a:pt x="1" y="0"/>
                      <a:pt x="1" y="0"/>
                    </a:cubicBezTo>
                    <a:cubicBezTo>
                      <a:pt x="1" y="0"/>
                      <a:pt x="1" y="0"/>
                      <a:pt x="1" y="0"/>
                    </a:cubicBezTo>
                    <a:cubicBezTo>
                      <a:pt x="1" y="0"/>
                      <a:pt x="1" y="0"/>
                      <a:pt x="1" y="0"/>
                    </a:cubicBezTo>
                    <a:close/>
                    <a:moveTo>
                      <a:pt x="12" y="14"/>
                    </a:moveTo>
                    <a:cubicBezTo>
                      <a:pt x="12" y="14"/>
                      <a:pt x="12" y="14"/>
                      <a:pt x="12" y="14"/>
                    </a:cubicBezTo>
                    <a:cubicBezTo>
                      <a:pt x="12" y="14"/>
                      <a:pt x="12" y="14"/>
                      <a:pt x="12" y="14"/>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0" y="5"/>
                    </a:moveTo>
                    <a:cubicBezTo>
                      <a:pt x="20" y="5"/>
                      <a:pt x="20" y="5"/>
                      <a:pt x="20" y="5"/>
                    </a:cubicBezTo>
                    <a:cubicBezTo>
                      <a:pt x="20" y="5"/>
                      <a:pt x="20" y="5"/>
                      <a:pt x="20" y="5"/>
                    </a:cubicBezTo>
                    <a:cubicBezTo>
                      <a:pt x="20" y="5"/>
                      <a:pt x="20" y="5"/>
                      <a:pt x="20" y="5"/>
                    </a:cubicBezTo>
                    <a:cubicBezTo>
                      <a:pt x="20" y="5"/>
                      <a:pt x="20" y="5"/>
                      <a:pt x="20" y="5"/>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3"/>
                    </a:moveTo>
                    <a:cubicBezTo>
                      <a:pt x="10" y="3"/>
                      <a:pt x="10" y="3"/>
                      <a:pt x="10" y="3"/>
                    </a:cubicBezTo>
                    <a:cubicBezTo>
                      <a:pt x="10" y="3"/>
                      <a:pt x="10" y="3"/>
                      <a:pt x="10" y="3"/>
                    </a:cubicBezTo>
                    <a:cubicBezTo>
                      <a:pt x="10" y="3"/>
                      <a:pt x="10" y="3"/>
                      <a:pt x="10" y="3"/>
                    </a:cubicBezTo>
                    <a:cubicBezTo>
                      <a:pt x="10" y="3"/>
                      <a:pt x="10" y="3"/>
                      <a:pt x="10" y="3"/>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17" y="9"/>
                    </a:moveTo>
                    <a:cubicBezTo>
                      <a:pt x="17" y="9"/>
                      <a:pt x="17" y="9"/>
                      <a:pt x="17" y="9"/>
                    </a:cubicBezTo>
                    <a:cubicBezTo>
                      <a:pt x="17" y="9"/>
                      <a:pt x="17" y="9"/>
                      <a:pt x="17" y="9"/>
                    </a:cubicBezTo>
                    <a:cubicBezTo>
                      <a:pt x="17" y="9"/>
                      <a:pt x="17" y="9"/>
                      <a:pt x="17" y="9"/>
                    </a:cubicBezTo>
                    <a:cubicBezTo>
                      <a:pt x="17" y="9"/>
                      <a:pt x="17" y="9"/>
                      <a:pt x="17" y="9"/>
                    </a:cubicBezTo>
                    <a:close/>
                    <a:moveTo>
                      <a:pt x="3" y="0"/>
                    </a:moveTo>
                    <a:cubicBezTo>
                      <a:pt x="3" y="0"/>
                      <a:pt x="2" y="0"/>
                      <a:pt x="2" y="0"/>
                    </a:cubicBezTo>
                    <a:cubicBezTo>
                      <a:pt x="2" y="0"/>
                      <a:pt x="3" y="0"/>
                      <a:pt x="3" y="0"/>
                    </a:cubicBezTo>
                    <a:cubicBezTo>
                      <a:pt x="3" y="0"/>
                      <a:pt x="3" y="0"/>
                      <a:pt x="3" y="0"/>
                    </a:cubicBezTo>
                    <a:cubicBezTo>
                      <a:pt x="3" y="0"/>
                      <a:pt x="3" y="0"/>
                      <a:pt x="3" y="0"/>
                    </a:cubicBezTo>
                    <a:close/>
                    <a:moveTo>
                      <a:pt x="2" y="9"/>
                    </a:moveTo>
                    <a:cubicBezTo>
                      <a:pt x="2" y="9"/>
                      <a:pt x="2" y="9"/>
                      <a:pt x="2" y="9"/>
                    </a:cubicBezTo>
                    <a:cubicBezTo>
                      <a:pt x="2" y="9"/>
                      <a:pt x="2" y="9"/>
                      <a:pt x="2" y="9"/>
                    </a:cubicBezTo>
                    <a:cubicBezTo>
                      <a:pt x="2" y="9"/>
                      <a:pt x="2" y="9"/>
                      <a:pt x="2" y="9"/>
                    </a:cubicBezTo>
                    <a:cubicBezTo>
                      <a:pt x="2" y="9"/>
                      <a:pt x="2" y="9"/>
                      <a:pt x="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2" name="Freeform 688">
                <a:extLst>
                  <a:ext uri="{FF2B5EF4-FFF2-40B4-BE49-F238E27FC236}">
                    <a16:creationId xmlns:a16="http://schemas.microsoft.com/office/drawing/2014/main" id="{B6A42743-32DC-184B-A0ED-6ACF2A561615}"/>
                  </a:ext>
                </a:extLst>
              </p:cNvPr>
              <p:cNvSpPr>
                <a:spLocks noEditPoints="1"/>
              </p:cNvSpPr>
              <p:nvPr/>
            </p:nvSpPr>
            <p:spPr bwMode="auto">
              <a:xfrm>
                <a:off x="3219451" y="5387975"/>
                <a:ext cx="274637" cy="1470025"/>
              </a:xfrm>
              <a:custGeom>
                <a:avLst/>
                <a:gdLst>
                  <a:gd name="T0" fmla="*/ 15 w 66"/>
                  <a:gd name="T1" fmla="*/ 206 h 353"/>
                  <a:gd name="T2" fmla="*/ 51 w 66"/>
                  <a:gd name="T3" fmla="*/ 25 h 353"/>
                  <a:gd name="T4" fmla="*/ 40 w 66"/>
                  <a:gd name="T5" fmla="*/ 25 h 353"/>
                  <a:gd name="T6" fmla="*/ 35 w 66"/>
                  <a:gd name="T7" fmla="*/ 71 h 353"/>
                  <a:gd name="T8" fmla="*/ 28 w 66"/>
                  <a:gd name="T9" fmla="*/ 129 h 353"/>
                  <a:gd name="T10" fmla="*/ 16 w 66"/>
                  <a:gd name="T11" fmla="*/ 182 h 353"/>
                  <a:gd name="T12" fmla="*/ 24 w 66"/>
                  <a:gd name="T13" fmla="*/ 206 h 353"/>
                  <a:gd name="T14" fmla="*/ 19 w 66"/>
                  <a:gd name="T15" fmla="*/ 221 h 353"/>
                  <a:gd name="T16" fmla="*/ 17 w 66"/>
                  <a:gd name="T17" fmla="*/ 232 h 353"/>
                  <a:gd name="T18" fmla="*/ 16 w 66"/>
                  <a:gd name="T19" fmla="*/ 243 h 353"/>
                  <a:gd name="T20" fmla="*/ 7 w 66"/>
                  <a:gd name="T21" fmla="*/ 240 h 353"/>
                  <a:gd name="T22" fmla="*/ 7 w 66"/>
                  <a:gd name="T23" fmla="*/ 249 h 353"/>
                  <a:gd name="T24" fmla="*/ 12 w 66"/>
                  <a:gd name="T25" fmla="*/ 261 h 353"/>
                  <a:gd name="T26" fmla="*/ 10 w 66"/>
                  <a:gd name="T27" fmla="*/ 267 h 353"/>
                  <a:gd name="T28" fmla="*/ 6 w 66"/>
                  <a:gd name="T29" fmla="*/ 271 h 353"/>
                  <a:gd name="T30" fmla="*/ 12 w 66"/>
                  <a:gd name="T31" fmla="*/ 278 h 353"/>
                  <a:gd name="T32" fmla="*/ 12 w 66"/>
                  <a:gd name="T33" fmla="*/ 291 h 353"/>
                  <a:gd name="T34" fmla="*/ 14 w 66"/>
                  <a:gd name="T35" fmla="*/ 299 h 353"/>
                  <a:gd name="T36" fmla="*/ 19 w 66"/>
                  <a:gd name="T37" fmla="*/ 304 h 353"/>
                  <a:gd name="T38" fmla="*/ 15 w 66"/>
                  <a:gd name="T39" fmla="*/ 316 h 353"/>
                  <a:gd name="T40" fmla="*/ 20 w 66"/>
                  <a:gd name="T41" fmla="*/ 318 h 353"/>
                  <a:gd name="T42" fmla="*/ 26 w 66"/>
                  <a:gd name="T43" fmla="*/ 321 h 353"/>
                  <a:gd name="T44" fmla="*/ 47 w 66"/>
                  <a:gd name="T45" fmla="*/ 308 h 353"/>
                  <a:gd name="T46" fmla="*/ 16 w 66"/>
                  <a:gd name="T47" fmla="*/ 285 h 353"/>
                  <a:gd name="T48" fmla="*/ 30 w 66"/>
                  <a:gd name="T49" fmla="*/ 236 h 353"/>
                  <a:gd name="T50" fmla="*/ 28 w 66"/>
                  <a:gd name="T51" fmla="*/ 200 h 353"/>
                  <a:gd name="T52" fmla="*/ 32 w 66"/>
                  <a:gd name="T53" fmla="*/ 156 h 353"/>
                  <a:gd name="T54" fmla="*/ 38 w 66"/>
                  <a:gd name="T55" fmla="*/ 114 h 353"/>
                  <a:gd name="T56" fmla="*/ 52 w 66"/>
                  <a:gd name="T57" fmla="*/ 58 h 353"/>
                  <a:gd name="T58" fmla="*/ 42 w 66"/>
                  <a:gd name="T59" fmla="*/ 325 h 353"/>
                  <a:gd name="T60" fmla="*/ 37 w 66"/>
                  <a:gd name="T61" fmla="*/ 324 h 353"/>
                  <a:gd name="T62" fmla="*/ 29 w 66"/>
                  <a:gd name="T63" fmla="*/ 337 h 353"/>
                  <a:gd name="T64" fmla="*/ 59 w 66"/>
                  <a:gd name="T65" fmla="*/ 345 h 353"/>
                  <a:gd name="T66" fmla="*/ 41 w 66"/>
                  <a:gd name="T67" fmla="*/ 343 h 353"/>
                  <a:gd name="T68" fmla="*/ 55 w 66"/>
                  <a:gd name="T69" fmla="*/ 349 h 353"/>
                  <a:gd name="T70" fmla="*/ 29 w 66"/>
                  <a:gd name="T71" fmla="*/ 329 h 353"/>
                  <a:gd name="T72" fmla="*/ 32 w 66"/>
                  <a:gd name="T73" fmla="*/ 332 h 353"/>
                  <a:gd name="T74" fmla="*/ 37 w 66"/>
                  <a:gd name="T75" fmla="*/ 343 h 353"/>
                  <a:gd name="T76" fmla="*/ 33 w 66"/>
                  <a:gd name="T77" fmla="*/ 340 h 353"/>
                  <a:gd name="T78" fmla="*/ 19 w 66"/>
                  <a:gd name="T79" fmla="*/ 327 h 353"/>
                  <a:gd name="T80" fmla="*/ 20 w 66"/>
                  <a:gd name="T81" fmla="*/ 324 h 353"/>
                  <a:gd name="T82" fmla="*/ 17 w 66"/>
                  <a:gd name="T83" fmla="*/ 322 h 353"/>
                  <a:gd name="T84" fmla="*/ 13 w 66"/>
                  <a:gd name="T85" fmla="*/ 308 h 353"/>
                  <a:gd name="T86" fmla="*/ 9 w 66"/>
                  <a:gd name="T87" fmla="*/ 303 h 353"/>
                  <a:gd name="T88" fmla="*/ 7 w 66"/>
                  <a:gd name="T89" fmla="*/ 302 h 353"/>
                  <a:gd name="T90" fmla="*/ 9 w 66"/>
                  <a:gd name="T91" fmla="*/ 305 h 353"/>
                  <a:gd name="T92" fmla="*/ 5 w 66"/>
                  <a:gd name="T93" fmla="*/ 298 h 353"/>
                  <a:gd name="T94" fmla="*/ 9 w 66"/>
                  <a:gd name="T95" fmla="*/ 298 h 353"/>
                  <a:gd name="T96" fmla="*/ 9 w 66"/>
                  <a:gd name="T97" fmla="*/ 289 h 353"/>
                  <a:gd name="T98" fmla="*/ 3 w 66"/>
                  <a:gd name="T99" fmla="*/ 291 h 353"/>
                  <a:gd name="T100" fmla="*/ 3 w 66"/>
                  <a:gd name="T101" fmla="*/ 287 h 353"/>
                  <a:gd name="T102" fmla="*/ 1 w 66"/>
                  <a:gd name="T103" fmla="*/ 267 h 353"/>
                  <a:gd name="T104" fmla="*/ 7 w 66"/>
                  <a:gd name="T105" fmla="*/ 261 h 353"/>
                  <a:gd name="T106" fmla="*/ 5 w 66"/>
                  <a:gd name="T107" fmla="*/ 259 h 353"/>
                  <a:gd name="T108" fmla="*/ 9 w 66"/>
                  <a:gd name="T109" fmla="*/ 236 h 353"/>
                  <a:gd name="T110" fmla="*/ 12 w 66"/>
                  <a:gd name="T111" fmla="*/ 232 h 353"/>
                  <a:gd name="T112" fmla="*/ 19 w 66"/>
                  <a:gd name="T113" fmla="*/ 225 h 353"/>
                  <a:gd name="T114" fmla="*/ 13 w 66"/>
                  <a:gd name="T115" fmla="*/ 227 h 353"/>
                  <a:gd name="T116" fmla="*/ 14 w 66"/>
                  <a:gd name="T117" fmla="*/ 229 h 353"/>
                  <a:gd name="T118" fmla="*/ 12 w 66"/>
                  <a:gd name="T119" fmla="*/ 227 h 353"/>
                  <a:gd name="T120" fmla="*/ 13 w 66"/>
                  <a:gd name="T121" fmla="*/ 221 h 353"/>
                  <a:gd name="T122" fmla="*/ 56 w 66"/>
                  <a:gd name="T123" fmla="*/ 352 h 353"/>
                  <a:gd name="T124" fmla="*/ 60 w 66"/>
                  <a:gd name="T125" fmla="*/ 35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353">
                    <a:moveTo>
                      <a:pt x="10" y="214"/>
                    </a:moveTo>
                    <a:cubicBezTo>
                      <a:pt x="10" y="214"/>
                      <a:pt x="10" y="214"/>
                      <a:pt x="10" y="213"/>
                    </a:cubicBezTo>
                    <a:cubicBezTo>
                      <a:pt x="10" y="213"/>
                      <a:pt x="10" y="213"/>
                      <a:pt x="10" y="213"/>
                    </a:cubicBezTo>
                    <a:cubicBezTo>
                      <a:pt x="10" y="213"/>
                      <a:pt x="11" y="213"/>
                      <a:pt x="11" y="212"/>
                    </a:cubicBezTo>
                    <a:cubicBezTo>
                      <a:pt x="11" y="212"/>
                      <a:pt x="11" y="212"/>
                      <a:pt x="11" y="211"/>
                    </a:cubicBezTo>
                    <a:cubicBezTo>
                      <a:pt x="11" y="211"/>
                      <a:pt x="11" y="211"/>
                      <a:pt x="11" y="211"/>
                    </a:cubicBezTo>
                    <a:cubicBezTo>
                      <a:pt x="11" y="210"/>
                      <a:pt x="11" y="210"/>
                      <a:pt x="11" y="210"/>
                    </a:cubicBezTo>
                    <a:cubicBezTo>
                      <a:pt x="11" y="210"/>
                      <a:pt x="11" y="209"/>
                      <a:pt x="11" y="209"/>
                    </a:cubicBezTo>
                    <a:cubicBezTo>
                      <a:pt x="11" y="209"/>
                      <a:pt x="11" y="209"/>
                      <a:pt x="11" y="209"/>
                    </a:cubicBezTo>
                    <a:cubicBezTo>
                      <a:pt x="11" y="208"/>
                      <a:pt x="12" y="208"/>
                      <a:pt x="12" y="208"/>
                    </a:cubicBezTo>
                    <a:cubicBezTo>
                      <a:pt x="12" y="208"/>
                      <a:pt x="12" y="208"/>
                      <a:pt x="11" y="207"/>
                    </a:cubicBezTo>
                    <a:cubicBezTo>
                      <a:pt x="11" y="207"/>
                      <a:pt x="11" y="207"/>
                      <a:pt x="11" y="207"/>
                    </a:cubicBezTo>
                    <a:cubicBezTo>
                      <a:pt x="11" y="207"/>
                      <a:pt x="11" y="207"/>
                      <a:pt x="11" y="207"/>
                    </a:cubicBezTo>
                    <a:cubicBezTo>
                      <a:pt x="11" y="206"/>
                      <a:pt x="11" y="206"/>
                      <a:pt x="11" y="205"/>
                    </a:cubicBezTo>
                    <a:cubicBezTo>
                      <a:pt x="11" y="205"/>
                      <a:pt x="11" y="205"/>
                      <a:pt x="11" y="204"/>
                    </a:cubicBezTo>
                    <a:cubicBezTo>
                      <a:pt x="11" y="204"/>
                      <a:pt x="12" y="204"/>
                      <a:pt x="12" y="204"/>
                    </a:cubicBezTo>
                    <a:cubicBezTo>
                      <a:pt x="12" y="204"/>
                      <a:pt x="12" y="203"/>
                      <a:pt x="12" y="203"/>
                    </a:cubicBezTo>
                    <a:cubicBezTo>
                      <a:pt x="12" y="203"/>
                      <a:pt x="12" y="202"/>
                      <a:pt x="12" y="202"/>
                    </a:cubicBezTo>
                    <a:cubicBezTo>
                      <a:pt x="12" y="202"/>
                      <a:pt x="12" y="201"/>
                      <a:pt x="12" y="201"/>
                    </a:cubicBezTo>
                    <a:cubicBezTo>
                      <a:pt x="12" y="201"/>
                      <a:pt x="12" y="201"/>
                      <a:pt x="12" y="201"/>
                    </a:cubicBezTo>
                    <a:cubicBezTo>
                      <a:pt x="12" y="201"/>
                      <a:pt x="12" y="200"/>
                      <a:pt x="12" y="200"/>
                    </a:cubicBezTo>
                    <a:cubicBezTo>
                      <a:pt x="12" y="200"/>
                      <a:pt x="12" y="200"/>
                      <a:pt x="12" y="200"/>
                    </a:cubicBezTo>
                    <a:cubicBezTo>
                      <a:pt x="13" y="200"/>
                      <a:pt x="13" y="200"/>
                      <a:pt x="13" y="200"/>
                    </a:cubicBezTo>
                    <a:cubicBezTo>
                      <a:pt x="13" y="200"/>
                      <a:pt x="13" y="201"/>
                      <a:pt x="13" y="201"/>
                    </a:cubicBezTo>
                    <a:cubicBezTo>
                      <a:pt x="13" y="201"/>
                      <a:pt x="13" y="201"/>
                      <a:pt x="13" y="201"/>
                    </a:cubicBezTo>
                    <a:cubicBezTo>
                      <a:pt x="13" y="201"/>
                      <a:pt x="13" y="201"/>
                      <a:pt x="13"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5" y="200"/>
                    </a:cubicBezTo>
                    <a:cubicBezTo>
                      <a:pt x="15" y="200"/>
                      <a:pt x="15" y="201"/>
                      <a:pt x="15" y="201"/>
                    </a:cubicBezTo>
                    <a:cubicBezTo>
                      <a:pt x="15" y="201"/>
                      <a:pt x="15" y="201"/>
                      <a:pt x="16" y="201"/>
                    </a:cubicBezTo>
                    <a:cubicBezTo>
                      <a:pt x="16" y="201"/>
                      <a:pt x="16" y="200"/>
                      <a:pt x="16" y="200"/>
                    </a:cubicBezTo>
                    <a:cubicBezTo>
                      <a:pt x="16" y="200"/>
                      <a:pt x="16" y="201"/>
                      <a:pt x="16" y="201"/>
                    </a:cubicBezTo>
                    <a:cubicBezTo>
                      <a:pt x="16" y="201"/>
                      <a:pt x="16" y="201"/>
                      <a:pt x="16" y="201"/>
                    </a:cubicBezTo>
                    <a:cubicBezTo>
                      <a:pt x="16" y="201"/>
                      <a:pt x="16" y="201"/>
                      <a:pt x="16" y="201"/>
                    </a:cubicBezTo>
                    <a:cubicBezTo>
                      <a:pt x="16" y="201"/>
                      <a:pt x="16" y="201"/>
                      <a:pt x="16" y="202"/>
                    </a:cubicBezTo>
                    <a:cubicBezTo>
                      <a:pt x="16" y="202"/>
                      <a:pt x="16" y="202"/>
                      <a:pt x="16" y="202"/>
                    </a:cubicBezTo>
                    <a:cubicBezTo>
                      <a:pt x="16" y="202"/>
                      <a:pt x="17" y="203"/>
                      <a:pt x="17" y="203"/>
                    </a:cubicBezTo>
                    <a:cubicBezTo>
                      <a:pt x="17" y="203"/>
                      <a:pt x="17" y="203"/>
                      <a:pt x="16" y="203"/>
                    </a:cubicBezTo>
                    <a:cubicBezTo>
                      <a:pt x="16" y="203"/>
                      <a:pt x="16" y="203"/>
                      <a:pt x="16" y="203"/>
                    </a:cubicBezTo>
                    <a:cubicBezTo>
                      <a:pt x="16" y="204"/>
                      <a:pt x="16" y="204"/>
                      <a:pt x="16" y="204"/>
                    </a:cubicBezTo>
                    <a:cubicBezTo>
                      <a:pt x="16" y="204"/>
                      <a:pt x="16" y="204"/>
                      <a:pt x="16" y="204"/>
                    </a:cubicBezTo>
                    <a:cubicBezTo>
                      <a:pt x="16" y="204"/>
                      <a:pt x="17" y="204"/>
                      <a:pt x="17" y="204"/>
                    </a:cubicBezTo>
                    <a:cubicBezTo>
                      <a:pt x="17" y="204"/>
                      <a:pt x="17" y="204"/>
                      <a:pt x="17" y="204"/>
                    </a:cubicBezTo>
                    <a:cubicBezTo>
                      <a:pt x="17" y="204"/>
                      <a:pt x="17" y="204"/>
                      <a:pt x="17" y="204"/>
                    </a:cubicBezTo>
                    <a:cubicBezTo>
                      <a:pt x="17" y="204"/>
                      <a:pt x="17" y="205"/>
                      <a:pt x="17" y="205"/>
                    </a:cubicBezTo>
                    <a:cubicBezTo>
                      <a:pt x="17" y="205"/>
                      <a:pt x="17" y="205"/>
                      <a:pt x="17" y="205"/>
                    </a:cubicBezTo>
                    <a:cubicBezTo>
                      <a:pt x="17" y="205"/>
                      <a:pt x="17" y="205"/>
                      <a:pt x="16" y="205"/>
                    </a:cubicBezTo>
                    <a:cubicBezTo>
                      <a:pt x="16" y="205"/>
                      <a:pt x="16" y="205"/>
                      <a:pt x="16" y="205"/>
                    </a:cubicBezTo>
                    <a:cubicBezTo>
                      <a:pt x="16" y="205"/>
                      <a:pt x="16" y="205"/>
                      <a:pt x="16" y="205"/>
                    </a:cubicBezTo>
                    <a:cubicBezTo>
                      <a:pt x="15" y="206"/>
                      <a:pt x="16" y="206"/>
                      <a:pt x="16" y="206"/>
                    </a:cubicBezTo>
                    <a:cubicBezTo>
                      <a:pt x="16" y="206"/>
                      <a:pt x="16" y="206"/>
                      <a:pt x="16" y="206"/>
                    </a:cubicBezTo>
                    <a:cubicBezTo>
                      <a:pt x="16" y="206"/>
                      <a:pt x="16" y="206"/>
                      <a:pt x="16" y="207"/>
                    </a:cubicBezTo>
                    <a:cubicBezTo>
                      <a:pt x="16" y="207"/>
                      <a:pt x="16" y="207"/>
                      <a:pt x="16" y="207"/>
                    </a:cubicBezTo>
                    <a:cubicBezTo>
                      <a:pt x="16" y="207"/>
                      <a:pt x="16" y="207"/>
                      <a:pt x="16" y="207"/>
                    </a:cubicBezTo>
                    <a:cubicBezTo>
                      <a:pt x="16" y="207"/>
                      <a:pt x="16" y="206"/>
                      <a:pt x="15" y="206"/>
                    </a:cubicBezTo>
                    <a:cubicBezTo>
                      <a:pt x="15" y="206"/>
                      <a:pt x="15" y="206"/>
                      <a:pt x="15" y="206"/>
                    </a:cubicBezTo>
                    <a:cubicBezTo>
                      <a:pt x="15" y="206"/>
                      <a:pt x="15" y="206"/>
                      <a:pt x="15" y="206"/>
                    </a:cubicBezTo>
                    <a:cubicBezTo>
                      <a:pt x="15" y="206"/>
                      <a:pt x="15" y="207"/>
                      <a:pt x="15" y="207"/>
                    </a:cubicBezTo>
                    <a:cubicBezTo>
                      <a:pt x="15" y="207"/>
                      <a:pt x="15" y="207"/>
                      <a:pt x="15" y="207"/>
                    </a:cubicBezTo>
                    <a:cubicBezTo>
                      <a:pt x="15" y="207"/>
                      <a:pt x="15" y="207"/>
                      <a:pt x="15" y="207"/>
                    </a:cubicBezTo>
                    <a:cubicBezTo>
                      <a:pt x="15" y="207"/>
                      <a:pt x="15" y="207"/>
                      <a:pt x="15" y="207"/>
                    </a:cubicBezTo>
                    <a:cubicBezTo>
                      <a:pt x="14" y="208"/>
                      <a:pt x="14" y="208"/>
                      <a:pt x="14" y="208"/>
                    </a:cubicBezTo>
                    <a:cubicBezTo>
                      <a:pt x="14" y="208"/>
                      <a:pt x="14" y="208"/>
                      <a:pt x="14" y="208"/>
                    </a:cubicBezTo>
                    <a:cubicBezTo>
                      <a:pt x="14" y="208"/>
                      <a:pt x="14" y="208"/>
                      <a:pt x="14" y="208"/>
                    </a:cubicBezTo>
                    <a:cubicBezTo>
                      <a:pt x="15" y="209"/>
                      <a:pt x="15" y="209"/>
                      <a:pt x="16" y="209"/>
                    </a:cubicBezTo>
                    <a:cubicBezTo>
                      <a:pt x="16" y="210"/>
                      <a:pt x="16" y="210"/>
                      <a:pt x="16" y="210"/>
                    </a:cubicBezTo>
                    <a:cubicBezTo>
                      <a:pt x="16" y="211"/>
                      <a:pt x="16" y="211"/>
                      <a:pt x="16" y="211"/>
                    </a:cubicBezTo>
                    <a:cubicBezTo>
                      <a:pt x="16" y="211"/>
                      <a:pt x="16" y="211"/>
                      <a:pt x="15" y="211"/>
                    </a:cubicBezTo>
                    <a:cubicBezTo>
                      <a:pt x="15" y="211"/>
                      <a:pt x="15" y="211"/>
                      <a:pt x="15" y="211"/>
                    </a:cubicBezTo>
                    <a:cubicBezTo>
                      <a:pt x="15" y="211"/>
                      <a:pt x="15" y="211"/>
                      <a:pt x="15" y="211"/>
                    </a:cubicBezTo>
                    <a:cubicBezTo>
                      <a:pt x="16" y="211"/>
                      <a:pt x="16" y="211"/>
                      <a:pt x="16" y="212"/>
                    </a:cubicBezTo>
                    <a:cubicBezTo>
                      <a:pt x="16" y="212"/>
                      <a:pt x="16" y="212"/>
                      <a:pt x="16" y="212"/>
                    </a:cubicBezTo>
                    <a:cubicBezTo>
                      <a:pt x="16" y="212"/>
                      <a:pt x="16" y="212"/>
                      <a:pt x="16" y="212"/>
                    </a:cubicBezTo>
                    <a:cubicBezTo>
                      <a:pt x="16" y="213"/>
                      <a:pt x="16" y="213"/>
                      <a:pt x="16" y="213"/>
                    </a:cubicBezTo>
                    <a:cubicBezTo>
                      <a:pt x="16" y="213"/>
                      <a:pt x="15" y="213"/>
                      <a:pt x="15" y="213"/>
                    </a:cubicBezTo>
                    <a:cubicBezTo>
                      <a:pt x="15" y="213"/>
                      <a:pt x="15" y="213"/>
                      <a:pt x="15" y="213"/>
                    </a:cubicBezTo>
                    <a:cubicBezTo>
                      <a:pt x="15" y="213"/>
                      <a:pt x="14" y="213"/>
                      <a:pt x="14" y="213"/>
                    </a:cubicBezTo>
                    <a:cubicBezTo>
                      <a:pt x="14" y="213"/>
                      <a:pt x="14" y="213"/>
                      <a:pt x="14" y="213"/>
                    </a:cubicBezTo>
                    <a:cubicBezTo>
                      <a:pt x="14" y="214"/>
                      <a:pt x="14" y="214"/>
                      <a:pt x="14" y="214"/>
                    </a:cubicBezTo>
                    <a:cubicBezTo>
                      <a:pt x="15" y="214"/>
                      <a:pt x="15" y="214"/>
                      <a:pt x="15" y="214"/>
                    </a:cubicBezTo>
                    <a:cubicBezTo>
                      <a:pt x="15" y="214"/>
                      <a:pt x="15" y="214"/>
                      <a:pt x="15" y="214"/>
                    </a:cubicBezTo>
                    <a:cubicBezTo>
                      <a:pt x="15" y="215"/>
                      <a:pt x="15" y="215"/>
                      <a:pt x="15" y="215"/>
                    </a:cubicBezTo>
                    <a:cubicBezTo>
                      <a:pt x="15" y="215"/>
                      <a:pt x="15" y="215"/>
                      <a:pt x="15" y="215"/>
                    </a:cubicBezTo>
                    <a:cubicBezTo>
                      <a:pt x="15" y="215"/>
                      <a:pt x="15" y="215"/>
                      <a:pt x="15" y="216"/>
                    </a:cubicBezTo>
                    <a:cubicBezTo>
                      <a:pt x="15" y="216"/>
                      <a:pt x="15" y="216"/>
                      <a:pt x="15" y="216"/>
                    </a:cubicBezTo>
                    <a:cubicBezTo>
                      <a:pt x="15" y="216"/>
                      <a:pt x="15" y="216"/>
                      <a:pt x="15" y="216"/>
                    </a:cubicBezTo>
                    <a:cubicBezTo>
                      <a:pt x="14" y="216"/>
                      <a:pt x="14" y="216"/>
                      <a:pt x="14" y="216"/>
                    </a:cubicBezTo>
                    <a:cubicBezTo>
                      <a:pt x="14" y="216"/>
                      <a:pt x="14" y="216"/>
                      <a:pt x="14" y="216"/>
                    </a:cubicBezTo>
                    <a:cubicBezTo>
                      <a:pt x="13" y="216"/>
                      <a:pt x="13" y="215"/>
                      <a:pt x="13" y="215"/>
                    </a:cubicBezTo>
                    <a:cubicBezTo>
                      <a:pt x="13" y="215"/>
                      <a:pt x="13" y="215"/>
                      <a:pt x="13" y="215"/>
                    </a:cubicBezTo>
                    <a:cubicBezTo>
                      <a:pt x="13" y="215"/>
                      <a:pt x="13" y="215"/>
                      <a:pt x="12" y="215"/>
                    </a:cubicBezTo>
                    <a:cubicBezTo>
                      <a:pt x="12" y="215"/>
                      <a:pt x="12" y="215"/>
                      <a:pt x="12" y="215"/>
                    </a:cubicBezTo>
                    <a:cubicBezTo>
                      <a:pt x="12" y="215"/>
                      <a:pt x="12" y="216"/>
                      <a:pt x="12" y="216"/>
                    </a:cubicBezTo>
                    <a:cubicBezTo>
                      <a:pt x="12" y="216"/>
                      <a:pt x="12" y="216"/>
                      <a:pt x="12" y="215"/>
                    </a:cubicBezTo>
                    <a:cubicBezTo>
                      <a:pt x="11" y="215"/>
                      <a:pt x="11" y="215"/>
                      <a:pt x="11" y="215"/>
                    </a:cubicBezTo>
                    <a:cubicBezTo>
                      <a:pt x="10" y="215"/>
                      <a:pt x="10" y="215"/>
                      <a:pt x="10" y="214"/>
                    </a:cubicBezTo>
                    <a:close/>
                    <a:moveTo>
                      <a:pt x="60" y="40"/>
                    </a:moveTo>
                    <a:cubicBezTo>
                      <a:pt x="60" y="40"/>
                      <a:pt x="60" y="40"/>
                      <a:pt x="60" y="40"/>
                    </a:cubicBezTo>
                    <a:cubicBezTo>
                      <a:pt x="60" y="40"/>
                      <a:pt x="59" y="41"/>
                      <a:pt x="59" y="41"/>
                    </a:cubicBezTo>
                    <a:cubicBezTo>
                      <a:pt x="59" y="41"/>
                      <a:pt x="58" y="41"/>
                      <a:pt x="58" y="41"/>
                    </a:cubicBezTo>
                    <a:cubicBezTo>
                      <a:pt x="58" y="41"/>
                      <a:pt x="57" y="41"/>
                      <a:pt x="57" y="41"/>
                    </a:cubicBezTo>
                    <a:cubicBezTo>
                      <a:pt x="57" y="41"/>
                      <a:pt x="56" y="41"/>
                      <a:pt x="56" y="40"/>
                    </a:cubicBezTo>
                    <a:cubicBezTo>
                      <a:pt x="56" y="40"/>
                      <a:pt x="55" y="40"/>
                      <a:pt x="55" y="40"/>
                    </a:cubicBezTo>
                    <a:cubicBezTo>
                      <a:pt x="55" y="40"/>
                      <a:pt x="55" y="39"/>
                      <a:pt x="55" y="39"/>
                    </a:cubicBezTo>
                    <a:cubicBezTo>
                      <a:pt x="56" y="39"/>
                      <a:pt x="56" y="38"/>
                      <a:pt x="56" y="38"/>
                    </a:cubicBezTo>
                    <a:cubicBezTo>
                      <a:pt x="56" y="38"/>
                      <a:pt x="55" y="38"/>
                      <a:pt x="55" y="37"/>
                    </a:cubicBezTo>
                    <a:cubicBezTo>
                      <a:pt x="55" y="37"/>
                      <a:pt x="55" y="37"/>
                      <a:pt x="55" y="37"/>
                    </a:cubicBezTo>
                    <a:cubicBezTo>
                      <a:pt x="55" y="37"/>
                      <a:pt x="55" y="35"/>
                      <a:pt x="55" y="35"/>
                    </a:cubicBezTo>
                    <a:cubicBezTo>
                      <a:pt x="55" y="35"/>
                      <a:pt x="54" y="34"/>
                      <a:pt x="54" y="34"/>
                    </a:cubicBezTo>
                    <a:cubicBezTo>
                      <a:pt x="54" y="34"/>
                      <a:pt x="54" y="33"/>
                      <a:pt x="54" y="33"/>
                    </a:cubicBezTo>
                    <a:cubicBezTo>
                      <a:pt x="54" y="33"/>
                      <a:pt x="54" y="32"/>
                      <a:pt x="54" y="32"/>
                    </a:cubicBezTo>
                    <a:cubicBezTo>
                      <a:pt x="54" y="32"/>
                      <a:pt x="53" y="31"/>
                      <a:pt x="53" y="31"/>
                    </a:cubicBezTo>
                    <a:cubicBezTo>
                      <a:pt x="53" y="31"/>
                      <a:pt x="53" y="29"/>
                      <a:pt x="53" y="29"/>
                    </a:cubicBezTo>
                    <a:cubicBezTo>
                      <a:pt x="52" y="26"/>
                      <a:pt x="52" y="26"/>
                      <a:pt x="52" y="26"/>
                    </a:cubicBezTo>
                    <a:cubicBezTo>
                      <a:pt x="52" y="26"/>
                      <a:pt x="51" y="26"/>
                      <a:pt x="51" y="26"/>
                    </a:cubicBezTo>
                    <a:cubicBezTo>
                      <a:pt x="51" y="26"/>
                      <a:pt x="51" y="25"/>
                      <a:pt x="51" y="25"/>
                    </a:cubicBezTo>
                    <a:cubicBezTo>
                      <a:pt x="51" y="25"/>
                      <a:pt x="51" y="24"/>
                      <a:pt x="51" y="24"/>
                    </a:cubicBezTo>
                    <a:cubicBezTo>
                      <a:pt x="51" y="24"/>
                      <a:pt x="52" y="24"/>
                      <a:pt x="51" y="24"/>
                    </a:cubicBezTo>
                    <a:cubicBezTo>
                      <a:pt x="51" y="23"/>
                      <a:pt x="51" y="23"/>
                      <a:pt x="50" y="23"/>
                    </a:cubicBezTo>
                    <a:cubicBezTo>
                      <a:pt x="50" y="23"/>
                      <a:pt x="49" y="22"/>
                      <a:pt x="49" y="22"/>
                    </a:cubicBezTo>
                    <a:cubicBezTo>
                      <a:pt x="49" y="22"/>
                      <a:pt x="49" y="22"/>
                      <a:pt x="49" y="22"/>
                    </a:cubicBezTo>
                    <a:cubicBezTo>
                      <a:pt x="50" y="22"/>
                      <a:pt x="50" y="21"/>
                      <a:pt x="50" y="21"/>
                    </a:cubicBezTo>
                    <a:cubicBezTo>
                      <a:pt x="50" y="21"/>
                      <a:pt x="50" y="21"/>
                      <a:pt x="50" y="21"/>
                    </a:cubicBezTo>
                    <a:cubicBezTo>
                      <a:pt x="50" y="20"/>
                      <a:pt x="50" y="20"/>
                      <a:pt x="50" y="20"/>
                    </a:cubicBezTo>
                    <a:cubicBezTo>
                      <a:pt x="50" y="20"/>
                      <a:pt x="49" y="20"/>
                      <a:pt x="49" y="20"/>
                    </a:cubicBezTo>
                    <a:cubicBezTo>
                      <a:pt x="49" y="20"/>
                      <a:pt x="50" y="19"/>
                      <a:pt x="50" y="19"/>
                    </a:cubicBezTo>
                    <a:cubicBezTo>
                      <a:pt x="50" y="19"/>
                      <a:pt x="51" y="19"/>
                      <a:pt x="51" y="19"/>
                    </a:cubicBezTo>
                    <a:cubicBezTo>
                      <a:pt x="51" y="19"/>
                      <a:pt x="51" y="18"/>
                      <a:pt x="51" y="18"/>
                    </a:cubicBezTo>
                    <a:cubicBezTo>
                      <a:pt x="51" y="18"/>
                      <a:pt x="50" y="17"/>
                      <a:pt x="50" y="17"/>
                    </a:cubicBezTo>
                    <a:cubicBezTo>
                      <a:pt x="50" y="17"/>
                      <a:pt x="50" y="17"/>
                      <a:pt x="50" y="17"/>
                    </a:cubicBezTo>
                    <a:cubicBezTo>
                      <a:pt x="50" y="17"/>
                      <a:pt x="51" y="15"/>
                      <a:pt x="51" y="15"/>
                    </a:cubicBezTo>
                    <a:cubicBezTo>
                      <a:pt x="51" y="15"/>
                      <a:pt x="52" y="15"/>
                      <a:pt x="52" y="15"/>
                    </a:cubicBezTo>
                    <a:cubicBezTo>
                      <a:pt x="52" y="15"/>
                      <a:pt x="51" y="14"/>
                      <a:pt x="50" y="14"/>
                    </a:cubicBezTo>
                    <a:cubicBezTo>
                      <a:pt x="50" y="13"/>
                      <a:pt x="49" y="12"/>
                      <a:pt x="49" y="12"/>
                    </a:cubicBezTo>
                    <a:cubicBezTo>
                      <a:pt x="49" y="12"/>
                      <a:pt x="48" y="11"/>
                      <a:pt x="48" y="11"/>
                    </a:cubicBezTo>
                    <a:cubicBezTo>
                      <a:pt x="48" y="10"/>
                      <a:pt x="48" y="10"/>
                      <a:pt x="48" y="10"/>
                    </a:cubicBezTo>
                    <a:cubicBezTo>
                      <a:pt x="47" y="9"/>
                      <a:pt x="47" y="9"/>
                      <a:pt x="47" y="9"/>
                    </a:cubicBezTo>
                    <a:cubicBezTo>
                      <a:pt x="47" y="6"/>
                      <a:pt x="47" y="6"/>
                      <a:pt x="47" y="6"/>
                    </a:cubicBezTo>
                    <a:cubicBezTo>
                      <a:pt x="47" y="5"/>
                      <a:pt x="47" y="5"/>
                      <a:pt x="47" y="5"/>
                    </a:cubicBezTo>
                    <a:cubicBezTo>
                      <a:pt x="47" y="4"/>
                      <a:pt x="47" y="4"/>
                      <a:pt x="47" y="4"/>
                    </a:cubicBezTo>
                    <a:cubicBezTo>
                      <a:pt x="47" y="4"/>
                      <a:pt x="46" y="4"/>
                      <a:pt x="46" y="4"/>
                    </a:cubicBezTo>
                    <a:cubicBezTo>
                      <a:pt x="46" y="4"/>
                      <a:pt x="45" y="4"/>
                      <a:pt x="45" y="4"/>
                    </a:cubicBezTo>
                    <a:cubicBezTo>
                      <a:pt x="45" y="4"/>
                      <a:pt x="45" y="3"/>
                      <a:pt x="45" y="3"/>
                    </a:cubicBezTo>
                    <a:cubicBezTo>
                      <a:pt x="45" y="2"/>
                      <a:pt x="45" y="2"/>
                      <a:pt x="45" y="2"/>
                    </a:cubicBezTo>
                    <a:cubicBezTo>
                      <a:pt x="45" y="1"/>
                      <a:pt x="44" y="1"/>
                      <a:pt x="44" y="1"/>
                    </a:cubicBezTo>
                    <a:cubicBezTo>
                      <a:pt x="44" y="1"/>
                      <a:pt x="44" y="0"/>
                      <a:pt x="44" y="0"/>
                    </a:cubicBezTo>
                    <a:cubicBezTo>
                      <a:pt x="44" y="0"/>
                      <a:pt x="44" y="0"/>
                      <a:pt x="44" y="0"/>
                    </a:cubicBezTo>
                    <a:cubicBezTo>
                      <a:pt x="44" y="0"/>
                      <a:pt x="44" y="1"/>
                      <a:pt x="43" y="1"/>
                    </a:cubicBezTo>
                    <a:cubicBezTo>
                      <a:pt x="43" y="1"/>
                      <a:pt x="43" y="1"/>
                      <a:pt x="43" y="1"/>
                    </a:cubicBezTo>
                    <a:cubicBezTo>
                      <a:pt x="42" y="1"/>
                      <a:pt x="42" y="1"/>
                      <a:pt x="42" y="1"/>
                    </a:cubicBezTo>
                    <a:cubicBezTo>
                      <a:pt x="42" y="1"/>
                      <a:pt x="42" y="3"/>
                      <a:pt x="42" y="3"/>
                    </a:cubicBezTo>
                    <a:cubicBezTo>
                      <a:pt x="42" y="3"/>
                      <a:pt x="42" y="3"/>
                      <a:pt x="42" y="3"/>
                    </a:cubicBezTo>
                    <a:cubicBezTo>
                      <a:pt x="42" y="3"/>
                      <a:pt x="42" y="4"/>
                      <a:pt x="42" y="4"/>
                    </a:cubicBezTo>
                    <a:cubicBezTo>
                      <a:pt x="42" y="4"/>
                      <a:pt x="42" y="5"/>
                      <a:pt x="42" y="5"/>
                    </a:cubicBezTo>
                    <a:cubicBezTo>
                      <a:pt x="40" y="6"/>
                      <a:pt x="40" y="6"/>
                      <a:pt x="40" y="6"/>
                    </a:cubicBezTo>
                    <a:cubicBezTo>
                      <a:pt x="38" y="6"/>
                      <a:pt x="38" y="6"/>
                      <a:pt x="38" y="6"/>
                    </a:cubicBezTo>
                    <a:cubicBezTo>
                      <a:pt x="38" y="7"/>
                      <a:pt x="38" y="7"/>
                      <a:pt x="38" y="7"/>
                    </a:cubicBezTo>
                    <a:cubicBezTo>
                      <a:pt x="38" y="7"/>
                      <a:pt x="38" y="7"/>
                      <a:pt x="38" y="7"/>
                    </a:cubicBezTo>
                    <a:cubicBezTo>
                      <a:pt x="38" y="7"/>
                      <a:pt x="39" y="7"/>
                      <a:pt x="39" y="8"/>
                    </a:cubicBezTo>
                    <a:cubicBezTo>
                      <a:pt x="39" y="8"/>
                      <a:pt x="39" y="8"/>
                      <a:pt x="38" y="8"/>
                    </a:cubicBezTo>
                    <a:cubicBezTo>
                      <a:pt x="38" y="8"/>
                      <a:pt x="38" y="9"/>
                      <a:pt x="38" y="9"/>
                    </a:cubicBezTo>
                    <a:cubicBezTo>
                      <a:pt x="38" y="10"/>
                      <a:pt x="38" y="12"/>
                      <a:pt x="38" y="12"/>
                    </a:cubicBezTo>
                    <a:cubicBezTo>
                      <a:pt x="39" y="12"/>
                      <a:pt x="39" y="13"/>
                      <a:pt x="39" y="13"/>
                    </a:cubicBezTo>
                    <a:cubicBezTo>
                      <a:pt x="39" y="13"/>
                      <a:pt x="39" y="13"/>
                      <a:pt x="39" y="14"/>
                    </a:cubicBezTo>
                    <a:cubicBezTo>
                      <a:pt x="39" y="14"/>
                      <a:pt x="39" y="14"/>
                      <a:pt x="39" y="15"/>
                    </a:cubicBezTo>
                    <a:cubicBezTo>
                      <a:pt x="39" y="15"/>
                      <a:pt x="39" y="15"/>
                      <a:pt x="39" y="15"/>
                    </a:cubicBezTo>
                    <a:cubicBezTo>
                      <a:pt x="39" y="16"/>
                      <a:pt x="39" y="16"/>
                      <a:pt x="39" y="16"/>
                    </a:cubicBezTo>
                    <a:cubicBezTo>
                      <a:pt x="39" y="17"/>
                      <a:pt x="39" y="17"/>
                      <a:pt x="39" y="17"/>
                    </a:cubicBezTo>
                    <a:cubicBezTo>
                      <a:pt x="40" y="17"/>
                      <a:pt x="40" y="19"/>
                      <a:pt x="40" y="19"/>
                    </a:cubicBezTo>
                    <a:cubicBezTo>
                      <a:pt x="40" y="19"/>
                      <a:pt x="40" y="19"/>
                      <a:pt x="40" y="19"/>
                    </a:cubicBezTo>
                    <a:cubicBezTo>
                      <a:pt x="40" y="19"/>
                      <a:pt x="40" y="20"/>
                      <a:pt x="40" y="20"/>
                    </a:cubicBezTo>
                    <a:cubicBezTo>
                      <a:pt x="40" y="20"/>
                      <a:pt x="40" y="21"/>
                      <a:pt x="40" y="21"/>
                    </a:cubicBezTo>
                    <a:cubicBezTo>
                      <a:pt x="40" y="21"/>
                      <a:pt x="40" y="22"/>
                      <a:pt x="40" y="22"/>
                    </a:cubicBezTo>
                    <a:cubicBezTo>
                      <a:pt x="40" y="22"/>
                      <a:pt x="40" y="23"/>
                      <a:pt x="40" y="23"/>
                    </a:cubicBezTo>
                    <a:cubicBezTo>
                      <a:pt x="40" y="23"/>
                      <a:pt x="39" y="24"/>
                      <a:pt x="39" y="24"/>
                    </a:cubicBezTo>
                    <a:cubicBezTo>
                      <a:pt x="39" y="24"/>
                      <a:pt x="39" y="25"/>
                      <a:pt x="40" y="25"/>
                    </a:cubicBezTo>
                    <a:cubicBezTo>
                      <a:pt x="40" y="25"/>
                      <a:pt x="40" y="25"/>
                      <a:pt x="40" y="26"/>
                    </a:cubicBezTo>
                    <a:cubicBezTo>
                      <a:pt x="40" y="26"/>
                      <a:pt x="40" y="27"/>
                      <a:pt x="40" y="27"/>
                    </a:cubicBezTo>
                    <a:cubicBezTo>
                      <a:pt x="40" y="27"/>
                      <a:pt x="40" y="28"/>
                      <a:pt x="40" y="28"/>
                    </a:cubicBezTo>
                    <a:cubicBezTo>
                      <a:pt x="40" y="28"/>
                      <a:pt x="40" y="28"/>
                      <a:pt x="40" y="28"/>
                    </a:cubicBezTo>
                    <a:cubicBezTo>
                      <a:pt x="40" y="29"/>
                      <a:pt x="40" y="29"/>
                      <a:pt x="40" y="29"/>
                    </a:cubicBezTo>
                    <a:cubicBezTo>
                      <a:pt x="40" y="30"/>
                      <a:pt x="40" y="31"/>
                      <a:pt x="40" y="31"/>
                    </a:cubicBezTo>
                    <a:cubicBezTo>
                      <a:pt x="40" y="31"/>
                      <a:pt x="40" y="31"/>
                      <a:pt x="40" y="32"/>
                    </a:cubicBezTo>
                    <a:cubicBezTo>
                      <a:pt x="40" y="32"/>
                      <a:pt x="40" y="33"/>
                      <a:pt x="40" y="33"/>
                    </a:cubicBezTo>
                    <a:cubicBezTo>
                      <a:pt x="40" y="33"/>
                      <a:pt x="40" y="34"/>
                      <a:pt x="40" y="34"/>
                    </a:cubicBezTo>
                    <a:cubicBezTo>
                      <a:pt x="40" y="34"/>
                      <a:pt x="40" y="35"/>
                      <a:pt x="39" y="35"/>
                    </a:cubicBezTo>
                    <a:cubicBezTo>
                      <a:pt x="39" y="35"/>
                      <a:pt x="39" y="35"/>
                      <a:pt x="39" y="36"/>
                    </a:cubicBezTo>
                    <a:cubicBezTo>
                      <a:pt x="39" y="36"/>
                      <a:pt x="39" y="37"/>
                      <a:pt x="39" y="37"/>
                    </a:cubicBezTo>
                    <a:cubicBezTo>
                      <a:pt x="39" y="37"/>
                      <a:pt x="39" y="38"/>
                      <a:pt x="39" y="39"/>
                    </a:cubicBezTo>
                    <a:cubicBezTo>
                      <a:pt x="39" y="39"/>
                      <a:pt x="39" y="39"/>
                      <a:pt x="39" y="39"/>
                    </a:cubicBezTo>
                    <a:cubicBezTo>
                      <a:pt x="39" y="39"/>
                      <a:pt x="39" y="41"/>
                      <a:pt x="39" y="41"/>
                    </a:cubicBezTo>
                    <a:cubicBezTo>
                      <a:pt x="39" y="41"/>
                      <a:pt x="39" y="41"/>
                      <a:pt x="39" y="42"/>
                    </a:cubicBezTo>
                    <a:cubicBezTo>
                      <a:pt x="39" y="42"/>
                      <a:pt x="38" y="42"/>
                      <a:pt x="38" y="42"/>
                    </a:cubicBezTo>
                    <a:cubicBezTo>
                      <a:pt x="38" y="42"/>
                      <a:pt x="38" y="43"/>
                      <a:pt x="37" y="43"/>
                    </a:cubicBezTo>
                    <a:cubicBezTo>
                      <a:pt x="37" y="43"/>
                      <a:pt x="37" y="42"/>
                      <a:pt x="37" y="42"/>
                    </a:cubicBezTo>
                    <a:cubicBezTo>
                      <a:pt x="37" y="42"/>
                      <a:pt x="37" y="42"/>
                      <a:pt x="37" y="43"/>
                    </a:cubicBezTo>
                    <a:cubicBezTo>
                      <a:pt x="37" y="43"/>
                      <a:pt x="37" y="43"/>
                      <a:pt x="37" y="44"/>
                    </a:cubicBezTo>
                    <a:cubicBezTo>
                      <a:pt x="37" y="44"/>
                      <a:pt x="37" y="44"/>
                      <a:pt x="37" y="44"/>
                    </a:cubicBezTo>
                    <a:cubicBezTo>
                      <a:pt x="37" y="45"/>
                      <a:pt x="37" y="45"/>
                      <a:pt x="37" y="45"/>
                    </a:cubicBezTo>
                    <a:cubicBezTo>
                      <a:pt x="37" y="46"/>
                      <a:pt x="37" y="46"/>
                      <a:pt x="37" y="46"/>
                    </a:cubicBezTo>
                    <a:cubicBezTo>
                      <a:pt x="37" y="46"/>
                      <a:pt x="37" y="46"/>
                      <a:pt x="37" y="46"/>
                    </a:cubicBezTo>
                    <a:cubicBezTo>
                      <a:pt x="37" y="46"/>
                      <a:pt x="37" y="45"/>
                      <a:pt x="38" y="46"/>
                    </a:cubicBezTo>
                    <a:cubicBezTo>
                      <a:pt x="38" y="46"/>
                      <a:pt x="38" y="46"/>
                      <a:pt x="38" y="46"/>
                    </a:cubicBezTo>
                    <a:cubicBezTo>
                      <a:pt x="38" y="46"/>
                      <a:pt x="38" y="47"/>
                      <a:pt x="38" y="47"/>
                    </a:cubicBezTo>
                    <a:cubicBezTo>
                      <a:pt x="38" y="47"/>
                      <a:pt x="37" y="48"/>
                      <a:pt x="37" y="48"/>
                    </a:cubicBezTo>
                    <a:cubicBezTo>
                      <a:pt x="37" y="48"/>
                      <a:pt x="37" y="49"/>
                      <a:pt x="37" y="49"/>
                    </a:cubicBezTo>
                    <a:cubicBezTo>
                      <a:pt x="37" y="49"/>
                      <a:pt x="37" y="50"/>
                      <a:pt x="37" y="50"/>
                    </a:cubicBezTo>
                    <a:cubicBezTo>
                      <a:pt x="37" y="50"/>
                      <a:pt x="37" y="51"/>
                      <a:pt x="37" y="51"/>
                    </a:cubicBezTo>
                    <a:cubicBezTo>
                      <a:pt x="37" y="52"/>
                      <a:pt x="37" y="52"/>
                      <a:pt x="37" y="52"/>
                    </a:cubicBezTo>
                    <a:cubicBezTo>
                      <a:pt x="37" y="52"/>
                      <a:pt x="37" y="55"/>
                      <a:pt x="37" y="55"/>
                    </a:cubicBezTo>
                    <a:cubicBezTo>
                      <a:pt x="37" y="55"/>
                      <a:pt x="37" y="55"/>
                      <a:pt x="37" y="56"/>
                    </a:cubicBezTo>
                    <a:cubicBezTo>
                      <a:pt x="37" y="56"/>
                      <a:pt x="37" y="56"/>
                      <a:pt x="37" y="57"/>
                    </a:cubicBezTo>
                    <a:cubicBezTo>
                      <a:pt x="37" y="57"/>
                      <a:pt x="37" y="57"/>
                      <a:pt x="37" y="57"/>
                    </a:cubicBezTo>
                    <a:cubicBezTo>
                      <a:pt x="38" y="57"/>
                      <a:pt x="38" y="57"/>
                      <a:pt x="38" y="58"/>
                    </a:cubicBezTo>
                    <a:cubicBezTo>
                      <a:pt x="37" y="58"/>
                      <a:pt x="37" y="58"/>
                      <a:pt x="37" y="58"/>
                    </a:cubicBezTo>
                    <a:cubicBezTo>
                      <a:pt x="37" y="58"/>
                      <a:pt x="38" y="59"/>
                      <a:pt x="38" y="59"/>
                    </a:cubicBezTo>
                    <a:cubicBezTo>
                      <a:pt x="38" y="59"/>
                      <a:pt x="38" y="59"/>
                      <a:pt x="38" y="59"/>
                    </a:cubicBezTo>
                    <a:cubicBezTo>
                      <a:pt x="38" y="59"/>
                      <a:pt x="38" y="60"/>
                      <a:pt x="38" y="60"/>
                    </a:cubicBezTo>
                    <a:cubicBezTo>
                      <a:pt x="38" y="60"/>
                      <a:pt x="37" y="61"/>
                      <a:pt x="37" y="61"/>
                    </a:cubicBezTo>
                    <a:cubicBezTo>
                      <a:pt x="37" y="61"/>
                      <a:pt x="36" y="61"/>
                      <a:pt x="36" y="61"/>
                    </a:cubicBezTo>
                    <a:cubicBezTo>
                      <a:pt x="36" y="61"/>
                      <a:pt x="36" y="62"/>
                      <a:pt x="36" y="62"/>
                    </a:cubicBezTo>
                    <a:cubicBezTo>
                      <a:pt x="36" y="62"/>
                      <a:pt x="36" y="63"/>
                      <a:pt x="36" y="63"/>
                    </a:cubicBezTo>
                    <a:cubicBezTo>
                      <a:pt x="36" y="63"/>
                      <a:pt x="35" y="63"/>
                      <a:pt x="35" y="63"/>
                    </a:cubicBezTo>
                    <a:cubicBezTo>
                      <a:pt x="35" y="64"/>
                      <a:pt x="36" y="64"/>
                      <a:pt x="36" y="64"/>
                    </a:cubicBezTo>
                    <a:cubicBezTo>
                      <a:pt x="36" y="64"/>
                      <a:pt x="36" y="64"/>
                      <a:pt x="36" y="64"/>
                    </a:cubicBezTo>
                    <a:cubicBezTo>
                      <a:pt x="36" y="65"/>
                      <a:pt x="36" y="65"/>
                      <a:pt x="36" y="65"/>
                    </a:cubicBezTo>
                    <a:cubicBezTo>
                      <a:pt x="36" y="65"/>
                      <a:pt x="36" y="66"/>
                      <a:pt x="36" y="66"/>
                    </a:cubicBezTo>
                    <a:cubicBezTo>
                      <a:pt x="36" y="66"/>
                      <a:pt x="36" y="66"/>
                      <a:pt x="36" y="67"/>
                    </a:cubicBezTo>
                    <a:cubicBezTo>
                      <a:pt x="36" y="67"/>
                      <a:pt x="36" y="67"/>
                      <a:pt x="36" y="67"/>
                    </a:cubicBezTo>
                    <a:cubicBezTo>
                      <a:pt x="36" y="67"/>
                      <a:pt x="36" y="67"/>
                      <a:pt x="36" y="67"/>
                    </a:cubicBezTo>
                    <a:cubicBezTo>
                      <a:pt x="36" y="67"/>
                      <a:pt x="36" y="68"/>
                      <a:pt x="36" y="68"/>
                    </a:cubicBezTo>
                    <a:cubicBezTo>
                      <a:pt x="36" y="68"/>
                      <a:pt x="36" y="68"/>
                      <a:pt x="36" y="68"/>
                    </a:cubicBezTo>
                    <a:cubicBezTo>
                      <a:pt x="36" y="69"/>
                      <a:pt x="36" y="69"/>
                      <a:pt x="36" y="69"/>
                    </a:cubicBezTo>
                    <a:cubicBezTo>
                      <a:pt x="36" y="70"/>
                      <a:pt x="36" y="70"/>
                      <a:pt x="36" y="70"/>
                    </a:cubicBezTo>
                    <a:cubicBezTo>
                      <a:pt x="35" y="70"/>
                      <a:pt x="35" y="71"/>
                      <a:pt x="35" y="71"/>
                    </a:cubicBezTo>
                    <a:cubicBezTo>
                      <a:pt x="35" y="71"/>
                      <a:pt x="35" y="71"/>
                      <a:pt x="35" y="71"/>
                    </a:cubicBezTo>
                    <a:cubicBezTo>
                      <a:pt x="35" y="72"/>
                      <a:pt x="35" y="72"/>
                      <a:pt x="35" y="72"/>
                    </a:cubicBezTo>
                    <a:cubicBezTo>
                      <a:pt x="35" y="72"/>
                      <a:pt x="35" y="73"/>
                      <a:pt x="35" y="73"/>
                    </a:cubicBezTo>
                    <a:cubicBezTo>
                      <a:pt x="35" y="73"/>
                      <a:pt x="35" y="73"/>
                      <a:pt x="35" y="73"/>
                    </a:cubicBezTo>
                    <a:cubicBezTo>
                      <a:pt x="35" y="73"/>
                      <a:pt x="35" y="74"/>
                      <a:pt x="35" y="74"/>
                    </a:cubicBezTo>
                    <a:cubicBezTo>
                      <a:pt x="35" y="74"/>
                      <a:pt x="34" y="74"/>
                      <a:pt x="34" y="74"/>
                    </a:cubicBezTo>
                    <a:cubicBezTo>
                      <a:pt x="34" y="74"/>
                      <a:pt x="34" y="75"/>
                      <a:pt x="34" y="75"/>
                    </a:cubicBezTo>
                    <a:cubicBezTo>
                      <a:pt x="34" y="75"/>
                      <a:pt x="34" y="76"/>
                      <a:pt x="34" y="76"/>
                    </a:cubicBezTo>
                    <a:cubicBezTo>
                      <a:pt x="34" y="76"/>
                      <a:pt x="34" y="76"/>
                      <a:pt x="34" y="76"/>
                    </a:cubicBezTo>
                    <a:cubicBezTo>
                      <a:pt x="34" y="76"/>
                      <a:pt x="34" y="77"/>
                      <a:pt x="34" y="77"/>
                    </a:cubicBezTo>
                    <a:cubicBezTo>
                      <a:pt x="34" y="77"/>
                      <a:pt x="34" y="77"/>
                      <a:pt x="34" y="77"/>
                    </a:cubicBezTo>
                    <a:cubicBezTo>
                      <a:pt x="34" y="77"/>
                      <a:pt x="34" y="78"/>
                      <a:pt x="34" y="78"/>
                    </a:cubicBezTo>
                    <a:cubicBezTo>
                      <a:pt x="34" y="78"/>
                      <a:pt x="33" y="79"/>
                      <a:pt x="33" y="79"/>
                    </a:cubicBezTo>
                    <a:cubicBezTo>
                      <a:pt x="33" y="79"/>
                      <a:pt x="33" y="80"/>
                      <a:pt x="33" y="80"/>
                    </a:cubicBezTo>
                    <a:cubicBezTo>
                      <a:pt x="33" y="80"/>
                      <a:pt x="33" y="80"/>
                      <a:pt x="33" y="80"/>
                    </a:cubicBezTo>
                    <a:cubicBezTo>
                      <a:pt x="33" y="81"/>
                      <a:pt x="33" y="81"/>
                      <a:pt x="32" y="81"/>
                    </a:cubicBezTo>
                    <a:cubicBezTo>
                      <a:pt x="32" y="81"/>
                      <a:pt x="32" y="84"/>
                      <a:pt x="32" y="84"/>
                    </a:cubicBezTo>
                    <a:cubicBezTo>
                      <a:pt x="32" y="84"/>
                      <a:pt x="32" y="85"/>
                      <a:pt x="32" y="85"/>
                    </a:cubicBezTo>
                    <a:cubicBezTo>
                      <a:pt x="32" y="85"/>
                      <a:pt x="31" y="86"/>
                      <a:pt x="31" y="86"/>
                    </a:cubicBezTo>
                    <a:cubicBezTo>
                      <a:pt x="31" y="86"/>
                      <a:pt x="32" y="86"/>
                      <a:pt x="31" y="87"/>
                    </a:cubicBezTo>
                    <a:cubicBezTo>
                      <a:pt x="31" y="87"/>
                      <a:pt x="31" y="87"/>
                      <a:pt x="31" y="87"/>
                    </a:cubicBezTo>
                    <a:cubicBezTo>
                      <a:pt x="31" y="88"/>
                      <a:pt x="30" y="88"/>
                      <a:pt x="30" y="88"/>
                    </a:cubicBezTo>
                    <a:cubicBezTo>
                      <a:pt x="30" y="88"/>
                      <a:pt x="30" y="88"/>
                      <a:pt x="30" y="89"/>
                    </a:cubicBezTo>
                    <a:cubicBezTo>
                      <a:pt x="30" y="89"/>
                      <a:pt x="30" y="89"/>
                      <a:pt x="30" y="89"/>
                    </a:cubicBezTo>
                    <a:cubicBezTo>
                      <a:pt x="30" y="89"/>
                      <a:pt x="30" y="89"/>
                      <a:pt x="30" y="90"/>
                    </a:cubicBezTo>
                    <a:cubicBezTo>
                      <a:pt x="30" y="90"/>
                      <a:pt x="30" y="91"/>
                      <a:pt x="30" y="91"/>
                    </a:cubicBezTo>
                    <a:cubicBezTo>
                      <a:pt x="30" y="91"/>
                      <a:pt x="31" y="91"/>
                      <a:pt x="31" y="91"/>
                    </a:cubicBezTo>
                    <a:cubicBezTo>
                      <a:pt x="31" y="91"/>
                      <a:pt x="32" y="92"/>
                      <a:pt x="32" y="92"/>
                    </a:cubicBezTo>
                    <a:cubicBezTo>
                      <a:pt x="32" y="92"/>
                      <a:pt x="32" y="93"/>
                      <a:pt x="32" y="93"/>
                    </a:cubicBezTo>
                    <a:cubicBezTo>
                      <a:pt x="31" y="93"/>
                      <a:pt x="31" y="93"/>
                      <a:pt x="31" y="93"/>
                    </a:cubicBezTo>
                    <a:cubicBezTo>
                      <a:pt x="31" y="93"/>
                      <a:pt x="31" y="94"/>
                      <a:pt x="31" y="94"/>
                    </a:cubicBezTo>
                    <a:cubicBezTo>
                      <a:pt x="31" y="94"/>
                      <a:pt x="31" y="94"/>
                      <a:pt x="31" y="94"/>
                    </a:cubicBezTo>
                    <a:cubicBezTo>
                      <a:pt x="31" y="94"/>
                      <a:pt x="31" y="94"/>
                      <a:pt x="31" y="94"/>
                    </a:cubicBezTo>
                    <a:cubicBezTo>
                      <a:pt x="31" y="95"/>
                      <a:pt x="31" y="95"/>
                      <a:pt x="31" y="95"/>
                    </a:cubicBezTo>
                    <a:cubicBezTo>
                      <a:pt x="31" y="95"/>
                      <a:pt x="32" y="96"/>
                      <a:pt x="32" y="96"/>
                    </a:cubicBezTo>
                    <a:cubicBezTo>
                      <a:pt x="32" y="96"/>
                      <a:pt x="32" y="96"/>
                      <a:pt x="32" y="96"/>
                    </a:cubicBezTo>
                    <a:cubicBezTo>
                      <a:pt x="32" y="96"/>
                      <a:pt x="31" y="97"/>
                      <a:pt x="31" y="97"/>
                    </a:cubicBezTo>
                    <a:cubicBezTo>
                      <a:pt x="31" y="97"/>
                      <a:pt x="31" y="98"/>
                      <a:pt x="31" y="98"/>
                    </a:cubicBezTo>
                    <a:cubicBezTo>
                      <a:pt x="31" y="98"/>
                      <a:pt x="31" y="98"/>
                      <a:pt x="30" y="99"/>
                    </a:cubicBezTo>
                    <a:cubicBezTo>
                      <a:pt x="30" y="99"/>
                      <a:pt x="30" y="99"/>
                      <a:pt x="30" y="99"/>
                    </a:cubicBezTo>
                    <a:cubicBezTo>
                      <a:pt x="29" y="100"/>
                      <a:pt x="29" y="100"/>
                      <a:pt x="29" y="100"/>
                    </a:cubicBezTo>
                    <a:cubicBezTo>
                      <a:pt x="29" y="104"/>
                      <a:pt x="29" y="104"/>
                      <a:pt x="29" y="104"/>
                    </a:cubicBezTo>
                    <a:cubicBezTo>
                      <a:pt x="29" y="104"/>
                      <a:pt x="29" y="106"/>
                      <a:pt x="29" y="107"/>
                    </a:cubicBezTo>
                    <a:cubicBezTo>
                      <a:pt x="29" y="108"/>
                      <a:pt x="29" y="109"/>
                      <a:pt x="29" y="109"/>
                    </a:cubicBezTo>
                    <a:cubicBezTo>
                      <a:pt x="30" y="110"/>
                      <a:pt x="30" y="112"/>
                      <a:pt x="30" y="113"/>
                    </a:cubicBezTo>
                    <a:cubicBezTo>
                      <a:pt x="30" y="114"/>
                      <a:pt x="30" y="115"/>
                      <a:pt x="30" y="116"/>
                    </a:cubicBezTo>
                    <a:cubicBezTo>
                      <a:pt x="30" y="116"/>
                      <a:pt x="30" y="117"/>
                      <a:pt x="30" y="117"/>
                    </a:cubicBezTo>
                    <a:cubicBezTo>
                      <a:pt x="30" y="118"/>
                      <a:pt x="30" y="119"/>
                      <a:pt x="30" y="120"/>
                    </a:cubicBezTo>
                    <a:cubicBezTo>
                      <a:pt x="30" y="120"/>
                      <a:pt x="30" y="120"/>
                      <a:pt x="30" y="121"/>
                    </a:cubicBezTo>
                    <a:cubicBezTo>
                      <a:pt x="30" y="122"/>
                      <a:pt x="30" y="122"/>
                      <a:pt x="30" y="122"/>
                    </a:cubicBezTo>
                    <a:cubicBezTo>
                      <a:pt x="30" y="122"/>
                      <a:pt x="29" y="122"/>
                      <a:pt x="29" y="122"/>
                    </a:cubicBezTo>
                    <a:cubicBezTo>
                      <a:pt x="29" y="122"/>
                      <a:pt x="28" y="122"/>
                      <a:pt x="28" y="123"/>
                    </a:cubicBezTo>
                    <a:cubicBezTo>
                      <a:pt x="28" y="123"/>
                      <a:pt x="28" y="124"/>
                      <a:pt x="29" y="124"/>
                    </a:cubicBezTo>
                    <a:cubicBezTo>
                      <a:pt x="29" y="124"/>
                      <a:pt x="29" y="124"/>
                      <a:pt x="29" y="124"/>
                    </a:cubicBezTo>
                    <a:cubicBezTo>
                      <a:pt x="29" y="124"/>
                      <a:pt x="29" y="125"/>
                      <a:pt x="29" y="125"/>
                    </a:cubicBezTo>
                    <a:cubicBezTo>
                      <a:pt x="29" y="125"/>
                      <a:pt x="29" y="126"/>
                      <a:pt x="29" y="126"/>
                    </a:cubicBezTo>
                    <a:cubicBezTo>
                      <a:pt x="29" y="126"/>
                      <a:pt x="29" y="126"/>
                      <a:pt x="29" y="126"/>
                    </a:cubicBezTo>
                    <a:cubicBezTo>
                      <a:pt x="29" y="126"/>
                      <a:pt x="29" y="127"/>
                      <a:pt x="29" y="127"/>
                    </a:cubicBezTo>
                    <a:cubicBezTo>
                      <a:pt x="29" y="127"/>
                      <a:pt x="29" y="127"/>
                      <a:pt x="29" y="128"/>
                    </a:cubicBezTo>
                    <a:cubicBezTo>
                      <a:pt x="29" y="128"/>
                      <a:pt x="28" y="128"/>
                      <a:pt x="28" y="128"/>
                    </a:cubicBezTo>
                    <a:cubicBezTo>
                      <a:pt x="28" y="129"/>
                      <a:pt x="28" y="129"/>
                      <a:pt x="28" y="129"/>
                    </a:cubicBezTo>
                    <a:cubicBezTo>
                      <a:pt x="28" y="130"/>
                      <a:pt x="27" y="131"/>
                      <a:pt x="27" y="131"/>
                    </a:cubicBezTo>
                    <a:cubicBezTo>
                      <a:pt x="27" y="131"/>
                      <a:pt x="27" y="131"/>
                      <a:pt x="27" y="132"/>
                    </a:cubicBezTo>
                    <a:cubicBezTo>
                      <a:pt x="27" y="132"/>
                      <a:pt x="27" y="132"/>
                      <a:pt x="27" y="133"/>
                    </a:cubicBezTo>
                    <a:cubicBezTo>
                      <a:pt x="27" y="133"/>
                      <a:pt x="26" y="134"/>
                      <a:pt x="26" y="134"/>
                    </a:cubicBezTo>
                    <a:cubicBezTo>
                      <a:pt x="26" y="134"/>
                      <a:pt x="26" y="136"/>
                      <a:pt x="26" y="136"/>
                    </a:cubicBezTo>
                    <a:cubicBezTo>
                      <a:pt x="26" y="136"/>
                      <a:pt x="26" y="137"/>
                      <a:pt x="26" y="137"/>
                    </a:cubicBezTo>
                    <a:cubicBezTo>
                      <a:pt x="26" y="138"/>
                      <a:pt x="25" y="138"/>
                      <a:pt x="25" y="138"/>
                    </a:cubicBezTo>
                    <a:cubicBezTo>
                      <a:pt x="25" y="139"/>
                      <a:pt x="25" y="140"/>
                      <a:pt x="25" y="140"/>
                    </a:cubicBezTo>
                    <a:cubicBezTo>
                      <a:pt x="25" y="140"/>
                      <a:pt x="24" y="141"/>
                      <a:pt x="24" y="141"/>
                    </a:cubicBezTo>
                    <a:cubicBezTo>
                      <a:pt x="24" y="142"/>
                      <a:pt x="23" y="142"/>
                      <a:pt x="23" y="142"/>
                    </a:cubicBezTo>
                    <a:cubicBezTo>
                      <a:pt x="23" y="143"/>
                      <a:pt x="23" y="143"/>
                      <a:pt x="23" y="143"/>
                    </a:cubicBezTo>
                    <a:cubicBezTo>
                      <a:pt x="22" y="144"/>
                      <a:pt x="22" y="144"/>
                      <a:pt x="22" y="144"/>
                    </a:cubicBezTo>
                    <a:cubicBezTo>
                      <a:pt x="22" y="145"/>
                      <a:pt x="22" y="145"/>
                      <a:pt x="22" y="145"/>
                    </a:cubicBezTo>
                    <a:cubicBezTo>
                      <a:pt x="23" y="145"/>
                      <a:pt x="23" y="146"/>
                      <a:pt x="22" y="146"/>
                    </a:cubicBezTo>
                    <a:cubicBezTo>
                      <a:pt x="22" y="146"/>
                      <a:pt x="22" y="147"/>
                      <a:pt x="21" y="147"/>
                    </a:cubicBezTo>
                    <a:cubicBezTo>
                      <a:pt x="21" y="147"/>
                      <a:pt x="21" y="149"/>
                      <a:pt x="21" y="149"/>
                    </a:cubicBezTo>
                    <a:cubicBezTo>
                      <a:pt x="21" y="150"/>
                      <a:pt x="21" y="150"/>
                      <a:pt x="21" y="151"/>
                    </a:cubicBezTo>
                    <a:cubicBezTo>
                      <a:pt x="20" y="151"/>
                      <a:pt x="20" y="152"/>
                      <a:pt x="20" y="152"/>
                    </a:cubicBezTo>
                    <a:cubicBezTo>
                      <a:pt x="20" y="152"/>
                      <a:pt x="20" y="153"/>
                      <a:pt x="20" y="153"/>
                    </a:cubicBezTo>
                    <a:cubicBezTo>
                      <a:pt x="20" y="153"/>
                      <a:pt x="19" y="154"/>
                      <a:pt x="19" y="154"/>
                    </a:cubicBezTo>
                    <a:cubicBezTo>
                      <a:pt x="19" y="154"/>
                      <a:pt x="18" y="154"/>
                      <a:pt x="19" y="155"/>
                    </a:cubicBezTo>
                    <a:cubicBezTo>
                      <a:pt x="19" y="155"/>
                      <a:pt x="19" y="155"/>
                      <a:pt x="19" y="155"/>
                    </a:cubicBezTo>
                    <a:cubicBezTo>
                      <a:pt x="19" y="155"/>
                      <a:pt x="18" y="156"/>
                      <a:pt x="18" y="156"/>
                    </a:cubicBezTo>
                    <a:cubicBezTo>
                      <a:pt x="18" y="156"/>
                      <a:pt x="18" y="156"/>
                      <a:pt x="18" y="156"/>
                    </a:cubicBezTo>
                    <a:cubicBezTo>
                      <a:pt x="18" y="157"/>
                      <a:pt x="18" y="157"/>
                      <a:pt x="18" y="157"/>
                    </a:cubicBezTo>
                    <a:cubicBezTo>
                      <a:pt x="18" y="158"/>
                      <a:pt x="18" y="158"/>
                      <a:pt x="17" y="158"/>
                    </a:cubicBezTo>
                    <a:cubicBezTo>
                      <a:pt x="17" y="158"/>
                      <a:pt x="16" y="158"/>
                      <a:pt x="16" y="158"/>
                    </a:cubicBezTo>
                    <a:cubicBezTo>
                      <a:pt x="16" y="158"/>
                      <a:pt x="15" y="158"/>
                      <a:pt x="15" y="158"/>
                    </a:cubicBezTo>
                    <a:cubicBezTo>
                      <a:pt x="15" y="159"/>
                      <a:pt x="15" y="159"/>
                      <a:pt x="15" y="160"/>
                    </a:cubicBezTo>
                    <a:cubicBezTo>
                      <a:pt x="15" y="160"/>
                      <a:pt x="15" y="160"/>
                      <a:pt x="15" y="161"/>
                    </a:cubicBezTo>
                    <a:cubicBezTo>
                      <a:pt x="15" y="161"/>
                      <a:pt x="15" y="161"/>
                      <a:pt x="15" y="161"/>
                    </a:cubicBezTo>
                    <a:cubicBezTo>
                      <a:pt x="15" y="162"/>
                      <a:pt x="15" y="162"/>
                      <a:pt x="15" y="162"/>
                    </a:cubicBezTo>
                    <a:cubicBezTo>
                      <a:pt x="15" y="162"/>
                      <a:pt x="15" y="163"/>
                      <a:pt x="15" y="163"/>
                    </a:cubicBezTo>
                    <a:cubicBezTo>
                      <a:pt x="15" y="163"/>
                      <a:pt x="16" y="164"/>
                      <a:pt x="16" y="165"/>
                    </a:cubicBezTo>
                    <a:cubicBezTo>
                      <a:pt x="16" y="165"/>
                      <a:pt x="16" y="165"/>
                      <a:pt x="16" y="166"/>
                    </a:cubicBezTo>
                    <a:cubicBezTo>
                      <a:pt x="16" y="166"/>
                      <a:pt x="16" y="167"/>
                      <a:pt x="16" y="167"/>
                    </a:cubicBezTo>
                    <a:cubicBezTo>
                      <a:pt x="16" y="167"/>
                      <a:pt x="16" y="167"/>
                      <a:pt x="16" y="168"/>
                    </a:cubicBezTo>
                    <a:cubicBezTo>
                      <a:pt x="16" y="168"/>
                      <a:pt x="16" y="170"/>
                      <a:pt x="16" y="171"/>
                    </a:cubicBezTo>
                    <a:cubicBezTo>
                      <a:pt x="16" y="171"/>
                      <a:pt x="16" y="171"/>
                      <a:pt x="16" y="171"/>
                    </a:cubicBezTo>
                    <a:cubicBezTo>
                      <a:pt x="16" y="172"/>
                      <a:pt x="16" y="172"/>
                      <a:pt x="16" y="172"/>
                    </a:cubicBezTo>
                    <a:cubicBezTo>
                      <a:pt x="17" y="172"/>
                      <a:pt x="17" y="172"/>
                      <a:pt x="17" y="172"/>
                    </a:cubicBezTo>
                    <a:cubicBezTo>
                      <a:pt x="17" y="172"/>
                      <a:pt x="18" y="172"/>
                      <a:pt x="18" y="172"/>
                    </a:cubicBezTo>
                    <a:cubicBezTo>
                      <a:pt x="18" y="172"/>
                      <a:pt x="18" y="172"/>
                      <a:pt x="18" y="172"/>
                    </a:cubicBezTo>
                    <a:cubicBezTo>
                      <a:pt x="17" y="172"/>
                      <a:pt x="17" y="172"/>
                      <a:pt x="17" y="172"/>
                    </a:cubicBezTo>
                    <a:cubicBezTo>
                      <a:pt x="17" y="173"/>
                      <a:pt x="17" y="173"/>
                      <a:pt x="17" y="173"/>
                    </a:cubicBezTo>
                    <a:cubicBezTo>
                      <a:pt x="17" y="173"/>
                      <a:pt x="18" y="173"/>
                      <a:pt x="18" y="173"/>
                    </a:cubicBezTo>
                    <a:cubicBezTo>
                      <a:pt x="18" y="173"/>
                      <a:pt x="18" y="173"/>
                      <a:pt x="18" y="173"/>
                    </a:cubicBezTo>
                    <a:cubicBezTo>
                      <a:pt x="18" y="173"/>
                      <a:pt x="18" y="174"/>
                      <a:pt x="18" y="174"/>
                    </a:cubicBezTo>
                    <a:cubicBezTo>
                      <a:pt x="17" y="174"/>
                      <a:pt x="17" y="173"/>
                      <a:pt x="17" y="173"/>
                    </a:cubicBezTo>
                    <a:cubicBezTo>
                      <a:pt x="17" y="174"/>
                      <a:pt x="17" y="174"/>
                      <a:pt x="17" y="174"/>
                    </a:cubicBezTo>
                    <a:cubicBezTo>
                      <a:pt x="17" y="174"/>
                      <a:pt x="17" y="175"/>
                      <a:pt x="18" y="175"/>
                    </a:cubicBezTo>
                    <a:cubicBezTo>
                      <a:pt x="18" y="175"/>
                      <a:pt x="18" y="175"/>
                      <a:pt x="18" y="176"/>
                    </a:cubicBezTo>
                    <a:cubicBezTo>
                      <a:pt x="18" y="176"/>
                      <a:pt x="18" y="176"/>
                      <a:pt x="18" y="177"/>
                    </a:cubicBezTo>
                    <a:cubicBezTo>
                      <a:pt x="18" y="177"/>
                      <a:pt x="18" y="178"/>
                      <a:pt x="18" y="179"/>
                    </a:cubicBezTo>
                    <a:cubicBezTo>
                      <a:pt x="18" y="179"/>
                      <a:pt x="18" y="179"/>
                      <a:pt x="17" y="180"/>
                    </a:cubicBezTo>
                    <a:cubicBezTo>
                      <a:pt x="17" y="180"/>
                      <a:pt x="17" y="180"/>
                      <a:pt x="17" y="181"/>
                    </a:cubicBezTo>
                    <a:cubicBezTo>
                      <a:pt x="17" y="181"/>
                      <a:pt x="17" y="181"/>
                      <a:pt x="17" y="182"/>
                    </a:cubicBezTo>
                    <a:cubicBezTo>
                      <a:pt x="17" y="182"/>
                      <a:pt x="17" y="182"/>
                      <a:pt x="17" y="182"/>
                    </a:cubicBezTo>
                    <a:cubicBezTo>
                      <a:pt x="17" y="182"/>
                      <a:pt x="17" y="183"/>
                      <a:pt x="17" y="183"/>
                    </a:cubicBezTo>
                    <a:cubicBezTo>
                      <a:pt x="17" y="183"/>
                      <a:pt x="16" y="182"/>
                      <a:pt x="16" y="182"/>
                    </a:cubicBezTo>
                    <a:cubicBezTo>
                      <a:pt x="16" y="182"/>
                      <a:pt x="16" y="183"/>
                      <a:pt x="16" y="183"/>
                    </a:cubicBezTo>
                    <a:cubicBezTo>
                      <a:pt x="16" y="183"/>
                      <a:pt x="15" y="183"/>
                      <a:pt x="15" y="183"/>
                    </a:cubicBezTo>
                    <a:cubicBezTo>
                      <a:pt x="15" y="183"/>
                      <a:pt x="15" y="184"/>
                      <a:pt x="15" y="184"/>
                    </a:cubicBezTo>
                    <a:cubicBezTo>
                      <a:pt x="15" y="184"/>
                      <a:pt x="15" y="184"/>
                      <a:pt x="15" y="184"/>
                    </a:cubicBezTo>
                    <a:cubicBezTo>
                      <a:pt x="15" y="185"/>
                      <a:pt x="15" y="185"/>
                      <a:pt x="15" y="185"/>
                    </a:cubicBezTo>
                    <a:cubicBezTo>
                      <a:pt x="15" y="185"/>
                      <a:pt x="14" y="186"/>
                      <a:pt x="14" y="186"/>
                    </a:cubicBezTo>
                    <a:cubicBezTo>
                      <a:pt x="14" y="186"/>
                      <a:pt x="14" y="188"/>
                      <a:pt x="14" y="188"/>
                    </a:cubicBezTo>
                    <a:cubicBezTo>
                      <a:pt x="14" y="188"/>
                      <a:pt x="14" y="188"/>
                      <a:pt x="14" y="188"/>
                    </a:cubicBezTo>
                    <a:cubicBezTo>
                      <a:pt x="14" y="188"/>
                      <a:pt x="14" y="189"/>
                      <a:pt x="14" y="189"/>
                    </a:cubicBezTo>
                    <a:cubicBezTo>
                      <a:pt x="14" y="189"/>
                      <a:pt x="14" y="190"/>
                      <a:pt x="13" y="190"/>
                    </a:cubicBezTo>
                    <a:cubicBezTo>
                      <a:pt x="13" y="190"/>
                      <a:pt x="14" y="191"/>
                      <a:pt x="14" y="191"/>
                    </a:cubicBezTo>
                    <a:cubicBezTo>
                      <a:pt x="14" y="191"/>
                      <a:pt x="13" y="191"/>
                      <a:pt x="13" y="191"/>
                    </a:cubicBezTo>
                    <a:cubicBezTo>
                      <a:pt x="13" y="192"/>
                      <a:pt x="14" y="192"/>
                      <a:pt x="13" y="192"/>
                    </a:cubicBezTo>
                    <a:cubicBezTo>
                      <a:pt x="13" y="192"/>
                      <a:pt x="13" y="192"/>
                      <a:pt x="13" y="192"/>
                    </a:cubicBezTo>
                    <a:cubicBezTo>
                      <a:pt x="13" y="192"/>
                      <a:pt x="13" y="194"/>
                      <a:pt x="13" y="194"/>
                    </a:cubicBezTo>
                    <a:cubicBezTo>
                      <a:pt x="13" y="194"/>
                      <a:pt x="13" y="194"/>
                      <a:pt x="13" y="194"/>
                    </a:cubicBezTo>
                    <a:cubicBezTo>
                      <a:pt x="13" y="195"/>
                      <a:pt x="13" y="195"/>
                      <a:pt x="13" y="195"/>
                    </a:cubicBezTo>
                    <a:cubicBezTo>
                      <a:pt x="14" y="195"/>
                      <a:pt x="14" y="196"/>
                      <a:pt x="14" y="197"/>
                    </a:cubicBezTo>
                    <a:cubicBezTo>
                      <a:pt x="14" y="197"/>
                      <a:pt x="14" y="197"/>
                      <a:pt x="14" y="197"/>
                    </a:cubicBezTo>
                    <a:cubicBezTo>
                      <a:pt x="14" y="198"/>
                      <a:pt x="14" y="198"/>
                      <a:pt x="14" y="198"/>
                    </a:cubicBezTo>
                    <a:cubicBezTo>
                      <a:pt x="14" y="198"/>
                      <a:pt x="15" y="198"/>
                      <a:pt x="15" y="198"/>
                    </a:cubicBezTo>
                    <a:cubicBezTo>
                      <a:pt x="15" y="198"/>
                      <a:pt x="15" y="199"/>
                      <a:pt x="15" y="199"/>
                    </a:cubicBezTo>
                    <a:cubicBezTo>
                      <a:pt x="15" y="199"/>
                      <a:pt x="15" y="199"/>
                      <a:pt x="15" y="199"/>
                    </a:cubicBezTo>
                    <a:cubicBezTo>
                      <a:pt x="14" y="199"/>
                      <a:pt x="14" y="200"/>
                      <a:pt x="14" y="200"/>
                    </a:cubicBezTo>
                    <a:cubicBezTo>
                      <a:pt x="15" y="200"/>
                      <a:pt x="15" y="200"/>
                      <a:pt x="15" y="200"/>
                    </a:cubicBezTo>
                    <a:cubicBezTo>
                      <a:pt x="15"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7" y="200"/>
                    </a:cubicBezTo>
                    <a:cubicBezTo>
                      <a:pt x="17" y="200"/>
                      <a:pt x="18" y="200"/>
                      <a:pt x="18" y="200"/>
                    </a:cubicBezTo>
                    <a:cubicBezTo>
                      <a:pt x="18" y="200"/>
                      <a:pt x="18" y="200"/>
                      <a:pt x="18" y="200"/>
                    </a:cubicBezTo>
                    <a:cubicBezTo>
                      <a:pt x="18" y="200"/>
                      <a:pt x="19" y="200"/>
                      <a:pt x="19" y="200"/>
                    </a:cubicBezTo>
                    <a:cubicBezTo>
                      <a:pt x="19" y="200"/>
                      <a:pt x="19" y="199"/>
                      <a:pt x="19" y="199"/>
                    </a:cubicBezTo>
                    <a:cubicBezTo>
                      <a:pt x="19" y="199"/>
                      <a:pt x="19" y="199"/>
                      <a:pt x="19" y="199"/>
                    </a:cubicBezTo>
                    <a:cubicBezTo>
                      <a:pt x="19" y="198"/>
                      <a:pt x="19" y="198"/>
                      <a:pt x="19" y="198"/>
                    </a:cubicBezTo>
                    <a:cubicBezTo>
                      <a:pt x="19" y="198"/>
                      <a:pt x="19" y="198"/>
                      <a:pt x="19" y="198"/>
                    </a:cubicBezTo>
                    <a:cubicBezTo>
                      <a:pt x="19" y="198"/>
                      <a:pt x="20" y="198"/>
                      <a:pt x="20" y="198"/>
                    </a:cubicBezTo>
                    <a:cubicBezTo>
                      <a:pt x="20" y="197"/>
                      <a:pt x="20" y="197"/>
                      <a:pt x="20" y="197"/>
                    </a:cubicBezTo>
                    <a:cubicBezTo>
                      <a:pt x="20" y="197"/>
                      <a:pt x="20" y="197"/>
                      <a:pt x="20" y="197"/>
                    </a:cubicBezTo>
                    <a:cubicBezTo>
                      <a:pt x="21" y="197"/>
                      <a:pt x="21" y="198"/>
                      <a:pt x="21" y="198"/>
                    </a:cubicBezTo>
                    <a:cubicBezTo>
                      <a:pt x="21" y="198"/>
                      <a:pt x="21" y="198"/>
                      <a:pt x="21" y="198"/>
                    </a:cubicBezTo>
                    <a:cubicBezTo>
                      <a:pt x="22" y="198"/>
                      <a:pt x="22" y="199"/>
                      <a:pt x="22" y="199"/>
                    </a:cubicBezTo>
                    <a:cubicBezTo>
                      <a:pt x="22" y="199"/>
                      <a:pt x="22" y="199"/>
                      <a:pt x="22" y="200"/>
                    </a:cubicBezTo>
                    <a:cubicBezTo>
                      <a:pt x="22" y="200"/>
                      <a:pt x="21" y="200"/>
                      <a:pt x="21" y="201"/>
                    </a:cubicBezTo>
                    <a:cubicBezTo>
                      <a:pt x="21" y="201"/>
                      <a:pt x="21" y="201"/>
                      <a:pt x="21" y="201"/>
                    </a:cubicBezTo>
                    <a:cubicBezTo>
                      <a:pt x="21" y="201"/>
                      <a:pt x="21" y="201"/>
                      <a:pt x="21" y="201"/>
                    </a:cubicBezTo>
                    <a:cubicBezTo>
                      <a:pt x="21" y="202"/>
                      <a:pt x="21" y="202"/>
                      <a:pt x="22" y="202"/>
                    </a:cubicBezTo>
                    <a:cubicBezTo>
                      <a:pt x="22" y="202"/>
                      <a:pt x="22" y="202"/>
                      <a:pt x="22" y="202"/>
                    </a:cubicBezTo>
                    <a:cubicBezTo>
                      <a:pt x="23" y="202"/>
                      <a:pt x="23" y="202"/>
                      <a:pt x="23" y="202"/>
                    </a:cubicBezTo>
                    <a:cubicBezTo>
                      <a:pt x="23" y="202"/>
                      <a:pt x="23" y="202"/>
                      <a:pt x="23" y="202"/>
                    </a:cubicBezTo>
                    <a:cubicBezTo>
                      <a:pt x="23" y="202"/>
                      <a:pt x="23" y="202"/>
                      <a:pt x="23" y="202"/>
                    </a:cubicBezTo>
                    <a:cubicBezTo>
                      <a:pt x="24" y="202"/>
                      <a:pt x="24" y="202"/>
                      <a:pt x="24" y="202"/>
                    </a:cubicBezTo>
                    <a:cubicBezTo>
                      <a:pt x="23" y="203"/>
                      <a:pt x="23" y="203"/>
                      <a:pt x="23" y="204"/>
                    </a:cubicBezTo>
                    <a:cubicBezTo>
                      <a:pt x="23" y="204"/>
                      <a:pt x="23" y="204"/>
                      <a:pt x="23" y="205"/>
                    </a:cubicBezTo>
                    <a:cubicBezTo>
                      <a:pt x="23" y="205"/>
                      <a:pt x="23" y="205"/>
                      <a:pt x="23" y="205"/>
                    </a:cubicBezTo>
                    <a:cubicBezTo>
                      <a:pt x="23" y="205"/>
                      <a:pt x="23" y="205"/>
                      <a:pt x="23" y="205"/>
                    </a:cubicBezTo>
                    <a:cubicBezTo>
                      <a:pt x="23" y="205"/>
                      <a:pt x="23" y="206"/>
                      <a:pt x="24" y="206"/>
                    </a:cubicBezTo>
                    <a:cubicBezTo>
                      <a:pt x="24" y="206"/>
                      <a:pt x="24" y="206"/>
                      <a:pt x="24" y="206"/>
                    </a:cubicBezTo>
                    <a:cubicBezTo>
                      <a:pt x="24" y="206"/>
                      <a:pt x="24" y="206"/>
                      <a:pt x="24" y="206"/>
                    </a:cubicBezTo>
                    <a:cubicBezTo>
                      <a:pt x="23" y="206"/>
                      <a:pt x="23" y="205"/>
                      <a:pt x="23" y="205"/>
                    </a:cubicBezTo>
                    <a:cubicBezTo>
                      <a:pt x="23" y="205"/>
                      <a:pt x="23" y="205"/>
                      <a:pt x="23" y="204"/>
                    </a:cubicBezTo>
                    <a:cubicBezTo>
                      <a:pt x="23" y="204"/>
                      <a:pt x="23" y="204"/>
                      <a:pt x="23" y="204"/>
                    </a:cubicBezTo>
                    <a:cubicBezTo>
                      <a:pt x="22" y="204"/>
                      <a:pt x="22" y="204"/>
                      <a:pt x="22" y="204"/>
                    </a:cubicBezTo>
                    <a:cubicBezTo>
                      <a:pt x="21" y="204"/>
                      <a:pt x="21" y="204"/>
                      <a:pt x="21" y="204"/>
                    </a:cubicBezTo>
                    <a:cubicBezTo>
                      <a:pt x="21" y="205"/>
                      <a:pt x="21" y="205"/>
                      <a:pt x="21" y="205"/>
                    </a:cubicBezTo>
                    <a:cubicBezTo>
                      <a:pt x="21" y="205"/>
                      <a:pt x="21" y="205"/>
                      <a:pt x="21" y="205"/>
                    </a:cubicBezTo>
                    <a:cubicBezTo>
                      <a:pt x="21" y="206"/>
                      <a:pt x="21" y="206"/>
                      <a:pt x="22" y="206"/>
                    </a:cubicBezTo>
                    <a:cubicBezTo>
                      <a:pt x="22" y="206"/>
                      <a:pt x="22" y="207"/>
                      <a:pt x="22" y="207"/>
                    </a:cubicBezTo>
                    <a:cubicBezTo>
                      <a:pt x="22" y="207"/>
                      <a:pt x="22" y="207"/>
                      <a:pt x="22" y="207"/>
                    </a:cubicBezTo>
                    <a:cubicBezTo>
                      <a:pt x="22" y="207"/>
                      <a:pt x="22" y="207"/>
                      <a:pt x="22" y="208"/>
                    </a:cubicBezTo>
                    <a:cubicBezTo>
                      <a:pt x="22" y="207"/>
                      <a:pt x="22" y="207"/>
                      <a:pt x="22" y="207"/>
                    </a:cubicBezTo>
                    <a:cubicBezTo>
                      <a:pt x="21" y="207"/>
                      <a:pt x="21" y="207"/>
                      <a:pt x="21" y="207"/>
                    </a:cubicBezTo>
                    <a:cubicBezTo>
                      <a:pt x="21" y="207"/>
                      <a:pt x="21" y="207"/>
                      <a:pt x="21" y="207"/>
                    </a:cubicBezTo>
                    <a:cubicBezTo>
                      <a:pt x="21" y="207"/>
                      <a:pt x="21" y="208"/>
                      <a:pt x="21" y="208"/>
                    </a:cubicBezTo>
                    <a:cubicBezTo>
                      <a:pt x="21" y="208"/>
                      <a:pt x="21" y="208"/>
                      <a:pt x="21" y="209"/>
                    </a:cubicBezTo>
                    <a:cubicBezTo>
                      <a:pt x="21" y="209"/>
                      <a:pt x="21" y="209"/>
                      <a:pt x="21" y="209"/>
                    </a:cubicBezTo>
                    <a:cubicBezTo>
                      <a:pt x="21" y="209"/>
                      <a:pt x="21" y="209"/>
                      <a:pt x="21" y="210"/>
                    </a:cubicBezTo>
                    <a:cubicBezTo>
                      <a:pt x="21" y="210"/>
                      <a:pt x="21" y="210"/>
                      <a:pt x="21" y="210"/>
                    </a:cubicBezTo>
                    <a:cubicBezTo>
                      <a:pt x="21" y="210"/>
                      <a:pt x="21" y="210"/>
                      <a:pt x="21" y="210"/>
                    </a:cubicBezTo>
                    <a:cubicBezTo>
                      <a:pt x="21" y="210"/>
                      <a:pt x="21" y="210"/>
                      <a:pt x="21" y="211"/>
                    </a:cubicBezTo>
                    <a:cubicBezTo>
                      <a:pt x="21" y="211"/>
                      <a:pt x="21" y="211"/>
                      <a:pt x="21" y="211"/>
                    </a:cubicBezTo>
                    <a:cubicBezTo>
                      <a:pt x="21" y="211"/>
                      <a:pt x="21" y="211"/>
                      <a:pt x="21" y="211"/>
                    </a:cubicBezTo>
                    <a:cubicBezTo>
                      <a:pt x="21" y="211"/>
                      <a:pt x="21" y="212"/>
                      <a:pt x="21" y="212"/>
                    </a:cubicBezTo>
                    <a:cubicBezTo>
                      <a:pt x="21" y="212"/>
                      <a:pt x="21" y="212"/>
                      <a:pt x="21" y="212"/>
                    </a:cubicBezTo>
                    <a:cubicBezTo>
                      <a:pt x="20" y="212"/>
                      <a:pt x="20" y="212"/>
                      <a:pt x="20" y="212"/>
                    </a:cubicBezTo>
                    <a:cubicBezTo>
                      <a:pt x="20" y="213"/>
                      <a:pt x="20" y="213"/>
                      <a:pt x="20" y="213"/>
                    </a:cubicBezTo>
                    <a:cubicBezTo>
                      <a:pt x="20" y="213"/>
                      <a:pt x="20" y="213"/>
                      <a:pt x="20" y="213"/>
                    </a:cubicBezTo>
                    <a:cubicBezTo>
                      <a:pt x="20" y="213"/>
                      <a:pt x="20" y="213"/>
                      <a:pt x="20" y="213"/>
                    </a:cubicBezTo>
                    <a:cubicBezTo>
                      <a:pt x="20" y="213"/>
                      <a:pt x="20" y="214"/>
                      <a:pt x="20" y="214"/>
                    </a:cubicBezTo>
                    <a:cubicBezTo>
                      <a:pt x="20" y="214"/>
                      <a:pt x="20" y="214"/>
                      <a:pt x="20" y="214"/>
                    </a:cubicBezTo>
                    <a:cubicBezTo>
                      <a:pt x="20" y="214"/>
                      <a:pt x="20" y="214"/>
                      <a:pt x="20" y="214"/>
                    </a:cubicBezTo>
                    <a:cubicBezTo>
                      <a:pt x="20" y="214"/>
                      <a:pt x="20" y="214"/>
                      <a:pt x="20" y="214"/>
                    </a:cubicBezTo>
                    <a:cubicBezTo>
                      <a:pt x="20" y="214"/>
                      <a:pt x="20" y="215"/>
                      <a:pt x="19" y="215"/>
                    </a:cubicBezTo>
                    <a:cubicBezTo>
                      <a:pt x="19" y="215"/>
                      <a:pt x="19" y="215"/>
                      <a:pt x="19" y="215"/>
                    </a:cubicBezTo>
                    <a:cubicBezTo>
                      <a:pt x="19" y="215"/>
                      <a:pt x="19" y="215"/>
                      <a:pt x="19" y="215"/>
                    </a:cubicBezTo>
                    <a:cubicBezTo>
                      <a:pt x="19" y="215"/>
                      <a:pt x="19" y="216"/>
                      <a:pt x="19" y="216"/>
                    </a:cubicBezTo>
                    <a:cubicBezTo>
                      <a:pt x="19" y="216"/>
                      <a:pt x="19" y="216"/>
                      <a:pt x="19" y="216"/>
                    </a:cubicBezTo>
                    <a:cubicBezTo>
                      <a:pt x="19" y="216"/>
                      <a:pt x="19" y="216"/>
                      <a:pt x="19" y="216"/>
                    </a:cubicBezTo>
                    <a:cubicBezTo>
                      <a:pt x="19" y="216"/>
                      <a:pt x="19" y="217"/>
                      <a:pt x="19" y="217"/>
                    </a:cubicBezTo>
                    <a:cubicBezTo>
                      <a:pt x="19" y="217"/>
                      <a:pt x="20" y="217"/>
                      <a:pt x="20" y="217"/>
                    </a:cubicBezTo>
                    <a:cubicBezTo>
                      <a:pt x="20" y="217"/>
                      <a:pt x="20" y="217"/>
                      <a:pt x="20" y="217"/>
                    </a:cubicBezTo>
                    <a:cubicBezTo>
                      <a:pt x="20" y="218"/>
                      <a:pt x="20" y="218"/>
                      <a:pt x="20" y="218"/>
                    </a:cubicBezTo>
                    <a:cubicBezTo>
                      <a:pt x="20" y="218"/>
                      <a:pt x="20" y="218"/>
                      <a:pt x="20" y="218"/>
                    </a:cubicBezTo>
                    <a:cubicBezTo>
                      <a:pt x="20" y="218"/>
                      <a:pt x="20" y="218"/>
                      <a:pt x="20" y="218"/>
                    </a:cubicBezTo>
                    <a:cubicBezTo>
                      <a:pt x="20" y="218"/>
                      <a:pt x="20" y="218"/>
                      <a:pt x="19" y="218"/>
                    </a:cubicBezTo>
                    <a:cubicBezTo>
                      <a:pt x="19" y="219"/>
                      <a:pt x="19" y="219"/>
                      <a:pt x="19" y="219"/>
                    </a:cubicBezTo>
                    <a:cubicBezTo>
                      <a:pt x="19" y="219"/>
                      <a:pt x="19" y="219"/>
                      <a:pt x="19" y="219"/>
                    </a:cubicBezTo>
                    <a:cubicBezTo>
                      <a:pt x="19" y="219"/>
                      <a:pt x="19" y="219"/>
                      <a:pt x="19" y="219"/>
                    </a:cubicBezTo>
                    <a:cubicBezTo>
                      <a:pt x="20" y="219"/>
                      <a:pt x="20" y="219"/>
                      <a:pt x="20" y="219"/>
                    </a:cubicBezTo>
                    <a:cubicBezTo>
                      <a:pt x="20" y="219"/>
                      <a:pt x="20" y="219"/>
                      <a:pt x="20" y="219"/>
                    </a:cubicBezTo>
                    <a:cubicBezTo>
                      <a:pt x="21" y="219"/>
                      <a:pt x="21" y="219"/>
                      <a:pt x="20" y="219"/>
                    </a:cubicBezTo>
                    <a:cubicBezTo>
                      <a:pt x="20" y="219"/>
                      <a:pt x="20" y="219"/>
                      <a:pt x="20" y="219"/>
                    </a:cubicBezTo>
                    <a:cubicBezTo>
                      <a:pt x="20" y="219"/>
                      <a:pt x="20" y="219"/>
                      <a:pt x="20" y="219"/>
                    </a:cubicBezTo>
                    <a:cubicBezTo>
                      <a:pt x="20" y="219"/>
                      <a:pt x="20" y="220"/>
                      <a:pt x="20" y="220"/>
                    </a:cubicBezTo>
                    <a:cubicBezTo>
                      <a:pt x="20" y="220"/>
                      <a:pt x="19" y="220"/>
                      <a:pt x="19" y="220"/>
                    </a:cubicBezTo>
                    <a:cubicBezTo>
                      <a:pt x="19" y="220"/>
                      <a:pt x="19" y="220"/>
                      <a:pt x="19" y="220"/>
                    </a:cubicBezTo>
                    <a:cubicBezTo>
                      <a:pt x="19" y="220"/>
                      <a:pt x="19" y="221"/>
                      <a:pt x="19" y="221"/>
                    </a:cubicBezTo>
                    <a:cubicBezTo>
                      <a:pt x="19" y="221"/>
                      <a:pt x="19" y="221"/>
                      <a:pt x="19" y="221"/>
                    </a:cubicBezTo>
                    <a:cubicBezTo>
                      <a:pt x="19" y="221"/>
                      <a:pt x="19" y="221"/>
                      <a:pt x="19" y="221"/>
                    </a:cubicBezTo>
                    <a:cubicBezTo>
                      <a:pt x="19" y="221"/>
                      <a:pt x="19" y="221"/>
                      <a:pt x="19" y="221"/>
                    </a:cubicBezTo>
                    <a:cubicBezTo>
                      <a:pt x="19" y="221"/>
                      <a:pt x="19" y="221"/>
                      <a:pt x="19" y="221"/>
                    </a:cubicBezTo>
                    <a:cubicBezTo>
                      <a:pt x="19" y="221"/>
                      <a:pt x="19" y="220"/>
                      <a:pt x="19" y="220"/>
                    </a:cubicBezTo>
                    <a:cubicBezTo>
                      <a:pt x="19" y="220"/>
                      <a:pt x="18" y="220"/>
                      <a:pt x="18" y="220"/>
                    </a:cubicBezTo>
                    <a:cubicBezTo>
                      <a:pt x="18" y="220"/>
                      <a:pt x="18" y="220"/>
                      <a:pt x="18" y="220"/>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3"/>
                      <a:pt x="18" y="223"/>
                      <a:pt x="18" y="223"/>
                    </a:cubicBezTo>
                    <a:cubicBezTo>
                      <a:pt x="18" y="223"/>
                      <a:pt x="18" y="223"/>
                      <a:pt x="18" y="223"/>
                    </a:cubicBezTo>
                    <a:cubicBezTo>
                      <a:pt x="18" y="223"/>
                      <a:pt x="18" y="223"/>
                      <a:pt x="18" y="223"/>
                    </a:cubicBezTo>
                    <a:cubicBezTo>
                      <a:pt x="17" y="223"/>
                      <a:pt x="18" y="223"/>
                      <a:pt x="18" y="223"/>
                    </a:cubicBezTo>
                    <a:cubicBezTo>
                      <a:pt x="18" y="223"/>
                      <a:pt x="18" y="223"/>
                      <a:pt x="18" y="223"/>
                    </a:cubicBezTo>
                    <a:cubicBezTo>
                      <a:pt x="18" y="223"/>
                      <a:pt x="18" y="223"/>
                      <a:pt x="18" y="223"/>
                    </a:cubicBezTo>
                    <a:cubicBezTo>
                      <a:pt x="18" y="223"/>
                      <a:pt x="18" y="223"/>
                      <a:pt x="18" y="223"/>
                    </a:cubicBezTo>
                    <a:cubicBezTo>
                      <a:pt x="18" y="224"/>
                      <a:pt x="18" y="224"/>
                      <a:pt x="18" y="224"/>
                    </a:cubicBezTo>
                    <a:cubicBezTo>
                      <a:pt x="18" y="224"/>
                      <a:pt x="18" y="224"/>
                      <a:pt x="18" y="224"/>
                    </a:cubicBezTo>
                    <a:cubicBezTo>
                      <a:pt x="18" y="224"/>
                      <a:pt x="19" y="224"/>
                      <a:pt x="19" y="224"/>
                    </a:cubicBezTo>
                    <a:cubicBezTo>
                      <a:pt x="19" y="224"/>
                      <a:pt x="19" y="224"/>
                      <a:pt x="19" y="224"/>
                    </a:cubicBezTo>
                    <a:cubicBezTo>
                      <a:pt x="19" y="224"/>
                      <a:pt x="19" y="224"/>
                      <a:pt x="19" y="224"/>
                    </a:cubicBezTo>
                    <a:cubicBezTo>
                      <a:pt x="19" y="224"/>
                      <a:pt x="19" y="224"/>
                      <a:pt x="20" y="224"/>
                    </a:cubicBezTo>
                    <a:cubicBezTo>
                      <a:pt x="20" y="224"/>
                      <a:pt x="20" y="224"/>
                      <a:pt x="20" y="224"/>
                    </a:cubicBezTo>
                    <a:cubicBezTo>
                      <a:pt x="20" y="224"/>
                      <a:pt x="20" y="224"/>
                      <a:pt x="20" y="224"/>
                    </a:cubicBezTo>
                    <a:cubicBezTo>
                      <a:pt x="20" y="225"/>
                      <a:pt x="20" y="225"/>
                      <a:pt x="20" y="225"/>
                    </a:cubicBezTo>
                    <a:cubicBezTo>
                      <a:pt x="20" y="225"/>
                      <a:pt x="20" y="225"/>
                      <a:pt x="20" y="225"/>
                    </a:cubicBezTo>
                    <a:cubicBezTo>
                      <a:pt x="20" y="225"/>
                      <a:pt x="20" y="225"/>
                      <a:pt x="21" y="225"/>
                    </a:cubicBezTo>
                    <a:cubicBezTo>
                      <a:pt x="21" y="226"/>
                      <a:pt x="21" y="226"/>
                      <a:pt x="22" y="226"/>
                    </a:cubicBezTo>
                    <a:cubicBezTo>
                      <a:pt x="22" y="226"/>
                      <a:pt x="22" y="226"/>
                      <a:pt x="22" y="226"/>
                    </a:cubicBezTo>
                    <a:cubicBezTo>
                      <a:pt x="22" y="226"/>
                      <a:pt x="22" y="226"/>
                      <a:pt x="22" y="226"/>
                    </a:cubicBezTo>
                    <a:cubicBezTo>
                      <a:pt x="22" y="226"/>
                      <a:pt x="22" y="225"/>
                      <a:pt x="22" y="225"/>
                    </a:cubicBezTo>
                    <a:cubicBezTo>
                      <a:pt x="22" y="225"/>
                      <a:pt x="22" y="226"/>
                      <a:pt x="22" y="226"/>
                    </a:cubicBezTo>
                    <a:cubicBezTo>
                      <a:pt x="23" y="226"/>
                      <a:pt x="23" y="226"/>
                      <a:pt x="23" y="226"/>
                    </a:cubicBezTo>
                    <a:cubicBezTo>
                      <a:pt x="23" y="226"/>
                      <a:pt x="22" y="227"/>
                      <a:pt x="22" y="227"/>
                    </a:cubicBezTo>
                    <a:cubicBezTo>
                      <a:pt x="22" y="227"/>
                      <a:pt x="22" y="227"/>
                      <a:pt x="22" y="227"/>
                    </a:cubicBezTo>
                    <a:cubicBezTo>
                      <a:pt x="22" y="227"/>
                      <a:pt x="22" y="227"/>
                      <a:pt x="22" y="227"/>
                    </a:cubicBezTo>
                    <a:cubicBezTo>
                      <a:pt x="22" y="227"/>
                      <a:pt x="22" y="228"/>
                      <a:pt x="22" y="228"/>
                    </a:cubicBezTo>
                    <a:cubicBezTo>
                      <a:pt x="22" y="228"/>
                      <a:pt x="22" y="228"/>
                      <a:pt x="22" y="229"/>
                    </a:cubicBezTo>
                    <a:cubicBezTo>
                      <a:pt x="21" y="229"/>
                      <a:pt x="21" y="229"/>
                      <a:pt x="21" y="229"/>
                    </a:cubicBezTo>
                    <a:cubicBezTo>
                      <a:pt x="21" y="229"/>
                      <a:pt x="21" y="229"/>
                      <a:pt x="21" y="229"/>
                    </a:cubicBezTo>
                    <a:cubicBezTo>
                      <a:pt x="20" y="230"/>
                      <a:pt x="20" y="230"/>
                      <a:pt x="20" y="230"/>
                    </a:cubicBezTo>
                    <a:cubicBezTo>
                      <a:pt x="20" y="230"/>
                      <a:pt x="19" y="230"/>
                      <a:pt x="19" y="231"/>
                    </a:cubicBezTo>
                    <a:cubicBezTo>
                      <a:pt x="19" y="231"/>
                      <a:pt x="19" y="231"/>
                      <a:pt x="19" y="231"/>
                    </a:cubicBezTo>
                    <a:cubicBezTo>
                      <a:pt x="19" y="231"/>
                      <a:pt x="19" y="231"/>
                      <a:pt x="19" y="231"/>
                    </a:cubicBezTo>
                    <a:cubicBezTo>
                      <a:pt x="19" y="231"/>
                      <a:pt x="19" y="231"/>
                      <a:pt x="18" y="231"/>
                    </a:cubicBezTo>
                    <a:cubicBezTo>
                      <a:pt x="18" y="231"/>
                      <a:pt x="18" y="231"/>
                      <a:pt x="17" y="231"/>
                    </a:cubicBezTo>
                    <a:cubicBezTo>
                      <a:pt x="17" y="231"/>
                      <a:pt x="17" y="231"/>
                      <a:pt x="17" y="231"/>
                    </a:cubicBezTo>
                    <a:cubicBezTo>
                      <a:pt x="17" y="231"/>
                      <a:pt x="17" y="231"/>
                      <a:pt x="17" y="231"/>
                    </a:cubicBezTo>
                    <a:cubicBezTo>
                      <a:pt x="17" y="231"/>
                      <a:pt x="17" y="231"/>
                      <a:pt x="17" y="232"/>
                    </a:cubicBezTo>
                    <a:cubicBezTo>
                      <a:pt x="17" y="232"/>
                      <a:pt x="17" y="232"/>
                      <a:pt x="17" y="232"/>
                    </a:cubicBezTo>
                    <a:cubicBezTo>
                      <a:pt x="17" y="232"/>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3"/>
                    </a:cubicBezTo>
                    <a:cubicBezTo>
                      <a:pt x="17" y="233"/>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4"/>
                    </a:cubicBezTo>
                    <a:cubicBezTo>
                      <a:pt x="17" y="234"/>
                      <a:pt x="17" y="234"/>
                      <a:pt x="17" y="234"/>
                    </a:cubicBezTo>
                    <a:cubicBezTo>
                      <a:pt x="17" y="234"/>
                      <a:pt x="17" y="234"/>
                      <a:pt x="17" y="234"/>
                    </a:cubicBezTo>
                    <a:cubicBezTo>
                      <a:pt x="17" y="234"/>
                      <a:pt x="17" y="234"/>
                      <a:pt x="17" y="234"/>
                    </a:cubicBezTo>
                    <a:cubicBezTo>
                      <a:pt x="17" y="234"/>
                      <a:pt x="17" y="234"/>
                      <a:pt x="17" y="234"/>
                    </a:cubicBezTo>
                    <a:cubicBezTo>
                      <a:pt x="18" y="234"/>
                      <a:pt x="18" y="234"/>
                      <a:pt x="18" y="234"/>
                    </a:cubicBezTo>
                    <a:cubicBezTo>
                      <a:pt x="19" y="234"/>
                      <a:pt x="19" y="234"/>
                      <a:pt x="19" y="235"/>
                    </a:cubicBezTo>
                    <a:cubicBezTo>
                      <a:pt x="19" y="235"/>
                      <a:pt x="20" y="235"/>
                      <a:pt x="20" y="235"/>
                    </a:cubicBezTo>
                    <a:cubicBezTo>
                      <a:pt x="20" y="235"/>
                      <a:pt x="20" y="235"/>
                      <a:pt x="20" y="235"/>
                    </a:cubicBezTo>
                    <a:cubicBezTo>
                      <a:pt x="20" y="235"/>
                      <a:pt x="20" y="235"/>
                      <a:pt x="20" y="235"/>
                    </a:cubicBezTo>
                    <a:cubicBezTo>
                      <a:pt x="21" y="235"/>
                      <a:pt x="21" y="235"/>
                      <a:pt x="21" y="235"/>
                    </a:cubicBezTo>
                    <a:cubicBezTo>
                      <a:pt x="21" y="235"/>
                      <a:pt x="21" y="235"/>
                      <a:pt x="21" y="235"/>
                    </a:cubicBezTo>
                    <a:cubicBezTo>
                      <a:pt x="21" y="235"/>
                      <a:pt x="21" y="235"/>
                      <a:pt x="21" y="235"/>
                    </a:cubicBezTo>
                    <a:cubicBezTo>
                      <a:pt x="21" y="236"/>
                      <a:pt x="21" y="236"/>
                      <a:pt x="20" y="236"/>
                    </a:cubicBezTo>
                    <a:cubicBezTo>
                      <a:pt x="20" y="236"/>
                      <a:pt x="20" y="236"/>
                      <a:pt x="20" y="236"/>
                    </a:cubicBezTo>
                    <a:cubicBezTo>
                      <a:pt x="20" y="236"/>
                      <a:pt x="20" y="236"/>
                      <a:pt x="20" y="236"/>
                    </a:cubicBezTo>
                    <a:cubicBezTo>
                      <a:pt x="19" y="236"/>
                      <a:pt x="19" y="235"/>
                      <a:pt x="19" y="235"/>
                    </a:cubicBezTo>
                    <a:cubicBezTo>
                      <a:pt x="19" y="235"/>
                      <a:pt x="18" y="235"/>
                      <a:pt x="18" y="235"/>
                    </a:cubicBezTo>
                    <a:cubicBezTo>
                      <a:pt x="18" y="234"/>
                      <a:pt x="18" y="234"/>
                      <a:pt x="18" y="234"/>
                    </a:cubicBezTo>
                    <a:cubicBezTo>
                      <a:pt x="18" y="234"/>
                      <a:pt x="17" y="234"/>
                      <a:pt x="17" y="235"/>
                    </a:cubicBezTo>
                    <a:cubicBezTo>
                      <a:pt x="17" y="235"/>
                      <a:pt x="17" y="235"/>
                      <a:pt x="17" y="235"/>
                    </a:cubicBezTo>
                    <a:cubicBezTo>
                      <a:pt x="17" y="235"/>
                      <a:pt x="17" y="235"/>
                      <a:pt x="17" y="235"/>
                    </a:cubicBezTo>
                    <a:cubicBezTo>
                      <a:pt x="17" y="236"/>
                      <a:pt x="17" y="236"/>
                      <a:pt x="17" y="236"/>
                    </a:cubicBezTo>
                    <a:cubicBezTo>
                      <a:pt x="16" y="236"/>
                      <a:pt x="16" y="236"/>
                      <a:pt x="16" y="236"/>
                    </a:cubicBezTo>
                    <a:cubicBezTo>
                      <a:pt x="16" y="236"/>
                      <a:pt x="16" y="236"/>
                      <a:pt x="16" y="236"/>
                    </a:cubicBezTo>
                    <a:cubicBezTo>
                      <a:pt x="16" y="236"/>
                      <a:pt x="16" y="236"/>
                      <a:pt x="16" y="237"/>
                    </a:cubicBezTo>
                    <a:cubicBezTo>
                      <a:pt x="16" y="237"/>
                      <a:pt x="16" y="237"/>
                      <a:pt x="16" y="238"/>
                    </a:cubicBezTo>
                    <a:cubicBezTo>
                      <a:pt x="16" y="238"/>
                      <a:pt x="16" y="238"/>
                      <a:pt x="16" y="238"/>
                    </a:cubicBezTo>
                    <a:cubicBezTo>
                      <a:pt x="16" y="238"/>
                      <a:pt x="16" y="238"/>
                      <a:pt x="16" y="238"/>
                    </a:cubicBezTo>
                    <a:cubicBezTo>
                      <a:pt x="16" y="238"/>
                      <a:pt x="16" y="238"/>
                      <a:pt x="16" y="238"/>
                    </a:cubicBezTo>
                    <a:cubicBezTo>
                      <a:pt x="16" y="239"/>
                      <a:pt x="16" y="239"/>
                      <a:pt x="16" y="239"/>
                    </a:cubicBezTo>
                    <a:cubicBezTo>
                      <a:pt x="16" y="239"/>
                      <a:pt x="16" y="239"/>
                      <a:pt x="16" y="239"/>
                    </a:cubicBezTo>
                    <a:cubicBezTo>
                      <a:pt x="16" y="238"/>
                      <a:pt x="17" y="238"/>
                      <a:pt x="17" y="238"/>
                    </a:cubicBezTo>
                    <a:cubicBezTo>
                      <a:pt x="17" y="238"/>
                      <a:pt x="17" y="237"/>
                      <a:pt x="17" y="238"/>
                    </a:cubicBezTo>
                    <a:cubicBezTo>
                      <a:pt x="17" y="238"/>
                      <a:pt x="17" y="238"/>
                      <a:pt x="17" y="238"/>
                    </a:cubicBezTo>
                    <a:cubicBezTo>
                      <a:pt x="18" y="238"/>
                      <a:pt x="18" y="238"/>
                      <a:pt x="18" y="238"/>
                    </a:cubicBezTo>
                    <a:cubicBezTo>
                      <a:pt x="18" y="238"/>
                      <a:pt x="17" y="238"/>
                      <a:pt x="17" y="238"/>
                    </a:cubicBezTo>
                    <a:cubicBezTo>
                      <a:pt x="17" y="238"/>
                      <a:pt x="17" y="238"/>
                      <a:pt x="17" y="238"/>
                    </a:cubicBezTo>
                    <a:cubicBezTo>
                      <a:pt x="17" y="238"/>
                      <a:pt x="17" y="238"/>
                      <a:pt x="17" y="238"/>
                    </a:cubicBezTo>
                    <a:cubicBezTo>
                      <a:pt x="16" y="239"/>
                      <a:pt x="16" y="239"/>
                      <a:pt x="16" y="239"/>
                    </a:cubicBezTo>
                    <a:cubicBezTo>
                      <a:pt x="16" y="240"/>
                      <a:pt x="16" y="240"/>
                      <a:pt x="16" y="240"/>
                    </a:cubicBezTo>
                    <a:cubicBezTo>
                      <a:pt x="16" y="240"/>
                      <a:pt x="16" y="240"/>
                      <a:pt x="16" y="240"/>
                    </a:cubicBezTo>
                    <a:cubicBezTo>
                      <a:pt x="16" y="240"/>
                      <a:pt x="16" y="240"/>
                      <a:pt x="16" y="240"/>
                    </a:cubicBezTo>
                    <a:cubicBezTo>
                      <a:pt x="16" y="240"/>
                      <a:pt x="16" y="240"/>
                      <a:pt x="16" y="240"/>
                    </a:cubicBezTo>
                    <a:cubicBezTo>
                      <a:pt x="16" y="240"/>
                      <a:pt x="15" y="240"/>
                      <a:pt x="15" y="241"/>
                    </a:cubicBezTo>
                    <a:cubicBezTo>
                      <a:pt x="15" y="241"/>
                      <a:pt x="15" y="242"/>
                      <a:pt x="15" y="243"/>
                    </a:cubicBezTo>
                    <a:cubicBezTo>
                      <a:pt x="15" y="243"/>
                      <a:pt x="15" y="243"/>
                      <a:pt x="15" y="244"/>
                    </a:cubicBezTo>
                    <a:cubicBezTo>
                      <a:pt x="15" y="244"/>
                      <a:pt x="15" y="244"/>
                      <a:pt x="15" y="244"/>
                    </a:cubicBezTo>
                    <a:cubicBezTo>
                      <a:pt x="15" y="244"/>
                      <a:pt x="15" y="244"/>
                      <a:pt x="15" y="244"/>
                    </a:cubicBezTo>
                    <a:cubicBezTo>
                      <a:pt x="15" y="244"/>
                      <a:pt x="15" y="244"/>
                      <a:pt x="15" y="244"/>
                    </a:cubicBezTo>
                    <a:cubicBezTo>
                      <a:pt x="15" y="243"/>
                      <a:pt x="15" y="243"/>
                      <a:pt x="16" y="243"/>
                    </a:cubicBezTo>
                    <a:cubicBezTo>
                      <a:pt x="16" y="243"/>
                      <a:pt x="16" y="242"/>
                      <a:pt x="16" y="242"/>
                    </a:cubicBezTo>
                    <a:cubicBezTo>
                      <a:pt x="16" y="242"/>
                      <a:pt x="16" y="242"/>
                      <a:pt x="17" y="242"/>
                    </a:cubicBezTo>
                    <a:cubicBezTo>
                      <a:pt x="17" y="242"/>
                      <a:pt x="17" y="242"/>
                      <a:pt x="17" y="242"/>
                    </a:cubicBezTo>
                    <a:cubicBezTo>
                      <a:pt x="17" y="242"/>
                      <a:pt x="17" y="242"/>
                      <a:pt x="17" y="242"/>
                    </a:cubicBezTo>
                    <a:cubicBezTo>
                      <a:pt x="17" y="242"/>
                      <a:pt x="17" y="243"/>
                      <a:pt x="16" y="243"/>
                    </a:cubicBezTo>
                    <a:cubicBezTo>
                      <a:pt x="16" y="243"/>
                      <a:pt x="16" y="243"/>
                      <a:pt x="16" y="244"/>
                    </a:cubicBezTo>
                    <a:cubicBezTo>
                      <a:pt x="16" y="244"/>
                      <a:pt x="16" y="244"/>
                      <a:pt x="15" y="244"/>
                    </a:cubicBezTo>
                    <a:cubicBezTo>
                      <a:pt x="15" y="245"/>
                      <a:pt x="15" y="245"/>
                      <a:pt x="15" y="245"/>
                    </a:cubicBezTo>
                    <a:cubicBezTo>
                      <a:pt x="15" y="245"/>
                      <a:pt x="14" y="246"/>
                      <a:pt x="14" y="246"/>
                    </a:cubicBezTo>
                    <a:cubicBezTo>
                      <a:pt x="14" y="246"/>
                      <a:pt x="14" y="247"/>
                      <a:pt x="14" y="247"/>
                    </a:cubicBezTo>
                    <a:cubicBezTo>
                      <a:pt x="14" y="247"/>
                      <a:pt x="14" y="247"/>
                      <a:pt x="13" y="247"/>
                    </a:cubicBezTo>
                    <a:cubicBezTo>
                      <a:pt x="13" y="247"/>
                      <a:pt x="13" y="247"/>
                      <a:pt x="13" y="247"/>
                    </a:cubicBezTo>
                    <a:cubicBezTo>
                      <a:pt x="13" y="246"/>
                      <a:pt x="13" y="246"/>
                      <a:pt x="14" y="246"/>
                    </a:cubicBezTo>
                    <a:cubicBezTo>
                      <a:pt x="14" y="246"/>
                      <a:pt x="14" y="245"/>
                      <a:pt x="14" y="245"/>
                    </a:cubicBezTo>
                    <a:cubicBezTo>
                      <a:pt x="14" y="245"/>
                      <a:pt x="14" y="245"/>
                      <a:pt x="14" y="244"/>
                    </a:cubicBezTo>
                    <a:cubicBezTo>
                      <a:pt x="14" y="244"/>
                      <a:pt x="14" y="244"/>
                      <a:pt x="14" y="244"/>
                    </a:cubicBezTo>
                    <a:cubicBezTo>
                      <a:pt x="14" y="244"/>
                      <a:pt x="14" y="244"/>
                      <a:pt x="14" y="244"/>
                    </a:cubicBezTo>
                    <a:cubicBezTo>
                      <a:pt x="14" y="244"/>
                      <a:pt x="14" y="243"/>
                      <a:pt x="14" y="243"/>
                    </a:cubicBezTo>
                    <a:cubicBezTo>
                      <a:pt x="14" y="243"/>
                      <a:pt x="13" y="243"/>
                      <a:pt x="13" y="243"/>
                    </a:cubicBezTo>
                    <a:cubicBezTo>
                      <a:pt x="13" y="242"/>
                      <a:pt x="13" y="242"/>
                      <a:pt x="13" y="242"/>
                    </a:cubicBezTo>
                    <a:cubicBezTo>
                      <a:pt x="13" y="242"/>
                      <a:pt x="13" y="242"/>
                      <a:pt x="13" y="242"/>
                    </a:cubicBezTo>
                    <a:cubicBezTo>
                      <a:pt x="13" y="242"/>
                      <a:pt x="13" y="242"/>
                      <a:pt x="13" y="242"/>
                    </a:cubicBezTo>
                    <a:cubicBezTo>
                      <a:pt x="13" y="242"/>
                      <a:pt x="13" y="243"/>
                      <a:pt x="13" y="243"/>
                    </a:cubicBezTo>
                    <a:cubicBezTo>
                      <a:pt x="13" y="243"/>
                      <a:pt x="13" y="243"/>
                      <a:pt x="13" y="243"/>
                    </a:cubicBezTo>
                    <a:cubicBezTo>
                      <a:pt x="13" y="243"/>
                      <a:pt x="12" y="243"/>
                      <a:pt x="12" y="243"/>
                    </a:cubicBezTo>
                    <a:cubicBezTo>
                      <a:pt x="12" y="243"/>
                      <a:pt x="12" y="243"/>
                      <a:pt x="12" y="243"/>
                    </a:cubicBezTo>
                    <a:cubicBezTo>
                      <a:pt x="12" y="243"/>
                      <a:pt x="12" y="243"/>
                      <a:pt x="12" y="243"/>
                    </a:cubicBezTo>
                    <a:cubicBezTo>
                      <a:pt x="12" y="243"/>
                      <a:pt x="12" y="243"/>
                      <a:pt x="12" y="243"/>
                    </a:cubicBezTo>
                    <a:cubicBezTo>
                      <a:pt x="13" y="243"/>
                      <a:pt x="13" y="243"/>
                      <a:pt x="13" y="242"/>
                    </a:cubicBezTo>
                    <a:cubicBezTo>
                      <a:pt x="13" y="242"/>
                      <a:pt x="13" y="242"/>
                      <a:pt x="13" y="242"/>
                    </a:cubicBezTo>
                    <a:cubicBezTo>
                      <a:pt x="13" y="242"/>
                      <a:pt x="13" y="242"/>
                      <a:pt x="13" y="242"/>
                    </a:cubicBezTo>
                    <a:cubicBezTo>
                      <a:pt x="13" y="241"/>
                      <a:pt x="12" y="242"/>
                      <a:pt x="12" y="242"/>
                    </a:cubicBezTo>
                    <a:cubicBezTo>
                      <a:pt x="12" y="242"/>
                      <a:pt x="12" y="242"/>
                      <a:pt x="12" y="242"/>
                    </a:cubicBezTo>
                    <a:cubicBezTo>
                      <a:pt x="12" y="242"/>
                      <a:pt x="12" y="242"/>
                      <a:pt x="12" y="242"/>
                    </a:cubicBezTo>
                    <a:cubicBezTo>
                      <a:pt x="12" y="242"/>
                      <a:pt x="12" y="242"/>
                      <a:pt x="12" y="241"/>
                    </a:cubicBezTo>
                    <a:cubicBezTo>
                      <a:pt x="12" y="241"/>
                      <a:pt x="12" y="241"/>
                      <a:pt x="12" y="241"/>
                    </a:cubicBezTo>
                    <a:cubicBezTo>
                      <a:pt x="12" y="241"/>
                      <a:pt x="13" y="240"/>
                      <a:pt x="13" y="240"/>
                    </a:cubicBezTo>
                    <a:cubicBezTo>
                      <a:pt x="13" y="240"/>
                      <a:pt x="13" y="240"/>
                      <a:pt x="13" y="240"/>
                    </a:cubicBezTo>
                    <a:cubicBezTo>
                      <a:pt x="13" y="239"/>
                      <a:pt x="13" y="239"/>
                      <a:pt x="13" y="240"/>
                    </a:cubicBezTo>
                    <a:cubicBezTo>
                      <a:pt x="13" y="240"/>
                      <a:pt x="13" y="240"/>
                      <a:pt x="13" y="240"/>
                    </a:cubicBezTo>
                    <a:cubicBezTo>
                      <a:pt x="13" y="240"/>
                      <a:pt x="14" y="240"/>
                      <a:pt x="14" y="239"/>
                    </a:cubicBezTo>
                    <a:cubicBezTo>
                      <a:pt x="14" y="239"/>
                      <a:pt x="14" y="239"/>
                      <a:pt x="14" y="239"/>
                    </a:cubicBezTo>
                    <a:cubicBezTo>
                      <a:pt x="14" y="239"/>
                      <a:pt x="14" y="239"/>
                      <a:pt x="14" y="239"/>
                    </a:cubicBezTo>
                    <a:cubicBezTo>
                      <a:pt x="14" y="239"/>
                      <a:pt x="14" y="239"/>
                      <a:pt x="14" y="239"/>
                    </a:cubicBezTo>
                    <a:cubicBezTo>
                      <a:pt x="13" y="239"/>
                      <a:pt x="13" y="239"/>
                      <a:pt x="13" y="239"/>
                    </a:cubicBezTo>
                    <a:cubicBezTo>
                      <a:pt x="13" y="239"/>
                      <a:pt x="13" y="239"/>
                      <a:pt x="13" y="239"/>
                    </a:cubicBezTo>
                    <a:cubicBezTo>
                      <a:pt x="13" y="239"/>
                      <a:pt x="12" y="239"/>
                      <a:pt x="12" y="239"/>
                    </a:cubicBezTo>
                    <a:cubicBezTo>
                      <a:pt x="12" y="239"/>
                      <a:pt x="12" y="239"/>
                      <a:pt x="12" y="239"/>
                    </a:cubicBezTo>
                    <a:cubicBezTo>
                      <a:pt x="12" y="239"/>
                      <a:pt x="12" y="239"/>
                      <a:pt x="12" y="239"/>
                    </a:cubicBezTo>
                    <a:cubicBezTo>
                      <a:pt x="12" y="239"/>
                      <a:pt x="12" y="239"/>
                      <a:pt x="12" y="239"/>
                    </a:cubicBezTo>
                    <a:cubicBezTo>
                      <a:pt x="12" y="239"/>
                      <a:pt x="11" y="239"/>
                      <a:pt x="11" y="239"/>
                    </a:cubicBezTo>
                    <a:cubicBezTo>
                      <a:pt x="11" y="239"/>
                      <a:pt x="11" y="238"/>
                      <a:pt x="11" y="239"/>
                    </a:cubicBezTo>
                    <a:cubicBezTo>
                      <a:pt x="10" y="239"/>
                      <a:pt x="10" y="239"/>
                      <a:pt x="10" y="239"/>
                    </a:cubicBezTo>
                    <a:cubicBezTo>
                      <a:pt x="10" y="239"/>
                      <a:pt x="10" y="239"/>
                      <a:pt x="10" y="239"/>
                    </a:cubicBezTo>
                    <a:cubicBezTo>
                      <a:pt x="10" y="239"/>
                      <a:pt x="9" y="240"/>
                      <a:pt x="9" y="240"/>
                    </a:cubicBezTo>
                    <a:cubicBezTo>
                      <a:pt x="9" y="240"/>
                      <a:pt x="9" y="240"/>
                      <a:pt x="10" y="241"/>
                    </a:cubicBezTo>
                    <a:cubicBezTo>
                      <a:pt x="9" y="241"/>
                      <a:pt x="9" y="241"/>
                      <a:pt x="9" y="241"/>
                    </a:cubicBezTo>
                    <a:cubicBezTo>
                      <a:pt x="9" y="241"/>
                      <a:pt x="9" y="240"/>
                      <a:pt x="9" y="240"/>
                    </a:cubicBezTo>
                    <a:cubicBezTo>
                      <a:pt x="9" y="240"/>
                      <a:pt x="8" y="240"/>
                      <a:pt x="8" y="240"/>
                    </a:cubicBezTo>
                    <a:cubicBezTo>
                      <a:pt x="7" y="240"/>
                      <a:pt x="7" y="240"/>
                      <a:pt x="7" y="240"/>
                    </a:cubicBezTo>
                    <a:cubicBezTo>
                      <a:pt x="7" y="240"/>
                      <a:pt x="7" y="240"/>
                      <a:pt x="7" y="240"/>
                    </a:cubicBezTo>
                    <a:cubicBezTo>
                      <a:pt x="7" y="240"/>
                      <a:pt x="6" y="240"/>
                      <a:pt x="6" y="240"/>
                    </a:cubicBezTo>
                    <a:cubicBezTo>
                      <a:pt x="6" y="240"/>
                      <a:pt x="5" y="240"/>
                      <a:pt x="5" y="240"/>
                    </a:cubicBezTo>
                    <a:cubicBezTo>
                      <a:pt x="5" y="240"/>
                      <a:pt x="5" y="240"/>
                      <a:pt x="5" y="240"/>
                    </a:cubicBezTo>
                    <a:cubicBezTo>
                      <a:pt x="5" y="241"/>
                      <a:pt x="5" y="241"/>
                      <a:pt x="5" y="241"/>
                    </a:cubicBezTo>
                    <a:cubicBezTo>
                      <a:pt x="5" y="241"/>
                      <a:pt x="5" y="241"/>
                      <a:pt x="5" y="241"/>
                    </a:cubicBezTo>
                    <a:cubicBezTo>
                      <a:pt x="5" y="241"/>
                      <a:pt x="6" y="242"/>
                      <a:pt x="6" y="242"/>
                    </a:cubicBezTo>
                    <a:cubicBezTo>
                      <a:pt x="5" y="242"/>
                      <a:pt x="5" y="242"/>
                      <a:pt x="5" y="242"/>
                    </a:cubicBezTo>
                    <a:cubicBezTo>
                      <a:pt x="5" y="242"/>
                      <a:pt x="6" y="243"/>
                      <a:pt x="6" y="243"/>
                    </a:cubicBezTo>
                    <a:cubicBezTo>
                      <a:pt x="6" y="243"/>
                      <a:pt x="6" y="242"/>
                      <a:pt x="6" y="242"/>
                    </a:cubicBezTo>
                    <a:cubicBezTo>
                      <a:pt x="7" y="242"/>
                      <a:pt x="7" y="242"/>
                      <a:pt x="7" y="242"/>
                    </a:cubicBezTo>
                    <a:cubicBezTo>
                      <a:pt x="7" y="241"/>
                      <a:pt x="7" y="241"/>
                      <a:pt x="8" y="241"/>
                    </a:cubicBezTo>
                    <a:cubicBezTo>
                      <a:pt x="8" y="241"/>
                      <a:pt x="8" y="242"/>
                      <a:pt x="7" y="242"/>
                    </a:cubicBezTo>
                    <a:cubicBezTo>
                      <a:pt x="7" y="242"/>
                      <a:pt x="7" y="242"/>
                      <a:pt x="7" y="242"/>
                    </a:cubicBezTo>
                    <a:cubicBezTo>
                      <a:pt x="7" y="243"/>
                      <a:pt x="7" y="243"/>
                      <a:pt x="7" y="243"/>
                    </a:cubicBezTo>
                    <a:cubicBezTo>
                      <a:pt x="7" y="243"/>
                      <a:pt x="7" y="243"/>
                      <a:pt x="7" y="243"/>
                    </a:cubicBezTo>
                    <a:cubicBezTo>
                      <a:pt x="7" y="243"/>
                      <a:pt x="7" y="243"/>
                      <a:pt x="7" y="243"/>
                    </a:cubicBezTo>
                    <a:cubicBezTo>
                      <a:pt x="7" y="243"/>
                      <a:pt x="7" y="243"/>
                      <a:pt x="7" y="243"/>
                    </a:cubicBezTo>
                    <a:cubicBezTo>
                      <a:pt x="7" y="243"/>
                      <a:pt x="7" y="243"/>
                      <a:pt x="7" y="243"/>
                    </a:cubicBezTo>
                    <a:cubicBezTo>
                      <a:pt x="6" y="243"/>
                      <a:pt x="6" y="243"/>
                      <a:pt x="6" y="243"/>
                    </a:cubicBezTo>
                    <a:cubicBezTo>
                      <a:pt x="6" y="244"/>
                      <a:pt x="6" y="244"/>
                      <a:pt x="6" y="244"/>
                    </a:cubicBezTo>
                    <a:cubicBezTo>
                      <a:pt x="6" y="244"/>
                      <a:pt x="6" y="244"/>
                      <a:pt x="5" y="244"/>
                    </a:cubicBezTo>
                    <a:cubicBezTo>
                      <a:pt x="5" y="244"/>
                      <a:pt x="5" y="244"/>
                      <a:pt x="5" y="244"/>
                    </a:cubicBezTo>
                    <a:cubicBezTo>
                      <a:pt x="5" y="243"/>
                      <a:pt x="5" y="244"/>
                      <a:pt x="5" y="244"/>
                    </a:cubicBezTo>
                    <a:cubicBezTo>
                      <a:pt x="5" y="244"/>
                      <a:pt x="5" y="244"/>
                      <a:pt x="5" y="244"/>
                    </a:cubicBezTo>
                    <a:cubicBezTo>
                      <a:pt x="5" y="244"/>
                      <a:pt x="4" y="244"/>
                      <a:pt x="4" y="245"/>
                    </a:cubicBezTo>
                    <a:cubicBezTo>
                      <a:pt x="4" y="245"/>
                      <a:pt x="4" y="245"/>
                      <a:pt x="4" y="245"/>
                    </a:cubicBezTo>
                    <a:cubicBezTo>
                      <a:pt x="4" y="245"/>
                      <a:pt x="4" y="245"/>
                      <a:pt x="3" y="246"/>
                    </a:cubicBezTo>
                    <a:cubicBezTo>
                      <a:pt x="3" y="246"/>
                      <a:pt x="3" y="246"/>
                      <a:pt x="3" y="246"/>
                    </a:cubicBezTo>
                    <a:cubicBezTo>
                      <a:pt x="3" y="246"/>
                      <a:pt x="3" y="246"/>
                      <a:pt x="3" y="246"/>
                    </a:cubicBezTo>
                    <a:cubicBezTo>
                      <a:pt x="3" y="247"/>
                      <a:pt x="3" y="247"/>
                      <a:pt x="3" y="247"/>
                    </a:cubicBezTo>
                    <a:cubicBezTo>
                      <a:pt x="3" y="247"/>
                      <a:pt x="3" y="247"/>
                      <a:pt x="3" y="247"/>
                    </a:cubicBezTo>
                    <a:cubicBezTo>
                      <a:pt x="3" y="247"/>
                      <a:pt x="3" y="247"/>
                      <a:pt x="2" y="247"/>
                    </a:cubicBezTo>
                    <a:cubicBezTo>
                      <a:pt x="2" y="247"/>
                      <a:pt x="2" y="247"/>
                      <a:pt x="2" y="247"/>
                    </a:cubicBezTo>
                    <a:cubicBezTo>
                      <a:pt x="2" y="247"/>
                      <a:pt x="2" y="247"/>
                      <a:pt x="2" y="247"/>
                    </a:cubicBezTo>
                    <a:cubicBezTo>
                      <a:pt x="2" y="247"/>
                      <a:pt x="2" y="247"/>
                      <a:pt x="2" y="247"/>
                    </a:cubicBezTo>
                    <a:cubicBezTo>
                      <a:pt x="1" y="248"/>
                      <a:pt x="1" y="249"/>
                      <a:pt x="1" y="249"/>
                    </a:cubicBezTo>
                    <a:cubicBezTo>
                      <a:pt x="1" y="249"/>
                      <a:pt x="1" y="249"/>
                      <a:pt x="1" y="250"/>
                    </a:cubicBezTo>
                    <a:cubicBezTo>
                      <a:pt x="1" y="250"/>
                      <a:pt x="1" y="250"/>
                      <a:pt x="1" y="250"/>
                    </a:cubicBezTo>
                    <a:cubicBezTo>
                      <a:pt x="1" y="250"/>
                      <a:pt x="2" y="250"/>
                      <a:pt x="2" y="250"/>
                    </a:cubicBezTo>
                    <a:cubicBezTo>
                      <a:pt x="2" y="251"/>
                      <a:pt x="2" y="251"/>
                      <a:pt x="2" y="251"/>
                    </a:cubicBezTo>
                    <a:cubicBezTo>
                      <a:pt x="2" y="251"/>
                      <a:pt x="3" y="251"/>
                      <a:pt x="3" y="251"/>
                    </a:cubicBezTo>
                    <a:cubicBezTo>
                      <a:pt x="3" y="251"/>
                      <a:pt x="3" y="251"/>
                      <a:pt x="4" y="250"/>
                    </a:cubicBezTo>
                    <a:cubicBezTo>
                      <a:pt x="4" y="250"/>
                      <a:pt x="4" y="250"/>
                      <a:pt x="4" y="250"/>
                    </a:cubicBezTo>
                    <a:cubicBezTo>
                      <a:pt x="3" y="249"/>
                      <a:pt x="3" y="249"/>
                      <a:pt x="3" y="249"/>
                    </a:cubicBezTo>
                    <a:cubicBezTo>
                      <a:pt x="3" y="249"/>
                      <a:pt x="3" y="249"/>
                      <a:pt x="3" y="249"/>
                    </a:cubicBezTo>
                    <a:cubicBezTo>
                      <a:pt x="3" y="249"/>
                      <a:pt x="3" y="249"/>
                      <a:pt x="3" y="249"/>
                    </a:cubicBezTo>
                    <a:cubicBezTo>
                      <a:pt x="2" y="249"/>
                      <a:pt x="2" y="249"/>
                      <a:pt x="2" y="248"/>
                    </a:cubicBezTo>
                    <a:cubicBezTo>
                      <a:pt x="2" y="248"/>
                      <a:pt x="2" y="248"/>
                      <a:pt x="3" y="248"/>
                    </a:cubicBezTo>
                    <a:cubicBezTo>
                      <a:pt x="3" y="248"/>
                      <a:pt x="3" y="248"/>
                      <a:pt x="3" y="248"/>
                    </a:cubicBezTo>
                    <a:cubicBezTo>
                      <a:pt x="3" y="248"/>
                      <a:pt x="3" y="248"/>
                      <a:pt x="3" y="248"/>
                    </a:cubicBezTo>
                    <a:cubicBezTo>
                      <a:pt x="4" y="248"/>
                      <a:pt x="4" y="248"/>
                      <a:pt x="4" y="248"/>
                    </a:cubicBezTo>
                    <a:cubicBezTo>
                      <a:pt x="4" y="248"/>
                      <a:pt x="5" y="247"/>
                      <a:pt x="6" y="247"/>
                    </a:cubicBezTo>
                    <a:cubicBezTo>
                      <a:pt x="6" y="246"/>
                      <a:pt x="6" y="246"/>
                      <a:pt x="6" y="246"/>
                    </a:cubicBezTo>
                    <a:cubicBezTo>
                      <a:pt x="6" y="246"/>
                      <a:pt x="6" y="247"/>
                      <a:pt x="6" y="247"/>
                    </a:cubicBezTo>
                    <a:cubicBezTo>
                      <a:pt x="6" y="247"/>
                      <a:pt x="6" y="247"/>
                      <a:pt x="5" y="247"/>
                    </a:cubicBezTo>
                    <a:cubicBezTo>
                      <a:pt x="5" y="248"/>
                      <a:pt x="5" y="248"/>
                      <a:pt x="5" y="248"/>
                    </a:cubicBezTo>
                    <a:cubicBezTo>
                      <a:pt x="5" y="249"/>
                      <a:pt x="6" y="249"/>
                      <a:pt x="6" y="249"/>
                    </a:cubicBezTo>
                    <a:cubicBezTo>
                      <a:pt x="6" y="249"/>
                      <a:pt x="7" y="249"/>
                      <a:pt x="7" y="249"/>
                    </a:cubicBezTo>
                    <a:cubicBezTo>
                      <a:pt x="7" y="249"/>
                      <a:pt x="7" y="249"/>
                      <a:pt x="7" y="249"/>
                    </a:cubicBezTo>
                    <a:cubicBezTo>
                      <a:pt x="7" y="250"/>
                      <a:pt x="8" y="250"/>
                      <a:pt x="8" y="250"/>
                    </a:cubicBezTo>
                    <a:cubicBezTo>
                      <a:pt x="8" y="250"/>
                      <a:pt x="8" y="250"/>
                      <a:pt x="8" y="250"/>
                    </a:cubicBezTo>
                    <a:cubicBezTo>
                      <a:pt x="8" y="250"/>
                      <a:pt x="8" y="250"/>
                      <a:pt x="8" y="250"/>
                    </a:cubicBezTo>
                    <a:cubicBezTo>
                      <a:pt x="8" y="250"/>
                      <a:pt x="9" y="250"/>
                      <a:pt x="9" y="250"/>
                    </a:cubicBezTo>
                    <a:cubicBezTo>
                      <a:pt x="9" y="250"/>
                      <a:pt x="9" y="250"/>
                      <a:pt x="10" y="250"/>
                    </a:cubicBezTo>
                    <a:cubicBezTo>
                      <a:pt x="9" y="250"/>
                      <a:pt x="9" y="250"/>
                      <a:pt x="9" y="250"/>
                    </a:cubicBezTo>
                    <a:cubicBezTo>
                      <a:pt x="8" y="250"/>
                      <a:pt x="8" y="250"/>
                      <a:pt x="8" y="250"/>
                    </a:cubicBezTo>
                    <a:cubicBezTo>
                      <a:pt x="8" y="250"/>
                      <a:pt x="8" y="250"/>
                      <a:pt x="8" y="250"/>
                    </a:cubicBezTo>
                    <a:cubicBezTo>
                      <a:pt x="8" y="249"/>
                      <a:pt x="8" y="249"/>
                      <a:pt x="8" y="249"/>
                    </a:cubicBezTo>
                    <a:cubicBezTo>
                      <a:pt x="9" y="249"/>
                      <a:pt x="10" y="249"/>
                      <a:pt x="10" y="249"/>
                    </a:cubicBezTo>
                    <a:cubicBezTo>
                      <a:pt x="10" y="249"/>
                      <a:pt x="10" y="249"/>
                      <a:pt x="11" y="249"/>
                    </a:cubicBezTo>
                    <a:cubicBezTo>
                      <a:pt x="11" y="249"/>
                      <a:pt x="11" y="249"/>
                      <a:pt x="11" y="249"/>
                    </a:cubicBezTo>
                    <a:cubicBezTo>
                      <a:pt x="11" y="250"/>
                      <a:pt x="11" y="250"/>
                      <a:pt x="11" y="250"/>
                    </a:cubicBezTo>
                    <a:cubicBezTo>
                      <a:pt x="11" y="250"/>
                      <a:pt x="11" y="250"/>
                      <a:pt x="11" y="251"/>
                    </a:cubicBezTo>
                    <a:cubicBezTo>
                      <a:pt x="11" y="251"/>
                      <a:pt x="12" y="251"/>
                      <a:pt x="12" y="251"/>
                    </a:cubicBezTo>
                    <a:cubicBezTo>
                      <a:pt x="12" y="251"/>
                      <a:pt x="12" y="251"/>
                      <a:pt x="12" y="251"/>
                    </a:cubicBezTo>
                    <a:cubicBezTo>
                      <a:pt x="12" y="251"/>
                      <a:pt x="12" y="251"/>
                      <a:pt x="12" y="251"/>
                    </a:cubicBezTo>
                    <a:cubicBezTo>
                      <a:pt x="12" y="252"/>
                      <a:pt x="12" y="252"/>
                      <a:pt x="12" y="252"/>
                    </a:cubicBezTo>
                    <a:cubicBezTo>
                      <a:pt x="12" y="252"/>
                      <a:pt x="12" y="252"/>
                      <a:pt x="12" y="252"/>
                    </a:cubicBezTo>
                    <a:cubicBezTo>
                      <a:pt x="12" y="252"/>
                      <a:pt x="11" y="252"/>
                      <a:pt x="11" y="252"/>
                    </a:cubicBezTo>
                    <a:cubicBezTo>
                      <a:pt x="11" y="252"/>
                      <a:pt x="11" y="252"/>
                      <a:pt x="11" y="252"/>
                    </a:cubicBezTo>
                    <a:cubicBezTo>
                      <a:pt x="11" y="252"/>
                      <a:pt x="11" y="252"/>
                      <a:pt x="11" y="252"/>
                    </a:cubicBezTo>
                    <a:cubicBezTo>
                      <a:pt x="11" y="252"/>
                      <a:pt x="11" y="253"/>
                      <a:pt x="11" y="253"/>
                    </a:cubicBezTo>
                    <a:cubicBezTo>
                      <a:pt x="11" y="253"/>
                      <a:pt x="11" y="253"/>
                      <a:pt x="11" y="253"/>
                    </a:cubicBezTo>
                    <a:cubicBezTo>
                      <a:pt x="11" y="253"/>
                      <a:pt x="11" y="254"/>
                      <a:pt x="11" y="254"/>
                    </a:cubicBezTo>
                    <a:cubicBezTo>
                      <a:pt x="11" y="254"/>
                      <a:pt x="11" y="254"/>
                      <a:pt x="11" y="254"/>
                    </a:cubicBezTo>
                    <a:cubicBezTo>
                      <a:pt x="10" y="254"/>
                      <a:pt x="10" y="255"/>
                      <a:pt x="9" y="256"/>
                    </a:cubicBezTo>
                    <a:cubicBezTo>
                      <a:pt x="9" y="256"/>
                      <a:pt x="9" y="256"/>
                      <a:pt x="9" y="256"/>
                    </a:cubicBezTo>
                    <a:cubicBezTo>
                      <a:pt x="9" y="256"/>
                      <a:pt x="9" y="257"/>
                      <a:pt x="10" y="257"/>
                    </a:cubicBezTo>
                    <a:cubicBezTo>
                      <a:pt x="10" y="257"/>
                      <a:pt x="10" y="257"/>
                      <a:pt x="11" y="257"/>
                    </a:cubicBezTo>
                    <a:cubicBezTo>
                      <a:pt x="11" y="257"/>
                      <a:pt x="11" y="257"/>
                      <a:pt x="11" y="257"/>
                    </a:cubicBezTo>
                    <a:cubicBezTo>
                      <a:pt x="11" y="257"/>
                      <a:pt x="12" y="257"/>
                      <a:pt x="12" y="258"/>
                    </a:cubicBezTo>
                    <a:cubicBezTo>
                      <a:pt x="12" y="258"/>
                      <a:pt x="12" y="258"/>
                      <a:pt x="12" y="258"/>
                    </a:cubicBezTo>
                    <a:cubicBezTo>
                      <a:pt x="12" y="258"/>
                      <a:pt x="11" y="258"/>
                      <a:pt x="11" y="258"/>
                    </a:cubicBezTo>
                    <a:cubicBezTo>
                      <a:pt x="11" y="258"/>
                      <a:pt x="11" y="258"/>
                      <a:pt x="11" y="258"/>
                    </a:cubicBezTo>
                    <a:cubicBezTo>
                      <a:pt x="11" y="258"/>
                      <a:pt x="11" y="258"/>
                      <a:pt x="11" y="258"/>
                    </a:cubicBezTo>
                    <a:cubicBezTo>
                      <a:pt x="11" y="258"/>
                      <a:pt x="11" y="258"/>
                      <a:pt x="11"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9" y="257"/>
                      <a:pt x="9" y="257"/>
                      <a:pt x="9" y="257"/>
                    </a:cubicBezTo>
                    <a:cubicBezTo>
                      <a:pt x="9" y="257"/>
                      <a:pt x="8" y="257"/>
                      <a:pt x="8" y="258"/>
                    </a:cubicBezTo>
                    <a:cubicBezTo>
                      <a:pt x="8" y="258"/>
                      <a:pt x="8" y="258"/>
                      <a:pt x="8" y="258"/>
                    </a:cubicBezTo>
                    <a:cubicBezTo>
                      <a:pt x="8" y="258"/>
                      <a:pt x="8" y="258"/>
                      <a:pt x="8" y="259"/>
                    </a:cubicBezTo>
                    <a:cubicBezTo>
                      <a:pt x="8" y="259"/>
                      <a:pt x="8" y="259"/>
                      <a:pt x="8" y="259"/>
                    </a:cubicBezTo>
                    <a:cubicBezTo>
                      <a:pt x="8" y="259"/>
                      <a:pt x="8" y="260"/>
                      <a:pt x="9" y="260"/>
                    </a:cubicBezTo>
                    <a:cubicBezTo>
                      <a:pt x="9" y="260"/>
                      <a:pt x="9" y="260"/>
                      <a:pt x="9" y="259"/>
                    </a:cubicBezTo>
                    <a:cubicBezTo>
                      <a:pt x="10" y="259"/>
                      <a:pt x="10" y="259"/>
                      <a:pt x="10" y="259"/>
                    </a:cubicBezTo>
                    <a:cubicBezTo>
                      <a:pt x="10" y="259"/>
                      <a:pt x="10" y="260"/>
                      <a:pt x="10" y="260"/>
                    </a:cubicBezTo>
                    <a:cubicBezTo>
                      <a:pt x="10" y="260"/>
                      <a:pt x="10" y="260"/>
                      <a:pt x="10" y="260"/>
                    </a:cubicBezTo>
                    <a:cubicBezTo>
                      <a:pt x="10" y="260"/>
                      <a:pt x="9" y="260"/>
                      <a:pt x="9" y="260"/>
                    </a:cubicBezTo>
                    <a:cubicBezTo>
                      <a:pt x="9" y="260"/>
                      <a:pt x="9" y="260"/>
                      <a:pt x="9" y="261"/>
                    </a:cubicBezTo>
                    <a:cubicBezTo>
                      <a:pt x="9" y="261"/>
                      <a:pt x="10" y="261"/>
                      <a:pt x="10" y="261"/>
                    </a:cubicBezTo>
                    <a:cubicBezTo>
                      <a:pt x="10" y="261"/>
                      <a:pt x="10" y="261"/>
                      <a:pt x="11" y="261"/>
                    </a:cubicBezTo>
                    <a:cubicBezTo>
                      <a:pt x="11" y="261"/>
                      <a:pt x="11" y="261"/>
                      <a:pt x="11" y="261"/>
                    </a:cubicBezTo>
                    <a:cubicBezTo>
                      <a:pt x="11" y="261"/>
                      <a:pt x="11" y="261"/>
                      <a:pt x="12" y="261"/>
                    </a:cubicBezTo>
                    <a:cubicBezTo>
                      <a:pt x="12" y="261"/>
                      <a:pt x="12" y="261"/>
                      <a:pt x="12" y="261"/>
                    </a:cubicBezTo>
                    <a:cubicBezTo>
                      <a:pt x="12" y="261"/>
                      <a:pt x="12" y="261"/>
                      <a:pt x="12" y="261"/>
                    </a:cubicBezTo>
                    <a:cubicBezTo>
                      <a:pt x="12" y="261"/>
                      <a:pt x="12" y="261"/>
                      <a:pt x="12" y="261"/>
                    </a:cubicBezTo>
                    <a:cubicBezTo>
                      <a:pt x="12" y="261"/>
                      <a:pt x="12" y="261"/>
                      <a:pt x="12" y="261"/>
                    </a:cubicBezTo>
                    <a:cubicBezTo>
                      <a:pt x="12" y="260"/>
                      <a:pt x="12" y="260"/>
                      <a:pt x="12" y="260"/>
                    </a:cubicBezTo>
                    <a:cubicBezTo>
                      <a:pt x="12" y="261"/>
                      <a:pt x="12" y="261"/>
                      <a:pt x="12" y="261"/>
                    </a:cubicBezTo>
                    <a:cubicBezTo>
                      <a:pt x="13" y="261"/>
                      <a:pt x="13" y="261"/>
                      <a:pt x="13" y="261"/>
                    </a:cubicBezTo>
                    <a:cubicBezTo>
                      <a:pt x="13" y="261"/>
                      <a:pt x="13" y="261"/>
                      <a:pt x="13" y="261"/>
                    </a:cubicBezTo>
                    <a:cubicBezTo>
                      <a:pt x="13" y="261"/>
                      <a:pt x="13" y="261"/>
                      <a:pt x="13" y="261"/>
                    </a:cubicBezTo>
                    <a:cubicBezTo>
                      <a:pt x="13" y="261"/>
                      <a:pt x="13" y="261"/>
                      <a:pt x="13" y="261"/>
                    </a:cubicBezTo>
                    <a:cubicBezTo>
                      <a:pt x="14" y="261"/>
                      <a:pt x="14" y="261"/>
                      <a:pt x="14" y="261"/>
                    </a:cubicBezTo>
                    <a:cubicBezTo>
                      <a:pt x="14" y="261"/>
                      <a:pt x="14" y="261"/>
                      <a:pt x="14" y="261"/>
                    </a:cubicBezTo>
                    <a:cubicBezTo>
                      <a:pt x="14" y="261"/>
                      <a:pt x="14" y="261"/>
                      <a:pt x="14" y="261"/>
                    </a:cubicBezTo>
                    <a:cubicBezTo>
                      <a:pt x="13" y="260"/>
                      <a:pt x="13" y="260"/>
                      <a:pt x="12" y="260"/>
                    </a:cubicBezTo>
                    <a:cubicBezTo>
                      <a:pt x="12" y="260"/>
                      <a:pt x="12" y="260"/>
                      <a:pt x="12" y="260"/>
                    </a:cubicBezTo>
                    <a:cubicBezTo>
                      <a:pt x="12" y="260"/>
                      <a:pt x="12" y="260"/>
                      <a:pt x="12" y="260"/>
                    </a:cubicBezTo>
                    <a:cubicBezTo>
                      <a:pt x="13" y="260"/>
                      <a:pt x="13" y="260"/>
                      <a:pt x="13" y="260"/>
                    </a:cubicBezTo>
                    <a:cubicBezTo>
                      <a:pt x="14" y="260"/>
                      <a:pt x="14" y="260"/>
                      <a:pt x="14" y="260"/>
                    </a:cubicBezTo>
                    <a:cubicBezTo>
                      <a:pt x="14" y="259"/>
                      <a:pt x="14" y="259"/>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9"/>
                      <a:pt x="15" y="259"/>
                      <a:pt x="15" y="260"/>
                    </a:cubicBezTo>
                    <a:cubicBezTo>
                      <a:pt x="15" y="260"/>
                      <a:pt x="15" y="260"/>
                      <a:pt x="16" y="260"/>
                    </a:cubicBezTo>
                    <a:cubicBezTo>
                      <a:pt x="16" y="260"/>
                      <a:pt x="16" y="260"/>
                      <a:pt x="16" y="260"/>
                    </a:cubicBezTo>
                    <a:cubicBezTo>
                      <a:pt x="16" y="260"/>
                      <a:pt x="16" y="261"/>
                      <a:pt x="16" y="261"/>
                    </a:cubicBezTo>
                    <a:cubicBezTo>
                      <a:pt x="16" y="261"/>
                      <a:pt x="16" y="261"/>
                      <a:pt x="16" y="261"/>
                    </a:cubicBezTo>
                    <a:cubicBezTo>
                      <a:pt x="15" y="261"/>
                      <a:pt x="15" y="261"/>
                      <a:pt x="14" y="261"/>
                    </a:cubicBezTo>
                    <a:cubicBezTo>
                      <a:pt x="14" y="261"/>
                      <a:pt x="15" y="262"/>
                      <a:pt x="15" y="262"/>
                    </a:cubicBezTo>
                    <a:cubicBezTo>
                      <a:pt x="15" y="262"/>
                      <a:pt x="15" y="262"/>
                      <a:pt x="15" y="262"/>
                    </a:cubicBezTo>
                    <a:cubicBezTo>
                      <a:pt x="15" y="262"/>
                      <a:pt x="15" y="262"/>
                      <a:pt x="15" y="262"/>
                    </a:cubicBezTo>
                    <a:cubicBezTo>
                      <a:pt x="16" y="262"/>
                      <a:pt x="16" y="262"/>
                      <a:pt x="16" y="263"/>
                    </a:cubicBezTo>
                    <a:cubicBezTo>
                      <a:pt x="16" y="263"/>
                      <a:pt x="16" y="263"/>
                      <a:pt x="17" y="263"/>
                    </a:cubicBezTo>
                    <a:cubicBezTo>
                      <a:pt x="17" y="264"/>
                      <a:pt x="17" y="264"/>
                      <a:pt x="17" y="264"/>
                    </a:cubicBezTo>
                    <a:cubicBezTo>
                      <a:pt x="17" y="264"/>
                      <a:pt x="17" y="264"/>
                      <a:pt x="17" y="264"/>
                    </a:cubicBezTo>
                    <a:cubicBezTo>
                      <a:pt x="17" y="264"/>
                      <a:pt x="17" y="264"/>
                      <a:pt x="17" y="264"/>
                    </a:cubicBezTo>
                    <a:cubicBezTo>
                      <a:pt x="17" y="264"/>
                      <a:pt x="17" y="264"/>
                      <a:pt x="16" y="264"/>
                    </a:cubicBezTo>
                    <a:cubicBezTo>
                      <a:pt x="16" y="264"/>
                      <a:pt x="16" y="264"/>
                      <a:pt x="16" y="264"/>
                    </a:cubicBezTo>
                    <a:cubicBezTo>
                      <a:pt x="16" y="264"/>
                      <a:pt x="16" y="264"/>
                      <a:pt x="16" y="264"/>
                    </a:cubicBezTo>
                    <a:cubicBezTo>
                      <a:pt x="16" y="264"/>
                      <a:pt x="16" y="264"/>
                      <a:pt x="16" y="264"/>
                    </a:cubicBezTo>
                    <a:cubicBezTo>
                      <a:pt x="16" y="263"/>
                      <a:pt x="15" y="263"/>
                      <a:pt x="15" y="263"/>
                    </a:cubicBezTo>
                    <a:cubicBezTo>
                      <a:pt x="15" y="263"/>
                      <a:pt x="15" y="263"/>
                      <a:pt x="14" y="263"/>
                    </a:cubicBezTo>
                    <a:cubicBezTo>
                      <a:pt x="14" y="263"/>
                      <a:pt x="14" y="262"/>
                      <a:pt x="14" y="262"/>
                    </a:cubicBezTo>
                    <a:cubicBezTo>
                      <a:pt x="14" y="262"/>
                      <a:pt x="14" y="262"/>
                      <a:pt x="14" y="262"/>
                    </a:cubicBezTo>
                    <a:cubicBezTo>
                      <a:pt x="13" y="262"/>
                      <a:pt x="13" y="262"/>
                      <a:pt x="13" y="262"/>
                    </a:cubicBezTo>
                    <a:cubicBezTo>
                      <a:pt x="13" y="262"/>
                      <a:pt x="13" y="262"/>
                      <a:pt x="12" y="262"/>
                    </a:cubicBezTo>
                    <a:cubicBezTo>
                      <a:pt x="12" y="262"/>
                      <a:pt x="11" y="262"/>
                      <a:pt x="11" y="262"/>
                    </a:cubicBezTo>
                    <a:cubicBezTo>
                      <a:pt x="11" y="262"/>
                      <a:pt x="11" y="262"/>
                      <a:pt x="11" y="262"/>
                    </a:cubicBezTo>
                    <a:cubicBezTo>
                      <a:pt x="10" y="262"/>
                      <a:pt x="10" y="262"/>
                      <a:pt x="10" y="262"/>
                    </a:cubicBezTo>
                    <a:cubicBezTo>
                      <a:pt x="10" y="261"/>
                      <a:pt x="9" y="261"/>
                      <a:pt x="9" y="261"/>
                    </a:cubicBezTo>
                    <a:cubicBezTo>
                      <a:pt x="9" y="261"/>
                      <a:pt x="9" y="261"/>
                      <a:pt x="9" y="261"/>
                    </a:cubicBezTo>
                    <a:cubicBezTo>
                      <a:pt x="9" y="262"/>
                      <a:pt x="9" y="262"/>
                      <a:pt x="9" y="262"/>
                    </a:cubicBezTo>
                    <a:cubicBezTo>
                      <a:pt x="8" y="262"/>
                      <a:pt x="8" y="262"/>
                      <a:pt x="8" y="262"/>
                    </a:cubicBezTo>
                    <a:cubicBezTo>
                      <a:pt x="8" y="263"/>
                      <a:pt x="9" y="263"/>
                      <a:pt x="9" y="263"/>
                    </a:cubicBezTo>
                    <a:cubicBezTo>
                      <a:pt x="9" y="264"/>
                      <a:pt x="9" y="264"/>
                      <a:pt x="9" y="264"/>
                    </a:cubicBezTo>
                    <a:cubicBezTo>
                      <a:pt x="9" y="264"/>
                      <a:pt x="9" y="265"/>
                      <a:pt x="9" y="265"/>
                    </a:cubicBezTo>
                    <a:cubicBezTo>
                      <a:pt x="9" y="265"/>
                      <a:pt x="9" y="265"/>
                      <a:pt x="9" y="265"/>
                    </a:cubicBezTo>
                    <a:cubicBezTo>
                      <a:pt x="9" y="265"/>
                      <a:pt x="9" y="265"/>
                      <a:pt x="9" y="265"/>
                    </a:cubicBezTo>
                    <a:cubicBezTo>
                      <a:pt x="9" y="266"/>
                      <a:pt x="10" y="266"/>
                      <a:pt x="10" y="266"/>
                    </a:cubicBezTo>
                    <a:cubicBezTo>
                      <a:pt x="10" y="266"/>
                      <a:pt x="10" y="266"/>
                      <a:pt x="10" y="267"/>
                    </a:cubicBezTo>
                    <a:cubicBezTo>
                      <a:pt x="10" y="267"/>
                      <a:pt x="10" y="266"/>
                      <a:pt x="10" y="266"/>
                    </a:cubicBezTo>
                    <a:cubicBezTo>
                      <a:pt x="10" y="266"/>
                      <a:pt x="10" y="266"/>
                      <a:pt x="10" y="267"/>
                    </a:cubicBezTo>
                    <a:cubicBezTo>
                      <a:pt x="9" y="267"/>
                      <a:pt x="10" y="267"/>
                      <a:pt x="10" y="267"/>
                    </a:cubicBezTo>
                    <a:cubicBezTo>
                      <a:pt x="10" y="268"/>
                      <a:pt x="10" y="268"/>
                      <a:pt x="10" y="268"/>
                    </a:cubicBezTo>
                    <a:cubicBezTo>
                      <a:pt x="10" y="267"/>
                      <a:pt x="11" y="267"/>
                      <a:pt x="11" y="267"/>
                    </a:cubicBezTo>
                    <a:cubicBezTo>
                      <a:pt x="11" y="267"/>
                      <a:pt x="11" y="267"/>
                      <a:pt x="12" y="267"/>
                    </a:cubicBezTo>
                    <a:cubicBezTo>
                      <a:pt x="12" y="267"/>
                      <a:pt x="13" y="267"/>
                      <a:pt x="13" y="268"/>
                    </a:cubicBezTo>
                    <a:cubicBezTo>
                      <a:pt x="13" y="268"/>
                      <a:pt x="13" y="268"/>
                      <a:pt x="13" y="268"/>
                    </a:cubicBezTo>
                    <a:cubicBezTo>
                      <a:pt x="13" y="268"/>
                      <a:pt x="12" y="268"/>
                      <a:pt x="12" y="268"/>
                    </a:cubicBezTo>
                    <a:cubicBezTo>
                      <a:pt x="12" y="268"/>
                      <a:pt x="12" y="268"/>
                      <a:pt x="12" y="267"/>
                    </a:cubicBezTo>
                    <a:cubicBezTo>
                      <a:pt x="12" y="267"/>
                      <a:pt x="11" y="267"/>
                      <a:pt x="11" y="267"/>
                    </a:cubicBezTo>
                    <a:cubicBezTo>
                      <a:pt x="11" y="267"/>
                      <a:pt x="11" y="267"/>
                      <a:pt x="11" y="267"/>
                    </a:cubicBezTo>
                    <a:cubicBezTo>
                      <a:pt x="11" y="268"/>
                      <a:pt x="11" y="268"/>
                      <a:pt x="10" y="268"/>
                    </a:cubicBezTo>
                    <a:cubicBezTo>
                      <a:pt x="10" y="268"/>
                      <a:pt x="10" y="268"/>
                      <a:pt x="10" y="269"/>
                    </a:cubicBezTo>
                    <a:cubicBezTo>
                      <a:pt x="10" y="269"/>
                      <a:pt x="10" y="269"/>
                      <a:pt x="10" y="269"/>
                    </a:cubicBezTo>
                    <a:cubicBezTo>
                      <a:pt x="10" y="269"/>
                      <a:pt x="11" y="269"/>
                      <a:pt x="10" y="269"/>
                    </a:cubicBezTo>
                    <a:cubicBezTo>
                      <a:pt x="11" y="269"/>
                      <a:pt x="11" y="270"/>
                      <a:pt x="11" y="270"/>
                    </a:cubicBezTo>
                    <a:cubicBezTo>
                      <a:pt x="11" y="270"/>
                      <a:pt x="10" y="270"/>
                      <a:pt x="10" y="270"/>
                    </a:cubicBezTo>
                    <a:cubicBezTo>
                      <a:pt x="10" y="270"/>
                      <a:pt x="10" y="270"/>
                      <a:pt x="10" y="270"/>
                    </a:cubicBezTo>
                    <a:cubicBezTo>
                      <a:pt x="10" y="271"/>
                      <a:pt x="10" y="271"/>
                      <a:pt x="10" y="271"/>
                    </a:cubicBezTo>
                    <a:cubicBezTo>
                      <a:pt x="10" y="271"/>
                      <a:pt x="10" y="272"/>
                      <a:pt x="10" y="272"/>
                    </a:cubicBezTo>
                    <a:cubicBezTo>
                      <a:pt x="9" y="272"/>
                      <a:pt x="9" y="271"/>
                      <a:pt x="9" y="271"/>
                    </a:cubicBezTo>
                    <a:cubicBezTo>
                      <a:pt x="9" y="271"/>
                      <a:pt x="9" y="270"/>
                      <a:pt x="9" y="270"/>
                    </a:cubicBezTo>
                    <a:cubicBezTo>
                      <a:pt x="9" y="270"/>
                      <a:pt x="9" y="270"/>
                      <a:pt x="9" y="270"/>
                    </a:cubicBezTo>
                    <a:cubicBezTo>
                      <a:pt x="9" y="270"/>
                      <a:pt x="8" y="270"/>
                      <a:pt x="8" y="270"/>
                    </a:cubicBezTo>
                    <a:cubicBezTo>
                      <a:pt x="8" y="270"/>
                      <a:pt x="8" y="270"/>
                      <a:pt x="8" y="269"/>
                    </a:cubicBezTo>
                    <a:cubicBezTo>
                      <a:pt x="8" y="269"/>
                      <a:pt x="8" y="269"/>
                      <a:pt x="8" y="269"/>
                    </a:cubicBezTo>
                    <a:cubicBezTo>
                      <a:pt x="7" y="269"/>
                      <a:pt x="7" y="269"/>
                      <a:pt x="7" y="269"/>
                    </a:cubicBezTo>
                    <a:cubicBezTo>
                      <a:pt x="7" y="269"/>
                      <a:pt x="7" y="269"/>
                      <a:pt x="7" y="269"/>
                    </a:cubicBezTo>
                    <a:cubicBezTo>
                      <a:pt x="6" y="269"/>
                      <a:pt x="6" y="269"/>
                      <a:pt x="6" y="269"/>
                    </a:cubicBezTo>
                    <a:cubicBezTo>
                      <a:pt x="6" y="269"/>
                      <a:pt x="5" y="269"/>
                      <a:pt x="5" y="269"/>
                    </a:cubicBezTo>
                    <a:cubicBezTo>
                      <a:pt x="5" y="269"/>
                      <a:pt x="4" y="270"/>
                      <a:pt x="4" y="270"/>
                    </a:cubicBezTo>
                    <a:cubicBezTo>
                      <a:pt x="4" y="271"/>
                      <a:pt x="4" y="271"/>
                      <a:pt x="4" y="271"/>
                    </a:cubicBezTo>
                    <a:cubicBezTo>
                      <a:pt x="3" y="271"/>
                      <a:pt x="3" y="271"/>
                      <a:pt x="3" y="271"/>
                    </a:cubicBezTo>
                    <a:cubicBezTo>
                      <a:pt x="3" y="271"/>
                      <a:pt x="3" y="271"/>
                      <a:pt x="3" y="271"/>
                    </a:cubicBezTo>
                    <a:cubicBezTo>
                      <a:pt x="3" y="270"/>
                      <a:pt x="3" y="270"/>
                      <a:pt x="2" y="270"/>
                    </a:cubicBezTo>
                    <a:cubicBezTo>
                      <a:pt x="2" y="270"/>
                      <a:pt x="2" y="270"/>
                      <a:pt x="2" y="271"/>
                    </a:cubicBezTo>
                    <a:cubicBezTo>
                      <a:pt x="2" y="271"/>
                      <a:pt x="2" y="270"/>
                      <a:pt x="1" y="270"/>
                    </a:cubicBezTo>
                    <a:cubicBezTo>
                      <a:pt x="1" y="271"/>
                      <a:pt x="1" y="271"/>
                      <a:pt x="1" y="271"/>
                    </a:cubicBezTo>
                    <a:cubicBezTo>
                      <a:pt x="1" y="271"/>
                      <a:pt x="1" y="272"/>
                      <a:pt x="2" y="273"/>
                    </a:cubicBezTo>
                    <a:cubicBezTo>
                      <a:pt x="1" y="273"/>
                      <a:pt x="1" y="273"/>
                      <a:pt x="0" y="272"/>
                    </a:cubicBezTo>
                    <a:cubicBezTo>
                      <a:pt x="0" y="273"/>
                      <a:pt x="1" y="273"/>
                      <a:pt x="1" y="273"/>
                    </a:cubicBezTo>
                    <a:cubicBezTo>
                      <a:pt x="1" y="273"/>
                      <a:pt x="1" y="273"/>
                      <a:pt x="1"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4"/>
                      <a:pt x="1" y="274"/>
                      <a:pt x="1" y="275"/>
                    </a:cubicBezTo>
                    <a:cubicBezTo>
                      <a:pt x="1" y="275"/>
                      <a:pt x="1" y="275"/>
                      <a:pt x="1" y="275"/>
                    </a:cubicBezTo>
                    <a:cubicBezTo>
                      <a:pt x="1" y="275"/>
                      <a:pt x="1" y="275"/>
                      <a:pt x="1" y="275"/>
                    </a:cubicBezTo>
                    <a:cubicBezTo>
                      <a:pt x="2" y="275"/>
                      <a:pt x="2" y="275"/>
                      <a:pt x="2" y="275"/>
                    </a:cubicBezTo>
                    <a:cubicBezTo>
                      <a:pt x="3" y="275"/>
                      <a:pt x="3" y="274"/>
                      <a:pt x="3" y="274"/>
                    </a:cubicBezTo>
                    <a:cubicBezTo>
                      <a:pt x="3" y="274"/>
                      <a:pt x="3" y="274"/>
                      <a:pt x="4" y="274"/>
                    </a:cubicBezTo>
                    <a:cubicBezTo>
                      <a:pt x="4" y="273"/>
                      <a:pt x="4" y="273"/>
                      <a:pt x="4" y="272"/>
                    </a:cubicBezTo>
                    <a:cubicBezTo>
                      <a:pt x="5" y="272"/>
                      <a:pt x="5" y="272"/>
                      <a:pt x="5" y="272"/>
                    </a:cubicBezTo>
                    <a:cubicBezTo>
                      <a:pt x="5" y="272"/>
                      <a:pt x="5" y="272"/>
                      <a:pt x="5" y="272"/>
                    </a:cubicBezTo>
                    <a:cubicBezTo>
                      <a:pt x="5" y="272"/>
                      <a:pt x="5" y="272"/>
                      <a:pt x="5" y="272"/>
                    </a:cubicBezTo>
                    <a:cubicBezTo>
                      <a:pt x="5" y="271"/>
                      <a:pt x="5" y="270"/>
                      <a:pt x="6" y="270"/>
                    </a:cubicBezTo>
                    <a:cubicBezTo>
                      <a:pt x="6" y="270"/>
                      <a:pt x="6" y="270"/>
                      <a:pt x="6" y="271"/>
                    </a:cubicBezTo>
                    <a:cubicBezTo>
                      <a:pt x="5" y="271"/>
                      <a:pt x="5" y="271"/>
                      <a:pt x="6" y="272"/>
                    </a:cubicBezTo>
                    <a:cubicBezTo>
                      <a:pt x="6" y="272"/>
                      <a:pt x="6" y="272"/>
                      <a:pt x="6" y="272"/>
                    </a:cubicBezTo>
                    <a:cubicBezTo>
                      <a:pt x="6" y="272"/>
                      <a:pt x="6" y="272"/>
                      <a:pt x="6" y="272"/>
                    </a:cubicBezTo>
                    <a:cubicBezTo>
                      <a:pt x="6" y="272"/>
                      <a:pt x="6" y="272"/>
                      <a:pt x="6" y="273"/>
                    </a:cubicBezTo>
                    <a:cubicBezTo>
                      <a:pt x="6" y="273"/>
                      <a:pt x="6" y="273"/>
                      <a:pt x="5" y="273"/>
                    </a:cubicBezTo>
                    <a:cubicBezTo>
                      <a:pt x="5" y="273"/>
                      <a:pt x="5" y="273"/>
                      <a:pt x="5" y="273"/>
                    </a:cubicBezTo>
                    <a:cubicBezTo>
                      <a:pt x="4" y="273"/>
                      <a:pt x="4" y="274"/>
                      <a:pt x="4" y="274"/>
                    </a:cubicBezTo>
                    <a:cubicBezTo>
                      <a:pt x="4" y="274"/>
                      <a:pt x="5" y="274"/>
                      <a:pt x="5" y="274"/>
                    </a:cubicBezTo>
                    <a:cubicBezTo>
                      <a:pt x="5" y="274"/>
                      <a:pt x="4" y="274"/>
                      <a:pt x="4" y="274"/>
                    </a:cubicBezTo>
                    <a:cubicBezTo>
                      <a:pt x="4" y="275"/>
                      <a:pt x="4" y="275"/>
                      <a:pt x="3" y="275"/>
                    </a:cubicBezTo>
                    <a:cubicBezTo>
                      <a:pt x="3" y="275"/>
                      <a:pt x="3" y="275"/>
                      <a:pt x="3" y="275"/>
                    </a:cubicBezTo>
                    <a:cubicBezTo>
                      <a:pt x="3" y="275"/>
                      <a:pt x="3" y="275"/>
                      <a:pt x="3" y="275"/>
                    </a:cubicBezTo>
                    <a:cubicBezTo>
                      <a:pt x="3" y="275"/>
                      <a:pt x="2" y="275"/>
                      <a:pt x="2" y="276"/>
                    </a:cubicBezTo>
                    <a:cubicBezTo>
                      <a:pt x="2" y="276"/>
                      <a:pt x="2" y="276"/>
                      <a:pt x="3" y="277"/>
                    </a:cubicBezTo>
                    <a:cubicBezTo>
                      <a:pt x="3" y="277"/>
                      <a:pt x="3" y="277"/>
                      <a:pt x="3" y="277"/>
                    </a:cubicBezTo>
                    <a:cubicBezTo>
                      <a:pt x="3" y="277"/>
                      <a:pt x="3" y="278"/>
                      <a:pt x="3" y="278"/>
                    </a:cubicBezTo>
                    <a:cubicBezTo>
                      <a:pt x="3" y="278"/>
                      <a:pt x="3" y="278"/>
                      <a:pt x="4" y="278"/>
                    </a:cubicBezTo>
                    <a:cubicBezTo>
                      <a:pt x="4" y="278"/>
                      <a:pt x="4" y="278"/>
                      <a:pt x="4" y="278"/>
                    </a:cubicBezTo>
                    <a:cubicBezTo>
                      <a:pt x="4" y="279"/>
                      <a:pt x="4" y="279"/>
                      <a:pt x="3" y="279"/>
                    </a:cubicBezTo>
                    <a:cubicBezTo>
                      <a:pt x="3" y="279"/>
                      <a:pt x="3" y="279"/>
                      <a:pt x="4" y="279"/>
                    </a:cubicBezTo>
                    <a:cubicBezTo>
                      <a:pt x="4" y="279"/>
                      <a:pt x="4" y="279"/>
                      <a:pt x="4" y="279"/>
                    </a:cubicBezTo>
                    <a:cubicBezTo>
                      <a:pt x="4" y="280"/>
                      <a:pt x="4" y="280"/>
                      <a:pt x="4" y="280"/>
                    </a:cubicBezTo>
                    <a:cubicBezTo>
                      <a:pt x="4" y="280"/>
                      <a:pt x="4" y="281"/>
                      <a:pt x="4" y="281"/>
                    </a:cubicBezTo>
                    <a:cubicBezTo>
                      <a:pt x="5" y="282"/>
                      <a:pt x="5" y="282"/>
                      <a:pt x="5" y="282"/>
                    </a:cubicBezTo>
                    <a:cubicBezTo>
                      <a:pt x="6" y="282"/>
                      <a:pt x="6" y="281"/>
                      <a:pt x="6" y="280"/>
                    </a:cubicBezTo>
                    <a:cubicBezTo>
                      <a:pt x="6" y="280"/>
                      <a:pt x="6" y="279"/>
                      <a:pt x="6" y="279"/>
                    </a:cubicBezTo>
                    <a:cubicBezTo>
                      <a:pt x="6" y="279"/>
                      <a:pt x="6" y="278"/>
                      <a:pt x="7" y="278"/>
                    </a:cubicBezTo>
                    <a:cubicBezTo>
                      <a:pt x="7" y="279"/>
                      <a:pt x="6" y="279"/>
                      <a:pt x="6" y="280"/>
                    </a:cubicBezTo>
                    <a:cubicBezTo>
                      <a:pt x="6" y="280"/>
                      <a:pt x="6" y="280"/>
                      <a:pt x="6" y="280"/>
                    </a:cubicBezTo>
                    <a:cubicBezTo>
                      <a:pt x="6" y="281"/>
                      <a:pt x="7" y="281"/>
                      <a:pt x="7" y="282"/>
                    </a:cubicBezTo>
                    <a:cubicBezTo>
                      <a:pt x="7" y="282"/>
                      <a:pt x="7" y="282"/>
                      <a:pt x="7" y="282"/>
                    </a:cubicBezTo>
                    <a:cubicBezTo>
                      <a:pt x="7" y="282"/>
                      <a:pt x="7" y="282"/>
                      <a:pt x="6" y="282"/>
                    </a:cubicBezTo>
                    <a:cubicBezTo>
                      <a:pt x="6" y="282"/>
                      <a:pt x="6" y="282"/>
                      <a:pt x="6" y="282"/>
                    </a:cubicBezTo>
                    <a:cubicBezTo>
                      <a:pt x="6" y="282"/>
                      <a:pt x="6" y="283"/>
                      <a:pt x="6" y="283"/>
                    </a:cubicBezTo>
                    <a:cubicBezTo>
                      <a:pt x="6" y="283"/>
                      <a:pt x="6" y="283"/>
                      <a:pt x="6" y="283"/>
                    </a:cubicBezTo>
                    <a:cubicBezTo>
                      <a:pt x="6" y="283"/>
                      <a:pt x="6" y="284"/>
                      <a:pt x="6" y="284"/>
                    </a:cubicBezTo>
                    <a:cubicBezTo>
                      <a:pt x="6" y="284"/>
                      <a:pt x="7" y="284"/>
                      <a:pt x="7" y="284"/>
                    </a:cubicBezTo>
                    <a:cubicBezTo>
                      <a:pt x="8" y="284"/>
                      <a:pt x="8" y="284"/>
                      <a:pt x="9" y="284"/>
                    </a:cubicBezTo>
                    <a:cubicBezTo>
                      <a:pt x="9" y="283"/>
                      <a:pt x="9" y="283"/>
                      <a:pt x="9" y="283"/>
                    </a:cubicBezTo>
                    <a:cubicBezTo>
                      <a:pt x="9" y="283"/>
                      <a:pt x="9" y="283"/>
                      <a:pt x="9" y="283"/>
                    </a:cubicBezTo>
                    <a:cubicBezTo>
                      <a:pt x="10" y="282"/>
                      <a:pt x="9" y="282"/>
                      <a:pt x="9" y="281"/>
                    </a:cubicBezTo>
                    <a:cubicBezTo>
                      <a:pt x="9" y="281"/>
                      <a:pt x="10" y="281"/>
                      <a:pt x="10" y="281"/>
                    </a:cubicBezTo>
                    <a:cubicBezTo>
                      <a:pt x="10" y="280"/>
                      <a:pt x="10" y="280"/>
                      <a:pt x="10" y="280"/>
                    </a:cubicBezTo>
                    <a:cubicBezTo>
                      <a:pt x="10" y="280"/>
                      <a:pt x="9" y="280"/>
                      <a:pt x="9" y="280"/>
                    </a:cubicBezTo>
                    <a:cubicBezTo>
                      <a:pt x="9" y="280"/>
                      <a:pt x="9" y="279"/>
                      <a:pt x="9" y="279"/>
                    </a:cubicBezTo>
                    <a:cubicBezTo>
                      <a:pt x="9" y="279"/>
                      <a:pt x="9" y="279"/>
                      <a:pt x="10" y="279"/>
                    </a:cubicBezTo>
                    <a:cubicBezTo>
                      <a:pt x="10" y="279"/>
                      <a:pt x="10" y="279"/>
                      <a:pt x="10" y="279"/>
                    </a:cubicBezTo>
                    <a:cubicBezTo>
                      <a:pt x="11" y="279"/>
                      <a:pt x="11" y="278"/>
                      <a:pt x="11" y="278"/>
                    </a:cubicBezTo>
                    <a:cubicBezTo>
                      <a:pt x="11" y="278"/>
                      <a:pt x="11" y="278"/>
                      <a:pt x="11" y="278"/>
                    </a:cubicBezTo>
                    <a:cubicBezTo>
                      <a:pt x="12" y="278"/>
                      <a:pt x="12" y="277"/>
                      <a:pt x="12" y="276"/>
                    </a:cubicBezTo>
                    <a:cubicBezTo>
                      <a:pt x="12" y="276"/>
                      <a:pt x="12" y="275"/>
                      <a:pt x="12" y="275"/>
                    </a:cubicBezTo>
                    <a:cubicBezTo>
                      <a:pt x="12" y="275"/>
                      <a:pt x="12" y="274"/>
                      <a:pt x="12" y="274"/>
                    </a:cubicBezTo>
                    <a:cubicBezTo>
                      <a:pt x="12" y="274"/>
                      <a:pt x="12" y="275"/>
                      <a:pt x="12" y="275"/>
                    </a:cubicBezTo>
                    <a:cubicBezTo>
                      <a:pt x="13" y="275"/>
                      <a:pt x="13" y="275"/>
                      <a:pt x="13" y="275"/>
                    </a:cubicBezTo>
                    <a:cubicBezTo>
                      <a:pt x="13" y="275"/>
                      <a:pt x="13" y="275"/>
                      <a:pt x="13" y="275"/>
                    </a:cubicBezTo>
                    <a:cubicBezTo>
                      <a:pt x="13" y="275"/>
                      <a:pt x="13" y="275"/>
                      <a:pt x="13" y="275"/>
                    </a:cubicBezTo>
                    <a:cubicBezTo>
                      <a:pt x="13" y="275"/>
                      <a:pt x="13" y="275"/>
                      <a:pt x="12" y="275"/>
                    </a:cubicBezTo>
                    <a:cubicBezTo>
                      <a:pt x="12" y="275"/>
                      <a:pt x="12" y="276"/>
                      <a:pt x="12" y="276"/>
                    </a:cubicBezTo>
                    <a:cubicBezTo>
                      <a:pt x="12" y="276"/>
                      <a:pt x="12" y="277"/>
                      <a:pt x="12" y="277"/>
                    </a:cubicBezTo>
                    <a:cubicBezTo>
                      <a:pt x="12" y="278"/>
                      <a:pt x="12" y="278"/>
                      <a:pt x="12" y="278"/>
                    </a:cubicBezTo>
                    <a:cubicBezTo>
                      <a:pt x="13" y="278"/>
                      <a:pt x="13" y="278"/>
                      <a:pt x="13" y="278"/>
                    </a:cubicBezTo>
                    <a:cubicBezTo>
                      <a:pt x="13" y="278"/>
                      <a:pt x="13" y="278"/>
                      <a:pt x="14" y="278"/>
                    </a:cubicBezTo>
                    <a:cubicBezTo>
                      <a:pt x="14" y="279"/>
                      <a:pt x="14" y="279"/>
                      <a:pt x="14" y="280"/>
                    </a:cubicBezTo>
                    <a:cubicBezTo>
                      <a:pt x="13" y="279"/>
                      <a:pt x="13" y="279"/>
                      <a:pt x="13" y="279"/>
                    </a:cubicBezTo>
                    <a:cubicBezTo>
                      <a:pt x="13" y="278"/>
                      <a:pt x="12" y="279"/>
                      <a:pt x="12" y="279"/>
                    </a:cubicBezTo>
                    <a:cubicBezTo>
                      <a:pt x="11" y="279"/>
                      <a:pt x="11" y="279"/>
                      <a:pt x="11" y="279"/>
                    </a:cubicBezTo>
                    <a:cubicBezTo>
                      <a:pt x="11" y="279"/>
                      <a:pt x="10" y="279"/>
                      <a:pt x="10" y="280"/>
                    </a:cubicBezTo>
                    <a:cubicBezTo>
                      <a:pt x="10" y="280"/>
                      <a:pt x="11" y="280"/>
                      <a:pt x="11" y="281"/>
                    </a:cubicBezTo>
                    <a:cubicBezTo>
                      <a:pt x="11" y="281"/>
                      <a:pt x="11" y="281"/>
                      <a:pt x="11" y="281"/>
                    </a:cubicBezTo>
                    <a:cubicBezTo>
                      <a:pt x="10" y="282"/>
                      <a:pt x="10" y="282"/>
                      <a:pt x="10" y="282"/>
                    </a:cubicBezTo>
                    <a:cubicBezTo>
                      <a:pt x="10" y="282"/>
                      <a:pt x="11" y="282"/>
                      <a:pt x="11" y="282"/>
                    </a:cubicBezTo>
                    <a:cubicBezTo>
                      <a:pt x="11" y="282"/>
                      <a:pt x="11" y="282"/>
                      <a:pt x="11" y="282"/>
                    </a:cubicBezTo>
                    <a:cubicBezTo>
                      <a:pt x="11" y="282"/>
                      <a:pt x="12" y="282"/>
                      <a:pt x="12" y="282"/>
                    </a:cubicBezTo>
                    <a:cubicBezTo>
                      <a:pt x="12" y="283"/>
                      <a:pt x="12" y="283"/>
                      <a:pt x="12" y="283"/>
                    </a:cubicBezTo>
                    <a:cubicBezTo>
                      <a:pt x="12" y="283"/>
                      <a:pt x="12" y="283"/>
                      <a:pt x="12" y="283"/>
                    </a:cubicBezTo>
                    <a:cubicBezTo>
                      <a:pt x="12" y="283"/>
                      <a:pt x="12" y="282"/>
                      <a:pt x="12" y="282"/>
                    </a:cubicBezTo>
                    <a:cubicBezTo>
                      <a:pt x="12" y="282"/>
                      <a:pt x="12" y="281"/>
                      <a:pt x="13" y="281"/>
                    </a:cubicBezTo>
                    <a:cubicBezTo>
                      <a:pt x="13" y="281"/>
                      <a:pt x="13" y="281"/>
                      <a:pt x="13" y="282"/>
                    </a:cubicBezTo>
                    <a:cubicBezTo>
                      <a:pt x="13" y="282"/>
                      <a:pt x="13" y="282"/>
                      <a:pt x="14" y="282"/>
                    </a:cubicBezTo>
                    <a:cubicBezTo>
                      <a:pt x="14" y="282"/>
                      <a:pt x="14" y="282"/>
                      <a:pt x="14" y="282"/>
                    </a:cubicBezTo>
                    <a:cubicBezTo>
                      <a:pt x="14" y="282"/>
                      <a:pt x="13" y="282"/>
                      <a:pt x="13" y="282"/>
                    </a:cubicBezTo>
                    <a:cubicBezTo>
                      <a:pt x="13" y="282"/>
                      <a:pt x="13" y="283"/>
                      <a:pt x="13" y="283"/>
                    </a:cubicBezTo>
                    <a:cubicBezTo>
                      <a:pt x="13" y="283"/>
                      <a:pt x="13" y="283"/>
                      <a:pt x="13" y="283"/>
                    </a:cubicBezTo>
                    <a:cubicBezTo>
                      <a:pt x="13" y="283"/>
                      <a:pt x="13" y="283"/>
                      <a:pt x="13" y="284"/>
                    </a:cubicBezTo>
                    <a:cubicBezTo>
                      <a:pt x="14" y="284"/>
                      <a:pt x="13" y="284"/>
                      <a:pt x="13" y="284"/>
                    </a:cubicBezTo>
                    <a:cubicBezTo>
                      <a:pt x="13" y="284"/>
                      <a:pt x="13" y="284"/>
                      <a:pt x="13" y="284"/>
                    </a:cubicBezTo>
                    <a:cubicBezTo>
                      <a:pt x="13" y="284"/>
                      <a:pt x="13" y="284"/>
                      <a:pt x="12" y="284"/>
                    </a:cubicBezTo>
                    <a:cubicBezTo>
                      <a:pt x="12" y="283"/>
                      <a:pt x="11" y="283"/>
                      <a:pt x="11" y="283"/>
                    </a:cubicBezTo>
                    <a:cubicBezTo>
                      <a:pt x="11" y="283"/>
                      <a:pt x="10" y="283"/>
                      <a:pt x="10" y="283"/>
                    </a:cubicBezTo>
                    <a:cubicBezTo>
                      <a:pt x="10" y="283"/>
                      <a:pt x="10" y="283"/>
                      <a:pt x="10" y="283"/>
                    </a:cubicBezTo>
                    <a:cubicBezTo>
                      <a:pt x="10" y="283"/>
                      <a:pt x="10" y="283"/>
                      <a:pt x="10" y="283"/>
                    </a:cubicBezTo>
                    <a:cubicBezTo>
                      <a:pt x="10" y="284"/>
                      <a:pt x="10" y="284"/>
                      <a:pt x="10" y="284"/>
                    </a:cubicBezTo>
                    <a:cubicBezTo>
                      <a:pt x="10" y="284"/>
                      <a:pt x="11" y="284"/>
                      <a:pt x="11" y="285"/>
                    </a:cubicBezTo>
                    <a:cubicBezTo>
                      <a:pt x="11" y="285"/>
                      <a:pt x="11" y="285"/>
                      <a:pt x="11" y="285"/>
                    </a:cubicBezTo>
                    <a:cubicBezTo>
                      <a:pt x="11" y="285"/>
                      <a:pt x="11" y="286"/>
                      <a:pt x="11" y="286"/>
                    </a:cubicBezTo>
                    <a:cubicBezTo>
                      <a:pt x="11" y="286"/>
                      <a:pt x="11" y="286"/>
                      <a:pt x="11" y="286"/>
                    </a:cubicBezTo>
                    <a:cubicBezTo>
                      <a:pt x="11" y="285"/>
                      <a:pt x="11" y="285"/>
                      <a:pt x="11" y="285"/>
                    </a:cubicBezTo>
                    <a:cubicBezTo>
                      <a:pt x="11" y="285"/>
                      <a:pt x="10" y="285"/>
                      <a:pt x="10" y="285"/>
                    </a:cubicBezTo>
                    <a:cubicBezTo>
                      <a:pt x="10" y="284"/>
                      <a:pt x="10" y="284"/>
                      <a:pt x="9" y="284"/>
                    </a:cubicBezTo>
                    <a:cubicBezTo>
                      <a:pt x="9" y="284"/>
                      <a:pt x="8" y="284"/>
                      <a:pt x="8" y="285"/>
                    </a:cubicBezTo>
                    <a:cubicBezTo>
                      <a:pt x="8" y="285"/>
                      <a:pt x="8" y="285"/>
                      <a:pt x="8" y="285"/>
                    </a:cubicBezTo>
                    <a:cubicBezTo>
                      <a:pt x="8" y="285"/>
                      <a:pt x="8" y="285"/>
                      <a:pt x="8" y="285"/>
                    </a:cubicBezTo>
                    <a:cubicBezTo>
                      <a:pt x="8" y="286"/>
                      <a:pt x="7" y="286"/>
                      <a:pt x="8" y="286"/>
                    </a:cubicBezTo>
                    <a:cubicBezTo>
                      <a:pt x="8" y="286"/>
                      <a:pt x="8" y="286"/>
                      <a:pt x="8" y="286"/>
                    </a:cubicBezTo>
                    <a:cubicBezTo>
                      <a:pt x="8" y="286"/>
                      <a:pt x="8" y="286"/>
                      <a:pt x="8" y="286"/>
                    </a:cubicBezTo>
                    <a:cubicBezTo>
                      <a:pt x="8" y="287"/>
                      <a:pt x="9" y="287"/>
                      <a:pt x="9" y="287"/>
                    </a:cubicBezTo>
                    <a:cubicBezTo>
                      <a:pt x="9" y="287"/>
                      <a:pt x="9" y="287"/>
                      <a:pt x="9" y="287"/>
                    </a:cubicBezTo>
                    <a:cubicBezTo>
                      <a:pt x="9" y="287"/>
                      <a:pt x="9" y="288"/>
                      <a:pt x="10" y="288"/>
                    </a:cubicBezTo>
                    <a:cubicBezTo>
                      <a:pt x="10" y="288"/>
                      <a:pt x="10" y="287"/>
                      <a:pt x="10" y="287"/>
                    </a:cubicBezTo>
                    <a:cubicBezTo>
                      <a:pt x="10" y="287"/>
                      <a:pt x="10" y="288"/>
                      <a:pt x="11" y="288"/>
                    </a:cubicBezTo>
                    <a:cubicBezTo>
                      <a:pt x="11" y="288"/>
                      <a:pt x="11" y="288"/>
                      <a:pt x="11" y="288"/>
                    </a:cubicBezTo>
                    <a:cubicBezTo>
                      <a:pt x="11" y="288"/>
                      <a:pt x="12" y="289"/>
                      <a:pt x="12" y="289"/>
                    </a:cubicBezTo>
                    <a:cubicBezTo>
                      <a:pt x="12" y="289"/>
                      <a:pt x="11" y="289"/>
                      <a:pt x="11" y="289"/>
                    </a:cubicBezTo>
                    <a:cubicBezTo>
                      <a:pt x="11" y="289"/>
                      <a:pt x="11" y="289"/>
                      <a:pt x="11" y="289"/>
                    </a:cubicBezTo>
                    <a:cubicBezTo>
                      <a:pt x="11" y="289"/>
                      <a:pt x="11" y="289"/>
                      <a:pt x="11" y="289"/>
                    </a:cubicBezTo>
                    <a:cubicBezTo>
                      <a:pt x="11" y="289"/>
                      <a:pt x="11" y="289"/>
                      <a:pt x="11" y="289"/>
                    </a:cubicBezTo>
                    <a:cubicBezTo>
                      <a:pt x="11" y="290"/>
                      <a:pt x="11" y="290"/>
                      <a:pt x="11" y="290"/>
                    </a:cubicBezTo>
                    <a:cubicBezTo>
                      <a:pt x="11" y="290"/>
                      <a:pt x="11" y="290"/>
                      <a:pt x="11" y="290"/>
                    </a:cubicBezTo>
                    <a:cubicBezTo>
                      <a:pt x="11" y="291"/>
                      <a:pt x="12" y="291"/>
                      <a:pt x="12" y="291"/>
                    </a:cubicBezTo>
                    <a:cubicBezTo>
                      <a:pt x="12" y="291"/>
                      <a:pt x="12" y="291"/>
                      <a:pt x="12" y="291"/>
                    </a:cubicBezTo>
                    <a:cubicBezTo>
                      <a:pt x="12" y="291"/>
                      <a:pt x="12" y="291"/>
                      <a:pt x="12" y="291"/>
                    </a:cubicBezTo>
                    <a:cubicBezTo>
                      <a:pt x="12" y="291"/>
                      <a:pt x="12" y="291"/>
                      <a:pt x="12" y="292"/>
                    </a:cubicBezTo>
                    <a:cubicBezTo>
                      <a:pt x="12" y="292"/>
                      <a:pt x="12" y="292"/>
                      <a:pt x="12" y="292"/>
                    </a:cubicBezTo>
                    <a:cubicBezTo>
                      <a:pt x="12" y="292"/>
                      <a:pt x="12" y="292"/>
                      <a:pt x="12" y="292"/>
                    </a:cubicBezTo>
                    <a:cubicBezTo>
                      <a:pt x="12" y="292"/>
                      <a:pt x="12" y="292"/>
                      <a:pt x="13" y="292"/>
                    </a:cubicBezTo>
                    <a:cubicBezTo>
                      <a:pt x="13" y="293"/>
                      <a:pt x="13" y="293"/>
                      <a:pt x="13" y="293"/>
                    </a:cubicBezTo>
                    <a:cubicBezTo>
                      <a:pt x="13" y="293"/>
                      <a:pt x="13" y="293"/>
                      <a:pt x="13" y="293"/>
                    </a:cubicBezTo>
                    <a:cubicBezTo>
                      <a:pt x="13" y="292"/>
                      <a:pt x="13" y="292"/>
                      <a:pt x="13" y="292"/>
                    </a:cubicBezTo>
                    <a:cubicBezTo>
                      <a:pt x="13" y="292"/>
                      <a:pt x="14" y="292"/>
                      <a:pt x="14" y="292"/>
                    </a:cubicBezTo>
                    <a:cubicBezTo>
                      <a:pt x="14" y="292"/>
                      <a:pt x="14" y="292"/>
                      <a:pt x="14" y="292"/>
                    </a:cubicBezTo>
                    <a:cubicBezTo>
                      <a:pt x="14" y="291"/>
                      <a:pt x="14" y="291"/>
                      <a:pt x="14" y="291"/>
                    </a:cubicBezTo>
                    <a:cubicBezTo>
                      <a:pt x="14" y="291"/>
                      <a:pt x="14" y="291"/>
                      <a:pt x="14" y="290"/>
                    </a:cubicBezTo>
                    <a:cubicBezTo>
                      <a:pt x="14" y="290"/>
                      <a:pt x="14" y="290"/>
                      <a:pt x="14" y="290"/>
                    </a:cubicBezTo>
                    <a:cubicBezTo>
                      <a:pt x="14" y="290"/>
                      <a:pt x="14" y="290"/>
                      <a:pt x="14" y="289"/>
                    </a:cubicBezTo>
                    <a:cubicBezTo>
                      <a:pt x="14" y="289"/>
                      <a:pt x="15" y="289"/>
                      <a:pt x="15" y="290"/>
                    </a:cubicBezTo>
                    <a:cubicBezTo>
                      <a:pt x="15" y="290"/>
                      <a:pt x="15" y="290"/>
                      <a:pt x="15" y="290"/>
                    </a:cubicBezTo>
                    <a:cubicBezTo>
                      <a:pt x="16" y="290"/>
                      <a:pt x="16" y="290"/>
                      <a:pt x="16" y="291"/>
                    </a:cubicBezTo>
                    <a:cubicBezTo>
                      <a:pt x="16" y="291"/>
                      <a:pt x="16" y="291"/>
                      <a:pt x="16" y="291"/>
                    </a:cubicBezTo>
                    <a:cubicBezTo>
                      <a:pt x="15" y="291"/>
                      <a:pt x="15" y="291"/>
                      <a:pt x="14" y="291"/>
                    </a:cubicBezTo>
                    <a:cubicBezTo>
                      <a:pt x="14" y="291"/>
                      <a:pt x="14" y="291"/>
                      <a:pt x="14" y="291"/>
                    </a:cubicBezTo>
                    <a:cubicBezTo>
                      <a:pt x="14" y="291"/>
                      <a:pt x="14" y="291"/>
                      <a:pt x="14" y="291"/>
                    </a:cubicBezTo>
                    <a:cubicBezTo>
                      <a:pt x="14" y="291"/>
                      <a:pt x="14" y="292"/>
                      <a:pt x="14" y="292"/>
                    </a:cubicBezTo>
                    <a:cubicBezTo>
                      <a:pt x="14" y="292"/>
                      <a:pt x="14" y="292"/>
                      <a:pt x="14" y="292"/>
                    </a:cubicBezTo>
                    <a:cubicBezTo>
                      <a:pt x="14" y="292"/>
                      <a:pt x="14" y="292"/>
                      <a:pt x="14" y="292"/>
                    </a:cubicBezTo>
                    <a:cubicBezTo>
                      <a:pt x="13" y="293"/>
                      <a:pt x="14" y="293"/>
                      <a:pt x="14" y="293"/>
                    </a:cubicBezTo>
                    <a:cubicBezTo>
                      <a:pt x="14" y="293"/>
                      <a:pt x="14" y="294"/>
                      <a:pt x="14" y="294"/>
                    </a:cubicBezTo>
                    <a:cubicBezTo>
                      <a:pt x="14" y="294"/>
                      <a:pt x="14" y="294"/>
                      <a:pt x="14" y="294"/>
                    </a:cubicBezTo>
                    <a:cubicBezTo>
                      <a:pt x="13" y="294"/>
                      <a:pt x="13" y="293"/>
                      <a:pt x="14" y="293"/>
                    </a:cubicBezTo>
                    <a:cubicBezTo>
                      <a:pt x="13" y="293"/>
                      <a:pt x="13" y="293"/>
                      <a:pt x="13" y="293"/>
                    </a:cubicBezTo>
                    <a:cubicBezTo>
                      <a:pt x="13" y="293"/>
                      <a:pt x="13" y="293"/>
                      <a:pt x="13" y="293"/>
                    </a:cubicBezTo>
                    <a:cubicBezTo>
                      <a:pt x="13" y="293"/>
                      <a:pt x="13" y="293"/>
                      <a:pt x="13" y="293"/>
                    </a:cubicBezTo>
                    <a:cubicBezTo>
                      <a:pt x="13" y="293"/>
                      <a:pt x="12" y="293"/>
                      <a:pt x="12" y="293"/>
                    </a:cubicBezTo>
                    <a:cubicBezTo>
                      <a:pt x="12" y="293"/>
                      <a:pt x="11" y="293"/>
                      <a:pt x="11" y="294"/>
                    </a:cubicBezTo>
                    <a:cubicBezTo>
                      <a:pt x="11" y="294"/>
                      <a:pt x="11" y="294"/>
                      <a:pt x="11" y="294"/>
                    </a:cubicBezTo>
                    <a:cubicBezTo>
                      <a:pt x="11" y="294"/>
                      <a:pt x="11" y="294"/>
                      <a:pt x="11" y="294"/>
                    </a:cubicBezTo>
                    <a:cubicBezTo>
                      <a:pt x="11" y="294"/>
                      <a:pt x="10" y="294"/>
                      <a:pt x="10" y="294"/>
                    </a:cubicBezTo>
                    <a:cubicBezTo>
                      <a:pt x="10" y="294"/>
                      <a:pt x="10" y="294"/>
                      <a:pt x="10" y="294"/>
                    </a:cubicBezTo>
                    <a:cubicBezTo>
                      <a:pt x="10" y="294"/>
                      <a:pt x="10" y="294"/>
                      <a:pt x="10" y="294"/>
                    </a:cubicBezTo>
                    <a:cubicBezTo>
                      <a:pt x="10" y="294"/>
                      <a:pt x="10" y="294"/>
                      <a:pt x="10" y="294"/>
                    </a:cubicBezTo>
                    <a:cubicBezTo>
                      <a:pt x="10" y="294"/>
                      <a:pt x="10" y="294"/>
                      <a:pt x="10" y="294"/>
                    </a:cubicBezTo>
                    <a:cubicBezTo>
                      <a:pt x="10" y="295"/>
                      <a:pt x="10" y="295"/>
                      <a:pt x="10" y="295"/>
                    </a:cubicBezTo>
                    <a:cubicBezTo>
                      <a:pt x="10" y="296"/>
                      <a:pt x="10" y="296"/>
                      <a:pt x="11" y="296"/>
                    </a:cubicBezTo>
                    <a:cubicBezTo>
                      <a:pt x="11" y="296"/>
                      <a:pt x="11" y="297"/>
                      <a:pt x="11" y="297"/>
                    </a:cubicBezTo>
                    <a:cubicBezTo>
                      <a:pt x="11" y="297"/>
                      <a:pt x="11" y="297"/>
                      <a:pt x="11" y="297"/>
                    </a:cubicBezTo>
                    <a:cubicBezTo>
                      <a:pt x="11" y="297"/>
                      <a:pt x="11" y="297"/>
                      <a:pt x="11" y="297"/>
                    </a:cubicBezTo>
                    <a:cubicBezTo>
                      <a:pt x="11" y="297"/>
                      <a:pt x="11" y="297"/>
                      <a:pt x="11" y="297"/>
                    </a:cubicBezTo>
                    <a:cubicBezTo>
                      <a:pt x="11" y="297"/>
                      <a:pt x="12" y="297"/>
                      <a:pt x="11" y="297"/>
                    </a:cubicBezTo>
                    <a:cubicBezTo>
                      <a:pt x="11" y="297"/>
                      <a:pt x="11" y="296"/>
                      <a:pt x="11" y="296"/>
                    </a:cubicBezTo>
                    <a:cubicBezTo>
                      <a:pt x="11" y="296"/>
                      <a:pt x="11" y="296"/>
                      <a:pt x="11" y="295"/>
                    </a:cubicBezTo>
                    <a:cubicBezTo>
                      <a:pt x="11" y="295"/>
                      <a:pt x="11" y="295"/>
                      <a:pt x="12" y="295"/>
                    </a:cubicBezTo>
                    <a:cubicBezTo>
                      <a:pt x="12" y="295"/>
                      <a:pt x="12" y="295"/>
                      <a:pt x="12" y="295"/>
                    </a:cubicBezTo>
                    <a:cubicBezTo>
                      <a:pt x="12" y="296"/>
                      <a:pt x="12" y="296"/>
                      <a:pt x="12" y="296"/>
                    </a:cubicBezTo>
                    <a:cubicBezTo>
                      <a:pt x="12" y="296"/>
                      <a:pt x="12" y="296"/>
                      <a:pt x="12" y="296"/>
                    </a:cubicBezTo>
                    <a:cubicBezTo>
                      <a:pt x="12" y="296"/>
                      <a:pt x="12" y="297"/>
                      <a:pt x="12" y="297"/>
                    </a:cubicBezTo>
                    <a:cubicBezTo>
                      <a:pt x="13" y="297"/>
                      <a:pt x="13" y="297"/>
                      <a:pt x="13" y="296"/>
                    </a:cubicBezTo>
                    <a:cubicBezTo>
                      <a:pt x="13" y="297"/>
                      <a:pt x="13" y="297"/>
                      <a:pt x="13" y="297"/>
                    </a:cubicBezTo>
                    <a:cubicBezTo>
                      <a:pt x="14" y="297"/>
                      <a:pt x="14" y="298"/>
                      <a:pt x="14" y="298"/>
                    </a:cubicBezTo>
                    <a:cubicBezTo>
                      <a:pt x="14" y="298"/>
                      <a:pt x="14" y="298"/>
                      <a:pt x="14" y="298"/>
                    </a:cubicBezTo>
                    <a:cubicBezTo>
                      <a:pt x="14" y="298"/>
                      <a:pt x="14" y="298"/>
                      <a:pt x="14" y="298"/>
                    </a:cubicBezTo>
                    <a:cubicBezTo>
                      <a:pt x="14" y="298"/>
                      <a:pt x="14" y="298"/>
                      <a:pt x="14" y="299"/>
                    </a:cubicBezTo>
                    <a:cubicBezTo>
                      <a:pt x="14" y="299"/>
                      <a:pt x="14" y="299"/>
                      <a:pt x="14" y="299"/>
                    </a:cubicBezTo>
                    <a:cubicBezTo>
                      <a:pt x="15" y="299"/>
                      <a:pt x="15" y="298"/>
                      <a:pt x="15" y="298"/>
                    </a:cubicBezTo>
                    <a:cubicBezTo>
                      <a:pt x="14" y="298"/>
                      <a:pt x="14" y="298"/>
                      <a:pt x="14" y="298"/>
                    </a:cubicBezTo>
                    <a:cubicBezTo>
                      <a:pt x="14" y="298"/>
                      <a:pt x="14" y="297"/>
                      <a:pt x="14" y="297"/>
                    </a:cubicBezTo>
                    <a:cubicBezTo>
                      <a:pt x="14" y="297"/>
                      <a:pt x="14" y="297"/>
                      <a:pt x="14" y="297"/>
                    </a:cubicBezTo>
                    <a:cubicBezTo>
                      <a:pt x="14" y="297"/>
                      <a:pt x="15" y="297"/>
                      <a:pt x="15" y="297"/>
                    </a:cubicBezTo>
                    <a:cubicBezTo>
                      <a:pt x="15" y="297"/>
                      <a:pt x="15" y="297"/>
                      <a:pt x="15" y="298"/>
                    </a:cubicBezTo>
                    <a:cubicBezTo>
                      <a:pt x="15" y="298"/>
                      <a:pt x="15" y="298"/>
                      <a:pt x="15" y="298"/>
                    </a:cubicBezTo>
                    <a:cubicBezTo>
                      <a:pt x="15" y="298"/>
                      <a:pt x="15" y="298"/>
                      <a:pt x="15" y="299"/>
                    </a:cubicBezTo>
                    <a:cubicBezTo>
                      <a:pt x="15" y="299"/>
                      <a:pt x="15" y="299"/>
                      <a:pt x="15" y="300"/>
                    </a:cubicBezTo>
                    <a:cubicBezTo>
                      <a:pt x="15" y="300"/>
                      <a:pt x="15" y="300"/>
                      <a:pt x="15" y="300"/>
                    </a:cubicBezTo>
                    <a:cubicBezTo>
                      <a:pt x="15" y="300"/>
                      <a:pt x="15" y="300"/>
                      <a:pt x="15" y="300"/>
                    </a:cubicBezTo>
                    <a:cubicBezTo>
                      <a:pt x="15" y="300"/>
                      <a:pt x="15" y="300"/>
                      <a:pt x="14" y="300"/>
                    </a:cubicBezTo>
                    <a:cubicBezTo>
                      <a:pt x="14" y="300"/>
                      <a:pt x="14" y="300"/>
                      <a:pt x="14" y="300"/>
                    </a:cubicBezTo>
                    <a:cubicBezTo>
                      <a:pt x="14" y="299"/>
                      <a:pt x="14" y="299"/>
                      <a:pt x="14" y="299"/>
                    </a:cubicBezTo>
                    <a:cubicBezTo>
                      <a:pt x="14" y="299"/>
                      <a:pt x="14" y="299"/>
                      <a:pt x="13" y="299"/>
                    </a:cubicBezTo>
                    <a:cubicBezTo>
                      <a:pt x="13" y="299"/>
                      <a:pt x="13" y="300"/>
                      <a:pt x="13" y="300"/>
                    </a:cubicBezTo>
                    <a:cubicBezTo>
                      <a:pt x="13" y="301"/>
                      <a:pt x="13" y="301"/>
                      <a:pt x="13" y="301"/>
                    </a:cubicBezTo>
                    <a:cubicBezTo>
                      <a:pt x="13" y="301"/>
                      <a:pt x="13" y="301"/>
                      <a:pt x="13" y="302"/>
                    </a:cubicBezTo>
                    <a:cubicBezTo>
                      <a:pt x="13"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3"/>
                      <a:pt x="14" y="303"/>
                      <a:pt x="14" y="303"/>
                    </a:cubicBezTo>
                    <a:cubicBezTo>
                      <a:pt x="14" y="303"/>
                      <a:pt x="14" y="303"/>
                      <a:pt x="14" y="303"/>
                    </a:cubicBezTo>
                    <a:cubicBezTo>
                      <a:pt x="14" y="303"/>
                      <a:pt x="14" y="303"/>
                      <a:pt x="14" y="303"/>
                    </a:cubicBezTo>
                    <a:cubicBezTo>
                      <a:pt x="13" y="303"/>
                      <a:pt x="14" y="303"/>
                      <a:pt x="13" y="302"/>
                    </a:cubicBezTo>
                    <a:cubicBezTo>
                      <a:pt x="13" y="303"/>
                      <a:pt x="13" y="303"/>
                      <a:pt x="13" y="303"/>
                    </a:cubicBezTo>
                    <a:cubicBezTo>
                      <a:pt x="13" y="303"/>
                      <a:pt x="13" y="303"/>
                      <a:pt x="14" y="304"/>
                    </a:cubicBezTo>
                    <a:cubicBezTo>
                      <a:pt x="14" y="304"/>
                      <a:pt x="14" y="304"/>
                      <a:pt x="14" y="304"/>
                    </a:cubicBezTo>
                    <a:cubicBezTo>
                      <a:pt x="14" y="303"/>
                      <a:pt x="14" y="303"/>
                      <a:pt x="15" y="303"/>
                    </a:cubicBezTo>
                    <a:cubicBezTo>
                      <a:pt x="15" y="303"/>
                      <a:pt x="15" y="303"/>
                      <a:pt x="15" y="303"/>
                    </a:cubicBezTo>
                    <a:cubicBezTo>
                      <a:pt x="15" y="303"/>
                      <a:pt x="15" y="303"/>
                      <a:pt x="15" y="303"/>
                    </a:cubicBezTo>
                    <a:cubicBezTo>
                      <a:pt x="15" y="303"/>
                      <a:pt x="15" y="303"/>
                      <a:pt x="15" y="303"/>
                    </a:cubicBezTo>
                    <a:cubicBezTo>
                      <a:pt x="16" y="303"/>
                      <a:pt x="16" y="304"/>
                      <a:pt x="16" y="304"/>
                    </a:cubicBezTo>
                    <a:cubicBezTo>
                      <a:pt x="16" y="304"/>
                      <a:pt x="16" y="304"/>
                      <a:pt x="16" y="305"/>
                    </a:cubicBezTo>
                    <a:cubicBezTo>
                      <a:pt x="16" y="305"/>
                      <a:pt x="16" y="305"/>
                      <a:pt x="16" y="305"/>
                    </a:cubicBezTo>
                    <a:cubicBezTo>
                      <a:pt x="16" y="305"/>
                      <a:pt x="16" y="305"/>
                      <a:pt x="16" y="305"/>
                    </a:cubicBezTo>
                    <a:cubicBezTo>
                      <a:pt x="16" y="305"/>
                      <a:pt x="16" y="305"/>
                      <a:pt x="16" y="305"/>
                    </a:cubicBezTo>
                    <a:cubicBezTo>
                      <a:pt x="16" y="305"/>
                      <a:pt x="16" y="305"/>
                      <a:pt x="16" y="305"/>
                    </a:cubicBezTo>
                    <a:cubicBezTo>
                      <a:pt x="16" y="305"/>
                      <a:pt x="16" y="304"/>
                      <a:pt x="15" y="304"/>
                    </a:cubicBezTo>
                    <a:cubicBezTo>
                      <a:pt x="15" y="304"/>
                      <a:pt x="15" y="304"/>
                      <a:pt x="15" y="304"/>
                    </a:cubicBezTo>
                    <a:cubicBezTo>
                      <a:pt x="15" y="304"/>
                      <a:pt x="15" y="304"/>
                      <a:pt x="15" y="304"/>
                    </a:cubicBezTo>
                    <a:cubicBezTo>
                      <a:pt x="15" y="305"/>
                      <a:pt x="16" y="305"/>
                      <a:pt x="16" y="305"/>
                    </a:cubicBezTo>
                    <a:cubicBezTo>
                      <a:pt x="16" y="306"/>
                      <a:pt x="15" y="306"/>
                      <a:pt x="15" y="306"/>
                    </a:cubicBezTo>
                    <a:cubicBezTo>
                      <a:pt x="16" y="306"/>
                      <a:pt x="16" y="306"/>
                      <a:pt x="16" y="306"/>
                    </a:cubicBezTo>
                    <a:cubicBezTo>
                      <a:pt x="16" y="307"/>
                      <a:pt x="17" y="307"/>
                      <a:pt x="17" y="307"/>
                    </a:cubicBezTo>
                    <a:cubicBezTo>
                      <a:pt x="17" y="307"/>
                      <a:pt x="17" y="307"/>
                      <a:pt x="17" y="307"/>
                    </a:cubicBezTo>
                    <a:cubicBezTo>
                      <a:pt x="17" y="308"/>
                      <a:pt x="17" y="307"/>
                      <a:pt x="18" y="307"/>
                    </a:cubicBezTo>
                    <a:cubicBezTo>
                      <a:pt x="18" y="307"/>
                      <a:pt x="18" y="307"/>
                      <a:pt x="18" y="307"/>
                    </a:cubicBezTo>
                    <a:cubicBezTo>
                      <a:pt x="18" y="307"/>
                      <a:pt x="18" y="307"/>
                      <a:pt x="18" y="307"/>
                    </a:cubicBezTo>
                    <a:cubicBezTo>
                      <a:pt x="18" y="307"/>
                      <a:pt x="18" y="307"/>
                      <a:pt x="18" y="307"/>
                    </a:cubicBezTo>
                    <a:cubicBezTo>
                      <a:pt x="18" y="307"/>
                      <a:pt x="18" y="307"/>
                      <a:pt x="18" y="307"/>
                    </a:cubicBezTo>
                    <a:cubicBezTo>
                      <a:pt x="19" y="306"/>
                      <a:pt x="19" y="306"/>
                      <a:pt x="19" y="306"/>
                    </a:cubicBezTo>
                    <a:cubicBezTo>
                      <a:pt x="19" y="306"/>
                      <a:pt x="18" y="306"/>
                      <a:pt x="18" y="305"/>
                    </a:cubicBezTo>
                    <a:cubicBezTo>
                      <a:pt x="18" y="305"/>
                      <a:pt x="19" y="305"/>
                      <a:pt x="19" y="305"/>
                    </a:cubicBezTo>
                    <a:cubicBezTo>
                      <a:pt x="18" y="305"/>
                      <a:pt x="18" y="305"/>
                      <a:pt x="18" y="304"/>
                    </a:cubicBezTo>
                    <a:cubicBezTo>
                      <a:pt x="18" y="304"/>
                      <a:pt x="19" y="304"/>
                      <a:pt x="19" y="304"/>
                    </a:cubicBezTo>
                    <a:cubicBezTo>
                      <a:pt x="19" y="304"/>
                      <a:pt x="19" y="305"/>
                      <a:pt x="19" y="305"/>
                    </a:cubicBezTo>
                    <a:cubicBezTo>
                      <a:pt x="19" y="305"/>
                      <a:pt x="19" y="305"/>
                      <a:pt x="19" y="305"/>
                    </a:cubicBezTo>
                    <a:cubicBezTo>
                      <a:pt x="19" y="305"/>
                      <a:pt x="19" y="305"/>
                      <a:pt x="19" y="305"/>
                    </a:cubicBezTo>
                    <a:cubicBezTo>
                      <a:pt x="19" y="306"/>
                      <a:pt x="19" y="306"/>
                      <a:pt x="19" y="306"/>
                    </a:cubicBezTo>
                    <a:cubicBezTo>
                      <a:pt x="19" y="307"/>
                      <a:pt x="19" y="307"/>
                      <a:pt x="19" y="307"/>
                    </a:cubicBezTo>
                    <a:cubicBezTo>
                      <a:pt x="19" y="307"/>
                      <a:pt x="18" y="307"/>
                      <a:pt x="18" y="307"/>
                    </a:cubicBezTo>
                    <a:cubicBezTo>
                      <a:pt x="18" y="307"/>
                      <a:pt x="18" y="308"/>
                      <a:pt x="18" y="308"/>
                    </a:cubicBezTo>
                    <a:cubicBezTo>
                      <a:pt x="18" y="308"/>
                      <a:pt x="17" y="308"/>
                      <a:pt x="17" y="308"/>
                    </a:cubicBezTo>
                    <a:cubicBezTo>
                      <a:pt x="17" y="308"/>
                      <a:pt x="17" y="308"/>
                      <a:pt x="17" y="308"/>
                    </a:cubicBezTo>
                    <a:cubicBezTo>
                      <a:pt x="17" y="308"/>
                      <a:pt x="17" y="308"/>
                      <a:pt x="17" y="308"/>
                    </a:cubicBezTo>
                    <a:cubicBezTo>
                      <a:pt x="17" y="308"/>
                      <a:pt x="16" y="308"/>
                      <a:pt x="16" y="308"/>
                    </a:cubicBezTo>
                    <a:cubicBezTo>
                      <a:pt x="16" y="308"/>
                      <a:pt x="16" y="308"/>
                      <a:pt x="16" y="308"/>
                    </a:cubicBezTo>
                    <a:cubicBezTo>
                      <a:pt x="15" y="307"/>
                      <a:pt x="15" y="307"/>
                      <a:pt x="15" y="307"/>
                    </a:cubicBezTo>
                    <a:cubicBezTo>
                      <a:pt x="15" y="307"/>
                      <a:pt x="15" y="307"/>
                      <a:pt x="15" y="307"/>
                    </a:cubicBezTo>
                    <a:cubicBezTo>
                      <a:pt x="15" y="307"/>
                      <a:pt x="14" y="307"/>
                      <a:pt x="14" y="307"/>
                    </a:cubicBezTo>
                    <a:cubicBezTo>
                      <a:pt x="14" y="307"/>
                      <a:pt x="14" y="307"/>
                      <a:pt x="14" y="307"/>
                    </a:cubicBezTo>
                    <a:cubicBezTo>
                      <a:pt x="15" y="307"/>
                      <a:pt x="15" y="307"/>
                      <a:pt x="15" y="307"/>
                    </a:cubicBezTo>
                    <a:cubicBezTo>
                      <a:pt x="15" y="308"/>
                      <a:pt x="15" y="308"/>
                      <a:pt x="15" y="308"/>
                    </a:cubicBezTo>
                    <a:cubicBezTo>
                      <a:pt x="15" y="309"/>
                      <a:pt x="15" y="309"/>
                      <a:pt x="15" y="309"/>
                    </a:cubicBezTo>
                    <a:cubicBezTo>
                      <a:pt x="15" y="309"/>
                      <a:pt x="15" y="310"/>
                      <a:pt x="15" y="310"/>
                    </a:cubicBezTo>
                    <a:cubicBezTo>
                      <a:pt x="15" y="310"/>
                      <a:pt x="15" y="310"/>
                      <a:pt x="15" y="311"/>
                    </a:cubicBezTo>
                    <a:cubicBezTo>
                      <a:pt x="15" y="311"/>
                      <a:pt x="15" y="311"/>
                      <a:pt x="15" y="311"/>
                    </a:cubicBezTo>
                    <a:cubicBezTo>
                      <a:pt x="15" y="311"/>
                      <a:pt x="15" y="311"/>
                      <a:pt x="15" y="311"/>
                    </a:cubicBezTo>
                    <a:cubicBezTo>
                      <a:pt x="15" y="311"/>
                      <a:pt x="16" y="311"/>
                      <a:pt x="16" y="311"/>
                    </a:cubicBezTo>
                    <a:cubicBezTo>
                      <a:pt x="16" y="312"/>
                      <a:pt x="15" y="312"/>
                      <a:pt x="15" y="312"/>
                    </a:cubicBezTo>
                    <a:cubicBezTo>
                      <a:pt x="15" y="312"/>
                      <a:pt x="16" y="312"/>
                      <a:pt x="16" y="312"/>
                    </a:cubicBezTo>
                    <a:cubicBezTo>
                      <a:pt x="16" y="312"/>
                      <a:pt x="16" y="313"/>
                      <a:pt x="15" y="313"/>
                    </a:cubicBezTo>
                    <a:cubicBezTo>
                      <a:pt x="15" y="313"/>
                      <a:pt x="15" y="313"/>
                      <a:pt x="15" y="313"/>
                    </a:cubicBezTo>
                    <a:cubicBezTo>
                      <a:pt x="15" y="313"/>
                      <a:pt x="15" y="314"/>
                      <a:pt x="15" y="314"/>
                    </a:cubicBezTo>
                    <a:cubicBezTo>
                      <a:pt x="15" y="314"/>
                      <a:pt x="15" y="314"/>
                      <a:pt x="15" y="314"/>
                    </a:cubicBezTo>
                    <a:cubicBezTo>
                      <a:pt x="15" y="315"/>
                      <a:pt x="15" y="315"/>
                      <a:pt x="15" y="315"/>
                    </a:cubicBezTo>
                    <a:cubicBezTo>
                      <a:pt x="15" y="314"/>
                      <a:pt x="16" y="314"/>
                      <a:pt x="16" y="314"/>
                    </a:cubicBezTo>
                    <a:cubicBezTo>
                      <a:pt x="16" y="314"/>
                      <a:pt x="16" y="314"/>
                      <a:pt x="16" y="314"/>
                    </a:cubicBezTo>
                    <a:cubicBezTo>
                      <a:pt x="16" y="314"/>
                      <a:pt x="16" y="314"/>
                      <a:pt x="16" y="314"/>
                    </a:cubicBezTo>
                    <a:cubicBezTo>
                      <a:pt x="16" y="314"/>
                      <a:pt x="17" y="314"/>
                      <a:pt x="17" y="313"/>
                    </a:cubicBezTo>
                    <a:cubicBezTo>
                      <a:pt x="17" y="313"/>
                      <a:pt x="17" y="313"/>
                      <a:pt x="17" y="313"/>
                    </a:cubicBezTo>
                    <a:cubicBezTo>
                      <a:pt x="17" y="313"/>
                      <a:pt x="17" y="313"/>
                      <a:pt x="17" y="313"/>
                    </a:cubicBezTo>
                    <a:cubicBezTo>
                      <a:pt x="17" y="313"/>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5"/>
                      <a:pt x="17" y="315"/>
                      <a:pt x="18" y="315"/>
                    </a:cubicBezTo>
                    <a:cubicBezTo>
                      <a:pt x="18" y="315"/>
                      <a:pt x="18" y="315"/>
                      <a:pt x="18" y="315"/>
                    </a:cubicBezTo>
                    <a:cubicBezTo>
                      <a:pt x="18" y="315"/>
                      <a:pt x="18" y="315"/>
                      <a:pt x="18" y="315"/>
                    </a:cubicBezTo>
                    <a:cubicBezTo>
                      <a:pt x="18" y="315"/>
                      <a:pt x="17" y="315"/>
                      <a:pt x="17" y="315"/>
                    </a:cubicBezTo>
                    <a:cubicBezTo>
                      <a:pt x="17" y="315"/>
                      <a:pt x="17" y="315"/>
                      <a:pt x="17" y="315"/>
                    </a:cubicBezTo>
                    <a:cubicBezTo>
                      <a:pt x="17" y="315"/>
                      <a:pt x="17" y="315"/>
                      <a:pt x="17" y="315"/>
                    </a:cubicBezTo>
                    <a:cubicBezTo>
                      <a:pt x="17" y="315"/>
                      <a:pt x="17" y="315"/>
                      <a:pt x="17" y="315"/>
                    </a:cubicBezTo>
                    <a:cubicBezTo>
                      <a:pt x="17" y="315"/>
                      <a:pt x="17" y="315"/>
                      <a:pt x="16" y="315"/>
                    </a:cubicBezTo>
                    <a:cubicBezTo>
                      <a:pt x="16" y="315"/>
                      <a:pt x="16" y="315"/>
                      <a:pt x="16" y="315"/>
                    </a:cubicBezTo>
                    <a:cubicBezTo>
                      <a:pt x="16" y="315"/>
                      <a:pt x="16" y="316"/>
                      <a:pt x="16" y="316"/>
                    </a:cubicBezTo>
                    <a:cubicBezTo>
                      <a:pt x="16" y="316"/>
                      <a:pt x="16" y="316"/>
                      <a:pt x="16" y="316"/>
                    </a:cubicBezTo>
                    <a:cubicBezTo>
                      <a:pt x="16" y="316"/>
                      <a:pt x="16" y="316"/>
                      <a:pt x="16" y="316"/>
                    </a:cubicBezTo>
                    <a:cubicBezTo>
                      <a:pt x="16" y="316"/>
                      <a:pt x="15" y="316"/>
                      <a:pt x="15" y="316"/>
                    </a:cubicBezTo>
                    <a:cubicBezTo>
                      <a:pt x="15" y="316"/>
                      <a:pt x="15" y="316"/>
                      <a:pt x="15" y="316"/>
                    </a:cubicBezTo>
                    <a:cubicBezTo>
                      <a:pt x="15" y="316"/>
                      <a:pt x="14" y="316"/>
                      <a:pt x="15" y="316"/>
                    </a:cubicBezTo>
                    <a:cubicBezTo>
                      <a:pt x="15" y="316"/>
                      <a:pt x="15" y="316"/>
                      <a:pt x="15" y="316"/>
                    </a:cubicBezTo>
                    <a:cubicBezTo>
                      <a:pt x="15" y="316"/>
                      <a:pt x="15" y="316"/>
                      <a:pt x="15" y="316"/>
                    </a:cubicBezTo>
                    <a:cubicBezTo>
                      <a:pt x="15" y="316"/>
                      <a:pt x="16" y="316"/>
                      <a:pt x="16" y="316"/>
                    </a:cubicBezTo>
                    <a:cubicBezTo>
                      <a:pt x="16" y="316"/>
                      <a:pt x="16" y="317"/>
                      <a:pt x="16" y="317"/>
                    </a:cubicBezTo>
                    <a:cubicBezTo>
                      <a:pt x="16" y="317"/>
                      <a:pt x="16" y="317"/>
                      <a:pt x="16" y="317"/>
                    </a:cubicBezTo>
                    <a:cubicBezTo>
                      <a:pt x="16" y="317"/>
                      <a:pt x="16" y="317"/>
                      <a:pt x="16" y="317"/>
                    </a:cubicBezTo>
                    <a:cubicBezTo>
                      <a:pt x="17" y="317"/>
                      <a:pt x="17" y="317"/>
                      <a:pt x="16" y="318"/>
                    </a:cubicBezTo>
                    <a:cubicBezTo>
                      <a:pt x="16" y="318"/>
                      <a:pt x="16" y="318"/>
                      <a:pt x="16" y="318"/>
                    </a:cubicBezTo>
                    <a:cubicBezTo>
                      <a:pt x="16" y="318"/>
                      <a:pt x="17" y="318"/>
                      <a:pt x="17" y="318"/>
                    </a:cubicBezTo>
                    <a:cubicBezTo>
                      <a:pt x="17" y="318"/>
                      <a:pt x="17" y="319"/>
                      <a:pt x="17" y="319"/>
                    </a:cubicBezTo>
                    <a:cubicBezTo>
                      <a:pt x="18" y="319"/>
                      <a:pt x="18" y="319"/>
                      <a:pt x="18" y="319"/>
                    </a:cubicBezTo>
                    <a:cubicBezTo>
                      <a:pt x="18" y="319"/>
                      <a:pt x="18" y="319"/>
                      <a:pt x="18" y="319"/>
                    </a:cubicBezTo>
                    <a:cubicBezTo>
                      <a:pt x="18" y="319"/>
                      <a:pt x="18" y="319"/>
                      <a:pt x="18" y="319"/>
                    </a:cubicBezTo>
                    <a:cubicBezTo>
                      <a:pt x="18" y="319"/>
                      <a:pt x="18" y="318"/>
                      <a:pt x="18" y="318"/>
                    </a:cubicBezTo>
                    <a:cubicBezTo>
                      <a:pt x="19" y="318"/>
                      <a:pt x="19" y="318"/>
                      <a:pt x="19" y="318"/>
                    </a:cubicBezTo>
                    <a:cubicBezTo>
                      <a:pt x="19" y="318"/>
                      <a:pt x="19" y="318"/>
                      <a:pt x="19" y="318"/>
                    </a:cubicBezTo>
                    <a:cubicBezTo>
                      <a:pt x="19" y="318"/>
                      <a:pt x="19" y="318"/>
                      <a:pt x="19" y="318"/>
                    </a:cubicBezTo>
                    <a:cubicBezTo>
                      <a:pt x="20" y="318"/>
                      <a:pt x="20" y="318"/>
                      <a:pt x="20" y="318"/>
                    </a:cubicBezTo>
                    <a:cubicBezTo>
                      <a:pt x="20" y="318"/>
                      <a:pt x="20" y="318"/>
                      <a:pt x="20" y="318"/>
                    </a:cubicBezTo>
                    <a:cubicBezTo>
                      <a:pt x="20" y="318"/>
                      <a:pt x="20" y="318"/>
                      <a:pt x="20" y="318"/>
                    </a:cubicBezTo>
                    <a:cubicBezTo>
                      <a:pt x="20" y="318"/>
                      <a:pt x="20" y="317"/>
                      <a:pt x="20" y="316"/>
                    </a:cubicBezTo>
                    <a:cubicBezTo>
                      <a:pt x="20" y="316"/>
                      <a:pt x="20" y="316"/>
                      <a:pt x="20" y="316"/>
                    </a:cubicBezTo>
                    <a:cubicBezTo>
                      <a:pt x="20" y="315"/>
                      <a:pt x="20" y="315"/>
                      <a:pt x="20" y="315"/>
                    </a:cubicBezTo>
                    <a:cubicBezTo>
                      <a:pt x="21" y="315"/>
                      <a:pt x="21" y="314"/>
                      <a:pt x="22" y="314"/>
                    </a:cubicBezTo>
                    <a:cubicBezTo>
                      <a:pt x="22" y="314"/>
                      <a:pt x="22" y="314"/>
                      <a:pt x="22" y="314"/>
                    </a:cubicBezTo>
                    <a:cubicBezTo>
                      <a:pt x="22" y="314"/>
                      <a:pt x="22" y="314"/>
                      <a:pt x="22" y="313"/>
                    </a:cubicBezTo>
                    <a:cubicBezTo>
                      <a:pt x="22" y="313"/>
                      <a:pt x="21" y="313"/>
                      <a:pt x="21" y="313"/>
                    </a:cubicBezTo>
                    <a:cubicBezTo>
                      <a:pt x="20" y="313"/>
                      <a:pt x="21" y="313"/>
                      <a:pt x="21" y="313"/>
                    </a:cubicBezTo>
                    <a:cubicBezTo>
                      <a:pt x="21" y="312"/>
                      <a:pt x="21" y="312"/>
                      <a:pt x="21" y="312"/>
                    </a:cubicBezTo>
                    <a:cubicBezTo>
                      <a:pt x="21" y="312"/>
                      <a:pt x="21" y="313"/>
                      <a:pt x="22" y="313"/>
                    </a:cubicBezTo>
                    <a:cubicBezTo>
                      <a:pt x="22" y="312"/>
                      <a:pt x="22" y="312"/>
                      <a:pt x="22" y="312"/>
                    </a:cubicBezTo>
                    <a:cubicBezTo>
                      <a:pt x="22" y="312"/>
                      <a:pt x="22" y="312"/>
                      <a:pt x="22" y="312"/>
                    </a:cubicBezTo>
                    <a:cubicBezTo>
                      <a:pt x="22" y="313"/>
                      <a:pt x="23" y="313"/>
                      <a:pt x="24" y="313"/>
                    </a:cubicBezTo>
                    <a:cubicBezTo>
                      <a:pt x="24" y="313"/>
                      <a:pt x="24" y="313"/>
                      <a:pt x="24" y="313"/>
                    </a:cubicBezTo>
                    <a:cubicBezTo>
                      <a:pt x="24" y="312"/>
                      <a:pt x="24" y="312"/>
                      <a:pt x="24" y="312"/>
                    </a:cubicBezTo>
                    <a:cubicBezTo>
                      <a:pt x="25" y="312"/>
                      <a:pt x="25" y="312"/>
                      <a:pt x="26" y="312"/>
                    </a:cubicBezTo>
                    <a:cubicBezTo>
                      <a:pt x="26" y="312"/>
                      <a:pt x="26" y="312"/>
                      <a:pt x="27" y="312"/>
                    </a:cubicBezTo>
                    <a:cubicBezTo>
                      <a:pt x="27" y="312"/>
                      <a:pt x="27" y="312"/>
                      <a:pt x="28" y="312"/>
                    </a:cubicBezTo>
                    <a:cubicBezTo>
                      <a:pt x="28" y="312"/>
                      <a:pt x="29" y="312"/>
                      <a:pt x="29" y="313"/>
                    </a:cubicBezTo>
                    <a:cubicBezTo>
                      <a:pt x="29" y="313"/>
                      <a:pt x="30" y="313"/>
                      <a:pt x="30" y="313"/>
                    </a:cubicBezTo>
                    <a:cubicBezTo>
                      <a:pt x="30" y="313"/>
                      <a:pt x="30" y="313"/>
                      <a:pt x="30" y="313"/>
                    </a:cubicBezTo>
                    <a:cubicBezTo>
                      <a:pt x="30" y="314"/>
                      <a:pt x="30" y="314"/>
                      <a:pt x="30" y="314"/>
                    </a:cubicBezTo>
                    <a:cubicBezTo>
                      <a:pt x="29" y="314"/>
                      <a:pt x="29" y="314"/>
                      <a:pt x="29" y="314"/>
                    </a:cubicBezTo>
                    <a:cubicBezTo>
                      <a:pt x="28" y="314"/>
                      <a:pt x="28" y="314"/>
                      <a:pt x="27" y="314"/>
                    </a:cubicBezTo>
                    <a:cubicBezTo>
                      <a:pt x="27" y="314"/>
                      <a:pt x="27" y="314"/>
                      <a:pt x="27" y="314"/>
                    </a:cubicBezTo>
                    <a:cubicBezTo>
                      <a:pt x="27" y="313"/>
                      <a:pt x="27" y="314"/>
                      <a:pt x="26" y="314"/>
                    </a:cubicBezTo>
                    <a:cubicBezTo>
                      <a:pt x="26" y="314"/>
                      <a:pt x="26" y="314"/>
                      <a:pt x="26" y="314"/>
                    </a:cubicBezTo>
                    <a:cubicBezTo>
                      <a:pt x="26" y="314"/>
                      <a:pt x="25" y="314"/>
                      <a:pt x="25" y="314"/>
                    </a:cubicBezTo>
                    <a:cubicBezTo>
                      <a:pt x="25" y="314"/>
                      <a:pt x="25" y="314"/>
                      <a:pt x="25" y="314"/>
                    </a:cubicBezTo>
                    <a:cubicBezTo>
                      <a:pt x="25" y="314"/>
                      <a:pt x="25" y="314"/>
                      <a:pt x="25" y="314"/>
                    </a:cubicBezTo>
                    <a:cubicBezTo>
                      <a:pt x="25" y="315"/>
                      <a:pt x="24" y="315"/>
                      <a:pt x="24" y="315"/>
                    </a:cubicBezTo>
                    <a:cubicBezTo>
                      <a:pt x="23" y="316"/>
                      <a:pt x="23" y="316"/>
                      <a:pt x="23" y="316"/>
                    </a:cubicBezTo>
                    <a:cubicBezTo>
                      <a:pt x="23" y="316"/>
                      <a:pt x="23" y="316"/>
                      <a:pt x="23" y="316"/>
                    </a:cubicBezTo>
                    <a:cubicBezTo>
                      <a:pt x="23" y="315"/>
                      <a:pt x="22" y="315"/>
                      <a:pt x="22" y="314"/>
                    </a:cubicBezTo>
                    <a:cubicBezTo>
                      <a:pt x="22" y="314"/>
                      <a:pt x="21" y="314"/>
                      <a:pt x="21" y="314"/>
                    </a:cubicBezTo>
                    <a:cubicBezTo>
                      <a:pt x="21" y="314"/>
                      <a:pt x="21" y="315"/>
                      <a:pt x="21" y="315"/>
                    </a:cubicBezTo>
                    <a:cubicBezTo>
                      <a:pt x="21" y="315"/>
                      <a:pt x="21" y="315"/>
                      <a:pt x="21" y="315"/>
                    </a:cubicBezTo>
                    <a:cubicBezTo>
                      <a:pt x="20" y="316"/>
                      <a:pt x="20" y="316"/>
                      <a:pt x="20" y="316"/>
                    </a:cubicBezTo>
                    <a:cubicBezTo>
                      <a:pt x="20" y="316"/>
                      <a:pt x="20" y="316"/>
                      <a:pt x="20" y="316"/>
                    </a:cubicBezTo>
                    <a:cubicBezTo>
                      <a:pt x="20" y="317"/>
                      <a:pt x="20" y="317"/>
                      <a:pt x="20" y="317"/>
                    </a:cubicBezTo>
                    <a:cubicBezTo>
                      <a:pt x="20" y="318"/>
                      <a:pt x="20" y="318"/>
                      <a:pt x="20" y="318"/>
                    </a:cubicBezTo>
                    <a:cubicBezTo>
                      <a:pt x="20" y="319"/>
                      <a:pt x="20" y="319"/>
                      <a:pt x="20" y="319"/>
                    </a:cubicBezTo>
                    <a:cubicBezTo>
                      <a:pt x="20" y="319"/>
                      <a:pt x="20" y="319"/>
                      <a:pt x="21" y="319"/>
                    </a:cubicBezTo>
                    <a:cubicBezTo>
                      <a:pt x="21" y="319"/>
                      <a:pt x="21" y="319"/>
                      <a:pt x="21" y="319"/>
                    </a:cubicBezTo>
                    <a:cubicBezTo>
                      <a:pt x="21" y="319"/>
                      <a:pt x="21" y="319"/>
                      <a:pt x="21" y="320"/>
                    </a:cubicBezTo>
                    <a:cubicBezTo>
                      <a:pt x="21" y="320"/>
                      <a:pt x="21" y="320"/>
                      <a:pt x="21" y="320"/>
                    </a:cubicBezTo>
                    <a:cubicBezTo>
                      <a:pt x="21" y="320"/>
                      <a:pt x="22" y="320"/>
                      <a:pt x="22" y="320"/>
                    </a:cubicBezTo>
                    <a:cubicBezTo>
                      <a:pt x="22" y="320"/>
                      <a:pt x="22" y="321"/>
                      <a:pt x="22" y="321"/>
                    </a:cubicBezTo>
                    <a:cubicBezTo>
                      <a:pt x="21" y="321"/>
                      <a:pt x="21" y="320"/>
                      <a:pt x="21" y="320"/>
                    </a:cubicBezTo>
                    <a:cubicBezTo>
                      <a:pt x="21" y="320"/>
                      <a:pt x="20" y="320"/>
                      <a:pt x="20" y="320"/>
                    </a:cubicBezTo>
                    <a:cubicBezTo>
                      <a:pt x="19" y="320"/>
                      <a:pt x="19" y="320"/>
                      <a:pt x="18" y="320"/>
                    </a:cubicBezTo>
                    <a:cubicBezTo>
                      <a:pt x="18" y="320"/>
                      <a:pt x="18" y="320"/>
                      <a:pt x="18" y="320"/>
                    </a:cubicBezTo>
                    <a:cubicBezTo>
                      <a:pt x="18" y="320"/>
                      <a:pt x="18" y="320"/>
                      <a:pt x="19" y="320"/>
                    </a:cubicBezTo>
                    <a:cubicBezTo>
                      <a:pt x="19" y="321"/>
                      <a:pt x="19" y="321"/>
                      <a:pt x="20" y="321"/>
                    </a:cubicBezTo>
                    <a:cubicBezTo>
                      <a:pt x="20" y="322"/>
                      <a:pt x="21" y="322"/>
                      <a:pt x="22" y="323"/>
                    </a:cubicBezTo>
                    <a:cubicBezTo>
                      <a:pt x="22" y="323"/>
                      <a:pt x="22" y="323"/>
                      <a:pt x="22" y="323"/>
                    </a:cubicBezTo>
                    <a:cubicBezTo>
                      <a:pt x="22" y="323"/>
                      <a:pt x="22" y="323"/>
                      <a:pt x="22" y="323"/>
                    </a:cubicBezTo>
                    <a:cubicBezTo>
                      <a:pt x="23" y="324"/>
                      <a:pt x="23" y="324"/>
                      <a:pt x="23" y="324"/>
                    </a:cubicBezTo>
                    <a:cubicBezTo>
                      <a:pt x="23" y="324"/>
                      <a:pt x="23" y="324"/>
                      <a:pt x="23" y="324"/>
                    </a:cubicBezTo>
                    <a:cubicBezTo>
                      <a:pt x="24" y="324"/>
                      <a:pt x="24" y="323"/>
                      <a:pt x="23" y="323"/>
                    </a:cubicBezTo>
                    <a:cubicBezTo>
                      <a:pt x="23" y="323"/>
                      <a:pt x="23" y="322"/>
                      <a:pt x="23" y="322"/>
                    </a:cubicBezTo>
                    <a:cubicBezTo>
                      <a:pt x="23" y="322"/>
                      <a:pt x="23" y="322"/>
                      <a:pt x="23" y="322"/>
                    </a:cubicBezTo>
                    <a:cubicBezTo>
                      <a:pt x="22" y="322"/>
                      <a:pt x="23" y="322"/>
                      <a:pt x="23" y="322"/>
                    </a:cubicBezTo>
                    <a:cubicBezTo>
                      <a:pt x="23" y="321"/>
                      <a:pt x="23" y="321"/>
                      <a:pt x="23" y="321"/>
                    </a:cubicBezTo>
                    <a:cubicBezTo>
                      <a:pt x="23" y="321"/>
                      <a:pt x="23" y="321"/>
                      <a:pt x="23" y="320"/>
                    </a:cubicBezTo>
                    <a:cubicBezTo>
                      <a:pt x="23" y="320"/>
                      <a:pt x="23" y="320"/>
                      <a:pt x="23" y="320"/>
                    </a:cubicBezTo>
                    <a:cubicBezTo>
                      <a:pt x="23" y="320"/>
                      <a:pt x="24" y="320"/>
                      <a:pt x="24" y="320"/>
                    </a:cubicBezTo>
                    <a:cubicBezTo>
                      <a:pt x="24" y="320"/>
                      <a:pt x="24" y="320"/>
                      <a:pt x="24" y="320"/>
                    </a:cubicBezTo>
                    <a:cubicBezTo>
                      <a:pt x="24" y="320"/>
                      <a:pt x="24" y="320"/>
                      <a:pt x="24" y="320"/>
                    </a:cubicBezTo>
                    <a:cubicBezTo>
                      <a:pt x="24" y="320"/>
                      <a:pt x="25" y="320"/>
                      <a:pt x="25" y="320"/>
                    </a:cubicBezTo>
                    <a:cubicBezTo>
                      <a:pt x="25" y="319"/>
                      <a:pt x="25" y="319"/>
                      <a:pt x="24" y="319"/>
                    </a:cubicBezTo>
                    <a:cubicBezTo>
                      <a:pt x="24" y="319"/>
                      <a:pt x="24" y="319"/>
                      <a:pt x="24" y="319"/>
                    </a:cubicBezTo>
                    <a:cubicBezTo>
                      <a:pt x="24" y="319"/>
                      <a:pt x="23" y="318"/>
                      <a:pt x="24" y="318"/>
                    </a:cubicBezTo>
                    <a:cubicBezTo>
                      <a:pt x="24" y="318"/>
                      <a:pt x="24" y="318"/>
                      <a:pt x="24" y="318"/>
                    </a:cubicBezTo>
                    <a:cubicBezTo>
                      <a:pt x="24" y="318"/>
                      <a:pt x="24" y="318"/>
                      <a:pt x="24" y="319"/>
                    </a:cubicBezTo>
                    <a:cubicBezTo>
                      <a:pt x="25" y="319"/>
                      <a:pt x="25" y="318"/>
                      <a:pt x="25" y="318"/>
                    </a:cubicBezTo>
                    <a:cubicBezTo>
                      <a:pt x="25" y="318"/>
                      <a:pt x="25" y="318"/>
                      <a:pt x="25" y="319"/>
                    </a:cubicBezTo>
                    <a:cubicBezTo>
                      <a:pt x="25" y="319"/>
                      <a:pt x="25" y="319"/>
                      <a:pt x="26" y="319"/>
                    </a:cubicBezTo>
                    <a:cubicBezTo>
                      <a:pt x="26" y="319"/>
                      <a:pt x="26" y="319"/>
                      <a:pt x="26" y="319"/>
                    </a:cubicBezTo>
                    <a:cubicBezTo>
                      <a:pt x="26" y="319"/>
                      <a:pt x="27" y="319"/>
                      <a:pt x="27" y="318"/>
                    </a:cubicBezTo>
                    <a:cubicBezTo>
                      <a:pt x="27" y="318"/>
                      <a:pt x="27" y="318"/>
                      <a:pt x="27" y="317"/>
                    </a:cubicBezTo>
                    <a:cubicBezTo>
                      <a:pt x="28" y="317"/>
                      <a:pt x="28" y="317"/>
                      <a:pt x="28" y="317"/>
                    </a:cubicBezTo>
                    <a:cubicBezTo>
                      <a:pt x="29" y="317"/>
                      <a:pt x="29" y="316"/>
                      <a:pt x="30" y="316"/>
                    </a:cubicBezTo>
                    <a:cubicBezTo>
                      <a:pt x="30" y="316"/>
                      <a:pt x="31" y="315"/>
                      <a:pt x="32" y="315"/>
                    </a:cubicBezTo>
                    <a:cubicBezTo>
                      <a:pt x="32" y="315"/>
                      <a:pt x="32" y="315"/>
                      <a:pt x="32" y="316"/>
                    </a:cubicBezTo>
                    <a:cubicBezTo>
                      <a:pt x="32" y="316"/>
                      <a:pt x="32" y="316"/>
                      <a:pt x="32" y="316"/>
                    </a:cubicBezTo>
                    <a:cubicBezTo>
                      <a:pt x="33" y="316"/>
                      <a:pt x="33" y="316"/>
                      <a:pt x="33" y="316"/>
                    </a:cubicBezTo>
                    <a:cubicBezTo>
                      <a:pt x="33" y="317"/>
                      <a:pt x="32" y="317"/>
                      <a:pt x="32" y="317"/>
                    </a:cubicBezTo>
                    <a:cubicBezTo>
                      <a:pt x="32" y="317"/>
                      <a:pt x="32" y="318"/>
                      <a:pt x="32" y="318"/>
                    </a:cubicBezTo>
                    <a:cubicBezTo>
                      <a:pt x="31" y="318"/>
                      <a:pt x="31" y="319"/>
                      <a:pt x="31" y="319"/>
                    </a:cubicBezTo>
                    <a:cubicBezTo>
                      <a:pt x="31" y="319"/>
                      <a:pt x="31" y="319"/>
                      <a:pt x="30" y="319"/>
                    </a:cubicBezTo>
                    <a:cubicBezTo>
                      <a:pt x="30" y="319"/>
                      <a:pt x="30" y="319"/>
                      <a:pt x="30" y="319"/>
                    </a:cubicBezTo>
                    <a:cubicBezTo>
                      <a:pt x="30" y="319"/>
                      <a:pt x="30" y="319"/>
                      <a:pt x="29" y="320"/>
                    </a:cubicBezTo>
                    <a:cubicBezTo>
                      <a:pt x="29" y="320"/>
                      <a:pt x="29" y="320"/>
                      <a:pt x="29" y="320"/>
                    </a:cubicBezTo>
                    <a:cubicBezTo>
                      <a:pt x="29" y="320"/>
                      <a:pt x="29" y="320"/>
                      <a:pt x="29" y="320"/>
                    </a:cubicBezTo>
                    <a:cubicBezTo>
                      <a:pt x="28" y="320"/>
                      <a:pt x="28" y="321"/>
                      <a:pt x="28" y="321"/>
                    </a:cubicBezTo>
                    <a:cubicBezTo>
                      <a:pt x="28" y="321"/>
                      <a:pt x="28" y="322"/>
                      <a:pt x="28" y="322"/>
                    </a:cubicBezTo>
                    <a:cubicBezTo>
                      <a:pt x="28" y="322"/>
                      <a:pt x="28" y="321"/>
                      <a:pt x="28" y="321"/>
                    </a:cubicBezTo>
                    <a:cubicBezTo>
                      <a:pt x="27" y="320"/>
                      <a:pt x="27" y="320"/>
                      <a:pt x="27" y="320"/>
                    </a:cubicBezTo>
                    <a:cubicBezTo>
                      <a:pt x="27" y="320"/>
                      <a:pt x="27" y="320"/>
                      <a:pt x="26" y="320"/>
                    </a:cubicBezTo>
                    <a:cubicBezTo>
                      <a:pt x="26" y="321"/>
                      <a:pt x="26" y="321"/>
                      <a:pt x="26" y="321"/>
                    </a:cubicBezTo>
                    <a:cubicBezTo>
                      <a:pt x="26" y="322"/>
                      <a:pt x="26" y="322"/>
                      <a:pt x="25" y="323"/>
                    </a:cubicBezTo>
                    <a:cubicBezTo>
                      <a:pt x="25" y="323"/>
                      <a:pt x="25" y="322"/>
                      <a:pt x="25" y="322"/>
                    </a:cubicBezTo>
                    <a:cubicBezTo>
                      <a:pt x="25" y="322"/>
                      <a:pt x="26" y="322"/>
                      <a:pt x="26" y="322"/>
                    </a:cubicBezTo>
                    <a:cubicBezTo>
                      <a:pt x="26" y="322"/>
                      <a:pt x="26" y="322"/>
                      <a:pt x="26" y="321"/>
                    </a:cubicBezTo>
                    <a:cubicBezTo>
                      <a:pt x="26" y="321"/>
                      <a:pt x="26" y="321"/>
                      <a:pt x="26" y="321"/>
                    </a:cubicBezTo>
                    <a:cubicBezTo>
                      <a:pt x="26" y="321"/>
                      <a:pt x="26" y="321"/>
                      <a:pt x="26" y="321"/>
                    </a:cubicBezTo>
                    <a:cubicBezTo>
                      <a:pt x="26" y="321"/>
                      <a:pt x="25" y="321"/>
                      <a:pt x="25" y="321"/>
                    </a:cubicBezTo>
                    <a:cubicBezTo>
                      <a:pt x="25" y="321"/>
                      <a:pt x="25" y="321"/>
                      <a:pt x="24" y="321"/>
                    </a:cubicBezTo>
                    <a:cubicBezTo>
                      <a:pt x="24" y="321"/>
                      <a:pt x="23" y="321"/>
                      <a:pt x="23" y="322"/>
                    </a:cubicBezTo>
                    <a:cubicBezTo>
                      <a:pt x="23" y="323"/>
                      <a:pt x="24" y="323"/>
                      <a:pt x="24" y="324"/>
                    </a:cubicBezTo>
                    <a:cubicBezTo>
                      <a:pt x="24" y="324"/>
                      <a:pt x="24" y="324"/>
                      <a:pt x="24" y="324"/>
                    </a:cubicBezTo>
                    <a:cubicBezTo>
                      <a:pt x="24" y="324"/>
                      <a:pt x="24" y="324"/>
                      <a:pt x="24" y="324"/>
                    </a:cubicBezTo>
                    <a:cubicBezTo>
                      <a:pt x="25" y="324"/>
                      <a:pt x="25" y="324"/>
                      <a:pt x="25" y="325"/>
                    </a:cubicBezTo>
                    <a:cubicBezTo>
                      <a:pt x="25" y="325"/>
                      <a:pt x="25" y="325"/>
                      <a:pt x="25" y="325"/>
                    </a:cubicBezTo>
                    <a:cubicBezTo>
                      <a:pt x="25" y="325"/>
                      <a:pt x="25" y="325"/>
                      <a:pt x="25" y="325"/>
                    </a:cubicBezTo>
                    <a:cubicBezTo>
                      <a:pt x="25" y="325"/>
                      <a:pt x="26" y="325"/>
                      <a:pt x="26" y="326"/>
                    </a:cubicBezTo>
                    <a:cubicBezTo>
                      <a:pt x="26" y="326"/>
                      <a:pt x="27" y="326"/>
                      <a:pt x="27" y="326"/>
                    </a:cubicBezTo>
                    <a:cubicBezTo>
                      <a:pt x="27" y="326"/>
                      <a:pt x="27" y="326"/>
                      <a:pt x="27" y="326"/>
                    </a:cubicBezTo>
                    <a:cubicBezTo>
                      <a:pt x="27" y="326"/>
                      <a:pt x="28" y="327"/>
                      <a:pt x="28" y="327"/>
                    </a:cubicBezTo>
                    <a:cubicBezTo>
                      <a:pt x="28" y="327"/>
                      <a:pt x="28" y="327"/>
                      <a:pt x="28" y="327"/>
                    </a:cubicBezTo>
                    <a:cubicBezTo>
                      <a:pt x="28" y="327"/>
                      <a:pt x="29" y="327"/>
                      <a:pt x="29" y="327"/>
                    </a:cubicBezTo>
                    <a:cubicBezTo>
                      <a:pt x="29" y="327"/>
                      <a:pt x="29" y="327"/>
                      <a:pt x="30" y="327"/>
                    </a:cubicBezTo>
                    <a:cubicBezTo>
                      <a:pt x="30" y="327"/>
                      <a:pt x="30" y="328"/>
                      <a:pt x="31" y="328"/>
                    </a:cubicBezTo>
                    <a:cubicBezTo>
                      <a:pt x="32" y="328"/>
                      <a:pt x="32" y="328"/>
                      <a:pt x="33" y="327"/>
                    </a:cubicBezTo>
                    <a:cubicBezTo>
                      <a:pt x="33" y="327"/>
                      <a:pt x="33" y="327"/>
                      <a:pt x="34" y="327"/>
                    </a:cubicBezTo>
                    <a:cubicBezTo>
                      <a:pt x="34" y="326"/>
                      <a:pt x="34" y="326"/>
                      <a:pt x="34" y="326"/>
                    </a:cubicBezTo>
                    <a:cubicBezTo>
                      <a:pt x="34" y="326"/>
                      <a:pt x="34" y="326"/>
                      <a:pt x="34" y="325"/>
                    </a:cubicBezTo>
                    <a:cubicBezTo>
                      <a:pt x="34" y="325"/>
                      <a:pt x="34" y="325"/>
                      <a:pt x="34" y="324"/>
                    </a:cubicBezTo>
                    <a:cubicBezTo>
                      <a:pt x="34" y="323"/>
                      <a:pt x="34" y="322"/>
                      <a:pt x="34" y="321"/>
                    </a:cubicBezTo>
                    <a:cubicBezTo>
                      <a:pt x="34" y="321"/>
                      <a:pt x="34" y="321"/>
                      <a:pt x="34" y="321"/>
                    </a:cubicBezTo>
                    <a:cubicBezTo>
                      <a:pt x="34" y="320"/>
                      <a:pt x="34" y="319"/>
                      <a:pt x="34" y="319"/>
                    </a:cubicBezTo>
                    <a:cubicBezTo>
                      <a:pt x="35" y="319"/>
                      <a:pt x="35" y="318"/>
                      <a:pt x="35" y="318"/>
                    </a:cubicBezTo>
                    <a:cubicBezTo>
                      <a:pt x="35" y="318"/>
                      <a:pt x="35" y="317"/>
                      <a:pt x="35" y="317"/>
                    </a:cubicBezTo>
                    <a:cubicBezTo>
                      <a:pt x="35" y="317"/>
                      <a:pt x="35" y="317"/>
                      <a:pt x="35" y="316"/>
                    </a:cubicBezTo>
                    <a:cubicBezTo>
                      <a:pt x="35" y="316"/>
                      <a:pt x="35" y="316"/>
                      <a:pt x="35" y="316"/>
                    </a:cubicBezTo>
                    <a:cubicBezTo>
                      <a:pt x="35" y="316"/>
                      <a:pt x="35" y="316"/>
                      <a:pt x="35" y="315"/>
                    </a:cubicBezTo>
                    <a:cubicBezTo>
                      <a:pt x="35" y="315"/>
                      <a:pt x="35" y="315"/>
                      <a:pt x="35" y="315"/>
                    </a:cubicBezTo>
                    <a:cubicBezTo>
                      <a:pt x="35" y="315"/>
                      <a:pt x="35" y="315"/>
                      <a:pt x="35" y="315"/>
                    </a:cubicBezTo>
                    <a:cubicBezTo>
                      <a:pt x="35" y="315"/>
                      <a:pt x="35" y="315"/>
                      <a:pt x="35" y="315"/>
                    </a:cubicBezTo>
                    <a:cubicBezTo>
                      <a:pt x="36" y="314"/>
                      <a:pt x="36" y="314"/>
                      <a:pt x="36" y="314"/>
                    </a:cubicBezTo>
                    <a:cubicBezTo>
                      <a:pt x="36" y="314"/>
                      <a:pt x="36" y="314"/>
                      <a:pt x="36" y="314"/>
                    </a:cubicBezTo>
                    <a:cubicBezTo>
                      <a:pt x="36" y="314"/>
                      <a:pt x="36" y="314"/>
                      <a:pt x="36" y="314"/>
                    </a:cubicBezTo>
                    <a:cubicBezTo>
                      <a:pt x="37" y="314"/>
                      <a:pt x="37" y="314"/>
                      <a:pt x="37" y="314"/>
                    </a:cubicBezTo>
                    <a:cubicBezTo>
                      <a:pt x="37" y="314"/>
                      <a:pt x="37" y="314"/>
                      <a:pt x="37" y="314"/>
                    </a:cubicBezTo>
                    <a:cubicBezTo>
                      <a:pt x="37" y="314"/>
                      <a:pt x="38" y="314"/>
                      <a:pt x="38" y="314"/>
                    </a:cubicBezTo>
                    <a:cubicBezTo>
                      <a:pt x="38" y="314"/>
                      <a:pt x="38" y="314"/>
                      <a:pt x="38" y="314"/>
                    </a:cubicBezTo>
                    <a:cubicBezTo>
                      <a:pt x="39" y="313"/>
                      <a:pt x="39" y="313"/>
                      <a:pt x="39" y="313"/>
                    </a:cubicBezTo>
                    <a:cubicBezTo>
                      <a:pt x="39" y="313"/>
                      <a:pt x="39" y="313"/>
                      <a:pt x="39" y="313"/>
                    </a:cubicBezTo>
                    <a:cubicBezTo>
                      <a:pt x="39" y="313"/>
                      <a:pt x="40" y="313"/>
                      <a:pt x="40" y="313"/>
                    </a:cubicBezTo>
                    <a:cubicBezTo>
                      <a:pt x="40" y="312"/>
                      <a:pt x="41" y="312"/>
                      <a:pt x="42" y="312"/>
                    </a:cubicBezTo>
                    <a:cubicBezTo>
                      <a:pt x="42" y="312"/>
                      <a:pt x="42" y="312"/>
                      <a:pt x="42" y="312"/>
                    </a:cubicBezTo>
                    <a:cubicBezTo>
                      <a:pt x="42" y="312"/>
                      <a:pt x="42" y="312"/>
                      <a:pt x="42" y="312"/>
                    </a:cubicBezTo>
                    <a:cubicBezTo>
                      <a:pt x="42" y="312"/>
                      <a:pt x="42" y="312"/>
                      <a:pt x="43" y="312"/>
                    </a:cubicBezTo>
                    <a:cubicBezTo>
                      <a:pt x="43" y="312"/>
                      <a:pt x="43" y="312"/>
                      <a:pt x="43" y="312"/>
                    </a:cubicBezTo>
                    <a:cubicBezTo>
                      <a:pt x="43" y="312"/>
                      <a:pt x="43" y="312"/>
                      <a:pt x="43" y="312"/>
                    </a:cubicBezTo>
                    <a:cubicBezTo>
                      <a:pt x="44" y="312"/>
                      <a:pt x="44" y="311"/>
                      <a:pt x="44" y="310"/>
                    </a:cubicBezTo>
                    <a:cubicBezTo>
                      <a:pt x="44" y="310"/>
                      <a:pt x="44" y="309"/>
                      <a:pt x="45" y="309"/>
                    </a:cubicBezTo>
                    <a:cubicBezTo>
                      <a:pt x="45" y="309"/>
                      <a:pt x="45" y="309"/>
                      <a:pt x="45" y="309"/>
                    </a:cubicBezTo>
                    <a:cubicBezTo>
                      <a:pt x="45" y="309"/>
                      <a:pt x="46" y="308"/>
                      <a:pt x="46" y="308"/>
                    </a:cubicBezTo>
                    <a:cubicBezTo>
                      <a:pt x="46" y="308"/>
                      <a:pt x="46" y="308"/>
                      <a:pt x="47" y="308"/>
                    </a:cubicBezTo>
                    <a:cubicBezTo>
                      <a:pt x="47" y="308"/>
                      <a:pt x="47" y="308"/>
                      <a:pt x="47" y="309"/>
                    </a:cubicBezTo>
                    <a:cubicBezTo>
                      <a:pt x="47" y="309"/>
                      <a:pt x="47" y="309"/>
                      <a:pt x="47" y="309"/>
                    </a:cubicBezTo>
                    <a:cubicBezTo>
                      <a:pt x="47" y="309"/>
                      <a:pt x="47" y="309"/>
                      <a:pt x="47" y="309"/>
                    </a:cubicBezTo>
                    <a:cubicBezTo>
                      <a:pt x="48" y="309"/>
                      <a:pt x="48" y="309"/>
                      <a:pt x="48" y="309"/>
                    </a:cubicBezTo>
                    <a:cubicBezTo>
                      <a:pt x="48" y="309"/>
                      <a:pt x="48" y="309"/>
                      <a:pt x="48" y="309"/>
                    </a:cubicBezTo>
                    <a:cubicBezTo>
                      <a:pt x="48" y="309"/>
                      <a:pt x="48" y="309"/>
                      <a:pt x="48" y="309"/>
                    </a:cubicBezTo>
                    <a:cubicBezTo>
                      <a:pt x="48" y="309"/>
                      <a:pt x="49" y="309"/>
                      <a:pt x="49" y="309"/>
                    </a:cubicBezTo>
                    <a:cubicBezTo>
                      <a:pt x="50" y="309"/>
                      <a:pt x="50" y="309"/>
                      <a:pt x="50" y="309"/>
                    </a:cubicBezTo>
                    <a:cubicBezTo>
                      <a:pt x="50" y="309"/>
                      <a:pt x="49" y="309"/>
                      <a:pt x="49" y="309"/>
                    </a:cubicBezTo>
                    <a:cubicBezTo>
                      <a:pt x="48" y="309"/>
                      <a:pt x="47" y="308"/>
                      <a:pt x="46" y="308"/>
                    </a:cubicBezTo>
                    <a:cubicBezTo>
                      <a:pt x="45" y="308"/>
                      <a:pt x="45" y="308"/>
                      <a:pt x="44" y="308"/>
                    </a:cubicBezTo>
                    <a:cubicBezTo>
                      <a:pt x="43" y="307"/>
                      <a:pt x="43" y="307"/>
                      <a:pt x="42" y="306"/>
                    </a:cubicBezTo>
                    <a:cubicBezTo>
                      <a:pt x="42" y="306"/>
                      <a:pt x="41" y="306"/>
                      <a:pt x="41" y="306"/>
                    </a:cubicBezTo>
                    <a:cubicBezTo>
                      <a:pt x="27" y="306"/>
                      <a:pt x="27" y="306"/>
                      <a:pt x="27" y="306"/>
                    </a:cubicBezTo>
                    <a:cubicBezTo>
                      <a:pt x="27" y="306"/>
                      <a:pt x="26" y="306"/>
                      <a:pt x="26" y="305"/>
                    </a:cubicBezTo>
                    <a:cubicBezTo>
                      <a:pt x="26" y="305"/>
                      <a:pt x="26" y="305"/>
                      <a:pt x="26" y="305"/>
                    </a:cubicBezTo>
                    <a:cubicBezTo>
                      <a:pt x="26" y="305"/>
                      <a:pt x="26" y="305"/>
                      <a:pt x="26" y="305"/>
                    </a:cubicBezTo>
                    <a:cubicBezTo>
                      <a:pt x="26" y="305"/>
                      <a:pt x="27" y="305"/>
                      <a:pt x="27" y="305"/>
                    </a:cubicBezTo>
                    <a:cubicBezTo>
                      <a:pt x="27" y="305"/>
                      <a:pt x="27" y="305"/>
                      <a:pt x="27" y="305"/>
                    </a:cubicBezTo>
                    <a:cubicBezTo>
                      <a:pt x="27" y="305"/>
                      <a:pt x="27" y="304"/>
                      <a:pt x="27" y="304"/>
                    </a:cubicBezTo>
                    <a:cubicBezTo>
                      <a:pt x="27" y="304"/>
                      <a:pt x="27" y="304"/>
                      <a:pt x="26" y="304"/>
                    </a:cubicBezTo>
                    <a:cubicBezTo>
                      <a:pt x="26" y="303"/>
                      <a:pt x="25" y="303"/>
                      <a:pt x="25" y="303"/>
                    </a:cubicBezTo>
                    <a:cubicBezTo>
                      <a:pt x="25" y="302"/>
                      <a:pt x="25" y="302"/>
                      <a:pt x="24" y="302"/>
                    </a:cubicBezTo>
                    <a:cubicBezTo>
                      <a:pt x="24" y="302"/>
                      <a:pt x="24" y="301"/>
                      <a:pt x="24" y="301"/>
                    </a:cubicBezTo>
                    <a:cubicBezTo>
                      <a:pt x="24" y="301"/>
                      <a:pt x="24" y="301"/>
                      <a:pt x="23" y="301"/>
                    </a:cubicBezTo>
                    <a:cubicBezTo>
                      <a:pt x="23" y="301"/>
                      <a:pt x="23" y="301"/>
                      <a:pt x="24" y="300"/>
                    </a:cubicBezTo>
                    <a:cubicBezTo>
                      <a:pt x="24" y="300"/>
                      <a:pt x="24" y="300"/>
                      <a:pt x="24" y="300"/>
                    </a:cubicBezTo>
                    <a:cubicBezTo>
                      <a:pt x="24" y="299"/>
                      <a:pt x="24" y="299"/>
                      <a:pt x="24" y="299"/>
                    </a:cubicBezTo>
                    <a:cubicBezTo>
                      <a:pt x="24" y="298"/>
                      <a:pt x="24" y="298"/>
                      <a:pt x="24" y="298"/>
                    </a:cubicBezTo>
                    <a:cubicBezTo>
                      <a:pt x="24" y="298"/>
                      <a:pt x="24" y="298"/>
                      <a:pt x="24" y="298"/>
                    </a:cubicBezTo>
                    <a:cubicBezTo>
                      <a:pt x="24" y="298"/>
                      <a:pt x="24" y="298"/>
                      <a:pt x="25" y="297"/>
                    </a:cubicBezTo>
                    <a:cubicBezTo>
                      <a:pt x="25" y="297"/>
                      <a:pt x="25" y="297"/>
                      <a:pt x="25" y="297"/>
                    </a:cubicBezTo>
                    <a:cubicBezTo>
                      <a:pt x="25" y="297"/>
                      <a:pt x="25" y="297"/>
                      <a:pt x="25" y="297"/>
                    </a:cubicBezTo>
                    <a:cubicBezTo>
                      <a:pt x="24" y="297"/>
                      <a:pt x="24" y="296"/>
                      <a:pt x="24" y="296"/>
                    </a:cubicBezTo>
                    <a:cubicBezTo>
                      <a:pt x="23" y="295"/>
                      <a:pt x="24" y="295"/>
                      <a:pt x="24" y="295"/>
                    </a:cubicBezTo>
                    <a:cubicBezTo>
                      <a:pt x="24" y="295"/>
                      <a:pt x="24" y="295"/>
                      <a:pt x="25" y="295"/>
                    </a:cubicBezTo>
                    <a:cubicBezTo>
                      <a:pt x="25" y="295"/>
                      <a:pt x="25" y="295"/>
                      <a:pt x="25" y="295"/>
                    </a:cubicBezTo>
                    <a:cubicBezTo>
                      <a:pt x="25" y="295"/>
                      <a:pt x="25" y="295"/>
                      <a:pt x="25" y="294"/>
                    </a:cubicBezTo>
                    <a:cubicBezTo>
                      <a:pt x="25" y="294"/>
                      <a:pt x="25" y="293"/>
                      <a:pt x="25" y="293"/>
                    </a:cubicBezTo>
                    <a:cubicBezTo>
                      <a:pt x="25" y="293"/>
                      <a:pt x="24" y="292"/>
                      <a:pt x="24" y="292"/>
                    </a:cubicBezTo>
                    <a:cubicBezTo>
                      <a:pt x="24" y="292"/>
                      <a:pt x="24" y="291"/>
                      <a:pt x="24" y="291"/>
                    </a:cubicBezTo>
                    <a:cubicBezTo>
                      <a:pt x="24" y="291"/>
                      <a:pt x="24" y="291"/>
                      <a:pt x="24" y="291"/>
                    </a:cubicBezTo>
                    <a:cubicBezTo>
                      <a:pt x="24" y="291"/>
                      <a:pt x="24" y="290"/>
                      <a:pt x="24" y="290"/>
                    </a:cubicBezTo>
                    <a:cubicBezTo>
                      <a:pt x="24" y="290"/>
                      <a:pt x="23" y="290"/>
                      <a:pt x="23" y="290"/>
                    </a:cubicBezTo>
                    <a:cubicBezTo>
                      <a:pt x="23" y="290"/>
                      <a:pt x="23" y="290"/>
                      <a:pt x="23" y="290"/>
                    </a:cubicBezTo>
                    <a:cubicBezTo>
                      <a:pt x="22" y="291"/>
                      <a:pt x="22" y="291"/>
                      <a:pt x="22" y="291"/>
                    </a:cubicBezTo>
                    <a:cubicBezTo>
                      <a:pt x="22" y="291"/>
                      <a:pt x="21" y="290"/>
                      <a:pt x="21" y="290"/>
                    </a:cubicBezTo>
                    <a:cubicBezTo>
                      <a:pt x="21" y="290"/>
                      <a:pt x="19" y="291"/>
                      <a:pt x="19" y="292"/>
                    </a:cubicBezTo>
                    <a:cubicBezTo>
                      <a:pt x="19" y="292"/>
                      <a:pt x="18" y="292"/>
                      <a:pt x="18" y="292"/>
                    </a:cubicBezTo>
                    <a:cubicBezTo>
                      <a:pt x="18" y="291"/>
                      <a:pt x="18" y="291"/>
                      <a:pt x="18" y="291"/>
                    </a:cubicBezTo>
                    <a:cubicBezTo>
                      <a:pt x="18" y="291"/>
                      <a:pt x="18" y="291"/>
                      <a:pt x="18" y="291"/>
                    </a:cubicBezTo>
                    <a:cubicBezTo>
                      <a:pt x="18" y="291"/>
                      <a:pt x="18" y="290"/>
                      <a:pt x="18" y="290"/>
                    </a:cubicBezTo>
                    <a:cubicBezTo>
                      <a:pt x="18" y="290"/>
                      <a:pt x="17" y="290"/>
                      <a:pt x="17" y="290"/>
                    </a:cubicBezTo>
                    <a:cubicBezTo>
                      <a:pt x="17" y="290"/>
                      <a:pt x="17" y="289"/>
                      <a:pt x="17" y="289"/>
                    </a:cubicBezTo>
                    <a:cubicBezTo>
                      <a:pt x="17" y="289"/>
                      <a:pt x="17" y="288"/>
                      <a:pt x="17" y="288"/>
                    </a:cubicBezTo>
                    <a:cubicBezTo>
                      <a:pt x="17" y="287"/>
                      <a:pt x="16" y="287"/>
                      <a:pt x="16" y="287"/>
                    </a:cubicBezTo>
                    <a:cubicBezTo>
                      <a:pt x="16" y="287"/>
                      <a:pt x="17" y="287"/>
                      <a:pt x="17" y="287"/>
                    </a:cubicBezTo>
                    <a:cubicBezTo>
                      <a:pt x="17" y="286"/>
                      <a:pt x="16" y="286"/>
                      <a:pt x="16" y="286"/>
                    </a:cubicBezTo>
                    <a:cubicBezTo>
                      <a:pt x="16" y="286"/>
                      <a:pt x="16" y="285"/>
                      <a:pt x="16" y="285"/>
                    </a:cubicBezTo>
                    <a:cubicBezTo>
                      <a:pt x="16" y="285"/>
                      <a:pt x="16" y="285"/>
                      <a:pt x="16" y="285"/>
                    </a:cubicBezTo>
                    <a:cubicBezTo>
                      <a:pt x="16" y="285"/>
                      <a:pt x="16" y="284"/>
                      <a:pt x="16" y="284"/>
                    </a:cubicBezTo>
                    <a:cubicBezTo>
                      <a:pt x="16" y="284"/>
                      <a:pt x="16" y="284"/>
                      <a:pt x="16" y="284"/>
                    </a:cubicBezTo>
                    <a:cubicBezTo>
                      <a:pt x="16" y="283"/>
                      <a:pt x="16" y="283"/>
                      <a:pt x="16" y="283"/>
                    </a:cubicBezTo>
                    <a:cubicBezTo>
                      <a:pt x="16" y="283"/>
                      <a:pt x="16" y="283"/>
                      <a:pt x="16" y="283"/>
                    </a:cubicBezTo>
                    <a:cubicBezTo>
                      <a:pt x="16" y="281"/>
                      <a:pt x="16" y="281"/>
                      <a:pt x="16" y="281"/>
                    </a:cubicBezTo>
                    <a:cubicBezTo>
                      <a:pt x="16" y="281"/>
                      <a:pt x="18" y="279"/>
                      <a:pt x="18" y="278"/>
                    </a:cubicBezTo>
                    <a:cubicBezTo>
                      <a:pt x="18" y="278"/>
                      <a:pt x="19" y="276"/>
                      <a:pt x="19" y="276"/>
                    </a:cubicBezTo>
                    <a:cubicBezTo>
                      <a:pt x="19" y="276"/>
                      <a:pt x="18" y="275"/>
                      <a:pt x="18" y="275"/>
                    </a:cubicBezTo>
                    <a:cubicBezTo>
                      <a:pt x="18" y="275"/>
                      <a:pt x="19" y="274"/>
                      <a:pt x="19" y="274"/>
                    </a:cubicBezTo>
                    <a:cubicBezTo>
                      <a:pt x="20" y="272"/>
                      <a:pt x="20" y="272"/>
                      <a:pt x="20" y="272"/>
                    </a:cubicBezTo>
                    <a:cubicBezTo>
                      <a:pt x="21" y="272"/>
                      <a:pt x="21" y="272"/>
                      <a:pt x="21" y="272"/>
                    </a:cubicBezTo>
                    <a:cubicBezTo>
                      <a:pt x="23" y="270"/>
                      <a:pt x="23" y="270"/>
                      <a:pt x="23" y="270"/>
                    </a:cubicBezTo>
                    <a:cubicBezTo>
                      <a:pt x="23" y="270"/>
                      <a:pt x="23" y="269"/>
                      <a:pt x="23" y="269"/>
                    </a:cubicBezTo>
                    <a:cubicBezTo>
                      <a:pt x="23" y="268"/>
                      <a:pt x="22" y="267"/>
                      <a:pt x="22" y="267"/>
                    </a:cubicBezTo>
                    <a:cubicBezTo>
                      <a:pt x="24" y="267"/>
                      <a:pt x="24" y="267"/>
                      <a:pt x="24" y="267"/>
                    </a:cubicBezTo>
                    <a:cubicBezTo>
                      <a:pt x="24" y="265"/>
                      <a:pt x="24" y="265"/>
                      <a:pt x="24" y="265"/>
                    </a:cubicBezTo>
                    <a:cubicBezTo>
                      <a:pt x="24" y="265"/>
                      <a:pt x="25" y="265"/>
                      <a:pt x="25" y="265"/>
                    </a:cubicBezTo>
                    <a:cubicBezTo>
                      <a:pt x="25" y="265"/>
                      <a:pt x="25" y="265"/>
                      <a:pt x="25" y="265"/>
                    </a:cubicBezTo>
                    <a:cubicBezTo>
                      <a:pt x="25" y="265"/>
                      <a:pt x="24" y="264"/>
                      <a:pt x="24" y="264"/>
                    </a:cubicBezTo>
                    <a:cubicBezTo>
                      <a:pt x="24" y="263"/>
                      <a:pt x="24" y="263"/>
                      <a:pt x="24" y="263"/>
                    </a:cubicBezTo>
                    <a:cubicBezTo>
                      <a:pt x="24" y="263"/>
                      <a:pt x="24" y="263"/>
                      <a:pt x="24" y="263"/>
                    </a:cubicBezTo>
                    <a:cubicBezTo>
                      <a:pt x="23" y="263"/>
                      <a:pt x="23" y="262"/>
                      <a:pt x="23" y="262"/>
                    </a:cubicBezTo>
                    <a:cubicBezTo>
                      <a:pt x="23" y="262"/>
                      <a:pt x="23" y="261"/>
                      <a:pt x="23" y="261"/>
                    </a:cubicBezTo>
                    <a:cubicBezTo>
                      <a:pt x="23" y="261"/>
                      <a:pt x="23" y="261"/>
                      <a:pt x="23" y="261"/>
                    </a:cubicBezTo>
                    <a:cubicBezTo>
                      <a:pt x="23" y="261"/>
                      <a:pt x="23" y="261"/>
                      <a:pt x="23" y="261"/>
                    </a:cubicBezTo>
                    <a:cubicBezTo>
                      <a:pt x="23" y="260"/>
                      <a:pt x="23" y="260"/>
                      <a:pt x="23" y="260"/>
                    </a:cubicBezTo>
                    <a:cubicBezTo>
                      <a:pt x="23" y="260"/>
                      <a:pt x="23" y="260"/>
                      <a:pt x="23" y="259"/>
                    </a:cubicBezTo>
                    <a:cubicBezTo>
                      <a:pt x="23" y="259"/>
                      <a:pt x="23" y="259"/>
                      <a:pt x="23" y="259"/>
                    </a:cubicBezTo>
                    <a:cubicBezTo>
                      <a:pt x="23" y="259"/>
                      <a:pt x="24" y="259"/>
                      <a:pt x="24" y="259"/>
                    </a:cubicBezTo>
                    <a:cubicBezTo>
                      <a:pt x="24" y="259"/>
                      <a:pt x="24" y="258"/>
                      <a:pt x="24" y="258"/>
                    </a:cubicBezTo>
                    <a:cubicBezTo>
                      <a:pt x="24" y="258"/>
                      <a:pt x="24" y="257"/>
                      <a:pt x="24" y="257"/>
                    </a:cubicBezTo>
                    <a:cubicBezTo>
                      <a:pt x="24" y="257"/>
                      <a:pt x="24" y="256"/>
                      <a:pt x="24" y="256"/>
                    </a:cubicBezTo>
                    <a:cubicBezTo>
                      <a:pt x="24" y="256"/>
                      <a:pt x="25" y="256"/>
                      <a:pt x="25" y="256"/>
                    </a:cubicBezTo>
                    <a:cubicBezTo>
                      <a:pt x="25" y="256"/>
                      <a:pt x="26" y="255"/>
                      <a:pt x="26" y="255"/>
                    </a:cubicBezTo>
                    <a:cubicBezTo>
                      <a:pt x="26" y="253"/>
                      <a:pt x="26" y="253"/>
                      <a:pt x="26" y="253"/>
                    </a:cubicBezTo>
                    <a:cubicBezTo>
                      <a:pt x="27" y="254"/>
                      <a:pt x="27" y="254"/>
                      <a:pt x="27" y="254"/>
                    </a:cubicBezTo>
                    <a:cubicBezTo>
                      <a:pt x="27" y="254"/>
                      <a:pt x="28" y="254"/>
                      <a:pt x="28" y="253"/>
                    </a:cubicBezTo>
                    <a:cubicBezTo>
                      <a:pt x="28" y="253"/>
                      <a:pt x="28" y="253"/>
                      <a:pt x="27" y="253"/>
                    </a:cubicBezTo>
                    <a:cubicBezTo>
                      <a:pt x="27" y="252"/>
                      <a:pt x="27" y="252"/>
                      <a:pt x="27" y="252"/>
                    </a:cubicBezTo>
                    <a:cubicBezTo>
                      <a:pt x="27" y="252"/>
                      <a:pt x="27" y="252"/>
                      <a:pt x="27" y="252"/>
                    </a:cubicBezTo>
                    <a:cubicBezTo>
                      <a:pt x="27" y="251"/>
                      <a:pt x="27" y="251"/>
                      <a:pt x="27" y="251"/>
                    </a:cubicBezTo>
                    <a:cubicBezTo>
                      <a:pt x="27" y="251"/>
                      <a:pt x="27" y="249"/>
                      <a:pt x="27" y="249"/>
                    </a:cubicBezTo>
                    <a:cubicBezTo>
                      <a:pt x="27" y="249"/>
                      <a:pt x="27" y="249"/>
                      <a:pt x="27" y="249"/>
                    </a:cubicBezTo>
                    <a:cubicBezTo>
                      <a:pt x="28" y="249"/>
                      <a:pt x="28" y="249"/>
                      <a:pt x="28" y="249"/>
                    </a:cubicBezTo>
                    <a:cubicBezTo>
                      <a:pt x="28" y="249"/>
                      <a:pt x="29" y="248"/>
                      <a:pt x="29" y="248"/>
                    </a:cubicBezTo>
                    <a:cubicBezTo>
                      <a:pt x="29" y="248"/>
                      <a:pt x="29" y="247"/>
                      <a:pt x="29" y="247"/>
                    </a:cubicBezTo>
                    <a:cubicBezTo>
                      <a:pt x="29" y="247"/>
                      <a:pt x="29" y="247"/>
                      <a:pt x="28" y="246"/>
                    </a:cubicBezTo>
                    <a:cubicBezTo>
                      <a:pt x="28" y="246"/>
                      <a:pt x="28" y="245"/>
                      <a:pt x="28" y="245"/>
                    </a:cubicBezTo>
                    <a:cubicBezTo>
                      <a:pt x="28" y="245"/>
                      <a:pt x="28" y="244"/>
                      <a:pt x="28" y="244"/>
                    </a:cubicBezTo>
                    <a:cubicBezTo>
                      <a:pt x="28" y="244"/>
                      <a:pt x="28" y="244"/>
                      <a:pt x="28" y="244"/>
                    </a:cubicBezTo>
                    <a:cubicBezTo>
                      <a:pt x="28" y="243"/>
                      <a:pt x="27" y="243"/>
                      <a:pt x="27" y="243"/>
                    </a:cubicBezTo>
                    <a:cubicBezTo>
                      <a:pt x="28" y="242"/>
                      <a:pt x="28" y="242"/>
                      <a:pt x="28" y="242"/>
                    </a:cubicBezTo>
                    <a:cubicBezTo>
                      <a:pt x="28" y="242"/>
                      <a:pt x="29" y="242"/>
                      <a:pt x="29" y="241"/>
                    </a:cubicBezTo>
                    <a:cubicBezTo>
                      <a:pt x="29" y="241"/>
                      <a:pt x="29" y="241"/>
                      <a:pt x="29" y="240"/>
                    </a:cubicBezTo>
                    <a:cubicBezTo>
                      <a:pt x="29" y="240"/>
                      <a:pt x="29" y="240"/>
                      <a:pt x="29" y="240"/>
                    </a:cubicBezTo>
                    <a:cubicBezTo>
                      <a:pt x="28" y="240"/>
                      <a:pt x="28" y="240"/>
                      <a:pt x="28" y="240"/>
                    </a:cubicBezTo>
                    <a:cubicBezTo>
                      <a:pt x="28" y="237"/>
                      <a:pt x="28" y="237"/>
                      <a:pt x="28" y="237"/>
                    </a:cubicBezTo>
                    <a:cubicBezTo>
                      <a:pt x="28" y="237"/>
                      <a:pt x="28" y="237"/>
                      <a:pt x="28" y="237"/>
                    </a:cubicBezTo>
                    <a:cubicBezTo>
                      <a:pt x="28" y="237"/>
                      <a:pt x="29" y="236"/>
                      <a:pt x="29" y="236"/>
                    </a:cubicBezTo>
                    <a:cubicBezTo>
                      <a:pt x="29" y="236"/>
                      <a:pt x="30" y="236"/>
                      <a:pt x="30" y="236"/>
                    </a:cubicBezTo>
                    <a:cubicBezTo>
                      <a:pt x="30" y="236"/>
                      <a:pt x="30" y="236"/>
                      <a:pt x="30" y="236"/>
                    </a:cubicBezTo>
                    <a:cubicBezTo>
                      <a:pt x="30" y="236"/>
                      <a:pt x="30" y="235"/>
                      <a:pt x="30" y="235"/>
                    </a:cubicBezTo>
                    <a:cubicBezTo>
                      <a:pt x="30" y="235"/>
                      <a:pt x="30" y="235"/>
                      <a:pt x="31" y="235"/>
                    </a:cubicBezTo>
                    <a:cubicBezTo>
                      <a:pt x="31" y="235"/>
                      <a:pt x="31" y="234"/>
                      <a:pt x="31" y="234"/>
                    </a:cubicBezTo>
                    <a:cubicBezTo>
                      <a:pt x="31" y="234"/>
                      <a:pt x="31" y="234"/>
                      <a:pt x="31" y="233"/>
                    </a:cubicBezTo>
                    <a:cubicBezTo>
                      <a:pt x="31" y="233"/>
                      <a:pt x="30" y="232"/>
                      <a:pt x="30" y="232"/>
                    </a:cubicBezTo>
                    <a:cubicBezTo>
                      <a:pt x="30" y="231"/>
                      <a:pt x="30" y="231"/>
                      <a:pt x="30" y="231"/>
                    </a:cubicBezTo>
                    <a:cubicBezTo>
                      <a:pt x="30" y="231"/>
                      <a:pt x="28" y="231"/>
                      <a:pt x="28" y="231"/>
                    </a:cubicBezTo>
                    <a:cubicBezTo>
                      <a:pt x="28" y="230"/>
                      <a:pt x="27" y="230"/>
                      <a:pt x="27" y="230"/>
                    </a:cubicBezTo>
                    <a:cubicBezTo>
                      <a:pt x="27" y="230"/>
                      <a:pt x="26" y="230"/>
                      <a:pt x="26" y="230"/>
                    </a:cubicBezTo>
                    <a:cubicBezTo>
                      <a:pt x="26" y="230"/>
                      <a:pt x="26" y="229"/>
                      <a:pt x="26" y="229"/>
                    </a:cubicBezTo>
                    <a:cubicBezTo>
                      <a:pt x="26" y="229"/>
                      <a:pt x="27" y="229"/>
                      <a:pt x="27" y="229"/>
                    </a:cubicBezTo>
                    <a:cubicBezTo>
                      <a:pt x="27" y="229"/>
                      <a:pt x="28" y="229"/>
                      <a:pt x="28" y="229"/>
                    </a:cubicBezTo>
                    <a:cubicBezTo>
                      <a:pt x="28" y="229"/>
                      <a:pt x="29" y="229"/>
                      <a:pt x="29" y="229"/>
                    </a:cubicBezTo>
                    <a:cubicBezTo>
                      <a:pt x="29" y="229"/>
                      <a:pt x="29" y="229"/>
                      <a:pt x="29" y="229"/>
                    </a:cubicBezTo>
                    <a:cubicBezTo>
                      <a:pt x="29" y="229"/>
                      <a:pt x="30" y="228"/>
                      <a:pt x="30" y="228"/>
                    </a:cubicBezTo>
                    <a:cubicBezTo>
                      <a:pt x="31" y="229"/>
                      <a:pt x="31" y="229"/>
                      <a:pt x="31" y="229"/>
                    </a:cubicBezTo>
                    <a:cubicBezTo>
                      <a:pt x="32" y="229"/>
                      <a:pt x="32" y="229"/>
                      <a:pt x="32" y="229"/>
                    </a:cubicBezTo>
                    <a:cubicBezTo>
                      <a:pt x="32" y="229"/>
                      <a:pt x="32" y="227"/>
                      <a:pt x="32" y="227"/>
                    </a:cubicBezTo>
                    <a:cubicBezTo>
                      <a:pt x="33" y="227"/>
                      <a:pt x="33" y="227"/>
                      <a:pt x="33" y="227"/>
                    </a:cubicBezTo>
                    <a:cubicBezTo>
                      <a:pt x="33" y="227"/>
                      <a:pt x="33" y="226"/>
                      <a:pt x="33" y="226"/>
                    </a:cubicBezTo>
                    <a:cubicBezTo>
                      <a:pt x="33" y="226"/>
                      <a:pt x="32" y="226"/>
                      <a:pt x="32" y="225"/>
                    </a:cubicBezTo>
                    <a:cubicBezTo>
                      <a:pt x="32" y="225"/>
                      <a:pt x="32" y="225"/>
                      <a:pt x="31" y="225"/>
                    </a:cubicBezTo>
                    <a:cubicBezTo>
                      <a:pt x="31" y="225"/>
                      <a:pt x="29" y="225"/>
                      <a:pt x="29" y="225"/>
                    </a:cubicBezTo>
                    <a:cubicBezTo>
                      <a:pt x="29" y="225"/>
                      <a:pt x="28" y="225"/>
                      <a:pt x="28" y="225"/>
                    </a:cubicBezTo>
                    <a:cubicBezTo>
                      <a:pt x="28" y="225"/>
                      <a:pt x="27" y="225"/>
                      <a:pt x="28" y="225"/>
                    </a:cubicBezTo>
                    <a:cubicBezTo>
                      <a:pt x="28" y="225"/>
                      <a:pt x="28" y="225"/>
                      <a:pt x="28" y="224"/>
                    </a:cubicBezTo>
                    <a:cubicBezTo>
                      <a:pt x="28" y="224"/>
                      <a:pt x="28" y="224"/>
                      <a:pt x="28" y="223"/>
                    </a:cubicBezTo>
                    <a:cubicBezTo>
                      <a:pt x="28" y="223"/>
                      <a:pt x="28" y="222"/>
                      <a:pt x="28" y="222"/>
                    </a:cubicBezTo>
                    <a:cubicBezTo>
                      <a:pt x="28" y="222"/>
                      <a:pt x="28" y="222"/>
                      <a:pt x="28" y="222"/>
                    </a:cubicBezTo>
                    <a:cubicBezTo>
                      <a:pt x="29" y="221"/>
                      <a:pt x="29" y="221"/>
                      <a:pt x="29" y="221"/>
                    </a:cubicBezTo>
                    <a:cubicBezTo>
                      <a:pt x="29" y="221"/>
                      <a:pt x="29" y="220"/>
                      <a:pt x="28" y="220"/>
                    </a:cubicBezTo>
                    <a:cubicBezTo>
                      <a:pt x="28" y="220"/>
                      <a:pt x="28" y="219"/>
                      <a:pt x="28" y="219"/>
                    </a:cubicBezTo>
                    <a:cubicBezTo>
                      <a:pt x="28" y="219"/>
                      <a:pt x="29" y="218"/>
                      <a:pt x="29" y="218"/>
                    </a:cubicBezTo>
                    <a:cubicBezTo>
                      <a:pt x="29" y="218"/>
                      <a:pt x="29" y="218"/>
                      <a:pt x="29" y="217"/>
                    </a:cubicBezTo>
                    <a:cubicBezTo>
                      <a:pt x="28" y="217"/>
                      <a:pt x="28" y="217"/>
                      <a:pt x="28" y="217"/>
                    </a:cubicBezTo>
                    <a:cubicBezTo>
                      <a:pt x="28" y="216"/>
                      <a:pt x="27" y="216"/>
                      <a:pt x="27" y="216"/>
                    </a:cubicBezTo>
                    <a:cubicBezTo>
                      <a:pt x="27" y="216"/>
                      <a:pt x="27" y="215"/>
                      <a:pt x="27" y="215"/>
                    </a:cubicBezTo>
                    <a:cubicBezTo>
                      <a:pt x="27" y="215"/>
                      <a:pt x="28" y="215"/>
                      <a:pt x="28" y="214"/>
                    </a:cubicBezTo>
                    <a:cubicBezTo>
                      <a:pt x="28" y="214"/>
                      <a:pt x="28" y="214"/>
                      <a:pt x="28" y="214"/>
                    </a:cubicBezTo>
                    <a:cubicBezTo>
                      <a:pt x="28" y="214"/>
                      <a:pt x="28" y="213"/>
                      <a:pt x="28" y="213"/>
                    </a:cubicBezTo>
                    <a:cubicBezTo>
                      <a:pt x="28" y="213"/>
                      <a:pt x="27" y="213"/>
                      <a:pt x="27" y="212"/>
                    </a:cubicBezTo>
                    <a:cubicBezTo>
                      <a:pt x="27" y="212"/>
                      <a:pt x="27" y="212"/>
                      <a:pt x="26" y="212"/>
                    </a:cubicBezTo>
                    <a:cubicBezTo>
                      <a:pt x="26" y="211"/>
                      <a:pt x="26" y="211"/>
                      <a:pt x="26" y="211"/>
                    </a:cubicBezTo>
                    <a:cubicBezTo>
                      <a:pt x="26" y="210"/>
                      <a:pt x="25" y="210"/>
                      <a:pt x="25" y="210"/>
                    </a:cubicBezTo>
                    <a:cubicBezTo>
                      <a:pt x="26" y="209"/>
                      <a:pt x="26" y="209"/>
                      <a:pt x="26" y="209"/>
                    </a:cubicBezTo>
                    <a:cubicBezTo>
                      <a:pt x="26" y="209"/>
                      <a:pt x="25" y="208"/>
                      <a:pt x="25" y="208"/>
                    </a:cubicBezTo>
                    <a:cubicBezTo>
                      <a:pt x="25" y="208"/>
                      <a:pt x="26" y="208"/>
                      <a:pt x="26" y="208"/>
                    </a:cubicBezTo>
                    <a:cubicBezTo>
                      <a:pt x="26" y="208"/>
                      <a:pt x="26" y="207"/>
                      <a:pt x="26" y="207"/>
                    </a:cubicBezTo>
                    <a:cubicBezTo>
                      <a:pt x="26" y="207"/>
                      <a:pt x="26" y="206"/>
                      <a:pt x="26" y="206"/>
                    </a:cubicBezTo>
                    <a:cubicBezTo>
                      <a:pt x="26" y="206"/>
                      <a:pt x="26" y="206"/>
                      <a:pt x="26" y="206"/>
                    </a:cubicBezTo>
                    <a:cubicBezTo>
                      <a:pt x="25" y="205"/>
                      <a:pt x="25" y="205"/>
                      <a:pt x="25" y="205"/>
                    </a:cubicBezTo>
                    <a:cubicBezTo>
                      <a:pt x="25" y="205"/>
                      <a:pt x="25" y="205"/>
                      <a:pt x="25" y="204"/>
                    </a:cubicBezTo>
                    <a:cubicBezTo>
                      <a:pt x="25" y="204"/>
                      <a:pt x="25" y="204"/>
                      <a:pt x="25" y="203"/>
                    </a:cubicBezTo>
                    <a:cubicBezTo>
                      <a:pt x="25" y="203"/>
                      <a:pt x="26" y="203"/>
                      <a:pt x="26" y="203"/>
                    </a:cubicBezTo>
                    <a:cubicBezTo>
                      <a:pt x="26" y="203"/>
                      <a:pt x="26" y="203"/>
                      <a:pt x="26" y="203"/>
                    </a:cubicBezTo>
                    <a:cubicBezTo>
                      <a:pt x="27" y="204"/>
                      <a:pt x="27" y="204"/>
                      <a:pt x="27" y="204"/>
                    </a:cubicBezTo>
                    <a:cubicBezTo>
                      <a:pt x="27" y="204"/>
                      <a:pt x="27" y="203"/>
                      <a:pt x="28" y="203"/>
                    </a:cubicBezTo>
                    <a:cubicBezTo>
                      <a:pt x="28" y="203"/>
                      <a:pt x="28" y="203"/>
                      <a:pt x="28" y="203"/>
                    </a:cubicBezTo>
                    <a:cubicBezTo>
                      <a:pt x="28" y="200"/>
                      <a:pt x="28" y="200"/>
                      <a:pt x="28" y="200"/>
                    </a:cubicBezTo>
                    <a:cubicBezTo>
                      <a:pt x="28" y="199"/>
                      <a:pt x="28" y="199"/>
                      <a:pt x="28" y="199"/>
                    </a:cubicBezTo>
                    <a:cubicBezTo>
                      <a:pt x="28" y="199"/>
                      <a:pt x="27" y="198"/>
                      <a:pt x="27" y="198"/>
                    </a:cubicBezTo>
                    <a:cubicBezTo>
                      <a:pt x="27" y="198"/>
                      <a:pt x="28" y="198"/>
                      <a:pt x="28" y="198"/>
                    </a:cubicBezTo>
                    <a:cubicBezTo>
                      <a:pt x="28" y="198"/>
                      <a:pt x="28" y="198"/>
                      <a:pt x="28" y="197"/>
                    </a:cubicBezTo>
                    <a:cubicBezTo>
                      <a:pt x="28" y="197"/>
                      <a:pt x="27" y="197"/>
                      <a:pt x="27" y="197"/>
                    </a:cubicBezTo>
                    <a:cubicBezTo>
                      <a:pt x="27" y="196"/>
                      <a:pt x="27" y="196"/>
                      <a:pt x="27" y="196"/>
                    </a:cubicBezTo>
                    <a:cubicBezTo>
                      <a:pt x="27" y="196"/>
                      <a:pt x="27" y="195"/>
                      <a:pt x="27" y="195"/>
                    </a:cubicBezTo>
                    <a:cubicBezTo>
                      <a:pt x="27" y="195"/>
                      <a:pt x="28" y="195"/>
                      <a:pt x="28" y="194"/>
                    </a:cubicBezTo>
                    <a:cubicBezTo>
                      <a:pt x="28" y="194"/>
                      <a:pt x="28" y="194"/>
                      <a:pt x="28" y="193"/>
                    </a:cubicBezTo>
                    <a:cubicBezTo>
                      <a:pt x="28" y="193"/>
                      <a:pt x="28" y="193"/>
                      <a:pt x="28" y="193"/>
                    </a:cubicBezTo>
                    <a:cubicBezTo>
                      <a:pt x="27" y="193"/>
                      <a:pt x="27" y="192"/>
                      <a:pt x="27" y="192"/>
                    </a:cubicBezTo>
                    <a:cubicBezTo>
                      <a:pt x="27" y="192"/>
                      <a:pt x="27" y="192"/>
                      <a:pt x="27" y="192"/>
                    </a:cubicBezTo>
                    <a:cubicBezTo>
                      <a:pt x="27" y="192"/>
                      <a:pt x="27" y="191"/>
                      <a:pt x="27" y="191"/>
                    </a:cubicBezTo>
                    <a:cubicBezTo>
                      <a:pt x="27" y="191"/>
                      <a:pt x="27" y="190"/>
                      <a:pt x="27" y="190"/>
                    </a:cubicBezTo>
                    <a:cubicBezTo>
                      <a:pt x="27" y="190"/>
                      <a:pt x="27" y="190"/>
                      <a:pt x="27" y="189"/>
                    </a:cubicBezTo>
                    <a:cubicBezTo>
                      <a:pt x="27" y="189"/>
                      <a:pt x="27" y="189"/>
                      <a:pt x="27" y="189"/>
                    </a:cubicBezTo>
                    <a:cubicBezTo>
                      <a:pt x="27" y="188"/>
                      <a:pt x="27" y="188"/>
                      <a:pt x="27" y="188"/>
                    </a:cubicBezTo>
                    <a:cubicBezTo>
                      <a:pt x="27" y="188"/>
                      <a:pt x="28" y="187"/>
                      <a:pt x="28" y="187"/>
                    </a:cubicBezTo>
                    <a:cubicBezTo>
                      <a:pt x="28" y="187"/>
                      <a:pt x="28" y="187"/>
                      <a:pt x="28" y="187"/>
                    </a:cubicBezTo>
                    <a:cubicBezTo>
                      <a:pt x="28" y="187"/>
                      <a:pt x="29" y="187"/>
                      <a:pt x="29" y="187"/>
                    </a:cubicBezTo>
                    <a:cubicBezTo>
                      <a:pt x="29" y="187"/>
                      <a:pt x="29" y="186"/>
                      <a:pt x="29" y="186"/>
                    </a:cubicBezTo>
                    <a:cubicBezTo>
                      <a:pt x="28" y="186"/>
                      <a:pt x="28" y="185"/>
                      <a:pt x="28" y="185"/>
                    </a:cubicBezTo>
                    <a:cubicBezTo>
                      <a:pt x="28" y="185"/>
                      <a:pt x="27" y="185"/>
                      <a:pt x="28" y="184"/>
                    </a:cubicBezTo>
                    <a:cubicBezTo>
                      <a:pt x="28" y="184"/>
                      <a:pt x="28" y="184"/>
                      <a:pt x="28" y="184"/>
                    </a:cubicBezTo>
                    <a:cubicBezTo>
                      <a:pt x="28" y="184"/>
                      <a:pt x="29" y="184"/>
                      <a:pt x="29" y="184"/>
                    </a:cubicBezTo>
                    <a:cubicBezTo>
                      <a:pt x="29" y="184"/>
                      <a:pt x="29" y="183"/>
                      <a:pt x="29" y="183"/>
                    </a:cubicBezTo>
                    <a:cubicBezTo>
                      <a:pt x="29" y="183"/>
                      <a:pt x="29" y="182"/>
                      <a:pt x="29" y="182"/>
                    </a:cubicBezTo>
                    <a:cubicBezTo>
                      <a:pt x="29" y="182"/>
                      <a:pt x="29" y="182"/>
                      <a:pt x="29" y="182"/>
                    </a:cubicBezTo>
                    <a:cubicBezTo>
                      <a:pt x="29" y="179"/>
                      <a:pt x="29" y="179"/>
                      <a:pt x="29" y="179"/>
                    </a:cubicBezTo>
                    <a:cubicBezTo>
                      <a:pt x="29" y="179"/>
                      <a:pt x="29" y="179"/>
                      <a:pt x="29" y="179"/>
                    </a:cubicBezTo>
                    <a:cubicBezTo>
                      <a:pt x="29" y="179"/>
                      <a:pt x="30" y="180"/>
                      <a:pt x="30" y="180"/>
                    </a:cubicBezTo>
                    <a:cubicBezTo>
                      <a:pt x="30" y="180"/>
                      <a:pt x="30" y="180"/>
                      <a:pt x="30" y="180"/>
                    </a:cubicBezTo>
                    <a:cubicBezTo>
                      <a:pt x="30" y="180"/>
                      <a:pt x="30" y="179"/>
                      <a:pt x="30" y="179"/>
                    </a:cubicBezTo>
                    <a:cubicBezTo>
                      <a:pt x="30" y="179"/>
                      <a:pt x="30" y="178"/>
                      <a:pt x="30" y="178"/>
                    </a:cubicBezTo>
                    <a:cubicBezTo>
                      <a:pt x="30" y="178"/>
                      <a:pt x="31" y="177"/>
                      <a:pt x="31" y="177"/>
                    </a:cubicBezTo>
                    <a:cubicBezTo>
                      <a:pt x="31" y="173"/>
                      <a:pt x="31" y="173"/>
                      <a:pt x="31" y="173"/>
                    </a:cubicBezTo>
                    <a:cubicBezTo>
                      <a:pt x="33" y="172"/>
                      <a:pt x="33" y="172"/>
                      <a:pt x="33" y="172"/>
                    </a:cubicBezTo>
                    <a:cubicBezTo>
                      <a:pt x="34" y="172"/>
                      <a:pt x="34" y="172"/>
                      <a:pt x="34" y="172"/>
                    </a:cubicBezTo>
                    <a:cubicBezTo>
                      <a:pt x="34" y="172"/>
                      <a:pt x="35" y="171"/>
                      <a:pt x="35" y="171"/>
                    </a:cubicBezTo>
                    <a:cubicBezTo>
                      <a:pt x="35" y="171"/>
                      <a:pt x="35" y="170"/>
                      <a:pt x="35" y="170"/>
                    </a:cubicBezTo>
                    <a:cubicBezTo>
                      <a:pt x="34" y="170"/>
                      <a:pt x="34" y="170"/>
                      <a:pt x="34" y="170"/>
                    </a:cubicBezTo>
                    <a:cubicBezTo>
                      <a:pt x="34" y="169"/>
                      <a:pt x="34" y="169"/>
                      <a:pt x="34" y="169"/>
                    </a:cubicBezTo>
                    <a:cubicBezTo>
                      <a:pt x="33" y="169"/>
                      <a:pt x="33" y="168"/>
                      <a:pt x="33" y="168"/>
                    </a:cubicBezTo>
                    <a:cubicBezTo>
                      <a:pt x="33" y="167"/>
                      <a:pt x="33" y="167"/>
                      <a:pt x="33" y="167"/>
                    </a:cubicBezTo>
                    <a:cubicBezTo>
                      <a:pt x="33" y="167"/>
                      <a:pt x="33" y="166"/>
                      <a:pt x="33" y="166"/>
                    </a:cubicBezTo>
                    <a:cubicBezTo>
                      <a:pt x="33" y="166"/>
                      <a:pt x="34" y="166"/>
                      <a:pt x="34" y="166"/>
                    </a:cubicBezTo>
                    <a:cubicBezTo>
                      <a:pt x="34" y="166"/>
                      <a:pt x="32" y="164"/>
                      <a:pt x="32" y="164"/>
                    </a:cubicBezTo>
                    <a:cubicBezTo>
                      <a:pt x="32" y="164"/>
                      <a:pt x="32" y="164"/>
                      <a:pt x="32" y="163"/>
                    </a:cubicBezTo>
                    <a:cubicBezTo>
                      <a:pt x="32" y="163"/>
                      <a:pt x="33" y="163"/>
                      <a:pt x="32" y="163"/>
                    </a:cubicBezTo>
                    <a:cubicBezTo>
                      <a:pt x="32" y="163"/>
                      <a:pt x="32" y="163"/>
                      <a:pt x="32" y="162"/>
                    </a:cubicBezTo>
                    <a:cubicBezTo>
                      <a:pt x="32" y="162"/>
                      <a:pt x="32" y="162"/>
                      <a:pt x="32" y="162"/>
                    </a:cubicBezTo>
                    <a:cubicBezTo>
                      <a:pt x="32" y="162"/>
                      <a:pt x="32" y="161"/>
                      <a:pt x="32" y="161"/>
                    </a:cubicBezTo>
                    <a:cubicBezTo>
                      <a:pt x="32" y="161"/>
                      <a:pt x="33" y="160"/>
                      <a:pt x="33" y="160"/>
                    </a:cubicBezTo>
                    <a:cubicBezTo>
                      <a:pt x="33" y="160"/>
                      <a:pt x="32" y="160"/>
                      <a:pt x="32" y="160"/>
                    </a:cubicBezTo>
                    <a:cubicBezTo>
                      <a:pt x="32" y="159"/>
                      <a:pt x="32" y="159"/>
                      <a:pt x="32" y="159"/>
                    </a:cubicBezTo>
                    <a:cubicBezTo>
                      <a:pt x="32" y="159"/>
                      <a:pt x="32" y="158"/>
                      <a:pt x="32" y="158"/>
                    </a:cubicBezTo>
                    <a:cubicBezTo>
                      <a:pt x="33" y="158"/>
                      <a:pt x="33" y="157"/>
                      <a:pt x="33" y="157"/>
                    </a:cubicBezTo>
                    <a:cubicBezTo>
                      <a:pt x="33" y="157"/>
                      <a:pt x="33" y="157"/>
                      <a:pt x="33" y="157"/>
                    </a:cubicBezTo>
                    <a:cubicBezTo>
                      <a:pt x="32" y="157"/>
                      <a:pt x="32" y="156"/>
                      <a:pt x="32" y="156"/>
                    </a:cubicBezTo>
                    <a:cubicBezTo>
                      <a:pt x="32" y="156"/>
                      <a:pt x="32" y="156"/>
                      <a:pt x="32" y="156"/>
                    </a:cubicBezTo>
                    <a:cubicBezTo>
                      <a:pt x="32" y="156"/>
                      <a:pt x="33" y="155"/>
                      <a:pt x="33" y="155"/>
                    </a:cubicBezTo>
                    <a:cubicBezTo>
                      <a:pt x="33" y="155"/>
                      <a:pt x="33" y="155"/>
                      <a:pt x="33" y="155"/>
                    </a:cubicBezTo>
                    <a:cubicBezTo>
                      <a:pt x="32" y="155"/>
                      <a:pt x="32" y="155"/>
                      <a:pt x="32" y="155"/>
                    </a:cubicBezTo>
                    <a:cubicBezTo>
                      <a:pt x="32" y="154"/>
                      <a:pt x="32" y="154"/>
                      <a:pt x="32" y="154"/>
                    </a:cubicBezTo>
                    <a:cubicBezTo>
                      <a:pt x="32" y="154"/>
                      <a:pt x="33" y="154"/>
                      <a:pt x="33" y="153"/>
                    </a:cubicBezTo>
                    <a:cubicBezTo>
                      <a:pt x="33" y="153"/>
                      <a:pt x="34" y="153"/>
                      <a:pt x="34" y="153"/>
                    </a:cubicBezTo>
                    <a:cubicBezTo>
                      <a:pt x="34" y="153"/>
                      <a:pt x="34" y="153"/>
                      <a:pt x="33" y="153"/>
                    </a:cubicBezTo>
                    <a:cubicBezTo>
                      <a:pt x="33" y="152"/>
                      <a:pt x="33" y="152"/>
                      <a:pt x="33" y="152"/>
                    </a:cubicBezTo>
                    <a:cubicBezTo>
                      <a:pt x="33" y="152"/>
                      <a:pt x="33" y="152"/>
                      <a:pt x="33" y="152"/>
                    </a:cubicBezTo>
                    <a:cubicBezTo>
                      <a:pt x="34" y="152"/>
                      <a:pt x="34" y="152"/>
                      <a:pt x="34" y="152"/>
                    </a:cubicBezTo>
                    <a:cubicBezTo>
                      <a:pt x="34" y="151"/>
                      <a:pt x="34" y="151"/>
                      <a:pt x="34" y="151"/>
                    </a:cubicBezTo>
                    <a:cubicBezTo>
                      <a:pt x="34" y="151"/>
                      <a:pt x="35" y="151"/>
                      <a:pt x="35" y="151"/>
                    </a:cubicBezTo>
                    <a:cubicBezTo>
                      <a:pt x="35" y="151"/>
                      <a:pt x="36" y="151"/>
                      <a:pt x="36" y="151"/>
                    </a:cubicBezTo>
                    <a:cubicBezTo>
                      <a:pt x="36" y="150"/>
                      <a:pt x="36" y="150"/>
                      <a:pt x="36" y="150"/>
                    </a:cubicBezTo>
                    <a:cubicBezTo>
                      <a:pt x="36" y="150"/>
                      <a:pt x="36" y="149"/>
                      <a:pt x="36" y="149"/>
                    </a:cubicBezTo>
                    <a:cubicBezTo>
                      <a:pt x="36" y="149"/>
                      <a:pt x="37" y="149"/>
                      <a:pt x="37" y="149"/>
                    </a:cubicBezTo>
                    <a:cubicBezTo>
                      <a:pt x="37" y="149"/>
                      <a:pt x="37" y="149"/>
                      <a:pt x="37" y="149"/>
                    </a:cubicBezTo>
                    <a:cubicBezTo>
                      <a:pt x="37" y="149"/>
                      <a:pt x="38" y="148"/>
                      <a:pt x="38" y="148"/>
                    </a:cubicBezTo>
                    <a:cubicBezTo>
                      <a:pt x="38" y="148"/>
                      <a:pt x="38" y="148"/>
                      <a:pt x="38" y="148"/>
                    </a:cubicBezTo>
                    <a:cubicBezTo>
                      <a:pt x="38" y="148"/>
                      <a:pt x="38" y="147"/>
                      <a:pt x="38" y="147"/>
                    </a:cubicBezTo>
                    <a:cubicBezTo>
                      <a:pt x="38" y="147"/>
                      <a:pt x="38" y="147"/>
                      <a:pt x="38" y="147"/>
                    </a:cubicBezTo>
                    <a:cubicBezTo>
                      <a:pt x="38" y="147"/>
                      <a:pt x="38" y="146"/>
                      <a:pt x="38" y="146"/>
                    </a:cubicBezTo>
                    <a:cubicBezTo>
                      <a:pt x="38" y="146"/>
                      <a:pt x="38" y="146"/>
                      <a:pt x="38" y="146"/>
                    </a:cubicBezTo>
                    <a:cubicBezTo>
                      <a:pt x="38" y="146"/>
                      <a:pt x="38" y="145"/>
                      <a:pt x="38" y="145"/>
                    </a:cubicBezTo>
                    <a:cubicBezTo>
                      <a:pt x="38" y="145"/>
                      <a:pt x="38" y="144"/>
                      <a:pt x="38" y="144"/>
                    </a:cubicBezTo>
                    <a:cubicBezTo>
                      <a:pt x="38" y="144"/>
                      <a:pt x="38" y="144"/>
                      <a:pt x="38" y="144"/>
                    </a:cubicBezTo>
                    <a:cubicBezTo>
                      <a:pt x="38" y="143"/>
                      <a:pt x="38" y="143"/>
                      <a:pt x="38" y="143"/>
                    </a:cubicBezTo>
                    <a:cubicBezTo>
                      <a:pt x="38" y="143"/>
                      <a:pt x="37" y="142"/>
                      <a:pt x="37" y="142"/>
                    </a:cubicBezTo>
                    <a:cubicBezTo>
                      <a:pt x="37" y="142"/>
                      <a:pt x="37" y="141"/>
                      <a:pt x="37" y="141"/>
                    </a:cubicBezTo>
                    <a:cubicBezTo>
                      <a:pt x="37" y="141"/>
                      <a:pt x="37" y="141"/>
                      <a:pt x="37" y="140"/>
                    </a:cubicBezTo>
                    <a:cubicBezTo>
                      <a:pt x="38" y="140"/>
                      <a:pt x="38" y="140"/>
                      <a:pt x="38" y="140"/>
                    </a:cubicBezTo>
                    <a:cubicBezTo>
                      <a:pt x="38" y="139"/>
                      <a:pt x="38" y="139"/>
                      <a:pt x="38" y="139"/>
                    </a:cubicBezTo>
                    <a:cubicBezTo>
                      <a:pt x="38" y="138"/>
                      <a:pt x="39" y="138"/>
                      <a:pt x="39" y="138"/>
                    </a:cubicBezTo>
                    <a:cubicBezTo>
                      <a:pt x="39" y="137"/>
                      <a:pt x="39" y="137"/>
                      <a:pt x="39" y="137"/>
                    </a:cubicBezTo>
                    <a:cubicBezTo>
                      <a:pt x="38" y="137"/>
                      <a:pt x="39" y="136"/>
                      <a:pt x="39" y="136"/>
                    </a:cubicBezTo>
                    <a:cubicBezTo>
                      <a:pt x="39" y="136"/>
                      <a:pt x="40" y="134"/>
                      <a:pt x="40" y="134"/>
                    </a:cubicBezTo>
                    <a:cubicBezTo>
                      <a:pt x="40" y="134"/>
                      <a:pt x="40" y="133"/>
                      <a:pt x="40" y="133"/>
                    </a:cubicBezTo>
                    <a:cubicBezTo>
                      <a:pt x="41" y="133"/>
                      <a:pt x="41" y="133"/>
                      <a:pt x="41" y="133"/>
                    </a:cubicBezTo>
                    <a:cubicBezTo>
                      <a:pt x="41" y="133"/>
                      <a:pt x="42" y="132"/>
                      <a:pt x="42" y="132"/>
                    </a:cubicBezTo>
                    <a:cubicBezTo>
                      <a:pt x="42" y="132"/>
                      <a:pt x="41" y="131"/>
                      <a:pt x="41" y="131"/>
                    </a:cubicBezTo>
                    <a:cubicBezTo>
                      <a:pt x="41" y="131"/>
                      <a:pt x="42" y="131"/>
                      <a:pt x="42" y="131"/>
                    </a:cubicBezTo>
                    <a:cubicBezTo>
                      <a:pt x="42" y="130"/>
                      <a:pt x="41" y="130"/>
                      <a:pt x="41" y="130"/>
                    </a:cubicBezTo>
                    <a:cubicBezTo>
                      <a:pt x="41" y="130"/>
                      <a:pt x="41" y="128"/>
                      <a:pt x="41" y="128"/>
                    </a:cubicBezTo>
                    <a:cubicBezTo>
                      <a:pt x="41" y="128"/>
                      <a:pt x="41" y="127"/>
                      <a:pt x="42" y="127"/>
                    </a:cubicBezTo>
                    <a:cubicBezTo>
                      <a:pt x="42" y="127"/>
                      <a:pt x="42" y="126"/>
                      <a:pt x="42" y="126"/>
                    </a:cubicBezTo>
                    <a:cubicBezTo>
                      <a:pt x="42" y="126"/>
                      <a:pt x="42" y="125"/>
                      <a:pt x="42" y="125"/>
                    </a:cubicBezTo>
                    <a:cubicBezTo>
                      <a:pt x="42" y="125"/>
                      <a:pt x="42" y="125"/>
                      <a:pt x="42" y="125"/>
                    </a:cubicBezTo>
                    <a:cubicBezTo>
                      <a:pt x="42" y="124"/>
                      <a:pt x="42" y="124"/>
                      <a:pt x="42" y="124"/>
                    </a:cubicBezTo>
                    <a:cubicBezTo>
                      <a:pt x="41" y="124"/>
                      <a:pt x="41" y="124"/>
                      <a:pt x="41" y="124"/>
                    </a:cubicBezTo>
                    <a:cubicBezTo>
                      <a:pt x="41" y="124"/>
                      <a:pt x="41" y="125"/>
                      <a:pt x="40" y="124"/>
                    </a:cubicBezTo>
                    <a:cubicBezTo>
                      <a:pt x="40" y="124"/>
                      <a:pt x="40" y="124"/>
                      <a:pt x="40" y="123"/>
                    </a:cubicBezTo>
                    <a:cubicBezTo>
                      <a:pt x="40" y="123"/>
                      <a:pt x="40" y="123"/>
                      <a:pt x="40" y="122"/>
                    </a:cubicBezTo>
                    <a:cubicBezTo>
                      <a:pt x="40" y="122"/>
                      <a:pt x="40" y="122"/>
                      <a:pt x="40" y="121"/>
                    </a:cubicBezTo>
                    <a:cubicBezTo>
                      <a:pt x="41" y="121"/>
                      <a:pt x="40" y="120"/>
                      <a:pt x="40" y="120"/>
                    </a:cubicBezTo>
                    <a:cubicBezTo>
                      <a:pt x="40" y="118"/>
                      <a:pt x="40" y="118"/>
                      <a:pt x="40" y="118"/>
                    </a:cubicBezTo>
                    <a:cubicBezTo>
                      <a:pt x="40" y="118"/>
                      <a:pt x="39" y="117"/>
                      <a:pt x="39" y="117"/>
                    </a:cubicBezTo>
                    <a:cubicBezTo>
                      <a:pt x="39" y="116"/>
                      <a:pt x="38" y="116"/>
                      <a:pt x="38" y="116"/>
                    </a:cubicBezTo>
                    <a:cubicBezTo>
                      <a:pt x="38" y="115"/>
                      <a:pt x="39" y="115"/>
                      <a:pt x="38" y="114"/>
                    </a:cubicBezTo>
                    <a:cubicBezTo>
                      <a:pt x="38" y="114"/>
                      <a:pt x="38" y="114"/>
                      <a:pt x="38" y="114"/>
                    </a:cubicBezTo>
                    <a:cubicBezTo>
                      <a:pt x="38" y="114"/>
                      <a:pt x="38" y="114"/>
                      <a:pt x="38" y="114"/>
                    </a:cubicBezTo>
                    <a:cubicBezTo>
                      <a:pt x="38" y="114"/>
                      <a:pt x="39" y="114"/>
                      <a:pt x="39" y="114"/>
                    </a:cubicBezTo>
                    <a:cubicBezTo>
                      <a:pt x="39" y="114"/>
                      <a:pt x="39" y="113"/>
                      <a:pt x="39" y="113"/>
                    </a:cubicBezTo>
                    <a:cubicBezTo>
                      <a:pt x="38" y="113"/>
                      <a:pt x="38" y="113"/>
                      <a:pt x="38" y="112"/>
                    </a:cubicBezTo>
                    <a:cubicBezTo>
                      <a:pt x="37" y="112"/>
                      <a:pt x="37" y="112"/>
                      <a:pt x="37" y="112"/>
                    </a:cubicBezTo>
                    <a:cubicBezTo>
                      <a:pt x="37" y="112"/>
                      <a:pt x="37" y="112"/>
                      <a:pt x="37" y="111"/>
                    </a:cubicBezTo>
                    <a:cubicBezTo>
                      <a:pt x="37" y="111"/>
                      <a:pt x="37" y="110"/>
                      <a:pt x="37" y="110"/>
                    </a:cubicBezTo>
                    <a:cubicBezTo>
                      <a:pt x="37" y="109"/>
                      <a:pt x="37" y="109"/>
                      <a:pt x="37" y="108"/>
                    </a:cubicBezTo>
                    <a:cubicBezTo>
                      <a:pt x="37" y="108"/>
                      <a:pt x="37" y="107"/>
                      <a:pt x="37" y="107"/>
                    </a:cubicBezTo>
                    <a:cubicBezTo>
                      <a:pt x="37" y="106"/>
                      <a:pt x="37" y="106"/>
                      <a:pt x="37" y="106"/>
                    </a:cubicBezTo>
                    <a:cubicBezTo>
                      <a:pt x="37" y="106"/>
                      <a:pt x="37" y="106"/>
                      <a:pt x="38" y="106"/>
                    </a:cubicBezTo>
                    <a:cubicBezTo>
                      <a:pt x="38" y="106"/>
                      <a:pt x="38" y="106"/>
                      <a:pt x="38" y="106"/>
                    </a:cubicBezTo>
                    <a:cubicBezTo>
                      <a:pt x="38" y="106"/>
                      <a:pt x="38" y="106"/>
                      <a:pt x="38" y="106"/>
                    </a:cubicBezTo>
                    <a:cubicBezTo>
                      <a:pt x="38" y="106"/>
                      <a:pt x="38" y="106"/>
                      <a:pt x="39" y="106"/>
                    </a:cubicBezTo>
                    <a:cubicBezTo>
                      <a:pt x="39" y="106"/>
                      <a:pt x="39" y="106"/>
                      <a:pt x="39" y="105"/>
                    </a:cubicBezTo>
                    <a:cubicBezTo>
                      <a:pt x="39" y="105"/>
                      <a:pt x="39" y="105"/>
                      <a:pt x="38" y="105"/>
                    </a:cubicBezTo>
                    <a:cubicBezTo>
                      <a:pt x="38" y="104"/>
                      <a:pt x="38" y="104"/>
                      <a:pt x="39" y="104"/>
                    </a:cubicBezTo>
                    <a:cubicBezTo>
                      <a:pt x="39" y="103"/>
                      <a:pt x="39" y="103"/>
                      <a:pt x="39" y="102"/>
                    </a:cubicBezTo>
                    <a:cubicBezTo>
                      <a:pt x="39" y="102"/>
                      <a:pt x="39" y="101"/>
                      <a:pt x="39" y="101"/>
                    </a:cubicBezTo>
                    <a:cubicBezTo>
                      <a:pt x="40" y="101"/>
                      <a:pt x="40" y="101"/>
                      <a:pt x="40" y="100"/>
                    </a:cubicBezTo>
                    <a:cubicBezTo>
                      <a:pt x="40" y="100"/>
                      <a:pt x="39" y="100"/>
                      <a:pt x="39" y="100"/>
                    </a:cubicBezTo>
                    <a:cubicBezTo>
                      <a:pt x="40" y="100"/>
                      <a:pt x="40" y="100"/>
                      <a:pt x="40" y="100"/>
                    </a:cubicBezTo>
                    <a:cubicBezTo>
                      <a:pt x="41" y="100"/>
                      <a:pt x="41" y="100"/>
                      <a:pt x="41" y="99"/>
                    </a:cubicBezTo>
                    <a:cubicBezTo>
                      <a:pt x="41" y="99"/>
                      <a:pt x="41" y="99"/>
                      <a:pt x="42" y="99"/>
                    </a:cubicBezTo>
                    <a:cubicBezTo>
                      <a:pt x="42" y="99"/>
                      <a:pt x="42" y="98"/>
                      <a:pt x="42" y="98"/>
                    </a:cubicBezTo>
                    <a:cubicBezTo>
                      <a:pt x="42" y="98"/>
                      <a:pt x="41" y="98"/>
                      <a:pt x="41" y="98"/>
                    </a:cubicBezTo>
                    <a:cubicBezTo>
                      <a:pt x="41" y="98"/>
                      <a:pt x="41" y="97"/>
                      <a:pt x="41" y="97"/>
                    </a:cubicBezTo>
                    <a:cubicBezTo>
                      <a:pt x="42" y="96"/>
                      <a:pt x="41" y="94"/>
                      <a:pt x="41" y="93"/>
                    </a:cubicBezTo>
                    <a:cubicBezTo>
                      <a:pt x="40" y="92"/>
                      <a:pt x="40" y="91"/>
                      <a:pt x="41" y="90"/>
                    </a:cubicBezTo>
                    <a:cubicBezTo>
                      <a:pt x="41" y="90"/>
                      <a:pt x="42" y="90"/>
                      <a:pt x="42" y="90"/>
                    </a:cubicBezTo>
                    <a:cubicBezTo>
                      <a:pt x="42" y="90"/>
                      <a:pt x="42" y="89"/>
                      <a:pt x="42" y="88"/>
                    </a:cubicBezTo>
                    <a:cubicBezTo>
                      <a:pt x="43" y="87"/>
                      <a:pt x="43" y="86"/>
                      <a:pt x="43" y="84"/>
                    </a:cubicBezTo>
                    <a:cubicBezTo>
                      <a:pt x="43" y="84"/>
                      <a:pt x="43" y="84"/>
                      <a:pt x="43" y="84"/>
                    </a:cubicBezTo>
                    <a:cubicBezTo>
                      <a:pt x="43" y="84"/>
                      <a:pt x="44" y="84"/>
                      <a:pt x="44" y="83"/>
                    </a:cubicBezTo>
                    <a:cubicBezTo>
                      <a:pt x="44" y="83"/>
                      <a:pt x="44" y="82"/>
                      <a:pt x="44" y="82"/>
                    </a:cubicBezTo>
                    <a:cubicBezTo>
                      <a:pt x="45" y="82"/>
                      <a:pt x="45" y="82"/>
                      <a:pt x="45" y="82"/>
                    </a:cubicBezTo>
                    <a:cubicBezTo>
                      <a:pt x="45" y="82"/>
                      <a:pt x="45" y="82"/>
                      <a:pt x="45" y="82"/>
                    </a:cubicBezTo>
                    <a:cubicBezTo>
                      <a:pt x="45" y="81"/>
                      <a:pt x="45" y="81"/>
                      <a:pt x="46" y="81"/>
                    </a:cubicBezTo>
                    <a:cubicBezTo>
                      <a:pt x="46" y="81"/>
                      <a:pt x="46" y="81"/>
                      <a:pt x="46" y="80"/>
                    </a:cubicBezTo>
                    <a:cubicBezTo>
                      <a:pt x="46" y="80"/>
                      <a:pt x="46" y="80"/>
                      <a:pt x="46" y="80"/>
                    </a:cubicBezTo>
                    <a:cubicBezTo>
                      <a:pt x="47" y="80"/>
                      <a:pt x="47" y="80"/>
                      <a:pt x="47" y="79"/>
                    </a:cubicBezTo>
                    <a:cubicBezTo>
                      <a:pt x="47" y="79"/>
                      <a:pt x="47" y="78"/>
                      <a:pt x="48" y="77"/>
                    </a:cubicBezTo>
                    <a:cubicBezTo>
                      <a:pt x="48" y="77"/>
                      <a:pt x="48" y="77"/>
                      <a:pt x="48" y="77"/>
                    </a:cubicBezTo>
                    <a:cubicBezTo>
                      <a:pt x="48" y="77"/>
                      <a:pt x="48" y="77"/>
                      <a:pt x="48" y="76"/>
                    </a:cubicBezTo>
                    <a:cubicBezTo>
                      <a:pt x="48" y="76"/>
                      <a:pt x="49" y="76"/>
                      <a:pt x="49" y="75"/>
                    </a:cubicBezTo>
                    <a:cubicBezTo>
                      <a:pt x="49" y="75"/>
                      <a:pt x="48" y="75"/>
                      <a:pt x="49" y="74"/>
                    </a:cubicBezTo>
                    <a:cubicBezTo>
                      <a:pt x="49" y="74"/>
                      <a:pt x="50" y="74"/>
                      <a:pt x="50" y="74"/>
                    </a:cubicBezTo>
                    <a:cubicBezTo>
                      <a:pt x="50" y="74"/>
                      <a:pt x="50" y="74"/>
                      <a:pt x="51" y="74"/>
                    </a:cubicBezTo>
                    <a:cubicBezTo>
                      <a:pt x="51" y="74"/>
                      <a:pt x="51" y="74"/>
                      <a:pt x="51" y="74"/>
                    </a:cubicBezTo>
                    <a:cubicBezTo>
                      <a:pt x="51" y="74"/>
                      <a:pt x="52" y="74"/>
                      <a:pt x="52" y="73"/>
                    </a:cubicBezTo>
                    <a:cubicBezTo>
                      <a:pt x="52" y="73"/>
                      <a:pt x="53" y="73"/>
                      <a:pt x="53" y="73"/>
                    </a:cubicBezTo>
                    <a:cubicBezTo>
                      <a:pt x="53" y="73"/>
                      <a:pt x="53" y="72"/>
                      <a:pt x="53" y="72"/>
                    </a:cubicBezTo>
                    <a:cubicBezTo>
                      <a:pt x="52" y="71"/>
                      <a:pt x="52" y="71"/>
                      <a:pt x="51" y="70"/>
                    </a:cubicBezTo>
                    <a:cubicBezTo>
                      <a:pt x="51" y="69"/>
                      <a:pt x="50" y="68"/>
                      <a:pt x="51" y="67"/>
                    </a:cubicBezTo>
                    <a:cubicBezTo>
                      <a:pt x="51" y="67"/>
                      <a:pt x="52" y="66"/>
                      <a:pt x="52" y="66"/>
                    </a:cubicBezTo>
                    <a:cubicBezTo>
                      <a:pt x="52" y="66"/>
                      <a:pt x="52" y="65"/>
                      <a:pt x="52" y="65"/>
                    </a:cubicBezTo>
                    <a:cubicBezTo>
                      <a:pt x="51" y="64"/>
                      <a:pt x="51" y="63"/>
                      <a:pt x="51" y="61"/>
                    </a:cubicBezTo>
                    <a:cubicBezTo>
                      <a:pt x="51" y="61"/>
                      <a:pt x="51" y="61"/>
                      <a:pt x="51" y="61"/>
                    </a:cubicBezTo>
                    <a:cubicBezTo>
                      <a:pt x="51" y="60"/>
                      <a:pt x="51" y="60"/>
                      <a:pt x="51" y="60"/>
                    </a:cubicBezTo>
                    <a:cubicBezTo>
                      <a:pt x="51" y="59"/>
                      <a:pt x="51" y="59"/>
                      <a:pt x="51" y="58"/>
                    </a:cubicBezTo>
                    <a:cubicBezTo>
                      <a:pt x="52" y="58"/>
                      <a:pt x="52" y="58"/>
                      <a:pt x="52" y="58"/>
                    </a:cubicBezTo>
                    <a:cubicBezTo>
                      <a:pt x="52" y="58"/>
                      <a:pt x="52" y="58"/>
                      <a:pt x="52" y="58"/>
                    </a:cubicBezTo>
                    <a:cubicBezTo>
                      <a:pt x="52" y="57"/>
                      <a:pt x="51" y="56"/>
                      <a:pt x="51" y="56"/>
                    </a:cubicBezTo>
                    <a:cubicBezTo>
                      <a:pt x="51" y="55"/>
                      <a:pt x="51" y="54"/>
                      <a:pt x="51" y="54"/>
                    </a:cubicBezTo>
                    <a:cubicBezTo>
                      <a:pt x="51" y="54"/>
                      <a:pt x="52" y="54"/>
                      <a:pt x="52" y="54"/>
                    </a:cubicBezTo>
                    <a:cubicBezTo>
                      <a:pt x="52" y="54"/>
                      <a:pt x="52" y="53"/>
                      <a:pt x="52" y="53"/>
                    </a:cubicBezTo>
                    <a:cubicBezTo>
                      <a:pt x="52" y="53"/>
                      <a:pt x="52" y="53"/>
                      <a:pt x="52" y="53"/>
                    </a:cubicBezTo>
                    <a:cubicBezTo>
                      <a:pt x="53" y="53"/>
                      <a:pt x="53" y="53"/>
                      <a:pt x="53" y="53"/>
                    </a:cubicBezTo>
                    <a:cubicBezTo>
                      <a:pt x="53" y="52"/>
                      <a:pt x="53" y="52"/>
                      <a:pt x="54" y="52"/>
                    </a:cubicBezTo>
                    <a:cubicBezTo>
                      <a:pt x="54" y="52"/>
                      <a:pt x="55" y="52"/>
                      <a:pt x="55" y="52"/>
                    </a:cubicBezTo>
                    <a:cubicBezTo>
                      <a:pt x="56" y="51"/>
                      <a:pt x="58" y="50"/>
                      <a:pt x="59" y="50"/>
                    </a:cubicBezTo>
                    <a:cubicBezTo>
                      <a:pt x="59" y="50"/>
                      <a:pt x="59" y="50"/>
                      <a:pt x="59" y="49"/>
                    </a:cubicBezTo>
                    <a:cubicBezTo>
                      <a:pt x="59" y="49"/>
                      <a:pt x="60" y="49"/>
                      <a:pt x="60" y="49"/>
                    </a:cubicBezTo>
                    <a:cubicBezTo>
                      <a:pt x="60" y="47"/>
                      <a:pt x="61" y="44"/>
                      <a:pt x="62" y="42"/>
                    </a:cubicBezTo>
                    <a:lnTo>
                      <a:pt x="60" y="40"/>
                    </a:lnTo>
                    <a:close/>
                    <a:moveTo>
                      <a:pt x="50" y="313"/>
                    </a:moveTo>
                    <a:cubicBezTo>
                      <a:pt x="50" y="313"/>
                      <a:pt x="49" y="313"/>
                      <a:pt x="49" y="313"/>
                    </a:cubicBezTo>
                    <a:cubicBezTo>
                      <a:pt x="48" y="313"/>
                      <a:pt x="48" y="313"/>
                      <a:pt x="48" y="314"/>
                    </a:cubicBezTo>
                    <a:cubicBezTo>
                      <a:pt x="47" y="314"/>
                      <a:pt x="47" y="314"/>
                      <a:pt x="46" y="314"/>
                    </a:cubicBezTo>
                    <a:cubicBezTo>
                      <a:pt x="46" y="314"/>
                      <a:pt x="46" y="313"/>
                      <a:pt x="45" y="312"/>
                    </a:cubicBezTo>
                    <a:cubicBezTo>
                      <a:pt x="45" y="312"/>
                      <a:pt x="45" y="312"/>
                      <a:pt x="45" y="311"/>
                    </a:cubicBezTo>
                    <a:cubicBezTo>
                      <a:pt x="44" y="311"/>
                      <a:pt x="44" y="311"/>
                      <a:pt x="44" y="312"/>
                    </a:cubicBezTo>
                    <a:cubicBezTo>
                      <a:pt x="43" y="312"/>
                      <a:pt x="44" y="313"/>
                      <a:pt x="44" y="313"/>
                    </a:cubicBezTo>
                    <a:cubicBezTo>
                      <a:pt x="43" y="313"/>
                      <a:pt x="43" y="314"/>
                      <a:pt x="43" y="315"/>
                    </a:cubicBezTo>
                    <a:cubicBezTo>
                      <a:pt x="42" y="315"/>
                      <a:pt x="42" y="315"/>
                      <a:pt x="42" y="315"/>
                    </a:cubicBezTo>
                    <a:cubicBezTo>
                      <a:pt x="41" y="316"/>
                      <a:pt x="41" y="316"/>
                      <a:pt x="41" y="316"/>
                    </a:cubicBezTo>
                    <a:cubicBezTo>
                      <a:pt x="40" y="315"/>
                      <a:pt x="40" y="315"/>
                      <a:pt x="40" y="315"/>
                    </a:cubicBezTo>
                    <a:cubicBezTo>
                      <a:pt x="40" y="315"/>
                      <a:pt x="40" y="314"/>
                      <a:pt x="40" y="314"/>
                    </a:cubicBezTo>
                    <a:cubicBezTo>
                      <a:pt x="40" y="314"/>
                      <a:pt x="40" y="314"/>
                      <a:pt x="39" y="314"/>
                    </a:cubicBezTo>
                    <a:cubicBezTo>
                      <a:pt x="39" y="314"/>
                      <a:pt x="39" y="314"/>
                      <a:pt x="38" y="314"/>
                    </a:cubicBezTo>
                    <a:cubicBezTo>
                      <a:pt x="38" y="315"/>
                      <a:pt x="38" y="315"/>
                      <a:pt x="38" y="315"/>
                    </a:cubicBezTo>
                    <a:cubicBezTo>
                      <a:pt x="38" y="315"/>
                      <a:pt x="38" y="315"/>
                      <a:pt x="38" y="315"/>
                    </a:cubicBezTo>
                    <a:cubicBezTo>
                      <a:pt x="38" y="315"/>
                      <a:pt x="38" y="315"/>
                      <a:pt x="38" y="315"/>
                    </a:cubicBezTo>
                    <a:cubicBezTo>
                      <a:pt x="38" y="315"/>
                      <a:pt x="38" y="315"/>
                      <a:pt x="39" y="315"/>
                    </a:cubicBezTo>
                    <a:cubicBezTo>
                      <a:pt x="39" y="315"/>
                      <a:pt x="38" y="315"/>
                      <a:pt x="39" y="315"/>
                    </a:cubicBezTo>
                    <a:cubicBezTo>
                      <a:pt x="39" y="316"/>
                      <a:pt x="39" y="316"/>
                      <a:pt x="39" y="316"/>
                    </a:cubicBezTo>
                    <a:cubicBezTo>
                      <a:pt x="39" y="316"/>
                      <a:pt x="39" y="316"/>
                      <a:pt x="39" y="316"/>
                    </a:cubicBezTo>
                    <a:cubicBezTo>
                      <a:pt x="39" y="316"/>
                      <a:pt x="39" y="316"/>
                      <a:pt x="39" y="316"/>
                    </a:cubicBezTo>
                    <a:cubicBezTo>
                      <a:pt x="40" y="316"/>
                      <a:pt x="40" y="316"/>
                      <a:pt x="40" y="317"/>
                    </a:cubicBezTo>
                    <a:cubicBezTo>
                      <a:pt x="40" y="317"/>
                      <a:pt x="40" y="317"/>
                      <a:pt x="40" y="317"/>
                    </a:cubicBezTo>
                    <a:cubicBezTo>
                      <a:pt x="40" y="317"/>
                      <a:pt x="39" y="317"/>
                      <a:pt x="39" y="318"/>
                    </a:cubicBezTo>
                    <a:cubicBezTo>
                      <a:pt x="39" y="318"/>
                      <a:pt x="39" y="318"/>
                      <a:pt x="39" y="318"/>
                    </a:cubicBezTo>
                    <a:cubicBezTo>
                      <a:pt x="39" y="318"/>
                      <a:pt x="38" y="318"/>
                      <a:pt x="38" y="318"/>
                    </a:cubicBezTo>
                    <a:cubicBezTo>
                      <a:pt x="38" y="318"/>
                      <a:pt x="38" y="317"/>
                      <a:pt x="38" y="317"/>
                    </a:cubicBezTo>
                    <a:cubicBezTo>
                      <a:pt x="38" y="317"/>
                      <a:pt x="38" y="317"/>
                      <a:pt x="38" y="317"/>
                    </a:cubicBezTo>
                    <a:cubicBezTo>
                      <a:pt x="38" y="317"/>
                      <a:pt x="38" y="317"/>
                      <a:pt x="38" y="317"/>
                    </a:cubicBezTo>
                    <a:cubicBezTo>
                      <a:pt x="38" y="318"/>
                      <a:pt x="38" y="319"/>
                      <a:pt x="38" y="319"/>
                    </a:cubicBezTo>
                    <a:cubicBezTo>
                      <a:pt x="38" y="319"/>
                      <a:pt x="38" y="320"/>
                      <a:pt x="38" y="320"/>
                    </a:cubicBezTo>
                    <a:cubicBezTo>
                      <a:pt x="37" y="320"/>
                      <a:pt x="38" y="320"/>
                      <a:pt x="38" y="320"/>
                    </a:cubicBezTo>
                    <a:cubicBezTo>
                      <a:pt x="38" y="321"/>
                      <a:pt x="38" y="321"/>
                      <a:pt x="38" y="321"/>
                    </a:cubicBezTo>
                    <a:cubicBezTo>
                      <a:pt x="37" y="322"/>
                      <a:pt x="38" y="322"/>
                      <a:pt x="38" y="322"/>
                    </a:cubicBezTo>
                    <a:cubicBezTo>
                      <a:pt x="38" y="322"/>
                      <a:pt x="38" y="322"/>
                      <a:pt x="38" y="322"/>
                    </a:cubicBezTo>
                    <a:cubicBezTo>
                      <a:pt x="39" y="322"/>
                      <a:pt x="39" y="323"/>
                      <a:pt x="39" y="323"/>
                    </a:cubicBezTo>
                    <a:cubicBezTo>
                      <a:pt x="39" y="323"/>
                      <a:pt x="39" y="323"/>
                      <a:pt x="39" y="323"/>
                    </a:cubicBezTo>
                    <a:cubicBezTo>
                      <a:pt x="39" y="323"/>
                      <a:pt x="40" y="323"/>
                      <a:pt x="40" y="323"/>
                    </a:cubicBezTo>
                    <a:cubicBezTo>
                      <a:pt x="41" y="322"/>
                      <a:pt x="42" y="322"/>
                      <a:pt x="43" y="322"/>
                    </a:cubicBezTo>
                    <a:cubicBezTo>
                      <a:pt x="44" y="322"/>
                      <a:pt x="45" y="322"/>
                      <a:pt x="45" y="322"/>
                    </a:cubicBezTo>
                    <a:cubicBezTo>
                      <a:pt x="45" y="322"/>
                      <a:pt x="45" y="322"/>
                      <a:pt x="45" y="322"/>
                    </a:cubicBezTo>
                    <a:cubicBezTo>
                      <a:pt x="45" y="322"/>
                      <a:pt x="45" y="322"/>
                      <a:pt x="45" y="323"/>
                    </a:cubicBezTo>
                    <a:cubicBezTo>
                      <a:pt x="45" y="323"/>
                      <a:pt x="45" y="324"/>
                      <a:pt x="44" y="324"/>
                    </a:cubicBezTo>
                    <a:cubicBezTo>
                      <a:pt x="43" y="325"/>
                      <a:pt x="43" y="325"/>
                      <a:pt x="42" y="325"/>
                    </a:cubicBezTo>
                    <a:cubicBezTo>
                      <a:pt x="42" y="325"/>
                      <a:pt x="41" y="325"/>
                      <a:pt x="41" y="325"/>
                    </a:cubicBezTo>
                    <a:cubicBezTo>
                      <a:pt x="41" y="326"/>
                      <a:pt x="41" y="326"/>
                      <a:pt x="41" y="326"/>
                    </a:cubicBezTo>
                    <a:cubicBezTo>
                      <a:pt x="41" y="326"/>
                      <a:pt x="40" y="326"/>
                      <a:pt x="40" y="326"/>
                    </a:cubicBezTo>
                    <a:cubicBezTo>
                      <a:pt x="39" y="326"/>
                      <a:pt x="39" y="327"/>
                      <a:pt x="39" y="327"/>
                    </a:cubicBezTo>
                    <a:cubicBezTo>
                      <a:pt x="40" y="328"/>
                      <a:pt x="40" y="329"/>
                      <a:pt x="40" y="330"/>
                    </a:cubicBezTo>
                    <a:cubicBezTo>
                      <a:pt x="41" y="332"/>
                      <a:pt x="43" y="332"/>
                      <a:pt x="44" y="332"/>
                    </a:cubicBezTo>
                    <a:cubicBezTo>
                      <a:pt x="46" y="333"/>
                      <a:pt x="47" y="334"/>
                      <a:pt x="48" y="335"/>
                    </a:cubicBezTo>
                    <a:cubicBezTo>
                      <a:pt x="47" y="335"/>
                      <a:pt x="47" y="335"/>
                      <a:pt x="46" y="336"/>
                    </a:cubicBezTo>
                    <a:cubicBezTo>
                      <a:pt x="46" y="336"/>
                      <a:pt x="46" y="337"/>
                      <a:pt x="45" y="337"/>
                    </a:cubicBezTo>
                    <a:cubicBezTo>
                      <a:pt x="45" y="337"/>
                      <a:pt x="45" y="337"/>
                      <a:pt x="45" y="337"/>
                    </a:cubicBezTo>
                    <a:cubicBezTo>
                      <a:pt x="45" y="337"/>
                      <a:pt x="45" y="337"/>
                      <a:pt x="45" y="337"/>
                    </a:cubicBezTo>
                    <a:cubicBezTo>
                      <a:pt x="45" y="337"/>
                      <a:pt x="45" y="336"/>
                      <a:pt x="45" y="336"/>
                    </a:cubicBezTo>
                    <a:cubicBezTo>
                      <a:pt x="46" y="336"/>
                      <a:pt x="46" y="336"/>
                      <a:pt x="46" y="335"/>
                    </a:cubicBezTo>
                    <a:cubicBezTo>
                      <a:pt x="46" y="335"/>
                      <a:pt x="46" y="334"/>
                      <a:pt x="46" y="334"/>
                    </a:cubicBezTo>
                    <a:cubicBezTo>
                      <a:pt x="45" y="334"/>
                      <a:pt x="45" y="334"/>
                      <a:pt x="45" y="334"/>
                    </a:cubicBezTo>
                    <a:cubicBezTo>
                      <a:pt x="45" y="334"/>
                      <a:pt x="45" y="334"/>
                      <a:pt x="45" y="334"/>
                    </a:cubicBezTo>
                    <a:cubicBezTo>
                      <a:pt x="45" y="334"/>
                      <a:pt x="44" y="334"/>
                      <a:pt x="44" y="334"/>
                    </a:cubicBezTo>
                    <a:cubicBezTo>
                      <a:pt x="44" y="334"/>
                      <a:pt x="44" y="335"/>
                      <a:pt x="43" y="335"/>
                    </a:cubicBezTo>
                    <a:cubicBezTo>
                      <a:pt x="43" y="335"/>
                      <a:pt x="43" y="334"/>
                      <a:pt x="43" y="334"/>
                    </a:cubicBezTo>
                    <a:cubicBezTo>
                      <a:pt x="43" y="334"/>
                      <a:pt x="43" y="334"/>
                      <a:pt x="43" y="333"/>
                    </a:cubicBezTo>
                    <a:cubicBezTo>
                      <a:pt x="43" y="333"/>
                      <a:pt x="42" y="333"/>
                      <a:pt x="42" y="333"/>
                    </a:cubicBezTo>
                    <a:cubicBezTo>
                      <a:pt x="42" y="333"/>
                      <a:pt x="42" y="333"/>
                      <a:pt x="42" y="333"/>
                    </a:cubicBezTo>
                    <a:cubicBezTo>
                      <a:pt x="42" y="333"/>
                      <a:pt x="42" y="333"/>
                      <a:pt x="42" y="333"/>
                    </a:cubicBezTo>
                    <a:cubicBezTo>
                      <a:pt x="42" y="334"/>
                      <a:pt x="43" y="334"/>
                      <a:pt x="43" y="335"/>
                    </a:cubicBezTo>
                    <a:cubicBezTo>
                      <a:pt x="42" y="335"/>
                      <a:pt x="42" y="335"/>
                      <a:pt x="42" y="335"/>
                    </a:cubicBezTo>
                    <a:cubicBezTo>
                      <a:pt x="42" y="335"/>
                      <a:pt x="42" y="335"/>
                      <a:pt x="41" y="334"/>
                    </a:cubicBezTo>
                    <a:cubicBezTo>
                      <a:pt x="41" y="334"/>
                      <a:pt x="41" y="333"/>
                      <a:pt x="41" y="333"/>
                    </a:cubicBezTo>
                    <a:cubicBezTo>
                      <a:pt x="41" y="333"/>
                      <a:pt x="41" y="333"/>
                      <a:pt x="40" y="333"/>
                    </a:cubicBezTo>
                    <a:cubicBezTo>
                      <a:pt x="40" y="332"/>
                      <a:pt x="40" y="332"/>
                      <a:pt x="40" y="333"/>
                    </a:cubicBezTo>
                    <a:cubicBezTo>
                      <a:pt x="39" y="333"/>
                      <a:pt x="39" y="333"/>
                      <a:pt x="40" y="333"/>
                    </a:cubicBezTo>
                    <a:cubicBezTo>
                      <a:pt x="40" y="334"/>
                      <a:pt x="40" y="334"/>
                      <a:pt x="40" y="334"/>
                    </a:cubicBezTo>
                    <a:cubicBezTo>
                      <a:pt x="40" y="334"/>
                      <a:pt x="40" y="334"/>
                      <a:pt x="40" y="335"/>
                    </a:cubicBezTo>
                    <a:cubicBezTo>
                      <a:pt x="39" y="334"/>
                      <a:pt x="39" y="333"/>
                      <a:pt x="38" y="333"/>
                    </a:cubicBezTo>
                    <a:cubicBezTo>
                      <a:pt x="38" y="333"/>
                      <a:pt x="37" y="333"/>
                      <a:pt x="36" y="332"/>
                    </a:cubicBezTo>
                    <a:cubicBezTo>
                      <a:pt x="37" y="332"/>
                      <a:pt x="37" y="332"/>
                      <a:pt x="37" y="332"/>
                    </a:cubicBezTo>
                    <a:cubicBezTo>
                      <a:pt x="38" y="332"/>
                      <a:pt x="38" y="333"/>
                      <a:pt x="38" y="333"/>
                    </a:cubicBezTo>
                    <a:cubicBezTo>
                      <a:pt x="38" y="333"/>
                      <a:pt x="39" y="333"/>
                      <a:pt x="39" y="333"/>
                    </a:cubicBezTo>
                    <a:cubicBezTo>
                      <a:pt x="39" y="332"/>
                      <a:pt x="39" y="332"/>
                      <a:pt x="39" y="332"/>
                    </a:cubicBezTo>
                    <a:cubicBezTo>
                      <a:pt x="39" y="332"/>
                      <a:pt x="38" y="332"/>
                      <a:pt x="38" y="331"/>
                    </a:cubicBezTo>
                    <a:cubicBezTo>
                      <a:pt x="38" y="331"/>
                      <a:pt x="38" y="331"/>
                      <a:pt x="38" y="331"/>
                    </a:cubicBezTo>
                    <a:cubicBezTo>
                      <a:pt x="38" y="331"/>
                      <a:pt x="38" y="331"/>
                      <a:pt x="38" y="331"/>
                    </a:cubicBezTo>
                    <a:cubicBezTo>
                      <a:pt x="38" y="331"/>
                      <a:pt x="38" y="331"/>
                      <a:pt x="38" y="331"/>
                    </a:cubicBezTo>
                    <a:cubicBezTo>
                      <a:pt x="38" y="331"/>
                      <a:pt x="39" y="331"/>
                      <a:pt x="39" y="331"/>
                    </a:cubicBezTo>
                    <a:cubicBezTo>
                      <a:pt x="39" y="331"/>
                      <a:pt x="38" y="330"/>
                      <a:pt x="38" y="330"/>
                    </a:cubicBezTo>
                    <a:cubicBezTo>
                      <a:pt x="38" y="330"/>
                      <a:pt x="38" y="330"/>
                      <a:pt x="37" y="330"/>
                    </a:cubicBezTo>
                    <a:cubicBezTo>
                      <a:pt x="37" y="330"/>
                      <a:pt x="37" y="330"/>
                      <a:pt x="37" y="330"/>
                    </a:cubicBezTo>
                    <a:cubicBezTo>
                      <a:pt x="37" y="330"/>
                      <a:pt x="37" y="330"/>
                      <a:pt x="37" y="330"/>
                    </a:cubicBezTo>
                    <a:cubicBezTo>
                      <a:pt x="36" y="330"/>
                      <a:pt x="36" y="329"/>
                      <a:pt x="36" y="329"/>
                    </a:cubicBezTo>
                    <a:cubicBezTo>
                      <a:pt x="36" y="329"/>
                      <a:pt x="36" y="329"/>
                      <a:pt x="36" y="329"/>
                    </a:cubicBezTo>
                    <a:cubicBezTo>
                      <a:pt x="36" y="329"/>
                      <a:pt x="36" y="329"/>
                      <a:pt x="37" y="329"/>
                    </a:cubicBezTo>
                    <a:cubicBezTo>
                      <a:pt x="37" y="329"/>
                      <a:pt x="37" y="329"/>
                      <a:pt x="37" y="329"/>
                    </a:cubicBezTo>
                    <a:cubicBezTo>
                      <a:pt x="37" y="329"/>
                      <a:pt x="37" y="330"/>
                      <a:pt x="38" y="330"/>
                    </a:cubicBezTo>
                    <a:cubicBezTo>
                      <a:pt x="38" y="330"/>
                      <a:pt x="38" y="330"/>
                      <a:pt x="38" y="330"/>
                    </a:cubicBezTo>
                    <a:cubicBezTo>
                      <a:pt x="38" y="330"/>
                      <a:pt x="38" y="330"/>
                      <a:pt x="38" y="329"/>
                    </a:cubicBezTo>
                    <a:cubicBezTo>
                      <a:pt x="38" y="329"/>
                      <a:pt x="38" y="328"/>
                      <a:pt x="38" y="328"/>
                    </a:cubicBezTo>
                    <a:cubicBezTo>
                      <a:pt x="38" y="328"/>
                      <a:pt x="38" y="327"/>
                      <a:pt x="38" y="327"/>
                    </a:cubicBezTo>
                    <a:cubicBezTo>
                      <a:pt x="38" y="327"/>
                      <a:pt x="38" y="327"/>
                      <a:pt x="37" y="327"/>
                    </a:cubicBezTo>
                    <a:cubicBezTo>
                      <a:pt x="37" y="327"/>
                      <a:pt x="37" y="326"/>
                      <a:pt x="37" y="326"/>
                    </a:cubicBezTo>
                    <a:cubicBezTo>
                      <a:pt x="37" y="326"/>
                      <a:pt x="37" y="325"/>
                      <a:pt x="37" y="325"/>
                    </a:cubicBezTo>
                    <a:cubicBezTo>
                      <a:pt x="37" y="325"/>
                      <a:pt x="37" y="325"/>
                      <a:pt x="37" y="324"/>
                    </a:cubicBezTo>
                    <a:cubicBezTo>
                      <a:pt x="37" y="324"/>
                      <a:pt x="37" y="324"/>
                      <a:pt x="37" y="324"/>
                    </a:cubicBezTo>
                    <a:cubicBezTo>
                      <a:pt x="37" y="325"/>
                      <a:pt x="37" y="325"/>
                      <a:pt x="37" y="325"/>
                    </a:cubicBezTo>
                    <a:cubicBezTo>
                      <a:pt x="37" y="325"/>
                      <a:pt x="36" y="325"/>
                      <a:pt x="36" y="325"/>
                    </a:cubicBezTo>
                    <a:cubicBezTo>
                      <a:pt x="36" y="326"/>
                      <a:pt x="36" y="326"/>
                      <a:pt x="36" y="327"/>
                    </a:cubicBezTo>
                    <a:cubicBezTo>
                      <a:pt x="36" y="327"/>
                      <a:pt x="36" y="327"/>
                      <a:pt x="36" y="327"/>
                    </a:cubicBezTo>
                    <a:cubicBezTo>
                      <a:pt x="36" y="328"/>
                      <a:pt x="36" y="327"/>
                      <a:pt x="36" y="327"/>
                    </a:cubicBezTo>
                    <a:cubicBezTo>
                      <a:pt x="35" y="327"/>
                      <a:pt x="35" y="327"/>
                      <a:pt x="35" y="327"/>
                    </a:cubicBezTo>
                    <a:cubicBezTo>
                      <a:pt x="34" y="329"/>
                      <a:pt x="35" y="330"/>
                      <a:pt x="35" y="331"/>
                    </a:cubicBezTo>
                    <a:cubicBezTo>
                      <a:pt x="35" y="331"/>
                      <a:pt x="35" y="331"/>
                      <a:pt x="34" y="331"/>
                    </a:cubicBezTo>
                    <a:cubicBezTo>
                      <a:pt x="34" y="331"/>
                      <a:pt x="34" y="332"/>
                      <a:pt x="35" y="333"/>
                    </a:cubicBezTo>
                    <a:cubicBezTo>
                      <a:pt x="35" y="333"/>
                      <a:pt x="36" y="333"/>
                      <a:pt x="37" y="333"/>
                    </a:cubicBezTo>
                    <a:cubicBezTo>
                      <a:pt x="37" y="333"/>
                      <a:pt x="37" y="333"/>
                      <a:pt x="37" y="333"/>
                    </a:cubicBezTo>
                    <a:cubicBezTo>
                      <a:pt x="37" y="333"/>
                      <a:pt x="37" y="333"/>
                      <a:pt x="37" y="334"/>
                    </a:cubicBezTo>
                    <a:cubicBezTo>
                      <a:pt x="37" y="334"/>
                      <a:pt x="38" y="335"/>
                      <a:pt x="39" y="335"/>
                    </a:cubicBezTo>
                    <a:cubicBezTo>
                      <a:pt x="39" y="335"/>
                      <a:pt x="39" y="335"/>
                      <a:pt x="39" y="336"/>
                    </a:cubicBezTo>
                    <a:cubicBezTo>
                      <a:pt x="39" y="336"/>
                      <a:pt x="39" y="336"/>
                      <a:pt x="39" y="336"/>
                    </a:cubicBezTo>
                    <a:cubicBezTo>
                      <a:pt x="39" y="336"/>
                      <a:pt x="39" y="336"/>
                      <a:pt x="39" y="336"/>
                    </a:cubicBezTo>
                    <a:cubicBezTo>
                      <a:pt x="38" y="335"/>
                      <a:pt x="36" y="334"/>
                      <a:pt x="36" y="334"/>
                    </a:cubicBezTo>
                    <a:cubicBezTo>
                      <a:pt x="36" y="334"/>
                      <a:pt x="36" y="334"/>
                      <a:pt x="36" y="334"/>
                    </a:cubicBezTo>
                    <a:cubicBezTo>
                      <a:pt x="37" y="334"/>
                      <a:pt x="37" y="334"/>
                      <a:pt x="37" y="334"/>
                    </a:cubicBezTo>
                    <a:cubicBezTo>
                      <a:pt x="37" y="334"/>
                      <a:pt x="36" y="334"/>
                      <a:pt x="36" y="334"/>
                    </a:cubicBezTo>
                    <a:cubicBezTo>
                      <a:pt x="36" y="334"/>
                      <a:pt x="36" y="334"/>
                      <a:pt x="36" y="334"/>
                    </a:cubicBezTo>
                    <a:cubicBezTo>
                      <a:pt x="36" y="334"/>
                      <a:pt x="35" y="334"/>
                      <a:pt x="35" y="333"/>
                    </a:cubicBezTo>
                    <a:cubicBezTo>
                      <a:pt x="35" y="333"/>
                      <a:pt x="35" y="333"/>
                      <a:pt x="35" y="333"/>
                    </a:cubicBezTo>
                    <a:cubicBezTo>
                      <a:pt x="35" y="333"/>
                      <a:pt x="35" y="333"/>
                      <a:pt x="34" y="333"/>
                    </a:cubicBezTo>
                    <a:cubicBezTo>
                      <a:pt x="34" y="333"/>
                      <a:pt x="34" y="334"/>
                      <a:pt x="34" y="334"/>
                    </a:cubicBezTo>
                    <a:cubicBezTo>
                      <a:pt x="34" y="334"/>
                      <a:pt x="34" y="334"/>
                      <a:pt x="34" y="334"/>
                    </a:cubicBezTo>
                    <a:cubicBezTo>
                      <a:pt x="34" y="334"/>
                      <a:pt x="34" y="335"/>
                      <a:pt x="34" y="335"/>
                    </a:cubicBezTo>
                    <a:cubicBezTo>
                      <a:pt x="34" y="335"/>
                      <a:pt x="34" y="335"/>
                      <a:pt x="34" y="335"/>
                    </a:cubicBezTo>
                    <a:cubicBezTo>
                      <a:pt x="33" y="335"/>
                      <a:pt x="33" y="335"/>
                      <a:pt x="33" y="335"/>
                    </a:cubicBezTo>
                    <a:cubicBezTo>
                      <a:pt x="33" y="335"/>
                      <a:pt x="33" y="335"/>
                      <a:pt x="33" y="335"/>
                    </a:cubicBezTo>
                    <a:cubicBezTo>
                      <a:pt x="33" y="335"/>
                      <a:pt x="33" y="335"/>
                      <a:pt x="32" y="335"/>
                    </a:cubicBezTo>
                    <a:cubicBezTo>
                      <a:pt x="32" y="335"/>
                      <a:pt x="32" y="335"/>
                      <a:pt x="32" y="334"/>
                    </a:cubicBezTo>
                    <a:cubicBezTo>
                      <a:pt x="32" y="334"/>
                      <a:pt x="32" y="334"/>
                      <a:pt x="32" y="334"/>
                    </a:cubicBezTo>
                    <a:cubicBezTo>
                      <a:pt x="32" y="334"/>
                      <a:pt x="31" y="334"/>
                      <a:pt x="31" y="334"/>
                    </a:cubicBezTo>
                    <a:cubicBezTo>
                      <a:pt x="31" y="334"/>
                      <a:pt x="31" y="334"/>
                      <a:pt x="31" y="334"/>
                    </a:cubicBezTo>
                    <a:cubicBezTo>
                      <a:pt x="31" y="334"/>
                      <a:pt x="31" y="334"/>
                      <a:pt x="30" y="334"/>
                    </a:cubicBezTo>
                    <a:cubicBezTo>
                      <a:pt x="30" y="334"/>
                      <a:pt x="30" y="334"/>
                      <a:pt x="30" y="334"/>
                    </a:cubicBezTo>
                    <a:cubicBezTo>
                      <a:pt x="30" y="334"/>
                      <a:pt x="30" y="334"/>
                      <a:pt x="30" y="334"/>
                    </a:cubicBezTo>
                    <a:cubicBezTo>
                      <a:pt x="29" y="334"/>
                      <a:pt x="29" y="334"/>
                      <a:pt x="29" y="334"/>
                    </a:cubicBezTo>
                    <a:cubicBezTo>
                      <a:pt x="29" y="335"/>
                      <a:pt x="29" y="335"/>
                      <a:pt x="29" y="334"/>
                    </a:cubicBezTo>
                    <a:cubicBezTo>
                      <a:pt x="28" y="334"/>
                      <a:pt x="28" y="334"/>
                      <a:pt x="28" y="334"/>
                    </a:cubicBezTo>
                    <a:cubicBezTo>
                      <a:pt x="28" y="334"/>
                      <a:pt x="28" y="334"/>
                      <a:pt x="28" y="334"/>
                    </a:cubicBezTo>
                    <a:cubicBezTo>
                      <a:pt x="28" y="334"/>
                      <a:pt x="28" y="334"/>
                      <a:pt x="28" y="334"/>
                    </a:cubicBezTo>
                    <a:cubicBezTo>
                      <a:pt x="28" y="335"/>
                      <a:pt x="28" y="335"/>
                      <a:pt x="29" y="335"/>
                    </a:cubicBezTo>
                    <a:cubicBezTo>
                      <a:pt x="29" y="335"/>
                      <a:pt x="29" y="335"/>
                      <a:pt x="29" y="335"/>
                    </a:cubicBezTo>
                    <a:cubicBezTo>
                      <a:pt x="29" y="335"/>
                      <a:pt x="29" y="336"/>
                      <a:pt x="28" y="336"/>
                    </a:cubicBezTo>
                    <a:cubicBezTo>
                      <a:pt x="28" y="336"/>
                      <a:pt x="28" y="336"/>
                      <a:pt x="28" y="336"/>
                    </a:cubicBezTo>
                    <a:cubicBezTo>
                      <a:pt x="28" y="336"/>
                      <a:pt x="28" y="336"/>
                      <a:pt x="28" y="336"/>
                    </a:cubicBezTo>
                    <a:cubicBezTo>
                      <a:pt x="28" y="335"/>
                      <a:pt x="27" y="335"/>
                      <a:pt x="27" y="335"/>
                    </a:cubicBezTo>
                    <a:cubicBezTo>
                      <a:pt x="27" y="335"/>
                      <a:pt x="26" y="335"/>
                      <a:pt x="26" y="335"/>
                    </a:cubicBezTo>
                    <a:cubicBezTo>
                      <a:pt x="26" y="335"/>
                      <a:pt x="26" y="335"/>
                      <a:pt x="26" y="336"/>
                    </a:cubicBezTo>
                    <a:cubicBezTo>
                      <a:pt x="26" y="336"/>
                      <a:pt x="27" y="336"/>
                      <a:pt x="27" y="336"/>
                    </a:cubicBezTo>
                    <a:cubicBezTo>
                      <a:pt x="27" y="336"/>
                      <a:pt x="27" y="336"/>
                      <a:pt x="27" y="336"/>
                    </a:cubicBezTo>
                    <a:cubicBezTo>
                      <a:pt x="27" y="336"/>
                      <a:pt x="27" y="336"/>
                      <a:pt x="27" y="336"/>
                    </a:cubicBezTo>
                    <a:cubicBezTo>
                      <a:pt x="27" y="336"/>
                      <a:pt x="27" y="337"/>
                      <a:pt x="27" y="337"/>
                    </a:cubicBezTo>
                    <a:cubicBezTo>
                      <a:pt x="27" y="337"/>
                      <a:pt x="27" y="337"/>
                      <a:pt x="27" y="337"/>
                    </a:cubicBezTo>
                    <a:cubicBezTo>
                      <a:pt x="27" y="337"/>
                      <a:pt x="27" y="337"/>
                      <a:pt x="28" y="337"/>
                    </a:cubicBezTo>
                    <a:cubicBezTo>
                      <a:pt x="28" y="337"/>
                      <a:pt x="28" y="336"/>
                      <a:pt x="29" y="336"/>
                    </a:cubicBezTo>
                    <a:cubicBezTo>
                      <a:pt x="29" y="336"/>
                      <a:pt x="29" y="337"/>
                      <a:pt x="29" y="337"/>
                    </a:cubicBezTo>
                    <a:cubicBezTo>
                      <a:pt x="29" y="337"/>
                      <a:pt x="29" y="337"/>
                      <a:pt x="29" y="337"/>
                    </a:cubicBezTo>
                    <a:cubicBezTo>
                      <a:pt x="29" y="337"/>
                      <a:pt x="30" y="337"/>
                      <a:pt x="30" y="337"/>
                    </a:cubicBezTo>
                    <a:cubicBezTo>
                      <a:pt x="30" y="337"/>
                      <a:pt x="30" y="337"/>
                      <a:pt x="30" y="337"/>
                    </a:cubicBezTo>
                    <a:cubicBezTo>
                      <a:pt x="30" y="337"/>
                      <a:pt x="30" y="337"/>
                      <a:pt x="30" y="337"/>
                    </a:cubicBezTo>
                    <a:cubicBezTo>
                      <a:pt x="30" y="337"/>
                      <a:pt x="30" y="337"/>
                      <a:pt x="30" y="337"/>
                    </a:cubicBezTo>
                    <a:cubicBezTo>
                      <a:pt x="30" y="338"/>
                      <a:pt x="31" y="337"/>
                      <a:pt x="31" y="337"/>
                    </a:cubicBezTo>
                    <a:cubicBezTo>
                      <a:pt x="31" y="337"/>
                      <a:pt x="31" y="336"/>
                      <a:pt x="31" y="336"/>
                    </a:cubicBezTo>
                    <a:cubicBezTo>
                      <a:pt x="31" y="336"/>
                      <a:pt x="32" y="336"/>
                      <a:pt x="32" y="336"/>
                    </a:cubicBezTo>
                    <a:cubicBezTo>
                      <a:pt x="32" y="336"/>
                      <a:pt x="32" y="336"/>
                      <a:pt x="32" y="336"/>
                    </a:cubicBezTo>
                    <a:cubicBezTo>
                      <a:pt x="32" y="337"/>
                      <a:pt x="32" y="337"/>
                      <a:pt x="32" y="337"/>
                    </a:cubicBezTo>
                    <a:cubicBezTo>
                      <a:pt x="32" y="337"/>
                      <a:pt x="32" y="337"/>
                      <a:pt x="32" y="337"/>
                    </a:cubicBezTo>
                    <a:cubicBezTo>
                      <a:pt x="32" y="337"/>
                      <a:pt x="32" y="337"/>
                      <a:pt x="32" y="337"/>
                    </a:cubicBezTo>
                    <a:cubicBezTo>
                      <a:pt x="32" y="337"/>
                      <a:pt x="32" y="337"/>
                      <a:pt x="32" y="337"/>
                    </a:cubicBezTo>
                    <a:cubicBezTo>
                      <a:pt x="33" y="337"/>
                      <a:pt x="33" y="337"/>
                      <a:pt x="34" y="337"/>
                    </a:cubicBezTo>
                    <a:cubicBezTo>
                      <a:pt x="34" y="337"/>
                      <a:pt x="33" y="338"/>
                      <a:pt x="33" y="338"/>
                    </a:cubicBezTo>
                    <a:cubicBezTo>
                      <a:pt x="33" y="338"/>
                      <a:pt x="33" y="338"/>
                      <a:pt x="33" y="338"/>
                    </a:cubicBezTo>
                    <a:cubicBezTo>
                      <a:pt x="33" y="338"/>
                      <a:pt x="34" y="338"/>
                      <a:pt x="34" y="338"/>
                    </a:cubicBezTo>
                    <a:cubicBezTo>
                      <a:pt x="34" y="338"/>
                      <a:pt x="34" y="338"/>
                      <a:pt x="34" y="338"/>
                    </a:cubicBezTo>
                    <a:cubicBezTo>
                      <a:pt x="34" y="338"/>
                      <a:pt x="34" y="338"/>
                      <a:pt x="34" y="338"/>
                    </a:cubicBezTo>
                    <a:cubicBezTo>
                      <a:pt x="34" y="338"/>
                      <a:pt x="35" y="338"/>
                      <a:pt x="34" y="338"/>
                    </a:cubicBezTo>
                    <a:cubicBezTo>
                      <a:pt x="34" y="338"/>
                      <a:pt x="34" y="338"/>
                      <a:pt x="34" y="338"/>
                    </a:cubicBezTo>
                    <a:cubicBezTo>
                      <a:pt x="34" y="338"/>
                      <a:pt x="34" y="338"/>
                      <a:pt x="35" y="338"/>
                    </a:cubicBezTo>
                    <a:cubicBezTo>
                      <a:pt x="35" y="338"/>
                      <a:pt x="35" y="339"/>
                      <a:pt x="35" y="339"/>
                    </a:cubicBezTo>
                    <a:cubicBezTo>
                      <a:pt x="35" y="339"/>
                      <a:pt x="35" y="339"/>
                      <a:pt x="35" y="339"/>
                    </a:cubicBezTo>
                    <a:cubicBezTo>
                      <a:pt x="35" y="339"/>
                      <a:pt x="35" y="339"/>
                      <a:pt x="35" y="339"/>
                    </a:cubicBezTo>
                    <a:cubicBezTo>
                      <a:pt x="35" y="339"/>
                      <a:pt x="35" y="340"/>
                      <a:pt x="36" y="340"/>
                    </a:cubicBezTo>
                    <a:cubicBezTo>
                      <a:pt x="36" y="340"/>
                      <a:pt x="36" y="340"/>
                      <a:pt x="36" y="340"/>
                    </a:cubicBezTo>
                    <a:cubicBezTo>
                      <a:pt x="36" y="340"/>
                      <a:pt x="36" y="340"/>
                      <a:pt x="37" y="340"/>
                    </a:cubicBezTo>
                    <a:cubicBezTo>
                      <a:pt x="37" y="340"/>
                      <a:pt x="37" y="340"/>
                      <a:pt x="37" y="340"/>
                    </a:cubicBezTo>
                    <a:cubicBezTo>
                      <a:pt x="37" y="340"/>
                      <a:pt x="38" y="340"/>
                      <a:pt x="38" y="340"/>
                    </a:cubicBezTo>
                    <a:cubicBezTo>
                      <a:pt x="38" y="340"/>
                      <a:pt x="38" y="340"/>
                      <a:pt x="38" y="340"/>
                    </a:cubicBezTo>
                    <a:cubicBezTo>
                      <a:pt x="38" y="340"/>
                      <a:pt x="38" y="339"/>
                      <a:pt x="38" y="340"/>
                    </a:cubicBezTo>
                    <a:cubicBezTo>
                      <a:pt x="38" y="340"/>
                      <a:pt x="38" y="340"/>
                      <a:pt x="38" y="340"/>
                    </a:cubicBezTo>
                    <a:cubicBezTo>
                      <a:pt x="39" y="340"/>
                      <a:pt x="39" y="340"/>
                      <a:pt x="40" y="340"/>
                    </a:cubicBezTo>
                    <a:cubicBezTo>
                      <a:pt x="40" y="340"/>
                      <a:pt x="40" y="340"/>
                      <a:pt x="40" y="340"/>
                    </a:cubicBezTo>
                    <a:cubicBezTo>
                      <a:pt x="40" y="340"/>
                      <a:pt x="40" y="340"/>
                      <a:pt x="40" y="339"/>
                    </a:cubicBezTo>
                    <a:cubicBezTo>
                      <a:pt x="40" y="339"/>
                      <a:pt x="41" y="338"/>
                      <a:pt x="41" y="338"/>
                    </a:cubicBezTo>
                    <a:cubicBezTo>
                      <a:pt x="41" y="338"/>
                      <a:pt x="41" y="338"/>
                      <a:pt x="41" y="338"/>
                    </a:cubicBezTo>
                    <a:cubicBezTo>
                      <a:pt x="41" y="338"/>
                      <a:pt x="41" y="339"/>
                      <a:pt x="41" y="339"/>
                    </a:cubicBezTo>
                    <a:cubicBezTo>
                      <a:pt x="41" y="339"/>
                      <a:pt x="42" y="339"/>
                      <a:pt x="42" y="339"/>
                    </a:cubicBezTo>
                    <a:cubicBezTo>
                      <a:pt x="43" y="339"/>
                      <a:pt x="43" y="339"/>
                      <a:pt x="43" y="339"/>
                    </a:cubicBezTo>
                    <a:cubicBezTo>
                      <a:pt x="43" y="339"/>
                      <a:pt x="44" y="340"/>
                      <a:pt x="44" y="340"/>
                    </a:cubicBezTo>
                    <a:cubicBezTo>
                      <a:pt x="44" y="340"/>
                      <a:pt x="45" y="340"/>
                      <a:pt x="45" y="340"/>
                    </a:cubicBezTo>
                    <a:cubicBezTo>
                      <a:pt x="45" y="340"/>
                      <a:pt x="47" y="341"/>
                      <a:pt x="47" y="341"/>
                    </a:cubicBezTo>
                    <a:cubicBezTo>
                      <a:pt x="47" y="341"/>
                      <a:pt x="49" y="341"/>
                      <a:pt x="49" y="341"/>
                    </a:cubicBezTo>
                    <a:cubicBezTo>
                      <a:pt x="49" y="341"/>
                      <a:pt x="50" y="340"/>
                      <a:pt x="50" y="340"/>
                    </a:cubicBezTo>
                    <a:cubicBezTo>
                      <a:pt x="50" y="340"/>
                      <a:pt x="49" y="340"/>
                      <a:pt x="49" y="340"/>
                    </a:cubicBezTo>
                    <a:cubicBezTo>
                      <a:pt x="49" y="340"/>
                      <a:pt x="50" y="340"/>
                      <a:pt x="50" y="340"/>
                    </a:cubicBezTo>
                    <a:cubicBezTo>
                      <a:pt x="50" y="340"/>
                      <a:pt x="50" y="340"/>
                      <a:pt x="50" y="340"/>
                    </a:cubicBezTo>
                    <a:cubicBezTo>
                      <a:pt x="50" y="340"/>
                      <a:pt x="50" y="340"/>
                      <a:pt x="50" y="340"/>
                    </a:cubicBezTo>
                    <a:cubicBezTo>
                      <a:pt x="50" y="313"/>
                      <a:pt x="50" y="313"/>
                      <a:pt x="50" y="313"/>
                    </a:cubicBezTo>
                    <a:cubicBezTo>
                      <a:pt x="50" y="313"/>
                      <a:pt x="50" y="313"/>
                      <a:pt x="50" y="313"/>
                    </a:cubicBezTo>
                    <a:close/>
                    <a:moveTo>
                      <a:pt x="58" y="344"/>
                    </a:moveTo>
                    <a:cubicBezTo>
                      <a:pt x="58" y="344"/>
                      <a:pt x="58" y="344"/>
                      <a:pt x="58" y="344"/>
                    </a:cubicBezTo>
                    <a:cubicBezTo>
                      <a:pt x="59" y="344"/>
                      <a:pt x="59" y="344"/>
                      <a:pt x="59" y="344"/>
                    </a:cubicBezTo>
                    <a:cubicBezTo>
                      <a:pt x="59" y="344"/>
                      <a:pt x="59" y="345"/>
                      <a:pt x="59" y="345"/>
                    </a:cubicBezTo>
                    <a:cubicBezTo>
                      <a:pt x="59" y="345"/>
                      <a:pt x="59" y="345"/>
                      <a:pt x="58" y="345"/>
                    </a:cubicBezTo>
                    <a:cubicBezTo>
                      <a:pt x="58" y="345"/>
                      <a:pt x="58" y="345"/>
                      <a:pt x="58" y="345"/>
                    </a:cubicBezTo>
                    <a:cubicBezTo>
                      <a:pt x="59" y="345"/>
                      <a:pt x="59" y="345"/>
                      <a:pt x="59" y="345"/>
                    </a:cubicBezTo>
                    <a:cubicBezTo>
                      <a:pt x="59" y="345"/>
                      <a:pt x="59" y="345"/>
                      <a:pt x="59" y="345"/>
                    </a:cubicBezTo>
                    <a:cubicBezTo>
                      <a:pt x="59" y="345"/>
                      <a:pt x="59" y="345"/>
                      <a:pt x="59" y="345"/>
                    </a:cubicBezTo>
                    <a:cubicBezTo>
                      <a:pt x="59" y="345"/>
                      <a:pt x="60" y="345"/>
                      <a:pt x="60" y="345"/>
                    </a:cubicBezTo>
                    <a:cubicBezTo>
                      <a:pt x="60" y="345"/>
                      <a:pt x="60" y="345"/>
                      <a:pt x="60" y="345"/>
                    </a:cubicBezTo>
                    <a:cubicBezTo>
                      <a:pt x="61" y="345"/>
                      <a:pt x="61" y="345"/>
                      <a:pt x="61" y="345"/>
                    </a:cubicBezTo>
                    <a:cubicBezTo>
                      <a:pt x="61" y="344"/>
                      <a:pt x="61" y="344"/>
                      <a:pt x="61" y="344"/>
                    </a:cubicBezTo>
                    <a:cubicBezTo>
                      <a:pt x="61" y="344"/>
                      <a:pt x="61" y="344"/>
                      <a:pt x="62" y="343"/>
                    </a:cubicBezTo>
                    <a:cubicBezTo>
                      <a:pt x="62" y="342"/>
                      <a:pt x="61" y="341"/>
                      <a:pt x="60" y="341"/>
                    </a:cubicBezTo>
                    <a:cubicBezTo>
                      <a:pt x="59" y="341"/>
                      <a:pt x="58" y="341"/>
                      <a:pt x="57" y="341"/>
                    </a:cubicBezTo>
                    <a:cubicBezTo>
                      <a:pt x="57" y="341"/>
                      <a:pt x="57" y="341"/>
                      <a:pt x="56" y="341"/>
                    </a:cubicBezTo>
                    <a:cubicBezTo>
                      <a:pt x="56" y="340"/>
                      <a:pt x="56" y="340"/>
                      <a:pt x="56" y="340"/>
                    </a:cubicBezTo>
                    <a:cubicBezTo>
                      <a:pt x="56" y="340"/>
                      <a:pt x="55" y="340"/>
                      <a:pt x="55" y="340"/>
                    </a:cubicBezTo>
                    <a:cubicBezTo>
                      <a:pt x="55" y="340"/>
                      <a:pt x="54" y="340"/>
                      <a:pt x="54" y="340"/>
                    </a:cubicBezTo>
                    <a:cubicBezTo>
                      <a:pt x="54" y="340"/>
                      <a:pt x="54" y="340"/>
                      <a:pt x="53" y="340"/>
                    </a:cubicBezTo>
                    <a:cubicBezTo>
                      <a:pt x="53" y="340"/>
                      <a:pt x="53" y="341"/>
                      <a:pt x="53" y="341"/>
                    </a:cubicBezTo>
                    <a:cubicBezTo>
                      <a:pt x="53" y="341"/>
                      <a:pt x="53" y="341"/>
                      <a:pt x="53" y="341"/>
                    </a:cubicBezTo>
                    <a:cubicBezTo>
                      <a:pt x="53" y="341"/>
                      <a:pt x="53" y="341"/>
                      <a:pt x="53" y="342"/>
                    </a:cubicBezTo>
                    <a:cubicBezTo>
                      <a:pt x="54" y="342"/>
                      <a:pt x="54" y="342"/>
                      <a:pt x="54" y="342"/>
                    </a:cubicBezTo>
                    <a:cubicBezTo>
                      <a:pt x="54" y="343"/>
                      <a:pt x="54" y="343"/>
                      <a:pt x="54" y="343"/>
                    </a:cubicBezTo>
                    <a:cubicBezTo>
                      <a:pt x="54" y="343"/>
                      <a:pt x="54" y="344"/>
                      <a:pt x="54" y="344"/>
                    </a:cubicBezTo>
                    <a:cubicBezTo>
                      <a:pt x="54" y="344"/>
                      <a:pt x="54" y="344"/>
                      <a:pt x="54" y="344"/>
                    </a:cubicBezTo>
                    <a:cubicBezTo>
                      <a:pt x="55" y="344"/>
                      <a:pt x="55" y="345"/>
                      <a:pt x="55" y="344"/>
                    </a:cubicBezTo>
                    <a:cubicBezTo>
                      <a:pt x="55" y="344"/>
                      <a:pt x="55" y="344"/>
                      <a:pt x="55" y="344"/>
                    </a:cubicBezTo>
                    <a:cubicBezTo>
                      <a:pt x="55" y="344"/>
                      <a:pt x="55" y="344"/>
                      <a:pt x="55" y="344"/>
                    </a:cubicBezTo>
                    <a:cubicBezTo>
                      <a:pt x="55" y="344"/>
                      <a:pt x="55" y="344"/>
                      <a:pt x="56" y="344"/>
                    </a:cubicBezTo>
                    <a:cubicBezTo>
                      <a:pt x="56" y="344"/>
                      <a:pt x="56" y="344"/>
                      <a:pt x="56" y="344"/>
                    </a:cubicBezTo>
                    <a:cubicBezTo>
                      <a:pt x="56" y="344"/>
                      <a:pt x="56" y="344"/>
                      <a:pt x="56" y="344"/>
                    </a:cubicBezTo>
                    <a:cubicBezTo>
                      <a:pt x="57" y="344"/>
                      <a:pt x="57" y="344"/>
                      <a:pt x="57" y="345"/>
                    </a:cubicBezTo>
                    <a:cubicBezTo>
                      <a:pt x="57" y="345"/>
                      <a:pt x="57" y="345"/>
                      <a:pt x="58" y="345"/>
                    </a:cubicBezTo>
                    <a:cubicBezTo>
                      <a:pt x="58" y="344"/>
                      <a:pt x="58" y="344"/>
                      <a:pt x="58" y="344"/>
                    </a:cubicBezTo>
                    <a:close/>
                    <a:moveTo>
                      <a:pt x="62" y="345"/>
                    </a:moveTo>
                    <a:cubicBezTo>
                      <a:pt x="62" y="345"/>
                      <a:pt x="62" y="345"/>
                      <a:pt x="62" y="345"/>
                    </a:cubicBezTo>
                    <a:cubicBezTo>
                      <a:pt x="62" y="345"/>
                      <a:pt x="62" y="345"/>
                      <a:pt x="62" y="346"/>
                    </a:cubicBezTo>
                    <a:cubicBezTo>
                      <a:pt x="62" y="346"/>
                      <a:pt x="62" y="346"/>
                      <a:pt x="62" y="346"/>
                    </a:cubicBezTo>
                    <a:cubicBezTo>
                      <a:pt x="62" y="346"/>
                      <a:pt x="62" y="346"/>
                      <a:pt x="62" y="346"/>
                    </a:cubicBezTo>
                    <a:cubicBezTo>
                      <a:pt x="62" y="346"/>
                      <a:pt x="62" y="346"/>
                      <a:pt x="63" y="346"/>
                    </a:cubicBezTo>
                    <a:cubicBezTo>
                      <a:pt x="63" y="346"/>
                      <a:pt x="63" y="346"/>
                      <a:pt x="63" y="346"/>
                    </a:cubicBezTo>
                    <a:cubicBezTo>
                      <a:pt x="63" y="346"/>
                      <a:pt x="63" y="346"/>
                      <a:pt x="63" y="346"/>
                    </a:cubicBezTo>
                    <a:cubicBezTo>
                      <a:pt x="63" y="345"/>
                      <a:pt x="63" y="345"/>
                      <a:pt x="63" y="344"/>
                    </a:cubicBezTo>
                    <a:cubicBezTo>
                      <a:pt x="63" y="344"/>
                      <a:pt x="63" y="344"/>
                      <a:pt x="63" y="344"/>
                    </a:cubicBezTo>
                    <a:cubicBezTo>
                      <a:pt x="63" y="344"/>
                      <a:pt x="63" y="344"/>
                      <a:pt x="63" y="344"/>
                    </a:cubicBezTo>
                    <a:cubicBezTo>
                      <a:pt x="62" y="344"/>
                      <a:pt x="62" y="344"/>
                      <a:pt x="62" y="344"/>
                    </a:cubicBezTo>
                    <a:cubicBezTo>
                      <a:pt x="62" y="344"/>
                      <a:pt x="62" y="344"/>
                      <a:pt x="62" y="344"/>
                    </a:cubicBezTo>
                    <a:cubicBezTo>
                      <a:pt x="62" y="344"/>
                      <a:pt x="62" y="344"/>
                      <a:pt x="62" y="345"/>
                    </a:cubicBezTo>
                    <a:cubicBezTo>
                      <a:pt x="62" y="345"/>
                      <a:pt x="62" y="345"/>
                      <a:pt x="62" y="345"/>
                    </a:cubicBezTo>
                    <a:close/>
                    <a:moveTo>
                      <a:pt x="65" y="344"/>
                    </a:moveTo>
                    <a:cubicBezTo>
                      <a:pt x="65" y="344"/>
                      <a:pt x="64" y="344"/>
                      <a:pt x="64" y="344"/>
                    </a:cubicBezTo>
                    <a:cubicBezTo>
                      <a:pt x="64" y="344"/>
                      <a:pt x="64" y="345"/>
                      <a:pt x="64" y="345"/>
                    </a:cubicBezTo>
                    <a:cubicBezTo>
                      <a:pt x="64" y="345"/>
                      <a:pt x="64" y="345"/>
                      <a:pt x="64" y="345"/>
                    </a:cubicBezTo>
                    <a:cubicBezTo>
                      <a:pt x="64" y="345"/>
                      <a:pt x="64" y="345"/>
                      <a:pt x="64" y="345"/>
                    </a:cubicBezTo>
                    <a:cubicBezTo>
                      <a:pt x="65" y="345"/>
                      <a:pt x="65" y="345"/>
                      <a:pt x="65" y="345"/>
                    </a:cubicBezTo>
                    <a:cubicBezTo>
                      <a:pt x="65" y="345"/>
                      <a:pt x="65" y="345"/>
                      <a:pt x="65" y="345"/>
                    </a:cubicBezTo>
                    <a:cubicBezTo>
                      <a:pt x="65" y="345"/>
                      <a:pt x="65" y="345"/>
                      <a:pt x="65" y="345"/>
                    </a:cubicBezTo>
                    <a:cubicBezTo>
                      <a:pt x="65" y="344"/>
                      <a:pt x="66" y="344"/>
                      <a:pt x="66" y="344"/>
                    </a:cubicBezTo>
                    <a:cubicBezTo>
                      <a:pt x="66" y="344"/>
                      <a:pt x="66" y="344"/>
                      <a:pt x="66" y="344"/>
                    </a:cubicBezTo>
                    <a:cubicBezTo>
                      <a:pt x="66" y="344"/>
                      <a:pt x="65" y="344"/>
                      <a:pt x="65" y="344"/>
                    </a:cubicBezTo>
                    <a:cubicBezTo>
                      <a:pt x="65" y="344"/>
                      <a:pt x="65" y="344"/>
                      <a:pt x="65" y="344"/>
                    </a:cubicBezTo>
                    <a:cubicBezTo>
                      <a:pt x="65" y="344"/>
                      <a:pt x="65" y="344"/>
                      <a:pt x="65" y="344"/>
                    </a:cubicBezTo>
                    <a:cubicBezTo>
                      <a:pt x="65" y="344"/>
                      <a:pt x="65" y="344"/>
                      <a:pt x="65" y="344"/>
                    </a:cubicBezTo>
                    <a:close/>
                    <a:moveTo>
                      <a:pt x="42" y="343"/>
                    </a:moveTo>
                    <a:cubicBezTo>
                      <a:pt x="41" y="343"/>
                      <a:pt x="41" y="343"/>
                      <a:pt x="41" y="343"/>
                    </a:cubicBezTo>
                    <a:cubicBezTo>
                      <a:pt x="41" y="343"/>
                      <a:pt x="41" y="343"/>
                      <a:pt x="41" y="343"/>
                    </a:cubicBezTo>
                    <a:cubicBezTo>
                      <a:pt x="41" y="343"/>
                      <a:pt x="41" y="343"/>
                      <a:pt x="40" y="344"/>
                    </a:cubicBezTo>
                    <a:cubicBezTo>
                      <a:pt x="40" y="344"/>
                      <a:pt x="40" y="344"/>
                      <a:pt x="40" y="344"/>
                    </a:cubicBezTo>
                    <a:cubicBezTo>
                      <a:pt x="40" y="344"/>
                      <a:pt x="41" y="344"/>
                      <a:pt x="41" y="344"/>
                    </a:cubicBezTo>
                    <a:cubicBezTo>
                      <a:pt x="41" y="344"/>
                      <a:pt x="41" y="344"/>
                      <a:pt x="41" y="344"/>
                    </a:cubicBezTo>
                    <a:cubicBezTo>
                      <a:pt x="41" y="344"/>
                      <a:pt x="41" y="344"/>
                      <a:pt x="41" y="344"/>
                    </a:cubicBezTo>
                    <a:cubicBezTo>
                      <a:pt x="41" y="345"/>
                      <a:pt x="41" y="345"/>
                      <a:pt x="41" y="345"/>
                    </a:cubicBezTo>
                    <a:cubicBezTo>
                      <a:pt x="41" y="345"/>
                      <a:pt x="41" y="345"/>
                      <a:pt x="41" y="345"/>
                    </a:cubicBezTo>
                    <a:cubicBezTo>
                      <a:pt x="42" y="345"/>
                      <a:pt x="42" y="345"/>
                      <a:pt x="42" y="345"/>
                    </a:cubicBezTo>
                    <a:cubicBezTo>
                      <a:pt x="42" y="345"/>
                      <a:pt x="42" y="345"/>
                      <a:pt x="43" y="345"/>
                    </a:cubicBezTo>
                    <a:cubicBezTo>
                      <a:pt x="43" y="345"/>
                      <a:pt x="43" y="345"/>
                      <a:pt x="43" y="345"/>
                    </a:cubicBezTo>
                    <a:cubicBezTo>
                      <a:pt x="43" y="345"/>
                      <a:pt x="43" y="345"/>
                      <a:pt x="43" y="345"/>
                    </a:cubicBezTo>
                    <a:cubicBezTo>
                      <a:pt x="43" y="345"/>
                      <a:pt x="42" y="346"/>
                      <a:pt x="42" y="346"/>
                    </a:cubicBezTo>
                    <a:cubicBezTo>
                      <a:pt x="43" y="346"/>
                      <a:pt x="43" y="346"/>
                      <a:pt x="43" y="346"/>
                    </a:cubicBezTo>
                    <a:cubicBezTo>
                      <a:pt x="43" y="346"/>
                      <a:pt x="43" y="346"/>
                      <a:pt x="44" y="347"/>
                    </a:cubicBezTo>
                    <a:cubicBezTo>
                      <a:pt x="44" y="347"/>
                      <a:pt x="44" y="347"/>
                      <a:pt x="44" y="347"/>
                    </a:cubicBezTo>
                    <a:cubicBezTo>
                      <a:pt x="44" y="347"/>
                      <a:pt x="44" y="346"/>
                      <a:pt x="44" y="346"/>
                    </a:cubicBezTo>
                    <a:cubicBezTo>
                      <a:pt x="44" y="346"/>
                      <a:pt x="44" y="347"/>
                      <a:pt x="45" y="347"/>
                    </a:cubicBezTo>
                    <a:cubicBezTo>
                      <a:pt x="45" y="347"/>
                      <a:pt x="45" y="347"/>
                      <a:pt x="45" y="348"/>
                    </a:cubicBezTo>
                    <a:cubicBezTo>
                      <a:pt x="45" y="348"/>
                      <a:pt x="46" y="348"/>
                      <a:pt x="46" y="348"/>
                    </a:cubicBezTo>
                    <a:cubicBezTo>
                      <a:pt x="46" y="348"/>
                      <a:pt x="46" y="348"/>
                      <a:pt x="46" y="348"/>
                    </a:cubicBezTo>
                    <a:cubicBezTo>
                      <a:pt x="46" y="348"/>
                      <a:pt x="46" y="348"/>
                      <a:pt x="46" y="348"/>
                    </a:cubicBezTo>
                    <a:cubicBezTo>
                      <a:pt x="46" y="348"/>
                      <a:pt x="47" y="348"/>
                      <a:pt x="47" y="348"/>
                    </a:cubicBezTo>
                    <a:cubicBezTo>
                      <a:pt x="47" y="348"/>
                      <a:pt x="47" y="347"/>
                      <a:pt x="47" y="347"/>
                    </a:cubicBezTo>
                    <a:cubicBezTo>
                      <a:pt x="47" y="347"/>
                      <a:pt x="47" y="347"/>
                      <a:pt x="47" y="347"/>
                    </a:cubicBezTo>
                    <a:cubicBezTo>
                      <a:pt x="47" y="347"/>
                      <a:pt x="46" y="347"/>
                      <a:pt x="46" y="347"/>
                    </a:cubicBezTo>
                    <a:cubicBezTo>
                      <a:pt x="46" y="347"/>
                      <a:pt x="46" y="347"/>
                      <a:pt x="46" y="346"/>
                    </a:cubicBezTo>
                    <a:cubicBezTo>
                      <a:pt x="46" y="346"/>
                      <a:pt x="46" y="346"/>
                      <a:pt x="46" y="346"/>
                    </a:cubicBezTo>
                    <a:cubicBezTo>
                      <a:pt x="46" y="346"/>
                      <a:pt x="45" y="345"/>
                      <a:pt x="45" y="345"/>
                    </a:cubicBezTo>
                    <a:cubicBezTo>
                      <a:pt x="46" y="345"/>
                      <a:pt x="46" y="345"/>
                      <a:pt x="46" y="345"/>
                    </a:cubicBezTo>
                    <a:cubicBezTo>
                      <a:pt x="46" y="345"/>
                      <a:pt x="46" y="345"/>
                      <a:pt x="46" y="344"/>
                    </a:cubicBezTo>
                    <a:cubicBezTo>
                      <a:pt x="46" y="344"/>
                      <a:pt x="46" y="344"/>
                      <a:pt x="46" y="344"/>
                    </a:cubicBezTo>
                    <a:cubicBezTo>
                      <a:pt x="46" y="344"/>
                      <a:pt x="46" y="344"/>
                      <a:pt x="46" y="344"/>
                    </a:cubicBezTo>
                    <a:cubicBezTo>
                      <a:pt x="46" y="345"/>
                      <a:pt x="47" y="345"/>
                      <a:pt x="47" y="345"/>
                    </a:cubicBezTo>
                    <a:cubicBezTo>
                      <a:pt x="47" y="345"/>
                      <a:pt x="47" y="345"/>
                      <a:pt x="47" y="345"/>
                    </a:cubicBezTo>
                    <a:cubicBezTo>
                      <a:pt x="48" y="345"/>
                      <a:pt x="48" y="345"/>
                      <a:pt x="48" y="345"/>
                    </a:cubicBezTo>
                    <a:cubicBezTo>
                      <a:pt x="48" y="345"/>
                      <a:pt x="48" y="345"/>
                      <a:pt x="48" y="345"/>
                    </a:cubicBezTo>
                    <a:cubicBezTo>
                      <a:pt x="48" y="345"/>
                      <a:pt x="48" y="345"/>
                      <a:pt x="48" y="346"/>
                    </a:cubicBezTo>
                    <a:cubicBezTo>
                      <a:pt x="48" y="345"/>
                      <a:pt x="48" y="345"/>
                      <a:pt x="48" y="345"/>
                    </a:cubicBezTo>
                    <a:cubicBezTo>
                      <a:pt x="49" y="345"/>
                      <a:pt x="49" y="346"/>
                      <a:pt x="49" y="346"/>
                    </a:cubicBezTo>
                    <a:cubicBezTo>
                      <a:pt x="49" y="346"/>
                      <a:pt x="48" y="346"/>
                      <a:pt x="48" y="346"/>
                    </a:cubicBezTo>
                    <a:cubicBezTo>
                      <a:pt x="48" y="346"/>
                      <a:pt x="49" y="347"/>
                      <a:pt x="48" y="347"/>
                    </a:cubicBezTo>
                    <a:cubicBezTo>
                      <a:pt x="48" y="347"/>
                      <a:pt x="48" y="347"/>
                      <a:pt x="48" y="347"/>
                    </a:cubicBezTo>
                    <a:cubicBezTo>
                      <a:pt x="48" y="347"/>
                      <a:pt x="48" y="347"/>
                      <a:pt x="48" y="347"/>
                    </a:cubicBezTo>
                    <a:cubicBezTo>
                      <a:pt x="49" y="347"/>
                      <a:pt x="49" y="347"/>
                      <a:pt x="49" y="348"/>
                    </a:cubicBezTo>
                    <a:cubicBezTo>
                      <a:pt x="49" y="348"/>
                      <a:pt x="49" y="348"/>
                      <a:pt x="49" y="348"/>
                    </a:cubicBezTo>
                    <a:cubicBezTo>
                      <a:pt x="50" y="348"/>
                      <a:pt x="50" y="348"/>
                      <a:pt x="50" y="348"/>
                    </a:cubicBezTo>
                    <a:cubicBezTo>
                      <a:pt x="50" y="347"/>
                      <a:pt x="49" y="347"/>
                      <a:pt x="50" y="347"/>
                    </a:cubicBezTo>
                    <a:cubicBezTo>
                      <a:pt x="50" y="347"/>
                      <a:pt x="50" y="347"/>
                      <a:pt x="50" y="347"/>
                    </a:cubicBezTo>
                    <a:cubicBezTo>
                      <a:pt x="50" y="347"/>
                      <a:pt x="50" y="347"/>
                      <a:pt x="50" y="348"/>
                    </a:cubicBezTo>
                    <a:cubicBezTo>
                      <a:pt x="50" y="348"/>
                      <a:pt x="51" y="348"/>
                      <a:pt x="51" y="348"/>
                    </a:cubicBezTo>
                    <a:cubicBezTo>
                      <a:pt x="51" y="348"/>
                      <a:pt x="50" y="347"/>
                      <a:pt x="50" y="347"/>
                    </a:cubicBezTo>
                    <a:cubicBezTo>
                      <a:pt x="51" y="347"/>
                      <a:pt x="52" y="348"/>
                      <a:pt x="53" y="348"/>
                    </a:cubicBezTo>
                    <a:cubicBezTo>
                      <a:pt x="53" y="348"/>
                      <a:pt x="53" y="348"/>
                      <a:pt x="53" y="349"/>
                    </a:cubicBezTo>
                    <a:cubicBezTo>
                      <a:pt x="53" y="349"/>
                      <a:pt x="53" y="349"/>
                      <a:pt x="53" y="349"/>
                    </a:cubicBezTo>
                    <a:cubicBezTo>
                      <a:pt x="53" y="349"/>
                      <a:pt x="54" y="349"/>
                      <a:pt x="54" y="350"/>
                    </a:cubicBezTo>
                    <a:cubicBezTo>
                      <a:pt x="54" y="350"/>
                      <a:pt x="54" y="350"/>
                      <a:pt x="54" y="350"/>
                    </a:cubicBezTo>
                    <a:cubicBezTo>
                      <a:pt x="55" y="350"/>
                      <a:pt x="55" y="350"/>
                      <a:pt x="55" y="350"/>
                    </a:cubicBezTo>
                    <a:cubicBezTo>
                      <a:pt x="55" y="350"/>
                      <a:pt x="55" y="349"/>
                      <a:pt x="55" y="349"/>
                    </a:cubicBezTo>
                    <a:cubicBezTo>
                      <a:pt x="55" y="349"/>
                      <a:pt x="55" y="349"/>
                      <a:pt x="55" y="349"/>
                    </a:cubicBezTo>
                    <a:cubicBezTo>
                      <a:pt x="55" y="349"/>
                      <a:pt x="55" y="349"/>
                      <a:pt x="55" y="349"/>
                    </a:cubicBezTo>
                    <a:cubicBezTo>
                      <a:pt x="55" y="349"/>
                      <a:pt x="55" y="348"/>
                      <a:pt x="55" y="348"/>
                    </a:cubicBezTo>
                    <a:cubicBezTo>
                      <a:pt x="54" y="348"/>
                      <a:pt x="55" y="348"/>
                      <a:pt x="54" y="347"/>
                    </a:cubicBezTo>
                    <a:cubicBezTo>
                      <a:pt x="54" y="347"/>
                      <a:pt x="54" y="347"/>
                      <a:pt x="54" y="347"/>
                    </a:cubicBezTo>
                    <a:cubicBezTo>
                      <a:pt x="54" y="347"/>
                      <a:pt x="54" y="347"/>
                      <a:pt x="54" y="347"/>
                    </a:cubicBezTo>
                    <a:cubicBezTo>
                      <a:pt x="54" y="346"/>
                      <a:pt x="53" y="347"/>
                      <a:pt x="53" y="346"/>
                    </a:cubicBezTo>
                    <a:cubicBezTo>
                      <a:pt x="53" y="346"/>
                      <a:pt x="53" y="346"/>
                      <a:pt x="53" y="346"/>
                    </a:cubicBezTo>
                    <a:cubicBezTo>
                      <a:pt x="53" y="346"/>
                      <a:pt x="52" y="346"/>
                      <a:pt x="52" y="346"/>
                    </a:cubicBezTo>
                    <a:cubicBezTo>
                      <a:pt x="52" y="346"/>
                      <a:pt x="51" y="346"/>
                      <a:pt x="51" y="346"/>
                    </a:cubicBezTo>
                    <a:cubicBezTo>
                      <a:pt x="51" y="346"/>
                      <a:pt x="51" y="345"/>
                      <a:pt x="51" y="345"/>
                    </a:cubicBezTo>
                    <a:cubicBezTo>
                      <a:pt x="52" y="345"/>
                      <a:pt x="53" y="345"/>
                      <a:pt x="53" y="345"/>
                    </a:cubicBezTo>
                    <a:cubicBezTo>
                      <a:pt x="53" y="345"/>
                      <a:pt x="53" y="344"/>
                      <a:pt x="52" y="344"/>
                    </a:cubicBezTo>
                    <a:cubicBezTo>
                      <a:pt x="52" y="344"/>
                      <a:pt x="52" y="344"/>
                      <a:pt x="51" y="344"/>
                    </a:cubicBezTo>
                    <a:cubicBezTo>
                      <a:pt x="50" y="344"/>
                      <a:pt x="49" y="344"/>
                      <a:pt x="48" y="343"/>
                    </a:cubicBezTo>
                    <a:cubicBezTo>
                      <a:pt x="48" y="343"/>
                      <a:pt x="48" y="343"/>
                      <a:pt x="48" y="342"/>
                    </a:cubicBezTo>
                    <a:cubicBezTo>
                      <a:pt x="48" y="342"/>
                      <a:pt x="48" y="342"/>
                      <a:pt x="48" y="342"/>
                    </a:cubicBezTo>
                    <a:cubicBezTo>
                      <a:pt x="48" y="342"/>
                      <a:pt x="49" y="342"/>
                      <a:pt x="49" y="342"/>
                    </a:cubicBezTo>
                    <a:cubicBezTo>
                      <a:pt x="49" y="343"/>
                      <a:pt x="49" y="343"/>
                      <a:pt x="49" y="343"/>
                    </a:cubicBezTo>
                    <a:cubicBezTo>
                      <a:pt x="50" y="343"/>
                      <a:pt x="50" y="343"/>
                      <a:pt x="51" y="343"/>
                    </a:cubicBezTo>
                    <a:cubicBezTo>
                      <a:pt x="51" y="343"/>
                      <a:pt x="51" y="343"/>
                      <a:pt x="51" y="343"/>
                    </a:cubicBezTo>
                    <a:cubicBezTo>
                      <a:pt x="51" y="343"/>
                      <a:pt x="51" y="343"/>
                      <a:pt x="51" y="343"/>
                    </a:cubicBezTo>
                    <a:cubicBezTo>
                      <a:pt x="52" y="343"/>
                      <a:pt x="51" y="343"/>
                      <a:pt x="51" y="342"/>
                    </a:cubicBezTo>
                    <a:cubicBezTo>
                      <a:pt x="52" y="342"/>
                      <a:pt x="52" y="342"/>
                      <a:pt x="52" y="342"/>
                    </a:cubicBezTo>
                    <a:cubicBezTo>
                      <a:pt x="52" y="342"/>
                      <a:pt x="53" y="342"/>
                      <a:pt x="53" y="342"/>
                    </a:cubicBezTo>
                    <a:cubicBezTo>
                      <a:pt x="53" y="342"/>
                      <a:pt x="53" y="342"/>
                      <a:pt x="53" y="342"/>
                    </a:cubicBezTo>
                    <a:cubicBezTo>
                      <a:pt x="52" y="341"/>
                      <a:pt x="52" y="341"/>
                      <a:pt x="52" y="341"/>
                    </a:cubicBezTo>
                    <a:cubicBezTo>
                      <a:pt x="52" y="341"/>
                      <a:pt x="51" y="341"/>
                      <a:pt x="50" y="341"/>
                    </a:cubicBezTo>
                    <a:cubicBezTo>
                      <a:pt x="50" y="341"/>
                      <a:pt x="49" y="341"/>
                      <a:pt x="49" y="341"/>
                    </a:cubicBezTo>
                    <a:cubicBezTo>
                      <a:pt x="48" y="341"/>
                      <a:pt x="48" y="341"/>
                      <a:pt x="47" y="341"/>
                    </a:cubicBezTo>
                    <a:cubicBezTo>
                      <a:pt x="47" y="342"/>
                      <a:pt x="46" y="342"/>
                      <a:pt x="46" y="342"/>
                    </a:cubicBezTo>
                    <a:cubicBezTo>
                      <a:pt x="46" y="342"/>
                      <a:pt x="45" y="342"/>
                      <a:pt x="45" y="342"/>
                    </a:cubicBezTo>
                    <a:cubicBezTo>
                      <a:pt x="45" y="342"/>
                      <a:pt x="45" y="342"/>
                      <a:pt x="45" y="342"/>
                    </a:cubicBezTo>
                    <a:cubicBezTo>
                      <a:pt x="45" y="342"/>
                      <a:pt x="45" y="342"/>
                      <a:pt x="44" y="342"/>
                    </a:cubicBezTo>
                    <a:cubicBezTo>
                      <a:pt x="45" y="342"/>
                      <a:pt x="46" y="341"/>
                      <a:pt x="46" y="341"/>
                    </a:cubicBezTo>
                    <a:cubicBezTo>
                      <a:pt x="46" y="341"/>
                      <a:pt x="46" y="341"/>
                      <a:pt x="46" y="341"/>
                    </a:cubicBezTo>
                    <a:cubicBezTo>
                      <a:pt x="44" y="340"/>
                      <a:pt x="43" y="340"/>
                      <a:pt x="42" y="340"/>
                    </a:cubicBezTo>
                    <a:cubicBezTo>
                      <a:pt x="42" y="340"/>
                      <a:pt x="41" y="340"/>
                      <a:pt x="41" y="341"/>
                    </a:cubicBezTo>
                    <a:cubicBezTo>
                      <a:pt x="41" y="341"/>
                      <a:pt x="41" y="341"/>
                      <a:pt x="41" y="341"/>
                    </a:cubicBezTo>
                    <a:cubicBezTo>
                      <a:pt x="41" y="341"/>
                      <a:pt x="41" y="341"/>
                      <a:pt x="41" y="342"/>
                    </a:cubicBezTo>
                    <a:cubicBezTo>
                      <a:pt x="41" y="342"/>
                      <a:pt x="41" y="342"/>
                      <a:pt x="42" y="342"/>
                    </a:cubicBezTo>
                    <a:cubicBezTo>
                      <a:pt x="42" y="342"/>
                      <a:pt x="42" y="342"/>
                      <a:pt x="42" y="342"/>
                    </a:cubicBezTo>
                    <a:cubicBezTo>
                      <a:pt x="43" y="342"/>
                      <a:pt x="43" y="342"/>
                      <a:pt x="43" y="342"/>
                    </a:cubicBezTo>
                    <a:cubicBezTo>
                      <a:pt x="43" y="342"/>
                      <a:pt x="44" y="342"/>
                      <a:pt x="44" y="342"/>
                    </a:cubicBezTo>
                    <a:cubicBezTo>
                      <a:pt x="44" y="342"/>
                      <a:pt x="44" y="342"/>
                      <a:pt x="44" y="342"/>
                    </a:cubicBezTo>
                    <a:cubicBezTo>
                      <a:pt x="43" y="343"/>
                      <a:pt x="42" y="342"/>
                      <a:pt x="42" y="343"/>
                    </a:cubicBezTo>
                    <a:close/>
                    <a:moveTo>
                      <a:pt x="32" y="329"/>
                    </a:moveTo>
                    <a:cubicBezTo>
                      <a:pt x="31" y="329"/>
                      <a:pt x="31" y="329"/>
                      <a:pt x="31" y="329"/>
                    </a:cubicBezTo>
                    <a:cubicBezTo>
                      <a:pt x="31" y="329"/>
                      <a:pt x="31" y="329"/>
                      <a:pt x="31" y="329"/>
                    </a:cubicBezTo>
                    <a:cubicBezTo>
                      <a:pt x="31" y="329"/>
                      <a:pt x="31" y="329"/>
                      <a:pt x="31" y="329"/>
                    </a:cubicBezTo>
                    <a:cubicBezTo>
                      <a:pt x="31" y="329"/>
                      <a:pt x="31" y="329"/>
                      <a:pt x="31" y="329"/>
                    </a:cubicBezTo>
                    <a:cubicBezTo>
                      <a:pt x="31" y="329"/>
                      <a:pt x="31" y="329"/>
                      <a:pt x="31" y="329"/>
                    </a:cubicBezTo>
                    <a:cubicBezTo>
                      <a:pt x="30" y="329"/>
                      <a:pt x="30" y="329"/>
                      <a:pt x="30" y="329"/>
                    </a:cubicBezTo>
                    <a:cubicBezTo>
                      <a:pt x="30" y="329"/>
                      <a:pt x="30" y="329"/>
                      <a:pt x="29" y="329"/>
                    </a:cubicBezTo>
                    <a:cubicBezTo>
                      <a:pt x="29" y="329"/>
                      <a:pt x="29" y="329"/>
                      <a:pt x="29" y="329"/>
                    </a:cubicBezTo>
                    <a:cubicBezTo>
                      <a:pt x="29" y="329"/>
                      <a:pt x="29" y="329"/>
                      <a:pt x="29" y="329"/>
                    </a:cubicBezTo>
                    <a:cubicBezTo>
                      <a:pt x="29" y="329"/>
                      <a:pt x="29" y="330"/>
                      <a:pt x="29" y="330"/>
                    </a:cubicBezTo>
                    <a:cubicBezTo>
                      <a:pt x="29" y="330"/>
                      <a:pt x="29" y="330"/>
                      <a:pt x="29" y="330"/>
                    </a:cubicBezTo>
                    <a:cubicBezTo>
                      <a:pt x="29" y="330"/>
                      <a:pt x="29" y="330"/>
                      <a:pt x="29" y="330"/>
                    </a:cubicBezTo>
                    <a:cubicBezTo>
                      <a:pt x="29" y="330"/>
                      <a:pt x="29" y="330"/>
                      <a:pt x="29" y="329"/>
                    </a:cubicBezTo>
                    <a:cubicBezTo>
                      <a:pt x="29" y="329"/>
                      <a:pt x="29" y="329"/>
                      <a:pt x="29" y="329"/>
                    </a:cubicBezTo>
                    <a:cubicBezTo>
                      <a:pt x="29" y="329"/>
                      <a:pt x="29" y="329"/>
                      <a:pt x="29" y="329"/>
                    </a:cubicBezTo>
                    <a:cubicBezTo>
                      <a:pt x="29" y="329"/>
                      <a:pt x="29" y="328"/>
                      <a:pt x="29" y="328"/>
                    </a:cubicBezTo>
                    <a:cubicBezTo>
                      <a:pt x="29" y="328"/>
                      <a:pt x="29" y="328"/>
                      <a:pt x="28" y="328"/>
                    </a:cubicBezTo>
                    <a:cubicBezTo>
                      <a:pt x="28" y="328"/>
                      <a:pt x="28" y="328"/>
                      <a:pt x="28" y="328"/>
                    </a:cubicBezTo>
                    <a:cubicBezTo>
                      <a:pt x="28" y="328"/>
                      <a:pt x="28" y="328"/>
                      <a:pt x="28" y="328"/>
                    </a:cubicBezTo>
                    <a:cubicBezTo>
                      <a:pt x="28" y="328"/>
                      <a:pt x="28" y="328"/>
                      <a:pt x="28" y="329"/>
                    </a:cubicBezTo>
                    <a:cubicBezTo>
                      <a:pt x="28" y="329"/>
                      <a:pt x="28" y="329"/>
                      <a:pt x="28" y="329"/>
                    </a:cubicBezTo>
                    <a:cubicBezTo>
                      <a:pt x="28" y="328"/>
                      <a:pt x="28" y="328"/>
                      <a:pt x="28" y="328"/>
                    </a:cubicBezTo>
                    <a:cubicBezTo>
                      <a:pt x="28" y="328"/>
                      <a:pt x="28" y="328"/>
                      <a:pt x="28" y="328"/>
                    </a:cubicBezTo>
                    <a:cubicBezTo>
                      <a:pt x="27" y="328"/>
                      <a:pt x="27" y="328"/>
                      <a:pt x="27" y="328"/>
                    </a:cubicBezTo>
                    <a:cubicBezTo>
                      <a:pt x="27" y="328"/>
                      <a:pt x="27" y="328"/>
                      <a:pt x="27" y="328"/>
                    </a:cubicBezTo>
                    <a:cubicBezTo>
                      <a:pt x="26" y="328"/>
                      <a:pt x="26" y="328"/>
                      <a:pt x="26" y="328"/>
                    </a:cubicBezTo>
                    <a:cubicBezTo>
                      <a:pt x="26" y="328"/>
                      <a:pt x="26" y="329"/>
                      <a:pt x="26" y="328"/>
                    </a:cubicBezTo>
                    <a:cubicBezTo>
                      <a:pt x="26" y="328"/>
                      <a:pt x="26" y="328"/>
                      <a:pt x="26" y="328"/>
                    </a:cubicBezTo>
                    <a:cubicBezTo>
                      <a:pt x="26" y="328"/>
                      <a:pt x="26" y="328"/>
                      <a:pt x="26" y="328"/>
                    </a:cubicBezTo>
                    <a:cubicBezTo>
                      <a:pt x="26" y="328"/>
                      <a:pt x="26" y="328"/>
                      <a:pt x="26" y="328"/>
                    </a:cubicBezTo>
                    <a:cubicBezTo>
                      <a:pt x="26" y="328"/>
                      <a:pt x="26" y="327"/>
                      <a:pt x="26" y="327"/>
                    </a:cubicBezTo>
                    <a:cubicBezTo>
                      <a:pt x="26" y="327"/>
                      <a:pt x="26" y="327"/>
                      <a:pt x="26" y="327"/>
                    </a:cubicBezTo>
                    <a:cubicBezTo>
                      <a:pt x="25" y="328"/>
                      <a:pt x="25" y="328"/>
                      <a:pt x="25" y="328"/>
                    </a:cubicBezTo>
                    <a:cubicBezTo>
                      <a:pt x="25" y="328"/>
                      <a:pt x="25" y="328"/>
                      <a:pt x="26" y="328"/>
                    </a:cubicBezTo>
                    <a:cubicBezTo>
                      <a:pt x="26" y="328"/>
                      <a:pt x="25" y="328"/>
                      <a:pt x="25" y="328"/>
                    </a:cubicBezTo>
                    <a:cubicBezTo>
                      <a:pt x="25" y="328"/>
                      <a:pt x="25" y="328"/>
                      <a:pt x="25" y="328"/>
                    </a:cubicBezTo>
                    <a:cubicBezTo>
                      <a:pt x="25" y="328"/>
                      <a:pt x="25" y="329"/>
                      <a:pt x="25" y="329"/>
                    </a:cubicBezTo>
                    <a:cubicBezTo>
                      <a:pt x="25" y="329"/>
                      <a:pt x="25" y="329"/>
                      <a:pt x="25" y="329"/>
                    </a:cubicBezTo>
                    <a:cubicBezTo>
                      <a:pt x="25" y="330"/>
                      <a:pt x="25" y="330"/>
                      <a:pt x="25" y="330"/>
                    </a:cubicBezTo>
                    <a:cubicBezTo>
                      <a:pt x="25" y="330"/>
                      <a:pt x="25" y="330"/>
                      <a:pt x="25" y="330"/>
                    </a:cubicBezTo>
                    <a:cubicBezTo>
                      <a:pt x="26" y="330"/>
                      <a:pt x="26" y="330"/>
                      <a:pt x="26" y="330"/>
                    </a:cubicBezTo>
                    <a:cubicBezTo>
                      <a:pt x="26" y="330"/>
                      <a:pt x="26" y="330"/>
                      <a:pt x="26" y="331"/>
                    </a:cubicBezTo>
                    <a:cubicBezTo>
                      <a:pt x="26" y="331"/>
                      <a:pt x="26" y="331"/>
                      <a:pt x="26" y="331"/>
                    </a:cubicBezTo>
                    <a:cubicBezTo>
                      <a:pt x="25" y="331"/>
                      <a:pt x="26" y="331"/>
                      <a:pt x="26" y="331"/>
                    </a:cubicBezTo>
                    <a:cubicBezTo>
                      <a:pt x="26" y="331"/>
                      <a:pt x="26" y="332"/>
                      <a:pt x="27" y="332"/>
                    </a:cubicBezTo>
                    <a:cubicBezTo>
                      <a:pt x="27" y="332"/>
                      <a:pt x="27" y="332"/>
                      <a:pt x="27" y="332"/>
                    </a:cubicBezTo>
                    <a:cubicBezTo>
                      <a:pt x="27" y="332"/>
                      <a:pt x="27" y="332"/>
                      <a:pt x="27" y="332"/>
                    </a:cubicBezTo>
                    <a:cubicBezTo>
                      <a:pt x="27" y="332"/>
                      <a:pt x="27" y="333"/>
                      <a:pt x="27" y="333"/>
                    </a:cubicBezTo>
                    <a:cubicBezTo>
                      <a:pt x="27" y="333"/>
                      <a:pt x="27" y="333"/>
                      <a:pt x="27" y="333"/>
                    </a:cubicBezTo>
                    <a:cubicBezTo>
                      <a:pt x="27" y="333"/>
                      <a:pt x="27" y="333"/>
                      <a:pt x="27" y="333"/>
                    </a:cubicBezTo>
                    <a:cubicBezTo>
                      <a:pt x="27" y="333"/>
                      <a:pt x="28" y="333"/>
                      <a:pt x="28" y="333"/>
                    </a:cubicBezTo>
                    <a:cubicBezTo>
                      <a:pt x="28" y="333"/>
                      <a:pt x="28" y="333"/>
                      <a:pt x="28" y="333"/>
                    </a:cubicBezTo>
                    <a:cubicBezTo>
                      <a:pt x="28" y="333"/>
                      <a:pt x="28" y="333"/>
                      <a:pt x="28" y="333"/>
                    </a:cubicBezTo>
                    <a:cubicBezTo>
                      <a:pt x="28" y="333"/>
                      <a:pt x="28" y="332"/>
                      <a:pt x="28" y="332"/>
                    </a:cubicBezTo>
                    <a:cubicBezTo>
                      <a:pt x="28" y="332"/>
                      <a:pt x="28" y="332"/>
                      <a:pt x="28" y="332"/>
                    </a:cubicBezTo>
                    <a:cubicBezTo>
                      <a:pt x="28" y="332"/>
                      <a:pt x="28" y="331"/>
                      <a:pt x="27" y="331"/>
                    </a:cubicBezTo>
                    <a:cubicBezTo>
                      <a:pt x="27" y="331"/>
                      <a:pt x="27" y="331"/>
                      <a:pt x="27" y="331"/>
                    </a:cubicBezTo>
                    <a:cubicBezTo>
                      <a:pt x="27" y="330"/>
                      <a:pt x="27" y="330"/>
                      <a:pt x="27" y="330"/>
                    </a:cubicBezTo>
                    <a:cubicBezTo>
                      <a:pt x="27" y="330"/>
                      <a:pt x="28" y="330"/>
                      <a:pt x="28" y="330"/>
                    </a:cubicBezTo>
                    <a:cubicBezTo>
                      <a:pt x="28" y="330"/>
                      <a:pt x="28" y="330"/>
                      <a:pt x="28" y="331"/>
                    </a:cubicBezTo>
                    <a:cubicBezTo>
                      <a:pt x="28" y="331"/>
                      <a:pt x="28" y="331"/>
                      <a:pt x="28" y="331"/>
                    </a:cubicBezTo>
                    <a:cubicBezTo>
                      <a:pt x="28" y="331"/>
                      <a:pt x="28" y="331"/>
                      <a:pt x="29" y="331"/>
                    </a:cubicBezTo>
                    <a:cubicBezTo>
                      <a:pt x="29" y="331"/>
                      <a:pt x="29" y="331"/>
                      <a:pt x="29" y="331"/>
                    </a:cubicBezTo>
                    <a:cubicBezTo>
                      <a:pt x="29" y="331"/>
                      <a:pt x="29" y="332"/>
                      <a:pt x="29" y="332"/>
                    </a:cubicBezTo>
                    <a:cubicBezTo>
                      <a:pt x="29" y="332"/>
                      <a:pt x="30" y="332"/>
                      <a:pt x="30" y="332"/>
                    </a:cubicBezTo>
                    <a:cubicBezTo>
                      <a:pt x="30" y="332"/>
                      <a:pt x="30" y="333"/>
                      <a:pt x="30" y="333"/>
                    </a:cubicBezTo>
                    <a:cubicBezTo>
                      <a:pt x="30" y="333"/>
                      <a:pt x="30" y="333"/>
                      <a:pt x="30" y="333"/>
                    </a:cubicBezTo>
                    <a:cubicBezTo>
                      <a:pt x="30" y="333"/>
                      <a:pt x="30" y="333"/>
                      <a:pt x="30" y="333"/>
                    </a:cubicBezTo>
                    <a:cubicBezTo>
                      <a:pt x="30" y="333"/>
                      <a:pt x="30" y="333"/>
                      <a:pt x="30" y="333"/>
                    </a:cubicBezTo>
                    <a:cubicBezTo>
                      <a:pt x="31" y="333"/>
                      <a:pt x="31" y="333"/>
                      <a:pt x="31" y="333"/>
                    </a:cubicBezTo>
                    <a:cubicBezTo>
                      <a:pt x="31" y="333"/>
                      <a:pt x="31" y="333"/>
                      <a:pt x="31" y="333"/>
                    </a:cubicBezTo>
                    <a:cubicBezTo>
                      <a:pt x="31" y="333"/>
                      <a:pt x="31" y="333"/>
                      <a:pt x="31" y="332"/>
                    </a:cubicBezTo>
                    <a:cubicBezTo>
                      <a:pt x="31" y="332"/>
                      <a:pt x="31" y="332"/>
                      <a:pt x="31" y="332"/>
                    </a:cubicBezTo>
                    <a:cubicBezTo>
                      <a:pt x="32" y="332"/>
                      <a:pt x="32" y="332"/>
                      <a:pt x="32" y="332"/>
                    </a:cubicBezTo>
                    <a:cubicBezTo>
                      <a:pt x="32" y="332"/>
                      <a:pt x="32" y="333"/>
                      <a:pt x="32" y="333"/>
                    </a:cubicBezTo>
                    <a:cubicBezTo>
                      <a:pt x="32" y="333"/>
                      <a:pt x="31" y="333"/>
                      <a:pt x="31" y="333"/>
                    </a:cubicBezTo>
                    <a:cubicBezTo>
                      <a:pt x="31" y="333"/>
                      <a:pt x="31" y="333"/>
                      <a:pt x="31" y="333"/>
                    </a:cubicBezTo>
                    <a:cubicBezTo>
                      <a:pt x="31" y="333"/>
                      <a:pt x="31" y="333"/>
                      <a:pt x="31" y="333"/>
                    </a:cubicBezTo>
                    <a:cubicBezTo>
                      <a:pt x="32" y="333"/>
                      <a:pt x="32" y="333"/>
                      <a:pt x="32" y="334"/>
                    </a:cubicBezTo>
                    <a:cubicBezTo>
                      <a:pt x="32" y="334"/>
                      <a:pt x="32" y="334"/>
                      <a:pt x="33" y="334"/>
                    </a:cubicBezTo>
                    <a:cubicBezTo>
                      <a:pt x="33" y="334"/>
                      <a:pt x="33" y="334"/>
                      <a:pt x="33" y="334"/>
                    </a:cubicBezTo>
                    <a:cubicBezTo>
                      <a:pt x="33" y="334"/>
                      <a:pt x="33" y="334"/>
                      <a:pt x="33" y="334"/>
                    </a:cubicBezTo>
                    <a:cubicBezTo>
                      <a:pt x="33" y="333"/>
                      <a:pt x="33" y="333"/>
                      <a:pt x="34" y="333"/>
                    </a:cubicBezTo>
                    <a:cubicBezTo>
                      <a:pt x="34" y="333"/>
                      <a:pt x="34" y="333"/>
                      <a:pt x="34" y="332"/>
                    </a:cubicBezTo>
                    <a:cubicBezTo>
                      <a:pt x="34" y="332"/>
                      <a:pt x="34" y="332"/>
                      <a:pt x="34" y="332"/>
                    </a:cubicBezTo>
                    <a:cubicBezTo>
                      <a:pt x="34" y="332"/>
                      <a:pt x="34" y="331"/>
                      <a:pt x="34" y="331"/>
                    </a:cubicBezTo>
                    <a:cubicBezTo>
                      <a:pt x="34" y="331"/>
                      <a:pt x="34" y="331"/>
                      <a:pt x="34" y="331"/>
                    </a:cubicBezTo>
                    <a:cubicBezTo>
                      <a:pt x="33" y="331"/>
                      <a:pt x="33" y="331"/>
                      <a:pt x="33" y="330"/>
                    </a:cubicBezTo>
                    <a:cubicBezTo>
                      <a:pt x="33" y="330"/>
                      <a:pt x="33" y="331"/>
                      <a:pt x="33" y="331"/>
                    </a:cubicBezTo>
                    <a:cubicBezTo>
                      <a:pt x="33" y="331"/>
                      <a:pt x="33" y="331"/>
                      <a:pt x="33" y="331"/>
                    </a:cubicBezTo>
                    <a:cubicBezTo>
                      <a:pt x="32" y="331"/>
                      <a:pt x="32" y="331"/>
                      <a:pt x="32" y="331"/>
                    </a:cubicBezTo>
                    <a:cubicBezTo>
                      <a:pt x="32" y="331"/>
                      <a:pt x="32" y="331"/>
                      <a:pt x="32" y="331"/>
                    </a:cubicBezTo>
                    <a:cubicBezTo>
                      <a:pt x="32" y="331"/>
                      <a:pt x="32" y="330"/>
                      <a:pt x="32" y="330"/>
                    </a:cubicBezTo>
                    <a:cubicBezTo>
                      <a:pt x="32" y="330"/>
                      <a:pt x="32" y="330"/>
                      <a:pt x="32" y="330"/>
                    </a:cubicBezTo>
                    <a:cubicBezTo>
                      <a:pt x="32" y="329"/>
                      <a:pt x="32" y="329"/>
                      <a:pt x="32" y="329"/>
                    </a:cubicBezTo>
                    <a:cubicBezTo>
                      <a:pt x="32" y="329"/>
                      <a:pt x="32" y="329"/>
                      <a:pt x="32" y="329"/>
                    </a:cubicBezTo>
                    <a:close/>
                    <a:moveTo>
                      <a:pt x="25" y="331"/>
                    </a:moveTo>
                    <a:cubicBezTo>
                      <a:pt x="25" y="331"/>
                      <a:pt x="24" y="331"/>
                      <a:pt x="24" y="331"/>
                    </a:cubicBezTo>
                    <a:cubicBezTo>
                      <a:pt x="24" y="331"/>
                      <a:pt x="24" y="331"/>
                      <a:pt x="24" y="331"/>
                    </a:cubicBezTo>
                    <a:cubicBezTo>
                      <a:pt x="24" y="331"/>
                      <a:pt x="24" y="331"/>
                      <a:pt x="24" y="331"/>
                    </a:cubicBezTo>
                    <a:cubicBezTo>
                      <a:pt x="24" y="331"/>
                      <a:pt x="24" y="331"/>
                      <a:pt x="24" y="331"/>
                    </a:cubicBezTo>
                    <a:cubicBezTo>
                      <a:pt x="23" y="332"/>
                      <a:pt x="23" y="332"/>
                      <a:pt x="23" y="332"/>
                    </a:cubicBezTo>
                    <a:cubicBezTo>
                      <a:pt x="23" y="332"/>
                      <a:pt x="23" y="332"/>
                      <a:pt x="23" y="332"/>
                    </a:cubicBezTo>
                    <a:cubicBezTo>
                      <a:pt x="23" y="332"/>
                      <a:pt x="23" y="332"/>
                      <a:pt x="23" y="332"/>
                    </a:cubicBezTo>
                    <a:cubicBezTo>
                      <a:pt x="23" y="332"/>
                      <a:pt x="24" y="332"/>
                      <a:pt x="24" y="332"/>
                    </a:cubicBezTo>
                    <a:cubicBezTo>
                      <a:pt x="24" y="332"/>
                      <a:pt x="24" y="332"/>
                      <a:pt x="24" y="332"/>
                    </a:cubicBezTo>
                    <a:cubicBezTo>
                      <a:pt x="24" y="332"/>
                      <a:pt x="24" y="332"/>
                      <a:pt x="24" y="332"/>
                    </a:cubicBezTo>
                    <a:cubicBezTo>
                      <a:pt x="25" y="332"/>
                      <a:pt x="25" y="332"/>
                      <a:pt x="25" y="331"/>
                    </a:cubicBezTo>
                    <a:cubicBezTo>
                      <a:pt x="25" y="331"/>
                      <a:pt x="25" y="331"/>
                      <a:pt x="25" y="331"/>
                    </a:cubicBezTo>
                    <a:cubicBezTo>
                      <a:pt x="25" y="331"/>
                      <a:pt x="25" y="331"/>
                      <a:pt x="25" y="331"/>
                    </a:cubicBezTo>
                    <a:close/>
                    <a:moveTo>
                      <a:pt x="24" y="334"/>
                    </a:moveTo>
                    <a:cubicBezTo>
                      <a:pt x="24" y="334"/>
                      <a:pt x="24" y="334"/>
                      <a:pt x="24" y="334"/>
                    </a:cubicBezTo>
                    <a:cubicBezTo>
                      <a:pt x="24" y="334"/>
                      <a:pt x="24" y="334"/>
                      <a:pt x="24" y="334"/>
                    </a:cubicBezTo>
                    <a:cubicBezTo>
                      <a:pt x="24" y="334"/>
                      <a:pt x="24" y="334"/>
                      <a:pt x="24" y="334"/>
                    </a:cubicBezTo>
                    <a:cubicBezTo>
                      <a:pt x="24" y="334"/>
                      <a:pt x="24" y="334"/>
                      <a:pt x="24" y="333"/>
                    </a:cubicBezTo>
                    <a:cubicBezTo>
                      <a:pt x="25" y="333"/>
                      <a:pt x="25" y="333"/>
                      <a:pt x="25" y="333"/>
                    </a:cubicBezTo>
                    <a:cubicBezTo>
                      <a:pt x="25" y="333"/>
                      <a:pt x="25" y="333"/>
                      <a:pt x="24" y="333"/>
                    </a:cubicBezTo>
                    <a:cubicBezTo>
                      <a:pt x="24" y="333"/>
                      <a:pt x="24" y="333"/>
                      <a:pt x="24" y="333"/>
                    </a:cubicBezTo>
                    <a:cubicBezTo>
                      <a:pt x="24" y="333"/>
                      <a:pt x="24" y="333"/>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4" y="334"/>
                    </a:cubicBezTo>
                    <a:close/>
                    <a:moveTo>
                      <a:pt x="37" y="342"/>
                    </a:moveTo>
                    <a:cubicBezTo>
                      <a:pt x="37" y="342"/>
                      <a:pt x="37" y="342"/>
                      <a:pt x="37" y="342"/>
                    </a:cubicBezTo>
                    <a:cubicBezTo>
                      <a:pt x="37" y="342"/>
                      <a:pt x="37" y="342"/>
                      <a:pt x="37" y="342"/>
                    </a:cubicBezTo>
                    <a:cubicBezTo>
                      <a:pt x="36" y="342"/>
                      <a:pt x="36"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8" y="343"/>
                    </a:cubicBezTo>
                    <a:cubicBezTo>
                      <a:pt x="38" y="343"/>
                      <a:pt x="38" y="343"/>
                      <a:pt x="38" y="343"/>
                    </a:cubicBezTo>
                    <a:cubicBezTo>
                      <a:pt x="38" y="343"/>
                      <a:pt x="38" y="343"/>
                      <a:pt x="38" y="343"/>
                    </a:cubicBezTo>
                    <a:cubicBezTo>
                      <a:pt x="38" y="343"/>
                      <a:pt x="38" y="343"/>
                      <a:pt x="38" y="343"/>
                    </a:cubicBezTo>
                    <a:cubicBezTo>
                      <a:pt x="38" y="343"/>
                      <a:pt x="38" y="343"/>
                      <a:pt x="38" y="343"/>
                    </a:cubicBezTo>
                    <a:cubicBezTo>
                      <a:pt x="38" y="343"/>
                      <a:pt x="38" y="342"/>
                      <a:pt x="38" y="342"/>
                    </a:cubicBezTo>
                    <a:cubicBezTo>
                      <a:pt x="38" y="342"/>
                      <a:pt x="38" y="342"/>
                      <a:pt x="38" y="342"/>
                    </a:cubicBezTo>
                    <a:cubicBezTo>
                      <a:pt x="38" y="342"/>
                      <a:pt x="38" y="342"/>
                      <a:pt x="38" y="342"/>
                    </a:cubicBezTo>
                    <a:cubicBezTo>
                      <a:pt x="37" y="342"/>
                      <a:pt x="37" y="342"/>
                      <a:pt x="37" y="342"/>
                    </a:cubicBezTo>
                    <a:cubicBezTo>
                      <a:pt x="37" y="342"/>
                      <a:pt x="37" y="342"/>
                      <a:pt x="37" y="342"/>
                    </a:cubicBezTo>
                    <a:close/>
                    <a:moveTo>
                      <a:pt x="38" y="341"/>
                    </a:moveTo>
                    <a:cubicBezTo>
                      <a:pt x="38" y="340"/>
                      <a:pt x="38" y="340"/>
                      <a:pt x="38" y="340"/>
                    </a:cubicBezTo>
                    <a:cubicBezTo>
                      <a:pt x="38" y="340"/>
                      <a:pt x="37" y="340"/>
                      <a:pt x="37" y="340"/>
                    </a:cubicBezTo>
                    <a:cubicBezTo>
                      <a:pt x="37" y="340"/>
                      <a:pt x="37" y="340"/>
                      <a:pt x="37" y="341"/>
                    </a:cubicBezTo>
                    <a:cubicBezTo>
                      <a:pt x="37" y="341"/>
                      <a:pt x="37" y="341"/>
                      <a:pt x="37" y="341"/>
                    </a:cubicBezTo>
                    <a:cubicBezTo>
                      <a:pt x="37" y="341"/>
                      <a:pt x="36" y="341"/>
                      <a:pt x="36" y="341"/>
                    </a:cubicBezTo>
                    <a:cubicBezTo>
                      <a:pt x="36" y="341"/>
                      <a:pt x="36" y="341"/>
                      <a:pt x="36" y="341"/>
                    </a:cubicBezTo>
                    <a:cubicBezTo>
                      <a:pt x="36" y="341"/>
                      <a:pt x="36" y="341"/>
                      <a:pt x="36" y="341"/>
                    </a:cubicBezTo>
                    <a:cubicBezTo>
                      <a:pt x="36" y="341"/>
                      <a:pt x="36" y="341"/>
                      <a:pt x="36" y="341"/>
                    </a:cubicBezTo>
                    <a:cubicBezTo>
                      <a:pt x="36" y="341"/>
                      <a:pt x="36" y="341"/>
                      <a:pt x="36" y="341"/>
                    </a:cubicBezTo>
                    <a:cubicBezTo>
                      <a:pt x="36" y="341"/>
                      <a:pt x="35" y="341"/>
                      <a:pt x="35" y="341"/>
                    </a:cubicBezTo>
                    <a:cubicBezTo>
                      <a:pt x="35" y="341"/>
                      <a:pt x="35" y="341"/>
                      <a:pt x="35" y="341"/>
                    </a:cubicBezTo>
                    <a:cubicBezTo>
                      <a:pt x="35" y="341"/>
                      <a:pt x="35" y="341"/>
                      <a:pt x="34" y="341"/>
                    </a:cubicBezTo>
                    <a:cubicBezTo>
                      <a:pt x="34" y="341"/>
                      <a:pt x="34" y="341"/>
                      <a:pt x="34" y="341"/>
                    </a:cubicBezTo>
                    <a:cubicBezTo>
                      <a:pt x="34" y="341"/>
                      <a:pt x="34" y="341"/>
                      <a:pt x="34" y="341"/>
                    </a:cubicBezTo>
                    <a:cubicBezTo>
                      <a:pt x="34" y="341"/>
                      <a:pt x="34" y="341"/>
                      <a:pt x="34" y="342"/>
                    </a:cubicBezTo>
                    <a:cubicBezTo>
                      <a:pt x="34" y="342"/>
                      <a:pt x="34" y="342"/>
                      <a:pt x="34" y="342"/>
                    </a:cubicBezTo>
                    <a:cubicBezTo>
                      <a:pt x="34" y="342"/>
                      <a:pt x="34" y="342"/>
                      <a:pt x="34" y="342"/>
                    </a:cubicBezTo>
                    <a:cubicBezTo>
                      <a:pt x="34" y="342"/>
                      <a:pt x="34" y="342"/>
                      <a:pt x="34" y="342"/>
                    </a:cubicBezTo>
                    <a:cubicBezTo>
                      <a:pt x="34" y="342"/>
                      <a:pt x="34" y="342"/>
                      <a:pt x="34" y="342"/>
                    </a:cubicBezTo>
                    <a:cubicBezTo>
                      <a:pt x="35" y="342"/>
                      <a:pt x="35" y="342"/>
                      <a:pt x="35" y="342"/>
                    </a:cubicBezTo>
                    <a:cubicBezTo>
                      <a:pt x="35" y="342"/>
                      <a:pt x="35" y="342"/>
                      <a:pt x="36" y="342"/>
                    </a:cubicBezTo>
                    <a:cubicBezTo>
                      <a:pt x="36" y="342"/>
                      <a:pt x="36" y="343"/>
                      <a:pt x="36" y="343"/>
                    </a:cubicBezTo>
                    <a:cubicBezTo>
                      <a:pt x="36" y="343"/>
                      <a:pt x="36" y="343"/>
                      <a:pt x="36" y="343"/>
                    </a:cubicBezTo>
                    <a:cubicBezTo>
                      <a:pt x="36" y="343"/>
                      <a:pt x="36" y="343"/>
                      <a:pt x="36" y="342"/>
                    </a:cubicBezTo>
                    <a:cubicBezTo>
                      <a:pt x="36" y="342"/>
                      <a:pt x="36" y="342"/>
                      <a:pt x="36" y="342"/>
                    </a:cubicBezTo>
                    <a:cubicBezTo>
                      <a:pt x="36" y="342"/>
                      <a:pt x="36" y="342"/>
                      <a:pt x="36" y="342"/>
                    </a:cubicBezTo>
                    <a:cubicBezTo>
                      <a:pt x="36" y="342"/>
                      <a:pt x="36" y="342"/>
                      <a:pt x="36" y="342"/>
                    </a:cubicBezTo>
                    <a:cubicBezTo>
                      <a:pt x="36" y="342"/>
                      <a:pt x="36" y="342"/>
                      <a:pt x="37" y="342"/>
                    </a:cubicBezTo>
                    <a:cubicBezTo>
                      <a:pt x="37" y="342"/>
                      <a:pt x="37" y="342"/>
                      <a:pt x="37" y="342"/>
                    </a:cubicBezTo>
                    <a:cubicBezTo>
                      <a:pt x="37" y="342"/>
                      <a:pt x="37" y="341"/>
                      <a:pt x="37" y="341"/>
                    </a:cubicBezTo>
                    <a:cubicBezTo>
                      <a:pt x="37" y="341"/>
                      <a:pt x="37" y="341"/>
                      <a:pt x="37" y="341"/>
                    </a:cubicBezTo>
                    <a:cubicBezTo>
                      <a:pt x="37" y="341"/>
                      <a:pt x="37" y="341"/>
                      <a:pt x="38" y="341"/>
                    </a:cubicBezTo>
                    <a:cubicBezTo>
                      <a:pt x="38" y="342"/>
                      <a:pt x="38" y="342"/>
                      <a:pt x="38" y="342"/>
                    </a:cubicBezTo>
                    <a:cubicBezTo>
                      <a:pt x="38" y="342"/>
                      <a:pt x="38" y="342"/>
                      <a:pt x="38" y="342"/>
                    </a:cubicBezTo>
                    <a:cubicBezTo>
                      <a:pt x="38" y="342"/>
                      <a:pt x="38" y="342"/>
                      <a:pt x="38" y="342"/>
                    </a:cubicBezTo>
                    <a:cubicBezTo>
                      <a:pt x="38" y="341"/>
                      <a:pt x="38" y="341"/>
                      <a:pt x="38" y="341"/>
                    </a:cubicBezTo>
                    <a:cubicBezTo>
                      <a:pt x="38" y="341"/>
                      <a:pt x="39" y="341"/>
                      <a:pt x="38" y="341"/>
                    </a:cubicBezTo>
                    <a:cubicBezTo>
                      <a:pt x="38" y="341"/>
                      <a:pt x="38" y="341"/>
                      <a:pt x="38" y="341"/>
                    </a:cubicBezTo>
                    <a:cubicBezTo>
                      <a:pt x="38" y="341"/>
                      <a:pt x="38" y="341"/>
                      <a:pt x="38" y="341"/>
                    </a:cubicBezTo>
                    <a:close/>
                    <a:moveTo>
                      <a:pt x="30" y="340"/>
                    </a:moveTo>
                    <a:cubicBezTo>
                      <a:pt x="30" y="340"/>
                      <a:pt x="31" y="340"/>
                      <a:pt x="31" y="341"/>
                    </a:cubicBezTo>
                    <a:cubicBezTo>
                      <a:pt x="31" y="341"/>
                      <a:pt x="31" y="341"/>
                      <a:pt x="31" y="341"/>
                    </a:cubicBezTo>
                    <a:cubicBezTo>
                      <a:pt x="31" y="340"/>
                      <a:pt x="31" y="340"/>
                      <a:pt x="31" y="340"/>
                    </a:cubicBezTo>
                    <a:cubicBezTo>
                      <a:pt x="31" y="340"/>
                      <a:pt x="31" y="340"/>
                      <a:pt x="32" y="340"/>
                    </a:cubicBezTo>
                    <a:cubicBezTo>
                      <a:pt x="32" y="340"/>
                      <a:pt x="32" y="340"/>
                      <a:pt x="32" y="340"/>
                    </a:cubicBezTo>
                    <a:cubicBezTo>
                      <a:pt x="32" y="340"/>
                      <a:pt x="32" y="340"/>
                      <a:pt x="32" y="340"/>
                    </a:cubicBezTo>
                    <a:cubicBezTo>
                      <a:pt x="32" y="340"/>
                      <a:pt x="32" y="340"/>
                      <a:pt x="32" y="340"/>
                    </a:cubicBezTo>
                    <a:cubicBezTo>
                      <a:pt x="32" y="340"/>
                      <a:pt x="33" y="340"/>
                      <a:pt x="33" y="340"/>
                    </a:cubicBezTo>
                    <a:cubicBezTo>
                      <a:pt x="33" y="340"/>
                      <a:pt x="33" y="340"/>
                      <a:pt x="33" y="340"/>
                    </a:cubicBezTo>
                    <a:cubicBezTo>
                      <a:pt x="33" y="340"/>
                      <a:pt x="33" y="340"/>
                      <a:pt x="33" y="340"/>
                    </a:cubicBezTo>
                    <a:cubicBezTo>
                      <a:pt x="33" y="340"/>
                      <a:pt x="32" y="340"/>
                      <a:pt x="32" y="339"/>
                    </a:cubicBezTo>
                    <a:cubicBezTo>
                      <a:pt x="32" y="339"/>
                      <a:pt x="32" y="339"/>
                      <a:pt x="32" y="339"/>
                    </a:cubicBezTo>
                    <a:cubicBezTo>
                      <a:pt x="32" y="339"/>
                      <a:pt x="31" y="339"/>
                      <a:pt x="31" y="339"/>
                    </a:cubicBezTo>
                    <a:cubicBezTo>
                      <a:pt x="31" y="339"/>
                      <a:pt x="31" y="339"/>
                      <a:pt x="31" y="339"/>
                    </a:cubicBezTo>
                    <a:cubicBezTo>
                      <a:pt x="31" y="339"/>
                      <a:pt x="31" y="339"/>
                      <a:pt x="31" y="339"/>
                    </a:cubicBezTo>
                    <a:cubicBezTo>
                      <a:pt x="31" y="340"/>
                      <a:pt x="31" y="340"/>
                      <a:pt x="30" y="340"/>
                    </a:cubicBezTo>
                    <a:cubicBezTo>
                      <a:pt x="30" y="340"/>
                      <a:pt x="30" y="340"/>
                      <a:pt x="30" y="340"/>
                    </a:cubicBezTo>
                    <a:cubicBezTo>
                      <a:pt x="30" y="340"/>
                      <a:pt x="30" y="340"/>
                      <a:pt x="30" y="340"/>
                    </a:cubicBezTo>
                    <a:close/>
                    <a:moveTo>
                      <a:pt x="33" y="341"/>
                    </a:moveTo>
                    <a:cubicBezTo>
                      <a:pt x="33" y="341"/>
                      <a:pt x="33" y="341"/>
                      <a:pt x="33" y="341"/>
                    </a:cubicBezTo>
                    <a:cubicBezTo>
                      <a:pt x="33" y="341"/>
                      <a:pt x="34" y="341"/>
                      <a:pt x="34" y="340"/>
                    </a:cubicBezTo>
                    <a:cubicBezTo>
                      <a:pt x="34" y="340"/>
                      <a:pt x="34" y="340"/>
                      <a:pt x="34" y="340"/>
                    </a:cubicBezTo>
                    <a:cubicBezTo>
                      <a:pt x="33" y="340"/>
                      <a:pt x="33" y="340"/>
                      <a:pt x="33" y="340"/>
                    </a:cubicBezTo>
                    <a:cubicBezTo>
                      <a:pt x="33" y="340"/>
                      <a:pt x="33" y="340"/>
                      <a:pt x="33" y="340"/>
                    </a:cubicBezTo>
                    <a:cubicBezTo>
                      <a:pt x="33" y="341"/>
                      <a:pt x="33" y="341"/>
                      <a:pt x="32" y="341"/>
                    </a:cubicBezTo>
                    <a:cubicBezTo>
                      <a:pt x="32" y="341"/>
                      <a:pt x="32" y="341"/>
                      <a:pt x="32" y="341"/>
                    </a:cubicBezTo>
                    <a:cubicBezTo>
                      <a:pt x="32" y="341"/>
                      <a:pt x="32" y="342"/>
                      <a:pt x="32" y="342"/>
                    </a:cubicBezTo>
                    <a:cubicBezTo>
                      <a:pt x="32" y="342"/>
                      <a:pt x="32" y="342"/>
                      <a:pt x="33" y="341"/>
                    </a:cubicBezTo>
                    <a:cubicBezTo>
                      <a:pt x="33" y="341"/>
                      <a:pt x="33" y="341"/>
                      <a:pt x="33" y="341"/>
                    </a:cubicBezTo>
                    <a:close/>
                    <a:moveTo>
                      <a:pt x="17" y="324"/>
                    </a:moveTo>
                    <a:cubicBezTo>
                      <a:pt x="17" y="324"/>
                      <a:pt x="17" y="324"/>
                      <a:pt x="17" y="324"/>
                    </a:cubicBezTo>
                    <a:cubicBezTo>
                      <a:pt x="17" y="323"/>
                      <a:pt x="17" y="323"/>
                      <a:pt x="17" y="323"/>
                    </a:cubicBezTo>
                    <a:cubicBezTo>
                      <a:pt x="17" y="323"/>
                      <a:pt x="17" y="323"/>
                      <a:pt x="17" y="323"/>
                    </a:cubicBezTo>
                    <a:cubicBezTo>
                      <a:pt x="16" y="323"/>
                      <a:pt x="16" y="323"/>
                      <a:pt x="17" y="323"/>
                    </a:cubicBezTo>
                    <a:cubicBezTo>
                      <a:pt x="17" y="322"/>
                      <a:pt x="17" y="322"/>
                      <a:pt x="16" y="322"/>
                    </a:cubicBezTo>
                    <a:cubicBezTo>
                      <a:pt x="16" y="322"/>
                      <a:pt x="16" y="322"/>
                      <a:pt x="16" y="322"/>
                    </a:cubicBezTo>
                    <a:cubicBezTo>
                      <a:pt x="16" y="322"/>
                      <a:pt x="16" y="322"/>
                      <a:pt x="16" y="322"/>
                    </a:cubicBezTo>
                    <a:cubicBezTo>
                      <a:pt x="15" y="322"/>
                      <a:pt x="15" y="322"/>
                      <a:pt x="15" y="322"/>
                    </a:cubicBezTo>
                    <a:cubicBezTo>
                      <a:pt x="15" y="323"/>
                      <a:pt x="15" y="323"/>
                      <a:pt x="16" y="324"/>
                    </a:cubicBezTo>
                    <a:cubicBezTo>
                      <a:pt x="15" y="324"/>
                      <a:pt x="15" y="323"/>
                      <a:pt x="14" y="323"/>
                    </a:cubicBezTo>
                    <a:cubicBezTo>
                      <a:pt x="14" y="323"/>
                      <a:pt x="14" y="323"/>
                      <a:pt x="14" y="323"/>
                    </a:cubicBezTo>
                    <a:cubicBezTo>
                      <a:pt x="14" y="323"/>
                      <a:pt x="14" y="323"/>
                      <a:pt x="14" y="324"/>
                    </a:cubicBezTo>
                    <a:cubicBezTo>
                      <a:pt x="14" y="324"/>
                      <a:pt x="14" y="324"/>
                      <a:pt x="14" y="324"/>
                    </a:cubicBezTo>
                    <a:cubicBezTo>
                      <a:pt x="14" y="324"/>
                      <a:pt x="14" y="324"/>
                      <a:pt x="14" y="325"/>
                    </a:cubicBezTo>
                    <a:cubicBezTo>
                      <a:pt x="14" y="325"/>
                      <a:pt x="14" y="325"/>
                      <a:pt x="14" y="325"/>
                    </a:cubicBezTo>
                    <a:cubicBezTo>
                      <a:pt x="15" y="325"/>
                      <a:pt x="15" y="325"/>
                      <a:pt x="15" y="325"/>
                    </a:cubicBezTo>
                    <a:cubicBezTo>
                      <a:pt x="15" y="324"/>
                      <a:pt x="15" y="324"/>
                      <a:pt x="15" y="324"/>
                    </a:cubicBezTo>
                    <a:cubicBezTo>
                      <a:pt x="15" y="324"/>
                      <a:pt x="16" y="324"/>
                      <a:pt x="16" y="324"/>
                    </a:cubicBezTo>
                    <a:cubicBezTo>
                      <a:pt x="16" y="325"/>
                      <a:pt x="16" y="325"/>
                      <a:pt x="16" y="325"/>
                    </a:cubicBezTo>
                    <a:cubicBezTo>
                      <a:pt x="17" y="325"/>
                      <a:pt x="17" y="325"/>
                      <a:pt x="17" y="325"/>
                    </a:cubicBezTo>
                    <a:cubicBezTo>
                      <a:pt x="17" y="325"/>
                      <a:pt x="17" y="325"/>
                      <a:pt x="17" y="325"/>
                    </a:cubicBezTo>
                    <a:cubicBezTo>
                      <a:pt x="17" y="325"/>
                      <a:pt x="17" y="324"/>
                      <a:pt x="17" y="324"/>
                    </a:cubicBezTo>
                    <a:cubicBezTo>
                      <a:pt x="17" y="324"/>
                      <a:pt x="17" y="324"/>
                      <a:pt x="17" y="324"/>
                    </a:cubicBezTo>
                    <a:cubicBezTo>
                      <a:pt x="17" y="324"/>
                      <a:pt x="17" y="324"/>
                      <a:pt x="18" y="324"/>
                    </a:cubicBezTo>
                    <a:cubicBezTo>
                      <a:pt x="18" y="324"/>
                      <a:pt x="18" y="325"/>
                      <a:pt x="18" y="325"/>
                    </a:cubicBezTo>
                    <a:cubicBezTo>
                      <a:pt x="18" y="325"/>
                      <a:pt x="19" y="325"/>
                      <a:pt x="19" y="325"/>
                    </a:cubicBezTo>
                    <a:cubicBezTo>
                      <a:pt x="19" y="325"/>
                      <a:pt x="19" y="325"/>
                      <a:pt x="19" y="324"/>
                    </a:cubicBezTo>
                    <a:cubicBezTo>
                      <a:pt x="19" y="324"/>
                      <a:pt x="19" y="324"/>
                      <a:pt x="19" y="324"/>
                    </a:cubicBezTo>
                    <a:cubicBezTo>
                      <a:pt x="19" y="325"/>
                      <a:pt x="19" y="325"/>
                      <a:pt x="19" y="325"/>
                    </a:cubicBezTo>
                    <a:cubicBezTo>
                      <a:pt x="19" y="325"/>
                      <a:pt x="19" y="326"/>
                      <a:pt x="19" y="326"/>
                    </a:cubicBezTo>
                    <a:cubicBezTo>
                      <a:pt x="19" y="326"/>
                      <a:pt x="19" y="326"/>
                      <a:pt x="19" y="326"/>
                    </a:cubicBezTo>
                    <a:cubicBezTo>
                      <a:pt x="19" y="326"/>
                      <a:pt x="20" y="326"/>
                      <a:pt x="20" y="326"/>
                    </a:cubicBezTo>
                    <a:cubicBezTo>
                      <a:pt x="20" y="326"/>
                      <a:pt x="20" y="326"/>
                      <a:pt x="20" y="326"/>
                    </a:cubicBezTo>
                    <a:cubicBezTo>
                      <a:pt x="20" y="326"/>
                      <a:pt x="20" y="326"/>
                      <a:pt x="20" y="326"/>
                    </a:cubicBezTo>
                    <a:cubicBezTo>
                      <a:pt x="20" y="326"/>
                      <a:pt x="20" y="326"/>
                      <a:pt x="19" y="326"/>
                    </a:cubicBezTo>
                    <a:cubicBezTo>
                      <a:pt x="19" y="326"/>
                      <a:pt x="19" y="326"/>
                      <a:pt x="19" y="326"/>
                    </a:cubicBezTo>
                    <a:cubicBezTo>
                      <a:pt x="19" y="326"/>
                      <a:pt x="19" y="326"/>
                      <a:pt x="19" y="327"/>
                    </a:cubicBezTo>
                    <a:cubicBezTo>
                      <a:pt x="19" y="327"/>
                      <a:pt x="19" y="327"/>
                      <a:pt x="19" y="327"/>
                    </a:cubicBezTo>
                    <a:cubicBezTo>
                      <a:pt x="19" y="327"/>
                      <a:pt x="19" y="327"/>
                      <a:pt x="19" y="327"/>
                    </a:cubicBezTo>
                    <a:cubicBezTo>
                      <a:pt x="20" y="327"/>
                      <a:pt x="20" y="327"/>
                      <a:pt x="20" y="327"/>
                    </a:cubicBezTo>
                    <a:cubicBezTo>
                      <a:pt x="19" y="327"/>
                      <a:pt x="19" y="327"/>
                      <a:pt x="19" y="328"/>
                    </a:cubicBezTo>
                    <a:cubicBezTo>
                      <a:pt x="19" y="328"/>
                      <a:pt x="19" y="328"/>
                      <a:pt x="20" y="328"/>
                    </a:cubicBezTo>
                    <a:cubicBezTo>
                      <a:pt x="20" y="328"/>
                      <a:pt x="20" y="328"/>
                      <a:pt x="20" y="328"/>
                    </a:cubicBezTo>
                    <a:cubicBezTo>
                      <a:pt x="20" y="328"/>
                      <a:pt x="20" y="328"/>
                      <a:pt x="20" y="328"/>
                    </a:cubicBezTo>
                    <a:cubicBezTo>
                      <a:pt x="20" y="328"/>
                      <a:pt x="20" y="328"/>
                      <a:pt x="20" y="329"/>
                    </a:cubicBezTo>
                    <a:cubicBezTo>
                      <a:pt x="20" y="329"/>
                      <a:pt x="20" y="329"/>
                      <a:pt x="21" y="329"/>
                    </a:cubicBezTo>
                    <a:cubicBezTo>
                      <a:pt x="21" y="328"/>
                      <a:pt x="20" y="328"/>
                      <a:pt x="20" y="328"/>
                    </a:cubicBezTo>
                    <a:cubicBezTo>
                      <a:pt x="20" y="328"/>
                      <a:pt x="20" y="327"/>
                      <a:pt x="20" y="327"/>
                    </a:cubicBezTo>
                    <a:cubicBezTo>
                      <a:pt x="20" y="327"/>
                      <a:pt x="20" y="327"/>
                      <a:pt x="21" y="327"/>
                    </a:cubicBezTo>
                    <a:cubicBezTo>
                      <a:pt x="21" y="327"/>
                      <a:pt x="21" y="327"/>
                      <a:pt x="21" y="327"/>
                    </a:cubicBezTo>
                    <a:cubicBezTo>
                      <a:pt x="21" y="327"/>
                      <a:pt x="21" y="327"/>
                      <a:pt x="21" y="327"/>
                    </a:cubicBezTo>
                    <a:cubicBezTo>
                      <a:pt x="21" y="328"/>
                      <a:pt x="21" y="328"/>
                      <a:pt x="21" y="328"/>
                    </a:cubicBezTo>
                    <a:cubicBezTo>
                      <a:pt x="21" y="328"/>
                      <a:pt x="21" y="329"/>
                      <a:pt x="21" y="329"/>
                    </a:cubicBezTo>
                    <a:cubicBezTo>
                      <a:pt x="21" y="329"/>
                      <a:pt x="21" y="329"/>
                      <a:pt x="21" y="329"/>
                    </a:cubicBezTo>
                    <a:cubicBezTo>
                      <a:pt x="21" y="329"/>
                      <a:pt x="21" y="329"/>
                      <a:pt x="20" y="329"/>
                    </a:cubicBezTo>
                    <a:cubicBezTo>
                      <a:pt x="20" y="329"/>
                      <a:pt x="20" y="329"/>
                      <a:pt x="20" y="329"/>
                    </a:cubicBezTo>
                    <a:cubicBezTo>
                      <a:pt x="20" y="329"/>
                      <a:pt x="20" y="329"/>
                      <a:pt x="20" y="329"/>
                    </a:cubicBezTo>
                    <a:cubicBezTo>
                      <a:pt x="21" y="329"/>
                      <a:pt x="21" y="330"/>
                      <a:pt x="21" y="330"/>
                    </a:cubicBezTo>
                    <a:cubicBezTo>
                      <a:pt x="21" y="330"/>
                      <a:pt x="21" y="330"/>
                      <a:pt x="21" y="330"/>
                    </a:cubicBezTo>
                    <a:cubicBezTo>
                      <a:pt x="21" y="330"/>
                      <a:pt x="21" y="330"/>
                      <a:pt x="21" y="330"/>
                    </a:cubicBezTo>
                    <a:cubicBezTo>
                      <a:pt x="21" y="330"/>
                      <a:pt x="21" y="330"/>
                      <a:pt x="21" y="330"/>
                    </a:cubicBezTo>
                    <a:cubicBezTo>
                      <a:pt x="21" y="330"/>
                      <a:pt x="20" y="330"/>
                      <a:pt x="20" y="330"/>
                    </a:cubicBezTo>
                    <a:cubicBezTo>
                      <a:pt x="21" y="331"/>
                      <a:pt x="22" y="331"/>
                      <a:pt x="22" y="330"/>
                    </a:cubicBezTo>
                    <a:cubicBezTo>
                      <a:pt x="22" y="330"/>
                      <a:pt x="22" y="330"/>
                      <a:pt x="22" y="330"/>
                    </a:cubicBezTo>
                    <a:cubicBezTo>
                      <a:pt x="23" y="330"/>
                      <a:pt x="23" y="330"/>
                      <a:pt x="23" y="330"/>
                    </a:cubicBezTo>
                    <a:cubicBezTo>
                      <a:pt x="23" y="330"/>
                      <a:pt x="23" y="330"/>
                      <a:pt x="23" y="330"/>
                    </a:cubicBezTo>
                    <a:cubicBezTo>
                      <a:pt x="23" y="329"/>
                      <a:pt x="23" y="330"/>
                      <a:pt x="24" y="330"/>
                    </a:cubicBezTo>
                    <a:cubicBezTo>
                      <a:pt x="24" y="330"/>
                      <a:pt x="24" y="330"/>
                      <a:pt x="24" y="329"/>
                    </a:cubicBezTo>
                    <a:cubicBezTo>
                      <a:pt x="24" y="329"/>
                      <a:pt x="24" y="329"/>
                      <a:pt x="24" y="329"/>
                    </a:cubicBezTo>
                    <a:cubicBezTo>
                      <a:pt x="24" y="328"/>
                      <a:pt x="24" y="328"/>
                      <a:pt x="24" y="328"/>
                    </a:cubicBezTo>
                    <a:cubicBezTo>
                      <a:pt x="24" y="328"/>
                      <a:pt x="24" y="327"/>
                      <a:pt x="25" y="327"/>
                    </a:cubicBezTo>
                    <a:cubicBezTo>
                      <a:pt x="25" y="327"/>
                      <a:pt x="25" y="327"/>
                      <a:pt x="25" y="327"/>
                    </a:cubicBezTo>
                    <a:cubicBezTo>
                      <a:pt x="25" y="328"/>
                      <a:pt x="25" y="328"/>
                      <a:pt x="25" y="327"/>
                    </a:cubicBezTo>
                    <a:cubicBezTo>
                      <a:pt x="25" y="327"/>
                      <a:pt x="25" y="327"/>
                      <a:pt x="25" y="327"/>
                    </a:cubicBezTo>
                    <a:cubicBezTo>
                      <a:pt x="25" y="327"/>
                      <a:pt x="25" y="327"/>
                      <a:pt x="25" y="327"/>
                    </a:cubicBezTo>
                    <a:cubicBezTo>
                      <a:pt x="25" y="326"/>
                      <a:pt x="25" y="327"/>
                      <a:pt x="25" y="326"/>
                    </a:cubicBezTo>
                    <a:cubicBezTo>
                      <a:pt x="24" y="326"/>
                      <a:pt x="25" y="326"/>
                      <a:pt x="25" y="326"/>
                    </a:cubicBezTo>
                    <a:cubicBezTo>
                      <a:pt x="25" y="326"/>
                      <a:pt x="24" y="326"/>
                      <a:pt x="24" y="326"/>
                    </a:cubicBezTo>
                    <a:cubicBezTo>
                      <a:pt x="24" y="326"/>
                      <a:pt x="24" y="326"/>
                      <a:pt x="24" y="326"/>
                    </a:cubicBezTo>
                    <a:cubicBezTo>
                      <a:pt x="24" y="326"/>
                      <a:pt x="23" y="326"/>
                      <a:pt x="23" y="326"/>
                    </a:cubicBezTo>
                    <a:cubicBezTo>
                      <a:pt x="23" y="326"/>
                      <a:pt x="23" y="326"/>
                      <a:pt x="23" y="326"/>
                    </a:cubicBezTo>
                    <a:cubicBezTo>
                      <a:pt x="23" y="326"/>
                      <a:pt x="23" y="326"/>
                      <a:pt x="23" y="326"/>
                    </a:cubicBezTo>
                    <a:cubicBezTo>
                      <a:pt x="23" y="325"/>
                      <a:pt x="23" y="325"/>
                      <a:pt x="23" y="325"/>
                    </a:cubicBezTo>
                    <a:cubicBezTo>
                      <a:pt x="23" y="325"/>
                      <a:pt x="23" y="325"/>
                      <a:pt x="23" y="325"/>
                    </a:cubicBezTo>
                    <a:cubicBezTo>
                      <a:pt x="23" y="325"/>
                      <a:pt x="24" y="325"/>
                      <a:pt x="24" y="325"/>
                    </a:cubicBezTo>
                    <a:cubicBezTo>
                      <a:pt x="24" y="325"/>
                      <a:pt x="24" y="325"/>
                      <a:pt x="25" y="325"/>
                    </a:cubicBezTo>
                    <a:cubicBezTo>
                      <a:pt x="25" y="325"/>
                      <a:pt x="25" y="325"/>
                      <a:pt x="25" y="325"/>
                    </a:cubicBezTo>
                    <a:cubicBezTo>
                      <a:pt x="24" y="325"/>
                      <a:pt x="24" y="325"/>
                      <a:pt x="24" y="324"/>
                    </a:cubicBezTo>
                    <a:cubicBezTo>
                      <a:pt x="24" y="325"/>
                      <a:pt x="24" y="325"/>
                      <a:pt x="23" y="325"/>
                    </a:cubicBezTo>
                    <a:cubicBezTo>
                      <a:pt x="23" y="325"/>
                      <a:pt x="23" y="324"/>
                      <a:pt x="23" y="324"/>
                    </a:cubicBezTo>
                    <a:cubicBezTo>
                      <a:pt x="23" y="324"/>
                      <a:pt x="22" y="324"/>
                      <a:pt x="22" y="324"/>
                    </a:cubicBezTo>
                    <a:cubicBezTo>
                      <a:pt x="22" y="324"/>
                      <a:pt x="22" y="324"/>
                      <a:pt x="22" y="325"/>
                    </a:cubicBezTo>
                    <a:cubicBezTo>
                      <a:pt x="22" y="325"/>
                      <a:pt x="22" y="325"/>
                      <a:pt x="22" y="325"/>
                    </a:cubicBezTo>
                    <a:cubicBezTo>
                      <a:pt x="21" y="324"/>
                      <a:pt x="22" y="324"/>
                      <a:pt x="21" y="324"/>
                    </a:cubicBezTo>
                    <a:cubicBezTo>
                      <a:pt x="21" y="323"/>
                      <a:pt x="21" y="323"/>
                      <a:pt x="21" y="323"/>
                    </a:cubicBezTo>
                    <a:cubicBezTo>
                      <a:pt x="21" y="323"/>
                      <a:pt x="21" y="324"/>
                      <a:pt x="21" y="324"/>
                    </a:cubicBezTo>
                    <a:cubicBezTo>
                      <a:pt x="21" y="324"/>
                      <a:pt x="21" y="324"/>
                      <a:pt x="21" y="324"/>
                    </a:cubicBezTo>
                    <a:cubicBezTo>
                      <a:pt x="21" y="324"/>
                      <a:pt x="21" y="324"/>
                      <a:pt x="21" y="324"/>
                    </a:cubicBezTo>
                    <a:cubicBezTo>
                      <a:pt x="21" y="324"/>
                      <a:pt x="20" y="324"/>
                      <a:pt x="20" y="324"/>
                    </a:cubicBezTo>
                    <a:cubicBezTo>
                      <a:pt x="20" y="324"/>
                      <a:pt x="20" y="324"/>
                      <a:pt x="20" y="324"/>
                    </a:cubicBezTo>
                    <a:cubicBezTo>
                      <a:pt x="20" y="324"/>
                      <a:pt x="20" y="324"/>
                      <a:pt x="20" y="324"/>
                    </a:cubicBezTo>
                    <a:cubicBezTo>
                      <a:pt x="20" y="323"/>
                      <a:pt x="20" y="323"/>
                      <a:pt x="20" y="323"/>
                    </a:cubicBezTo>
                    <a:cubicBezTo>
                      <a:pt x="20" y="323"/>
                      <a:pt x="20" y="323"/>
                      <a:pt x="20" y="322"/>
                    </a:cubicBezTo>
                    <a:cubicBezTo>
                      <a:pt x="20" y="322"/>
                      <a:pt x="19" y="322"/>
                      <a:pt x="19" y="322"/>
                    </a:cubicBezTo>
                    <a:cubicBezTo>
                      <a:pt x="19" y="322"/>
                      <a:pt x="19" y="322"/>
                      <a:pt x="19" y="322"/>
                    </a:cubicBezTo>
                    <a:cubicBezTo>
                      <a:pt x="19" y="323"/>
                      <a:pt x="19" y="323"/>
                      <a:pt x="19" y="323"/>
                    </a:cubicBezTo>
                    <a:cubicBezTo>
                      <a:pt x="19" y="323"/>
                      <a:pt x="18" y="323"/>
                      <a:pt x="18" y="323"/>
                    </a:cubicBezTo>
                    <a:cubicBezTo>
                      <a:pt x="18" y="323"/>
                      <a:pt x="18" y="323"/>
                      <a:pt x="17" y="323"/>
                    </a:cubicBezTo>
                    <a:cubicBezTo>
                      <a:pt x="17" y="323"/>
                      <a:pt x="17" y="323"/>
                      <a:pt x="17" y="324"/>
                    </a:cubicBezTo>
                    <a:close/>
                    <a:moveTo>
                      <a:pt x="18" y="328"/>
                    </a:moveTo>
                    <a:cubicBezTo>
                      <a:pt x="18" y="328"/>
                      <a:pt x="18" y="328"/>
                      <a:pt x="18" y="328"/>
                    </a:cubicBezTo>
                    <a:cubicBezTo>
                      <a:pt x="18" y="328"/>
                      <a:pt x="18" y="328"/>
                      <a:pt x="18" y="328"/>
                    </a:cubicBezTo>
                    <a:cubicBezTo>
                      <a:pt x="18" y="328"/>
                      <a:pt x="18" y="328"/>
                      <a:pt x="18" y="328"/>
                    </a:cubicBezTo>
                    <a:cubicBezTo>
                      <a:pt x="18" y="328"/>
                      <a:pt x="18" y="328"/>
                      <a:pt x="19" y="328"/>
                    </a:cubicBezTo>
                    <a:cubicBezTo>
                      <a:pt x="19" y="328"/>
                      <a:pt x="19" y="328"/>
                      <a:pt x="19" y="328"/>
                    </a:cubicBezTo>
                    <a:cubicBezTo>
                      <a:pt x="19" y="328"/>
                      <a:pt x="19" y="328"/>
                      <a:pt x="19" y="328"/>
                    </a:cubicBezTo>
                    <a:cubicBezTo>
                      <a:pt x="19" y="328"/>
                      <a:pt x="19" y="327"/>
                      <a:pt x="19" y="327"/>
                    </a:cubicBezTo>
                    <a:cubicBezTo>
                      <a:pt x="19" y="327"/>
                      <a:pt x="19" y="327"/>
                      <a:pt x="19" y="327"/>
                    </a:cubicBezTo>
                    <a:cubicBezTo>
                      <a:pt x="19" y="327"/>
                      <a:pt x="19" y="327"/>
                      <a:pt x="19" y="327"/>
                    </a:cubicBezTo>
                    <a:cubicBezTo>
                      <a:pt x="18" y="327"/>
                      <a:pt x="18" y="327"/>
                      <a:pt x="18" y="327"/>
                    </a:cubicBezTo>
                    <a:cubicBezTo>
                      <a:pt x="18" y="327"/>
                      <a:pt x="18" y="327"/>
                      <a:pt x="18" y="327"/>
                    </a:cubicBezTo>
                    <a:cubicBezTo>
                      <a:pt x="18" y="327"/>
                      <a:pt x="18" y="327"/>
                      <a:pt x="18" y="327"/>
                    </a:cubicBezTo>
                    <a:cubicBezTo>
                      <a:pt x="18" y="327"/>
                      <a:pt x="18" y="327"/>
                      <a:pt x="18" y="328"/>
                    </a:cubicBezTo>
                    <a:close/>
                    <a:moveTo>
                      <a:pt x="18" y="330"/>
                    </a:moveTo>
                    <a:cubicBezTo>
                      <a:pt x="18" y="330"/>
                      <a:pt x="18" y="330"/>
                      <a:pt x="18" y="330"/>
                    </a:cubicBezTo>
                    <a:cubicBezTo>
                      <a:pt x="18" y="330"/>
                      <a:pt x="18" y="330"/>
                      <a:pt x="18" y="330"/>
                    </a:cubicBezTo>
                    <a:cubicBezTo>
                      <a:pt x="18" y="330"/>
                      <a:pt x="18" y="330"/>
                      <a:pt x="18" y="330"/>
                    </a:cubicBezTo>
                    <a:cubicBezTo>
                      <a:pt x="18" y="330"/>
                      <a:pt x="18" y="330"/>
                      <a:pt x="17" y="330"/>
                    </a:cubicBezTo>
                    <a:cubicBezTo>
                      <a:pt x="17" y="330"/>
                      <a:pt x="17" y="330"/>
                      <a:pt x="17" y="330"/>
                    </a:cubicBezTo>
                    <a:cubicBezTo>
                      <a:pt x="17" y="330"/>
                      <a:pt x="17" y="329"/>
                      <a:pt x="17" y="329"/>
                    </a:cubicBezTo>
                    <a:cubicBezTo>
                      <a:pt x="17" y="329"/>
                      <a:pt x="17" y="329"/>
                      <a:pt x="17" y="329"/>
                    </a:cubicBezTo>
                    <a:cubicBezTo>
                      <a:pt x="17" y="330"/>
                      <a:pt x="17" y="330"/>
                      <a:pt x="17" y="330"/>
                    </a:cubicBezTo>
                    <a:cubicBezTo>
                      <a:pt x="17" y="330"/>
                      <a:pt x="17" y="330"/>
                      <a:pt x="17" y="330"/>
                    </a:cubicBezTo>
                    <a:cubicBezTo>
                      <a:pt x="17" y="330"/>
                      <a:pt x="16" y="330"/>
                      <a:pt x="16" y="330"/>
                    </a:cubicBezTo>
                    <a:cubicBezTo>
                      <a:pt x="16" y="330"/>
                      <a:pt x="16" y="330"/>
                      <a:pt x="16" y="330"/>
                    </a:cubicBezTo>
                    <a:cubicBezTo>
                      <a:pt x="17" y="330"/>
                      <a:pt x="17" y="330"/>
                      <a:pt x="17" y="330"/>
                    </a:cubicBezTo>
                    <a:cubicBezTo>
                      <a:pt x="17" y="330"/>
                      <a:pt x="17" y="330"/>
                      <a:pt x="17" y="330"/>
                    </a:cubicBezTo>
                    <a:cubicBezTo>
                      <a:pt x="17" y="330"/>
                      <a:pt x="17" y="330"/>
                      <a:pt x="17" y="330"/>
                    </a:cubicBezTo>
                    <a:cubicBezTo>
                      <a:pt x="17" y="330"/>
                      <a:pt x="17" y="330"/>
                      <a:pt x="17" y="331"/>
                    </a:cubicBezTo>
                    <a:cubicBezTo>
                      <a:pt x="17" y="331"/>
                      <a:pt x="17" y="331"/>
                      <a:pt x="17" y="331"/>
                    </a:cubicBezTo>
                    <a:cubicBezTo>
                      <a:pt x="17" y="331"/>
                      <a:pt x="17" y="331"/>
                      <a:pt x="18" y="331"/>
                    </a:cubicBezTo>
                    <a:cubicBezTo>
                      <a:pt x="18" y="331"/>
                      <a:pt x="18" y="331"/>
                      <a:pt x="18" y="331"/>
                    </a:cubicBezTo>
                    <a:cubicBezTo>
                      <a:pt x="18" y="331"/>
                      <a:pt x="18" y="331"/>
                      <a:pt x="18" y="331"/>
                    </a:cubicBezTo>
                    <a:cubicBezTo>
                      <a:pt x="18" y="331"/>
                      <a:pt x="18" y="331"/>
                      <a:pt x="18" y="330"/>
                    </a:cubicBezTo>
                    <a:close/>
                    <a:moveTo>
                      <a:pt x="13" y="319"/>
                    </a:moveTo>
                    <a:cubicBezTo>
                      <a:pt x="13" y="319"/>
                      <a:pt x="13" y="319"/>
                      <a:pt x="13" y="319"/>
                    </a:cubicBezTo>
                    <a:cubicBezTo>
                      <a:pt x="13" y="319"/>
                      <a:pt x="13" y="319"/>
                      <a:pt x="13" y="319"/>
                    </a:cubicBezTo>
                    <a:cubicBezTo>
                      <a:pt x="13" y="320"/>
                      <a:pt x="14" y="320"/>
                      <a:pt x="14" y="320"/>
                    </a:cubicBezTo>
                    <a:cubicBezTo>
                      <a:pt x="14" y="320"/>
                      <a:pt x="14" y="320"/>
                      <a:pt x="14" y="320"/>
                    </a:cubicBezTo>
                    <a:cubicBezTo>
                      <a:pt x="14" y="320"/>
                      <a:pt x="14" y="320"/>
                      <a:pt x="14" y="320"/>
                    </a:cubicBezTo>
                    <a:cubicBezTo>
                      <a:pt x="14" y="320"/>
                      <a:pt x="14" y="319"/>
                      <a:pt x="14" y="319"/>
                    </a:cubicBezTo>
                    <a:cubicBezTo>
                      <a:pt x="14" y="319"/>
                      <a:pt x="14" y="319"/>
                      <a:pt x="14" y="319"/>
                    </a:cubicBezTo>
                    <a:cubicBezTo>
                      <a:pt x="14" y="320"/>
                      <a:pt x="15" y="320"/>
                      <a:pt x="15" y="320"/>
                    </a:cubicBezTo>
                    <a:cubicBezTo>
                      <a:pt x="15" y="320"/>
                      <a:pt x="15" y="320"/>
                      <a:pt x="15" y="320"/>
                    </a:cubicBezTo>
                    <a:cubicBezTo>
                      <a:pt x="15" y="321"/>
                      <a:pt x="15" y="321"/>
                      <a:pt x="15" y="321"/>
                    </a:cubicBezTo>
                    <a:cubicBezTo>
                      <a:pt x="15" y="321"/>
                      <a:pt x="15" y="321"/>
                      <a:pt x="15" y="321"/>
                    </a:cubicBezTo>
                    <a:cubicBezTo>
                      <a:pt x="15" y="321"/>
                      <a:pt x="16" y="322"/>
                      <a:pt x="16" y="321"/>
                    </a:cubicBezTo>
                    <a:cubicBezTo>
                      <a:pt x="16" y="321"/>
                      <a:pt x="16" y="321"/>
                      <a:pt x="16" y="321"/>
                    </a:cubicBezTo>
                    <a:cubicBezTo>
                      <a:pt x="17" y="321"/>
                      <a:pt x="17" y="322"/>
                      <a:pt x="17" y="322"/>
                    </a:cubicBezTo>
                    <a:cubicBezTo>
                      <a:pt x="17" y="322"/>
                      <a:pt x="18" y="322"/>
                      <a:pt x="18" y="322"/>
                    </a:cubicBezTo>
                    <a:cubicBezTo>
                      <a:pt x="18" y="322"/>
                      <a:pt x="18" y="322"/>
                      <a:pt x="19" y="322"/>
                    </a:cubicBezTo>
                    <a:cubicBezTo>
                      <a:pt x="19" y="321"/>
                      <a:pt x="18" y="321"/>
                      <a:pt x="18" y="321"/>
                    </a:cubicBezTo>
                    <a:cubicBezTo>
                      <a:pt x="18" y="321"/>
                      <a:pt x="18" y="321"/>
                      <a:pt x="18" y="321"/>
                    </a:cubicBezTo>
                    <a:cubicBezTo>
                      <a:pt x="17" y="321"/>
                      <a:pt x="17" y="320"/>
                      <a:pt x="17" y="320"/>
                    </a:cubicBezTo>
                    <a:cubicBezTo>
                      <a:pt x="17" y="320"/>
                      <a:pt x="17" y="320"/>
                      <a:pt x="17" y="320"/>
                    </a:cubicBezTo>
                    <a:cubicBezTo>
                      <a:pt x="17" y="320"/>
                      <a:pt x="16" y="319"/>
                      <a:pt x="16" y="319"/>
                    </a:cubicBezTo>
                    <a:cubicBezTo>
                      <a:pt x="16" y="319"/>
                      <a:pt x="16" y="319"/>
                      <a:pt x="16" y="320"/>
                    </a:cubicBezTo>
                    <a:cubicBezTo>
                      <a:pt x="16" y="320"/>
                      <a:pt x="16" y="320"/>
                      <a:pt x="16" y="320"/>
                    </a:cubicBezTo>
                    <a:cubicBezTo>
                      <a:pt x="16" y="320"/>
                      <a:pt x="16" y="320"/>
                      <a:pt x="16" y="320"/>
                    </a:cubicBezTo>
                    <a:cubicBezTo>
                      <a:pt x="16" y="320"/>
                      <a:pt x="16" y="320"/>
                      <a:pt x="16" y="320"/>
                    </a:cubicBezTo>
                    <a:cubicBezTo>
                      <a:pt x="16" y="320"/>
                      <a:pt x="16" y="319"/>
                      <a:pt x="16" y="319"/>
                    </a:cubicBezTo>
                    <a:cubicBezTo>
                      <a:pt x="16" y="319"/>
                      <a:pt x="16" y="319"/>
                      <a:pt x="16" y="319"/>
                    </a:cubicBezTo>
                    <a:cubicBezTo>
                      <a:pt x="16" y="319"/>
                      <a:pt x="15" y="319"/>
                      <a:pt x="15" y="319"/>
                    </a:cubicBezTo>
                    <a:cubicBezTo>
                      <a:pt x="15" y="319"/>
                      <a:pt x="15" y="318"/>
                      <a:pt x="14" y="318"/>
                    </a:cubicBezTo>
                    <a:cubicBezTo>
                      <a:pt x="14" y="318"/>
                      <a:pt x="14" y="318"/>
                      <a:pt x="14" y="318"/>
                    </a:cubicBezTo>
                    <a:cubicBezTo>
                      <a:pt x="14" y="318"/>
                      <a:pt x="14" y="318"/>
                      <a:pt x="13" y="318"/>
                    </a:cubicBezTo>
                    <a:cubicBezTo>
                      <a:pt x="13" y="317"/>
                      <a:pt x="12" y="317"/>
                      <a:pt x="12" y="317"/>
                    </a:cubicBezTo>
                    <a:cubicBezTo>
                      <a:pt x="12" y="317"/>
                      <a:pt x="12" y="317"/>
                      <a:pt x="12" y="317"/>
                    </a:cubicBezTo>
                    <a:cubicBezTo>
                      <a:pt x="12" y="317"/>
                      <a:pt x="12" y="317"/>
                      <a:pt x="12" y="317"/>
                    </a:cubicBezTo>
                    <a:cubicBezTo>
                      <a:pt x="12" y="317"/>
                      <a:pt x="11" y="317"/>
                      <a:pt x="11" y="317"/>
                    </a:cubicBezTo>
                    <a:cubicBezTo>
                      <a:pt x="11" y="317"/>
                      <a:pt x="11" y="317"/>
                      <a:pt x="11" y="317"/>
                    </a:cubicBezTo>
                    <a:cubicBezTo>
                      <a:pt x="11" y="317"/>
                      <a:pt x="11" y="317"/>
                      <a:pt x="11" y="317"/>
                    </a:cubicBezTo>
                    <a:cubicBezTo>
                      <a:pt x="10" y="317"/>
                      <a:pt x="10" y="317"/>
                      <a:pt x="10" y="317"/>
                    </a:cubicBezTo>
                    <a:cubicBezTo>
                      <a:pt x="10" y="317"/>
                      <a:pt x="10" y="316"/>
                      <a:pt x="10" y="316"/>
                    </a:cubicBezTo>
                    <a:cubicBezTo>
                      <a:pt x="10" y="316"/>
                      <a:pt x="10" y="315"/>
                      <a:pt x="9" y="315"/>
                    </a:cubicBezTo>
                    <a:cubicBezTo>
                      <a:pt x="9" y="315"/>
                      <a:pt x="9" y="315"/>
                      <a:pt x="9" y="315"/>
                    </a:cubicBezTo>
                    <a:cubicBezTo>
                      <a:pt x="9" y="315"/>
                      <a:pt x="8" y="315"/>
                      <a:pt x="8" y="315"/>
                    </a:cubicBezTo>
                    <a:cubicBezTo>
                      <a:pt x="8" y="315"/>
                      <a:pt x="8" y="315"/>
                      <a:pt x="8" y="315"/>
                    </a:cubicBezTo>
                    <a:cubicBezTo>
                      <a:pt x="8" y="315"/>
                      <a:pt x="8" y="315"/>
                      <a:pt x="8" y="315"/>
                    </a:cubicBezTo>
                    <a:cubicBezTo>
                      <a:pt x="8" y="315"/>
                      <a:pt x="8" y="315"/>
                      <a:pt x="8" y="316"/>
                    </a:cubicBezTo>
                    <a:cubicBezTo>
                      <a:pt x="8" y="316"/>
                      <a:pt x="8" y="316"/>
                      <a:pt x="8" y="316"/>
                    </a:cubicBezTo>
                    <a:cubicBezTo>
                      <a:pt x="8" y="316"/>
                      <a:pt x="8" y="316"/>
                      <a:pt x="8" y="316"/>
                    </a:cubicBezTo>
                    <a:cubicBezTo>
                      <a:pt x="8" y="316"/>
                      <a:pt x="8" y="316"/>
                      <a:pt x="8" y="317"/>
                    </a:cubicBezTo>
                    <a:cubicBezTo>
                      <a:pt x="8" y="317"/>
                      <a:pt x="9" y="317"/>
                      <a:pt x="9" y="317"/>
                    </a:cubicBezTo>
                    <a:cubicBezTo>
                      <a:pt x="9" y="317"/>
                      <a:pt x="9" y="318"/>
                      <a:pt x="9" y="318"/>
                    </a:cubicBezTo>
                    <a:cubicBezTo>
                      <a:pt x="9" y="318"/>
                      <a:pt x="10" y="318"/>
                      <a:pt x="10" y="318"/>
                    </a:cubicBezTo>
                    <a:cubicBezTo>
                      <a:pt x="10" y="318"/>
                      <a:pt x="10" y="319"/>
                      <a:pt x="10" y="319"/>
                    </a:cubicBezTo>
                    <a:cubicBezTo>
                      <a:pt x="10" y="319"/>
                      <a:pt x="11" y="319"/>
                      <a:pt x="11" y="319"/>
                    </a:cubicBezTo>
                    <a:cubicBezTo>
                      <a:pt x="11" y="319"/>
                      <a:pt x="11" y="319"/>
                      <a:pt x="11" y="319"/>
                    </a:cubicBezTo>
                    <a:cubicBezTo>
                      <a:pt x="11" y="319"/>
                      <a:pt x="11" y="319"/>
                      <a:pt x="11" y="319"/>
                    </a:cubicBezTo>
                    <a:cubicBezTo>
                      <a:pt x="11" y="319"/>
                      <a:pt x="12" y="319"/>
                      <a:pt x="12" y="319"/>
                    </a:cubicBezTo>
                    <a:cubicBezTo>
                      <a:pt x="12" y="319"/>
                      <a:pt x="12" y="319"/>
                      <a:pt x="12" y="319"/>
                    </a:cubicBezTo>
                    <a:cubicBezTo>
                      <a:pt x="12" y="319"/>
                      <a:pt x="12" y="319"/>
                      <a:pt x="12" y="320"/>
                    </a:cubicBezTo>
                    <a:cubicBezTo>
                      <a:pt x="13" y="319"/>
                      <a:pt x="12" y="319"/>
                      <a:pt x="12" y="319"/>
                    </a:cubicBezTo>
                    <a:cubicBezTo>
                      <a:pt x="12" y="319"/>
                      <a:pt x="13" y="319"/>
                      <a:pt x="13" y="319"/>
                    </a:cubicBezTo>
                    <a:cubicBezTo>
                      <a:pt x="13" y="319"/>
                      <a:pt x="13" y="319"/>
                      <a:pt x="13" y="319"/>
                    </a:cubicBezTo>
                    <a:close/>
                    <a:moveTo>
                      <a:pt x="14" y="313"/>
                    </a:moveTo>
                    <a:cubicBezTo>
                      <a:pt x="14" y="313"/>
                      <a:pt x="14" y="313"/>
                      <a:pt x="14" y="313"/>
                    </a:cubicBezTo>
                    <a:cubicBezTo>
                      <a:pt x="14" y="312"/>
                      <a:pt x="15" y="311"/>
                      <a:pt x="15" y="311"/>
                    </a:cubicBezTo>
                    <a:cubicBezTo>
                      <a:pt x="15" y="311"/>
                      <a:pt x="15" y="310"/>
                      <a:pt x="14" y="310"/>
                    </a:cubicBezTo>
                    <a:cubicBezTo>
                      <a:pt x="14" y="310"/>
                      <a:pt x="14" y="310"/>
                      <a:pt x="14" y="310"/>
                    </a:cubicBezTo>
                    <a:cubicBezTo>
                      <a:pt x="14" y="310"/>
                      <a:pt x="14" y="310"/>
                      <a:pt x="14" y="309"/>
                    </a:cubicBezTo>
                    <a:cubicBezTo>
                      <a:pt x="14" y="309"/>
                      <a:pt x="14" y="309"/>
                      <a:pt x="14" y="309"/>
                    </a:cubicBezTo>
                    <a:cubicBezTo>
                      <a:pt x="14" y="309"/>
                      <a:pt x="14" y="309"/>
                      <a:pt x="14" y="309"/>
                    </a:cubicBezTo>
                    <a:cubicBezTo>
                      <a:pt x="14" y="309"/>
                      <a:pt x="14" y="309"/>
                      <a:pt x="14" y="309"/>
                    </a:cubicBezTo>
                    <a:cubicBezTo>
                      <a:pt x="14" y="309"/>
                      <a:pt x="14" y="309"/>
                      <a:pt x="14" y="308"/>
                    </a:cubicBezTo>
                    <a:cubicBezTo>
                      <a:pt x="14" y="308"/>
                      <a:pt x="14" y="308"/>
                      <a:pt x="14" y="308"/>
                    </a:cubicBezTo>
                    <a:cubicBezTo>
                      <a:pt x="14" y="308"/>
                      <a:pt x="13" y="308"/>
                      <a:pt x="13" y="308"/>
                    </a:cubicBezTo>
                    <a:cubicBezTo>
                      <a:pt x="13" y="308"/>
                      <a:pt x="13" y="308"/>
                      <a:pt x="13" y="308"/>
                    </a:cubicBezTo>
                    <a:cubicBezTo>
                      <a:pt x="13" y="308"/>
                      <a:pt x="13" y="308"/>
                      <a:pt x="13" y="308"/>
                    </a:cubicBezTo>
                    <a:cubicBezTo>
                      <a:pt x="13" y="308"/>
                      <a:pt x="13" y="308"/>
                      <a:pt x="13" y="308"/>
                    </a:cubicBezTo>
                    <a:cubicBezTo>
                      <a:pt x="12" y="308"/>
                      <a:pt x="12" y="308"/>
                      <a:pt x="12" y="307"/>
                    </a:cubicBezTo>
                    <a:cubicBezTo>
                      <a:pt x="12" y="307"/>
                      <a:pt x="12" y="307"/>
                      <a:pt x="12" y="307"/>
                    </a:cubicBezTo>
                    <a:cubicBezTo>
                      <a:pt x="12" y="307"/>
                      <a:pt x="12" y="307"/>
                      <a:pt x="12" y="307"/>
                    </a:cubicBezTo>
                    <a:cubicBezTo>
                      <a:pt x="11" y="307"/>
                      <a:pt x="11" y="307"/>
                      <a:pt x="11" y="307"/>
                    </a:cubicBezTo>
                    <a:cubicBezTo>
                      <a:pt x="11" y="307"/>
                      <a:pt x="11" y="307"/>
                      <a:pt x="11" y="307"/>
                    </a:cubicBezTo>
                    <a:cubicBezTo>
                      <a:pt x="11" y="307"/>
                      <a:pt x="11" y="307"/>
                      <a:pt x="11" y="307"/>
                    </a:cubicBezTo>
                    <a:cubicBezTo>
                      <a:pt x="10" y="307"/>
                      <a:pt x="10" y="307"/>
                      <a:pt x="10" y="307"/>
                    </a:cubicBezTo>
                    <a:cubicBezTo>
                      <a:pt x="10" y="307"/>
                      <a:pt x="10" y="307"/>
                      <a:pt x="10" y="307"/>
                    </a:cubicBezTo>
                    <a:cubicBezTo>
                      <a:pt x="10" y="307"/>
                      <a:pt x="10" y="307"/>
                      <a:pt x="10" y="307"/>
                    </a:cubicBezTo>
                    <a:cubicBezTo>
                      <a:pt x="10" y="308"/>
                      <a:pt x="9" y="308"/>
                      <a:pt x="9" y="308"/>
                    </a:cubicBezTo>
                    <a:cubicBezTo>
                      <a:pt x="10" y="308"/>
                      <a:pt x="10" y="308"/>
                      <a:pt x="10" y="309"/>
                    </a:cubicBezTo>
                    <a:cubicBezTo>
                      <a:pt x="10" y="309"/>
                      <a:pt x="10" y="308"/>
                      <a:pt x="10" y="308"/>
                    </a:cubicBezTo>
                    <a:cubicBezTo>
                      <a:pt x="11" y="308"/>
                      <a:pt x="11" y="308"/>
                      <a:pt x="11" y="308"/>
                    </a:cubicBezTo>
                    <a:cubicBezTo>
                      <a:pt x="11" y="308"/>
                      <a:pt x="11" y="308"/>
                      <a:pt x="11" y="308"/>
                    </a:cubicBezTo>
                    <a:cubicBezTo>
                      <a:pt x="11" y="308"/>
                      <a:pt x="11" y="308"/>
                      <a:pt x="11" y="308"/>
                    </a:cubicBezTo>
                    <a:cubicBezTo>
                      <a:pt x="11" y="308"/>
                      <a:pt x="11" y="309"/>
                      <a:pt x="11" y="309"/>
                    </a:cubicBezTo>
                    <a:cubicBezTo>
                      <a:pt x="11" y="309"/>
                      <a:pt x="11" y="309"/>
                      <a:pt x="11" y="309"/>
                    </a:cubicBezTo>
                    <a:cubicBezTo>
                      <a:pt x="11" y="309"/>
                      <a:pt x="11" y="310"/>
                      <a:pt x="11" y="310"/>
                    </a:cubicBezTo>
                    <a:cubicBezTo>
                      <a:pt x="11" y="310"/>
                      <a:pt x="11" y="310"/>
                      <a:pt x="11" y="310"/>
                    </a:cubicBezTo>
                    <a:cubicBezTo>
                      <a:pt x="11" y="310"/>
                      <a:pt x="11" y="310"/>
                      <a:pt x="11" y="310"/>
                    </a:cubicBezTo>
                    <a:cubicBezTo>
                      <a:pt x="11" y="310"/>
                      <a:pt x="11" y="310"/>
                      <a:pt x="11" y="310"/>
                    </a:cubicBezTo>
                    <a:cubicBezTo>
                      <a:pt x="11" y="310"/>
                      <a:pt x="11" y="311"/>
                      <a:pt x="11" y="311"/>
                    </a:cubicBezTo>
                    <a:cubicBezTo>
                      <a:pt x="11" y="311"/>
                      <a:pt x="11" y="311"/>
                      <a:pt x="11" y="311"/>
                    </a:cubicBezTo>
                    <a:cubicBezTo>
                      <a:pt x="12" y="311"/>
                      <a:pt x="12" y="311"/>
                      <a:pt x="12" y="311"/>
                    </a:cubicBezTo>
                    <a:cubicBezTo>
                      <a:pt x="12" y="311"/>
                      <a:pt x="12" y="311"/>
                      <a:pt x="12" y="310"/>
                    </a:cubicBezTo>
                    <a:cubicBezTo>
                      <a:pt x="12" y="310"/>
                      <a:pt x="12" y="310"/>
                      <a:pt x="12" y="310"/>
                    </a:cubicBezTo>
                    <a:cubicBezTo>
                      <a:pt x="12" y="310"/>
                      <a:pt x="12" y="310"/>
                      <a:pt x="13" y="310"/>
                    </a:cubicBezTo>
                    <a:cubicBezTo>
                      <a:pt x="13" y="310"/>
                      <a:pt x="13" y="310"/>
                      <a:pt x="13" y="310"/>
                    </a:cubicBezTo>
                    <a:cubicBezTo>
                      <a:pt x="13" y="310"/>
                      <a:pt x="13" y="310"/>
                      <a:pt x="13" y="310"/>
                    </a:cubicBezTo>
                    <a:cubicBezTo>
                      <a:pt x="13" y="310"/>
                      <a:pt x="13" y="310"/>
                      <a:pt x="13" y="309"/>
                    </a:cubicBezTo>
                    <a:cubicBezTo>
                      <a:pt x="13" y="309"/>
                      <a:pt x="13" y="309"/>
                      <a:pt x="13" y="309"/>
                    </a:cubicBezTo>
                    <a:cubicBezTo>
                      <a:pt x="13" y="309"/>
                      <a:pt x="13" y="309"/>
                      <a:pt x="13" y="309"/>
                    </a:cubicBezTo>
                    <a:cubicBezTo>
                      <a:pt x="13" y="309"/>
                      <a:pt x="13" y="309"/>
                      <a:pt x="13" y="309"/>
                    </a:cubicBezTo>
                    <a:cubicBezTo>
                      <a:pt x="14" y="310"/>
                      <a:pt x="14" y="310"/>
                      <a:pt x="13" y="310"/>
                    </a:cubicBezTo>
                    <a:cubicBezTo>
                      <a:pt x="13" y="310"/>
                      <a:pt x="14" y="310"/>
                      <a:pt x="14" y="310"/>
                    </a:cubicBezTo>
                    <a:cubicBezTo>
                      <a:pt x="14" y="310"/>
                      <a:pt x="14" y="310"/>
                      <a:pt x="14" y="310"/>
                    </a:cubicBezTo>
                    <a:cubicBezTo>
                      <a:pt x="14" y="311"/>
                      <a:pt x="14" y="311"/>
                      <a:pt x="14" y="311"/>
                    </a:cubicBezTo>
                    <a:cubicBezTo>
                      <a:pt x="14" y="311"/>
                      <a:pt x="14" y="311"/>
                      <a:pt x="13" y="311"/>
                    </a:cubicBezTo>
                    <a:cubicBezTo>
                      <a:pt x="13" y="311"/>
                      <a:pt x="13" y="311"/>
                      <a:pt x="13" y="311"/>
                    </a:cubicBezTo>
                    <a:cubicBezTo>
                      <a:pt x="13" y="311"/>
                      <a:pt x="13" y="311"/>
                      <a:pt x="13" y="312"/>
                    </a:cubicBezTo>
                    <a:cubicBezTo>
                      <a:pt x="13" y="312"/>
                      <a:pt x="13" y="312"/>
                      <a:pt x="13" y="312"/>
                    </a:cubicBezTo>
                    <a:cubicBezTo>
                      <a:pt x="13" y="312"/>
                      <a:pt x="13" y="312"/>
                      <a:pt x="13" y="312"/>
                    </a:cubicBezTo>
                    <a:cubicBezTo>
                      <a:pt x="13" y="312"/>
                      <a:pt x="13" y="312"/>
                      <a:pt x="13" y="312"/>
                    </a:cubicBezTo>
                    <a:cubicBezTo>
                      <a:pt x="12" y="312"/>
                      <a:pt x="12" y="312"/>
                      <a:pt x="12" y="313"/>
                    </a:cubicBezTo>
                    <a:cubicBezTo>
                      <a:pt x="12" y="313"/>
                      <a:pt x="12" y="313"/>
                      <a:pt x="12" y="313"/>
                    </a:cubicBezTo>
                    <a:cubicBezTo>
                      <a:pt x="12" y="313"/>
                      <a:pt x="12" y="313"/>
                      <a:pt x="12" y="313"/>
                    </a:cubicBezTo>
                    <a:cubicBezTo>
                      <a:pt x="13" y="313"/>
                      <a:pt x="13" y="313"/>
                      <a:pt x="13" y="313"/>
                    </a:cubicBezTo>
                    <a:cubicBezTo>
                      <a:pt x="13" y="313"/>
                      <a:pt x="13" y="313"/>
                      <a:pt x="13" y="314"/>
                    </a:cubicBezTo>
                    <a:cubicBezTo>
                      <a:pt x="13" y="314"/>
                      <a:pt x="13" y="314"/>
                      <a:pt x="13" y="314"/>
                    </a:cubicBezTo>
                    <a:cubicBezTo>
                      <a:pt x="13" y="314"/>
                      <a:pt x="13" y="314"/>
                      <a:pt x="13" y="314"/>
                    </a:cubicBezTo>
                    <a:cubicBezTo>
                      <a:pt x="13" y="314"/>
                      <a:pt x="13" y="314"/>
                      <a:pt x="13" y="314"/>
                    </a:cubicBezTo>
                    <a:cubicBezTo>
                      <a:pt x="13" y="314"/>
                      <a:pt x="13" y="314"/>
                      <a:pt x="14" y="314"/>
                    </a:cubicBezTo>
                    <a:cubicBezTo>
                      <a:pt x="14" y="314"/>
                      <a:pt x="14" y="314"/>
                      <a:pt x="14" y="313"/>
                    </a:cubicBezTo>
                    <a:close/>
                    <a:moveTo>
                      <a:pt x="10" y="303"/>
                    </a:moveTo>
                    <a:cubicBezTo>
                      <a:pt x="10" y="303"/>
                      <a:pt x="10" y="303"/>
                      <a:pt x="10" y="303"/>
                    </a:cubicBezTo>
                    <a:cubicBezTo>
                      <a:pt x="10" y="303"/>
                      <a:pt x="9" y="303"/>
                      <a:pt x="9" y="303"/>
                    </a:cubicBezTo>
                    <a:cubicBezTo>
                      <a:pt x="9" y="303"/>
                      <a:pt x="9" y="302"/>
                      <a:pt x="9" y="303"/>
                    </a:cubicBezTo>
                    <a:cubicBezTo>
                      <a:pt x="9" y="303"/>
                      <a:pt x="9" y="303"/>
                      <a:pt x="9" y="303"/>
                    </a:cubicBezTo>
                    <a:cubicBezTo>
                      <a:pt x="9" y="303"/>
                      <a:pt x="9" y="303"/>
                      <a:pt x="9" y="303"/>
                    </a:cubicBezTo>
                    <a:cubicBezTo>
                      <a:pt x="9" y="303"/>
                      <a:pt x="10" y="304"/>
                      <a:pt x="10" y="304"/>
                    </a:cubicBezTo>
                    <a:cubicBezTo>
                      <a:pt x="10" y="304"/>
                      <a:pt x="10" y="305"/>
                      <a:pt x="10" y="305"/>
                    </a:cubicBezTo>
                    <a:cubicBezTo>
                      <a:pt x="10" y="305"/>
                      <a:pt x="11" y="305"/>
                      <a:pt x="11" y="305"/>
                    </a:cubicBezTo>
                    <a:cubicBezTo>
                      <a:pt x="11" y="305"/>
                      <a:pt x="11" y="306"/>
                      <a:pt x="12" y="306"/>
                    </a:cubicBezTo>
                    <a:cubicBezTo>
                      <a:pt x="12" y="306"/>
                      <a:pt x="12" y="306"/>
                      <a:pt x="12" y="306"/>
                    </a:cubicBezTo>
                    <a:cubicBezTo>
                      <a:pt x="12" y="306"/>
                      <a:pt x="12" y="306"/>
                      <a:pt x="12" y="306"/>
                    </a:cubicBezTo>
                    <a:cubicBezTo>
                      <a:pt x="12" y="306"/>
                      <a:pt x="12" y="306"/>
                      <a:pt x="12" y="306"/>
                    </a:cubicBezTo>
                    <a:cubicBezTo>
                      <a:pt x="13" y="307"/>
                      <a:pt x="13" y="307"/>
                      <a:pt x="14" y="308"/>
                    </a:cubicBezTo>
                    <a:cubicBezTo>
                      <a:pt x="14" y="308"/>
                      <a:pt x="14" y="308"/>
                      <a:pt x="14" y="308"/>
                    </a:cubicBezTo>
                    <a:cubicBezTo>
                      <a:pt x="14" y="308"/>
                      <a:pt x="14" y="308"/>
                      <a:pt x="14" y="307"/>
                    </a:cubicBezTo>
                    <a:cubicBezTo>
                      <a:pt x="14" y="307"/>
                      <a:pt x="14" y="307"/>
                      <a:pt x="14" y="306"/>
                    </a:cubicBezTo>
                    <a:cubicBezTo>
                      <a:pt x="14" y="306"/>
                      <a:pt x="14" y="306"/>
                      <a:pt x="14" y="306"/>
                    </a:cubicBezTo>
                    <a:cubicBezTo>
                      <a:pt x="13" y="306"/>
                      <a:pt x="13" y="306"/>
                      <a:pt x="13" y="306"/>
                    </a:cubicBezTo>
                    <a:cubicBezTo>
                      <a:pt x="13" y="306"/>
                      <a:pt x="13" y="306"/>
                      <a:pt x="13" y="306"/>
                    </a:cubicBezTo>
                    <a:cubicBezTo>
                      <a:pt x="13" y="305"/>
                      <a:pt x="13" y="306"/>
                      <a:pt x="13" y="305"/>
                    </a:cubicBezTo>
                    <a:cubicBezTo>
                      <a:pt x="13" y="305"/>
                      <a:pt x="13" y="305"/>
                      <a:pt x="13" y="305"/>
                    </a:cubicBezTo>
                    <a:cubicBezTo>
                      <a:pt x="12" y="305"/>
                      <a:pt x="12" y="305"/>
                      <a:pt x="12" y="305"/>
                    </a:cubicBezTo>
                    <a:cubicBezTo>
                      <a:pt x="12" y="305"/>
                      <a:pt x="12" y="305"/>
                      <a:pt x="12" y="305"/>
                    </a:cubicBezTo>
                    <a:cubicBezTo>
                      <a:pt x="12" y="305"/>
                      <a:pt x="12" y="304"/>
                      <a:pt x="12" y="305"/>
                    </a:cubicBezTo>
                    <a:cubicBezTo>
                      <a:pt x="12" y="305"/>
                      <a:pt x="12" y="305"/>
                      <a:pt x="12" y="305"/>
                    </a:cubicBezTo>
                    <a:cubicBezTo>
                      <a:pt x="11" y="305"/>
                      <a:pt x="11" y="305"/>
                      <a:pt x="11" y="304"/>
                    </a:cubicBezTo>
                    <a:cubicBezTo>
                      <a:pt x="11" y="304"/>
                      <a:pt x="11" y="304"/>
                      <a:pt x="11" y="304"/>
                    </a:cubicBezTo>
                    <a:cubicBezTo>
                      <a:pt x="11" y="304"/>
                      <a:pt x="11" y="304"/>
                      <a:pt x="11" y="304"/>
                    </a:cubicBezTo>
                    <a:cubicBezTo>
                      <a:pt x="11" y="304"/>
                      <a:pt x="10" y="304"/>
                      <a:pt x="10" y="303"/>
                    </a:cubicBezTo>
                    <a:cubicBezTo>
                      <a:pt x="10" y="303"/>
                      <a:pt x="10" y="303"/>
                      <a:pt x="10" y="303"/>
                    </a:cubicBezTo>
                    <a:close/>
                    <a:moveTo>
                      <a:pt x="14" y="304"/>
                    </a:moveTo>
                    <a:cubicBezTo>
                      <a:pt x="13" y="304"/>
                      <a:pt x="13" y="304"/>
                      <a:pt x="13" y="304"/>
                    </a:cubicBezTo>
                    <a:cubicBezTo>
                      <a:pt x="13" y="304"/>
                      <a:pt x="13" y="304"/>
                      <a:pt x="13" y="304"/>
                    </a:cubicBezTo>
                    <a:cubicBezTo>
                      <a:pt x="13" y="303"/>
                      <a:pt x="13" y="303"/>
                      <a:pt x="13" y="303"/>
                    </a:cubicBezTo>
                    <a:cubicBezTo>
                      <a:pt x="13" y="303"/>
                      <a:pt x="13" y="303"/>
                      <a:pt x="12" y="303"/>
                    </a:cubicBezTo>
                    <a:cubicBezTo>
                      <a:pt x="13" y="303"/>
                      <a:pt x="13" y="302"/>
                      <a:pt x="13" y="302"/>
                    </a:cubicBezTo>
                    <a:cubicBezTo>
                      <a:pt x="13" y="302"/>
                      <a:pt x="13" y="302"/>
                      <a:pt x="13" y="302"/>
                    </a:cubicBezTo>
                    <a:cubicBezTo>
                      <a:pt x="12" y="302"/>
                      <a:pt x="12" y="302"/>
                      <a:pt x="12" y="302"/>
                    </a:cubicBezTo>
                    <a:cubicBezTo>
                      <a:pt x="12" y="301"/>
                      <a:pt x="12" y="301"/>
                      <a:pt x="12" y="301"/>
                    </a:cubicBezTo>
                    <a:cubicBezTo>
                      <a:pt x="12" y="301"/>
                      <a:pt x="12" y="301"/>
                      <a:pt x="12" y="301"/>
                    </a:cubicBezTo>
                    <a:cubicBezTo>
                      <a:pt x="12" y="301"/>
                      <a:pt x="12" y="301"/>
                      <a:pt x="12" y="301"/>
                    </a:cubicBezTo>
                    <a:cubicBezTo>
                      <a:pt x="12" y="301"/>
                      <a:pt x="12" y="301"/>
                      <a:pt x="12" y="301"/>
                    </a:cubicBezTo>
                    <a:cubicBezTo>
                      <a:pt x="12" y="302"/>
                      <a:pt x="12" y="302"/>
                      <a:pt x="11" y="302"/>
                    </a:cubicBezTo>
                    <a:cubicBezTo>
                      <a:pt x="11" y="302"/>
                      <a:pt x="11" y="303"/>
                      <a:pt x="11" y="303"/>
                    </a:cubicBezTo>
                    <a:cubicBezTo>
                      <a:pt x="11" y="303"/>
                      <a:pt x="11" y="303"/>
                      <a:pt x="11" y="303"/>
                    </a:cubicBezTo>
                    <a:cubicBezTo>
                      <a:pt x="12" y="304"/>
                      <a:pt x="12" y="304"/>
                      <a:pt x="13" y="304"/>
                    </a:cubicBezTo>
                    <a:cubicBezTo>
                      <a:pt x="13" y="304"/>
                      <a:pt x="13" y="305"/>
                      <a:pt x="13" y="305"/>
                    </a:cubicBezTo>
                    <a:cubicBezTo>
                      <a:pt x="13" y="305"/>
                      <a:pt x="13" y="305"/>
                      <a:pt x="14" y="305"/>
                    </a:cubicBezTo>
                    <a:cubicBezTo>
                      <a:pt x="14" y="305"/>
                      <a:pt x="14" y="305"/>
                      <a:pt x="14" y="305"/>
                    </a:cubicBezTo>
                    <a:cubicBezTo>
                      <a:pt x="14" y="306"/>
                      <a:pt x="14" y="306"/>
                      <a:pt x="14" y="306"/>
                    </a:cubicBezTo>
                    <a:cubicBezTo>
                      <a:pt x="14" y="306"/>
                      <a:pt x="14" y="306"/>
                      <a:pt x="14" y="306"/>
                    </a:cubicBezTo>
                    <a:cubicBezTo>
                      <a:pt x="15" y="306"/>
                      <a:pt x="15" y="306"/>
                      <a:pt x="14" y="306"/>
                    </a:cubicBezTo>
                    <a:cubicBezTo>
                      <a:pt x="14" y="305"/>
                      <a:pt x="14" y="305"/>
                      <a:pt x="14" y="305"/>
                    </a:cubicBezTo>
                    <a:cubicBezTo>
                      <a:pt x="14" y="305"/>
                      <a:pt x="15" y="305"/>
                      <a:pt x="14" y="304"/>
                    </a:cubicBezTo>
                    <a:cubicBezTo>
                      <a:pt x="14" y="304"/>
                      <a:pt x="14" y="304"/>
                      <a:pt x="14" y="304"/>
                    </a:cubicBezTo>
                    <a:close/>
                    <a:moveTo>
                      <a:pt x="8" y="303"/>
                    </a:moveTo>
                    <a:cubicBezTo>
                      <a:pt x="8" y="303"/>
                      <a:pt x="8" y="303"/>
                      <a:pt x="8" y="303"/>
                    </a:cubicBezTo>
                    <a:cubicBezTo>
                      <a:pt x="8" y="303"/>
                      <a:pt x="8" y="303"/>
                      <a:pt x="8" y="303"/>
                    </a:cubicBezTo>
                    <a:cubicBezTo>
                      <a:pt x="8" y="303"/>
                      <a:pt x="8" y="302"/>
                      <a:pt x="8" y="302"/>
                    </a:cubicBezTo>
                    <a:cubicBezTo>
                      <a:pt x="8" y="302"/>
                      <a:pt x="7" y="302"/>
                      <a:pt x="7" y="303"/>
                    </a:cubicBezTo>
                    <a:cubicBezTo>
                      <a:pt x="7" y="303"/>
                      <a:pt x="7" y="303"/>
                      <a:pt x="7" y="303"/>
                    </a:cubicBezTo>
                    <a:cubicBezTo>
                      <a:pt x="7" y="303"/>
                      <a:pt x="7" y="304"/>
                      <a:pt x="7" y="304"/>
                    </a:cubicBezTo>
                    <a:cubicBezTo>
                      <a:pt x="7" y="304"/>
                      <a:pt x="7" y="304"/>
                      <a:pt x="7" y="304"/>
                    </a:cubicBezTo>
                    <a:cubicBezTo>
                      <a:pt x="7" y="303"/>
                      <a:pt x="7" y="303"/>
                      <a:pt x="7" y="302"/>
                    </a:cubicBezTo>
                    <a:cubicBezTo>
                      <a:pt x="7" y="302"/>
                      <a:pt x="7" y="302"/>
                      <a:pt x="7" y="302"/>
                    </a:cubicBezTo>
                    <a:cubicBezTo>
                      <a:pt x="7" y="302"/>
                      <a:pt x="7" y="302"/>
                      <a:pt x="7" y="302"/>
                    </a:cubicBezTo>
                    <a:cubicBezTo>
                      <a:pt x="7" y="302"/>
                      <a:pt x="7" y="302"/>
                      <a:pt x="7" y="302"/>
                    </a:cubicBezTo>
                    <a:cubicBezTo>
                      <a:pt x="7" y="302"/>
                      <a:pt x="7" y="302"/>
                      <a:pt x="6" y="302"/>
                    </a:cubicBezTo>
                    <a:cubicBezTo>
                      <a:pt x="6" y="302"/>
                      <a:pt x="6" y="302"/>
                      <a:pt x="6" y="302"/>
                    </a:cubicBezTo>
                    <a:cubicBezTo>
                      <a:pt x="6" y="302"/>
                      <a:pt x="6" y="302"/>
                      <a:pt x="6" y="302"/>
                    </a:cubicBezTo>
                    <a:cubicBezTo>
                      <a:pt x="6" y="302"/>
                      <a:pt x="6" y="302"/>
                      <a:pt x="6" y="302"/>
                    </a:cubicBezTo>
                    <a:cubicBezTo>
                      <a:pt x="6" y="302"/>
                      <a:pt x="6" y="302"/>
                      <a:pt x="6" y="303"/>
                    </a:cubicBezTo>
                    <a:cubicBezTo>
                      <a:pt x="6" y="303"/>
                      <a:pt x="6" y="303"/>
                      <a:pt x="6" y="303"/>
                    </a:cubicBezTo>
                    <a:cubicBezTo>
                      <a:pt x="6" y="303"/>
                      <a:pt x="7" y="303"/>
                      <a:pt x="7" y="303"/>
                    </a:cubicBezTo>
                    <a:cubicBezTo>
                      <a:pt x="7" y="303"/>
                      <a:pt x="7" y="303"/>
                      <a:pt x="7" y="303"/>
                    </a:cubicBezTo>
                    <a:cubicBezTo>
                      <a:pt x="7" y="303"/>
                      <a:pt x="7" y="303"/>
                      <a:pt x="7" y="303"/>
                    </a:cubicBezTo>
                    <a:cubicBezTo>
                      <a:pt x="7" y="303"/>
                      <a:pt x="7" y="303"/>
                      <a:pt x="7" y="303"/>
                    </a:cubicBezTo>
                    <a:cubicBezTo>
                      <a:pt x="6" y="303"/>
                      <a:pt x="6" y="303"/>
                      <a:pt x="6" y="303"/>
                    </a:cubicBezTo>
                    <a:cubicBezTo>
                      <a:pt x="6" y="304"/>
                      <a:pt x="6" y="304"/>
                      <a:pt x="7" y="304"/>
                    </a:cubicBezTo>
                    <a:cubicBezTo>
                      <a:pt x="7" y="304"/>
                      <a:pt x="7" y="304"/>
                      <a:pt x="7" y="304"/>
                    </a:cubicBezTo>
                    <a:cubicBezTo>
                      <a:pt x="7" y="304"/>
                      <a:pt x="7" y="304"/>
                      <a:pt x="7" y="304"/>
                    </a:cubicBezTo>
                    <a:cubicBezTo>
                      <a:pt x="7" y="304"/>
                      <a:pt x="6" y="304"/>
                      <a:pt x="6" y="304"/>
                    </a:cubicBezTo>
                    <a:cubicBezTo>
                      <a:pt x="6" y="304"/>
                      <a:pt x="6" y="304"/>
                      <a:pt x="6" y="304"/>
                    </a:cubicBezTo>
                    <a:cubicBezTo>
                      <a:pt x="6" y="304"/>
                      <a:pt x="6" y="304"/>
                      <a:pt x="6" y="304"/>
                    </a:cubicBezTo>
                    <a:cubicBezTo>
                      <a:pt x="6" y="304"/>
                      <a:pt x="6" y="303"/>
                      <a:pt x="6" y="303"/>
                    </a:cubicBezTo>
                    <a:cubicBezTo>
                      <a:pt x="6" y="303"/>
                      <a:pt x="6" y="303"/>
                      <a:pt x="6" y="303"/>
                    </a:cubicBezTo>
                    <a:cubicBezTo>
                      <a:pt x="6" y="303"/>
                      <a:pt x="6" y="303"/>
                      <a:pt x="6" y="303"/>
                    </a:cubicBezTo>
                    <a:cubicBezTo>
                      <a:pt x="5" y="303"/>
                      <a:pt x="5" y="303"/>
                      <a:pt x="5" y="303"/>
                    </a:cubicBezTo>
                    <a:cubicBezTo>
                      <a:pt x="5" y="303"/>
                      <a:pt x="5" y="303"/>
                      <a:pt x="5" y="303"/>
                    </a:cubicBezTo>
                    <a:cubicBezTo>
                      <a:pt x="5" y="303"/>
                      <a:pt x="5" y="303"/>
                      <a:pt x="5" y="303"/>
                    </a:cubicBezTo>
                    <a:cubicBezTo>
                      <a:pt x="5" y="304"/>
                      <a:pt x="5" y="304"/>
                      <a:pt x="5" y="304"/>
                    </a:cubicBezTo>
                    <a:cubicBezTo>
                      <a:pt x="5" y="304"/>
                      <a:pt x="5" y="304"/>
                      <a:pt x="5" y="305"/>
                    </a:cubicBezTo>
                    <a:cubicBezTo>
                      <a:pt x="5" y="305"/>
                      <a:pt x="5" y="305"/>
                      <a:pt x="5" y="305"/>
                    </a:cubicBezTo>
                    <a:cubicBezTo>
                      <a:pt x="5" y="305"/>
                      <a:pt x="5" y="304"/>
                      <a:pt x="5" y="304"/>
                    </a:cubicBezTo>
                    <a:cubicBezTo>
                      <a:pt x="6" y="304"/>
                      <a:pt x="6" y="304"/>
                      <a:pt x="6" y="304"/>
                    </a:cubicBezTo>
                    <a:cubicBezTo>
                      <a:pt x="6" y="304"/>
                      <a:pt x="6" y="304"/>
                      <a:pt x="6" y="305"/>
                    </a:cubicBezTo>
                    <a:cubicBezTo>
                      <a:pt x="6" y="305"/>
                      <a:pt x="6" y="305"/>
                      <a:pt x="5" y="305"/>
                    </a:cubicBezTo>
                    <a:cubicBezTo>
                      <a:pt x="5" y="305"/>
                      <a:pt x="5" y="305"/>
                      <a:pt x="5" y="305"/>
                    </a:cubicBezTo>
                    <a:cubicBezTo>
                      <a:pt x="5" y="305"/>
                      <a:pt x="5" y="305"/>
                      <a:pt x="5" y="305"/>
                    </a:cubicBezTo>
                    <a:cubicBezTo>
                      <a:pt x="5" y="306"/>
                      <a:pt x="5" y="306"/>
                      <a:pt x="5" y="306"/>
                    </a:cubicBezTo>
                    <a:cubicBezTo>
                      <a:pt x="5" y="306"/>
                      <a:pt x="5" y="307"/>
                      <a:pt x="5" y="307"/>
                    </a:cubicBezTo>
                    <a:cubicBezTo>
                      <a:pt x="5" y="307"/>
                      <a:pt x="5" y="307"/>
                      <a:pt x="5" y="307"/>
                    </a:cubicBezTo>
                    <a:cubicBezTo>
                      <a:pt x="5" y="307"/>
                      <a:pt x="5" y="307"/>
                      <a:pt x="5" y="307"/>
                    </a:cubicBezTo>
                    <a:cubicBezTo>
                      <a:pt x="5" y="307"/>
                      <a:pt x="5" y="307"/>
                      <a:pt x="5" y="307"/>
                    </a:cubicBezTo>
                    <a:cubicBezTo>
                      <a:pt x="6" y="307"/>
                      <a:pt x="6" y="307"/>
                      <a:pt x="6" y="307"/>
                    </a:cubicBezTo>
                    <a:cubicBezTo>
                      <a:pt x="6" y="307"/>
                      <a:pt x="6" y="307"/>
                      <a:pt x="6" y="307"/>
                    </a:cubicBezTo>
                    <a:cubicBezTo>
                      <a:pt x="6" y="307"/>
                      <a:pt x="6" y="307"/>
                      <a:pt x="6" y="307"/>
                    </a:cubicBezTo>
                    <a:cubicBezTo>
                      <a:pt x="6" y="307"/>
                      <a:pt x="6" y="307"/>
                      <a:pt x="6" y="307"/>
                    </a:cubicBezTo>
                    <a:cubicBezTo>
                      <a:pt x="6"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8" y="307"/>
                      <a:pt x="8" y="307"/>
                    </a:cubicBezTo>
                    <a:cubicBezTo>
                      <a:pt x="8" y="307"/>
                      <a:pt x="8" y="307"/>
                      <a:pt x="8" y="307"/>
                    </a:cubicBezTo>
                    <a:cubicBezTo>
                      <a:pt x="9" y="307"/>
                      <a:pt x="9" y="307"/>
                      <a:pt x="9" y="306"/>
                    </a:cubicBezTo>
                    <a:cubicBezTo>
                      <a:pt x="9" y="306"/>
                      <a:pt x="9" y="306"/>
                      <a:pt x="9" y="306"/>
                    </a:cubicBezTo>
                    <a:cubicBezTo>
                      <a:pt x="9" y="306"/>
                      <a:pt x="9" y="306"/>
                      <a:pt x="9" y="306"/>
                    </a:cubicBezTo>
                    <a:cubicBezTo>
                      <a:pt x="9" y="305"/>
                      <a:pt x="9" y="305"/>
                      <a:pt x="9" y="305"/>
                    </a:cubicBezTo>
                    <a:cubicBezTo>
                      <a:pt x="9" y="305"/>
                      <a:pt x="8" y="305"/>
                      <a:pt x="8" y="305"/>
                    </a:cubicBezTo>
                    <a:cubicBezTo>
                      <a:pt x="8" y="306"/>
                      <a:pt x="8" y="306"/>
                      <a:pt x="8" y="306"/>
                    </a:cubicBezTo>
                    <a:cubicBezTo>
                      <a:pt x="8" y="305"/>
                      <a:pt x="8" y="305"/>
                      <a:pt x="8" y="305"/>
                    </a:cubicBezTo>
                    <a:cubicBezTo>
                      <a:pt x="8" y="305"/>
                      <a:pt x="8" y="305"/>
                      <a:pt x="9" y="305"/>
                    </a:cubicBezTo>
                    <a:cubicBezTo>
                      <a:pt x="9" y="305"/>
                      <a:pt x="8" y="304"/>
                      <a:pt x="8" y="304"/>
                    </a:cubicBezTo>
                    <a:cubicBezTo>
                      <a:pt x="8" y="304"/>
                      <a:pt x="8" y="304"/>
                      <a:pt x="8" y="304"/>
                    </a:cubicBezTo>
                    <a:cubicBezTo>
                      <a:pt x="8" y="304"/>
                      <a:pt x="8" y="304"/>
                      <a:pt x="8" y="303"/>
                    </a:cubicBezTo>
                    <a:cubicBezTo>
                      <a:pt x="8" y="303"/>
                      <a:pt x="8" y="303"/>
                      <a:pt x="8" y="303"/>
                    </a:cubicBezTo>
                    <a:cubicBezTo>
                      <a:pt x="8" y="303"/>
                      <a:pt x="8" y="303"/>
                      <a:pt x="8" y="303"/>
                    </a:cubicBezTo>
                    <a:close/>
                    <a:moveTo>
                      <a:pt x="8" y="307"/>
                    </a:moveTo>
                    <a:cubicBezTo>
                      <a:pt x="8" y="307"/>
                      <a:pt x="8" y="307"/>
                      <a:pt x="8" y="307"/>
                    </a:cubicBezTo>
                    <a:cubicBezTo>
                      <a:pt x="8" y="307"/>
                      <a:pt x="8" y="308"/>
                      <a:pt x="8" y="308"/>
                    </a:cubicBezTo>
                    <a:cubicBezTo>
                      <a:pt x="8" y="308"/>
                      <a:pt x="7" y="308"/>
                      <a:pt x="7" y="308"/>
                    </a:cubicBezTo>
                    <a:cubicBezTo>
                      <a:pt x="7" y="308"/>
                      <a:pt x="7" y="308"/>
                      <a:pt x="7" y="308"/>
                    </a:cubicBezTo>
                    <a:cubicBezTo>
                      <a:pt x="7" y="308"/>
                      <a:pt x="7" y="308"/>
                      <a:pt x="6" y="308"/>
                    </a:cubicBezTo>
                    <a:cubicBezTo>
                      <a:pt x="6" y="308"/>
                      <a:pt x="6" y="308"/>
                      <a:pt x="6" y="309"/>
                    </a:cubicBezTo>
                    <a:cubicBezTo>
                      <a:pt x="6" y="309"/>
                      <a:pt x="6" y="309"/>
                      <a:pt x="6" y="309"/>
                    </a:cubicBezTo>
                    <a:cubicBezTo>
                      <a:pt x="6" y="309"/>
                      <a:pt x="6" y="309"/>
                      <a:pt x="7" y="309"/>
                    </a:cubicBezTo>
                    <a:cubicBezTo>
                      <a:pt x="7" y="309"/>
                      <a:pt x="7" y="309"/>
                      <a:pt x="7" y="309"/>
                    </a:cubicBezTo>
                    <a:cubicBezTo>
                      <a:pt x="7" y="309"/>
                      <a:pt x="7" y="309"/>
                      <a:pt x="7" y="310"/>
                    </a:cubicBezTo>
                    <a:cubicBezTo>
                      <a:pt x="7" y="310"/>
                      <a:pt x="7" y="310"/>
                      <a:pt x="8" y="310"/>
                    </a:cubicBezTo>
                    <a:cubicBezTo>
                      <a:pt x="8" y="310"/>
                      <a:pt x="8" y="310"/>
                      <a:pt x="8" y="310"/>
                    </a:cubicBezTo>
                    <a:cubicBezTo>
                      <a:pt x="8" y="310"/>
                      <a:pt x="8" y="309"/>
                      <a:pt x="8" y="309"/>
                    </a:cubicBezTo>
                    <a:cubicBezTo>
                      <a:pt x="8" y="309"/>
                      <a:pt x="8" y="309"/>
                      <a:pt x="8" y="309"/>
                    </a:cubicBezTo>
                    <a:cubicBezTo>
                      <a:pt x="8" y="309"/>
                      <a:pt x="9" y="309"/>
                      <a:pt x="9" y="309"/>
                    </a:cubicBezTo>
                    <a:cubicBezTo>
                      <a:pt x="9" y="309"/>
                      <a:pt x="8" y="309"/>
                      <a:pt x="8" y="308"/>
                    </a:cubicBezTo>
                    <a:cubicBezTo>
                      <a:pt x="8" y="308"/>
                      <a:pt x="8" y="308"/>
                      <a:pt x="8" y="308"/>
                    </a:cubicBezTo>
                    <a:cubicBezTo>
                      <a:pt x="8" y="308"/>
                      <a:pt x="8" y="308"/>
                      <a:pt x="8" y="308"/>
                    </a:cubicBezTo>
                    <a:cubicBezTo>
                      <a:pt x="8" y="308"/>
                      <a:pt x="9" y="307"/>
                      <a:pt x="8" y="307"/>
                    </a:cubicBezTo>
                    <a:close/>
                    <a:moveTo>
                      <a:pt x="11" y="298"/>
                    </a:moveTo>
                    <a:cubicBezTo>
                      <a:pt x="11" y="298"/>
                      <a:pt x="11" y="298"/>
                      <a:pt x="11" y="298"/>
                    </a:cubicBezTo>
                    <a:cubicBezTo>
                      <a:pt x="11" y="298"/>
                      <a:pt x="11" y="298"/>
                      <a:pt x="11" y="298"/>
                    </a:cubicBezTo>
                    <a:cubicBezTo>
                      <a:pt x="11" y="298"/>
                      <a:pt x="11" y="299"/>
                      <a:pt x="11" y="299"/>
                    </a:cubicBezTo>
                    <a:cubicBezTo>
                      <a:pt x="11" y="299"/>
                      <a:pt x="11" y="299"/>
                      <a:pt x="11" y="299"/>
                    </a:cubicBezTo>
                    <a:cubicBezTo>
                      <a:pt x="11" y="299"/>
                      <a:pt x="11" y="299"/>
                      <a:pt x="11" y="299"/>
                    </a:cubicBezTo>
                    <a:cubicBezTo>
                      <a:pt x="11" y="299"/>
                      <a:pt x="11" y="299"/>
                      <a:pt x="11" y="299"/>
                    </a:cubicBezTo>
                    <a:cubicBezTo>
                      <a:pt x="11" y="299"/>
                      <a:pt x="11" y="299"/>
                      <a:pt x="11" y="299"/>
                    </a:cubicBezTo>
                    <a:cubicBezTo>
                      <a:pt x="11" y="299"/>
                      <a:pt x="11" y="299"/>
                      <a:pt x="12" y="299"/>
                    </a:cubicBezTo>
                    <a:cubicBezTo>
                      <a:pt x="12" y="299"/>
                      <a:pt x="12" y="299"/>
                      <a:pt x="12" y="299"/>
                    </a:cubicBezTo>
                    <a:cubicBezTo>
                      <a:pt x="12" y="299"/>
                      <a:pt x="12" y="299"/>
                      <a:pt x="12" y="299"/>
                    </a:cubicBezTo>
                    <a:cubicBezTo>
                      <a:pt x="12" y="299"/>
                      <a:pt x="12" y="299"/>
                      <a:pt x="12" y="299"/>
                    </a:cubicBezTo>
                    <a:cubicBezTo>
                      <a:pt x="12" y="299"/>
                      <a:pt x="12" y="299"/>
                      <a:pt x="12" y="299"/>
                    </a:cubicBezTo>
                    <a:cubicBezTo>
                      <a:pt x="12" y="298"/>
                      <a:pt x="12" y="298"/>
                      <a:pt x="12" y="298"/>
                    </a:cubicBezTo>
                    <a:cubicBezTo>
                      <a:pt x="13" y="298"/>
                      <a:pt x="13" y="298"/>
                      <a:pt x="13" y="298"/>
                    </a:cubicBezTo>
                    <a:cubicBezTo>
                      <a:pt x="13" y="298"/>
                      <a:pt x="13" y="298"/>
                      <a:pt x="13" y="298"/>
                    </a:cubicBezTo>
                    <a:cubicBezTo>
                      <a:pt x="13" y="298"/>
                      <a:pt x="13" y="298"/>
                      <a:pt x="13" y="298"/>
                    </a:cubicBezTo>
                    <a:cubicBezTo>
                      <a:pt x="13" y="298"/>
                      <a:pt x="13" y="298"/>
                      <a:pt x="13" y="298"/>
                    </a:cubicBezTo>
                    <a:cubicBezTo>
                      <a:pt x="13" y="297"/>
                      <a:pt x="13" y="297"/>
                      <a:pt x="13" y="297"/>
                    </a:cubicBezTo>
                    <a:cubicBezTo>
                      <a:pt x="13" y="297"/>
                      <a:pt x="13" y="297"/>
                      <a:pt x="13" y="297"/>
                    </a:cubicBezTo>
                    <a:cubicBezTo>
                      <a:pt x="12" y="297"/>
                      <a:pt x="12" y="297"/>
                      <a:pt x="12" y="297"/>
                    </a:cubicBezTo>
                    <a:cubicBezTo>
                      <a:pt x="12" y="298"/>
                      <a:pt x="12" y="298"/>
                      <a:pt x="12" y="298"/>
                    </a:cubicBezTo>
                    <a:cubicBezTo>
                      <a:pt x="12" y="298"/>
                      <a:pt x="12" y="298"/>
                      <a:pt x="12" y="298"/>
                    </a:cubicBezTo>
                    <a:cubicBezTo>
                      <a:pt x="12" y="298"/>
                      <a:pt x="12" y="298"/>
                      <a:pt x="12" y="298"/>
                    </a:cubicBezTo>
                    <a:cubicBezTo>
                      <a:pt x="12" y="298"/>
                      <a:pt x="11" y="298"/>
                      <a:pt x="11" y="298"/>
                    </a:cubicBezTo>
                    <a:cubicBezTo>
                      <a:pt x="11" y="298"/>
                      <a:pt x="11" y="298"/>
                      <a:pt x="11" y="298"/>
                    </a:cubicBezTo>
                    <a:close/>
                    <a:moveTo>
                      <a:pt x="5" y="299"/>
                    </a:moveTo>
                    <a:cubicBezTo>
                      <a:pt x="5" y="299"/>
                      <a:pt x="5" y="299"/>
                      <a:pt x="5" y="298"/>
                    </a:cubicBezTo>
                    <a:cubicBezTo>
                      <a:pt x="5" y="298"/>
                      <a:pt x="6" y="298"/>
                      <a:pt x="6" y="298"/>
                    </a:cubicBezTo>
                    <a:cubicBezTo>
                      <a:pt x="6" y="298"/>
                      <a:pt x="6" y="298"/>
                      <a:pt x="6" y="297"/>
                    </a:cubicBezTo>
                    <a:cubicBezTo>
                      <a:pt x="6" y="297"/>
                      <a:pt x="6" y="298"/>
                      <a:pt x="6"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4" y="298"/>
                    </a:cubicBezTo>
                    <a:cubicBezTo>
                      <a:pt x="4" y="298"/>
                      <a:pt x="4" y="298"/>
                      <a:pt x="4" y="298"/>
                    </a:cubicBezTo>
                    <a:cubicBezTo>
                      <a:pt x="4" y="298"/>
                      <a:pt x="4" y="299"/>
                      <a:pt x="4" y="299"/>
                    </a:cubicBezTo>
                    <a:cubicBezTo>
                      <a:pt x="4" y="299"/>
                      <a:pt x="4" y="299"/>
                      <a:pt x="4" y="300"/>
                    </a:cubicBezTo>
                    <a:cubicBezTo>
                      <a:pt x="4" y="300"/>
                      <a:pt x="4" y="300"/>
                      <a:pt x="4" y="300"/>
                    </a:cubicBezTo>
                    <a:cubicBezTo>
                      <a:pt x="4" y="300"/>
                      <a:pt x="4" y="300"/>
                      <a:pt x="4" y="300"/>
                    </a:cubicBezTo>
                    <a:cubicBezTo>
                      <a:pt x="3" y="301"/>
                      <a:pt x="3" y="301"/>
                      <a:pt x="3" y="302"/>
                    </a:cubicBezTo>
                    <a:cubicBezTo>
                      <a:pt x="4" y="301"/>
                      <a:pt x="4" y="301"/>
                      <a:pt x="4" y="301"/>
                    </a:cubicBezTo>
                    <a:cubicBezTo>
                      <a:pt x="5" y="301"/>
                      <a:pt x="4" y="300"/>
                      <a:pt x="5" y="300"/>
                    </a:cubicBezTo>
                    <a:cubicBezTo>
                      <a:pt x="5" y="300"/>
                      <a:pt x="5" y="299"/>
                      <a:pt x="5" y="299"/>
                    </a:cubicBezTo>
                    <a:cubicBezTo>
                      <a:pt x="5" y="299"/>
                      <a:pt x="5" y="299"/>
                      <a:pt x="5" y="299"/>
                    </a:cubicBezTo>
                    <a:close/>
                    <a:moveTo>
                      <a:pt x="7" y="295"/>
                    </a:moveTo>
                    <a:cubicBezTo>
                      <a:pt x="7" y="295"/>
                      <a:pt x="7" y="295"/>
                      <a:pt x="7" y="295"/>
                    </a:cubicBezTo>
                    <a:cubicBezTo>
                      <a:pt x="7" y="295"/>
                      <a:pt x="7" y="295"/>
                      <a:pt x="7" y="295"/>
                    </a:cubicBezTo>
                    <a:cubicBezTo>
                      <a:pt x="7" y="295"/>
                      <a:pt x="7" y="296"/>
                      <a:pt x="7" y="296"/>
                    </a:cubicBezTo>
                    <a:cubicBezTo>
                      <a:pt x="8" y="296"/>
                      <a:pt x="8" y="296"/>
                      <a:pt x="8" y="296"/>
                    </a:cubicBezTo>
                    <a:cubicBezTo>
                      <a:pt x="8" y="296"/>
                      <a:pt x="8" y="296"/>
                      <a:pt x="8" y="296"/>
                    </a:cubicBezTo>
                    <a:cubicBezTo>
                      <a:pt x="8" y="296"/>
                      <a:pt x="8" y="296"/>
                      <a:pt x="8" y="296"/>
                    </a:cubicBezTo>
                    <a:cubicBezTo>
                      <a:pt x="8" y="296"/>
                      <a:pt x="7" y="296"/>
                      <a:pt x="7" y="296"/>
                    </a:cubicBezTo>
                    <a:cubicBezTo>
                      <a:pt x="7" y="296"/>
                      <a:pt x="7" y="297"/>
                      <a:pt x="7" y="297"/>
                    </a:cubicBezTo>
                    <a:cubicBezTo>
                      <a:pt x="7" y="297"/>
                      <a:pt x="7" y="297"/>
                      <a:pt x="7" y="297"/>
                    </a:cubicBezTo>
                    <a:cubicBezTo>
                      <a:pt x="7" y="297"/>
                      <a:pt x="7" y="297"/>
                      <a:pt x="7" y="297"/>
                    </a:cubicBezTo>
                    <a:cubicBezTo>
                      <a:pt x="7" y="297"/>
                      <a:pt x="7" y="297"/>
                      <a:pt x="7" y="296"/>
                    </a:cubicBezTo>
                    <a:cubicBezTo>
                      <a:pt x="7" y="296"/>
                      <a:pt x="7" y="296"/>
                      <a:pt x="7" y="296"/>
                    </a:cubicBezTo>
                    <a:cubicBezTo>
                      <a:pt x="7" y="296"/>
                      <a:pt x="7" y="296"/>
                      <a:pt x="7" y="296"/>
                    </a:cubicBezTo>
                    <a:cubicBezTo>
                      <a:pt x="6" y="296"/>
                      <a:pt x="6" y="296"/>
                      <a:pt x="6" y="296"/>
                    </a:cubicBezTo>
                    <a:cubicBezTo>
                      <a:pt x="6" y="296"/>
                      <a:pt x="6" y="296"/>
                      <a:pt x="6" y="296"/>
                    </a:cubicBezTo>
                    <a:cubicBezTo>
                      <a:pt x="6" y="296"/>
                      <a:pt x="6" y="296"/>
                      <a:pt x="6" y="296"/>
                    </a:cubicBezTo>
                    <a:cubicBezTo>
                      <a:pt x="6" y="296"/>
                      <a:pt x="6" y="296"/>
                      <a:pt x="6" y="296"/>
                    </a:cubicBezTo>
                    <a:cubicBezTo>
                      <a:pt x="6" y="296"/>
                      <a:pt x="6" y="296"/>
                      <a:pt x="6" y="297"/>
                    </a:cubicBezTo>
                    <a:cubicBezTo>
                      <a:pt x="6" y="297"/>
                      <a:pt x="6" y="297"/>
                      <a:pt x="6" y="297"/>
                    </a:cubicBezTo>
                    <a:cubicBezTo>
                      <a:pt x="6" y="297"/>
                      <a:pt x="6" y="297"/>
                      <a:pt x="6" y="297"/>
                    </a:cubicBezTo>
                    <a:cubicBezTo>
                      <a:pt x="6" y="297"/>
                      <a:pt x="7" y="297"/>
                      <a:pt x="7" y="297"/>
                    </a:cubicBezTo>
                    <a:cubicBezTo>
                      <a:pt x="7" y="298"/>
                      <a:pt x="6" y="298"/>
                      <a:pt x="6" y="298"/>
                    </a:cubicBezTo>
                    <a:cubicBezTo>
                      <a:pt x="6" y="298"/>
                      <a:pt x="6" y="298"/>
                      <a:pt x="6" y="298"/>
                    </a:cubicBezTo>
                    <a:cubicBezTo>
                      <a:pt x="6" y="298"/>
                      <a:pt x="6" y="298"/>
                      <a:pt x="6" y="299"/>
                    </a:cubicBezTo>
                    <a:cubicBezTo>
                      <a:pt x="6" y="299"/>
                      <a:pt x="6" y="299"/>
                      <a:pt x="6" y="299"/>
                    </a:cubicBezTo>
                    <a:cubicBezTo>
                      <a:pt x="6" y="299"/>
                      <a:pt x="6" y="299"/>
                      <a:pt x="5" y="300"/>
                    </a:cubicBezTo>
                    <a:cubicBezTo>
                      <a:pt x="5" y="300"/>
                      <a:pt x="5" y="300"/>
                      <a:pt x="5" y="300"/>
                    </a:cubicBezTo>
                    <a:cubicBezTo>
                      <a:pt x="5" y="300"/>
                      <a:pt x="6" y="300"/>
                      <a:pt x="6" y="300"/>
                    </a:cubicBezTo>
                    <a:cubicBezTo>
                      <a:pt x="6" y="300"/>
                      <a:pt x="6" y="300"/>
                      <a:pt x="6" y="300"/>
                    </a:cubicBezTo>
                    <a:cubicBezTo>
                      <a:pt x="6" y="300"/>
                      <a:pt x="6" y="300"/>
                      <a:pt x="6" y="301"/>
                    </a:cubicBezTo>
                    <a:cubicBezTo>
                      <a:pt x="6" y="301"/>
                      <a:pt x="6" y="301"/>
                      <a:pt x="6" y="301"/>
                    </a:cubicBezTo>
                    <a:cubicBezTo>
                      <a:pt x="6" y="301"/>
                      <a:pt x="6" y="301"/>
                      <a:pt x="6" y="301"/>
                    </a:cubicBezTo>
                    <a:cubicBezTo>
                      <a:pt x="6" y="300"/>
                      <a:pt x="6" y="300"/>
                      <a:pt x="6" y="300"/>
                    </a:cubicBezTo>
                    <a:cubicBezTo>
                      <a:pt x="6" y="300"/>
                      <a:pt x="6" y="300"/>
                      <a:pt x="6" y="300"/>
                    </a:cubicBezTo>
                    <a:cubicBezTo>
                      <a:pt x="7" y="299"/>
                      <a:pt x="7" y="299"/>
                      <a:pt x="7" y="299"/>
                    </a:cubicBezTo>
                    <a:cubicBezTo>
                      <a:pt x="7" y="299"/>
                      <a:pt x="7" y="299"/>
                      <a:pt x="7" y="299"/>
                    </a:cubicBezTo>
                    <a:cubicBezTo>
                      <a:pt x="7" y="299"/>
                      <a:pt x="7" y="299"/>
                      <a:pt x="8" y="299"/>
                    </a:cubicBezTo>
                    <a:cubicBezTo>
                      <a:pt x="8" y="299"/>
                      <a:pt x="7" y="299"/>
                      <a:pt x="7" y="299"/>
                    </a:cubicBezTo>
                    <a:cubicBezTo>
                      <a:pt x="7" y="299"/>
                      <a:pt x="7" y="299"/>
                      <a:pt x="7" y="299"/>
                    </a:cubicBezTo>
                    <a:cubicBezTo>
                      <a:pt x="8" y="298"/>
                      <a:pt x="8" y="299"/>
                      <a:pt x="9" y="299"/>
                    </a:cubicBezTo>
                    <a:cubicBezTo>
                      <a:pt x="9" y="299"/>
                      <a:pt x="9" y="299"/>
                      <a:pt x="9" y="299"/>
                    </a:cubicBezTo>
                    <a:cubicBezTo>
                      <a:pt x="8" y="298"/>
                      <a:pt x="8" y="298"/>
                      <a:pt x="8" y="298"/>
                    </a:cubicBezTo>
                    <a:cubicBezTo>
                      <a:pt x="8" y="298"/>
                      <a:pt x="8" y="298"/>
                      <a:pt x="9" y="298"/>
                    </a:cubicBezTo>
                    <a:cubicBezTo>
                      <a:pt x="9" y="298"/>
                      <a:pt x="9" y="298"/>
                      <a:pt x="9" y="298"/>
                    </a:cubicBezTo>
                    <a:cubicBezTo>
                      <a:pt x="9" y="298"/>
                      <a:pt x="9" y="298"/>
                      <a:pt x="9" y="298"/>
                    </a:cubicBezTo>
                    <a:cubicBezTo>
                      <a:pt x="9" y="298"/>
                      <a:pt x="9" y="298"/>
                      <a:pt x="9" y="298"/>
                    </a:cubicBezTo>
                    <a:cubicBezTo>
                      <a:pt x="9" y="297"/>
                      <a:pt x="9" y="297"/>
                      <a:pt x="8" y="297"/>
                    </a:cubicBezTo>
                    <a:cubicBezTo>
                      <a:pt x="8" y="297"/>
                      <a:pt x="8" y="297"/>
                      <a:pt x="8" y="297"/>
                    </a:cubicBezTo>
                    <a:cubicBezTo>
                      <a:pt x="8" y="297"/>
                      <a:pt x="9" y="297"/>
                      <a:pt x="9" y="297"/>
                    </a:cubicBezTo>
                    <a:cubicBezTo>
                      <a:pt x="9" y="297"/>
                      <a:pt x="9" y="297"/>
                      <a:pt x="9" y="297"/>
                    </a:cubicBezTo>
                    <a:cubicBezTo>
                      <a:pt x="9" y="297"/>
                      <a:pt x="9" y="297"/>
                      <a:pt x="9" y="297"/>
                    </a:cubicBezTo>
                    <a:cubicBezTo>
                      <a:pt x="9" y="297"/>
                      <a:pt x="9" y="297"/>
                      <a:pt x="9" y="297"/>
                    </a:cubicBezTo>
                    <a:cubicBezTo>
                      <a:pt x="10" y="297"/>
                      <a:pt x="10" y="297"/>
                      <a:pt x="10" y="296"/>
                    </a:cubicBezTo>
                    <a:cubicBezTo>
                      <a:pt x="10" y="296"/>
                      <a:pt x="10" y="296"/>
                      <a:pt x="10" y="296"/>
                    </a:cubicBezTo>
                    <a:cubicBezTo>
                      <a:pt x="10" y="296"/>
                      <a:pt x="10" y="296"/>
                      <a:pt x="10" y="296"/>
                    </a:cubicBezTo>
                    <a:cubicBezTo>
                      <a:pt x="9" y="296"/>
                      <a:pt x="9" y="296"/>
                      <a:pt x="9" y="295"/>
                    </a:cubicBezTo>
                    <a:cubicBezTo>
                      <a:pt x="9" y="295"/>
                      <a:pt x="9" y="295"/>
                      <a:pt x="9" y="295"/>
                    </a:cubicBezTo>
                    <a:cubicBezTo>
                      <a:pt x="10" y="295"/>
                      <a:pt x="10" y="295"/>
                      <a:pt x="10" y="295"/>
                    </a:cubicBezTo>
                    <a:cubicBezTo>
                      <a:pt x="10" y="295"/>
                      <a:pt x="10" y="295"/>
                      <a:pt x="10" y="294"/>
                    </a:cubicBezTo>
                    <a:cubicBezTo>
                      <a:pt x="10" y="294"/>
                      <a:pt x="10" y="293"/>
                      <a:pt x="10" y="293"/>
                    </a:cubicBezTo>
                    <a:cubicBezTo>
                      <a:pt x="10" y="293"/>
                      <a:pt x="10" y="293"/>
                      <a:pt x="10" y="293"/>
                    </a:cubicBezTo>
                    <a:cubicBezTo>
                      <a:pt x="10" y="293"/>
                      <a:pt x="10" y="293"/>
                      <a:pt x="10" y="293"/>
                    </a:cubicBezTo>
                    <a:cubicBezTo>
                      <a:pt x="9" y="293"/>
                      <a:pt x="9" y="292"/>
                      <a:pt x="9" y="292"/>
                    </a:cubicBezTo>
                    <a:cubicBezTo>
                      <a:pt x="9" y="292"/>
                      <a:pt x="9" y="292"/>
                      <a:pt x="9" y="292"/>
                    </a:cubicBezTo>
                    <a:cubicBezTo>
                      <a:pt x="9" y="292"/>
                      <a:pt x="9" y="292"/>
                      <a:pt x="9" y="292"/>
                    </a:cubicBezTo>
                    <a:cubicBezTo>
                      <a:pt x="9" y="292"/>
                      <a:pt x="9" y="292"/>
                      <a:pt x="9" y="292"/>
                    </a:cubicBezTo>
                    <a:cubicBezTo>
                      <a:pt x="9" y="292"/>
                      <a:pt x="9" y="292"/>
                      <a:pt x="9" y="292"/>
                    </a:cubicBezTo>
                    <a:cubicBezTo>
                      <a:pt x="9" y="292"/>
                      <a:pt x="8" y="292"/>
                      <a:pt x="8" y="292"/>
                    </a:cubicBezTo>
                    <a:cubicBezTo>
                      <a:pt x="8" y="292"/>
                      <a:pt x="8" y="292"/>
                      <a:pt x="8" y="292"/>
                    </a:cubicBezTo>
                    <a:cubicBezTo>
                      <a:pt x="8" y="292"/>
                      <a:pt x="8" y="292"/>
                      <a:pt x="8" y="292"/>
                    </a:cubicBezTo>
                    <a:cubicBezTo>
                      <a:pt x="8" y="293"/>
                      <a:pt x="8" y="293"/>
                      <a:pt x="8" y="293"/>
                    </a:cubicBezTo>
                    <a:cubicBezTo>
                      <a:pt x="8" y="292"/>
                      <a:pt x="8" y="292"/>
                      <a:pt x="8" y="292"/>
                    </a:cubicBezTo>
                    <a:cubicBezTo>
                      <a:pt x="8" y="292"/>
                      <a:pt x="7" y="292"/>
                      <a:pt x="7" y="292"/>
                    </a:cubicBezTo>
                    <a:cubicBezTo>
                      <a:pt x="7" y="292"/>
                      <a:pt x="7" y="291"/>
                      <a:pt x="7" y="291"/>
                    </a:cubicBezTo>
                    <a:cubicBezTo>
                      <a:pt x="7" y="291"/>
                      <a:pt x="7" y="291"/>
                      <a:pt x="7" y="291"/>
                    </a:cubicBezTo>
                    <a:cubicBezTo>
                      <a:pt x="7" y="291"/>
                      <a:pt x="7" y="291"/>
                      <a:pt x="7" y="291"/>
                    </a:cubicBezTo>
                    <a:cubicBezTo>
                      <a:pt x="7" y="291"/>
                      <a:pt x="6" y="291"/>
                      <a:pt x="6" y="291"/>
                    </a:cubicBezTo>
                    <a:cubicBezTo>
                      <a:pt x="6" y="291"/>
                      <a:pt x="6" y="291"/>
                      <a:pt x="6" y="292"/>
                    </a:cubicBezTo>
                    <a:cubicBezTo>
                      <a:pt x="6" y="292"/>
                      <a:pt x="6" y="292"/>
                      <a:pt x="6" y="292"/>
                    </a:cubicBezTo>
                    <a:cubicBezTo>
                      <a:pt x="6" y="292"/>
                      <a:pt x="6" y="292"/>
                      <a:pt x="6" y="292"/>
                    </a:cubicBezTo>
                    <a:cubicBezTo>
                      <a:pt x="6" y="292"/>
                      <a:pt x="6" y="292"/>
                      <a:pt x="6" y="293"/>
                    </a:cubicBezTo>
                    <a:cubicBezTo>
                      <a:pt x="6" y="293"/>
                      <a:pt x="6" y="293"/>
                      <a:pt x="6" y="293"/>
                    </a:cubicBezTo>
                    <a:cubicBezTo>
                      <a:pt x="6" y="293"/>
                      <a:pt x="6" y="293"/>
                      <a:pt x="6" y="293"/>
                    </a:cubicBezTo>
                    <a:cubicBezTo>
                      <a:pt x="6" y="293"/>
                      <a:pt x="6" y="293"/>
                      <a:pt x="6" y="293"/>
                    </a:cubicBezTo>
                    <a:cubicBezTo>
                      <a:pt x="6" y="293"/>
                      <a:pt x="7" y="293"/>
                      <a:pt x="7" y="293"/>
                    </a:cubicBezTo>
                    <a:cubicBezTo>
                      <a:pt x="7" y="293"/>
                      <a:pt x="7" y="293"/>
                      <a:pt x="7" y="293"/>
                    </a:cubicBezTo>
                    <a:cubicBezTo>
                      <a:pt x="7" y="293"/>
                      <a:pt x="7" y="293"/>
                      <a:pt x="7" y="293"/>
                    </a:cubicBezTo>
                    <a:cubicBezTo>
                      <a:pt x="6" y="293"/>
                      <a:pt x="6" y="293"/>
                      <a:pt x="6" y="293"/>
                    </a:cubicBezTo>
                    <a:cubicBezTo>
                      <a:pt x="6" y="293"/>
                      <a:pt x="6" y="293"/>
                      <a:pt x="6" y="293"/>
                    </a:cubicBezTo>
                    <a:cubicBezTo>
                      <a:pt x="6" y="294"/>
                      <a:pt x="6" y="294"/>
                      <a:pt x="6" y="294"/>
                    </a:cubicBezTo>
                    <a:cubicBezTo>
                      <a:pt x="6" y="294"/>
                      <a:pt x="6" y="294"/>
                      <a:pt x="5" y="294"/>
                    </a:cubicBezTo>
                    <a:cubicBezTo>
                      <a:pt x="5" y="294"/>
                      <a:pt x="5" y="294"/>
                      <a:pt x="5" y="294"/>
                    </a:cubicBezTo>
                    <a:cubicBezTo>
                      <a:pt x="5" y="294"/>
                      <a:pt x="5" y="295"/>
                      <a:pt x="5" y="295"/>
                    </a:cubicBezTo>
                    <a:cubicBezTo>
                      <a:pt x="6" y="295"/>
                      <a:pt x="6" y="295"/>
                      <a:pt x="6" y="295"/>
                    </a:cubicBezTo>
                    <a:cubicBezTo>
                      <a:pt x="6" y="295"/>
                      <a:pt x="6" y="295"/>
                      <a:pt x="6" y="295"/>
                    </a:cubicBezTo>
                    <a:cubicBezTo>
                      <a:pt x="6" y="295"/>
                      <a:pt x="6" y="295"/>
                      <a:pt x="6" y="295"/>
                    </a:cubicBezTo>
                    <a:cubicBezTo>
                      <a:pt x="6" y="295"/>
                      <a:pt x="7" y="295"/>
                      <a:pt x="7" y="295"/>
                    </a:cubicBezTo>
                    <a:cubicBezTo>
                      <a:pt x="7" y="295"/>
                      <a:pt x="7" y="295"/>
                      <a:pt x="7" y="295"/>
                    </a:cubicBezTo>
                    <a:cubicBezTo>
                      <a:pt x="7" y="296"/>
                      <a:pt x="7" y="295"/>
                      <a:pt x="7" y="295"/>
                    </a:cubicBezTo>
                    <a:close/>
                    <a:moveTo>
                      <a:pt x="8" y="290"/>
                    </a:moveTo>
                    <a:cubicBezTo>
                      <a:pt x="8" y="290"/>
                      <a:pt x="8" y="290"/>
                      <a:pt x="8" y="290"/>
                    </a:cubicBezTo>
                    <a:cubicBezTo>
                      <a:pt x="8" y="290"/>
                      <a:pt x="8" y="290"/>
                      <a:pt x="8" y="289"/>
                    </a:cubicBezTo>
                    <a:cubicBezTo>
                      <a:pt x="8" y="289"/>
                      <a:pt x="8" y="289"/>
                      <a:pt x="8" y="289"/>
                    </a:cubicBezTo>
                    <a:cubicBezTo>
                      <a:pt x="8" y="289"/>
                      <a:pt x="9" y="289"/>
                      <a:pt x="9" y="289"/>
                    </a:cubicBezTo>
                    <a:cubicBezTo>
                      <a:pt x="9" y="289"/>
                      <a:pt x="9" y="289"/>
                      <a:pt x="9" y="289"/>
                    </a:cubicBezTo>
                    <a:cubicBezTo>
                      <a:pt x="9" y="289"/>
                      <a:pt x="9" y="289"/>
                      <a:pt x="9" y="289"/>
                    </a:cubicBezTo>
                    <a:cubicBezTo>
                      <a:pt x="9" y="290"/>
                      <a:pt x="9" y="290"/>
                      <a:pt x="9" y="290"/>
                    </a:cubicBezTo>
                    <a:cubicBezTo>
                      <a:pt x="9" y="290"/>
                      <a:pt x="9" y="290"/>
                      <a:pt x="9" y="290"/>
                    </a:cubicBezTo>
                    <a:cubicBezTo>
                      <a:pt x="9" y="291"/>
                      <a:pt x="9" y="291"/>
                      <a:pt x="9" y="291"/>
                    </a:cubicBezTo>
                    <a:cubicBezTo>
                      <a:pt x="9" y="291"/>
                      <a:pt x="9" y="291"/>
                      <a:pt x="9" y="291"/>
                    </a:cubicBezTo>
                    <a:cubicBezTo>
                      <a:pt x="9" y="291"/>
                      <a:pt x="9" y="292"/>
                      <a:pt x="10" y="292"/>
                    </a:cubicBezTo>
                    <a:cubicBezTo>
                      <a:pt x="10" y="292"/>
                      <a:pt x="10" y="292"/>
                      <a:pt x="10" y="292"/>
                    </a:cubicBezTo>
                    <a:cubicBezTo>
                      <a:pt x="10" y="292"/>
                      <a:pt x="10" y="292"/>
                      <a:pt x="10" y="292"/>
                    </a:cubicBezTo>
                    <a:cubicBezTo>
                      <a:pt x="11" y="292"/>
                      <a:pt x="11" y="292"/>
                      <a:pt x="11" y="292"/>
                    </a:cubicBezTo>
                    <a:cubicBezTo>
                      <a:pt x="11" y="292"/>
                      <a:pt x="11" y="293"/>
                      <a:pt x="11" y="293"/>
                    </a:cubicBezTo>
                    <a:cubicBezTo>
                      <a:pt x="11" y="292"/>
                      <a:pt x="11" y="292"/>
                      <a:pt x="11" y="292"/>
                    </a:cubicBezTo>
                    <a:cubicBezTo>
                      <a:pt x="11" y="292"/>
                      <a:pt x="11" y="292"/>
                      <a:pt x="11" y="292"/>
                    </a:cubicBezTo>
                    <a:cubicBezTo>
                      <a:pt x="11" y="291"/>
                      <a:pt x="11" y="291"/>
                      <a:pt x="11" y="291"/>
                    </a:cubicBezTo>
                    <a:cubicBezTo>
                      <a:pt x="11" y="291"/>
                      <a:pt x="11" y="291"/>
                      <a:pt x="11" y="291"/>
                    </a:cubicBezTo>
                    <a:cubicBezTo>
                      <a:pt x="11" y="291"/>
                      <a:pt x="11" y="290"/>
                      <a:pt x="11" y="290"/>
                    </a:cubicBezTo>
                    <a:cubicBezTo>
                      <a:pt x="11" y="290"/>
                      <a:pt x="10" y="290"/>
                      <a:pt x="10" y="290"/>
                    </a:cubicBezTo>
                    <a:cubicBezTo>
                      <a:pt x="10" y="290"/>
                      <a:pt x="10" y="290"/>
                      <a:pt x="10" y="290"/>
                    </a:cubicBezTo>
                    <a:cubicBezTo>
                      <a:pt x="10" y="290"/>
                      <a:pt x="10" y="290"/>
                      <a:pt x="10" y="290"/>
                    </a:cubicBezTo>
                    <a:cubicBezTo>
                      <a:pt x="10" y="289"/>
                      <a:pt x="10" y="289"/>
                      <a:pt x="10" y="289"/>
                    </a:cubicBezTo>
                    <a:cubicBezTo>
                      <a:pt x="10" y="289"/>
                      <a:pt x="10" y="289"/>
                      <a:pt x="10" y="289"/>
                    </a:cubicBezTo>
                    <a:cubicBezTo>
                      <a:pt x="10" y="289"/>
                      <a:pt x="10" y="289"/>
                      <a:pt x="10" y="289"/>
                    </a:cubicBezTo>
                    <a:cubicBezTo>
                      <a:pt x="10" y="289"/>
                      <a:pt x="9" y="288"/>
                      <a:pt x="9" y="288"/>
                    </a:cubicBezTo>
                    <a:cubicBezTo>
                      <a:pt x="9" y="288"/>
                      <a:pt x="9" y="288"/>
                      <a:pt x="9" y="288"/>
                    </a:cubicBezTo>
                    <a:cubicBezTo>
                      <a:pt x="9" y="288"/>
                      <a:pt x="9" y="288"/>
                      <a:pt x="9" y="288"/>
                    </a:cubicBezTo>
                    <a:cubicBezTo>
                      <a:pt x="9" y="288"/>
                      <a:pt x="9" y="288"/>
                      <a:pt x="9" y="288"/>
                    </a:cubicBezTo>
                    <a:cubicBezTo>
                      <a:pt x="8" y="288"/>
                      <a:pt x="8" y="288"/>
                      <a:pt x="8" y="288"/>
                    </a:cubicBezTo>
                    <a:cubicBezTo>
                      <a:pt x="8" y="288"/>
                      <a:pt x="8" y="288"/>
                      <a:pt x="8" y="288"/>
                    </a:cubicBezTo>
                    <a:cubicBezTo>
                      <a:pt x="8" y="288"/>
                      <a:pt x="7" y="288"/>
                      <a:pt x="7" y="288"/>
                    </a:cubicBezTo>
                    <a:cubicBezTo>
                      <a:pt x="7" y="288"/>
                      <a:pt x="7" y="288"/>
                      <a:pt x="7" y="288"/>
                    </a:cubicBezTo>
                    <a:cubicBezTo>
                      <a:pt x="7" y="288"/>
                      <a:pt x="7" y="288"/>
                      <a:pt x="7" y="288"/>
                    </a:cubicBezTo>
                    <a:cubicBezTo>
                      <a:pt x="7" y="288"/>
                      <a:pt x="7" y="288"/>
                      <a:pt x="7" y="288"/>
                    </a:cubicBezTo>
                    <a:cubicBezTo>
                      <a:pt x="7" y="289"/>
                      <a:pt x="7" y="289"/>
                      <a:pt x="7" y="289"/>
                    </a:cubicBezTo>
                    <a:cubicBezTo>
                      <a:pt x="8" y="289"/>
                      <a:pt x="8" y="289"/>
                      <a:pt x="8" y="289"/>
                    </a:cubicBezTo>
                    <a:cubicBezTo>
                      <a:pt x="8" y="289"/>
                      <a:pt x="8" y="289"/>
                      <a:pt x="8" y="289"/>
                    </a:cubicBezTo>
                    <a:cubicBezTo>
                      <a:pt x="8" y="289"/>
                      <a:pt x="8" y="289"/>
                      <a:pt x="8" y="289"/>
                    </a:cubicBezTo>
                    <a:cubicBezTo>
                      <a:pt x="8" y="289"/>
                      <a:pt x="8" y="289"/>
                      <a:pt x="8" y="289"/>
                    </a:cubicBezTo>
                    <a:cubicBezTo>
                      <a:pt x="8" y="290"/>
                      <a:pt x="7" y="290"/>
                      <a:pt x="8" y="290"/>
                    </a:cubicBezTo>
                    <a:cubicBezTo>
                      <a:pt x="8" y="290"/>
                      <a:pt x="8" y="290"/>
                      <a:pt x="8" y="290"/>
                    </a:cubicBezTo>
                    <a:close/>
                    <a:moveTo>
                      <a:pt x="4" y="291"/>
                    </a:moveTo>
                    <a:cubicBezTo>
                      <a:pt x="4" y="291"/>
                      <a:pt x="4" y="291"/>
                      <a:pt x="3" y="291"/>
                    </a:cubicBezTo>
                    <a:cubicBezTo>
                      <a:pt x="3" y="290"/>
                      <a:pt x="3" y="290"/>
                      <a:pt x="3" y="290"/>
                    </a:cubicBezTo>
                    <a:cubicBezTo>
                      <a:pt x="3" y="290"/>
                      <a:pt x="3" y="290"/>
                      <a:pt x="3" y="290"/>
                    </a:cubicBezTo>
                    <a:cubicBezTo>
                      <a:pt x="4" y="290"/>
                      <a:pt x="4" y="290"/>
                      <a:pt x="4" y="290"/>
                    </a:cubicBezTo>
                    <a:cubicBezTo>
                      <a:pt x="4" y="290"/>
                      <a:pt x="4" y="290"/>
                      <a:pt x="4" y="290"/>
                    </a:cubicBezTo>
                    <a:cubicBezTo>
                      <a:pt x="4" y="290"/>
                      <a:pt x="4" y="290"/>
                      <a:pt x="4" y="290"/>
                    </a:cubicBezTo>
                    <a:cubicBezTo>
                      <a:pt x="4" y="290"/>
                      <a:pt x="5" y="289"/>
                      <a:pt x="5" y="289"/>
                    </a:cubicBezTo>
                    <a:cubicBezTo>
                      <a:pt x="5" y="289"/>
                      <a:pt x="5" y="289"/>
                      <a:pt x="5" y="289"/>
                    </a:cubicBezTo>
                    <a:cubicBezTo>
                      <a:pt x="5" y="289"/>
                      <a:pt x="5" y="289"/>
                      <a:pt x="5" y="289"/>
                    </a:cubicBezTo>
                    <a:cubicBezTo>
                      <a:pt x="4" y="289"/>
                      <a:pt x="4" y="289"/>
                      <a:pt x="3" y="289"/>
                    </a:cubicBezTo>
                    <a:cubicBezTo>
                      <a:pt x="3" y="289"/>
                      <a:pt x="3" y="289"/>
                      <a:pt x="3" y="289"/>
                    </a:cubicBezTo>
                    <a:cubicBezTo>
                      <a:pt x="3" y="289"/>
                      <a:pt x="3" y="289"/>
                      <a:pt x="3" y="289"/>
                    </a:cubicBezTo>
                    <a:cubicBezTo>
                      <a:pt x="3" y="289"/>
                      <a:pt x="3" y="289"/>
                      <a:pt x="3" y="289"/>
                    </a:cubicBezTo>
                    <a:cubicBezTo>
                      <a:pt x="2" y="289"/>
                      <a:pt x="2" y="289"/>
                      <a:pt x="2" y="289"/>
                    </a:cubicBezTo>
                    <a:cubicBezTo>
                      <a:pt x="2" y="289"/>
                      <a:pt x="2" y="289"/>
                      <a:pt x="2" y="289"/>
                    </a:cubicBezTo>
                    <a:cubicBezTo>
                      <a:pt x="2" y="289"/>
                      <a:pt x="2" y="289"/>
                      <a:pt x="2" y="289"/>
                    </a:cubicBezTo>
                    <a:cubicBezTo>
                      <a:pt x="2" y="289"/>
                      <a:pt x="2" y="289"/>
                      <a:pt x="2" y="289"/>
                    </a:cubicBezTo>
                    <a:cubicBezTo>
                      <a:pt x="2" y="289"/>
                      <a:pt x="2" y="290"/>
                      <a:pt x="2" y="290"/>
                    </a:cubicBezTo>
                    <a:cubicBezTo>
                      <a:pt x="2" y="290"/>
                      <a:pt x="3" y="290"/>
                      <a:pt x="3" y="290"/>
                    </a:cubicBezTo>
                    <a:cubicBezTo>
                      <a:pt x="3" y="290"/>
                      <a:pt x="3" y="290"/>
                      <a:pt x="3" y="290"/>
                    </a:cubicBezTo>
                    <a:cubicBezTo>
                      <a:pt x="2" y="290"/>
                      <a:pt x="2" y="290"/>
                      <a:pt x="2" y="291"/>
                    </a:cubicBezTo>
                    <a:cubicBezTo>
                      <a:pt x="2" y="291"/>
                      <a:pt x="3" y="291"/>
                      <a:pt x="3" y="291"/>
                    </a:cubicBezTo>
                    <a:cubicBezTo>
                      <a:pt x="3" y="291"/>
                      <a:pt x="3" y="291"/>
                      <a:pt x="3" y="291"/>
                    </a:cubicBezTo>
                    <a:cubicBezTo>
                      <a:pt x="3" y="291"/>
                      <a:pt x="3" y="291"/>
                      <a:pt x="2" y="291"/>
                    </a:cubicBezTo>
                    <a:cubicBezTo>
                      <a:pt x="2" y="291"/>
                      <a:pt x="2" y="291"/>
                      <a:pt x="2" y="292"/>
                    </a:cubicBezTo>
                    <a:cubicBezTo>
                      <a:pt x="2" y="292"/>
                      <a:pt x="2" y="292"/>
                      <a:pt x="3" y="292"/>
                    </a:cubicBezTo>
                    <a:cubicBezTo>
                      <a:pt x="3" y="292"/>
                      <a:pt x="3" y="292"/>
                      <a:pt x="3" y="292"/>
                    </a:cubicBezTo>
                    <a:cubicBezTo>
                      <a:pt x="3" y="292"/>
                      <a:pt x="3" y="292"/>
                      <a:pt x="3" y="292"/>
                    </a:cubicBezTo>
                    <a:cubicBezTo>
                      <a:pt x="3" y="292"/>
                      <a:pt x="3" y="292"/>
                      <a:pt x="3" y="292"/>
                    </a:cubicBezTo>
                    <a:cubicBezTo>
                      <a:pt x="3" y="292"/>
                      <a:pt x="3" y="292"/>
                      <a:pt x="4" y="292"/>
                    </a:cubicBezTo>
                    <a:cubicBezTo>
                      <a:pt x="4" y="292"/>
                      <a:pt x="4" y="291"/>
                      <a:pt x="4" y="291"/>
                    </a:cubicBezTo>
                    <a:close/>
                    <a:moveTo>
                      <a:pt x="3" y="288"/>
                    </a:moveTo>
                    <a:cubicBezTo>
                      <a:pt x="3" y="288"/>
                      <a:pt x="3" y="288"/>
                      <a:pt x="3" y="289"/>
                    </a:cubicBezTo>
                    <a:cubicBezTo>
                      <a:pt x="4" y="289"/>
                      <a:pt x="4" y="289"/>
                      <a:pt x="4" y="288"/>
                    </a:cubicBezTo>
                    <a:cubicBezTo>
                      <a:pt x="5" y="288"/>
                      <a:pt x="5" y="288"/>
                      <a:pt x="5" y="288"/>
                    </a:cubicBezTo>
                    <a:cubicBezTo>
                      <a:pt x="5" y="289"/>
                      <a:pt x="5" y="288"/>
                      <a:pt x="5" y="288"/>
                    </a:cubicBezTo>
                    <a:cubicBezTo>
                      <a:pt x="5" y="288"/>
                      <a:pt x="5" y="288"/>
                      <a:pt x="5" y="288"/>
                    </a:cubicBezTo>
                    <a:cubicBezTo>
                      <a:pt x="6" y="287"/>
                      <a:pt x="6" y="287"/>
                      <a:pt x="7" y="286"/>
                    </a:cubicBezTo>
                    <a:cubicBezTo>
                      <a:pt x="7" y="286"/>
                      <a:pt x="7" y="286"/>
                      <a:pt x="7" y="286"/>
                    </a:cubicBezTo>
                    <a:cubicBezTo>
                      <a:pt x="7" y="286"/>
                      <a:pt x="7" y="285"/>
                      <a:pt x="7" y="285"/>
                    </a:cubicBezTo>
                    <a:cubicBezTo>
                      <a:pt x="7" y="285"/>
                      <a:pt x="7" y="285"/>
                      <a:pt x="7" y="285"/>
                    </a:cubicBezTo>
                    <a:cubicBezTo>
                      <a:pt x="7" y="285"/>
                      <a:pt x="6" y="285"/>
                      <a:pt x="6" y="285"/>
                    </a:cubicBezTo>
                    <a:cubicBezTo>
                      <a:pt x="6" y="285"/>
                      <a:pt x="6" y="285"/>
                      <a:pt x="6" y="285"/>
                    </a:cubicBezTo>
                    <a:cubicBezTo>
                      <a:pt x="6" y="284"/>
                      <a:pt x="6" y="284"/>
                      <a:pt x="6" y="284"/>
                    </a:cubicBezTo>
                    <a:cubicBezTo>
                      <a:pt x="6" y="284"/>
                      <a:pt x="6" y="284"/>
                      <a:pt x="6" y="284"/>
                    </a:cubicBezTo>
                    <a:cubicBezTo>
                      <a:pt x="5" y="284"/>
                      <a:pt x="5" y="285"/>
                      <a:pt x="5" y="285"/>
                    </a:cubicBezTo>
                    <a:cubicBezTo>
                      <a:pt x="5" y="285"/>
                      <a:pt x="5" y="285"/>
                      <a:pt x="5" y="284"/>
                    </a:cubicBezTo>
                    <a:cubicBezTo>
                      <a:pt x="5" y="284"/>
                      <a:pt x="5" y="284"/>
                      <a:pt x="5" y="284"/>
                    </a:cubicBezTo>
                    <a:cubicBezTo>
                      <a:pt x="5" y="284"/>
                      <a:pt x="5" y="284"/>
                      <a:pt x="5" y="284"/>
                    </a:cubicBezTo>
                    <a:cubicBezTo>
                      <a:pt x="5" y="284"/>
                      <a:pt x="5" y="284"/>
                      <a:pt x="5" y="284"/>
                    </a:cubicBezTo>
                    <a:cubicBezTo>
                      <a:pt x="4" y="284"/>
                      <a:pt x="4" y="284"/>
                      <a:pt x="4" y="284"/>
                    </a:cubicBezTo>
                    <a:cubicBezTo>
                      <a:pt x="4" y="284"/>
                      <a:pt x="4" y="284"/>
                      <a:pt x="4" y="284"/>
                    </a:cubicBezTo>
                    <a:cubicBezTo>
                      <a:pt x="4" y="284"/>
                      <a:pt x="4" y="284"/>
                      <a:pt x="4" y="284"/>
                    </a:cubicBezTo>
                    <a:cubicBezTo>
                      <a:pt x="4" y="284"/>
                      <a:pt x="4" y="284"/>
                      <a:pt x="4" y="283"/>
                    </a:cubicBezTo>
                    <a:cubicBezTo>
                      <a:pt x="3" y="283"/>
                      <a:pt x="3" y="283"/>
                      <a:pt x="3" y="283"/>
                    </a:cubicBezTo>
                    <a:cubicBezTo>
                      <a:pt x="3" y="284"/>
                      <a:pt x="3" y="284"/>
                      <a:pt x="3" y="284"/>
                    </a:cubicBezTo>
                    <a:cubicBezTo>
                      <a:pt x="3" y="284"/>
                      <a:pt x="3" y="284"/>
                      <a:pt x="3" y="284"/>
                    </a:cubicBezTo>
                    <a:cubicBezTo>
                      <a:pt x="3" y="284"/>
                      <a:pt x="3" y="284"/>
                      <a:pt x="3" y="284"/>
                    </a:cubicBezTo>
                    <a:cubicBezTo>
                      <a:pt x="3" y="284"/>
                      <a:pt x="3" y="284"/>
                      <a:pt x="3" y="285"/>
                    </a:cubicBezTo>
                    <a:cubicBezTo>
                      <a:pt x="3" y="285"/>
                      <a:pt x="3" y="285"/>
                      <a:pt x="3" y="285"/>
                    </a:cubicBezTo>
                    <a:cubicBezTo>
                      <a:pt x="3" y="285"/>
                      <a:pt x="3"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5" y="286"/>
                      <a:pt x="5" y="286"/>
                      <a:pt x="4" y="286"/>
                    </a:cubicBezTo>
                    <a:cubicBezTo>
                      <a:pt x="4" y="286"/>
                      <a:pt x="4" y="286"/>
                      <a:pt x="4" y="286"/>
                    </a:cubicBezTo>
                    <a:cubicBezTo>
                      <a:pt x="4" y="286"/>
                      <a:pt x="4" y="286"/>
                      <a:pt x="4" y="286"/>
                    </a:cubicBezTo>
                    <a:cubicBezTo>
                      <a:pt x="3" y="286"/>
                      <a:pt x="3" y="286"/>
                      <a:pt x="3" y="286"/>
                    </a:cubicBezTo>
                    <a:cubicBezTo>
                      <a:pt x="3" y="286"/>
                      <a:pt x="3" y="286"/>
                      <a:pt x="3" y="286"/>
                    </a:cubicBezTo>
                    <a:cubicBezTo>
                      <a:pt x="3" y="286"/>
                      <a:pt x="3" y="286"/>
                      <a:pt x="3" y="286"/>
                    </a:cubicBezTo>
                    <a:cubicBezTo>
                      <a:pt x="3" y="286"/>
                      <a:pt x="3" y="285"/>
                      <a:pt x="3" y="285"/>
                    </a:cubicBezTo>
                    <a:cubicBezTo>
                      <a:pt x="3" y="285"/>
                      <a:pt x="3" y="285"/>
                      <a:pt x="3" y="285"/>
                    </a:cubicBezTo>
                    <a:cubicBezTo>
                      <a:pt x="3" y="285"/>
                      <a:pt x="3" y="285"/>
                      <a:pt x="3" y="285"/>
                    </a:cubicBezTo>
                    <a:cubicBezTo>
                      <a:pt x="2" y="285"/>
                      <a:pt x="2" y="286"/>
                      <a:pt x="2" y="286"/>
                    </a:cubicBezTo>
                    <a:cubicBezTo>
                      <a:pt x="2" y="286"/>
                      <a:pt x="2" y="286"/>
                      <a:pt x="2" y="286"/>
                    </a:cubicBezTo>
                    <a:cubicBezTo>
                      <a:pt x="2" y="286"/>
                      <a:pt x="2" y="286"/>
                      <a:pt x="2" y="287"/>
                    </a:cubicBezTo>
                    <a:cubicBezTo>
                      <a:pt x="2" y="287"/>
                      <a:pt x="2" y="287"/>
                      <a:pt x="2" y="287"/>
                    </a:cubicBezTo>
                    <a:cubicBezTo>
                      <a:pt x="2" y="287"/>
                      <a:pt x="2" y="287"/>
                      <a:pt x="2" y="288"/>
                    </a:cubicBezTo>
                    <a:cubicBezTo>
                      <a:pt x="2" y="288"/>
                      <a:pt x="3" y="288"/>
                      <a:pt x="3" y="288"/>
                    </a:cubicBezTo>
                    <a:cubicBezTo>
                      <a:pt x="3" y="288"/>
                      <a:pt x="3" y="288"/>
                      <a:pt x="3" y="287"/>
                    </a:cubicBezTo>
                    <a:cubicBezTo>
                      <a:pt x="3" y="287"/>
                      <a:pt x="3" y="287"/>
                      <a:pt x="4" y="287"/>
                    </a:cubicBezTo>
                    <a:cubicBezTo>
                      <a:pt x="4" y="287"/>
                      <a:pt x="4" y="287"/>
                      <a:pt x="4" y="287"/>
                    </a:cubicBezTo>
                    <a:cubicBezTo>
                      <a:pt x="4" y="287"/>
                      <a:pt x="4" y="288"/>
                      <a:pt x="4" y="288"/>
                    </a:cubicBezTo>
                    <a:cubicBezTo>
                      <a:pt x="4" y="288"/>
                      <a:pt x="3" y="288"/>
                      <a:pt x="3" y="288"/>
                    </a:cubicBezTo>
                    <a:cubicBezTo>
                      <a:pt x="3" y="288"/>
                      <a:pt x="3" y="288"/>
                      <a:pt x="3" y="288"/>
                    </a:cubicBezTo>
                    <a:close/>
                    <a:moveTo>
                      <a:pt x="3" y="281"/>
                    </a:moveTo>
                    <a:cubicBezTo>
                      <a:pt x="3" y="281"/>
                      <a:pt x="3" y="281"/>
                      <a:pt x="3" y="281"/>
                    </a:cubicBezTo>
                    <a:cubicBezTo>
                      <a:pt x="3" y="281"/>
                      <a:pt x="3" y="281"/>
                      <a:pt x="3" y="281"/>
                    </a:cubicBezTo>
                    <a:cubicBezTo>
                      <a:pt x="3" y="281"/>
                      <a:pt x="3" y="281"/>
                      <a:pt x="3" y="281"/>
                    </a:cubicBezTo>
                    <a:cubicBezTo>
                      <a:pt x="3" y="281"/>
                      <a:pt x="3" y="281"/>
                      <a:pt x="3" y="281"/>
                    </a:cubicBezTo>
                    <a:cubicBezTo>
                      <a:pt x="3" y="281"/>
                      <a:pt x="3" y="281"/>
                      <a:pt x="3" y="282"/>
                    </a:cubicBezTo>
                    <a:cubicBezTo>
                      <a:pt x="3" y="282"/>
                      <a:pt x="3" y="282"/>
                      <a:pt x="3" y="282"/>
                    </a:cubicBezTo>
                    <a:cubicBezTo>
                      <a:pt x="3" y="282"/>
                      <a:pt x="3" y="282"/>
                      <a:pt x="4" y="282"/>
                    </a:cubicBezTo>
                    <a:cubicBezTo>
                      <a:pt x="4" y="282"/>
                      <a:pt x="4" y="282"/>
                      <a:pt x="4" y="282"/>
                    </a:cubicBezTo>
                    <a:cubicBezTo>
                      <a:pt x="4" y="282"/>
                      <a:pt x="4" y="282"/>
                      <a:pt x="4" y="281"/>
                    </a:cubicBezTo>
                    <a:cubicBezTo>
                      <a:pt x="4" y="281"/>
                      <a:pt x="4" y="281"/>
                      <a:pt x="4" y="281"/>
                    </a:cubicBezTo>
                    <a:cubicBezTo>
                      <a:pt x="4" y="281"/>
                      <a:pt x="3" y="280"/>
                      <a:pt x="3" y="280"/>
                    </a:cubicBezTo>
                    <a:cubicBezTo>
                      <a:pt x="3" y="280"/>
                      <a:pt x="3" y="280"/>
                      <a:pt x="3" y="280"/>
                    </a:cubicBezTo>
                    <a:cubicBezTo>
                      <a:pt x="3" y="280"/>
                      <a:pt x="3" y="280"/>
                      <a:pt x="3" y="280"/>
                    </a:cubicBezTo>
                    <a:cubicBezTo>
                      <a:pt x="3" y="280"/>
                      <a:pt x="3" y="280"/>
                      <a:pt x="3" y="279"/>
                    </a:cubicBezTo>
                    <a:cubicBezTo>
                      <a:pt x="3" y="279"/>
                      <a:pt x="3" y="279"/>
                      <a:pt x="3" y="279"/>
                    </a:cubicBezTo>
                    <a:cubicBezTo>
                      <a:pt x="3" y="279"/>
                      <a:pt x="3" y="279"/>
                      <a:pt x="3" y="279"/>
                    </a:cubicBezTo>
                    <a:cubicBezTo>
                      <a:pt x="2" y="279"/>
                      <a:pt x="2" y="279"/>
                      <a:pt x="2" y="279"/>
                    </a:cubicBezTo>
                    <a:cubicBezTo>
                      <a:pt x="2" y="279"/>
                      <a:pt x="2" y="279"/>
                      <a:pt x="2" y="279"/>
                    </a:cubicBezTo>
                    <a:cubicBezTo>
                      <a:pt x="1" y="279"/>
                      <a:pt x="1" y="279"/>
                      <a:pt x="1" y="279"/>
                    </a:cubicBezTo>
                    <a:cubicBezTo>
                      <a:pt x="1" y="279"/>
                      <a:pt x="1" y="279"/>
                      <a:pt x="1" y="279"/>
                    </a:cubicBezTo>
                    <a:cubicBezTo>
                      <a:pt x="1" y="280"/>
                      <a:pt x="1" y="280"/>
                      <a:pt x="1" y="280"/>
                    </a:cubicBezTo>
                    <a:cubicBezTo>
                      <a:pt x="1" y="280"/>
                      <a:pt x="1" y="280"/>
                      <a:pt x="1" y="280"/>
                    </a:cubicBezTo>
                    <a:cubicBezTo>
                      <a:pt x="1" y="280"/>
                      <a:pt x="2" y="280"/>
                      <a:pt x="2" y="280"/>
                    </a:cubicBezTo>
                    <a:cubicBezTo>
                      <a:pt x="2" y="280"/>
                      <a:pt x="2" y="280"/>
                      <a:pt x="2" y="280"/>
                    </a:cubicBezTo>
                    <a:cubicBezTo>
                      <a:pt x="2" y="281"/>
                      <a:pt x="1" y="281"/>
                      <a:pt x="1" y="281"/>
                    </a:cubicBezTo>
                    <a:cubicBezTo>
                      <a:pt x="1" y="281"/>
                      <a:pt x="1" y="281"/>
                      <a:pt x="1" y="281"/>
                    </a:cubicBezTo>
                    <a:cubicBezTo>
                      <a:pt x="1" y="282"/>
                      <a:pt x="1" y="282"/>
                      <a:pt x="1" y="282"/>
                    </a:cubicBezTo>
                    <a:cubicBezTo>
                      <a:pt x="2" y="282"/>
                      <a:pt x="2" y="282"/>
                      <a:pt x="2" y="282"/>
                    </a:cubicBezTo>
                    <a:cubicBezTo>
                      <a:pt x="2" y="281"/>
                      <a:pt x="2" y="281"/>
                      <a:pt x="2" y="281"/>
                    </a:cubicBezTo>
                    <a:cubicBezTo>
                      <a:pt x="2" y="281"/>
                      <a:pt x="2" y="281"/>
                      <a:pt x="2" y="281"/>
                    </a:cubicBezTo>
                    <a:cubicBezTo>
                      <a:pt x="2" y="281"/>
                      <a:pt x="2" y="281"/>
                      <a:pt x="2" y="281"/>
                    </a:cubicBezTo>
                    <a:cubicBezTo>
                      <a:pt x="2" y="281"/>
                      <a:pt x="2" y="281"/>
                      <a:pt x="3" y="281"/>
                    </a:cubicBezTo>
                    <a:cubicBezTo>
                      <a:pt x="3" y="281"/>
                      <a:pt x="3" y="281"/>
                      <a:pt x="3" y="281"/>
                    </a:cubicBezTo>
                    <a:close/>
                    <a:moveTo>
                      <a:pt x="2" y="264"/>
                    </a:moveTo>
                    <a:cubicBezTo>
                      <a:pt x="2" y="264"/>
                      <a:pt x="2" y="264"/>
                      <a:pt x="2" y="264"/>
                    </a:cubicBezTo>
                    <a:cubicBezTo>
                      <a:pt x="2" y="264"/>
                      <a:pt x="2" y="264"/>
                      <a:pt x="2" y="264"/>
                    </a:cubicBezTo>
                    <a:cubicBezTo>
                      <a:pt x="2" y="265"/>
                      <a:pt x="2" y="265"/>
                      <a:pt x="2" y="265"/>
                    </a:cubicBezTo>
                    <a:cubicBezTo>
                      <a:pt x="2" y="265"/>
                      <a:pt x="2" y="265"/>
                      <a:pt x="2" y="265"/>
                    </a:cubicBezTo>
                    <a:cubicBezTo>
                      <a:pt x="2" y="265"/>
                      <a:pt x="2" y="265"/>
                      <a:pt x="2" y="265"/>
                    </a:cubicBezTo>
                    <a:cubicBezTo>
                      <a:pt x="2" y="265"/>
                      <a:pt x="2" y="265"/>
                      <a:pt x="2" y="265"/>
                    </a:cubicBezTo>
                    <a:cubicBezTo>
                      <a:pt x="2" y="266"/>
                      <a:pt x="2" y="266"/>
                      <a:pt x="2" y="266"/>
                    </a:cubicBezTo>
                    <a:cubicBezTo>
                      <a:pt x="2" y="266"/>
                      <a:pt x="2" y="266"/>
                      <a:pt x="2" y="266"/>
                    </a:cubicBezTo>
                    <a:cubicBezTo>
                      <a:pt x="3" y="266"/>
                      <a:pt x="3" y="266"/>
                      <a:pt x="3" y="266"/>
                    </a:cubicBezTo>
                    <a:cubicBezTo>
                      <a:pt x="3" y="266"/>
                      <a:pt x="3" y="266"/>
                      <a:pt x="3" y="266"/>
                    </a:cubicBezTo>
                    <a:cubicBezTo>
                      <a:pt x="3" y="266"/>
                      <a:pt x="3" y="266"/>
                      <a:pt x="4" y="266"/>
                    </a:cubicBezTo>
                    <a:cubicBezTo>
                      <a:pt x="4" y="266"/>
                      <a:pt x="4" y="266"/>
                      <a:pt x="4" y="266"/>
                    </a:cubicBezTo>
                    <a:cubicBezTo>
                      <a:pt x="4" y="266"/>
                      <a:pt x="4" y="266"/>
                      <a:pt x="4" y="266"/>
                    </a:cubicBezTo>
                    <a:cubicBezTo>
                      <a:pt x="4" y="266"/>
                      <a:pt x="4" y="266"/>
                      <a:pt x="4" y="267"/>
                    </a:cubicBezTo>
                    <a:cubicBezTo>
                      <a:pt x="4" y="267"/>
                      <a:pt x="4" y="267"/>
                      <a:pt x="4" y="267"/>
                    </a:cubicBezTo>
                    <a:cubicBezTo>
                      <a:pt x="4" y="267"/>
                      <a:pt x="3" y="267"/>
                      <a:pt x="3" y="267"/>
                    </a:cubicBezTo>
                    <a:cubicBezTo>
                      <a:pt x="3" y="267"/>
                      <a:pt x="3" y="267"/>
                      <a:pt x="3" y="267"/>
                    </a:cubicBezTo>
                    <a:cubicBezTo>
                      <a:pt x="3" y="267"/>
                      <a:pt x="3" y="267"/>
                      <a:pt x="2" y="267"/>
                    </a:cubicBezTo>
                    <a:cubicBezTo>
                      <a:pt x="2" y="267"/>
                      <a:pt x="2" y="267"/>
                      <a:pt x="2" y="267"/>
                    </a:cubicBezTo>
                    <a:cubicBezTo>
                      <a:pt x="2" y="267"/>
                      <a:pt x="1" y="267"/>
                      <a:pt x="1" y="267"/>
                    </a:cubicBezTo>
                    <a:cubicBezTo>
                      <a:pt x="1" y="267"/>
                      <a:pt x="1" y="267"/>
                      <a:pt x="1" y="267"/>
                    </a:cubicBezTo>
                    <a:cubicBezTo>
                      <a:pt x="1" y="267"/>
                      <a:pt x="1" y="268"/>
                      <a:pt x="1" y="268"/>
                    </a:cubicBezTo>
                    <a:cubicBezTo>
                      <a:pt x="1" y="268"/>
                      <a:pt x="1" y="268"/>
                      <a:pt x="2" y="268"/>
                    </a:cubicBezTo>
                    <a:cubicBezTo>
                      <a:pt x="2" y="268"/>
                      <a:pt x="2" y="268"/>
                      <a:pt x="2" y="268"/>
                    </a:cubicBezTo>
                    <a:cubicBezTo>
                      <a:pt x="2" y="269"/>
                      <a:pt x="2" y="269"/>
                      <a:pt x="2" y="269"/>
                    </a:cubicBezTo>
                    <a:cubicBezTo>
                      <a:pt x="2" y="269"/>
                      <a:pt x="2" y="269"/>
                      <a:pt x="2" y="269"/>
                    </a:cubicBezTo>
                    <a:cubicBezTo>
                      <a:pt x="2" y="269"/>
                      <a:pt x="2" y="269"/>
                      <a:pt x="2" y="269"/>
                    </a:cubicBezTo>
                    <a:cubicBezTo>
                      <a:pt x="2" y="269"/>
                      <a:pt x="1" y="269"/>
                      <a:pt x="1" y="269"/>
                    </a:cubicBezTo>
                    <a:cubicBezTo>
                      <a:pt x="1" y="269"/>
                      <a:pt x="1" y="269"/>
                      <a:pt x="1" y="269"/>
                    </a:cubicBezTo>
                    <a:cubicBezTo>
                      <a:pt x="1" y="269"/>
                      <a:pt x="1" y="269"/>
                      <a:pt x="1" y="270"/>
                    </a:cubicBezTo>
                    <a:cubicBezTo>
                      <a:pt x="2" y="270"/>
                      <a:pt x="2" y="270"/>
                      <a:pt x="2" y="270"/>
                    </a:cubicBezTo>
                    <a:cubicBezTo>
                      <a:pt x="2" y="270"/>
                      <a:pt x="2" y="270"/>
                      <a:pt x="2" y="270"/>
                    </a:cubicBezTo>
                    <a:cubicBezTo>
                      <a:pt x="2" y="270"/>
                      <a:pt x="2" y="270"/>
                      <a:pt x="2" y="270"/>
                    </a:cubicBezTo>
                    <a:cubicBezTo>
                      <a:pt x="3" y="269"/>
                      <a:pt x="3" y="269"/>
                      <a:pt x="3" y="270"/>
                    </a:cubicBezTo>
                    <a:cubicBezTo>
                      <a:pt x="3" y="270"/>
                      <a:pt x="3" y="270"/>
                      <a:pt x="4" y="270"/>
                    </a:cubicBezTo>
                    <a:cubicBezTo>
                      <a:pt x="4" y="270"/>
                      <a:pt x="4" y="270"/>
                      <a:pt x="4" y="270"/>
                    </a:cubicBezTo>
                    <a:cubicBezTo>
                      <a:pt x="4" y="269"/>
                      <a:pt x="4" y="269"/>
                      <a:pt x="5" y="269"/>
                    </a:cubicBezTo>
                    <a:cubicBezTo>
                      <a:pt x="5" y="268"/>
                      <a:pt x="5" y="268"/>
                      <a:pt x="5" y="268"/>
                    </a:cubicBezTo>
                    <a:cubicBezTo>
                      <a:pt x="5" y="268"/>
                      <a:pt x="5" y="268"/>
                      <a:pt x="5" y="268"/>
                    </a:cubicBezTo>
                    <a:cubicBezTo>
                      <a:pt x="5" y="267"/>
                      <a:pt x="5" y="267"/>
                      <a:pt x="5" y="267"/>
                    </a:cubicBezTo>
                    <a:cubicBezTo>
                      <a:pt x="5" y="267"/>
                      <a:pt x="5" y="266"/>
                      <a:pt x="5" y="266"/>
                    </a:cubicBezTo>
                    <a:cubicBezTo>
                      <a:pt x="5" y="266"/>
                      <a:pt x="5" y="266"/>
                      <a:pt x="5" y="266"/>
                    </a:cubicBezTo>
                    <a:cubicBezTo>
                      <a:pt x="5" y="266"/>
                      <a:pt x="5" y="266"/>
                      <a:pt x="5" y="266"/>
                    </a:cubicBezTo>
                    <a:cubicBezTo>
                      <a:pt x="4" y="265"/>
                      <a:pt x="4" y="265"/>
                      <a:pt x="4" y="264"/>
                    </a:cubicBezTo>
                    <a:cubicBezTo>
                      <a:pt x="4" y="264"/>
                      <a:pt x="4" y="264"/>
                      <a:pt x="4" y="263"/>
                    </a:cubicBezTo>
                    <a:cubicBezTo>
                      <a:pt x="4" y="263"/>
                      <a:pt x="4" y="263"/>
                      <a:pt x="4" y="263"/>
                    </a:cubicBezTo>
                    <a:cubicBezTo>
                      <a:pt x="4" y="263"/>
                      <a:pt x="4" y="263"/>
                      <a:pt x="4" y="263"/>
                    </a:cubicBezTo>
                    <a:cubicBezTo>
                      <a:pt x="4" y="263"/>
                      <a:pt x="3" y="263"/>
                      <a:pt x="3" y="263"/>
                    </a:cubicBezTo>
                    <a:cubicBezTo>
                      <a:pt x="3" y="263"/>
                      <a:pt x="3" y="263"/>
                      <a:pt x="3" y="262"/>
                    </a:cubicBezTo>
                    <a:cubicBezTo>
                      <a:pt x="3" y="262"/>
                      <a:pt x="3" y="262"/>
                      <a:pt x="3" y="262"/>
                    </a:cubicBezTo>
                    <a:cubicBezTo>
                      <a:pt x="3" y="262"/>
                      <a:pt x="3" y="262"/>
                      <a:pt x="3" y="262"/>
                    </a:cubicBezTo>
                    <a:cubicBezTo>
                      <a:pt x="3" y="263"/>
                      <a:pt x="3" y="262"/>
                      <a:pt x="3" y="262"/>
                    </a:cubicBezTo>
                    <a:cubicBezTo>
                      <a:pt x="3" y="262"/>
                      <a:pt x="3" y="262"/>
                      <a:pt x="3" y="262"/>
                    </a:cubicBezTo>
                    <a:cubicBezTo>
                      <a:pt x="2" y="262"/>
                      <a:pt x="2" y="262"/>
                      <a:pt x="2" y="262"/>
                    </a:cubicBezTo>
                    <a:cubicBezTo>
                      <a:pt x="2" y="263"/>
                      <a:pt x="2" y="263"/>
                      <a:pt x="2" y="263"/>
                    </a:cubicBezTo>
                    <a:cubicBezTo>
                      <a:pt x="2" y="263"/>
                      <a:pt x="2" y="263"/>
                      <a:pt x="2" y="263"/>
                    </a:cubicBezTo>
                    <a:cubicBezTo>
                      <a:pt x="2" y="263"/>
                      <a:pt x="2" y="263"/>
                      <a:pt x="2" y="263"/>
                    </a:cubicBezTo>
                    <a:cubicBezTo>
                      <a:pt x="2" y="264"/>
                      <a:pt x="2" y="264"/>
                      <a:pt x="2" y="264"/>
                    </a:cubicBezTo>
                    <a:close/>
                    <a:moveTo>
                      <a:pt x="9" y="267"/>
                    </a:moveTo>
                    <a:cubicBezTo>
                      <a:pt x="9" y="267"/>
                      <a:pt x="9" y="267"/>
                      <a:pt x="9" y="267"/>
                    </a:cubicBezTo>
                    <a:cubicBezTo>
                      <a:pt x="8" y="267"/>
                      <a:pt x="8" y="267"/>
                      <a:pt x="8" y="267"/>
                    </a:cubicBezTo>
                    <a:cubicBezTo>
                      <a:pt x="8" y="266"/>
                      <a:pt x="8" y="266"/>
                      <a:pt x="9" y="266"/>
                    </a:cubicBezTo>
                    <a:cubicBezTo>
                      <a:pt x="9" y="266"/>
                      <a:pt x="9" y="266"/>
                      <a:pt x="8" y="266"/>
                    </a:cubicBezTo>
                    <a:cubicBezTo>
                      <a:pt x="8" y="265"/>
                      <a:pt x="8" y="265"/>
                      <a:pt x="8" y="265"/>
                    </a:cubicBezTo>
                    <a:cubicBezTo>
                      <a:pt x="8" y="265"/>
                      <a:pt x="8" y="265"/>
                      <a:pt x="8" y="265"/>
                    </a:cubicBezTo>
                    <a:cubicBezTo>
                      <a:pt x="8" y="265"/>
                      <a:pt x="8" y="265"/>
                      <a:pt x="8" y="264"/>
                    </a:cubicBezTo>
                    <a:cubicBezTo>
                      <a:pt x="8" y="264"/>
                      <a:pt x="8" y="264"/>
                      <a:pt x="8" y="264"/>
                    </a:cubicBezTo>
                    <a:cubicBezTo>
                      <a:pt x="8" y="264"/>
                      <a:pt x="8" y="264"/>
                      <a:pt x="8" y="264"/>
                    </a:cubicBezTo>
                    <a:cubicBezTo>
                      <a:pt x="8" y="264"/>
                      <a:pt x="7" y="264"/>
                      <a:pt x="7" y="264"/>
                    </a:cubicBezTo>
                    <a:cubicBezTo>
                      <a:pt x="7" y="264"/>
                      <a:pt x="8" y="264"/>
                      <a:pt x="8" y="264"/>
                    </a:cubicBezTo>
                    <a:cubicBezTo>
                      <a:pt x="8" y="264"/>
                      <a:pt x="8" y="264"/>
                      <a:pt x="7" y="264"/>
                    </a:cubicBezTo>
                    <a:cubicBezTo>
                      <a:pt x="7" y="265"/>
                      <a:pt x="7" y="265"/>
                      <a:pt x="7" y="265"/>
                    </a:cubicBezTo>
                    <a:cubicBezTo>
                      <a:pt x="7" y="265"/>
                      <a:pt x="7" y="265"/>
                      <a:pt x="7" y="265"/>
                    </a:cubicBezTo>
                    <a:cubicBezTo>
                      <a:pt x="7" y="265"/>
                      <a:pt x="7" y="265"/>
                      <a:pt x="7" y="264"/>
                    </a:cubicBezTo>
                    <a:cubicBezTo>
                      <a:pt x="7" y="264"/>
                      <a:pt x="7" y="264"/>
                      <a:pt x="7" y="264"/>
                    </a:cubicBezTo>
                    <a:cubicBezTo>
                      <a:pt x="7" y="264"/>
                      <a:pt x="7" y="264"/>
                      <a:pt x="7" y="264"/>
                    </a:cubicBezTo>
                    <a:cubicBezTo>
                      <a:pt x="7" y="263"/>
                      <a:pt x="7" y="263"/>
                      <a:pt x="7" y="263"/>
                    </a:cubicBezTo>
                    <a:cubicBezTo>
                      <a:pt x="7" y="263"/>
                      <a:pt x="8" y="262"/>
                      <a:pt x="8" y="262"/>
                    </a:cubicBezTo>
                    <a:cubicBezTo>
                      <a:pt x="8" y="262"/>
                      <a:pt x="8" y="262"/>
                      <a:pt x="7" y="261"/>
                    </a:cubicBezTo>
                    <a:cubicBezTo>
                      <a:pt x="7" y="261"/>
                      <a:pt x="7" y="261"/>
                      <a:pt x="7" y="261"/>
                    </a:cubicBezTo>
                    <a:cubicBezTo>
                      <a:pt x="7" y="261"/>
                      <a:pt x="7" y="261"/>
                      <a:pt x="7" y="261"/>
                    </a:cubicBezTo>
                    <a:cubicBezTo>
                      <a:pt x="7" y="261"/>
                      <a:pt x="7" y="261"/>
                      <a:pt x="7" y="261"/>
                    </a:cubicBezTo>
                    <a:cubicBezTo>
                      <a:pt x="7" y="261"/>
                      <a:pt x="7" y="261"/>
                      <a:pt x="7" y="260"/>
                    </a:cubicBezTo>
                    <a:cubicBezTo>
                      <a:pt x="7" y="260"/>
                      <a:pt x="7" y="260"/>
                      <a:pt x="7" y="260"/>
                    </a:cubicBezTo>
                    <a:cubicBezTo>
                      <a:pt x="7" y="260"/>
                      <a:pt x="7" y="260"/>
                      <a:pt x="6" y="260"/>
                    </a:cubicBezTo>
                    <a:cubicBezTo>
                      <a:pt x="6" y="260"/>
                      <a:pt x="6" y="260"/>
                      <a:pt x="6" y="261"/>
                    </a:cubicBezTo>
                    <a:cubicBezTo>
                      <a:pt x="6" y="261"/>
                      <a:pt x="6" y="261"/>
                      <a:pt x="6" y="261"/>
                    </a:cubicBezTo>
                    <a:cubicBezTo>
                      <a:pt x="6" y="261"/>
                      <a:pt x="5" y="261"/>
                      <a:pt x="5" y="261"/>
                    </a:cubicBezTo>
                    <a:cubicBezTo>
                      <a:pt x="5" y="261"/>
                      <a:pt x="5" y="261"/>
                      <a:pt x="4" y="261"/>
                    </a:cubicBezTo>
                    <a:cubicBezTo>
                      <a:pt x="4" y="261"/>
                      <a:pt x="4" y="261"/>
                      <a:pt x="4" y="261"/>
                    </a:cubicBezTo>
                    <a:cubicBezTo>
                      <a:pt x="4" y="261"/>
                      <a:pt x="4" y="261"/>
                      <a:pt x="4" y="261"/>
                    </a:cubicBezTo>
                    <a:cubicBezTo>
                      <a:pt x="4" y="261"/>
                      <a:pt x="4" y="261"/>
                      <a:pt x="4" y="262"/>
                    </a:cubicBezTo>
                    <a:cubicBezTo>
                      <a:pt x="4" y="262"/>
                      <a:pt x="4" y="262"/>
                      <a:pt x="4" y="262"/>
                    </a:cubicBezTo>
                    <a:cubicBezTo>
                      <a:pt x="4" y="262"/>
                      <a:pt x="4" y="262"/>
                      <a:pt x="4" y="262"/>
                    </a:cubicBezTo>
                    <a:cubicBezTo>
                      <a:pt x="4" y="262"/>
                      <a:pt x="4" y="262"/>
                      <a:pt x="4" y="262"/>
                    </a:cubicBezTo>
                    <a:cubicBezTo>
                      <a:pt x="4" y="262"/>
                      <a:pt x="4" y="262"/>
                      <a:pt x="4" y="262"/>
                    </a:cubicBezTo>
                    <a:cubicBezTo>
                      <a:pt x="5" y="262"/>
                      <a:pt x="5" y="263"/>
                      <a:pt x="5" y="263"/>
                    </a:cubicBezTo>
                    <a:cubicBezTo>
                      <a:pt x="6" y="263"/>
                      <a:pt x="5" y="263"/>
                      <a:pt x="5" y="263"/>
                    </a:cubicBezTo>
                    <a:cubicBezTo>
                      <a:pt x="5" y="263"/>
                      <a:pt x="5" y="263"/>
                      <a:pt x="5" y="263"/>
                    </a:cubicBezTo>
                    <a:cubicBezTo>
                      <a:pt x="5" y="263"/>
                      <a:pt x="5" y="263"/>
                      <a:pt x="4" y="263"/>
                    </a:cubicBezTo>
                    <a:cubicBezTo>
                      <a:pt x="4" y="263"/>
                      <a:pt x="4" y="263"/>
                      <a:pt x="4" y="263"/>
                    </a:cubicBezTo>
                    <a:cubicBezTo>
                      <a:pt x="4" y="263"/>
                      <a:pt x="4" y="263"/>
                      <a:pt x="4" y="263"/>
                    </a:cubicBezTo>
                    <a:cubicBezTo>
                      <a:pt x="4" y="264"/>
                      <a:pt x="4" y="264"/>
                      <a:pt x="4" y="264"/>
                    </a:cubicBezTo>
                    <a:cubicBezTo>
                      <a:pt x="4" y="264"/>
                      <a:pt x="5" y="265"/>
                      <a:pt x="5" y="265"/>
                    </a:cubicBezTo>
                    <a:cubicBezTo>
                      <a:pt x="5" y="265"/>
                      <a:pt x="5" y="265"/>
                      <a:pt x="5" y="265"/>
                    </a:cubicBezTo>
                    <a:cubicBezTo>
                      <a:pt x="5" y="265"/>
                      <a:pt x="5" y="265"/>
                      <a:pt x="5" y="265"/>
                    </a:cubicBezTo>
                    <a:cubicBezTo>
                      <a:pt x="5" y="266"/>
                      <a:pt x="5" y="266"/>
                      <a:pt x="5" y="266"/>
                    </a:cubicBezTo>
                    <a:cubicBezTo>
                      <a:pt x="5" y="266"/>
                      <a:pt x="5" y="266"/>
                      <a:pt x="5" y="266"/>
                    </a:cubicBezTo>
                    <a:cubicBezTo>
                      <a:pt x="5" y="266"/>
                      <a:pt x="6" y="266"/>
                      <a:pt x="6" y="267"/>
                    </a:cubicBezTo>
                    <a:cubicBezTo>
                      <a:pt x="6" y="266"/>
                      <a:pt x="6" y="266"/>
                      <a:pt x="6" y="266"/>
                    </a:cubicBezTo>
                    <a:cubicBezTo>
                      <a:pt x="6" y="267"/>
                      <a:pt x="6" y="267"/>
                      <a:pt x="6" y="267"/>
                    </a:cubicBezTo>
                    <a:cubicBezTo>
                      <a:pt x="6" y="267"/>
                      <a:pt x="6" y="267"/>
                      <a:pt x="6" y="267"/>
                    </a:cubicBezTo>
                    <a:cubicBezTo>
                      <a:pt x="6" y="267"/>
                      <a:pt x="6" y="267"/>
                      <a:pt x="6" y="267"/>
                    </a:cubicBezTo>
                    <a:cubicBezTo>
                      <a:pt x="6" y="268"/>
                      <a:pt x="6" y="268"/>
                      <a:pt x="6" y="268"/>
                    </a:cubicBezTo>
                    <a:cubicBezTo>
                      <a:pt x="6" y="268"/>
                      <a:pt x="7" y="268"/>
                      <a:pt x="7" y="268"/>
                    </a:cubicBezTo>
                    <a:cubicBezTo>
                      <a:pt x="7" y="268"/>
                      <a:pt x="7" y="268"/>
                      <a:pt x="7" y="269"/>
                    </a:cubicBezTo>
                    <a:cubicBezTo>
                      <a:pt x="8" y="269"/>
                      <a:pt x="8" y="269"/>
                      <a:pt x="9" y="269"/>
                    </a:cubicBezTo>
                    <a:cubicBezTo>
                      <a:pt x="9" y="269"/>
                      <a:pt x="9" y="269"/>
                      <a:pt x="9" y="269"/>
                    </a:cubicBezTo>
                    <a:cubicBezTo>
                      <a:pt x="9" y="269"/>
                      <a:pt x="9" y="269"/>
                      <a:pt x="9" y="269"/>
                    </a:cubicBezTo>
                    <a:cubicBezTo>
                      <a:pt x="9" y="269"/>
                      <a:pt x="9" y="269"/>
                      <a:pt x="9" y="269"/>
                    </a:cubicBezTo>
                    <a:cubicBezTo>
                      <a:pt x="9" y="268"/>
                      <a:pt x="9" y="268"/>
                      <a:pt x="9" y="268"/>
                    </a:cubicBezTo>
                    <a:cubicBezTo>
                      <a:pt x="9" y="268"/>
                      <a:pt x="9" y="268"/>
                      <a:pt x="9" y="267"/>
                    </a:cubicBezTo>
                    <a:close/>
                    <a:moveTo>
                      <a:pt x="6" y="259"/>
                    </a:moveTo>
                    <a:cubicBezTo>
                      <a:pt x="6" y="259"/>
                      <a:pt x="6" y="259"/>
                      <a:pt x="6" y="259"/>
                    </a:cubicBezTo>
                    <a:cubicBezTo>
                      <a:pt x="6" y="259"/>
                      <a:pt x="5" y="259"/>
                      <a:pt x="5" y="259"/>
                    </a:cubicBezTo>
                    <a:cubicBezTo>
                      <a:pt x="5" y="259"/>
                      <a:pt x="5" y="259"/>
                      <a:pt x="5" y="259"/>
                    </a:cubicBezTo>
                    <a:cubicBezTo>
                      <a:pt x="5" y="259"/>
                      <a:pt x="5" y="259"/>
                      <a:pt x="5" y="259"/>
                    </a:cubicBezTo>
                    <a:cubicBezTo>
                      <a:pt x="5" y="259"/>
                      <a:pt x="4" y="259"/>
                      <a:pt x="4" y="259"/>
                    </a:cubicBezTo>
                    <a:cubicBezTo>
                      <a:pt x="4" y="259"/>
                      <a:pt x="4" y="259"/>
                      <a:pt x="4" y="259"/>
                    </a:cubicBezTo>
                    <a:cubicBezTo>
                      <a:pt x="4" y="259"/>
                      <a:pt x="4" y="259"/>
                      <a:pt x="4" y="259"/>
                    </a:cubicBezTo>
                    <a:cubicBezTo>
                      <a:pt x="4" y="259"/>
                      <a:pt x="4" y="259"/>
                      <a:pt x="4" y="259"/>
                    </a:cubicBezTo>
                    <a:cubicBezTo>
                      <a:pt x="4" y="259"/>
                      <a:pt x="4" y="259"/>
                      <a:pt x="3" y="259"/>
                    </a:cubicBezTo>
                    <a:cubicBezTo>
                      <a:pt x="3" y="259"/>
                      <a:pt x="3" y="259"/>
                      <a:pt x="3" y="260"/>
                    </a:cubicBezTo>
                    <a:cubicBezTo>
                      <a:pt x="3" y="260"/>
                      <a:pt x="3" y="260"/>
                      <a:pt x="3" y="260"/>
                    </a:cubicBezTo>
                    <a:cubicBezTo>
                      <a:pt x="4" y="260"/>
                      <a:pt x="4" y="260"/>
                      <a:pt x="4" y="260"/>
                    </a:cubicBezTo>
                    <a:cubicBezTo>
                      <a:pt x="4" y="260"/>
                      <a:pt x="4" y="260"/>
                      <a:pt x="5" y="260"/>
                    </a:cubicBezTo>
                    <a:cubicBezTo>
                      <a:pt x="5" y="260"/>
                      <a:pt x="5" y="260"/>
                      <a:pt x="5" y="260"/>
                    </a:cubicBezTo>
                    <a:cubicBezTo>
                      <a:pt x="5" y="260"/>
                      <a:pt x="5" y="260"/>
                      <a:pt x="5" y="260"/>
                    </a:cubicBezTo>
                    <a:cubicBezTo>
                      <a:pt x="5" y="260"/>
                      <a:pt x="5" y="260"/>
                      <a:pt x="5" y="260"/>
                    </a:cubicBezTo>
                    <a:cubicBezTo>
                      <a:pt x="5" y="259"/>
                      <a:pt x="5" y="259"/>
                      <a:pt x="5" y="259"/>
                    </a:cubicBezTo>
                    <a:cubicBezTo>
                      <a:pt x="5" y="259"/>
                      <a:pt x="5" y="259"/>
                      <a:pt x="6" y="259"/>
                    </a:cubicBezTo>
                    <a:cubicBezTo>
                      <a:pt x="6" y="260"/>
                      <a:pt x="6" y="260"/>
                      <a:pt x="6" y="260"/>
                    </a:cubicBezTo>
                    <a:cubicBezTo>
                      <a:pt x="6" y="260"/>
                      <a:pt x="6" y="260"/>
                      <a:pt x="6" y="260"/>
                    </a:cubicBezTo>
                    <a:cubicBezTo>
                      <a:pt x="6" y="260"/>
                      <a:pt x="6" y="260"/>
                      <a:pt x="6" y="259"/>
                    </a:cubicBezTo>
                    <a:cubicBezTo>
                      <a:pt x="6" y="259"/>
                      <a:pt x="6" y="259"/>
                      <a:pt x="6" y="259"/>
                    </a:cubicBezTo>
                    <a:cubicBezTo>
                      <a:pt x="6" y="259"/>
                      <a:pt x="6" y="259"/>
                      <a:pt x="6" y="259"/>
                    </a:cubicBezTo>
                    <a:close/>
                    <a:moveTo>
                      <a:pt x="11" y="252"/>
                    </a:moveTo>
                    <a:cubicBezTo>
                      <a:pt x="10" y="252"/>
                      <a:pt x="10" y="252"/>
                      <a:pt x="10" y="252"/>
                    </a:cubicBezTo>
                    <a:cubicBezTo>
                      <a:pt x="10" y="252"/>
                      <a:pt x="10" y="252"/>
                      <a:pt x="10" y="252"/>
                    </a:cubicBezTo>
                    <a:cubicBezTo>
                      <a:pt x="10" y="252"/>
                      <a:pt x="10" y="252"/>
                      <a:pt x="10" y="252"/>
                    </a:cubicBezTo>
                    <a:cubicBezTo>
                      <a:pt x="10" y="252"/>
                      <a:pt x="10" y="252"/>
                      <a:pt x="9" y="252"/>
                    </a:cubicBezTo>
                    <a:cubicBezTo>
                      <a:pt x="9" y="252"/>
                      <a:pt x="9" y="253"/>
                      <a:pt x="9" y="253"/>
                    </a:cubicBezTo>
                    <a:cubicBezTo>
                      <a:pt x="9" y="253"/>
                      <a:pt x="9" y="253"/>
                      <a:pt x="9" y="253"/>
                    </a:cubicBezTo>
                    <a:cubicBezTo>
                      <a:pt x="9" y="253"/>
                      <a:pt x="10" y="253"/>
                      <a:pt x="10" y="253"/>
                    </a:cubicBezTo>
                    <a:cubicBezTo>
                      <a:pt x="10" y="253"/>
                      <a:pt x="10" y="253"/>
                      <a:pt x="10" y="253"/>
                    </a:cubicBezTo>
                    <a:cubicBezTo>
                      <a:pt x="10" y="253"/>
                      <a:pt x="10" y="253"/>
                      <a:pt x="10" y="253"/>
                    </a:cubicBezTo>
                    <a:cubicBezTo>
                      <a:pt x="10" y="253"/>
                      <a:pt x="10" y="253"/>
                      <a:pt x="10" y="253"/>
                    </a:cubicBezTo>
                    <a:cubicBezTo>
                      <a:pt x="10" y="253"/>
                      <a:pt x="10" y="253"/>
                      <a:pt x="10" y="253"/>
                    </a:cubicBezTo>
                    <a:cubicBezTo>
                      <a:pt x="10" y="252"/>
                      <a:pt x="11" y="252"/>
                      <a:pt x="11" y="252"/>
                    </a:cubicBezTo>
                    <a:cubicBezTo>
                      <a:pt x="11" y="252"/>
                      <a:pt x="11" y="252"/>
                      <a:pt x="11" y="252"/>
                    </a:cubicBezTo>
                    <a:cubicBezTo>
                      <a:pt x="11" y="252"/>
                      <a:pt x="11" y="252"/>
                      <a:pt x="11" y="252"/>
                    </a:cubicBezTo>
                    <a:close/>
                    <a:moveTo>
                      <a:pt x="14" y="242"/>
                    </a:moveTo>
                    <a:cubicBezTo>
                      <a:pt x="14" y="242"/>
                      <a:pt x="14" y="242"/>
                      <a:pt x="14" y="242"/>
                    </a:cubicBezTo>
                    <a:cubicBezTo>
                      <a:pt x="14" y="242"/>
                      <a:pt x="14" y="243"/>
                      <a:pt x="14" y="243"/>
                    </a:cubicBezTo>
                    <a:cubicBezTo>
                      <a:pt x="14" y="243"/>
                      <a:pt x="14" y="243"/>
                      <a:pt x="14" y="243"/>
                    </a:cubicBezTo>
                    <a:cubicBezTo>
                      <a:pt x="14" y="243"/>
                      <a:pt x="15" y="243"/>
                      <a:pt x="15" y="243"/>
                    </a:cubicBezTo>
                    <a:cubicBezTo>
                      <a:pt x="15" y="243"/>
                      <a:pt x="15" y="243"/>
                      <a:pt x="15" y="243"/>
                    </a:cubicBezTo>
                    <a:cubicBezTo>
                      <a:pt x="15" y="242"/>
                      <a:pt x="15" y="242"/>
                      <a:pt x="14" y="242"/>
                    </a:cubicBezTo>
                    <a:cubicBezTo>
                      <a:pt x="14" y="242"/>
                      <a:pt x="15" y="242"/>
                      <a:pt x="15" y="241"/>
                    </a:cubicBezTo>
                    <a:cubicBezTo>
                      <a:pt x="15" y="241"/>
                      <a:pt x="15" y="241"/>
                      <a:pt x="15" y="241"/>
                    </a:cubicBezTo>
                    <a:cubicBezTo>
                      <a:pt x="15" y="241"/>
                      <a:pt x="15" y="240"/>
                      <a:pt x="15" y="240"/>
                    </a:cubicBezTo>
                    <a:cubicBezTo>
                      <a:pt x="15" y="240"/>
                      <a:pt x="15" y="240"/>
                      <a:pt x="15" y="240"/>
                    </a:cubicBezTo>
                    <a:cubicBezTo>
                      <a:pt x="15" y="240"/>
                      <a:pt x="15" y="240"/>
                      <a:pt x="14" y="240"/>
                    </a:cubicBezTo>
                    <a:cubicBezTo>
                      <a:pt x="14" y="240"/>
                      <a:pt x="14" y="240"/>
                      <a:pt x="14" y="240"/>
                    </a:cubicBezTo>
                    <a:cubicBezTo>
                      <a:pt x="14" y="240"/>
                      <a:pt x="14" y="240"/>
                      <a:pt x="14" y="240"/>
                    </a:cubicBezTo>
                    <a:cubicBezTo>
                      <a:pt x="14" y="240"/>
                      <a:pt x="14" y="240"/>
                      <a:pt x="13" y="241"/>
                    </a:cubicBezTo>
                    <a:cubicBezTo>
                      <a:pt x="13" y="241"/>
                      <a:pt x="13" y="242"/>
                      <a:pt x="14" y="242"/>
                    </a:cubicBezTo>
                    <a:close/>
                    <a:moveTo>
                      <a:pt x="15" y="238"/>
                    </a:moveTo>
                    <a:cubicBezTo>
                      <a:pt x="15" y="238"/>
                      <a:pt x="15" y="237"/>
                      <a:pt x="15" y="237"/>
                    </a:cubicBezTo>
                    <a:cubicBezTo>
                      <a:pt x="15" y="237"/>
                      <a:pt x="15" y="237"/>
                      <a:pt x="15" y="237"/>
                    </a:cubicBezTo>
                    <a:cubicBezTo>
                      <a:pt x="15" y="237"/>
                      <a:pt x="16" y="236"/>
                      <a:pt x="16" y="236"/>
                    </a:cubicBezTo>
                    <a:cubicBezTo>
                      <a:pt x="16" y="236"/>
                      <a:pt x="15" y="236"/>
                      <a:pt x="15" y="236"/>
                    </a:cubicBezTo>
                    <a:cubicBezTo>
                      <a:pt x="15" y="236"/>
                      <a:pt x="15" y="236"/>
                      <a:pt x="15" y="236"/>
                    </a:cubicBezTo>
                    <a:cubicBezTo>
                      <a:pt x="15" y="236"/>
                      <a:pt x="15" y="236"/>
                      <a:pt x="15" y="236"/>
                    </a:cubicBezTo>
                    <a:cubicBezTo>
                      <a:pt x="15" y="236"/>
                      <a:pt x="14" y="236"/>
                      <a:pt x="14" y="237"/>
                    </a:cubicBezTo>
                    <a:cubicBezTo>
                      <a:pt x="14" y="237"/>
                      <a:pt x="14" y="237"/>
                      <a:pt x="14" y="237"/>
                    </a:cubicBezTo>
                    <a:cubicBezTo>
                      <a:pt x="14" y="237"/>
                      <a:pt x="14" y="238"/>
                      <a:pt x="14" y="238"/>
                    </a:cubicBezTo>
                    <a:cubicBezTo>
                      <a:pt x="14" y="238"/>
                      <a:pt x="15" y="238"/>
                      <a:pt x="15" y="239"/>
                    </a:cubicBezTo>
                    <a:cubicBezTo>
                      <a:pt x="15" y="239"/>
                      <a:pt x="15" y="238"/>
                      <a:pt x="15" y="238"/>
                    </a:cubicBezTo>
                    <a:cubicBezTo>
                      <a:pt x="15" y="238"/>
                      <a:pt x="15" y="238"/>
                      <a:pt x="15" y="238"/>
                    </a:cubicBezTo>
                    <a:close/>
                    <a:moveTo>
                      <a:pt x="11" y="238"/>
                    </a:moveTo>
                    <a:cubicBezTo>
                      <a:pt x="11" y="238"/>
                      <a:pt x="11" y="238"/>
                      <a:pt x="11" y="238"/>
                    </a:cubicBezTo>
                    <a:cubicBezTo>
                      <a:pt x="11" y="237"/>
                      <a:pt x="11" y="237"/>
                      <a:pt x="11" y="237"/>
                    </a:cubicBezTo>
                    <a:cubicBezTo>
                      <a:pt x="11" y="237"/>
                      <a:pt x="11" y="237"/>
                      <a:pt x="11" y="237"/>
                    </a:cubicBezTo>
                    <a:cubicBezTo>
                      <a:pt x="11" y="236"/>
                      <a:pt x="11" y="236"/>
                      <a:pt x="11" y="236"/>
                    </a:cubicBezTo>
                    <a:cubicBezTo>
                      <a:pt x="11" y="236"/>
                      <a:pt x="11" y="236"/>
                      <a:pt x="11" y="236"/>
                    </a:cubicBezTo>
                    <a:cubicBezTo>
                      <a:pt x="11" y="236"/>
                      <a:pt x="10" y="236"/>
                      <a:pt x="10" y="236"/>
                    </a:cubicBezTo>
                    <a:cubicBezTo>
                      <a:pt x="10" y="236"/>
                      <a:pt x="10" y="236"/>
                      <a:pt x="10" y="236"/>
                    </a:cubicBezTo>
                    <a:cubicBezTo>
                      <a:pt x="10" y="236"/>
                      <a:pt x="10" y="236"/>
                      <a:pt x="10" y="236"/>
                    </a:cubicBezTo>
                    <a:cubicBezTo>
                      <a:pt x="9" y="236"/>
                      <a:pt x="9" y="236"/>
                      <a:pt x="9" y="236"/>
                    </a:cubicBezTo>
                    <a:cubicBezTo>
                      <a:pt x="9" y="236"/>
                      <a:pt x="9" y="236"/>
                      <a:pt x="9" y="236"/>
                    </a:cubicBezTo>
                    <a:cubicBezTo>
                      <a:pt x="9" y="236"/>
                      <a:pt x="9" y="237"/>
                      <a:pt x="9" y="237"/>
                    </a:cubicBezTo>
                    <a:cubicBezTo>
                      <a:pt x="9" y="237"/>
                      <a:pt x="8" y="237"/>
                      <a:pt x="8" y="238"/>
                    </a:cubicBezTo>
                    <a:cubicBezTo>
                      <a:pt x="8" y="238"/>
                      <a:pt x="8" y="238"/>
                      <a:pt x="8" y="239"/>
                    </a:cubicBezTo>
                    <a:cubicBezTo>
                      <a:pt x="8" y="239"/>
                      <a:pt x="8" y="239"/>
                      <a:pt x="9" y="239"/>
                    </a:cubicBezTo>
                    <a:cubicBezTo>
                      <a:pt x="9" y="239"/>
                      <a:pt x="9" y="239"/>
                      <a:pt x="9" y="239"/>
                    </a:cubicBezTo>
                    <a:cubicBezTo>
                      <a:pt x="9" y="239"/>
                      <a:pt x="9" y="239"/>
                      <a:pt x="9" y="239"/>
                    </a:cubicBezTo>
                    <a:cubicBezTo>
                      <a:pt x="9" y="239"/>
                      <a:pt x="9" y="239"/>
                      <a:pt x="9" y="239"/>
                    </a:cubicBezTo>
                    <a:cubicBezTo>
                      <a:pt x="9" y="239"/>
                      <a:pt x="9" y="239"/>
                      <a:pt x="10" y="239"/>
                    </a:cubicBezTo>
                    <a:cubicBezTo>
                      <a:pt x="10" y="239"/>
                      <a:pt x="10" y="239"/>
                      <a:pt x="10" y="239"/>
                    </a:cubicBezTo>
                    <a:cubicBezTo>
                      <a:pt x="10" y="239"/>
                      <a:pt x="10" y="238"/>
                      <a:pt x="10" y="238"/>
                    </a:cubicBezTo>
                    <a:cubicBezTo>
                      <a:pt x="10" y="238"/>
                      <a:pt x="11" y="238"/>
                      <a:pt x="11" y="238"/>
                    </a:cubicBezTo>
                    <a:close/>
                    <a:moveTo>
                      <a:pt x="12" y="238"/>
                    </a:moveTo>
                    <a:cubicBezTo>
                      <a:pt x="12" y="238"/>
                      <a:pt x="12" y="239"/>
                      <a:pt x="13" y="238"/>
                    </a:cubicBezTo>
                    <a:cubicBezTo>
                      <a:pt x="13" y="238"/>
                      <a:pt x="13" y="238"/>
                      <a:pt x="13" y="238"/>
                    </a:cubicBezTo>
                    <a:cubicBezTo>
                      <a:pt x="13" y="238"/>
                      <a:pt x="13" y="238"/>
                      <a:pt x="13" y="238"/>
                    </a:cubicBezTo>
                    <a:cubicBezTo>
                      <a:pt x="13" y="238"/>
                      <a:pt x="13" y="238"/>
                      <a:pt x="13" y="238"/>
                    </a:cubicBezTo>
                    <a:cubicBezTo>
                      <a:pt x="13" y="238"/>
                      <a:pt x="13" y="237"/>
                      <a:pt x="13" y="237"/>
                    </a:cubicBezTo>
                    <a:cubicBezTo>
                      <a:pt x="13" y="237"/>
                      <a:pt x="13" y="237"/>
                      <a:pt x="13" y="237"/>
                    </a:cubicBezTo>
                    <a:cubicBezTo>
                      <a:pt x="13" y="237"/>
                      <a:pt x="13" y="237"/>
                      <a:pt x="13" y="237"/>
                    </a:cubicBezTo>
                    <a:cubicBezTo>
                      <a:pt x="13" y="237"/>
                      <a:pt x="13" y="237"/>
                      <a:pt x="13" y="237"/>
                    </a:cubicBezTo>
                    <a:cubicBezTo>
                      <a:pt x="14" y="237"/>
                      <a:pt x="14" y="236"/>
                      <a:pt x="14" y="236"/>
                    </a:cubicBezTo>
                    <a:cubicBezTo>
                      <a:pt x="14" y="236"/>
                      <a:pt x="14" y="236"/>
                      <a:pt x="14" y="236"/>
                    </a:cubicBezTo>
                    <a:cubicBezTo>
                      <a:pt x="13" y="236"/>
                      <a:pt x="13" y="236"/>
                      <a:pt x="13" y="236"/>
                    </a:cubicBezTo>
                    <a:cubicBezTo>
                      <a:pt x="13" y="236"/>
                      <a:pt x="13" y="235"/>
                      <a:pt x="13" y="235"/>
                    </a:cubicBezTo>
                    <a:cubicBezTo>
                      <a:pt x="13" y="235"/>
                      <a:pt x="14" y="235"/>
                      <a:pt x="14" y="235"/>
                    </a:cubicBezTo>
                    <a:cubicBezTo>
                      <a:pt x="14" y="235"/>
                      <a:pt x="14" y="235"/>
                      <a:pt x="14" y="235"/>
                    </a:cubicBezTo>
                    <a:cubicBezTo>
                      <a:pt x="14" y="235"/>
                      <a:pt x="14" y="235"/>
                      <a:pt x="14" y="235"/>
                    </a:cubicBezTo>
                    <a:cubicBezTo>
                      <a:pt x="14" y="235"/>
                      <a:pt x="14" y="235"/>
                      <a:pt x="14" y="235"/>
                    </a:cubicBezTo>
                    <a:cubicBezTo>
                      <a:pt x="14" y="235"/>
                      <a:pt x="14" y="234"/>
                      <a:pt x="14" y="234"/>
                    </a:cubicBezTo>
                    <a:cubicBezTo>
                      <a:pt x="14" y="234"/>
                      <a:pt x="14" y="234"/>
                      <a:pt x="14" y="234"/>
                    </a:cubicBezTo>
                    <a:cubicBezTo>
                      <a:pt x="14" y="234"/>
                      <a:pt x="14" y="234"/>
                      <a:pt x="14" y="234"/>
                    </a:cubicBezTo>
                    <a:cubicBezTo>
                      <a:pt x="14" y="234"/>
                      <a:pt x="14" y="234"/>
                      <a:pt x="14" y="234"/>
                    </a:cubicBezTo>
                    <a:cubicBezTo>
                      <a:pt x="14" y="234"/>
                      <a:pt x="14" y="233"/>
                      <a:pt x="15" y="233"/>
                    </a:cubicBezTo>
                    <a:cubicBezTo>
                      <a:pt x="15" y="233"/>
                      <a:pt x="15" y="233"/>
                      <a:pt x="15" y="233"/>
                    </a:cubicBezTo>
                    <a:cubicBezTo>
                      <a:pt x="15" y="233"/>
                      <a:pt x="15" y="233"/>
                      <a:pt x="14" y="233"/>
                    </a:cubicBezTo>
                    <a:cubicBezTo>
                      <a:pt x="14" y="232"/>
                      <a:pt x="15" y="232"/>
                      <a:pt x="15" y="232"/>
                    </a:cubicBezTo>
                    <a:cubicBezTo>
                      <a:pt x="14" y="232"/>
                      <a:pt x="14" y="232"/>
                      <a:pt x="14" y="232"/>
                    </a:cubicBezTo>
                    <a:cubicBezTo>
                      <a:pt x="14" y="232"/>
                      <a:pt x="14" y="232"/>
                      <a:pt x="14" y="232"/>
                    </a:cubicBezTo>
                    <a:cubicBezTo>
                      <a:pt x="14" y="231"/>
                      <a:pt x="14" y="231"/>
                      <a:pt x="14" y="231"/>
                    </a:cubicBezTo>
                    <a:cubicBezTo>
                      <a:pt x="13" y="231"/>
                      <a:pt x="13" y="231"/>
                      <a:pt x="13" y="230"/>
                    </a:cubicBezTo>
                    <a:cubicBezTo>
                      <a:pt x="13" y="230"/>
                      <a:pt x="13" y="230"/>
                      <a:pt x="12" y="230"/>
                    </a:cubicBezTo>
                    <a:cubicBezTo>
                      <a:pt x="12" y="230"/>
                      <a:pt x="12" y="230"/>
                      <a:pt x="12" y="230"/>
                    </a:cubicBezTo>
                    <a:cubicBezTo>
                      <a:pt x="12" y="230"/>
                      <a:pt x="12" y="230"/>
                      <a:pt x="12" y="230"/>
                    </a:cubicBezTo>
                    <a:cubicBezTo>
                      <a:pt x="12" y="230"/>
                      <a:pt x="12" y="230"/>
                      <a:pt x="12" y="230"/>
                    </a:cubicBezTo>
                    <a:cubicBezTo>
                      <a:pt x="12" y="230"/>
                      <a:pt x="11" y="230"/>
                      <a:pt x="11" y="230"/>
                    </a:cubicBezTo>
                    <a:cubicBezTo>
                      <a:pt x="11" y="230"/>
                      <a:pt x="11" y="230"/>
                      <a:pt x="11" y="230"/>
                    </a:cubicBezTo>
                    <a:cubicBezTo>
                      <a:pt x="11" y="230"/>
                      <a:pt x="11" y="230"/>
                      <a:pt x="11" y="230"/>
                    </a:cubicBezTo>
                    <a:cubicBezTo>
                      <a:pt x="11" y="231"/>
                      <a:pt x="11" y="231"/>
                      <a:pt x="11" y="231"/>
                    </a:cubicBezTo>
                    <a:cubicBezTo>
                      <a:pt x="10" y="231"/>
                      <a:pt x="10" y="231"/>
                      <a:pt x="10" y="231"/>
                    </a:cubicBezTo>
                    <a:cubicBezTo>
                      <a:pt x="10" y="231"/>
                      <a:pt x="10" y="231"/>
                      <a:pt x="10" y="231"/>
                    </a:cubicBezTo>
                    <a:cubicBezTo>
                      <a:pt x="10" y="231"/>
                      <a:pt x="10" y="231"/>
                      <a:pt x="10" y="231"/>
                    </a:cubicBezTo>
                    <a:cubicBezTo>
                      <a:pt x="11" y="231"/>
                      <a:pt x="11" y="231"/>
                      <a:pt x="12" y="231"/>
                    </a:cubicBezTo>
                    <a:cubicBezTo>
                      <a:pt x="12" y="231"/>
                      <a:pt x="12" y="231"/>
                      <a:pt x="12" y="231"/>
                    </a:cubicBezTo>
                    <a:cubicBezTo>
                      <a:pt x="12" y="231"/>
                      <a:pt x="12" y="231"/>
                      <a:pt x="12" y="231"/>
                    </a:cubicBezTo>
                    <a:cubicBezTo>
                      <a:pt x="12" y="231"/>
                      <a:pt x="13" y="231"/>
                      <a:pt x="13" y="231"/>
                    </a:cubicBezTo>
                    <a:cubicBezTo>
                      <a:pt x="13" y="231"/>
                      <a:pt x="13" y="231"/>
                      <a:pt x="13" y="231"/>
                    </a:cubicBezTo>
                    <a:cubicBezTo>
                      <a:pt x="13" y="231"/>
                      <a:pt x="13" y="231"/>
                      <a:pt x="13" y="231"/>
                    </a:cubicBezTo>
                    <a:cubicBezTo>
                      <a:pt x="13" y="231"/>
                      <a:pt x="13" y="232"/>
                      <a:pt x="13" y="232"/>
                    </a:cubicBezTo>
                    <a:cubicBezTo>
                      <a:pt x="13" y="232"/>
                      <a:pt x="12" y="232"/>
                      <a:pt x="12" y="232"/>
                    </a:cubicBezTo>
                    <a:cubicBezTo>
                      <a:pt x="12" y="232"/>
                      <a:pt x="11" y="232"/>
                      <a:pt x="11" y="232"/>
                    </a:cubicBezTo>
                    <a:cubicBezTo>
                      <a:pt x="11" y="232"/>
                      <a:pt x="11" y="232"/>
                      <a:pt x="11" y="232"/>
                    </a:cubicBezTo>
                    <a:cubicBezTo>
                      <a:pt x="11" y="232"/>
                      <a:pt x="11" y="232"/>
                      <a:pt x="11" y="233"/>
                    </a:cubicBezTo>
                    <a:cubicBezTo>
                      <a:pt x="11" y="233"/>
                      <a:pt x="11" y="233"/>
                      <a:pt x="11" y="233"/>
                    </a:cubicBezTo>
                    <a:cubicBezTo>
                      <a:pt x="12" y="233"/>
                      <a:pt x="12" y="233"/>
                      <a:pt x="13" y="233"/>
                    </a:cubicBezTo>
                    <a:cubicBezTo>
                      <a:pt x="13" y="233"/>
                      <a:pt x="13" y="233"/>
                      <a:pt x="13" y="233"/>
                    </a:cubicBezTo>
                    <a:cubicBezTo>
                      <a:pt x="13" y="233"/>
                      <a:pt x="12" y="234"/>
                      <a:pt x="12" y="234"/>
                    </a:cubicBezTo>
                    <a:cubicBezTo>
                      <a:pt x="12" y="234"/>
                      <a:pt x="12" y="234"/>
                      <a:pt x="12" y="233"/>
                    </a:cubicBezTo>
                    <a:cubicBezTo>
                      <a:pt x="12" y="233"/>
                      <a:pt x="12" y="233"/>
                      <a:pt x="12" y="233"/>
                    </a:cubicBezTo>
                    <a:cubicBezTo>
                      <a:pt x="11" y="234"/>
                      <a:pt x="11" y="234"/>
                      <a:pt x="12" y="235"/>
                    </a:cubicBezTo>
                    <a:cubicBezTo>
                      <a:pt x="12" y="235"/>
                      <a:pt x="12" y="235"/>
                      <a:pt x="12" y="235"/>
                    </a:cubicBezTo>
                    <a:cubicBezTo>
                      <a:pt x="12" y="235"/>
                      <a:pt x="12" y="235"/>
                      <a:pt x="12" y="235"/>
                    </a:cubicBezTo>
                    <a:cubicBezTo>
                      <a:pt x="12" y="235"/>
                      <a:pt x="12" y="235"/>
                      <a:pt x="12" y="235"/>
                    </a:cubicBezTo>
                    <a:cubicBezTo>
                      <a:pt x="12" y="236"/>
                      <a:pt x="12" y="236"/>
                      <a:pt x="12" y="237"/>
                    </a:cubicBezTo>
                    <a:cubicBezTo>
                      <a:pt x="12" y="237"/>
                      <a:pt x="12" y="237"/>
                      <a:pt x="12" y="237"/>
                    </a:cubicBezTo>
                    <a:cubicBezTo>
                      <a:pt x="12" y="237"/>
                      <a:pt x="12" y="237"/>
                      <a:pt x="12" y="237"/>
                    </a:cubicBezTo>
                    <a:cubicBezTo>
                      <a:pt x="12" y="237"/>
                      <a:pt x="12" y="237"/>
                      <a:pt x="12" y="237"/>
                    </a:cubicBezTo>
                    <a:cubicBezTo>
                      <a:pt x="12" y="237"/>
                      <a:pt x="12" y="237"/>
                      <a:pt x="12" y="237"/>
                    </a:cubicBezTo>
                    <a:cubicBezTo>
                      <a:pt x="12" y="238"/>
                      <a:pt x="12" y="238"/>
                      <a:pt x="12" y="238"/>
                    </a:cubicBezTo>
                    <a:cubicBezTo>
                      <a:pt x="12" y="238"/>
                      <a:pt x="12" y="238"/>
                      <a:pt x="12" y="238"/>
                    </a:cubicBezTo>
                    <a:close/>
                    <a:moveTo>
                      <a:pt x="18" y="227"/>
                    </a:moveTo>
                    <a:cubicBezTo>
                      <a:pt x="18" y="227"/>
                      <a:pt x="19" y="227"/>
                      <a:pt x="18" y="227"/>
                    </a:cubicBezTo>
                    <a:cubicBezTo>
                      <a:pt x="18" y="227"/>
                      <a:pt x="18" y="227"/>
                      <a:pt x="18" y="227"/>
                    </a:cubicBezTo>
                    <a:cubicBezTo>
                      <a:pt x="18" y="227"/>
                      <a:pt x="18" y="227"/>
                      <a:pt x="18" y="227"/>
                    </a:cubicBezTo>
                    <a:cubicBezTo>
                      <a:pt x="18" y="227"/>
                      <a:pt x="18" y="227"/>
                      <a:pt x="18" y="227"/>
                    </a:cubicBezTo>
                    <a:cubicBezTo>
                      <a:pt x="18" y="227"/>
                      <a:pt x="18" y="227"/>
                      <a:pt x="18" y="227"/>
                    </a:cubicBezTo>
                    <a:cubicBezTo>
                      <a:pt x="17" y="227"/>
                      <a:pt x="17" y="227"/>
                      <a:pt x="17" y="227"/>
                    </a:cubicBezTo>
                    <a:cubicBezTo>
                      <a:pt x="17" y="228"/>
                      <a:pt x="17" y="228"/>
                      <a:pt x="17" y="228"/>
                    </a:cubicBezTo>
                    <a:cubicBezTo>
                      <a:pt x="16" y="228"/>
                      <a:pt x="16" y="228"/>
                      <a:pt x="16" y="228"/>
                    </a:cubicBezTo>
                    <a:cubicBezTo>
                      <a:pt x="16" y="228"/>
                      <a:pt x="16" y="228"/>
                      <a:pt x="16" y="229"/>
                    </a:cubicBezTo>
                    <a:cubicBezTo>
                      <a:pt x="17" y="229"/>
                      <a:pt x="17" y="229"/>
                      <a:pt x="17" y="229"/>
                    </a:cubicBezTo>
                    <a:cubicBezTo>
                      <a:pt x="17" y="229"/>
                      <a:pt x="17" y="229"/>
                      <a:pt x="17" y="229"/>
                    </a:cubicBezTo>
                    <a:cubicBezTo>
                      <a:pt x="17" y="229"/>
                      <a:pt x="17" y="229"/>
                      <a:pt x="17" y="229"/>
                    </a:cubicBezTo>
                    <a:cubicBezTo>
                      <a:pt x="17" y="230"/>
                      <a:pt x="17" y="230"/>
                      <a:pt x="18" y="230"/>
                    </a:cubicBezTo>
                    <a:cubicBezTo>
                      <a:pt x="18" y="230"/>
                      <a:pt x="18" y="230"/>
                      <a:pt x="18" y="230"/>
                    </a:cubicBezTo>
                    <a:cubicBezTo>
                      <a:pt x="18" y="230"/>
                      <a:pt x="18" y="230"/>
                      <a:pt x="19" y="230"/>
                    </a:cubicBezTo>
                    <a:cubicBezTo>
                      <a:pt x="19" y="230"/>
                      <a:pt x="19" y="230"/>
                      <a:pt x="19" y="230"/>
                    </a:cubicBezTo>
                    <a:cubicBezTo>
                      <a:pt x="19" y="230"/>
                      <a:pt x="20" y="229"/>
                      <a:pt x="21" y="229"/>
                    </a:cubicBezTo>
                    <a:cubicBezTo>
                      <a:pt x="21" y="229"/>
                      <a:pt x="21" y="229"/>
                      <a:pt x="21" y="229"/>
                    </a:cubicBezTo>
                    <a:cubicBezTo>
                      <a:pt x="21" y="229"/>
                      <a:pt x="21" y="228"/>
                      <a:pt x="21" y="228"/>
                    </a:cubicBezTo>
                    <a:cubicBezTo>
                      <a:pt x="21" y="228"/>
                      <a:pt x="21" y="228"/>
                      <a:pt x="21" y="228"/>
                    </a:cubicBezTo>
                    <a:cubicBezTo>
                      <a:pt x="21" y="228"/>
                      <a:pt x="21" y="228"/>
                      <a:pt x="21" y="228"/>
                    </a:cubicBezTo>
                    <a:cubicBezTo>
                      <a:pt x="21" y="228"/>
                      <a:pt x="21" y="228"/>
                      <a:pt x="21" y="228"/>
                    </a:cubicBezTo>
                    <a:cubicBezTo>
                      <a:pt x="20" y="228"/>
                      <a:pt x="20" y="228"/>
                      <a:pt x="20" y="228"/>
                    </a:cubicBezTo>
                    <a:cubicBezTo>
                      <a:pt x="20" y="228"/>
                      <a:pt x="20" y="228"/>
                      <a:pt x="20" y="228"/>
                    </a:cubicBezTo>
                    <a:cubicBezTo>
                      <a:pt x="20" y="227"/>
                      <a:pt x="20" y="227"/>
                      <a:pt x="20" y="227"/>
                    </a:cubicBezTo>
                    <a:cubicBezTo>
                      <a:pt x="20" y="227"/>
                      <a:pt x="20" y="227"/>
                      <a:pt x="20" y="227"/>
                    </a:cubicBezTo>
                    <a:cubicBezTo>
                      <a:pt x="21" y="228"/>
                      <a:pt x="21" y="228"/>
                      <a:pt x="21" y="228"/>
                    </a:cubicBezTo>
                    <a:cubicBezTo>
                      <a:pt x="21" y="228"/>
                      <a:pt x="21" y="228"/>
                      <a:pt x="21" y="227"/>
                    </a:cubicBezTo>
                    <a:cubicBezTo>
                      <a:pt x="21" y="227"/>
                      <a:pt x="21" y="227"/>
                      <a:pt x="21" y="227"/>
                    </a:cubicBezTo>
                    <a:cubicBezTo>
                      <a:pt x="21" y="227"/>
                      <a:pt x="21" y="227"/>
                      <a:pt x="21" y="227"/>
                    </a:cubicBezTo>
                    <a:cubicBezTo>
                      <a:pt x="21" y="227"/>
                      <a:pt x="21" y="226"/>
                      <a:pt x="21" y="226"/>
                    </a:cubicBezTo>
                    <a:cubicBezTo>
                      <a:pt x="21" y="226"/>
                      <a:pt x="21" y="226"/>
                      <a:pt x="21" y="226"/>
                    </a:cubicBezTo>
                    <a:cubicBezTo>
                      <a:pt x="21" y="226"/>
                      <a:pt x="20" y="226"/>
                      <a:pt x="20" y="226"/>
                    </a:cubicBezTo>
                    <a:cubicBezTo>
                      <a:pt x="20" y="226"/>
                      <a:pt x="20" y="226"/>
                      <a:pt x="20" y="226"/>
                    </a:cubicBezTo>
                    <a:cubicBezTo>
                      <a:pt x="20" y="226"/>
                      <a:pt x="20" y="226"/>
                      <a:pt x="20" y="225"/>
                    </a:cubicBezTo>
                    <a:cubicBezTo>
                      <a:pt x="20" y="225"/>
                      <a:pt x="20" y="225"/>
                      <a:pt x="20" y="225"/>
                    </a:cubicBezTo>
                    <a:cubicBezTo>
                      <a:pt x="20" y="225"/>
                      <a:pt x="20" y="225"/>
                      <a:pt x="20" y="225"/>
                    </a:cubicBezTo>
                    <a:cubicBezTo>
                      <a:pt x="20" y="225"/>
                      <a:pt x="20" y="225"/>
                      <a:pt x="20" y="225"/>
                    </a:cubicBezTo>
                    <a:cubicBezTo>
                      <a:pt x="19" y="225"/>
                      <a:pt x="19" y="225"/>
                      <a:pt x="19" y="225"/>
                    </a:cubicBezTo>
                    <a:cubicBezTo>
                      <a:pt x="19" y="225"/>
                      <a:pt x="19" y="225"/>
                      <a:pt x="19" y="225"/>
                    </a:cubicBezTo>
                    <a:cubicBezTo>
                      <a:pt x="19" y="226"/>
                      <a:pt x="19" y="226"/>
                      <a:pt x="18" y="226"/>
                    </a:cubicBezTo>
                    <a:cubicBezTo>
                      <a:pt x="18" y="226"/>
                      <a:pt x="18" y="226"/>
                      <a:pt x="18" y="226"/>
                    </a:cubicBezTo>
                    <a:cubicBezTo>
                      <a:pt x="18" y="226"/>
                      <a:pt x="18" y="226"/>
                      <a:pt x="18" y="226"/>
                    </a:cubicBezTo>
                    <a:cubicBezTo>
                      <a:pt x="18" y="226"/>
                      <a:pt x="18" y="226"/>
                      <a:pt x="18" y="226"/>
                    </a:cubicBezTo>
                    <a:cubicBezTo>
                      <a:pt x="18" y="226"/>
                      <a:pt x="18" y="226"/>
                      <a:pt x="18" y="227"/>
                    </a:cubicBezTo>
                    <a:cubicBezTo>
                      <a:pt x="18" y="227"/>
                      <a:pt x="18" y="227"/>
                      <a:pt x="18" y="227"/>
                    </a:cubicBezTo>
                    <a:close/>
                    <a:moveTo>
                      <a:pt x="9" y="234"/>
                    </a:moveTo>
                    <a:cubicBezTo>
                      <a:pt x="9" y="234"/>
                      <a:pt x="9" y="234"/>
                      <a:pt x="9" y="234"/>
                    </a:cubicBezTo>
                    <a:cubicBezTo>
                      <a:pt x="9" y="234"/>
                      <a:pt x="9" y="234"/>
                      <a:pt x="9" y="234"/>
                    </a:cubicBezTo>
                    <a:cubicBezTo>
                      <a:pt x="9" y="235"/>
                      <a:pt x="9" y="235"/>
                      <a:pt x="9" y="235"/>
                    </a:cubicBezTo>
                    <a:cubicBezTo>
                      <a:pt x="9" y="235"/>
                      <a:pt x="9"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4"/>
                      <a:pt x="10" y="234"/>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4"/>
                      <a:pt x="10" y="234"/>
                    </a:cubicBezTo>
                    <a:cubicBezTo>
                      <a:pt x="10" y="234"/>
                      <a:pt x="10" y="234"/>
                      <a:pt x="10" y="234"/>
                    </a:cubicBezTo>
                    <a:cubicBezTo>
                      <a:pt x="10" y="234"/>
                      <a:pt x="10" y="234"/>
                      <a:pt x="10" y="234"/>
                    </a:cubicBezTo>
                    <a:cubicBezTo>
                      <a:pt x="10" y="234"/>
                      <a:pt x="10" y="234"/>
                      <a:pt x="10" y="234"/>
                    </a:cubicBezTo>
                    <a:cubicBezTo>
                      <a:pt x="10" y="234"/>
                      <a:pt x="10" y="234"/>
                      <a:pt x="10" y="234"/>
                    </a:cubicBezTo>
                    <a:cubicBezTo>
                      <a:pt x="9" y="234"/>
                      <a:pt x="9" y="234"/>
                      <a:pt x="9" y="234"/>
                    </a:cubicBezTo>
                    <a:close/>
                    <a:moveTo>
                      <a:pt x="10" y="230"/>
                    </a:moveTo>
                    <a:cubicBezTo>
                      <a:pt x="10" y="230"/>
                      <a:pt x="10" y="230"/>
                      <a:pt x="10" y="230"/>
                    </a:cubicBezTo>
                    <a:cubicBezTo>
                      <a:pt x="10" y="230"/>
                      <a:pt x="10" y="230"/>
                      <a:pt x="10" y="230"/>
                    </a:cubicBezTo>
                    <a:cubicBezTo>
                      <a:pt x="10" y="230"/>
                      <a:pt x="10" y="230"/>
                      <a:pt x="10" y="230"/>
                    </a:cubicBezTo>
                    <a:cubicBezTo>
                      <a:pt x="10" y="230"/>
                      <a:pt x="10" y="230"/>
                      <a:pt x="10" y="229"/>
                    </a:cubicBezTo>
                    <a:cubicBezTo>
                      <a:pt x="10" y="229"/>
                      <a:pt x="10" y="229"/>
                      <a:pt x="10" y="229"/>
                    </a:cubicBezTo>
                    <a:cubicBezTo>
                      <a:pt x="10" y="229"/>
                      <a:pt x="10" y="229"/>
                      <a:pt x="10" y="229"/>
                    </a:cubicBezTo>
                    <a:cubicBezTo>
                      <a:pt x="10"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10" y="230"/>
                    </a:cubicBezTo>
                    <a:close/>
                    <a:moveTo>
                      <a:pt x="10" y="229"/>
                    </a:moveTo>
                    <a:cubicBezTo>
                      <a:pt x="10" y="229"/>
                      <a:pt x="11" y="229"/>
                      <a:pt x="11" y="229"/>
                    </a:cubicBezTo>
                    <a:cubicBezTo>
                      <a:pt x="11" y="229"/>
                      <a:pt x="11" y="229"/>
                      <a:pt x="12" y="229"/>
                    </a:cubicBezTo>
                    <a:cubicBezTo>
                      <a:pt x="12" y="229"/>
                      <a:pt x="12" y="229"/>
                      <a:pt x="12" y="229"/>
                    </a:cubicBezTo>
                    <a:cubicBezTo>
                      <a:pt x="12" y="229"/>
                      <a:pt x="12" y="229"/>
                      <a:pt x="12" y="229"/>
                    </a:cubicBezTo>
                    <a:cubicBezTo>
                      <a:pt x="12" y="229"/>
                      <a:pt x="12" y="228"/>
                      <a:pt x="13" y="228"/>
                    </a:cubicBezTo>
                    <a:cubicBezTo>
                      <a:pt x="13" y="228"/>
                      <a:pt x="13" y="228"/>
                      <a:pt x="13" y="228"/>
                    </a:cubicBezTo>
                    <a:cubicBezTo>
                      <a:pt x="13" y="228"/>
                      <a:pt x="13" y="228"/>
                      <a:pt x="13" y="228"/>
                    </a:cubicBezTo>
                    <a:cubicBezTo>
                      <a:pt x="13" y="228"/>
                      <a:pt x="13" y="228"/>
                      <a:pt x="13" y="228"/>
                    </a:cubicBezTo>
                    <a:cubicBezTo>
                      <a:pt x="14" y="228"/>
                      <a:pt x="13" y="228"/>
                      <a:pt x="13" y="228"/>
                    </a:cubicBezTo>
                    <a:cubicBezTo>
                      <a:pt x="13" y="228"/>
                      <a:pt x="13" y="228"/>
                      <a:pt x="13" y="228"/>
                    </a:cubicBezTo>
                    <a:cubicBezTo>
                      <a:pt x="13" y="228"/>
                      <a:pt x="13" y="227"/>
                      <a:pt x="13" y="227"/>
                    </a:cubicBezTo>
                    <a:cubicBezTo>
                      <a:pt x="13" y="227"/>
                      <a:pt x="13" y="227"/>
                      <a:pt x="13" y="227"/>
                    </a:cubicBezTo>
                    <a:cubicBezTo>
                      <a:pt x="13" y="227"/>
                      <a:pt x="13" y="227"/>
                      <a:pt x="13" y="227"/>
                    </a:cubicBezTo>
                    <a:cubicBezTo>
                      <a:pt x="13" y="227"/>
                      <a:pt x="13" y="227"/>
                      <a:pt x="13" y="227"/>
                    </a:cubicBezTo>
                    <a:cubicBezTo>
                      <a:pt x="12" y="227"/>
                      <a:pt x="12" y="227"/>
                      <a:pt x="12" y="227"/>
                    </a:cubicBezTo>
                    <a:cubicBezTo>
                      <a:pt x="12" y="227"/>
                      <a:pt x="12" y="227"/>
                      <a:pt x="12" y="227"/>
                    </a:cubicBezTo>
                    <a:cubicBezTo>
                      <a:pt x="11" y="227"/>
                      <a:pt x="11" y="227"/>
                      <a:pt x="11" y="227"/>
                    </a:cubicBezTo>
                    <a:cubicBezTo>
                      <a:pt x="11" y="227"/>
                      <a:pt x="11" y="227"/>
                      <a:pt x="10" y="227"/>
                    </a:cubicBezTo>
                    <a:cubicBezTo>
                      <a:pt x="10" y="227"/>
                      <a:pt x="10" y="227"/>
                      <a:pt x="10" y="227"/>
                    </a:cubicBezTo>
                    <a:cubicBezTo>
                      <a:pt x="10" y="227"/>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9"/>
                      <a:pt x="10" y="229"/>
                    </a:cubicBezTo>
                    <a:cubicBezTo>
                      <a:pt x="10" y="229"/>
                      <a:pt x="10" y="229"/>
                      <a:pt x="10" y="229"/>
                    </a:cubicBezTo>
                    <a:cubicBezTo>
                      <a:pt x="10" y="229"/>
                      <a:pt x="10" y="229"/>
                      <a:pt x="10" y="229"/>
                    </a:cubicBezTo>
                    <a:cubicBezTo>
                      <a:pt x="10" y="229"/>
                      <a:pt x="10" y="229"/>
                      <a:pt x="10" y="229"/>
                    </a:cubicBezTo>
                    <a:close/>
                    <a:moveTo>
                      <a:pt x="13" y="229"/>
                    </a:moveTo>
                    <a:cubicBezTo>
                      <a:pt x="13" y="229"/>
                      <a:pt x="12" y="229"/>
                      <a:pt x="12" y="229"/>
                    </a:cubicBezTo>
                    <a:cubicBezTo>
                      <a:pt x="12" y="229"/>
                      <a:pt x="12" y="229"/>
                      <a:pt x="12" y="229"/>
                    </a:cubicBezTo>
                    <a:cubicBezTo>
                      <a:pt x="12" y="229"/>
                      <a:pt x="12" y="229"/>
                      <a:pt x="12" y="229"/>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3" y="230"/>
                      <a:pt x="13" y="230"/>
                    </a:cubicBezTo>
                    <a:cubicBezTo>
                      <a:pt x="13" y="229"/>
                      <a:pt x="13" y="229"/>
                      <a:pt x="13" y="229"/>
                    </a:cubicBezTo>
                    <a:close/>
                    <a:moveTo>
                      <a:pt x="15" y="227"/>
                    </a:moveTo>
                    <a:cubicBezTo>
                      <a:pt x="15" y="226"/>
                      <a:pt x="15" y="226"/>
                      <a:pt x="15" y="226"/>
                    </a:cubicBezTo>
                    <a:cubicBezTo>
                      <a:pt x="15" y="226"/>
                      <a:pt x="15" y="226"/>
                      <a:pt x="15" y="226"/>
                    </a:cubicBezTo>
                    <a:cubicBezTo>
                      <a:pt x="15" y="226"/>
                      <a:pt x="15" y="226"/>
                      <a:pt x="15" y="226"/>
                    </a:cubicBezTo>
                    <a:cubicBezTo>
                      <a:pt x="15" y="227"/>
                      <a:pt x="14" y="227"/>
                      <a:pt x="14" y="227"/>
                    </a:cubicBezTo>
                    <a:cubicBezTo>
                      <a:pt x="14" y="227"/>
                      <a:pt x="14" y="227"/>
                      <a:pt x="14" y="227"/>
                    </a:cubicBezTo>
                    <a:cubicBezTo>
                      <a:pt x="14" y="227"/>
                      <a:pt x="14" y="227"/>
                      <a:pt x="14" y="227"/>
                    </a:cubicBezTo>
                    <a:cubicBezTo>
                      <a:pt x="14" y="227"/>
                      <a:pt x="14" y="227"/>
                      <a:pt x="14" y="227"/>
                    </a:cubicBezTo>
                    <a:cubicBezTo>
                      <a:pt x="14" y="227"/>
                      <a:pt x="14" y="227"/>
                      <a:pt x="14" y="227"/>
                    </a:cubicBezTo>
                    <a:cubicBezTo>
                      <a:pt x="14" y="228"/>
                      <a:pt x="14" y="228"/>
                      <a:pt x="14" y="228"/>
                    </a:cubicBezTo>
                    <a:cubicBezTo>
                      <a:pt x="14" y="228"/>
                      <a:pt x="14" y="228"/>
                      <a:pt x="14" y="228"/>
                    </a:cubicBezTo>
                    <a:cubicBezTo>
                      <a:pt x="14" y="228"/>
                      <a:pt x="14" y="228"/>
                      <a:pt x="14" y="228"/>
                    </a:cubicBezTo>
                    <a:cubicBezTo>
                      <a:pt x="14" y="229"/>
                      <a:pt x="14" y="229"/>
                      <a:pt x="14" y="229"/>
                    </a:cubicBezTo>
                    <a:cubicBezTo>
                      <a:pt x="14" y="229"/>
                      <a:pt x="14"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8"/>
                      <a:pt x="15" y="228"/>
                      <a:pt x="15" y="228"/>
                    </a:cubicBezTo>
                    <a:cubicBezTo>
                      <a:pt x="15" y="228"/>
                      <a:pt x="15" y="228"/>
                      <a:pt x="15" y="228"/>
                    </a:cubicBezTo>
                    <a:cubicBezTo>
                      <a:pt x="15" y="228"/>
                      <a:pt x="15" y="228"/>
                      <a:pt x="15" y="228"/>
                    </a:cubicBezTo>
                    <a:cubicBezTo>
                      <a:pt x="15" y="228"/>
                      <a:pt x="15" y="228"/>
                      <a:pt x="15" y="228"/>
                    </a:cubicBezTo>
                    <a:cubicBezTo>
                      <a:pt x="15" y="227"/>
                      <a:pt x="15" y="227"/>
                      <a:pt x="15" y="227"/>
                    </a:cubicBezTo>
                    <a:cubicBezTo>
                      <a:pt x="15" y="227"/>
                      <a:pt x="15" y="227"/>
                      <a:pt x="15" y="227"/>
                    </a:cubicBezTo>
                    <a:cubicBezTo>
                      <a:pt x="15" y="227"/>
                      <a:pt x="15" y="227"/>
                      <a:pt x="15" y="227"/>
                    </a:cubicBezTo>
                    <a:cubicBezTo>
                      <a:pt x="15" y="227"/>
                      <a:pt x="15" y="227"/>
                      <a:pt x="15" y="227"/>
                    </a:cubicBezTo>
                    <a:close/>
                    <a:moveTo>
                      <a:pt x="14" y="230"/>
                    </a:moveTo>
                    <a:cubicBezTo>
                      <a:pt x="14" y="230"/>
                      <a:pt x="14" y="230"/>
                      <a:pt x="14" y="230"/>
                    </a:cubicBezTo>
                    <a:cubicBezTo>
                      <a:pt x="14" y="230"/>
                      <a:pt x="14" y="230"/>
                      <a:pt x="14" y="229"/>
                    </a:cubicBezTo>
                    <a:cubicBezTo>
                      <a:pt x="14" y="229"/>
                      <a:pt x="14" y="229"/>
                      <a:pt x="14" y="229"/>
                    </a:cubicBezTo>
                    <a:cubicBezTo>
                      <a:pt x="14" y="229"/>
                      <a:pt x="13" y="229"/>
                      <a:pt x="13" y="229"/>
                    </a:cubicBezTo>
                    <a:cubicBezTo>
                      <a:pt x="13" y="229"/>
                      <a:pt x="13" y="230"/>
                      <a:pt x="13" y="230"/>
                    </a:cubicBezTo>
                    <a:cubicBezTo>
                      <a:pt x="13" y="230"/>
                      <a:pt x="14" y="230"/>
                      <a:pt x="14" y="230"/>
                    </a:cubicBezTo>
                    <a:cubicBezTo>
                      <a:pt x="14" y="230"/>
                      <a:pt x="13" y="230"/>
                      <a:pt x="13" y="230"/>
                    </a:cubicBezTo>
                    <a:cubicBezTo>
                      <a:pt x="13" y="230"/>
                      <a:pt x="13" y="230"/>
                      <a:pt x="13" y="230"/>
                    </a:cubicBezTo>
                    <a:cubicBezTo>
                      <a:pt x="13" y="230"/>
                      <a:pt x="14" y="230"/>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0"/>
                      <a:pt x="14" y="230"/>
                      <a:pt x="14" y="230"/>
                    </a:cubicBezTo>
                    <a:cubicBezTo>
                      <a:pt x="14" y="230"/>
                      <a:pt x="14" y="230"/>
                      <a:pt x="14" y="230"/>
                    </a:cubicBezTo>
                    <a:cubicBezTo>
                      <a:pt x="14" y="230"/>
                      <a:pt x="14" y="230"/>
                      <a:pt x="14" y="230"/>
                    </a:cubicBezTo>
                    <a:cubicBezTo>
                      <a:pt x="14" y="230"/>
                      <a:pt x="14" y="230"/>
                      <a:pt x="14" y="230"/>
                    </a:cubicBezTo>
                    <a:close/>
                    <a:moveTo>
                      <a:pt x="9" y="226"/>
                    </a:moveTo>
                    <a:cubicBezTo>
                      <a:pt x="9" y="226"/>
                      <a:pt x="9" y="226"/>
                      <a:pt x="9" y="226"/>
                    </a:cubicBezTo>
                    <a:cubicBezTo>
                      <a:pt x="9" y="225"/>
                      <a:pt x="9" y="225"/>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10" y="226"/>
                    </a:cubicBezTo>
                    <a:cubicBezTo>
                      <a:pt x="10" y="226"/>
                      <a:pt x="10" y="226"/>
                      <a:pt x="10" y="227"/>
                    </a:cubicBezTo>
                    <a:cubicBezTo>
                      <a:pt x="10" y="227"/>
                      <a:pt x="10" y="227"/>
                      <a:pt x="10" y="227"/>
                    </a:cubicBezTo>
                    <a:cubicBezTo>
                      <a:pt x="10" y="227"/>
                      <a:pt x="10" y="227"/>
                      <a:pt x="10" y="227"/>
                    </a:cubicBezTo>
                    <a:cubicBezTo>
                      <a:pt x="10" y="227"/>
                      <a:pt x="10" y="227"/>
                      <a:pt x="10" y="227"/>
                    </a:cubicBezTo>
                    <a:cubicBezTo>
                      <a:pt x="10" y="227"/>
                      <a:pt x="10" y="227"/>
                      <a:pt x="10" y="227"/>
                    </a:cubicBezTo>
                    <a:cubicBezTo>
                      <a:pt x="11" y="227"/>
                      <a:pt x="11" y="227"/>
                      <a:pt x="11" y="227"/>
                    </a:cubicBezTo>
                    <a:cubicBezTo>
                      <a:pt x="11" y="227"/>
                      <a:pt x="11" y="227"/>
                      <a:pt x="11" y="227"/>
                    </a:cubicBezTo>
                    <a:cubicBezTo>
                      <a:pt x="11" y="227"/>
                      <a:pt x="11" y="227"/>
                      <a:pt x="11" y="227"/>
                    </a:cubicBezTo>
                    <a:cubicBezTo>
                      <a:pt x="11" y="227"/>
                      <a:pt x="11" y="226"/>
                      <a:pt x="11" y="226"/>
                    </a:cubicBezTo>
                    <a:cubicBezTo>
                      <a:pt x="11" y="226"/>
                      <a:pt x="11" y="226"/>
                      <a:pt x="11" y="226"/>
                    </a:cubicBezTo>
                    <a:cubicBezTo>
                      <a:pt x="11" y="226"/>
                      <a:pt x="11" y="226"/>
                      <a:pt x="11" y="226"/>
                    </a:cubicBezTo>
                    <a:cubicBezTo>
                      <a:pt x="11" y="226"/>
                      <a:pt x="11" y="226"/>
                      <a:pt x="11" y="226"/>
                    </a:cubicBezTo>
                    <a:cubicBezTo>
                      <a:pt x="11" y="226"/>
                      <a:pt x="11" y="225"/>
                      <a:pt x="11" y="225"/>
                    </a:cubicBezTo>
                    <a:cubicBezTo>
                      <a:pt x="11" y="225"/>
                      <a:pt x="11" y="225"/>
                      <a:pt x="11" y="225"/>
                    </a:cubicBezTo>
                    <a:cubicBezTo>
                      <a:pt x="11" y="225"/>
                      <a:pt x="11" y="225"/>
                      <a:pt x="11" y="225"/>
                    </a:cubicBezTo>
                    <a:cubicBezTo>
                      <a:pt x="11" y="225"/>
                      <a:pt x="10" y="225"/>
                      <a:pt x="10" y="225"/>
                    </a:cubicBezTo>
                    <a:cubicBezTo>
                      <a:pt x="10" y="225"/>
                      <a:pt x="10" y="224"/>
                      <a:pt x="10" y="224"/>
                    </a:cubicBezTo>
                    <a:cubicBezTo>
                      <a:pt x="10" y="224"/>
                      <a:pt x="10" y="225"/>
                      <a:pt x="10" y="225"/>
                    </a:cubicBezTo>
                    <a:cubicBezTo>
                      <a:pt x="10" y="225"/>
                      <a:pt x="10" y="225"/>
                      <a:pt x="10" y="225"/>
                    </a:cubicBezTo>
                    <a:cubicBezTo>
                      <a:pt x="10" y="225"/>
                      <a:pt x="10" y="225"/>
                      <a:pt x="10" y="225"/>
                    </a:cubicBezTo>
                    <a:cubicBezTo>
                      <a:pt x="10" y="225"/>
                      <a:pt x="10" y="225"/>
                      <a:pt x="10" y="225"/>
                    </a:cubicBezTo>
                    <a:cubicBezTo>
                      <a:pt x="10" y="225"/>
                      <a:pt x="10" y="225"/>
                      <a:pt x="10" y="226"/>
                    </a:cubicBezTo>
                    <a:cubicBezTo>
                      <a:pt x="10" y="226"/>
                      <a:pt x="10" y="226"/>
                      <a:pt x="10" y="226"/>
                    </a:cubicBezTo>
                    <a:cubicBezTo>
                      <a:pt x="10" y="226"/>
                      <a:pt x="10" y="226"/>
                      <a:pt x="10" y="226"/>
                    </a:cubicBezTo>
                    <a:cubicBezTo>
                      <a:pt x="10" y="226"/>
                      <a:pt x="9" y="226"/>
                      <a:pt x="9" y="226"/>
                    </a:cubicBezTo>
                    <a:cubicBezTo>
                      <a:pt x="9" y="226"/>
                      <a:pt x="9" y="226"/>
                      <a:pt x="9" y="226"/>
                    </a:cubicBezTo>
                    <a:cubicBezTo>
                      <a:pt x="9" y="226"/>
                      <a:pt x="9" y="226"/>
                      <a:pt x="9" y="226"/>
                    </a:cubicBezTo>
                    <a:close/>
                    <a:moveTo>
                      <a:pt x="12" y="226"/>
                    </a:moveTo>
                    <a:cubicBezTo>
                      <a:pt x="12" y="226"/>
                      <a:pt x="12" y="226"/>
                      <a:pt x="12" y="226"/>
                    </a:cubicBezTo>
                    <a:cubicBezTo>
                      <a:pt x="12" y="226"/>
                      <a:pt x="12" y="226"/>
                      <a:pt x="12" y="226"/>
                    </a:cubicBezTo>
                    <a:cubicBezTo>
                      <a:pt x="12" y="226"/>
                      <a:pt x="12" y="226"/>
                      <a:pt x="12" y="226"/>
                    </a:cubicBezTo>
                    <a:cubicBezTo>
                      <a:pt x="12" y="226"/>
                      <a:pt x="12" y="226"/>
                      <a:pt x="12" y="227"/>
                    </a:cubicBezTo>
                    <a:cubicBezTo>
                      <a:pt x="12" y="227"/>
                      <a:pt x="12" y="227"/>
                      <a:pt x="12" y="227"/>
                    </a:cubicBezTo>
                    <a:cubicBezTo>
                      <a:pt x="12" y="227"/>
                      <a:pt x="12" y="227"/>
                      <a:pt x="12" y="227"/>
                    </a:cubicBezTo>
                    <a:cubicBezTo>
                      <a:pt x="12" y="227"/>
                      <a:pt x="13" y="227"/>
                      <a:pt x="13" y="227"/>
                    </a:cubicBezTo>
                    <a:cubicBezTo>
                      <a:pt x="13" y="227"/>
                      <a:pt x="13" y="227"/>
                      <a:pt x="13" y="227"/>
                    </a:cubicBezTo>
                    <a:cubicBezTo>
                      <a:pt x="13" y="226"/>
                      <a:pt x="13" y="226"/>
                      <a:pt x="13" y="226"/>
                    </a:cubicBezTo>
                    <a:cubicBezTo>
                      <a:pt x="13" y="226"/>
                      <a:pt x="12" y="226"/>
                      <a:pt x="12" y="226"/>
                    </a:cubicBezTo>
                    <a:cubicBezTo>
                      <a:pt x="12" y="226"/>
                      <a:pt x="12" y="226"/>
                      <a:pt x="12" y="226"/>
                    </a:cubicBezTo>
                    <a:close/>
                    <a:moveTo>
                      <a:pt x="12" y="223"/>
                    </a:moveTo>
                    <a:cubicBezTo>
                      <a:pt x="12" y="223"/>
                      <a:pt x="12" y="223"/>
                      <a:pt x="12" y="223"/>
                    </a:cubicBezTo>
                    <a:cubicBezTo>
                      <a:pt x="12" y="223"/>
                      <a:pt x="12" y="224"/>
                      <a:pt x="12" y="224"/>
                    </a:cubicBezTo>
                    <a:cubicBezTo>
                      <a:pt x="12" y="224"/>
                      <a:pt x="12" y="224"/>
                      <a:pt x="12" y="224"/>
                    </a:cubicBezTo>
                    <a:cubicBezTo>
                      <a:pt x="12" y="224"/>
                      <a:pt x="12" y="224"/>
                      <a:pt x="12" y="224"/>
                    </a:cubicBezTo>
                    <a:cubicBezTo>
                      <a:pt x="12" y="224"/>
                      <a:pt x="12" y="224"/>
                      <a:pt x="12" y="224"/>
                    </a:cubicBezTo>
                    <a:cubicBezTo>
                      <a:pt x="12" y="224"/>
                      <a:pt x="12" y="224"/>
                      <a:pt x="12" y="224"/>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3" y="225"/>
                      <a:pt x="13" y="225"/>
                    </a:cubicBezTo>
                    <a:cubicBezTo>
                      <a:pt x="13" y="225"/>
                      <a:pt x="13" y="226"/>
                      <a:pt x="13" y="226"/>
                    </a:cubicBezTo>
                    <a:cubicBezTo>
                      <a:pt x="13" y="226"/>
                      <a:pt x="14" y="226"/>
                      <a:pt x="14" y="226"/>
                    </a:cubicBezTo>
                    <a:cubicBezTo>
                      <a:pt x="14" y="226"/>
                      <a:pt x="14" y="226"/>
                      <a:pt x="14" y="226"/>
                    </a:cubicBezTo>
                    <a:cubicBezTo>
                      <a:pt x="14" y="226"/>
                      <a:pt x="14" y="226"/>
                      <a:pt x="14" y="226"/>
                    </a:cubicBezTo>
                    <a:cubicBezTo>
                      <a:pt x="14" y="226"/>
                      <a:pt x="14" y="226"/>
                      <a:pt x="14" y="225"/>
                    </a:cubicBezTo>
                    <a:cubicBezTo>
                      <a:pt x="14" y="225"/>
                      <a:pt x="14" y="225"/>
                      <a:pt x="14" y="225"/>
                    </a:cubicBezTo>
                    <a:cubicBezTo>
                      <a:pt x="14" y="225"/>
                      <a:pt x="14" y="225"/>
                      <a:pt x="14"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4" y="225"/>
                      <a:pt x="14" y="225"/>
                    </a:cubicBezTo>
                    <a:cubicBezTo>
                      <a:pt x="14" y="225"/>
                      <a:pt x="14" y="225"/>
                      <a:pt x="14" y="225"/>
                    </a:cubicBezTo>
                    <a:cubicBezTo>
                      <a:pt x="14" y="225"/>
                      <a:pt x="14" y="225"/>
                      <a:pt x="14" y="225"/>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3" y="224"/>
                      <a:pt x="13" y="224"/>
                      <a:pt x="13" y="224"/>
                    </a:cubicBezTo>
                    <a:cubicBezTo>
                      <a:pt x="13" y="224"/>
                      <a:pt x="13" y="224"/>
                      <a:pt x="13" y="224"/>
                    </a:cubicBezTo>
                    <a:cubicBezTo>
                      <a:pt x="13" y="224"/>
                      <a:pt x="13" y="224"/>
                      <a:pt x="13" y="224"/>
                    </a:cubicBezTo>
                    <a:cubicBezTo>
                      <a:pt x="13" y="224"/>
                      <a:pt x="13" y="224"/>
                      <a:pt x="13" y="224"/>
                    </a:cubicBezTo>
                    <a:cubicBezTo>
                      <a:pt x="13" y="224"/>
                      <a:pt x="13" y="223"/>
                      <a:pt x="13" y="223"/>
                    </a:cubicBezTo>
                    <a:cubicBezTo>
                      <a:pt x="13" y="223"/>
                      <a:pt x="14" y="223"/>
                      <a:pt x="14" y="223"/>
                    </a:cubicBezTo>
                    <a:cubicBezTo>
                      <a:pt x="14" y="223"/>
                      <a:pt x="13" y="223"/>
                      <a:pt x="13" y="223"/>
                    </a:cubicBezTo>
                    <a:cubicBezTo>
                      <a:pt x="13" y="223"/>
                      <a:pt x="13" y="223"/>
                      <a:pt x="13" y="222"/>
                    </a:cubicBezTo>
                    <a:cubicBezTo>
                      <a:pt x="13" y="222"/>
                      <a:pt x="13" y="223"/>
                      <a:pt x="13" y="223"/>
                    </a:cubicBezTo>
                    <a:cubicBezTo>
                      <a:pt x="13" y="223"/>
                      <a:pt x="13" y="223"/>
                      <a:pt x="13" y="223"/>
                    </a:cubicBezTo>
                    <a:cubicBezTo>
                      <a:pt x="13" y="223"/>
                      <a:pt x="13" y="223"/>
                      <a:pt x="13" y="223"/>
                    </a:cubicBezTo>
                    <a:cubicBezTo>
                      <a:pt x="13" y="223"/>
                      <a:pt x="13" y="223"/>
                      <a:pt x="12" y="223"/>
                    </a:cubicBezTo>
                    <a:cubicBezTo>
                      <a:pt x="12" y="223"/>
                      <a:pt x="12" y="223"/>
                      <a:pt x="12" y="223"/>
                    </a:cubicBezTo>
                    <a:cubicBezTo>
                      <a:pt x="12" y="223"/>
                      <a:pt x="12" y="223"/>
                      <a:pt x="12" y="223"/>
                    </a:cubicBezTo>
                    <a:cubicBezTo>
                      <a:pt x="12" y="223"/>
                      <a:pt x="12" y="223"/>
                      <a:pt x="12" y="223"/>
                    </a:cubicBezTo>
                    <a:close/>
                    <a:moveTo>
                      <a:pt x="12" y="220"/>
                    </a:moveTo>
                    <a:cubicBezTo>
                      <a:pt x="12" y="220"/>
                      <a:pt x="12" y="220"/>
                      <a:pt x="12" y="220"/>
                    </a:cubicBezTo>
                    <a:cubicBezTo>
                      <a:pt x="12" y="220"/>
                      <a:pt x="12" y="220"/>
                      <a:pt x="12" y="220"/>
                    </a:cubicBezTo>
                    <a:cubicBezTo>
                      <a:pt x="12" y="220"/>
                      <a:pt x="12" y="220"/>
                      <a:pt x="12" y="220"/>
                    </a:cubicBezTo>
                    <a:cubicBezTo>
                      <a:pt x="12" y="221"/>
                      <a:pt x="12" y="220"/>
                      <a:pt x="13" y="221"/>
                    </a:cubicBezTo>
                    <a:cubicBezTo>
                      <a:pt x="13" y="221"/>
                      <a:pt x="13" y="221"/>
                      <a:pt x="13" y="221"/>
                    </a:cubicBezTo>
                    <a:cubicBezTo>
                      <a:pt x="13" y="221"/>
                      <a:pt x="13" y="221"/>
                      <a:pt x="13" y="221"/>
                    </a:cubicBezTo>
                    <a:cubicBezTo>
                      <a:pt x="13" y="221"/>
                      <a:pt x="13" y="221"/>
                      <a:pt x="13" y="221"/>
                    </a:cubicBezTo>
                    <a:cubicBezTo>
                      <a:pt x="13" y="221"/>
                      <a:pt x="13" y="221"/>
                      <a:pt x="13" y="221"/>
                    </a:cubicBezTo>
                    <a:cubicBezTo>
                      <a:pt x="14" y="221"/>
                      <a:pt x="14" y="221"/>
                      <a:pt x="14" y="221"/>
                    </a:cubicBezTo>
                    <a:cubicBezTo>
                      <a:pt x="14" y="221"/>
                      <a:pt x="14" y="221"/>
                      <a:pt x="14" y="221"/>
                    </a:cubicBezTo>
                    <a:cubicBezTo>
                      <a:pt x="14" y="220"/>
                      <a:pt x="14" y="220"/>
                      <a:pt x="14" y="220"/>
                    </a:cubicBezTo>
                    <a:cubicBezTo>
                      <a:pt x="14" y="220"/>
                      <a:pt x="14" y="220"/>
                      <a:pt x="14" y="220"/>
                    </a:cubicBezTo>
                    <a:cubicBezTo>
                      <a:pt x="14" y="220"/>
                      <a:pt x="14" y="220"/>
                      <a:pt x="14" y="219"/>
                    </a:cubicBezTo>
                    <a:cubicBezTo>
                      <a:pt x="14" y="219"/>
                      <a:pt x="14" y="219"/>
                      <a:pt x="14" y="219"/>
                    </a:cubicBezTo>
                    <a:cubicBezTo>
                      <a:pt x="14" y="219"/>
                      <a:pt x="14" y="219"/>
                      <a:pt x="14" y="219"/>
                    </a:cubicBezTo>
                    <a:cubicBezTo>
                      <a:pt x="14" y="219"/>
                      <a:pt x="14" y="219"/>
                      <a:pt x="14" y="219"/>
                    </a:cubicBezTo>
                    <a:cubicBezTo>
                      <a:pt x="14" y="219"/>
                      <a:pt x="14" y="219"/>
                      <a:pt x="14" y="219"/>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19"/>
                      <a:pt x="13" y="219"/>
                      <a:pt x="13" y="219"/>
                    </a:cubicBezTo>
                    <a:cubicBezTo>
                      <a:pt x="13" y="219"/>
                      <a:pt x="12" y="219"/>
                      <a:pt x="12" y="219"/>
                    </a:cubicBezTo>
                    <a:cubicBezTo>
                      <a:pt x="12" y="219"/>
                      <a:pt x="12" y="219"/>
                      <a:pt x="12" y="219"/>
                    </a:cubicBezTo>
                    <a:cubicBezTo>
                      <a:pt x="12" y="219"/>
                      <a:pt x="12" y="220"/>
                      <a:pt x="12" y="220"/>
                    </a:cubicBezTo>
                    <a:cubicBezTo>
                      <a:pt x="12" y="220"/>
                      <a:pt x="12" y="220"/>
                      <a:pt x="12" y="220"/>
                    </a:cubicBezTo>
                    <a:close/>
                    <a:moveTo>
                      <a:pt x="15" y="222"/>
                    </a:moveTo>
                    <a:cubicBezTo>
                      <a:pt x="15" y="222"/>
                      <a:pt x="15" y="222"/>
                      <a:pt x="15" y="222"/>
                    </a:cubicBezTo>
                    <a:cubicBezTo>
                      <a:pt x="15" y="222"/>
                      <a:pt x="15" y="222"/>
                      <a:pt x="15" y="222"/>
                    </a:cubicBezTo>
                    <a:cubicBezTo>
                      <a:pt x="15" y="222"/>
                      <a:pt x="15" y="222"/>
                      <a:pt x="15" y="222"/>
                    </a:cubicBezTo>
                    <a:cubicBezTo>
                      <a:pt x="15" y="222"/>
                      <a:pt x="15" y="221"/>
                      <a:pt x="15" y="221"/>
                    </a:cubicBezTo>
                    <a:cubicBezTo>
                      <a:pt x="15" y="221"/>
                      <a:pt x="15" y="221"/>
                      <a:pt x="15" y="221"/>
                    </a:cubicBezTo>
                    <a:cubicBezTo>
                      <a:pt x="15" y="221"/>
                      <a:pt x="15" y="221"/>
                      <a:pt x="15" y="221"/>
                    </a:cubicBezTo>
                    <a:cubicBezTo>
                      <a:pt x="15" y="221"/>
                      <a:pt x="15" y="221"/>
                      <a:pt x="15" y="221"/>
                    </a:cubicBezTo>
                    <a:cubicBezTo>
                      <a:pt x="15" y="221"/>
                      <a:pt x="15" y="221"/>
                      <a:pt x="14" y="221"/>
                    </a:cubicBezTo>
                    <a:cubicBezTo>
                      <a:pt x="14" y="221"/>
                      <a:pt x="14" y="221"/>
                      <a:pt x="14" y="221"/>
                    </a:cubicBezTo>
                    <a:cubicBezTo>
                      <a:pt x="15" y="222"/>
                      <a:pt x="15" y="222"/>
                      <a:pt x="15" y="222"/>
                    </a:cubicBezTo>
                    <a:cubicBezTo>
                      <a:pt x="15" y="222"/>
                      <a:pt x="15" y="222"/>
                      <a:pt x="15" y="222"/>
                    </a:cubicBezTo>
                    <a:close/>
                    <a:moveTo>
                      <a:pt x="27" y="338"/>
                    </a:moveTo>
                    <a:cubicBezTo>
                      <a:pt x="27" y="338"/>
                      <a:pt x="27" y="338"/>
                      <a:pt x="27" y="338"/>
                    </a:cubicBezTo>
                    <a:cubicBezTo>
                      <a:pt x="27" y="338"/>
                      <a:pt x="27" y="338"/>
                      <a:pt x="27" y="338"/>
                    </a:cubicBezTo>
                    <a:cubicBezTo>
                      <a:pt x="27" y="338"/>
                      <a:pt x="27" y="338"/>
                      <a:pt x="27" y="337"/>
                    </a:cubicBezTo>
                    <a:cubicBezTo>
                      <a:pt x="27" y="337"/>
                      <a:pt x="27" y="337"/>
                      <a:pt x="27" y="337"/>
                    </a:cubicBezTo>
                    <a:cubicBezTo>
                      <a:pt x="27" y="337"/>
                      <a:pt x="27" y="337"/>
                      <a:pt x="26" y="337"/>
                    </a:cubicBezTo>
                    <a:cubicBezTo>
                      <a:pt x="26" y="337"/>
                      <a:pt x="26" y="337"/>
                      <a:pt x="26" y="337"/>
                    </a:cubicBezTo>
                    <a:cubicBezTo>
                      <a:pt x="26" y="337"/>
                      <a:pt x="26" y="337"/>
                      <a:pt x="26" y="337"/>
                    </a:cubicBezTo>
                    <a:cubicBezTo>
                      <a:pt x="26" y="338"/>
                      <a:pt x="27" y="338"/>
                      <a:pt x="27" y="338"/>
                    </a:cubicBezTo>
                    <a:cubicBezTo>
                      <a:pt x="27" y="338"/>
                      <a:pt x="27" y="338"/>
                      <a:pt x="27" y="338"/>
                    </a:cubicBezTo>
                    <a:cubicBezTo>
                      <a:pt x="27" y="338"/>
                      <a:pt x="27" y="338"/>
                      <a:pt x="27" y="338"/>
                    </a:cubicBezTo>
                    <a:cubicBezTo>
                      <a:pt x="27" y="338"/>
                      <a:pt x="27" y="338"/>
                      <a:pt x="27" y="338"/>
                    </a:cubicBezTo>
                    <a:close/>
                    <a:moveTo>
                      <a:pt x="57" y="352"/>
                    </a:moveTo>
                    <a:cubicBezTo>
                      <a:pt x="57" y="352"/>
                      <a:pt x="57" y="352"/>
                      <a:pt x="57" y="352"/>
                    </a:cubicBezTo>
                    <a:cubicBezTo>
                      <a:pt x="57" y="352"/>
                      <a:pt x="57" y="352"/>
                      <a:pt x="57" y="352"/>
                    </a:cubicBezTo>
                    <a:cubicBezTo>
                      <a:pt x="57" y="352"/>
                      <a:pt x="57" y="353"/>
                      <a:pt x="58" y="353"/>
                    </a:cubicBezTo>
                    <a:cubicBezTo>
                      <a:pt x="58" y="353"/>
                      <a:pt x="58" y="353"/>
                      <a:pt x="58" y="353"/>
                    </a:cubicBezTo>
                    <a:cubicBezTo>
                      <a:pt x="58" y="353"/>
                      <a:pt x="58" y="353"/>
                      <a:pt x="58" y="352"/>
                    </a:cubicBezTo>
                    <a:cubicBezTo>
                      <a:pt x="58" y="352"/>
                      <a:pt x="58" y="352"/>
                      <a:pt x="58" y="352"/>
                    </a:cubicBezTo>
                    <a:cubicBezTo>
                      <a:pt x="58" y="352"/>
                      <a:pt x="58" y="352"/>
                      <a:pt x="58" y="352"/>
                    </a:cubicBezTo>
                    <a:cubicBezTo>
                      <a:pt x="58" y="352"/>
                      <a:pt x="58" y="352"/>
                      <a:pt x="58" y="352"/>
                    </a:cubicBezTo>
                    <a:cubicBezTo>
                      <a:pt x="57" y="352"/>
                      <a:pt x="57"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5" y="352"/>
                    </a:cubicBezTo>
                    <a:cubicBezTo>
                      <a:pt x="55" y="352"/>
                      <a:pt x="55" y="352"/>
                      <a:pt x="55" y="352"/>
                    </a:cubicBezTo>
                    <a:cubicBezTo>
                      <a:pt x="55" y="352"/>
                      <a:pt x="56" y="352"/>
                      <a:pt x="56" y="352"/>
                    </a:cubicBezTo>
                    <a:cubicBezTo>
                      <a:pt x="56" y="352"/>
                      <a:pt x="56" y="353"/>
                      <a:pt x="56" y="353"/>
                    </a:cubicBezTo>
                    <a:cubicBezTo>
                      <a:pt x="56" y="353"/>
                      <a:pt x="56" y="353"/>
                      <a:pt x="56" y="353"/>
                    </a:cubicBezTo>
                    <a:cubicBezTo>
                      <a:pt x="56" y="352"/>
                      <a:pt x="56" y="352"/>
                      <a:pt x="56" y="352"/>
                    </a:cubicBezTo>
                    <a:cubicBezTo>
                      <a:pt x="56" y="352"/>
                      <a:pt x="56" y="352"/>
                      <a:pt x="56" y="352"/>
                    </a:cubicBezTo>
                    <a:cubicBezTo>
                      <a:pt x="56" y="352"/>
                      <a:pt x="57" y="352"/>
                      <a:pt x="57" y="352"/>
                    </a:cubicBezTo>
                    <a:close/>
                    <a:moveTo>
                      <a:pt x="57" y="349"/>
                    </a:moveTo>
                    <a:cubicBezTo>
                      <a:pt x="57" y="349"/>
                      <a:pt x="57" y="349"/>
                      <a:pt x="57" y="349"/>
                    </a:cubicBezTo>
                    <a:cubicBezTo>
                      <a:pt x="57" y="349"/>
                      <a:pt x="58" y="349"/>
                      <a:pt x="58" y="348"/>
                    </a:cubicBezTo>
                    <a:cubicBezTo>
                      <a:pt x="58"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9"/>
                      <a:pt x="57" y="349"/>
                    </a:cubicBezTo>
                    <a:cubicBezTo>
                      <a:pt x="57" y="349"/>
                      <a:pt x="57" y="349"/>
                      <a:pt x="57" y="349"/>
                    </a:cubicBezTo>
                    <a:cubicBezTo>
                      <a:pt x="57" y="349"/>
                      <a:pt x="57" y="349"/>
                      <a:pt x="57" y="349"/>
                    </a:cubicBezTo>
                    <a:cubicBezTo>
                      <a:pt x="57" y="349"/>
                      <a:pt x="57" y="349"/>
                      <a:pt x="57" y="349"/>
                    </a:cubicBezTo>
                    <a:cubicBezTo>
                      <a:pt x="57" y="349"/>
                      <a:pt x="57" y="349"/>
                      <a:pt x="57" y="349"/>
                    </a:cubicBezTo>
                    <a:close/>
                    <a:moveTo>
                      <a:pt x="60" y="351"/>
                    </a:move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0"/>
                      <a:pt x="60" y="350"/>
                      <a:pt x="60" y="350"/>
                    </a:cubicBezTo>
                    <a:cubicBezTo>
                      <a:pt x="60" y="350"/>
                      <a:pt x="60" y="350"/>
                      <a:pt x="60" y="350"/>
                    </a:cubicBezTo>
                    <a:cubicBezTo>
                      <a:pt x="60" y="350"/>
                      <a:pt x="59" y="350"/>
                      <a:pt x="59" y="350"/>
                    </a:cubicBezTo>
                    <a:cubicBezTo>
                      <a:pt x="59" y="350"/>
                      <a:pt x="59" y="350"/>
                      <a:pt x="59" y="350"/>
                    </a:cubicBezTo>
                    <a:cubicBezTo>
                      <a:pt x="59" y="350"/>
                      <a:pt x="59" y="350"/>
                      <a:pt x="59" y="350"/>
                    </a:cubicBezTo>
                    <a:cubicBezTo>
                      <a:pt x="59" y="350"/>
                      <a:pt x="59" y="350"/>
                      <a:pt x="59" y="350"/>
                    </a:cubicBezTo>
                    <a:cubicBezTo>
                      <a:pt x="59" y="350"/>
                      <a:pt x="59" y="350"/>
                      <a:pt x="59" y="350"/>
                    </a:cubicBezTo>
                    <a:cubicBezTo>
                      <a:pt x="59" y="349"/>
                      <a:pt x="59" y="349"/>
                      <a:pt x="59" y="349"/>
                    </a:cubicBezTo>
                    <a:cubicBezTo>
                      <a:pt x="59" y="349"/>
                      <a:pt x="59" y="349"/>
                      <a:pt x="59" y="349"/>
                    </a:cubicBezTo>
                    <a:cubicBezTo>
                      <a:pt x="59" y="349"/>
                      <a:pt x="59" y="349"/>
                      <a:pt x="59" y="349"/>
                    </a:cubicBezTo>
                    <a:cubicBezTo>
                      <a:pt x="59" y="348"/>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50"/>
                      <a:pt x="59" y="350"/>
                    </a:cubicBezTo>
                    <a:cubicBezTo>
                      <a:pt x="59" y="350"/>
                      <a:pt x="59" y="350"/>
                      <a:pt x="59" y="350"/>
                    </a:cubicBezTo>
                    <a:cubicBezTo>
                      <a:pt x="59" y="350"/>
                      <a:pt x="59" y="350"/>
                      <a:pt x="59" y="350"/>
                    </a:cubicBezTo>
                    <a:cubicBezTo>
                      <a:pt x="58" y="350"/>
                      <a:pt x="58" y="350"/>
                      <a:pt x="58" y="350"/>
                    </a:cubicBezTo>
                    <a:cubicBezTo>
                      <a:pt x="58" y="350"/>
                      <a:pt x="58" y="350"/>
                      <a:pt x="58" y="350"/>
                    </a:cubicBezTo>
                    <a:cubicBezTo>
                      <a:pt x="58" y="350"/>
                      <a:pt x="59" y="350"/>
                      <a:pt x="59" y="351"/>
                    </a:cubicBezTo>
                    <a:cubicBezTo>
                      <a:pt x="59" y="351"/>
                      <a:pt x="59" y="351"/>
                      <a:pt x="59" y="351"/>
                    </a:cubicBezTo>
                    <a:cubicBezTo>
                      <a:pt x="59" y="351"/>
                      <a:pt x="59" y="351"/>
                      <a:pt x="59" y="351"/>
                    </a:cubicBezTo>
                    <a:cubicBezTo>
                      <a:pt x="59" y="351"/>
                      <a:pt x="59" y="351"/>
                      <a:pt x="59" y="351"/>
                    </a:cubicBezTo>
                    <a:cubicBezTo>
                      <a:pt x="59" y="351"/>
                      <a:pt x="59" y="351"/>
                      <a:pt x="60" y="351"/>
                    </a:cubicBezTo>
                    <a:close/>
                    <a:moveTo>
                      <a:pt x="60" y="352"/>
                    </a:moveTo>
                    <a:cubicBezTo>
                      <a:pt x="60" y="352"/>
                      <a:pt x="60" y="352"/>
                      <a:pt x="60" y="352"/>
                    </a:cubicBezTo>
                    <a:cubicBezTo>
                      <a:pt x="60" y="352"/>
                      <a:pt x="60" y="352"/>
                      <a:pt x="60" y="352"/>
                    </a:cubicBezTo>
                    <a:cubicBezTo>
                      <a:pt x="60" y="352"/>
                      <a:pt x="60" y="352"/>
                      <a:pt x="60" y="352"/>
                    </a:cubicBezTo>
                    <a:cubicBezTo>
                      <a:pt x="59" y="352"/>
                      <a:pt x="59" y="352"/>
                      <a:pt x="59" y="352"/>
                    </a:cubicBezTo>
                    <a:cubicBezTo>
                      <a:pt x="59" y="352"/>
                      <a:pt x="59" y="352"/>
                      <a:pt x="59" y="352"/>
                    </a:cubicBezTo>
                    <a:cubicBezTo>
                      <a:pt x="59" y="352"/>
                      <a:pt x="59" y="352"/>
                      <a:pt x="59" y="352"/>
                    </a:cubicBezTo>
                    <a:cubicBezTo>
                      <a:pt x="59" y="352"/>
                      <a:pt x="59" y="352"/>
                      <a:pt x="59" y="352"/>
                    </a:cubicBezTo>
                    <a:cubicBezTo>
                      <a:pt x="59" y="352"/>
                      <a:pt x="60" y="352"/>
                      <a:pt x="60" y="352"/>
                    </a:cubicBezTo>
                    <a:cubicBezTo>
                      <a:pt x="60" y="352"/>
                      <a:pt x="60" y="352"/>
                      <a:pt x="60" y="352"/>
                    </a:cubicBezTo>
                    <a:cubicBezTo>
                      <a:pt x="60" y="352"/>
                      <a:pt x="60" y="352"/>
                      <a:pt x="60" y="352"/>
                    </a:cubicBezTo>
                    <a:cubicBezTo>
                      <a:pt x="60" y="352"/>
                      <a:pt x="60" y="352"/>
                      <a:pt x="60" y="352"/>
                    </a:cubicBezTo>
                    <a:cubicBezTo>
                      <a:pt x="61" y="352"/>
                      <a:pt x="60" y="352"/>
                      <a:pt x="60" y="352"/>
                    </a:cubicBezTo>
                    <a:cubicBezTo>
                      <a:pt x="60" y="352"/>
                      <a:pt x="60" y="352"/>
                      <a:pt x="60" y="352"/>
                    </a:cubicBezTo>
                    <a:close/>
                    <a:moveTo>
                      <a:pt x="4" y="229"/>
                    </a:moveTo>
                    <a:cubicBezTo>
                      <a:pt x="4" y="229"/>
                      <a:pt x="4" y="230"/>
                      <a:pt x="4" y="230"/>
                    </a:cubicBezTo>
                    <a:cubicBezTo>
                      <a:pt x="4" y="230"/>
                      <a:pt x="4" y="230"/>
                      <a:pt x="4" y="230"/>
                    </a:cubicBezTo>
                    <a:cubicBezTo>
                      <a:pt x="4"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29"/>
                      <a:pt x="5" y="229"/>
                      <a:pt x="5" y="229"/>
                    </a:cubicBezTo>
                    <a:cubicBezTo>
                      <a:pt x="5" y="229"/>
                      <a:pt x="5" y="229"/>
                      <a:pt x="5" y="229"/>
                    </a:cubicBezTo>
                    <a:cubicBezTo>
                      <a:pt x="4" y="229"/>
                      <a:pt x="4" y="229"/>
                      <a:pt x="4" y="229"/>
                    </a:cubicBezTo>
                    <a:cubicBezTo>
                      <a:pt x="4" y="229"/>
                      <a:pt x="4" y="229"/>
                      <a:pt x="4" y="229"/>
                    </a:cubicBezTo>
                    <a:close/>
                    <a:moveTo>
                      <a:pt x="7" y="228"/>
                    </a:moveTo>
                    <a:cubicBezTo>
                      <a:pt x="7" y="228"/>
                      <a:pt x="7" y="228"/>
                      <a:pt x="7" y="228"/>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8"/>
                      <a:pt x="7" y="228"/>
                      <a:pt x="7" y="228"/>
                    </a:cubicBezTo>
                    <a:cubicBezTo>
                      <a:pt x="7" y="228"/>
                      <a:pt x="7" y="228"/>
                      <a:pt x="7" y="228"/>
                    </a:cubicBezTo>
                    <a:close/>
                    <a:moveTo>
                      <a:pt x="7" y="218"/>
                    </a:moveTo>
                    <a:cubicBezTo>
                      <a:pt x="7" y="218"/>
                      <a:pt x="7" y="218"/>
                      <a:pt x="7" y="218"/>
                    </a:cubicBezTo>
                    <a:cubicBezTo>
                      <a:pt x="7" y="218"/>
                      <a:pt x="7" y="218"/>
                      <a:pt x="7" y="218"/>
                    </a:cubicBezTo>
                    <a:cubicBezTo>
                      <a:pt x="7" y="218"/>
                      <a:pt x="7" y="218"/>
                      <a:pt x="7" y="218"/>
                    </a:cubicBezTo>
                    <a:cubicBezTo>
                      <a:pt x="7" y="218"/>
                      <a:pt x="7" y="218"/>
                      <a:pt x="7" y="218"/>
                    </a:cubicBezTo>
                    <a:cubicBezTo>
                      <a:pt x="7" y="218"/>
                      <a:pt x="7" y="218"/>
                      <a:pt x="7" y="218"/>
                    </a:cubicBezTo>
                    <a:cubicBezTo>
                      <a:pt x="8" y="218"/>
                      <a:pt x="8" y="218"/>
                      <a:pt x="8" y="218"/>
                    </a:cubicBezTo>
                    <a:cubicBezTo>
                      <a:pt x="8" y="218"/>
                      <a:pt x="8" y="218"/>
                      <a:pt x="8" y="218"/>
                    </a:cubicBezTo>
                    <a:cubicBezTo>
                      <a:pt x="8" y="218"/>
                      <a:pt x="8" y="218"/>
                      <a:pt x="8" y="218"/>
                    </a:cubicBezTo>
                    <a:cubicBezTo>
                      <a:pt x="8" y="218"/>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7" y="217"/>
                    </a:cubicBezTo>
                    <a:cubicBezTo>
                      <a:pt x="7" y="217"/>
                      <a:pt x="7" y="217"/>
                      <a:pt x="7" y="217"/>
                    </a:cubicBezTo>
                    <a:cubicBezTo>
                      <a:pt x="7" y="217"/>
                      <a:pt x="7" y="217"/>
                      <a:pt x="7" y="217"/>
                    </a:cubicBezTo>
                    <a:cubicBezTo>
                      <a:pt x="7" y="217"/>
                      <a:pt x="7" y="217"/>
                      <a:pt x="7" y="217"/>
                    </a:cubicBezTo>
                    <a:cubicBezTo>
                      <a:pt x="7" y="217"/>
                      <a:pt x="7" y="217"/>
                      <a:pt x="7" y="2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3" name="Freeform 689">
                <a:extLst>
                  <a:ext uri="{FF2B5EF4-FFF2-40B4-BE49-F238E27FC236}">
                    <a16:creationId xmlns:a16="http://schemas.microsoft.com/office/drawing/2014/main" id="{78DAF300-9375-3800-B592-6BF6A1DABBD4}"/>
                  </a:ext>
                </a:extLst>
              </p:cNvPr>
              <p:cNvSpPr>
                <a:spLocks/>
              </p:cNvSpPr>
              <p:nvPr/>
            </p:nvSpPr>
            <p:spPr bwMode="auto">
              <a:xfrm>
                <a:off x="3065463" y="4826000"/>
                <a:ext cx="171450" cy="187325"/>
              </a:xfrm>
              <a:custGeom>
                <a:avLst/>
                <a:gdLst>
                  <a:gd name="T0" fmla="*/ 6 w 41"/>
                  <a:gd name="T1" fmla="*/ 38 h 45"/>
                  <a:gd name="T2" fmla="*/ 4 w 41"/>
                  <a:gd name="T3" fmla="*/ 39 h 45"/>
                  <a:gd name="T4" fmla="*/ 5 w 41"/>
                  <a:gd name="T5" fmla="*/ 40 h 45"/>
                  <a:gd name="T6" fmla="*/ 4 w 41"/>
                  <a:gd name="T7" fmla="*/ 41 h 45"/>
                  <a:gd name="T8" fmla="*/ 6 w 41"/>
                  <a:gd name="T9" fmla="*/ 40 h 45"/>
                  <a:gd name="T10" fmla="*/ 9 w 41"/>
                  <a:gd name="T11" fmla="*/ 41 h 45"/>
                  <a:gd name="T12" fmla="*/ 11 w 41"/>
                  <a:gd name="T13" fmla="*/ 43 h 45"/>
                  <a:gd name="T14" fmla="*/ 13 w 41"/>
                  <a:gd name="T15" fmla="*/ 45 h 45"/>
                  <a:gd name="T16" fmla="*/ 14 w 41"/>
                  <a:gd name="T17" fmla="*/ 45 h 45"/>
                  <a:gd name="T18" fmla="*/ 16 w 41"/>
                  <a:gd name="T19" fmla="*/ 43 h 45"/>
                  <a:gd name="T20" fmla="*/ 17 w 41"/>
                  <a:gd name="T21" fmla="*/ 40 h 45"/>
                  <a:gd name="T22" fmla="*/ 17 w 41"/>
                  <a:gd name="T23" fmla="*/ 38 h 45"/>
                  <a:gd name="T24" fmla="*/ 18 w 41"/>
                  <a:gd name="T25" fmla="*/ 35 h 45"/>
                  <a:gd name="T26" fmla="*/ 20 w 41"/>
                  <a:gd name="T27" fmla="*/ 34 h 45"/>
                  <a:gd name="T28" fmla="*/ 20 w 41"/>
                  <a:gd name="T29" fmla="*/ 33 h 45"/>
                  <a:gd name="T30" fmla="*/ 31 w 41"/>
                  <a:gd name="T31" fmla="*/ 28 h 45"/>
                  <a:gd name="T32" fmla="*/ 40 w 41"/>
                  <a:gd name="T33" fmla="*/ 16 h 45"/>
                  <a:gd name="T34" fmla="*/ 41 w 41"/>
                  <a:gd name="T35" fmla="*/ 16 h 45"/>
                  <a:gd name="T36" fmla="*/ 40 w 41"/>
                  <a:gd name="T37" fmla="*/ 13 h 45"/>
                  <a:gd name="T38" fmla="*/ 38 w 41"/>
                  <a:gd name="T39" fmla="*/ 11 h 45"/>
                  <a:gd name="T40" fmla="*/ 40 w 41"/>
                  <a:gd name="T41" fmla="*/ 11 h 45"/>
                  <a:gd name="T42" fmla="*/ 36 w 41"/>
                  <a:gd name="T43" fmla="*/ 9 h 45"/>
                  <a:gd name="T44" fmla="*/ 32 w 41"/>
                  <a:gd name="T45" fmla="*/ 7 h 45"/>
                  <a:gd name="T46" fmla="*/ 30 w 41"/>
                  <a:gd name="T47" fmla="*/ 8 h 45"/>
                  <a:gd name="T48" fmla="*/ 25 w 41"/>
                  <a:gd name="T49" fmla="*/ 7 h 45"/>
                  <a:gd name="T50" fmla="*/ 24 w 41"/>
                  <a:gd name="T51" fmla="*/ 5 h 45"/>
                  <a:gd name="T52" fmla="*/ 21 w 41"/>
                  <a:gd name="T53" fmla="*/ 4 h 45"/>
                  <a:gd name="T54" fmla="*/ 19 w 41"/>
                  <a:gd name="T55" fmla="*/ 2 h 45"/>
                  <a:gd name="T56" fmla="*/ 16 w 41"/>
                  <a:gd name="T57" fmla="*/ 0 h 45"/>
                  <a:gd name="T58" fmla="*/ 14 w 41"/>
                  <a:gd name="T59" fmla="*/ 2 h 45"/>
                  <a:gd name="T60" fmla="*/ 11 w 41"/>
                  <a:gd name="T61" fmla="*/ 2 h 45"/>
                  <a:gd name="T62" fmla="*/ 8 w 41"/>
                  <a:gd name="T63" fmla="*/ 4 h 45"/>
                  <a:gd name="T64" fmla="*/ 7 w 41"/>
                  <a:gd name="T65" fmla="*/ 5 h 45"/>
                  <a:gd name="T66" fmla="*/ 7 w 41"/>
                  <a:gd name="T67" fmla="*/ 7 h 45"/>
                  <a:gd name="T68" fmla="*/ 7 w 41"/>
                  <a:gd name="T69" fmla="*/ 8 h 45"/>
                  <a:gd name="T70" fmla="*/ 4 w 41"/>
                  <a:gd name="T71" fmla="*/ 12 h 45"/>
                  <a:gd name="T72" fmla="*/ 4 w 41"/>
                  <a:gd name="T73" fmla="*/ 15 h 45"/>
                  <a:gd name="T74" fmla="*/ 3 w 41"/>
                  <a:gd name="T75" fmla="*/ 17 h 45"/>
                  <a:gd name="T76" fmla="*/ 1 w 41"/>
                  <a:gd name="T77" fmla="*/ 17 h 45"/>
                  <a:gd name="T78" fmla="*/ 2 w 41"/>
                  <a:gd name="T79" fmla="*/ 19 h 45"/>
                  <a:gd name="T80" fmla="*/ 2 w 41"/>
                  <a:gd name="T81" fmla="*/ 22 h 45"/>
                  <a:gd name="T82" fmla="*/ 1 w 41"/>
                  <a:gd name="T83" fmla="*/ 25 h 45"/>
                  <a:gd name="T84" fmla="*/ 1 w 41"/>
                  <a:gd name="T85" fmla="*/ 27 h 45"/>
                  <a:gd name="T86" fmla="*/ 4 w 41"/>
                  <a:gd name="T87" fmla="*/ 29 h 45"/>
                  <a:gd name="T88" fmla="*/ 6 w 41"/>
                  <a:gd name="T89" fmla="*/ 28 h 45"/>
                  <a:gd name="T90" fmla="*/ 8 w 41"/>
                  <a:gd name="T91" fmla="*/ 26 h 45"/>
                  <a:gd name="T92" fmla="*/ 7 w 41"/>
                  <a:gd name="T93" fmla="*/ 28 h 45"/>
                  <a:gd name="T94" fmla="*/ 7 w 41"/>
                  <a:gd name="T95" fmla="*/ 29 h 45"/>
                  <a:gd name="T96" fmla="*/ 8 w 41"/>
                  <a:gd name="T97" fmla="*/ 27 h 45"/>
                  <a:gd name="T98" fmla="*/ 9 w 41"/>
                  <a:gd name="T99" fmla="*/ 25 h 45"/>
                  <a:gd name="T100" fmla="*/ 10 w 41"/>
                  <a:gd name="T101" fmla="*/ 23 h 45"/>
                  <a:gd name="T102" fmla="*/ 9 w 41"/>
                  <a:gd name="T103" fmla="*/ 25 h 45"/>
                  <a:gd name="T104" fmla="*/ 9 w 41"/>
                  <a:gd name="T105" fmla="*/ 28 h 45"/>
                  <a:gd name="T106" fmla="*/ 8 w 41"/>
                  <a:gd name="T107" fmla="*/ 31 h 45"/>
                  <a:gd name="T108" fmla="*/ 7 w 41"/>
                  <a:gd name="T109" fmla="*/ 33 h 45"/>
                  <a:gd name="T110" fmla="*/ 6 w 41"/>
                  <a:gd name="T111" fmla="*/ 34 h 45"/>
                  <a:gd name="T112" fmla="*/ 5 w 41"/>
                  <a:gd name="T113"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 h="45">
                    <a:moveTo>
                      <a:pt x="6" y="36"/>
                    </a:moveTo>
                    <a:cubicBezTo>
                      <a:pt x="6" y="37"/>
                      <a:pt x="6" y="37"/>
                      <a:pt x="6" y="37"/>
                    </a:cubicBezTo>
                    <a:cubicBezTo>
                      <a:pt x="6" y="37"/>
                      <a:pt x="6" y="38"/>
                      <a:pt x="6" y="38"/>
                    </a:cubicBezTo>
                    <a:cubicBezTo>
                      <a:pt x="6" y="38"/>
                      <a:pt x="5" y="38"/>
                      <a:pt x="5" y="38"/>
                    </a:cubicBezTo>
                    <a:cubicBezTo>
                      <a:pt x="5" y="38"/>
                      <a:pt x="4" y="38"/>
                      <a:pt x="4" y="38"/>
                    </a:cubicBezTo>
                    <a:cubicBezTo>
                      <a:pt x="4" y="39"/>
                      <a:pt x="4" y="39"/>
                      <a:pt x="4" y="39"/>
                    </a:cubicBezTo>
                    <a:cubicBezTo>
                      <a:pt x="4" y="39"/>
                      <a:pt x="4" y="39"/>
                      <a:pt x="4" y="39"/>
                    </a:cubicBezTo>
                    <a:cubicBezTo>
                      <a:pt x="4" y="39"/>
                      <a:pt x="4" y="39"/>
                      <a:pt x="4" y="39"/>
                    </a:cubicBezTo>
                    <a:cubicBezTo>
                      <a:pt x="5" y="40"/>
                      <a:pt x="5" y="40"/>
                      <a:pt x="5" y="40"/>
                    </a:cubicBezTo>
                    <a:cubicBezTo>
                      <a:pt x="4" y="40"/>
                      <a:pt x="4" y="40"/>
                      <a:pt x="4" y="40"/>
                    </a:cubicBezTo>
                    <a:cubicBezTo>
                      <a:pt x="4" y="41"/>
                      <a:pt x="4" y="41"/>
                      <a:pt x="4" y="41"/>
                    </a:cubicBezTo>
                    <a:cubicBezTo>
                      <a:pt x="4" y="41"/>
                      <a:pt x="4" y="41"/>
                      <a:pt x="4" y="41"/>
                    </a:cubicBezTo>
                    <a:cubicBezTo>
                      <a:pt x="4" y="41"/>
                      <a:pt x="4" y="41"/>
                      <a:pt x="4" y="41"/>
                    </a:cubicBezTo>
                    <a:cubicBezTo>
                      <a:pt x="5" y="41"/>
                      <a:pt x="5" y="41"/>
                      <a:pt x="5" y="41"/>
                    </a:cubicBezTo>
                    <a:cubicBezTo>
                      <a:pt x="5" y="41"/>
                      <a:pt x="6" y="40"/>
                      <a:pt x="6" y="40"/>
                    </a:cubicBezTo>
                    <a:cubicBezTo>
                      <a:pt x="6" y="40"/>
                      <a:pt x="7" y="41"/>
                      <a:pt x="7" y="41"/>
                    </a:cubicBezTo>
                    <a:cubicBezTo>
                      <a:pt x="7" y="41"/>
                      <a:pt x="8" y="41"/>
                      <a:pt x="8" y="41"/>
                    </a:cubicBezTo>
                    <a:cubicBezTo>
                      <a:pt x="8" y="41"/>
                      <a:pt x="9" y="41"/>
                      <a:pt x="9" y="41"/>
                    </a:cubicBezTo>
                    <a:cubicBezTo>
                      <a:pt x="9" y="41"/>
                      <a:pt x="10" y="41"/>
                      <a:pt x="10" y="41"/>
                    </a:cubicBezTo>
                    <a:cubicBezTo>
                      <a:pt x="10" y="42"/>
                      <a:pt x="11" y="42"/>
                      <a:pt x="11" y="42"/>
                    </a:cubicBezTo>
                    <a:cubicBezTo>
                      <a:pt x="11" y="42"/>
                      <a:pt x="11" y="43"/>
                      <a:pt x="11" y="43"/>
                    </a:cubicBezTo>
                    <a:cubicBezTo>
                      <a:pt x="11" y="43"/>
                      <a:pt x="11" y="44"/>
                      <a:pt x="11" y="44"/>
                    </a:cubicBezTo>
                    <a:cubicBezTo>
                      <a:pt x="11" y="44"/>
                      <a:pt x="12" y="45"/>
                      <a:pt x="12" y="45"/>
                    </a:cubicBezTo>
                    <a:cubicBezTo>
                      <a:pt x="12" y="45"/>
                      <a:pt x="13" y="45"/>
                      <a:pt x="13" y="45"/>
                    </a:cubicBezTo>
                    <a:cubicBezTo>
                      <a:pt x="13" y="45"/>
                      <a:pt x="14" y="45"/>
                      <a:pt x="14" y="45"/>
                    </a:cubicBezTo>
                    <a:cubicBezTo>
                      <a:pt x="14" y="45"/>
                      <a:pt x="14" y="45"/>
                      <a:pt x="14" y="45"/>
                    </a:cubicBezTo>
                    <a:cubicBezTo>
                      <a:pt x="14" y="45"/>
                      <a:pt x="14" y="45"/>
                      <a:pt x="14" y="45"/>
                    </a:cubicBezTo>
                    <a:cubicBezTo>
                      <a:pt x="14" y="45"/>
                      <a:pt x="15" y="44"/>
                      <a:pt x="15" y="44"/>
                    </a:cubicBezTo>
                    <a:cubicBezTo>
                      <a:pt x="15" y="44"/>
                      <a:pt x="15" y="43"/>
                      <a:pt x="15" y="43"/>
                    </a:cubicBezTo>
                    <a:cubicBezTo>
                      <a:pt x="15" y="43"/>
                      <a:pt x="16" y="43"/>
                      <a:pt x="16" y="43"/>
                    </a:cubicBezTo>
                    <a:cubicBezTo>
                      <a:pt x="16" y="43"/>
                      <a:pt x="17" y="42"/>
                      <a:pt x="17" y="42"/>
                    </a:cubicBezTo>
                    <a:cubicBezTo>
                      <a:pt x="17" y="42"/>
                      <a:pt x="17" y="41"/>
                      <a:pt x="17" y="41"/>
                    </a:cubicBezTo>
                    <a:cubicBezTo>
                      <a:pt x="17" y="41"/>
                      <a:pt x="17" y="41"/>
                      <a:pt x="17" y="40"/>
                    </a:cubicBezTo>
                    <a:cubicBezTo>
                      <a:pt x="17" y="40"/>
                      <a:pt x="16" y="40"/>
                      <a:pt x="17" y="40"/>
                    </a:cubicBezTo>
                    <a:cubicBezTo>
                      <a:pt x="17" y="40"/>
                      <a:pt x="17" y="39"/>
                      <a:pt x="17" y="39"/>
                    </a:cubicBezTo>
                    <a:cubicBezTo>
                      <a:pt x="17" y="39"/>
                      <a:pt x="17" y="38"/>
                      <a:pt x="17" y="38"/>
                    </a:cubicBezTo>
                    <a:cubicBezTo>
                      <a:pt x="17" y="38"/>
                      <a:pt x="18" y="37"/>
                      <a:pt x="18" y="37"/>
                    </a:cubicBezTo>
                    <a:cubicBezTo>
                      <a:pt x="18" y="37"/>
                      <a:pt x="18" y="37"/>
                      <a:pt x="18" y="36"/>
                    </a:cubicBezTo>
                    <a:cubicBezTo>
                      <a:pt x="18" y="36"/>
                      <a:pt x="18" y="35"/>
                      <a:pt x="18" y="35"/>
                    </a:cubicBezTo>
                    <a:cubicBezTo>
                      <a:pt x="18" y="35"/>
                      <a:pt x="19" y="34"/>
                      <a:pt x="19" y="34"/>
                    </a:cubicBezTo>
                    <a:cubicBezTo>
                      <a:pt x="19" y="34"/>
                      <a:pt x="19" y="34"/>
                      <a:pt x="19" y="34"/>
                    </a:cubicBezTo>
                    <a:cubicBezTo>
                      <a:pt x="19" y="34"/>
                      <a:pt x="20" y="34"/>
                      <a:pt x="20" y="34"/>
                    </a:cubicBezTo>
                    <a:cubicBezTo>
                      <a:pt x="20" y="35"/>
                      <a:pt x="20" y="35"/>
                      <a:pt x="20" y="35"/>
                    </a:cubicBezTo>
                    <a:cubicBezTo>
                      <a:pt x="20" y="34"/>
                      <a:pt x="20" y="34"/>
                      <a:pt x="20" y="34"/>
                    </a:cubicBezTo>
                    <a:cubicBezTo>
                      <a:pt x="20" y="33"/>
                      <a:pt x="20" y="33"/>
                      <a:pt x="20" y="33"/>
                    </a:cubicBezTo>
                    <a:cubicBezTo>
                      <a:pt x="22" y="31"/>
                      <a:pt x="22" y="31"/>
                      <a:pt x="22" y="31"/>
                    </a:cubicBezTo>
                    <a:cubicBezTo>
                      <a:pt x="27" y="30"/>
                      <a:pt x="27" y="30"/>
                      <a:pt x="27" y="30"/>
                    </a:cubicBezTo>
                    <a:cubicBezTo>
                      <a:pt x="31" y="28"/>
                      <a:pt x="31" y="28"/>
                      <a:pt x="31" y="28"/>
                    </a:cubicBezTo>
                    <a:cubicBezTo>
                      <a:pt x="35" y="25"/>
                      <a:pt x="35" y="25"/>
                      <a:pt x="35" y="25"/>
                    </a:cubicBezTo>
                    <a:cubicBezTo>
                      <a:pt x="38" y="21"/>
                      <a:pt x="38" y="21"/>
                      <a:pt x="38" y="21"/>
                    </a:cubicBezTo>
                    <a:cubicBezTo>
                      <a:pt x="40" y="16"/>
                      <a:pt x="40" y="16"/>
                      <a:pt x="40" y="16"/>
                    </a:cubicBezTo>
                    <a:cubicBezTo>
                      <a:pt x="40" y="16"/>
                      <a:pt x="40" y="17"/>
                      <a:pt x="40" y="17"/>
                    </a:cubicBezTo>
                    <a:cubicBezTo>
                      <a:pt x="40" y="17"/>
                      <a:pt x="41" y="17"/>
                      <a:pt x="41" y="17"/>
                    </a:cubicBezTo>
                    <a:cubicBezTo>
                      <a:pt x="41" y="16"/>
                      <a:pt x="41" y="16"/>
                      <a:pt x="41" y="16"/>
                    </a:cubicBezTo>
                    <a:cubicBezTo>
                      <a:pt x="40" y="15"/>
                      <a:pt x="40" y="15"/>
                      <a:pt x="40" y="15"/>
                    </a:cubicBezTo>
                    <a:cubicBezTo>
                      <a:pt x="41" y="14"/>
                      <a:pt x="41" y="14"/>
                      <a:pt x="41" y="14"/>
                    </a:cubicBezTo>
                    <a:cubicBezTo>
                      <a:pt x="41" y="14"/>
                      <a:pt x="40" y="13"/>
                      <a:pt x="40" y="13"/>
                    </a:cubicBezTo>
                    <a:cubicBezTo>
                      <a:pt x="39" y="13"/>
                      <a:pt x="39" y="12"/>
                      <a:pt x="39" y="12"/>
                    </a:cubicBezTo>
                    <a:cubicBezTo>
                      <a:pt x="39" y="12"/>
                      <a:pt x="38" y="11"/>
                      <a:pt x="38" y="11"/>
                    </a:cubicBezTo>
                    <a:cubicBezTo>
                      <a:pt x="38" y="11"/>
                      <a:pt x="38" y="11"/>
                      <a:pt x="38" y="11"/>
                    </a:cubicBezTo>
                    <a:cubicBezTo>
                      <a:pt x="39" y="11"/>
                      <a:pt x="39" y="11"/>
                      <a:pt x="39" y="11"/>
                    </a:cubicBezTo>
                    <a:cubicBezTo>
                      <a:pt x="39" y="11"/>
                      <a:pt x="39" y="11"/>
                      <a:pt x="39" y="11"/>
                    </a:cubicBezTo>
                    <a:cubicBezTo>
                      <a:pt x="40" y="11"/>
                      <a:pt x="40" y="11"/>
                      <a:pt x="40" y="11"/>
                    </a:cubicBezTo>
                    <a:cubicBezTo>
                      <a:pt x="40" y="11"/>
                      <a:pt x="38" y="10"/>
                      <a:pt x="38" y="10"/>
                    </a:cubicBezTo>
                    <a:cubicBezTo>
                      <a:pt x="38" y="10"/>
                      <a:pt x="37" y="10"/>
                      <a:pt x="37" y="10"/>
                    </a:cubicBezTo>
                    <a:cubicBezTo>
                      <a:pt x="37" y="10"/>
                      <a:pt x="36" y="9"/>
                      <a:pt x="36" y="9"/>
                    </a:cubicBezTo>
                    <a:cubicBezTo>
                      <a:pt x="36" y="8"/>
                      <a:pt x="34" y="7"/>
                      <a:pt x="34" y="7"/>
                    </a:cubicBezTo>
                    <a:cubicBezTo>
                      <a:pt x="34" y="7"/>
                      <a:pt x="33" y="7"/>
                      <a:pt x="33" y="7"/>
                    </a:cubicBezTo>
                    <a:cubicBezTo>
                      <a:pt x="33" y="7"/>
                      <a:pt x="32" y="7"/>
                      <a:pt x="32" y="7"/>
                    </a:cubicBezTo>
                    <a:cubicBezTo>
                      <a:pt x="32" y="7"/>
                      <a:pt x="32" y="8"/>
                      <a:pt x="32" y="8"/>
                    </a:cubicBezTo>
                    <a:cubicBezTo>
                      <a:pt x="32" y="8"/>
                      <a:pt x="31" y="8"/>
                      <a:pt x="31" y="8"/>
                    </a:cubicBezTo>
                    <a:cubicBezTo>
                      <a:pt x="31" y="8"/>
                      <a:pt x="30" y="8"/>
                      <a:pt x="30" y="8"/>
                    </a:cubicBezTo>
                    <a:cubicBezTo>
                      <a:pt x="28" y="8"/>
                      <a:pt x="28" y="8"/>
                      <a:pt x="28" y="8"/>
                    </a:cubicBezTo>
                    <a:cubicBezTo>
                      <a:pt x="27" y="7"/>
                      <a:pt x="27" y="7"/>
                      <a:pt x="27" y="7"/>
                    </a:cubicBezTo>
                    <a:cubicBezTo>
                      <a:pt x="27" y="7"/>
                      <a:pt x="25" y="7"/>
                      <a:pt x="25" y="7"/>
                    </a:cubicBezTo>
                    <a:cubicBezTo>
                      <a:pt x="25" y="7"/>
                      <a:pt x="25" y="7"/>
                      <a:pt x="25" y="7"/>
                    </a:cubicBezTo>
                    <a:cubicBezTo>
                      <a:pt x="25" y="6"/>
                      <a:pt x="25" y="6"/>
                      <a:pt x="25" y="5"/>
                    </a:cubicBezTo>
                    <a:cubicBezTo>
                      <a:pt x="25" y="5"/>
                      <a:pt x="24" y="5"/>
                      <a:pt x="24" y="5"/>
                    </a:cubicBezTo>
                    <a:cubicBezTo>
                      <a:pt x="24" y="5"/>
                      <a:pt x="23" y="5"/>
                      <a:pt x="23" y="4"/>
                    </a:cubicBezTo>
                    <a:cubicBezTo>
                      <a:pt x="23" y="4"/>
                      <a:pt x="24" y="4"/>
                      <a:pt x="24" y="4"/>
                    </a:cubicBezTo>
                    <a:cubicBezTo>
                      <a:pt x="23" y="4"/>
                      <a:pt x="21" y="4"/>
                      <a:pt x="21" y="4"/>
                    </a:cubicBezTo>
                    <a:cubicBezTo>
                      <a:pt x="21" y="4"/>
                      <a:pt x="20" y="4"/>
                      <a:pt x="20" y="3"/>
                    </a:cubicBezTo>
                    <a:cubicBezTo>
                      <a:pt x="20" y="3"/>
                      <a:pt x="19" y="2"/>
                      <a:pt x="19" y="2"/>
                    </a:cubicBezTo>
                    <a:cubicBezTo>
                      <a:pt x="19" y="2"/>
                      <a:pt x="19" y="2"/>
                      <a:pt x="19" y="2"/>
                    </a:cubicBezTo>
                    <a:cubicBezTo>
                      <a:pt x="18" y="2"/>
                      <a:pt x="18" y="2"/>
                      <a:pt x="18" y="2"/>
                    </a:cubicBezTo>
                    <a:cubicBezTo>
                      <a:pt x="18" y="2"/>
                      <a:pt x="17" y="2"/>
                      <a:pt x="17" y="1"/>
                    </a:cubicBezTo>
                    <a:cubicBezTo>
                      <a:pt x="17" y="1"/>
                      <a:pt x="16" y="0"/>
                      <a:pt x="16" y="0"/>
                    </a:cubicBezTo>
                    <a:cubicBezTo>
                      <a:pt x="16" y="0"/>
                      <a:pt x="16" y="0"/>
                      <a:pt x="15" y="0"/>
                    </a:cubicBezTo>
                    <a:cubicBezTo>
                      <a:pt x="15" y="0"/>
                      <a:pt x="15" y="1"/>
                      <a:pt x="15" y="1"/>
                    </a:cubicBezTo>
                    <a:cubicBezTo>
                      <a:pt x="15" y="1"/>
                      <a:pt x="14" y="2"/>
                      <a:pt x="14" y="2"/>
                    </a:cubicBezTo>
                    <a:cubicBezTo>
                      <a:pt x="14" y="2"/>
                      <a:pt x="14" y="2"/>
                      <a:pt x="13" y="2"/>
                    </a:cubicBezTo>
                    <a:cubicBezTo>
                      <a:pt x="13" y="2"/>
                      <a:pt x="13" y="2"/>
                      <a:pt x="13" y="2"/>
                    </a:cubicBezTo>
                    <a:cubicBezTo>
                      <a:pt x="12" y="2"/>
                      <a:pt x="12" y="2"/>
                      <a:pt x="11" y="2"/>
                    </a:cubicBezTo>
                    <a:cubicBezTo>
                      <a:pt x="11" y="2"/>
                      <a:pt x="10" y="3"/>
                      <a:pt x="10" y="3"/>
                    </a:cubicBezTo>
                    <a:cubicBezTo>
                      <a:pt x="10" y="3"/>
                      <a:pt x="9" y="3"/>
                      <a:pt x="9" y="3"/>
                    </a:cubicBezTo>
                    <a:cubicBezTo>
                      <a:pt x="9" y="3"/>
                      <a:pt x="8" y="4"/>
                      <a:pt x="8" y="4"/>
                    </a:cubicBezTo>
                    <a:cubicBezTo>
                      <a:pt x="8" y="4"/>
                      <a:pt x="8" y="4"/>
                      <a:pt x="8" y="4"/>
                    </a:cubicBezTo>
                    <a:cubicBezTo>
                      <a:pt x="8" y="4"/>
                      <a:pt x="7" y="4"/>
                      <a:pt x="7" y="4"/>
                    </a:cubicBezTo>
                    <a:cubicBezTo>
                      <a:pt x="7" y="4"/>
                      <a:pt x="6" y="5"/>
                      <a:pt x="7" y="5"/>
                    </a:cubicBezTo>
                    <a:cubicBezTo>
                      <a:pt x="7" y="5"/>
                      <a:pt x="7" y="6"/>
                      <a:pt x="7" y="6"/>
                    </a:cubicBezTo>
                    <a:cubicBezTo>
                      <a:pt x="7" y="6"/>
                      <a:pt x="7" y="6"/>
                      <a:pt x="7" y="6"/>
                    </a:cubicBezTo>
                    <a:cubicBezTo>
                      <a:pt x="7" y="6"/>
                      <a:pt x="7" y="6"/>
                      <a:pt x="7" y="7"/>
                    </a:cubicBezTo>
                    <a:cubicBezTo>
                      <a:pt x="7" y="7"/>
                      <a:pt x="7" y="7"/>
                      <a:pt x="7" y="7"/>
                    </a:cubicBezTo>
                    <a:cubicBezTo>
                      <a:pt x="7" y="7"/>
                      <a:pt x="7" y="8"/>
                      <a:pt x="7" y="8"/>
                    </a:cubicBezTo>
                    <a:cubicBezTo>
                      <a:pt x="7" y="8"/>
                      <a:pt x="7" y="8"/>
                      <a:pt x="7" y="8"/>
                    </a:cubicBezTo>
                    <a:cubicBezTo>
                      <a:pt x="7" y="9"/>
                      <a:pt x="7" y="10"/>
                      <a:pt x="7" y="10"/>
                    </a:cubicBezTo>
                    <a:cubicBezTo>
                      <a:pt x="7" y="10"/>
                      <a:pt x="5" y="11"/>
                      <a:pt x="5" y="11"/>
                    </a:cubicBezTo>
                    <a:cubicBezTo>
                      <a:pt x="5" y="11"/>
                      <a:pt x="4" y="12"/>
                      <a:pt x="4" y="12"/>
                    </a:cubicBezTo>
                    <a:cubicBezTo>
                      <a:pt x="4" y="12"/>
                      <a:pt x="3" y="13"/>
                      <a:pt x="4" y="13"/>
                    </a:cubicBezTo>
                    <a:cubicBezTo>
                      <a:pt x="4" y="13"/>
                      <a:pt x="4" y="14"/>
                      <a:pt x="4" y="14"/>
                    </a:cubicBezTo>
                    <a:cubicBezTo>
                      <a:pt x="4" y="14"/>
                      <a:pt x="4" y="15"/>
                      <a:pt x="4" y="15"/>
                    </a:cubicBezTo>
                    <a:cubicBezTo>
                      <a:pt x="4" y="15"/>
                      <a:pt x="3" y="15"/>
                      <a:pt x="3" y="16"/>
                    </a:cubicBezTo>
                    <a:cubicBezTo>
                      <a:pt x="3" y="16"/>
                      <a:pt x="3" y="16"/>
                      <a:pt x="3" y="17"/>
                    </a:cubicBezTo>
                    <a:cubicBezTo>
                      <a:pt x="3" y="17"/>
                      <a:pt x="3" y="17"/>
                      <a:pt x="3" y="17"/>
                    </a:cubicBezTo>
                    <a:cubicBezTo>
                      <a:pt x="3" y="17"/>
                      <a:pt x="2" y="17"/>
                      <a:pt x="2" y="17"/>
                    </a:cubicBezTo>
                    <a:cubicBezTo>
                      <a:pt x="2" y="17"/>
                      <a:pt x="1" y="16"/>
                      <a:pt x="1" y="17"/>
                    </a:cubicBezTo>
                    <a:cubicBezTo>
                      <a:pt x="1" y="17"/>
                      <a:pt x="1" y="17"/>
                      <a:pt x="1" y="17"/>
                    </a:cubicBezTo>
                    <a:cubicBezTo>
                      <a:pt x="1" y="17"/>
                      <a:pt x="1" y="17"/>
                      <a:pt x="1" y="18"/>
                    </a:cubicBezTo>
                    <a:cubicBezTo>
                      <a:pt x="1" y="18"/>
                      <a:pt x="1" y="18"/>
                      <a:pt x="1" y="18"/>
                    </a:cubicBezTo>
                    <a:cubicBezTo>
                      <a:pt x="1" y="19"/>
                      <a:pt x="2" y="19"/>
                      <a:pt x="2" y="19"/>
                    </a:cubicBezTo>
                    <a:cubicBezTo>
                      <a:pt x="2" y="19"/>
                      <a:pt x="2" y="20"/>
                      <a:pt x="1" y="20"/>
                    </a:cubicBezTo>
                    <a:cubicBezTo>
                      <a:pt x="1" y="21"/>
                      <a:pt x="1" y="21"/>
                      <a:pt x="1" y="21"/>
                    </a:cubicBezTo>
                    <a:cubicBezTo>
                      <a:pt x="1" y="22"/>
                      <a:pt x="1" y="22"/>
                      <a:pt x="2" y="22"/>
                    </a:cubicBezTo>
                    <a:cubicBezTo>
                      <a:pt x="2" y="23"/>
                      <a:pt x="2" y="24"/>
                      <a:pt x="2" y="24"/>
                    </a:cubicBezTo>
                    <a:cubicBezTo>
                      <a:pt x="2" y="25"/>
                      <a:pt x="1" y="25"/>
                      <a:pt x="1" y="25"/>
                    </a:cubicBezTo>
                    <a:cubicBezTo>
                      <a:pt x="1" y="25"/>
                      <a:pt x="1" y="26"/>
                      <a:pt x="1" y="25"/>
                    </a:cubicBezTo>
                    <a:cubicBezTo>
                      <a:pt x="0" y="25"/>
                      <a:pt x="0" y="25"/>
                      <a:pt x="0" y="25"/>
                    </a:cubicBezTo>
                    <a:cubicBezTo>
                      <a:pt x="0" y="25"/>
                      <a:pt x="0" y="26"/>
                      <a:pt x="1" y="26"/>
                    </a:cubicBezTo>
                    <a:cubicBezTo>
                      <a:pt x="1" y="26"/>
                      <a:pt x="1" y="27"/>
                      <a:pt x="1" y="27"/>
                    </a:cubicBezTo>
                    <a:cubicBezTo>
                      <a:pt x="1" y="27"/>
                      <a:pt x="2" y="27"/>
                      <a:pt x="2" y="27"/>
                    </a:cubicBezTo>
                    <a:cubicBezTo>
                      <a:pt x="3" y="27"/>
                      <a:pt x="3" y="28"/>
                      <a:pt x="3" y="28"/>
                    </a:cubicBezTo>
                    <a:cubicBezTo>
                      <a:pt x="4" y="28"/>
                      <a:pt x="4" y="29"/>
                      <a:pt x="4" y="29"/>
                    </a:cubicBezTo>
                    <a:cubicBezTo>
                      <a:pt x="4" y="29"/>
                      <a:pt x="5" y="29"/>
                      <a:pt x="5" y="29"/>
                    </a:cubicBezTo>
                    <a:cubicBezTo>
                      <a:pt x="5" y="29"/>
                      <a:pt x="5" y="29"/>
                      <a:pt x="5" y="29"/>
                    </a:cubicBezTo>
                    <a:cubicBezTo>
                      <a:pt x="5" y="29"/>
                      <a:pt x="6" y="28"/>
                      <a:pt x="6" y="28"/>
                    </a:cubicBezTo>
                    <a:cubicBezTo>
                      <a:pt x="6" y="28"/>
                      <a:pt x="6" y="28"/>
                      <a:pt x="7" y="28"/>
                    </a:cubicBezTo>
                    <a:cubicBezTo>
                      <a:pt x="7" y="27"/>
                      <a:pt x="7" y="27"/>
                      <a:pt x="7" y="27"/>
                    </a:cubicBezTo>
                    <a:cubicBezTo>
                      <a:pt x="7" y="26"/>
                      <a:pt x="8" y="26"/>
                      <a:pt x="8" y="26"/>
                    </a:cubicBezTo>
                    <a:cubicBezTo>
                      <a:pt x="8" y="26"/>
                      <a:pt x="8" y="26"/>
                      <a:pt x="8" y="27"/>
                    </a:cubicBezTo>
                    <a:cubicBezTo>
                      <a:pt x="7" y="27"/>
                      <a:pt x="7" y="27"/>
                      <a:pt x="7" y="27"/>
                    </a:cubicBezTo>
                    <a:cubicBezTo>
                      <a:pt x="7" y="27"/>
                      <a:pt x="7" y="27"/>
                      <a:pt x="7" y="28"/>
                    </a:cubicBezTo>
                    <a:cubicBezTo>
                      <a:pt x="7" y="28"/>
                      <a:pt x="7" y="28"/>
                      <a:pt x="7" y="28"/>
                    </a:cubicBezTo>
                    <a:cubicBezTo>
                      <a:pt x="7" y="28"/>
                      <a:pt x="7" y="28"/>
                      <a:pt x="7" y="28"/>
                    </a:cubicBezTo>
                    <a:cubicBezTo>
                      <a:pt x="7" y="28"/>
                      <a:pt x="7" y="29"/>
                      <a:pt x="7" y="29"/>
                    </a:cubicBezTo>
                    <a:cubicBezTo>
                      <a:pt x="7" y="29"/>
                      <a:pt x="8" y="29"/>
                      <a:pt x="8" y="29"/>
                    </a:cubicBezTo>
                    <a:cubicBezTo>
                      <a:pt x="8" y="28"/>
                      <a:pt x="8" y="28"/>
                      <a:pt x="8" y="28"/>
                    </a:cubicBezTo>
                    <a:cubicBezTo>
                      <a:pt x="8" y="28"/>
                      <a:pt x="8" y="27"/>
                      <a:pt x="8" y="27"/>
                    </a:cubicBezTo>
                    <a:cubicBezTo>
                      <a:pt x="8" y="27"/>
                      <a:pt x="8" y="26"/>
                      <a:pt x="8" y="26"/>
                    </a:cubicBezTo>
                    <a:cubicBezTo>
                      <a:pt x="8" y="26"/>
                      <a:pt x="8" y="25"/>
                      <a:pt x="8" y="25"/>
                    </a:cubicBezTo>
                    <a:cubicBezTo>
                      <a:pt x="8" y="25"/>
                      <a:pt x="8" y="25"/>
                      <a:pt x="9" y="25"/>
                    </a:cubicBezTo>
                    <a:cubicBezTo>
                      <a:pt x="9" y="24"/>
                      <a:pt x="9" y="24"/>
                      <a:pt x="9" y="24"/>
                    </a:cubicBezTo>
                    <a:cubicBezTo>
                      <a:pt x="9" y="24"/>
                      <a:pt x="10" y="23"/>
                      <a:pt x="10" y="23"/>
                    </a:cubicBezTo>
                    <a:cubicBezTo>
                      <a:pt x="10" y="23"/>
                      <a:pt x="10" y="23"/>
                      <a:pt x="10" y="23"/>
                    </a:cubicBezTo>
                    <a:cubicBezTo>
                      <a:pt x="10" y="23"/>
                      <a:pt x="10" y="24"/>
                      <a:pt x="10" y="24"/>
                    </a:cubicBezTo>
                    <a:cubicBezTo>
                      <a:pt x="10" y="24"/>
                      <a:pt x="9" y="25"/>
                      <a:pt x="9" y="25"/>
                    </a:cubicBezTo>
                    <a:cubicBezTo>
                      <a:pt x="9" y="25"/>
                      <a:pt x="9" y="25"/>
                      <a:pt x="9" y="25"/>
                    </a:cubicBezTo>
                    <a:cubicBezTo>
                      <a:pt x="9" y="26"/>
                      <a:pt x="9" y="26"/>
                      <a:pt x="9" y="26"/>
                    </a:cubicBezTo>
                    <a:cubicBezTo>
                      <a:pt x="9" y="27"/>
                      <a:pt x="9" y="27"/>
                      <a:pt x="9" y="27"/>
                    </a:cubicBezTo>
                    <a:cubicBezTo>
                      <a:pt x="9" y="27"/>
                      <a:pt x="9" y="28"/>
                      <a:pt x="9" y="28"/>
                    </a:cubicBezTo>
                    <a:cubicBezTo>
                      <a:pt x="9" y="28"/>
                      <a:pt x="9" y="29"/>
                      <a:pt x="9" y="29"/>
                    </a:cubicBezTo>
                    <a:cubicBezTo>
                      <a:pt x="9" y="30"/>
                      <a:pt x="9" y="30"/>
                      <a:pt x="9" y="30"/>
                    </a:cubicBezTo>
                    <a:cubicBezTo>
                      <a:pt x="9" y="30"/>
                      <a:pt x="8" y="31"/>
                      <a:pt x="8" y="31"/>
                    </a:cubicBezTo>
                    <a:cubicBezTo>
                      <a:pt x="8" y="31"/>
                      <a:pt x="8" y="32"/>
                      <a:pt x="8" y="32"/>
                    </a:cubicBezTo>
                    <a:cubicBezTo>
                      <a:pt x="8" y="32"/>
                      <a:pt x="8" y="33"/>
                      <a:pt x="7" y="33"/>
                    </a:cubicBezTo>
                    <a:cubicBezTo>
                      <a:pt x="7" y="33"/>
                      <a:pt x="7" y="33"/>
                      <a:pt x="7" y="33"/>
                    </a:cubicBezTo>
                    <a:cubicBezTo>
                      <a:pt x="6" y="33"/>
                      <a:pt x="6" y="34"/>
                      <a:pt x="6" y="34"/>
                    </a:cubicBezTo>
                    <a:cubicBezTo>
                      <a:pt x="6" y="34"/>
                      <a:pt x="5" y="34"/>
                      <a:pt x="5" y="34"/>
                    </a:cubicBezTo>
                    <a:cubicBezTo>
                      <a:pt x="6" y="34"/>
                      <a:pt x="6" y="34"/>
                      <a:pt x="6" y="34"/>
                    </a:cubicBezTo>
                    <a:cubicBezTo>
                      <a:pt x="6" y="34"/>
                      <a:pt x="6" y="34"/>
                      <a:pt x="6" y="34"/>
                    </a:cubicBezTo>
                    <a:cubicBezTo>
                      <a:pt x="6" y="34"/>
                      <a:pt x="6" y="34"/>
                      <a:pt x="6" y="34"/>
                    </a:cubicBezTo>
                    <a:cubicBezTo>
                      <a:pt x="6" y="34"/>
                      <a:pt x="6" y="34"/>
                      <a:pt x="5" y="34"/>
                    </a:cubicBezTo>
                    <a:cubicBezTo>
                      <a:pt x="6" y="36"/>
                      <a:pt x="6" y="36"/>
                      <a:pt x="6"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4" name="Freeform 691">
                <a:extLst>
                  <a:ext uri="{FF2B5EF4-FFF2-40B4-BE49-F238E27FC236}">
                    <a16:creationId xmlns:a16="http://schemas.microsoft.com/office/drawing/2014/main" id="{6B579A0C-9DA4-CCB7-9754-86B9CE70D918}"/>
                  </a:ext>
                </a:extLst>
              </p:cNvPr>
              <p:cNvSpPr>
                <a:spLocks noEditPoints="1"/>
              </p:cNvSpPr>
              <p:nvPr/>
            </p:nvSpPr>
            <p:spPr bwMode="auto">
              <a:xfrm>
                <a:off x="3270251" y="4713288"/>
                <a:ext cx="1152525" cy="1208088"/>
              </a:xfrm>
              <a:custGeom>
                <a:avLst/>
                <a:gdLst>
                  <a:gd name="T0" fmla="*/ 266 w 277"/>
                  <a:gd name="T1" fmla="*/ 110 h 290"/>
                  <a:gd name="T2" fmla="*/ 251 w 277"/>
                  <a:gd name="T3" fmla="*/ 129 h 290"/>
                  <a:gd name="T4" fmla="*/ 248 w 277"/>
                  <a:gd name="T5" fmla="*/ 136 h 290"/>
                  <a:gd name="T6" fmla="*/ 246 w 277"/>
                  <a:gd name="T7" fmla="*/ 158 h 290"/>
                  <a:gd name="T8" fmla="*/ 239 w 277"/>
                  <a:gd name="T9" fmla="*/ 180 h 290"/>
                  <a:gd name="T10" fmla="*/ 219 w 277"/>
                  <a:gd name="T11" fmla="*/ 204 h 290"/>
                  <a:gd name="T12" fmla="*/ 202 w 277"/>
                  <a:gd name="T13" fmla="*/ 210 h 290"/>
                  <a:gd name="T14" fmla="*/ 180 w 277"/>
                  <a:gd name="T15" fmla="*/ 223 h 290"/>
                  <a:gd name="T16" fmla="*/ 181 w 277"/>
                  <a:gd name="T17" fmla="*/ 238 h 290"/>
                  <a:gd name="T18" fmla="*/ 172 w 277"/>
                  <a:gd name="T19" fmla="*/ 254 h 290"/>
                  <a:gd name="T20" fmla="*/ 157 w 277"/>
                  <a:gd name="T21" fmla="*/ 274 h 290"/>
                  <a:gd name="T22" fmla="*/ 162 w 277"/>
                  <a:gd name="T23" fmla="*/ 261 h 290"/>
                  <a:gd name="T24" fmla="*/ 154 w 277"/>
                  <a:gd name="T25" fmla="*/ 276 h 290"/>
                  <a:gd name="T26" fmla="*/ 136 w 277"/>
                  <a:gd name="T27" fmla="*/ 271 h 290"/>
                  <a:gd name="T28" fmla="*/ 118 w 277"/>
                  <a:gd name="T29" fmla="*/ 258 h 290"/>
                  <a:gd name="T30" fmla="*/ 134 w 277"/>
                  <a:gd name="T31" fmla="*/ 241 h 290"/>
                  <a:gd name="T32" fmla="*/ 143 w 277"/>
                  <a:gd name="T33" fmla="*/ 231 h 290"/>
                  <a:gd name="T34" fmla="*/ 139 w 277"/>
                  <a:gd name="T35" fmla="*/ 213 h 290"/>
                  <a:gd name="T36" fmla="*/ 123 w 277"/>
                  <a:gd name="T37" fmla="*/ 198 h 290"/>
                  <a:gd name="T38" fmla="*/ 114 w 277"/>
                  <a:gd name="T39" fmla="*/ 187 h 290"/>
                  <a:gd name="T40" fmla="*/ 110 w 277"/>
                  <a:gd name="T41" fmla="*/ 157 h 290"/>
                  <a:gd name="T42" fmla="*/ 89 w 277"/>
                  <a:gd name="T43" fmla="*/ 133 h 290"/>
                  <a:gd name="T44" fmla="*/ 68 w 277"/>
                  <a:gd name="T45" fmla="*/ 125 h 290"/>
                  <a:gd name="T46" fmla="*/ 61 w 277"/>
                  <a:gd name="T47" fmla="*/ 106 h 290"/>
                  <a:gd name="T48" fmla="*/ 37 w 277"/>
                  <a:gd name="T49" fmla="*/ 116 h 290"/>
                  <a:gd name="T50" fmla="*/ 6 w 277"/>
                  <a:gd name="T51" fmla="*/ 104 h 290"/>
                  <a:gd name="T52" fmla="*/ 6 w 277"/>
                  <a:gd name="T53" fmla="*/ 81 h 290"/>
                  <a:gd name="T54" fmla="*/ 26 w 277"/>
                  <a:gd name="T55" fmla="*/ 66 h 290"/>
                  <a:gd name="T56" fmla="*/ 32 w 277"/>
                  <a:gd name="T57" fmla="*/ 32 h 290"/>
                  <a:gd name="T58" fmla="*/ 42 w 277"/>
                  <a:gd name="T59" fmla="*/ 24 h 290"/>
                  <a:gd name="T60" fmla="*/ 60 w 277"/>
                  <a:gd name="T61" fmla="*/ 30 h 290"/>
                  <a:gd name="T62" fmla="*/ 74 w 277"/>
                  <a:gd name="T63" fmla="*/ 22 h 290"/>
                  <a:gd name="T64" fmla="*/ 74 w 277"/>
                  <a:gd name="T65" fmla="*/ 10 h 290"/>
                  <a:gd name="T66" fmla="*/ 89 w 277"/>
                  <a:gd name="T67" fmla="*/ 6 h 290"/>
                  <a:gd name="T68" fmla="*/ 102 w 277"/>
                  <a:gd name="T69" fmla="*/ 8 h 290"/>
                  <a:gd name="T70" fmla="*/ 112 w 277"/>
                  <a:gd name="T71" fmla="*/ 26 h 290"/>
                  <a:gd name="T72" fmla="*/ 134 w 277"/>
                  <a:gd name="T73" fmla="*/ 19 h 290"/>
                  <a:gd name="T74" fmla="*/ 159 w 277"/>
                  <a:gd name="T75" fmla="*/ 7 h 290"/>
                  <a:gd name="T76" fmla="*/ 170 w 277"/>
                  <a:gd name="T77" fmla="*/ 30 h 290"/>
                  <a:gd name="T78" fmla="*/ 159 w 277"/>
                  <a:gd name="T79" fmla="*/ 42 h 290"/>
                  <a:gd name="T80" fmla="*/ 139 w 277"/>
                  <a:gd name="T81" fmla="*/ 53 h 290"/>
                  <a:gd name="T82" fmla="*/ 126 w 277"/>
                  <a:gd name="T83" fmla="*/ 52 h 290"/>
                  <a:gd name="T84" fmla="*/ 122 w 277"/>
                  <a:gd name="T85" fmla="*/ 56 h 290"/>
                  <a:gd name="T86" fmla="*/ 134 w 277"/>
                  <a:gd name="T87" fmla="*/ 54 h 290"/>
                  <a:gd name="T88" fmla="*/ 144 w 277"/>
                  <a:gd name="T89" fmla="*/ 52 h 290"/>
                  <a:gd name="T90" fmla="*/ 156 w 277"/>
                  <a:gd name="T91" fmla="*/ 57 h 290"/>
                  <a:gd name="T92" fmla="*/ 163 w 277"/>
                  <a:gd name="T93" fmla="*/ 43 h 290"/>
                  <a:gd name="T94" fmla="*/ 179 w 277"/>
                  <a:gd name="T95" fmla="*/ 45 h 290"/>
                  <a:gd name="T96" fmla="*/ 173 w 277"/>
                  <a:gd name="T97" fmla="*/ 50 h 290"/>
                  <a:gd name="T98" fmla="*/ 179 w 277"/>
                  <a:gd name="T99" fmla="*/ 47 h 290"/>
                  <a:gd name="T100" fmla="*/ 184 w 277"/>
                  <a:gd name="T101" fmla="*/ 42 h 290"/>
                  <a:gd name="T102" fmla="*/ 191 w 277"/>
                  <a:gd name="T103" fmla="*/ 43 h 290"/>
                  <a:gd name="T104" fmla="*/ 203 w 277"/>
                  <a:gd name="T105" fmla="*/ 47 h 290"/>
                  <a:gd name="T106" fmla="*/ 209 w 277"/>
                  <a:gd name="T107" fmla="*/ 53 h 290"/>
                  <a:gd name="T108" fmla="*/ 211 w 277"/>
                  <a:gd name="T109" fmla="*/ 55 h 290"/>
                  <a:gd name="T110" fmla="*/ 222 w 277"/>
                  <a:gd name="T111" fmla="*/ 56 h 290"/>
                  <a:gd name="T112" fmla="*/ 251 w 277"/>
                  <a:gd name="T113" fmla="*/ 63 h 290"/>
                  <a:gd name="T114" fmla="*/ 276 w 277"/>
                  <a:gd name="T115" fmla="*/ 86 h 290"/>
                  <a:gd name="T116" fmla="*/ 169 w 277"/>
                  <a:gd name="T117" fmla="*/ 35 h 290"/>
                  <a:gd name="T118" fmla="*/ 173 w 277"/>
                  <a:gd name="T119" fmla="*/ 35 h 290"/>
                  <a:gd name="T120" fmla="*/ 163 w 277"/>
                  <a:gd name="T121" fmla="*/ 40 h 290"/>
                  <a:gd name="T122" fmla="*/ 166 w 277"/>
                  <a:gd name="T123" fmla="*/ 35 h 290"/>
                  <a:gd name="T124" fmla="*/ 167 w 277"/>
                  <a:gd name="T125" fmla="*/ 2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77" y="90"/>
                    </a:moveTo>
                    <a:cubicBezTo>
                      <a:pt x="277" y="90"/>
                      <a:pt x="277" y="90"/>
                      <a:pt x="277" y="90"/>
                    </a:cubicBezTo>
                    <a:cubicBezTo>
                      <a:pt x="277" y="90"/>
                      <a:pt x="277" y="90"/>
                      <a:pt x="277" y="91"/>
                    </a:cubicBezTo>
                    <a:cubicBezTo>
                      <a:pt x="277" y="92"/>
                      <a:pt x="277" y="92"/>
                      <a:pt x="277" y="92"/>
                    </a:cubicBezTo>
                    <a:cubicBezTo>
                      <a:pt x="277" y="92"/>
                      <a:pt x="277" y="92"/>
                      <a:pt x="277" y="92"/>
                    </a:cubicBezTo>
                    <a:cubicBezTo>
                      <a:pt x="277" y="92"/>
                      <a:pt x="277" y="93"/>
                      <a:pt x="277" y="93"/>
                    </a:cubicBezTo>
                    <a:cubicBezTo>
                      <a:pt x="277" y="93"/>
                      <a:pt x="277" y="94"/>
                      <a:pt x="277" y="94"/>
                    </a:cubicBezTo>
                    <a:cubicBezTo>
                      <a:pt x="276" y="94"/>
                      <a:pt x="276" y="94"/>
                      <a:pt x="276" y="94"/>
                    </a:cubicBezTo>
                    <a:cubicBezTo>
                      <a:pt x="276" y="95"/>
                      <a:pt x="276" y="95"/>
                      <a:pt x="276" y="95"/>
                    </a:cubicBezTo>
                    <a:cubicBezTo>
                      <a:pt x="276" y="96"/>
                      <a:pt x="276" y="96"/>
                      <a:pt x="276" y="96"/>
                    </a:cubicBezTo>
                    <a:cubicBezTo>
                      <a:pt x="276" y="96"/>
                      <a:pt x="276" y="97"/>
                      <a:pt x="276" y="97"/>
                    </a:cubicBezTo>
                    <a:cubicBezTo>
                      <a:pt x="275" y="97"/>
                      <a:pt x="275" y="98"/>
                      <a:pt x="275" y="98"/>
                    </a:cubicBezTo>
                    <a:cubicBezTo>
                      <a:pt x="275" y="98"/>
                      <a:pt x="275" y="99"/>
                      <a:pt x="275" y="99"/>
                    </a:cubicBezTo>
                    <a:cubicBezTo>
                      <a:pt x="275" y="99"/>
                      <a:pt x="275" y="100"/>
                      <a:pt x="274" y="100"/>
                    </a:cubicBezTo>
                    <a:cubicBezTo>
                      <a:pt x="274" y="100"/>
                      <a:pt x="274" y="101"/>
                      <a:pt x="274" y="101"/>
                    </a:cubicBezTo>
                    <a:cubicBezTo>
                      <a:pt x="274" y="101"/>
                      <a:pt x="274" y="102"/>
                      <a:pt x="273" y="102"/>
                    </a:cubicBezTo>
                    <a:cubicBezTo>
                      <a:pt x="273" y="102"/>
                      <a:pt x="273" y="103"/>
                      <a:pt x="273" y="103"/>
                    </a:cubicBezTo>
                    <a:cubicBezTo>
                      <a:pt x="273" y="103"/>
                      <a:pt x="272" y="103"/>
                      <a:pt x="272" y="103"/>
                    </a:cubicBezTo>
                    <a:cubicBezTo>
                      <a:pt x="272" y="103"/>
                      <a:pt x="272" y="104"/>
                      <a:pt x="272" y="104"/>
                    </a:cubicBezTo>
                    <a:cubicBezTo>
                      <a:pt x="272" y="104"/>
                      <a:pt x="271" y="104"/>
                      <a:pt x="271" y="105"/>
                    </a:cubicBezTo>
                    <a:cubicBezTo>
                      <a:pt x="271" y="105"/>
                      <a:pt x="271" y="106"/>
                      <a:pt x="271" y="106"/>
                    </a:cubicBezTo>
                    <a:cubicBezTo>
                      <a:pt x="271" y="106"/>
                      <a:pt x="270" y="106"/>
                      <a:pt x="270" y="106"/>
                    </a:cubicBezTo>
                    <a:cubicBezTo>
                      <a:pt x="270" y="106"/>
                      <a:pt x="269" y="107"/>
                      <a:pt x="269" y="108"/>
                    </a:cubicBezTo>
                    <a:cubicBezTo>
                      <a:pt x="269" y="108"/>
                      <a:pt x="268" y="109"/>
                      <a:pt x="268" y="109"/>
                    </a:cubicBezTo>
                    <a:cubicBezTo>
                      <a:pt x="268" y="109"/>
                      <a:pt x="267" y="110"/>
                      <a:pt x="266" y="110"/>
                    </a:cubicBezTo>
                    <a:cubicBezTo>
                      <a:pt x="266" y="111"/>
                      <a:pt x="266" y="111"/>
                      <a:pt x="266" y="111"/>
                    </a:cubicBezTo>
                    <a:cubicBezTo>
                      <a:pt x="266" y="111"/>
                      <a:pt x="266" y="111"/>
                      <a:pt x="266" y="112"/>
                    </a:cubicBezTo>
                    <a:cubicBezTo>
                      <a:pt x="265" y="112"/>
                      <a:pt x="265" y="112"/>
                      <a:pt x="265" y="112"/>
                    </a:cubicBezTo>
                    <a:cubicBezTo>
                      <a:pt x="265" y="112"/>
                      <a:pt x="264" y="112"/>
                      <a:pt x="264" y="112"/>
                    </a:cubicBezTo>
                    <a:cubicBezTo>
                      <a:pt x="264" y="112"/>
                      <a:pt x="263" y="113"/>
                      <a:pt x="263" y="113"/>
                    </a:cubicBezTo>
                    <a:cubicBezTo>
                      <a:pt x="263" y="113"/>
                      <a:pt x="262" y="114"/>
                      <a:pt x="262" y="114"/>
                    </a:cubicBezTo>
                    <a:cubicBezTo>
                      <a:pt x="262" y="114"/>
                      <a:pt x="261" y="114"/>
                      <a:pt x="261" y="114"/>
                    </a:cubicBezTo>
                    <a:cubicBezTo>
                      <a:pt x="261" y="114"/>
                      <a:pt x="261" y="114"/>
                      <a:pt x="261" y="114"/>
                    </a:cubicBezTo>
                    <a:cubicBezTo>
                      <a:pt x="261" y="114"/>
                      <a:pt x="261" y="115"/>
                      <a:pt x="261" y="115"/>
                    </a:cubicBezTo>
                    <a:cubicBezTo>
                      <a:pt x="261" y="115"/>
                      <a:pt x="261" y="115"/>
                      <a:pt x="261" y="115"/>
                    </a:cubicBezTo>
                    <a:cubicBezTo>
                      <a:pt x="261" y="116"/>
                      <a:pt x="260" y="116"/>
                      <a:pt x="260" y="116"/>
                    </a:cubicBezTo>
                    <a:cubicBezTo>
                      <a:pt x="260" y="116"/>
                      <a:pt x="260" y="117"/>
                      <a:pt x="260" y="117"/>
                    </a:cubicBezTo>
                    <a:cubicBezTo>
                      <a:pt x="260" y="117"/>
                      <a:pt x="259" y="118"/>
                      <a:pt x="259" y="118"/>
                    </a:cubicBezTo>
                    <a:cubicBezTo>
                      <a:pt x="259" y="118"/>
                      <a:pt x="259" y="118"/>
                      <a:pt x="259" y="118"/>
                    </a:cubicBezTo>
                    <a:cubicBezTo>
                      <a:pt x="259" y="118"/>
                      <a:pt x="259" y="118"/>
                      <a:pt x="259" y="118"/>
                    </a:cubicBezTo>
                    <a:cubicBezTo>
                      <a:pt x="259" y="118"/>
                      <a:pt x="258" y="120"/>
                      <a:pt x="258" y="120"/>
                    </a:cubicBezTo>
                    <a:cubicBezTo>
                      <a:pt x="258" y="120"/>
                      <a:pt x="258" y="121"/>
                      <a:pt x="258" y="121"/>
                    </a:cubicBezTo>
                    <a:cubicBezTo>
                      <a:pt x="257" y="121"/>
                      <a:pt x="256" y="123"/>
                      <a:pt x="256" y="123"/>
                    </a:cubicBezTo>
                    <a:cubicBezTo>
                      <a:pt x="256" y="124"/>
                      <a:pt x="255" y="125"/>
                      <a:pt x="255" y="125"/>
                    </a:cubicBezTo>
                    <a:cubicBezTo>
                      <a:pt x="255" y="126"/>
                      <a:pt x="254" y="127"/>
                      <a:pt x="254" y="127"/>
                    </a:cubicBezTo>
                    <a:cubicBezTo>
                      <a:pt x="254" y="127"/>
                      <a:pt x="253" y="128"/>
                      <a:pt x="253" y="128"/>
                    </a:cubicBezTo>
                    <a:cubicBezTo>
                      <a:pt x="253" y="128"/>
                      <a:pt x="252" y="129"/>
                      <a:pt x="251" y="130"/>
                    </a:cubicBezTo>
                    <a:cubicBezTo>
                      <a:pt x="251" y="130"/>
                      <a:pt x="251" y="130"/>
                      <a:pt x="251" y="130"/>
                    </a:cubicBezTo>
                    <a:cubicBezTo>
                      <a:pt x="251" y="129"/>
                      <a:pt x="251" y="129"/>
                      <a:pt x="251" y="129"/>
                    </a:cubicBezTo>
                    <a:cubicBezTo>
                      <a:pt x="250" y="129"/>
                      <a:pt x="251" y="129"/>
                      <a:pt x="251" y="129"/>
                    </a:cubicBezTo>
                    <a:cubicBezTo>
                      <a:pt x="251" y="129"/>
                      <a:pt x="251" y="128"/>
                      <a:pt x="251" y="128"/>
                    </a:cubicBezTo>
                    <a:cubicBezTo>
                      <a:pt x="251" y="128"/>
                      <a:pt x="251" y="128"/>
                      <a:pt x="251" y="128"/>
                    </a:cubicBezTo>
                    <a:cubicBezTo>
                      <a:pt x="251" y="128"/>
                      <a:pt x="251" y="127"/>
                      <a:pt x="251" y="127"/>
                    </a:cubicBezTo>
                    <a:cubicBezTo>
                      <a:pt x="251" y="127"/>
                      <a:pt x="251" y="128"/>
                      <a:pt x="251" y="128"/>
                    </a:cubicBezTo>
                    <a:cubicBezTo>
                      <a:pt x="250" y="128"/>
                      <a:pt x="250" y="128"/>
                      <a:pt x="250" y="128"/>
                    </a:cubicBezTo>
                    <a:cubicBezTo>
                      <a:pt x="250" y="128"/>
                      <a:pt x="250" y="127"/>
                      <a:pt x="250" y="127"/>
                    </a:cubicBezTo>
                    <a:cubicBezTo>
                      <a:pt x="250" y="127"/>
                      <a:pt x="250" y="127"/>
                      <a:pt x="250" y="127"/>
                    </a:cubicBezTo>
                    <a:cubicBezTo>
                      <a:pt x="249" y="127"/>
                      <a:pt x="249" y="127"/>
                      <a:pt x="249" y="127"/>
                    </a:cubicBezTo>
                    <a:cubicBezTo>
                      <a:pt x="249" y="127"/>
                      <a:pt x="249" y="128"/>
                      <a:pt x="249" y="128"/>
                    </a:cubicBezTo>
                    <a:cubicBezTo>
                      <a:pt x="249" y="128"/>
                      <a:pt x="249" y="128"/>
                      <a:pt x="249" y="128"/>
                    </a:cubicBezTo>
                    <a:cubicBezTo>
                      <a:pt x="249" y="129"/>
                      <a:pt x="249" y="129"/>
                      <a:pt x="249" y="129"/>
                    </a:cubicBezTo>
                    <a:cubicBezTo>
                      <a:pt x="249" y="129"/>
                      <a:pt x="249" y="129"/>
                      <a:pt x="250" y="129"/>
                    </a:cubicBezTo>
                    <a:cubicBezTo>
                      <a:pt x="250" y="129"/>
                      <a:pt x="250" y="129"/>
                      <a:pt x="250" y="129"/>
                    </a:cubicBezTo>
                    <a:cubicBezTo>
                      <a:pt x="250" y="129"/>
                      <a:pt x="250" y="130"/>
                      <a:pt x="250" y="130"/>
                    </a:cubicBezTo>
                    <a:cubicBezTo>
                      <a:pt x="250" y="130"/>
                      <a:pt x="249" y="130"/>
                      <a:pt x="249" y="130"/>
                    </a:cubicBezTo>
                    <a:cubicBezTo>
                      <a:pt x="249" y="131"/>
                      <a:pt x="248" y="131"/>
                      <a:pt x="248" y="131"/>
                    </a:cubicBezTo>
                    <a:cubicBezTo>
                      <a:pt x="248" y="131"/>
                      <a:pt x="248" y="131"/>
                      <a:pt x="248" y="131"/>
                    </a:cubicBezTo>
                    <a:cubicBezTo>
                      <a:pt x="248" y="131"/>
                      <a:pt x="248" y="132"/>
                      <a:pt x="248" y="132"/>
                    </a:cubicBezTo>
                    <a:cubicBezTo>
                      <a:pt x="248" y="132"/>
                      <a:pt x="248" y="132"/>
                      <a:pt x="248" y="133"/>
                    </a:cubicBezTo>
                    <a:cubicBezTo>
                      <a:pt x="248" y="133"/>
                      <a:pt x="248" y="133"/>
                      <a:pt x="248" y="134"/>
                    </a:cubicBezTo>
                    <a:cubicBezTo>
                      <a:pt x="248" y="134"/>
                      <a:pt x="248" y="134"/>
                      <a:pt x="247" y="134"/>
                    </a:cubicBezTo>
                    <a:cubicBezTo>
                      <a:pt x="247" y="135"/>
                      <a:pt x="247" y="135"/>
                      <a:pt x="247" y="136"/>
                    </a:cubicBezTo>
                    <a:cubicBezTo>
                      <a:pt x="247" y="136"/>
                      <a:pt x="247" y="136"/>
                      <a:pt x="247" y="136"/>
                    </a:cubicBezTo>
                    <a:cubicBezTo>
                      <a:pt x="247" y="137"/>
                      <a:pt x="247" y="136"/>
                      <a:pt x="247" y="136"/>
                    </a:cubicBezTo>
                    <a:cubicBezTo>
                      <a:pt x="247" y="136"/>
                      <a:pt x="248" y="136"/>
                      <a:pt x="248" y="136"/>
                    </a:cubicBezTo>
                    <a:cubicBezTo>
                      <a:pt x="248" y="136"/>
                      <a:pt x="248" y="137"/>
                      <a:pt x="248" y="137"/>
                    </a:cubicBezTo>
                    <a:cubicBezTo>
                      <a:pt x="247" y="137"/>
                      <a:pt x="247" y="137"/>
                      <a:pt x="247" y="137"/>
                    </a:cubicBezTo>
                    <a:cubicBezTo>
                      <a:pt x="247" y="138"/>
                      <a:pt x="247" y="138"/>
                      <a:pt x="247" y="138"/>
                    </a:cubicBezTo>
                    <a:cubicBezTo>
                      <a:pt x="247" y="139"/>
                      <a:pt x="247" y="139"/>
                      <a:pt x="247" y="139"/>
                    </a:cubicBezTo>
                    <a:cubicBezTo>
                      <a:pt x="247" y="140"/>
                      <a:pt x="247" y="140"/>
                      <a:pt x="247" y="140"/>
                    </a:cubicBezTo>
                    <a:cubicBezTo>
                      <a:pt x="247" y="140"/>
                      <a:pt x="247" y="141"/>
                      <a:pt x="247" y="141"/>
                    </a:cubicBezTo>
                    <a:cubicBezTo>
                      <a:pt x="247" y="141"/>
                      <a:pt x="247" y="142"/>
                      <a:pt x="247" y="142"/>
                    </a:cubicBezTo>
                    <a:cubicBezTo>
                      <a:pt x="247" y="142"/>
                      <a:pt x="247" y="142"/>
                      <a:pt x="247" y="143"/>
                    </a:cubicBezTo>
                    <a:cubicBezTo>
                      <a:pt x="247" y="143"/>
                      <a:pt x="247" y="143"/>
                      <a:pt x="247" y="144"/>
                    </a:cubicBezTo>
                    <a:cubicBezTo>
                      <a:pt x="247" y="144"/>
                      <a:pt x="247" y="145"/>
                      <a:pt x="247" y="145"/>
                    </a:cubicBezTo>
                    <a:cubicBezTo>
                      <a:pt x="247" y="145"/>
                      <a:pt x="247" y="146"/>
                      <a:pt x="247" y="146"/>
                    </a:cubicBezTo>
                    <a:cubicBezTo>
                      <a:pt x="247" y="146"/>
                      <a:pt x="247" y="147"/>
                      <a:pt x="248" y="147"/>
                    </a:cubicBezTo>
                    <a:cubicBezTo>
                      <a:pt x="248" y="148"/>
                      <a:pt x="248" y="149"/>
                      <a:pt x="248" y="149"/>
                    </a:cubicBezTo>
                    <a:cubicBezTo>
                      <a:pt x="248" y="149"/>
                      <a:pt x="248" y="150"/>
                      <a:pt x="248" y="150"/>
                    </a:cubicBezTo>
                    <a:cubicBezTo>
                      <a:pt x="248" y="150"/>
                      <a:pt x="248" y="150"/>
                      <a:pt x="248" y="150"/>
                    </a:cubicBezTo>
                    <a:cubicBezTo>
                      <a:pt x="248" y="151"/>
                      <a:pt x="248" y="151"/>
                      <a:pt x="248" y="151"/>
                    </a:cubicBezTo>
                    <a:cubicBezTo>
                      <a:pt x="248" y="151"/>
                      <a:pt x="248" y="151"/>
                      <a:pt x="248" y="152"/>
                    </a:cubicBezTo>
                    <a:cubicBezTo>
                      <a:pt x="248" y="152"/>
                      <a:pt x="248" y="152"/>
                      <a:pt x="248" y="152"/>
                    </a:cubicBezTo>
                    <a:cubicBezTo>
                      <a:pt x="248" y="153"/>
                      <a:pt x="247" y="153"/>
                      <a:pt x="247" y="153"/>
                    </a:cubicBezTo>
                    <a:cubicBezTo>
                      <a:pt x="247" y="153"/>
                      <a:pt x="247" y="153"/>
                      <a:pt x="247" y="153"/>
                    </a:cubicBezTo>
                    <a:cubicBezTo>
                      <a:pt x="247" y="154"/>
                      <a:pt x="247" y="154"/>
                      <a:pt x="247" y="154"/>
                    </a:cubicBezTo>
                    <a:cubicBezTo>
                      <a:pt x="247" y="154"/>
                      <a:pt x="247" y="155"/>
                      <a:pt x="247" y="155"/>
                    </a:cubicBezTo>
                    <a:cubicBezTo>
                      <a:pt x="247" y="155"/>
                      <a:pt x="247" y="156"/>
                      <a:pt x="247" y="157"/>
                    </a:cubicBezTo>
                    <a:cubicBezTo>
                      <a:pt x="247" y="157"/>
                      <a:pt x="246" y="157"/>
                      <a:pt x="246" y="157"/>
                    </a:cubicBezTo>
                    <a:cubicBezTo>
                      <a:pt x="246" y="157"/>
                      <a:pt x="246" y="158"/>
                      <a:pt x="246" y="158"/>
                    </a:cubicBezTo>
                    <a:cubicBezTo>
                      <a:pt x="246" y="159"/>
                      <a:pt x="246" y="159"/>
                      <a:pt x="246" y="159"/>
                    </a:cubicBezTo>
                    <a:cubicBezTo>
                      <a:pt x="246" y="159"/>
                      <a:pt x="246" y="160"/>
                      <a:pt x="246" y="160"/>
                    </a:cubicBezTo>
                    <a:cubicBezTo>
                      <a:pt x="246" y="160"/>
                      <a:pt x="246" y="162"/>
                      <a:pt x="246" y="162"/>
                    </a:cubicBezTo>
                    <a:cubicBezTo>
                      <a:pt x="246" y="162"/>
                      <a:pt x="246" y="163"/>
                      <a:pt x="246" y="163"/>
                    </a:cubicBezTo>
                    <a:cubicBezTo>
                      <a:pt x="246" y="163"/>
                      <a:pt x="246" y="164"/>
                      <a:pt x="246" y="164"/>
                    </a:cubicBezTo>
                    <a:cubicBezTo>
                      <a:pt x="246" y="164"/>
                      <a:pt x="246" y="164"/>
                      <a:pt x="245" y="164"/>
                    </a:cubicBezTo>
                    <a:cubicBezTo>
                      <a:pt x="245" y="164"/>
                      <a:pt x="245" y="164"/>
                      <a:pt x="245" y="164"/>
                    </a:cubicBezTo>
                    <a:cubicBezTo>
                      <a:pt x="245" y="164"/>
                      <a:pt x="246" y="165"/>
                      <a:pt x="246" y="165"/>
                    </a:cubicBezTo>
                    <a:cubicBezTo>
                      <a:pt x="246" y="165"/>
                      <a:pt x="245" y="165"/>
                      <a:pt x="245" y="165"/>
                    </a:cubicBezTo>
                    <a:cubicBezTo>
                      <a:pt x="245" y="165"/>
                      <a:pt x="245" y="165"/>
                      <a:pt x="245" y="166"/>
                    </a:cubicBezTo>
                    <a:cubicBezTo>
                      <a:pt x="244" y="166"/>
                      <a:pt x="244" y="166"/>
                      <a:pt x="244" y="166"/>
                    </a:cubicBezTo>
                    <a:cubicBezTo>
                      <a:pt x="244" y="166"/>
                      <a:pt x="243" y="167"/>
                      <a:pt x="243" y="167"/>
                    </a:cubicBezTo>
                    <a:cubicBezTo>
                      <a:pt x="243" y="167"/>
                      <a:pt x="243" y="168"/>
                      <a:pt x="243" y="168"/>
                    </a:cubicBezTo>
                    <a:cubicBezTo>
                      <a:pt x="243" y="168"/>
                      <a:pt x="243" y="168"/>
                      <a:pt x="243" y="169"/>
                    </a:cubicBezTo>
                    <a:cubicBezTo>
                      <a:pt x="243" y="169"/>
                      <a:pt x="242" y="169"/>
                      <a:pt x="242" y="169"/>
                    </a:cubicBezTo>
                    <a:cubicBezTo>
                      <a:pt x="242" y="169"/>
                      <a:pt x="242" y="170"/>
                      <a:pt x="242" y="170"/>
                    </a:cubicBezTo>
                    <a:cubicBezTo>
                      <a:pt x="242" y="170"/>
                      <a:pt x="242" y="171"/>
                      <a:pt x="242" y="171"/>
                    </a:cubicBezTo>
                    <a:cubicBezTo>
                      <a:pt x="242" y="172"/>
                      <a:pt x="242" y="173"/>
                      <a:pt x="242" y="173"/>
                    </a:cubicBezTo>
                    <a:cubicBezTo>
                      <a:pt x="242" y="174"/>
                      <a:pt x="242" y="174"/>
                      <a:pt x="242" y="174"/>
                    </a:cubicBezTo>
                    <a:cubicBezTo>
                      <a:pt x="242" y="174"/>
                      <a:pt x="242" y="176"/>
                      <a:pt x="242" y="176"/>
                    </a:cubicBezTo>
                    <a:cubicBezTo>
                      <a:pt x="242" y="176"/>
                      <a:pt x="242" y="177"/>
                      <a:pt x="242" y="177"/>
                    </a:cubicBezTo>
                    <a:cubicBezTo>
                      <a:pt x="242" y="177"/>
                      <a:pt x="242" y="178"/>
                      <a:pt x="242" y="178"/>
                    </a:cubicBezTo>
                    <a:cubicBezTo>
                      <a:pt x="242" y="178"/>
                      <a:pt x="241" y="179"/>
                      <a:pt x="241" y="179"/>
                    </a:cubicBezTo>
                    <a:cubicBezTo>
                      <a:pt x="241" y="179"/>
                      <a:pt x="241" y="179"/>
                      <a:pt x="240" y="179"/>
                    </a:cubicBezTo>
                    <a:cubicBezTo>
                      <a:pt x="240" y="180"/>
                      <a:pt x="240" y="180"/>
                      <a:pt x="239" y="180"/>
                    </a:cubicBezTo>
                    <a:cubicBezTo>
                      <a:pt x="239" y="180"/>
                      <a:pt x="239" y="181"/>
                      <a:pt x="239" y="181"/>
                    </a:cubicBezTo>
                    <a:cubicBezTo>
                      <a:pt x="239" y="181"/>
                      <a:pt x="239" y="182"/>
                      <a:pt x="239" y="183"/>
                    </a:cubicBezTo>
                    <a:cubicBezTo>
                      <a:pt x="239" y="184"/>
                      <a:pt x="238" y="184"/>
                      <a:pt x="238" y="184"/>
                    </a:cubicBezTo>
                    <a:cubicBezTo>
                      <a:pt x="238" y="185"/>
                      <a:pt x="237" y="187"/>
                      <a:pt x="236" y="187"/>
                    </a:cubicBezTo>
                    <a:cubicBezTo>
                      <a:pt x="236" y="187"/>
                      <a:pt x="236" y="187"/>
                      <a:pt x="235" y="188"/>
                    </a:cubicBezTo>
                    <a:cubicBezTo>
                      <a:pt x="235" y="188"/>
                      <a:pt x="234" y="189"/>
                      <a:pt x="234" y="189"/>
                    </a:cubicBezTo>
                    <a:cubicBezTo>
                      <a:pt x="234" y="189"/>
                      <a:pt x="234" y="190"/>
                      <a:pt x="234" y="190"/>
                    </a:cubicBezTo>
                    <a:cubicBezTo>
                      <a:pt x="233" y="191"/>
                      <a:pt x="233" y="191"/>
                      <a:pt x="233" y="191"/>
                    </a:cubicBezTo>
                    <a:cubicBezTo>
                      <a:pt x="233" y="191"/>
                      <a:pt x="233" y="192"/>
                      <a:pt x="233" y="192"/>
                    </a:cubicBezTo>
                    <a:cubicBezTo>
                      <a:pt x="233" y="193"/>
                      <a:pt x="233" y="193"/>
                      <a:pt x="233" y="193"/>
                    </a:cubicBezTo>
                    <a:cubicBezTo>
                      <a:pt x="233" y="194"/>
                      <a:pt x="233" y="195"/>
                      <a:pt x="233" y="195"/>
                    </a:cubicBezTo>
                    <a:cubicBezTo>
                      <a:pt x="234" y="196"/>
                      <a:pt x="233" y="196"/>
                      <a:pt x="233" y="197"/>
                    </a:cubicBezTo>
                    <a:cubicBezTo>
                      <a:pt x="233" y="197"/>
                      <a:pt x="231" y="197"/>
                      <a:pt x="231" y="198"/>
                    </a:cubicBezTo>
                    <a:cubicBezTo>
                      <a:pt x="230" y="198"/>
                      <a:pt x="229" y="198"/>
                      <a:pt x="228" y="199"/>
                    </a:cubicBezTo>
                    <a:cubicBezTo>
                      <a:pt x="227" y="199"/>
                      <a:pt x="227" y="200"/>
                      <a:pt x="227" y="200"/>
                    </a:cubicBezTo>
                    <a:cubicBezTo>
                      <a:pt x="227" y="200"/>
                      <a:pt x="226" y="201"/>
                      <a:pt x="226" y="201"/>
                    </a:cubicBezTo>
                    <a:cubicBezTo>
                      <a:pt x="226" y="201"/>
                      <a:pt x="226" y="202"/>
                      <a:pt x="226" y="202"/>
                    </a:cubicBezTo>
                    <a:cubicBezTo>
                      <a:pt x="226" y="203"/>
                      <a:pt x="226" y="203"/>
                      <a:pt x="226" y="204"/>
                    </a:cubicBezTo>
                    <a:cubicBezTo>
                      <a:pt x="226" y="204"/>
                      <a:pt x="226" y="203"/>
                      <a:pt x="226" y="203"/>
                    </a:cubicBezTo>
                    <a:cubicBezTo>
                      <a:pt x="226" y="202"/>
                      <a:pt x="225" y="203"/>
                      <a:pt x="225" y="203"/>
                    </a:cubicBezTo>
                    <a:cubicBezTo>
                      <a:pt x="224" y="203"/>
                      <a:pt x="224" y="203"/>
                      <a:pt x="224" y="203"/>
                    </a:cubicBezTo>
                    <a:cubicBezTo>
                      <a:pt x="224" y="204"/>
                      <a:pt x="223" y="203"/>
                      <a:pt x="223" y="204"/>
                    </a:cubicBezTo>
                    <a:cubicBezTo>
                      <a:pt x="222" y="204"/>
                      <a:pt x="222" y="203"/>
                      <a:pt x="222" y="203"/>
                    </a:cubicBezTo>
                    <a:cubicBezTo>
                      <a:pt x="222" y="203"/>
                      <a:pt x="221" y="203"/>
                      <a:pt x="220" y="204"/>
                    </a:cubicBezTo>
                    <a:cubicBezTo>
                      <a:pt x="220" y="204"/>
                      <a:pt x="219" y="204"/>
                      <a:pt x="219" y="204"/>
                    </a:cubicBezTo>
                    <a:cubicBezTo>
                      <a:pt x="218" y="204"/>
                      <a:pt x="218" y="203"/>
                      <a:pt x="218" y="203"/>
                    </a:cubicBezTo>
                    <a:cubicBezTo>
                      <a:pt x="218" y="203"/>
                      <a:pt x="219" y="202"/>
                      <a:pt x="219" y="202"/>
                    </a:cubicBezTo>
                    <a:cubicBezTo>
                      <a:pt x="219" y="201"/>
                      <a:pt x="218" y="202"/>
                      <a:pt x="218" y="202"/>
                    </a:cubicBezTo>
                    <a:cubicBezTo>
                      <a:pt x="217" y="202"/>
                      <a:pt x="217" y="202"/>
                      <a:pt x="217" y="203"/>
                    </a:cubicBezTo>
                    <a:cubicBezTo>
                      <a:pt x="217" y="203"/>
                      <a:pt x="218" y="204"/>
                      <a:pt x="218" y="204"/>
                    </a:cubicBezTo>
                    <a:cubicBezTo>
                      <a:pt x="218" y="204"/>
                      <a:pt x="217" y="204"/>
                      <a:pt x="216" y="204"/>
                    </a:cubicBezTo>
                    <a:cubicBezTo>
                      <a:pt x="216" y="204"/>
                      <a:pt x="216" y="204"/>
                      <a:pt x="215" y="204"/>
                    </a:cubicBezTo>
                    <a:cubicBezTo>
                      <a:pt x="214" y="205"/>
                      <a:pt x="214" y="204"/>
                      <a:pt x="214" y="204"/>
                    </a:cubicBezTo>
                    <a:cubicBezTo>
                      <a:pt x="214" y="203"/>
                      <a:pt x="213" y="203"/>
                      <a:pt x="213" y="203"/>
                    </a:cubicBezTo>
                    <a:cubicBezTo>
                      <a:pt x="212" y="203"/>
                      <a:pt x="212" y="203"/>
                      <a:pt x="211" y="204"/>
                    </a:cubicBezTo>
                    <a:cubicBezTo>
                      <a:pt x="211" y="204"/>
                      <a:pt x="210" y="204"/>
                      <a:pt x="210" y="204"/>
                    </a:cubicBezTo>
                    <a:cubicBezTo>
                      <a:pt x="210" y="204"/>
                      <a:pt x="210" y="204"/>
                      <a:pt x="209" y="204"/>
                    </a:cubicBezTo>
                    <a:cubicBezTo>
                      <a:pt x="209" y="203"/>
                      <a:pt x="209" y="204"/>
                      <a:pt x="209" y="204"/>
                    </a:cubicBezTo>
                    <a:cubicBezTo>
                      <a:pt x="209" y="204"/>
                      <a:pt x="208" y="204"/>
                      <a:pt x="208" y="204"/>
                    </a:cubicBezTo>
                    <a:cubicBezTo>
                      <a:pt x="207" y="204"/>
                      <a:pt x="207" y="205"/>
                      <a:pt x="207" y="205"/>
                    </a:cubicBezTo>
                    <a:cubicBezTo>
                      <a:pt x="207" y="205"/>
                      <a:pt x="207" y="206"/>
                      <a:pt x="208" y="206"/>
                    </a:cubicBezTo>
                    <a:cubicBezTo>
                      <a:pt x="209" y="206"/>
                      <a:pt x="208" y="206"/>
                      <a:pt x="208" y="207"/>
                    </a:cubicBezTo>
                    <a:cubicBezTo>
                      <a:pt x="208" y="207"/>
                      <a:pt x="207" y="207"/>
                      <a:pt x="207" y="207"/>
                    </a:cubicBezTo>
                    <a:cubicBezTo>
                      <a:pt x="207" y="207"/>
                      <a:pt x="206" y="207"/>
                      <a:pt x="206" y="207"/>
                    </a:cubicBezTo>
                    <a:cubicBezTo>
                      <a:pt x="205" y="207"/>
                      <a:pt x="205" y="207"/>
                      <a:pt x="205" y="207"/>
                    </a:cubicBezTo>
                    <a:cubicBezTo>
                      <a:pt x="205" y="207"/>
                      <a:pt x="204" y="208"/>
                      <a:pt x="204" y="208"/>
                    </a:cubicBezTo>
                    <a:cubicBezTo>
                      <a:pt x="204" y="208"/>
                      <a:pt x="203" y="208"/>
                      <a:pt x="203" y="208"/>
                    </a:cubicBezTo>
                    <a:cubicBezTo>
                      <a:pt x="203" y="208"/>
                      <a:pt x="202" y="209"/>
                      <a:pt x="202" y="209"/>
                    </a:cubicBezTo>
                    <a:cubicBezTo>
                      <a:pt x="202" y="209"/>
                      <a:pt x="202" y="210"/>
                      <a:pt x="202" y="210"/>
                    </a:cubicBezTo>
                    <a:cubicBezTo>
                      <a:pt x="202" y="210"/>
                      <a:pt x="202" y="210"/>
                      <a:pt x="202" y="210"/>
                    </a:cubicBezTo>
                    <a:cubicBezTo>
                      <a:pt x="201" y="210"/>
                      <a:pt x="201" y="210"/>
                      <a:pt x="201" y="210"/>
                    </a:cubicBezTo>
                    <a:cubicBezTo>
                      <a:pt x="200" y="210"/>
                      <a:pt x="200" y="210"/>
                      <a:pt x="199" y="210"/>
                    </a:cubicBezTo>
                    <a:cubicBezTo>
                      <a:pt x="199" y="210"/>
                      <a:pt x="199" y="210"/>
                      <a:pt x="198" y="210"/>
                    </a:cubicBezTo>
                    <a:cubicBezTo>
                      <a:pt x="198" y="210"/>
                      <a:pt x="197" y="210"/>
                      <a:pt x="197" y="211"/>
                    </a:cubicBezTo>
                    <a:cubicBezTo>
                      <a:pt x="197" y="211"/>
                      <a:pt x="196" y="211"/>
                      <a:pt x="196" y="211"/>
                    </a:cubicBezTo>
                    <a:cubicBezTo>
                      <a:pt x="196" y="211"/>
                      <a:pt x="196" y="211"/>
                      <a:pt x="195" y="212"/>
                    </a:cubicBezTo>
                    <a:cubicBezTo>
                      <a:pt x="195" y="212"/>
                      <a:pt x="195" y="212"/>
                      <a:pt x="194" y="212"/>
                    </a:cubicBezTo>
                    <a:cubicBezTo>
                      <a:pt x="194" y="212"/>
                      <a:pt x="193" y="212"/>
                      <a:pt x="193" y="213"/>
                    </a:cubicBezTo>
                    <a:cubicBezTo>
                      <a:pt x="192" y="213"/>
                      <a:pt x="191" y="214"/>
                      <a:pt x="191" y="214"/>
                    </a:cubicBezTo>
                    <a:cubicBezTo>
                      <a:pt x="191" y="215"/>
                      <a:pt x="191" y="215"/>
                      <a:pt x="190" y="215"/>
                    </a:cubicBezTo>
                    <a:cubicBezTo>
                      <a:pt x="190" y="215"/>
                      <a:pt x="189" y="216"/>
                      <a:pt x="189" y="216"/>
                    </a:cubicBezTo>
                    <a:cubicBezTo>
                      <a:pt x="188" y="217"/>
                      <a:pt x="187" y="217"/>
                      <a:pt x="187" y="217"/>
                    </a:cubicBezTo>
                    <a:cubicBezTo>
                      <a:pt x="187" y="218"/>
                      <a:pt x="186" y="218"/>
                      <a:pt x="186" y="219"/>
                    </a:cubicBezTo>
                    <a:cubicBezTo>
                      <a:pt x="185" y="219"/>
                      <a:pt x="185" y="219"/>
                      <a:pt x="185" y="219"/>
                    </a:cubicBezTo>
                    <a:cubicBezTo>
                      <a:pt x="185" y="219"/>
                      <a:pt x="185" y="219"/>
                      <a:pt x="185" y="219"/>
                    </a:cubicBezTo>
                    <a:cubicBezTo>
                      <a:pt x="184" y="219"/>
                      <a:pt x="184" y="219"/>
                      <a:pt x="184" y="220"/>
                    </a:cubicBezTo>
                    <a:cubicBezTo>
                      <a:pt x="185" y="220"/>
                      <a:pt x="185" y="220"/>
                      <a:pt x="185" y="220"/>
                    </a:cubicBezTo>
                    <a:cubicBezTo>
                      <a:pt x="185" y="220"/>
                      <a:pt x="184" y="221"/>
                      <a:pt x="184" y="221"/>
                    </a:cubicBezTo>
                    <a:cubicBezTo>
                      <a:pt x="184" y="221"/>
                      <a:pt x="183" y="221"/>
                      <a:pt x="183" y="221"/>
                    </a:cubicBezTo>
                    <a:cubicBezTo>
                      <a:pt x="183" y="221"/>
                      <a:pt x="183" y="222"/>
                      <a:pt x="183" y="222"/>
                    </a:cubicBezTo>
                    <a:cubicBezTo>
                      <a:pt x="183" y="222"/>
                      <a:pt x="182" y="222"/>
                      <a:pt x="182" y="223"/>
                    </a:cubicBezTo>
                    <a:cubicBezTo>
                      <a:pt x="182" y="223"/>
                      <a:pt x="182" y="223"/>
                      <a:pt x="182" y="222"/>
                    </a:cubicBezTo>
                    <a:cubicBezTo>
                      <a:pt x="181" y="222"/>
                      <a:pt x="182" y="222"/>
                      <a:pt x="182" y="222"/>
                    </a:cubicBezTo>
                    <a:cubicBezTo>
                      <a:pt x="181" y="221"/>
                      <a:pt x="181" y="222"/>
                      <a:pt x="181" y="222"/>
                    </a:cubicBezTo>
                    <a:cubicBezTo>
                      <a:pt x="181" y="222"/>
                      <a:pt x="180" y="223"/>
                      <a:pt x="180" y="223"/>
                    </a:cubicBezTo>
                    <a:cubicBezTo>
                      <a:pt x="179" y="223"/>
                      <a:pt x="180" y="223"/>
                      <a:pt x="180" y="223"/>
                    </a:cubicBezTo>
                    <a:cubicBezTo>
                      <a:pt x="180" y="224"/>
                      <a:pt x="181" y="224"/>
                      <a:pt x="181" y="224"/>
                    </a:cubicBezTo>
                    <a:cubicBezTo>
                      <a:pt x="181" y="224"/>
                      <a:pt x="181" y="224"/>
                      <a:pt x="181" y="225"/>
                    </a:cubicBezTo>
                    <a:cubicBezTo>
                      <a:pt x="181" y="225"/>
                      <a:pt x="180" y="226"/>
                      <a:pt x="180" y="226"/>
                    </a:cubicBezTo>
                    <a:cubicBezTo>
                      <a:pt x="180" y="226"/>
                      <a:pt x="180" y="227"/>
                      <a:pt x="180" y="227"/>
                    </a:cubicBezTo>
                    <a:cubicBezTo>
                      <a:pt x="180" y="227"/>
                      <a:pt x="180" y="228"/>
                      <a:pt x="180" y="228"/>
                    </a:cubicBezTo>
                    <a:cubicBezTo>
                      <a:pt x="179" y="228"/>
                      <a:pt x="179" y="229"/>
                      <a:pt x="179" y="229"/>
                    </a:cubicBezTo>
                    <a:cubicBezTo>
                      <a:pt x="178" y="229"/>
                      <a:pt x="178" y="230"/>
                      <a:pt x="179" y="230"/>
                    </a:cubicBezTo>
                    <a:cubicBezTo>
                      <a:pt x="179" y="230"/>
                      <a:pt x="179" y="229"/>
                      <a:pt x="179" y="229"/>
                    </a:cubicBezTo>
                    <a:cubicBezTo>
                      <a:pt x="180" y="229"/>
                      <a:pt x="180" y="229"/>
                      <a:pt x="180" y="229"/>
                    </a:cubicBezTo>
                    <a:cubicBezTo>
                      <a:pt x="180" y="229"/>
                      <a:pt x="180" y="229"/>
                      <a:pt x="180" y="230"/>
                    </a:cubicBezTo>
                    <a:cubicBezTo>
                      <a:pt x="180" y="230"/>
                      <a:pt x="180" y="231"/>
                      <a:pt x="180" y="231"/>
                    </a:cubicBezTo>
                    <a:cubicBezTo>
                      <a:pt x="179" y="232"/>
                      <a:pt x="179" y="232"/>
                      <a:pt x="179" y="232"/>
                    </a:cubicBezTo>
                    <a:cubicBezTo>
                      <a:pt x="179" y="233"/>
                      <a:pt x="179" y="233"/>
                      <a:pt x="179" y="233"/>
                    </a:cubicBezTo>
                    <a:cubicBezTo>
                      <a:pt x="179" y="233"/>
                      <a:pt x="180" y="235"/>
                      <a:pt x="180" y="235"/>
                    </a:cubicBezTo>
                    <a:cubicBezTo>
                      <a:pt x="180" y="235"/>
                      <a:pt x="180" y="236"/>
                      <a:pt x="180" y="236"/>
                    </a:cubicBezTo>
                    <a:cubicBezTo>
                      <a:pt x="180" y="236"/>
                      <a:pt x="180" y="237"/>
                      <a:pt x="180" y="237"/>
                    </a:cubicBezTo>
                    <a:cubicBezTo>
                      <a:pt x="179" y="237"/>
                      <a:pt x="180" y="237"/>
                      <a:pt x="180" y="237"/>
                    </a:cubicBezTo>
                    <a:cubicBezTo>
                      <a:pt x="180" y="237"/>
                      <a:pt x="180" y="237"/>
                      <a:pt x="180" y="238"/>
                    </a:cubicBezTo>
                    <a:cubicBezTo>
                      <a:pt x="180" y="238"/>
                      <a:pt x="180" y="238"/>
                      <a:pt x="180" y="238"/>
                    </a:cubicBezTo>
                    <a:cubicBezTo>
                      <a:pt x="180" y="238"/>
                      <a:pt x="180" y="239"/>
                      <a:pt x="180" y="239"/>
                    </a:cubicBezTo>
                    <a:cubicBezTo>
                      <a:pt x="180" y="239"/>
                      <a:pt x="180" y="239"/>
                      <a:pt x="180" y="239"/>
                    </a:cubicBezTo>
                    <a:cubicBezTo>
                      <a:pt x="180" y="239"/>
                      <a:pt x="180" y="239"/>
                      <a:pt x="180" y="239"/>
                    </a:cubicBezTo>
                    <a:cubicBezTo>
                      <a:pt x="180" y="239"/>
                      <a:pt x="180" y="239"/>
                      <a:pt x="180" y="239"/>
                    </a:cubicBezTo>
                    <a:cubicBezTo>
                      <a:pt x="180" y="239"/>
                      <a:pt x="180" y="238"/>
                      <a:pt x="181" y="238"/>
                    </a:cubicBezTo>
                    <a:cubicBezTo>
                      <a:pt x="181" y="238"/>
                      <a:pt x="181" y="238"/>
                      <a:pt x="181" y="238"/>
                    </a:cubicBezTo>
                    <a:cubicBezTo>
                      <a:pt x="181" y="238"/>
                      <a:pt x="181" y="239"/>
                      <a:pt x="181" y="239"/>
                    </a:cubicBezTo>
                    <a:cubicBezTo>
                      <a:pt x="181" y="239"/>
                      <a:pt x="181" y="239"/>
                      <a:pt x="181" y="240"/>
                    </a:cubicBezTo>
                    <a:cubicBezTo>
                      <a:pt x="181" y="240"/>
                      <a:pt x="181" y="240"/>
                      <a:pt x="181" y="240"/>
                    </a:cubicBezTo>
                    <a:cubicBezTo>
                      <a:pt x="180" y="240"/>
                      <a:pt x="180" y="241"/>
                      <a:pt x="180" y="241"/>
                    </a:cubicBezTo>
                    <a:cubicBezTo>
                      <a:pt x="180" y="241"/>
                      <a:pt x="180" y="241"/>
                      <a:pt x="180" y="241"/>
                    </a:cubicBezTo>
                    <a:cubicBezTo>
                      <a:pt x="180" y="241"/>
                      <a:pt x="180" y="241"/>
                      <a:pt x="180" y="240"/>
                    </a:cubicBezTo>
                    <a:cubicBezTo>
                      <a:pt x="180" y="240"/>
                      <a:pt x="180" y="240"/>
                      <a:pt x="180" y="240"/>
                    </a:cubicBezTo>
                    <a:cubicBezTo>
                      <a:pt x="180" y="240"/>
                      <a:pt x="180" y="239"/>
                      <a:pt x="180" y="239"/>
                    </a:cubicBezTo>
                    <a:cubicBezTo>
                      <a:pt x="180" y="239"/>
                      <a:pt x="180" y="240"/>
                      <a:pt x="180" y="240"/>
                    </a:cubicBezTo>
                    <a:cubicBezTo>
                      <a:pt x="179" y="240"/>
                      <a:pt x="180" y="240"/>
                      <a:pt x="180" y="240"/>
                    </a:cubicBezTo>
                    <a:cubicBezTo>
                      <a:pt x="180" y="240"/>
                      <a:pt x="179" y="241"/>
                      <a:pt x="179" y="241"/>
                    </a:cubicBezTo>
                    <a:cubicBezTo>
                      <a:pt x="179" y="241"/>
                      <a:pt x="179" y="242"/>
                      <a:pt x="180" y="242"/>
                    </a:cubicBezTo>
                    <a:cubicBezTo>
                      <a:pt x="180" y="242"/>
                      <a:pt x="180" y="242"/>
                      <a:pt x="180" y="243"/>
                    </a:cubicBezTo>
                    <a:cubicBezTo>
                      <a:pt x="180" y="243"/>
                      <a:pt x="179" y="243"/>
                      <a:pt x="179" y="244"/>
                    </a:cubicBezTo>
                    <a:cubicBezTo>
                      <a:pt x="179" y="244"/>
                      <a:pt x="179" y="245"/>
                      <a:pt x="179" y="245"/>
                    </a:cubicBezTo>
                    <a:cubicBezTo>
                      <a:pt x="179" y="245"/>
                      <a:pt x="178" y="245"/>
                      <a:pt x="178" y="245"/>
                    </a:cubicBezTo>
                    <a:cubicBezTo>
                      <a:pt x="178" y="246"/>
                      <a:pt x="178" y="246"/>
                      <a:pt x="178" y="246"/>
                    </a:cubicBezTo>
                    <a:cubicBezTo>
                      <a:pt x="178" y="247"/>
                      <a:pt x="178" y="246"/>
                      <a:pt x="178" y="246"/>
                    </a:cubicBezTo>
                    <a:cubicBezTo>
                      <a:pt x="178" y="246"/>
                      <a:pt x="179" y="247"/>
                      <a:pt x="178" y="247"/>
                    </a:cubicBezTo>
                    <a:cubicBezTo>
                      <a:pt x="178" y="247"/>
                      <a:pt x="178" y="247"/>
                      <a:pt x="178" y="248"/>
                    </a:cubicBezTo>
                    <a:cubicBezTo>
                      <a:pt x="177" y="248"/>
                      <a:pt x="176" y="249"/>
                      <a:pt x="176" y="249"/>
                    </a:cubicBezTo>
                    <a:cubicBezTo>
                      <a:pt x="175" y="250"/>
                      <a:pt x="174" y="251"/>
                      <a:pt x="174" y="251"/>
                    </a:cubicBezTo>
                    <a:cubicBezTo>
                      <a:pt x="173" y="251"/>
                      <a:pt x="173" y="252"/>
                      <a:pt x="172" y="253"/>
                    </a:cubicBezTo>
                    <a:cubicBezTo>
                      <a:pt x="172" y="253"/>
                      <a:pt x="172" y="253"/>
                      <a:pt x="172" y="254"/>
                    </a:cubicBezTo>
                    <a:cubicBezTo>
                      <a:pt x="172" y="254"/>
                      <a:pt x="171" y="254"/>
                      <a:pt x="171" y="254"/>
                    </a:cubicBezTo>
                    <a:cubicBezTo>
                      <a:pt x="171" y="255"/>
                      <a:pt x="171" y="255"/>
                      <a:pt x="171" y="255"/>
                    </a:cubicBezTo>
                    <a:cubicBezTo>
                      <a:pt x="170" y="256"/>
                      <a:pt x="170" y="257"/>
                      <a:pt x="170" y="257"/>
                    </a:cubicBezTo>
                    <a:cubicBezTo>
                      <a:pt x="169" y="258"/>
                      <a:pt x="169" y="259"/>
                      <a:pt x="169" y="259"/>
                    </a:cubicBezTo>
                    <a:cubicBezTo>
                      <a:pt x="169" y="259"/>
                      <a:pt x="168" y="261"/>
                      <a:pt x="168" y="261"/>
                    </a:cubicBezTo>
                    <a:cubicBezTo>
                      <a:pt x="168" y="261"/>
                      <a:pt x="168" y="262"/>
                      <a:pt x="167" y="263"/>
                    </a:cubicBezTo>
                    <a:cubicBezTo>
                      <a:pt x="167" y="263"/>
                      <a:pt x="167" y="264"/>
                      <a:pt x="167" y="265"/>
                    </a:cubicBezTo>
                    <a:cubicBezTo>
                      <a:pt x="166" y="265"/>
                      <a:pt x="166" y="266"/>
                      <a:pt x="165" y="266"/>
                    </a:cubicBezTo>
                    <a:cubicBezTo>
                      <a:pt x="165" y="267"/>
                      <a:pt x="165" y="267"/>
                      <a:pt x="165" y="268"/>
                    </a:cubicBezTo>
                    <a:cubicBezTo>
                      <a:pt x="165" y="268"/>
                      <a:pt x="164" y="269"/>
                      <a:pt x="164" y="269"/>
                    </a:cubicBezTo>
                    <a:cubicBezTo>
                      <a:pt x="163" y="269"/>
                      <a:pt x="163" y="269"/>
                      <a:pt x="163" y="270"/>
                    </a:cubicBezTo>
                    <a:cubicBezTo>
                      <a:pt x="162" y="270"/>
                      <a:pt x="162" y="270"/>
                      <a:pt x="162" y="271"/>
                    </a:cubicBezTo>
                    <a:cubicBezTo>
                      <a:pt x="162" y="271"/>
                      <a:pt x="161" y="272"/>
                      <a:pt x="161" y="272"/>
                    </a:cubicBezTo>
                    <a:cubicBezTo>
                      <a:pt x="161" y="272"/>
                      <a:pt x="160" y="273"/>
                      <a:pt x="160" y="273"/>
                    </a:cubicBezTo>
                    <a:cubicBezTo>
                      <a:pt x="159" y="273"/>
                      <a:pt x="159" y="274"/>
                      <a:pt x="158" y="274"/>
                    </a:cubicBezTo>
                    <a:cubicBezTo>
                      <a:pt x="158" y="274"/>
                      <a:pt x="157" y="275"/>
                      <a:pt x="157" y="275"/>
                    </a:cubicBezTo>
                    <a:cubicBezTo>
                      <a:pt x="157" y="275"/>
                      <a:pt x="156" y="276"/>
                      <a:pt x="156" y="276"/>
                    </a:cubicBezTo>
                    <a:cubicBezTo>
                      <a:pt x="156" y="276"/>
                      <a:pt x="155" y="276"/>
                      <a:pt x="155" y="276"/>
                    </a:cubicBezTo>
                    <a:cubicBezTo>
                      <a:pt x="155" y="276"/>
                      <a:pt x="155" y="276"/>
                      <a:pt x="155" y="275"/>
                    </a:cubicBezTo>
                    <a:cubicBezTo>
                      <a:pt x="155" y="275"/>
                      <a:pt x="155" y="275"/>
                      <a:pt x="155" y="275"/>
                    </a:cubicBezTo>
                    <a:cubicBezTo>
                      <a:pt x="156" y="275"/>
                      <a:pt x="155" y="275"/>
                      <a:pt x="155" y="275"/>
                    </a:cubicBezTo>
                    <a:cubicBezTo>
                      <a:pt x="155" y="275"/>
                      <a:pt x="155" y="274"/>
                      <a:pt x="155" y="274"/>
                    </a:cubicBezTo>
                    <a:cubicBezTo>
                      <a:pt x="155" y="274"/>
                      <a:pt x="156" y="274"/>
                      <a:pt x="156" y="274"/>
                    </a:cubicBezTo>
                    <a:cubicBezTo>
                      <a:pt x="156" y="274"/>
                      <a:pt x="156" y="274"/>
                      <a:pt x="156" y="274"/>
                    </a:cubicBezTo>
                    <a:cubicBezTo>
                      <a:pt x="156" y="274"/>
                      <a:pt x="157" y="274"/>
                      <a:pt x="157" y="274"/>
                    </a:cubicBezTo>
                    <a:cubicBezTo>
                      <a:pt x="157" y="274"/>
                      <a:pt x="158" y="273"/>
                      <a:pt x="158" y="273"/>
                    </a:cubicBezTo>
                    <a:cubicBezTo>
                      <a:pt x="158" y="273"/>
                      <a:pt x="159" y="273"/>
                      <a:pt x="159" y="273"/>
                    </a:cubicBezTo>
                    <a:cubicBezTo>
                      <a:pt x="159" y="272"/>
                      <a:pt x="159" y="272"/>
                      <a:pt x="159" y="272"/>
                    </a:cubicBezTo>
                    <a:cubicBezTo>
                      <a:pt x="160" y="272"/>
                      <a:pt x="160" y="272"/>
                      <a:pt x="160" y="272"/>
                    </a:cubicBezTo>
                    <a:cubicBezTo>
                      <a:pt x="160" y="271"/>
                      <a:pt x="161" y="270"/>
                      <a:pt x="161" y="270"/>
                    </a:cubicBezTo>
                    <a:cubicBezTo>
                      <a:pt x="161" y="270"/>
                      <a:pt x="161" y="268"/>
                      <a:pt x="161" y="268"/>
                    </a:cubicBezTo>
                    <a:cubicBezTo>
                      <a:pt x="161" y="268"/>
                      <a:pt x="162" y="268"/>
                      <a:pt x="162" y="268"/>
                    </a:cubicBezTo>
                    <a:cubicBezTo>
                      <a:pt x="162" y="268"/>
                      <a:pt x="162" y="268"/>
                      <a:pt x="162" y="268"/>
                    </a:cubicBezTo>
                    <a:cubicBezTo>
                      <a:pt x="163" y="268"/>
                      <a:pt x="163" y="268"/>
                      <a:pt x="163" y="267"/>
                    </a:cubicBezTo>
                    <a:cubicBezTo>
                      <a:pt x="163" y="267"/>
                      <a:pt x="163" y="267"/>
                      <a:pt x="163" y="267"/>
                    </a:cubicBezTo>
                    <a:cubicBezTo>
                      <a:pt x="163" y="267"/>
                      <a:pt x="163" y="267"/>
                      <a:pt x="163" y="267"/>
                    </a:cubicBezTo>
                    <a:cubicBezTo>
                      <a:pt x="164" y="267"/>
                      <a:pt x="164" y="266"/>
                      <a:pt x="164" y="266"/>
                    </a:cubicBezTo>
                    <a:cubicBezTo>
                      <a:pt x="164" y="266"/>
                      <a:pt x="164" y="266"/>
                      <a:pt x="164" y="266"/>
                    </a:cubicBezTo>
                    <a:cubicBezTo>
                      <a:pt x="165" y="266"/>
                      <a:pt x="165" y="265"/>
                      <a:pt x="165" y="265"/>
                    </a:cubicBezTo>
                    <a:cubicBezTo>
                      <a:pt x="165" y="265"/>
                      <a:pt x="165" y="263"/>
                      <a:pt x="165" y="262"/>
                    </a:cubicBezTo>
                    <a:cubicBezTo>
                      <a:pt x="165" y="262"/>
                      <a:pt x="165" y="263"/>
                      <a:pt x="165" y="263"/>
                    </a:cubicBezTo>
                    <a:cubicBezTo>
                      <a:pt x="165" y="263"/>
                      <a:pt x="166" y="263"/>
                      <a:pt x="166" y="263"/>
                    </a:cubicBezTo>
                    <a:cubicBezTo>
                      <a:pt x="166" y="263"/>
                      <a:pt x="166" y="262"/>
                      <a:pt x="166" y="262"/>
                    </a:cubicBezTo>
                    <a:cubicBezTo>
                      <a:pt x="166" y="262"/>
                      <a:pt x="166" y="261"/>
                      <a:pt x="166" y="261"/>
                    </a:cubicBezTo>
                    <a:cubicBezTo>
                      <a:pt x="166" y="261"/>
                      <a:pt x="165" y="261"/>
                      <a:pt x="165" y="261"/>
                    </a:cubicBezTo>
                    <a:cubicBezTo>
                      <a:pt x="165" y="261"/>
                      <a:pt x="165" y="261"/>
                      <a:pt x="165" y="261"/>
                    </a:cubicBezTo>
                    <a:cubicBezTo>
                      <a:pt x="165" y="262"/>
                      <a:pt x="164" y="262"/>
                      <a:pt x="164" y="262"/>
                    </a:cubicBezTo>
                    <a:cubicBezTo>
                      <a:pt x="164" y="262"/>
                      <a:pt x="163" y="262"/>
                      <a:pt x="163" y="262"/>
                    </a:cubicBezTo>
                    <a:cubicBezTo>
                      <a:pt x="163" y="262"/>
                      <a:pt x="163" y="262"/>
                      <a:pt x="162" y="262"/>
                    </a:cubicBezTo>
                    <a:cubicBezTo>
                      <a:pt x="162" y="262"/>
                      <a:pt x="162" y="261"/>
                      <a:pt x="162" y="261"/>
                    </a:cubicBezTo>
                    <a:cubicBezTo>
                      <a:pt x="162" y="261"/>
                      <a:pt x="162" y="261"/>
                      <a:pt x="161" y="261"/>
                    </a:cubicBezTo>
                    <a:cubicBezTo>
                      <a:pt x="161" y="261"/>
                      <a:pt x="161" y="260"/>
                      <a:pt x="161" y="260"/>
                    </a:cubicBezTo>
                    <a:cubicBezTo>
                      <a:pt x="161" y="260"/>
                      <a:pt x="161" y="259"/>
                      <a:pt x="161" y="259"/>
                    </a:cubicBezTo>
                    <a:cubicBezTo>
                      <a:pt x="161" y="259"/>
                      <a:pt x="161" y="259"/>
                      <a:pt x="161" y="260"/>
                    </a:cubicBezTo>
                    <a:cubicBezTo>
                      <a:pt x="160" y="260"/>
                      <a:pt x="160" y="261"/>
                      <a:pt x="161" y="261"/>
                    </a:cubicBezTo>
                    <a:cubicBezTo>
                      <a:pt x="161" y="261"/>
                      <a:pt x="161" y="262"/>
                      <a:pt x="161" y="262"/>
                    </a:cubicBezTo>
                    <a:cubicBezTo>
                      <a:pt x="161" y="262"/>
                      <a:pt x="161" y="262"/>
                      <a:pt x="161" y="263"/>
                    </a:cubicBezTo>
                    <a:cubicBezTo>
                      <a:pt x="161" y="263"/>
                      <a:pt x="161" y="263"/>
                      <a:pt x="161" y="263"/>
                    </a:cubicBezTo>
                    <a:cubicBezTo>
                      <a:pt x="161" y="263"/>
                      <a:pt x="161" y="264"/>
                      <a:pt x="160" y="264"/>
                    </a:cubicBezTo>
                    <a:cubicBezTo>
                      <a:pt x="160" y="264"/>
                      <a:pt x="160" y="264"/>
                      <a:pt x="160" y="265"/>
                    </a:cubicBezTo>
                    <a:cubicBezTo>
                      <a:pt x="160" y="265"/>
                      <a:pt x="160" y="266"/>
                      <a:pt x="160" y="266"/>
                    </a:cubicBezTo>
                    <a:cubicBezTo>
                      <a:pt x="160" y="266"/>
                      <a:pt x="160" y="266"/>
                      <a:pt x="160" y="266"/>
                    </a:cubicBezTo>
                    <a:cubicBezTo>
                      <a:pt x="159" y="266"/>
                      <a:pt x="159" y="267"/>
                      <a:pt x="159" y="267"/>
                    </a:cubicBezTo>
                    <a:cubicBezTo>
                      <a:pt x="159" y="267"/>
                      <a:pt x="159" y="268"/>
                      <a:pt x="159" y="268"/>
                    </a:cubicBezTo>
                    <a:cubicBezTo>
                      <a:pt x="159" y="268"/>
                      <a:pt x="159" y="268"/>
                      <a:pt x="159" y="268"/>
                    </a:cubicBezTo>
                    <a:cubicBezTo>
                      <a:pt x="158" y="269"/>
                      <a:pt x="158" y="269"/>
                      <a:pt x="158" y="269"/>
                    </a:cubicBezTo>
                    <a:cubicBezTo>
                      <a:pt x="158" y="269"/>
                      <a:pt x="158" y="269"/>
                      <a:pt x="158" y="269"/>
                    </a:cubicBezTo>
                    <a:cubicBezTo>
                      <a:pt x="157" y="270"/>
                      <a:pt x="157" y="270"/>
                      <a:pt x="156" y="270"/>
                    </a:cubicBezTo>
                    <a:cubicBezTo>
                      <a:pt x="156" y="270"/>
                      <a:pt x="156" y="270"/>
                      <a:pt x="156" y="271"/>
                    </a:cubicBezTo>
                    <a:cubicBezTo>
                      <a:pt x="155" y="271"/>
                      <a:pt x="156" y="272"/>
                      <a:pt x="156" y="272"/>
                    </a:cubicBezTo>
                    <a:cubicBezTo>
                      <a:pt x="156" y="273"/>
                      <a:pt x="155" y="273"/>
                      <a:pt x="155" y="273"/>
                    </a:cubicBezTo>
                    <a:cubicBezTo>
                      <a:pt x="155" y="273"/>
                      <a:pt x="155" y="273"/>
                      <a:pt x="154" y="273"/>
                    </a:cubicBezTo>
                    <a:cubicBezTo>
                      <a:pt x="154" y="274"/>
                      <a:pt x="154" y="274"/>
                      <a:pt x="154" y="274"/>
                    </a:cubicBezTo>
                    <a:cubicBezTo>
                      <a:pt x="154" y="274"/>
                      <a:pt x="154" y="275"/>
                      <a:pt x="154" y="275"/>
                    </a:cubicBezTo>
                    <a:cubicBezTo>
                      <a:pt x="154" y="275"/>
                      <a:pt x="154" y="275"/>
                      <a:pt x="154" y="276"/>
                    </a:cubicBezTo>
                    <a:cubicBezTo>
                      <a:pt x="154" y="276"/>
                      <a:pt x="154" y="276"/>
                      <a:pt x="154" y="276"/>
                    </a:cubicBezTo>
                    <a:cubicBezTo>
                      <a:pt x="154" y="276"/>
                      <a:pt x="154" y="276"/>
                      <a:pt x="155" y="276"/>
                    </a:cubicBezTo>
                    <a:cubicBezTo>
                      <a:pt x="155" y="276"/>
                      <a:pt x="155" y="277"/>
                      <a:pt x="155" y="277"/>
                    </a:cubicBezTo>
                    <a:cubicBezTo>
                      <a:pt x="155" y="277"/>
                      <a:pt x="154" y="277"/>
                      <a:pt x="154" y="278"/>
                    </a:cubicBezTo>
                    <a:cubicBezTo>
                      <a:pt x="154" y="278"/>
                      <a:pt x="153" y="279"/>
                      <a:pt x="153" y="279"/>
                    </a:cubicBezTo>
                    <a:cubicBezTo>
                      <a:pt x="153" y="280"/>
                      <a:pt x="153" y="281"/>
                      <a:pt x="152" y="282"/>
                    </a:cubicBezTo>
                    <a:cubicBezTo>
                      <a:pt x="152" y="282"/>
                      <a:pt x="152" y="284"/>
                      <a:pt x="151" y="284"/>
                    </a:cubicBezTo>
                    <a:cubicBezTo>
                      <a:pt x="151" y="285"/>
                      <a:pt x="151" y="286"/>
                      <a:pt x="150" y="286"/>
                    </a:cubicBezTo>
                    <a:cubicBezTo>
                      <a:pt x="150" y="286"/>
                      <a:pt x="149" y="287"/>
                      <a:pt x="149" y="287"/>
                    </a:cubicBezTo>
                    <a:cubicBezTo>
                      <a:pt x="149" y="288"/>
                      <a:pt x="148" y="288"/>
                      <a:pt x="148" y="288"/>
                    </a:cubicBezTo>
                    <a:cubicBezTo>
                      <a:pt x="148" y="288"/>
                      <a:pt x="147" y="289"/>
                      <a:pt x="147" y="289"/>
                    </a:cubicBezTo>
                    <a:cubicBezTo>
                      <a:pt x="147" y="290"/>
                      <a:pt x="146" y="290"/>
                      <a:pt x="146" y="290"/>
                    </a:cubicBezTo>
                    <a:cubicBezTo>
                      <a:pt x="145" y="290"/>
                      <a:pt x="145" y="290"/>
                      <a:pt x="145" y="290"/>
                    </a:cubicBezTo>
                    <a:cubicBezTo>
                      <a:pt x="145" y="285"/>
                      <a:pt x="145" y="285"/>
                      <a:pt x="145" y="285"/>
                    </a:cubicBezTo>
                    <a:cubicBezTo>
                      <a:pt x="148" y="282"/>
                      <a:pt x="148" y="282"/>
                      <a:pt x="148" y="282"/>
                    </a:cubicBezTo>
                    <a:cubicBezTo>
                      <a:pt x="147" y="281"/>
                      <a:pt x="147" y="281"/>
                      <a:pt x="147" y="281"/>
                    </a:cubicBezTo>
                    <a:cubicBezTo>
                      <a:pt x="147" y="281"/>
                      <a:pt x="144" y="278"/>
                      <a:pt x="144" y="278"/>
                    </a:cubicBezTo>
                    <a:cubicBezTo>
                      <a:pt x="144" y="278"/>
                      <a:pt x="144" y="276"/>
                      <a:pt x="144" y="276"/>
                    </a:cubicBezTo>
                    <a:cubicBezTo>
                      <a:pt x="144" y="276"/>
                      <a:pt x="143" y="276"/>
                      <a:pt x="143" y="276"/>
                    </a:cubicBezTo>
                    <a:cubicBezTo>
                      <a:pt x="143" y="276"/>
                      <a:pt x="142" y="275"/>
                      <a:pt x="142" y="275"/>
                    </a:cubicBezTo>
                    <a:cubicBezTo>
                      <a:pt x="142" y="275"/>
                      <a:pt x="141" y="275"/>
                      <a:pt x="141" y="275"/>
                    </a:cubicBezTo>
                    <a:cubicBezTo>
                      <a:pt x="141" y="275"/>
                      <a:pt x="141" y="275"/>
                      <a:pt x="141" y="275"/>
                    </a:cubicBezTo>
                    <a:cubicBezTo>
                      <a:pt x="138" y="273"/>
                      <a:pt x="138" y="273"/>
                      <a:pt x="138" y="273"/>
                    </a:cubicBezTo>
                    <a:cubicBezTo>
                      <a:pt x="138" y="272"/>
                      <a:pt x="138" y="272"/>
                      <a:pt x="138" y="272"/>
                    </a:cubicBezTo>
                    <a:cubicBezTo>
                      <a:pt x="138" y="272"/>
                      <a:pt x="137" y="271"/>
                      <a:pt x="136" y="271"/>
                    </a:cubicBezTo>
                    <a:cubicBezTo>
                      <a:pt x="136" y="271"/>
                      <a:pt x="135" y="271"/>
                      <a:pt x="135" y="271"/>
                    </a:cubicBezTo>
                    <a:cubicBezTo>
                      <a:pt x="135" y="271"/>
                      <a:pt x="134" y="269"/>
                      <a:pt x="134" y="269"/>
                    </a:cubicBezTo>
                    <a:cubicBezTo>
                      <a:pt x="134" y="270"/>
                      <a:pt x="134" y="270"/>
                      <a:pt x="134" y="270"/>
                    </a:cubicBezTo>
                    <a:cubicBezTo>
                      <a:pt x="134" y="270"/>
                      <a:pt x="133" y="270"/>
                      <a:pt x="133" y="270"/>
                    </a:cubicBezTo>
                    <a:cubicBezTo>
                      <a:pt x="133" y="270"/>
                      <a:pt x="132" y="269"/>
                      <a:pt x="132" y="269"/>
                    </a:cubicBezTo>
                    <a:cubicBezTo>
                      <a:pt x="132" y="269"/>
                      <a:pt x="132" y="267"/>
                      <a:pt x="132" y="267"/>
                    </a:cubicBezTo>
                    <a:cubicBezTo>
                      <a:pt x="132" y="267"/>
                      <a:pt x="131" y="267"/>
                      <a:pt x="131" y="267"/>
                    </a:cubicBezTo>
                    <a:cubicBezTo>
                      <a:pt x="130" y="266"/>
                      <a:pt x="130" y="266"/>
                      <a:pt x="130" y="266"/>
                    </a:cubicBezTo>
                    <a:cubicBezTo>
                      <a:pt x="130" y="266"/>
                      <a:pt x="130" y="267"/>
                      <a:pt x="130" y="267"/>
                    </a:cubicBezTo>
                    <a:cubicBezTo>
                      <a:pt x="129" y="267"/>
                      <a:pt x="128" y="268"/>
                      <a:pt x="128" y="268"/>
                    </a:cubicBezTo>
                    <a:cubicBezTo>
                      <a:pt x="127" y="268"/>
                      <a:pt x="127" y="268"/>
                      <a:pt x="127" y="268"/>
                    </a:cubicBezTo>
                    <a:cubicBezTo>
                      <a:pt x="127" y="266"/>
                      <a:pt x="127" y="266"/>
                      <a:pt x="127" y="266"/>
                    </a:cubicBezTo>
                    <a:cubicBezTo>
                      <a:pt x="127" y="266"/>
                      <a:pt x="126" y="264"/>
                      <a:pt x="125" y="264"/>
                    </a:cubicBezTo>
                    <a:cubicBezTo>
                      <a:pt x="125" y="263"/>
                      <a:pt x="121" y="260"/>
                      <a:pt x="121" y="260"/>
                    </a:cubicBezTo>
                    <a:cubicBezTo>
                      <a:pt x="121" y="260"/>
                      <a:pt x="120" y="260"/>
                      <a:pt x="120" y="260"/>
                    </a:cubicBezTo>
                    <a:cubicBezTo>
                      <a:pt x="120" y="260"/>
                      <a:pt x="120" y="260"/>
                      <a:pt x="119" y="260"/>
                    </a:cubicBezTo>
                    <a:cubicBezTo>
                      <a:pt x="119" y="260"/>
                      <a:pt x="119" y="261"/>
                      <a:pt x="119" y="261"/>
                    </a:cubicBezTo>
                    <a:cubicBezTo>
                      <a:pt x="119" y="261"/>
                      <a:pt x="118" y="261"/>
                      <a:pt x="118" y="261"/>
                    </a:cubicBezTo>
                    <a:cubicBezTo>
                      <a:pt x="118" y="261"/>
                      <a:pt x="117" y="261"/>
                      <a:pt x="117" y="261"/>
                    </a:cubicBezTo>
                    <a:cubicBezTo>
                      <a:pt x="117" y="261"/>
                      <a:pt x="116" y="261"/>
                      <a:pt x="116" y="261"/>
                    </a:cubicBezTo>
                    <a:cubicBezTo>
                      <a:pt x="116" y="261"/>
                      <a:pt x="116" y="261"/>
                      <a:pt x="116" y="261"/>
                    </a:cubicBezTo>
                    <a:cubicBezTo>
                      <a:pt x="116" y="261"/>
                      <a:pt x="117" y="260"/>
                      <a:pt x="117" y="260"/>
                    </a:cubicBezTo>
                    <a:cubicBezTo>
                      <a:pt x="117" y="260"/>
                      <a:pt x="117" y="259"/>
                      <a:pt x="117" y="259"/>
                    </a:cubicBezTo>
                    <a:cubicBezTo>
                      <a:pt x="117" y="259"/>
                      <a:pt x="118" y="259"/>
                      <a:pt x="118" y="259"/>
                    </a:cubicBezTo>
                    <a:cubicBezTo>
                      <a:pt x="118" y="259"/>
                      <a:pt x="118" y="258"/>
                      <a:pt x="118" y="258"/>
                    </a:cubicBezTo>
                    <a:cubicBezTo>
                      <a:pt x="118" y="257"/>
                      <a:pt x="119" y="257"/>
                      <a:pt x="119" y="257"/>
                    </a:cubicBezTo>
                    <a:cubicBezTo>
                      <a:pt x="119" y="257"/>
                      <a:pt x="119" y="257"/>
                      <a:pt x="120" y="257"/>
                    </a:cubicBezTo>
                    <a:cubicBezTo>
                      <a:pt x="120" y="256"/>
                      <a:pt x="120" y="256"/>
                      <a:pt x="121" y="256"/>
                    </a:cubicBezTo>
                    <a:cubicBezTo>
                      <a:pt x="121" y="255"/>
                      <a:pt x="122" y="254"/>
                      <a:pt x="122" y="254"/>
                    </a:cubicBezTo>
                    <a:cubicBezTo>
                      <a:pt x="122" y="254"/>
                      <a:pt x="122" y="253"/>
                      <a:pt x="123" y="253"/>
                    </a:cubicBezTo>
                    <a:cubicBezTo>
                      <a:pt x="123" y="252"/>
                      <a:pt x="123" y="252"/>
                      <a:pt x="124" y="252"/>
                    </a:cubicBezTo>
                    <a:cubicBezTo>
                      <a:pt x="124" y="252"/>
                      <a:pt x="124" y="252"/>
                      <a:pt x="124" y="252"/>
                    </a:cubicBezTo>
                    <a:cubicBezTo>
                      <a:pt x="124" y="252"/>
                      <a:pt x="124" y="251"/>
                      <a:pt x="124" y="251"/>
                    </a:cubicBezTo>
                    <a:cubicBezTo>
                      <a:pt x="124" y="251"/>
                      <a:pt x="125" y="250"/>
                      <a:pt x="125" y="250"/>
                    </a:cubicBezTo>
                    <a:cubicBezTo>
                      <a:pt x="125" y="250"/>
                      <a:pt x="126" y="249"/>
                      <a:pt x="126" y="249"/>
                    </a:cubicBezTo>
                    <a:cubicBezTo>
                      <a:pt x="126" y="249"/>
                      <a:pt x="127" y="248"/>
                      <a:pt x="127" y="248"/>
                    </a:cubicBezTo>
                    <a:cubicBezTo>
                      <a:pt x="127" y="248"/>
                      <a:pt x="127" y="247"/>
                      <a:pt x="128" y="247"/>
                    </a:cubicBezTo>
                    <a:cubicBezTo>
                      <a:pt x="128" y="247"/>
                      <a:pt x="128" y="247"/>
                      <a:pt x="128" y="246"/>
                    </a:cubicBezTo>
                    <a:cubicBezTo>
                      <a:pt x="128" y="246"/>
                      <a:pt x="128" y="246"/>
                      <a:pt x="128" y="246"/>
                    </a:cubicBezTo>
                    <a:cubicBezTo>
                      <a:pt x="128" y="246"/>
                      <a:pt x="129" y="246"/>
                      <a:pt x="129" y="246"/>
                    </a:cubicBezTo>
                    <a:cubicBezTo>
                      <a:pt x="129" y="246"/>
                      <a:pt x="129" y="246"/>
                      <a:pt x="129" y="246"/>
                    </a:cubicBezTo>
                    <a:cubicBezTo>
                      <a:pt x="130" y="246"/>
                      <a:pt x="130" y="245"/>
                      <a:pt x="130" y="245"/>
                    </a:cubicBezTo>
                    <a:cubicBezTo>
                      <a:pt x="129" y="245"/>
                      <a:pt x="129" y="245"/>
                      <a:pt x="129" y="245"/>
                    </a:cubicBezTo>
                    <a:cubicBezTo>
                      <a:pt x="129" y="245"/>
                      <a:pt x="129" y="244"/>
                      <a:pt x="129" y="244"/>
                    </a:cubicBezTo>
                    <a:cubicBezTo>
                      <a:pt x="130" y="244"/>
                      <a:pt x="130" y="244"/>
                      <a:pt x="130" y="244"/>
                    </a:cubicBezTo>
                    <a:cubicBezTo>
                      <a:pt x="130" y="244"/>
                      <a:pt x="131" y="244"/>
                      <a:pt x="131" y="244"/>
                    </a:cubicBezTo>
                    <a:cubicBezTo>
                      <a:pt x="131" y="244"/>
                      <a:pt x="132" y="243"/>
                      <a:pt x="132" y="243"/>
                    </a:cubicBezTo>
                    <a:cubicBezTo>
                      <a:pt x="132" y="242"/>
                      <a:pt x="133" y="242"/>
                      <a:pt x="133" y="242"/>
                    </a:cubicBezTo>
                    <a:cubicBezTo>
                      <a:pt x="133" y="242"/>
                      <a:pt x="134" y="242"/>
                      <a:pt x="134" y="242"/>
                    </a:cubicBezTo>
                    <a:cubicBezTo>
                      <a:pt x="134" y="242"/>
                      <a:pt x="134" y="241"/>
                      <a:pt x="134" y="241"/>
                    </a:cubicBezTo>
                    <a:cubicBezTo>
                      <a:pt x="134" y="241"/>
                      <a:pt x="135" y="241"/>
                      <a:pt x="135" y="241"/>
                    </a:cubicBezTo>
                    <a:cubicBezTo>
                      <a:pt x="135" y="241"/>
                      <a:pt x="135" y="240"/>
                      <a:pt x="135" y="240"/>
                    </a:cubicBezTo>
                    <a:cubicBezTo>
                      <a:pt x="135" y="240"/>
                      <a:pt x="135" y="239"/>
                      <a:pt x="135" y="239"/>
                    </a:cubicBezTo>
                    <a:cubicBezTo>
                      <a:pt x="135" y="239"/>
                      <a:pt x="136" y="239"/>
                      <a:pt x="136" y="239"/>
                    </a:cubicBezTo>
                    <a:cubicBezTo>
                      <a:pt x="136" y="239"/>
                      <a:pt x="136" y="239"/>
                      <a:pt x="136" y="239"/>
                    </a:cubicBezTo>
                    <a:cubicBezTo>
                      <a:pt x="137" y="239"/>
                      <a:pt x="137" y="239"/>
                      <a:pt x="137" y="239"/>
                    </a:cubicBezTo>
                    <a:cubicBezTo>
                      <a:pt x="137" y="239"/>
                      <a:pt x="137" y="238"/>
                      <a:pt x="137" y="238"/>
                    </a:cubicBezTo>
                    <a:cubicBezTo>
                      <a:pt x="137" y="238"/>
                      <a:pt x="138" y="239"/>
                      <a:pt x="138" y="239"/>
                    </a:cubicBezTo>
                    <a:cubicBezTo>
                      <a:pt x="138" y="239"/>
                      <a:pt x="138" y="238"/>
                      <a:pt x="138" y="238"/>
                    </a:cubicBezTo>
                    <a:cubicBezTo>
                      <a:pt x="138" y="238"/>
                      <a:pt x="139" y="238"/>
                      <a:pt x="139" y="238"/>
                    </a:cubicBezTo>
                    <a:cubicBezTo>
                      <a:pt x="139" y="238"/>
                      <a:pt x="139" y="238"/>
                      <a:pt x="139" y="238"/>
                    </a:cubicBezTo>
                    <a:cubicBezTo>
                      <a:pt x="139" y="238"/>
                      <a:pt x="139" y="238"/>
                      <a:pt x="140" y="238"/>
                    </a:cubicBezTo>
                    <a:cubicBezTo>
                      <a:pt x="140" y="238"/>
                      <a:pt x="140" y="237"/>
                      <a:pt x="140" y="237"/>
                    </a:cubicBezTo>
                    <a:cubicBezTo>
                      <a:pt x="140" y="237"/>
                      <a:pt x="141" y="237"/>
                      <a:pt x="141" y="237"/>
                    </a:cubicBezTo>
                    <a:cubicBezTo>
                      <a:pt x="141" y="237"/>
                      <a:pt x="141" y="237"/>
                      <a:pt x="141" y="237"/>
                    </a:cubicBezTo>
                    <a:cubicBezTo>
                      <a:pt x="141" y="237"/>
                      <a:pt x="141" y="236"/>
                      <a:pt x="141" y="236"/>
                    </a:cubicBezTo>
                    <a:cubicBezTo>
                      <a:pt x="141" y="236"/>
                      <a:pt x="142" y="236"/>
                      <a:pt x="143" y="236"/>
                    </a:cubicBezTo>
                    <a:cubicBezTo>
                      <a:pt x="143" y="236"/>
                      <a:pt x="143" y="236"/>
                      <a:pt x="143" y="236"/>
                    </a:cubicBezTo>
                    <a:cubicBezTo>
                      <a:pt x="143" y="236"/>
                      <a:pt x="143" y="235"/>
                      <a:pt x="143" y="235"/>
                    </a:cubicBezTo>
                    <a:cubicBezTo>
                      <a:pt x="143" y="235"/>
                      <a:pt x="144" y="235"/>
                      <a:pt x="144" y="235"/>
                    </a:cubicBezTo>
                    <a:cubicBezTo>
                      <a:pt x="144" y="235"/>
                      <a:pt x="144" y="234"/>
                      <a:pt x="144" y="234"/>
                    </a:cubicBezTo>
                    <a:cubicBezTo>
                      <a:pt x="144" y="234"/>
                      <a:pt x="143" y="233"/>
                      <a:pt x="143" y="233"/>
                    </a:cubicBezTo>
                    <a:cubicBezTo>
                      <a:pt x="143" y="233"/>
                      <a:pt x="143" y="233"/>
                      <a:pt x="143" y="233"/>
                    </a:cubicBezTo>
                    <a:cubicBezTo>
                      <a:pt x="143" y="233"/>
                      <a:pt x="143" y="232"/>
                      <a:pt x="143" y="232"/>
                    </a:cubicBezTo>
                    <a:cubicBezTo>
                      <a:pt x="143" y="232"/>
                      <a:pt x="143" y="231"/>
                      <a:pt x="143" y="231"/>
                    </a:cubicBezTo>
                    <a:cubicBezTo>
                      <a:pt x="143" y="231"/>
                      <a:pt x="144" y="231"/>
                      <a:pt x="144" y="230"/>
                    </a:cubicBezTo>
                    <a:cubicBezTo>
                      <a:pt x="144" y="230"/>
                      <a:pt x="144" y="230"/>
                      <a:pt x="144" y="230"/>
                    </a:cubicBezTo>
                    <a:cubicBezTo>
                      <a:pt x="144" y="230"/>
                      <a:pt x="144" y="229"/>
                      <a:pt x="144" y="229"/>
                    </a:cubicBezTo>
                    <a:cubicBezTo>
                      <a:pt x="144" y="229"/>
                      <a:pt x="143" y="228"/>
                      <a:pt x="143" y="228"/>
                    </a:cubicBezTo>
                    <a:cubicBezTo>
                      <a:pt x="143" y="228"/>
                      <a:pt x="143" y="227"/>
                      <a:pt x="143" y="227"/>
                    </a:cubicBezTo>
                    <a:cubicBezTo>
                      <a:pt x="142" y="227"/>
                      <a:pt x="142" y="226"/>
                      <a:pt x="142" y="226"/>
                    </a:cubicBezTo>
                    <a:cubicBezTo>
                      <a:pt x="142" y="226"/>
                      <a:pt x="142" y="225"/>
                      <a:pt x="142" y="225"/>
                    </a:cubicBezTo>
                    <a:cubicBezTo>
                      <a:pt x="142" y="224"/>
                      <a:pt x="142" y="224"/>
                      <a:pt x="142" y="224"/>
                    </a:cubicBezTo>
                    <a:cubicBezTo>
                      <a:pt x="142" y="224"/>
                      <a:pt x="142" y="224"/>
                      <a:pt x="141" y="224"/>
                    </a:cubicBezTo>
                    <a:cubicBezTo>
                      <a:pt x="141" y="224"/>
                      <a:pt x="141" y="224"/>
                      <a:pt x="141" y="224"/>
                    </a:cubicBezTo>
                    <a:cubicBezTo>
                      <a:pt x="141" y="224"/>
                      <a:pt x="141" y="223"/>
                      <a:pt x="141" y="223"/>
                    </a:cubicBezTo>
                    <a:cubicBezTo>
                      <a:pt x="141" y="223"/>
                      <a:pt x="140" y="223"/>
                      <a:pt x="140" y="223"/>
                    </a:cubicBezTo>
                    <a:cubicBezTo>
                      <a:pt x="140" y="224"/>
                      <a:pt x="140" y="224"/>
                      <a:pt x="140" y="224"/>
                    </a:cubicBezTo>
                    <a:cubicBezTo>
                      <a:pt x="139" y="224"/>
                      <a:pt x="139" y="224"/>
                      <a:pt x="139" y="224"/>
                    </a:cubicBezTo>
                    <a:cubicBezTo>
                      <a:pt x="138" y="225"/>
                      <a:pt x="138" y="225"/>
                      <a:pt x="138" y="225"/>
                    </a:cubicBezTo>
                    <a:cubicBezTo>
                      <a:pt x="138" y="224"/>
                      <a:pt x="138" y="224"/>
                      <a:pt x="138" y="224"/>
                    </a:cubicBezTo>
                    <a:cubicBezTo>
                      <a:pt x="137" y="224"/>
                      <a:pt x="137" y="224"/>
                      <a:pt x="137" y="224"/>
                    </a:cubicBezTo>
                    <a:cubicBezTo>
                      <a:pt x="137" y="222"/>
                      <a:pt x="137" y="222"/>
                      <a:pt x="137" y="222"/>
                    </a:cubicBezTo>
                    <a:cubicBezTo>
                      <a:pt x="137" y="222"/>
                      <a:pt x="138" y="222"/>
                      <a:pt x="138" y="222"/>
                    </a:cubicBezTo>
                    <a:cubicBezTo>
                      <a:pt x="138" y="222"/>
                      <a:pt x="138" y="221"/>
                      <a:pt x="138" y="221"/>
                    </a:cubicBezTo>
                    <a:cubicBezTo>
                      <a:pt x="138" y="221"/>
                      <a:pt x="138" y="220"/>
                      <a:pt x="138" y="220"/>
                    </a:cubicBezTo>
                    <a:cubicBezTo>
                      <a:pt x="138" y="220"/>
                      <a:pt x="138" y="219"/>
                      <a:pt x="138" y="219"/>
                    </a:cubicBezTo>
                    <a:cubicBezTo>
                      <a:pt x="138" y="219"/>
                      <a:pt x="139" y="216"/>
                      <a:pt x="139" y="215"/>
                    </a:cubicBezTo>
                    <a:cubicBezTo>
                      <a:pt x="139" y="215"/>
                      <a:pt x="140" y="214"/>
                      <a:pt x="140" y="214"/>
                    </a:cubicBezTo>
                    <a:cubicBezTo>
                      <a:pt x="140" y="214"/>
                      <a:pt x="139" y="214"/>
                      <a:pt x="139" y="213"/>
                    </a:cubicBezTo>
                    <a:cubicBezTo>
                      <a:pt x="139" y="213"/>
                      <a:pt x="139" y="213"/>
                      <a:pt x="139" y="213"/>
                    </a:cubicBezTo>
                    <a:cubicBezTo>
                      <a:pt x="139" y="213"/>
                      <a:pt x="139" y="212"/>
                      <a:pt x="139" y="212"/>
                    </a:cubicBezTo>
                    <a:cubicBezTo>
                      <a:pt x="139" y="212"/>
                      <a:pt x="139" y="212"/>
                      <a:pt x="139" y="212"/>
                    </a:cubicBezTo>
                    <a:cubicBezTo>
                      <a:pt x="139" y="212"/>
                      <a:pt x="137" y="210"/>
                      <a:pt x="137" y="210"/>
                    </a:cubicBezTo>
                    <a:cubicBezTo>
                      <a:pt x="134" y="211"/>
                      <a:pt x="134" y="211"/>
                      <a:pt x="134" y="211"/>
                    </a:cubicBezTo>
                    <a:cubicBezTo>
                      <a:pt x="131" y="211"/>
                      <a:pt x="131" y="211"/>
                      <a:pt x="131" y="211"/>
                    </a:cubicBezTo>
                    <a:cubicBezTo>
                      <a:pt x="131" y="211"/>
                      <a:pt x="131" y="210"/>
                      <a:pt x="131" y="210"/>
                    </a:cubicBezTo>
                    <a:cubicBezTo>
                      <a:pt x="131" y="210"/>
                      <a:pt x="131" y="209"/>
                      <a:pt x="131" y="209"/>
                    </a:cubicBezTo>
                    <a:cubicBezTo>
                      <a:pt x="131" y="209"/>
                      <a:pt x="131" y="209"/>
                      <a:pt x="131" y="209"/>
                    </a:cubicBezTo>
                    <a:cubicBezTo>
                      <a:pt x="131" y="205"/>
                      <a:pt x="131" y="205"/>
                      <a:pt x="131" y="205"/>
                    </a:cubicBezTo>
                    <a:cubicBezTo>
                      <a:pt x="131" y="205"/>
                      <a:pt x="130" y="205"/>
                      <a:pt x="130" y="205"/>
                    </a:cubicBezTo>
                    <a:cubicBezTo>
                      <a:pt x="130" y="205"/>
                      <a:pt x="130" y="205"/>
                      <a:pt x="130" y="205"/>
                    </a:cubicBezTo>
                    <a:cubicBezTo>
                      <a:pt x="130" y="203"/>
                      <a:pt x="130" y="203"/>
                      <a:pt x="130" y="203"/>
                    </a:cubicBezTo>
                    <a:cubicBezTo>
                      <a:pt x="130" y="203"/>
                      <a:pt x="130" y="203"/>
                      <a:pt x="130" y="203"/>
                    </a:cubicBezTo>
                    <a:cubicBezTo>
                      <a:pt x="130" y="203"/>
                      <a:pt x="130" y="202"/>
                      <a:pt x="130" y="202"/>
                    </a:cubicBezTo>
                    <a:cubicBezTo>
                      <a:pt x="130" y="202"/>
                      <a:pt x="130" y="202"/>
                      <a:pt x="130" y="202"/>
                    </a:cubicBezTo>
                    <a:cubicBezTo>
                      <a:pt x="130" y="202"/>
                      <a:pt x="130" y="201"/>
                      <a:pt x="130" y="201"/>
                    </a:cubicBezTo>
                    <a:cubicBezTo>
                      <a:pt x="129" y="200"/>
                      <a:pt x="129" y="200"/>
                      <a:pt x="129" y="200"/>
                    </a:cubicBezTo>
                    <a:cubicBezTo>
                      <a:pt x="129" y="199"/>
                      <a:pt x="129" y="199"/>
                      <a:pt x="129" y="199"/>
                    </a:cubicBezTo>
                    <a:cubicBezTo>
                      <a:pt x="128" y="198"/>
                      <a:pt x="128" y="198"/>
                      <a:pt x="128" y="198"/>
                    </a:cubicBezTo>
                    <a:cubicBezTo>
                      <a:pt x="126" y="198"/>
                      <a:pt x="126" y="198"/>
                      <a:pt x="126" y="198"/>
                    </a:cubicBezTo>
                    <a:cubicBezTo>
                      <a:pt x="125" y="198"/>
                      <a:pt x="125" y="198"/>
                      <a:pt x="125" y="198"/>
                    </a:cubicBezTo>
                    <a:cubicBezTo>
                      <a:pt x="125" y="197"/>
                      <a:pt x="125" y="197"/>
                      <a:pt x="125" y="197"/>
                    </a:cubicBezTo>
                    <a:cubicBezTo>
                      <a:pt x="124" y="197"/>
                      <a:pt x="124" y="197"/>
                      <a:pt x="124" y="197"/>
                    </a:cubicBezTo>
                    <a:cubicBezTo>
                      <a:pt x="123" y="198"/>
                      <a:pt x="123" y="198"/>
                      <a:pt x="123" y="198"/>
                    </a:cubicBezTo>
                    <a:cubicBezTo>
                      <a:pt x="123" y="198"/>
                      <a:pt x="122" y="198"/>
                      <a:pt x="122" y="198"/>
                    </a:cubicBezTo>
                    <a:cubicBezTo>
                      <a:pt x="122" y="198"/>
                      <a:pt x="122" y="198"/>
                      <a:pt x="122" y="198"/>
                    </a:cubicBezTo>
                    <a:cubicBezTo>
                      <a:pt x="120" y="198"/>
                      <a:pt x="120" y="198"/>
                      <a:pt x="120" y="198"/>
                    </a:cubicBezTo>
                    <a:cubicBezTo>
                      <a:pt x="117" y="198"/>
                      <a:pt x="117" y="198"/>
                      <a:pt x="117" y="198"/>
                    </a:cubicBezTo>
                    <a:cubicBezTo>
                      <a:pt x="116" y="198"/>
                      <a:pt x="116" y="198"/>
                      <a:pt x="116" y="198"/>
                    </a:cubicBezTo>
                    <a:cubicBezTo>
                      <a:pt x="116" y="197"/>
                      <a:pt x="116" y="197"/>
                      <a:pt x="116" y="197"/>
                    </a:cubicBezTo>
                    <a:cubicBezTo>
                      <a:pt x="116" y="197"/>
                      <a:pt x="116" y="197"/>
                      <a:pt x="116" y="197"/>
                    </a:cubicBezTo>
                    <a:cubicBezTo>
                      <a:pt x="115" y="197"/>
                      <a:pt x="115" y="197"/>
                      <a:pt x="115" y="197"/>
                    </a:cubicBezTo>
                    <a:cubicBezTo>
                      <a:pt x="114" y="197"/>
                      <a:pt x="114" y="197"/>
                      <a:pt x="114" y="197"/>
                    </a:cubicBezTo>
                    <a:cubicBezTo>
                      <a:pt x="114" y="197"/>
                      <a:pt x="113" y="196"/>
                      <a:pt x="113" y="196"/>
                    </a:cubicBezTo>
                    <a:cubicBezTo>
                      <a:pt x="113" y="196"/>
                      <a:pt x="114" y="196"/>
                      <a:pt x="114" y="195"/>
                    </a:cubicBezTo>
                    <a:cubicBezTo>
                      <a:pt x="114" y="195"/>
                      <a:pt x="114" y="195"/>
                      <a:pt x="114" y="195"/>
                    </a:cubicBezTo>
                    <a:cubicBezTo>
                      <a:pt x="114" y="195"/>
                      <a:pt x="113" y="195"/>
                      <a:pt x="113" y="195"/>
                    </a:cubicBezTo>
                    <a:cubicBezTo>
                      <a:pt x="113" y="195"/>
                      <a:pt x="114" y="195"/>
                      <a:pt x="114" y="194"/>
                    </a:cubicBezTo>
                    <a:cubicBezTo>
                      <a:pt x="114" y="194"/>
                      <a:pt x="114" y="194"/>
                      <a:pt x="114" y="194"/>
                    </a:cubicBezTo>
                    <a:cubicBezTo>
                      <a:pt x="114" y="193"/>
                      <a:pt x="114" y="193"/>
                      <a:pt x="114" y="193"/>
                    </a:cubicBezTo>
                    <a:cubicBezTo>
                      <a:pt x="114" y="193"/>
                      <a:pt x="114" y="193"/>
                      <a:pt x="113" y="192"/>
                    </a:cubicBezTo>
                    <a:cubicBezTo>
                      <a:pt x="113" y="192"/>
                      <a:pt x="114" y="192"/>
                      <a:pt x="114" y="192"/>
                    </a:cubicBezTo>
                    <a:cubicBezTo>
                      <a:pt x="114" y="192"/>
                      <a:pt x="114" y="191"/>
                      <a:pt x="114" y="191"/>
                    </a:cubicBezTo>
                    <a:cubicBezTo>
                      <a:pt x="114" y="191"/>
                      <a:pt x="114" y="191"/>
                      <a:pt x="114" y="191"/>
                    </a:cubicBezTo>
                    <a:cubicBezTo>
                      <a:pt x="114" y="191"/>
                      <a:pt x="114" y="190"/>
                      <a:pt x="114" y="190"/>
                    </a:cubicBezTo>
                    <a:cubicBezTo>
                      <a:pt x="114" y="190"/>
                      <a:pt x="115" y="188"/>
                      <a:pt x="115" y="188"/>
                    </a:cubicBezTo>
                    <a:cubicBezTo>
                      <a:pt x="115" y="188"/>
                      <a:pt x="114" y="188"/>
                      <a:pt x="114" y="188"/>
                    </a:cubicBezTo>
                    <a:cubicBezTo>
                      <a:pt x="114" y="188"/>
                      <a:pt x="114" y="188"/>
                      <a:pt x="114" y="187"/>
                    </a:cubicBezTo>
                    <a:cubicBezTo>
                      <a:pt x="114" y="187"/>
                      <a:pt x="114" y="187"/>
                      <a:pt x="114" y="187"/>
                    </a:cubicBezTo>
                    <a:cubicBezTo>
                      <a:pt x="114" y="187"/>
                      <a:pt x="114" y="187"/>
                      <a:pt x="114" y="187"/>
                    </a:cubicBezTo>
                    <a:cubicBezTo>
                      <a:pt x="114" y="186"/>
                      <a:pt x="114" y="186"/>
                      <a:pt x="114" y="186"/>
                    </a:cubicBezTo>
                    <a:cubicBezTo>
                      <a:pt x="114" y="186"/>
                      <a:pt x="113" y="186"/>
                      <a:pt x="113" y="186"/>
                    </a:cubicBezTo>
                    <a:cubicBezTo>
                      <a:pt x="113" y="184"/>
                      <a:pt x="113" y="184"/>
                      <a:pt x="113" y="184"/>
                    </a:cubicBezTo>
                    <a:cubicBezTo>
                      <a:pt x="112" y="182"/>
                      <a:pt x="112" y="182"/>
                      <a:pt x="112" y="182"/>
                    </a:cubicBezTo>
                    <a:cubicBezTo>
                      <a:pt x="112" y="182"/>
                      <a:pt x="112" y="182"/>
                      <a:pt x="112" y="182"/>
                    </a:cubicBezTo>
                    <a:cubicBezTo>
                      <a:pt x="114" y="181"/>
                      <a:pt x="114" y="181"/>
                      <a:pt x="114" y="181"/>
                    </a:cubicBezTo>
                    <a:cubicBezTo>
                      <a:pt x="112" y="179"/>
                      <a:pt x="112" y="179"/>
                      <a:pt x="112" y="179"/>
                    </a:cubicBezTo>
                    <a:cubicBezTo>
                      <a:pt x="115" y="174"/>
                      <a:pt x="115" y="174"/>
                      <a:pt x="115" y="174"/>
                    </a:cubicBezTo>
                    <a:cubicBezTo>
                      <a:pt x="115" y="174"/>
                      <a:pt x="115" y="173"/>
                      <a:pt x="115" y="173"/>
                    </a:cubicBezTo>
                    <a:cubicBezTo>
                      <a:pt x="115" y="173"/>
                      <a:pt x="115" y="173"/>
                      <a:pt x="115" y="172"/>
                    </a:cubicBezTo>
                    <a:cubicBezTo>
                      <a:pt x="115" y="172"/>
                      <a:pt x="115" y="172"/>
                      <a:pt x="115" y="172"/>
                    </a:cubicBezTo>
                    <a:cubicBezTo>
                      <a:pt x="115" y="172"/>
                      <a:pt x="115" y="171"/>
                      <a:pt x="115" y="171"/>
                    </a:cubicBezTo>
                    <a:cubicBezTo>
                      <a:pt x="115" y="171"/>
                      <a:pt x="116" y="169"/>
                      <a:pt x="116" y="169"/>
                    </a:cubicBezTo>
                    <a:cubicBezTo>
                      <a:pt x="116" y="169"/>
                      <a:pt x="116" y="168"/>
                      <a:pt x="116" y="168"/>
                    </a:cubicBezTo>
                    <a:cubicBezTo>
                      <a:pt x="117" y="168"/>
                      <a:pt x="117" y="168"/>
                      <a:pt x="117" y="168"/>
                    </a:cubicBezTo>
                    <a:cubicBezTo>
                      <a:pt x="117" y="168"/>
                      <a:pt x="115" y="165"/>
                      <a:pt x="115" y="165"/>
                    </a:cubicBezTo>
                    <a:cubicBezTo>
                      <a:pt x="115" y="165"/>
                      <a:pt x="115" y="163"/>
                      <a:pt x="115" y="163"/>
                    </a:cubicBezTo>
                    <a:cubicBezTo>
                      <a:pt x="114" y="162"/>
                      <a:pt x="114" y="162"/>
                      <a:pt x="114" y="162"/>
                    </a:cubicBezTo>
                    <a:cubicBezTo>
                      <a:pt x="114" y="162"/>
                      <a:pt x="114" y="162"/>
                      <a:pt x="113" y="162"/>
                    </a:cubicBezTo>
                    <a:cubicBezTo>
                      <a:pt x="113" y="162"/>
                      <a:pt x="113" y="162"/>
                      <a:pt x="113" y="162"/>
                    </a:cubicBezTo>
                    <a:cubicBezTo>
                      <a:pt x="113" y="162"/>
                      <a:pt x="110" y="160"/>
                      <a:pt x="110" y="160"/>
                    </a:cubicBezTo>
                    <a:cubicBezTo>
                      <a:pt x="110" y="160"/>
                      <a:pt x="110" y="159"/>
                      <a:pt x="110" y="159"/>
                    </a:cubicBezTo>
                    <a:cubicBezTo>
                      <a:pt x="110" y="159"/>
                      <a:pt x="110" y="158"/>
                      <a:pt x="110" y="158"/>
                    </a:cubicBezTo>
                    <a:cubicBezTo>
                      <a:pt x="110" y="158"/>
                      <a:pt x="110" y="157"/>
                      <a:pt x="110" y="157"/>
                    </a:cubicBezTo>
                    <a:cubicBezTo>
                      <a:pt x="110" y="157"/>
                      <a:pt x="110" y="156"/>
                      <a:pt x="110" y="155"/>
                    </a:cubicBezTo>
                    <a:cubicBezTo>
                      <a:pt x="110" y="155"/>
                      <a:pt x="111" y="153"/>
                      <a:pt x="111" y="153"/>
                    </a:cubicBezTo>
                    <a:cubicBezTo>
                      <a:pt x="111" y="153"/>
                      <a:pt x="111" y="153"/>
                      <a:pt x="111" y="153"/>
                    </a:cubicBezTo>
                    <a:cubicBezTo>
                      <a:pt x="110" y="154"/>
                      <a:pt x="110" y="154"/>
                      <a:pt x="110" y="154"/>
                    </a:cubicBezTo>
                    <a:cubicBezTo>
                      <a:pt x="98" y="153"/>
                      <a:pt x="98" y="153"/>
                      <a:pt x="98" y="153"/>
                    </a:cubicBezTo>
                    <a:cubicBezTo>
                      <a:pt x="97" y="147"/>
                      <a:pt x="97" y="147"/>
                      <a:pt x="97" y="147"/>
                    </a:cubicBezTo>
                    <a:cubicBezTo>
                      <a:pt x="95" y="145"/>
                      <a:pt x="95" y="145"/>
                      <a:pt x="95" y="145"/>
                    </a:cubicBezTo>
                    <a:cubicBezTo>
                      <a:pt x="97" y="145"/>
                      <a:pt x="97" y="145"/>
                      <a:pt x="97" y="145"/>
                    </a:cubicBezTo>
                    <a:cubicBezTo>
                      <a:pt x="97" y="141"/>
                      <a:pt x="97" y="141"/>
                      <a:pt x="97" y="141"/>
                    </a:cubicBezTo>
                    <a:cubicBezTo>
                      <a:pt x="97" y="141"/>
                      <a:pt x="97" y="141"/>
                      <a:pt x="97" y="141"/>
                    </a:cubicBezTo>
                    <a:cubicBezTo>
                      <a:pt x="96" y="138"/>
                      <a:pt x="96" y="138"/>
                      <a:pt x="96" y="138"/>
                    </a:cubicBezTo>
                    <a:cubicBezTo>
                      <a:pt x="96" y="138"/>
                      <a:pt x="96" y="138"/>
                      <a:pt x="96" y="138"/>
                    </a:cubicBezTo>
                    <a:cubicBezTo>
                      <a:pt x="96" y="138"/>
                      <a:pt x="96" y="137"/>
                      <a:pt x="96" y="137"/>
                    </a:cubicBezTo>
                    <a:cubicBezTo>
                      <a:pt x="96" y="137"/>
                      <a:pt x="96" y="137"/>
                      <a:pt x="96" y="137"/>
                    </a:cubicBezTo>
                    <a:cubicBezTo>
                      <a:pt x="96" y="136"/>
                      <a:pt x="96" y="136"/>
                      <a:pt x="96" y="136"/>
                    </a:cubicBezTo>
                    <a:cubicBezTo>
                      <a:pt x="96" y="136"/>
                      <a:pt x="96" y="135"/>
                      <a:pt x="96" y="135"/>
                    </a:cubicBezTo>
                    <a:cubicBezTo>
                      <a:pt x="96" y="135"/>
                      <a:pt x="95" y="135"/>
                      <a:pt x="95" y="135"/>
                    </a:cubicBezTo>
                    <a:cubicBezTo>
                      <a:pt x="95" y="135"/>
                      <a:pt x="94" y="135"/>
                      <a:pt x="94" y="135"/>
                    </a:cubicBezTo>
                    <a:cubicBezTo>
                      <a:pt x="94" y="134"/>
                      <a:pt x="94" y="134"/>
                      <a:pt x="93" y="134"/>
                    </a:cubicBezTo>
                    <a:cubicBezTo>
                      <a:pt x="93" y="134"/>
                      <a:pt x="92" y="133"/>
                      <a:pt x="92" y="133"/>
                    </a:cubicBezTo>
                    <a:cubicBezTo>
                      <a:pt x="91" y="133"/>
                      <a:pt x="91" y="133"/>
                      <a:pt x="91" y="133"/>
                    </a:cubicBezTo>
                    <a:cubicBezTo>
                      <a:pt x="91" y="133"/>
                      <a:pt x="91" y="133"/>
                      <a:pt x="91" y="133"/>
                    </a:cubicBezTo>
                    <a:cubicBezTo>
                      <a:pt x="91" y="133"/>
                      <a:pt x="90" y="133"/>
                      <a:pt x="90" y="133"/>
                    </a:cubicBezTo>
                    <a:cubicBezTo>
                      <a:pt x="90" y="133"/>
                      <a:pt x="90" y="133"/>
                      <a:pt x="90" y="133"/>
                    </a:cubicBezTo>
                    <a:cubicBezTo>
                      <a:pt x="90" y="133"/>
                      <a:pt x="89" y="133"/>
                      <a:pt x="89" y="133"/>
                    </a:cubicBezTo>
                    <a:cubicBezTo>
                      <a:pt x="89" y="133"/>
                      <a:pt x="89" y="134"/>
                      <a:pt x="89" y="134"/>
                    </a:cubicBezTo>
                    <a:cubicBezTo>
                      <a:pt x="89" y="134"/>
                      <a:pt x="88" y="133"/>
                      <a:pt x="88" y="133"/>
                    </a:cubicBezTo>
                    <a:cubicBezTo>
                      <a:pt x="88" y="133"/>
                      <a:pt x="88" y="133"/>
                      <a:pt x="87" y="133"/>
                    </a:cubicBezTo>
                    <a:cubicBezTo>
                      <a:pt x="87" y="133"/>
                      <a:pt x="86" y="133"/>
                      <a:pt x="86" y="133"/>
                    </a:cubicBezTo>
                    <a:cubicBezTo>
                      <a:pt x="86" y="133"/>
                      <a:pt x="86" y="133"/>
                      <a:pt x="86" y="133"/>
                    </a:cubicBezTo>
                    <a:cubicBezTo>
                      <a:pt x="86" y="133"/>
                      <a:pt x="86" y="132"/>
                      <a:pt x="86" y="132"/>
                    </a:cubicBezTo>
                    <a:cubicBezTo>
                      <a:pt x="84" y="131"/>
                      <a:pt x="84" y="131"/>
                      <a:pt x="84" y="131"/>
                    </a:cubicBezTo>
                    <a:cubicBezTo>
                      <a:pt x="84" y="131"/>
                      <a:pt x="84" y="130"/>
                      <a:pt x="84" y="130"/>
                    </a:cubicBezTo>
                    <a:cubicBezTo>
                      <a:pt x="84" y="130"/>
                      <a:pt x="83" y="130"/>
                      <a:pt x="83" y="130"/>
                    </a:cubicBezTo>
                    <a:cubicBezTo>
                      <a:pt x="83" y="130"/>
                      <a:pt x="83" y="131"/>
                      <a:pt x="82" y="131"/>
                    </a:cubicBezTo>
                    <a:cubicBezTo>
                      <a:pt x="82" y="131"/>
                      <a:pt x="82" y="130"/>
                      <a:pt x="82" y="130"/>
                    </a:cubicBezTo>
                    <a:cubicBezTo>
                      <a:pt x="81" y="130"/>
                      <a:pt x="81" y="129"/>
                      <a:pt x="81" y="129"/>
                    </a:cubicBezTo>
                    <a:cubicBezTo>
                      <a:pt x="81" y="129"/>
                      <a:pt x="80" y="129"/>
                      <a:pt x="80" y="129"/>
                    </a:cubicBezTo>
                    <a:cubicBezTo>
                      <a:pt x="80" y="130"/>
                      <a:pt x="79" y="129"/>
                      <a:pt x="79" y="129"/>
                    </a:cubicBezTo>
                    <a:cubicBezTo>
                      <a:pt x="79" y="129"/>
                      <a:pt x="79" y="128"/>
                      <a:pt x="79" y="128"/>
                    </a:cubicBezTo>
                    <a:cubicBezTo>
                      <a:pt x="78" y="128"/>
                      <a:pt x="78" y="128"/>
                      <a:pt x="78" y="128"/>
                    </a:cubicBezTo>
                    <a:cubicBezTo>
                      <a:pt x="78" y="128"/>
                      <a:pt x="78" y="127"/>
                      <a:pt x="77" y="127"/>
                    </a:cubicBezTo>
                    <a:cubicBezTo>
                      <a:pt x="77" y="127"/>
                      <a:pt x="77" y="127"/>
                      <a:pt x="77" y="127"/>
                    </a:cubicBezTo>
                    <a:cubicBezTo>
                      <a:pt x="77" y="127"/>
                      <a:pt x="77" y="127"/>
                      <a:pt x="76" y="127"/>
                    </a:cubicBezTo>
                    <a:cubicBezTo>
                      <a:pt x="76" y="127"/>
                      <a:pt x="76" y="127"/>
                      <a:pt x="76" y="127"/>
                    </a:cubicBezTo>
                    <a:cubicBezTo>
                      <a:pt x="75" y="127"/>
                      <a:pt x="75" y="127"/>
                      <a:pt x="75" y="127"/>
                    </a:cubicBezTo>
                    <a:cubicBezTo>
                      <a:pt x="75" y="126"/>
                      <a:pt x="73" y="125"/>
                      <a:pt x="73" y="125"/>
                    </a:cubicBezTo>
                    <a:cubicBezTo>
                      <a:pt x="71" y="126"/>
                      <a:pt x="71" y="126"/>
                      <a:pt x="71" y="126"/>
                    </a:cubicBezTo>
                    <a:cubicBezTo>
                      <a:pt x="71" y="126"/>
                      <a:pt x="70" y="126"/>
                      <a:pt x="70" y="126"/>
                    </a:cubicBezTo>
                    <a:cubicBezTo>
                      <a:pt x="70" y="126"/>
                      <a:pt x="68" y="125"/>
                      <a:pt x="68" y="125"/>
                    </a:cubicBezTo>
                    <a:cubicBezTo>
                      <a:pt x="68" y="125"/>
                      <a:pt x="67" y="125"/>
                      <a:pt x="67" y="125"/>
                    </a:cubicBezTo>
                    <a:cubicBezTo>
                      <a:pt x="67" y="125"/>
                      <a:pt x="68" y="124"/>
                      <a:pt x="67" y="124"/>
                    </a:cubicBezTo>
                    <a:cubicBezTo>
                      <a:pt x="67" y="124"/>
                      <a:pt x="67" y="124"/>
                      <a:pt x="66" y="123"/>
                    </a:cubicBezTo>
                    <a:cubicBezTo>
                      <a:pt x="66" y="123"/>
                      <a:pt x="66" y="123"/>
                      <a:pt x="66" y="123"/>
                    </a:cubicBezTo>
                    <a:cubicBezTo>
                      <a:pt x="66" y="123"/>
                      <a:pt x="65" y="123"/>
                      <a:pt x="65" y="123"/>
                    </a:cubicBezTo>
                    <a:cubicBezTo>
                      <a:pt x="65" y="123"/>
                      <a:pt x="65" y="122"/>
                      <a:pt x="65" y="122"/>
                    </a:cubicBezTo>
                    <a:cubicBezTo>
                      <a:pt x="65" y="122"/>
                      <a:pt x="64" y="122"/>
                      <a:pt x="64" y="122"/>
                    </a:cubicBezTo>
                    <a:cubicBezTo>
                      <a:pt x="64" y="122"/>
                      <a:pt x="64" y="122"/>
                      <a:pt x="64" y="121"/>
                    </a:cubicBezTo>
                    <a:cubicBezTo>
                      <a:pt x="63" y="121"/>
                      <a:pt x="63" y="121"/>
                      <a:pt x="63" y="120"/>
                    </a:cubicBezTo>
                    <a:cubicBezTo>
                      <a:pt x="63" y="120"/>
                      <a:pt x="62" y="120"/>
                      <a:pt x="62" y="120"/>
                    </a:cubicBezTo>
                    <a:cubicBezTo>
                      <a:pt x="62" y="120"/>
                      <a:pt x="62" y="119"/>
                      <a:pt x="62" y="119"/>
                    </a:cubicBezTo>
                    <a:cubicBezTo>
                      <a:pt x="62" y="119"/>
                      <a:pt x="62" y="119"/>
                      <a:pt x="62" y="119"/>
                    </a:cubicBezTo>
                    <a:cubicBezTo>
                      <a:pt x="62" y="119"/>
                      <a:pt x="62" y="119"/>
                      <a:pt x="62" y="119"/>
                    </a:cubicBezTo>
                    <a:cubicBezTo>
                      <a:pt x="62" y="119"/>
                      <a:pt x="62" y="118"/>
                      <a:pt x="62" y="118"/>
                    </a:cubicBezTo>
                    <a:cubicBezTo>
                      <a:pt x="62" y="117"/>
                      <a:pt x="61" y="116"/>
                      <a:pt x="61" y="116"/>
                    </a:cubicBezTo>
                    <a:cubicBezTo>
                      <a:pt x="61" y="116"/>
                      <a:pt x="62" y="116"/>
                      <a:pt x="62" y="115"/>
                    </a:cubicBezTo>
                    <a:cubicBezTo>
                      <a:pt x="62" y="115"/>
                      <a:pt x="62" y="115"/>
                      <a:pt x="62" y="115"/>
                    </a:cubicBezTo>
                    <a:cubicBezTo>
                      <a:pt x="62" y="114"/>
                      <a:pt x="62" y="114"/>
                      <a:pt x="62" y="114"/>
                    </a:cubicBezTo>
                    <a:cubicBezTo>
                      <a:pt x="61" y="113"/>
                      <a:pt x="61" y="113"/>
                      <a:pt x="61" y="112"/>
                    </a:cubicBezTo>
                    <a:cubicBezTo>
                      <a:pt x="61" y="112"/>
                      <a:pt x="61" y="111"/>
                      <a:pt x="61" y="111"/>
                    </a:cubicBezTo>
                    <a:cubicBezTo>
                      <a:pt x="61" y="111"/>
                      <a:pt x="61" y="111"/>
                      <a:pt x="61" y="111"/>
                    </a:cubicBezTo>
                    <a:cubicBezTo>
                      <a:pt x="61" y="111"/>
                      <a:pt x="62" y="110"/>
                      <a:pt x="62" y="110"/>
                    </a:cubicBezTo>
                    <a:cubicBezTo>
                      <a:pt x="62" y="107"/>
                      <a:pt x="62" y="107"/>
                      <a:pt x="62" y="107"/>
                    </a:cubicBezTo>
                    <a:cubicBezTo>
                      <a:pt x="62" y="107"/>
                      <a:pt x="61" y="106"/>
                      <a:pt x="61" y="106"/>
                    </a:cubicBezTo>
                    <a:cubicBezTo>
                      <a:pt x="61" y="106"/>
                      <a:pt x="61" y="106"/>
                      <a:pt x="61" y="106"/>
                    </a:cubicBezTo>
                    <a:cubicBezTo>
                      <a:pt x="60" y="106"/>
                      <a:pt x="60" y="106"/>
                      <a:pt x="60" y="106"/>
                    </a:cubicBezTo>
                    <a:cubicBezTo>
                      <a:pt x="60" y="106"/>
                      <a:pt x="60" y="107"/>
                      <a:pt x="60" y="107"/>
                    </a:cubicBezTo>
                    <a:cubicBezTo>
                      <a:pt x="60" y="107"/>
                      <a:pt x="60" y="107"/>
                      <a:pt x="59" y="106"/>
                    </a:cubicBezTo>
                    <a:cubicBezTo>
                      <a:pt x="59" y="106"/>
                      <a:pt x="59" y="106"/>
                      <a:pt x="59" y="106"/>
                    </a:cubicBezTo>
                    <a:cubicBezTo>
                      <a:pt x="59" y="106"/>
                      <a:pt x="58" y="106"/>
                      <a:pt x="58" y="106"/>
                    </a:cubicBezTo>
                    <a:cubicBezTo>
                      <a:pt x="58" y="106"/>
                      <a:pt x="58" y="107"/>
                      <a:pt x="58" y="106"/>
                    </a:cubicBezTo>
                    <a:cubicBezTo>
                      <a:pt x="58" y="106"/>
                      <a:pt x="57" y="106"/>
                      <a:pt x="57" y="106"/>
                    </a:cubicBezTo>
                    <a:cubicBezTo>
                      <a:pt x="57" y="106"/>
                      <a:pt x="57" y="106"/>
                      <a:pt x="57" y="106"/>
                    </a:cubicBezTo>
                    <a:cubicBezTo>
                      <a:pt x="56" y="106"/>
                      <a:pt x="55" y="106"/>
                      <a:pt x="55" y="106"/>
                    </a:cubicBezTo>
                    <a:cubicBezTo>
                      <a:pt x="55" y="106"/>
                      <a:pt x="54" y="107"/>
                      <a:pt x="54" y="107"/>
                    </a:cubicBezTo>
                    <a:cubicBezTo>
                      <a:pt x="54" y="107"/>
                      <a:pt x="52" y="107"/>
                      <a:pt x="52" y="107"/>
                    </a:cubicBezTo>
                    <a:cubicBezTo>
                      <a:pt x="52" y="107"/>
                      <a:pt x="50" y="110"/>
                      <a:pt x="50" y="110"/>
                    </a:cubicBezTo>
                    <a:cubicBezTo>
                      <a:pt x="50" y="110"/>
                      <a:pt x="49" y="110"/>
                      <a:pt x="49" y="110"/>
                    </a:cubicBezTo>
                    <a:cubicBezTo>
                      <a:pt x="49" y="110"/>
                      <a:pt x="48" y="110"/>
                      <a:pt x="48" y="110"/>
                    </a:cubicBezTo>
                    <a:cubicBezTo>
                      <a:pt x="48" y="110"/>
                      <a:pt x="48" y="110"/>
                      <a:pt x="48" y="110"/>
                    </a:cubicBezTo>
                    <a:cubicBezTo>
                      <a:pt x="47" y="111"/>
                      <a:pt x="47" y="111"/>
                      <a:pt x="47" y="111"/>
                    </a:cubicBezTo>
                    <a:cubicBezTo>
                      <a:pt x="47" y="111"/>
                      <a:pt x="45" y="112"/>
                      <a:pt x="45" y="112"/>
                    </a:cubicBezTo>
                    <a:cubicBezTo>
                      <a:pt x="45" y="112"/>
                      <a:pt x="45" y="113"/>
                      <a:pt x="45" y="113"/>
                    </a:cubicBezTo>
                    <a:cubicBezTo>
                      <a:pt x="45" y="113"/>
                      <a:pt x="44" y="113"/>
                      <a:pt x="44" y="113"/>
                    </a:cubicBezTo>
                    <a:cubicBezTo>
                      <a:pt x="44" y="113"/>
                      <a:pt x="44" y="112"/>
                      <a:pt x="44" y="112"/>
                    </a:cubicBezTo>
                    <a:cubicBezTo>
                      <a:pt x="42" y="112"/>
                      <a:pt x="42" y="112"/>
                      <a:pt x="42" y="112"/>
                    </a:cubicBezTo>
                    <a:cubicBezTo>
                      <a:pt x="41" y="115"/>
                      <a:pt x="41" y="115"/>
                      <a:pt x="41" y="115"/>
                    </a:cubicBezTo>
                    <a:cubicBezTo>
                      <a:pt x="39" y="116"/>
                      <a:pt x="39" y="116"/>
                      <a:pt x="39" y="116"/>
                    </a:cubicBezTo>
                    <a:cubicBezTo>
                      <a:pt x="39" y="116"/>
                      <a:pt x="38" y="116"/>
                      <a:pt x="38" y="116"/>
                    </a:cubicBezTo>
                    <a:cubicBezTo>
                      <a:pt x="38" y="116"/>
                      <a:pt x="37" y="116"/>
                      <a:pt x="37" y="116"/>
                    </a:cubicBezTo>
                    <a:cubicBezTo>
                      <a:pt x="37" y="115"/>
                      <a:pt x="37" y="115"/>
                      <a:pt x="37" y="115"/>
                    </a:cubicBezTo>
                    <a:cubicBezTo>
                      <a:pt x="37" y="115"/>
                      <a:pt x="36" y="115"/>
                      <a:pt x="36" y="115"/>
                    </a:cubicBezTo>
                    <a:cubicBezTo>
                      <a:pt x="35" y="115"/>
                      <a:pt x="34" y="115"/>
                      <a:pt x="33" y="115"/>
                    </a:cubicBezTo>
                    <a:cubicBezTo>
                      <a:pt x="33" y="115"/>
                      <a:pt x="32" y="114"/>
                      <a:pt x="32" y="114"/>
                    </a:cubicBezTo>
                    <a:cubicBezTo>
                      <a:pt x="29" y="114"/>
                      <a:pt x="29" y="114"/>
                      <a:pt x="29" y="114"/>
                    </a:cubicBezTo>
                    <a:cubicBezTo>
                      <a:pt x="27" y="115"/>
                      <a:pt x="27" y="115"/>
                      <a:pt x="27" y="115"/>
                    </a:cubicBezTo>
                    <a:cubicBezTo>
                      <a:pt x="26" y="115"/>
                      <a:pt x="26" y="115"/>
                      <a:pt x="26" y="115"/>
                    </a:cubicBezTo>
                    <a:cubicBezTo>
                      <a:pt x="25" y="115"/>
                      <a:pt x="25" y="115"/>
                      <a:pt x="25" y="115"/>
                    </a:cubicBezTo>
                    <a:cubicBezTo>
                      <a:pt x="24" y="115"/>
                      <a:pt x="24" y="115"/>
                      <a:pt x="24" y="115"/>
                    </a:cubicBezTo>
                    <a:cubicBezTo>
                      <a:pt x="24" y="106"/>
                      <a:pt x="24" y="106"/>
                      <a:pt x="24" y="106"/>
                    </a:cubicBezTo>
                    <a:cubicBezTo>
                      <a:pt x="25" y="106"/>
                      <a:pt x="25" y="106"/>
                      <a:pt x="25" y="106"/>
                    </a:cubicBezTo>
                    <a:cubicBezTo>
                      <a:pt x="25" y="106"/>
                      <a:pt x="25" y="105"/>
                      <a:pt x="25" y="105"/>
                    </a:cubicBezTo>
                    <a:cubicBezTo>
                      <a:pt x="25" y="105"/>
                      <a:pt x="24" y="105"/>
                      <a:pt x="24" y="105"/>
                    </a:cubicBezTo>
                    <a:cubicBezTo>
                      <a:pt x="24" y="105"/>
                      <a:pt x="24" y="105"/>
                      <a:pt x="24" y="105"/>
                    </a:cubicBezTo>
                    <a:cubicBezTo>
                      <a:pt x="25" y="104"/>
                      <a:pt x="25" y="104"/>
                      <a:pt x="25" y="104"/>
                    </a:cubicBezTo>
                    <a:cubicBezTo>
                      <a:pt x="24" y="104"/>
                      <a:pt x="24" y="104"/>
                      <a:pt x="24" y="104"/>
                    </a:cubicBezTo>
                    <a:cubicBezTo>
                      <a:pt x="20" y="108"/>
                      <a:pt x="20" y="108"/>
                      <a:pt x="20" y="108"/>
                    </a:cubicBezTo>
                    <a:cubicBezTo>
                      <a:pt x="13" y="108"/>
                      <a:pt x="13" y="108"/>
                      <a:pt x="13" y="108"/>
                    </a:cubicBezTo>
                    <a:cubicBezTo>
                      <a:pt x="13" y="107"/>
                      <a:pt x="13" y="107"/>
                      <a:pt x="13" y="107"/>
                    </a:cubicBezTo>
                    <a:cubicBezTo>
                      <a:pt x="14" y="107"/>
                      <a:pt x="14" y="107"/>
                      <a:pt x="14" y="107"/>
                    </a:cubicBezTo>
                    <a:cubicBezTo>
                      <a:pt x="14" y="106"/>
                      <a:pt x="14" y="106"/>
                      <a:pt x="14" y="106"/>
                    </a:cubicBezTo>
                    <a:cubicBezTo>
                      <a:pt x="13" y="106"/>
                      <a:pt x="13" y="106"/>
                      <a:pt x="13" y="106"/>
                    </a:cubicBezTo>
                    <a:cubicBezTo>
                      <a:pt x="13" y="105"/>
                      <a:pt x="13" y="105"/>
                      <a:pt x="13" y="105"/>
                    </a:cubicBezTo>
                    <a:cubicBezTo>
                      <a:pt x="10" y="104"/>
                      <a:pt x="10" y="104"/>
                      <a:pt x="10" y="104"/>
                    </a:cubicBezTo>
                    <a:cubicBezTo>
                      <a:pt x="6" y="104"/>
                      <a:pt x="6" y="104"/>
                      <a:pt x="6" y="104"/>
                    </a:cubicBezTo>
                    <a:cubicBezTo>
                      <a:pt x="8" y="102"/>
                      <a:pt x="8" y="102"/>
                      <a:pt x="8" y="102"/>
                    </a:cubicBezTo>
                    <a:cubicBezTo>
                      <a:pt x="8" y="101"/>
                      <a:pt x="8" y="101"/>
                      <a:pt x="8" y="101"/>
                    </a:cubicBezTo>
                    <a:cubicBezTo>
                      <a:pt x="7" y="100"/>
                      <a:pt x="7" y="100"/>
                      <a:pt x="7" y="100"/>
                    </a:cubicBezTo>
                    <a:cubicBezTo>
                      <a:pt x="6" y="98"/>
                      <a:pt x="6" y="98"/>
                      <a:pt x="6" y="98"/>
                    </a:cubicBezTo>
                    <a:cubicBezTo>
                      <a:pt x="5" y="98"/>
                      <a:pt x="5" y="98"/>
                      <a:pt x="5" y="98"/>
                    </a:cubicBezTo>
                    <a:cubicBezTo>
                      <a:pt x="5" y="97"/>
                      <a:pt x="5" y="97"/>
                      <a:pt x="5" y="97"/>
                    </a:cubicBezTo>
                    <a:cubicBezTo>
                      <a:pt x="4" y="96"/>
                      <a:pt x="4" y="96"/>
                      <a:pt x="4" y="96"/>
                    </a:cubicBezTo>
                    <a:cubicBezTo>
                      <a:pt x="4" y="96"/>
                      <a:pt x="4" y="96"/>
                      <a:pt x="4" y="96"/>
                    </a:cubicBezTo>
                    <a:cubicBezTo>
                      <a:pt x="3" y="95"/>
                      <a:pt x="3" y="95"/>
                      <a:pt x="3" y="95"/>
                    </a:cubicBezTo>
                    <a:cubicBezTo>
                      <a:pt x="3" y="95"/>
                      <a:pt x="3" y="95"/>
                      <a:pt x="3" y="95"/>
                    </a:cubicBezTo>
                    <a:cubicBezTo>
                      <a:pt x="3" y="95"/>
                      <a:pt x="3" y="94"/>
                      <a:pt x="3" y="94"/>
                    </a:cubicBezTo>
                    <a:cubicBezTo>
                      <a:pt x="3" y="94"/>
                      <a:pt x="2" y="93"/>
                      <a:pt x="2" y="93"/>
                    </a:cubicBezTo>
                    <a:cubicBezTo>
                      <a:pt x="3" y="92"/>
                      <a:pt x="3" y="92"/>
                      <a:pt x="3" y="92"/>
                    </a:cubicBezTo>
                    <a:cubicBezTo>
                      <a:pt x="3" y="92"/>
                      <a:pt x="3" y="92"/>
                      <a:pt x="3" y="92"/>
                    </a:cubicBezTo>
                    <a:cubicBezTo>
                      <a:pt x="0" y="90"/>
                      <a:pt x="0" y="90"/>
                      <a:pt x="0" y="90"/>
                    </a:cubicBezTo>
                    <a:cubicBezTo>
                      <a:pt x="1" y="90"/>
                      <a:pt x="1" y="90"/>
                      <a:pt x="1" y="90"/>
                    </a:cubicBezTo>
                    <a:cubicBezTo>
                      <a:pt x="1" y="89"/>
                      <a:pt x="1" y="89"/>
                      <a:pt x="1" y="89"/>
                    </a:cubicBezTo>
                    <a:cubicBezTo>
                      <a:pt x="2" y="89"/>
                      <a:pt x="2" y="89"/>
                      <a:pt x="2" y="89"/>
                    </a:cubicBezTo>
                    <a:cubicBezTo>
                      <a:pt x="2" y="88"/>
                      <a:pt x="2" y="88"/>
                      <a:pt x="2" y="88"/>
                    </a:cubicBezTo>
                    <a:cubicBezTo>
                      <a:pt x="2" y="87"/>
                      <a:pt x="2" y="87"/>
                      <a:pt x="2" y="87"/>
                    </a:cubicBezTo>
                    <a:cubicBezTo>
                      <a:pt x="3" y="85"/>
                      <a:pt x="3" y="85"/>
                      <a:pt x="3" y="85"/>
                    </a:cubicBezTo>
                    <a:cubicBezTo>
                      <a:pt x="3" y="85"/>
                      <a:pt x="3" y="85"/>
                      <a:pt x="3" y="85"/>
                    </a:cubicBezTo>
                    <a:cubicBezTo>
                      <a:pt x="7" y="83"/>
                      <a:pt x="7" y="83"/>
                      <a:pt x="7" y="83"/>
                    </a:cubicBezTo>
                    <a:cubicBezTo>
                      <a:pt x="7" y="82"/>
                      <a:pt x="7" y="82"/>
                      <a:pt x="7" y="82"/>
                    </a:cubicBezTo>
                    <a:cubicBezTo>
                      <a:pt x="6" y="81"/>
                      <a:pt x="6" y="81"/>
                      <a:pt x="6" y="81"/>
                    </a:cubicBezTo>
                    <a:cubicBezTo>
                      <a:pt x="6" y="80"/>
                      <a:pt x="6" y="80"/>
                      <a:pt x="6" y="80"/>
                    </a:cubicBezTo>
                    <a:cubicBezTo>
                      <a:pt x="8" y="77"/>
                      <a:pt x="8" y="77"/>
                      <a:pt x="8" y="77"/>
                    </a:cubicBezTo>
                    <a:cubicBezTo>
                      <a:pt x="8" y="76"/>
                      <a:pt x="8" y="76"/>
                      <a:pt x="8" y="76"/>
                    </a:cubicBezTo>
                    <a:cubicBezTo>
                      <a:pt x="8" y="76"/>
                      <a:pt x="8" y="75"/>
                      <a:pt x="8" y="75"/>
                    </a:cubicBezTo>
                    <a:cubicBezTo>
                      <a:pt x="8" y="75"/>
                      <a:pt x="8" y="73"/>
                      <a:pt x="8" y="73"/>
                    </a:cubicBezTo>
                    <a:cubicBezTo>
                      <a:pt x="10" y="73"/>
                      <a:pt x="10" y="73"/>
                      <a:pt x="10" y="73"/>
                    </a:cubicBezTo>
                    <a:cubicBezTo>
                      <a:pt x="12" y="71"/>
                      <a:pt x="12" y="71"/>
                      <a:pt x="12" y="71"/>
                    </a:cubicBezTo>
                    <a:cubicBezTo>
                      <a:pt x="12" y="71"/>
                      <a:pt x="12" y="71"/>
                      <a:pt x="12" y="71"/>
                    </a:cubicBezTo>
                    <a:cubicBezTo>
                      <a:pt x="13" y="71"/>
                      <a:pt x="13" y="71"/>
                      <a:pt x="13" y="71"/>
                    </a:cubicBezTo>
                    <a:cubicBezTo>
                      <a:pt x="15" y="69"/>
                      <a:pt x="15" y="69"/>
                      <a:pt x="15" y="69"/>
                    </a:cubicBezTo>
                    <a:cubicBezTo>
                      <a:pt x="17" y="69"/>
                      <a:pt x="17" y="69"/>
                      <a:pt x="17" y="69"/>
                    </a:cubicBezTo>
                    <a:cubicBezTo>
                      <a:pt x="17" y="69"/>
                      <a:pt x="17" y="69"/>
                      <a:pt x="17" y="69"/>
                    </a:cubicBezTo>
                    <a:cubicBezTo>
                      <a:pt x="18" y="69"/>
                      <a:pt x="18" y="69"/>
                      <a:pt x="18" y="69"/>
                    </a:cubicBezTo>
                    <a:cubicBezTo>
                      <a:pt x="18" y="68"/>
                      <a:pt x="18" y="68"/>
                      <a:pt x="18" y="68"/>
                    </a:cubicBezTo>
                    <a:cubicBezTo>
                      <a:pt x="19" y="68"/>
                      <a:pt x="19" y="68"/>
                      <a:pt x="19" y="68"/>
                    </a:cubicBezTo>
                    <a:cubicBezTo>
                      <a:pt x="20" y="68"/>
                      <a:pt x="20" y="68"/>
                      <a:pt x="20" y="68"/>
                    </a:cubicBezTo>
                    <a:cubicBezTo>
                      <a:pt x="22" y="68"/>
                      <a:pt x="22" y="68"/>
                      <a:pt x="22" y="68"/>
                    </a:cubicBezTo>
                    <a:cubicBezTo>
                      <a:pt x="23" y="67"/>
                      <a:pt x="23" y="67"/>
                      <a:pt x="23" y="67"/>
                    </a:cubicBezTo>
                    <a:cubicBezTo>
                      <a:pt x="24" y="67"/>
                      <a:pt x="24" y="67"/>
                      <a:pt x="24" y="67"/>
                    </a:cubicBezTo>
                    <a:cubicBezTo>
                      <a:pt x="24" y="66"/>
                      <a:pt x="24" y="66"/>
                      <a:pt x="24" y="66"/>
                    </a:cubicBezTo>
                    <a:cubicBezTo>
                      <a:pt x="24" y="66"/>
                      <a:pt x="24" y="66"/>
                      <a:pt x="24" y="66"/>
                    </a:cubicBezTo>
                    <a:cubicBezTo>
                      <a:pt x="25" y="67"/>
                      <a:pt x="25" y="67"/>
                      <a:pt x="25" y="67"/>
                    </a:cubicBezTo>
                    <a:cubicBezTo>
                      <a:pt x="25" y="66"/>
                      <a:pt x="25" y="66"/>
                      <a:pt x="25" y="66"/>
                    </a:cubicBezTo>
                    <a:cubicBezTo>
                      <a:pt x="25" y="66"/>
                      <a:pt x="26" y="66"/>
                      <a:pt x="26" y="66"/>
                    </a:cubicBezTo>
                    <a:cubicBezTo>
                      <a:pt x="26" y="66"/>
                      <a:pt x="26" y="66"/>
                      <a:pt x="26" y="66"/>
                    </a:cubicBezTo>
                    <a:cubicBezTo>
                      <a:pt x="26" y="67"/>
                      <a:pt x="26" y="67"/>
                      <a:pt x="26" y="67"/>
                    </a:cubicBezTo>
                    <a:cubicBezTo>
                      <a:pt x="26" y="67"/>
                      <a:pt x="27" y="67"/>
                      <a:pt x="27" y="67"/>
                    </a:cubicBezTo>
                    <a:cubicBezTo>
                      <a:pt x="27" y="67"/>
                      <a:pt x="27" y="68"/>
                      <a:pt x="27" y="68"/>
                    </a:cubicBezTo>
                    <a:cubicBezTo>
                      <a:pt x="28" y="67"/>
                      <a:pt x="28" y="67"/>
                      <a:pt x="28" y="67"/>
                    </a:cubicBezTo>
                    <a:cubicBezTo>
                      <a:pt x="28" y="67"/>
                      <a:pt x="28" y="67"/>
                      <a:pt x="28" y="67"/>
                    </a:cubicBezTo>
                    <a:cubicBezTo>
                      <a:pt x="28" y="68"/>
                      <a:pt x="28" y="68"/>
                      <a:pt x="28" y="68"/>
                    </a:cubicBezTo>
                    <a:cubicBezTo>
                      <a:pt x="28" y="68"/>
                      <a:pt x="29" y="67"/>
                      <a:pt x="29" y="67"/>
                    </a:cubicBezTo>
                    <a:cubicBezTo>
                      <a:pt x="29" y="67"/>
                      <a:pt x="29" y="67"/>
                      <a:pt x="29" y="67"/>
                    </a:cubicBezTo>
                    <a:cubicBezTo>
                      <a:pt x="33" y="47"/>
                      <a:pt x="33" y="47"/>
                      <a:pt x="33" y="47"/>
                    </a:cubicBezTo>
                    <a:cubicBezTo>
                      <a:pt x="33" y="45"/>
                      <a:pt x="33" y="45"/>
                      <a:pt x="33" y="45"/>
                    </a:cubicBezTo>
                    <a:cubicBezTo>
                      <a:pt x="33" y="45"/>
                      <a:pt x="32" y="43"/>
                      <a:pt x="32" y="43"/>
                    </a:cubicBezTo>
                    <a:cubicBezTo>
                      <a:pt x="32" y="43"/>
                      <a:pt x="31" y="42"/>
                      <a:pt x="31" y="42"/>
                    </a:cubicBezTo>
                    <a:cubicBezTo>
                      <a:pt x="31" y="42"/>
                      <a:pt x="31" y="42"/>
                      <a:pt x="31" y="42"/>
                    </a:cubicBezTo>
                    <a:cubicBezTo>
                      <a:pt x="31" y="42"/>
                      <a:pt x="32" y="41"/>
                      <a:pt x="32" y="41"/>
                    </a:cubicBezTo>
                    <a:cubicBezTo>
                      <a:pt x="32" y="41"/>
                      <a:pt x="31" y="41"/>
                      <a:pt x="31" y="40"/>
                    </a:cubicBezTo>
                    <a:cubicBezTo>
                      <a:pt x="31" y="40"/>
                      <a:pt x="31" y="40"/>
                      <a:pt x="31" y="40"/>
                    </a:cubicBezTo>
                    <a:cubicBezTo>
                      <a:pt x="31" y="40"/>
                      <a:pt x="30" y="39"/>
                      <a:pt x="30" y="39"/>
                    </a:cubicBezTo>
                    <a:cubicBezTo>
                      <a:pt x="30" y="39"/>
                      <a:pt x="29" y="39"/>
                      <a:pt x="29" y="39"/>
                    </a:cubicBezTo>
                    <a:cubicBezTo>
                      <a:pt x="29" y="38"/>
                      <a:pt x="28" y="38"/>
                      <a:pt x="28" y="38"/>
                    </a:cubicBezTo>
                    <a:cubicBezTo>
                      <a:pt x="28" y="33"/>
                      <a:pt x="28" y="33"/>
                      <a:pt x="28" y="33"/>
                    </a:cubicBezTo>
                    <a:cubicBezTo>
                      <a:pt x="30" y="33"/>
                      <a:pt x="30" y="33"/>
                      <a:pt x="30" y="33"/>
                    </a:cubicBezTo>
                    <a:cubicBezTo>
                      <a:pt x="31" y="32"/>
                      <a:pt x="31" y="32"/>
                      <a:pt x="31" y="32"/>
                    </a:cubicBezTo>
                    <a:cubicBezTo>
                      <a:pt x="31" y="33"/>
                      <a:pt x="31" y="33"/>
                      <a:pt x="31" y="33"/>
                    </a:cubicBezTo>
                    <a:cubicBezTo>
                      <a:pt x="31" y="33"/>
                      <a:pt x="32" y="32"/>
                      <a:pt x="32" y="32"/>
                    </a:cubicBezTo>
                    <a:cubicBezTo>
                      <a:pt x="32" y="32"/>
                      <a:pt x="32" y="32"/>
                      <a:pt x="32" y="32"/>
                    </a:cubicBezTo>
                    <a:cubicBezTo>
                      <a:pt x="33" y="33"/>
                      <a:pt x="33" y="33"/>
                      <a:pt x="33" y="33"/>
                    </a:cubicBezTo>
                    <a:cubicBezTo>
                      <a:pt x="33" y="33"/>
                      <a:pt x="34" y="33"/>
                      <a:pt x="34" y="33"/>
                    </a:cubicBezTo>
                    <a:cubicBezTo>
                      <a:pt x="35" y="33"/>
                      <a:pt x="35" y="32"/>
                      <a:pt x="35" y="32"/>
                    </a:cubicBezTo>
                    <a:cubicBezTo>
                      <a:pt x="35" y="32"/>
                      <a:pt x="35" y="32"/>
                      <a:pt x="35" y="32"/>
                    </a:cubicBezTo>
                    <a:cubicBezTo>
                      <a:pt x="35" y="32"/>
                      <a:pt x="34" y="31"/>
                      <a:pt x="34" y="31"/>
                    </a:cubicBezTo>
                    <a:cubicBezTo>
                      <a:pt x="34" y="31"/>
                      <a:pt x="35" y="31"/>
                      <a:pt x="35" y="31"/>
                    </a:cubicBezTo>
                    <a:cubicBezTo>
                      <a:pt x="35" y="31"/>
                      <a:pt x="34" y="30"/>
                      <a:pt x="34" y="30"/>
                    </a:cubicBezTo>
                    <a:cubicBezTo>
                      <a:pt x="34" y="30"/>
                      <a:pt x="34" y="30"/>
                      <a:pt x="34" y="30"/>
                    </a:cubicBezTo>
                    <a:cubicBezTo>
                      <a:pt x="34" y="30"/>
                      <a:pt x="34" y="30"/>
                      <a:pt x="34" y="30"/>
                    </a:cubicBezTo>
                    <a:cubicBezTo>
                      <a:pt x="31" y="30"/>
                      <a:pt x="31" y="30"/>
                      <a:pt x="31" y="30"/>
                    </a:cubicBezTo>
                    <a:cubicBezTo>
                      <a:pt x="31" y="30"/>
                      <a:pt x="31" y="29"/>
                      <a:pt x="31" y="29"/>
                    </a:cubicBezTo>
                    <a:cubicBezTo>
                      <a:pt x="31" y="29"/>
                      <a:pt x="30" y="29"/>
                      <a:pt x="30" y="29"/>
                    </a:cubicBezTo>
                    <a:cubicBezTo>
                      <a:pt x="30" y="29"/>
                      <a:pt x="30" y="29"/>
                      <a:pt x="30" y="29"/>
                    </a:cubicBezTo>
                    <a:cubicBezTo>
                      <a:pt x="30" y="25"/>
                      <a:pt x="30" y="25"/>
                      <a:pt x="30" y="25"/>
                    </a:cubicBezTo>
                    <a:cubicBezTo>
                      <a:pt x="30" y="25"/>
                      <a:pt x="30" y="25"/>
                      <a:pt x="30" y="25"/>
                    </a:cubicBezTo>
                    <a:cubicBezTo>
                      <a:pt x="30" y="25"/>
                      <a:pt x="31" y="25"/>
                      <a:pt x="31" y="25"/>
                    </a:cubicBezTo>
                    <a:cubicBezTo>
                      <a:pt x="31" y="25"/>
                      <a:pt x="32" y="24"/>
                      <a:pt x="32" y="24"/>
                    </a:cubicBezTo>
                    <a:cubicBezTo>
                      <a:pt x="32" y="24"/>
                      <a:pt x="32" y="24"/>
                      <a:pt x="32" y="24"/>
                    </a:cubicBezTo>
                    <a:cubicBezTo>
                      <a:pt x="33" y="24"/>
                      <a:pt x="33" y="25"/>
                      <a:pt x="33" y="25"/>
                    </a:cubicBezTo>
                    <a:cubicBezTo>
                      <a:pt x="42" y="25"/>
                      <a:pt x="42" y="25"/>
                      <a:pt x="42" y="25"/>
                    </a:cubicBezTo>
                    <a:cubicBezTo>
                      <a:pt x="41" y="24"/>
                      <a:pt x="41" y="24"/>
                      <a:pt x="41" y="24"/>
                    </a:cubicBezTo>
                    <a:cubicBezTo>
                      <a:pt x="41" y="24"/>
                      <a:pt x="41" y="24"/>
                      <a:pt x="41" y="24"/>
                    </a:cubicBezTo>
                    <a:cubicBezTo>
                      <a:pt x="41" y="24"/>
                      <a:pt x="41" y="23"/>
                      <a:pt x="41" y="23"/>
                    </a:cubicBezTo>
                    <a:cubicBezTo>
                      <a:pt x="41" y="23"/>
                      <a:pt x="41" y="23"/>
                      <a:pt x="41" y="22"/>
                    </a:cubicBezTo>
                    <a:cubicBezTo>
                      <a:pt x="41" y="22"/>
                      <a:pt x="42" y="23"/>
                      <a:pt x="42" y="24"/>
                    </a:cubicBezTo>
                    <a:cubicBezTo>
                      <a:pt x="42" y="24"/>
                      <a:pt x="42" y="24"/>
                      <a:pt x="42" y="24"/>
                    </a:cubicBezTo>
                    <a:cubicBezTo>
                      <a:pt x="42" y="24"/>
                      <a:pt x="43" y="24"/>
                      <a:pt x="43" y="24"/>
                    </a:cubicBezTo>
                    <a:cubicBezTo>
                      <a:pt x="43" y="24"/>
                      <a:pt x="43" y="24"/>
                      <a:pt x="43" y="24"/>
                    </a:cubicBezTo>
                    <a:cubicBezTo>
                      <a:pt x="43" y="23"/>
                      <a:pt x="44" y="23"/>
                      <a:pt x="44" y="23"/>
                    </a:cubicBezTo>
                    <a:cubicBezTo>
                      <a:pt x="44" y="23"/>
                      <a:pt x="44" y="23"/>
                      <a:pt x="44" y="23"/>
                    </a:cubicBezTo>
                    <a:cubicBezTo>
                      <a:pt x="44" y="23"/>
                      <a:pt x="45" y="23"/>
                      <a:pt x="45" y="23"/>
                    </a:cubicBezTo>
                    <a:cubicBezTo>
                      <a:pt x="45" y="23"/>
                      <a:pt x="45" y="22"/>
                      <a:pt x="45" y="22"/>
                    </a:cubicBezTo>
                    <a:cubicBezTo>
                      <a:pt x="45" y="22"/>
                      <a:pt x="46" y="22"/>
                      <a:pt x="46" y="22"/>
                    </a:cubicBezTo>
                    <a:cubicBezTo>
                      <a:pt x="47" y="22"/>
                      <a:pt x="47" y="22"/>
                      <a:pt x="47" y="22"/>
                    </a:cubicBezTo>
                    <a:cubicBezTo>
                      <a:pt x="47" y="21"/>
                      <a:pt x="47" y="21"/>
                      <a:pt x="47" y="21"/>
                    </a:cubicBezTo>
                    <a:cubicBezTo>
                      <a:pt x="47" y="23"/>
                      <a:pt x="47" y="23"/>
                      <a:pt x="47" y="23"/>
                    </a:cubicBezTo>
                    <a:cubicBezTo>
                      <a:pt x="49" y="24"/>
                      <a:pt x="49" y="24"/>
                      <a:pt x="49" y="24"/>
                    </a:cubicBezTo>
                    <a:cubicBezTo>
                      <a:pt x="49" y="24"/>
                      <a:pt x="49" y="25"/>
                      <a:pt x="49" y="25"/>
                    </a:cubicBezTo>
                    <a:cubicBezTo>
                      <a:pt x="49" y="25"/>
                      <a:pt x="49" y="26"/>
                      <a:pt x="49" y="26"/>
                    </a:cubicBezTo>
                    <a:cubicBezTo>
                      <a:pt x="49" y="26"/>
                      <a:pt x="49" y="27"/>
                      <a:pt x="49" y="27"/>
                    </a:cubicBezTo>
                    <a:cubicBezTo>
                      <a:pt x="49" y="27"/>
                      <a:pt x="49" y="28"/>
                      <a:pt x="49" y="28"/>
                    </a:cubicBezTo>
                    <a:cubicBezTo>
                      <a:pt x="49" y="28"/>
                      <a:pt x="49" y="28"/>
                      <a:pt x="49" y="28"/>
                    </a:cubicBezTo>
                    <a:cubicBezTo>
                      <a:pt x="49" y="29"/>
                      <a:pt x="49" y="29"/>
                      <a:pt x="49" y="29"/>
                    </a:cubicBezTo>
                    <a:cubicBezTo>
                      <a:pt x="49" y="29"/>
                      <a:pt x="50" y="29"/>
                      <a:pt x="50" y="29"/>
                    </a:cubicBezTo>
                    <a:cubicBezTo>
                      <a:pt x="51" y="28"/>
                      <a:pt x="51" y="28"/>
                      <a:pt x="51" y="28"/>
                    </a:cubicBezTo>
                    <a:cubicBezTo>
                      <a:pt x="54" y="32"/>
                      <a:pt x="54" y="32"/>
                      <a:pt x="54" y="32"/>
                    </a:cubicBezTo>
                    <a:cubicBezTo>
                      <a:pt x="56" y="32"/>
                      <a:pt x="56" y="32"/>
                      <a:pt x="56" y="32"/>
                    </a:cubicBezTo>
                    <a:cubicBezTo>
                      <a:pt x="58" y="30"/>
                      <a:pt x="58" y="30"/>
                      <a:pt x="58" y="30"/>
                    </a:cubicBezTo>
                    <a:cubicBezTo>
                      <a:pt x="58" y="30"/>
                      <a:pt x="58" y="30"/>
                      <a:pt x="58" y="30"/>
                    </a:cubicBezTo>
                    <a:cubicBezTo>
                      <a:pt x="58" y="30"/>
                      <a:pt x="60" y="30"/>
                      <a:pt x="60" y="30"/>
                    </a:cubicBezTo>
                    <a:cubicBezTo>
                      <a:pt x="60" y="30"/>
                      <a:pt x="60" y="30"/>
                      <a:pt x="60" y="30"/>
                    </a:cubicBezTo>
                    <a:cubicBezTo>
                      <a:pt x="60" y="30"/>
                      <a:pt x="60" y="31"/>
                      <a:pt x="60" y="31"/>
                    </a:cubicBezTo>
                    <a:cubicBezTo>
                      <a:pt x="60" y="32"/>
                      <a:pt x="60" y="32"/>
                      <a:pt x="60" y="32"/>
                    </a:cubicBezTo>
                    <a:cubicBezTo>
                      <a:pt x="60" y="32"/>
                      <a:pt x="60" y="32"/>
                      <a:pt x="60" y="32"/>
                    </a:cubicBezTo>
                    <a:cubicBezTo>
                      <a:pt x="60" y="32"/>
                      <a:pt x="60" y="32"/>
                      <a:pt x="60" y="32"/>
                    </a:cubicBezTo>
                    <a:cubicBezTo>
                      <a:pt x="60" y="32"/>
                      <a:pt x="61" y="32"/>
                      <a:pt x="61" y="32"/>
                    </a:cubicBezTo>
                    <a:cubicBezTo>
                      <a:pt x="61" y="31"/>
                      <a:pt x="62" y="30"/>
                      <a:pt x="62" y="30"/>
                    </a:cubicBezTo>
                    <a:cubicBezTo>
                      <a:pt x="63" y="30"/>
                      <a:pt x="63" y="30"/>
                      <a:pt x="63" y="30"/>
                    </a:cubicBezTo>
                    <a:cubicBezTo>
                      <a:pt x="63" y="30"/>
                      <a:pt x="63" y="30"/>
                      <a:pt x="63" y="30"/>
                    </a:cubicBezTo>
                    <a:cubicBezTo>
                      <a:pt x="63" y="30"/>
                      <a:pt x="63" y="29"/>
                      <a:pt x="63" y="29"/>
                    </a:cubicBezTo>
                    <a:cubicBezTo>
                      <a:pt x="64" y="29"/>
                      <a:pt x="64" y="29"/>
                      <a:pt x="64" y="29"/>
                    </a:cubicBezTo>
                    <a:cubicBezTo>
                      <a:pt x="64" y="29"/>
                      <a:pt x="64" y="28"/>
                      <a:pt x="64" y="28"/>
                    </a:cubicBezTo>
                    <a:cubicBezTo>
                      <a:pt x="64" y="28"/>
                      <a:pt x="65" y="28"/>
                      <a:pt x="65" y="28"/>
                    </a:cubicBezTo>
                    <a:cubicBezTo>
                      <a:pt x="65" y="28"/>
                      <a:pt x="65" y="28"/>
                      <a:pt x="65" y="28"/>
                    </a:cubicBezTo>
                    <a:cubicBezTo>
                      <a:pt x="66" y="28"/>
                      <a:pt x="66" y="28"/>
                      <a:pt x="66" y="28"/>
                    </a:cubicBezTo>
                    <a:cubicBezTo>
                      <a:pt x="66" y="28"/>
                      <a:pt x="66" y="28"/>
                      <a:pt x="66" y="28"/>
                    </a:cubicBezTo>
                    <a:cubicBezTo>
                      <a:pt x="67" y="28"/>
                      <a:pt x="68" y="26"/>
                      <a:pt x="68" y="26"/>
                    </a:cubicBezTo>
                    <a:cubicBezTo>
                      <a:pt x="68" y="26"/>
                      <a:pt x="68" y="26"/>
                      <a:pt x="68" y="26"/>
                    </a:cubicBezTo>
                    <a:cubicBezTo>
                      <a:pt x="68" y="26"/>
                      <a:pt x="68" y="27"/>
                      <a:pt x="68" y="27"/>
                    </a:cubicBezTo>
                    <a:cubicBezTo>
                      <a:pt x="68" y="27"/>
                      <a:pt x="69" y="27"/>
                      <a:pt x="69" y="27"/>
                    </a:cubicBezTo>
                    <a:cubicBezTo>
                      <a:pt x="69" y="27"/>
                      <a:pt x="69" y="27"/>
                      <a:pt x="69" y="27"/>
                    </a:cubicBezTo>
                    <a:cubicBezTo>
                      <a:pt x="70" y="26"/>
                      <a:pt x="70" y="26"/>
                      <a:pt x="70" y="26"/>
                    </a:cubicBezTo>
                    <a:cubicBezTo>
                      <a:pt x="70" y="23"/>
                      <a:pt x="70" y="23"/>
                      <a:pt x="70" y="23"/>
                    </a:cubicBezTo>
                    <a:cubicBezTo>
                      <a:pt x="72" y="23"/>
                      <a:pt x="72" y="23"/>
                      <a:pt x="72" y="23"/>
                    </a:cubicBezTo>
                    <a:cubicBezTo>
                      <a:pt x="74" y="22"/>
                      <a:pt x="74" y="22"/>
                      <a:pt x="74" y="22"/>
                    </a:cubicBezTo>
                    <a:cubicBezTo>
                      <a:pt x="75" y="22"/>
                      <a:pt x="75" y="22"/>
                      <a:pt x="75" y="22"/>
                    </a:cubicBezTo>
                    <a:cubicBezTo>
                      <a:pt x="75" y="21"/>
                      <a:pt x="75" y="21"/>
                      <a:pt x="75" y="21"/>
                    </a:cubicBezTo>
                    <a:cubicBezTo>
                      <a:pt x="75" y="20"/>
                      <a:pt x="75" y="20"/>
                      <a:pt x="75" y="20"/>
                    </a:cubicBezTo>
                    <a:cubicBezTo>
                      <a:pt x="75" y="20"/>
                      <a:pt x="74" y="20"/>
                      <a:pt x="74" y="20"/>
                    </a:cubicBezTo>
                    <a:cubicBezTo>
                      <a:pt x="74" y="20"/>
                      <a:pt x="72" y="20"/>
                      <a:pt x="72" y="20"/>
                    </a:cubicBezTo>
                    <a:cubicBezTo>
                      <a:pt x="71" y="19"/>
                      <a:pt x="71" y="19"/>
                      <a:pt x="71" y="19"/>
                    </a:cubicBezTo>
                    <a:cubicBezTo>
                      <a:pt x="71" y="19"/>
                      <a:pt x="71" y="19"/>
                      <a:pt x="71" y="19"/>
                    </a:cubicBezTo>
                    <a:cubicBezTo>
                      <a:pt x="71" y="18"/>
                      <a:pt x="71" y="18"/>
                      <a:pt x="71" y="18"/>
                    </a:cubicBezTo>
                    <a:cubicBezTo>
                      <a:pt x="69" y="15"/>
                      <a:pt x="69" y="15"/>
                      <a:pt x="69" y="15"/>
                    </a:cubicBezTo>
                    <a:cubicBezTo>
                      <a:pt x="69" y="15"/>
                      <a:pt x="69" y="15"/>
                      <a:pt x="69" y="15"/>
                    </a:cubicBezTo>
                    <a:cubicBezTo>
                      <a:pt x="70" y="14"/>
                      <a:pt x="70" y="14"/>
                      <a:pt x="70" y="14"/>
                    </a:cubicBezTo>
                    <a:cubicBezTo>
                      <a:pt x="70" y="12"/>
                      <a:pt x="70" y="12"/>
                      <a:pt x="70" y="12"/>
                    </a:cubicBezTo>
                    <a:cubicBezTo>
                      <a:pt x="67" y="10"/>
                      <a:pt x="67" y="10"/>
                      <a:pt x="67" y="10"/>
                    </a:cubicBezTo>
                    <a:cubicBezTo>
                      <a:pt x="67" y="10"/>
                      <a:pt x="66" y="8"/>
                      <a:pt x="66" y="8"/>
                    </a:cubicBezTo>
                    <a:cubicBezTo>
                      <a:pt x="66" y="8"/>
                      <a:pt x="65" y="8"/>
                      <a:pt x="65" y="8"/>
                    </a:cubicBezTo>
                    <a:cubicBezTo>
                      <a:pt x="65" y="7"/>
                      <a:pt x="65" y="7"/>
                      <a:pt x="65" y="7"/>
                    </a:cubicBezTo>
                    <a:cubicBezTo>
                      <a:pt x="65" y="7"/>
                      <a:pt x="65" y="7"/>
                      <a:pt x="65" y="7"/>
                    </a:cubicBezTo>
                    <a:cubicBezTo>
                      <a:pt x="66" y="7"/>
                      <a:pt x="66" y="7"/>
                      <a:pt x="66" y="7"/>
                    </a:cubicBezTo>
                    <a:cubicBezTo>
                      <a:pt x="67" y="8"/>
                      <a:pt x="67" y="8"/>
                      <a:pt x="67" y="8"/>
                    </a:cubicBezTo>
                    <a:cubicBezTo>
                      <a:pt x="70" y="8"/>
                      <a:pt x="70" y="8"/>
                      <a:pt x="70" y="8"/>
                    </a:cubicBezTo>
                    <a:cubicBezTo>
                      <a:pt x="71" y="10"/>
                      <a:pt x="71" y="10"/>
                      <a:pt x="71" y="10"/>
                    </a:cubicBezTo>
                    <a:cubicBezTo>
                      <a:pt x="72" y="9"/>
                      <a:pt x="72" y="9"/>
                      <a:pt x="72" y="9"/>
                    </a:cubicBezTo>
                    <a:cubicBezTo>
                      <a:pt x="72" y="9"/>
                      <a:pt x="73" y="9"/>
                      <a:pt x="73" y="9"/>
                    </a:cubicBezTo>
                    <a:cubicBezTo>
                      <a:pt x="73" y="9"/>
                      <a:pt x="73" y="9"/>
                      <a:pt x="73" y="9"/>
                    </a:cubicBezTo>
                    <a:cubicBezTo>
                      <a:pt x="74" y="10"/>
                      <a:pt x="74" y="10"/>
                      <a:pt x="74" y="10"/>
                    </a:cubicBezTo>
                    <a:cubicBezTo>
                      <a:pt x="74" y="10"/>
                      <a:pt x="75" y="9"/>
                      <a:pt x="75" y="9"/>
                    </a:cubicBezTo>
                    <a:cubicBezTo>
                      <a:pt x="75" y="9"/>
                      <a:pt x="75" y="9"/>
                      <a:pt x="75" y="9"/>
                    </a:cubicBezTo>
                    <a:cubicBezTo>
                      <a:pt x="76" y="9"/>
                      <a:pt x="76" y="9"/>
                      <a:pt x="76" y="9"/>
                    </a:cubicBezTo>
                    <a:cubicBezTo>
                      <a:pt x="76" y="9"/>
                      <a:pt x="76" y="9"/>
                      <a:pt x="76" y="9"/>
                    </a:cubicBezTo>
                    <a:cubicBezTo>
                      <a:pt x="76" y="10"/>
                      <a:pt x="76" y="10"/>
                      <a:pt x="77" y="10"/>
                    </a:cubicBezTo>
                    <a:cubicBezTo>
                      <a:pt x="77" y="10"/>
                      <a:pt x="77" y="10"/>
                      <a:pt x="77" y="10"/>
                    </a:cubicBezTo>
                    <a:cubicBezTo>
                      <a:pt x="77" y="10"/>
                      <a:pt x="77" y="11"/>
                      <a:pt x="77" y="11"/>
                    </a:cubicBezTo>
                    <a:cubicBezTo>
                      <a:pt x="78" y="11"/>
                      <a:pt x="78" y="11"/>
                      <a:pt x="78" y="11"/>
                    </a:cubicBezTo>
                    <a:cubicBezTo>
                      <a:pt x="78" y="11"/>
                      <a:pt x="79" y="11"/>
                      <a:pt x="79" y="11"/>
                    </a:cubicBezTo>
                    <a:cubicBezTo>
                      <a:pt x="79" y="11"/>
                      <a:pt x="79" y="11"/>
                      <a:pt x="79" y="11"/>
                    </a:cubicBezTo>
                    <a:cubicBezTo>
                      <a:pt x="79" y="11"/>
                      <a:pt x="80" y="11"/>
                      <a:pt x="80" y="11"/>
                    </a:cubicBezTo>
                    <a:cubicBezTo>
                      <a:pt x="80" y="11"/>
                      <a:pt x="80" y="10"/>
                      <a:pt x="80" y="10"/>
                    </a:cubicBezTo>
                    <a:cubicBezTo>
                      <a:pt x="80" y="10"/>
                      <a:pt x="80" y="10"/>
                      <a:pt x="80" y="10"/>
                    </a:cubicBezTo>
                    <a:cubicBezTo>
                      <a:pt x="80" y="9"/>
                      <a:pt x="80" y="9"/>
                      <a:pt x="80" y="9"/>
                    </a:cubicBezTo>
                    <a:cubicBezTo>
                      <a:pt x="81" y="9"/>
                      <a:pt x="81" y="9"/>
                      <a:pt x="81" y="9"/>
                    </a:cubicBezTo>
                    <a:cubicBezTo>
                      <a:pt x="82" y="7"/>
                      <a:pt x="82" y="7"/>
                      <a:pt x="82" y="7"/>
                    </a:cubicBezTo>
                    <a:cubicBezTo>
                      <a:pt x="83" y="8"/>
                      <a:pt x="83" y="8"/>
                      <a:pt x="83" y="8"/>
                    </a:cubicBezTo>
                    <a:cubicBezTo>
                      <a:pt x="84" y="8"/>
                      <a:pt x="84" y="8"/>
                      <a:pt x="84" y="8"/>
                    </a:cubicBezTo>
                    <a:cubicBezTo>
                      <a:pt x="85" y="7"/>
                      <a:pt x="85" y="7"/>
                      <a:pt x="85" y="7"/>
                    </a:cubicBezTo>
                    <a:cubicBezTo>
                      <a:pt x="86" y="8"/>
                      <a:pt x="86" y="8"/>
                      <a:pt x="86" y="8"/>
                    </a:cubicBezTo>
                    <a:cubicBezTo>
                      <a:pt x="86" y="8"/>
                      <a:pt x="86" y="8"/>
                      <a:pt x="86" y="8"/>
                    </a:cubicBezTo>
                    <a:cubicBezTo>
                      <a:pt x="86" y="7"/>
                      <a:pt x="87" y="7"/>
                      <a:pt x="87" y="7"/>
                    </a:cubicBezTo>
                    <a:cubicBezTo>
                      <a:pt x="88" y="7"/>
                      <a:pt x="88" y="7"/>
                      <a:pt x="88" y="7"/>
                    </a:cubicBezTo>
                    <a:cubicBezTo>
                      <a:pt x="89" y="6"/>
                      <a:pt x="89" y="6"/>
                      <a:pt x="89" y="6"/>
                    </a:cubicBezTo>
                    <a:cubicBezTo>
                      <a:pt x="89" y="6"/>
                      <a:pt x="89" y="6"/>
                      <a:pt x="89" y="6"/>
                    </a:cubicBezTo>
                    <a:cubicBezTo>
                      <a:pt x="90" y="5"/>
                      <a:pt x="90" y="5"/>
                      <a:pt x="90" y="5"/>
                    </a:cubicBezTo>
                    <a:cubicBezTo>
                      <a:pt x="90" y="5"/>
                      <a:pt x="90" y="5"/>
                      <a:pt x="90" y="5"/>
                    </a:cubicBezTo>
                    <a:cubicBezTo>
                      <a:pt x="91" y="5"/>
                      <a:pt x="91" y="5"/>
                      <a:pt x="91" y="5"/>
                    </a:cubicBezTo>
                    <a:cubicBezTo>
                      <a:pt x="92" y="5"/>
                      <a:pt x="92" y="5"/>
                      <a:pt x="92" y="5"/>
                    </a:cubicBezTo>
                    <a:cubicBezTo>
                      <a:pt x="92" y="5"/>
                      <a:pt x="92" y="5"/>
                      <a:pt x="92" y="5"/>
                    </a:cubicBezTo>
                    <a:cubicBezTo>
                      <a:pt x="93" y="5"/>
                      <a:pt x="93" y="5"/>
                      <a:pt x="93" y="5"/>
                    </a:cubicBezTo>
                    <a:cubicBezTo>
                      <a:pt x="93" y="4"/>
                      <a:pt x="93" y="4"/>
                      <a:pt x="93" y="4"/>
                    </a:cubicBezTo>
                    <a:cubicBezTo>
                      <a:pt x="94" y="3"/>
                      <a:pt x="94" y="3"/>
                      <a:pt x="94" y="3"/>
                    </a:cubicBezTo>
                    <a:cubicBezTo>
                      <a:pt x="94" y="3"/>
                      <a:pt x="95" y="3"/>
                      <a:pt x="95" y="3"/>
                    </a:cubicBezTo>
                    <a:cubicBezTo>
                      <a:pt x="95" y="3"/>
                      <a:pt x="95" y="2"/>
                      <a:pt x="95" y="2"/>
                    </a:cubicBezTo>
                    <a:cubicBezTo>
                      <a:pt x="95" y="2"/>
                      <a:pt x="94" y="0"/>
                      <a:pt x="94" y="0"/>
                    </a:cubicBezTo>
                    <a:cubicBezTo>
                      <a:pt x="96" y="0"/>
                      <a:pt x="96" y="0"/>
                      <a:pt x="96" y="0"/>
                    </a:cubicBezTo>
                    <a:cubicBezTo>
                      <a:pt x="97" y="0"/>
                      <a:pt x="97" y="0"/>
                      <a:pt x="97" y="0"/>
                    </a:cubicBezTo>
                    <a:cubicBezTo>
                      <a:pt x="98" y="0"/>
                      <a:pt x="98" y="0"/>
                      <a:pt x="98" y="0"/>
                    </a:cubicBezTo>
                    <a:cubicBezTo>
                      <a:pt x="99" y="1"/>
                      <a:pt x="99" y="1"/>
                      <a:pt x="99" y="1"/>
                    </a:cubicBezTo>
                    <a:cubicBezTo>
                      <a:pt x="99" y="3"/>
                      <a:pt x="99" y="3"/>
                      <a:pt x="99" y="3"/>
                    </a:cubicBezTo>
                    <a:cubicBezTo>
                      <a:pt x="99" y="4"/>
                      <a:pt x="99" y="4"/>
                      <a:pt x="99" y="4"/>
                    </a:cubicBezTo>
                    <a:cubicBezTo>
                      <a:pt x="98" y="5"/>
                      <a:pt x="98" y="5"/>
                      <a:pt x="98" y="5"/>
                    </a:cubicBezTo>
                    <a:cubicBezTo>
                      <a:pt x="100" y="5"/>
                      <a:pt x="100" y="5"/>
                      <a:pt x="100" y="5"/>
                    </a:cubicBezTo>
                    <a:cubicBezTo>
                      <a:pt x="101" y="6"/>
                      <a:pt x="101" y="6"/>
                      <a:pt x="101" y="6"/>
                    </a:cubicBezTo>
                    <a:cubicBezTo>
                      <a:pt x="101" y="7"/>
                      <a:pt x="101" y="7"/>
                      <a:pt x="101" y="7"/>
                    </a:cubicBezTo>
                    <a:cubicBezTo>
                      <a:pt x="101" y="7"/>
                      <a:pt x="101" y="7"/>
                      <a:pt x="101" y="7"/>
                    </a:cubicBezTo>
                    <a:cubicBezTo>
                      <a:pt x="101" y="8"/>
                      <a:pt x="101" y="8"/>
                      <a:pt x="101" y="8"/>
                    </a:cubicBezTo>
                    <a:cubicBezTo>
                      <a:pt x="102" y="8"/>
                      <a:pt x="102" y="8"/>
                      <a:pt x="102" y="8"/>
                    </a:cubicBezTo>
                    <a:cubicBezTo>
                      <a:pt x="102" y="8"/>
                      <a:pt x="102" y="8"/>
                      <a:pt x="102" y="8"/>
                    </a:cubicBezTo>
                    <a:cubicBezTo>
                      <a:pt x="102" y="9"/>
                      <a:pt x="102" y="9"/>
                      <a:pt x="102" y="9"/>
                    </a:cubicBezTo>
                    <a:cubicBezTo>
                      <a:pt x="102" y="11"/>
                      <a:pt x="102" y="11"/>
                      <a:pt x="102" y="11"/>
                    </a:cubicBezTo>
                    <a:cubicBezTo>
                      <a:pt x="100" y="12"/>
                      <a:pt x="100" y="12"/>
                      <a:pt x="100" y="12"/>
                    </a:cubicBezTo>
                    <a:cubicBezTo>
                      <a:pt x="100" y="12"/>
                      <a:pt x="100" y="12"/>
                      <a:pt x="100" y="12"/>
                    </a:cubicBezTo>
                    <a:cubicBezTo>
                      <a:pt x="100" y="12"/>
                      <a:pt x="100" y="12"/>
                      <a:pt x="100" y="12"/>
                    </a:cubicBezTo>
                    <a:cubicBezTo>
                      <a:pt x="101" y="13"/>
                      <a:pt x="101" y="13"/>
                      <a:pt x="101" y="13"/>
                    </a:cubicBezTo>
                    <a:cubicBezTo>
                      <a:pt x="99" y="16"/>
                      <a:pt x="99" y="16"/>
                      <a:pt x="99" y="16"/>
                    </a:cubicBezTo>
                    <a:cubicBezTo>
                      <a:pt x="99" y="18"/>
                      <a:pt x="99" y="18"/>
                      <a:pt x="99" y="18"/>
                    </a:cubicBezTo>
                    <a:cubicBezTo>
                      <a:pt x="100" y="20"/>
                      <a:pt x="100" y="20"/>
                      <a:pt x="100" y="20"/>
                    </a:cubicBezTo>
                    <a:cubicBezTo>
                      <a:pt x="101" y="21"/>
                      <a:pt x="101" y="21"/>
                      <a:pt x="101" y="21"/>
                    </a:cubicBezTo>
                    <a:cubicBezTo>
                      <a:pt x="101" y="24"/>
                      <a:pt x="101" y="24"/>
                      <a:pt x="101" y="24"/>
                    </a:cubicBezTo>
                    <a:cubicBezTo>
                      <a:pt x="101" y="24"/>
                      <a:pt x="101" y="24"/>
                      <a:pt x="101" y="24"/>
                    </a:cubicBezTo>
                    <a:cubicBezTo>
                      <a:pt x="101" y="25"/>
                      <a:pt x="101" y="25"/>
                      <a:pt x="101" y="25"/>
                    </a:cubicBezTo>
                    <a:cubicBezTo>
                      <a:pt x="102" y="25"/>
                      <a:pt x="102" y="25"/>
                      <a:pt x="102" y="25"/>
                    </a:cubicBezTo>
                    <a:cubicBezTo>
                      <a:pt x="104" y="27"/>
                      <a:pt x="104" y="27"/>
                      <a:pt x="104" y="27"/>
                    </a:cubicBezTo>
                    <a:cubicBezTo>
                      <a:pt x="106" y="27"/>
                      <a:pt x="106" y="27"/>
                      <a:pt x="106" y="27"/>
                    </a:cubicBezTo>
                    <a:cubicBezTo>
                      <a:pt x="106" y="27"/>
                      <a:pt x="107" y="28"/>
                      <a:pt x="107" y="28"/>
                    </a:cubicBezTo>
                    <a:cubicBezTo>
                      <a:pt x="107" y="28"/>
                      <a:pt x="107" y="29"/>
                      <a:pt x="107" y="29"/>
                    </a:cubicBezTo>
                    <a:cubicBezTo>
                      <a:pt x="108" y="28"/>
                      <a:pt x="108" y="28"/>
                      <a:pt x="108" y="28"/>
                    </a:cubicBezTo>
                    <a:cubicBezTo>
                      <a:pt x="109" y="28"/>
                      <a:pt x="109" y="28"/>
                      <a:pt x="109" y="28"/>
                    </a:cubicBezTo>
                    <a:cubicBezTo>
                      <a:pt x="110" y="28"/>
                      <a:pt x="110" y="28"/>
                      <a:pt x="110" y="28"/>
                    </a:cubicBezTo>
                    <a:cubicBezTo>
                      <a:pt x="110" y="27"/>
                      <a:pt x="110" y="27"/>
                      <a:pt x="110" y="27"/>
                    </a:cubicBezTo>
                    <a:cubicBezTo>
                      <a:pt x="110" y="27"/>
                      <a:pt x="110" y="27"/>
                      <a:pt x="110" y="27"/>
                    </a:cubicBezTo>
                    <a:cubicBezTo>
                      <a:pt x="111" y="26"/>
                      <a:pt x="111" y="26"/>
                      <a:pt x="111" y="26"/>
                    </a:cubicBezTo>
                    <a:cubicBezTo>
                      <a:pt x="112" y="26"/>
                      <a:pt x="112" y="26"/>
                      <a:pt x="112" y="26"/>
                    </a:cubicBezTo>
                    <a:cubicBezTo>
                      <a:pt x="113" y="26"/>
                      <a:pt x="113" y="26"/>
                      <a:pt x="113" y="26"/>
                    </a:cubicBezTo>
                    <a:cubicBezTo>
                      <a:pt x="113" y="26"/>
                      <a:pt x="113" y="26"/>
                      <a:pt x="113" y="26"/>
                    </a:cubicBezTo>
                    <a:cubicBezTo>
                      <a:pt x="113" y="25"/>
                      <a:pt x="113" y="25"/>
                      <a:pt x="113" y="25"/>
                    </a:cubicBezTo>
                    <a:cubicBezTo>
                      <a:pt x="116" y="25"/>
                      <a:pt x="116" y="25"/>
                      <a:pt x="116" y="25"/>
                    </a:cubicBezTo>
                    <a:cubicBezTo>
                      <a:pt x="118" y="23"/>
                      <a:pt x="118" y="23"/>
                      <a:pt x="118" y="23"/>
                    </a:cubicBezTo>
                    <a:cubicBezTo>
                      <a:pt x="118" y="23"/>
                      <a:pt x="118" y="23"/>
                      <a:pt x="118" y="23"/>
                    </a:cubicBezTo>
                    <a:cubicBezTo>
                      <a:pt x="119" y="23"/>
                      <a:pt x="119" y="23"/>
                      <a:pt x="119" y="23"/>
                    </a:cubicBezTo>
                    <a:cubicBezTo>
                      <a:pt x="119" y="23"/>
                      <a:pt x="119" y="23"/>
                      <a:pt x="119" y="23"/>
                    </a:cubicBezTo>
                    <a:cubicBezTo>
                      <a:pt x="122" y="24"/>
                      <a:pt x="122" y="24"/>
                      <a:pt x="122" y="24"/>
                    </a:cubicBezTo>
                    <a:cubicBezTo>
                      <a:pt x="122" y="23"/>
                      <a:pt x="122" y="23"/>
                      <a:pt x="122" y="23"/>
                    </a:cubicBezTo>
                    <a:cubicBezTo>
                      <a:pt x="124" y="23"/>
                      <a:pt x="124" y="23"/>
                      <a:pt x="124" y="23"/>
                    </a:cubicBezTo>
                    <a:cubicBezTo>
                      <a:pt x="124" y="23"/>
                      <a:pt x="126" y="24"/>
                      <a:pt x="126" y="24"/>
                    </a:cubicBezTo>
                    <a:cubicBezTo>
                      <a:pt x="126" y="24"/>
                      <a:pt x="128" y="24"/>
                      <a:pt x="128" y="24"/>
                    </a:cubicBezTo>
                    <a:cubicBezTo>
                      <a:pt x="128" y="23"/>
                      <a:pt x="128" y="23"/>
                      <a:pt x="128" y="23"/>
                    </a:cubicBezTo>
                    <a:cubicBezTo>
                      <a:pt x="128" y="23"/>
                      <a:pt x="128" y="22"/>
                      <a:pt x="128" y="22"/>
                    </a:cubicBezTo>
                    <a:cubicBezTo>
                      <a:pt x="128" y="22"/>
                      <a:pt x="128" y="22"/>
                      <a:pt x="128" y="22"/>
                    </a:cubicBezTo>
                    <a:cubicBezTo>
                      <a:pt x="127" y="22"/>
                      <a:pt x="126" y="21"/>
                      <a:pt x="126" y="21"/>
                    </a:cubicBezTo>
                    <a:cubicBezTo>
                      <a:pt x="126" y="21"/>
                      <a:pt x="126" y="21"/>
                      <a:pt x="126" y="21"/>
                    </a:cubicBezTo>
                    <a:cubicBezTo>
                      <a:pt x="127" y="20"/>
                      <a:pt x="127" y="20"/>
                      <a:pt x="127" y="20"/>
                    </a:cubicBezTo>
                    <a:cubicBezTo>
                      <a:pt x="127" y="20"/>
                      <a:pt x="127" y="20"/>
                      <a:pt x="127" y="20"/>
                    </a:cubicBezTo>
                    <a:cubicBezTo>
                      <a:pt x="127" y="20"/>
                      <a:pt x="127" y="19"/>
                      <a:pt x="127" y="19"/>
                    </a:cubicBezTo>
                    <a:cubicBezTo>
                      <a:pt x="129" y="20"/>
                      <a:pt x="129" y="20"/>
                      <a:pt x="129" y="20"/>
                    </a:cubicBezTo>
                    <a:cubicBezTo>
                      <a:pt x="132" y="20"/>
                      <a:pt x="132" y="20"/>
                      <a:pt x="132" y="20"/>
                    </a:cubicBezTo>
                    <a:cubicBezTo>
                      <a:pt x="132" y="19"/>
                      <a:pt x="132" y="19"/>
                      <a:pt x="132" y="19"/>
                    </a:cubicBezTo>
                    <a:cubicBezTo>
                      <a:pt x="134" y="19"/>
                      <a:pt x="134" y="19"/>
                      <a:pt x="134" y="19"/>
                    </a:cubicBezTo>
                    <a:cubicBezTo>
                      <a:pt x="135" y="19"/>
                      <a:pt x="135" y="19"/>
                      <a:pt x="135" y="19"/>
                    </a:cubicBezTo>
                    <a:cubicBezTo>
                      <a:pt x="135" y="20"/>
                      <a:pt x="135" y="20"/>
                      <a:pt x="135" y="20"/>
                    </a:cubicBezTo>
                    <a:cubicBezTo>
                      <a:pt x="136" y="20"/>
                      <a:pt x="136" y="20"/>
                      <a:pt x="136" y="20"/>
                    </a:cubicBezTo>
                    <a:cubicBezTo>
                      <a:pt x="136" y="21"/>
                      <a:pt x="136" y="21"/>
                      <a:pt x="136" y="21"/>
                    </a:cubicBezTo>
                    <a:cubicBezTo>
                      <a:pt x="137" y="21"/>
                      <a:pt x="137" y="21"/>
                      <a:pt x="137" y="21"/>
                    </a:cubicBezTo>
                    <a:cubicBezTo>
                      <a:pt x="138" y="21"/>
                      <a:pt x="138" y="21"/>
                      <a:pt x="138" y="21"/>
                    </a:cubicBezTo>
                    <a:cubicBezTo>
                      <a:pt x="138" y="21"/>
                      <a:pt x="139" y="22"/>
                      <a:pt x="139" y="22"/>
                    </a:cubicBezTo>
                    <a:cubicBezTo>
                      <a:pt x="139" y="22"/>
                      <a:pt x="140" y="22"/>
                      <a:pt x="140" y="22"/>
                    </a:cubicBezTo>
                    <a:cubicBezTo>
                      <a:pt x="141" y="22"/>
                      <a:pt x="141" y="22"/>
                      <a:pt x="141" y="22"/>
                    </a:cubicBezTo>
                    <a:cubicBezTo>
                      <a:pt x="141" y="21"/>
                      <a:pt x="141" y="21"/>
                      <a:pt x="141" y="21"/>
                    </a:cubicBezTo>
                    <a:cubicBezTo>
                      <a:pt x="142" y="21"/>
                      <a:pt x="142" y="21"/>
                      <a:pt x="142" y="21"/>
                    </a:cubicBezTo>
                    <a:cubicBezTo>
                      <a:pt x="143" y="20"/>
                      <a:pt x="143" y="20"/>
                      <a:pt x="143" y="20"/>
                    </a:cubicBezTo>
                    <a:cubicBezTo>
                      <a:pt x="145" y="21"/>
                      <a:pt x="145" y="21"/>
                      <a:pt x="145" y="21"/>
                    </a:cubicBezTo>
                    <a:cubicBezTo>
                      <a:pt x="145" y="21"/>
                      <a:pt x="145" y="21"/>
                      <a:pt x="145" y="21"/>
                    </a:cubicBezTo>
                    <a:cubicBezTo>
                      <a:pt x="146" y="20"/>
                      <a:pt x="146" y="20"/>
                      <a:pt x="146" y="20"/>
                    </a:cubicBezTo>
                    <a:cubicBezTo>
                      <a:pt x="147" y="20"/>
                      <a:pt x="147" y="20"/>
                      <a:pt x="147" y="20"/>
                    </a:cubicBezTo>
                    <a:cubicBezTo>
                      <a:pt x="147" y="22"/>
                      <a:pt x="147" y="22"/>
                      <a:pt x="147" y="22"/>
                    </a:cubicBezTo>
                    <a:cubicBezTo>
                      <a:pt x="149" y="22"/>
                      <a:pt x="149" y="22"/>
                      <a:pt x="149" y="22"/>
                    </a:cubicBezTo>
                    <a:cubicBezTo>
                      <a:pt x="152" y="19"/>
                      <a:pt x="152" y="19"/>
                      <a:pt x="152" y="19"/>
                    </a:cubicBezTo>
                    <a:cubicBezTo>
                      <a:pt x="152" y="18"/>
                      <a:pt x="152" y="18"/>
                      <a:pt x="152" y="18"/>
                    </a:cubicBezTo>
                    <a:cubicBezTo>
                      <a:pt x="153" y="16"/>
                      <a:pt x="153" y="16"/>
                      <a:pt x="153" y="16"/>
                    </a:cubicBezTo>
                    <a:cubicBezTo>
                      <a:pt x="153" y="15"/>
                      <a:pt x="153" y="15"/>
                      <a:pt x="153" y="15"/>
                    </a:cubicBezTo>
                    <a:cubicBezTo>
                      <a:pt x="158" y="8"/>
                      <a:pt x="158" y="8"/>
                      <a:pt x="158" y="8"/>
                    </a:cubicBezTo>
                    <a:cubicBezTo>
                      <a:pt x="158" y="8"/>
                      <a:pt x="159" y="8"/>
                      <a:pt x="159" y="7"/>
                    </a:cubicBezTo>
                    <a:cubicBezTo>
                      <a:pt x="159" y="7"/>
                      <a:pt x="159" y="7"/>
                      <a:pt x="159" y="7"/>
                    </a:cubicBezTo>
                    <a:cubicBezTo>
                      <a:pt x="159" y="7"/>
                      <a:pt x="159" y="7"/>
                      <a:pt x="159" y="7"/>
                    </a:cubicBezTo>
                    <a:cubicBezTo>
                      <a:pt x="159" y="7"/>
                      <a:pt x="159" y="6"/>
                      <a:pt x="159" y="6"/>
                    </a:cubicBezTo>
                    <a:cubicBezTo>
                      <a:pt x="159" y="6"/>
                      <a:pt x="160" y="6"/>
                      <a:pt x="160" y="7"/>
                    </a:cubicBezTo>
                    <a:cubicBezTo>
                      <a:pt x="161" y="7"/>
                      <a:pt x="161" y="8"/>
                      <a:pt x="161" y="8"/>
                    </a:cubicBezTo>
                    <a:cubicBezTo>
                      <a:pt x="161" y="9"/>
                      <a:pt x="161" y="9"/>
                      <a:pt x="161" y="10"/>
                    </a:cubicBezTo>
                    <a:cubicBezTo>
                      <a:pt x="161" y="10"/>
                      <a:pt x="161" y="10"/>
                      <a:pt x="162" y="11"/>
                    </a:cubicBezTo>
                    <a:cubicBezTo>
                      <a:pt x="162" y="10"/>
                      <a:pt x="162" y="10"/>
                      <a:pt x="162" y="10"/>
                    </a:cubicBezTo>
                    <a:cubicBezTo>
                      <a:pt x="162" y="11"/>
                      <a:pt x="162" y="13"/>
                      <a:pt x="162" y="14"/>
                    </a:cubicBezTo>
                    <a:cubicBezTo>
                      <a:pt x="162" y="15"/>
                      <a:pt x="163" y="16"/>
                      <a:pt x="163" y="17"/>
                    </a:cubicBezTo>
                    <a:cubicBezTo>
                      <a:pt x="163" y="17"/>
                      <a:pt x="163" y="17"/>
                      <a:pt x="164" y="18"/>
                    </a:cubicBezTo>
                    <a:cubicBezTo>
                      <a:pt x="164" y="18"/>
                      <a:pt x="164" y="19"/>
                      <a:pt x="164" y="19"/>
                    </a:cubicBezTo>
                    <a:cubicBezTo>
                      <a:pt x="164" y="20"/>
                      <a:pt x="165" y="21"/>
                      <a:pt x="165" y="22"/>
                    </a:cubicBezTo>
                    <a:cubicBezTo>
                      <a:pt x="165" y="23"/>
                      <a:pt x="166" y="24"/>
                      <a:pt x="166" y="24"/>
                    </a:cubicBezTo>
                    <a:cubicBezTo>
                      <a:pt x="167" y="24"/>
                      <a:pt x="167" y="24"/>
                      <a:pt x="167" y="24"/>
                    </a:cubicBezTo>
                    <a:cubicBezTo>
                      <a:pt x="168" y="24"/>
                      <a:pt x="169" y="24"/>
                      <a:pt x="170" y="25"/>
                    </a:cubicBezTo>
                    <a:cubicBezTo>
                      <a:pt x="170" y="25"/>
                      <a:pt x="170" y="25"/>
                      <a:pt x="170" y="25"/>
                    </a:cubicBezTo>
                    <a:cubicBezTo>
                      <a:pt x="170" y="25"/>
                      <a:pt x="170" y="26"/>
                      <a:pt x="170" y="26"/>
                    </a:cubicBezTo>
                    <a:cubicBezTo>
                      <a:pt x="171" y="26"/>
                      <a:pt x="171" y="27"/>
                      <a:pt x="170" y="28"/>
                    </a:cubicBezTo>
                    <a:cubicBezTo>
                      <a:pt x="170" y="28"/>
                      <a:pt x="170" y="28"/>
                      <a:pt x="170" y="28"/>
                    </a:cubicBezTo>
                    <a:cubicBezTo>
                      <a:pt x="170" y="28"/>
                      <a:pt x="170" y="28"/>
                      <a:pt x="169" y="28"/>
                    </a:cubicBezTo>
                    <a:cubicBezTo>
                      <a:pt x="170" y="29"/>
                      <a:pt x="170" y="29"/>
                      <a:pt x="170" y="29"/>
                    </a:cubicBezTo>
                    <a:cubicBezTo>
                      <a:pt x="170" y="29"/>
                      <a:pt x="170" y="29"/>
                      <a:pt x="170" y="29"/>
                    </a:cubicBezTo>
                    <a:cubicBezTo>
                      <a:pt x="170" y="29"/>
                      <a:pt x="170" y="29"/>
                      <a:pt x="170" y="29"/>
                    </a:cubicBezTo>
                    <a:cubicBezTo>
                      <a:pt x="170" y="29"/>
                      <a:pt x="170" y="30"/>
                      <a:pt x="170" y="30"/>
                    </a:cubicBezTo>
                    <a:cubicBezTo>
                      <a:pt x="170" y="30"/>
                      <a:pt x="170" y="30"/>
                      <a:pt x="170" y="30"/>
                    </a:cubicBezTo>
                    <a:cubicBezTo>
                      <a:pt x="170" y="30"/>
                      <a:pt x="170" y="30"/>
                      <a:pt x="169" y="30"/>
                    </a:cubicBezTo>
                    <a:cubicBezTo>
                      <a:pt x="169" y="30"/>
                      <a:pt x="169" y="30"/>
                      <a:pt x="168" y="30"/>
                    </a:cubicBezTo>
                    <a:cubicBezTo>
                      <a:pt x="168" y="30"/>
                      <a:pt x="168" y="31"/>
                      <a:pt x="168" y="31"/>
                    </a:cubicBezTo>
                    <a:cubicBezTo>
                      <a:pt x="168" y="31"/>
                      <a:pt x="168" y="31"/>
                      <a:pt x="168" y="31"/>
                    </a:cubicBezTo>
                    <a:cubicBezTo>
                      <a:pt x="168" y="31"/>
                      <a:pt x="167" y="32"/>
                      <a:pt x="167" y="32"/>
                    </a:cubicBezTo>
                    <a:cubicBezTo>
                      <a:pt x="167" y="32"/>
                      <a:pt x="166" y="33"/>
                      <a:pt x="166" y="33"/>
                    </a:cubicBezTo>
                    <a:cubicBezTo>
                      <a:pt x="166" y="34"/>
                      <a:pt x="165" y="35"/>
                      <a:pt x="165" y="35"/>
                    </a:cubicBezTo>
                    <a:cubicBezTo>
                      <a:pt x="164" y="35"/>
                      <a:pt x="164" y="35"/>
                      <a:pt x="164" y="36"/>
                    </a:cubicBezTo>
                    <a:cubicBezTo>
                      <a:pt x="163" y="36"/>
                      <a:pt x="163" y="36"/>
                      <a:pt x="163" y="36"/>
                    </a:cubicBezTo>
                    <a:cubicBezTo>
                      <a:pt x="162" y="37"/>
                      <a:pt x="162" y="37"/>
                      <a:pt x="162" y="37"/>
                    </a:cubicBezTo>
                    <a:cubicBezTo>
                      <a:pt x="161" y="38"/>
                      <a:pt x="161" y="38"/>
                      <a:pt x="161" y="38"/>
                    </a:cubicBezTo>
                    <a:cubicBezTo>
                      <a:pt x="160" y="39"/>
                      <a:pt x="160" y="39"/>
                      <a:pt x="160" y="39"/>
                    </a:cubicBezTo>
                    <a:cubicBezTo>
                      <a:pt x="161" y="39"/>
                      <a:pt x="161" y="39"/>
                      <a:pt x="161" y="39"/>
                    </a:cubicBezTo>
                    <a:cubicBezTo>
                      <a:pt x="161" y="39"/>
                      <a:pt x="161" y="39"/>
                      <a:pt x="161" y="38"/>
                    </a:cubicBezTo>
                    <a:cubicBezTo>
                      <a:pt x="161" y="38"/>
                      <a:pt x="162" y="38"/>
                      <a:pt x="162" y="38"/>
                    </a:cubicBezTo>
                    <a:cubicBezTo>
                      <a:pt x="162" y="39"/>
                      <a:pt x="162" y="39"/>
                      <a:pt x="162" y="39"/>
                    </a:cubicBezTo>
                    <a:cubicBezTo>
                      <a:pt x="162" y="39"/>
                      <a:pt x="161" y="39"/>
                      <a:pt x="161" y="39"/>
                    </a:cubicBezTo>
                    <a:cubicBezTo>
                      <a:pt x="161" y="40"/>
                      <a:pt x="161" y="40"/>
                      <a:pt x="160" y="40"/>
                    </a:cubicBezTo>
                    <a:cubicBezTo>
                      <a:pt x="160" y="40"/>
                      <a:pt x="160" y="40"/>
                      <a:pt x="160" y="40"/>
                    </a:cubicBezTo>
                    <a:cubicBezTo>
                      <a:pt x="160" y="41"/>
                      <a:pt x="159" y="41"/>
                      <a:pt x="159" y="41"/>
                    </a:cubicBezTo>
                    <a:cubicBezTo>
                      <a:pt x="159" y="41"/>
                      <a:pt x="159" y="41"/>
                      <a:pt x="158" y="41"/>
                    </a:cubicBezTo>
                    <a:cubicBezTo>
                      <a:pt x="158" y="42"/>
                      <a:pt x="158" y="42"/>
                      <a:pt x="158" y="42"/>
                    </a:cubicBezTo>
                    <a:cubicBezTo>
                      <a:pt x="158" y="43"/>
                      <a:pt x="158" y="43"/>
                      <a:pt x="158" y="44"/>
                    </a:cubicBezTo>
                    <a:cubicBezTo>
                      <a:pt x="158" y="44"/>
                      <a:pt x="158" y="44"/>
                      <a:pt x="158" y="43"/>
                    </a:cubicBezTo>
                    <a:cubicBezTo>
                      <a:pt x="158" y="43"/>
                      <a:pt x="159" y="42"/>
                      <a:pt x="159" y="42"/>
                    </a:cubicBezTo>
                    <a:cubicBezTo>
                      <a:pt x="159" y="41"/>
                      <a:pt x="159" y="41"/>
                      <a:pt x="159" y="41"/>
                    </a:cubicBezTo>
                    <a:cubicBezTo>
                      <a:pt x="159" y="41"/>
                      <a:pt x="159" y="41"/>
                      <a:pt x="159" y="41"/>
                    </a:cubicBezTo>
                    <a:cubicBezTo>
                      <a:pt x="160" y="41"/>
                      <a:pt x="160" y="41"/>
                      <a:pt x="161" y="41"/>
                    </a:cubicBezTo>
                    <a:cubicBezTo>
                      <a:pt x="161" y="41"/>
                      <a:pt x="161" y="41"/>
                      <a:pt x="161" y="41"/>
                    </a:cubicBezTo>
                    <a:cubicBezTo>
                      <a:pt x="161" y="41"/>
                      <a:pt x="161" y="41"/>
                      <a:pt x="161" y="41"/>
                    </a:cubicBezTo>
                    <a:cubicBezTo>
                      <a:pt x="161" y="42"/>
                      <a:pt x="161" y="42"/>
                      <a:pt x="161" y="43"/>
                    </a:cubicBezTo>
                    <a:cubicBezTo>
                      <a:pt x="161" y="43"/>
                      <a:pt x="161" y="44"/>
                      <a:pt x="160" y="44"/>
                    </a:cubicBezTo>
                    <a:cubicBezTo>
                      <a:pt x="160" y="44"/>
                      <a:pt x="160" y="45"/>
                      <a:pt x="160" y="45"/>
                    </a:cubicBezTo>
                    <a:cubicBezTo>
                      <a:pt x="160" y="45"/>
                      <a:pt x="160" y="45"/>
                      <a:pt x="159" y="46"/>
                    </a:cubicBezTo>
                    <a:cubicBezTo>
                      <a:pt x="159" y="46"/>
                      <a:pt x="158" y="46"/>
                      <a:pt x="158" y="47"/>
                    </a:cubicBezTo>
                    <a:cubicBezTo>
                      <a:pt x="158" y="47"/>
                      <a:pt x="157" y="47"/>
                      <a:pt x="157" y="47"/>
                    </a:cubicBezTo>
                    <a:cubicBezTo>
                      <a:pt x="157" y="47"/>
                      <a:pt x="157" y="47"/>
                      <a:pt x="156" y="47"/>
                    </a:cubicBezTo>
                    <a:cubicBezTo>
                      <a:pt x="156" y="47"/>
                      <a:pt x="155" y="47"/>
                      <a:pt x="155" y="47"/>
                    </a:cubicBezTo>
                    <a:cubicBezTo>
                      <a:pt x="154" y="47"/>
                      <a:pt x="153" y="48"/>
                      <a:pt x="152" y="48"/>
                    </a:cubicBezTo>
                    <a:cubicBezTo>
                      <a:pt x="152" y="48"/>
                      <a:pt x="152" y="48"/>
                      <a:pt x="152" y="48"/>
                    </a:cubicBezTo>
                    <a:cubicBezTo>
                      <a:pt x="152" y="48"/>
                      <a:pt x="152" y="48"/>
                      <a:pt x="151" y="48"/>
                    </a:cubicBezTo>
                    <a:cubicBezTo>
                      <a:pt x="151" y="48"/>
                      <a:pt x="150" y="48"/>
                      <a:pt x="150" y="48"/>
                    </a:cubicBezTo>
                    <a:cubicBezTo>
                      <a:pt x="149" y="48"/>
                      <a:pt x="149" y="49"/>
                      <a:pt x="148" y="49"/>
                    </a:cubicBezTo>
                    <a:cubicBezTo>
                      <a:pt x="147" y="49"/>
                      <a:pt x="147" y="49"/>
                      <a:pt x="147" y="49"/>
                    </a:cubicBezTo>
                    <a:cubicBezTo>
                      <a:pt x="146" y="49"/>
                      <a:pt x="146" y="50"/>
                      <a:pt x="146" y="50"/>
                    </a:cubicBezTo>
                    <a:cubicBezTo>
                      <a:pt x="145" y="50"/>
                      <a:pt x="143" y="50"/>
                      <a:pt x="142" y="51"/>
                    </a:cubicBezTo>
                    <a:cubicBezTo>
                      <a:pt x="142" y="51"/>
                      <a:pt x="142" y="51"/>
                      <a:pt x="141" y="52"/>
                    </a:cubicBezTo>
                    <a:cubicBezTo>
                      <a:pt x="141" y="52"/>
                      <a:pt x="141" y="52"/>
                      <a:pt x="140" y="52"/>
                    </a:cubicBezTo>
                    <a:cubicBezTo>
                      <a:pt x="140" y="52"/>
                      <a:pt x="141" y="52"/>
                      <a:pt x="141" y="52"/>
                    </a:cubicBezTo>
                    <a:cubicBezTo>
                      <a:pt x="140" y="52"/>
                      <a:pt x="139" y="52"/>
                      <a:pt x="139" y="53"/>
                    </a:cubicBezTo>
                    <a:cubicBezTo>
                      <a:pt x="139" y="53"/>
                      <a:pt x="139" y="53"/>
                      <a:pt x="139" y="53"/>
                    </a:cubicBezTo>
                    <a:cubicBezTo>
                      <a:pt x="139" y="53"/>
                      <a:pt x="139" y="54"/>
                      <a:pt x="138" y="54"/>
                    </a:cubicBezTo>
                    <a:cubicBezTo>
                      <a:pt x="138" y="54"/>
                      <a:pt x="138" y="54"/>
                      <a:pt x="137" y="54"/>
                    </a:cubicBezTo>
                    <a:cubicBezTo>
                      <a:pt x="137" y="54"/>
                      <a:pt x="136" y="53"/>
                      <a:pt x="137" y="53"/>
                    </a:cubicBezTo>
                    <a:cubicBezTo>
                      <a:pt x="137" y="53"/>
                      <a:pt x="137" y="53"/>
                      <a:pt x="138" y="52"/>
                    </a:cubicBezTo>
                    <a:cubicBezTo>
                      <a:pt x="137" y="52"/>
                      <a:pt x="136" y="51"/>
                      <a:pt x="135" y="52"/>
                    </a:cubicBezTo>
                    <a:cubicBezTo>
                      <a:pt x="136" y="51"/>
                      <a:pt x="135" y="51"/>
                      <a:pt x="135" y="51"/>
                    </a:cubicBezTo>
                    <a:cubicBezTo>
                      <a:pt x="134" y="51"/>
                      <a:pt x="134" y="51"/>
                      <a:pt x="133" y="51"/>
                    </a:cubicBezTo>
                    <a:cubicBezTo>
                      <a:pt x="133" y="51"/>
                      <a:pt x="134" y="52"/>
                      <a:pt x="134" y="52"/>
                    </a:cubicBezTo>
                    <a:cubicBezTo>
                      <a:pt x="135" y="52"/>
                      <a:pt x="135" y="52"/>
                      <a:pt x="136" y="52"/>
                    </a:cubicBezTo>
                    <a:cubicBezTo>
                      <a:pt x="136" y="52"/>
                      <a:pt x="135" y="53"/>
                      <a:pt x="135" y="53"/>
                    </a:cubicBezTo>
                    <a:cubicBezTo>
                      <a:pt x="134" y="53"/>
                      <a:pt x="134" y="53"/>
                      <a:pt x="134" y="52"/>
                    </a:cubicBezTo>
                    <a:cubicBezTo>
                      <a:pt x="133" y="52"/>
                      <a:pt x="132" y="52"/>
                      <a:pt x="132" y="52"/>
                    </a:cubicBezTo>
                    <a:cubicBezTo>
                      <a:pt x="131" y="52"/>
                      <a:pt x="131" y="52"/>
                      <a:pt x="131" y="52"/>
                    </a:cubicBezTo>
                    <a:cubicBezTo>
                      <a:pt x="131" y="52"/>
                      <a:pt x="131" y="52"/>
                      <a:pt x="131" y="52"/>
                    </a:cubicBezTo>
                    <a:cubicBezTo>
                      <a:pt x="131" y="52"/>
                      <a:pt x="130" y="52"/>
                      <a:pt x="130" y="52"/>
                    </a:cubicBezTo>
                    <a:cubicBezTo>
                      <a:pt x="130" y="52"/>
                      <a:pt x="130" y="51"/>
                      <a:pt x="130" y="51"/>
                    </a:cubicBezTo>
                    <a:cubicBezTo>
                      <a:pt x="130" y="50"/>
                      <a:pt x="129" y="50"/>
                      <a:pt x="128" y="50"/>
                    </a:cubicBezTo>
                    <a:cubicBezTo>
                      <a:pt x="128" y="50"/>
                      <a:pt x="128" y="50"/>
                      <a:pt x="128" y="50"/>
                    </a:cubicBezTo>
                    <a:cubicBezTo>
                      <a:pt x="128" y="50"/>
                      <a:pt x="128" y="50"/>
                      <a:pt x="128" y="50"/>
                    </a:cubicBezTo>
                    <a:cubicBezTo>
                      <a:pt x="128" y="51"/>
                      <a:pt x="127" y="51"/>
                      <a:pt x="127" y="50"/>
                    </a:cubicBezTo>
                    <a:cubicBezTo>
                      <a:pt x="127" y="50"/>
                      <a:pt x="127" y="50"/>
                      <a:pt x="127" y="50"/>
                    </a:cubicBezTo>
                    <a:cubicBezTo>
                      <a:pt x="127" y="50"/>
                      <a:pt x="127" y="50"/>
                      <a:pt x="126" y="50"/>
                    </a:cubicBezTo>
                    <a:cubicBezTo>
                      <a:pt x="126" y="50"/>
                      <a:pt x="125" y="50"/>
                      <a:pt x="125" y="51"/>
                    </a:cubicBezTo>
                    <a:cubicBezTo>
                      <a:pt x="126" y="51"/>
                      <a:pt x="126" y="51"/>
                      <a:pt x="126" y="52"/>
                    </a:cubicBezTo>
                    <a:cubicBezTo>
                      <a:pt x="126" y="52"/>
                      <a:pt x="125" y="52"/>
                      <a:pt x="125" y="53"/>
                    </a:cubicBezTo>
                    <a:cubicBezTo>
                      <a:pt x="125" y="53"/>
                      <a:pt x="124" y="54"/>
                      <a:pt x="124" y="54"/>
                    </a:cubicBezTo>
                    <a:cubicBezTo>
                      <a:pt x="124" y="53"/>
                      <a:pt x="125" y="53"/>
                      <a:pt x="125" y="52"/>
                    </a:cubicBezTo>
                    <a:cubicBezTo>
                      <a:pt x="125" y="52"/>
                      <a:pt x="124" y="52"/>
                      <a:pt x="124" y="52"/>
                    </a:cubicBezTo>
                    <a:cubicBezTo>
                      <a:pt x="123" y="52"/>
                      <a:pt x="123" y="53"/>
                      <a:pt x="123" y="53"/>
                    </a:cubicBezTo>
                    <a:cubicBezTo>
                      <a:pt x="122" y="53"/>
                      <a:pt x="122" y="54"/>
                      <a:pt x="123" y="55"/>
                    </a:cubicBezTo>
                    <a:cubicBezTo>
                      <a:pt x="122" y="55"/>
                      <a:pt x="121" y="55"/>
                      <a:pt x="120" y="55"/>
                    </a:cubicBezTo>
                    <a:cubicBezTo>
                      <a:pt x="119" y="55"/>
                      <a:pt x="119" y="54"/>
                      <a:pt x="118" y="54"/>
                    </a:cubicBezTo>
                    <a:cubicBezTo>
                      <a:pt x="117" y="54"/>
                      <a:pt x="117" y="54"/>
                      <a:pt x="117" y="54"/>
                    </a:cubicBezTo>
                    <a:cubicBezTo>
                      <a:pt x="116" y="54"/>
                      <a:pt x="116" y="55"/>
                      <a:pt x="116" y="55"/>
                    </a:cubicBezTo>
                    <a:cubicBezTo>
                      <a:pt x="115" y="56"/>
                      <a:pt x="114" y="57"/>
                      <a:pt x="112" y="58"/>
                    </a:cubicBezTo>
                    <a:cubicBezTo>
                      <a:pt x="114" y="57"/>
                      <a:pt x="116" y="57"/>
                      <a:pt x="116" y="55"/>
                    </a:cubicBezTo>
                    <a:cubicBezTo>
                      <a:pt x="116" y="55"/>
                      <a:pt x="117" y="55"/>
                      <a:pt x="117" y="55"/>
                    </a:cubicBezTo>
                    <a:cubicBezTo>
                      <a:pt x="117" y="55"/>
                      <a:pt x="117" y="55"/>
                      <a:pt x="117" y="55"/>
                    </a:cubicBezTo>
                    <a:cubicBezTo>
                      <a:pt x="117" y="55"/>
                      <a:pt x="118" y="55"/>
                      <a:pt x="118" y="55"/>
                    </a:cubicBezTo>
                    <a:cubicBezTo>
                      <a:pt x="118" y="55"/>
                      <a:pt x="118" y="55"/>
                      <a:pt x="118" y="55"/>
                    </a:cubicBezTo>
                    <a:cubicBezTo>
                      <a:pt x="118" y="55"/>
                      <a:pt x="118" y="55"/>
                      <a:pt x="118" y="55"/>
                    </a:cubicBezTo>
                    <a:cubicBezTo>
                      <a:pt x="118" y="55"/>
                      <a:pt x="118" y="55"/>
                      <a:pt x="118" y="56"/>
                    </a:cubicBezTo>
                    <a:cubicBezTo>
                      <a:pt x="118" y="56"/>
                      <a:pt x="119" y="56"/>
                      <a:pt x="119" y="56"/>
                    </a:cubicBezTo>
                    <a:cubicBezTo>
                      <a:pt x="120" y="56"/>
                      <a:pt x="120" y="56"/>
                      <a:pt x="120" y="56"/>
                    </a:cubicBezTo>
                    <a:cubicBezTo>
                      <a:pt x="120" y="56"/>
                      <a:pt x="120" y="56"/>
                      <a:pt x="120" y="56"/>
                    </a:cubicBezTo>
                    <a:cubicBezTo>
                      <a:pt x="120" y="56"/>
                      <a:pt x="120" y="56"/>
                      <a:pt x="120" y="56"/>
                    </a:cubicBezTo>
                    <a:cubicBezTo>
                      <a:pt x="120" y="56"/>
                      <a:pt x="121" y="56"/>
                      <a:pt x="121" y="56"/>
                    </a:cubicBezTo>
                    <a:cubicBezTo>
                      <a:pt x="121" y="56"/>
                      <a:pt x="121" y="56"/>
                      <a:pt x="121" y="56"/>
                    </a:cubicBezTo>
                    <a:cubicBezTo>
                      <a:pt x="121" y="56"/>
                      <a:pt x="122" y="56"/>
                      <a:pt x="122" y="56"/>
                    </a:cubicBezTo>
                    <a:cubicBezTo>
                      <a:pt x="122" y="56"/>
                      <a:pt x="122" y="56"/>
                      <a:pt x="122" y="56"/>
                    </a:cubicBezTo>
                    <a:cubicBezTo>
                      <a:pt x="122" y="56"/>
                      <a:pt x="123" y="56"/>
                      <a:pt x="123" y="56"/>
                    </a:cubicBezTo>
                    <a:cubicBezTo>
                      <a:pt x="123" y="56"/>
                      <a:pt x="123" y="56"/>
                      <a:pt x="123" y="56"/>
                    </a:cubicBezTo>
                    <a:cubicBezTo>
                      <a:pt x="123" y="55"/>
                      <a:pt x="124" y="54"/>
                      <a:pt x="124" y="54"/>
                    </a:cubicBezTo>
                    <a:cubicBezTo>
                      <a:pt x="125" y="54"/>
                      <a:pt x="125" y="54"/>
                      <a:pt x="125" y="54"/>
                    </a:cubicBezTo>
                    <a:cubicBezTo>
                      <a:pt x="125" y="54"/>
                      <a:pt x="125" y="54"/>
                      <a:pt x="125" y="54"/>
                    </a:cubicBezTo>
                    <a:cubicBezTo>
                      <a:pt x="125" y="54"/>
                      <a:pt x="125" y="54"/>
                      <a:pt x="125"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3"/>
                      <a:pt x="126" y="53"/>
                      <a:pt x="126" y="53"/>
                    </a:cubicBezTo>
                    <a:cubicBezTo>
                      <a:pt x="126" y="53"/>
                      <a:pt x="126" y="53"/>
                      <a:pt x="126" y="53"/>
                    </a:cubicBezTo>
                    <a:cubicBezTo>
                      <a:pt x="127" y="52"/>
                      <a:pt x="127" y="52"/>
                      <a:pt x="128" y="52"/>
                    </a:cubicBezTo>
                    <a:cubicBezTo>
                      <a:pt x="128" y="51"/>
                      <a:pt x="129" y="51"/>
                      <a:pt x="129" y="51"/>
                    </a:cubicBezTo>
                    <a:cubicBezTo>
                      <a:pt x="130" y="51"/>
                      <a:pt x="130" y="51"/>
                      <a:pt x="130" y="51"/>
                    </a:cubicBezTo>
                    <a:cubicBezTo>
                      <a:pt x="130" y="51"/>
                      <a:pt x="130" y="51"/>
                      <a:pt x="130" y="52"/>
                    </a:cubicBezTo>
                    <a:cubicBezTo>
                      <a:pt x="130" y="52"/>
                      <a:pt x="130" y="52"/>
                      <a:pt x="130" y="53"/>
                    </a:cubicBezTo>
                    <a:cubicBezTo>
                      <a:pt x="130" y="52"/>
                      <a:pt x="130" y="53"/>
                      <a:pt x="131" y="53"/>
                    </a:cubicBezTo>
                    <a:cubicBezTo>
                      <a:pt x="131" y="53"/>
                      <a:pt x="131" y="53"/>
                      <a:pt x="132" y="53"/>
                    </a:cubicBezTo>
                    <a:cubicBezTo>
                      <a:pt x="132" y="53"/>
                      <a:pt x="133" y="53"/>
                      <a:pt x="133" y="53"/>
                    </a:cubicBezTo>
                    <a:cubicBezTo>
                      <a:pt x="133" y="53"/>
                      <a:pt x="134" y="53"/>
                      <a:pt x="134" y="53"/>
                    </a:cubicBezTo>
                    <a:cubicBezTo>
                      <a:pt x="134" y="53"/>
                      <a:pt x="134" y="53"/>
                      <a:pt x="134" y="53"/>
                    </a:cubicBezTo>
                    <a:cubicBezTo>
                      <a:pt x="134" y="54"/>
                      <a:pt x="134" y="54"/>
                      <a:pt x="134" y="54"/>
                    </a:cubicBezTo>
                    <a:cubicBezTo>
                      <a:pt x="134" y="54"/>
                      <a:pt x="134" y="54"/>
                      <a:pt x="134" y="54"/>
                    </a:cubicBezTo>
                    <a:cubicBezTo>
                      <a:pt x="134" y="54"/>
                      <a:pt x="134" y="54"/>
                      <a:pt x="134" y="54"/>
                    </a:cubicBezTo>
                    <a:cubicBezTo>
                      <a:pt x="134" y="55"/>
                      <a:pt x="134" y="55"/>
                      <a:pt x="134" y="56"/>
                    </a:cubicBezTo>
                    <a:cubicBezTo>
                      <a:pt x="133" y="56"/>
                      <a:pt x="133" y="57"/>
                      <a:pt x="133" y="57"/>
                    </a:cubicBezTo>
                    <a:cubicBezTo>
                      <a:pt x="133" y="58"/>
                      <a:pt x="133" y="59"/>
                      <a:pt x="132" y="60"/>
                    </a:cubicBezTo>
                    <a:cubicBezTo>
                      <a:pt x="132" y="62"/>
                      <a:pt x="131" y="64"/>
                      <a:pt x="130" y="65"/>
                    </a:cubicBezTo>
                    <a:cubicBezTo>
                      <a:pt x="130" y="65"/>
                      <a:pt x="130" y="65"/>
                      <a:pt x="130" y="66"/>
                    </a:cubicBezTo>
                    <a:cubicBezTo>
                      <a:pt x="131" y="65"/>
                      <a:pt x="132" y="63"/>
                      <a:pt x="132" y="62"/>
                    </a:cubicBezTo>
                    <a:cubicBezTo>
                      <a:pt x="133" y="61"/>
                      <a:pt x="133" y="60"/>
                      <a:pt x="133" y="60"/>
                    </a:cubicBezTo>
                    <a:cubicBezTo>
                      <a:pt x="134" y="58"/>
                      <a:pt x="135" y="57"/>
                      <a:pt x="135" y="55"/>
                    </a:cubicBezTo>
                    <a:cubicBezTo>
                      <a:pt x="135" y="55"/>
                      <a:pt x="135" y="55"/>
                      <a:pt x="135" y="55"/>
                    </a:cubicBezTo>
                    <a:cubicBezTo>
                      <a:pt x="136" y="55"/>
                      <a:pt x="136" y="55"/>
                      <a:pt x="136" y="55"/>
                    </a:cubicBezTo>
                    <a:cubicBezTo>
                      <a:pt x="137" y="55"/>
                      <a:pt x="137" y="55"/>
                      <a:pt x="138" y="55"/>
                    </a:cubicBezTo>
                    <a:cubicBezTo>
                      <a:pt x="138" y="55"/>
                      <a:pt x="138" y="55"/>
                      <a:pt x="138" y="55"/>
                    </a:cubicBezTo>
                    <a:cubicBezTo>
                      <a:pt x="138" y="55"/>
                      <a:pt x="139" y="54"/>
                      <a:pt x="139" y="54"/>
                    </a:cubicBezTo>
                    <a:cubicBezTo>
                      <a:pt x="139" y="55"/>
                      <a:pt x="139" y="55"/>
                      <a:pt x="139" y="55"/>
                    </a:cubicBezTo>
                    <a:cubicBezTo>
                      <a:pt x="139" y="55"/>
                      <a:pt x="140" y="54"/>
                      <a:pt x="141" y="54"/>
                    </a:cubicBezTo>
                    <a:cubicBezTo>
                      <a:pt x="141" y="55"/>
                      <a:pt x="141" y="55"/>
                      <a:pt x="141" y="55"/>
                    </a:cubicBezTo>
                    <a:cubicBezTo>
                      <a:pt x="141" y="55"/>
                      <a:pt x="141" y="55"/>
                      <a:pt x="141" y="55"/>
                    </a:cubicBezTo>
                    <a:cubicBezTo>
                      <a:pt x="141" y="55"/>
                      <a:pt x="141" y="55"/>
                      <a:pt x="141" y="55"/>
                    </a:cubicBezTo>
                    <a:cubicBezTo>
                      <a:pt x="141" y="55"/>
                      <a:pt x="141" y="54"/>
                      <a:pt x="141" y="54"/>
                    </a:cubicBezTo>
                    <a:cubicBezTo>
                      <a:pt x="141" y="54"/>
                      <a:pt x="141" y="54"/>
                      <a:pt x="141" y="54"/>
                    </a:cubicBezTo>
                    <a:cubicBezTo>
                      <a:pt x="141" y="54"/>
                      <a:pt x="141" y="54"/>
                      <a:pt x="142" y="53"/>
                    </a:cubicBezTo>
                    <a:cubicBezTo>
                      <a:pt x="142" y="53"/>
                      <a:pt x="143" y="53"/>
                      <a:pt x="143" y="53"/>
                    </a:cubicBezTo>
                    <a:cubicBezTo>
                      <a:pt x="143" y="53"/>
                      <a:pt x="143" y="52"/>
                      <a:pt x="144" y="52"/>
                    </a:cubicBezTo>
                    <a:cubicBezTo>
                      <a:pt x="144" y="52"/>
                      <a:pt x="144" y="52"/>
                      <a:pt x="144" y="52"/>
                    </a:cubicBezTo>
                    <a:cubicBezTo>
                      <a:pt x="143" y="52"/>
                      <a:pt x="143" y="52"/>
                      <a:pt x="142" y="52"/>
                    </a:cubicBezTo>
                    <a:cubicBezTo>
                      <a:pt x="143" y="51"/>
                      <a:pt x="144" y="51"/>
                      <a:pt x="145" y="51"/>
                    </a:cubicBezTo>
                    <a:cubicBezTo>
                      <a:pt x="146" y="50"/>
                      <a:pt x="147" y="50"/>
                      <a:pt x="148" y="50"/>
                    </a:cubicBezTo>
                    <a:cubicBezTo>
                      <a:pt x="148" y="50"/>
                      <a:pt x="148" y="50"/>
                      <a:pt x="149" y="50"/>
                    </a:cubicBezTo>
                    <a:cubicBezTo>
                      <a:pt x="149" y="49"/>
                      <a:pt x="149" y="49"/>
                      <a:pt x="149" y="49"/>
                    </a:cubicBezTo>
                    <a:cubicBezTo>
                      <a:pt x="150" y="49"/>
                      <a:pt x="151" y="49"/>
                      <a:pt x="151" y="48"/>
                    </a:cubicBezTo>
                    <a:cubicBezTo>
                      <a:pt x="152" y="48"/>
                      <a:pt x="152" y="48"/>
                      <a:pt x="152" y="48"/>
                    </a:cubicBezTo>
                    <a:cubicBezTo>
                      <a:pt x="152" y="48"/>
                      <a:pt x="152" y="48"/>
                      <a:pt x="153" y="48"/>
                    </a:cubicBezTo>
                    <a:cubicBezTo>
                      <a:pt x="153" y="48"/>
                      <a:pt x="153" y="48"/>
                      <a:pt x="154" y="48"/>
                    </a:cubicBezTo>
                    <a:cubicBezTo>
                      <a:pt x="154" y="48"/>
                      <a:pt x="154" y="48"/>
                      <a:pt x="154" y="49"/>
                    </a:cubicBezTo>
                    <a:cubicBezTo>
                      <a:pt x="154" y="49"/>
                      <a:pt x="154" y="49"/>
                      <a:pt x="154" y="49"/>
                    </a:cubicBezTo>
                    <a:cubicBezTo>
                      <a:pt x="154" y="49"/>
                      <a:pt x="154" y="49"/>
                      <a:pt x="154" y="49"/>
                    </a:cubicBezTo>
                    <a:cubicBezTo>
                      <a:pt x="154" y="50"/>
                      <a:pt x="154" y="50"/>
                      <a:pt x="154" y="50"/>
                    </a:cubicBezTo>
                    <a:cubicBezTo>
                      <a:pt x="154" y="50"/>
                      <a:pt x="154" y="51"/>
                      <a:pt x="154" y="51"/>
                    </a:cubicBezTo>
                    <a:cubicBezTo>
                      <a:pt x="154" y="51"/>
                      <a:pt x="154" y="51"/>
                      <a:pt x="154" y="51"/>
                    </a:cubicBezTo>
                    <a:cubicBezTo>
                      <a:pt x="154" y="52"/>
                      <a:pt x="154" y="52"/>
                      <a:pt x="154" y="52"/>
                    </a:cubicBezTo>
                    <a:cubicBezTo>
                      <a:pt x="154" y="53"/>
                      <a:pt x="154" y="53"/>
                      <a:pt x="155" y="54"/>
                    </a:cubicBezTo>
                    <a:cubicBezTo>
                      <a:pt x="155" y="54"/>
                      <a:pt x="155" y="54"/>
                      <a:pt x="155" y="55"/>
                    </a:cubicBezTo>
                    <a:cubicBezTo>
                      <a:pt x="156" y="55"/>
                      <a:pt x="155" y="56"/>
                      <a:pt x="155" y="57"/>
                    </a:cubicBezTo>
                    <a:cubicBezTo>
                      <a:pt x="155" y="57"/>
                      <a:pt x="155" y="57"/>
                      <a:pt x="156" y="57"/>
                    </a:cubicBezTo>
                    <a:cubicBezTo>
                      <a:pt x="156" y="57"/>
                      <a:pt x="156" y="57"/>
                      <a:pt x="156" y="58"/>
                    </a:cubicBezTo>
                    <a:cubicBezTo>
                      <a:pt x="156" y="58"/>
                      <a:pt x="156" y="58"/>
                      <a:pt x="157" y="58"/>
                    </a:cubicBezTo>
                    <a:cubicBezTo>
                      <a:pt x="157" y="58"/>
                      <a:pt x="156" y="57"/>
                      <a:pt x="156" y="57"/>
                    </a:cubicBezTo>
                    <a:cubicBezTo>
                      <a:pt x="156" y="57"/>
                      <a:pt x="156" y="57"/>
                      <a:pt x="156" y="57"/>
                    </a:cubicBezTo>
                    <a:cubicBezTo>
                      <a:pt x="156" y="57"/>
                      <a:pt x="156" y="56"/>
                      <a:pt x="156" y="56"/>
                    </a:cubicBezTo>
                    <a:cubicBezTo>
                      <a:pt x="156" y="56"/>
                      <a:pt x="156" y="56"/>
                      <a:pt x="156" y="56"/>
                    </a:cubicBezTo>
                    <a:cubicBezTo>
                      <a:pt x="156" y="55"/>
                      <a:pt x="156" y="54"/>
                      <a:pt x="155" y="54"/>
                    </a:cubicBezTo>
                    <a:cubicBezTo>
                      <a:pt x="155" y="54"/>
                      <a:pt x="155" y="54"/>
                      <a:pt x="155" y="54"/>
                    </a:cubicBezTo>
                    <a:cubicBezTo>
                      <a:pt x="155" y="53"/>
                      <a:pt x="155" y="53"/>
                      <a:pt x="155" y="53"/>
                    </a:cubicBezTo>
                    <a:cubicBezTo>
                      <a:pt x="155" y="53"/>
                      <a:pt x="155" y="53"/>
                      <a:pt x="155" y="53"/>
                    </a:cubicBezTo>
                    <a:cubicBezTo>
                      <a:pt x="155" y="52"/>
                      <a:pt x="154" y="51"/>
                      <a:pt x="154" y="51"/>
                    </a:cubicBezTo>
                    <a:cubicBezTo>
                      <a:pt x="154" y="50"/>
                      <a:pt x="154" y="49"/>
                      <a:pt x="155" y="49"/>
                    </a:cubicBezTo>
                    <a:cubicBezTo>
                      <a:pt x="155" y="49"/>
                      <a:pt x="155" y="49"/>
                      <a:pt x="155" y="49"/>
                    </a:cubicBezTo>
                    <a:cubicBezTo>
                      <a:pt x="155" y="48"/>
                      <a:pt x="155" y="48"/>
                      <a:pt x="155" y="48"/>
                    </a:cubicBezTo>
                    <a:cubicBezTo>
                      <a:pt x="155" y="48"/>
                      <a:pt x="156" y="48"/>
                      <a:pt x="156" y="48"/>
                    </a:cubicBezTo>
                    <a:cubicBezTo>
                      <a:pt x="156" y="48"/>
                      <a:pt x="157" y="48"/>
                      <a:pt x="157" y="48"/>
                    </a:cubicBezTo>
                    <a:cubicBezTo>
                      <a:pt x="158" y="47"/>
                      <a:pt x="159" y="47"/>
                      <a:pt x="159" y="47"/>
                    </a:cubicBezTo>
                    <a:cubicBezTo>
                      <a:pt x="159" y="46"/>
                      <a:pt x="160" y="46"/>
                      <a:pt x="160" y="46"/>
                    </a:cubicBezTo>
                    <a:cubicBezTo>
                      <a:pt x="160" y="46"/>
                      <a:pt x="160" y="46"/>
                      <a:pt x="161" y="46"/>
                    </a:cubicBezTo>
                    <a:cubicBezTo>
                      <a:pt x="161" y="45"/>
                      <a:pt x="161" y="45"/>
                      <a:pt x="160" y="45"/>
                    </a:cubicBezTo>
                    <a:cubicBezTo>
                      <a:pt x="160" y="45"/>
                      <a:pt x="161" y="44"/>
                      <a:pt x="161" y="44"/>
                    </a:cubicBezTo>
                    <a:cubicBezTo>
                      <a:pt x="161" y="45"/>
                      <a:pt x="161" y="45"/>
                      <a:pt x="162" y="45"/>
                    </a:cubicBezTo>
                    <a:cubicBezTo>
                      <a:pt x="162" y="45"/>
                      <a:pt x="162" y="45"/>
                      <a:pt x="162" y="45"/>
                    </a:cubicBezTo>
                    <a:cubicBezTo>
                      <a:pt x="162" y="44"/>
                      <a:pt x="162" y="44"/>
                      <a:pt x="162" y="44"/>
                    </a:cubicBezTo>
                    <a:cubicBezTo>
                      <a:pt x="162" y="44"/>
                      <a:pt x="162" y="44"/>
                      <a:pt x="162" y="45"/>
                    </a:cubicBezTo>
                    <a:cubicBezTo>
                      <a:pt x="162" y="45"/>
                      <a:pt x="162" y="44"/>
                      <a:pt x="162" y="44"/>
                    </a:cubicBezTo>
                    <a:cubicBezTo>
                      <a:pt x="162" y="44"/>
                      <a:pt x="162" y="44"/>
                      <a:pt x="162" y="44"/>
                    </a:cubicBezTo>
                    <a:cubicBezTo>
                      <a:pt x="162" y="44"/>
                      <a:pt x="162" y="43"/>
                      <a:pt x="163" y="43"/>
                    </a:cubicBezTo>
                    <a:cubicBezTo>
                      <a:pt x="163" y="43"/>
                      <a:pt x="163" y="43"/>
                      <a:pt x="163" y="43"/>
                    </a:cubicBezTo>
                    <a:cubicBezTo>
                      <a:pt x="163" y="43"/>
                      <a:pt x="163" y="43"/>
                      <a:pt x="163" y="43"/>
                    </a:cubicBezTo>
                    <a:cubicBezTo>
                      <a:pt x="163" y="42"/>
                      <a:pt x="162" y="43"/>
                      <a:pt x="162" y="42"/>
                    </a:cubicBezTo>
                    <a:cubicBezTo>
                      <a:pt x="162" y="42"/>
                      <a:pt x="162" y="42"/>
                      <a:pt x="162" y="42"/>
                    </a:cubicBezTo>
                    <a:cubicBezTo>
                      <a:pt x="163" y="41"/>
                      <a:pt x="163" y="41"/>
                      <a:pt x="163" y="40"/>
                    </a:cubicBezTo>
                    <a:cubicBezTo>
                      <a:pt x="164" y="40"/>
                      <a:pt x="164" y="40"/>
                      <a:pt x="164" y="40"/>
                    </a:cubicBezTo>
                    <a:cubicBezTo>
                      <a:pt x="164" y="40"/>
                      <a:pt x="164" y="40"/>
                      <a:pt x="164" y="40"/>
                    </a:cubicBezTo>
                    <a:cubicBezTo>
                      <a:pt x="164" y="41"/>
                      <a:pt x="164" y="41"/>
                      <a:pt x="164" y="41"/>
                    </a:cubicBezTo>
                    <a:cubicBezTo>
                      <a:pt x="163" y="41"/>
                      <a:pt x="163" y="41"/>
                      <a:pt x="164" y="41"/>
                    </a:cubicBezTo>
                    <a:cubicBezTo>
                      <a:pt x="164" y="42"/>
                      <a:pt x="164" y="43"/>
                      <a:pt x="164" y="44"/>
                    </a:cubicBezTo>
                    <a:cubicBezTo>
                      <a:pt x="164" y="43"/>
                      <a:pt x="164" y="42"/>
                      <a:pt x="164" y="41"/>
                    </a:cubicBezTo>
                    <a:cubicBezTo>
                      <a:pt x="165" y="41"/>
                      <a:pt x="165" y="40"/>
                      <a:pt x="165" y="40"/>
                    </a:cubicBezTo>
                    <a:cubicBezTo>
                      <a:pt x="165" y="40"/>
                      <a:pt x="165" y="39"/>
                      <a:pt x="165" y="39"/>
                    </a:cubicBezTo>
                    <a:cubicBezTo>
                      <a:pt x="165" y="39"/>
                      <a:pt x="166" y="39"/>
                      <a:pt x="166" y="39"/>
                    </a:cubicBezTo>
                    <a:cubicBezTo>
                      <a:pt x="166" y="39"/>
                      <a:pt x="166" y="38"/>
                      <a:pt x="166" y="38"/>
                    </a:cubicBezTo>
                    <a:cubicBezTo>
                      <a:pt x="167" y="38"/>
                      <a:pt x="167" y="38"/>
                      <a:pt x="168" y="38"/>
                    </a:cubicBezTo>
                    <a:cubicBezTo>
                      <a:pt x="169" y="38"/>
                      <a:pt x="170" y="38"/>
                      <a:pt x="172" y="39"/>
                    </a:cubicBezTo>
                    <a:cubicBezTo>
                      <a:pt x="172" y="39"/>
                      <a:pt x="172" y="39"/>
                      <a:pt x="173" y="39"/>
                    </a:cubicBezTo>
                    <a:cubicBezTo>
                      <a:pt x="174" y="38"/>
                      <a:pt x="175" y="38"/>
                      <a:pt x="176" y="38"/>
                    </a:cubicBezTo>
                    <a:cubicBezTo>
                      <a:pt x="177" y="38"/>
                      <a:pt x="177" y="38"/>
                      <a:pt x="177" y="39"/>
                    </a:cubicBezTo>
                    <a:cubicBezTo>
                      <a:pt x="177" y="39"/>
                      <a:pt x="177" y="39"/>
                      <a:pt x="177" y="39"/>
                    </a:cubicBezTo>
                    <a:cubicBezTo>
                      <a:pt x="177" y="39"/>
                      <a:pt x="178" y="39"/>
                      <a:pt x="178" y="39"/>
                    </a:cubicBezTo>
                    <a:cubicBezTo>
                      <a:pt x="179" y="39"/>
                      <a:pt x="180" y="39"/>
                      <a:pt x="181" y="39"/>
                    </a:cubicBezTo>
                    <a:cubicBezTo>
                      <a:pt x="181" y="40"/>
                      <a:pt x="180" y="40"/>
                      <a:pt x="180" y="41"/>
                    </a:cubicBezTo>
                    <a:cubicBezTo>
                      <a:pt x="180" y="42"/>
                      <a:pt x="180" y="42"/>
                      <a:pt x="180" y="43"/>
                    </a:cubicBezTo>
                    <a:cubicBezTo>
                      <a:pt x="180" y="44"/>
                      <a:pt x="179" y="44"/>
                      <a:pt x="179" y="45"/>
                    </a:cubicBezTo>
                    <a:cubicBezTo>
                      <a:pt x="178" y="46"/>
                      <a:pt x="178" y="47"/>
                      <a:pt x="178" y="47"/>
                    </a:cubicBezTo>
                    <a:cubicBezTo>
                      <a:pt x="177" y="48"/>
                      <a:pt x="177" y="48"/>
                      <a:pt x="177" y="48"/>
                    </a:cubicBezTo>
                    <a:cubicBezTo>
                      <a:pt x="176" y="48"/>
                      <a:pt x="175" y="48"/>
                      <a:pt x="175" y="49"/>
                    </a:cubicBezTo>
                    <a:cubicBezTo>
                      <a:pt x="174" y="49"/>
                      <a:pt x="174" y="49"/>
                      <a:pt x="174" y="49"/>
                    </a:cubicBezTo>
                    <a:cubicBezTo>
                      <a:pt x="174" y="48"/>
                      <a:pt x="174" y="48"/>
                      <a:pt x="173" y="48"/>
                    </a:cubicBezTo>
                    <a:cubicBezTo>
                      <a:pt x="173" y="48"/>
                      <a:pt x="173" y="48"/>
                      <a:pt x="173" y="49"/>
                    </a:cubicBezTo>
                    <a:cubicBezTo>
                      <a:pt x="174" y="49"/>
                      <a:pt x="174" y="49"/>
                      <a:pt x="173" y="49"/>
                    </a:cubicBezTo>
                    <a:cubicBezTo>
                      <a:pt x="173" y="49"/>
                      <a:pt x="173" y="49"/>
                      <a:pt x="172" y="49"/>
                    </a:cubicBezTo>
                    <a:cubicBezTo>
                      <a:pt x="172" y="49"/>
                      <a:pt x="172" y="50"/>
                      <a:pt x="172" y="50"/>
                    </a:cubicBezTo>
                    <a:cubicBezTo>
                      <a:pt x="171" y="50"/>
                      <a:pt x="171" y="50"/>
                      <a:pt x="170" y="50"/>
                    </a:cubicBezTo>
                    <a:cubicBezTo>
                      <a:pt x="170" y="50"/>
                      <a:pt x="169" y="50"/>
                      <a:pt x="168" y="50"/>
                    </a:cubicBezTo>
                    <a:cubicBezTo>
                      <a:pt x="168" y="50"/>
                      <a:pt x="167" y="50"/>
                      <a:pt x="166" y="50"/>
                    </a:cubicBezTo>
                    <a:cubicBezTo>
                      <a:pt x="166" y="50"/>
                      <a:pt x="165" y="50"/>
                      <a:pt x="165" y="50"/>
                    </a:cubicBezTo>
                    <a:cubicBezTo>
                      <a:pt x="165" y="50"/>
                      <a:pt x="165" y="50"/>
                      <a:pt x="165" y="50"/>
                    </a:cubicBezTo>
                    <a:cubicBezTo>
                      <a:pt x="164" y="50"/>
                      <a:pt x="164" y="50"/>
                      <a:pt x="163" y="51"/>
                    </a:cubicBezTo>
                    <a:cubicBezTo>
                      <a:pt x="164" y="51"/>
                      <a:pt x="164" y="51"/>
                      <a:pt x="164" y="51"/>
                    </a:cubicBezTo>
                    <a:cubicBezTo>
                      <a:pt x="165" y="50"/>
                      <a:pt x="165" y="50"/>
                      <a:pt x="165" y="50"/>
                    </a:cubicBezTo>
                    <a:cubicBezTo>
                      <a:pt x="166" y="50"/>
                      <a:pt x="166" y="51"/>
                      <a:pt x="166" y="51"/>
                    </a:cubicBezTo>
                    <a:cubicBezTo>
                      <a:pt x="167" y="51"/>
                      <a:pt x="167" y="51"/>
                      <a:pt x="167" y="51"/>
                    </a:cubicBezTo>
                    <a:cubicBezTo>
                      <a:pt x="168" y="51"/>
                      <a:pt x="168" y="50"/>
                      <a:pt x="169" y="50"/>
                    </a:cubicBezTo>
                    <a:cubicBezTo>
                      <a:pt x="169" y="50"/>
                      <a:pt x="170" y="50"/>
                      <a:pt x="170" y="50"/>
                    </a:cubicBezTo>
                    <a:cubicBezTo>
                      <a:pt x="170" y="50"/>
                      <a:pt x="171" y="50"/>
                      <a:pt x="171" y="51"/>
                    </a:cubicBezTo>
                    <a:cubicBezTo>
                      <a:pt x="171" y="51"/>
                      <a:pt x="172" y="51"/>
                      <a:pt x="172" y="50"/>
                    </a:cubicBezTo>
                    <a:cubicBezTo>
                      <a:pt x="172" y="50"/>
                      <a:pt x="172" y="50"/>
                      <a:pt x="173" y="50"/>
                    </a:cubicBezTo>
                    <a:cubicBezTo>
                      <a:pt x="173" y="50"/>
                      <a:pt x="173" y="50"/>
                      <a:pt x="173" y="50"/>
                    </a:cubicBezTo>
                    <a:cubicBezTo>
                      <a:pt x="173" y="50"/>
                      <a:pt x="174" y="50"/>
                      <a:pt x="174" y="50"/>
                    </a:cubicBezTo>
                    <a:cubicBezTo>
                      <a:pt x="174" y="49"/>
                      <a:pt x="174" y="49"/>
                      <a:pt x="175" y="50"/>
                    </a:cubicBezTo>
                    <a:cubicBezTo>
                      <a:pt x="174" y="51"/>
                      <a:pt x="174" y="52"/>
                      <a:pt x="174" y="53"/>
                    </a:cubicBezTo>
                    <a:cubicBezTo>
                      <a:pt x="174" y="54"/>
                      <a:pt x="174" y="54"/>
                      <a:pt x="173" y="54"/>
                    </a:cubicBezTo>
                    <a:cubicBezTo>
                      <a:pt x="173" y="55"/>
                      <a:pt x="172" y="55"/>
                      <a:pt x="172" y="56"/>
                    </a:cubicBezTo>
                    <a:cubicBezTo>
                      <a:pt x="172" y="56"/>
                      <a:pt x="171" y="57"/>
                      <a:pt x="172" y="57"/>
                    </a:cubicBezTo>
                    <a:cubicBezTo>
                      <a:pt x="172" y="57"/>
                      <a:pt x="172" y="58"/>
                      <a:pt x="172" y="58"/>
                    </a:cubicBezTo>
                    <a:cubicBezTo>
                      <a:pt x="172" y="59"/>
                      <a:pt x="172" y="59"/>
                      <a:pt x="172" y="60"/>
                    </a:cubicBezTo>
                    <a:cubicBezTo>
                      <a:pt x="172" y="60"/>
                      <a:pt x="172" y="60"/>
                      <a:pt x="172" y="60"/>
                    </a:cubicBezTo>
                    <a:cubicBezTo>
                      <a:pt x="172" y="59"/>
                      <a:pt x="172" y="59"/>
                      <a:pt x="172" y="58"/>
                    </a:cubicBezTo>
                    <a:cubicBezTo>
                      <a:pt x="172" y="57"/>
                      <a:pt x="172" y="56"/>
                      <a:pt x="172" y="56"/>
                    </a:cubicBezTo>
                    <a:cubicBezTo>
                      <a:pt x="172" y="56"/>
                      <a:pt x="173" y="56"/>
                      <a:pt x="173" y="55"/>
                    </a:cubicBezTo>
                    <a:cubicBezTo>
                      <a:pt x="173" y="55"/>
                      <a:pt x="174" y="55"/>
                      <a:pt x="174" y="55"/>
                    </a:cubicBezTo>
                    <a:cubicBezTo>
                      <a:pt x="174" y="55"/>
                      <a:pt x="174" y="54"/>
                      <a:pt x="174" y="54"/>
                    </a:cubicBezTo>
                    <a:cubicBezTo>
                      <a:pt x="174" y="52"/>
                      <a:pt x="176" y="50"/>
                      <a:pt x="177" y="49"/>
                    </a:cubicBezTo>
                    <a:cubicBezTo>
                      <a:pt x="177" y="49"/>
                      <a:pt x="177" y="48"/>
                      <a:pt x="177" y="48"/>
                    </a:cubicBezTo>
                    <a:cubicBezTo>
                      <a:pt x="177" y="48"/>
                      <a:pt x="177" y="48"/>
                      <a:pt x="177" y="49"/>
                    </a:cubicBezTo>
                    <a:cubicBezTo>
                      <a:pt x="177" y="49"/>
                      <a:pt x="177" y="49"/>
                      <a:pt x="177" y="49"/>
                    </a:cubicBezTo>
                    <a:cubicBezTo>
                      <a:pt x="177" y="49"/>
                      <a:pt x="177" y="49"/>
                      <a:pt x="177" y="50"/>
                    </a:cubicBezTo>
                    <a:cubicBezTo>
                      <a:pt x="177" y="50"/>
                      <a:pt x="176" y="50"/>
                      <a:pt x="176" y="50"/>
                    </a:cubicBezTo>
                    <a:cubicBezTo>
                      <a:pt x="176" y="50"/>
                      <a:pt x="176" y="50"/>
                      <a:pt x="176" y="50"/>
                    </a:cubicBezTo>
                    <a:cubicBezTo>
                      <a:pt x="177" y="50"/>
                      <a:pt x="178" y="49"/>
                      <a:pt x="179" y="48"/>
                    </a:cubicBezTo>
                    <a:cubicBezTo>
                      <a:pt x="179" y="48"/>
                      <a:pt x="179" y="48"/>
                      <a:pt x="179" y="48"/>
                    </a:cubicBezTo>
                    <a:cubicBezTo>
                      <a:pt x="179" y="48"/>
                      <a:pt x="179" y="48"/>
                      <a:pt x="179" y="47"/>
                    </a:cubicBezTo>
                    <a:cubicBezTo>
                      <a:pt x="179" y="47"/>
                      <a:pt x="179" y="47"/>
                      <a:pt x="179" y="47"/>
                    </a:cubicBezTo>
                    <a:cubicBezTo>
                      <a:pt x="179" y="47"/>
                      <a:pt x="179" y="47"/>
                      <a:pt x="179" y="47"/>
                    </a:cubicBezTo>
                    <a:cubicBezTo>
                      <a:pt x="179" y="47"/>
                      <a:pt x="179" y="47"/>
                      <a:pt x="179" y="47"/>
                    </a:cubicBezTo>
                    <a:cubicBezTo>
                      <a:pt x="180" y="47"/>
                      <a:pt x="180" y="47"/>
                      <a:pt x="180" y="47"/>
                    </a:cubicBezTo>
                    <a:cubicBezTo>
                      <a:pt x="180" y="47"/>
                      <a:pt x="180" y="47"/>
                      <a:pt x="180" y="47"/>
                    </a:cubicBezTo>
                    <a:cubicBezTo>
                      <a:pt x="180" y="47"/>
                      <a:pt x="180" y="47"/>
                      <a:pt x="180" y="47"/>
                    </a:cubicBezTo>
                    <a:cubicBezTo>
                      <a:pt x="180" y="48"/>
                      <a:pt x="180" y="48"/>
                      <a:pt x="181" y="48"/>
                    </a:cubicBezTo>
                    <a:cubicBezTo>
                      <a:pt x="181" y="47"/>
                      <a:pt x="181" y="47"/>
                      <a:pt x="180" y="47"/>
                    </a:cubicBezTo>
                    <a:cubicBezTo>
                      <a:pt x="180" y="47"/>
                      <a:pt x="180" y="47"/>
                      <a:pt x="180" y="46"/>
                    </a:cubicBezTo>
                    <a:cubicBezTo>
                      <a:pt x="180" y="46"/>
                      <a:pt x="181" y="46"/>
                      <a:pt x="181" y="46"/>
                    </a:cubicBezTo>
                    <a:cubicBezTo>
                      <a:pt x="181" y="46"/>
                      <a:pt x="181" y="46"/>
                      <a:pt x="181" y="46"/>
                    </a:cubicBezTo>
                    <a:cubicBezTo>
                      <a:pt x="181" y="46"/>
                      <a:pt x="181" y="45"/>
                      <a:pt x="181" y="45"/>
                    </a:cubicBezTo>
                    <a:cubicBezTo>
                      <a:pt x="181" y="45"/>
                      <a:pt x="181" y="45"/>
                      <a:pt x="181" y="45"/>
                    </a:cubicBezTo>
                    <a:cubicBezTo>
                      <a:pt x="181" y="45"/>
                      <a:pt x="182" y="45"/>
                      <a:pt x="182" y="44"/>
                    </a:cubicBezTo>
                    <a:cubicBezTo>
                      <a:pt x="182" y="44"/>
                      <a:pt x="182" y="44"/>
                      <a:pt x="182" y="44"/>
                    </a:cubicBezTo>
                    <a:cubicBezTo>
                      <a:pt x="182" y="44"/>
                      <a:pt x="182" y="43"/>
                      <a:pt x="182" y="43"/>
                    </a:cubicBezTo>
                    <a:cubicBezTo>
                      <a:pt x="182" y="43"/>
                      <a:pt x="182" y="43"/>
                      <a:pt x="182" y="43"/>
                    </a:cubicBezTo>
                    <a:cubicBezTo>
                      <a:pt x="182" y="43"/>
                      <a:pt x="182" y="43"/>
                      <a:pt x="182" y="43"/>
                    </a:cubicBezTo>
                    <a:cubicBezTo>
                      <a:pt x="182" y="43"/>
                      <a:pt x="182" y="43"/>
                      <a:pt x="182" y="43"/>
                    </a:cubicBezTo>
                    <a:cubicBezTo>
                      <a:pt x="182" y="43"/>
                      <a:pt x="182" y="43"/>
                      <a:pt x="182" y="44"/>
                    </a:cubicBezTo>
                    <a:cubicBezTo>
                      <a:pt x="182" y="44"/>
                      <a:pt x="183" y="44"/>
                      <a:pt x="183" y="44"/>
                    </a:cubicBezTo>
                    <a:cubicBezTo>
                      <a:pt x="183" y="43"/>
                      <a:pt x="183" y="43"/>
                      <a:pt x="183" y="43"/>
                    </a:cubicBezTo>
                    <a:cubicBezTo>
                      <a:pt x="183" y="43"/>
                      <a:pt x="183" y="42"/>
                      <a:pt x="183" y="42"/>
                    </a:cubicBezTo>
                    <a:cubicBezTo>
                      <a:pt x="183" y="42"/>
                      <a:pt x="183" y="42"/>
                      <a:pt x="183" y="42"/>
                    </a:cubicBezTo>
                    <a:cubicBezTo>
                      <a:pt x="183" y="42"/>
                      <a:pt x="183" y="42"/>
                      <a:pt x="183" y="42"/>
                    </a:cubicBezTo>
                    <a:cubicBezTo>
                      <a:pt x="183" y="42"/>
                      <a:pt x="183" y="42"/>
                      <a:pt x="184" y="42"/>
                    </a:cubicBezTo>
                    <a:cubicBezTo>
                      <a:pt x="184" y="42"/>
                      <a:pt x="184" y="42"/>
                      <a:pt x="184" y="42"/>
                    </a:cubicBezTo>
                    <a:cubicBezTo>
                      <a:pt x="184" y="41"/>
                      <a:pt x="185" y="41"/>
                      <a:pt x="185" y="41"/>
                    </a:cubicBezTo>
                    <a:cubicBezTo>
                      <a:pt x="185" y="42"/>
                      <a:pt x="185" y="42"/>
                      <a:pt x="185" y="42"/>
                    </a:cubicBezTo>
                    <a:cubicBezTo>
                      <a:pt x="185" y="42"/>
                      <a:pt x="185" y="42"/>
                      <a:pt x="185" y="42"/>
                    </a:cubicBezTo>
                    <a:cubicBezTo>
                      <a:pt x="185" y="42"/>
                      <a:pt x="185" y="41"/>
                      <a:pt x="185" y="41"/>
                    </a:cubicBezTo>
                    <a:cubicBezTo>
                      <a:pt x="185" y="41"/>
                      <a:pt x="185" y="41"/>
                      <a:pt x="186" y="41"/>
                    </a:cubicBezTo>
                    <a:cubicBezTo>
                      <a:pt x="186" y="41"/>
                      <a:pt x="186" y="42"/>
                      <a:pt x="186" y="42"/>
                    </a:cubicBezTo>
                    <a:cubicBezTo>
                      <a:pt x="186" y="42"/>
                      <a:pt x="186" y="42"/>
                      <a:pt x="186" y="42"/>
                    </a:cubicBezTo>
                    <a:cubicBezTo>
                      <a:pt x="186" y="42"/>
                      <a:pt x="186" y="41"/>
                      <a:pt x="186" y="41"/>
                    </a:cubicBezTo>
                    <a:cubicBezTo>
                      <a:pt x="186" y="41"/>
                      <a:pt x="186" y="41"/>
                      <a:pt x="186" y="41"/>
                    </a:cubicBezTo>
                    <a:cubicBezTo>
                      <a:pt x="186" y="42"/>
                      <a:pt x="186" y="42"/>
                      <a:pt x="187" y="42"/>
                    </a:cubicBezTo>
                    <a:cubicBezTo>
                      <a:pt x="187" y="42"/>
                      <a:pt x="187" y="42"/>
                      <a:pt x="187" y="42"/>
                    </a:cubicBezTo>
                    <a:cubicBezTo>
                      <a:pt x="187" y="42"/>
                      <a:pt x="187" y="42"/>
                      <a:pt x="188" y="42"/>
                    </a:cubicBezTo>
                    <a:cubicBezTo>
                      <a:pt x="188" y="42"/>
                      <a:pt x="188" y="42"/>
                      <a:pt x="188" y="42"/>
                    </a:cubicBezTo>
                    <a:cubicBezTo>
                      <a:pt x="188" y="42"/>
                      <a:pt x="188" y="42"/>
                      <a:pt x="188" y="42"/>
                    </a:cubicBezTo>
                    <a:cubicBezTo>
                      <a:pt x="188" y="42"/>
                      <a:pt x="188" y="42"/>
                      <a:pt x="188" y="42"/>
                    </a:cubicBezTo>
                    <a:cubicBezTo>
                      <a:pt x="188" y="41"/>
                      <a:pt x="188" y="41"/>
                      <a:pt x="189" y="41"/>
                    </a:cubicBezTo>
                    <a:cubicBezTo>
                      <a:pt x="189" y="41"/>
                      <a:pt x="189" y="41"/>
                      <a:pt x="189" y="42"/>
                    </a:cubicBezTo>
                    <a:cubicBezTo>
                      <a:pt x="189" y="42"/>
                      <a:pt x="189" y="42"/>
                      <a:pt x="189" y="42"/>
                    </a:cubicBezTo>
                    <a:cubicBezTo>
                      <a:pt x="189" y="42"/>
                      <a:pt x="189" y="42"/>
                      <a:pt x="189" y="42"/>
                    </a:cubicBezTo>
                    <a:cubicBezTo>
                      <a:pt x="190" y="42"/>
                      <a:pt x="190" y="42"/>
                      <a:pt x="190" y="42"/>
                    </a:cubicBezTo>
                    <a:cubicBezTo>
                      <a:pt x="190" y="42"/>
                      <a:pt x="190" y="43"/>
                      <a:pt x="190" y="43"/>
                    </a:cubicBezTo>
                    <a:cubicBezTo>
                      <a:pt x="190" y="43"/>
                      <a:pt x="191" y="43"/>
                      <a:pt x="191" y="43"/>
                    </a:cubicBezTo>
                    <a:cubicBezTo>
                      <a:pt x="191" y="43"/>
                      <a:pt x="191" y="43"/>
                      <a:pt x="191" y="43"/>
                    </a:cubicBezTo>
                    <a:cubicBezTo>
                      <a:pt x="191" y="43"/>
                      <a:pt x="191" y="43"/>
                      <a:pt x="191" y="43"/>
                    </a:cubicBezTo>
                    <a:cubicBezTo>
                      <a:pt x="192" y="43"/>
                      <a:pt x="192" y="43"/>
                      <a:pt x="192" y="43"/>
                    </a:cubicBezTo>
                    <a:cubicBezTo>
                      <a:pt x="192" y="43"/>
                      <a:pt x="192" y="43"/>
                      <a:pt x="192" y="43"/>
                    </a:cubicBezTo>
                    <a:cubicBezTo>
                      <a:pt x="192" y="43"/>
                      <a:pt x="192" y="43"/>
                      <a:pt x="192" y="43"/>
                    </a:cubicBezTo>
                    <a:cubicBezTo>
                      <a:pt x="192" y="43"/>
                      <a:pt x="193" y="43"/>
                      <a:pt x="193" y="43"/>
                    </a:cubicBezTo>
                    <a:cubicBezTo>
                      <a:pt x="193" y="43"/>
                      <a:pt x="194" y="43"/>
                      <a:pt x="194" y="43"/>
                    </a:cubicBezTo>
                    <a:cubicBezTo>
                      <a:pt x="194" y="43"/>
                      <a:pt x="193" y="44"/>
                      <a:pt x="193" y="44"/>
                    </a:cubicBezTo>
                    <a:cubicBezTo>
                      <a:pt x="193" y="44"/>
                      <a:pt x="194" y="44"/>
                      <a:pt x="194" y="44"/>
                    </a:cubicBezTo>
                    <a:cubicBezTo>
                      <a:pt x="194" y="44"/>
                      <a:pt x="194" y="44"/>
                      <a:pt x="194" y="44"/>
                    </a:cubicBezTo>
                    <a:cubicBezTo>
                      <a:pt x="194" y="43"/>
                      <a:pt x="195" y="44"/>
                      <a:pt x="195" y="44"/>
                    </a:cubicBezTo>
                    <a:cubicBezTo>
                      <a:pt x="195" y="44"/>
                      <a:pt x="195" y="44"/>
                      <a:pt x="195" y="44"/>
                    </a:cubicBezTo>
                    <a:cubicBezTo>
                      <a:pt x="195" y="45"/>
                      <a:pt x="195" y="44"/>
                      <a:pt x="195" y="44"/>
                    </a:cubicBezTo>
                    <a:cubicBezTo>
                      <a:pt x="196" y="44"/>
                      <a:pt x="196" y="44"/>
                      <a:pt x="196" y="44"/>
                    </a:cubicBezTo>
                    <a:cubicBezTo>
                      <a:pt x="196" y="44"/>
                      <a:pt x="196" y="44"/>
                      <a:pt x="196" y="44"/>
                    </a:cubicBezTo>
                    <a:cubicBezTo>
                      <a:pt x="197" y="44"/>
                      <a:pt x="197" y="44"/>
                      <a:pt x="197" y="44"/>
                    </a:cubicBezTo>
                    <a:cubicBezTo>
                      <a:pt x="197" y="44"/>
                      <a:pt x="197" y="45"/>
                      <a:pt x="197" y="45"/>
                    </a:cubicBezTo>
                    <a:cubicBezTo>
                      <a:pt x="197" y="45"/>
                      <a:pt x="198" y="45"/>
                      <a:pt x="198" y="45"/>
                    </a:cubicBezTo>
                    <a:cubicBezTo>
                      <a:pt x="198" y="45"/>
                      <a:pt x="198" y="45"/>
                      <a:pt x="199" y="45"/>
                    </a:cubicBezTo>
                    <a:cubicBezTo>
                      <a:pt x="199" y="45"/>
                      <a:pt x="199" y="45"/>
                      <a:pt x="199" y="45"/>
                    </a:cubicBezTo>
                    <a:cubicBezTo>
                      <a:pt x="199" y="45"/>
                      <a:pt x="200" y="46"/>
                      <a:pt x="200" y="46"/>
                    </a:cubicBezTo>
                    <a:cubicBezTo>
                      <a:pt x="201" y="46"/>
                      <a:pt x="201" y="46"/>
                      <a:pt x="201" y="47"/>
                    </a:cubicBezTo>
                    <a:cubicBezTo>
                      <a:pt x="201" y="47"/>
                      <a:pt x="202" y="46"/>
                      <a:pt x="202" y="46"/>
                    </a:cubicBezTo>
                    <a:cubicBezTo>
                      <a:pt x="202" y="46"/>
                      <a:pt x="202" y="47"/>
                      <a:pt x="202" y="47"/>
                    </a:cubicBezTo>
                    <a:cubicBezTo>
                      <a:pt x="202" y="47"/>
                      <a:pt x="202" y="47"/>
                      <a:pt x="202" y="47"/>
                    </a:cubicBezTo>
                    <a:cubicBezTo>
                      <a:pt x="203" y="47"/>
                      <a:pt x="203" y="47"/>
                      <a:pt x="203" y="47"/>
                    </a:cubicBezTo>
                    <a:cubicBezTo>
                      <a:pt x="203" y="47"/>
                      <a:pt x="203" y="47"/>
                      <a:pt x="203" y="47"/>
                    </a:cubicBezTo>
                    <a:cubicBezTo>
                      <a:pt x="203" y="47"/>
                      <a:pt x="203" y="48"/>
                      <a:pt x="203" y="48"/>
                    </a:cubicBezTo>
                    <a:cubicBezTo>
                      <a:pt x="203" y="48"/>
                      <a:pt x="203" y="48"/>
                      <a:pt x="203" y="48"/>
                    </a:cubicBezTo>
                    <a:cubicBezTo>
                      <a:pt x="203" y="48"/>
                      <a:pt x="204" y="48"/>
                      <a:pt x="204" y="48"/>
                    </a:cubicBezTo>
                    <a:cubicBezTo>
                      <a:pt x="204" y="48"/>
                      <a:pt x="205" y="48"/>
                      <a:pt x="205" y="48"/>
                    </a:cubicBezTo>
                    <a:cubicBezTo>
                      <a:pt x="205" y="48"/>
                      <a:pt x="205" y="48"/>
                      <a:pt x="205" y="48"/>
                    </a:cubicBezTo>
                    <a:cubicBezTo>
                      <a:pt x="205" y="48"/>
                      <a:pt x="206" y="47"/>
                      <a:pt x="206" y="47"/>
                    </a:cubicBezTo>
                    <a:cubicBezTo>
                      <a:pt x="206" y="47"/>
                      <a:pt x="206" y="47"/>
                      <a:pt x="206" y="47"/>
                    </a:cubicBezTo>
                    <a:cubicBezTo>
                      <a:pt x="206" y="47"/>
                      <a:pt x="207" y="48"/>
                      <a:pt x="207" y="48"/>
                    </a:cubicBezTo>
                    <a:cubicBezTo>
                      <a:pt x="207" y="48"/>
                      <a:pt x="207" y="48"/>
                      <a:pt x="207" y="48"/>
                    </a:cubicBezTo>
                    <a:cubicBezTo>
                      <a:pt x="207" y="48"/>
                      <a:pt x="207" y="49"/>
                      <a:pt x="207" y="49"/>
                    </a:cubicBezTo>
                    <a:cubicBezTo>
                      <a:pt x="207" y="49"/>
                      <a:pt x="207" y="49"/>
                      <a:pt x="207" y="49"/>
                    </a:cubicBezTo>
                    <a:cubicBezTo>
                      <a:pt x="207" y="49"/>
                      <a:pt x="207" y="49"/>
                      <a:pt x="207" y="49"/>
                    </a:cubicBezTo>
                    <a:cubicBezTo>
                      <a:pt x="207" y="50"/>
                      <a:pt x="207" y="50"/>
                      <a:pt x="208" y="50"/>
                    </a:cubicBezTo>
                    <a:cubicBezTo>
                      <a:pt x="208" y="50"/>
                      <a:pt x="208" y="50"/>
                      <a:pt x="208" y="50"/>
                    </a:cubicBezTo>
                    <a:cubicBezTo>
                      <a:pt x="209" y="51"/>
                      <a:pt x="209" y="51"/>
                      <a:pt x="209" y="51"/>
                    </a:cubicBezTo>
                    <a:cubicBezTo>
                      <a:pt x="209" y="51"/>
                      <a:pt x="208" y="52"/>
                      <a:pt x="208" y="52"/>
                    </a:cubicBezTo>
                    <a:cubicBezTo>
                      <a:pt x="208" y="52"/>
                      <a:pt x="207" y="52"/>
                      <a:pt x="207" y="53"/>
                    </a:cubicBezTo>
                    <a:cubicBezTo>
                      <a:pt x="207" y="53"/>
                      <a:pt x="207" y="53"/>
                      <a:pt x="207" y="53"/>
                    </a:cubicBezTo>
                    <a:cubicBezTo>
                      <a:pt x="207" y="53"/>
                      <a:pt x="207" y="54"/>
                      <a:pt x="207" y="54"/>
                    </a:cubicBezTo>
                    <a:cubicBezTo>
                      <a:pt x="207" y="54"/>
                      <a:pt x="207" y="54"/>
                      <a:pt x="207" y="54"/>
                    </a:cubicBezTo>
                    <a:cubicBezTo>
                      <a:pt x="207" y="54"/>
                      <a:pt x="207" y="54"/>
                      <a:pt x="207" y="54"/>
                    </a:cubicBezTo>
                    <a:cubicBezTo>
                      <a:pt x="208" y="54"/>
                      <a:pt x="208" y="53"/>
                      <a:pt x="208" y="53"/>
                    </a:cubicBezTo>
                    <a:cubicBezTo>
                      <a:pt x="208" y="53"/>
                      <a:pt x="208" y="53"/>
                      <a:pt x="208" y="52"/>
                    </a:cubicBezTo>
                    <a:cubicBezTo>
                      <a:pt x="208" y="52"/>
                      <a:pt x="209" y="52"/>
                      <a:pt x="209" y="52"/>
                    </a:cubicBezTo>
                    <a:cubicBezTo>
                      <a:pt x="209" y="52"/>
                      <a:pt x="209" y="53"/>
                      <a:pt x="209" y="53"/>
                    </a:cubicBezTo>
                    <a:cubicBezTo>
                      <a:pt x="209" y="53"/>
                      <a:pt x="210" y="53"/>
                      <a:pt x="210" y="54"/>
                    </a:cubicBezTo>
                    <a:cubicBezTo>
                      <a:pt x="210" y="54"/>
                      <a:pt x="209" y="54"/>
                      <a:pt x="209" y="54"/>
                    </a:cubicBezTo>
                    <a:cubicBezTo>
                      <a:pt x="209" y="54"/>
                      <a:pt x="209" y="54"/>
                      <a:pt x="209" y="54"/>
                    </a:cubicBezTo>
                    <a:cubicBezTo>
                      <a:pt x="208" y="55"/>
                      <a:pt x="208" y="55"/>
                      <a:pt x="208" y="55"/>
                    </a:cubicBezTo>
                    <a:cubicBezTo>
                      <a:pt x="208" y="56"/>
                      <a:pt x="208" y="56"/>
                      <a:pt x="208" y="56"/>
                    </a:cubicBezTo>
                    <a:cubicBezTo>
                      <a:pt x="207" y="57"/>
                      <a:pt x="207" y="57"/>
                      <a:pt x="207" y="57"/>
                    </a:cubicBezTo>
                    <a:cubicBezTo>
                      <a:pt x="207" y="57"/>
                      <a:pt x="207" y="58"/>
                      <a:pt x="207" y="58"/>
                    </a:cubicBezTo>
                    <a:cubicBezTo>
                      <a:pt x="207" y="58"/>
                      <a:pt x="207" y="59"/>
                      <a:pt x="207" y="59"/>
                    </a:cubicBezTo>
                    <a:cubicBezTo>
                      <a:pt x="207" y="59"/>
                      <a:pt x="207" y="59"/>
                      <a:pt x="207" y="59"/>
                    </a:cubicBezTo>
                    <a:cubicBezTo>
                      <a:pt x="207" y="59"/>
                      <a:pt x="207" y="59"/>
                      <a:pt x="206" y="60"/>
                    </a:cubicBezTo>
                    <a:cubicBezTo>
                      <a:pt x="206" y="60"/>
                      <a:pt x="206" y="60"/>
                      <a:pt x="206" y="60"/>
                    </a:cubicBezTo>
                    <a:cubicBezTo>
                      <a:pt x="206" y="60"/>
                      <a:pt x="207" y="61"/>
                      <a:pt x="207" y="61"/>
                    </a:cubicBezTo>
                    <a:cubicBezTo>
                      <a:pt x="207" y="61"/>
                      <a:pt x="207" y="60"/>
                      <a:pt x="207" y="60"/>
                    </a:cubicBezTo>
                    <a:cubicBezTo>
                      <a:pt x="207" y="60"/>
                      <a:pt x="207" y="60"/>
                      <a:pt x="207" y="60"/>
                    </a:cubicBezTo>
                    <a:cubicBezTo>
                      <a:pt x="207" y="60"/>
                      <a:pt x="208" y="59"/>
                      <a:pt x="208" y="59"/>
                    </a:cubicBezTo>
                    <a:cubicBezTo>
                      <a:pt x="208" y="59"/>
                      <a:pt x="209" y="58"/>
                      <a:pt x="209" y="58"/>
                    </a:cubicBezTo>
                    <a:cubicBezTo>
                      <a:pt x="209" y="58"/>
                      <a:pt x="209" y="58"/>
                      <a:pt x="209" y="57"/>
                    </a:cubicBezTo>
                    <a:cubicBezTo>
                      <a:pt x="209" y="57"/>
                      <a:pt x="209" y="57"/>
                      <a:pt x="209" y="57"/>
                    </a:cubicBezTo>
                    <a:cubicBezTo>
                      <a:pt x="209" y="57"/>
                      <a:pt x="209" y="56"/>
                      <a:pt x="209" y="56"/>
                    </a:cubicBezTo>
                    <a:cubicBezTo>
                      <a:pt x="209" y="56"/>
                      <a:pt x="209" y="56"/>
                      <a:pt x="209" y="56"/>
                    </a:cubicBezTo>
                    <a:cubicBezTo>
                      <a:pt x="210" y="56"/>
                      <a:pt x="209" y="55"/>
                      <a:pt x="209" y="55"/>
                    </a:cubicBezTo>
                    <a:cubicBezTo>
                      <a:pt x="209" y="55"/>
                      <a:pt x="210" y="55"/>
                      <a:pt x="210" y="55"/>
                    </a:cubicBezTo>
                    <a:cubicBezTo>
                      <a:pt x="210" y="55"/>
                      <a:pt x="210" y="54"/>
                      <a:pt x="211" y="54"/>
                    </a:cubicBezTo>
                    <a:cubicBezTo>
                      <a:pt x="211" y="54"/>
                      <a:pt x="211" y="54"/>
                      <a:pt x="211" y="54"/>
                    </a:cubicBezTo>
                    <a:cubicBezTo>
                      <a:pt x="211" y="54"/>
                      <a:pt x="212" y="55"/>
                      <a:pt x="211" y="55"/>
                    </a:cubicBezTo>
                    <a:cubicBezTo>
                      <a:pt x="211" y="55"/>
                      <a:pt x="211" y="55"/>
                      <a:pt x="211" y="55"/>
                    </a:cubicBezTo>
                    <a:cubicBezTo>
                      <a:pt x="211" y="55"/>
                      <a:pt x="211" y="56"/>
                      <a:pt x="211" y="56"/>
                    </a:cubicBezTo>
                    <a:cubicBezTo>
                      <a:pt x="210" y="56"/>
                      <a:pt x="210" y="56"/>
                      <a:pt x="210" y="56"/>
                    </a:cubicBezTo>
                    <a:cubicBezTo>
                      <a:pt x="209" y="57"/>
                      <a:pt x="209" y="57"/>
                      <a:pt x="209" y="57"/>
                    </a:cubicBezTo>
                    <a:cubicBezTo>
                      <a:pt x="209" y="57"/>
                      <a:pt x="211" y="57"/>
                      <a:pt x="211" y="57"/>
                    </a:cubicBezTo>
                    <a:cubicBezTo>
                      <a:pt x="211" y="57"/>
                      <a:pt x="211" y="56"/>
                      <a:pt x="212" y="56"/>
                    </a:cubicBezTo>
                    <a:cubicBezTo>
                      <a:pt x="212" y="56"/>
                      <a:pt x="212" y="55"/>
                      <a:pt x="212" y="55"/>
                    </a:cubicBezTo>
                    <a:cubicBezTo>
                      <a:pt x="213" y="55"/>
                      <a:pt x="213" y="55"/>
                      <a:pt x="213" y="55"/>
                    </a:cubicBezTo>
                    <a:cubicBezTo>
                      <a:pt x="213" y="55"/>
                      <a:pt x="213" y="54"/>
                      <a:pt x="213" y="54"/>
                    </a:cubicBezTo>
                    <a:cubicBezTo>
                      <a:pt x="213" y="54"/>
                      <a:pt x="214" y="54"/>
                      <a:pt x="214" y="54"/>
                    </a:cubicBezTo>
                    <a:cubicBezTo>
                      <a:pt x="214" y="54"/>
                      <a:pt x="214" y="54"/>
                      <a:pt x="214" y="54"/>
                    </a:cubicBezTo>
                    <a:cubicBezTo>
                      <a:pt x="214" y="54"/>
                      <a:pt x="214" y="54"/>
                      <a:pt x="214" y="54"/>
                    </a:cubicBezTo>
                    <a:cubicBezTo>
                      <a:pt x="214" y="54"/>
                      <a:pt x="214" y="54"/>
                      <a:pt x="214" y="55"/>
                    </a:cubicBezTo>
                    <a:cubicBezTo>
                      <a:pt x="214" y="55"/>
                      <a:pt x="215" y="55"/>
                      <a:pt x="215" y="55"/>
                    </a:cubicBezTo>
                    <a:cubicBezTo>
                      <a:pt x="215" y="55"/>
                      <a:pt x="215" y="55"/>
                      <a:pt x="215" y="55"/>
                    </a:cubicBezTo>
                    <a:cubicBezTo>
                      <a:pt x="215" y="55"/>
                      <a:pt x="215" y="55"/>
                      <a:pt x="216" y="55"/>
                    </a:cubicBezTo>
                    <a:cubicBezTo>
                      <a:pt x="216" y="55"/>
                      <a:pt x="216" y="55"/>
                      <a:pt x="216" y="55"/>
                    </a:cubicBezTo>
                    <a:cubicBezTo>
                      <a:pt x="216" y="55"/>
                      <a:pt x="216" y="55"/>
                      <a:pt x="216" y="54"/>
                    </a:cubicBezTo>
                    <a:cubicBezTo>
                      <a:pt x="216" y="54"/>
                      <a:pt x="216" y="54"/>
                      <a:pt x="216" y="54"/>
                    </a:cubicBezTo>
                    <a:cubicBezTo>
                      <a:pt x="216" y="54"/>
                      <a:pt x="216" y="54"/>
                      <a:pt x="217" y="54"/>
                    </a:cubicBezTo>
                    <a:cubicBezTo>
                      <a:pt x="217" y="54"/>
                      <a:pt x="217" y="54"/>
                      <a:pt x="218" y="54"/>
                    </a:cubicBezTo>
                    <a:cubicBezTo>
                      <a:pt x="218" y="54"/>
                      <a:pt x="218" y="54"/>
                      <a:pt x="219" y="55"/>
                    </a:cubicBezTo>
                    <a:cubicBezTo>
                      <a:pt x="219" y="55"/>
                      <a:pt x="219" y="55"/>
                      <a:pt x="220" y="55"/>
                    </a:cubicBezTo>
                    <a:cubicBezTo>
                      <a:pt x="220" y="55"/>
                      <a:pt x="221" y="55"/>
                      <a:pt x="221" y="55"/>
                    </a:cubicBezTo>
                    <a:cubicBezTo>
                      <a:pt x="221" y="55"/>
                      <a:pt x="222" y="56"/>
                      <a:pt x="222" y="56"/>
                    </a:cubicBezTo>
                    <a:cubicBezTo>
                      <a:pt x="222" y="56"/>
                      <a:pt x="224" y="56"/>
                      <a:pt x="224" y="56"/>
                    </a:cubicBezTo>
                    <a:cubicBezTo>
                      <a:pt x="224" y="56"/>
                      <a:pt x="225" y="56"/>
                      <a:pt x="225" y="56"/>
                    </a:cubicBezTo>
                    <a:cubicBezTo>
                      <a:pt x="225" y="56"/>
                      <a:pt x="225" y="56"/>
                      <a:pt x="225" y="56"/>
                    </a:cubicBezTo>
                    <a:cubicBezTo>
                      <a:pt x="225" y="56"/>
                      <a:pt x="226" y="56"/>
                      <a:pt x="226" y="56"/>
                    </a:cubicBezTo>
                    <a:cubicBezTo>
                      <a:pt x="226" y="56"/>
                      <a:pt x="227" y="56"/>
                      <a:pt x="227" y="56"/>
                    </a:cubicBezTo>
                    <a:cubicBezTo>
                      <a:pt x="227" y="56"/>
                      <a:pt x="228" y="56"/>
                      <a:pt x="228" y="57"/>
                    </a:cubicBezTo>
                    <a:cubicBezTo>
                      <a:pt x="228" y="57"/>
                      <a:pt x="228" y="57"/>
                      <a:pt x="228" y="57"/>
                    </a:cubicBezTo>
                    <a:cubicBezTo>
                      <a:pt x="229" y="57"/>
                      <a:pt x="229" y="58"/>
                      <a:pt x="229" y="58"/>
                    </a:cubicBezTo>
                    <a:cubicBezTo>
                      <a:pt x="229" y="58"/>
                      <a:pt x="230" y="58"/>
                      <a:pt x="231" y="58"/>
                    </a:cubicBezTo>
                    <a:cubicBezTo>
                      <a:pt x="231" y="58"/>
                      <a:pt x="231" y="58"/>
                      <a:pt x="231" y="58"/>
                    </a:cubicBezTo>
                    <a:cubicBezTo>
                      <a:pt x="231" y="58"/>
                      <a:pt x="231" y="57"/>
                      <a:pt x="231" y="57"/>
                    </a:cubicBezTo>
                    <a:cubicBezTo>
                      <a:pt x="231" y="57"/>
                      <a:pt x="234" y="58"/>
                      <a:pt x="234" y="58"/>
                    </a:cubicBezTo>
                    <a:cubicBezTo>
                      <a:pt x="235" y="57"/>
                      <a:pt x="235" y="57"/>
                      <a:pt x="235" y="57"/>
                    </a:cubicBezTo>
                    <a:cubicBezTo>
                      <a:pt x="235" y="57"/>
                      <a:pt x="236" y="57"/>
                      <a:pt x="237" y="57"/>
                    </a:cubicBezTo>
                    <a:cubicBezTo>
                      <a:pt x="237" y="57"/>
                      <a:pt x="241" y="57"/>
                      <a:pt x="241" y="57"/>
                    </a:cubicBezTo>
                    <a:cubicBezTo>
                      <a:pt x="241" y="57"/>
                      <a:pt x="241" y="57"/>
                      <a:pt x="241" y="58"/>
                    </a:cubicBezTo>
                    <a:cubicBezTo>
                      <a:pt x="241" y="58"/>
                      <a:pt x="242" y="58"/>
                      <a:pt x="242" y="58"/>
                    </a:cubicBezTo>
                    <a:cubicBezTo>
                      <a:pt x="242" y="58"/>
                      <a:pt x="243" y="58"/>
                      <a:pt x="243" y="58"/>
                    </a:cubicBezTo>
                    <a:cubicBezTo>
                      <a:pt x="243" y="58"/>
                      <a:pt x="243" y="59"/>
                      <a:pt x="243" y="59"/>
                    </a:cubicBezTo>
                    <a:cubicBezTo>
                      <a:pt x="243" y="59"/>
                      <a:pt x="244" y="59"/>
                      <a:pt x="244" y="59"/>
                    </a:cubicBezTo>
                    <a:cubicBezTo>
                      <a:pt x="244" y="60"/>
                      <a:pt x="245" y="59"/>
                      <a:pt x="246" y="60"/>
                    </a:cubicBezTo>
                    <a:cubicBezTo>
                      <a:pt x="246" y="61"/>
                      <a:pt x="246" y="61"/>
                      <a:pt x="247" y="61"/>
                    </a:cubicBezTo>
                    <a:cubicBezTo>
                      <a:pt x="247" y="61"/>
                      <a:pt x="248" y="61"/>
                      <a:pt x="248" y="62"/>
                    </a:cubicBezTo>
                    <a:cubicBezTo>
                      <a:pt x="248" y="62"/>
                      <a:pt x="249" y="63"/>
                      <a:pt x="249" y="63"/>
                    </a:cubicBezTo>
                    <a:cubicBezTo>
                      <a:pt x="250" y="63"/>
                      <a:pt x="250" y="63"/>
                      <a:pt x="251" y="63"/>
                    </a:cubicBezTo>
                    <a:cubicBezTo>
                      <a:pt x="251" y="63"/>
                      <a:pt x="251" y="64"/>
                      <a:pt x="252" y="64"/>
                    </a:cubicBezTo>
                    <a:cubicBezTo>
                      <a:pt x="252" y="65"/>
                      <a:pt x="253" y="66"/>
                      <a:pt x="253" y="66"/>
                    </a:cubicBezTo>
                    <a:cubicBezTo>
                      <a:pt x="253" y="66"/>
                      <a:pt x="255" y="68"/>
                      <a:pt x="255" y="68"/>
                    </a:cubicBezTo>
                    <a:cubicBezTo>
                      <a:pt x="255" y="68"/>
                      <a:pt x="257" y="70"/>
                      <a:pt x="258" y="70"/>
                    </a:cubicBezTo>
                    <a:cubicBezTo>
                      <a:pt x="258" y="70"/>
                      <a:pt x="259" y="70"/>
                      <a:pt x="259" y="71"/>
                    </a:cubicBezTo>
                    <a:cubicBezTo>
                      <a:pt x="259" y="71"/>
                      <a:pt x="259" y="71"/>
                      <a:pt x="259" y="71"/>
                    </a:cubicBezTo>
                    <a:cubicBezTo>
                      <a:pt x="260" y="71"/>
                      <a:pt x="260" y="72"/>
                      <a:pt x="260" y="72"/>
                    </a:cubicBezTo>
                    <a:cubicBezTo>
                      <a:pt x="261" y="72"/>
                      <a:pt x="262" y="72"/>
                      <a:pt x="262" y="72"/>
                    </a:cubicBezTo>
                    <a:cubicBezTo>
                      <a:pt x="263" y="72"/>
                      <a:pt x="263" y="73"/>
                      <a:pt x="263" y="73"/>
                    </a:cubicBezTo>
                    <a:cubicBezTo>
                      <a:pt x="264" y="73"/>
                      <a:pt x="264" y="73"/>
                      <a:pt x="264" y="73"/>
                    </a:cubicBezTo>
                    <a:cubicBezTo>
                      <a:pt x="264" y="73"/>
                      <a:pt x="264" y="73"/>
                      <a:pt x="264" y="73"/>
                    </a:cubicBezTo>
                    <a:cubicBezTo>
                      <a:pt x="264" y="73"/>
                      <a:pt x="264" y="73"/>
                      <a:pt x="265" y="73"/>
                    </a:cubicBezTo>
                    <a:cubicBezTo>
                      <a:pt x="265" y="73"/>
                      <a:pt x="266" y="73"/>
                      <a:pt x="266" y="73"/>
                    </a:cubicBezTo>
                    <a:cubicBezTo>
                      <a:pt x="266" y="73"/>
                      <a:pt x="267" y="73"/>
                      <a:pt x="267" y="73"/>
                    </a:cubicBezTo>
                    <a:cubicBezTo>
                      <a:pt x="267" y="73"/>
                      <a:pt x="268" y="73"/>
                      <a:pt x="268" y="73"/>
                    </a:cubicBezTo>
                    <a:cubicBezTo>
                      <a:pt x="268" y="73"/>
                      <a:pt x="269" y="73"/>
                      <a:pt x="270" y="73"/>
                    </a:cubicBezTo>
                    <a:cubicBezTo>
                      <a:pt x="271" y="73"/>
                      <a:pt x="272" y="74"/>
                      <a:pt x="273" y="75"/>
                    </a:cubicBezTo>
                    <a:cubicBezTo>
                      <a:pt x="273" y="75"/>
                      <a:pt x="274" y="77"/>
                      <a:pt x="274" y="77"/>
                    </a:cubicBezTo>
                    <a:cubicBezTo>
                      <a:pt x="274" y="77"/>
                      <a:pt x="274" y="79"/>
                      <a:pt x="275" y="79"/>
                    </a:cubicBezTo>
                    <a:cubicBezTo>
                      <a:pt x="275" y="79"/>
                      <a:pt x="275" y="80"/>
                      <a:pt x="275" y="80"/>
                    </a:cubicBezTo>
                    <a:cubicBezTo>
                      <a:pt x="275" y="80"/>
                      <a:pt x="275" y="81"/>
                      <a:pt x="275" y="81"/>
                    </a:cubicBezTo>
                    <a:cubicBezTo>
                      <a:pt x="275" y="82"/>
                      <a:pt x="275" y="82"/>
                      <a:pt x="275" y="82"/>
                    </a:cubicBezTo>
                    <a:cubicBezTo>
                      <a:pt x="275" y="82"/>
                      <a:pt x="276" y="83"/>
                      <a:pt x="276" y="83"/>
                    </a:cubicBezTo>
                    <a:cubicBezTo>
                      <a:pt x="276" y="83"/>
                      <a:pt x="276" y="84"/>
                      <a:pt x="276" y="84"/>
                    </a:cubicBezTo>
                    <a:cubicBezTo>
                      <a:pt x="276" y="85"/>
                      <a:pt x="276" y="85"/>
                      <a:pt x="276" y="86"/>
                    </a:cubicBezTo>
                    <a:cubicBezTo>
                      <a:pt x="276" y="86"/>
                      <a:pt x="277" y="87"/>
                      <a:pt x="277" y="87"/>
                    </a:cubicBezTo>
                    <a:cubicBezTo>
                      <a:pt x="277" y="87"/>
                      <a:pt x="277" y="87"/>
                      <a:pt x="277" y="88"/>
                    </a:cubicBezTo>
                    <a:cubicBezTo>
                      <a:pt x="277" y="88"/>
                      <a:pt x="277" y="89"/>
                      <a:pt x="277" y="89"/>
                    </a:cubicBezTo>
                    <a:cubicBezTo>
                      <a:pt x="277" y="90"/>
                      <a:pt x="277" y="90"/>
                      <a:pt x="277" y="90"/>
                    </a:cubicBezTo>
                    <a:close/>
                    <a:moveTo>
                      <a:pt x="172" y="37"/>
                    </a:moveTo>
                    <a:cubicBezTo>
                      <a:pt x="172" y="37"/>
                      <a:pt x="172" y="37"/>
                      <a:pt x="172" y="37"/>
                    </a:cubicBezTo>
                    <a:cubicBezTo>
                      <a:pt x="172" y="37"/>
                      <a:pt x="171" y="37"/>
                      <a:pt x="171" y="37"/>
                    </a:cubicBezTo>
                    <a:cubicBezTo>
                      <a:pt x="171" y="37"/>
                      <a:pt x="171" y="38"/>
                      <a:pt x="171" y="38"/>
                    </a:cubicBezTo>
                    <a:cubicBezTo>
                      <a:pt x="171" y="38"/>
                      <a:pt x="171" y="38"/>
                      <a:pt x="171" y="38"/>
                    </a:cubicBezTo>
                    <a:cubicBezTo>
                      <a:pt x="172" y="38"/>
                      <a:pt x="172" y="38"/>
                      <a:pt x="172" y="38"/>
                    </a:cubicBezTo>
                    <a:cubicBezTo>
                      <a:pt x="172" y="38"/>
                      <a:pt x="172" y="38"/>
                      <a:pt x="172" y="38"/>
                    </a:cubicBezTo>
                    <a:cubicBezTo>
                      <a:pt x="172" y="38"/>
                      <a:pt x="172" y="38"/>
                      <a:pt x="172" y="38"/>
                    </a:cubicBezTo>
                    <a:cubicBezTo>
                      <a:pt x="172" y="38"/>
                      <a:pt x="172" y="38"/>
                      <a:pt x="172" y="38"/>
                    </a:cubicBezTo>
                    <a:cubicBezTo>
                      <a:pt x="173" y="38"/>
                      <a:pt x="173" y="38"/>
                      <a:pt x="173" y="38"/>
                    </a:cubicBezTo>
                    <a:cubicBezTo>
                      <a:pt x="173" y="38"/>
                      <a:pt x="173" y="38"/>
                      <a:pt x="173" y="38"/>
                    </a:cubicBezTo>
                    <a:cubicBezTo>
                      <a:pt x="173" y="38"/>
                      <a:pt x="173" y="38"/>
                      <a:pt x="174" y="38"/>
                    </a:cubicBezTo>
                    <a:cubicBezTo>
                      <a:pt x="174" y="38"/>
                      <a:pt x="174" y="38"/>
                      <a:pt x="174" y="38"/>
                    </a:cubicBezTo>
                    <a:cubicBezTo>
                      <a:pt x="174" y="38"/>
                      <a:pt x="174" y="37"/>
                      <a:pt x="174" y="37"/>
                    </a:cubicBezTo>
                    <a:cubicBezTo>
                      <a:pt x="174" y="37"/>
                      <a:pt x="174" y="37"/>
                      <a:pt x="174" y="37"/>
                    </a:cubicBezTo>
                    <a:cubicBezTo>
                      <a:pt x="174" y="37"/>
                      <a:pt x="174" y="37"/>
                      <a:pt x="174" y="37"/>
                    </a:cubicBezTo>
                    <a:cubicBezTo>
                      <a:pt x="174" y="37"/>
                      <a:pt x="174" y="37"/>
                      <a:pt x="174" y="37"/>
                    </a:cubicBezTo>
                    <a:cubicBezTo>
                      <a:pt x="173" y="37"/>
                      <a:pt x="173" y="37"/>
                      <a:pt x="173" y="37"/>
                    </a:cubicBezTo>
                    <a:cubicBezTo>
                      <a:pt x="172" y="37"/>
                      <a:pt x="172" y="37"/>
                      <a:pt x="172" y="37"/>
                    </a:cubicBezTo>
                    <a:close/>
                    <a:moveTo>
                      <a:pt x="169" y="35"/>
                    </a:moveTo>
                    <a:cubicBezTo>
                      <a:pt x="169" y="35"/>
                      <a:pt x="169" y="35"/>
                      <a:pt x="169" y="35"/>
                    </a:cubicBezTo>
                    <a:cubicBezTo>
                      <a:pt x="169" y="35"/>
                      <a:pt x="168" y="35"/>
                      <a:pt x="168" y="35"/>
                    </a:cubicBezTo>
                    <a:cubicBezTo>
                      <a:pt x="168" y="35"/>
                      <a:pt x="168" y="35"/>
                      <a:pt x="168" y="35"/>
                    </a:cubicBezTo>
                    <a:cubicBezTo>
                      <a:pt x="168" y="35"/>
                      <a:pt x="168" y="35"/>
                      <a:pt x="168" y="35"/>
                    </a:cubicBezTo>
                    <a:cubicBezTo>
                      <a:pt x="168" y="36"/>
                      <a:pt x="167" y="36"/>
                      <a:pt x="167" y="36"/>
                    </a:cubicBezTo>
                    <a:cubicBezTo>
                      <a:pt x="167" y="36"/>
                      <a:pt x="167" y="37"/>
                      <a:pt x="167" y="37"/>
                    </a:cubicBezTo>
                    <a:cubicBezTo>
                      <a:pt x="167" y="37"/>
                      <a:pt x="167" y="37"/>
                      <a:pt x="167" y="37"/>
                    </a:cubicBezTo>
                    <a:cubicBezTo>
                      <a:pt x="167" y="37"/>
                      <a:pt x="167" y="37"/>
                      <a:pt x="168" y="37"/>
                    </a:cubicBezTo>
                    <a:cubicBezTo>
                      <a:pt x="168" y="37"/>
                      <a:pt x="169" y="37"/>
                      <a:pt x="169" y="37"/>
                    </a:cubicBezTo>
                    <a:cubicBezTo>
                      <a:pt x="169" y="37"/>
                      <a:pt x="170" y="37"/>
                      <a:pt x="170" y="37"/>
                    </a:cubicBezTo>
                    <a:cubicBezTo>
                      <a:pt x="170" y="37"/>
                      <a:pt x="170" y="37"/>
                      <a:pt x="170" y="37"/>
                    </a:cubicBezTo>
                    <a:cubicBezTo>
                      <a:pt x="170" y="37"/>
                      <a:pt x="170" y="37"/>
                      <a:pt x="170" y="37"/>
                    </a:cubicBezTo>
                    <a:cubicBezTo>
                      <a:pt x="170" y="37"/>
                      <a:pt x="170" y="37"/>
                      <a:pt x="170" y="37"/>
                    </a:cubicBezTo>
                    <a:cubicBezTo>
                      <a:pt x="170" y="37"/>
                      <a:pt x="170" y="37"/>
                      <a:pt x="171" y="37"/>
                    </a:cubicBezTo>
                    <a:cubicBezTo>
                      <a:pt x="171" y="37"/>
                      <a:pt x="171" y="37"/>
                      <a:pt x="171" y="37"/>
                    </a:cubicBezTo>
                    <a:cubicBezTo>
                      <a:pt x="171" y="37"/>
                      <a:pt x="171" y="37"/>
                      <a:pt x="171" y="37"/>
                    </a:cubicBezTo>
                    <a:cubicBezTo>
                      <a:pt x="171" y="37"/>
                      <a:pt x="171" y="37"/>
                      <a:pt x="171" y="36"/>
                    </a:cubicBezTo>
                    <a:cubicBezTo>
                      <a:pt x="171" y="36"/>
                      <a:pt x="171" y="36"/>
                      <a:pt x="171" y="36"/>
                    </a:cubicBezTo>
                    <a:cubicBezTo>
                      <a:pt x="172" y="36"/>
                      <a:pt x="172" y="36"/>
                      <a:pt x="172" y="36"/>
                    </a:cubicBezTo>
                    <a:cubicBezTo>
                      <a:pt x="172" y="36"/>
                      <a:pt x="172" y="36"/>
                      <a:pt x="172" y="36"/>
                    </a:cubicBezTo>
                    <a:cubicBezTo>
                      <a:pt x="172" y="36"/>
                      <a:pt x="172" y="36"/>
                      <a:pt x="172" y="36"/>
                    </a:cubicBezTo>
                    <a:cubicBezTo>
                      <a:pt x="172" y="36"/>
                      <a:pt x="172" y="36"/>
                      <a:pt x="172" y="36"/>
                    </a:cubicBezTo>
                    <a:cubicBezTo>
                      <a:pt x="172" y="35"/>
                      <a:pt x="172" y="35"/>
                      <a:pt x="172" y="35"/>
                    </a:cubicBezTo>
                    <a:cubicBezTo>
                      <a:pt x="172" y="35"/>
                      <a:pt x="173" y="35"/>
                      <a:pt x="173" y="35"/>
                    </a:cubicBezTo>
                    <a:cubicBezTo>
                      <a:pt x="173" y="35"/>
                      <a:pt x="173" y="35"/>
                      <a:pt x="173" y="35"/>
                    </a:cubicBezTo>
                    <a:cubicBezTo>
                      <a:pt x="173" y="35"/>
                      <a:pt x="173" y="35"/>
                      <a:pt x="173" y="35"/>
                    </a:cubicBezTo>
                    <a:cubicBezTo>
                      <a:pt x="173" y="35"/>
                      <a:pt x="173" y="35"/>
                      <a:pt x="173" y="35"/>
                    </a:cubicBezTo>
                    <a:cubicBezTo>
                      <a:pt x="173" y="35"/>
                      <a:pt x="172" y="34"/>
                      <a:pt x="172" y="34"/>
                    </a:cubicBezTo>
                    <a:cubicBezTo>
                      <a:pt x="172" y="34"/>
                      <a:pt x="172" y="34"/>
                      <a:pt x="172" y="34"/>
                    </a:cubicBezTo>
                    <a:cubicBezTo>
                      <a:pt x="172" y="35"/>
                      <a:pt x="172" y="35"/>
                      <a:pt x="172" y="35"/>
                    </a:cubicBezTo>
                    <a:cubicBezTo>
                      <a:pt x="172" y="35"/>
                      <a:pt x="172" y="35"/>
                      <a:pt x="171" y="35"/>
                    </a:cubicBezTo>
                    <a:cubicBezTo>
                      <a:pt x="171" y="35"/>
                      <a:pt x="170" y="35"/>
                      <a:pt x="169" y="35"/>
                    </a:cubicBezTo>
                    <a:close/>
                    <a:moveTo>
                      <a:pt x="163" y="39"/>
                    </a:moveTo>
                    <a:cubicBezTo>
                      <a:pt x="164" y="39"/>
                      <a:pt x="164" y="39"/>
                      <a:pt x="165" y="38"/>
                    </a:cubicBezTo>
                    <a:cubicBezTo>
                      <a:pt x="165" y="38"/>
                      <a:pt x="165" y="38"/>
                      <a:pt x="165" y="38"/>
                    </a:cubicBezTo>
                    <a:cubicBezTo>
                      <a:pt x="165" y="38"/>
                      <a:pt x="165" y="37"/>
                      <a:pt x="165" y="37"/>
                    </a:cubicBezTo>
                    <a:cubicBezTo>
                      <a:pt x="165" y="37"/>
                      <a:pt x="165" y="37"/>
                      <a:pt x="165" y="37"/>
                    </a:cubicBezTo>
                    <a:cubicBezTo>
                      <a:pt x="164" y="37"/>
                      <a:pt x="164" y="37"/>
                      <a:pt x="164" y="37"/>
                    </a:cubicBezTo>
                    <a:cubicBezTo>
                      <a:pt x="163" y="37"/>
                      <a:pt x="163" y="37"/>
                      <a:pt x="163" y="37"/>
                    </a:cubicBezTo>
                    <a:cubicBezTo>
                      <a:pt x="163" y="38"/>
                      <a:pt x="163" y="38"/>
                      <a:pt x="163" y="38"/>
                    </a:cubicBezTo>
                    <a:cubicBezTo>
                      <a:pt x="163" y="38"/>
                      <a:pt x="163" y="39"/>
                      <a:pt x="163" y="39"/>
                    </a:cubicBezTo>
                    <a:cubicBezTo>
                      <a:pt x="162" y="39"/>
                      <a:pt x="162" y="40"/>
                      <a:pt x="162" y="40"/>
                    </a:cubicBezTo>
                    <a:cubicBezTo>
                      <a:pt x="162" y="40"/>
                      <a:pt x="162" y="40"/>
                      <a:pt x="162" y="40"/>
                    </a:cubicBezTo>
                    <a:cubicBezTo>
                      <a:pt x="161" y="40"/>
                      <a:pt x="162" y="40"/>
                      <a:pt x="162" y="40"/>
                    </a:cubicBezTo>
                    <a:cubicBezTo>
                      <a:pt x="162" y="40"/>
                      <a:pt x="162" y="40"/>
                      <a:pt x="162" y="40"/>
                    </a:cubicBezTo>
                    <a:cubicBezTo>
                      <a:pt x="162" y="40"/>
                      <a:pt x="162" y="40"/>
                      <a:pt x="162" y="40"/>
                    </a:cubicBezTo>
                    <a:cubicBezTo>
                      <a:pt x="162" y="40"/>
                      <a:pt x="162" y="40"/>
                      <a:pt x="162" y="41"/>
                    </a:cubicBezTo>
                    <a:cubicBezTo>
                      <a:pt x="162" y="41"/>
                      <a:pt x="162" y="41"/>
                      <a:pt x="162" y="41"/>
                    </a:cubicBezTo>
                    <a:cubicBezTo>
                      <a:pt x="163" y="40"/>
                      <a:pt x="163" y="40"/>
                      <a:pt x="163" y="40"/>
                    </a:cubicBezTo>
                    <a:cubicBezTo>
                      <a:pt x="163" y="40"/>
                      <a:pt x="163" y="40"/>
                      <a:pt x="163" y="40"/>
                    </a:cubicBezTo>
                    <a:cubicBezTo>
                      <a:pt x="163" y="40"/>
                      <a:pt x="163" y="40"/>
                      <a:pt x="163" y="40"/>
                    </a:cubicBezTo>
                    <a:cubicBezTo>
                      <a:pt x="163" y="40"/>
                      <a:pt x="163" y="39"/>
                      <a:pt x="163" y="39"/>
                    </a:cubicBezTo>
                    <a:cubicBezTo>
                      <a:pt x="163" y="39"/>
                      <a:pt x="163" y="39"/>
                      <a:pt x="163" y="39"/>
                    </a:cubicBezTo>
                    <a:cubicBezTo>
                      <a:pt x="163" y="39"/>
                      <a:pt x="163" y="39"/>
                      <a:pt x="163" y="39"/>
                    </a:cubicBezTo>
                    <a:cubicBezTo>
                      <a:pt x="163" y="39"/>
                      <a:pt x="163" y="39"/>
                      <a:pt x="163" y="39"/>
                    </a:cubicBezTo>
                    <a:cubicBezTo>
                      <a:pt x="163" y="39"/>
                      <a:pt x="163" y="39"/>
                      <a:pt x="163" y="39"/>
                    </a:cubicBezTo>
                    <a:close/>
                    <a:moveTo>
                      <a:pt x="167" y="36"/>
                    </a:moveTo>
                    <a:cubicBezTo>
                      <a:pt x="167" y="35"/>
                      <a:pt x="167" y="35"/>
                      <a:pt x="167" y="35"/>
                    </a:cubicBezTo>
                    <a:cubicBezTo>
                      <a:pt x="168" y="35"/>
                      <a:pt x="168" y="35"/>
                      <a:pt x="168" y="35"/>
                    </a:cubicBezTo>
                    <a:cubicBezTo>
                      <a:pt x="168" y="34"/>
                      <a:pt x="168" y="34"/>
                      <a:pt x="169" y="34"/>
                    </a:cubicBezTo>
                    <a:cubicBezTo>
                      <a:pt x="169" y="34"/>
                      <a:pt x="169" y="34"/>
                      <a:pt x="169" y="33"/>
                    </a:cubicBezTo>
                    <a:cubicBezTo>
                      <a:pt x="169" y="33"/>
                      <a:pt x="170" y="33"/>
                      <a:pt x="170" y="33"/>
                    </a:cubicBezTo>
                    <a:cubicBezTo>
                      <a:pt x="170" y="33"/>
                      <a:pt x="170" y="33"/>
                      <a:pt x="169" y="33"/>
                    </a:cubicBezTo>
                    <a:cubicBezTo>
                      <a:pt x="169" y="33"/>
                      <a:pt x="169" y="33"/>
                      <a:pt x="169" y="33"/>
                    </a:cubicBezTo>
                    <a:cubicBezTo>
                      <a:pt x="169" y="33"/>
                      <a:pt x="169" y="33"/>
                      <a:pt x="169" y="33"/>
                    </a:cubicBezTo>
                    <a:cubicBezTo>
                      <a:pt x="168" y="33"/>
                      <a:pt x="168" y="33"/>
                      <a:pt x="168" y="33"/>
                    </a:cubicBezTo>
                    <a:cubicBezTo>
                      <a:pt x="168" y="33"/>
                      <a:pt x="168" y="32"/>
                      <a:pt x="168" y="33"/>
                    </a:cubicBezTo>
                    <a:cubicBezTo>
                      <a:pt x="168" y="33"/>
                      <a:pt x="168" y="33"/>
                      <a:pt x="168" y="33"/>
                    </a:cubicBezTo>
                    <a:cubicBezTo>
                      <a:pt x="167" y="33"/>
                      <a:pt x="167" y="33"/>
                      <a:pt x="167" y="33"/>
                    </a:cubicBezTo>
                    <a:cubicBezTo>
                      <a:pt x="167" y="33"/>
                      <a:pt x="167" y="33"/>
                      <a:pt x="167" y="33"/>
                    </a:cubicBezTo>
                    <a:cubicBezTo>
                      <a:pt x="167" y="33"/>
                      <a:pt x="167" y="33"/>
                      <a:pt x="167" y="34"/>
                    </a:cubicBezTo>
                    <a:cubicBezTo>
                      <a:pt x="167" y="34"/>
                      <a:pt x="167" y="34"/>
                      <a:pt x="167" y="34"/>
                    </a:cubicBezTo>
                    <a:cubicBezTo>
                      <a:pt x="167" y="34"/>
                      <a:pt x="167" y="34"/>
                      <a:pt x="167" y="34"/>
                    </a:cubicBezTo>
                    <a:cubicBezTo>
                      <a:pt x="166" y="35"/>
                      <a:pt x="166" y="35"/>
                      <a:pt x="166" y="35"/>
                    </a:cubicBezTo>
                    <a:cubicBezTo>
                      <a:pt x="166" y="35"/>
                      <a:pt x="166" y="35"/>
                      <a:pt x="166" y="35"/>
                    </a:cubicBezTo>
                    <a:cubicBezTo>
                      <a:pt x="166" y="35"/>
                      <a:pt x="166" y="35"/>
                      <a:pt x="166" y="35"/>
                    </a:cubicBezTo>
                    <a:cubicBezTo>
                      <a:pt x="166" y="36"/>
                      <a:pt x="166" y="36"/>
                      <a:pt x="166" y="36"/>
                    </a:cubicBezTo>
                    <a:cubicBezTo>
                      <a:pt x="166" y="36"/>
                      <a:pt x="166" y="36"/>
                      <a:pt x="166" y="36"/>
                    </a:cubicBezTo>
                    <a:cubicBezTo>
                      <a:pt x="166" y="36"/>
                      <a:pt x="166" y="36"/>
                      <a:pt x="166" y="36"/>
                    </a:cubicBezTo>
                    <a:cubicBezTo>
                      <a:pt x="166" y="36"/>
                      <a:pt x="165" y="36"/>
                      <a:pt x="165" y="36"/>
                    </a:cubicBezTo>
                    <a:cubicBezTo>
                      <a:pt x="165" y="36"/>
                      <a:pt x="165" y="36"/>
                      <a:pt x="165" y="36"/>
                    </a:cubicBezTo>
                    <a:cubicBezTo>
                      <a:pt x="165" y="36"/>
                      <a:pt x="165" y="36"/>
                      <a:pt x="166" y="37"/>
                    </a:cubicBezTo>
                    <a:cubicBezTo>
                      <a:pt x="166" y="37"/>
                      <a:pt x="166" y="37"/>
                      <a:pt x="166" y="37"/>
                    </a:cubicBezTo>
                    <a:cubicBezTo>
                      <a:pt x="166" y="37"/>
                      <a:pt x="166" y="37"/>
                      <a:pt x="166" y="37"/>
                    </a:cubicBezTo>
                    <a:cubicBezTo>
                      <a:pt x="167" y="37"/>
                      <a:pt x="167" y="37"/>
                      <a:pt x="167" y="37"/>
                    </a:cubicBezTo>
                    <a:cubicBezTo>
                      <a:pt x="167" y="37"/>
                      <a:pt x="167" y="37"/>
                      <a:pt x="167" y="37"/>
                    </a:cubicBezTo>
                    <a:cubicBezTo>
                      <a:pt x="166" y="36"/>
                      <a:pt x="166" y="36"/>
                      <a:pt x="167" y="36"/>
                    </a:cubicBezTo>
                    <a:cubicBezTo>
                      <a:pt x="167" y="36"/>
                      <a:pt x="167" y="36"/>
                      <a:pt x="167" y="36"/>
                    </a:cubicBezTo>
                    <a:close/>
                    <a:moveTo>
                      <a:pt x="166" y="22"/>
                    </a:moveTo>
                    <a:cubicBezTo>
                      <a:pt x="166" y="22"/>
                      <a:pt x="166" y="22"/>
                      <a:pt x="166" y="22"/>
                    </a:cubicBezTo>
                    <a:cubicBezTo>
                      <a:pt x="166" y="22"/>
                      <a:pt x="166" y="22"/>
                      <a:pt x="166" y="22"/>
                    </a:cubicBezTo>
                    <a:cubicBezTo>
                      <a:pt x="166" y="23"/>
                      <a:pt x="166" y="23"/>
                      <a:pt x="166" y="23"/>
                    </a:cubicBezTo>
                    <a:cubicBezTo>
                      <a:pt x="166" y="23"/>
                      <a:pt x="166" y="23"/>
                      <a:pt x="166" y="23"/>
                    </a:cubicBezTo>
                    <a:cubicBezTo>
                      <a:pt x="166" y="23"/>
                      <a:pt x="166" y="23"/>
                      <a:pt x="166" y="23"/>
                    </a:cubicBezTo>
                    <a:cubicBezTo>
                      <a:pt x="167" y="24"/>
                      <a:pt x="167" y="24"/>
                      <a:pt x="167" y="24"/>
                    </a:cubicBezTo>
                    <a:cubicBezTo>
                      <a:pt x="167" y="24"/>
                      <a:pt x="167" y="24"/>
                      <a:pt x="167" y="24"/>
                    </a:cubicBezTo>
                    <a:cubicBezTo>
                      <a:pt x="167" y="24"/>
                      <a:pt x="167" y="24"/>
                      <a:pt x="167" y="23"/>
                    </a:cubicBezTo>
                    <a:cubicBezTo>
                      <a:pt x="167" y="23"/>
                      <a:pt x="167" y="23"/>
                      <a:pt x="167" y="23"/>
                    </a:cubicBezTo>
                    <a:cubicBezTo>
                      <a:pt x="167" y="23"/>
                      <a:pt x="167" y="23"/>
                      <a:pt x="167" y="23"/>
                    </a:cubicBezTo>
                    <a:cubicBezTo>
                      <a:pt x="167" y="23"/>
                      <a:pt x="167" y="23"/>
                      <a:pt x="167" y="23"/>
                    </a:cubicBezTo>
                    <a:cubicBezTo>
                      <a:pt x="167" y="23"/>
                      <a:pt x="167" y="23"/>
                      <a:pt x="167" y="23"/>
                    </a:cubicBezTo>
                    <a:cubicBezTo>
                      <a:pt x="167" y="22"/>
                      <a:pt x="167" y="22"/>
                      <a:pt x="167" y="22"/>
                    </a:cubicBezTo>
                    <a:cubicBezTo>
                      <a:pt x="167" y="22"/>
                      <a:pt x="167" y="22"/>
                      <a:pt x="167" y="22"/>
                    </a:cubicBezTo>
                    <a:cubicBezTo>
                      <a:pt x="166" y="22"/>
                      <a:pt x="166" y="22"/>
                      <a:pt x="166" y="22"/>
                    </a:cubicBezTo>
                    <a:cubicBezTo>
                      <a:pt x="166" y="22"/>
                      <a:pt x="166" y="22"/>
                      <a:pt x="166" y="22"/>
                    </a:cubicBezTo>
                    <a:cubicBezTo>
                      <a:pt x="166" y="22"/>
                      <a:pt x="166" y="22"/>
                      <a:pt x="166" y="2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5" name="Freeform 692">
                <a:extLst>
                  <a:ext uri="{FF2B5EF4-FFF2-40B4-BE49-F238E27FC236}">
                    <a16:creationId xmlns:a16="http://schemas.microsoft.com/office/drawing/2014/main" id="{5F5D6390-E977-75F3-0A81-60CF773C6421}"/>
                  </a:ext>
                </a:extLst>
              </p:cNvPr>
              <p:cNvSpPr>
                <a:spLocks/>
              </p:cNvSpPr>
              <p:nvPr/>
            </p:nvSpPr>
            <p:spPr bwMode="auto">
              <a:xfrm>
                <a:off x="3398838" y="5154613"/>
                <a:ext cx="357187" cy="403225"/>
              </a:xfrm>
              <a:custGeom>
                <a:avLst/>
                <a:gdLst>
                  <a:gd name="T0" fmla="*/ 84 w 86"/>
                  <a:gd name="T1" fmla="*/ 66 h 97"/>
                  <a:gd name="T2" fmla="*/ 85 w 86"/>
                  <a:gd name="T3" fmla="*/ 62 h 97"/>
                  <a:gd name="T4" fmla="*/ 83 w 86"/>
                  <a:gd name="T5" fmla="*/ 56 h 97"/>
                  <a:gd name="T6" fmla="*/ 79 w 86"/>
                  <a:gd name="T7" fmla="*/ 53 h 97"/>
                  <a:gd name="T8" fmla="*/ 80 w 86"/>
                  <a:gd name="T9" fmla="*/ 47 h 97"/>
                  <a:gd name="T10" fmla="*/ 66 w 86"/>
                  <a:gd name="T11" fmla="*/ 41 h 97"/>
                  <a:gd name="T12" fmla="*/ 66 w 86"/>
                  <a:gd name="T13" fmla="*/ 35 h 97"/>
                  <a:gd name="T14" fmla="*/ 65 w 86"/>
                  <a:gd name="T15" fmla="*/ 31 h 97"/>
                  <a:gd name="T16" fmla="*/ 62 w 86"/>
                  <a:gd name="T17" fmla="*/ 28 h 97"/>
                  <a:gd name="T18" fmla="*/ 59 w 86"/>
                  <a:gd name="T19" fmla="*/ 27 h 97"/>
                  <a:gd name="T20" fmla="*/ 57 w 86"/>
                  <a:gd name="T21" fmla="*/ 27 h 97"/>
                  <a:gd name="T22" fmla="*/ 55 w 86"/>
                  <a:gd name="T23" fmla="*/ 26 h 97"/>
                  <a:gd name="T24" fmla="*/ 51 w 86"/>
                  <a:gd name="T25" fmla="*/ 25 h 97"/>
                  <a:gd name="T26" fmla="*/ 48 w 86"/>
                  <a:gd name="T27" fmla="*/ 23 h 97"/>
                  <a:gd name="T28" fmla="*/ 46 w 86"/>
                  <a:gd name="T29" fmla="*/ 21 h 97"/>
                  <a:gd name="T30" fmla="*/ 42 w 86"/>
                  <a:gd name="T31" fmla="*/ 19 h 97"/>
                  <a:gd name="T32" fmla="*/ 36 w 86"/>
                  <a:gd name="T33" fmla="*/ 19 h 97"/>
                  <a:gd name="T34" fmla="*/ 34 w 86"/>
                  <a:gd name="T35" fmla="*/ 17 h 97"/>
                  <a:gd name="T36" fmla="*/ 32 w 86"/>
                  <a:gd name="T37" fmla="*/ 14 h 97"/>
                  <a:gd name="T38" fmla="*/ 31 w 86"/>
                  <a:gd name="T39" fmla="*/ 13 h 97"/>
                  <a:gd name="T40" fmla="*/ 31 w 86"/>
                  <a:gd name="T41" fmla="*/ 9 h 97"/>
                  <a:gd name="T42" fmla="*/ 30 w 86"/>
                  <a:gd name="T43" fmla="*/ 5 h 97"/>
                  <a:gd name="T44" fmla="*/ 30 w 86"/>
                  <a:gd name="T45" fmla="*/ 0 h 97"/>
                  <a:gd name="T46" fmla="*/ 28 w 86"/>
                  <a:gd name="T47" fmla="*/ 0 h 97"/>
                  <a:gd name="T48" fmla="*/ 26 w 86"/>
                  <a:gd name="T49" fmla="*/ 0 h 97"/>
                  <a:gd name="T50" fmla="*/ 19 w 86"/>
                  <a:gd name="T51" fmla="*/ 4 h 97"/>
                  <a:gd name="T52" fmla="*/ 16 w 86"/>
                  <a:gd name="T53" fmla="*/ 5 h 97"/>
                  <a:gd name="T54" fmla="*/ 13 w 86"/>
                  <a:gd name="T55" fmla="*/ 6 h 97"/>
                  <a:gd name="T56" fmla="*/ 7 w 86"/>
                  <a:gd name="T57" fmla="*/ 10 h 97"/>
                  <a:gd name="T58" fmla="*/ 2 w 86"/>
                  <a:gd name="T59" fmla="*/ 9 h 97"/>
                  <a:gd name="T60" fmla="*/ 7 w 86"/>
                  <a:gd name="T61" fmla="*/ 20 h 97"/>
                  <a:gd name="T62" fmla="*/ 6 w 86"/>
                  <a:gd name="T63" fmla="*/ 26 h 97"/>
                  <a:gd name="T64" fmla="*/ 5 w 86"/>
                  <a:gd name="T65" fmla="*/ 29 h 97"/>
                  <a:gd name="T66" fmla="*/ 5 w 86"/>
                  <a:gd name="T67" fmla="*/ 32 h 97"/>
                  <a:gd name="T68" fmla="*/ 2 w 86"/>
                  <a:gd name="T69" fmla="*/ 36 h 97"/>
                  <a:gd name="T70" fmla="*/ 2 w 86"/>
                  <a:gd name="T71" fmla="*/ 44 h 97"/>
                  <a:gd name="T72" fmla="*/ 4 w 86"/>
                  <a:gd name="T73" fmla="*/ 47 h 97"/>
                  <a:gd name="T74" fmla="*/ 5 w 86"/>
                  <a:gd name="T75" fmla="*/ 50 h 97"/>
                  <a:gd name="T76" fmla="*/ 1 w 86"/>
                  <a:gd name="T77" fmla="*/ 54 h 97"/>
                  <a:gd name="T78" fmla="*/ 1 w 86"/>
                  <a:gd name="T79" fmla="*/ 57 h 97"/>
                  <a:gd name="T80" fmla="*/ 3 w 86"/>
                  <a:gd name="T81" fmla="*/ 60 h 97"/>
                  <a:gd name="T82" fmla="*/ 4 w 86"/>
                  <a:gd name="T83" fmla="*/ 65 h 97"/>
                  <a:gd name="T84" fmla="*/ 7 w 86"/>
                  <a:gd name="T85" fmla="*/ 70 h 97"/>
                  <a:gd name="T86" fmla="*/ 7 w 86"/>
                  <a:gd name="T87" fmla="*/ 73 h 97"/>
                  <a:gd name="T88" fmla="*/ 6 w 86"/>
                  <a:gd name="T89" fmla="*/ 76 h 97"/>
                  <a:gd name="T90" fmla="*/ 6 w 86"/>
                  <a:gd name="T91" fmla="*/ 78 h 97"/>
                  <a:gd name="T92" fmla="*/ 8 w 86"/>
                  <a:gd name="T93" fmla="*/ 80 h 97"/>
                  <a:gd name="T94" fmla="*/ 10 w 86"/>
                  <a:gd name="T95" fmla="*/ 85 h 97"/>
                  <a:gd name="T96" fmla="*/ 11 w 86"/>
                  <a:gd name="T97" fmla="*/ 90 h 97"/>
                  <a:gd name="T98" fmla="*/ 13 w 86"/>
                  <a:gd name="T99" fmla="*/ 94 h 97"/>
                  <a:gd name="T100" fmla="*/ 14 w 86"/>
                  <a:gd name="T101" fmla="*/ 97 h 97"/>
                  <a:gd name="T102" fmla="*/ 17 w 86"/>
                  <a:gd name="T103" fmla="*/ 96 h 97"/>
                  <a:gd name="T104" fmla="*/ 20 w 86"/>
                  <a:gd name="T105" fmla="*/ 92 h 97"/>
                  <a:gd name="T106" fmla="*/ 24 w 86"/>
                  <a:gd name="T107" fmla="*/ 88 h 97"/>
                  <a:gd name="T108" fmla="*/ 27 w 86"/>
                  <a:gd name="T109" fmla="*/ 91 h 97"/>
                  <a:gd name="T110" fmla="*/ 36 w 86"/>
                  <a:gd name="T111" fmla="*/ 92 h 97"/>
                  <a:gd name="T112" fmla="*/ 38 w 86"/>
                  <a:gd name="T113" fmla="*/ 97 h 97"/>
                  <a:gd name="T114" fmla="*/ 42 w 86"/>
                  <a:gd name="T115" fmla="*/ 90 h 97"/>
                  <a:gd name="T116" fmla="*/ 48 w 86"/>
                  <a:gd name="T117" fmla="*/ 91 h 97"/>
                  <a:gd name="T118" fmla="*/ 55 w 86"/>
                  <a:gd name="T119" fmla="*/ 75 h 97"/>
                  <a:gd name="T120" fmla="*/ 81 w 86"/>
                  <a:gd name="T121" fmla="*/ 74 h 97"/>
                  <a:gd name="T122" fmla="*/ 81 w 86"/>
                  <a:gd name="T123"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97">
                    <a:moveTo>
                      <a:pt x="81" y="73"/>
                    </a:moveTo>
                    <a:cubicBezTo>
                      <a:pt x="84" y="68"/>
                      <a:pt x="84" y="68"/>
                      <a:pt x="84" y="68"/>
                    </a:cubicBezTo>
                    <a:cubicBezTo>
                      <a:pt x="84" y="68"/>
                      <a:pt x="84" y="67"/>
                      <a:pt x="84" y="67"/>
                    </a:cubicBezTo>
                    <a:cubicBezTo>
                      <a:pt x="84" y="67"/>
                      <a:pt x="84" y="67"/>
                      <a:pt x="84" y="66"/>
                    </a:cubicBezTo>
                    <a:cubicBezTo>
                      <a:pt x="84" y="66"/>
                      <a:pt x="84" y="66"/>
                      <a:pt x="84" y="66"/>
                    </a:cubicBezTo>
                    <a:cubicBezTo>
                      <a:pt x="84" y="66"/>
                      <a:pt x="84" y="65"/>
                      <a:pt x="84" y="65"/>
                    </a:cubicBezTo>
                    <a:cubicBezTo>
                      <a:pt x="84" y="65"/>
                      <a:pt x="85" y="63"/>
                      <a:pt x="85" y="63"/>
                    </a:cubicBezTo>
                    <a:cubicBezTo>
                      <a:pt x="85" y="63"/>
                      <a:pt x="85" y="62"/>
                      <a:pt x="85" y="62"/>
                    </a:cubicBezTo>
                    <a:cubicBezTo>
                      <a:pt x="86" y="62"/>
                      <a:pt x="86" y="62"/>
                      <a:pt x="86" y="62"/>
                    </a:cubicBezTo>
                    <a:cubicBezTo>
                      <a:pt x="86" y="62"/>
                      <a:pt x="84" y="59"/>
                      <a:pt x="84" y="59"/>
                    </a:cubicBezTo>
                    <a:cubicBezTo>
                      <a:pt x="84" y="59"/>
                      <a:pt x="84" y="57"/>
                      <a:pt x="84" y="57"/>
                    </a:cubicBezTo>
                    <a:cubicBezTo>
                      <a:pt x="83" y="56"/>
                      <a:pt x="83" y="56"/>
                      <a:pt x="83" y="56"/>
                    </a:cubicBezTo>
                    <a:cubicBezTo>
                      <a:pt x="83" y="56"/>
                      <a:pt x="83" y="56"/>
                      <a:pt x="82" y="56"/>
                    </a:cubicBezTo>
                    <a:cubicBezTo>
                      <a:pt x="82" y="56"/>
                      <a:pt x="82" y="56"/>
                      <a:pt x="82" y="56"/>
                    </a:cubicBezTo>
                    <a:cubicBezTo>
                      <a:pt x="82" y="56"/>
                      <a:pt x="79" y="54"/>
                      <a:pt x="79" y="54"/>
                    </a:cubicBezTo>
                    <a:cubicBezTo>
                      <a:pt x="79" y="54"/>
                      <a:pt x="79" y="53"/>
                      <a:pt x="79" y="53"/>
                    </a:cubicBezTo>
                    <a:cubicBezTo>
                      <a:pt x="79" y="53"/>
                      <a:pt x="79" y="52"/>
                      <a:pt x="79" y="52"/>
                    </a:cubicBezTo>
                    <a:cubicBezTo>
                      <a:pt x="79" y="52"/>
                      <a:pt x="79" y="51"/>
                      <a:pt x="79" y="51"/>
                    </a:cubicBezTo>
                    <a:cubicBezTo>
                      <a:pt x="79" y="51"/>
                      <a:pt x="79" y="50"/>
                      <a:pt x="79" y="49"/>
                    </a:cubicBezTo>
                    <a:cubicBezTo>
                      <a:pt x="79" y="49"/>
                      <a:pt x="80" y="47"/>
                      <a:pt x="80" y="47"/>
                    </a:cubicBezTo>
                    <a:cubicBezTo>
                      <a:pt x="80" y="47"/>
                      <a:pt x="80" y="47"/>
                      <a:pt x="80" y="47"/>
                    </a:cubicBezTo>
                    <a:cubicBezTo>
                      <a:pt x="79" y="48"/>
                      <a:pt x="79" y="48"/>
                      <a:pt x="79" y="48"/>
                    </a:cubicBezTo>
                    <a:cubicBezTo>
                      <a:pt x="67" y="47"/>
                      <a:pt x="67" y="47"/>
                      <a:pt x="67" y="47"/>
                    </a:cubicBezTo>
                    <a:cubicBezTo>
                      <a:pt x="66" y="41"/>
                      <a:pt x="66" y="41"/>
                      <a:pt x="66" y="41"/>
                    </a:cubicBezTo>
                    <a:cubicBezTo>
                      <a:pt x="64" y="39"/>
                      <a:pt x="64" y="39"/>
                      <a:pt x="64" y="39"/>
                    </a:cubicBezTo>
                    <a:cubicBezTo>
                      <a:pt x="66" y="39"/>
                      <a:pt x="66" y="39"/>
                      <a:pt x="66" y="39"/>
                    </a:cubicBezTo>
                    <a:cubicBezTo>
                      <a:pt x="66" y="35"/>
                      <a:pt x="66" y="35"/>
                      <a:pt x="66" y="35"/>
                    </a:cubicBezTo>
                    <a:cubicBezTo>
                      <a:pt x="66" y="35"/>
                      <a:pt x="66" y="35"/>
                      <a:pt x="66" y="35"/>
                    </a:cubicBezTo>
                    <a:cubicBezTo>
                      <a:pt x="65" y="32"/>
                      <a:pt x="65" y="32"/>
                      <a:pt x="65" y="32"/>
                    </a:cubicBezTo>
                    <a:cubicBezTo>
                      <a:pt x="65" y="32"/>
                      <a:pt x="65" y="32"/>
                      <a:pt x="65" y="32"/>
                    </a:cubicBezTo>
                    <a:cubicBezTo>
                      <a:pt x="65" y="32"/>
                      <a:pt x="65" y="31"/>
                      <a:pt x="65" y="31"/>
                    </a:cubicBezTo>
                    <a:cubicBezTo>
                      <a:pt x="65" y="31"/>
                      <a:pt x="65" y="31"/>
                      <a:pt x="65" y="31"/>
                    </a:cubicBezTo>
                    <a:cubicBezTo>
                      <a:pt x="65" y="30"/>
                      <a:pt x="65" y="30"/>
                      <a:pt x="65" y="30"/>
                    </a:cubicBezTo>
                    <a:cubicBezTo>
                      <a:pt x="65" y="30"/>
                      <a:pt x="65" y="29"/>
                      <a:pt x="65" y="29"/>
                    </a:cubicBezTo>
                    <a:cubicBezTo>
                      <a:pt x="65" y="29"/>
                      <a:pt x="64" y="29"/>
                      <a:pt x="64" y="29"/>
                    </a:cubicBezTo>
                    <a:cubicBezTo>
                      <a:pt x="64" y="29"/>
                      <a:pt x="63" y="28"/>
                      <a:pt x="62" y="28"/>
                    </a:cubicBezTo>
                    <a:cubicBezTo>
                      <a:pt x="62" y="28"/>
                      <a:pt x="61" y="27"/>
                      <a:pt x="61" y="27"/>
                    </a:cubicBezTo>
                    <a:cubicBezTo>
                      <a:pt x="60" y="27"/>
                      <a:pt x="60" y="27"/>
                      <a:pt x="60" y="27"/>
                    </a:cubicBezTo>
                    <a:cubicBezTo>
                      <a:pt x="60" y="27"/>
                      <a:pt x="60" y="27"/>
                      <a:pt x="60" y="27"/>
                    </a:cubicBezTo>
                    <a:cubicBezTo>
                      <a:pt x="60" y="27"/>
                      <a:pt x="59" y="27"/>
                      <a:pt x="59" y="27"/>
                    </a:cubicBezTo>
                    <a:cubicBezTo>
                      <a:pt x="59" y="27"/>
                      <a:pt x="59" y="27"/>
                      <a:pt x="59" y="27"/>
                    </a:cubicBezTo>
                    <a:cubicBezTo>
                      <a:pt x="59" y="27"/>
                      <a:pt x="58" y="27"/>
                      <a:pt x="58" y="27"/>
                    </a:cubicBezTo>
                    <a:cubicBezTo>
                      <a:pt x="58" y="27"/>
                      <a:pt x="58" y="28"/>
                      <a:pt x="58" y="28"/>
                    </a:cubicBezTo>
                    <a:cubicBezTo>
                      <a:pt x="58" y="28"/>
                      <a:pt x="57" y="27"/>
                      <a:pt x="57" y="27"/>
                    </a:cubicBezTo>
                    <a:cubicBezTo>
                      <a:pt x="57" y="27"/>
                      <a:pt x="57" y="27"/>
                      <a:pt x="56" y="27"/>
                    </a:cubicBezTo>
                    <a:cubicBezTo>
                      <a:pt x="56" y="27"/>
                      <a:pt x="55" y="27"/>
                      <a:pt x="55" y="27"/>
                    </a:cubicBezTo>
                    <a:cubicBezTo>
                      <a:pt x="55" y="27"/>
                      <a:pt x="55" y="27"/>
                      <a:pt x="55" y="27"/>
                    </a:cubicBezTo>
                    <a:cubicBezTo>
                      <a:pt x="55" y="27"/>
                      <a:pt x="55" y="26"/>
                      <a:pt x="55" y="26"/>
                    </a:cubicBezTo>
                    <a:cubicBezTo>
                      <a:pt x="53" y="25"/>
                      <a:pt x="53" y="25"/>
                      <a:pt x="53" y="25"/>
                    </a:cubicBezTo>
                    <a:cubicBezTo>
                      <a:pt x="53" y="25"/>
                      <a:pt x="53" y="24"/>
                      <a:pt x="53" y="24"/>
                    </a:cubicBezTo>
                    <a:cubicBezTo>
                      <a:pt x="53" y="24"/>
                      <a:pt x="52" y="24"/>
                      <a:pt x="52" y="24"/>
                    </a:cubicBezTo>
                    <a:cubicBezTo>
                      <a:pt x="52" y="24"/>
                      <a:pt x="52" y="25"/>
                      <a:pt x="51" y="25"/>
                    </a:cubicBezTo>
                    <a:cubicBezTo>
                      <a:pt x="51" y="25"/>
                      <a:pt x="51" y="24"/>
                      <a:pt x="51" y="24"/>
                    </a:cubicBezTo>
                    <a:cubicBezTo>
                      <a:pt x="50" y="24"/>
                      <a:pt x="50" y="23"/>
                      <a:pt x="50" y="23"/>
                    </a:cubicBezTo>
                    <a:cubicBezTo>
                      <a:pt x="50" y="23"/>
                      <a:pt x="49" y="23"/>
                      <a:pt x="49" y="23"/>
                    </a:cubicBezTo>
                    <a:cubicBezTo>
                      <a:pt x="49" y="24"/>
                      <a:pt x="48" y="23"/>
                      <a:pt x="48" y="23"/>
                    </a:cubicBezTo>
                    <a:cubicBezTo>
                      <a:pt x="48" y="23"/>
                      <a:pt x="48" y="22"/>
                      <a:pt x="48" y="22"/>
                    </a:cubicBezTo>
                    <a:cubicBezTo>
                      <a:pt x="47" y="22"/>
                      <a:pt x="47" y="22"/>
                      <a:pt x="47" y="22"/>
                    </a:cubicBezTo>
                    <a:cubicBezTo>
                      <a:pt x="47" y="22"/>
                      <a:pt x="47" y="21"/>
                      <a:pt x="46" y="21"/>
                    </a:cubicBezTo>
                    <a:cubicBezTo>
                      <a:pt x="46" y="21"/>
                      <a:pt x="46" y="21"/>
                      <a:pt x="46" y="21"/>
                    </a:cubicBezTo>
                    <a:cubicBezTo>
                      <a:pt x="46" y="21"/>
                      <a:pt x="46" y="21"/>
                      <a:pt x="45" y="21"/>
                    </a:cubicBezTo>
                    <a:cubicBezTo>
                      <a:pt x="45" y="21"/>
                      <a:pt x="45" y="21"/>
                      <a:pt x="45" y="21"/>
                    </a:cubicBezTo>
                    <a:cubicBezTo>
                      <a:pt x="44" y="21"/>
                      <a:pt x="44" y="21"/>
                      <a:pt x="44" y="21"/>
                    </a:cubicBezTo>
                    <a:cubicBezTo>
                      <a:pt x="44" y="20"/>
                      <a:pt x="42" y="19"/>
                      <a:pt x="42" y="19"/>
                    </a:cubicBezTo>
                    <a:cubicBezTo>
                      <a:pt x="40" y="20"/>
                      <a:pt x="40" y="20"/>
                      <a:pt x="40" y="20"/>
                    </a:cubicBezTo>
                    <a:cubicBezTo>
                      <a:pt x="40" y="20"/>
                      <a:pt x="39" y="20"/>
                      <a:pt x="39" y="20"/>
                    </a:cubicBezTo>
                    <a:cubicBezTo>
                      <a:pt x="39" y="20"/>
                      <a:pt x="37" y="19"/>
                      <a:pt x="37" y="19"/>
                    </a:cubicBezTo>
                    <a:cubicBezTo>
                      <a:pt x="37" y="19"/>
                      <a:pt x="36" y="19"/>
                      <a:pt x="36" y="19"/>
                    </a:cubicBezTo>
                    <a:cubicBezTo>
                      <a:pt x="36" y="19"/>
                      <a:pt x="37" y="18"/>
                      <a:pt x="36" y="18"/>
                    </a:cubicBezTo>
                    <a:cubicBezTo>
                      <a:pt x="36" y="18"/>
                      <a:pt x="36" y="18"/>
                      <a:pt x="35" y="17"/>
                    </a:cubicBezTo>
                    <a:cubicBezTo>
                      <a:pt x="35" y="17"/>
                      <a:pt x="35" y="17"/>
                      <a:pt x="35" y="17"/>
                    </a:cubicBezTo>
                    <a:cubicBezTo>
                      <a:pt x="35" y="17"/>
                      <a:pt x="34" y="17"/>
                      <a:pt x="34" y="17"/>
                    </a:cubicBezTo>
                    <a:cubicBezTo>
                      <a:pt x="34" y="17"/>
                      <a:pt x="34" y="16"/>
                      <a:pt x="34" y="16"/>
                    </a:cubicBezTo>
                    <a:cubicBezTo>
                      <a:pt x="34" y="16"/>
                      <a:pt x="33" y="16"/>
                      <a:pt x="33" y="16"/>
                    </a:cubicBezTo>
                    <a:cubicBezTo>
                      <a:pt x="33" y="16"/>
                      <a:pt x="33" y="16"/>
                      <a:pt x="33" y="15"/>
                    </a:cubicBezTo>
                    <a:cubicBezTo>
                      <a:pt x="32" y="15"/>
                      <a:pt x="32" y="15"/>
                      <a:pt x="32" y="14"/>
                    </a:cubicBezTo>
                    <a:cubicBezTo>
                      <a:pt x="32" y="14"/>
                      <a:pt x="31" y="14"/>
                      <a:pt x="31" y="14"/>
                    </a:cubicBezTo>
                    <a:cubicBezTo>
                      <a:pt x="31" y="14"/>
                      <a:pt x="31" y="13"/>
                      <a:pt x="31" y="13"/>
                    </a:cubicBezTo>
                    <a:cubicBezTo>
                      <a:pt x="31" y="13"/>
                      <a:pt x="31" y="13"/>
                      <a:pt x="31" y="13"/>
                    </a:cubicBezTo>
                    <a:cubicBezTo>
                      <a:pt x="31" y="13"/>
                      <a:pt x="31" y="13"/>
                      <a:pt x="31" y="13"/>
                    </a:cubicBezTo>
                    <a:cubicBezTo>
                      <a:pt x="31" y="13"/>
                      <a:pt x="31" y="12"/>
                      <a:pt x="31" y="12"/>
                    </a:cubicBezTo>
                    <a:cubicBezTo>
                      <a:pt x="31" y="11"/>
                      <a:pt x="30" y="10"/>
                      <a:pt x="30" y="10"/>
                    </a:cubicBezTo>
                    <a:cubicBezTo>
                      <a:pt x="30" y="10"/>
                      <a:pt x="31" y="10"/>
                      <a:pt x="31" y="9"/>
                    </a:cubicBezTo>
                    <a:cubicBezTo>
                      <a:pt x="31" y="9"/>
                      <a:pt x="31" y="9"/>
                      <a:pt x="31" y="9"/>
                    </a:cubicBezTo>
                    <a:cubicBezTo>
                      <a:pt x="31" y="8"/>
                      <a:pt x="31" y="8"/>
                      <a:pt x="31" y="8"/>
                    </a:cubicBezTo>
                    <a:cubicBezTo>
                      <a:pt x="30" y="7"/>
                      <a:pt x="30" y="7"/>
                      <a:pt x="30" y="6"/>
                    </a:cubicBezTo>
                    <a:cubicBezTo>
                      <a:pt x="30" y="6"/>
                      <a:pt x="30" y="5"/>
                      <a:pt x="30" y="5"/>
                    </a:cubicBezTo>
                    <a:cubicBezTo>
                      <a:pt x="30" y="5"/>
                      <a:pt x="30" y="5"/>
                      <a:pt x="30" y="5"/>
                    </a:cubicBezTo>
                    <a:cubicBezTo>
                      <a:pt x="30" y="5"/>
                      <a:pt x="31" y="4"/>
                      <a:pt x="31" y="4"/>
                    </a:cubicBezTo>
                    <a:cubicBezTo>
                      <a:pt x="31" y="1"/>
                      <a:pt x="31" y="1"/>
                      <a:pt x="31" y="1"/>
                    </a:cubicBezTo>
                    <a:cubicBezTo>
                      <a:pt x="31" y="1"/>
                      <a:pt x="30" y="0"/>
                      <a:pt x="30" y="0"/>
                    </a:cubicBezTo>
                    <a:cubicBezTo>
                      <a:pt x="30" y="0"/>
                      <a:pt x="30" y="0"/>
                      <a:pt x="30" y="0"/>
                    </a:cubicBezTo>
                    <a:cubicBezTo>
                      <a:pt x="29" y="0"/>
                      <a:pt x="29" y="0"/>
                      <a:pt x="29" y="0"/>
                    </a:cubicBezTo>
                    <a:cubicBezTo>
                      <a:pt x="29" y="0"/>
                      <a:pt x="29" y="1"/>
                      <a:pt x="29" y="1"/>
                    </a:cubicBezTo>
                    <a:cubicBezTo>
                      <a:pt x="29" y="1"/>
                      <a:pt x="29" y="1"/>
                      <a:pt x="28" y="0"/>
                    </a:cubicBezTo>
                    <a:cubicBezTo>
                      <a:pt x="28" y="0"/>
                      <a:pt x="28" y="0"/>
                      <a:pt x="28" y="0"/>
                    </a:cubicBezTo>
                    <a:cubicBezTo>
                      <a:pt x="28" y="0"/>
                      <a:pt x="27" y="0"/>
                      <a:pt x="27" y="0"/>
                    </a:cubicBezTo>
                    <a:cubicBezTo>
                      <a:pt x="27" y="0"/>
                      <a:pt x="27" y="1"/>
                      <a:pt x="27" y="0"/>
                    </a:cubicBezTo>
                    <a:cubicBezTo>
                      <a:pt x="27" y="0"/>
                      <a:pt x="26" y="0"/>
                      <a:pt x="26" y="0"/>
                    </a:cubicBezTo>
                    <a:cubicBezTo>
                      <a:pt x="26" y="0"/>
                      <a:pt x="26" y="0"/>
                      <a:pt x="26" y="0"/>
                    </a:cubicBezTo>
                    <a:cubicBezTo>
                      <a:pt x="25" y="0"/>
                      <a:pt x="24" y="0"/>
                      <a:pt x="24" y="0"/>
                    </a:cubicBezTo>
                    <a:cubicBezTo>
                      <a:pt x="24" y="0"/>
                      <a:pt x="23" y="1"/>
                      <a:pt x="23" y="1"/>
                    </a:cubicBezTo>
                    <a:cubicBezTo>
                      <a:pt x="23" y="1"/>
                      <a:pt x="21" y="1"/>
                      <a:pt x="21" y="1"/>
                    </a:cubicBezTo>
                    <a:cubicBezTo>
                      <a:pt x="21" y="1"/>
                      <a:pt x="19" y="4"/>
                      <a:pt x="19" y="4"/>
                    </a:cubicBezTo>
                    <a:cubicBezTo>
                      <a:pt x="19" y="4"/>
                      <a:pt x="18" y="4"/>
                      <a:pt x="18" y="4"/>
                    </a:cubicBezTo>
                    <a:cubicBezTo>
                      <a:pt x="18" y="4"/>
                      <a:pt x="17" y="4"/>
                      <a:pt x="17" y="4"/>
                    </a:cubicBezTo>
                    <a:cubicBezTo>
                      <a:pt x="17" y="4"/>
                      <a:pt x="17" y="4"/>
                      <a:pt x="17" y="4"/>
                    </a:cubicBezTo>
                    <a:cubicBezTo>
                      <a:pt x="16" y="5"/>
                      <a:pt x="16" y="5"/>
                      <a:pt x="16" y="5"/>
                    </a:cubicBezTo>
                    <a:cubicBezTo>
                      <a:pt x="16" y="5"/>
                      <a:pt x="14" y="6"/>
                      <a:pt x="14" y="6"/>
                    </a:cubicBezTo>
                    <a:cubicBezTo>
                      <a:pt x="14" y="6"/>
                      <a:pt x="14" y="7"/>
                      <a:pt x="14" y="7"/>
                    </a:cubicBezTo>
                    <a:cubicBezTo>
                      <a:pt x="14" y="7"/>
                      <a:pt x="13" y="7"/>
                      <a:pt x="13" y="7"/>
                    </a:cubicBezTo>
                    <a:cubicBezTo>
                      <a:pt x="13" y="7"/>
                      <a:pt x="13" y="6"/>
                      <a:pt x="13" y="6"/>
                    </a:cubicBezTo>
                    <a:cubicBezTo>
                      <a:pt x="11" y="6"/>
                      <a:pt x="11" y="6"/>
                      <a:pt x="11" y="6"/>
                    </a:cubicBezTo>
                    <a:cubicBezTo>
                      <a:pt x="10" y="9"/>
                      <a:pt x="10" y="9"/>
                      <a:pt x="10" y="9"/>
                    </a:cubicBezTo>
                    <a:cubicBezTo>
                      <a:pt x="8" y="10"/>
                      <a:pt x="8" y="10"/>
                      <a:pt x="8" y="10"/>
                    </a:cubicBezTo>
                    <a:cubicBezTo>
                      <a:pt x="8" y="10"/>
                      <a:pt x="7" y="10"/>
                      <a:pt x="7" y="10"/>
                    </a:cubicBezTo>
                    <a:cubicBezTo>
                      <a:pt x="7" y="10"/>
                      <a:pt x="6" y="10"/>
                      <a:pt x="6" y="10"/>
                    </a:cubicBezTo>
                    <a:cubicBezTo>
                      <a:pt x="6" y="9"/>
                      <a:pt x="6" y="9"/>
                      <a:pt x="6" y="9"/>
                    </a:cubicBezTo>
                    <a:cubicBezTo>
                      <a:pt x="6" y="9"/>
                      <a:pt x="5" y="9"/>
                      <a:pt x="5" y="9"/>
                    </a:cubicBezTo>
                    <a:cubicBezTo>
                      <a:pt x="4" y="9"/>
                      <a:pt x="3" y="9"/>
                      <a:pt x="2" y="9"/>
                    </a:cubicBezTo>
                    <a:cubicBezTo>
                      <a:pt x="2" y="9"/>
                      <a:pt x="1" y="9"/>
                      <a:pt x="1" y="9"/>
                    </a:cubicBezTo>
                    <a:cubicBezTo>
                      <a:pt x="6" y="18"/>
                      <a:pt x="6" y="18"/>
                      <a:pt x="6" y="18"/>
                    </a:cubicBezTo>
                    <a:cubicBezTo>
                      <a:pt x="7" y="19"/>
                      <a:pt x="7" y="19"/>
                      <a:pt x="7" y="19"/>
                    </a:cubicBezTo>
                    <a:cubicBezTo>
                      <a:pt x="7" y="20"/>
                      <a:pt x="7" y="20"/>
                      <a:pt x="7" y="20"/>
                    </a:cubicBezTo>
                    <a:cubicBezTo>
                      <a:pt x="6" y="21"/>
                      <a:pt x="6" y="21"/>
                      <a:pt x="6" y="21"/>
                    </a:cubicBezTo>
                    <a:cubicBezTo>
                      <a:pt x="7" y="21"/>
                      <a:pt x="7" y="21"/>
                      <a:pt x="7" y="21"/>
                    </a:cubicBezTo>
                    <a:cubicBezTo>
                      <a:pt x="6" y="22"/>
                      <a:pt x="6" y="22"/>
                      <a:pt x="6" y="22"/>
                    </a:cubicBezTo>
                    <a:cubicBezTo>
                      <a:pt x="6" y="26"/>
                      <a:pt x="6" y="26"/>
                      <a:pt x="6" y="26"/>
                    </a:cubicBezTo>
                    <a:cubicBezTo>
                      <a:pt x="6" y="26"/>
                      <a:pt x="5" y="28"/>
                      <a:pt x="5" y="28"/>
                    </a:cubicBezTo>
                    <a:cubicBezTo>
                      <a:pt x="5" y="28"/>
                      <a:pt x="4" y="28"/>
                      <a:pt x="4" y="28"/>
                    </a:cubicBezTo>
                    <a:cubicBezTo>
                      <a:pt x="4" y="29"/>
                      <a:pt x="4" y="29"/>
                      <a:pt x="4" y="29"/>
                    </a:cubicBezTo>
                    <a:cubicBezTo>
                      <a:pt x="5" y="29"/>
                      <a:pt x="5" y="29"/>
                      <a:pt x="5" y="29"/>
                    </a:cubicBezTo>
                    <a:cubicBezTo>
                      <a:pt x="5" y="30"/>
                      <a:pt x="5" y="30"/>
                      <a:pt x="5" y="30"/>
                    </a:cubicBezTo>
                    <a:cubicBezTo>
                      <a:pt x="5" y="31"/>
                      <a:pt x="5" y="31"/>
                      <a:pt x="5" y="31"/>
                    </a:cubicBezTo>
                    <a:cubicBezTo>
                      <a:pt x="6" y="32"/>
                      <a:pt x="6" y="32"/>
                      <a:pt x="6" y="32"/>
                    </a:cubicBezTo>
                    <a:cubicBezTo>
                      <a:pt x="5" y="32"/>
                      <a:pt x="5" y="32"/>
                      <a:pt x="5" y="32"/>
                    </a:cubicBezTo>
                    <a:cubicBezTo>
                      <a:pt x="5" y="34"/>
                      <a:pt x="5" y="34"/>
                      <a:pt x="5" y="34"/>
                    </a:cubicBezTo>
                    <a:cubicBezTo>
                      <a:pt x="3" y="35"/>
                      <a:pt x="3" y="35"/>
                      <a:pt x="3" y="35"/>
                    </a:cubicBezTo>
                    <a:cubicBezTo>
                      <a:pt x="3" y="36"/>
                      <a:pt x="3" y="36"/>
                      <a:pt x="3" y="36"/>
                    </a:cubicBezTo>
                    <a:cubicBezTo>
                      <a:pt x="2" y="36"/>
                      <a:pt x="2" y="36"/>
                      <a:pt x="2" y="36"/>
                    </a:cubicBezTo>
                    <a:cubicBezTo>
                      <a:pt x="2" y="38"/>
                      <a:pt x="2" y="38"/>
                      <a:pt x="2" y="38"/>
                    </a:cubicBezTo>
                    <a:cubicBezTo>
                      <a:pt x="4" y="40"/>
                      <a:pt x="4" y="40"/>
                      <a:pt x="4" y="40"/>
                    </a:cubicBezTo>
                    <a:cubicBezTo>
                      <a:pt x="2" y="42"/>
                      <a:pt x="2" y="42"/>
                      <a:pt x="2" y="42"/>
                    </a:cubicBezTo>
                    <a:cubicBezTo>
                      <a:pt x="2" y="42"/>
                      <a:pt x="2" y="44"/>
                      <a:pt x="2" y="44"/>
                    </a:cubicBezTo>
                    <a:cubicBezTo>
                      <a:pt x="2" y="44"/>
                      <a:pt x="2" y="45"/>
                      <a:pt x="2" y="45"/>
                    </a:cubicBezTo>
                    <a:cubicBezTo>
                      <a:pt x="2" y="45"/>
                      <a:pt x="3" y="46"/>
                      <a:pt x="3" y="46"/>
                    </a:cubicBezTo>
                    <a:cubicBezTo>
                      <a:pt x="3" y="46"/>
                      <a:pt x="4" y="47"/>
                      <a:pt x="4" y="47"/>
                    </a:cubicBezTo>
                    <a:cubicBezTo>
                      <a:pt x="4" y="47"/>
                      <a:pt x="4" y="47"/>
                      <a:pt x="4" y="47"/>
                    </a:cubicBezTo>
                    <a:cubicBezTo>
                      <a:pt x="5" y="47"/>
                      <a:pt x="5" y="47"/>
                      <a:pt x="5" y="47"/>
                    </a:cubicBezTo>
                    <a:cubicBezTo>
                      <a:pt x="6" y="48"/>
                      <a:pt x="6" y="48"/>
                      <a:pt x="6" y="48"/>
                    </a:cubicBezTo>
                    <a:cubicBezTo>
                      <a:pt x="5" y="48"/>
                      <a:pt x="5" y="48"/>
                      <a:pt x="5" y="48"/>
                    </a:cubicBezTo>
                    <a:cubicBezTo>
                      <a:pt x="5" y="50"/>
                      <a:pt x="5" y="50"/>
                      <a:pt x="5" y="50"/>
                    </a:cubicBezTo>
                    <a:cubicBezTo>
                      <a:pt x="5" y="50"/>
                      <a:pt x="4" y="50"/>
                      <a:pt x="4" y="50"/>
                    </a:cubicBezTo>
                    <a:cubicBezTo>
                      <a:pt x="4" y="51"/>
                      <a:pt x="3" y="51"/>
                      <a:pt x="3" y="51"/>
                    </a:cubicBezTo>
                    <a:cubicBezTo>
                      <a:pt x="3" y="51"/>
                      <a:pt x="2" y="53"/>
                      <a:pt x="2" y="53"/>
                    </a:cubicBezTo>
                    <a:cubicBezTo>
                      <a:pt x="2" y="53"/>
                      <a:pt x="1" y="54"/>
                      <a:pt x="1" y="54"/>
                    </a:cubicBezTo>
                    <a:cubicBezTo>
                      <a:pt x="0" y="55"/>
                      <a:pt x="0" y="55"/>
                      <a:pt x="0" y="55"/>
                    </a:cubicBezTo>
                    <a:cubicBezTo>
                      <a:pt x="0" y="55"/>
                      <a:pt x="1" y="55"/>
                      <a:pt x="1" y="55"/>
                    </a:cubicBezTo>
                    <a:cubicBezTo>
                      <a:pt x="2" y="55"/>
                      <a:pt x="1" y="56"/>
                      <a:pt x="1" y="56"/>
                    </a:cubicBezTo>
                    <a:cubicBezTo>
                      <a:pt x="1" y="56"/>
                      <a:pt x="1" y="57"/>
                      <a:pt x="1" y="57"/>
                    </a:cubicBezTo>
                    <a:cubicBezTo>
                      <a:pt x="1" y="57"/>
                      <a:pt x="2" y="57"/>
                      <a:pt x="2" y="58"/>
                    </a:cubicBezTo>
                    <a:cubicBezTo>
                      <a:pt x="2" y="58"/>
                      <a:pt x="2" y="58"/>
                      <a:pt x="2" y="59"/>
                    </a:cubicBezTo>
                    <a:cubicBezTo>
                      <a:pt x="2" y="59"/>
                      <a:pt x="2" y="60"/>
                      <a:pt x="2" y="60"/>
                    </a:cubicBezTo>
                    <a:cubicBezTo>
                      <a:pt x="2" y="60"/>
                      <a:pt x="3" y="60"/>
                      <a:pt x="3" y="60"/>
                    </a:cubicBezTo>
                    <a:cubicBezTo>
                      <a:pt x="3" y="60"/>
                      <a:pt x="4" y="60"/>
                      <a:pt x="4" y="60"/>
                    </a:cubicBezTo>
                    <a:cubicBezTo>
                      <a:pt x="4" y="61"/>
                      <a:pt x="4" y="61"/>
                      <a:pt x="4" y="61"/>
                    </a:cubicBezTo>
                    <a:cubicBezTo>
                      <a:pt x="4" y="62"/>
                      <a:pt x="4" y="62"/>
                      <a:pt x="4" y="62"/>
                    </a:cubicBezTo>
                    <a:cubicBezTo>
                      <a:pt x="4" y="65"/>
                      <a:pt x="4" y="65"/>
                      <a:pt x="4" y="65"/>
                    </a:cubicBezTo>
                    <a:cubicBezTo>
                      <a:pt x="5" y="66"/>
                      <a:pt x="5" y="66"/>
                      <a:pt x="5" y="66"/>
                    </a:cubicBezTo>
                    <a:cubicBezTo>
                      <a:pt x="5" y="67"/>
                      <a:pt x="5" y="67"/>
                      <a:pt x="5" y="67"/>
                    </a:cubicBezTo>
                    <a:cubicBezTo>
                      <a:pt x="5" y="67"/>
                      <a:pt x="6" y="68"/>
                      <a:pt x="6" y="68"/>
                    </a:cubicBezTo>
                    <a:cubicBezTo>
                      <a:pt x="6" y="68"/>
                      <a:pt x="7" y="69"/>
                      <a:pt x="7" y="70"/>
                    </a:cubicBezTo>
                    <a:cubicBezTo>
                      <a:pt x="8" y="70"/>
                      <a:pt x="9" y="71"/>
                      <a:pt x="9" y="71"/>
                    </a:cubicBezTo>
                    <a:cubicBezTo>
                      <a:pt x="9" y="71"/>
                      <a:pt x="8" y="71"/>
                      <a:pt x="8" y="71"/>
                    </a:cubicBezTo>
                    <a:cubicBezTo>
                      <a:pt x="8" y="71"/>
                      <a:pt x="7" y="73"/>
                      <a:pt x="7" y="73"/>
                    </a:cubicBezTo>
                    <a:cubicBezTo>
                      <a:pt x="7" y="73"/>
                      <a:pt x="7" y="73"/>
                      <a:pt x="7" y="73"/>
                    </a:cubicBezTo>
                    <a:cubicBezTo>
                      <a:pt x="7" y="73"/>
                      <a:pt x="8" y="74"/>
                      <a:pt x="8" y="74"/>
                    </a:cubicBezTo>
                    <a:cubicBezTo>
                      <a:pt x="8" y="74"/>
                      <a:pt x="8" y="75"/>
                      <a:pt x="8" y="75"/>
                    </a:cubicBezTo>
                    <a:cubicBezTo>
                      <a:pt x="8" y="75"/>
                      <a:pt x="7" y="75"/>
                      <a:pt x="7" y="75"/>
                    </a:cubicBezTo>
                    <a:cubicBezTo>
                      <a:pt x="7" y="75"/>
                      <a:pt x="6" y="76"/>
                      <a:pt x="6" y="76"/>
                    </a:cubicBezTo>
                    <a:cubicBezTo>
                      <a:pt x="6" y="76"/>
                      <a:pt x="7" y="76"/>
                      <a:pt x="7" y="76"/>
                    </a:cubicBezTo>
                    <a:cubicBezTo>
                      <a:pt x="7" y="76"/>
                      <a:pt x="7" y="76"/>
                      <a:pt x="7" y="77"/>
                    </a:cubicBezTo>
                    <a:cubicBezTo>
                      <a:pt x="7" y="77"/>
                      <a:pt x="7" y="77"/>
                      <a:pt x="7" y="77"/>
                    </a:cubicBezTo>
                    <a:cubicBezTo>
                      <a:pt x="7" y="77"/>
                      <a:pt x="7" y="78"/>
                      <a:pt x="6" y="78"/>
                    </a:cubicBezTo>
                    <a:cubicBezTo>
                      <a:pt x="6" y="78"/>
                      <a:pt x="6" y="78"/>
                      <a:pt x="6" y="78"/>
                    </a:cubicBezTo>
                    <a:cubicBezTo>
                      <a:pt x="6" y="78"/>
                      <a:pt x="7" y="79"/>
                      <a:pt x="7" y="79"/>
                    </a:cubicBezTo>
                    <a:cubicBezTo>
                      <a:pt x="8" y="79"/>
                      <a:pt x="8" y="79"/>
                      <a:pt x="8" y="80"/>
                    </a:cubicBezTo>
                    <a:cubicBezTo>
                      <a:pt x="9" y="80"/>
                      <a:pt x="8" y="80"/>
                      <a:pt x="8" y="80"/>
                    </a:cubicBezTo>
                    <a:cubicBezTo>
                      <a:pt x="8" y="80"/>
                      <a:pt x="8" y="81"/>
                      <a:pt x="8" y="81"/>
                    </a:cubicBezTo>
                    <a:cubicBezTo>
                      <a:pt x="8" y="81"/>
                      <a:pt x="8" y="82"/>
                      <a:pt x="8" y="82"/>
                    </a:cubicBezTo>
                    <a:cubicBezTo>
                      <a:pt x="8" y="82"/>
                      <a:pt x="9" y="82"/>
                      <a:pt x="9" y="82"/>
                    </a:cubicBezTo>
                    <a:cubicBezTo>
                      <a:pt x="10" y="85"/>
                      <a:pt x="10" y="85"/>
                      <a:pt x="10" y="85"/>
                    </a:cubicBezTo>
                    <a:cubicBezTo>
                      <a:pt x="10" y="85"/>
                      <a:pt x="10" y="87"/>
                      <a:pt x="10" y="87"/>
                    </a:cubicBezTo>
                    <a:cubicBezTo>
                      <a:pt x="10" y="87"/>
                      <a:pt x="11" y="88"/>
                      <a:pt x="11" y="88"/>
                    </a:cubicBezTo>
                    <a:cubicBezTo>
                      <a:pt x="11" y="88"/>
                      <a:pt x="11" y="89"/>
                      <a:pt x="11" y="89"/>
                    </a:cubicBezTo>
                    <a:cubicBezTo>
                      <a:pt x="11" y="89"/>
                      <a:pt x="11" y="90"/>
                      <a:pt x="11" y="90"/>
                    </a:cubicBezTo>
                    <a:cubicBezTo>
                      <a:pt x="11" y="90"/>
                      <a:pt x="12" y="91"/>
                      <a:pt x="12" y="91"/>
                    </a:cubicBezTo>
                    <a:cubicBezTo>
                      <a:pt x="12" y="91"/>
                      <a:pt x="12" y="93"/>
                      <a:pt x="12" y="93"/>
                    </a:cubicBezTo>
                    <a:cubicBezTo>
                      <a:pt x="12" y="93"/>
                      <a:pt x="12" y="93"/>
                      <a:pt x="12" y="93"/>
                    </a:cubicBezTo>
                    <a:cubicBezTo>
                      <a:pt x="12" y="94"/>
                      <a:pt x="13" y="94"/>
                      <a:pt x="13" y="94"/>
                    </a:cubicBezTo>
                    <a:cubicBezTo>
                      <a:pt x="13" y="94"/>
                      <a:pt x="13" y="95"/>
                      <a:pt x="12" y="95"/>
                    </a:cubicBezTo>
                    <a:cubicBezTo>
                      <a:pt x="12" y="95"/>
                      <a:pt x="12" y="96"/>
                      <a:pt x="12" y="96"/>
                    </a:cubicBezTo>
                    <a:cubicBezTo>
                      <a:pt x="12" y="96"/>
                      <a:pt x="13" y="96"/>
                      <a:pt x="13" y="96"/>
                    </a:cubicBezTo>
                    <a:cubicBezTo>
                      <a:pt x="13" y="97"/>
                      <a:pt x="14" y="97"/>
                      <a:pt x="14" y="97"/>
                    </a:cubicBezTo>
                    <a:cubicBezTo>
                      <a:pt x="14" y="97"/>
                      <a:pt x="15" y="97"/>
                      <a:pt x="15" y="97"/>
                    </a:cubicBezTo>
                    <a:cubicBezTo>
                      <a:pt x="15" y="97"/>
                      <a:pt x="16" y="97"/>
                      <a:pt x="16" y="97"/>
                    </a:cubicBezTo>
                    <a:cubicBezTo>
                      <a:pt x="16" y="97"/>
                      <a:pt x="17" y="96"/>
                      <a:pt x="17" y="96"/>
                    </a:cubicBezTo>
                    <a:cubicBezTo>
                      <a:pt x="17" y="96"/>
                      <a:pt x="17" y="96"/>
                      <a:pt x="17" y="96"/>
                    </a:cubicBezTo>
                    <a:cubicBezTo>
                      <a:pt x="19" y="95"/>
                      <a:pt x="19" y="95"/>
                      <a:pt x="19" y="95"/>
                    </a:cubicBezTo>
                    <a:cubicBezTo>
                      <a:pt x="19" y="94"/>
                      <a:pt x="19" y="94"/>
                      <a:pt x="19" y="94"/>
                    </a:cubicBezTo>
                    <a:cubicBezTo>
                      <a:pt x="21" y="93"/>
                      <a:pt x="21" y="93"/>
                      <a:pt x="21" y="93"/>
                    </a:cubicBezTo>
                    <a:cubicBezTo>
                      <a:pt x="20" y="92"/>
                      <a:pt x="20" y="92"/>
                      <a:pt x="20" y="92"/>
                    </a:cubicBezTo>
                    <a:cubicBezTo>
                      <a:pt x="20" y="92"/>
                      <a:pt x="22" y="91"/>
                      <a:pt x="22" y="91"/>
                    </a:cubicBezTo>
                    <a:cubicBezTo>
                      <a:pt x="22" y="91"/>
                      <a:pt x="23" y="91"/>
                      <a:pt x="23" y="91"/>
                    </a:cubicBezTo>
                    <a:cubicBezTo>
                      <a:pt x="23" y="91"/>
                      <a:pt x="24" y="90"/>
                      <a:pt x="24" y="90"/>
                    </a:cubicBezTo>
                    <a:cubicBezTo>
                      <a:pt x="24" y="90"/>
                      <a:pt x="24" y="88"/>
                      <a:pt x="24" y="88"/>
                    </a:cubicBezTo>
                    <a:cubicBezTo>
                      <a:pt x="25" y="89"/>
                      <a:pt x="25" y="89"/>
                      <a:pt x="25" y="89"/>
                    </a:cubicBezTo>
                    <a:cubicBezTo>
                      <a:pt x="25" y="89"/>
                      <a:pt x="25" y="90"/>
                      <a:pt x="26" y="90"/>
                    </a:cubicBezTo>
                    <a:cubicBezTo>
                      <a:pt x="26" y="90"/>
                      <a:pt x="26" y="90"/>
                      <a:pt x="26" y="90"/>
                    </a:cubicBezTo>
                    <a:cubicBezTo>
                      <a:pt x="26" y="90"/>
                      <a:pt x="27" y="91"/>
                      <a:pt x="27" y="91"/>
                    </a:cubicBezTo>
                    <a:cubicBezTo>
                      <a:pt x="27" y="91"/>
                      <a:pt x="34" y="91"/>
                      <a:pt x="34" y="91"/>
                    </a:cubicBezTo>
                    <a:cubicBezTo>
                      <a:pt x="34" y="91"/>
                      <a:pt x="34" y="91"/>
                      <a:pt x="34" y="91"/>
                    </a:cubicBezTo>
                    <a:cubicBezTo>
                      <a:pt x="35" y="92"/>
                      <a:pt x="36" y="92"/>
                      <a:pt x="36" y="92"/>
                    </a:cubicBezTo>
                    <a:cubicBezTo>
                      <a:pt x="36" y="92"/>
                      <a:pt x="36" y="92"/>
                      <a:pt x="36" y="92"/>
                    </a:cubicBezTo>
                    <a:cubicBezTo>
                      <a:pt x="36" y="93"/>
                      <a:pt x="36" y="93"/>
                      <a:pt x="36" y="93"/>
                    </a:cubicBezTo>
                    <a:cubicBezTo>
                      <a:pt x="36" y="93"/>
                      <a:pt x="37" y="94"/>
                      <a:pt x="37" y="94"/>
                    </a:cubicBezTo>
                    <a:cubicBezTo>
                      <a:pt x="37" y="94"/>
                      <a:pt x="37" y="95"/>
                      <a:pt x="37" y="95"/>
                    </a:cubicBezTo>
                    <a:cubicBezTo>
                      <a:pt x="37" y="95"/>
                      <a:pt x="38" y="97"/>
                      <a:pt x="38" y="97"/>
                    </a:cubicBezTo>
                    <a:cubicBezTo>
                      <a:pt x="38" y="97"/>
                      <a:pt x="38" y="95"/>
                      <a:pt x="38" y="95"/>
                    </a:cubicBezTo>
                    <a:cubicBezTo>
                      <a:pt x="38" y="95"/>
                      <a:pt x="39" y="94"/>
                      <a:pt x="39" y="93"/>
                    </a:cubicBezTo>
                    <a:cubicBezTo>
                      <a:pt x="39" y="93"/>
                      <a:pt x="40" y="90"/>
                      <a:pt x="40" y="90"/>
                    </a:cubicBezTo>
                    <a:cubicBezTo>
                      <a:pt x="42" y="90"/>
                      <a:pt x="42" y="90"/>
                      <a:pt x="42" y="90"/>
                    </a:cubicBezTo>
                    <a:cubicBezTo>
                      <a:pt x="42" y="91"/>
                      <a:pt x="42" y="91"/>
                      <a:pt x="42" y="91"/>
                    </a:cubicBezTo>
                    <a:cubicBezTo>
                      <a:pt x="42" y="91"/>
                      <a:pt x="45" y="90"/>
                      <a:pt x="45" y="90"/>
                    </a:cubicBezTo>
                    <a:cubicBezTo>
                      <a:pt x="45" y="90"/>
                      <a:pt x="48" y="90"/>
                      <a:pt x="48" y="90"/>
                    </a:cubicBezTo>
                    <a:cubicBezTo>
                      <a:pt x="48" y="91"/>
                      <a:pt x="48" y="91"/>
                      <a:pt x="48" y="91"/>
                    </a:cubicBezTo>
                    <a:cubicBezTo>
                      <a:pt x="49" y="92"/>
                      <a:pt x="49" y="92"/>
                      <a:pt x="49" y="92"/>
                    </a:cubicBezTo>
                    <a:cubicBezTo>
                      <a:pt x="52" y="83"/>
                      <a:pt x="52" y="83"/>
                      <a:pt x="52" y="83"/>
                    </a:cubicBezTo>
                    <a:cubicBezTo>
                      <a:pt x="52" y="79"/>
                      <a:pt x="52" y="79"/>
                      <a:pt x="52" y="79"/>
                    </a:cubicBezTo>
                    <a:cubicBezTo>
                      <a:pt x="55" y="75"/>
                      <a:pt x="55" y="75"/>
                      <a:pt x="55" y="75"/>
                    </a:cubicBezTo>
                    <a:cubicBezTo>
                      <a:pt x="56" y="72"/>
                      <a:pt x="56" y="72"/>
                      <a:pt x="56" y="72"/>
                    </a:cubicBezTo>
                    <a:cubicBezTo>
                      <a:pt x="68" y="70"/>
                      <a:pt x="68" y="70"/>
                      <a:pt x="68" y="70"/>
                    </a:cubicBezTo>
                    <a:cubicBezTo>
                      <a:pt x="75" y="70"/>
                      <a:pt x="75" y="70"/>
                      <a:pt x="75" y="70"/>
                    </a:cubicBezTo>
                    <a:cubicBezTo>
                      <a:pt x="81" y="74"/>
                      <a:pt x="81" y="74"/>
                      <a:pt x="81" y="74"/>
                    </a:cubicBezTo>
                    <a:cubicBezTo>
                      <a:pt x="81" y="74"/>
                      <a:pt x="81" y="74"/>
                      <a:pt x="81" y="74"/>
                    </a:cubicBezTo>
                    <a:cubicBezTo>
                      <a:pt x="81" y="74"/>
                      <a:pt x="81" y="74"/>
                      <a:pt x="81" y="74"/>
                    </a:cubicBezTo>
                    <a:cubicBezTo>
                      <a:pt x="81" y="74"/>
                      <a:pt x="81" y="75"/>
                      <a:pt x="81" y="75"/>
                    </a:cubicBezTo>
                    <a:cubicBezTo>
                      <a:pt x="81" y="75"/>
                      <a:pt x="81" y="76"/>
                      <a:pt x="81" y="76"/>
                    </a:cubicBezTo>
                    <a:cubicBezTo>
                      <a:pt x="83" y="75"/>
                      <a:pt x="83" y="75"/>
                      <a:pt x="83" y="75"/>
                    </a:cubicBezTo>
                    <a:lnTo>
                      <a:pt x="81"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6" name="Freeform 693">
                <a:extLst>
                  <a:ext uri="{FF2B5EF4-FFF2-40B4-BE49-F238E27FC236}">
                    <a16:creationId xmlns:a16="http://schemas.microsoft.com/office/drawing/2014/main" id="{F5CC656E-04C4-83D0-B10A-21C270F96D2E}"/>
                  </a:ext>
                </a:extLst>
              </p:cNvPr>
              <p:cNvSpPr>
                <a:spLocks noEditPoints="1"/>
              </p:cNvSpPr>
              <p:nvPr/>
            </p:nvSpPr>
            <p:spPr bwMode="auto">
              <a:xfrm>
                <a:off x="3286126" y="5521325"/>
                <a:ext cx="582612" cy="1290638"/>
              </a:xfrm>
              <a:custGeom>
                <a:avLst/>
                <a:gdLst>
                  <a:gd name="T0" fmla="*/ 38 w 140"/>
                  <a:gd name="T1" fmla="*/ 308 h 310"/>
                  <a:gd name="T2" fmla="*/ 46 w 140"/>
                  <a:gd name="T3" fmla="*/ 299 h 310"/>
                  <a:gd name="T4" fmla="*/ 64 w 140"/>
                  <a:gd name="T5" fmla="*/ 307 h 310"/>
                  <a:gd name="T6" fmla="*/ 62 w 140"/>
                  <a:gd name="T7" fmla="*/ 308 h 310"/>
                  <a:gd name="T8" fmla="*/ 65 w 140"/>
                  <a:gd name="T9" fmla="*/ 307 h 310"/>
                  <a:gd name="T10" fmla="*/ 68 w 140"/>
                  <a:gd name="T11" fmla="*/ 307 h 310"/>
                  <a:gd name="T12" fmla="*/ 135 w 140"/>
                  <a:gd name="T13" fmla="*/ 30 h 310"/>
                  <a:gd name="T14" fmla="*/ 130 w 140"/>
                  <a:gd name="T15" fmla="*/ 40 h 310"/>
                  <a:gd name="T16" fmla="*/ 118 w 140"/>
                  <a:gd name="T17" fmla="*/ 45 h 310"/>
                  <a:gd name="T18" fmla="*/ 107 w 140"/>
                  <a:gd name="T19" fmla="*/ 39 h 310"/>
                  <a:gd name="T20" fmla="*/ 108 w 140"/>
                  <a:gd name="T21" fmla="*/ 25 h 310"/>
                  <a:gd name="T22" fmla="*/ 79 w 140"/>
                  <a:gd name="T23" fmla="*/ 7 h 310"/>
                  <a:gd name="T24" fmla="*/ 63 w 140"/>
                  <a:gd name="T25" fmla="*/ 4 h 310"/>
                  <a:gd name="T26" fmla="*/ 46 w 140"/>
                  <a:gd name="T27" fmla="*/ 7 h 310"/>
                  <a:gd name="T28" fmla="*/ 36 w 140"/>
                  <a:gd name="T29" fmla="*/ 26 h 310"/>
                  <a:gd name="T30" fmla="*/ 33 w 140"/>
                  <a:gd name="T31" fmla="*/ 43 h 310"/>
                  <a:gd name="T32" fmla="*/ 26 w 140"/>
                  <a:gd name="T33" fmla="*/ 58 h 310"/>
                  <a:gd name="T34" fmla="*/ 23 w 140"/>
                  <a:gd name="T35" fmla="*/ 74 h 310"/>
                  <a:gd name="T36" fmla="*/ 22 w 140"/>
                  <a:gd name="T37" fmla="*/ 84 h 310"/>
                  <a:gd name="T38" fmla="*/ 26 w 140"/>
                  <a:gd name="T39" fmla="*/ 99 h 310"/>
                  <a:gd name="T40" fmla="*/ 22 w 140"/>
                  <a:gd name="T41" fmla="*/ 112 h 310"/>
                  <a:gd name="T42" fmla="*/ 18 w 140"/>
                  <a:gd name="T43" fmla="*/ 120 h 310"/>
                  <a:gd name="T44" fmla="*/ 16 w 140"/>
                  <a:gd name="T45" fmla="*/ 128 h 310"/>
                  <a:gd name="T46" fmla="*/ 18 w 140"/>
                  <a:gd name="T47" fmla="*/ 140 h 310"/>
                  <a:gd name="T48" fmla="*/ 12 w 140"/>
                  <a:gd name="T49" fmla="*/ 153 h 310"/>
                  <a:gd name="T50" fmla="*/ 11 w 140"/>
                  <a:gd name="T51" fmla="*/ 163 h 310"/>
                  <a:gd name="T52" fmla="*/ 10 w 140"/>
                  <a:gd name="T53" fmla="*/ 174 h 310"/>
                  <a:gd name="T54" fmla="*/ 13 w 140"/>
                  <a:gd name="T55" fmla="*/ 185 h 310"/>
                  <a:gd name="T56" fmla="*/ 16 w 140"/>
                  <a:gd name="T57" fmla="*/ 195 h 310"/>
                  <a:gd name="T58" fmla="*/ 15 w 140"/>
                  <a:gd name="T59" fmla="*/ 203 h 310"/>
                  <a:gd name="T60" fmla="*/ 12 w 140"/>
                  <a:gd name="T61" fmla="*/ 213 h 310"/>
                  <a:gd name="T62" fmla="*/ 8 w 140"/>
                  <a:gd name="T63" fmla="*/ 224 h 310"/>
                  <a:gd name="T64" fmla="*/ 8 w 140"/>
                  <a:gd name="T65" fmla="*/ 233 h 310"/>
                  <a:gd name="T66" fmla="*/ 0 w 140"/>
                  <a:gd name="T67" fmla="*/ 253 h 310"/>
                  <a:gd name="T68" fmla="*/ 7 w 140"/>
                  <a:gd name="T69" fmla="*/ 258 h 310"/>
                  <a:gd name="T70" fmla="*/ 8 w 140"/>
                  <a:gd name="T71" fmla="*/ 267 h 310"/>
                  <a:gd name="T72" fmla="*/ 26 w 140"/>
                  <a:gd name="T73" fmla="*/ 274 h 310"/>
                  <a:gd name="T74" fmla="*/ 28 w 140"/>
                  <a:gd name="T75" fmla="*/ 269 h 310"/>
                  <a:gd name="T76" fmla="*/ 33 w 140"/>
                  <a:gd name="T77" fmla="*/ 255 h 310"/>
                  <a:gd name="T78" fmla="*/ 41 w 140"/>
                  <a:gd name="T79" fmla="*/ 247 h 310"/>
                  <a:gd name="T80" fmla="*/ 44 w 140"/>
                  <a:gd name="T81" fmla="*/ 239 h 310"/>
                  <a:gd name="T82" fmla="*/ 53 w 140"/>
                  <a:gd name="T83" fmla="*/ 231 h 310"/>
                  <a:gd name="T84" fmla="*/ 44 w 140"/>
                  <a:gd name="T85" fmla="*/ 216 h 310"/>
                  <a:gd name="T86" fmla="*/ 49 w 140"/>
                  <a:gd name="T87" fmla="*/ 202 h 310"/>
                  <a:gd name="T88" fmla="*/ 55 w 140"/>
                  <a:gd name="T89" fmla="*/ 198 h 310"/>
                  <a:gd name="T90" fmla="*/ 58 w 140"/>
                  <a:gd name="T91" fmla="*/ 186 h 310"/>
                  <a:gd name="T92" fmla="*/ 60 w 140"/>
                  <a:gd name="T93" fmla="*/ 176 h 310"/>
                  <a:gd name="T94" fmla="*/ 69 w 140"/>
                  <a:gd name="T95" fmla="*/ 178 h 310"/>
                  <a:gd name="T96" fmla="*/ 67 w 140"/>
                  <a:gd name="T97" fmla="*/ 174 h 310"/>
                  <a:gd name="T98" fmla="*/ 59 w 140"/>
                  <a:gd name="T99" fmla="*/ 159 h 310"/>
                  <a:gd name="T100" fmla="*/ 78 w 140"/>
                  <a:gd name="T101" fmla="*/ 157 h 310"/>
                  <a:gd name="T102" fmla="*/ 80 w 140"/>
                  <a:gd name="T103" fmla="*/ 145 h 310"/>
                  <a:gd name="T104" fmla="*/ 102 w 140"/>
                  <a:gd name="T105" fmla="*/ 139 h 310"/>
                  <a:gd name="T106" fmla="*/ 114 w 140"/>
                  <a:gd name="T107" fmla="*/ 114 h 310"/>
                  <a:gd name="T108" fmla="*/ 106 w 140"/>
                  <a:gd name="T109" fmla="*/ 92 h 310"/>
                  <a:gd name="T110" fmla="*/ 108 w 140"/>
                  <a:gd name="T111" fmla="*/ 81 h 310"/>
                  <a:gd name="T112" fmla="*/ 110 w 140"/>
                  <a:gd name="T113" fmla="*/ 71 h 310"/>
                  <a:gd name="T114" fmla="*/ 120 w 140"/>
                  <a:gd name="T115" fmla="*/ 58 h 310"/>
                  <a:gd name="T116" fmla="*/ 128 w 140"/>
                  <a:gd name="T117" fmla="*/ 49 h 310"/>
                  <a:gd name="T118" fmla="*/ 136 w 140"/>
                  <a:gd name="T119" fmla="*/ 4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310">
                    <a:moveTo>
                      <a:pt x="59" y="306"/>
                    </a:moveTo>
                    <a:cubicBezTo>
                      <a:pt x="59" y="306"/>
                      <a:pt x="58" y="307"/>
                      <a:pt x="58" y="307"/>
                    </a:cubicBezTo>
                    <a:cubicBezTo>
                      <a:pt x="58" y="308"/>
                      <a:pt x="58" y="308"/>
                      <a:pt x="57" y="308"/>
                    </a:cubicBezTo>
                    <a:cubicBezTo>
                      <a:pt x="57" y="309"/>
                      <a:pt x="56" y="309"/>
                      <a:pt x="56" y="309"/>
                    </a:cubicBezTo>
                    <a:cubicBezTo>
                      <a:pt x="56" y="309"/>
                      <a:pt x="55" y="309"/>
                      <a:pt x="55" y="309"/>
                    </a:cubicBezTo>
                    <a:cubicBezTo>
                      <a:pt x="55" y="309"/>
                      <a:pt x="55" y="308"/>
                      <a:pt x="54" y="308"/>
                    </a:cubicBezTo>
                    <a:cubicBezTo>
                      <a:pt x="54" y="309"/>
                      <a:pt x="53" y="309"/>
                      <a:pt x="53" y="309"/>
                    </a:cubicBezTo>
                    <a:cubicBezTo>
                      <a:pt x="53" y="309"/>
                      <a:pt x="52" y="309"/>
                      <a:pt x="51" y="309"/>
                    </a:cubicBezTo>
                    <a:cubicBezTo>
                      <a:pt x="51" y="309"/>
                      <a:pt x="50" y="310"/>
                      <a:pt x="50" y="310"/>
                    </a:cubicBezTo>
                    <a:cubicBezTo>
                      <a:pt x="49" y="310"/>
                      <a:pt x="49" y="310"/>
                      <a:pt x="49" y="310"/>
                    </a:cubicBezTo>
                    <a:cubicBezTo>
                      <a:pt x="49" y="310"/>
                      <a:pt x="47" y="309"/>
                      <a:pt x="47" y="309"/>
                    </a:cubicBezTo>
                    <a:cubicBezTo>
                      <a:pt x="47" y="309"/>
                      <a:pt x="46" y="309"/>
                      <a:pt x="46" y="309"/>
                    </a:cubicBezTo>
                    <a:cubicBezTo>
                      <a:pt x="46" y="308"/>
                      <a:pt x="45" y="308"/>
                      <a:pt x="44" y="308"/>
                    </a:cubicBezTo>
                    <a:cubicBezTo>
                      <a:pt x="44" y="308"/>
                      <a:pt x="43" y="308"/>
                      <a:pt x="43" y="308"/>
                    </a:cubicBezTo>
                    <a:cubicBezTo>
                      <a:pt x="43" y="308"/>
                      <a:pt x="42" y="308"/>
                      <a:pt x="41" y="308"/>
                    </a:cubicBezTo>
                    <a:cubicBezTo>
                      <a:pt x="40" y="308"/>
                      <a:pt x="38" y="308"/>
                      <a:pt x="38" y="308"/>
                    </a:cubicBezTo>
                    <a:cubicBezTo>
                      <a:pt x="38" y="307"/>
                      <a:pt x="37" y="307"/>
                      <a:pt x="37" y="307"/>
                    </a:cubicBezTo>
                    <a:cubicBezTo>
                      <a:pt x="36" y="307"/>
                      <a:pt x="35" y="307"/>
                      <a:pt x="35" y="308"/>
                    </a:cubicBezTo>
                    <a:cubicBezTo>
                      <a:pt x="35" y="308"/>
                      <a:pt x="35" y="308"/>
                      <a:pt x="34" y="308"/>
                    </a:cubicBezTo>
                    <a:cubicBezTo>
                      <a:pt x="34" y="281"/>
                      <a:pt x="34" y="281"/>
                      <a:pt x="34" y="281"/>
                    </a:cubicBezTo>
                    <a:cubicBezTo>
                      <a:pt x="35" y="282"/>
                      <a:pt x="37" y="285"/>
                      <a:pt x="37" y="285"/>
                    </a:cubicBezTo>
                    <a:cubicBezTo>
                      <a:pt x="37" y="285"/>
                      <a:pt x="36" y="286"/>
                      <a:pt x="36" y="286"/>
                    </a:cubicBezTo>
                    <a:cubicBezTo>
                      <a:pt x="35" y="287"/>
                      <a:pt x="35" y="288"/>
                      <a:pt x="35" y="288"/>
                    </a:cubicBezTo>
                    <a:cubicBezTo>
                      <a:pt x="35" y="288"/>
                      <a:pt x="36" y="289"/>
                      <a:pt x="36" y="289"/>
                    </a:cubicBezTo>
                    <a:cubicBezTo>
                      <a:pt x="36" y="289"/>
                      <a:pt x="38" y="289"/>
                      <a:pt x="38" y="289"/>
                    </a:cubicBezTo>
                    <a:cubicBezTo>
                      <a:pt x="38" y="290"/>
                      <a:pt x="38" y="290"/>
                      <a:pt x="38" y="291"/>
                    </a:cubicBezTo>
                    <a:cubicBezTo>
                      <a:pt x="38" y="291"/>
                      <a:pt x="39" y="293"/>
                      <a:pt x="39" y="293"/>
                    </a:cubicBezTo>
                    <a:cubicBezTo>
                      <a:pt x="40" y="293"/>
                      <a:pt x="41" y="295"/>
                      <a:pt x="41" y="295"/>
                    </a:cubicBezTo>
                    <a:cubicBezTo>
                      <a:pt x="41" y="295"/>
                      <a:pt x="42" y="295"/>
                      <a:pt x="42" y="295"/>
                    </a:cubicBezTo>
                    <a:cubicBezTo>
                      <a:pt x="42" y="296"/>
                      <a:pt x="42" y="296"/>
                      <a:pt x="42" y="296"/>
                    </a:cubicBezTo>
                    <a:cubicBezTo>
                      <a:pt x="42" y="296"/>
                      <a:pt x="44" y="298"/>
                      <a:pt x="44" y="298"/>
                    </a:cubicBezTo>
                    <a:cubicBezTo>
                      <a:pt x="45" y="298"/>
                      <a:pt x="45" y="299"/>
                      <a:pt x="46" y="299"/>
                    </a:cubicBezTo>
                    <a:cubicBezTo>
                      <a:pt x="46" y="299"/>
                      <a:pt x="47" y="300"/>
                      <a:pt x="47" y="300"/>
                    </a:cubicBezTo>
                    <a:cubicBezTo>
                      <a:pt x="47" y="300"/>
                      <a:pt x="47" y="300"/>
                      <a:pt x="48" y="301"/>
                    </a:cubicBezTo>
                    <a:cubicBezTo>
                      <a:pt x="48" y="301"/>
                      <a:pt x="49" y="302"/>
                      <a:pt x="49" y="302"/>
                    </a:cubicBezTo>
                    <a:cubicBezTo>
                      <a:pt x="49" y="302"/>
                      <a:pt x="49" y="303"/>
                      <a:pt x="50" y="303"/>
                    </a:cubicBezTo>
                    <a:cubicBezTo>
                      <a:pt x="50" y="303"/>
                      <a:pt x="52" y="304"/>
                      <a:pt x="53" y="305"/>
                    </a:cubicBezTo>
                    <a:cubicBezTo>
                      <a:pt x="53" y="305"/>
                      <a:pt x="54" y="305"/>
                      <a:pt x="55" y="305"/>
                    </a:cubicBezTo>
                    <a:cubicBezTo>
                      <a:pt x="55" y="305"/>
                      <a:pt x="56" y="305"/>
                      <a:pt x="57" y="305"/>
                    </a:cubicBezTo>
                    <a:cubicBezTo>
                      <a:pt x="57" y="305"/>
                      <a:pt x="58" y="305"/>
                      <a:pt x="58" y="305"/>
                    </a:cubicBezTo>
                    <a:cubicBezTo>
                      <a:pt x="58" y="305"/>
                      <a:pt x="59" y="305"/>
                      <a:pt x="59" y="306"/>
                    </a:cubicBezTo>
                    <a:close/>
                    <a:moveTo>
                      <a:pt x="68" y="306"/>
                    </a:moveTo>
                    <a:cubicBezTo>
                      <a:pt x="68" y="306"/>
                      <a:pt x="68" y="306"/>
                      <a:pt x="68" y="306"/>
                    </a:cubicBezTo>
                    <a:cubicBezTo>
                      <a:pt x="67" y="306"/>
                      <a:pt x="66" y="306"/>
                      <a:pt x="66" y="306"/>
                    </a:cubicBezTo>
                    <a:cubicBezTo>
                      <a:pt x="65" y="306"/>
                      <a:pt x="65" y="306"/>
                      <a:pt x="65" y="306"/>
                    </a:cubicBezTo>
                    <a:cubicBezTo>
                      <a:pt x="65" y="306"/>
                      <a:pt x="65" y="306"/>
                      <a:pt x="65" y="306"/>
                    </a:cubicBezTo>
                    <a:cubicBezTo>
                      <a:pt x="64" y="306"/>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6"/>
                      <a:pt x="63" y="306"/>
                    </a:cubicBezTo>
                    <a:cubicBezTo>
                      <a:pt x="63" y="306"/>
                      <a:pt x="63" y="306"/>
                      <a:pt x="63" y="306"/>
                    </a:cubicBezTo>
                    <a:cubicBezTo>
                      <a:pt x="63" y="307"/>
                      <a:pt x="63" y="307"/>
                      <a:pt x="63" y="307"/>
                    </a:cubicBezTo>
                    <a:cubicBezTo>
                      <a:pt x="63" y="307"/>
                      <a:pt x="63" y="307"/>
                      <a:pt x="63" y="307"/>
                    </a:cubicBezTo>
                    <a:cubicBezTo>
                      <a:pt x="63" y="307"/>
                      <a:pt x="63" y="307"/>
                      <a:pt x="63" y="307"/>
                    </a:cubicBezTo>
                    <a:cubicBezTo>
                      <a:pt x="63" y="307"/>
                      <a:pt x="62" y="307"/>
                      <a:pt x="62" y="307"/>
                    </a:cubicBezTo>
                    <a:cubicBezTo>
                      <a:pt x="62" y="307"/>
                      <a:pt x="62" y="307"/>
                      <a:pt x="62" y="307"/>
                    </a:cubicBezTo>
                    <a:cubicBezTo>
                      <a:pt x="62" y="307"/>
                      <a:pt x="62" y="307"/>
                      <a:pt x="62" y="307"/>
                    </a:cubicBezTo>
                    <a:cubicBezTo>
                      <a:pt x="62" y="307"/>
                      <a:pt x="62" y="308"/>
                      <a:pt x="62" y="308"/>
                    </a:cubicBezTo>
                    <a:cubicBezTo>
                      <a:pt x="62" y="308"/>
                      <a:pt x="62" y="308"/>
                      <a:pt x="62" y="308"/>
                    </a:cubicBezTo>
                    <a:cubicBezTo>
                      <a:pt x="62" y="308"/>
                      <a:pt x="62" y="308"/>
                      <a:pt x="62" y="308"/>
                    </a:cubicBezTo>
                    <a:cubicBezTo>
                      <a:pt x="62" y="308"/>
                      <a:pt x="62" y="308"/>
                      <a:pt x="62" y="308"/>
                    </a:cubicBezTo>
                    <a:cubicBezTo>
                      <a:pt x="62" y="308"/>
                      <a:pt x="62" y="308"/>
                      <a:pt x="62"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4" y="308"/>
                      <a:pt x="64" y="308"/>
                      <a:pt x="64" y="308"/>
                    </a:cubicBezTo>
                    <a:cubicBezTo>
                      <a:pt x="64" y="308"/>
                      <a:pt x="64" y="308"/>
                      <a:pt x="64" y="308"/>
                    </a:cubicBezTo>
                    <a:cubicBezTo>
                      <a:pt x="64" y="308"/>
                      <a:pt x="64" y="308"/>
                      <a:pt x="65" y="308"/>
                    </a:cubicBezTo>
                    <a:cubicBezTo>
                      <a:pt x="65" y="308"/>
                      <a:pt x="65" y="308"/>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8"/>
                      <a:pt x="66" y="308"/>
                      <a:pt x="66" y="307"/>
                    </a:cubicBezTo>
                    <a:cubicBezTo>
                      <a:pt x="66" y="307"/>
                      <a:pt x="66" y="307"/>
                      <a:pt x="66" y="307"/>
                    </a:cubicBezTo>
                    <a:cubicBezTo>
                      <a:pt x="66" y="307"/>
                      <a:pt x="66" y="307"/>
                      <a:pt x="66" y="307"/>
                    </a:cubicBezTo>
                    <a:cubicBezTo>
                      <a:pt x="66" y="307"/>
                      <a:pt x="66" y="307"/>
                      <a:pt x="66"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6"/>
                      <a:pt x="68" y="306"/>
                      <a:pt x="68" y="306"/>
                    </a:cubicBezTo>
                    <a:close/>
                    <a:moveTo>
                      <a:pt x="139" y="37"/>
                    </a:moveTo>
                    <a:cubicBezTo>
                      <a:pt x="139" y="37"/>
                      <a:pt x="140" y="37"/>
                      <a:pt x="140" y="36"/>
                    </a:cubicBezTo>
                    <a:cubicBezTo>
                      <a:pt x="140" y="36"/>
                      <a:pt x="140" y="36"/>
                      <a:pt x="140" y="36"/>
                    </a:cubicBezTo>
                    <a:cubicBezTo>
                      <a:pt x="140" y="36"/>
                      <a:pt x="140" y="35"/>
                      <a:pt x="140" y="35"/>
                    </a:cubicBezTo>
                    <a:cubicBezTo>
                      <a:pt x="140" y="35"/>
                      <a:pt x="139" y="34"/>
                      <a:pt x="139" y="34"/>
                    </a:cubicBezTo>
                    <a:cubicBezTo>
                      <a:pt x="139" y="34"/>
                      <a:pt x="139" y="33"/>
                      <a:pt x="139" y="33"/>
                    </a:cubicBezTo>
                    <a:cubicBezTo>
                      <a:pt x="138" y="33"/>
                      <a:pt x="138" y="32"/>
                      <a:pt x="138" y="32"/>
                    </a:cubicBezTo>
                    <a:cubicBezTo>
                      <a:pt x="138" y="32"/>
                      <a:pt x="138" y="31"/>
                      <a:pt x="138" y="31"/>
                    </a:cubicBezTo>
                    <a:cubicBezTo>
                      <a:pt x="138" y="30"/>
                      <a:pt x="138" y="30"/>
                      <a:pt x="138" y="30"/>
                    </a:cubicBezTo>
                    <a:cubicBezTo>
                      <a:pt x="138" y="30"/>
                      <a:pt x="138" y="30"/>
                      <a:pt x="137" y="30"/>
                    </a:cubicBezTo>
                    <a:cubicBezTo>
                      <a:pt x="137" y="30"/>
                      <a:pt x="137" y="30"/>
                      <a:pt x="137" y="30"/>
                    </a:cubicBezTo>
                    <a:cubicBezTo>
                      <a:pt x="137" y="30"/>
                      <a:pt x="137" y="29"/>
                      <a:pt x="137" y="29"/>
                    </a:cubicBezTo>
                    <a:cubicBezTo>
                      <a:pt x="137" y="29"/>
                      <a:pt x="136" y="29"/>
                      <a:pt x="136" y="29"/>
                    </a:cubicBezTo>
                    <a:cubicBezTo>
                      <a:pt x="136" y="30"/>
                      <a:pt x="136" y="30"/>
                      <a:pt x="136" y="30"/>
                    </a:cubicBezTo>
                    <a:cubicBezTo>
                      <a:pt x="135" y="30"/>
                      <a:pt x="135" y="30"/>
                      <a:pt x="135" y="30"/>
                    </a:cubicBezTo>
                    <a:cubicBezTo>
                      <a:pt x="134" y="31"/>
                      <a:pt x="134" y="31"/>
                      <a:pt x="134" y="31"/>
                    </a:cubicBezTo>
                    <a:cubicBezTo>
                      <a:pt x="134" y="30"/>
                      <a:pt x="134" y="30"/>
                      <a:pt x="134" y="30"/>
                    </a:cubicBezTo>
                    <a:cubicBezTo>
                      <a:pt x="133" y="30"/>
                      <a:pt x="133" y="30"/>
                      <a:pt x="133" y="30"/>
                    </a:cubicBezTo>
                    <a:cubicBezTo>
                      <a:pt x="133" y="30"/>
                      <a:pt x="133" y="30"/>
                      <a:pt x="133" y="30"/>
                    </a:cubicBezTo>
                    <a:cubicBezTo>
                      <a:pt x="133" y="30"/>
                      <a:pt x="133" y="31"/>
                      <a:pt x="133" y="31"/>
                    </a:cubicBezTo>
                    <a:cubicBezTo>
                      <a:pt x="133" y="31"/>
                      <a:pt x="133" y="31"/>
                      <a:pt x="133" y="31"/>
                    </a:cubicBezTo>
                    <a:cubicBezTo>
                      <a:pt x="133" y="31"/>
                      <a:pt x="133" y="32"/>
                      <a:pt x="133" y="32"/>
                    </a:cubicBezTo>
                    <a:cubicBezTo>
                      <a:pt x="133" y="32"/>
                      <a:pt x="133" y="33"/>
                      <a:pt x="133" y="33"/>
                    </a:cubicBezTo>
                    <a:cubicBezTo>
                      <a:pt x="133" y="33"/>
                      <a:pt x="133" y="33"/>
                      <a:pt x="133" y="33"/>
                    </a:cubicBezTo>
                    <a:cubicBezTo>
                      <a:pt x="133" y="33"/>
                      <a:pt x="133" y="34"/>
                      <a:pt x="133" y="34"/>
                    </a:cubicBezTo>
                    <a:cubicBezTo>
                      <a:pt x="133" y="34"/>
                      <a:pt x="133" y="35"/>
                      <a:pt x="133" y="35"/>
                    </a:cubicBezTo>
                    <a:cubicBezTo>
                      <a:pt x="132" y="38"/>
                      <a:pt x="132" y="38"/>
                      <a:pt x="132" y="38"/>
                    </a:cubicBezTo>
                    <a:cubicBezTo>
                      <a:pt x="131" y="38"/>
                      <a:pt x="131" y="38"/>
                      <a:pt x="131" y="38"/>
                    </a:cubicBezTo>
                    <a:cubicBezTo>
                      <a:pt x="131" y="38"/>
                      <a:pt x="131" y="38"/>
                      <a:pt x="130" y="39"/>
                    </a:cubicBezTo>
                    <a:cubicBezTo>
                      <a:pt x="130" y="39"/>
                      <a:pt x="131" y="39"/>
                      <a:pt x="130" y="39"/>
                    </a:cubicBezTo>
                    <a:cubicBezTo>
                      <a:pt x="130" y="39"/>
                      <a:pt x="130" y="39"/>
                      <a:pt x="130" y="40"/>
                    </a:cubicBezTo>
                    <a:cubicBezTo>
                      <a:pt x="129" y="40"/>
                      <a:pt x="129" y="40"/>
                      <a:pt x="129" y="40"/>
                    </a:cubicBezTo>
                    <a:cubicBezTo>
                      <a:pt x="129" y="40"/>
                      <a:pt x="128" y="40"/>
                      <a:pt x="128" y="41"/>
                    </a:cubicBezTo>
                    <a:cubicBezTo>
                      <a:pt x="128" y="41"/>
                      <a:pt x="127" y="41"/>
                      <a:pt x="127" y="41"/>
                    </a:cubicBezTo>
                    <a:cubicBezTo>
                      <a:pt x="127" y="42"/>
                      <a:pt x="127" y="42"/>
                      <a:pt x="127" y="42"/>
                    </a:cubicBezTo>
                    <a:cubicBezTo>
                      <a:pt x="127" y="42"/>
                      <a:pt x="126" y="42"/>
                      <a:pt x="126" y="42"/>
                    </a:cubicBezTo>
                    <a:cubicBezTo>
                      <a:pt x="126" y="42"/>
                      <a:pt x="126" y="43"/>
                      <a:pt x="126" y="43"/>
                    </a:cubicBezTo>
                    <a:cubicBezTo>
                      <a:pt x="126" y="43"/>
                      <a:pt x="126" y="44"/>
                      <a:pt x="126" y="44"/>
                    </a:cubicBezTo>
                    <a:cubicBezTo>
                      <a:pt x="126" y="44"/>
                      <a:pt x="125" y="44"/>
                      <a:pt x="125" y="44"/>
                    </a:cubicBezTo>
                    <a:cubicBezTo>
                      <a:pt x="125" y="44"/>
                      <a:pt x="124" y="44"/>
                      <a:pt x="124" y="44"/>
                    </a:cubicBezTo>
                    <a:cubicBezTo>
                      <a:pt x="124" y="44"/>
                      <a:pt x="123" y="44"/>
                      <a:pt x="123" y="43"/>
                    </a:cubicBezTo>
                    <a:cubicBezTo>
                      <a:pt x="123" y="43"/>
                      <a:pt x="122" y="43"/>
                      <a:pt x="122" y="43"/>
                    </a:cubicBezTo>
                    <a:cubicBezTo>
                      <a:pt x="122" y="43"/>
                      <a:pt x="121" y="44"/>
                      <a:pt x="121" y="44"/>
                    </a:cubicBezTo>
                    <a:cubicBezTo>
                      <a:pt x="121" y="44"/>
                      <a:pt x="121" y="45"/>
                      <a:pt x="120" y="45"/>
                    </a:cubicBezTo>
                    <a:cubicBezTo>
                      <a:pt x="120" y="45"/>
                      <a:pt x="120" y="45"/>
                      <a:pt x="120" y="45"/>
                    </a:cubicBezTo>
                    <a:cubicBezTo>
                      <a:pt x="120" y="45"/>
                      <a:pt x="119" y="44"/>
                      <a:pt x="119" y="44"/>
                    </a:cubicBezTo>
                    <a:cubicBezTo>
                      <a:pt x="119" y="44"/>
                      <a:pt x="118" y="45"/>
                      <a:pt x="118" y="45"/>
                    </a:cubicBezTo>
                    <a:cubicBezTo>
                      <a:pt x="118" y="45"/>
                      <a:pt x="117" y="45"/>
                      <a:pt x="117" y="44"/>
                    </a:cubicBezTo>
                    <a:cubicBezTo>
                      <a:pt x="117" y="44"/>
                      <a:pt x="117" y="44"/>
                      <a:pt x="117" y="44"/>
                    </a:cubicBezTo>
                    <a:cubicBezTo>
                      <a:pt x="116" y="45"/>
                      <a:pt x="116" y="45"/>
                      <a:pt x="116" y="45"/>
                    </a:cubicBezTo>
                    <a:cubicBezTo>
                      <a:pt x="115" y="45"/>
                      <a:pt x="115" y="45"/>
                      <a:pt x="115" y="45"/>
                    </a:cubicBezTo>
                    <a:cubicBezTo>
                      <a:pt x="109" y="43"/>
                      <a:pt x="109" y="43"/>
                      <a:pt x="109" y="43"/>
                    </a:cubicBezTo>
                    <a:cubicBezTo>
                      <a:pt x="105" y="43"/>
                      <a:pt x="105" y="43"/>
                      <a:pt x="105" y="43"/>
                    </a:cubicBezTo>
                    <a:cubicBezTo>
                      <a:pt x="105" y="43"/>
                      <a:pt x="105" y="43"/>
                      <a:pt x="105" y="43"/>
                    </a:cubicBezTo>
                    <a:cubicBezTo>
                      <a:pt x="105" y="43"/>
                      <a:pt x="104" y="42"/>
                      <a:pt x="104" y="42"/>
                    </a:cubicBezTo>
                    <a:cubicBezTo>
                      <a:pt x="104" y="42"/>
                      <a:pt x="105" y="42"/>
                      <a:pt x="105" y="42"/>
                    </a:cubicBezTo>
                    <a:cubicBezTo>
                      <a:pt x="105" y="42"/>
                      <a:pt x="105" y="41"/>
                      <a:pt x="105" y="41"/>
                    </a:cubicBezTo>
                    <a:cubicBezTo>
                      <a:pt x="105" y="41"/>
                      <a:pt x="106" y="41"/>
                      <a:pt x="106" y="41"/>
                    </a:cubicBezTo>
                    <a:cubicBezTo>
                      <a:pt x="106" y="40"/>
                      <a:pt x="106" y="40"/>
                      <a:pt x="106" y="40"/>
                    </a:cubicBezTo>
                    <a:cubicBezTo>
                      <a:pt x="106" y="40"/>
                      <a:pt x="106" y="40"/>
                      <a:pt x="106" y="40"/>
                    </a:cubicBezTo>
                    <a:cubicBezTo>
                      <a:pt x="106" y="40"/>
                      <a:pt x="107" y="40"/>
                      <a:pt x="107" y="40"/>
                    </a:cubicBezTo>
                    <a:cubicBezTo>
                      <a:pt x="107" y="40"/>
                      <a:pt x="107" y="40"/>
                      <a:pt x="107" y="40"/>
                    </a:cubicBezTo>
                    <a:cubicBezTo>
                      <a:pt x="107" y="40"/>
                      <a:pt x="107" y="39"/>
                      <a:pt x="107" y="39"/>
                    </a:cubicBezTo>
                    <a:cubicBezTo>
                      <a:pt x="107" y="39"/>
                      <a:pt x="107" y="39"/>
                      <a:pt x="107" y="39"/>
                    </a:cubicBezTo>
                    <a:cubicBezTo>
                      <a:pt x="107" y="39"/>
                      <a:pt x="107" y="38"/>
                      <a:pt x="108" y="38"/>
                    </a:cubicBezTo>
                    <a:cubicBezTo>
                      <a:pt x="108" y="38"/>
                      <a:pt x="108" y="38"/>
                      <a:pt x="108" y="38"/>
                    </a:cubicBezTo>
                    <a:cubicBezTo>
                      <a:pt x="108" y="36"/>
                      <a:pt x="108" y="36"/>
                      <a:pt x="108" y="36"/>
                    </a:cubicBezTo>
                    <a:cubicBezTo>
                      <a:pt x="108" y="36"/>
                      <a:pt x="108" y="35"/>
                      <a:pt x="108" y="35"/>
                    </a:cubicBezTo>
                    <a:cubicBezTo>
                      <a:pt x="108" y="35"/>
                      <a:pt x="108" y="35"/>
                      <a:pt x="108" y="35"/>
                    </a:cubicBezTo>
                    <a:cubicBezTo>
                      <a:pt x="108" y="35"/>
                      <a:pt x="108" y="35"/>
                      <a:pt x="108" y="34"/>
                    </a:cubicBezTo>
                    <a:cubicBezTo>
                      <a:pt x="108" y="34"/>
                      <a:pt x="108" y="34"/>
                      <a:pt x="108" y="34"/>
                    </a:cubicBezTo>
                    <a:cubicBezTo>
                      <a:pt x="108" y="34"/>
                      <a:pt x="110" y="33"/>
                      <a:pt x="110" y="33"/>
                    </a:cubicBezTo>
                    <a:cubicBezTo>
                      <a:pt x="110" y="33"/>
                      <a:pt x="110" y="32"/>
                      <a:pt x="110" y="32"/>
                    </a:cubicBezTo>
                    <a:cubicBezTo>
                      <a:pt x="110" y="32"/>
                      <a:pt x="111" y="32"/>
                      <a:pt x="111" y="32"/>
                    </a:cubicBezTo>
                    <a:cubicBezTo>
                      <a:pt x="111" y="32"/>
                      <a:pt x="111" y="31"/>
                      <a:pt x="111" y="31"/>
                    </a:cubicBezTo>
                    <a:cubicBezTo>
                      <a:pt x="112" y="29"/>
                      <a:pt x="112" y="29"/>
                      <a:pt x="112" y="29"/>
                    </a:cubicBezTo>
                    <a:cubicBezTo>
                      <a:pt x="112" y="28"/>
                      <a:pt x="112" y="28"/>
                      <a:pt x="112" y="28"/>
                    </a:cubicBezTo>
                    <a:cubicBezTo>
                      <a:pt x="110" y="26"/>
                      <a:pt x="110" y="26"/>
                      <a:pt x="110" y="26"/>
                    </a:cubicBezTo>
                    <a:cubicBezTo>
                      <a:pt x="108" y="25"/>
                      <a:pt x="108" y="25"/>
                      <a:pt x="108" y="25"/>
                    </a:cubicBezTo>
                    <a:cubicBezTo>
                      <a:pt x="107" y="25"/>
                      <a:pt x="107" y="25"/>
                      <a:pt x="107" y="25"/>
                    </a:cubicBezTo>
                    <a:cubicBezTo>
                      <a:pt x="106" y="24"/>
                      <a:pt x="106" y="24"/>
                      <a:pt x="106" y="24"/>
                    </a:cubicBezTo>
                    <a:cubicBezTo>
                      <a:pt x="105" y="24"/>
                      <a:pt x="105" y="24"/>
                      <a:pt x="105" y="24"/>
                    </a:cubicBezTo>
                    <a:cubicBezTo>
                      <a:pt x="101" y="22"/>
                      <a:pt x="101" y="22"/>
                      <a:pt x="101" y="22"/>
                    </a:cubicBezTo>
                    <a:cubicBezTo>
                      <a:pt x="99" y="20"/>
                      <a:pt x="99" y="20"/>
                      <a:pt x="99" y="20"/>
                    </a:cubicBezTo>
                    <a:cubicBezTo>
                      <a:pt x="95" y="18"/>
                      <a:pt x="95" y="18"/>
                      <a:pt x="95" y="18"/>
                    </a:cubicBezTo>
                    <a:cubicBezTo>
                      <a:pt x="92" y="18"/>
                      <a:pt x="92" y="18"/>
                      <a:pt x="92" y="18"/>
                    </a:cubicBezTo>
                    <a:cubicBezTo>
                      <a:pt x="88" y="16"/>
                      <a:pt x="88" y="16"/>
                      <a:pt x="88" y="16"/>
                    </a:cubicBezTo>
                    <a:cubicBezTo>
                      <a:pt x="88" y="16"/>
                      <a:pt x="88" y="15"/>
                      <a:pt x="88" y="15"/>
                    </a:cubicBezTo>
                    <a:cubicBezTo>
                      <a:pt x="88" y="15"/>
                      <a:pt x="86" y="13"/>
                      <a:pt x="86" y="13"/>
                    </a:cubicBezTo>
                    <a:cubicBezTo>
                      <a:pt x="85" y="13"/>
                      <a:pt x="85" y="13"/>
                      <a:pt x="85" y="13"/>
                    </a:cubicBezTo>
                    <a:cubicBezTo>
                      <a:pt x="84" y="12"/>
                      <a:pt x="84" y="12"/>
                      <a:pt x="84" y="12"/>
                    </a:cubicBezTo>
                    <a:cubicBezTo>
                      <a:pt x="83" y="12"/>
                      <a:pt x="83" y="12"/>
                      <a:pt x="83" y="12"/>
                    </a:cubicBezTo>
                    <a:cubicBezTo>
                      <a:pt x="81" y="10"/>
                      <a:pt x="81" y="10"/>
                      <a:pt x="81" y="10"/>
                    </a:cubicBezTo>
                    <a:cubicBezTo>
                      <a:pt x="81" y="9"/>
                      <a:pt x="81" y="9"/>
                      <a:pt x="81" y="9"/>
                    </a:cubicBezTo>
                    <a:cubicBezTo>
                      <a:pt x="79" y="7"/>
                      <a:pt x="79" y="7"/>
                      <a:pt x="79" y="7"/>
                    </a:cubicBezTo>
                    <a:cubicBezTo>
                      <a:pt x="79" y="6"/>
                      <a:pt x="79" y="6"/>
                      <a:pt x="79" y="6"/>
                    </a:cubicBezTo>
                    <a:cubicBezTo>
                      <a:pt x="79" y="6"/>
                      <a:pt x="79" y="6"/>
                      <a:pt x="79" y="6"/>
                    </a:cubicBezTo>
                    <a:cubicBezTo>
                      <a:pt x="76" y="4"/>
                      <a:pt x="76" y="4"/>
                      <a:pt x="76" y="4"/>
                    </a:cubicBezTo>
                    <a:cubicBezTo>
                      <a:pt x="75" y="3"/>
                      <a:pt x="75" y="3"/>
                      <a:pt x="75" y="3"/>
                    </a:cubicBezTo>
                    <a:cubicBezTo>
                      <a:pt x="75" y="2"/>
                      <a:pt x="75" y="2"/>
                      <a:pt x="75" y="2"/>
                    </a:cubicBezTo>
                    <a:cubicBezTo>
                      <a:pt x="75" y="2"/>
                      <a:pt x="72" y="2"/>
                      <a:pt x="72" y="2"/>
                    </a:cubicBezTo>
                    <a:cubicBezTo>
                      <a:pt x="72" y="2"/>
                      <a:pt x="69" y="3"/>
                      <a:pt x="69" y="3"/>
                    </a:cubicBezTo>
                    <a:cubicBezTo>
                      <a:pt x="69" y="2"/>
                      <a:pt x="69" y="2"/>
                      <a:pt x="69" y="2"/>
                    </a:cubicBezTo>
                    <a:cubicBezTo>
                      <a:pt x="67" y="2"/>
                      <a:pt x="67" y="2"/>
                      <a:pt x="67" y="2"/>
                    </a:cubicBezTo>
                    <a:cubicBezTo>
                      <a:pt x="67" y="2"/>
                      <a:pt x="66" y="5"/>
                      <a:pt x="66" y="5"/>
                    </a:cubicBezTo>
                    <a:cubicBezTo>
                      <a:pt x="66" y="6"/>
                      <a:pt x="65" y="7"/>
                      <a:pt x="65" y="7"/>
                    </a:cubicBezTo>
                    <a:cubicBezTo>
                      <a:pt x="65" y="7"/>
                      <a:pt x="65" y="9"/>
                      <a:pt x="65" y="9"/>
                    </a:cubicBezTo>
                    <a:cubicBezTo>
                      <a:pt x="65" y="9"/>
                      <a:pt x="64" y="7"/>
                      <a:pt x="64" y="7"/>
                    </a:cubicBezTo>
                    <a:cubicBezTo>
                      <a:pt x="64" y="7"/>
                      <a:pt x="64" y="6"/>
                      <a:pt x="64" y="6"/>
                    </a:cubicBezTo>
                    <a:cubicBezTo>
                      <a:pt x="64" y="6"/>
                      <a:pt x="63" y="5"/>
                      <a:pt x="63" y="5"/>
                    </a:cubicBezTo>
                    <a:cubicBezTo>
                      <a:pt x="63" y="5"/>
                      <a:pt x="63" y="5"/>
                      <a:pt x="63" y="4"/>
                    </a:cubicBezTo>
                    <a:cubicBezTo>
                      <a:pt x="63" y="4"/>
                      <a:pt x="63" y="4"/>
                      <a:pt x="63" y="4"/>
                    </a:cubicBezTo>
                    <a:cubicBezTo>
                      <a:pt x="63" y="4"/>
                      <a:pt x="62" y="4"/>
                      <a:pt x="61" y="3"/>
                    </a:cubicBezTo>
                    <a:cubicBezTo>
                      <a:pt x="61" y="3"/>
                      <a:pt x="61" y="3"/>
                      <a:pt x="61" y="3"/>
                    </a:cubicBezTo>
                    <a:cubicBezTo>
                      <a:pt x="61" y="3"/>
                      <a:pt x="60" y="3"/>
                      <a:pt x="58" y="3"/>
                    </a:cubicBezTo>
                    <a:cubicBezTo>
                      <a:pt x="57" y="3"/>
                      <a:pt x="54" y="3"/>
                      <a:pt x="54" y="3"/>
                    </a:cubicBezTo>
                    <a:cubicBezTo>
                      <a:pt x="54" y="3"/>
                      <a:pt x="53" y="2"/>
                      <a:pt x="53" y="2"/>
                    </a:cubicBezTo>
                    <a:cubicBezTo>
                      <a:pt x="53" y="2"/>
                      <a:pt x="53" y="2"/>
                      <a:pt x="53" y="2"/>
                    </a:cubicBezTo>
                    <a:cubicBezTo>
                      <a:pt x="53" y="2"/>
                      <a:pt x="52" y="1"/>
                      <a:pt x="52" y="1"/>
                    </a:cubicBezTo>
                    <a:cubicBezTo>
                      <a:pt x="51" y="0"/>
                      <a:pt x="51" y="0"/>
                      <a:pt x="51" y="0"/>
                    </a:cubicBezTo>
                    <a:cubicBezTo>
                      <a:pt x="51" y="0"/>
                      <a:pt x="51" y="2"/>
                      <a:pt x="51" y="2"/>
                    </a:cubicBezTo>
                    <a:cubicBezTo>
                      <a:pt x="51" y="2"/>
                      <a:pt x="50" y="3"/>
                      <a:pt x="50" y="3"/>
                    </a:cubicBezTo>
                    <a:cubicBezTo>
                      <a:pt x="50" y="3"/>
                      <a:pt x="49" y="3"/>
                      <a:pt x="49" y="3"/>
                    </a:cubicBezTo>
                    <a:cubicBezTo>
                      <a:pt x="49" y="3"/>
                      <a:pt x="47" y="4"/>
                      <a:pt x="47" y="4"/>
                    </a:cubicBezTo>
                    <a:cubicBezTo>
                      <a:pt x="48" y="5"/>
                      <a:pt x="48" y="5"/>
                      <a:pt x="48" y="5"/>
                    </a:cubicBezTo>
                    <a:cubicBezTo>
                      <a:pt x="46" y="6"/>
                      <a:pt x="46" y="6"/>
                      <a:pt x="46" y="6"/>
                    </a:cubicBezTo>
                    <a:cubicBezTo>
                      <a:pt x="46" y="7"/>
                      <a:pt x="46" y="7"/>
                      <a:pt x="46" y="7"/>
                    </a:cubicBezTo>
                    <a:cubicBezTo>
                      <a:pt x="44" y="8"/>
                      <a:pt x="44" y="8"/>
                      <a:pt x="44" y="8"/>
                    </a:cubicBezTo>
                    <a:cubicBezTo>
                      <a:pt x="46" y="10"/>
                      <a:pt x="46" y="10"/>
                      <a:pt x="46" y="10"/>
                    </a:cubicBezTo>
                    <a:cubicBezTo>
                      <a:pt x="45" y="11"/>
                      <a:pt x="45" y="13"/>
                      <a:pt x="44" y="15"/>
                    </a:cubicBezTo>
                    <a:cubicBezTo>
                      <a:pt x="44" y="15"/>
                      <a:pt x="44" y="16"/>
                      <a:pt x="44" y="17"/>
                    </a:cubicBezTo>
                    <a:cubicBezTo>
                      <a:pt x="44" y="17"/>
                      <a:pt x="43" y="17"/>
                      <a:pt x="43" y="17"/>
                    </a:cubicBezTo>
                    <a:cubicBezTo>
                      <a:pt x="43" y="18"/>
                      <a:pt x="43" y="18"/>
                      <a:pt x="43" y="18"/>
                    </a:cubicBezTo>
                    <a:cubicBezTo>
                      <a:pt x="42" y="18"/>
                      <a:pt x="40" y="19"/>
                      <a:pt x="39" y="20"/>
                    </a:cubicBezTo>
                    <a:cubicBezTo>
                      <a:pt x="39" y="20"/>
                      <a:pt x="38" y="20"/>
                      <a:pt x="38" y="20"/>
                    </a:cubicBezTo>
                    <a:cubicBezTo>
                      <a:pt x="37" y="20"/>
                      <a:pt x="37" y="20"/>
                      <a:pt x="37" y="21"/>
                    </a:cubicBezTo>
                    <a:cubicBezTo>
                      <a:pt x="37" y="21"/>
                      <a:pt x="37" y="21"/>
                      <a:pt x="36" y="21"/>
                    </a:cubicBezTo>
                    <a:cubicBezTo>
                      <a:pt x="36" y="21"/>
                      <a:pt x="36" y="21"/>
                      <a:pt x="36" y="21"/>
                    </a:cubicBezTo>
                    <a:cubicBezTo>
                      <a:pt x="36" y="21"/>
                      <a:pt x="36" y="22"/>
                      <a:pt x="36" y="22"/>
                    </a:cubicBezTo>
                    <a:cubicBezTo>
                      <a:pt x="36" y="22"/>
                      <a:pt x="35" y="22"/>
                      <a:pt x="35" y="22"/>
                    </a:cubicBezTo>
                    <a:cubicBezTo>
                      <a:pt x="35" y="22"/>
                      <a:pt x="35" y="23"/>
                      <a:pt x="35" y="24"/>
                    </a:cubicBezTo>
                    <a:cubicBezTo>
                      <a:pt x="35" y="24"/>
                      <a:pt x="36" y="25"/>
                      <a:pt x="36" y="26"/>
                    </a:cubicBezTo>
                    <a:cubicBezTo>
                      <a:pt x="36" y="26"/>
                      <a:pt x="36" y="26"/>
                      <a:pt x="36" y="26"/>
                    </a:cubicBezTo>
                    <a:cubicBezTo>
                      <a:pt x="36" y="26"/>
                      <a:pt x="36" y="26"/>
                      <a:pt x="35" y="26"/>
                    </a:cubicBezTo>
                    <a:cubicBezTo>
                      <a:pt x="35" y="27"/>
                      <a:pt x="35" y="27"/>
                      <a:pt x="35" y="28"/>
                    </a:cubicBezTo>
                    <a:cubicBezTo>
                      <a:pt x="35" y="28"/>
                      <a:pt x="35" y="28"/>
                      <a:pt x="35" y="29"/>
                    </a:cubicBezTo>
                    <a:cubicBezTo>
                      <a:pt x="35" y="29"/>
                      <a:pt x="35" y="29"/>
                      <a:pt x="35" y="29"/>
                    </a:cubicBezTo>
                    <a:cubicBezTo>
                      <a:pt x="35" y="31"/>
                      <a:pt x="35" y="32"/>
                      <a:pt x="36" y="33"/>
                    </a:cubicBezTo>
                    <a:cubicBezTo>
                      <a:pt x="36" y="33"/>
                      <a:pt x="36" y="34"/>
                      <a:pt x="36" y="34"/>
                    </a:cubicBezTo>
                    <a:cubicBezTo>
                      <a:pt x="36" y="34"/>
                      <a:pt x="35" y="35"/>
                      <a:pt x="35" y="35"/>
                    </a:cubicBezTo>
                    <a:cubicBezTo>
                      <a:pt x="34" y="36"/>
                      <a:pt x="35" y="37"/>
                      <a:pt x="35" y="38"/>
                    </a:cubicBezTo>
                    <a:cubicBezTo>
                      <a:pt x="36" y="39"/>
                      <a:pt x="36" y="39"/>
                      <a:pt x="37" y="40"/>
                    </a:cubicBezTo>
                    <a:cubicBezTo>
                      <a:pt x="37" y="40"/>
                      <a:pt x="37" y="41"/>
                      <a:pt x="37" y="41"/>
                    </a:cubicBezTo>
                    <a:cubicBezTo>
                      <a:pt x="37" y="41"/>
                      <a:pt x="36" y="41"/>
                      <a:pt x="36" y="41"/>
                    </a:cubicBezTo>
                    <a:cubicBezTo>
                      <a:pt x="36" y="42"/>
                      <a:pt x="35" y="42"/>
                      <a:pt x="35" y="42"/>
                    </a:cubicBezTo>
                    <a:cubicBezTo>
                      <a:pt x="35" y="42"/>
                      <a:pt x="35" y="42"/>
                      <a:pt x="35" y="42"/>
                    </a:cubicBezTo>
                    <a:cubicBezTo>
                      <a:pt x="34" y="42"/>
                      <a:pt x="34" y="42"/>
                      <a:pt x="34" y="42"/>
                    </a:cubicBezTo>
                    <a:cubicBezTo>
                      <a:pt x="34" y="42"/>
                      <a:pt x="33" y="42"/>
                      <a:pt x="33" y="42"/>
                    </a:cubicBezTo>
                    <a:cubicBezTo>
                      <a:pt x="32" y="43"/>
                      <a:pt x="33" y="43"/>
                      <a:pt x="33" y="43"/>
                    </a:cubicBezTo>
                    <a:cubicBezTo>
                      <a:pt x="33" y="44"/>
                      <a:pt x="32" y="44"/>
                      <a:pt x="32" y="44"/>
                    </a:cubicBezTo>
                    <a:cubicBezTo>
                      <a:pt x="32" y="45"/>
                      <a:pt x="32" y="45"/>
                      <a:pt x="32" y="45"/>
                    </a:cubicBezTo>
                    <a:cubicBezTo>
                      <a:pt x="32" y="45"/>
                      <a:pt x="32" y="45"/>
                      <a:pt x="32" y="45"/>
                    </a:cubicBezTo>
                    <a:cubicBezTo>
                      <a:pt x="31" y="46"/>
                      <a:pt x="31" y="46"/>
                      <a:pt x="31" y="47"/>
                    </a:cubicBezTo>
                    <a:cubicBezTo>
                      <a:pt x="31" y="47"/>
                      <a:pt x="31" y="47"/>
                      <a:pt x="31" y="47"/>
                    </a:cubicBezTo>
                    <a:cubicBezTo>
                      <a:pt x="31" y="48"/>
                      <a:pt x="31" y="48"/>
                      <a:pt x="30" y="48"/>
                    </a:cubicBezTo>
                    <a:cubicBezTo>
                      <a:pt x="30" y="48"/>
                      <a:pt x="30" y="48"/>
                      <a:pt x="30" y="48"/>
                    </a:cubicBezTo>
                    <a:cubicBezTo>
                      <a:pt x="30" y="49"/>
                      <a:pt x="30" y="49"/>
                      <a:pt x="30" y="49"/>
                    </a:cubicBezTo>
                    <a:cubicBezTo>
                      <a:pt x="29" y="49"/>
                      <a:pt x="29" y="49"/>
                      <a:pt x="29" y="50"/>
                    </a:cubicBezTo>
                    <a:cubicBezTo>
                      <a:pt x="29" y="50"/>
                      <a:pt x="29" y="50"/>
                      <a:pt x="29" y="50"/>
                    </a:cubicBezTo>
                    <a:cubicBezTo>
                      <a:pt x="29" y="50"/>
                      <a:pt x="29" y="50"/>
                      <a:pt x="28" y="50"/>
                    </a:cubicBezTo>
                    <a:cubicBezTo>
                      <a:pt x="28" y="50"/>
                      <a:pt x="28" y="51"/>
                      <a:pt x="28" y="51"/>
                    </a:cubicBezTo>
                    <a:cubicBezTo>
                      <a:pt x="28" y="52"/>
                      <a:pt x="27" y="52"/>
                      <a:pt x="27" y="52"/>
                    </a:cubicBezTo>
                    <a:cubicBezTo>
                      <a:pt x="27" y="52"/>
                      <a:pt x="27" y="52"/>
                      <a:pt x="27" y="52"/>
                    </a:cubicBezTo>
                    <a:cubicBezTo>
                      <a:pt x="27" y="54"/>
                      <a:pt x="27" y="55"/>
                      <a:pt x="26" y="56"/>
                    </a:cubicBezTo>
                    <a:cubicBezTo>
                      <a:pt x="26" y="57"/>
                      <a:pt x="26" y="58"/>
                      <a:pt x="26" y="58"/>
                    </a:cubicBezTo>
                    <a:cubicBezTo>
                      <a:pt x="26" y="58"/>
                      <a:pt x="25" y="58"/>
                      <a:pt x="25" y="58"/>
                    </a:cubicBezTo>
                    <a:cubicBezTo>
                      <a:pt x="24" y="59"/>
                      <a:pt x="24" y="60"/>
                      <a:pt x="25" y="61"/>
                    </a:cubicBezTo>
                    <a:cubicBezTo>
                      <a:pt x="25" y="62"/>
                      <a:pt x="26" y="64"/>
                      <a:pt x="25" y="65"/>
                    </a:cubicBezTo>
                    <a:cubicBezTo>
                      <a:pt x="25" y="65"/>
                      <a:pt x="25" y="66"/>
                      <a:pt x="25" y="66"/>
                    </a:cubicBezTo>
                    <a:cubicBezTo>
                      <a:pt x="25" y="66"/>
                      <a:pt x="26" y="66"/>
                      <a:pt x="26" y="66"/>
                    </a:cubicBezTo>
                    <a:cubicBezTo>
                      <a:pt x="26" y="66"/>
                      <a:pt x="26" y="67"/>
                      <a:pt x="26" y="67"/>
                    </a:cubicBezTo>
                    <a:cubicBezTo>
                      <a:pt x="25" y="67"/>
                      <a:pt x="25" y="67"/>
                      <a:pt x="25" y="67"/>
                    </a:cubicBezTo>
                    <a:cubicBezTo>
                      <a:pt x="25" y="68"/>
                      <a:pt x="25" y="68"/>
                      <a:pt x="24" y="68"/>
                    </a:cubicBezTo>
                    <a:cubicBezTo>
                      <a:pt x="24" y="68"/>
                      <a:pt x="24" y="68"/>
                      <a:pt x="23" y="68"/>
                    </a:cubicBezTo>
                    <a:cubicBezTo>
                      <a:pt x="23" y="68"/>
                      <a:pt x="24" y="68"/>
                      <a:pt x="24" y="68"/>
                    </a:cubicBezTo>
                    <a:cubicBezTo>
                      <a:pt x="24" y="69"/>
                      <a:pt x="24" y="69"/>
                      <a:pt x="24" y="69"/>
                    </a:cubicBezTo>
                    <a:cubicBezTo>
                      <a:pt x="23" y="69"/>
                      <a:pt x="23" y="70"/>
                      <a:pt x="23" y="70"/>
                    </a:cubicBezTo>
                    <a:cubicBezTo>
                      <a:pt x="23" y="71"/>
                      <a:pt x="23" y="71"/>
                      <a:pt x="23" y="72"/>
                    </a:cubicBezTo>
                    <a:cubicBezTo>
                      <a:pt x="22" y="72"/>
                      <a:pt x="22" y="72"/>
                      <a:pt x="22" y="73"/>
                    </a:cubicBezTo>
                    <a:cubicBezTo>
                      <a:pt x="23" y="73"/>
                      <a:pt x="23" y="73"/>
                      <a:pt x="23" y="73"/>
                    </a:cubicBezTo>
                    <a:cubicBezTo>
                      <a:pt x="23" y="74"/>
                      <a:pt x="23" y="74"/>
                      <a:pt x="23" y="74"/>
                    </a:cubicBezTo>
                    <a:cubicBezTo>
                      <a:pt x="22" y="74"/>
                      <a:pt x="22" y="74"/>
                      <a:pt x="22" y="74"/>
                    </a:cubicBezTo>
                    <a:cubicBezTo>
                      <a:pt x="22" y="74"/>
                      <a:pt x="22" y="74"/>
                      <a:pt x="22" y="74"/>
                    </a:cubicBezTo>
                    <a:cubicBezTo>
                      <a:pt x="22" y="74"/>
                      <a:pt x="22" y="74"/>
                      <a:pt x="22" y="74"/>
                    </a:cubicBezTo>
                    <a:cubicBezTo>
                      <a:pt x="21" y="74"/>
                      <a:pt x="21" y="74"/>
                      <a:pt x="21" y="74"/>
                    </a:cubicBezTo>
                    <a:cubicBezTo>
                      <a:pt x="21" y="74"/>
                      <a:pt x="21" y="74"/>
                      <a:pt x="21" y="75"/>
                    </a:cubicBezTo>
                    <a:cubicBezTo>
                      <a:pt x="21" y="75"/>
                      <a:pt x="21" y="76"/>
                      <a:pt x="21" y="76"/>
                    </a:cubicBezTo>
                    <a:cubicBezTo>
                      <a:pt x="21" y="77"/>
                      <a:pt x="21" y="77"/>
                      <a:pt x="21" y="78"/>
                    </a:cubicBezTo>
                    <a:cubicBezTo>
                      <a:pt x="21" y="78"/>
                      <a:pt x="21" y="79"/>
                      <a:pt x="21" y="79"/>
                    </a:cubicBezTo>
                    <a:cubicBezTo>
                      <a:pt x="21" y="80"/>
                      <a:pt x="21" y="80"/>
                      <a:pt x="21" y="80"/>
                    </a:cubicBezTo>
                    <a:cubicBezTo>
                      <a:pt x="21" y="80"/>
                      <a:pt x="21" y="80"/>
                      <a:pt x="22" y="80"/>
                    </a:cubicBezTo>
                    <a:cubicBezTo>
                      <a:pt x="22" y="81"/>
                      <a:pt x="22" y="81"/>
                      <a:pt x="23" y="81"/>
                    </a:cubicBezTo>
                    <a:cubicBezTo>
                      <a:pt x="23" y="81"/>
                      <a:pt x="23" y="82"/>
                      <a:pt x="23" y="82"/>
                    </a:cubicBezTo>
                    <a:cubicBezTo>
                      <a:pt x="23" y="82"/>
                      <a:pt x="22" y="82"/>
                      <a:pt x="22" y="82"/>
                    </a:cubicBezTo>
                    <a:cubicBezTo>
                      <a:pt x="22" y="82"/>
                      <a:pt x="22" y="82"/>
                      <a:pt x="22" y="82"/>
                    </a:cubicBezTo>
                    <a:cubicBezTo>
                      <a:pt x="22" y="82"/>
                      <a:pt x="22" y="82"/>
                      <a:pt x="22" y="82"/>
                    </a:cubicBezTo>
                    <a:cubicBezTo>
                      <a:pt x="22" y="83"/>
                      <a:pt x="22" y="83"/>
                      <a:pt x="22" y="84"/>
                    </a:cubicBezTo>
                    <a:cubicBezTo>
                      <a:pt x="22" y="84"/>
                      <a:pt x="23" y="84"/>
                      <a:pt x="23" y="85"/>
                    </a:cubicBezTo>
                    <a:cubicBezTo>
                      <a:pt x="23" y="85"/>
                      <a:pt x="24" y="86"/>
                      <a:pt x="24" y="86"/>
                    </a:cubicBezTo>
                    <a:cubicBezTo>
                      <a:pt x="24" y="88"/>
                      <a:pt x="24" y="88"/>
                      <a:pt x="24" y="88"/>
                    </a:cubicBezTo>
                    <a:cubicBezTo>
                      <a:pt x="24" y="88"/>
                      <a:pt x="25" y="89"/>
                      <a:pt x="24" y="89"/>
                    </a:cubicBezTo>
                    <a:cubicBezTo>
                      <a:pt x="24" y="90"/>
                      <a:pt x="24" y="90"/>
                      <a:pt x="24" y="90"/>
                    </a:cubicBezTo>
                    <a:cubicBezTo>
                      <a:pt x="24" y="91"/>
                      <a:pt x="24" y="91"/>
                      <a:pt x="24" y="91"/>
                    </a:cubicBezTo>
                    <a:cubicBezTo>
                      <a:pt x="24" y="92"/>
                      <a:pt x="24" y="92"/>
                      <a:pt x="24" y="92"/>
                    </a:cubicBezTo>
                    <a:cubicBezTo>
                      <a:pt x="25" y="93"/>
                      <a:pt x="25" y="92"/>
                      <a:pt x="25" y="92"/>
                    </a:cubicBezTo>
                    <a:cubicBezTo>
                      <a:pt x="25" y="92"/>
                      <a:pt x="25" y="92"/>
                      <a:pt x="26" y="92"/>
                    </a:cubicBezTo>
                    <a:cubicBezTo>
                      <a:pt x="26" y="92"/>
                      <a:pt x="26" y="92"/>
                      <a:pt x="26" y="93"/>
                    </a:cubicBezTo>
                    <a:cubicBezTo>
                      <a:pt x="26" y="93"/>
                      <a:pt x="26" y="93"/>
                      <a:pt x="26" y="93"/>
                    </a:cubicBezTo>
                    <a:cubicBezTo>
                      <a:pt x="26" y="93"/>
                      <a:pt x="26" y="94"/>
                      <a:pt x="26" y="94"/>
                    </a:cubicBezTo>
                    <a:cubicBezTo>
                      <a:pt x="26" y="94"/>
                      <a:pt x="26" y="95"/>
                      <a:pt x="26" y="95"/>
                    </a:cubicBezTo>
                    <a:cubicBezTo>
                      <a:pt x="25" y="95"/>
                      <a:pt x="25" y="96"/>
                      <a:pt x="25" y="96"/>
                    </a:cubicBezTo>
                    <a:cubicBezTo>
                      <a:pt x="25" y="96"/>
                      <a:pt x="25" y="98"/>
                      <a:pt x="25" y="98"/>
                    </a:cubicBezTo>
                    <a:cubicBezTo>
                      <a:pt x="25" y="98"/>
                      <a:pt x="26" y="98"/>
                      <a:pt x="26" y="99"/>
                    </a:cubicBezTo>
                    <a:cubicBezTo>
                      <a:pt x="26" y="99"/>
                      <a:pt x="25" y="99"/>
                      <a:pt x="25" y="99"/>
                    </a:cubicBezTo>
                    <a:cubicBezTo>
                      <a:pt x="25" y="99"/>
                      <a:pt x="26" y="100"/>
                      <a:pt x="26" y="100"/>
                    </a:cubicBezTo>
                    <a:cubicBezTo>
                      <a:pt x="26" y="100"/>
                      <a:pt x="25" y="101"/>
                      <a:pt x="25" y="101"/>
                    </a:cubicBezTo>
                    <a:cubicBezTo>
                      <a:pt x="24" y="101"/>
                      <a:pt x="24" y="101"/>
                      <a:pt x="24" y="101"/>
                    </a:cubicBezTo>
                    <a:cubicBezTo>
                      <a:pt x="24" y="101"/>
                      <a:pt x="24" y="102"/>
                      <a:pt x="24" y="102"/>
                    </a:cubicBezTo>
                    <a:cubicBezTo>
                      <a:pt x="24" y="102"/>
                      <a:pt x="23" y="104"/>
                      <a:pt x="23" y="104"/>
                    </a:cubicBezTo>
                    <a:cubicBezTo>
                      <a:pt x="23" y="104"/>
                      <a:pt x="23" y="105"/>
                      <a:pt x="23" y="105"/>
                    </a:cubicBezTo>
                    <a:cubicBezTo>
                      <a:pt x="23" y="105"/>
                      <a:pt x="23" y="105"/>
                      <a:pt x="23" y="106"/>
                    </a:cubicBezTo>
                    <a:cubicBezTo>
                      <a:pt x="23" y="106"/>
                      <a:pt x="22" y="106"/>
                      <a:pt x="22" y="107"/>
                    </a:cubicBezTo>
                    <a:cubicBezTo>
                      <a:pt x="22" y="107"/>
                      <a:pt x="22" y="107"/>
                      <a:pt x="22" y="108"/>
                    </a:cubicBezTo>
                    <a:cubicBezTo>
                      <a:pt x="22" y="108"/>
                      <a:pt x="22" y="108"/>
                      <a:pt x="21" y="108"/>
                    </a:cubicBezTo>
                    <a:cubicBezTo>
                      <a:pt x="21" y="109"/>
                      <a:pt x="21" y="109"/>
                      <a:pt x="21" y="109"/>
                    </a:cubicBezTo>
                    <a:cubicBezTo>
                      <a:pt x="21" y="109"/>
                      <a:pt x="21" y="110"/>
                      <a:pt x="21" y="110"/>
                    </a:cubicBezTo>
                    <a:cubicBezTo>
                      <a:pt x="21" y="110"/>
                      <a:pt x="22" y="111"/>
                      <a:pt x="22" y="111"/>
                    </a:cubicBezTo>
                    <a:cubicBezTo>
                      <a:pt x="22" y="111"/>
                      <a:pt x="22" y="111"/>
                      <a:pt x="22" y="112"/>
                    </a:cubicBezTo>
                    <a:cubicBezTo>
                      <a:pt x="22" y="112"/>
                      <a:pt x="22" y="112"/>
                      <a:pt x="22" y="112"/>
                    </a:cubicBezTo>
                    <a:cubicBezTo>
                      <a:pt x="22" y="112"/>
                      <a:pt x="22" y="113"/>
                      <a:pt x="22" y="113"/>
                    </a:cubicBezTo>
                    <a:cubicBezTo>
                      <a:pt x="22" y="113"/>
                      <a:pt x="22" y="114"/>
                      <a:pt x="22" y="114"/>
                    </a:cubicBezTo>
                    <a:cubicBezTo>
                      <a:pt x="22" y="114"/>
                      <a:pt x="22" y="114"/>
                      <a:pt x="22" y="114"/>
                    </a:cubicBezTo>
                    <a:cubicBezTo>
                      <a:pt x="22" y="114"/>
                      <a:pt x="22" y="115"/>
                      <a:pt x="22" y="115"/>
                    </a:cubicBezTo>
                    <a:cubicBezTo>
                      <a:pt x="22" y="115"/>
                      <a:pt x="22" y="115"/>
                      <a:pt x="22" y="115"/>
                    </a:cubicBezTo>
                    <a:cubicBezTo>
                      <a:pt x="22" y="115"/>
                      <a:pt x="22" y="116"/>
                      <a:pt x="22" y="116"/>
                    </a:cubicBezTo>
                    <a:cubicBezTo>
                      <a:pt x="22" y="116"/>
                      <a:pt x="22" y="116"/>
                      <a:pt x="22" y="116"/>
                    </a:cubicBezTo>
                    <a:cubicBezTo>
                      <a:pt x="22" y="116"/>
                      <a:pt x="21" y="117"/>
                      <a:pt x="21" y="117"/>
                    </a:cubicBezTo>
                    <a:cubicBezTo>
                      <a:pt x="21" y="117"/>
                      <a:pt x="21" y="117"/>
                      <a:pt x="21" y="117"/>
                    </a:cubicBezTo>
                    <a:cubicBezTo>
                      <a:pt x="21" y="117"/>
                      <a:pt x="21" y="117"/>
                      <a:pt x="21" y="117"/>
                    </a:cubicBezTo>
                    <a:cubicBezTo>
                      <a:pt x="21" y="117"/>
                      <a:pt x="20" y="117"/>
                      <a:pt x="20" y="117"/>
                    </a:cubicBezTo>
                    <a:cubicBezTo>
                      <a:pt x="20" y="117"/>
                      <a:pt x="20" y="118"/>
                      <a:pt x="20" y="118"/>
                    </a:cubicBezTo>
                    <a:cubicBezTo>
                      <a:pt x="20" y="119"/>
                      <a:pt x="20" y="119"/>
                      <a:pt x="20" y="119"/>
                    </a:cubicBezTo>
                    <a:cubicBezTo>
                      <a:pt x="20" y="119"/>
                      <a:pt x="19" y="119"/>
                      <a:pt x="19" y="119"/>
                    </a:cubicBezTo>
                    <a:cubicBezTo>
                      <a:pt x="19" y="119"/>
                      <a:pt x="18" y="119"/>
                      <a:pt x="18" y="119"/>
                    </a:cubicBezTo>
                    <a:cubicBezTo>
                      <a:pt x="18" y="120"/>
                      <a:pt x="18" y="120"/>
                      <a:pt x="18" y="120"/>
                    </a:cubicBezTo>
                    <a:cubicBezTo>
                      <a:pt x="17" y="120"/>
                      <a:pt x="17" y="120"/>
                      <a:pt x="17" y="120"/>
                    </a:cubicBezTo>
                    <a:cubicBezTo>
                      <a:pt x="17" y="120"/>
                      <a:pt x="17" y="120"/>
                      <a:pt x="17" y="120"/>
                    </a:cubicBezTo>
                    <a:cubicBezTo>
                      <a:pt x="17" y="120"/>
                      <a:pt x="17" y="121"/>
                      <a:pt x="17" y="121"/>
                    </a:cubicBezTo>
                    <a:cubicBezTo>
                      <a:pt x="18" y="121"/>
                      <a:pt x="18" y="121"/>
                      <a:pt x="18" y="121"/>
                    </a:cubicBezTo>
                    <a:cubicBezTo>
                      <a:pt x="18" y="121"/>
                      <a:pt x="17" y="121"/>
                      <a:pt x="17" y="121"/>
                    </a:cubicBezTo>
                    <a:cubicBezTo>
                      <a:pt x="17" y="122"/>
                      <a:pt x="16" y="122"/>
                      <a:pt x="16" y="122"/>
                    </a:cubicBezTo>
                    <a:cubicBezTo>
                      <a:pt x="16" y="122"/>
                      <a:pt x="16" y="122"/>
                      <a:pt x="16" y="123"/>
                    </a:cubicBezTo>
                    <a:cubicBezTo>
                      <a:pt x="16" y="123"/>
                      <a:pt x="16" y="123"/>
                      <a:pt x="17" y="123"/>
                    </a:cubicBezTo>
                    <a:cubicBezTo>
                      <a:pt x="17" y="123"/>
                      <a:pt x="17" y="123"/>
                      <a:pt x="17" y="123"/>
                    </a:cubicBezTo>
                    <a:cubicBezTo>
                      <a:pt x="17" y="123"/>
                      <a:pt x="16" y="124"/>
                      <a:pt x="16" y="124"/>
                    </a:cubicBezTo>
                    <a:cubicBezTo>
                      <a:pt x="16" y="124"/>
                      <a:pt x="16" y="124"/>
                      <a:pt x="16" y="124"/>
                    </a:cubicBezTo>
                    <a:cubicBezTo>
                      <a:pt x="16" y="124"/>
                      <a:pt x="16" y="125"/>
                      <a:pt x="17" y="125"/>
                    </a:cubicBezTo>
                    <a:cubicBezTo>
                      <a:pt x="17" y="125"/>
                      <a:pt x="17" y="126"/>
                      <a:pt x="17" y="126"/>
                    </a:cubicBezTo>
                    <a:cubicBezTo>
                      <a:pt x="17" y="126"/>
                      <a:pt x="17" y="126"/>
                      <a:pt x="16" y="126"/>
                    </a:cubicBezTo>
                    <a:cubicBezTo>
                      <a:pt x="16" y="126"/>
                      <a:pt x="16" y="127"/>
                      <a:pt x="16" y="127"/>
                    </a:cubicBezTo>
                    <a:cubicBezTo>
                      <a:pt x="16" y="127"/>
                      <a:pt x="16" y="127"/>
                      <a:pt x="16" y="128"/>
                    </a:cubicBezTo>
                    <a:cubicBezTo>
                      <a:pt x="16" y="128"/>
                      <a:pt x="17" y="128"/>
                      <a:pt x="17" y="128"/>
                    </a:cubicBezTo>
                    <a:cubicBezTo>
                      <a:pt x="17" y="128"/>
                      <a:pt x="16" y="129"/>
                      <a:pt x="16" y="129"/>
                    </a:cubicBezTo>
                    <a:cubicBezTo>
                      <a:pt x="16" y="129"/>
                      <a:pt x="16" y="130"/>
                      <a:pt x="16" y="130"/>
                    </a:cubicBezTo>
                    <a:cubicBezTo>
                      <a:pt x="16" y="130"/>
                      <a:pt x="16" y="130"/>
                      <a:pt x="16" y="130"/>
                    </a:cubicBezTo>
                    <a:cubicBezTo>
                      <a:pt x="16" y="131"/>
                      <a:pt x="16" y="131"/>
                      <a:pt x="16" y="131"/>
                    </a:cubicBezTo>
                    <a:cubicBezTo>
                      <a:pt x="17" y="131"/>
                      <a:pt x="16" y="131"/>
                      <a:pt x="16" y="131"/>
                    </a:cubicBezTo>
                    <a:cubicBezTo>
                      <a:pt x="16" y="132"/>
                      <a:pt x="16" y="132"/>
                      <a:pt x="16" y="132"/>
                    </a:cubicBezTo>
                    <a:cubicBezTo>
                      <a:pt x="16" y="132"/>
                      <a:pt x="18" y="134"/>
                      <a:pt x="18" y="134"/>
                    </a:cubicBezTo>
                    <a:cubicBezTo>
                      <a:pt x="18" y="134"/>
                      <a:pt x="17" y="134"/>
                      <a:pt x="17" y="134"/>
                    </a:cubicBezTo>
                    <a:cubicBezTo>
                      <a:pt x="17" y="134"/>
                      <a:pt x="17" y="135"/>
                      <a:pt x="17" y="135"/>
                    </a:cubicBezTo>
                    <a:cubicBezTo>
                      <a:pt x="17" y="135"/>
                      <a:pt x="17" y="136"/>
                      <a:pt x="17" y="136"/>
                    </a:cubicBezTo>
                    <a:cubicBezTo>
                      <a:pt x="17" y="136"/>
                      <a:pt x="17" y="137"/>
                      <a:pt x="18" y="137"/>
                    </a:cubicBezTo>
                    <a:cubicBezTo>
                      <a:pt x="18" y="137"/>
                      <a:pt x="18" y="137"/>
                      <a:pt x="18" y="138"/>
                    </a:cubicBezTo>
                    <a:cubicBezTo>
                      <a:pt x="18" y="138"/>
                      <a:pt x="18" y="138"/>
                      <a:pt x="19" y="138"/>
                    </a:cubicBezTo>
                    <a:cubicBezTo>
                      <a:pt x="19" y="138"/>
                      <a:pt x="19" y="139"/>
                      <a:pt x="19" y="139"/>
                    </a:cubicBezTo>
                    <a:cubicBezTo>
                      <a:pt x="19" y="139"/>
                      <a:pt x="18" y="140"/>
                      <a:pt x="18" y="140"/>
                    </a:cubicBezTo>
                    <a:cubicBezTo>
                      <a:pt x="17" y="140"/>
                      <a:pt x="17" y="140"/>
                      <a:pt x="17" y="140"/>
                    </a:cubicBezTo>
                    <a:cubicBezTo>
                      <a:pt x="15" y="141"/>
                      <a:pt x="15" y="141"/>
                      <a:pt x="15" y="141"/>
                    </a:cubicBezTo>
                    <a:cubicBezTo>
                      <a:pt x="15" y="145"/>
                      <a:pt x="15" y="145"/>
                      <a:pt x="15" y="145"/>
                    </a:cubicBezTo>
                    <a:cubicBezTo>
                      <a:pt x="15" y="145"/>
                      <a:pt x="14" y="146"/>
                      <a:pt x="14" y="146"/>
                    </a:cubicBezTo>
                    <a:cubicBezTo>
                      <a:pt x="14" y="146"/>
                      <a:pt x="14" y="147"/>
                      <a:pt x="14" y="147"/>
                    </a:cubicBezTo>
                    <a:cubicBezTo>
                      <a:pt x="14" y="147"/>
                      <a:pt x="14" y="148"/>
                      <a:pt x="14" y="148"/>
                    </a:cubicBezTo>
                    <a:cubicBezTo>
                      <a:pt x="14" y="148"/>
                      <a:pt x="14" y="148"/>
                      <a:pt x="14" y="148"/>
                    </a:cubicBezTo>
                    <a:cubicBezTo>
                      <a:pt x="14" y="148"/>
                      <a:pt x="13" y="147"/>
                      <a:pt x="13" y="147"/>
                    </a:cubicBezTo>
                    <a:cubicBezTo>
                      <a:pt x="13" y="147"/>
                      <a:pt x="13" y="147"/>
                      <a:pt x="13" y="147"/>
                    </a:cubicBezTo>
                    <a:cubicBezTo>
                      <a:pt x="13" y="150"/>
                      <a:pt x="13" y="150"/>
                      <a:pt x="13" y="150"/>
                    </a:cubicBezTo>
                    <a:cubicBezTo>
                      <a:pt x="13" y="150"/>
                      <a:pt x="13" y="150"/>
                      <a:pt x="13" y="150"/>
                    </a:cubicBezTo>
                    <a:cubicBezTo>
                      <a:pt x="13" y="150"/>
                      <a:pt x="13" y="151"/>
                      <a:pt x="13" y="151"/>
                    </a:cubicBezTo>
                    <a:cubicBezTo>
                      <a:pt x="13" y="151"/>
                      <a:pt x="13" y="152"/>
                      <a:pt x="13" y="152"/>
                    </a:cubicBezTo>
                    <a:cubicBezTo>
                      <a:pt x="13" y="152"/>
                      <a:pt x="12" y="152"/>
                      <a:pt x="12" y="152"/>
                    </a:cubicBezTo>
                    <a:cubicBezTo>
                      <a:pt x="12" y="152"/>
                      <a:pt x="12" y="152"/>
                      <a:pt x="12" y="152"/>
                    </a:cubicBezTo>
                    <a:cubicBezTo>
                      <a:pt x="11" y="153"/>
                      <a:pt x="12" y="153"/>
                      <a:pt x="12" y="153"/>
                    </a:cubicBezTo>
                    <a:cubicBezTo>
                      <a:pt x="12" y="153"/>
                      <a:pt x="12" y="154"/>
                      <a:pt x="13" y="154"/>
                    </a:cubicBezTo>
                    <a:cubicBezTo>
                      <a:pt x="13" y="154"/>
                      <a:pt x="13" y="155"/>
                      <a:pt x="13" y="155"/>
                    </a:cubicBezTo>
                    <a:cubicBezTo>
                      <a:pt x="13" y="155"/>
                      <a:pt x="12" y="155"/>
                      <a:pt x="12" y="155"/>
                    </a:cubicBezTo>
                    <a:cubicBezTo>
                      <a:pt x="12" y="155"/>
                      <a:pt x="12" y="155"/>
                      <a:pt x="12" y="155"/>
                    </a:cubicBezTo>
                    <a:cubicBezTo>
                      <a:pt x="12" y="155"/>
                      <a:pt x="11" y="156"/>
                      <a:pt x="11" y="156"/>
                    </a:cubicBezTo>
                    <a:cubicBezTo>
                      <a:pt x="11" y="156"/>
                      <a:pt x="11" y="156"/>
                      <a:pt x="11" y="157"/>
                    </a:cubicBezTo>
                    <a:cubicBezTo>
                      <a:pt x="11" y="157"/>
                      <a:pt x="11" y="157"/>
                      <a:pt x="11" y="157"/>
                    </a:cubicBezTo>
                    <a:cubicBezTo>
                      <a:pt x="11" y="158"/>
                      <a:pt x="11" y="158"/>
                      <a:pt x="11" y="158"/>
                    </a:cubicBezTo>
                    <a:cubicBezTo>
                      <a:pt x="11" y="158"/>
                      <a:pt x="11" y="159"/>
                      <a:pt x="11" y="159"/>
                    </a:cubicBezTo>
                    <a:cubicBezTo>
                      <a:pt x="11" y="159"/>
                      <a:pt x="11" y="160"/>
                      <a:pt x="11" y="160"/>
                    </a:cubicBezTo>
                    <a:cubicBezTo>
                      <a:pt x="11" y="160"/>
                      <a:pt x="11" y="160"/>
                      <a:pt x="11" y="160"/>
                    </a:cubicBezTo>
                    <a:cubicBezTo>
                      <a:pt x="11" y="160"/>
                      <a:pt x="11" y="161"/>
                      <a:pt x="12" y="161"/>
                    </a:cubicBezTo>
                    <a:cubicBezTo>
                      <a:pt x="12" y="161"/>
                      <a:pt x="12" y="161"/>
                      <a:pt x="12" y="161"/>
                    </a:cubicBezTo>
                    <a:cubicBezTo>
                      <a:pt x="12" y="161"/>
                      <a:pt x="12" y="161"/>
                      <a:pt x="12" y="161"/>
                    </a:cubicBezTo>
                    <a:cubicBezTo>
                      <a:pt x="12" y="162"/>
                      <a:pt x="12" y="162"/>
                      <a:pt x="12" y="162"/>
                    </a:cubicBezTo>
                    <a:cubicBezTo>
                      <a:pt x="12" y="163"/>
                      <a:pt x="11" y="163"/>
                      <a:pt x="11" y="163"/>
                    </a:cubicBezTo>
                    <a:cubicBezTo>
                      <a:pt x="11" y="163"/>
                      <a:pt x="11" y="164"/>
                      <a:pt x="11" y="164"/>
                    </a:cubicBezTo>
                    <a:cubicBezTo>
                      <a:pt x="11" y="164"/>
                      <a:pt x="11" y="164"/>
                      <a:pt x="11" y="165"/>
                    </a:cubicBezTo>
                    <a:cubicBezTo>
                      <a:pt x="11" y="165"/>
                      <a:pt x="12" y="165"/>
                      <a:pt x="12" y="165"/>
                    </a:cubicBezTo>
                    <a:cubicBezTo>
                      <a:pt x="12" y="166"/>
                      <a:pt x="12" y="166"/>
                      <a:pt x="12" y="166"/>
                    </a:cubicBezTo>
                    <a:cubicBezTo>
                      <a:pt x="12" y="166"/>
                      <a:pt x="11" y="166"/>
                      <a:pt x="11" y="166"/>
                    </a:cubicBezTo>
                    <a:cubicBezTo>
                      <a:pt x="11" y="166"/>
                      <a:pt x="12" y="167"/>
                      <a:pt x="12" y="167"/>
                    </a:cubicBezTo>
                    <a:cubicBezTo>
                      <a:pt x="12" y="168"/>
                      <a:pt x="12" y="168"/>
                      <a:pt x="12" y="168"/>
                    </a:cubicBezTo>
                    <a:cubicBezTo>
                      <a:pt x="12" y="171"/>
                      <a:pt x="12" y="171"/>
                      <a:pt x="12" y="171"/>
                    </a:cubicBezTo>
                    <a:cubicBezTo>
                      <a:pt x="12" y="171"/>
                      <a:pt x="12" y="171"/>
                      <a:pt x="12" y="171"/>
                    </a:cubicBezTo>
                    <a:cubicBezTo>
                      <a:pt x="11" y="171"/>
                      <a:pt x="11" y="172"/>
                      <a:pt x="11" y="172"/>
                    </a:cubicBezTo>
                    <a:cubicBezTo>
                      <a:pt x="11" y="172"/>
                      <a:pt x="11" y="172"/>
                      <a:pt x="10" y="171"/>
                    </a:cubicBezTo>
                    <a:cubicBezTo>
                      <a:pt x="10" y="171"/>
                      <a:pt x="10" y="171"/>
                      <a:pt x="10" y="171"/>
                    </a:cubicBezTo>
                    <a:cubicBezTo>
                      <a:pt x="10" y="171"/>
                      <a:pt x="9" y="171"/>
                      <a:pt x="9" y="171"/>
                    </a:cubicBezTo>
                    <a:cubicBezTo>
                      <a:pt x="9" y="172"/>
                      <a:pt x="9" y="172"/>
                      <a:pt x="9" y="172"/>
                    </a:cubicBezTo>
                    <a:cubicBezTo>
                      <a:pt x="9" y="173"/>
                      <a:pt x="9" y="173"/>
                      <a:pt x="9" y="173"/>
                    </a:cubicBezTo>
                    <a:cubicBezTo>
                      <a:pt x="9" y="173"/>
                      <a:pt x="9" y="173"/>
                      <a:pt x="10" y="174"/>
                    </a:cubicBezTo>
                    <a:cubicBezTo>
                      <a:pt x="10" y="174"/>
                      <a:pt x="10" y="174"/>
                      <a:pt x="10" y="174"/>
                    </a:cubicBezTo>
                    <a:cubicBezTo>
                      <a:pt x="10" y="174"/>
                      <a:pt x="10" y="175"/>
                      <a:pt x="10" y="175"/>
                    </a:cubicBezTo>
                    <a:cubicBezTo>
                      <a:pt x="10" y="175"/>
                      <a:pt x="10" y="176"/>
                      <a:pt x="10" y="176"/>
                    </a:cubicBezTo>
                    <a:cubicBezTo>
                      <a:pt x="10" y="176"/>
                      <a:pt x="9" y="176"/>
                      <a:pt x="9" y="176"/>
                    </a:cubicBezTo>
                    <a:cubicBezTo>
                      <a:pt x="9" y="176"/>
                      <a:pt x="10" y="177"/>
                      <a:pt x="10" y="177"/>
                    </a:cubicBezTo>
                    <a:cubicBezTo>
                      <a:pt x="10" y="177"/>
                      <a:pt x="10" y="177"/>
                      <a:pt x="9" y="178"/>
                    </a:cubicBezTo>
                    <a:cubicBezTo>
                      <a:pt x="9" y="178"/>
                      <a:pt x="10" y="178"/>
                      <a:pt x="10" y="179"/>
                    </a:cubicBezTo>
                    <a:cubicBezTo>
                      <a:pt x="10" y="179"/>
                      <a:pt x="10" y="179"/>
                      <a:pt x="10" y="180"/>
                    </a:cubicBezTo>
                    <a:cubicBezTo>
                      <a:pt x="11" y="180"/>
                      <a:pt x="11" y="180"/>
                      <a:pt x="11" y="180"/>
                    </a:cubicBezTo>
                    <a:cubicBezTo>
                      <a:pt x="11" y="181"/>
                      <a:pt x="12" y="181"/>
                      <a:pt x="12" y="181"/>
                    </a:cubicBezTo>
                    <a:cubicBezTo>
                      <a:pt x="12" y="181"/>
                      <a:pt x="12" y="182"/>
                      <a:pt x="12" y="182"/>
                    </a:cubicBezTo>
                    <a:cubicBezTo>
                      <a:pt x="12" y="182"/>
                      <a:pt x="12" y="182"/>
                      <a:pt x="12" y="182"/>
                    </a:cubicBezTo>
                    <a:cubicBezTo>
                      <a:pt x="12" y="183"/>
                      <a:pt x="11" y="183"/>
                      <a:pt x="11" y="183"/>
                    </a:cubicBezTo>
                    <a:cubicBezTo>
                      <a:pt x="11" y="183"/>
                      <a:pt x="11" y="184"/>
                      <a:pt x="11" y="184"/>
                    </a:cubicBezTo>
                    <a:cubicBezTo>
                      <a:pt x="11" y="184"/>
                      <a:pt x="12" y="184"/>
                      <a:pt x="12" y="185"/>
                    </a:cubicBezTo>
                    <a:cubicBezTo>
                      <a:pt x="12" y="185"/>
                      <a:pt x="12" y="185"/>
                      <a:pt x="13" y="185"/>
                    </a:cubicBezTo>
                    <a:cubicBezTo>
                      <a:pt x="13" y="186"/>
                      <a:pt x="13" y="186"/>
                      <a:pt x="13" y="186"/>
                    </a:cubicBezTo>
                    <a:cubicBezTo>
                      <a:pt x="13" y="186"/>
                      <a:pt x="12" y="187"/>
                      <a:pt x="12" y="187"/>
                    </a:cubicBezTo>
                    <a:cubicBezTo>
                      <a:pt x="12" y="187"/>
                      <a:pt x="12" y="188"/>
                      <a:pt x="12" y="188"/>
                    </a:cubicBezTo>
                    <a:cubicBezTo>
                      <a:pt x="13" y="188"/>
                      <a:pt x="13" y="189"/>
                      <a:pt x="13" y="189"/>
                    </a:cubicBezTo>
                    <a:cubicBezTo>
                      <a:pt x="12" y="190"/>
                      <a:pt x="12" y="190"/>
                      <a:pt x="12" y="190"/>
                    </a:cubicBezTo>
                    <a:cubicBezTo>
                      <a:pt x="12" y="190"/>
                      <a:pt x="12" y="190"/>
                      <a:pt x="12" y="190"/>
                    </a:cubicBezTo>
                    <a:cubicBezTo>
                      <a:pt x="12" y="190"/>
                      <a:pt x="12" y="191"/>
                      <a:pt x="12" y="191"/>
                    </a:cubicBezTo>
                    <a:cubicBezTo>
                      <a:pt x="12" y="192"/>
                      <a:pt x="12" y="192"/>
                      <a:pt x="12" y="192"/>
                    </a:cubicBezTo>
                    <a:cubicBezTo>
                      <a:pt x="12" y="193"/>
                      <a:pt x="12" y="193"/>
                      <a:pt x="12" y="193"/>
                    </a:cubicBezTo>
                    <a:cubicBezTo>
                      <a:pt x="11" y="193"/>
                      <a:pt x="12" y="193"/>
                      <a:pt x="12" y="193"/>
                    </a:cubicBezTo>
                    <a:cubicBezTo>
                      <a:pt x="12" y="193"/>
                      <a:pt x="13" y="193"/>
                      <a:pt x="13" y="193"/>
                    </a:cubicBezTo>
                    <a:cubicBezTo>
                      <a:pt x="13" y="193"/>
                      <a:pt x="15" y="193"/>
                      <a:pt x="15" y="193"/>
                    </a:cubicBezTo>
                    <a:cubicBezTo>
                      <a:pt x="16" y="193"/>
                      <a:pt x="16" y="193"/>
                      <a:pt x="16" y="193"/>
                    </a:cubicBezTo>
                    <a:cubicBezTo>
                      <a:pt x="16" y="194"/>
                      <a:pt x="17" y="194"/>
                      <a:pt x="17" y="194"/>
                    </a:cubicBezTo>
                    <a:cubicBezTo>
                      <a:pt x="17" y="194"/>
                      <a:pt x="17" y="195"/>
                      <a:pt x="17" y="195"/>
                    </a:cubicBezTo>
                    <a:cubicBezTo>
                      <a:pt x="16" y="195"/>
                      <a:pt x="16" y="195"/>
                      <a:pt x="16" y="195"/>
                    </a:cubicBezTo>
                    <a:cubicBezTo>
                      <a:pt x="16" y="195"/>
                      <a:pt x="16" y="197"/>
                      <a:pt x="16" y="197"/>
                    </a:cubicBezTo>
                    <a:cubicBezTo>
                      <a:pt x="16" y="197"/>
                      <a:pt x="16" y="197"/>
                      <a:pt x="15" y="197"/>
                    </a:cubicBezTo>
                    <a:cubicBezTo>
                      <a:pt x="15" y="197"/>
                      <a:pt x="15" y="197"/>
                      <a:pt x="14" y="196"/>
                    </a:cubicBezTo>
                    <a:cubicBezTo>
                      <a:pt x="14" y="196"/>
                      <a:pt x="13" y="197"/>
                      <a:pt x="13" y="197"/>
                    </a:cubicBezTo>
                    <a:cubicBezTo>
                      <a:pt x="13" y="197"/>
                      <a:pt x="13" y="197"/>
                      <a:pt x="13" y="197"/>
                    </a:cubicBezTo>
                    <a:cubicBezTo>
                      <a:pt x="13" y="197"/>
                      <a:pt x="12" y="197"/>
                      <a:pt x="12" y="197"/>
                    </a:cubicBezTo>
                    <a:cubicBezTo>
                      <a:pt x="12" y="197"/>
                      <a:pt x="11" y="197"/>
                      <a:pt x="11" y="197"/>
                    </a:cubicBezTo>
                    <a:cubicBezTo>
                      <a:pt x="11" y="197"/>
                      <a:pt x="10" y="197"/>
                      <a:pt x="10" y="197"/>
                    </a:cubicBezTo>
                    <a:cubicBezTo>
                      <a:pt x="10" y="197"/>
                      <a:pt x="10" y="198"/>
                      <a:pt x="10" y="198"/>
                    </a:cubicBezTo>
                    <a:cubicBezTo>
                      <a:pt x="10" y="198"/>
                      <a:pt x="11" y="198"/>
                      <a:pt x="11" y="198"/>
                    </a:cubicBezTo>
                    <a:cubicBezTo>
                      <a:pt x="11" y="198"/>
                      <a:pt x="12" y="198"/>
                      <a:pt x="12" y="199"/>
                    </a:cubicBezTo>
                    <a:cubicBezTo>
                      <a:pt x="12" y="199"/>
                      <a:pt x="14" y="199"/>
                      <a:pt x="14" y="199"/>
                    </a:cubicBezTo>
                    <a:cubicBezTo>
                      <a:pt x="14" y="199"/>
                      <a:pt x="14" y="199"/>
                      <a:pt x="14" y="200"/>
                    </a:cubicBezTo>
                    <a:cubicBezTo>
                      <a:pt x="14" y="200"/>
                      <a:pt x="15" y="201"/>
                      <a:pt x="15" y="201"/>
                    </a:cubicBezTo>
                    <a:cubicBezTo>
                      <a:pt x="15" y="202"/>
                      <a:pt x="15" y="202"/>
                      <a:pt x="15" y="202"/>
                    </a:cubicBezTo>
                    <a:cubicBezTo>
                      <a:pt x="15" y="202"/>
                      <a:pt x="15" y="203"/>
                      <a:pt x="15" y="203"/>
                    </a:cubicBezTo>
                    <a:cubicBezTo>
                      <a:pt x="14" y="203"/>
                      <a:pt x="14" y="203"/>
                      <a:pt x="14" y="203"/>
                    </a:cubicBezTo>
                    <a:cubicBezTo>
                      <a:pt x="14" y="203"/>
                      <a:pt x="14" y="204"/>
                      <a:pt x="14" y="204"/>
                    </a:cubicBezTo>
                    <a:cubicBezTo>
                      <a:pt x="14" y="204"/>
                      <a:pt x="14" y="204"/>
                      <a:pt x="14" y="204"/>
                    </a:cubicBezTo>
                    <a:cubicBezTo>
                      <a:pt x="14" y="204"/>
                      <a:pt x="13" y="204"/>
                      <a:pt x="13" y="204"/>
                    </a:cubicBezTo>
                    <a:cubicBezTo>
                      <a:pt x="13" y="204"/>
                      <a:pt x="12" y="205"/>
                      <a:pt x="12" y="205"/>
                    </a:cubicBezTo>
                    <a:cubicBezTo>
                      <a:pt x="12" y="205"/>
                      <a:pt x="12" y="205"/>
                      <a:pt x="12" y="205"/>
                    </a:cubicBezTo>
                    <a:cubicBezTo>
                      <a:pt x="12" y="208"/>
                      <a:pt x="12" y="208"/>
                      <a:pt x="12" y="208"/>
                    </a:cubicBezTo>
                    <a:cubicBezTo>
                      <a:pt x="12" y="208"/>
                      <a:pt x="12" y="208"/>
                      <a:pt x="13" y="208"/>
                    </a:cubicBezTo>
                    <a:cubicBezTo>
                      <a:pt x="13" y="208"/>
                      <a:pt x="13" y="208"/>
                      <a:pt x="13" y="209"/>
                    </a:cubicBezTo>
                    <a:cubicBezTo>
                      <a:pt x="13" y="209"/>
                      <a:pt x="13" y="209"/>
                      <a:pt x="13" y="209"/>
                    </a:cubicBezTo>
                    <a:cubicBezTo>
                      <a:pt x="13" y="209"/>
                      <a:pt x="13" y="209"/>
                      <a:pt x="13" y="209"/>
                    </a:cubicBezTo>
                    <a:cubicBezTo>
                      <a:pt x="13" y="210"/>
                      <a:pt x="12" y="210"/>
                      <a:pt x="12" y="210"/>
                    </a:cubicBezTo>
                    <a:cubicBezTo>
                      <a:pt x="11" y="211"/>
                      <a:pt x="11" y="211"/>
                      <a:pt x="11" y="211"/>
                    </a:cubicBezTo>
                    <a:cubicBezTo>
                      <a:pt x="11" y="211"/>
                      <a:pt x="12" y="211"/>
                      <a:pt x="12" y="212"/>
                    </a:cubicBezTo>
                    <a:cubicBezTo>
                      <a:pt x="12" y="212"/>
                      <a:pt x="12" y="212"/>
                      <a:pt x="12" y="212"/>
                    </a:cubicBezTo>
                    <a:cubicBezTo>
                      <a:pt x="12" y="212"/>
                      <a:pt x="12" y="213"/>
                      <a:pt x="12" y="213"/>
                    </a:cubicBezTo>
                    <a:cubicBezTo>
                      <a:pt x="12" y="213"/>
                      <a:pt x="12" y="214"/>
                      <a:pt x="12" y="214"/>
                    </a:cubicBezTo>
                    <a:cubicBezTo>
                      <a:pt x="13" y="215"/>
                      <a:pt x="13" y="215"/>
                      <a:pt x="13" y="215"/>
                    </a:cubicBezTo>
                    <a:cubicBezTo>
                      <a:pt x="13" y="215"/>
                      <a:pt x="13" y="216"/>
                      <a:pt x="13" y="216"/>
                    </a:cubicBezTo>
                    <a:cubicBezTo>
                      <a:pt x="13" y="216"/>
                      <a:pt x="12" y="217"/>
                      <a:pt x="12" y="217"/>
                    </a:cubicBezTo>
                    <a:cubicBezTo>
                      <a:pt x="12" y="217"/>
                      <a:pt x="12" y="217"/>
                      <a:pt x="11" y="217"/>
                    </a:cubicBezTo>
                    <a:cubicBezTo>
                      <a:pt x="11" y="217"/>
                      <a:pt x="11" y="217"/>
                      <a:pt x="11" y="217"/>
                    </a:cubicBezTo>
                    <a:cubicBezTo>
                      <a:pt x="11" y="217"/>
                      <a:pt x="11" y="219"/>
                      <a:pt x="11" y="219"/>
                    </a:cubicBezTo>
                    <a:cubicBezTo>
                      <a:pt x="11" y="219"/>
                      <a:pt x="11" y="219"/>
                      <a:pt x="11" y="220"/>
                    </a:cubicBezTo>
                    <a:cubicBezTo>
                      <a:pt x="11" y="220"/>
                      <a:pt x="11" y="220"/>
                      <a:pt x="11" y="220"/>
                    </a:cubicBezTo>
                    <a:cubicBezTo>
                      <a:pt x="11" y="220"/>
                      <a:pt x="11" y="220"/>
                      <a:pt x="11" y="221"/>
                    </a:cubicBezTo>
                    <a:cubicBezTo>
                      <a:pt x="12" y="221"/>
                      <a:pt x="12" y="221"/>
                      <a:pt x="12" y="221"/>
                    </a:cubicBezTo>
                    <a:cubicBezTo>
                      <a:pt x="12" y="222"/>
                      <a:pt x="11" y="222"/>
                      <a:pt x="11" y="222"/>
                    </a:cubicBezTo>
                    <a:cubicBezTo>
                      <a:pt x="10" y="221"/>
                      <a:pt x="10" y="221"/>
                      <a:pt x="10" y="221"/>
                    </a:cubicBezTo>
                    <a:cubicBezTo>
                      <a:pt x="10" y="223"/>
                      <a:pt x="10" y="223"/>
                      <a:pt x="10" y="223"/>
                    </a:cubicBezTo>
                    <a:cubicBezTo>
                      <a:pt x="10" y="223"/>
                      <a:pt x="9" y="224"/>
                      <a:pt x="9" y="224"/>
                    </a:cubicBezTo>
                    <a:cubicBezTo>
                      <a:pt x="9" y="224"/>
                      <a:pt x="8" y="224"/>
                      <a:pt x="8" y="224"/>
                    </a:cubicBezTo>
                    <a:cubicBezTo>
                      <a:pt x="8" y="224"/>
                      <a:pt x="8" y="225"/>
                      <a:pt x="8" y="225"/>
                    </a:cubicBezTo>
                    <a:cubicBezTo>
                      <a:pt x="8" y="225"/>
                      <a:pt x="8" y="226"/>
                      <a:pt x="8" y="226"/>
                    </a:cubicBezTo>
                    <a:cubicBezTo>
                      <a:pt x="8" y="226"/>
                      <a:pt x="8" y="227"/>
                      <a:pt x="8" y="227"/>
                    </a:cubicBezTo>
                    <a:cubicBezTo>
                      <a:pt x="8" y="227"/>
                      <a:pt x="7" y="227"/>
                      <a:pt x="7" y="227"/>
                    </a:cubicBezTo>
                    <a:cubicBezTo>
                      <a:pt x="7" y="227"/>
                      <a:pt x="7" y="227"/>
                      <a:pt x="7" y="227"/>
                    </a:cubicBezTo>
                    <a:cubicBezTo>
                      <a:pt x="7" y="228"/>
                      <a:pt x="7" y="228"/>
                      <a:pt x="7" y="228"/>
                    </a:cubicBezTo>
                    <a:cubicBezTo>
                      <a:pt x="7" y="228"/>
                      <a:pt x="7" y="228"/>
                      <a:pt x="7" y="229"/>
                    </a:cubicBezTo>
                    <a:cubicBezTo>
                      <a:pt x="7" y="229"/>
                      <a:pt x="7" y="229"/>
                      <a:pt x="7" y="229"/>
                    </a:cubicBezTo>
                    <a:cubicBezTo>
                      <a:pt x="7" y="229"/>
                      <a:pt x="7" y="229"/>
                      <a:pt x="7" y="229"/>
                    </a:cubicBezTo>
                    <a:cubicBezTo>
                      <a:pt x="7" y="229"/>
                      <a:pt x="7" y="230"/>
                      <a:pt x="7" y="230"/>
                    </a:cubicBezTo>
                    <a:cubicBezTo>
                      <a:pt x="7" y="230"/>
                      <a:pt x="7" y="231"/>
                      <a:pt x="8" y="231"/>
                    </a:cubicBezTo>
                    <a:cubicBezTo>
                      <a:pt x="8" y="231"/>
                      <a:pt x="8" y="231"/>
                      <a:pt x="8" y="231"/>
                    </a:cubicBezTo>
                    <a:cubicBezTo>
                      <a:pt x="8" y="232"/>
                      <a:pt x="8" y="232"/>
                      <a:pt x="8" y="232"/>
                    </a:cubicBezTo>
                    <a:cubicBezTo>
                      <a:pt x="8" y="232"/>
                      <a:pt x="9" y="233"/>
                      <a:pt x="9" y="233"/>
                    </a:cubicBezTo>
                    <a:cubicBezTo>
                      <a:pt x="9" y="233"/>
                      <a:pt x="9" y="233"/>
                      <a:pt x="9" y="233"/>
                    </a:cubicBezTo>
                    <a:cubicBezTo>
                      <a:pt x="9" y="233"/>
                      <a:pt x="8" y="233"/>
                      <a:pt x="8" y="233"/>
                    </a:cubicBezTo>
                    <a:cubicBezTo>
                      <a:pt x="8" y="235"/>
                      <a:pt x="8" y="235"/>
                      <a:pt x="8" y="235"/>
                    </a:cubicBezTo>
                    <a:cubicBezTo>
                      <a:pt x="6" y="235"/>
                      <a:pt x="6" y="235"/>
                      <a:pt x="6" y="235"/>
                    </a:cubicBezTo>
                    <a:cubicBezTo>
                      <a:pt x="6" y="235"/>
                      <a:pt x="7" y="236"/>
                      <a:pt x="7" y="237"/>
                    </a:cubicBezTo>
                    <a:cubicBezTo>
                      <a:pt x="7" y="237"/>
                      <a:pt x="7" y="238"/>
                      <a:pt x="7" y="238"/>
                    </a:cubicBezTo>
                    <a:cubicBezTo>
                      <a:pt x="5" y="240"/>
                      <a:pt x="5" y="240"/>
                      <a:pt x="5" y="240"/>
                    </a:cubicBezTo>
                    <a:cubicBezTo>
                      <a:pt x="4" y="240"/>
                      <a:pt x="4" y="240"/>
                      <a:pt x="4" y="240"/>
                    </a:cubicBezTo>
                    <a:cubicBezTo>
                      <a:pt x="3" y="242"/>
                      <a:pt x="3" y="242"/>
                      <a:pt x="3" y="242"/>
                    </a:cubicBezTo>
                    <a:cubicBezTo>
                      <a:pt x="3" y="242"/>
                      <a:pt x="2" y="243"/>
                      <a:pt x="2" y="243"/>
                    </a:cubicBezTo>
                    <a:cubicBezTo>
                      <a:pt x="2" y="243"/>
                      <a:pt x="3" y="244"/>
                      <a:pt x="3" y="244"/>
                    </a:cubicBezTo>
                    <a:cubicBezTo>
                      <a:pt x="3" y="244"/>
                      <a:pt x="2" y="246"/>
                      <a:pt x="2" y="246"/>
                    </a:cubicBezTo>
                    <a:cubicBezTo>
                      <a:pt x="2" y="247"/>
                      <a:pt x="0" y="249"/>
                      <a:pt x="0" y="249"/>
                    </a:cubicBezTo>
                    <a:cubicBezTo>
                      <a:pt x="0" y="251"/>
                      <a:pt x="0" y="251"/>
                      <a:pt x="0" y="251"/>
                    </a:cubicBezTo>
                    <a:cubicBezTo>
                      <a:pt x="0" y="251"/>
                      <a:pt x="0" y="251"/>
                      <a:pt x="0" y="251"/>
                    </a:cubicBezTo>
                    <a:cubicBezTo>
                      <a:pt x="0" y="252"/>
                      <a:pt x="0" y="252"/>
                      <a:pt x="0" y="252"/>
                    </a:cubicBezTo>
                    <a:cubicBezTo>
                      <a:pt x="0" y="252"/>
                      <a:pt x="0" y="252"/>
                      <a:pt x="0" y="252"/>
                    </a:cubicBezTo>
                    <a:cubicBezTo>
                      <a:pt x="0" y="252"/>
                      <a:pt x="0" y="253"/>
                      <a:pt x="0" y="253"/>
                    </a:cubicBezTo>
                    <a:cubicBezTo>
                      <a:pt x="0" y="253"/>
                      <a:pt x="0" y="253"/>
                      <a:pt x="0" y="253"/>
                    </a:cubicBezTo>
                    <a:cubicBezTo>
                      <a:pt x="0" y="253"/>
                      <a:pt x="0" y="254"/>
                      <a:pt x="0" y="254"/>
                    </a:cubicBezTo>
                    <a:cubicBezTo>
                      <a:pt x="0" y="254"/>
                      <a:pt x="1" y="254"/>
                      <a:pt x="1" y="255"/>
                    </a:cubicBezTo>
                    <a:cubicBezTo>
                      <a:pt x="1" y="255"/>
                      <a:pt x="1" y="255"/>
                      <a:pt x="0" y="255"/>
                    </a:cubicBezTo>
                    <a:cubicBezTo>
                      <a:pt x="0" y="255"/>
                      <a:pt x="1" y="255"/>
                      <a:pt x="1" y="256"/>
                    </a:cubicBezTo>
                    <a:cubicBezTo>
                      <a:pt x="1" y="256"/>
                      <a:pt x="1" y="257"/>
                      <a:pt x="1" y="257"/>
                    </a:cubicBezTo>
                    <a:cubicBezTo>
                      <a:pt x="1" y="257"/>
                      <a:pt x="1" y="258"/>
                      <a:pt x="1" y="258"/>
                    </a:cubicBezTo>
                    <a:cubicBezTo>
                      <a:pt x="1" y="258"/>
                      <a:pt x="2" y="258"/>
                      <a:pt x="2" y="258"/>
                    </a:cubicBezTo>
                    <a:cubicBezTo>
                      <a:pt x="2" y="258"/>
                      <a:pt x="2" y="259"/>
                      <a:pt x="2" y="259"/>
                    </a:cubicBezTo>
                    <a:cubicBezTo>
                      <a:pt x="2" y="259"/>
                      <a:pt x="2" y="259"/>
                      <a:pt x="2" y="259"/>
                    </a:cubicBezTo>
                    <a:cubicBezTo>
                      <a:pt x="2" y="260"/>
                      <a:pt x="2" y="260"/>
                      <a:pt x="2" y="260"/>
                    </a:cubicBezTo>
                    <a:cubicBezTo>
                      <a:pt x="2" y="260"/>
                      <a:pt x="3" y="260"/>
                      <a:pt x="3" y="260"/>
                    </a:cubicBezTo>
                    <a:cubicBezTo>
                      <a:pt x="3" y="259"/>
                      <a:pt x="5" y="258"/>
                      <a:pt x="5" y="258"/>
                    </a:cubicBezTo>
                    <a:cubicBezTo>
                      <a:pt x="5" y="258"/>
                      <a:pt x="6" y="259"/>
                      <a:pt x="6" y="259"/>
                    </a:cubicBezTo>
                    <a:cubicBezTo>
                      <a:pt x="6" y="259"/>
                      <a:pt x="6" y="259"/>
                      <a:pt x="7" y="258"/>
                    </a:cubicBezTo>
                    <a:cubicBezTo>
                      <a:pt x="7" y="258"/>
                      <a:pt x="7" y="258"/>
                      <a:pt x="7" y="258"/>
                    </a:cubicBezTo>
                    <a:cubicBezTo>
                      <a:pt x="7" y="258"/>
                      <a:pt x="8" y="258"/>
                      <a:pt x="8" y="258"/>
                    </a:cubicBezTo>
                    <a:cubicBezTo>
                      <a:pt x="8" y="258"/>
                      <a:pt x="8" y="259"/>
                      <a:pt x="8" y="259"/>
                    </a:cubicBezTo>
                    <a:cubicBezTo>
                      <a:pt x="8" y="259"/>
                      <a:pt x="8" y="259"/>
                      <a:pt x="8" y="259"/>
                    </a:cubicBezTo>
                    <a:cubicBezTo>
                      <a:pt x="8" y="259"/>
                      <a:pt x="8" y="260"/>
                      <a:pt x="8" y="260"/>
                    </a:cubicBezTo>
                    <a:cubicBezTo>
                      <a:pt x="8" y="260"/>
                      <a:pt x="9" y="261"/>
                      <a:pt x="9" y="261"/>
                    </a:cubicBezTo>
                    <a:cubicBezTo>
                      <a:pt x="9" y="261"/>
                      <a:pt x="9" y="262"/>
                      <a:pt x="9" y="262"/>
                    </a:cubicBezTo>
                    <a:cubicBezTo>
                      <a:pt x="9" y="263"/>
                      <a:pt x="9" y="263"/>
                      <a:pt x="9" y="263"/>
                    </a:cubicBezTo>
                    <a:cubicBezTo>
                      <a:pt x="9" y="263"/>
                      <a:pt x="9" y="263"/>
                      <a:pt x="8" y="263"/>
                    </a:cubicBezTo>
                    <a:cubicBezTo>
                      <a:pt x="8" y="263"/>
                      <a:pt x="8" y="263"/>
                      <a:pt x="8" y="263"/>
                    </a:cubicBezTo>
                    <a:cubicBezTo>
                      <a:pt x="8" y="263"/>
                      <a:pt x="7" y="263"/>
                      <a:pt x="8" y="264"/>
                    </a:cubicBezTo>
                    <a:cubicBezTo>
                      <a:pt x="8" y="264"/>
                      <a:pt x="8" y="265"/>
                      <a:pt x="9" y="265"/>
                    </a:cubicBezTo>
                    <a:cubicBezTo>
                      <a:pt x="9" y="265"/>
                      <a:pt x="9" y="265"/>
                      <a:pt x="9" y="265"/>
                    </a:cubicBezTo>
                    <a:cubicBezTo>
                      <a:pt x="9" y="265"/>
                      <a:pt x="9" y="265"/>
                      <a:pt x="9" y="265"/>
                    </a:cubicBezTo>
                    <a:cubicBezTo>
                      <a:pt x="8" y="266"/>
                      <a:pt x="8" y="266"/>
                      <a:pt x="8" y="266"/>
                    </a:cubicBezTo>
                    <a:cubicBezTo>
                      <a:pt x="8" y="266"/>
                      <a:pt x="8" y="266"/>
                      <a:pt x="8" y="266"/>
                    </a:cubicBezTo>
                    <a:cubicBezTo>
                      <a:pt x="8" y="266"/>
                      <a:pt x="8" y="266"/>
                      <a:pt x="8" y="267"/>
                    </a:cubicBezTo>
                    <a:cubicBezTo>
                      <a:pt x="8" y="267"/>
                      <a:pt x="8" y="267"/>
                      <a:pt x="8" y="268"/>
                    </a:cubicBezTo>
                    <a:cubicBezTo>
                      <a:pt x="8" y="268"/>
                      <a:pt x="8" y="268"/>
                      <a:pt x="8" y="268"/>
                    </a:cubicBezTo>
                    <a:cubicBezTo>
                      <a:pt x="7" y="269"/>
                      <a:pt x="7" y="269"/>
                      <a:pt x="7" y="269"/>
                    </a:cubicBezTo>
                    <a:cubicBezTo>
                      <a:pt x="8" y="269"/>
                      <a:pt x="8" y="269"/>
                      <a:pt x="8" y="269"/>
                    </a:cubicBezTo>
                    <a:cubicBezTo>
                      <a:pt x="8" y="269"/>
                      <a:pt x="8" y="270"/>
                      <a:pt x="8" y="270"/>
                    </a:cubicBezTo>
                    <a:cubicBezTo>
                      <a:pt x="9" y="270"/>
                      <a:pt x="9" y="270"/>
                      <a:pt x="9" y="271"/>
                    </a:cubicBezTo>
                    <a:cubicBezTo>
                      <a:pt x="9" y="271"/>
                      <a:pt x="10" y="271"/>
                      <a:pt x="10" y="272"/>
                    </a:cubicBezTo>
                    <a:cubicBezTo>
                      <a:pt x="11" y="272"/>
                      <a:pt x="11" y="272"/>
                      <a:pt x="11" y="272"/>
                    </a:cubicBezTo>
                    <a:cubicBezTo>
                      <a:pt x="11" y="272"/>
                      <a:pt x="11" y="273"/>
                      <a:pt x="11" y="273"/>
                    </a:cubicBezTo>
                    <a:cubicBezTo>
                      <a:pt x="11" y="273"/>
                      <a:pt x="11" y="273"/>
                      <a:pt x="11" y="273"/>
                    </a:cubicBezTo>
                    <a:cubicBezTo>
                      <a:pt x="11" y="273"/>
                      <a:pt x="10" y="273"/>
                      <a:pt x="10" y="273"/>
                    </a:cubicBezTo>
                    <a:cubicBezTo>
                      <a:pt x="10" y="273"/>
                      <a:pt x="10" y="273"/>
                      <a:pt x="10" y="273"/>
                    </a:cubicBezTo>
                    <a:cubicBezTo>
                      <a:pt x="10" y="273"/>
                      <a:pt x="10" y="273"/>
                      <a:pt x="10" y="273"/>
                    </a:cubicBezTo>
                    <a:cubicBezTo>
                      <a:pt x="10" y="274"/>
                      <a:pt x="11" y="274"/>
                      <a:pt x="11" y="274"/>
                    </a:cubicBezTo>
                    <a:cubicBezTo>
                      <a:pt x="25" y="274"/>
                      <a:pt x="25" y="274"/>
                      <a:pt x="25" y="274"/>
                    </a:cubicBezTo>
                    <a:cubicBezTo>
                      <a:pt x="25" y="274"/>
                      <a:pt x="26" y="274"/>
                      <a:pt x="26" y="274"/>
                    </a:cubicBezTo>
                    <a:cubicBezTo>
                      <a:pt x="27" y="275"/>
                      <a:pt x="27" y="275"/>
                      <a:pt x="28" y="276"/>
                    </a:cubicBezTo>
                    <a:cubicBezTo>
                      <a:pt x="29" y="276"/>
                      <a:pt x="29" y="276"/>
                      <a:pt x="30" y="276"/>
                    </a:cubicBezTo>
                    <a:cubicBezTo>
                      <a:pt x="31" y="276"/>
                      <a:pt x="32" y="277"/>
                      <a:pt x="33" y="277"/>
                    </a:cubicBezTo>
                    <a:cubicBezTo>
                      <a:pt x="34" y="277"/>
                      <a:pt x="35" y="277"/>
                      <a:pt x="36" y="278"/>
                    </a:cubicBezTo>
                    <a:cubicBezTo>
                      <a:pt x="36" y="278"/>
                      <a:pt x="36" y="278"/>
                      <a:pt x="36" y="278"/>
                    </a:cubicBezTo>
                    <a:cubicBezTo>
                      <a:pt x="36" y="278"/>
                      <a:pt x="36" y="278"/>
                      <a:pt x="36" y="278"/>
                    </a:cubicBezTo>
                    <a:cubicBezTo>
                      <a:pt x="36" y="278"/>
                      <a:pt x="36" y="277"/>
                      <a:pt x="36" y="277"/>
                    </a:cubicBezTo>
                    <a:cubicBezTo>
                      <a:pt x="35" y="276"/>
                      <a:pt x="35" y="275"/>
                      <a:pt x="34" y="274"/>
                    </a:cubicBezTo>
                    <a:cubicBezTo>
                      <a:pt x="34" y="273"/>
                      <a:pt x="33" y="273"/>
                      <a:pt x="33" y="272"/>
                    </a:cubicBezTo>
                    <a:cubicBezTo>
                      <a:pt x="33" y="272"/>
                      <a:pt x="33" y="271"/>
                      <a:pt x="32" y="271"/>
                    </a:cubicBezTo>
                    <a:cubicBezTo>
                      <a:pt x="32" y="270"/>
                      <a:pt x="32" y="270"/>
                      <a:pt x="32" y="270"/>
                    </a:cubicBezTo>
                    <a:cubicBezTo>
                      <a:pt x="32" y="270"/>
                      <a:pt x="32" y="270"/>
                      <a:pt x="32" y="270"/>
                    </a:cubicBezTo>
                    <a:cubicBezTo>
                      <a:pt x="32" y="270"/>
                      <a:pt x="31" y="270"/>
                      <a:pt x="31" y="270"/>
                    </a:cubicBezTo>
                    <a:cubicBezTo>
                      <a:pt x="30" y="270"/>
                      <a:pt x="30" y="270"/>
                      <a:pt x="30" y="270"/>
                    </a:cubicBezTo>
                    <a:cubicBezTo>
                      <a:pt x="29" y="270"/>
                      <a:pt x="28" y="269"/>
                      <a:pt x="28" y="269"/>
                    </a:cubicBezTo>
                    <a:cubicBezTo>
                      <a:pt x="28" y="269"/>
                      <a:pt x="28" y="269"/>
                      <a:pt x="28" y="269"/>
                    </a:cubicBezTo>
                    <a:cubicBezTo>
                      <a:pt x="29" y="269"/>
                      <a:pt x="30" y="269"/>
                      <a:pt x="30" y="269"/>
                    </a:cubicBezTo>
                    <a:cubicBezTo>
                      <a:pt x="30" y="269"/>
                      <a:pt x="30" y="269"/>
                      <a:pt x="31" y="269"/>
                    </a:cubicBezTo>
                    <a:cubicBezTo>
                      <a:pt x="31" y="269"/>
                      <a:pt x="32" y="269"/>
                      <a:pt x="32" y="269"/>
                    </a:cubicBezTo>
                    <a:cubicBezTo>
                      <a:pt x="32" y="269"/>
                      <a:pt x="32" y="268"/>
                      <a:pt x="32" y="267"/>
                    </a:cubicBezTo>
                    <a:cubicBezTo>
                      <a:pt x="32" y="267"/>
                      <a:pt x="31" y="267"/>
                      <a:pt x="31" y="266"/>
                    </a:cubicBezTo>
                    <a:cubicBezTo>
                      <a:pt x="31" y="266"/>
                      <a:pt x="31" y="266"/>
                      <a:pt x="31" y="265"/>
                    </a:cubicBezTo>
                    <a:cubicBezTo>
                      <a:pt x="31" y="265"/>
                      <a:pt x="31" y="264"/>
                      <a:pt x="31" y="264"/>
                    </a:cubicBezTo>
                    <a:cubicBezTo>
                      <a:pt x="31" y="263"/>
                      <a:pt x="31" y="263"/>
                      <a:pt x="31" y="263"/>
                    </a:cubicBezTo>
                    <a:cubicBezTo>
                      <a:pt x="31" y="263"/>
                      <a:pt x="31" y="262"/>
                      <a:pt x="30" y="262"/>
                    </a:cubicBezTo>
                    <a:cubicBezTo>
                      <a:pt x="30" y="262"/>
                      <a:pt x="30" y="263"/>
                      <a:pt x="30" y="263"/>
                    </a:cubicBezTo>
                    <a:cubicBezTo>
                      <a:pt x="30" y="263"/>
                      <a:pt x="29" y="263"/>
                      <a:pt x="29" y="264"/>
                    </a:cubicBezTo>
                    <a:cubicBezTo>
                      <a:pt x="29" y="264"/>
                      <a:pt x="29" y="264"/>
                      <a:pt x="29" y="263"/>
                    </a:cubicBezTo>
                    <a:cubicBezTo>
                      <a:pt x="29" y="263"/>
                      <a:pt x="30" y="262"/>
                      <a:pt x="30" y="262"/>
                    </a:cubicBezTo>
                    <a:cubicBezTo>
                      <a:pt x="30" y="262"/>
                      <a:pt x="31" y="260"/>
                      <a:pt x="31" y="260"/>
                    </a:cubicBezTo>
                    <a:cubicBezTo>
                      <a:pt x="31" y="259"/>
                      <a:pt x="31" y="258"/>
                      <a:pt x="31" y="258"/>
                    </a:cubicBezTo>
                    <a:cubicBezTo>
                      <a:pt x="32" y="257"/>
                      <a:pt x="32" y="255"/>
                      <a:pt x="33" y="255"/>
                    </a:cubicBezTo>
                    <a:cubicBezTo>
                      <a:pt x="34" y="254"/>
                      <a:pt x="36" y="254"/>
                      <a:pt x="36" y="254"/>
                    </a:cubicBezTo>
                    <a:cubicBezTo>
                      <a:pt x="36" y="253"/>
                      <a:pt x="36" y="253"/>
                      <a:pt x="35" y="252"/>
                    </a:cubicBezTo>
                    <a:cubicBezTo>
                      <a:pt x="35" y="252"/>
                      <a:pt x="35" y="252"/>
                      <a:pt x="35" y="252"/>
                    </a:cubicBezTo>
                    <a:cubicBezTo>
                      <a:pt x="34" y="251"/>
                      <a:pt x="34" y="252"/>
                      <a:pt x="34" y="251"/>
                    </a:cubicBezTo>
                    <a:cubicBezTo>
                      <a:pt x="33" y="251"/>
                      <a:pt x="34" y="251"/>
                      <a:pt x="34" y="251"/>
                    </a:cubicBezTo>
                    <a:cubicBezTo>
                      <a:pt x="34" y="251"/>
                      <a:pt x="34" y="251"/>
                      <a:pt x="34" y="251"/>
                    </a:cubicBezTo>
                    <a:cubicBezTo>
                      <a:pt x="35" y="251"/>
                      <a:pt x="35" y="251"/>
                      <a:pt x="35" y="250"/>
                    </a:cubicBezTo>
                    <a:cubicBezTo>
                      <a:pt x="35" y="250"/>
                      <a:pt x="35" y="250"/>
                      <a:pt x="35" y="250"/>
                    </a:cubicBezTo>
                    <a:cubicBezTo>
                      <a:pt x="35" y="250"/>
                      <a:pt x="36" y="251"/>
                      <a:pt x="36" y="252"/>
                    </a:cubicBezTo>
                    <a:cubicBezTo>
                      <a:pt x="36" y="252"/>
                      <a:pt x="36" y="252"/>
                      <a:pt x="37" y="252"/>
                    </a:cubicBezTo>
                    <a:cubicBezTo>
                      <a:pt x="37" y="253"/>
                      <a:pt x="38" y="252"/>
                      <a:pt x="39" y="252"/>
                    </a:cubicBezTo>
                    <a:cubicBezTo>
                      <a:pt x="39" y="252"/>
                      <a:pt x="39" y="252"/>
                      <a:pt x="40" y="251"/>
                    </a:cubicBezTo>
                    <a:cubicBezTo>
                      <a:pt x="40" y="251"/>
                      <a:pt x="40" y="250"/>
                      <a:pt x="40" y="250"/>
                    </a:cubicBezTo>
                    <a:cubicBezTo>
                      <a:pt x="40" y="249"/>
                      <a:pt x="40" y="249"/>
                      <a:pt x="40" y="249"/>
                    </a:cubicBezTo>
                    <a:cubicBezTo>
                      <a:pt x="41" y="248"/>
                      <a:pt x="41" y="248"/>
                      <a:pt x="41" y="248"/>
                    </a:cubicBezTo>
                    <a:cubicBezTo>
                      <a:pt x="41" y="247"/>
                      <a:pt x="41" y="247"/>
                      <a:pt x="41" y="247"/>
                    </a:cubicBezTo>
                    <a:cubicBezTo>
                      <a:pt x="41" y="247"/>
                      <a:pt x="41" y="246"/>
                      <a:pt x="41" y="246"/>
                    </a:cubicBezTo>
                    <a:cubicBezTo>
                      <a:pt x="41" y="245"/>
                      <a:pt x="41" y="245"/>
                      <a:pt x="41" y="245"/>
                    </a:cubicBezTo>
                    <a:cubicBezTo>
                      <a:pt x="41" y="245"/>
                      <a:pt x="42" y="244"/>
                      <a:pt x="42" y="244"/>
                    </a:cubicBezTo>
                    <a:cubicBezTo>
                      <a:pt x="42" y="244"/>
                      <a:pt x="42" y="244"/>
                      <a:pt x="41" y="244"/>
                    </a:cubicBezTo>
                    <a:cubicBezTo>
                      <a:pt x="41" y="244"/>
                      <a:pt x="41" y="244"/>
                      <a:pt x="41" y="244"/>
                    </a:cubicBezTo>
                    <a:cubicBezTo>
                      <a:pt x="41" y="244"/>
                      <a:pt x="41" y="244"/>
                      <a:pt x="41" y="245"/>
                    </a:cubicBezTo>
                    <a:cubicBezTo>
                      <a:pt x="41" y="245"/>
                      <a:pt x="40" y="245"/>
                      <a:pt x="40" y="245"/>
                    </a:cubicBezTo>
                    <a:cubicBezTo>
                      <a:pt x="40" y="245"/>
                      <a:pt x="40" y="244"/>
                      <a:pt x="40" y="244"/>
                    </a:cubicBezTo>
                    <a:cubicBezTo>
                      <a:pt x="40" y="244"/>
                      <a:pt x="40" y="244"/>
                      <a:pt x="41" y="244"/>
                    </a:cubicBezTo>
                    <a:cubicBezTo>
                      <a:pt x="41" y="244"/>
                      <a:pt x="41" y="243"/>
                      <a:pt x="41" y="243"/>
                    </a:cubicBezTo>
                    <a:cubicBezTo>
                      <a:pt x="41" y="243"/>
                      <a:pt x="41" y="243"/>
                      <a:pt x="41" y="243"/>
                    </a:cubicBezTo>
                    <a:cubicBezTo>
                      <a:pt x="41" y="243"/>
                      <a:pt x="41" y="242"/>
                      <a:pt x="41" y="242"/>
                    </a:cubicBezTo>
                    <a:cubicBezTo>
                      <a:pt x="42" y="242"/>
                      <a:pt x="42" y="241"/>
                      <a:pt x="42" y="241"/>
                    </a:cubicBezTo>
                    <a:cubicBezTo>
                      <a:pt x="42" y="241"/>
                      <a:pt x="42" y="241"/>
                      <a:pt x="42" y="241"/>
                    </a:cubicBezTo>
                    <a:cubicBezTo>
                      <a:pt x="42" y="240"/>
                      <a:pt x="43" y="240"/>
                      <a:pt x="43" y="240"/>
                    </a:cubicBezTo>
                    <a:cubicBezTo>
                      <a:pt x="43" y="239"/>
                      <a:pt x="43" y="239"/>
                      <a:pt x="44" y="239"/>
                    </a:cubicBezTo>
                    <a:cubicBezTo>
                      <a:pt x="44" y="239"/>
                      <a:pt x="44" y="239"/>
                      <a:pt x="44" y="239"/>
                    </a:cubicBezTo>
                    <a:cubicBezTo>
                      <a:pt x="44" y="239"/>
                      <a:pt x="44" y="238"/>
                      <a:pt x="45" y="238"/>
                    </a:cubicBezTo>
                    <a:cubicBezTo>
                      <a:pt x="45" y="238"/>
                      <a:pt x="45" y="238"/>
                      <a:pt x="45" y="237"/>
                    </a:cubicBezTo>
                    <a:cubicBezTo>
                      <a:pt x="45" y="237"/>
                      <a:pt x="46" y="237"/>
                      <a:pt x="46" y="236"/>
                    </a:cubicBezTo>
                    <a:cubicBezTo>
                      <a:pt x="46" y="236"/>
                      <a:pt x="47" y="236"/>
                      <a:pt x="47" y="236"/>
                    </a:cubicBezTo>
                    <a:cubicBezTo>
                      <a:pt x="47" y="236"/>
                      <a:pt x="47" y="235"/>
                      <a:pt x="48" y="235"/>
                    </a:cubicBezTo>
                    <a:cubicBezTo>
                      <a:pt x="48" y="235"/>
                      <a:pt x="48" y="235"/>
                      <a:pt x="48" y="235"/>
                    </a:cubicBezTo>
                    <a:cubicBezTo>
                      <a:pt x="49" y="234"/>
                      <a:pt x="49" y="235"/>
                      <a:pt x="50" y="234"/>
                    </a:cubicBezTo>
                    <a:cubicBezTo>
                      <a:pt x="50" y="234"/>
                      <a:pt x="50" y="234"/>
                      <a:pt x="50" y="234"/>
                    </a:cubicBezTo>
                    <a:cubicBezTo>
                      <a:pt x="50" y="234"/>
                      <a:pt x="50" y="233"/>
                      <a:pt x="51" y="233"/>
                    </a:cubicBezTo>
                    <a:cubicBezTo>
                      <a:pt x="51" y="233"/>
                      <a:pt x="51" y="233"/>
                      <a:pt x="51" y="233"/>
                    </a:cubicBezTo>
                    <a:cubicBezTo>
                      <a:pt x="51" y="232"/>
                      <a:pt x="51" y="232"/>
                      <a:pt x="51" y="232"/>
                    </a:cubicBezTo>
                    <a:cubicBezTo>
                      <a:pt x="51" y="232"/>
                      <a:pt x="52" y="232"/>
                      <a:pt x="52" y="232"/>
                    </a:cubicBezTo>
                    <a:cubicBezTo>
                      <a:pt x="52" y="232"/>
                      <a:pt x="52" y="232"/>
                      <a:pt x="52" y="232"/>
                    </a:cubicBezTo>
                    <a:cubicBezTo>
                      <a:pt x="52" y="231"/>
                      <a:pt x="52" y="231"/>
                      <a:pt x="53" y="231"/>
                    </a:cubicBezTo>
                    <a:cubicBezTo>
                      <a:pt x="53" y="231"/>
                      <a:pt x="53" y="231"/>
                      <a:pt x="53" y="231"/>
                    </a:cubicBezTo>
                    <a:cubicBezTo>
                      <a:pt x="53" y="231"/>
                      <a:pt x="53" y="230"/>
                      <a:pt x="53" y="230"/>
                    </a:cubicBezTo>
                    <a:cubicBezTo>
                      <a:pt x="53" y="230"/>
                      <a:pt x="53" y="230"/>
                      <a:pt x="53" y="229"/>
                    </a:cubicBezTo>
                    <a:cubicBezTo>
                      <a:pt x="54" y="229"/>
                      <a:pt x="54" y="229"/>
                      <a:pt x="54" y="229"/>
                    </a:cubicBezTo>
                    <a:cubicBezTo>
                      <a:pt x="54" y="229"/>
                      <a:pt x="54" y="229"/>
                      <a:pt x="54" y="229"/>
                    </a:cubicBezTo>
                    <a:cubicBezTo>
                      <a:pt x="54" y="229"/>
                      <a:pt x="54" y="229"/>
                      <a:pt x="54" y="228"/>
                    </a:cubicBezTo>
                    <a:cubicBezTo>
                      <a:pt x="54" y="228"/>
                      <a:pt x="54" y="228"/>
                      <a:pt x="54" y="228"/>
                    </a:cubicBezTo>
                    <a:cubicBezTo>
                      <a:pt x="54" y="227"/>
                      <a:pt x="54" y="227"/>
                      <a:pt x="54" y="227"/>
                    </a:cubicBezTo>
                    <a:cubicBezTo>
                      <a:pt x="55" y="226"/>
                      <a:pt x="55" y="226"/>
                      <a:pt x="55" y="225"/>
                    </a:cubicBezTo>
                    <a:cubicBezTo>
                      <a:pt x="55" y="225"/>
                      <a:pt x="55" y="223"/>
                      <a:pt x="55" y="223"/>
                    </a:cubicBezTo>
                    <a:cubicBezTo>
                      <a:pt x="55" y="223"/>
                      <a:pt x="55" y="222"/>
                      <a:pt x="54" y="221"/>
                    </a:cubicBezTo>
                    <a:cubicBezTo>
                      <a:pt x="54" y="220"/>
                      <a:pt x="53" y="221"/>
                      <a:pt x="52" y="221"/>
                    </a:cubicBezTo>
                    <a:cubicBezTo>
                      <a:pt x="52" y="220"/>
                      <a:pt x="51" y="221"/>
                      <a:pt x="50" y="220"/>
                    </a:cubicBezTo>
                    <a:cubicBezTo>
                      <a:pt x="49" y="220"/>
                      <a:pt x="48" y="220"/>
                      <a:pt x="48" y="220"/>
                    </a:cubicBezTo>
                    <a:cubicBezTo>
                      <a:pt x="47" y="220"/>
                      <a:pt x="47" y="219"/>
                      <a:pt x="46" y="219"/>
                    </a:cubicBezTo>
                    <a:cubicBezTo>
                      <a:pt x="46" y="218"/>
                      <a:pt x="45" y="218"/>
                      <a:pt x="45" y="217"/>
                    </a:cubicBezTo>
                    <a:cubicBezTo>
                      <a:pt x="45" y="217"/>
                      <a:pt x="45" y="216"/>
                      <a:pt x="44" y="216"/>
                    </a:cubicBezTo>
                    <a:cubicBezTo>
                      <a:pt x="44" y="216"/>
                      <a:pt x="43" y="215"/>
                      <a:pt x="43" y="215"/>
                    </a:cubicBezTo>
                    <a:cubicBezTo>
                      <a:pt x="42" y="215"/>
                      <a:pt x="43" y="214"/>
                      <a:pt x="42" y="214"/>
                    </a:cubicBezTo>
                    <a:cubicBezTo>
                      <a:pt x="42" y="213"/>
                      <a:pt x="42" y="213"/>
                      <a:pt x="42" y="212"/>
                    </a:cubicBezTo>
                    <a:cubicBezTo>
                      <a:pt x="41" y="212"/>
                      <a:pt x="41" y="211"/>
                      <a:pt x="41" y="211"/>
                    </a:cubicBezTo>
                    <a:cubicBezTo>
                      <a:pt x="41" y="211"/>
                      <a:pt x="41" y="211"/>
                      <a:pt x="41" y="210"/>
                    </a:cubicBezTo>
                    <a:cubicBezTo>
                      <a:pt x="41" y="210"/>
                      <a:pt x="42" y="209"/>
                      <a:pt x="42" y="209"/>
                    </a:cubicBezTo>
                    <a:cubicBezTo>
                      <a:pt x="42" y="209"/>
                      <a:pt x="42" y="209"/>
                      <a:pt x="42" y="209"/>
                    </a:cubicBezTo>
                    <a:cubicBezTo>
                      <a:pt x="42" y="209"/>
                      <a:pt x="42" y="208"/>
                      <a:pt x="43" y="208"/>
                    </a:cubicBezTo>
                    <a:cubicBezTo>
                      <a:pt x="43" y="207"/>
                      <a:pt x="43" y="207"/>
                      <a:pt x="43" y="207"/>
                    </a:cubicBezTo>
                    <a:cubicBezTo>
                      <a:pt x="43" y="207"/>
                      <a:pt x="43" y="206"/>
                      <a:pt x="43" y="206"/>
                    </a:cubicBezTo>
                    <a:cubicBezTo>
                      <a:pt x="43" y="206"/>
                      <a:pt x="43" y="205"/>
                      <a:pt x="44" y="205"/>
                    </a:cubicBezTo>
                    <a:cubicBezTo>
                      <a:pt x="44" y="205"/>
                      <a:pt x="44" y="205"/>
                      <a:pt x="44" y="205"/>
                    </a:cubicBezTo>
                    <a:cubicBezTo>
                      <a:pt x="44" y="205"/>
                      <a:pt x="45" y="204"/>
                      <a:pt x="45" y="204"/>
                    </a:cubicBezTo>
                    <a:cubicBezTo>
                      <a:pt x="45" y="203"/>
                      <a:pt x="45" y="203"/>
                      <a:pt x="45" y="203"/>
                    </a:cubicBezTo>
                    <a:cubicBezTo>
                      <a:pt x="46" y="203"/>
                      <a:pt x="47" y="202"/>
                      <a:pt x="47" y="202"/>
                    </a:cubicBezTo>
                    <a:cubicBezTo>
                      <a:pt x="47" y="201"/>
                      <a:pt x="49" y="202"/>
                      <a:pt x="49" y="202"/>
                    </a:cubicBezTo>
                    <a:cubicBezTo>
                      <a:pt x="49" y="202"/>
                      <a:pt x="49" y="201"/>
                      <a:pt x="49" y="201"/>
                    </a:cubicBezTo>
                    <a:cubicBezTo>
                      <a:pt x="49" y="200"/>
                      <a:pt x="50" y="200"/>
                      <a:pt x="50" y="200"/>
                    </a:cubicBezTo>
                    <a:cubicBezTo>
                      <a:pt x="50" y="200"/>
                      <a:pt x="50" y="200"/>
                      <a:pt x="50" y="200"/>
                    </a:cubicBezTo>
                    <a:cubicBezTo>
                      <a:pt x="50" y="200"/>
                      <a:pt x="51" y="200"/>
                      <a:pt x="51" y="200"/>
                    </a:cubicBezTo>
                    <a:cubicBezTo>
                      <a:pt x="51" y="200"/>
                      <a:pt x="51" y="199"/>
                      <a:pt x="52" y="199"/>
                    </a:cubicBezTo>
                    <a:cubicBezTo>
                      <a:pt x="52" y="199"/>
                      <a:pt x="52" y="199"/>
                      <a:pt x="52" y="199"/>
                    </a:cubicBezTo>
                    <a:cubicBezTo>
                      <a:pt x="52" y="199"/>
                      <a:pt x="52" y="199"/>
                      <a:pt x="53" y="199"/>
                    </a:cubicBezTo>
                    <a:cubicBezTo>
                      <a:pt x="53" y="200"/>
                      <a:pt x="53" y="199"/>
                      <a:pt x="53" y="199"/>
                    </a:cubicBezTo>
                    <a:cubicBezTo>
                      <a:pt x="53" y="199"/>
                      <a:pt x="53" y="200"/>
                      <a:pt x="54" y="200"/>
                    </a:cubicBezTo>
                    <a:cubicBezTo>
                      <a:pt x="54" y="200"/>
                      <a:pt x="54" y="199"/>
                      <a:pt x="54" y="199"/>
                    </a:cubicBezTo>
                    <a:cubicBezTo>
                      <a:pt x="54" y="199"/>
                      <a:pt x="55" y="200"/>
                      <a:pt x="55" y="200"/>
                    </a:cubicBezTo>
                    <a:cubicBezTo>
                      <a:pt x="55" y="200"/>
                      <a:pt x="55" y="200"/>
                      <a:pt x="55" y="200"/>
                    </a:cubicBezTo>
                    <a:cubicBezTo>
                      <a:pt x="56" y="200"/>
                      <a:pt x="56" y="199"/>
                      <a:pt x="56" y="199"/>
                    </a:cubicBezTo>
                    <a:cubicBezTo>
                      <a:pt x="56" y="199"/>
                      <a:pt x="56" y="199"/>
                      <a:pt x="56" y="198"/>
                    </a:cubicBezTo>
                    <a:cubicBezTo>
                      <a:pt x="56" y="198"/>
                      <a:pt x="56" y="198"/>
                      <a:pt x="56" y="198"/>
                    </a:cubicBezTo>
                    <a:cubicBezTo>
                      <a:pt x="55" y="198"/>
                      <a:pt x="55" y="198"/>
                      <a:pt x="55" y="198"/>
                    </a:cubicBezTo>
                    <a:cubicBezTo>
                      <a:pt x="55" y="198"/>
                      <a:pt x="55" y="197"/>
                      <a:pt x="55" y="197"/>
                    </a:cubicBezTo>
                    <a:cubicBezTo>
                      <a:pt x="55" y="197"/>
                      <a:pt x="55" y="196"/>
                      <a:pt x="55" y="196"/>
                    </a:cubicBezTo>
                    <a:cubicBezTo>
                      <a:pt x="56" y="196"/>
                      <a:pt x="56" y="195"/>
                      <a:pt x="56" y="195"/>
                    </a:cubicBezTo>
                    <a:cubicBezTo>
                      <a:pt x="57" y="195"/>
                      <a:pt x="57" y="195"/>
                      <a:pt x="57" y="195"/>
                    </a:cubicBezTo>
                    <a:cubicBezTo>
                      <a:pt x="57" y="195"/>
                      <a:pt x="57" y="194"/>
                      <a:pt x="58" y="194"/>
                    </a:cubicBezTo>
                    <a:cubicBezTo>
                      <a:pt x="58" y="194"/>
                      <a:pt x="58" y="193"/>
                      <a:pt x="58" y="193"/>
                    </a:cubicBezTo>
                    <a:cubicBezTo>
                      <a:pt x="58" y="193"/>
                      <a:pt x="58" y="193"/>
                      <a:pt x="58" y="193"/>
                    </a:cubicBezTo>
                    <a:cubicBezTo>
                      <a:pt x="58" y="192"/>
                      <a:pt x="58" y="192"/>
                      <a:pt x="58" y="192"/>
                    </a:cubicBezTo>
                    <a:cubicBezTo>
                      <a:pt x="58" y="192"/>
                      <a:pt x="58" y="191"/>
                      <a:pt x="58" y="191"/>
                    </a:cubicBezTo>
                    <a:cubicBezTo>
                      <a:pt x="58" y="191"/>
                      <a:pt x="58" y="191"/>
                      <a:pt x="58" y="191"/>
                    </a:cubicBezTo>
                    <a:cubicBezTo>
                      <a:pt x="58" y="191"/>
                      <a:pt x="58" y="190"/>
                      <a:pt x="58" y="190"/>
                    </a:cubicBezTo>
                    <a:cubicBezTo>
                      <a:pt x="58" y="190"/>
                      <a:pt x="58" y="189"/>
                      <a:pt x="58" y="189"/>
                    </a:cubicBezTo>
                    <a:cubicBezTo>
                      <a:pt x="58" y="189"/>
                      <a:pt x="58" y="189"/>
                      <a:pt x="58" y="189"/>
                    </a:cubicBezTo>
                    <a:cubicBezTo>
                      <a:pt x="58" y="188"/>
                      <a:pt x="58" y="188"/>
                      <a:pt x="58" y="188"/>
                    </a:cubicBezTo>
                    <a:cubicBezTo>
                      <a:pt x="57" y="187"/>
                      <a:pt x="57" y="187"/>
                      <a:pt x="57" y="187"/>
                    </a:cubicBezTo>
                    <a:cubicBezTo>
                      <a:pt x="57" y="187"/>
                      <a:pt x="58" y="186"/>
                      <a:pt x="58" y="186"/>
                    </a:cubicBezTo>
                    <a:cubicBezTo>
                      <a:pt x="58" y="186"/>
                      <a:pt x="58" y="185"/>
                      <a:pt x="59" y="185"/>
                    </a:cubicBezTo>
                    <a:cubicBezTo>
                      <a:pt x="59" y="185"/>
                      <a:pt x="59" y="184"/>
                      <a:pt x="59" y="184"/>
                    </a:cubicBezTo>
                    <a:cubicBezTo>
                      <a:pt x="60" y="184"/>
                      <a:pt x="60" y="183"/>
                      <a:pt x="60" y="183"/>
                    </a:cubicBezTo>
                    <a:cubicBezTo>
                      <a:pt x="60" y="182"/>
                      <a:pt x="60" y="182"/>
                      <a:pt x="60" y="182"/>
                    </a:cubicBezTo>
                    <a:cubicBezTo>
                      <a:pt x="61" y="181"/>
                      <a:pt x="62" y="181"/>
                      <a:pt x="62" y="181"/>
                    </a:cubicBezTo>
                    <a:cubicBezTo>
                      <a:pt x="63" y="180"/>
                      <a:pt x="64" y="180"/>
                      <a:pt x="64" y="180"/>
                    </a:cubicBezTo>
                    <a:cubicBezTo>
                      <a:pt x="65" y="180"/>
                      <a:pt x="65" y="180"/>
                      <a:pt x="65" y="180"/>
                    </a:cubicBezTo>
                    <a:cubicBezTo>
                      <a:pt x="65" y="179"/>
                      <a:pt x="65" y="179"/>
                      <a:pt x="65" y="179"/>
                    </a:cubicBezTo>
                    <a:cubicBezTo>
                      <a:pt x="65" y="179"/>
                      <a:pt x="64" y="179"/>
                      <a:pt x="64" y="179"/>
                    </a:cubicBezTo>
                    <a:cubicBezTo>
                      <a:pt x="64" y="179"/>
                      <a:pt x="64" y="179"/>
                      <a:pt x="63" y="179"/>
                    </a:cubicBezTo>
                    <a:cubicBezTo>
                      <a:pt x="63" y="179"/>
                      <a:pt x="62" y="179"/>
                      <a:pt x="62" y="179"/>
                    </a:cubicBezTo>
                    <a:cubicBezTo>
                      <a:pt x="62" y="179"/>
                      <a:pt x="62" y="178"/>
                      <a:pt x="62" y="178"/>
                    </a:cubicBezTo>
                    <a:cubicBezTo>
                      <a:pt x="61" y="178"/>
                      <a:pt x="61" y="178"/>
                      <a:pt x="61" y="178"/>
                    </a:cubicBezTo>
                    <a:cubicBezTo>
                      <a:pt x="60" y="178"/>
                      <a:pt x="60" y="178"/>
                      <a:pt x="60" y="177"/>
                    </a:cubicBezTo>
                    <a:cubicBezTo>
                      <a:pt x="60" y="177"/>
                      <a:pt x="60" y="177"/>
                      <a:pt x="60" y="177"/>
                    </a:cubicBezTo>
                    <a:cubicBezTo>
                      <a:pt x="60" y="177"/>
                      <a:pt x="60" y="177"/>
                      <a:pt x="60" y="176"/>
                    </a:cubicBezTo>
                    <a:cubicBezTo>
                      <a:pt x="60" y="176"/>
                      <a:pt x="60" y="176"/>
                      <a:pt x="60" y="176"/>
                    </a:cubicBezTo>
                    <a:cubicBezTo>
                      <a:pt x="61" y="176"/>
                      <a:pt x="61" y="176"/>
                      <a:pt x="61" y="176"/>
                    </a:cubicBezTo>
                    <a:cubicBezTo>
                      <a:pt x="62" y="176"/>
                      <a:pt x="62" y="175"/>
                      <a:pt x="62" y="175"/>
                    </a:cubicBezTo>
                    <a:cubicBezTo>
                      <a:pt x="62" y="175"/>
                      <a:pt x="63" y="175"/>
                      <a:pt x="63" y="175"/>
                    </a:cubicBezTo>
                    <a:cubicBezTo>
                      <a:pt x="63" y="175"/>
                      <a:pt x="64" y="175"/>
                      <a:pt x="64" y="175"/>
                    </a:cubicBezTo>
                    <a:cubicBezTo>
                      <a:pt x="64" y="175"/>
                      <a:pt x="65" y="175"/>
                      <a:pt x="65" y="175"/>
                    </a:cubicBezTo>
                    <a:cubicBezTo>
                      <a:pt x="65" y="175"/>
                      <a:pt x="65" y="176"/>
                      <a:pt x="65" y="176"/>
                    </a:cubicBezTo>
                    <a:cubicBezTo>
                      <a:pt x="65" y="176"/>
                      <a:pt x="66" y="176"/>
                      <a:pt x="66" y="176"/>
                    </a:cubicBezTo>
                    <a:cubicBezTo>
                      <a:pt x="66" y="177"/>
                      <a:pt x="65" y="177"/>
                      <a:pt x="65" y="177"/>
                    </a:cubicBezTo>
                    <a:cubicBezTo>
                      <a:pt x="65" y="177"/>
                      <a:pt x="65" y="177"/>
                      <a:pt x="65" y="177"/>
                    </a:cubicBezTo>
                    <a:cubicBezTo>
                      <a:pt x="66" y="178"/>
                      <a:pt x="65" y="178"/>
                      <a:pt x="65" y="178"/>
                    </a:cubicBezTo>
                    <a:cubicBezTo>
                      <a:pt x="65" y="178"/>
                      <a:pt x="66" y="178"/>
                      <a:pt x="66" y="178"/>
                    </a:cubicBezTo>
                    <a:cubicBezTo>
                      <a:pt x="66" y="178"/>
                      <a:pt x="67" y="178"/>
                      <a:pt x="67" y="178"/>
                    </a:cubicBezTo>
                    <a:cubicBezTo>
                      <a:pt x="67" y="178"/>
                      <a:pt x="68" y="178"/>
                      <a:pt x="68" y="178"/>
                    </a:cubicBezTo>
                    <a:cubicBezTo>
                      <a:pt x="68" y="178"/>
                      <a:pt x="69" y="178"/>
                      <a:pt x="69" y="178"/>
                    </a:cubicBezTo>
                    <a:cubicBezTo>
                      <a:pt x="69" y="178"/>
                      <a:pt x="69" y="178"/>
                      <a:pt x="69" y="178"/>
                    </a:cubicBezTo>
                    <a:cubicBezTo>
                      <a:pt x="69" y="178"/>
                      <a:pt x="69" y="178"/>
                      <a:pt x="69" y="177"/>
                    </a:cubicBezTo>
                    <a:cubicBezTo>
                      <a:pt x="69" y="177"/>
                      <a:pt x="69" y="177"/>
                      <a:pt x="69" y="177"/>
                    </a:cubicBezTo>
                    <a:cubicBezTo>
                      <a:pt x="69" y="177"/>
                      <a:pt x="70" y="176"/>
                      <a:pt x="70" y="176"/>
                    </a:cubicBezTo>
                    <a:cubicBezTo>
                      <a:pt x="70" y="176"/>
                      <a:pt x="70" y="175"/>
                      <a:pt x="70" y="174"/>
                    </a:cubicBezTo>
                    <a:cubicBezTo>
                      <a:pt x="70" y="174"/>
                      <a:pt x="70" y="174"/>
                      <a:pt x="69" y="174"/>
                    </a:cubicBezTo>
                    <a:cubicBezTo>
                      <a:pt x="69" y="173"/>
                      <a:pt x="70" y="173"/>
                      <a:pt x="70" y="173"/>
                    </a:cubicBezTo>
                    <a:cubicBezTo>
                      <a:pt x="70" y="173"/>
                      <a:pt x="70" y="173"/>
                      <a:pt x="70" y="173"/>
                    </a:cubicBezTo>
                    <a:cubicBezTo>
                      <a:pt x="69" y="172"/>
                      <a:pt x="69" y="172"/>
                      <a:pt x="69" y="172"/>
                    </a:cubicBezTo>
                    <a:cubicBezTo>
                      <a:pt x="69" y="172"/>
                      <a:pt x="69" y="171"/>
                      <a:pt x="69" y="171"/>
                    </a:cubicBezTo>
                    <a:cubicBezTo>
                      <a:pt x="68" y="171"/>
                      <a:pt x="68" y="171"/>
                      <a:pt x="67" y="171"/>
                    </a:cubicBezTo>
                    <a:cubicBezTo>
                      <a:pt x="67" y="171"/>
                      <a:pt x="67" y="172"/>
                      <a:pt x="66" y="172"/>
                    </a:cubicBezTo>
                    <a:cubicBezTo>
                      <a:pt x="66" y="172"/>
                      <a:pt x="65" y="172"/>
                      <a:pt x="65" y="172"/>
                    </a:cubicBezTo>
                    <a:cubicBezTo>
                      <a:pt x="65" y="172"/>
                      <a:pt x="65" y="172"/>
                      <a:pt x="65" y="172"/>
                    </a:cubicBezTo>
                    <a:cubicBezTo>
                      <a:pt x="65" y="172"/>
                      <a:pt x="66" y="172"/>
                      <a:pt x="66" y="173"/>
                    </a:cubicBezTo>
                    <a:cubicBezTo>
                      <a:pt x="67" y="173"/>
                      <a:pt x="67" y="173"/>
                      <a:pt x="67" y="173"/>
                    </a:cubicBezTo>
                    <a:cubicBezTo>
                      <a:pt x="67" y="173"/>
                      <a:pt x="67" y="174"/>
                      <a:pt x="67" y="174"/>
                    </a:cubicBezTo>
                    <a:cubicBezTo>
                      <a:pt x="66" y="174"/>
                      <a:pt x="66" y="174"/>
                      <a:pt x="66" y="174"/>
                    </a:cubicBezTo>
                    <a:cubicBezTo>
                      <a:pt x="66" y="174"/>
                      <a:pt x="66" y="174"/>
                      <a:pt x="66" y="174"/>
                    </a:cubicBezTo>
                    <a:cubicBezTo>
                      <a:pt x="66" y="174"/>
                      <a:pt x="65" y="174"/>
                      <a:pt x="65" y="174"/>
                    </a:cubicBezTo>
                    <a:cubicBezTo>
                      <a:pt x="65" y="174"/>
                      <a:pt x="65" y="174"/>
                      <a:pt x="65" y="174"/>
                    </a:cubicBezTo>
                    <a:cubicBezTo>
                      <a:pt x="65" y="174"/>
                      <a:pt x="64" y="174"/>
                      <a:pt x="63" y="174"/>
                    </a:cubicBezTo>
                    <a:cubicBezTo>
                      <a:pt x="63" y="174"/>
                      <a:pt x="64" y="172"/>
                      <a:pt x="64" y="172"/>
                    </a:cubicBezTo>
                    <a:cubicBezTo>
                      <a:pt x="64" y="172"/>
                      <a:pt x="63" y="172"/>
                      <a:pt x="63" y="172"/>
                    </a:cubicBezTo>
                    <a:cubicBezTo>
                      <a:pt x="62" y="172"/>
                      <a:pt x="62" y="172"/>
                      <a:pt x="61" y="172"/>
                    </a:cubicBezTo>
                    <a:cubicBezTo>
                      <a:pt x="61" y="172"/>
                      <a:pt x="60" y="171"/>
                      <a:pt x="60" y="171"/>
                    </a:cubicBezTo>
                    <a:cubicBezTo>
                      <a:pt x="60" y="171"/>
                      <a:pt x="60" y="170"/>
                      <a:pt x="60" y="170"/>
                    </a:cubicBezTo>
                    <a:cubicBezTo>
                      <a:pt x="59" y="170"/>
                      <a:pt x="59" y="170"/>
                      <a:pt x="59" y="170"/>
                    </a:cubicBezTo>
                    <a:cubicBezTo>
                      <a:pt x="59" y="169"/>
                      <a:pt x="60" y="168"/>
                      <a:pt x="60" y="168"/>
                    </a:cubicBezTo>
                    <a:cubicBezTo>
                      <a:pt x="60" y="167"/>
                      <a:pt x="60" y="166"/>
                      <a:pt x="60" y="166"/>
                    </a:cubicBezTo>
                    <a:cubicBezTo>
                      <a:pt x="60" y="165"/>
                      <a:pt x="60" y="165"/>
                      <a:pt x="60" y="165"/>
                    </a:cubicBezTo>
                    <a:cubicBezTo>
                      <a:pt x="59" y="164"/>
                      <a:pt x="59" y="163"/>
                      <a:pt x="59" y="162"/>
                    </a:cubicBezTo>
                    <a:cubicBezTo>
                      <a:pt x="59" y="162"/>
                      <a:pt x="59" y="160"/>
                      <a:pt x="59" y="159"/>
                    </a:cubicBezTo>
                    <a:cubicBezTo>
                      <a:pt x="59" y="159"/>
                      <a:pt x="59" y="159"/>
                      <a:pt x="60" y="159"/>
                    </a:cubicBezTo>
                    <a:cubicBezTo>
                      <a:pt x="60" y="158"/>
                      <a:pt x="61" y="158"/>
                      <a:pt x="61" y="158"/>
                    </a:cubicBezTo>
                    <a:cubicBezTo>
                      <a:pt x="61" y="158"/>
                      <a:pt x="61" y="159"/>
                      <a:pt x="61" y="159"/>
                    </a:cubicBezTo>
                    <a:cubicBezTo>
                      <a:pt x="61" y="159"/>
                      <a:pt x="61" y="159"/>
                      <a:pt x="62" y="159"/>
                    </a:cubicBezTo>
                    <a:cubicBezTo>
                      <a:pt x="62" y="159"/>
                      <a:pt x="63" y="159"/>
                      <a:pt x="64" y="160"/>
                    </a:cubicBezTo>
                    <a:cubicBezTo>
                      <a:pt x="64" y="160"/>
                      <a:pt x="65" y="160"/>
                      <a:pt x="65" y="161"/>
                    </a:cubicBezTo>
                    <a:cubicBezTo>
                      <a:pt x="66" y="161"/>
                      <a:pt x="66" y="161"/>
                      <a:pt x="67" y="161"/>
                    </a:cubicBezTo>
                    <a:cubicBezTo>
                      <a:pt x="67" y="161"/>
                      <a:pt x="68" y="162"/>
                      <a:pt x="69" y="162"/>
                    </a:cubicBezTo>
                    <a:cubicBezTo>
                      <a:pt x="69" y="162"/>
                      <a:pt x="73" y="162"/>
                      <a:pt x="73" y="162"/>
                    </a:cubicBezTo>
                    <a:cubicBezTo>
                      <a:pt x="74" y="162"/>
                      <a:pt x="74" y="162"/>
                      <a:pt x="75" y="161"/>
                    </a:cubicBezTo>
                    <a:cubicBezTo>
                      <a:pt x="75" y="161"/>
                      <a:pt x="75" y="161"/>
                      <a:pt x="75" y="161"/>
                    </a:cubicBezTo>
                    <a:cubicBezTo>
                      <a:pt x="76" y="161"/>
                      <a:pt x="77" y="161"/>
                      <a:pt x="77" y="160"/>
                    </a:cubicBezTo>
                    <a:cubicBezTo>
                      <a:pt x="77" y="160"/>
                      <a:pt x="79" y="160"/>
                      <a:pt x="79" y="160"/>
                    </a:cubicBezTo>
                    <a:cubicBezTo>
                      <a:pt x="79" y="159"/>
                      <a:pt x="79" y="158"/>
                      <a:pt x="79" y="158"/>
                    </a:cubicBezTo>
                    <a:cubicBezTo>
                      <a:pt x="79" y="158"/>
                      <a:pt x="79" y="158"/>
                      <a:pt x="78" y="158"/>
                    </a:cubicBezTo>
                    <a:cubicBezTo>
                      <a:pt x="78" y="158"/>
                      <a:pt x="78" y="158"/>
                      <a:pt x="78" y="157"/>
                    </a:cubicBezTo>
                    <a:cubicBezTo>
                      <a:pt x="78" y="157"/>
                      <a:pt x="78" y="157"/>
                      <a:pt x="79" y="157"/>
                    </a:cubicBezTo>
                    <a:cubicBezTo>
                      <a:pt x="79" y="157"/>
                      <a:pt x="80" y="157"/>
                      <a:pt x="80" y="157"/>
                    </a:cubicBezTo>
                    <a:cubicBezTo>
                      <a:pt x="80" y="157"/>
                      <a:pt x="80" y="157"/>
                      <a:pt x="80" y="156"/>
                    </a:cubicBezTo>
                    <a:cubicBezTo>
                      <a:pt x="80" y="156"/>
                      <a:pt x="79" y="156"/>
                      <a:pt x="79" y="156"/>
                    </a:cubicBezTo>
                    <a:cubicBezTo>
                      <a:pt x="78" y="156"/>
                      <a:pt x="78" y="155"/>
                      <a:pt x="78" y="155"/>
                    </a:cubicBezTo>
                    <a:cubicBezTo>
                      <a:pt x="78" y="155"/>
                      <a:pt x="78" y="154"/>
                      <a:pt x="78" y="154"/>
                    </a:cubicBezTo>
                    <a:cubicBezTo>
                      <a:pt x="79" y="154"/>
                      <a:pt x="79" y="154"/>
                      <a:pt x="79" y="154"/>
                    </a:cubicBezTo>
                    <a:cubicBezTo>
                      <a:pt x="79" y="154"/>
                      <a:pt x="79" y="154"/>
                      <a:pt x="79" y="153"/>
                    </a:cubicBezTo>
                    <a:cubicBezTo>
                      <a:pt x="79" y="153"/>
                      <a:pt x="79" y="151"/>
                      <a:pt x="79" y="151"/>
                    </a:cubicBezTo>
                    <a:cubicBezTo>
                      <a:pt x="79" y="151"/>
                      <a:pt x="79" y="150"/>
                      <a:pt x="79" y="150"/>
                    </a:cubicBezTo>
                    <a:cubicBezTo>
                      <a:pt x="79" y="150"/>
                      <a:pt x="80" y="150"/>
                      <a:pt x="80" y="150"/>
                    </a:cubicBezTo>
                    <a:cubicBezTo>
                      <a:pt x="80" y="150"/>
                      <a:pt x="80" y="149"/>
                      <a:pt x="80" y="149"/>
                    </a:cubicBezTo>
                    <a:cubicBezTo>
                      <a:pt x="80" y="149"/>
                      <a:pt x="80" y="148"/>
                      <a:pt x="80" y="148"/>
                    </a:cubicBezTo>
                    <a:cubicBezTo>
                      <a:pt x="80" y="148"/>
                      <a:pt x="81" y="147"/>
                      <a:pt x="81" y="147"/>
                    </a:cubicBezTo>
                    <a:cubicBezTo>
                      <a:pt x="81" y="147"/>
                      <a:pt x="81" y="146"/>
                      <a:pt x="81" y="146"/>
                    </a:cubicBezTo>
                    <a:cubicBezTo>
                      <a:pt x="81" y="146"/>
                      <a:pt x="80" y="146"/>
                      <a:pt x="80" y="145"/>
                    </a:cubicBezTo>
                    <a:cubicBezTo>
                      <a:pt x="79" y="145"/>
                      <a:pt x="79" y="145"/>
                      <a:pt x="79" y="144"/>
                    </a:cubicBezTo>
                    <a:cubicBezTo>
                      <a:pt x="79" y="144"/>
                      <a:pt x="79" y="143"/>
                      <a:pt x="79" y="143"/>
                    </a:cubicBezTo>
                    <a:cubicBezTo>
                      <a:pt x="79" y="143"/>
                      <a:pt x="80" y="142"/>
                      <a:pt x="80" y="142"/>
                    </a:cubicBezTo>
                    <a:cubicBezTo>
                      <a:pt x="80" y="142"/>
                      <a:pt x="80" y="142"/>
                      <a:pt x="80" y="141"/>
                    </a:cubicBezTo>
                    <a:cubicBezTo>
                      <a:pt x="80" y="141"/>
                      <a:pt x="79" y="142"/>
                      <a:pt x="79" y="142"/>
                    </a:cubicBezTo>
                    <a:cubicBezTo>
                      <a:pt x="79" y="142"/>
                      <a:pt x="79" y="141"/>
                      <a:pt x="79" y="141"/>
                    </a:cubicBezTo>
                    <a:cubicBezTo>
                      <a:pt x="79" y="141"/>
                      <a:pt x="79" y="141"/>
                      <a:pt x="79" y="141"/>
                    </a:cubicBezTo>
                    <a:cubicBezTo>
                      <a:pt x="78" y="141"/>
                      <a:pt x="78" y="141"/>
                      <a:pt x="77" y="141"/>
                    </a:cubicBezTo>
                    <a:cubicBezTo>
                      <a:pt x="77" y="141"/>
                      <a:pt x="77" y="140"/>
                      <a:pt x="77" y="140"/>
                    </a:cubicBezTo>
                    <a:cubicBezTo>
                      <a:pt x="77" y="140"/>
                      <a:pt x="78" y="139"/>
                      <a:pt x="78" y="140"/>
                    </a:cubicBezTo>
                    <a:cubicBezTo>
                      <a:pt x="79" y="140"/>
                      <a:pt x="79" y="140"/>
                      <a:pt x="80" y="141"/>
                    </a:cubicBezTo>
                    <a:cubicBezTo>
                      <a:pt x="81" y="142"/>
                      <a:pt x="81" y="142"/>
                      <a:pt x="82" y="142"/>
                    </a:cubicBezTo>
                    <a:cubicBezTo>
                      <a:pt x="83" y="142"/>
                      <a:pt x="86" y="142"/>
                      <a:pt x="87" y="142"/>
                    </a:cubicBezTo>
                    <a:cubicBezTo>
                      <a:pt x="88" y="142"/>
                      <a:pt x="90" y="142"/>
                      <a:pt x="91" y="142"/>
                    </a:cubicBezTo>
                    <a:cubicBezTo>
                      <a:pt x="91" y="141"/>
                      <a:pt x="94" y="141"/>
                      <a:pt x="95" y="141"/>
                    </a:cubicBezTo>
                    <a:cubicBezTo>
                      <a:pt x="95" y="141"/>
                      <a:pt x="101" y="140"/>
                      <a:pt x="102" y="139"/>
                    </a:cubicBezTo>
                    <a:cubicBezTo>
                      <a:pt x="103" y="139"/>
                      <a:pt x="106" y="138"/>
                      <a:pt x="106" y="138"/>
                    </a:cubicBezTo>
                    <a:cubicBezTo>
                      <a:pt x="107" y="138"/>
                      <a:pt x="111" y="136"/>
                      <a:pt x="111" y="136"/>
                    </a:cubicBezTo>
                    <a:cubicBezTo>
                      <a:pt x="112" y="135"/>
                      <a:pt x="112" y="134"/>
                      <a:pt x="112" y="134"/>
                    </a:cubicBezTo>
                    <a:cubicBezTo>
                      <a:pt x="112" y="134"/>
                      <a:pt x="113" y="133"/>
                      <a:pt x="113" y="132"/>
                    </a:cubicBezTo>
                    <a:cubicBezTo>
                      <a:pt x="113" y="132"/>
                      <a:pt x="113" y="132"/>
                      <a:pt x="113" y="131"/>
                    </a:cubicBezTo>
                    <a:cubicBezTo>
                      <a:pt x="114" y="131"/>
                      <a:pt x="114" y="130"/>
                      <a:pt x="115" y="130"/>
                    </a:cubicBezTo>
                    <a:cubicBezTo>
                      <a:pt x="115" y="130"/>
                      <a:pt x="116" y="129"/>
                      <a:pt x="116" y="128"/>
                    </a:cubicBezTo>
                    <a:cubicBezTo>
                      <a:pt x="116" y="128"/>
                      <a:pt x="116" y="127"/>
                      <a:pt x="116" y="127"/>
                    </a:cubicBezTo>
                    <a:cubicBezTo>
                      <a:pt x="116" y="127"/>
                      <a:pt x="117" y="126"/>
                      <a:pt x="117" y="126"/>
                    </a:cubicBezTo>
                    <a:cubicBezTo>
                      <a:pt x="117" y="125"/>
                      <a:pt x="118" y="125"/>
                      <a:pt x="118" y="125"/>
                    </a:cubicBezTo>
                    <a:cubicBezTo>
                      <a:pt x="118" y="124"/>
                      <a:pt x="119" y="123"/>
                      <a:pt x="119" y="123"/>
                    </a:cubicBezTo>
                    <a:cubicBezTo>
                      <a:pt x="119" y="119"/>
                      <a:pt x="119" y="119"/>
                      <a:pt x="119" y="119"/>
                    </a:cubicBezTo>
                    <a:cubicBezTo>
                      <a:pt x="119" y="119"/>
                      <a:pt x="117" y="119"/>
                      <a:pt x="116" y="118"/>
                    </a:cubicBezTo>
                    <a:cubicBezTo>
                      <a:pt x="116" y="118"/>
                      <a:pt x="115" y="118"/>
                      <a:pt x="115" y="117"/>
                    </a:cubicBezTo>
                    <a:cubicBezTo>
                      <a:pt x="115" y="117"/>
                      <a:pt x="114" y="116"/>
                      <a:pt x="114" y="116"/>
                    </a:cubicBezTo>
                    <a:cubicBezTo>
                      <a:pt x="114" y="116"/>
                      <a:pt x="114" y="115"/>
                      <a:pt x="114" y="114"/>
                    </a:cubicBezTo>
                    <a:cubicBezTo>
                      <a:pt x="114" y="113"/>
                      <a:pt x="114" y="113"/>
                      <a:pt x="115" y="112"/>
                    </a:cubicBezTo>
                    <a:cubicBezTo>
                      <a:pt x="115" y="112"/>
                      <a:pt x="115" y="111"/>
                      <a:pt x="115" y="111"/>
                    </a:cubicBezTo>
                    <a:cubicBezTo>
                      <a:pt x="115" y="111"/>
                      <a:pt x="115" y="110"/>
                      <a:pt x="115" y="109"/>
                    </a:cubicBezTo>
                    <a:cubicBezTo>
                      <a:pt x="115" y="109"/>
                      <a:pt x="114" y="108"/>
                      <a:pt x="114" y="108"/>
                    </a:cubicBezTo>
                    <a:cubicBezTo>
                      <a:pt x="113" y="107"/>
                      <a:pt x="112" y="107"/>
                      <a:pt x="111" y="107"/>
                    </a:cubicBezTo>
                    <a:cubicBezTo>
                      <a:pt x="111" y="106"/>
                      <a:pt x="109" y="106"/>
                      <a:pt x="109" y="105"/>
                    </a:cubicBezTo>
                    <a:cubicBezTo>
                      <a:pt x="109" y="105"/>
                      <a:pt x="107" y="104"/>
                      <a:pt x="107" y="104"/>
                    </a:cubicBezTo>
                    <a:cubicBezTo>
                      <a:pt x="107" y="104"/>
                      <a:pt x="106" y="103"/>
                      <a:pt x="106" y="102"/>
                    </a:cubicBezTo>
                    <a:cubicBezTo>
                      <a:pt x="106" y="102"/>
                      <a:pt x="106" y="101"/>
                      <a:pt x="106" y="101"/>
                    </a:cubicBezTo>
                    <a:cubicBezTo>
                      <a:pt x="106" y="101"/>
                      <a:pt x="107" y="100"/>
                      <a:pt x="107" y="100"/>
                    </a:cubicBezTo>
                    <a:cubicBezTo>
                      <a:pt x="107" y="100"/>
                      <a:pt x="107" y="99"/>
                      <a:pt x="107" y="99"/>
                    </a:cubicBezTo>
                    <a:cubicBezTo>
                      <a:pt x="107" y="98"/>
                      <a:pt x="107" y="98"/>
                      <a:pt x="107" y="98"/>
                    </a:cubicBezTo>
                    <a:cubicBezTo>
                      <a:pt x="107" y="98"/>
                      <a:pt x="106" y="97"/>
                      <a:pt x="106" y="96"/>
                    </a:cubicBezTo>
                    <a:cubicBezTo>
                      <a:pt x="106" y="96"/>
                      <a:pt x="106" y="96"/>
                      <a:pt x="106" y="95"/>
                    </a:cubicBezTo>
                    <a:cubicBezTo>
                      <a:pt x="106" y="95"/>
                      <a:pt x="106" y="94"/>
                      <a:pt x="106" y="94"/>
                    </a:cubicBezTo>
                    <a:cubicBezTo>
                      <a:pt x="106" y="94"/>
                      <a:pt x="106" y="93"/>
                      <a:pt x="106" y="92"/>
                    </a:cubicBezTo>
                    <a:cubicBezTo>
                      <a:pt x="106" y="92"/>
                      <a:pt x="106" y="91"/>
                      <a:pt x="106" y="91"/>
                    </a:cubicBezTo>
                    <a:cubicBezTo>
                      <a:pt x="107" y="91"/>
                      <a:pt x="107" y="91"/>
                      <a:pt x="107" y="91"/>
                    </a:cubicBezTo>
                    <a:cubicBezTo>
                      <a:pt x="107" y="91"/>
                      <a:pt x="108" y="91"/>
                      <a:pt x="108" y="90"/>
                    </a:cubicBezTo>
                    <a:cubicBezTo>
                      <a:pt x="108" y="90"/>
                      <a:pt x="108" y="90"/>
                      <a:pt x="108" y="89"/>
                    </a:cubicBezTo>
                    <a:cubicBezTo>
                      <a:pt x="108" y="89"/>
                      <a:pt x="108" y="89"/>
                      <a:pt x="108" y="89"/>
                    </a:cubicBezTo>
                    <a:cubicBezTo>
                      <a:pt x="108" y="88"/>
                      <a:pt x="108" y="88"/>
                      <a:pt x="108" y="88"/>
                    </a:cubicBezTo>
                    <a:cubicBezTo>
                      <a:pt x="108" y="88"/>
                      <a:pt x="108" y="87"/>
                      <a:pt x="108" y="87"/>
                    </a:cubicBezTo>
                    <a:cubicBezTo>
                      <a:pt x="108" y="87"/>
                      <a:pt x="108" y="86"/>
                      <a:pt x="108" y="86"/>
                    </a:cubicBezTo>
                    <a:cubicBezTo>
                      <a:pt x="108" y="86"/>
                      <a:pt x="108" y="85"/>
                      <a:pt x="108" y="85"/>
                    </a:cubicBezTo>
                    <a:cubicBezTo>
                      <a:pt x="108" y="85"/>
                      <a:pt x="108" y="85"/>
                      <a:pt x="108" y="85"/>
                    </a:cubicBezTo>
                    <a:cubicBezTo>
                      <a:pt x="108" y="84"/>
                      <a:pt x="108" y="84"/>
                      <a:pt x="108" y="84"/>
                    </a:cubicBezTo>
                    <a:cubicBezTo>
                      <a:pt x="108" y="84"/>
                      <a:pt x="108" y="84"/>
                      <a:pt x="108" y="84"/>
                    </a:cubicBezTo>
                    <a:cubicBezTo>
                      <a:pt x="108" y="83"/>
                      <a:pt x="108" y="83"/>
                      <a:pt x="108" y="83"/>
                    </a:cubicBezTo>
                    <a:cubicBezTo>
                      <a:pt x="108" y="83"/>
                      <a:pt x="108" y="83"/>
                      <a:pt x="108" y="83"/>
                    </a:cubicBezTo>
                    <a:cubicBezTo>
                      <a:pt x="108" y="82"/>
                      <a:pt x="108" y="82"/>
                      <a:pt x="108" y="82"/>
                    </a:cubicBezTo>
                    <a:cubicBezTo>
                      <a:pt x="108" y="82"/>
                      <a:pt x="108" y="82"/>
                      <a:pt x="108" y="81"/>
                    </a:cubicBezTo>
                    <a:cubicBezTo>
                      <a:pt x="108" y="81"/>
                      <a:pt x="108" y="81"/>
                      <a:pt x="108" y="81"/>
                    </a:cubicBezTo>
                    <a:cubicBezTo>
                      <a:pt x="108" y="80"/>
                      <a:pt x="108" y="80"/>
                      <a:pt x="108" y="80"/>
                    </a:cubicBezTo>
                    <a:cubicBezTo>
                      <a:pt x="108" y="80"/>
                      <a:pt x="109" y="80"/>
                      <a:pt x="109" y="80"/>
                    </a:cubicBezTo>
                    <a:cubicBezTo>
                      <a:pt x="109" y="80"/>
                      <a:pt x="109" y="80"/>
                      <a:pt x="109" y="79"/>
                    </a:cubicBezTo>
                    <a:cubicBezTo>
                      <a:pt x="109" y="79"/>
                      <a:pt x="109" y="79"/>
                      <a:pt x="109" y="78"/>
                    </a:cubicBezTo>
                    <a:cubicBezTo>
                      <a:pt x="109" y="78"/>
                      <a:pt x="109" y="78"/>
                      <a:pt x="109" y="78"/>
                    </a:cubicBezTo>
                    <a:cubicBezTo>
                      <a:pt x="109" y="78"/>
                      <a:pt x="109" y="77"/>
                      <a:pt x="109" y="77"/>
                    </a:cubicBezTo>
                    <a:cubicBezTo>
                      <a:pt x="109" y="77"/>
                      <a:pt x="109" y="77"/>
                      <a:pt x="109" y="77"/>
                    </a:cubicBezTo>
                    <a:cubicBezTo>
                      <a:pt x="109" y="77"/>
                      <a:pt x="109" y="76"/>
                      <a:pt x="109" y="76"/>
                    </a:cubicBezTo>
                    <a:cubicBezTo>
                      <a:pt x="109" y="76"/>
                      <a:pt x="110" y="76"/>
                      <a:pt x="110" y="76"/>
                    </a:cubicBezTo>
                    <a:cubicBezTo>
                      <a:pt x="110" y="75"/>
                      <a:pt x="110" y="75"/>
                      <a:pt x="110" y="75"/>
                    </a:cubicBezTo>
                    <a:cubicBezTo>
                      <a:pt x="110" y="73"/>
                      <a:pt x="110" y="73"/>
                      <a:pt x="110" y="73"/>
                    </a:cubicBezTo>
                    <a:cubicBezTo>
                      <a:pt x="110" y="73"/>
                      <a:pt x="110" y="73"/>
                      <a:pt x="110" y="73"/>
                    </a:cubicBezTo>
                    <a:cubicBezTo>
                      <a:pt x="111" y="72"/>
                      <a:pt x="111" y="72"/>
                      <a:pt x="111" y="72"/>
                    </a:cubicBezTo>
                    <a:cubicBezTo>
                      <a:pt x="111" y="72"/>
                      <a:pt x="110" y="72"/>
                      <a:pt x="110" y="72"/>
                    </a:cubicBezTo>
                    <a:cubicBezTo>
                      <a:pt x="110" y="71"/>
                      <a:pt x="110" y="71"/>
                      <a:pt x="110" y="71"/>
                    </a:cubicBezTo>
                    <a:cubicBezTo>
                      <a:pt x="110" y="70"/>
                      <a:pt x="110" y="70"/>
                      <a:pt x="110" y="70"/>
                    </a:cubicBezTo>
                    <a:cubicBezTo>
                      <a:pt x="110" y="70"/>
                      <a:pt x="110" y="69"/>
                      <a:pt x="110" y="69"/>
                    </a:cubicBezTo>
                    <a:cubicBezTo>
                      <a:pt x="110" y="69"/>
                      <a:pt x="112" y="68"/>
                      <a:pt x="112" y="68"/>
                    </a:cubicBezTo>
                    <a:cubicBezTo>
                      <a:pt x="112" y="67"/>
                      <a:pt x="112" y="67"/>
                      <a:pt x="112" y="67"/>
                    </a:cubicBezTo>
                    <a:cubicBezTo>
                      <a:pt x="112" y="67"/>
                      <a:pt x="112" y="67"/>
                      <a:pt x="112" y="67"/>
                    </a:cubicBezTo>
                    <a:cubicBezTo>
                      <a:pt x="112" y="67"/>
                      <a:pt x="113" y="66"/>
                      <a:pt x="113" y="66"/>
                    </a:cubicBezTo>
                    <a:cubicBezTo>
                      <a:pt x="113" y="66"/>
                      <a:pt x="113" y="65"/>
                      <a:pt x="113" y="65"/>
                    </a:cubicBezTo>
                    <a:cubicBezTo>
                      <a:pt x="113" y="65"/>
                      <a:pt x="114" y="65"/>
                      <a:pt x="114" y="65"/>
                    </a:cubicBezTo>
                    <a:cubicBezTo>
                      <a:pt x="114" y="65"/>
                      <a:pt x="114" y="64"/>
                      <a:pt x="114" y="64"/>
                    </a:cubicBezTo>
                    <a:cubicBezTo>
                      <a:pt x="114" y="63"/>
                      <a:pt x="115" y="63"/>
                      <a:pt x="115" y="63"/>
                    </a:cubicBezTo>
                    <a:cubicBezTo>
                      <a:pt x="115" y="63"/>
                      <a:pt x="115" y="63"/>
                      <a:pt x="116" y="63"/>
                    </a:cubicBezTo>
                    <a:cubicBezTo>
                      <a:pt x="116" y="62"/>
                      <a:pt x="116" y="62"/>
                      <a:pt x="117" y="62"/>
                    </a:cubicBezTo>
                    <a:cubicBezTo>
                      <a:pt x="117" y="61"/>
                      <a:pt x="118" y="60"/>
                      <a:pt x="118" y="60"/>
                    </a:cubicBezTo>
                    <a:cubicBezTo>
                      <a:pt x="118" y="60"/>
                      <a:pt x="118" y="59"/>
                      <a:pt x="119" y="59"/>
                    </a:cubicBezTo>
                    <a:cubicBezTo>
                      <a:pt x="119" y="58"/>
                      <a:pt x="119" y="58"/>
                      <a:pt x="120" y="58"/>
                    </a:cubicBezTo>
                    <a:cubicBezTo>
                      <a:pt x="120" y="58"/>
                      <a:pt x="120" y="58"/>
                      <a:pt x="120" y="58"/>
                    </a:cubicBezTo>
                    <a:cubicBezTo>
                      <a:pt x="120" y="58"/>
                      <a:pt x="120" y="57"/>
                      <a:pt x="120" y="57"/>
                    </a:cubicBezTo>
                    <a:cubicBezTo>
                      <a:pt x="120" y="57"/>
                      <a:pt x="121" y="56"/>
                      <a:pt x="121" y="56"/>
                    </a:cubicBezTo>
                    <a:cubicBezTo>
                      <a:pt x="121" y="56"/>
                      <a:pt x="122" y="55"/>
                      <a:pt x="122" y="55"/>
                    </a:cubicBezTo>
                    <a:cubicBezTo>
                      <a:pt x="122" y="55"/>
                      <a:pt x="123" y="54"/>
                      <a:pt x="123" y="54"/>
                    </a:cubicBezTo>
                    <a:cubicBezTo>
                      <a:pt x="123" y="54"/>
                      <a:pt x="123" y="53"/>
                      <a:pt x="124" y="53"/>
                    </a:cubicBezTo>
                    <a:cubicBezTo>
                      <a:pt x="124" y="53"/>
                      <a:pt x="124" y="53"/>
                      <a:pt x="124" y="52"/>
                    </a:cubicBezTo>
                    <a:cubicBezTo>
                      <a:pt x="124" y="52"/>
                      <a:pt x="124" y="52"/>
                      <a:pt x="124" y="52"/>
                    </a:cubicBezTo>
                    <a:cubicBezTo>
                      <a:pt x="124" y="52"/>
                      <a:pt x="125" y="52"/>
                      <a:pt x="125" y="52"/>
                    </a:cubicBezTo>
                    <a:cubicBezTo>
                      <a:pt x="125" y="52"/>
                      <a:pt x="125" y="52"/>
                      <a:pt x="125" y="52"/>
                    </a:cubicBezTo>
                    <a:cubicBezTo>
                      <a:pt x="126" y="52"/>
                      <a:pt x="126" y="51"/>
                      <a:pt x="126" y="51"/>
                    </a:cubicBezTo>
                    <a:cubicBezTo>
                      <a:pt x="125" y="51"/>
                      <a:pt x="125" y="51"/>
                      <a:pt x="125" y="51"/>
                    </a:cubicBezTo>
                    <a:cubicBezTo>
                      <a:pt x="125" y="51"/>
                      <a:pt x="125" y="50"/>
                      <a:pt x="125" y="50"/>
                    </a:cubicBezTo>
                    <a:cubicBezTo>
                      <a:pt x="126" y="50"/>
                      <a:pt x="126" y="50"/>
                      <a:pt x="126" y="50"/>
                    </a:cubicBezTo>
                    <a:cubicBezTo>
                      <a:pt x="126" y="50"/>
                      <a:pt x="126" y="50"/>
                      <a:pt x="126" y="50"/>
                    </a:cubicBezTo>
                    <a:cubicBezTo>
                      <a:pt x="126" y="50"/>
                      <a:pt x="127" y="50"/>
                      <a:pt x="127" y="50"/>
                    </a:cubicBezTo>
                    <a:cubicBezTo>
                      <a:pt x="127" y="50"/>
                      <a:pt x="128" y="49"/>
                      <a:pt x="128" y="49"/>
                    </a:cubicBezTo>
                    <a:cubicBezTo>
                      <a:pt x="128" y="48"/>
                      <a:pt x="129" y="48"/>
                      <a:pt x="129" y="48"/>
                    </a:cubicBezTo>
                    <a:cubicBezTo>
                      <a:pt x="129" y="48"/>
                      <a:pt x="130" y="48"/>
                      <a:pt x="130" y="48"/>
                    </a:cubicBezTo>
                    <a:cubicBezTo>
                      <a:pt x="130" y="48"/>
                      <a:pt x="130" y="47"/>
                      <a:pt x="130" y="47"/>
                    </a:cubicBezTo>
                    <a:cubicBezTo>
                      <a:pt x="130" y="47"/>
                      <a:pt x="131" y="47"/>
                      <a:pt x="131" y="47"/>
                    </a:cubicBezTo>
                    <a:cubicBezTo>
                      <a:pt x="131" y="47"/>
                      <a:pt x="131" y="46"/>
                      <a:pt x="131" y="46"/>
                    </a:cubicBezTo>
                    <a:cubicBezTo>
                      <a:pt x="131" y="46"/>
                      <a:pt x="131" y="45"/>
                      <a:pt x="131" y="45"/>
                    </a:cubicBezTo>
                    <a:cubicBezTo>
                      <a:pt x="131" y="45"/>
                      <a:pt x="132" y="45"/>
                      <a:pt x="132" y="45"/>
                    </a:cubicBezTo>
                    <a:cubicBezTo>
                      <a:pt x="132" y="45"/>
                      <a:pt x="132" y="45"/>
                      <a:pt x="132" y="45"/>
                    </a:cubicBezTo>
                    <a:cubicBezTo>
                      <a:pt x="133" y="45"/>
                      <a:pt x="133" y="45"/>
                      <a:pt x="133" y="45"/>
                    </a:cubicBezTo>
                    <a:cubicBezTo>
                      <a:pt x="133" y="45"/>
                      <a:pt x="133" y="44"/>
                      <a:pt x="133" y="44"/>
                    </a:cubicBezTo>
                    <a:cubicBezTo>
                      <a:pt x="133" y="44"/>
                      <a:pt x="134" y="45"/>
                      <a:pt x="134" y="45"/>
                    </a:cubicBezTo>
                    <a:cubicBezTo>
                      <a:pt x="134" y="45"/>
                      <a:pt x="134" y="44"/>
                      <a:pt x="134" y="44"/>
                    </a:cubicBezTo>
                    <a:cubicBezTo>
                      <a:pt x="134" y="44"/>
                      <a:pt x="135" y="44"/>
                      <a:pt x="135" y="44"/>
                    </a:cubicBezTo>
                    <a:cubicBezTo>
                      <a:pt x="135" y="44"/>
                      <a:pt x="135" y="44"/>
                      <a:pt x="135" y="44"/>
                    </a:cubicBezTo>
                    <a:cubicBezTo>
                      <a:pt x="135" y="44"/>
                      <a:pt x="135" y="44"/>
                      <a:pt x="136" y="44"/>
                    </a:cubicBezTo>
                    <a:cubicBezTo>
                      <a:pt x="136" y="44"/>
                      <a:pt x="136" y="43"/>
                      <a:pt x="136" y="43"/>
                    </a:cubicBezTo>
                    <a:cubicBezTo>
                      <a:pt x="136" y="43"/>
                      <a:pt x="137" y="43"/>
                      <a:pt x="137" y="43"/>
                    </a:cubicBezTo>
                    <a:cubicBezTo>
                      <a:pt x="137" y="43"/>
                      <a:pt x="137" y="43"/>
                      <a:pt x="137" y="43"/>
                    </a:cubicBezTo>
                    <a:cubicBezTo>
                      <a:pt x="137" y="43"/>
                      <a:pt x="137" y="42"/>
                      <a:pt x="137" y="42"/>
                    </a:cubicBezTo>
                    <a:cubicBezTo>
                      <a:pt x="137" y="42"/>
                      <a:pt x="138" y="42"/>
                      <a:pt x="139" y="42"/>
                    </a:cubicBezTo>
                    <a:cubicBezTo>
                      <a:pt x="139" y="42"/>
                      <a:pt x="139" y="42"/>
                      <a:pt x="139" y="42"/>
                    </a:cubicBezTo>
                    <a:cubicBezTo>
                      <a:pt x="139" y="42"/>
                      <a:pt x="139" y="41"/>
                      <a:pt x="139" y="41"/>
                    </a:cubicBezTo>
                    <a:cubicBezTo>
                      <a:pt x="139" y="41"/>
                      <a:pt x="140" y="41"/>
                      <a:pt x="140" y="41"/>
                    </a:cubicBezTo>
                    <a:cubicBezTo>
                      <a:pt x="140" y="41"/>
                      <a:pt x="140" y="40"/>
                      <a:pt x="140" y="40"/>
                    </a:cubicBezTo>
                    <a:cubicBezTo>
                      <a:pt x="140" y="40"/>
                      <a:pt x="139" y="39"/>
                      <a:pt x="139" y="39"/>
                    </a:cubicBezTo>
                    <a:cubicBezTo>
                      <a:pt x="139" y="39"/>
                      <a:pt x="139" y="39"/>
                      <a:pt x="139" y="39"/>
                    </a:cubicBezTo>
                    <a:cubicBezTo>
                      <a:pt x="139" y="39"/>
                      <a:pt x="139" y="38"/>
                      <a:pt x="139" y="38"/>
                    </a:cubicBezTo>
                    <a:cubicBezTo>
                      <a:pt x="139" y="38"/>
                      <a:pt x="139" y="37"/>
                      <a:pt x="139" y="3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7" name="Freeform 694">
                <a:extLst>
                  <a:ext uri="{FF2B5EF4-FFF2-40B4-BE49-F238E27FC236}">
                    <a16:creationId xmlns:a16="http://schemas.microsoft.com/office/drawing/2014/main" id="{66E7E3AE-13F7-B48C-58F7-01ED844BF8C7}"/>
                  </a:ext>
                </a:extLst>
              </p:cNvPr>
              <p:cNvSpPr>
                <a:spLocks/>
              </p:cNvSpPr>
              <p:nvPr/>
            </p:nvSpPr>
            <p:spPr bwMode="auto">
              <a:xfrm>
                <a:off x="3124201" y="4500563"/>
                <a:ext cx="357187" cy="492125"/>
              </a:xfrm>
              <a:custGeom>
                <a:avLst/>
                <a:gdLst>
                  <a:gd name="T0" fmla="*/ 83 w 86"/>
                  <a:gd name="T1" fmla="*/ 73 h 118"/>
                  <a:gd name="T2" fmla="*/ 79 w 86"/>
                  <a:gd name="T3" fmla="*/ 68 h 118"/>
                  <a:gd name="T4" fmla="*/ 80 w 86"/>
                  <a:gd name="T5" fmla="*/ 60 h 118"/>
                  <a:gd name="T6" fmla="*/ 79 w 86"/>
                  <a:gd name="T7" fmla="*/ 52 h 118"/>
                  <a:gd name="T8" fmla="*/ 82 w 86"/>
                  <a:gd name="T9" fmla="*/ 45 h 118"/>
                  <a:gd name="T10" fmla="*/ 75 w 86"/>
                  <a:gd name="T11" fmla="*/ 45 h 118"/>
                  <a:gd name="T12" fmla="*/ 68 w 86"/>
                  <a:gd name="T13" fmla="*/ 45 h 118"/>
                  <a:gd name="T14" fmla="*/ 57 w 86"/>
                  <a:gd name="T15" fmla="*/ 39 h 118"/>
                  <a:gd name="T16" fmla="*/ 49 w 86"/>
                  <a:gd name="T17" fmla="*/ 38 h 118"/>
                  <a:gd name="T18" fmla="*/ 47 w 86"/>
                  <a:gd name="T19" fmla="*/ 30 h 118"/>
                  <a:gd name="T20" fmla="*/ 41 w 86"/>
                  <a:gd name="T21" fmla="*/ 23 h 118"/>
                  <a:gd name="T22" fmla="*/ 43 w 86"/>
                  <a:gd name="T23" fmla="*/ 14 h 118"/>
                  <a:gd name="T24" fmla="*/ 55 w 86"/>
                  <a:gd name="T25" fmla="*/ 3 h 118"/>
                  <a:gd name="T26" fmla="*/ 50 w 86"/>
                  <a:gd name="T27" fmla="*/ 1 h 118"/>
                  <a:gd name="T28" fmla="*/ 44 w 86"/>
                  <a:gd name="T29" fmla="*/ 5 h 118"/>
                  <a:gd name="T30" fmla="*/ 34 w 86"/>
                  <a:gd name="T31" fmla="*/ 9 h 118"/>
                  <a:gd name="T32" fmla="*/ 28 w 86"/>
                  <a:gd name="T33" fmla="*/ 10 h 118"/>
                  <a:gd name="T34" fmla="*/ 25 w 86"/>
                  <a:gd name="T35" fmla="*/ 17 h 118"/>
                  <a:gd name="T36" fmla="*/ 22 w 86"/>
                  <a:gd name="T37" fmla="*/ 21 h 118"/>
                  <a:gd name="T38" fmla="*/ 16 w 86"/>
                  <a:gd name="T39" fmla="*/ 27 h 118"/>
                  <a:gd name="T40" fmla="*/ 16 w 86"/>
                  <a:gd name="T41" fmla="*/ 31 h 118"/>
                  <a:gd name="T42" fmla="*/ 13 w 86"/>
                  <a:gd name="T43" fmla="*/ 29 h 118"/>
                  <a:gd name="T44" fmla="*/ 11 w 86"/>
                  <a:gd name="T45" fmla="*/ 33 h 118"/>
                  <a:gd name="T46" fmla="*/ 8 w 86"/>
                  <a:gd name="T47" fmla="*/ 37 h 118"/>
                  <a:gd name="T48" fmla="*/ 11 w 86"/>
                  <a:gd name="T49" fmla="*/ 41 h 118"/>
                  <a:gd name="T50" fmla="*/ 13 w 86"/>
                  <a:gd name="T51" fmla="*/ 47 h 118"/>
                  <a:gd name="T52" fmla="*/ 12 w 86"/>
                  <a:gd name="T53" fmla="*/ 53 h 118"/>
                  <a:gd name="T54" fmla="*/ 12 w 86"/>
                  <a:gd name="T55" fmla="*/ 61 h 118"/>
                  <a:gd name="T56" fmla="*/ 11 w 86"/>
                  <a:gd name="T57" fmla="*/ 65 h 118"/>
                  <a:gd name="T58" fmla="*/ 6 w 86"/>
                  <a:gd name="T59" fmla="*/ 69 h 118"/>
                  <a:gd name="T60" fmla="*/ 4 w 86"/>
                  <a:gd name="T61" fmla="*/ 76 h 118"/>
                  <a:gd name="T62" fmla="*/ 3 w 86"/>
                  <a:gd name="T63" fmla="*/ 79 h 118"/>
                  <a:gd name="T64" fmla="*/ 9 w 86"/>
                  <a:gd name="T65" fmla="*/ 82 h 118"/>
                  <a:gd name="T66" fmla="*/ 16 w 86"/>
                  <a:gd name="T67" fmla="*/ 86 h 118"/>
                  <a:gd name="T68" fmla="*/ 23 w 86"/>
                  <a:gd name="T69" fmla="*/ 88 h 118"/>
                  <a:gd name="T70" fmla="*/ 29 w 86"/>
                  <a:gd name="T71" fmla="*/ 89 h 118"/>
                  <a:gd name="T72" fmla="*/ 33 w 86"/>
                  <a:gd name="T73" fmla="*/ 94 h 118"/>
                  <a:gd name="T74" fmla="*/ 35 w 86"/>
                  <a:gd name="T75" fmla="*/ 95 h 118"/>
                  <a:gd name="T76" fmla="*/ 38 w 86"/>
                  <a:gd name="T77" fmla="*/ 98 h 118"/>
                  <a:gd name="T78" fmla="*/ 41 w 86"/>
                  <a:gd name="T79" fmla="*/ 101 h 118"/>
                  <a:gd name="T80" fmla="*/ 42 w 86"/>
                  <a:gd name="T81" fmla="*/ 105 h 118"/>
                  <a:gd name="T82" fmla="*/ 45 w 86"/>
                  <a:gd name="T83" fmla="*/ 104 h 118"/>
                  <a:gd name="T84" fmla="*/ 49 w 86"/>
                  <a:gd name="T85" fmla="*/ 104 h 118"/>
                  <a:gd name="T86" fmla="*/ 53 w 86"/>
                  <a:gd name="T87" fmla="*/ 104 h 118"/>
                  <a:gd name="T88" fmla="*/ 55 w 86"/>
                  <a:gd name="T89" fmla="*/ 105 h 118"/>
                  <a:gd name="T90" fmla="*/ 59 w 86"/>
                  <a:gd name="T91" fmla="*/ 105 h 118"/>
                  <a:gd name="T92" fmla="*/ 62 w 86"/>
                  <a:gd name="T93" fmla="*/ 106 h 118"/>
                  <a:gd name="T94" fmla="*/ 61 w 86"/>
                  <a:gd name="T95" fmla="*/ 115 h 118"/>
                  <a:gd name="T96" fmla="*/ 66 w 86"/>
                  <a:gd name="T97" fmla="*/ 93 h 118"/>
                  <a:gd name="T98" fmla="*/ 63 w 86"/>
                  <a:gd name="T99" fmla="*/ 89 h 118"/>
                  <a:gd name="T100" fmla="*/ 68 w 86"/>
                  <a:gd name="T101" fmla="*/ 84 h 118"/>
                  <a:gd name="T102" fmla="*/ 69 w 86"/>
                  <a:gd name="T103" fmla="*/ 81 h 118"/>
                  <a:gd name="T104" fmla="*/ 65 w 86"/>
                  <a:gd name="T105" fmla="*/ 76 h 118"/>
                  <a:gd name="T106" fmla="*/ 76 w 86"/>
                  <a:gd name="T107" fmla="*/ 75 h 118"/>
                  <a:gd name="T108" fmla="*/ 79 w 86"/>
                  <a:gd name="T109" fmla="*/ 74 h 118"/>
                  <a:gd name="T110" fmla="*/ 82 w 86"/>
                  <a:gd name="T111" fmla="*/ 74 h 118"/>
                  <a:gd name="T112" fmla="*/ 84 w 86"/>
                  <a:gd name="T113"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118">
                    <a:moveTo>
                      <a:pt x="86" y="78"/>
                    </a:moveTo>
                    <a:cubicBezTo>
                      <a:pt x="86" y="78"/>
                      <a:pt x="86" y="78"/>
                      <a:pt x="86" y="78"/>
                    </a:cubicBezTo>
                    <a:cubicBezTo>
                      <a:pt x="85" y="77"/>
                      <a:pt x="85" y="76"/>
                      <a:pt x="85" y="76"/>
                    </a:cubicBezTo>
                    <a:cubicBezTo>
                      <a:pt x="85" y="76"/>
                      <a:pt x="84" y="75"/>
                      <a:pt x="84" y="75"/>
                    </a:cubicBezTo>
                    <a:cubicBezTo>
                      <a:pt x="84" y="75"/>
                      <a:pt x="84" y="74"/>
                      <a:pt x="84" y="74"/>
                    </a:cubicBezTo>
                    <a:cubicBezTo>
                      <a:pt x="84" y="74"/>
                      <a:pt x="84" y="73"/>
                      <a:pt x="84" y="73"/>
                    </a:cubicBezTo>
                    <a:cubicBezTo>
                      <a:pt x="84" y="73"/>
                      <a:pt x="84" y="73"/>
                      <a:pt x="83" y="73"/>
                    </a:cubicBezTo>
                    <a:cubicBezTo>
                      <a:pt x="83" y="72"/>
                      <a:pt x="83" y="72"/>
                      <a:pt x="83" y="72"/>
                    </a:cubicBezTo>
                    <a:cubicBezTo>
                      <a:pt x="83" y="71"/>
                      <a:pt x="83" y="71"/>
                      <a:pt x="83" y="71"/>
                    </a:cubicBezTo>
                    <a:cubicBezTo>
                      <a:pt x="83" y="71"/>
                      <a:pt x="82" y="70"/>
                      <a:pt x="82" y="69"/>
                    </a:cubicBezTo>
                    <a:cubicBezTo>
                      <a:pt x="82" y="69"/>
                      <a:pt x="81" y="69"/>
                      <a:pt x="81" y="69"/>
                    </a:cubicBezTo>
                    <a:cubicBezTo>
                      <a:pt x="81" y="69"/>
                      <a:pt x="80" y="68"/>
                      <a:pt x="80" y="68"/>
                    </a:cubicBezTo>
                    <a:cubicBezTo>
                      <a:pt x="80" y="68"/>
                      <a:pt x="79" y="68"/>
                      <a:pt x="79" y="68"/>
                    </a:cubicBezTo>
                    <a:cubicBezTo>
                      <a:pt x="79" y="68"/>
                      <a:pt x="79" y="68"/>
                      <a:pt x="79" y="68"/>
                    </a:cubicBezTo>
                    <a:cubicBezTo>
                      <a:pt x="81" y="66"/>
                      <a:pt x="81" y="66"/>
                      <a:pt x="81" y="66"/>
                    </a:cubicBezTo>
                    <a:cubicBezTo>
                      <a:pt x="82" y="65"/>
                      <a:pt x="82" y="65"/>
                      <a:pt x="82" y="65"/>
                    </a:cubicBezTo>
                    <a:cubicBezTo>
                      <a:pt x="82" y="65"/>
                      <a:pt x="83" y="64"/>
                      <a:pt x="83" y="64"/>
                    </a:cubicBezTo>
                    <a:cubicBezTo>
                      <a:pt x="83" y="64"/>
                      <a:pt x="82" y="63"/>
                      <a:pt x="82" y="63"/>
                    </a:cubicBezTo>
                    <a:cubicBezTo>
                      <a:pt x="82" y="63"/>
                      <a:pt x="81" y="61"/>
                      <a:pt x="81" y="61"/>
                    </a:cubicBezTo>
                    <a:cubicBezTo>
                      <a:pt x="80" y="61"/>
                      <a:pt x="80" y="61"/>
                      <a:pt x="80" y="61"/>
                    </a:cubicBezTo>
                    <a:cubicBezTo>
                      <a:pt x="80" y="61"/>
                      <a:pt x="80" y="60"/>
                      <a:pt x="80" y="60"/>
                    </a:cubicBezTo>
                    <a:cubicBezTo>
                      <a:pt x="80" y="60"/>
                      <a:pt x="79" y="58"/>
                      <a:pt x="79" y="58"/>
                    </a:cubicBezTo>
                    <a:cubicBezTo>
                      <a:pt x="79" y="57"/>
                      <a:pt x="79" y="57"/>
                      <a:pt x="79" y="57"/>
                    </a:cubicBezTo>
                    <a:cubicBezTo>
                      <a:pt x="79" y="57"/>
                      <a:pt x="79" y="56"/>
                      <a:pt x="79" y="56"/>
                    </a:cubicBezTo>
                    <a:cubicBezTo>
                      <a:pt x="79" y="56"/>
                      <a:pt x="79" y="56"/>
                      <a:pt x="79" y="55"/>
                    </a:cubicBezTo>
                    <a:cubicBezTo>
                      <a:pt x="79" y="55"/>
                      <a:pt x="79" y="55"/>
                      <a:pt x="79" y="55"/>
                    </a:cubicBezTo>
                    <a:cubicBezTo>
                      <a:pt x="79" y="52"/>
                      <a:pt x="79" y="52"/>
                      <a:pt x="79" y="52"/>
                    </a:cubicBezTo>
                    <a:cubicBezTo>
                      <a:pt x="79" y="52"/>
                      <a:pt x="79" y="52"/>
                      <a:pt x="79" y="52"/>
                    </a:cubicBezTo>
                    <a:cubicBezTo>
                      <a:pt x="79" y="52"/>
                      <a:pt x="79" y="51"/>
                      <a:pt x="79" y="51"/>
                    </a:cubicBezTo>
                    <a:cubicBezTo>
                      <a:pt x="79" y="51"/>
                      <a:pt x="79" y="51"/>
                      <a:pt x="79" y="51"/>
                    </a:cubicBezTo>
                    <a:cubicBezTo>
                      <a:pt x="79" y="50"/>
                      <a:pt x="79" y="50"/>
                      <a:pt x="80" y="50"/>
                    </a:cubicBezTo>
                    <a:cubicBezTo>
                      <a:pt x="80" y="50"/>
                      <a:pt x="80" y="49"/>
                      <a:pt x="80" y="49"/>
                    </a:cubicBezTo>
                    <a:cubicBezTo>
                      <a:pt x="80" y="47"/>
                      <a:pt x="80" y="47"/>
                      <a:pt x="80" y="47"/>
                    </a:cubicBezTo>
                    <a:cubicBezTo>
                      <a:pt x="82" y="46"/>
                      <a:pt x="82" y="46"/>
                      <a:pt x="82" y="46"/>
                    </a:cubicBezTo>
                    <a:cubicBezTo>
                      <a:pt x="82" y="45"/>
                      <a:pt x="82" y="45"/>
                      <a:pt x="82" y="45"/>
                    </a:cubicBezTo>
                    <a:cubicBezTo>
                      <a:pt x="81" y="44"/>
                      <a:pt x="81" y="44"/>
                      <a:pt x="81" y="44"/>
                    </a:cubicBezTo>
                    <a:cubicBezTo>
                      <a:pt x="81" y="44"/>
                      <a:pt x="81" y="44"/>
                      <a:pt x="81" y="44"/>
                    </a:cubicBezTo>
                    <a:cubicBezTo>
                      <a:pt x="81" y="44"/>
                      <a:pt x="80" y="44"/>
                      <a:pt x="80" y="44"/>
                    </a:cubicBezTo>
                    <a:cubicBezTo>
                      <a:pt x="80" y="44"/>
                      <a:pt x="80" y="44"/>
                      <a:pt x="80" y="43"/>
                    </a:cubicBezTo>
                    <a:cubicBezTo>
                      <a:pt x="79" y="43"/>
                      <a:pt x="79" y="43"/>
                      <a:pt x="79" y="43"/>
                    </a:cubicBezTo>
                    <a:cubicBezTo>
                      <a:pt x="79" y="43"/>
                      <a:pt x="78" y="44"/>
                      <a:pt x="78" y="44"/>
                    </a:cubicBezTo>
                    <a:cubicBezTo>
                      <a:pt x="77" y="44"/>
                      <a:pt x="75" y="45"/>
                      <a:pt x="75" y="45"/>
                    </a:cubicBezTo>
                    <a:cubicBezTo>
                      <a:pt x="75" y="45"/>
                      <a:pt x="74" y="45"/>
                      <a:pt x="74" y="45"/>
                    </a:cubicBezTo>
                    <a:cubicBezTo>
                      <a:pt x="72" y="45"/>
                      <a:pt x="72" y="45"/>
                      <a:pt x="72" y="45"/>
                    </a:cubicBezTo>
                    <a:cubicBezTo>
                      <a:pt x="72" y="45"/>
                      <a:pt x="71" y="44"/>
                      <a:pt x="71" y="44"/>
                    </a:cubicBezTo>
                    <a:cubicBezTo>
                      <a:pt x="70" y="44"/>
                      <a:pt x="70" y="44"/>
                      <a:pt x="70" y="44"/>
                    </a:cubicBezTo>
                    <a:cubicBezTo>
                      <a:pt x="70" y="44"/>
                      <a:pt x="69" y="45"/>
                      <a:pt x="69" y="45"/>
                    </a:cubicBezTo>
                    <a:cubicBezTo>
                      <a:pt x="69" y="45"/>
                      <a:pt x="69" y="45"/>
                      <a:pt x="69" y="45"/>
                    </a:cubicBezTo>
                    <a:cubicBezTo>
                      <a:pt x="68" y="45"/>
                      <a:pt x="68" y="45"/>
                      <a:pt x="68" y="45"/>
                    </a:cubicBezTo>
                    <a:cubicBezTo>
                      <a:pt x="68" y="45"/>
                      <a:pt x="68" y="45"/>
                      <a:pt x="68" y="45"/>
                    </a:cubicBezTo>
                    <a:cubicBezTo>
                      <a:pt x="63" y="39"/>
                      <a:pt x="63" y="39"/>
                      <a:pt x="63" y="39"/>
                    </a:cubicBezTo>
                    <a:cubicBezTo>
                      <a:pt x="62" y="39"/>
                      <a:pt x="62" y="39"/>
                      <a:pt x="62" y="39"/>
                    </a:cubicBezTo>
                    <a:cubicBezTo>
                      <a:pt x="61" y="39"/>
                      <a:pt x="61" y="39"/>
                      <a:pt x="61" y="39"/>
                    </a:cubicBezTo>
                    <a:cubicBezTo>
                      <a:pt x="59" y="38"/>
                      <a:pt x="59" y="38"/>
                      <a:pt x="59" y="38"/>
                    </a:cubicBezTo>
                    <a:cubicBezTo>
                      <a:pt x="58" y="38"/>
                      <a:pt x="58" y="38"/>
                      <a:pt x="58" y="38"/>
                    </a:cubicBezTo>
                    <a:cubicBezTo>
                      <a:pt x="57" y="39"/>
                      <a:pt x="57" y="39"/>
                      <a:pt x="57" y="39"/>
                    </a:cubicBezTo>
                    <a:cubicBezTo>
                      <a:pt x="56" y="39"/>
                      <a:pt x="56" y="39"/>
                      <a:pt x="56" y="39"/>
                    </a:cubicBezTo>
                    <a:cubicBezTo>
                      <a:pt x="56" y="38"/>
                      <a:pt x="56" y="38"/>
                      <a:pt x="56" y="38"/>
                    </a:cubicBezTo>
                    <a:cubicBezTo>
                      <a:pt x="52" y="38"/>
                      <a:pt x="52" y="38"/>
                      <a:pt x="52" y="38"/>
                    </a:cubicBezTo>
                    <a:cubicBezTo>
                      <a:pt x="52" y="38"/>
                      <a:pt x="51" y="38"/>
                      <a:pt x="51" y="38"/>
                    </a:cubicBezTo>
                    <a:cubicBezTo>
                      <a:pt x="51" y="38"/>
                      <a:pt x="51" y="38"/>
                      <a:pt x="51" y="38"/>
                    </a:cubicBezTo>
                    <a:cubicBezTo>
                      <a:pt x="50" y="38"/>
                      <a:pt x="50" y="38"/>
                      <a:pt x="50" y="38"/>
                    </a:cubicBezTo>
                    <a:cubicBezTo>
                      <a:pt x="49" y="38"/>
                      <a:pt x="49" y="38"/>
                      <a:pt x="49" y="38"/>
                    </a:cubicBezTo>
                    <a:cubicBezTo>
                      <a:pt x="49" y="38"/>
                      <a:pt x="49" y="38"/>
                      <a:pt x="49" y="38"/>
                    </a:cubicBezTo>
                    <a:cubicBezTo>
                      <a:pt x="49" y="37"/>
                      <a:pt x="48" y="36"/>
                      <a:pt x="48" y="36"/>
                    </a:cubicBezTo>
                    <a:cubicBezTo>
                      <a:pt x="47" y="36"/>
                      <a:pt x="47" y="36"/>
                      <a:pt x="47" y="36"/>
                    </a:cubicBezTo>
                    <a:cubicBezTo>
                      <a:pt x="47" y="36"/>
                      <a:pt x="46" y="35"/>
                      <a:pt x="46" y="35"/>
                    </a:cubicBezTo>
                    <a:cubicBezTo>
                      <a:pt x="46" y="34"/>
                      <a:pt x="46" y="32"/>
                      <a:pt x="46" y="32"/>
                    </a:cubicBezTo>
                    <a:cubicBezTo>
                      <a:pt x="46" y="32"/>
                      <a:pt x="47" y="31"/>
                      <a:pt x="47" y="31"/>
                    </a:cubicBezTo>
                    <a:cubicBezTo>
                      <a:pt x="47" y="31"/>
                      <a:pt x="47" y="30"/>
                      <a:pt x="47" y="30"/>
                    </a:cubicBezTo>
                    <a:cubicBezTo>
                      <a:pt x="47" y="30"/>
                      <a:pt x="47" y="29"/>
                      <a:pt x="46" y="29"/>
                    </a:cubicBezTo>
                    <a:cubicBezTo>
                      <a:pt x="46" y="29"/>
                      <a:pt x="45" y="27"/>
                      <a:pt x="45" y="27"/>
                    </a:cubicBezTo>
                    <a:cubicBezTo>
                      <a:pt x="45" y="27"/>
                      <a:pt x="45" y="26"/>
                      <a:pt x="45" y="26"/>
                    </a:cubicBezTo>
                    <a:cubicBezTo>
                      <a:pt x="45" y="25"/>
                      <a:pt x="44" y="24"/>
                      <a:pt x="44" y="24"/>
                    </a:cubicBezTo>
                    <a:cubicBezTo>
                      <a:pt x="43" y="24"/>
                      <a:pt x="43" y="24"/>
                      <a:pt x="43" y="24"/>
                    </a:cubicBezTo>
                    <a:cubicBezTo>
                      <a:pt x="42" y="22"/>
                      <a:pt x="42" y="22"/>
                      <a:pt x="42" y="22"/>
                    </a:cubicBezTo>
                    <a:cubicBezTo>
                      <a:pt x="41" y="23"/>
                      <a:pt x="41" y="23"/>
                      <a:pt x="41" y="23"/>
                    </a:cubicBezTo>
                    <a:cubicBezTo>
                      <a:pt x="40" y="23"/>
                      <a:pt x="40" y="23"/>
                      <a:pt x="40" y="23"/>
                    </a:cubicBezTo>
                    <a:cubicBezTo>
                      <a:pt x="40" y="23"/>
                      <a:pt x="43" y="19"/>
                      <a:pt x="43" y="19"/>
                    </a:cubicBezTo>
                    <a:cubicBezTo>
                      <a:pt x="43" y="19"/>
                      <a:pt x="43" y="18"/>
                      <a:pt x="43" y="18"/>
                    </a:cubicBezTo>
                    <a:cubicBezTo>
                      <a:pt x="43" y="18"/>
                      <a:pt x="42" y="18"/>
                      <a:pt x="42" y="17"/>
                    </a:cubicBezTo>
                    <a:cubicBezTo>
                      <a:pt x="42" y="17"/>
                      <a:pt x="43" y="17"/>
                      <a:pt x="43" y="16"/>
                    </a:cubicBezTo>
                    <a:cubicBezTo>
                      <a:pt x="43" y="16"/>
                      <a:pt x="43" y="15"/>
                      <a:pt x="43" y="15"/>
                    </a:cubicBezTo>
                    <a:cubicBezTo>
                      <a:pt x="43" y="15"/>
                      <a:pt x="43" y="14"/>
                      <a:pt x="43" y="14"/>
                    </a:cubicBezTo>
                    <a:cubicBezTo>
                      <a:pt x="43" y="14"/>
                      <a:pt x="46" y="9"/>
                      <a:pt x="46" y="9"/>
                    </a:cubicBezTo>
                    <a:cubicBezTo>
                      <a:pt x="46" y="9"/>
                      <a:pt x="47" y="9"/>
                      <a:pt x="47" y="9"/>
                    </a:cubicBezTo>
                    <a:cubicBezTo>
                      <a:pt x="48" y="9"/>
                      <a:pt x="48" y="8"/>
                      <a:pt x="48" y="8"/>
                    </a:cubicBezTo>
                    <a:cubicBezTo>
                      <a:pt x="49" y="6"/>
                      <a:pt x="49" y="6"/>
                      <a:pt x="49" y="6"/>
                    </a:cubicBezTo>
                    <a:cubicBezTo>
                      <a:pt x="50" y="5"/>
                      <a:pt x="50" y="5"/>
                      <a:pt x="50" y="5"/>
                    </a:cubicBezTo>
                    <a:cubicBezTo>
                      <a:pt x="54" y="4"/>
                      <a:pt x="54" y="4"/>
                      <a:pt x="54" y="4"/>
                    </a:cubicBezTo>
                    <a:cubicBezTo>
                      <a:pt x="54" y="4"/>
                      <a:pt x="55" y="4"/>
                      <a:pt x="55" y="3"/>
                    </a:cubicBezTo>
                    <a:cubicBezTo>
                      <a:pt x="55" y="3"/>
                      <a:pt x="56" y="3"/>
                      <a:pt x="56" y="3"/>
                    </a:cubicBezTo>
                    <a:cubicBezTo>
                      <a:pt x="56" y="2"/>
                      <a:pt x="56" y="2"/>
                      <a:pt x="55" y="1"/>
                    </a:cubicBezTo>
                    <a:cubicBezTo>
                      <a:pt x="55" y="1"/>
                      <a:pt x="54" y="0"/>
                      <a:pt x="54" y="0"/>
                    </a:cubicBezTo>
                    <a:cubicBezTo>
                      <a:pt x="53" y="0"/>
                      <a:pt x="53" y="0"/>
                      <a:pt x="52" y="0"/>
                    </a:cubicBezTo>
                    <a:cubicBezTo>
                      <a:pt x="52" y="0"/>
                      <a:pt x="52" y="0"/>
                      <a:pt x="51" y="0"/>
                    </a:cubicBezTo>
                    <a:cubicBezTo>
                      <a:pt x="51" y="1"/>
                      <a:pt x="51" y="1"/>
                      <a:pt x="50" y="1"/>
                    </a:cubicBezTo>
                    <a:cubicBezTo>
                      <a:pt x="50" y="1"/>
                      <a:pt x="50" y="1"/>
                      <a:pt x="50" y="1"/>
                    </a:cubicBezTo>
                    <a:cubicBezTo>
                      <a:pt x="50" y="1"/>
                      <a:pt x="50" y="2"/>
                      <a:pt x="50" y="2"/>
                    </a:cubicBezTo>
                    <a:cubicBezTo>
                      <a:pt x="50" y="2"/>
                      <a:pt x="50" y="1"/>
                      <a:pt x="50" y="1"/>
                    </a:cubicBezTo>
                    <a:cubicBezTo>
                      <a:pt x="49" y="1"/>
                      <a:pt x="49" y="1"/>
                      <a:pt x="49" y="1"/>
                    </a:cubicBezTo>
                    <a:cubicBezTo>
                      <a:pt x="49" y="2"/>
                      <a:pt x="49" y="2"/>
                      <a:pt x="49" y="2"/>
                    </a:cubicBezTo>
                    <a:cubicBezTo>
                      <a:pt x="48" y="3"/>
                      <a:pt x="48" y="4"/>
                      <a:pt x="47" y="4"/>
                    </a:cubicBezTo>
                    <a:cubicBezTo>
                      <a:pt x="47" y="4"/>
                      <a:pt x="47" y="5"/>
                      <a:pt x="46" y="5"/>
                    </a:cubicBezTo>
                    <a:cubicBezTo>
                      <a:pt x="45" y="5"/>
                      <a:pt x="44" y="5"/>
                      <a:pt x="44" y="5"/>
                    </a:cubicBezTo>
                    <a:cubicBezTo>
                      <a:pt x="44" y="5"/>
                      <a:pt x="43" y="6"/>
                      <a:pt x="43" y="6"/>
                    </a:cubicBezTo>
                    <a:cubicBezTo>
                      <a:pt x="43" y="7"/>
                      <a:pt x="42" y="7"/>
                      <a:pt x="41" y="8"/>
                    </a:cubicBezTo>
                    <a:cubicBezTo>
                      <a:pt x="41" y="8"/>
                      <a:pt x="40" y="8"/>
                      <a:pt x="39" y="8"/>
                    </a:cubicBezTo>
                    <a:cubicBezTo>
                      <a:pt x="39" y="8"/>
                      <a:pt x="38" y="8"/>
                      <a:pt x="37" y="8"/>
                    </a:cubicBezTo>
                    <a:cubicBezTo>
                      <a:pt x="37" y="8"/>
                      <a:pt x="36" y="8"/>
                      <a:pt x="36" y="8"/>
                    </a:cubicBezTo>
                    <a:cubicBezTo>
                      <a:pt x="35" y="8"/>
                      <a:pt x="35" y="8"/>
                      <a:pt x="34" y="8"/>
                    </a:cubicBezTo>
                    <a:cubicBezTo>
                      <a:pt x="34" y="8"/>
                      <a:pt x="34" y="9"/>
                      <a:pt x="34" y="9"/>
                    </a:cubicBezTo>
                    <a:cubicBezTo>
                      <a:pt x="34" y="9"/>
                      <a:pt x="34" y="10"/>
                      <a:pt x="34" y="10"/>
                    </a:cubicBezTo>
                    <a:cubicBezTo>
                      <a:pt x="34" y="10"/>
                      <a:pt x="34" y="11"/>
                      <a:pt x="33" y="11"/>
                    </a:cubicBezTo>
                    <a:cubicBezTo>
                      <a:pt x="33" y="12"/>
                      <a:pt x="32" y="12"/>
                      <a:pt x="32" y="12"/>
                    </a:cubicBezTo>
                    <a:cubicBezTo>
                      <a:pt x="32" y="11"/>
                      <a:pt x="32" y="11"/>
                      <a:pt x="32" y="11"/>
                    </a:cubicBezTo>
                    <a:cubicBezTo>
                      <a:pt x="32" y="11"/>
                      <a:pt x="32" y="10"/>
                      <a:pt x="31" y="10"/>
                    </a:cubicBezTo>
                    <a:cubicBezTo>
                      <a:pt x="31" y="10"/>
                      <a:pt x="30" y="9"/>
                      <a:pt x="30" y="9"/>
                    </a:cubicBezTo>
                    <a:cubicBezTo>
                      <a:pt x="30" y="9"/>
                      <a:pt x="29" y="10"/>
                      <a:pt x="28" y="10"/>
                    </a:cubicBezTo>
                    <a:cubicBezTo>
                      <a:pt x="28" y="10"/>
                      <a:pt x="27" y="11"/>
                      <a:pt x="27" y="11"/>
                    </a:cubicBezTo>
                    <a:cubicBezTo>
                      <a:pt x="27" y="12"/>
                      <a:pt x="26" y="12"/>
                      <a:pt x="26" y="12"/>
                    </a:cubicBezTo>
                    <a:cubicBezTo>
                      <a:pt x="26" y="12"/>
                      <a:pt x="25" y="13"/>
                      <a:pt x="25" y="13"/>
                    </a:cubicBezTo>
                    <a:cubicBezTo>
                      <a:pt x="25" y="14"/>
                      <a:pt x="25" y="14"/>
                      <a:pt x="25" y="14"/>
                    </a:cubicBezTo>
                    <a:cubicBezTo>
                      <a:pt x="25" y="15"/>
                      <a:pt x="25" y="15"/>
                      <a:pt x="25" y="15"/>
                    </a:cubicBezTo>
                    <a:cubicBezTo>
                      <a:pt x="24" y="15"/>
                      <a:pt x="24" y="16"/>
                      <a:pt x="24" y="16"/>
                    </a:cubicBezTo>
                    <a:cubicBezTo>
                      <a:pt x="24" y="16"/>
                      <a:pt x="25" y="16"/>
                      <a:pt x="25" y="17"/>
                    </a:cubicBezTo>
                    <a:cubicBezTo>
                      <a:pt x="25" y="17"/>
                      <a:pt x="25" y="17"/>
                      <a:pt x="24" y="18"/>
                    </a:cubicBezTo>
                    <a:cubicBezTo>
                      <a:pt x="24" y="18"/>
                      <a:pt x="24" y="18"/>
                      <a:pt x="24" y="19"/>
                    </a:cubicBezTo>
                    <a:cubicBezTo>
                      <a:pt x="24" y="19"/>
                      <a:pt x="24" y="19"/>
                      <a:pt x="24" y="19"/>
                    </a:cubicBezTo>
                    <a:cubicBezTo>
                      <a:pt x="24" y="19"/>
                      <a:pt x="24" y="19"/>
                      <a:pt x="24" y="19"/>
                    </a:cubicBezTo>
                    <a:cubicBezTo>
                      <a:pt x="24" y="20"/>
                      <a:pt x="24" y="20"/>
                      <a:pt x="24" y="20"/>
                    </a:cubicBezTo>
                    <a:cubicBezTo>
                      <a:pt x="24" y="21"/>
                      <a:pt x="24" y="21"/>
                      <a:pt x="24" y="21"/>
                    </a:cubicBezTo>
                    <a:cubicBezTo>
                      <a:pt x="23" y="21"/>
                      <a:pt x="22" y="21"/>
                      <a:pt x="22" y="21"/>
                    </a:cubicBezTo>
                    <a:cubicBezTo>
                      <a:pt x="22" y="21"/>
                      <a:pt x="21" y="22"/>
                      <a:pt x="21" y="22"/>
                    </a:cubicBezTo>
                    <a:cubicBezTo>
                      <a:pt x="21" y="22"/>
                      <a:pt x="21" y="22"/>
                      <a:pt x="21" y="22"/>
                    </a:cubicBezTo>
                    <a:cubicBezTo>
                      <a:pt x="20" y="22"/>
                      <a:pt x="20" y="23"/>
                      <a:pt x="20" y="23"/>
                    </a:cubicBezTo>
                    <a:cubicBezTo>
                      <a:pt x="20" y="23"/>
                      <a:pt x="20" y="24"/>
                      <a:pt x="20" y="24"/>
                    </a:cubicBezTo>
                    <a:cubicBezTo>
                      <a:pt x="20" y="24"/>
                      <a:pt x="19" y="25"/>
                      <a:pt x="19" y="25"/>
                    </a:cubicBezTo>
                    <a:cubicBezTo>
                      <a:pt x="19" y="25"/>
                      <a:pt x="18" y="26"/>
                      <a:pt x="18" y="26"/>
                    </a:cubicBezTo>
                    <a:cubicBezTo>
                      <a:pt x="17" y="26"/>
                      <a:pt x="17" y="27"/>
                      <a:pt x="16" y="27"/>
                    </a:cubicBezTo>
                    <a:cubicBezTo>
                      <a:pt x="16" y="27"/>
                      <a:pt x="16" y="27"/>
                      <a:pt x="16" y="27"/>
                    </a:cubicBezTo>
                    <a:cubicBezTo>
                      <a:pt x="15" y="27"/>
                      <a:pt x="15" y="27"/>
                      <a:pt x="15" y="28"/>
                    </a:cubicBezTo>
                    <a:cubicBezTo>
                      <a:pt x="15" y="28"/>
                      <a:pt x="15" y="28"/>
                      <a:pt x="16" y="28"/>
                    </a:cubicBezTo>
                    <a:cubicBezTo>
                      <a:pt x="16" y="28"/>
                      <a:pt x="16" y="29"/>
                      <a:pt x="16" y="29"/>
                    </a:cubicBezTo>
                    <a:cubicBezTo>
                      <a:pt x="16" y="29"/>
                      <a:pt x="16" y="30"/>
                      <a:pt x="16" y="30"/>
                    </a:cubicBezTo>
                    <a:cubicBezTo>
                      <a:pt x="16" y="30"/>
                      <a:pt x="16" y="30"/>
                      <a:pt x="16" y="30"/>
                    </a:cubicBezTo>
                    <a:cubicBezTo>
                      <a:pt x="16" y="30"/>
                      <a:pt x="16" y="31"/>
                      <a:pt x="16" y="31"/>
                    </a:cubicBezTo>
                    <a:cubicBezTo>
                      <a:pt x="16" y="31"/>
                      <a:pt x="16" y="32"/>
                      <a:pt x="16" y="32"/>
                    </a:cubicBezTo>
                    <a:cubicBezTo>
                      <a:pt x="16" y="32"/>
                      <a:pt x="16" y="32"/>
                      <a:pt x="15" y="32"/>
                    </a:cubicBezTo>
                    <a:cubicBezTo>
                      <a:pt x="15" y="32"/>
                      <a:pt x="15" y="32"/>
                      <a:pt x="15" y="32"/>
                    </a:cubicBezTo>
                    <a:cubicBezTo>
                      <a:pt x="15" y="32"/>
                      <a:pt x="15" y="31"/>
                      <a:pt x="15" y="31"/>
                    </a:cubicBezTo>
                    <a:cubicBezTo>
                      <a:pt x="16" y="31"/>
                      <a:pt x="16" y="31"/>
                      <a:pt x="15" y="31"/>
                    </a:cubicBezTo>
                    <a:cubicBezTo>
                      <a:pt x="15" y="31"/>
                      <a:pt x="14" y="30"/>
                      <a:pt x="14" y="30"/>
                    </a:cubicBezTo>
                    <a:cubicBezTo>
                      <a:pt x="14" y="30"/>
                      <a:pt x="14" y="29"/>
                      <a:pt x="13" y="29"/>
                    </a:cubicBezTo>
                    <a:cubicBezTo>
                      <a:pt x="13" y="28"/>
                      <a:pt x="13" y="28"/>
                      <a:pt x="12" y="28"/>
                    </a:cubicBezTo>
                    <a:cubicBezTo>
                      <a:pt x="12" y="28"/>
                      <a:pt x="12" y="27"/>
                      <a:pt x="12" y="27"/>
                    </a:cubicBezTo>
                    <a:cubicBezTo>
                      <a:pt x="11" y="27"/>
                      <a:pt x="11" y="27"/>
                      <a:pt x="11" y="27"/>
                    </a:cubicBezTo>
                    <a:cubicBezTo>
                      <a:pt x="11" y="27"/>
                      <a:pt x="11" y="27"/>
                      <a:pt x="11" y="27"/>
                    </a:cubicBezTo>
                    <a:cubicBezTo>
                      <a:pt x="12" y="29"/>
                      <a:pt x="12" y="31"/>
                      <a:pt x="13" y="32"/>
                    </a:cubicBezTo>
                    <a:cubicBezTo>
                      <a:pt x="13" y="32"/>
                      <a:pt x="12" y="32"/>
                      <a:pt x="12" y="32"/>
                    </a:cubicBezTo>
                    <a:cubicBezTo>
                      <a:pt x="11" y="32"/>
                      <a:pt x="11" y="32"/>
                      <a:pt x="11" y="33"/>
                    </a:cubicBezTo>
                    <a:cubicBezTo>
                      <a:pt x="11" y="33"/>
                      <a:pt x="11" y="33"/>
                      <a:pt x="11" y="33"/>
                    </a:cubicBezTo>
                    <a:cubicBezTo>
                      <a:pt x="11" y="34"/>
                      <a:pt x="10" y="34"/>
                      <a:pt x="10" y="35"/>
                    </a:cubicBezTo>
                    <a:cubicBezTo>
                      <a:pt x="10" y="34"/>
                      <a:pt x="9" y="34"/>
                      <a:pt x="9" y="34"/>
                    </a:cubicBezTo>
                    <a:cubicBezTo>
                      <a:pt x="9" y="34"/>
                      <a:pt x="9" y="35"/>
                      <a:pt x="9" y="36"/>
                    </a:cubicBezTo>
                    <a:cubicBezTo>
                      <a:pt x="8" y="35"/>
                      <a:pt x="8" y="36"/>
                      <a:pt x="8" y="36"/>
                    </a:cubicBezTo>
                    <a:cubicBezTo>
                      <a:pt x="8" y="36"/>
                      <a:pt x="8" y="37"/>
                      <a:pt x="8" y="37"/>
                    </a:cubicBezTo>
                    <a:cubicBezTo>
                      <a:pt x="8" y="37"/>
                      <a:pt x="8" y="37"/>
                      <a:pt x="8" y="37"/>
                    </a:cubicBezTo>
                    <a:cubicBezTo>
                      <a:pt x="8" y="37"/>
                      <a:pt x="8" y="37"/>
                      <a:pt x="8" y="37"/>
                    </a:cubicBezTo>
                    <a:cubicBezTo>
                      <a:pt x="8" y="37"/>
                      <a:pt x="9" y="37"/>
                      <a:pt x="9" y="38"/>
                    </a:cubicBezTo>
                    <a:cubicBezTo>
                      <a:pt x="9" y="38"/>
                      <a:pt x="9" y="38"/>
                      <a:pt x="9" y="38"/>
                    </a:cubicBezTo>
                    <a:cubicBezTo>
                      <a:pt x="9" y="39"/>
                      <a:pt x="10" y="39"/>
                      <a:pt x="10" y="39"/>
                    </a:cubicBezTo>
                    <a:cubicBezTo>
                      <a:pt x="10" y="39"/>
                      <a:pt x="10" y="40"/>
                      <a:pt x="10" y="40"/>
                    </a:cubicBezTo>
                    <a:cubicBezTo>
                      <a:pt x="10" y="40"/>
                      <a:pt x="10" y="40"/>
                      <a:pt x="10" y="40"/>
                    </a:cubicBezTo>
                    <a:cubicBezTo>
                      <a:pt x="10" y="41"/>
                      <a:pt x="10" y="41"/>
                      <a:pt x="11" y="41"/>
                    </a:cubicBezTo>
                    <a:cubicBezTo>
                      <a:pt x="11" y="41"/>
                      <a:pt x="12" y="42"/>
                      <a:pt x="12" y="42"/>
                    </a:cubicBezTo>
                    <a:cubicBezTo>
                      <a:pt x="12" y="42"/>
                      <a:pt x="12" y="43"/>
                      <a:pt x="12" y="43"/>
                    </a:cubicBezTo>
                    <a:cubicBezTo>
                      <a:pt x="12" y="43"/>
                      <a:pt x="12" y="44"/>
                      <a:pt x="12" y="44"/>
                    </a:cubicBezTo>
                    <a:cubicBezTo>
                      <a:pt x="11" y="44"/>
                      <a:pt x="11" y="45"/>
                      <a:pt x="11" y="45"/>
                    </a:cubicBezTo>
                    <a:cubicBezTo>
                      <a:pt x="11" y="45"/>
                      <a:pt x="12" y="45"/>
                      <a:pt x="12" y="46"/>
                    </a:cubicBezTo>
                    <a:cubicBezTo>
                      <a:pt x="12" y="46"/>
                      <a:pt x="12" y="47"/>
                      <a:pt x="12" y="47"/>
                    </a:cubicBezTo>
                    <a:cubicBezTo>
                      <a:pt x="13" y="47"/>
                      <a:pt x="13" y="47"/>
                      <a:pt x="13" y="47"/>
                    </a:cubicBezTo>
                    <a:cubicBezTo>
                      <a:pt x="13" y="48"/>
                      <a:pt x="12" y="48"/>
                      <a:pt x="12" y="48"/>
                    </a:cubicBezTo>
                    <a:cubicBezTo>
                      <a:pt x="12" y="48"/>
                      <a:pt x="12" y="48"/>
                      <a:pt x="12" y="49"/>
                    </a:cubicBezTo>
                    <a:cubicBezTo>
                      <a:pt x="11" y="49"/>
                      <a:pt x="11" y="49"/>
                      <a:pt x="11" y="49"/>
                    </a:cubicBezTo>
                    <a:cubicBezTo>
                      <a:pt x="11" y="49"/>
                      <a:pt x="11" y="50"/>
                      <a:pt x="11" y="50"/>
                    </a:cubicBezTo>
                    <a:cubicBezTo>
                      <a:pt x="11" y="50"/>
                      <a:pt x="12" y="51"/>
                      <a:pt x="12" y="51"/>
                    </a:cubicBezTo>
                    <a:cubicBezTo>
                      <a:pt x="12" y="52"/>
                      <a:pt x="11" y="52"/>
                      <a:pt x="12" y="52"/>
                    </a:cubicBezTo>
                    <a:cubicBezTo>
                      <a:pt x="12" y="53"/>
                      <a:pt x="12" y="53"/>
                      <a:pt x="12" y="53"/>
                    </a:cubicBezTo>
                    <a:cubicBezTo>
                      <a:pt x="12" y="54"/>
                      <a:pt x="12" y="55"/>
                      <a:pt x="12" y="55"/>
                    </a:cubicBezTo>
                    <a:cubicBezTo>
                      <a:pt x="12" y="56"/>
                      <a:pt x="12" y="56"/>
                      <a:pt x="12" y="56"/>
                    </a:cubicBezTo>
                    <a:cubicBezTo>
                      <a:pt x="12" y="57"/>
                      <a:pt x="12" y="57"/>
                      <a:pt x="12" y="58"/>
                    </a:cubicBezTo>
                    <a:cubicBezTo>
                      <a:pt x="11" y="58"/>
                      <a:pt x="11" y="58"/>
                      <a:pt x="11" y="58"/>
                    </a:cubicBezTo>
                    <a:cubicBezTo>
                      <a:pt x="11" y="58"/>
                      <a:pt x="11" y="59"/>
                      <a:pt x="11" y="59"/>
                    </a:cubicBezTo>
                    <a:cubicBezTo>
                      <a:pt x="11" y="59"/>
                      <a:pt x="11" y="60"/>
                      <a:pt x="11" y="60"/>
                    </a:cubicBezTo>
                    <a:cubicBezTo>
                      <a:pt x="12" y="60"/>
                      <a:pt x="12" y="60"/>
                      <a:pt x="12" y="61"/>
                    </a:cubicBezTo>
                    <a:cubicBezTo>
                      <a:pt x="12" y="61"/>
                      <a:pt x="12" y="61"/>
                      <a:pt x="13" y="61"/>
                    </a:cubicBezTo>
                    <a:cubicBezTo>
                      <a:pt x="13" y="61"/>
                      <a:pt x="14" y="61"/>
                      <a:pt x="14" y="61"/>
                    </a:cubicBezTo>
                    <a:cubicBezTo>
                      <a:pt x="14" y="61"/>
                      <a:pt x="14" y="61"/>
                      <a:pt x="14" y="61"/>
                    </a:cubicBezTo>
                    <a:cubicBezTo>
                      <a:pt x="14" y="61"/>
                      <a:pt x="13" y="62"/>
                      <a:pt x="13" y="62"/>
                    </a:cubicBezTo>
                    <a:cubicBezTo>
                      <a:pt x="13" y="62"/>
                      <a:pt x="12" y="63"/>
                      <a:pt x="12" y="63"/>
                    </a:cubicBezTo>
                    <a:cubicBezTo>
                      <a:pt x="12" y="63"/>
                      <a:pt x="12" y="63"/>
                      <a:pt x="12" y="64"/>
                    </a:cubicBezTo>
                    <a:cubicBezTo>
                      <a:pt x="12" y="64"/>
                      <a:pt x="11" y="64"/>
                      <a:pt x="11" y="65"/>
                    </a:cubicBezTo>
                    <a:cubicBezTo>
                      <a:pt x="11" y="65"/>
                      <a:pt x="11" y="65"/>
                      <a:pt x="11" y="65"/>
                    </a:cubicBezTo>
                    <a:cubicBezTo>
                      <a:pt x="10" y="65"/>
                      <a:pt x="10" y="66"/>
                      <a:pt x="10" y="66"/>
                    </a:cubicBezTo>
                    <a:cubicBezTo>
                      <a:pt x="10" y="66"/>
                      <a:pt x="10" y="66"/>
                      <a:pt x="10" y="67"/>
                    </a:cubicBezTo>
                    <a:cubicBezTo>
                      <a:pt x="10" y="67"/>
                      <a:pt x="10" y="68"/>
                      <a:pt x="9" y="68"/>
                    </a:cubicBezTo>
                    <a:cubicBezTo>
                      <a:pt x="9" y="68"/>
                      <a:pt x="9" y="69"/>
                      <a:pt x="8" y="69"/>
                    </a:cubicBezTo>
                    <a:cubicBezTo>
                      <a:pt x="8" y="69"/>
                      <a:pt x="8" y="70"/>
                      <a:pt x="8" y="70"/>
                    </a:cubicBezTo>
                    <a:cubicBezTo>
                      <a:pt x="7" y="70"/>
                      <a:pt x="6" y="69"/>
                      <a:pt x="6" y="69"/>
                    </a:cubicBezTo>
                    <a:cubicBezTo>
                      <a:pt x="5" y="69"/>
                      <a:pt x="4" y="70"/>
                      <a:pt x="4" y="70"/>
                    </a:cubicBezTo>
                    <a:cubicBezTo>
                      <a:pt x="4" y="70"/>
                      <a:pt x="3" y="71"/>
                      <a:pt x="3" y="71"/>
                    </a:cubicBezTo>
                    <a:cubicBezTo>
                      <a:pt x="3" y="71"/>
                      <a:pt x="3" y="72"/>
                      <a:pt x="3" y="72"/>
                    </a:cubicBezTo>
                    <a:cubicBezTo>
                      <a:pt x="2" y="73"/>
                      <a:pt x="2" y="73"/>
                      <a:pt x="2" y="73"/>
                    </a:cubicBezTo>
                    <a:cubicBezTo>
                      <a:pt x="2" y="74"/>
                      <a:pt x="3" y="74"/>
                      <a:pt x="3" y="74"/>
                    </a:cubicBezTo>
                    <a:cubicBezTo>
                      <a:pt x="3" y="74"/>
                      <a:pt x="3" y="74"/>
                      <a:pt x="3" y="74"/>
                    </a:cubicBezTo>
                    <a:cubicBezTo>
                      <a:pt x="4" y="75"/>
                      <a:pt x="4" y="75"/>
                      <a:pt x="4" y="76"/>
                    </a:cubicBezTo>
                    <a:cubicBezTo>
                      <a:pt x="3" y="76"/>
                      <a:pt x="3" y="76"/>
                      <a:pt x="3" y="76"/>
                    </a:cubicBezTo>
                    <a:cubicBezTo>
                      <a:pt x="2" y="76"/>
                      <a:pt x="2" y="76"/>
                      <a:pt x="2" y="76"/>
                    </a:cubicBezTo>
                    <a:cubicBezTo>
                      <a:pt x="2" y="75"/>
                      <a:pt x="2" y="75"/>
                      <a:pt x="1" y="75"/>
                    </a:cubicBezTo>
                    <a:cubicBezTo>
                      <a:pt x="1" y="76"/>
                      <a:pt x="1" y="76"/>
                      <a:pt x="0" y="76"/>
                    </a:cubicBezTo>
                    <a:cubicBezTo>
                      <a:pt x="0" y="76"/>
                      <a:pt x="0" y="76"/>
                      <a:pt x="0" y="77"/>
                    </a:cubicBezTo>
                    <a:cubicBezTo>
                      <a:pt x="1" y="77"/>
                      <a:pt x="2" y="78"/>
                      <a:pt x="2" y="78"/>
                    </a:cubicBezTo>
                    <a:cubicBezTo>
                      <a:pt x="2" y="78"/>
                      <a:pt x="3" y="79"/>
                      <a:pt x="3" y="79"/>
                    </a:cubicBezTo>
                    <a:cubicBezTo>
                      <a:pt x="3" y="80"/>
                      <a:pt x="4" y="80"/>
                      <a:pt x="4" y="80"/>
                    </a:cubicBezTo>
                    <a:cubicBezTo>
                      <a:pt x="5" y="80"/>
                      <a:pt x="5" y="80"/>
                      <a:pt x="5" y="80"/>
                    </a:cubicBezTo>
                    <a:cubicBezTo>
                      <a:pt x="5" y="80"/>
                      <a:pt x="5" y="80"/>
                      <a:pt x="5" y="80"/>
                    </a:cubicBezTo>
                    <a:cubicBezTo>
                      <a:pt x="5" y="80"/>
                      <a:pt x="6" y="81"/>
                      <a:pt x="6" y="82"/>
                    </a:cubicBezTo>
                    <a:cubicBezTo>
                      <a:pt x="6" y="82"/>
                      <a:pt x="7" y="82"/>
                      <a:pt x="7" y="82"/>
                    </a:cubicBezTo>
                    <a:cubicBezTo>
                      <a:pt x="7" y="82"/>
                      <a:pt x="9" y="82"/>
                      <a:pt x="10" y="82"/>
                    </a:cubicBezTo>
                    <a:cubicBezTo>
                      <a:pt x="10" y="82"/>
                      <a:pt x="9" y="82"/>
                      <a:pt x="9" y="82"/>
                    </a:cubicBezTo>
                    <a:cubicBezTo>
                      <a:pt x="9" y="83"/>
                      <a:pt x="10" y="83"/>
                      <a:pt x="10" y="83"/>
                    </a:cubicBezTo>
                    <a:cubicBezTo>
                      <a:pt x="10" y="83"/>
                      <a:pt x="11" y="83"/>
                      <a:pt x="11" y="83"/>
                    </a:cubicBezTo>
                    <a:cubicBezTo>
                      <a:pt x="11" y="84"/>
                      <a:pt x="11" y="84"/>
                      <a:pt x="11" y="85"/>
                    </a:cubicBezTo>
                    <a:cubicBezTo>
                      <a:pt x="11" y="85"/>
                      <a:pt x="11" y="85"/>
                      <a:pt x="11" y="85"/>
                    </a:cubicBezTo>
                    <a:cubicBezTo>
                      <a:pt x="11" y="85"/>
                      <a:pt x="13" y="85"/>
                      <a:pt x="13" y="85"/>
                    </a:cubicBezTo>
                    <a:cubicBezTo>
                      <a:pt x="14" y="86"/>
                      <a:pt x="14" y="86"/>
                      <a:pt x="14" y="86"/>
                    </a:cubicBezTo>
                    <a:cubicBezTo>
                      <a:pt x="16" y="86"/>
                      <a:pt x="16" y="86"/>
                      <a:pt x="16" y="86"/>
                    </a:cubicBezTo>
                    <a:cubicBezTo>
                      <a:pt x="16" y="86"/>
                      <a:pt x="17" y="86"/>
                      <a:pt x="17" y="86"/>
                    </a:cubicBezTo>
                    <a:cubicBezTo>
                      <a:pt x="17" y="86"/>
                      <a:pt x="18" y="86"/>
                      <a:pt x="18" y="86"/>
                    </a:cubicBezTo>
                    <a:cubicBezTo>
                      <a:pt x="18" y="86"/>
                      <a:pt x="18" y="85"/>
                      <a:pt x="18" y="85"/>
                    </a:cubicBezTo>
                    <a:cubicBezTo>
                      <a:pt x="18" y="85"/>
                      <a:pt x="19" y="85"/>
                      <a:pt x="19" y="85"/>
                    </a:cubicBezTo>
                    <a:cubicBezTo>
                      <a:pt x="19" y="85"/>
                      <a:pt x="20" y="85"/>
                      <a:pt x="20" y="85"/>
                    </a:cubicBezTo>
                    <a:cubicBezTo>
                      <a:pt x="20" y="85"/>
                      <a:pt x="22" y="86"/>
                      <a:pt x="22" y="87"/>
                    </a:cubicBezTo>
                    <a:cubicBezTo>
                      <a:pt x="22" y="87"/>
                      <a:pt x="23" y="88"/>
                      <a:pt x="23" y="88"/>
                    </a:cubicBezTo>
                    <a:cubicBezTo>
                      <a:pt x="23" y="88"/>
                      <a:pt x="24" y="88"/>
                      <a:pt x="24" y="88"/>
                    </a:cubicBezTo>
                    <a:cubicBezTo>
                      <a:pt x="24" y="88"/>
                      <a:pt x="26" y="89"/>
                      <a:pt x="26" y="89"/>
                    </a:cubicBezTo>
                    <a:cubicBezTo>
                      <a:pt x="27" y="88"/>
                      <a:pt x="27" y="88"/>
                      <a:pt x="27" y="88"/>
                    </a:cubicBezTo>
                    <a:cubicBezTo>
                      <a:pt x="28" y="89"/>
                      <a:pt x="28" y="89"/>
                      <a:pt x="28" y="89"/>
                    </a:cubicBezTo>
                    <a:cubicBezTo>
                      <a:pt x="28" y="89"/>
                      <a:pt x="29" y="89"/>
                      <a:pt x="29" y="90"/>
                    </a:cubicBezTo>
                    <a:cubicBezTo>
                      <a:pt x="29" y="90"/>
                      <a:pt x="29" y="90"/>
                      <a:pt x="29" y="90"/>
                    </a:cubicBezTo>
                    <a:cubicBezTo>
                      <a:pt x="29" y="89"/>
                      <a:pt x="29" y="89"/>
                      <a:pt x="29" y="89"/>
                    </a:cubicBezTo>
                    <a:cubicBezTo>
                      <a:pt x="30" y="89"/>
                      <a:pt x="30" y="89"/>
                      <a:pt x="30" y="89"/>
                    </a:cubicBezTo>
                    <a:cubicBezTo>
                      <a:pt x="30" y="90"/>
                      <a:pt x="30" y="90"/>
                      <a:pt x="30" y="90"/>
                    </a:cubicBezTo>
                    <a:cubicBezTo>
                      <a:pt x="30" y="90"/>
                      <a:pt x="30" y="90"/>
                      <a:pt x="30" y="90"/>
                    </a:cubicBezTo>
                    <a:cubicBezTo>
                      <a:pt x="31" y="90"/>
                      <a:pt x="31" y="90"/>
                      <a:pt x="31" y="90"/>
                    </a:cubicBezTo>
                    <a:cubicBezTo>
                      <a:pt x="33" y="93"/>
                      <a:pt x="33" y="93"/>
                      <a:pt x="33" y="93"/>
                    </a:cubicBezTo>
                    <a:cubicBezTo>
                      <a:pt x="33" y="93"/>
                      <a:pt x="33" y="93"/>
                      <a:pt x="33" y="93"/>
                    </a:cubicBezTo>
                    <a:cubicBezTo>
                      <a:pt x="33" y="93"/>
                      <a:pt x="33" y="93"/>
                      <a:pt x="33" y="94"/>
                    </a:cubicBezTo>
                    <a:cubicBezTo>
                      <a:pt x="33" y="94"/>
                      <a:pt x="33" y="94"/>
                      <a:pt x="33" y="94"/>
                    </a:cubicBezTo>
                    <a:cubicBezTo>
                      <a:pt x="33" y="94"/>
                      <a:pt x="33" y="94"/>
                      <a:pt x="33" y="94"/>
                    </a:cubicBezTo>
                    <a:cubicBezTo>
                      <a:pt x="33" y="94"/>
                      <a:pt x="33" y="95"/>
                      <a:pt x="33" y="95"/>
                    </a:cubicBezTo>
                    <a:cubicBezTo>
                      <a:pt x="34" y="95"/>
                      <a:pt x="34" y="95"/>
                      <a:pt x="34" y="95"/>
                    </a:cubicBezTo>
                    <a:cubicBezTo>
                      <a:pt x="35" y="95"/>
                      <a:pt x="35" y="95"/>
                      <a:pt x="35" y="95"/>
                    </a:cubicBezTo>
                    <a:cubicBezTo>
                      <a:pt x="35" y="95"/>
                      <a:pt x="35" y="95"/>
                      <a:pt x="35" y="95"/>
                    </a:cubicBezTo>
                    <a:cubicBezTo>
                      <a:pt x="35" y="95"/>
                      <a:pt x="35" y="95"/>
                      <a:pt x="35" y="95"/>
                    </a:cubicBezTo>
                    <a:cubicBezTo>
                      <a:pt x="35" y="95"/>
                      <a:pt x="36" y="96"/>
                      <a:pt x="36" y="96"/>
                    </a:cubicBezTo>
                    <a:cubicBezTo>
                      <a:pt x="36" y="96"/>
                      <a:pt x="36" y="97"/>
                      <a:pt x="36" y="97"/>
                    </a:cubicBezTo>
                    <a:cubicBezTo>
                      <a:pt x="36" y="97"/>
                      <a:pt x="37" y="97"/>
                      <a:pt x="37" y="97"/>
                    </a:cubicBezTo>
                    <a:cubicBezTo>
                      <a:pt x="37" y="97"/>
                      <a:pt x="38" y="96"/>
                      <a:pt x="38" y="96"/>
                    </a:cubicBezTo>
                    <a:cubicBezTo>
                      <a:pt x="38" y="96"/>
                      <a:pt x="38" y="97"/>
                      <a:pt x="38" y="97"/>
                    </a:cubicBezTo>
                    <a:cubicBezTo>
                      <a:pt x="38" y="97"/>
                      <a:pt x="38" y="97"/>
                      <a:pt x="38" y="98"/>
                    </a:cubicBezTo>
                    <a:cubicBezTo>
                      <a:pt x="38" y="98"/>
                      <a:pt x="38" y="98"/>
                      <a:pt x="38" y="98"/>
                    </a:cubicBezTo>
                    <a:cubicBezTo>
                      <a:pt x="38" y="98"/>
                      <a:pt x="39" y="99"/>
                      <a:pt x="39" y="99"/>
                    </a:cubicBezTo>
                    <a:cubicBezTo>
                      <a:pt x="39" y="100"/>
                      <a:pt x="39" y="100"/>
                      <a:pt x="39" y="100"/>
                    </a:cubicBezTo>
                    <a:cubicBezTo>
                      <a:pt x="39" y="100"/>
                      <a:pt x="39" y="100"/>
                      <a:pt x="39" y="100"/>
                    </a:cubicBezTo>
                    <a:cubicBezTo>
                      <a:pt x="39" y="101"/>
                      <a:pt x="40" y="101"/>
                      <a:pt x="40" y="101"/>
                    </a:cubicBezTo>
                    <a:cubicBezTo>
                      <a:pt x="40" y="101"/>
                      <a:pt x="40" y="101"/>
                      <a:pt x="40" y="101"/>
                    </a:cubicBezTo>
                    <a:cubicBezTo>
                      <a:pt x="41" y="100"/>
                      <a:pt x="41" y="100"/>
                      <a:pt x="41" y="100"/>
                    </a:cubicBezTo>
                    <a:cubicBezTo>
                      <a:pt x="41" y="100"/>
                      <a:pt x="41" y="101"/>
                      <a:pt x="41" y="101"/>
                    </a:cubicBezTo>
                    <a:cubicBezTo>
                      <a:pt x="41" y="101"/>
                      <a:pt x="42" y="101"/>
                      <a:pt x="42" y="101"/>
                    </a:cubicBezTo>
                    <a:cubicBezTo>
                      <a:pt x="42" y="101"/>
                      <a:pt x="42" y="102"/>
                      <a:pt x="42" y="102"/>
                    </a:cubicBezTo>
                    <a:cubicBezTo>
                      <a:pt x="42" y="102"/>
                      <a:pt x="42" y="102"/>
                      <a:pt x="42" y="102"/>
                    </a:cubicBezTo>
                    <a:cubicBezTo>
                      <a:pt x="42" y="102"/>
                      <a:pt x="42" y="103"/>
                      <a:pt x="42" y="103"/>
                    </a:cubicBezTo>
                    <a:cubicBezTo>
                      <a:pt x="42" y="103"/>
                      <a:pt x="41" y="103"/>
                      <a:pt x="41" y="103"/>
                    </a:cubicBezTo>
                    <a:cubicBezTo>
                      <a:pt x="41" y="104"/>
                      <a:pt x="41" y="104"/>
                      <a:pt x="41" y="104"/>
                    </a:cubicBezTo>
                    <a:cubicBezTo>
                      <a:pt x="41" y="104"/>
                      <a:pt x="42" y="104"/>
                      <a:pt x="42" y="105"/>
                    </a:cubicBezTo>
                    <a:cubicBezTo>
                      <a:pt x="42" y="105"/>
                      <a:pt x="42" y="104"/>
                      <a:pt x="42" y="104"/>
                    </a:cubicBezTo>
                    <a:cubicBezTo>
                      <a:pt x="42" y="104"/>
                      <a:pt x="43" y="105"/>
                      <a:pt x="43" y="105"/>
                    </a:cubicBezTo>
                    <a:cubicBezTo>
                      <a:pt x="43" y="105"/>
                      <a:pt x="43" y="105"/>
                      <a:pt x="43" y="105"/>
                    </a:cubicBezTo>
                    <a:cubicBezTo>
                      <a:pt x="43" y="105"/>
                      <a:pt x="44" y="105"/>
                      <a:pt x="44" y="105"/>
                    </a:cubicBezTo>
                    <a:cubicBezTo>
                      <a:pt x="44" y="105"/>
                      <a:pt x="44" y="105"/>
                      <a:pt x="44" y="105"/>
                    </a:cubicBezTo>
                    <a:cubicBezTo>
                      <a:pt x="44" y="105"/>
                      <a:pt x="45" y="105"/>
                      <a:pt x="45" y="105"/>
                    </a:cubicBezTo>
                    <a:cubicBezTo>
                      <a:pt x="45" y="105"/>
                      <a:pt x="45" y="105"/>
                      <a:pt x="45" y="104"/>
                    </a:cubicBezTo>
                    <a:cubicBezTo>
                      <a:pt x="46" y="104"/>
                      <a:pt x="46" y="105"/>
                      <a:pt x="46" y="105"/>
                    </a:cubicBezTo>
                    <a:cubicBezTo>
                      <a:pt x="47" y="105"/>
                      <a:pt x="47" y="106"/>
                      <a:pt x="47" y="106"/>
                    </a:cubicBezTo>
                    <a:cubicBezTo>
                      <a:pt x="47" y="106"/>
                      <a:pt x="48" y="105"/>
                      <a:pt x="48" y="105"/>
                    </a:cubicBezTo>
                    <a:cubicBezTo>
                      <a:pt x="48" y="105"/>
                      <a:pt x="48" y="105"/>
                      <a:pt x="48" y="105"/>
                    </a:cubicBezTo>
                    <a:cubicBezTo>
                      <a:pt x="48" y="105"/>
                      <a:pt x="48" y="105"/>
                      <a:pt x="49" y="105"/>
                    </a:cubicBezTo>
                    <a:cubicBezTo>
                      <a:pt x="49" y="105"/>
                      <a:pt x="49" y="105"/>
                      <a:pt x="49" y="105"/>
                    </a:cubicBezTo>
                    <a:cubicBezTo>
                      <a:pt x="49" y="105"/>
                      <a:pt x="49" y="104"/>
                      <a:pt x="49" y="104"/>
                    </a:cubicBezTo>
                    <a:cubicBezTo>
                      <a:pt x="49" y="104"/>
                      <a:pt x="49" y="105"/>
                      <a:pt x="49" y="105"/>
                    </a:cubicBezTo>
                    <a:cubicBezTo>
                      <a:pt x="49" y="105"/>
                      <a:pt x="50" y="105"/>
                      <a:pt x="50" y="105"/>
                    </a:cubicBezTo>
                    <a:cubicBezTo>
                      <a:pt x="50" y="105"/>
                      <a:pt x="50" y="104"/>
                      <a:pt x="50" y="104"/>
                    </a:cubicBezTo>
                    <a:cubicBezTo>
                      <a:pt x="50" y="104"/>
                      <a:pt x="51" y="103"/>
                      <a:pt x="51" y="103"/>
                    </a:cubicBezTo>
                    <a:cubicBezTo>
                      <a:pt x="51" y="103"/>
                      <a:pt x="51" y="103"/>
                      <a:pt x="51" y="103"/>
                    </a:cubicBezTo>
                    <a:cubicBezTo>
                      <a:pt x="51" y="104"/>
                      <a:pt x="51" y="104"/>
                      <a:pt x="51" y="104"/>
                    </a:cubicBezTo>
                    <a:cubicBezTo>
                      <a:pt x="51" y="104"/>
                      <a:pt x="52" y="104"/>
                      <a:pt x="53" y="104"/>
                    </a:cubicBezTo>
                    <a:cubicBezTo>
                      <a:pt x="53" y="104"/>
                      <a:pt x="53" y="104"/>
                      <a:pt x="53" y="104"/>
                    </a:cubicBezTo>
                    <a:cubicBezTo>
                      <a:pt x="53" y="104"/>
                      <a:pt x="53" y="104"/>
                      <a:pt x="53" y="104"/>
                    </a:cubicBezTo>
                    <a:cubicBezTo>
                      <a:pt x="53" y="104"/>
                      <a:pt x="54" y="105"/>
                      <a:pt x="54" y="105"/>
                    </a:cubicBezTo>
                    <a:cubicBezTo>
                      <a:pt x="54" y="105"/>
                      <a:pt x="54" y="105"/>
                      <a:pt x="54" y="105"/>
                    </a:cubicBezTo>
                    <a:cubicBezTo>
                      <a:pt x="54" y="105"/>
                      <a:pt x="54" y="105"/>
                      <a:pt x="54" y="105"/>
                    </a:cubicBezTo>
                    <a:cubicBezTo>
                      <a:pt x="54" y="105"/>
                      <a:pt x="55" y="105"/>
                      <a:pt x="55" y="105"/>
                    </a:cubicBezTo>
                    <a:cubicBezTo>
                      <a:pt x="55" y="105"/>
                      <a:pt x="55" y="105"/>
                      <a:pt x="55" y="105"/>
                    </a:cubicBezTo>
                    <a:cubicBezTo>
                      <a:pt x="55" y="105"/>
                      <a:pt x="56" y="105"/>
                      <a:pt x="56" y="104"/>
                    </a:cubicBezTo>
                    <a:cubicBezTo>
                      <a:pt x="56" y="104"/>
                      <a:pt x="56" y="104"/>
                      <a:pt x="56" y="104"/>
                    </a:cubicBezTo>
                    <a:cubicBezTo>
                      <a:pt x="57" y="104"/>
                      <a:pt x="57" y="104"/>
                      <a:pt x="57" y="104"/>
                    </a:cubicBezTo>
                    <a:cubicBezTo>
                      <a:pt x="57" y="103"/>
                      <a:pt x="57" y="103"/>
                      <a:pt x="57" y="103"/>
                    </a:cubicBezTo>
                    <a:cubicBezTo>
                      <a:pt x="57" y="103"/>
                      <a:pt x="57" y="103"/>
                      <a:pt x="57" y="103"/>
                    </a:cubicBezTo>
                    <a:cubicBezTo>
                      <a:pt x="58" y="104"/>
                      <a:pt x="58" y="104"/>
                      <a:pt x="58" y="104"/>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1" y="106"/>
                      <a:pt x="61" y="106"/>
                    </a:cubicBezTo>
                    <a:cubicBezTo>
                      <a:pt x="61" y="106"/>
                      <a:pt x="61" y="106"/>
                      <a:pt x="61" y="106"/>
                    </a:cubicBezTo>
                    <a:cubicBezTo>
                      <a:pt x="61" y="106"/>
                      <a:pt x="61" y="106"/>
                      <a:pt x="62" y="106"/>
                    </a:cubicBezTo>
                    <a:cubicBezTo>
                      <a:pt x="62" y="106"/>
                      <a:pt x="62" y="106"/>
                      <a:pt x="62" y="106"/>
                    </a:cubicBezTo>
                    <a:cubicBezTo>
                      <a:pt x="62" y="106"/>
                      <a:pt x="62" y="106"/>
                      <a:pt x="62" y="106"/>
                    </a:cubicBezTo>
                    <a:cubicBezTo>
                      <a:pt x="62" y="106"/>
                      <a:pt x="62" y="107"/>
                      <a:pt x="62" y="107"/>
                    </a:cubicBezTo>
                    <a:cubicBezTo>
                      <a:pt x="63" y="107"/>
                      <a:pt x="63" y="107"/>
                      <a:pt x="63" y="107"/>
                    </a:cubicBezTo>
                    <a:cubicBezTo>
                      <a:pt x="63" y="108"/>
                      <a:pt x="63" y="108"/>
                      <a:pt x="63" y="108"/>
                    </a:cubicBezTo>
                    <a:cubicBezTo>
                      <a:pt x="58" y="115"/>
                      <a:pt x="58" y="115"/>
                      <a:pt x="58" y="115"/>
                    </a:cubicBezTo>
                    <a:cubicBezTo>
                      <a:pt x="58" y="115"/>
                      <a:pt x="60" y="115"/>
                      <a:pt x="60" y="115"/>
                    </a:cubicBezTo>
                    <a:cubicBezTo>
                      <a:pt x="60" y="115"/>
                      <a:pt x="60" y="115"/>
                      <a:pt x="61" y="115"/>
                    </a:cubicBezTo>
                    <a:cubicBezTo>
                      <a:pt x="61" y="115"/>
                      <a:pt x="61" y="115"/>
                      <a:pt x="61" y="115"/>
                    </a:cubicBezTo>
                    <a:cubicBezTo>
                      <a:pt x="62" y="115"/>
                      <a:pt x="62" y="115"/>
                      <a:pt x="62" y="115"/>
                    </a:cubicBezTo>
                    <a:cubicBezTo>
                      <a:pt x="64" y="118"/>
                      <a:pt x="64" y="118"/>
                      <a:pt x="64" y="118"/>
                    </a:cubicBezTo>
                    <a:cubicBezTo>
                      <a:pt x="68" y="98"/>
                      <a:pt x="68" y="98"/>
                      <a:pt x="68" y="98"/>
                    </a:cubicBezTo>
                    <a:cubicBezTo>
                      <a:pt x="68" y="96"/>
                      <a:pt x="68" y="96"/>
                      <a:pt x="68" y="96"/>
                    </a:cubicBezTo>
                    <a:cubicBezTo>
                      <a:pt x="68" y="96"/>
                      <a:pt x="67" y="94"/>
                      <a:pt x="67" y="94"/>
                    </a:cubicBezTo>
                    <a:cubicBezTo>
                      <a:pt x="67" y="94"/>
                      <a:pt x="66" y="93"/>
                      <a:pt x="66" y="93"/>
                    </a:cubicBezTo>
                    <a:cubicBezTo>
                      <a:pt x="66" y="93"/>
                      <a:pt x="66" y="93"/>
                      <a:pt x="66" y="93"/>
                    </a:cubicBezTo>
                    <a:cubicBezTo>
                      <a:pt x="66" y="93"/>
                      <a:pt x="67" y="92"/>
                      <a:pt x="67" y="92"/>
                    </a:cubicBezTo>
                    <a:cubicBezTo>
                      <a:pt x="67" y="92"/>
                      <a:pt x="66" y="92"/>
                      <a:pt x="66" y="91"/>
                    </a:cubicBezTo>
                    <a:cubicBezTo>
                      <a:pt x="66" y="91"/>
                      <a:pt x="66" y="91"/>
                      <a:pt x="66" y="91"/>
                    </a:cubicBezTo>
                    <a:cubicBezTo>
                      <a:pt x="66" y="91"/>
                      <a:pt x="65" y="90"/>
                      <a:pt x="65" y="90"/>
                    </a:cubicBezTo>
                    <a:cubicBezTo>
                      <a:pt x="65" y="90"/>
                      <a:pt x="64" y="90"/>
                      <a:pt x="64" y="90"/>
                    </a:cubicBezTo>
                    <a:cubicBezTo>
                      <a:pt x="64" y="89"/>
                      <a:pt x="63" y="89"/>
                      <a:pt x="63" y="89"/>
                    </a:cubicBezTo>
                    <a:cubicBezTo>
                      <a:pt x="63" y="84"/>
                      <a:pt x="63" y="84"/>
                      <a:pt x="63" y="84"/>
                    </a:cubicBezTo>
                    <a:cubicBezTo>
                      <a:pt x="65" y="84"/>
                      <a:pt x="65" y="84"/>
                      <a:pt x="65" y="84"/>
                    </a:cubicBezTo>
                    <a:cubicBezTo>
                      <a:pt x="66" y="83"/>
                      <a:pt x="66" y="83"/>
                      <a:pt x="66" y="83"/>
                    </a:cubicBezTo>
                    <a:cubicBezTo>
                      <a:pt x="66" y="84"/>
                      <a:pt x="66" y="84"/>
                      <a:pt x="66" y="84"/>
                    </a:cubicBezTo>
                    <a:cubicBezTo>
                      <a:pt x="66" y="84"/>
                      <a:pt x="67" y="83"/>
                      <a:pt x="67" y="83"/>
                    </a:cubicBezTo>
                    <a:cubicBezTo>
                      <a:pt x="67" y="83"/>
                      <a:pt x="67" y="83"/>
                      <a:pt x="67" y="83"/>
                    </a:cubicBezTo>
                    <a:cubicBezTo>
                      <a:pt x="68" y="84"/>
                      <a:pt x="68" y="84"/>
                      <a:pt x="68" y="84"/>
                    </a:cubicBezTo>
                    <a:cubicBezTo>
                      <a:pt x="68" y="84"/>
                      <a:pt x="69" y="84"/>
                      <a:pt x="69" y="84"/>
                    </a:cubicBezTo>
                    <a:cubicBezTo>
                      <a:pt x="70" y="84"/>
                      <a:pt x="70" y="83"/>
                      <a:pt x="70" y="83"/>
                    </a:cubicBezTo>
                    <a:cubicBezTo>
                      <a:pt x="70" y="83"/>
                      <a:pt x="70" y="83"/>
                      <a:pt x="70" y="83"/>
                    </a:cubicBezTo>
                    <a:cubicBezTo>
                      <a:pt x="70" y="83"/>
                      <a:pt x="69" y="82"/>
                      <a:pt x="69" y="82"/>
                    </a:cubicBezTo>
                    <a:cubicBezTo>
                      <a:pt x="69" y="82"/>
                      <a:pt x="70" y="82"/>
                      <a:pt x="70" y="82"/>
                    </a:cubicBezTo>
                    <a:cubicBezTo>
                      <a:pt x="70" y="82"/>
                      <a:pt x="69" y="81"/>
                      <a:pt x="69" y="81"/>
                    </a:cubicBezTo>
                    <a:cubicBezTo>
                      <a:pt x="69" y="81"/>
                      <a:pt x="69" y="81"/>
                      <a:pt x="69" y="81"/>
                    </a:cubicBezTo>
                    <a:cubicBezTo>
                      <a:pt x="69" y="81"/>
                      <a:pt x="69" y="81"/>
                      <a:pt x="69" y="81"/>
                    </a:cubicBezTo>
                    <a:cubicBezTo>
                      <a:pt x="66" y="81"/>
                      <a:pt x="66" y="81"/>
                      <a:pt x="66" y="81"/>
                    </a:cubicBezTo>
                    <a:cubicBezTo>
                      <a:pt x="66" y="81"/>
                      <a:pt x="66" y="80"/>
                      <a:pt x="66" y="80"/>
                    </a:cubicBezTo>
                    <a:cubicBezTo>
                      <a:pt x="66" y="80"/>
                      <a:pt x="65" y="80"/>
                      <a:pt x="65" y="80"/>
                    </a:cubicBezTo>
                    <a:cubicBezTo>
                      <a:pt x="65" y="80"/>
                      <a:pt x="65" y="80"/>
                      <a:pt x="65" y="80"/>
                    </a:cubicBezTo>
                    <a:cubicBezTo>
                      <a:pt x="65" y="76"/>
                      <a:pt x="65" y="76"/>
                      <a:pt x="65" y="76"/>
                    </a:cubicBezTo>
                    <a:cubicBezTo>
                      <a:pt x="65" y="76"/>
                      <a:pt x="65" y="76"/>
                      <a:pt x="65" y="76"/>
                    </a:cubicBezTo>
                    <a:cubicBezTo>
                      <a:pt x="65" y="76"/>
                      <a:pt x="66" y="76"/>
                      <a:pt x="66" y="76"/>
                    </a:cubicBezTo>
                    <a:cubicBezTo>
                      <a:pt x="66" y="76"/>
                      <a:pt x="67" y="75"/>
                      <a:pt x="67" y="75"/>
                    </a:cubicBezTo>
                    <a:cubicBezTo>
                      <a:pt x="67" y="75"/>
                      <a:pt x="67" y="75"/>
                      <a:pt x="67" y="75"/>
                    </a:cubicBezTo>
                    <a:cubicBezTo>
                      <a:pt x="67" y="75"/>
                      <a:pt x="68" y="76"/>
                      <a:pt x="68" y="76"/>
                    </a:cubicBezTo>
                    <a:cubicBezTo>
                      <a:pt x="77" y="76"/>
                      <a:pt x="77" y="76"/>
                      <a:pt x="77" y="76"/>
                    </a:cubicBezTo>
                    <a:cubicBezTo>
                      <a:pt x="76" y="75"/>
                      <a:pt x="76" y="75"/>
                      <a:pt x="76" y="75"/>
                    </a:cubicBezTo>
                    <a:cubicBezTo>
                      <a:pt x="76" y="75"/>
                      <a:pt x="76" y="75"/>
                      <a:pt x="76" y="75"/>
                    </a:cubicBezTo>
                    <a:cubicBezTo>
                      <a:pt x="76" y="75"/>
                      <a:pt x="76" y="74"/>
                      <a:pt x="76" y="74"/>
                    </a:cubicBezTo>
                    <a:cubicBezTo>
                      <a:pt x="76" y="74"/>
                      <a:pt x="76" y="74"/>
                      <a:pt x="76" y="73"/>
                    </a:cubicBezTo>
                    <a:cubicBezTo>
                      <a:pt x="76" y="73"/>
                      <a:pt x="77" y="74"/>
                      <a:pt x="77" y="75"/>
                    </a:cubicBezTo>
                    <a:cubicBezTo>
                      <a:pt x="78" y="75"/>
                      <a:pt x="77" y="75"/>
                      <a:pt x="77" y="75"/>
                    </a:cubicBezTo>
                    <a:cubicBezTo>
                      <a:pt x="78" y="75"/>
                      <a:pt x="78" y="75"/>
                      <a:pt x="78" y="75"/>
                    </a:cubicBezTo>
                    <a:cubicBezTo>
                      <a:pt x="78" y="75"/>
                      <a:pt x="78" y="75"/>
                      <a:pt x="78" y="75"/>
                    </a:cubicBezTo>
                    <a:cubicBezTo>
                      <a:pt x="78" y="74"/>
                      <a:pt x="79" y="74"/>
                      <a:pt x="79" y="74"/>
                    </a:cubicBezTo>
                    <a:cubicBezTo>
                      <a:pt x="79" y="74"/>
                      <a:pt x="79" y="74"/>
                      <a:pt x="79" y="74"/>
                    </a:cubicBezTo>
                    <a:cubicBezTo>
                      <a:pt x="79" y="74"/>
                      <a:pt x="80" y="74"/>
                      <a:pt x="80" y="74"/>
                    </a:cubicBezTo>
                    <a:cubicBezTo>
                      <a:pt x="80" y="74"/>
                      <a:pt x="80" y="73"/>
                      <a:pt x="80" y="73"/>
                    </a:cubicBezTo>
                    <a:cubicBezTo>
                      <a:pt x="80" y="73"/>
                      <a:pt x="81" y="73"/>
                      <a:pt x="81" y="73"/>
                    </a:cubicBezTo>
                    <a:cubicBezTo>
                      <a:pt x="82" y="73"/>
                      <a:pt x="82" y="73"/>
                      <a:pt x="82" y="73"/>
                    </a:cubicBezTo>
                    <a:cubicBezTo>
                      <a:pt x="82" y="72"/>
                      <a:pt x="82" y="72"/>
                      <a:pt x="82" y="72"/>
                    </a:cubicBezTo>
                    <a:cubicBezTo>
                      <a:pt x="82" y="74"/>
                      <a:pt x="82" y="74"/>
                      <a:pt x="82" y="74"/>
                    </a:cubicBezTo>
                    <a:cubicBezTo>
                      <a:pt x="84" y="75"/>
                      <a:pt x="84" y="75"/>
                      <a:pt x="84" y="75"/>
                    </a:cubicBezTo>
                    <a:cubicBezTo>
                      <a:pt x="84" y="75"/>
                      <a:pt x="84" y="76"/>
                      <a:pt x="84" y="76"/>
                    </a:cubicBezTo>
                    <a:cubicBezTo>
                      <a:pt x="84" y="76"/>
                      <a:pt x="84" y="77"/>
                      <a:pt x="84" y="77"/>
                    </a:cubicBezTo>
                    <a:cubicBezTo>
                      <a:pt x="84" y="77"/>
                      <a:pt x="84" y="78"/>
                      <a:pt x="84" y="78"/>
                    </a:cubicBezTo>
                    <a:cubicBezTo>
                      <a:pt x="84" y="78"/>
                      <a:pt x="84" y="79"/>
                      <a:pt x="84" y="79"/>
                    </a:cubicBezTo>
                    <a:cubicBezTo>
                      <a:pt x="84" y="79"/>
                      <a:pt x="84" y="79"/>
                      <a:pt x="84" y="79"/>
                    </a:cubicBezTo>
                    <a:cubicBezTo>
                      <a:pt x="84" y="80"/>
                      <a:pt x="84" y="80"/>
                      <a:pt x="84" y="80"/>
                    </a:cubicBezTo>
                    <a:cubicBezTo>
                      <a:pt x="84" y="80"/>
                      <a:pt x="85" y="80"/>
                      <a:pt x="85" y="80"/>
                    </a:cubicBezTo>
                    <a:cubicBezTo>
                      <a:pt x="86" y="79"/>
                      <a:pt x="86" y="79"/>
                      <a:pt x="86" y="79"/>
                    </a:cubicBezTo>
                    <a:cubicBezTo>
                      <a:pt x="86" y="79"/>
                      <a:pt x="86" y="78"/>
                      <a:pt x="86" y="7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8" name="Freeform 759">
                <a:extLst>
                  <a:ext uri="{FF2B5EF4-FFF2-40B4-BE49-F238E27FC236}">
                    <a16:creationId xmlns:a16="http://schemas.microsoft.com/office/drawing/2014/main" id="{C813BAB0-7597-EC70-1157-4FE923624596}"/>
                  </a:ext>
                </a:extLst>
              </p:cNvPr>
              <p:cNvSpPr>
                <a:spLocks noEditPoints="1"/>
              </p:cNvSpPr>
              <p:nvPr/>
            </p:nvSpPr>
            <p:spPr bwMode="auto">
              <a:xfrm>
                <a:off x="3627438" y="4529138"/>
                <a:ext cx="38100" cy="42863"/>
              </a:xfrm>
              <a:custGeom>
                <a:avLst/>
                <a:gdLst>
                  <a:gd name="T0" fmla="*/ 9 w 9"/>
                  <a:gd name="T1" fmla="*/ 0 h 10"/>
                  <a:gd name="T2" fmla="*/ 7 w 9"/>
                  <a:gd name="T3" fmla="*/ 1 h 10"/>
                  <a:gd name="T4" fmla="*/ 8 w 9"/>
                  <a:gd name="T5" fmla="*/ 1 h 10"/>
                  <a:gd name="T6" fmla="*/ 8 w 9"/>
                  <a:gd name="T7" fmla="*/ 1 h 10"/>
                  <a:gd name="T8" fmla="*/ 9 w 9"/>
                  <a:gd name="T9" fmla="*/ 1 h 10"/>
                  <a:gd name="T10" fmla="*/ 9 w 9"/>
                  <a:gd name="T11" fmla="*/ 0 h 10"/>
                  <a:gd name="T12" fmla="*/ 7 w 9"/>
                  <a:gd name="T13" fmla="*/ 4 h 10"/>
                  <a:gd name="T14" fmla="*/ 6 w 9"/>
                  <a:gd name="T15" fmla="*/ 5 h 10"/>
                  <a:gd name="T16" fmla="*/ 6 w 9"/>
                  <a:gd name="T17" fmla="*/ 5 h 10"/>
                  <a:gd name="T18" fmla="*/ 6 w 9"/>
                  <a:gd name="T19" fmla="*/ 6 h 10"/>
                  <a:gd name="T20" fmla="*/ 6 w 9"/>
                  <a:gd name="T21" fmla="*/ 8 h 10"/>
                  <a:gd name="T22" fmla="*/ 6 w 9"/>
                  <a:gd name="T23" fmla="*/ 8 h 10"/>
                  <a:gd name="T24" fmla="*/ 5 w 9"/>
                  <a:gd name="T25" fmla="*/ 9 h 10"/>
                  <a:gd name="T26" fmla="*/ 2 w 9"/>
                  <a:gd name="T27" fmla="*/ 10 h 10"/>
                  <a:gd name="T28" fmla="*/ 2 w 9"/>
                  <a:gd name="T29" fmla="*/ 10 h 10"/>
                  <a:gd name="T30" fmla="*/ 2 w 9"/>
                  <a:gd name="T31" fmla="*/ 10 h 10"/>
                  <a:gd name="T32" fmla="*/ 1 w 9"/>
                  <a:gd name="T33" fmla="*/ 10 h 10"/>
                  <a:gd name="T34" fmla="*/ 0 w 9"/>
                  <a:gd name="T35" fmla="*/ 10 h 10"/>
                  <a:gd name="T36" fmla="*/ 0 w 9"/>
                  <a:gd name="T37" fmla="*/ 9 h 10"/>
                  <a:gd name="T38" fmla="*/ 0 w 9"/>
                  <a:gd name="T39" fmla="*/ 10 h 10"/>
                  <a:gd name="T40" fmla="*/ 0 w 9"/>
                  <a:gd name="T41" fmla="*/ 9 h 10"/>
                  <a:gd name="T42" fmla="*/ 2 w 9"/>
                  <a:gd name="T43" fmla="*/ 9 h 10"/>
                  <a:gd name="T44" fmla="*/ 2 w 9"/>
                  <a:gd name="T45" fmla="*/ 8 h 10"/>
                  <a:gd name="T46" fmla="*/ 3 w 9"/>
                  <a:gd name="T47" fmla="*/ 8 h 10"/>
                  <a:gd name="T48" fmla="*/ 3 w 9"/>
                  <a:gd name="T49" fmla="*/ 7 h 10"/>
                  <a:gd name="T50" fmla="*/ 3 w 9"/>
                  <a:gd name="T51" fmla="*/ 6 h 10"/>
                  <a:gd name="T52" fmla="*/ 2 w 9"/>
                  <a:gd name="T53" fmla="*/ 5 h 10"/>
                  <a:gd name="T54" fmla="*/ 2 w 9"/>
                  <a:gd name="T55" fmla="*/ 5 h 10"/>
                  <a:gd name="T56" fmla="*/ 2 w 9"/>
                  <a:gd name="T57" fmla="*/ 5 h 10"/>
                  <a:gd name="T58" fmla="*/ 2 w 9"/>
                  <a:gd name="T59" fmla="*/ 5 h 10"/>
                  <a:gd name="T60" fmla="*/ 2 w 9"/>
                  <a:gd name="T61" fmla="*/ 5 h 10"/>
                  <a:gd name="T62" fmla="*/ 2 w 9"/>
                  <a:gd name="T63" fmla="*/ 5 h 10"/>
                  <a:gd name="T64" fmla="*/ 4 w 9"/>
                  <a:gd name="T65" fmla="*/ 5 h 10"/>
                  <a:gd name="T66" fmla="*/ 4 w 9"/>
                  <a:gd name="T67" fmla="*/ 5 h 10"/>
                  <a:gd name="T68" fmla="*/ 6 w 9"/>
                  <a:gd name="T69" fmla="*/ 4 h 10"/>
                  <a:gd name="T70" fmla="*/ 7 w 9"/>
                  <a:gd name="T71" fmla="*/ 4 h 10"/>
                  <a:gd name="T72" fmla="*/ 7 w 9"/>
                  <a:gd name="T7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10">
                    <a:moveTo>
                      <a:pt x="9" y="0"/>
                    </a:moveTo>
                    <a:cubicBezTo>
                      <a:pt x="9" y="1"/>
                      <a:pt x="8" y="1"/>
                      <a:pt x="7" y="1"/>
                    </a:cubicBezTo>
                    <a:cubicBezTo>
                      <a:pt x="7" y="1"/>
                      <a:pt x="8" y="1"/>
                      <a:pt x="8" y="1"/>
                    </a:cubicBezTo>
                    <a:cubicBezTo>
                      <a:pt x="8" y="1"/>
                      <a:pt x="8" y="1"/>
                      <a:pt x="8" y="1"/>
                    </a:cubicBezTo>
                    <a:cubicBezTo>
                      <a:pt x="8" y="0"/>
                      <a:pt x="9" y="0"/>
                      <a:pt x="9" y="1"/>
                    </a:cubicBezTo>
                    <a:cubicBezTo>
                      <a:pt x="9" y="0"/>
                      <a:pt x="9" y="0"/>
                      <a:pt x="9" y="0"/>
                    </a:cubicBezTo>
                    <a:close/>
                    <a:moveTo>
                      <a:pt x="7" y="4"/>
                    </a:moveTo>
                    <a:cubicBezTo>
                      <a:pt x="7" y="5"/>
                      <a:pt x="7" y="5"/>
                      <a:pt x="6" y="5"/>
                    </a:cubicBezTo>
                    <a:cubicBezTo>
                      <a:pt x="6" y="5"/>
                      <a:pt x="6" y="5"/>
                      <a:pt x="6" y="5"/>
                    </a:cubicBezTo>
                    <a:cubicBezTo>
                      <a:pt x="6" y="6"/>
                      <a:pt x="6" y="6"/>
                      <a:pt x="6" y="6"/>
                    </a:cubicBezTo>
                    <a:cubicBezTo>
                      <a:pt x="6" y="7"/>
                      <a:pt x="6" y="7"/>
                      <a:pt x="6" y="8"/>
                    </a:cubicBezTo>
                    <a:cubicBezTo>
                      <a:pt x="6" y="8"/>
                      <a:pt x="6" y="8"/>
                      <a:pt x="6" y="8"/>
                    </a:cubicBezTo>
                    <a:cubicBezTo>
                      <a:pt x="6" y="9"/>
                      <a:pt x="6" y="9"/>
                      <a:pt x="5" y="9"/>
                    </a:cubicBezTo>
                    <a:cubicBezTo>
                      <a:pt x="4" y="9"/>
                      <a:pt x="3" y="10"/>
                      <a:pt x="2" y="10"/>
                    </a:cubicBezTo>
                    <a:cubicBezTo>
                      <a:pt x="2" y="10"/>
                      <a:pt x="2" y="10"/>
                      <a:pt x="2" y="10"/>
                    </a:cubicBezTo>
                    <a:cubicBezTo>
                      <a:pt x="2" y="10"/>
                      <a:pt x="2" y="10"/>
                      <a:pt x="2" y="10"/>
                    </a:cubicBezTo>
                    <a:cubicBezTo>
                      <a:pt x="1" y="10"/>
                      <a:pt x="1" y="9"/>
                      <a:pt x="1" y="10"/>
                    </a:cubicBezTo>
                    <a:cubicBezTo>
                      <a:pt x="0" y="10"/>
                      <a:pt x="0" y="10"/>
                      <a:pt x="0" y="10"/>
                    </a:cubicBezTo>
                    <a:cubicBezTo>
                      <a:pt x="0" y="10"/>
                      <a:pt x="0" y="9"/>
                      <a:pt x="0" y="9"/>
                    </a:cubicBezTo>
                    <a:cubicBezTo>
                      <a:pt x="0" y="9"/>
                      <a:pt x="0" y="10"/>
                      <a:pt x="0" y="10"/>
                    </a:cubicBezTo>
                    <a:cubicBezTo>
                      <a:pt x="0" y="10"/>
                      <a:pt x="0" y="9"/>
                      <a:pt x="0" y="9"/>
                    </a:cubicBezTo>
                    <a:cubicBezTo>
                      <a:pt x="1" y="9"/>
                      <a:pt x="1" y="9"/>
                      <a:pt x="2" y="9"/>
                    </a:cubicBezTo>
                    <a:cubicBezTo>
                      <a:pt x="2" y="8"/>
                      <a:pt x="2" y="8"/>
                      <a:pt x="2" y="8"/>
                    </a:cubicBezTo>
                    <a:cubicBezTo>
                      <a:pt x="3" y="8"/>
                      <a:pt x="3" y="8"/>
                      <a:pt x="3" y="8"/>
                    </a:cubicBezTo>
                    <a:cubicBezTo>
                      <a:pt x="3" y="8"/>
                      <a:pt x="3" y="7"/>
                      <a:pt x="3" y="7"/>
                    </a:cubicBezTo>
                    <a:cubicBezTo>
                      <a:pt x="3" y="6"/>
                      <a:pt x="3" y="6"/>
                      <a:pt x="3" y="6"/>
                    </a:cubicBezTo>
                    <a:cubicBezTo>
                      <a:pt x="3" y="6"/>
                      <a:pt x="2" y="6"/>
                      <a:pt x="2" y="5"/>
                    </a:cubicBezTo>
                    <a:cubicBezTo>
                      <a:pt x="2" y="5"/>
                      <a:pt x="2" y="6"/>
                      <a:pt x="2" y="5"/>
                    </a:cubicBezTo>
                    <a:cubicBezTo>
                      <a:pt x="2" y="5"/>
                      <a:pt x="2" y="5"/>
                      <a:pt x="2" y="5"/>
                    </a:cubicBezTo>
                    <a:cubicBezTo>
                      <a:pt x="2" y="5"/>
                      <a:pt x="2" y="5"/>
                      <a:pt x="2" y="5"/>
                    </a:cubicBezTo>
                    <a:cubicBezTo>
                      <a:pt x="2" y="5"/>
                      <a:pt x="2" y="5"/>
                      <a:pt x="2" y="5"/>
                    </a:cubicBezTo>
                    <a:cubicBezTo>
                      <a:pt x="2" y="5"/>
                      <a:pt x="2" y="5"/>
                      <a:pt x="2" y="5"/>
                    </a:cubicBezTo>
                    <a:cubicBezTo>
                      <a:pt x="3" y="5"/>
                      <a:pt x="3" y="5"/>
                      <a:pt x="4" y="5"/>
                    </a:cubicBezTo>
                    <a:cubicBezTo>
                      <a:pt x="4" y="5"/>
                      <a:pt x="4" y="5"/>
                      <a:pt x="4" y="5"/>
                    </a:cubicBezTo>
                    <a:cubicBezTo>
                      <a:pt x="5" y="5"/>
                      <a:pt x="5" y="5"/>
                      <a:pt x="6" y="4"/>
                    </a:cubicBezTo>
                    <a:cubicBezTo>
                      <a:pt x="6" y="4"/>
                      <a:pt x="6" y="4"/>
                      <a:pt x="7" y="4"/>
                    </a:cubicBezTo>
                    <a:cubicBezTo>
                      <a:pt x="7" y="4"/>
                      <a:pt x="7" y="4"/>
                      <a:pt x="7"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9" name="Freeform 760">
                <a:extLst>
                  <a:ext uri="{FF2B5EF4-FFF2-40B4-BE49-F238E27FC236}">
                    <a16:creationId xmlns:a16="http://schemas.microsoft.com/office/drawing/2014/main" id="{3AA46E16-A10D-10CF-0ED1-FC279EAC2F27}"/>
                  </a:ext>
                </a:extLst>
              </p:cNvPr>
              <p:cNvSpPr>
                <a:spLocks/>
              </p:cNvSpPr>
              <p:nvPr/>
            </p:nvSpPr>
            <p:spPr bwMode="auto">
              <a:xfrm>
                <a:off x="3632201" y="4505325"/>
                <a:ext cx="3175" cy="7938"/>
              </a:xfrm>
              <a:custGeom>
                <a:avLst/>
                <a:gdLst>
                  <a:gd name="T0" fmla="*/ 1 w 1"/>
                  <a:gd name="T1" fmla="*/ 0 h 2"/>
                  <a:gd name="T2" fmla="*/ 0 w 1"/>
                  <a:gd name="T3" fmla="*/ 1 h 2"/>
                  <a:gd name="T4" fmla="*/ 0 w 1"/>
                  <a:gd name="T5" fmla="*/ 1 h 2"/>
                  <a:gd name="T6" fmla="*/ 0 w 1"/>
                  <a:gd name="T7" fmla="*/ 1 h 2"/>
                  <a:gd name="T8" fmla="*/ 1 w 1"/>
                  <a:gd name="T9" fmla="*/ 1 h 2"/>
                  <a:gd name="T10" fmla="*/ 1 w 1"/>
                  <a:gd name="T11" fmla="*/ 1 h 2"/>
                  <a:gd name="T12" fmla="*/ 1 w 1"/>
                  <a:gd name="T13" fmla="*/ 0 h 2"/>
                  <a:gd name="T14" fmla="*/ 1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0"/>
                    </a:moveTo>
                    <a:cubicBezTo>
                      <a:pt x="0" y="0"/>
                      <a:pt x="0" y="1"/>
                      <a:pt x="0" y="1"/>
                    </a:cubicBezTo>
                    <a:cubicBezTo>
                      <a:pt x="0" y="1"/>
                      <a:pt x="0" y="1"/>
                      <a:pt x="0" y="1"/>
                    </a:cubicBezTo>
                    <a:cubicBezTo>
                      <a:pt x="0" y="1"/>
                      <a:pt x="0" y="1"/>
                      <a:pt x="0" y="1"/>
                    </a:cubicBezTo>
                    <a:cubicBezTo>
                      <a:pt x="0" y="2"/>
                      <a:pt x="1" y="2"/>
                      <a:pt x="1" y="1"/>
                    </a:cubicBezTo>
                    <a:cubicBezTo>
                      <a:pt x="1" y="1"/>
                      <a:pt x="1" y="1"/>
                      <a:pt x="1" y="1"/>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3" name="South_America">
              <a:extLst>
                <a:ext uri="{FF2B5EF4-FFF2-40B4-BE49-F238E27FC236}">
                  <a16:creationId xmlns:a16="http://schemas.microsoft.com/office/drawing/2014/main" id="{01459DCC-2E58-3058-0466-7C93A09EA90D}"/>
                </a:ext>
              </a:extLst>
            </p:cNvPr>
            <p:cNvGrpSpPr/>
            <p:nvPr/>
          </p:nvGrpSpPr>
          <p:grpSpPr>
            <a:xfrm>
              <a:off x="99839" y="373063"/>
              <a:ext cx="3760962" cy="4286250"/>
              <a:chOff x="99839" y="373063"/>
              <a:chExt cx="3760962" cy="4286250"/>
            </a:xfrm>
            <a:grpFill/>
          </p:grpSpPr>
          <p:sp>
            <p:nvSpPr>
              <p:cNvPr id="282" name="Freeform 745">
                <a:extLst>
                  <a:ext uri="{FF2B5EF4-FFF2-40B4-BE49-F238E27FC236}">
                    <a16:creationId xmlns:a16="http://schemas.microsoft.com/office/drawing/2014/main" id="{6EECFBAE-C936-092F-AC5A-EC84566C5624}"/>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746">
                <a:extLst>
                  <a:ext uri="{FF2B5EF4-FFF2-40B4-BE49-F238E27FC236}">
                    <a16:creationId xmlns:a16="http://schemas.microsoft.com/office/drawing/2014/main" id="{D5526D50-665B-255C-ECB2-EDFCBB05A1CD}"/>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747">
                <a:extLst>
                  <a:ext uri="{FF2B5EF4-FFF2-40B4-BE49-F238E27FC236}">
                    <a16:creationId xmlns:a16="http://schemas.microsoft.com/office/drawing/2014/main" id="{D80CDAA1-1E73-C809-FB03-A22FDBDF3865}"/>
                  </a:ext>
                </a:extLst>
              </p:cNvPr>
              <p:cNvSpPr>
                <a:spLocks/>
              </p:cNvSpPr>
              <p:nvPr/>
            </p:nvSpPr>
            <p:spPr bwMode="auto">
              <a:xfrm>
                <a:off x="3652838" y="4449763"/>
                <a:ext cx="4762" cy="12700"/>
              </a:xfrm>
              <a:custGeom>
                <a:avLst/>
                <a:gdLst>
                  <a:gd name="T0" fmla="*/ 1 w 1"/>
                  <a:gd name="T1" fmla="*/ 1 h 3"/>
                  <a:gd name="T2" fmla="*/ 1 w 1"/>
                  <a:gd name="T3" fmla="*/ 1 h 3"/>
                  <a:gd name="T4" fmla="*/ 1 w 1"/>
                  <a:gd name="T5" fmla="*/ 1 h 3"/>
                  <a:gd name="T6" fmla="*/ 0 w 1"/>
                  <a:gd name="T7" fmla="*/ 1 h 3"/>
                  <a:gd name="T8" fmla="*/ 0 w 1"/>
                  <a:gd name="T9" fmla="*/ 2 h 3"/>
                  <a:gd name="T10" fmla="*/ 0 w 1"/>
                  <a:gd name="T11" fmla="*/ 2 h 3"/>
                  <a:gd name="T12" fmla="*/ 1 w 1"/>
                  <a:gd name="T13" fmla="*/ 2 h 3"/>
                  <a:gd name="T14" fmla="*/ 1 w 1"/>
                  <a:gd name="T15" fmla="*/ 2 h 3"/>
                  <a:gd name="T16" fmla="*/ 1 w 1"/>
                  <a:gd name="T17" fmla="*/ 1 h 3"/>
                  <a:gd name="T18" fmla="*/ 1 w 1"/>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3">
                    <a:moveTo>
                      <a:pt x="1" y="1"/>
                    </a:moveTo>
                    <a:cubicBezTo>
                      <a:pt x="1" y="1"/>
                      <a:pt x="1" y="1"/>
                      <a:pt x="1" y="1"/>
                    </a:cubicBezTo>
                    <a:cubicBezTo>
                      <a:pt x="1" y="0"/>
                      <a:pt x="1" y="1"/>
                      <a:pt x="1" y="1"/>
                    </a:cubicBezTo>
                    <a:cubicBezTo>
                      <a:pt x="0" y="1"/>
                      <a:pt x="0" y="1"/>
                      <a:pt x="0" y="1"/>
                    </a:cubicBezTo>
                    <a:cubicBezTo>
                      <a:pt x="0" y="2"/>
                      <a:pt x="0" y="2"/>
                      <a:pt x="0" y="2"/>
                    </a:cubicBezTo>
                    <a:cubicBezTo>
                      <a:pt x="0" y="2"/>
                      <a:pt x="0" y="2"/>
                      <a:pt x="0" y="2"/>
                    </a:cubicBezTo>
                    <a:cubicBezTo>
                      <a:pt x="0" y="3"/>
                      <a:pt x="0" y="2"/>
                      <a:pt x="1" y="2"/>
                    </a:cubicBezTo>
                    <a:cubicBezTo>
                      <a:pt x="1" y="2"/>
                      <a:pt x="1" y="2"/>
                      <a:pt x="1" y="2"/>
                    </a:cubicBezTo>
                    <a:cubicBezTo>
                      <a:pt x="1" y="2"/>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5" name="Freeform 748">
                <a:extLst>
                  <a:ext uri="{FF2B5EF4-FFF2-40B4-BE49-F238E27FC236}">
                    <a16:creationId xmlns:a16="http://schemas.microsoft.com/office/drawing/2014/main" id="{27DD1E1E-9333-9FA3-6FC5-A83B307D38C5}"/>
                  </a:ext>
                </a:extLst>
              </p:cNvPr>
              <p:cNvSpPr>
                <a:spLocks noEditPoints="1"/>
              </p:cNvSpPr>
              <p:nvPr/>
            </p:nvSpPr>
            <p:spPr bwMode="auto">
              <a:xfrm>
                <a:off x="3648076" y="4429125"/>
                <a:ext cx="9525" cy="12700"/>
              </a:xfrm>
              <a:custGeom>
                <a:avLst/>
                <a:gdLst>
                  <a:gd name="T0" fmla="*/ 2 w 2"/>
                  <a:gd name="T1" fmla="*/ 1 h 3"/>
                  <a:gd name="T2" fmla="*/ 2 w 2"/>
                  <a:gd name="T3" fmla="*/ 1 h 3"/>
                  <a:gd name="T4" fmla="*/ 1 w 2"/>
                  <a:gd name="T5" fmla="*/ 0 h 3"/>
                  <a:gd name="T6" fmla="*/ 1 w 2"/>
                  <a:gd name="T7" fmla="*/ 0 h 3"/>
                  <a:gd name="T8" fmla="*/ 0 w 2"/>
                  <a:gd name="T9" fmla="*/ 0 h 3"/>
                  <a:gd name="T10" fmla="*/ 0 w 2"/>
                  <a:gd name="T11" fmla="*/ 0 h 3"/>
                  <a:gd name="T12" fmla="*/ 0 w 2"/>
                  <a:gd name="T13" fmla="*/ 0 h 3"/>
                  <a:gd name="T14" fmla="*/ 0 w 2"/>
                  <a:gd name="T15" fmla="*/ 1 h 3"/>
                  <a:gd name="T16" fmla="*/ 1 w 2"/>
                  <a:gd name="T17" fmla="*/ 1 h 3"/>
                  <a:gd name="T18" fmla="*/ 1 w 2"/>
                  <a:gd name="T19" fmla="*/ 2 h 3"/>
                  <a:gd name="T20" fmla="*/ 1 w 2"/>
                  <a:gd name="T21" fmla="*/ 2 h 3"/>
                  <a:gd name="T22" fmla="*/ 1 w 2"/>
                  <a:gd name="T23" fmla="*/ 2 h 3"/>
                  <a:gd name="T24" fmla="*/ 2 w 2"/>
                  <a:gd name="T25" fmla="*/ 3 h 3"/>
                  <a:gd name="T26" fmla="*/ 2 w 2"/>
                  <a:gd name="T27" fmla="*/ 3 h 3"/>
                  <a:gd name="T28" fmla="*/ 2 w 2"/>
                  <a:gd name="T29" fmla="*/ 2 h 3"/>
                  <a:gd name="T30" fmla="*/ 2 w 2"/>
                  <a:gd name="T31" fmla="*/ 1 h 3"/>
                  <a:gd name="T32" fmla="*/ 1 w 2"/>
                  <a:gd name="T33" fmla="*/ 0 h 3"/>
                  <a:gd name="T34" fmla="*/ 1 w 2"/>
                  <a:gd name="T35" fmla="*/ 0 h 3"/>
                  <a:gd name="T36" fmla="*/ 1 w 2"/>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3">
                    <a:moveTo>
                      <a:pt x="2" y="1"/>
                    </a:moveTo>
                    <a:cubicBezTo>
                      <a:pt x="2" y="1"/>
                      <a:pt x="1" y="1"/>
                      <a:pt x="2" y="1"/>
                    </a:cubicBezTo>
                    <a:cubicBezTo>
                      <a:pt x="2" y="1"/>
                      <a:pt x="1" y="0"/>
                      <a:pt x="1" y="0"/>
                    </a:cubicBezTo>
                    <a:cubicBezTo>
                      <a:pt x="1" y="0"/>
                      <a:pt x="1" y="0"/>
                      <a:pt x="1" y="0"/>
                    </a:cubicBezTo>
                    <a:cubicBezTo>
                      <a:pt x="0" y="0"/>
                      <a:pt x="0" y="0"/>
                      <a:pt x="0" y="0"/>
                    </a:cubicBezTo>
                    <a:cubicBezTo>
                      <a:pt x="0" y="0"/>
                      <a:pt x="0" y="0"/>
                      <a:pt x="0" y="0"/>
                    </a:cubicBezTo>
                    <a:cubicBezTo>
                      <a:pt x="0" y="0"/>
                      <a:pt x="0" y="0"/>
                      <a:pt x="0" y="0"/>
                    </a:cubicBezTo>
                    <a:cubicBezTo>
                      <a:pt x="0" y="1"/>
                      <a:pt x="0" y="1"/>
                      <a:pt x="0" y="1"/>
                    </a:cubicBezTo>
                    <a:cubicBezTo>
                      <a:pt x="0" y="1"/>
                      <a:pt x="0" y="1"/>
                      <a:pt x="1" y="1"/>
                    </a:cubicBezTo>
                    <a:cubicBezTo>
                      <a:pt x="1" y="2"/>
                      <a:pt x="1" y="1"/>
                      <a:pt x="1" y="2"/>
                    </a:cubicBezTo>
                    <a:cubicBezTo>
                      <a:pt x="1" y="2"/>
                      <a:pt x="1" y="2"/>
                      <a:pt x="1" y="2"/>
                    </a:cubicBezTo>
                    <a:cubicBezTo>
                      <a:pt x="1" y="3"/>
                      <a:pt x="1" y="2"/>
                      <a:pt x="1" y="2"/>
                    </a:cubicBezTo>
                    <a:cubicBezTo>
                      <a:pt x="1" y="2"/>
                      <a:pt x="1" y="2"/>
                      <a:pt x="2" y="3"/>
                    </a:cubicBezTo>
                    <a:cubicBezTo>
                      <a:pt x="1" y="3"/>
                      <a:pt x="2" y="3"/>
                      <a:pt x="2" y="3"/>
                    </a:cubicBezTo>
                    <a:cubicBezTo>
                      <a:pt x="2" y="3"/>
                      <a:pt x="2" y="3"/>
                      <a:pt x="2" y="2"/>
                    </a:cubicBezTo>
                    <a:cubicBezTo>
                      <a:pt x="2" y="2"/>
                      <a:pt x="2" y="2"/>
                      <a:pt x="2" y="1"/>
                    </a:cubicBezTo>
                    <a:close/>
                    <a:moveTo>
                      <a:pt x="1" y="0"/>
                    </a:move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6" name="Freeform 749">
                <a:extLst>
                  <a:ext uri="{FF2B5EF4-FFF2-40B4-BE49-F238E27FC236}">
                    <a16:creationId xmlns:a16="http://schemas.microsoft.com/office/drawing/2014/main" id="{25E9EF84-49FE-9BFD-B73B-3D00FA0105EC}"/>
                  </a:ext>
                </a:extLst>
              </p:cNvPr>
              <p:cNvSpPr>
                <a:spLocks/>
              </p:cNvSpPr>
              <p:nvPr/>
            </p:nvSpPr>
            <p:spPr bwMode="auto">
              <a:xfrm>
                <a:off x="3640138" y="4405313"/>
                <a:ext cx="7937" cy="11113"/>
              </a:xfrm>
              <a:custGeom>
                <a:avLst/>
                <a:gdLst>
                  <a:gd name="T0" fmla="*/ 0 w 2"/>
                  <a:gd name="T1" fmla="*/ 1 h 3"/>
                  <a:gd name="T2" fmla="*/ 0 w 2"/>
                  <a:gd name="T3" fmla="*/ 2 h 3"/>
                  <a:gd name="T4" fmla="*/ 0 w 2"/>
                  <a:gd name="T5" fmla="*/ 2 h 3"/>
                  <a:gd name="T6" fmla="*/ 1 w 2"/>
                  <a:gd name="T7" fmla="*/ 3 h 3"/>
                  <a:gd name="T8" fmla="*/ 1 w 2"/>
                  <a:gd name="T9" fmla="*/ 3 h 3"/>
                  <a:gd name="T10" fmla="*/ 1 w 2"/>
                  <a:gd name="T11" fmla="*/ 3 h 3"/>
                  <a:gd name="T12" fmla="*/ 2 w 2"/>
                  <a:gd name="T13" fmla="*/ 2 h 3"/>
                  <a:gd name="T14" fmla="*/ 2 w 2"/>
                  <a:gd name="T15" fmla="*/ 2 h 3"/>
                  <a:gd name="T16" fmla="*/ 1 w 2"/>
                  <a:gd name="T17" fmla="*/ 1 h 3"/>
                  <a:gd name="T18" fmla="*/ 0 w 2"/>
                  <a:gd name="T19" fmla="*/ 1 h 3"/>
                  <a:gd name="T20" fmla="*/ 0 w 2"/>
                  <a:gd name="T21" fmla="*/ 1 h 3"/>
                  <a:gd name="T22" fmla="*/ 0 w 2"/>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0" y="1"/>
                    </a:moveTo>
                    <a:cubicBezTo>
                      <a:pt x="0" y="2"/>
                      <a:pt x="0" y="2"/>
                      <a:pt x="0" y="2"/>
                    </a:cubicBezTo>
                    <a:cubicBezTo>
                      <a:pt x="0" y="2"/>
                      <a:pt x="0" y="2"/>
                      <a:pt x="0" y="2"/>
                    </a:cubicBezTo>
                    <a:cubicBezTo>
                      <a:pt x="0" y="2"/>
                      <a:pt x="0" y="3"/>
                      <a:pt x="1" y="3"/>
                    </a:cubicBezTo>
                    <a:cubicBezTo>
                      <a:pt x="1" y="3"/>
                      <a:pt x="1" y="3"/>
                      <a:pt x="1" y="3"/>
                    </a:cubicBezTo>
                    <a:cubicBezTo>
                      <a:pt x="1" y="3"/>
                      <a:pt x="1" y="3"/>
                      <a:pt x="1" y="3"/>
                    </a:cubicBezTo>
                    <a:cubicBezTo>
                      <a:pt x="1" y="3"/>
                      <a:pt x="2" y="2"/>
                      <a:pt x="2" y="2"/>
                    </a:cubicBezTo>
                    <a:cubicBezTo>
                      <a:pt x="2" y="2"/>
                      <a:pt x="2" y="2"/>
                      <a:pt x="2" y="2"/>
                    </a:cubicBezTo>
                    <a:cubicBezTo>
                      <a:pt x="2" y="2"/>
                      <a:pt x="2" y="1"/>
                      <a:pt x="1" y="1"/>
                    </a:cubicBezTo>
                    <a:cubicBezTo>
                      <a:pt x="1" y="0"/>
                      <a:pt x="1"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7" name="Freeform 750">
                <a:extLst>
                  <a:ext uri="{FF2B5EF4-FFF2-40B4-BE49-F238E27FC236}">
                    <a16:creationId xmlns:a16="http://schemas.microsoft.com/office/drawing/2014/main" id="{2C77FEF6-3C9B-42FF-E554-A4E92E74BBF9}"/>
                  </a:ext>
                </a:extLst>
              </p:cNvPr>
              <p:cNvSpPr>
                <a:spLocks/>
              </p:cNvSpPr>
              <p:nvPr/>
            </p:nvSpPr>
            <p:spPr bwMode="auto">
              <a:xfrm>
                <a:off x="3544888" y="4341813"/>
                <a:ext cx="7937" cy="4763"/>
              </a:xfrm>
              <a:custGeom>
                <a:avLst/>
                <a:gdLst>
                  <a:gd name="T0" fmla="*/ 0 w 2"/>
                  <a:gd name="T1" fmla="*/ 0 h 1"/>
                  <a:gd name="T2" fmla="*/ 0 w 2"/>
                  <a:gd name="T3" fmla="*/ 1 h 1"/>
                  <a:gd name="T4" fmla="*/ 2 w 2"/>
                  <a:gd name="T5" fmla="*/ 0 h 1"/>
                  <a:gd name="T6" fmla="*/ 1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1"/>
                      <a:pt x="0" y="1"/>
                      <a:pt x="0" y="1"/>
                    </a:cubicBezTo>
                    <a:cubicBezTo>
                      <a:pt x="1" y="1"/>
                      <a:pt x="2" y="1"/>
                      <a:pt x="2" y="0"/>
                    </a:cubicBezTo>
                    <a:cubicBezTo>
                      <a:pt x="2" y="0"/>
                      <a:pt x="1" y="0"/>
                      <a:pt x="1" y="0"/>
                    </a:cubicBezTo>
                    <a:cubicBezTo>
                      <a:pt x="1"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8" name="Freeform 751">
                <a:extLst>
                  <a:ext uri="{FF2B5EF4-FFF2-40B4-BE49-F238E27FC236}">
                    <a16:creationId xmlns:a16="http://schemas.microsoft.com/office/drawing/2014/main" id="{2D234D63-5DD7-AC26-80D9-5423512519D8}"/>
                  </a:ext>
                </a:extLst>
              </p:cNvPr>
              <p:cNvSpPr>
                <a:spLocks noEditPoints="1"/>
              </p:cNvSpPr>
              <p:nvPr/>
            </p:nvSpPr>
            <p:spPr bwMode="auto">
              <a:xfrm>
                <a:off x="3627438" y="4346575"/>
                <a:ext cx="7937" cy="20638"/>
              </a:xfrm>
              <a:custGeom>
                <a:avLst/>
                <a:gdLst>
                  <a:gd name="T0" fmla="*/ 0 w 2"/>
                  <a:gd name="T1" fmla="*/ 4 h 5"/>
                  <a:gd name="T2" fmla="*/ 1 w 2"/>
                  <a:gd name="T3" fmla="*/ 4 h 5"/>
                  <a:gd name="T4" fmla="*/ 2 w 2"/>
                  <a:gd name="T5" fmla="*/ 4 h 5"/>
                  <a:gd name="T6" fmla="*/ 1 w 2"/>
                  <a:gd name="T7" fmla="*/ 5 h 5"/>
                  <a:gd name="T8" fmla="*/ 0 w 2"/>
                  <a:gd name="T9" fmla="*/ 4 h 5"/>
                  <a:gd name="T10" fmla="*/ 1 w 2"/>
                  <a:gd name="T11" fmla="*/ 1 h 5"/>
                  <a:gd name="T12" fmla="*/ 1 w 2"/>
                  <a:gd name="T13" fmla="*/ 1 h 5"/>
                  <a:gd name="T14" fmla="*/ 1 w 2"/>
                  <a:gd name="T15" fmla="*/ 1 h 5"/>
                  <a:gd name="T16" fmla="*/ 1 w 2"/>
                  <a:gd name="T17" fmla="*/ 0 h 5"/>
                  <a:gd name="T18" fmla="*/ 1 w 2"/>
                  <a:gd name="T19" fmla="*/ 0 h 5"/>
                  <a:gd name="T20" fmla="*/ 1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4"/>
                    </a:moveTo>
                    <a:cubicBezTo>
                      <a:pt x="0" y="4"/>
                      <a:pt x="0" y="4"/>
                      <a:pt x="1" y="4"/>
                    </a:cubicBezTo>
                    <a:cubicBezTo>
                      <a:pt x="1" y="4"/>
                      <a:pt x="2" y="4"/>
                      <a:pt x="2" y="4"/>
                    </a:cubicBezTo>
                    <a:cubicBezTo>
                      <a:pt x="2" y="4"/>
                      <a:pt x="1" y="5"/>
                      <a:pt x="1" y="5"/>
                    </a:cubicBezTo>
                    <a:cubicBezTo>
                      <a:pt x="1" y="5"/>
                      <a:pt x="0" y="5"/>
                      <a:pt x="0" y="4"/>
                    </a:cubicBezTo>
                    <a:close/>
                    <a:moveTo>
                      <a:pt x="1" y="1"/>
                    </a:moveTo>
                    <a:cubicBezTo>
                      <a:pt x="1" y="1"/>
                      <a:pt x="1" y="1"/>
                      <a:pt x="1" y="1"/>
                    </a:cubicBezTo>
                    <a:cubicBezTo>
                      <a:pt x="1" y="1"/>
                      <a:pt x="1" y="1"/>
                      <a:pt x="1" y="1"/>
                    </a:cubicBezTo>
                    <a:cubicBezTo>
                      <a:pt x="1" y="1"/>
                      <a:pt x="1" y="0"/>
                      <a:pt x="1" y="0"/>
                    </a:cubicBezTo>
                    <a:cubicBezTo>
                      <a:pt x="1" y="0"/>
                      <a:pt x="1" y="0"/>
                      <a:pt x="1" y="0"/>
                    </a:cubicBezTo>
                    <a:cubicBezTo>
                      <a:pt x="1" y="0"/>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9" name="Freeform 752">
                <a:extLst>
                  <a:ext uri="{FF2B5EF4-FFF2-40B4-BE49-F238E27FC236}">
                    <a16:creationId xmlns:a16="http://schemas.microsoft.com/office/drawing/2014/main" id="{2FDE9128-06AF-C67F-B677-D2562EB69F55}"/>
                  </a:ext>
                </a:extLst>
              </p:cNvPr>
              <p:cNvSpPr>
                <a:spLocks/>
              </p:cNvSpPr>
              <p:nvPr/>
            </p:nvSpPr>
            <p:spPr bwMode="auto">
              <a:xfrm>
                <a:off x="3619501" y="4371975"/>
                <a:ext cx="4762" cy="3175"/>
              </a:xfrm>
              <a:custGeom>
                <a:avLst/>
                <a:gdLst>
                  <a:gd name="T0" fmla="*/ 1 w 1"/>
                  <a:gd name="T1" fmla="*/ 1 h 1"/>
                  <a:gd name="T2" fmla="*/ 0 w 1"/>
                  <a:gd name="T3" fmla="*/ 1 h 1"/>
                  <a:gd name="T4" fmla="*/ 0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1"/>
                      <a:pt x="0" y="1"/>
                      <a:pt x="0" y="1"/>
                    </a:cubicBezTo>
                    <a:cubicBezTo>
                      <a:pt x="0" y="1"/>
                      <a:pt x="0" y="1"/>
                      <a:pt x="0" y="1"/>
                    </a:cubicBezTo>
                    <a:cubicBezTo>
                      <a:pt x="0" y="0"/>
                      <a:pt x="0" y="0"/>
                      <a:pt x="0" y="0"/>
                    </a:cubicBezTo>
                    <a:cubicBezTo>
                      <a:pt x="0" y="0"/>
                      <a:pt x="0" y="0"/>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0" name="Freeform 753">
                <a:extLst>
                  <a:ext uri="{FF2B5EF4-FFF2-40B4-BE49-F238E27FC236}">
                    <a16:creationId xmlns:a16="http://schemas.microsoft.com/office/drawing/2014/main" id="{CD2A522D-ABF4-317B-6476-ED54F92522E3}"/>
                  </a:ext>
                </a:extLst>
              </p:cNvPr>
              <p:cNvSpPr>
                <a:spLocks/>
              </p:cNvSpPr>
              <p:nvPr/>
            </p:nvSpPr>
            <p:spPr bwMode="auto">
              <a:xfrm>
                <a:off x="3689351" y="4471988"/>
                <a:ext cx="9525" cy="7938"/>
              </a:xfrm>
              <a:custGeom>
                <a:avLst/>
                <a:gdLst>
                  <a:gd name="T0" fmla="*/ 1 w 2"/>
                  <a:gd name="T1" fmla="*/ 2 h 2"/>
                  <a:gd name="T2" fmla="*/ 1 w 2"/>
                  <a:gd name="T3" fmla="*/ 2 h 2"/>
                  <a:gd name="T4" fmla="*/ 0 w 2"/>
                  <a:gd name="T5" fmla="*/ 1 h 2"/>
                  <a:gd name="T6" fmla="*/ 0 w 2"/>
                  <a:gd name="T7" fmla="*/ 1 h 2"/>
                  <a:gd name="T8" fmla="*/ 1 w 2"/>
                  <a:gd name="T9" fmla="*/ 1 h 2"/>
                  <a:gd name="T10" fmla="*/ 1 w 2"/>
                  <a:gd name="T11" fmla="*/ 1 h 2"/>
                  <a:gd name="T12" fmla="*/ 1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1" y="2"/>
                      <a:pt x="1" y="2"/>
                    </a:cubicBezTo>
                    <a:cubicBezTo>
                      <a:pt x="1" y="2"/>
                      <a:pt x="0" y="2"/>
                      <a:pt x="0" y="1"/>
                    </a:cubicBezTo>
                    <a:cubicBezTo>
                      <a:pt x="0" y="1"/>
                      <a:pt x="0" y="1"/>
                      <a:pt x="0" y="1"/>
                    </a:cubicBezTo>
                    <a:cubicBezTo>
                      <a:pt x="0" y="1"/>
                      <a:pt x="0" y="1"/>
                      <a:pt x="1" y="1"/>
                    </a:cubicBezTo>
                    <a:cubicBezTo>
                      <a:pt x="1" y="0"/>
                      <a:pt x="1" y="1"/>
                      <a:pt x="1" y="1"/>
                    </a:cubicBezTo>
                    <a:cubicBezTo>
                      <a:pt x="1" y="1"/>
                      <a:pt x="1" y="1"/>
                      <a:pt x="1" y="1"/>
                    </a:cubicBezTo>
                    <a:cubicBezTo>
                      <a:pt x="2"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1" name="Freeform 754">
                <a:extLst>
                  <a:ext uri="{FF2B5EF4-FFF2-40B4-BE49-F238E27FC236}">
                    <a16:creationId xmlns:a16="http://schemas.microsoft.com/office/drawing/2014/main" id="{F2F0A826-F631-18A9-A4E7-4961F55CEE6E}"/>
                  </a:ext>
                </a:extLst>
              </p:cNvPr>
              <p:cNvSpPr>
                <a:spLocks noEditPoints="1"/>
              </p:cNvSpPr>
              <p:nvPr/>
            </p:nvSpPr>
            <p:spPr bwMode="auto">
              <a:xfrm>
                <a:off x="3627438" y="4379913"/>
                <a:ext cx="20637" cy="20638"/>
              </a:xfrm>
              <a:custGeom>
                <a:avLst/>
                <a:gdLst>
                  <a:gd name="T0" fmla="*/ 1 w 5"/>
                  <a:gd name="T1" fmla="*/ 1 h 5"/>
                  <a:gd name="T2" fmla="*/ 2 w 5"/>
                  <a:gd name="T3" fmla="*/ 2 h 5"/>
                  <a:gd name="T4" fmla="*/ 3 w 5"/>
                  <a:gd name="T5" fmla="*/ 2 h 5"/>
                  <a:gd name="T6" fmla="*/ 3 w 5"/>
                  <a:gd name="T7" fmla="*/ 1 h 5"/>
                  <a:gd name="T8" fmla="*/ 3 w 5"/>
                  <a:gd name="T9" fmla="*/ 1 h 5"/>
                  <a:gd name="T10" fmla="*/ 3 w 5"/>
                  <a:gd name="T11" fmla="*/ 0 h 5"/>
                  <a:gd name="T12" fmla="*/ 3 w 5"/>
                  <a:gd name="T13" fmla="*/ 0 h 5"/>
                  <a:gd name="T14" fmla="*/ 4 w 5"/>
                  <a:gd name="T15" fmla="*/ 1 h 5"/>
                  <a:gd name="T16" fmla="*/ 4 w 5"/>
                  <a:gd name="T17" fmla="*/ 2 h 5"/>
                  <a:gd name="T18" fmla="*/ 4 w 5"/>
                  <a:gd name="T19" fmla="*/ 2 h 5"/>
                  <a:gd name="T20" fmla="*/ 3 w 5"/>
                  <a:gd name="T21" fmla="*/ 2 h 5"/>
                  <a:gd name="T22" fmla="*/ 3 w 5"/>
                  <a:gd name="T23" fmla="*/ 2 h 5"/>
                  <a:gd name="T24" fmla="*/ 2 w 5"/>
                  <a:gd name="T25" fmla="*/ 3 h 5"/>
                  <a:gd name="T26" fmla="*/ 2 w 5"/>
                  <a:gd name="T27" fmla="*/ 3 h 5"/>
                  <a:gd name="T28" fmla="*/ 2 w 5"/>
                  <a:gd name="T29" fmla="*/ 3 h 5"/>
                  <a:gd name="T30" fmla="*/ 2 w 5"/>
                  <a:gd name="T31" fmla="*/ 3 h 5"/>
                  <a:gd name="T32" fmla="*/ 2 w 5"/>
                  <a:gd name="T33" fmla="*/ 4 h 5"/>
                  <a:gd name="T34" fmla="*/ 1 w 5"/>
                  <a:gd name="T35" fmla="*/ 4 h 5"/>
                  <a:gd name="T36" fmla="*/ 1 w 5"/>
                  <a:gd name="T37" fmla="*/ 4 h 5"/>
                  <a:gd name="T38" fmla="*/ 1 w 5"/>
                  <a:gd name="T39" fmla="*/ 3 h 5"/>
                  <a:gd name="T40" fmla="*/ 1 w 5"/>
                  <a:gd name="T41" fmla="*/ 3 h 5"/>
                  <a:gd name="T42" fmla="*/ 1 w 5"/>
                  <a:gd name="T43" fmla="*/ 2 h 5"/>
                  <a:gd name="T44" fmla="*/ 1 w 5"/>
                  <a:gd name="T45" fmla="*/ 2 h 5"/>
                  <a:gd name="T46" fmla="*/ 1 w 5"/>
                  <a:gd name="T47" fmla="*/ 1 h 5"/>
                  <a:gd name="T48" fmla="*/ 1 w 5"/>
                  <a:gd name="T49" fmla="*/ 1 h 5"/>
                  <a:gd name="T50" fmla="*/ 1 w 5"/>
                  <a:gd name="T51" fmla="*/ 1 h 5"/>
                  <a:gd name="T52" fmla="*/ 4 w 5"/>
                  <a:gd name="T53" fmla="*/ 4 h 5"/>
                  <a:gd name="T54" fmla="*/ 4 w 5"/>
                  <a:gd name="T55" fmla="*/ 5 h 5"/>
                  <a:gd name="T56" fmla="*/ 5 w 5"/>
                  <a:gd name="T57" fmla="*/ 5 h 5"/>
                  <a:gd name="T58" fmla="*/ 5 w 5"/>
                  <a:gd name="T59" fmla="*/ 4 h 5"/>
                  <a:gd name="T60" fmla="*/ 4 w 5"/>
                  <a:gd name="T6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5">
                    <a:moveTo>
                      <a:pt x="1" y="1"/>
                    </a:moveTo>
                    <a:cubicBezTo>
                      <a:pt x="2" y="2"/>
                      <a:pt x="2" y="2"/>
                      <a:pt x="2" y="2"/>
                    </a:cubicBezTo>
                    <a:cubicBezTo>
                      <a:pt x="3" y="2"/>
                      <a:pt x="3" y="2"/>
                      <a:pt x="3" y="2"/>
                    </a:cubicBezTo>
                    <a:cubicBezTo>
                      <a:pt x="3" y="1"/>
                      <a:pt x="3" y="1"/>
                      <a:pt x="3" y="1"/>
                    </a:cubicBezTo>
                    <a:cubicBezTo>
                      <a:pt x="3" y="1"/>
                      <a:pt x="2" y="1"/>
                      <a:pt x="3" y="1"/>
                    </a:cubicBezTo>
                    <a:cubicBezTo>
                      <a:pt x="3" y="1"/>
                      <a:pt x="3" y="1"/>
                      <a:pt x="3" y="0"/>
                    </a:cubicBezTo>
                    <a:cubicBezTo>
                      <a:pt x="3" y="0"/>
                      <a:pt x="3" y="0"/>
                      <a:pt x="3" y="0"/>
                    </a:cubicBezTo>
                    <a:cubicBezTo>
                      <a:pt x="3" y="1"/>
                      <a:pt x="4" y="1"/>
                      <a:pt x="4" y="1"/>
                    </a:cubicBezTo>
                    <a:cubicBezTo>
                      <a:pt x="4" y="1"/>
                      <a:pt x="4" y="1"/>
                      <a:pt x="4" y="2"/>
                    </a:cubicBezTo>
                    <a:cubicBezTo>
                      <a:pt x="5" y="2"/>
                      <a:pt x="5" y="2"/>
                      <a:pt x="4" y="2"/>
                    </a:cubicBezTo>
                    <a:cubicBezTo>
                      <a:pt x="4" y="2"/>
                      <a:pt x="4" y="2"/>
                      <a:pt x="3" y="2"/>
                    </a:cubicBezTo>
                    <a:cubicBezTo>
                      <a:pt x="3" y="2"/>
                      <a:pt x="3" y="2"/>
                      <a:pt x="3" y="2"/>
                    </a:cubicBezTo>
                    <a:cubicBezTo>
                      <a:pt x="3" y="2"/>
                      <a:pt x="2" y="2"/>
                      <a:pt x="2" y="3"/>
                    </a:cubicBezTo>
                    <a:cubicBezTo>
                      <a:pt x="2" y="3"/>
                      <a:pt x="2" y="3"/>
                      <a:pt x="2" y="3"/>
                    </a:cubicBezTo>
                    <a:cubicBezTo>
                      <a:pt x="2" y="3"/>
                      <a:pt x="2" y="3"/>
                      <a:pt x="2" y="3"/>
                    </a:cubicBezTo>
                    <a:cubicBezTo>
                      <a:pt x="3" y="3"/>
                      <a:pt x="3" y="3"/>
                      <a:pt x="2" y="3"/>
                    </a:cubicBezTo>
                    <a:cubicBezTo>
                      <a:pt x="2" y="4"/>
                      <a:pt x="2" y="4"/>
                      <a:pt x="2" y="4"/>
                    </a:cubicBezTo>
                    <a:cubicBezTo>
                      <a:pt x="2" y="4"/>
                      <a:pt x="2" y="4"/>
                      <a:pt x="1" y="4"/>
                    </a:cubicBezTo>
                    <a:cubicBezTo>
                      <a:pt x="1" y="4"/>
                      <a:pt x="1" y="4"/>
                      <a:pt x="1" y="4"/>
                    </a:cubicBezTo>
                    <a:cubicBezTo>
                      <a:pt x="1" y="4"/>
                      <a:pt x="1" y="3"/>
                      <a:pt x="1" y="3"/>
                    </a:cubicBezTo>
                    <a:cubicBezTo>
                      <a:pt x="1" y="3"/>
                      <a:pt x="1" y="3"/>
                      <a:pt x="1" y="3"/>
                    </a:cubicBezTo>
                    <a:cubicBezTo>
                      <a:pt x="1" y="3"/>
                      <a:pt x="1" y="2"/>
                      <a:pt x="1" y="2"/>
                    </a:cubicBezTo>
                    <a:cubicBezTo>
                      <a:pt x="1" y="2"/>
                      <a:pt x="1" y="2"/>
                      <a:pt x="1" y="2"/>
                    </a:cubicBezTo>
                    <a:cubicBezTo>
                      <a:pt x="0" y="2"/>
                      <a:pt x="0" y="1"/>
                      <a:pt x="1" y="1"/>
                    </a:cubicBezTo>
                    <a:cubicBezTo>
                      <a:pt x="1" y="1"/>
                      <a:pt x="1" y="1"/>
                      <a:pt x="1" y="1"/>
                    </a:cubicBezTo>
                    <a:cubicBezTo>
                      <a:pt x="1" y="1"/>
                      <a:pt x="1" y="1"/>
                      <a:pt x="1" y="1"/>
                    </a:cubicBezTo>
                    <a:close/>
                    <a:moveTo>
                      <a:pt x="4" y="4"/>
                    </a:moveTo>
                    <a:cubicBezTo>
                      <a:pt x="4" y="4"/>
                      <a:pt x="4" y="4"/>
                      <a:pt x="4" y="5"/>
                    </a:cubicBezTo>
                    <a:cubicBezTo>
                      <a:pt x="4" y="5"/>
                      <a:pt x="4" y="5"/>
                      <a:pt x="5" y="5"/>
                    </a:cubicBezTo>
                    <a:cubicBezTo>
                      <a:pt x="5" y="4"/>
                      <a:pt x="5" y="4"/>
                      <a:pt x="5" y="4"/>
                    </a:cubicBezTo>
                    <a:cubicBezTo>
                      <a:pt x="5" y="4"/>
                      <a:pt x="4" y="4"/>
                      <a:pt x="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2" name="Freeform 755">
                <a:extLst>
                  <a:ext uri="{FF2B5EF4-FFF2-40B4-BE49-F238E27FC236}">
                    <a16:creationId xmlns:a16="http://schemas.microsoft.com/office/drawing/2014/main" id="{BF6F1724-7757-4024-9893-E44CD78762E5}"/>
                  </a:ext>
                </a:extLst>
              </p:cNvPr>
              <p:cNvSpPr>
                <a:spLocks noEditPoints="1"/>
              </p:cNvSpPr>
              <p:nvPr/>
            </p:nvSpPr>
            <p:spPr bwMode="auto">
              <a:xfrm>
                <a:off x="3594101" y="4329113"/>
                <a:ext cx="4762" cy="9525"/>
              </a:xfrm>
              <a:custGeom>
                <a:avLst/>
                <a:gdLst>
                  <a:gd name="T0" fmla="*/ 1 w 1"/>
                  <a:gd name="T1" fmla="*/ 1 h 2"/>
                  <a:gd name="T2" fmla="*/ 1 w 1"/>
                  <a:gd name="T3" fmla="*/ 1 h 2"/>
                  <a:gd name="T4" fmla="*/ 1 w 1"/>
                  <a:gd name="T5" fmla="*/ 1 h 2"/>
                  <a:gd name="T6" fmla="*/ 1 w 1"/>
                  <a:gd name="T7" fmla="*/ 1 h 2"/>
                  <a:gd name="T8" fmla="*/ 0 w 1"/>
                  <a:gd name="T9" fmla="*/ 1 h 2"/>
                  <a:gd name="T10" fmla="*/ 0 w 1"/>
                  <a:gd name="T11" fmla="*/ 1 h 2"/>
                  <a:gd name="T12" fmla="*/ 0 w 1"/>
                  <a:gd name="T13" fmla="*/ 1 h 2"/>
                  <a:gd name="T14" fmla="*/ 1 w 1"/>
                  <a:gd name="T15" fmla="*/ 1 h 2"/>
                  <a:gd name="T16" fmla="*/ 1 w 1"/>
                  <a:gd name="T17" fmla="*/ 1 h 2"/>
                  <a:gd name="T18" fmla="*/ 1 w 1"/>
                  <a:gd name="T19" fmla="*/ 0 h 2"/>
                  <a:gd name="T20" fmla="*/ 1 w 1"/>
                  <a:gd name="T21" fmla="*/ 0 h 2"/>
                  <a:gd name="T22" fmla="*/ 0 w 1"/>
                  <a:gd name="T23" fmla="*/ 0 h 2"/>
                  <a:gd name="T24" fmla="*/ 0 w 1"/>
                  <a:gd name="T25" fmla="*/ 1 h 2"/>
                  <a:gd name="T26" fmla="*/ 0 w 1"/>
                  <a:gd name="T27" fmla="*/ 0 h 2"/>
                  <a:gd name="T28" fmla="*/ 1 w 1"/>
                  <a:gd name="T29" fmla="*/ 0 h 2"/>
                  <a:gd name="T30" fmla="*/ 1 w 1"/>
                  <a:gd name="T31" fmla="*/ 0 h 2"/>
                  <a:gd name="T32" fmla="*/ 1 w 1"/>
                  <a:gd name="T33" fmla="*/ 0 h 2"/>
                  <a:gd name="T34" fmla="*/ 1 w 1"/>
                  <a:gd name="T35" fmla="*/ 0 h 2"/>
                  <a:gd name="T36" fmla="*/ 1 w 1"/>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2">
                    <a:moveTo>
                      <a:pt x="1" y="1"/>
                    </a:moveTo>
                    <a:cubicBezTo>
                      <a:pt x="1" y="1"/>
                      <a:pt x="1" y="1"/>
                      <a:pt x="1" y="1"/>
                    </a:cubicBezTo>
                    <a:cubicBezTo>
                      <a:pt x="1" y="1"/>
                      <a:pt x="1" y="1"/>
                      <a:pt x="1" y="1"/>
                    </a:cubicBezTo>
                    <a:cubicBezTo>
                      <a:pt x="1" y="1"/>
                      <a:pt x="1" y="1"/>
                      <a:pt x="1" y="1"/>
                    </a:cubicBezTo>
                    <a:cubicBezTo>
                      <a:pt x="0" y="2"/>
                      <a:pt x="0" y="2"/>
                      <a:pt x="0" y="1"/>
                    </a:cubicBezTo>
                    <a:cubicBezTo>
                      <a:pt x="0" y="1"/>
                      <a:pt x="0" y="1"/>
                      <a:pt x="0" y="1"/>
                    </a:cubicBezTo>
                    <a:cubicBezTo>
                      <a:pt x="0" y="1"/>
                      <a:pt x="0" y="1"/>
                      <a:pt x="0" y="1"/>
                    </a:cubicBezTo>
                    <a:cubicBezTo>
                      <a:pt x="0" y="1"/>
                      <a:pt x="0" y="1"/>
                      <a:pt x="1" y="1"/>
                    </a:cubicBezTo>
                    <a:cubicBezTo>
                      <a:pt x="1" y="1"/>
                      <a:pt x="1" y="1"/>
                      <a:pt x="1" y="1"/>
                    </a:cubicBezTo>
                    <a:close/>
                    <a:moveTo>
                      <a:pt x="1" y="0"/>
                    </a:moveTo>
                    <a:cubicBezTo>
                      <a:pt x="1" y="0"/>
                      <a:pt x="1" y="0"/>
                      <a:pt x="1" y="0"/>
                    </a:cubicBezTo>
                    <a:cubicBezTo>
                      <a:pt x="0" y="0"/>
                      <a:pt x="0" y="0"/>
                      <a:pt x="0" y="0"/>
                    </a:cubicBezTo>
                    <a:cubicBezTo>
                      <a:pt x="0" y="0"/>
                      <a:pt x="0" y="0"/>
                      <a:pt x="0" y="1"/>
                    </a:cubicBezTo>
                    <a:cubicBezTo>
                      <a:pt x="0" y="1"/>
                      <a:pt x="0" y="0"/>
                      <a:pt x="0" y="0"/>
                    </a:cubicBezTo>
                    <a:cubicBezTo>
                      <a:pt x="0" y="1"/>
                      <a:pt x="0"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3" name="Freeform 756">
                <a:extLst>
                  <a:ext uri="{FF2B5EF4-FFF2-40B4-BE49-F238E27FC236}">
                    <a16:creationId xmlns:a16="http://schemas.microsoft.com/office/drawing/2014/main" id="{5964E7D2-BFEF-E8F3-7A39-42D1E125ACB7}"/>
                  </a:ext>
                </a:extLst>
              </p:cNvPr>
              <p:cNvSpPr>
                <a:spLocks noEditPoints="1"/>
              </p:cNvSpPr>
              <p:nvPr/>
            </p:nvSpPr>
            <p:spPr bwMode="auto">
              <a:xfrm>
                <a:off x="3602038" y="4354513"/>
                <a:ext cx="9525" cy="7938"/>
              </a:xfrm>
              <a:custGeom>
                <a:avLst/>
                <a:gdLst>
                  <a:gd name="T0" fmla="*/ 1 w 2"/>
                  <a:gd name="T1" fmla="*/ 1 h 2"/>
                  <a:gd name="T2" fmla="*/ 1 w 2"/>
                  <a:gd name="T3" fmla="*/ 1 h 2"/>
                  <a:gd name="T4" fmla="*/ 0 w 2"/>
                  <a:gd name="T5" fmla="*/ 0 h 2"/>
                  <a:gd name="T6" fmla="*/ 0 w 2"/>
                  <a:gd name="T7" fmla="*/ 0 h 2"/>
                  <a:gd name="T8" fmla="*/ 0 w 2"/>
                  <a:gd name="T9" fmla="*/ 0 h 2"/>
                  <a:gd name="T10" fmla="*/ 1 w 2"/>
                  <a:gd name="T11" fmla="*/ 1 h 2"/>
                  <a:gd name="T12" fmla="*/ 1 w 2"/>
                  <a:gd name="T13" fmla="*/ 2 h 2"/>
                  <a:gd name="T14" fmla="*/ 2 w 2"/>
                  <a:gd name="T15" fmla="*/ 2 h 2"/>
                  <a:gd name="T16" fmla="*/ 1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1" y="1"/>
                      <a:pt x="1" y="1"/>
                      <a:pt x="1" y="1"/>
                    </a:cubicBezTo>
                    <a:cubicBezTo>
                      <a:pt x="1" y="1"/>
                      <a:pt x="0" y="1"/>
                      <a:pt x="0" y="0"/>
                    </a:cubicBezTo>
                    <a:cubicBezTo>
                      <a:pt x="0" y="0"/>
                      <a:pt x="0" y="0"/>
                      <a:pt x="0" y="0"/>
                    </a:cubicBezTo>
                    <a:cubicBezTo>
                      <a:pt x="0" y="0"/>
                      <a:pt x="0" y="0"/>
                      <a:pt x="0" y="0"/>
                    </a:cubicBezTo>
                    <a:cubicBezTo>
                      <a:pt x="0" y="0"/>
                      <a:pt x="1" y="1"/>
                      <a:pt x="1" y="1"/>
                    </a:cubicBezTo>
                    <a:close/>
                    <a:moveTo>
                      <a:pt x="1" y="2"/>
                    </a:moveTo>
                    <a:cubicBezTo>
                      <a:pt x="1" y="2"/>
                      <a:pt x="2" y="2"/>
                      <a:pt x="2" y="2"/>
                    </a:cubicBezTo>
                    <a:cubicBezTo>
                      <a:pt x="2" y="2"/>
                      <a:pt x="2"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4" name="Freeform 757">
                <a:extLst>
                  <a:ext uri="{FF2B5EF4-FFF2-40B4-BE49-F238E27FC236}">
                    <a16:creationId xmlns:a16="http://schemas.microsoft.com/office/drawing/2014/main" id="{5EA9E1F7-3922-AF09-8B8D-263D526D4D79}"/>
                  </a:ext>
                </a:extLst>
              </p:cNvPr>
              <p:cNvSpPr>
                <a:spLocks noEditPoints="1"/>
              </p:cNvSpPr>
              <p:nvPr/>
            </p:nvSpPr>
            <p:spPr bwMode="auto">
              <a:xfrm>
                <a:off x="3540126" y="4325938"/>
                <a:ext cx="12700" cy="3175"/>
              </a:xfrm>
              <a:custGeom>
                <a:avLst/>
                <a:gdLst>
                  <a:gd name="T0" fmla="*/ 3 w 3"/>
                  <a:gd name="T1" fmla="*/ 0 h 1"/>
                  <a:gd name="T2" fmla="*/ 3 w 3"/>
                  <a:gd name="T3" fmla="*/ 0 h 1"/>
                  <a:gd name="T4" fmla="*/ 3 w 3"/>
                  <a:gd name="T5" fmla="*/ 0 h 1"/>
                  <a:gd name="T6" fmla="*/ 3 w 3"/>
                  <a:gd name="T7" fmla="*/ 0 h 1"/>
                  <a:gd name="T8" fmla="*/ 3 w 3"/>
                  <a:gd name="T9" fmla="*/ 0 h 1"/>
                  <a:gd name="T10" fmla="*/ 3 w 3"/>
                  <a:gd name="T11" fmla="*/ 1 h 1"/>
                  <a:gd name="T12" fmla="*/ 3 w 3"/>
                  <a:gd name="T13" fmla="*/ 0 h 1"/>
                  <a:gd name="T14" fmla="*/ 2 w 3"/>
                  <a:gd name="T15" fmla="*/ 0 h 1"/>
                  <a:gd name="T16" fmla="*/ 2 w 3"/>
                  <a:gd name="T17" fmla="*/ 0 h 1"/>
                  <a:gd name="T18" fmla="*/ 2 w 3"/>
                  <a:gd name="T19" fmla="*/ 1 h 1"/>
                  <a:gd name="T20" fmla="*/ 2 w 3"/>
                  <a:gd name="T21" fmla="*/ 0 h 1"/>
                  <a:gd name="T22" fmla="*/ 2 w 3"/>
                  <a:gd name="T23" fmla="*/ 0 h 1"/>
                  <a:gd name="T24" fmla="*/ 2 w 3"/>
                  <a:gd name="T25" fmla="*/ 0 h 1"/>
                  <a:gd name="T26" fmla="*/ 1 w 3"/>
                  <a:gd name="T27" fmla="*/ 0 h 1"/>
                  <a:gd name="T28" fmla="*/ 2 w 3"/>
                  <a:gd name="T29" fmla="*/ 0 h 1"/>
                  <a:gd name="T30" fmla="*/ 2 w 3"/>
                  <a:gd name="T31" fmla="*/ 0 h 1"/>
                  <a:gd name="T32" fmla="*/ 3 w 3"/>
                  <a:gd name="T33" fmla="*/ 0 h 1"/>
                  <a:gd name="T34" fmla="*/ 3 w 3"/>
                  <a:gd name="T35" fmla="*/ 0 h 1"/>
                  <a:gd name="T36" fmla="*/ 1 w 3"/>
                  <a:gd name="T37" fmla="*/ 0 h 1"/>
                  <a:gd name="T38" fmla="*/ 0 w 3"/>
                  <a:gd name="T39" fmla="*/ 0 h 1"/>
                  <a:gd name="T40" fmla="*/ 1 w 3"/>
                  <a:gd name="T41" fmla="*/ 0 h 1"/>
                  <a:gd name="T42" fmla="*/ 1 w 3"/>
                  <a:gd name="T43" fmla="*/ 0 h 1"/>
                  <a:gd name="T44" fmla="*/ 1 w 3"/>
                  <a:gd name="T45" fmla="*/ 0 h 1"/>
                  <a:gd name="T46" fmla="*/ 1 w 3"/>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
                    <a:moveTo>
                      <a:pt x="3" y="0"/>
                    </a:moveTo>
                    <a:cubicBezTo>
                      <a:pt x="3" y="0"/>
                      <a:pt x="3" y="0"/>
                      <a:pt x="3" y="0"/>
                    </a:cubicBezTo>
                    <a:cubicBezTo>
                      <a:pt x="3" y="0"/>
                      <a:pt x="3" y="0"/>
                      <a:pt x="3" y="0"/>
                    </a:cubicBezTo>
                    <a:cubicBezTo>
                      <a:pt x="3" y="0"/>
                      <a:pt x="3" y="0"/>
                      <a:pt x="3" y="0"/>
                    </a:cubicBezTo>
                    <a:cubicBezTo>
                      <a:pt x="3" y="0"/>
                      <a:pt x="3" y="0"/>
                      <a:pt x="3" y="0"/>
                    </a:cubicBezTo>
                    <a:cubicBezTo>
                      <a:pt x="3" y="0"/>
                      <a:pt x="3" y="0"/>
                      <a:pt x="3" y="1"/>
                    </a:cubicBezTo>
                    <a:cubicBezTo>
                      <a:pt x="2" y="0"/>
                      <a:pt x="3" y="0"/>
                      <a:pt x="3" y="0"/>
                    </a:cubicBezTo>
                    <a:cubicBezTo>
                      <a:pt x="2" y="0"/>
                      <a:pt x="2" y="0"/>
                      <a:pt x="2" y="0"/>
                    </a:cubicBezTo>
                    <a:cubicBezTo>
                      <a:pt x="2" y="0"/>
                      <a:pt x="2" y="0"/>
                      <a:pt x="2" y="0"/>
                    </a:cubicBezTo>
                    <a:cubicBezTo>
                      <a:pt x="2" y="0"/>
                      <a:pt x="2" y="0"/>
                      <a:pt x="2" y="1"/>
                    </a:cubicBezTo>
                    <a:cubicBezTo>
                      <a:pt x="2" y="1"/>
                      <a:pt x="2" y="1"/>
                      <a:pt x="2" y="0"/>
                    </a:cubicBezTo>
                    <a:cubicBezTo>
                      <a:pt x="2" y="0"/>
                      <a:pt x="2" y="0"/>
                      <a:pt x="2" y="0"/>
                    </a:cubicBezTo>
                    <a:cubicBezTo>
                      <a:pt x="2" y="0"/>
                      <a:pt x="2" y="0"/>
                      <a:pt x="2" y="0"/>
                    </a:cubicBezTo>
                    <a:cubicBezTo>
                      <a:pt x="2" y="0"/>
                      <a:pt x="1" y="0"/>
                      <a:pt x="1" y="0"/>
                    </a:cubicBezTo>
                    <a:cubicBezTo>
                      <a:pt x="1" y="0"/>
                      <a:pt x="2" y="0"/>
                      <a:pt x="2" y="0"/>
                    </a:cubicBezTo>
                    <a:cubicBezTo>
                      <a:pt x="2" y="0"/>
                      <a:pt x="2" y="0"/>
                      <a:pt x="2" y="0"/>
                    </a:cubicBezTo>
                    <a:cubicBezTo>
                      <a:pt x="2" y="0"/>
                      <a:pt x="2" y="0"/>
                      <a:pt x="3" y="0"/>
                    </a:cubicBezTo>
                    <a:cubicBezTo>
                      <a:pt x="3" y="0"/>
                      <a:pt x="3" y="0"/>
                      <a:pt x="3" y="0"/>
                    </a:cubicBezTo>
                    <a:close/>
                    <a:moveTo>
                      <a:pt x="1" y="0"/>
                    </a:moveTo>
                    <a:cubicBezTo>
                      <a:pt x="1" y="0"/>
                      <a:pt x="1" y="0"/>
                      <a:pt x="0"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5" name="Freeform 758">
                <a:extLst>
                  <a:ext uri="{FF2B5EF4-FFF2-40B4-BE49-F238E27FC236}">
                    <a16:creationId xmlns:a16="http://schemas.microsoft.com/office/drawing/2014/main" id="{828E26F8-6B02-50A1-AC84-13931F6F3E9C}"/>
                  </a:ext>
                </a:extLst>
              </p:cNvPr>
              <p:cNvSpPr>
                <a:spLocks/>
              </p:cNvSpPr>
              <p:nvPr/>
            </p:nvSpPr>
            <p:spPr bwMode="auto">
              <a:xfrm>
                <a:off x="3644901" y="4471988"/>
                <a:ext cx="7937" cy="7938"/>
              </a:xfrm>
              <a:custGeom>
                <a:avLst/>
                <a:gdLst>
                  <a:gd name="T0" fmla="*/ 1 w 2"/>
                  <a:gd name="T1" fmla="*/ 2 h 2"/>
                  <a:gd name="T2" fmla="*/ 1 w 2"/>
                  <a:gd name="T3" fmla="*/ 2 h 2"/>
                  <a:gd name="T4" fmla="*/ 1 w 2"/>
                  <a:gd name="T5" fmla="*/ 0 h 2"/>
                  <a:gd name="T6" fmla="*/ 1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2"/>
                      <a:pt x="1" y="2"/>
                      <a:pt x="1" y="2"/>
                    </a:cubicBezTo>
                    <a:cubicBezTo>
                      <a:pt x="1" y="1"/>
                      <a:pt x="2" y="1"/>
                      <a:pt x="1" y="0"/>
                    </a:cubicBezTo>
                    <a:cubicBezTo>
                      <a:pt x="1" y="0"/>
                      <a:pt x="1" y="0"/>
                      <a:pt x="1" y="0"/>
                    </a:cubicBezTo>
                    <a:cubicBezTo>
                      <a:pt x="0" y="0"/>
                      <a:pt x="0" y="1"/>
                      <a:pt x="1" y="2"/>
                    </a:cubicBezTo>
                    <a:cubicBezTo>
                      <a:pt x="1"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6" name="Freeform 761">
                <a:extLst>
                  <a:ext uri="{FF2B5EF4-FFF2-40B4-BE49-F238E27FC236}">
                    <a16:creationId xmlns:a16="http://schemas.microsoft.com/office/drawing/2014/main" id="{D2814B0A-EB5D-19F5-E84A-418DAAF0EF96}"/>
                  </a:ext>
                </a:extLst>
              </p:cNvPr>
              <p:cNvSpPr>
                <a:spLocks noEditPoints="1"/>
              </p:cNvSpPr>
              <p:nvPr/>
            </p:nvSpPr>
            <p:spPr bwMode="auto">
              <a:xfrm>
                <a:off x="3436938" y="4329113"/>
                <a:ext cx="74612" cy="20638"/>
              </a:xfrm>
              <a:custGeom>
                <a:avLst/>
                <a:gdLst>
                  <a:gd name="T0" fmla="*/ 18 w 18"/>
                  <a:gd name="T1" fmla="*/ 3 h 5"/>
                  <a:gd name="T2" fmla="*/ 16 w 18"/>
                  <a:gd name="T3" fmla="*/ 3 h 5"/>
                  <a:gd name="T4" fmla="*/ 18 w 18"/>
                  <a:gd name="T5" fmla="*/ 3 h 5"/>
                  <a:gd name="T6" fmla="*/ 15 w 18"/>
                  <a:gd name="T7" fmla="*/ 1 h 5"/>
                  <a:gd name="T8" fmla="*/ 15 w 18"/>
                  <a:gd name="T9" fmla="*/ 1 h 5"/>
                  <a:gd name="T10" fmla="*/ 15 w 18"/>
                  <a:gd name="T11" fmla="*/ 1 h 5"/>
                  <a:gd name="T12" fmla="*/ 15 w 18"/>
                  <a:gd name="T13" fmla="*/ 1 h 5"/>
                  <a:gd name="T14" fmla="*/ 13 w 18"/>
                  <a:gd name="T15" fmla="*/ 1 h 5"/>
                  <a:gd name="T16" fmla="*/ 13 w 18"/>
                  <a:gd name="T17" fmla="*/ 1 h 5"/>
                  <a:gd name="T18" fmla="*/ 12 w 18"/>
                  <a:gd name="T19" fmla="*/ 1 h 5"/>
                  <a:gd name="T20" fmla="*/ 11 w 18"/>
                  <a:gd name="T21" fmla="*/ 1 h 5"/>
                  <a:gd name="T22" fmla="*/ 9 w 18"/>
                  <a:gd name="T23" fmla="*/ 1 h 5"/>
                  <a:gd name="T24" fmla="*/ 8 w 18"/>
                  <a:gd name="T25" fmla="*/ 1 h 5"/>
                  <a:gd name="T26" fmla="*/ 8 w 18"/>
                  <a:gd name="T27" fmla="*/ 1 h 5"/>
                  <a:gd name="T28" fmla="*/ 6 w 18"/>
                  <a:gd name="T29" fmla="*/ 1 h 5"/>
                  <a:gd name="T30" fmla="*/ 6 w 18"/>
                  <a:gd name="T31" fmla="*/ 1 h 5"/>
                  <a:gd name="T32" fmla="*/ 6 w 18"/>
                  <a:gd name="T33" fmla="*/ 1 h 5"/>
                  <a:gd name="T34" fmla="*/ 5 w 18"/>
                  <a:gd name="T35" fmla="*/ 1 h 5"/>
                  <a:gd name="T36" fmla="*/ 5 w 18"/>
                  <a:gd name="T37" fmla="*/ 2 h 5"/>
                  <a:gd name="T38" fmla="*/ 5 w 18"/>
                  <a:gd name="T39" fmla="*/ 3 h 5"/>
                  <a:gd name="T40" fmla="*/ 5 w 18"/>
                  <a:gd name="T41" fmla="*/ 4 h 5"/>
                  <a:gd name="T42" fmla="*/ 6 w 18"/>
                  <a:gd name="T43" fmla="*/ 4 h 5"/>
                  <a:gd name="T44" fmla="*/ 6 w 18"/>
                  <a:gd name="T45" fmla="*/ 4 h 5"/>
                  <a:gd name="T46" fmla="*/ 7 w 18"/>
                  <a:gd name="T47" fmla="*/ 4 h 5"/>
                  <a:gd name="T48" fmla="*/ 8 w 18"/>
                  <a:gd name="T49" fmla="*/ 4 h 5"/>
                  <a:gd name="T50" fmla="*/ 9 w 18"/>
                  <a:gd name="T51" fmla="*/ 4 h 5"/>
                  <a:gd name="T52" fmla="*/ 9 w 18"/>
                  <a:gd name="T53" fmla="*/ 4 h 5"/>
                  <a:gd name="T54" fmla="*/ 9 w 18"/>
                  <a:gd name="T55" fmla="*/ 4 h 5"/>
                  <a:gd name="T56" fmla="*/ 11 w 18"/>
                  <a:gd name="T57" fmla="*/ 5 h 5"/>
                  <a:gd name="T58" fmla="*/ 11 w 18"/>
                  <a:gd name="T59" fmla="*/ 5 h 5"/>
                  <a:gd name="T60" fmla="*/ 14 w 18"/>
                  <a:gd name="T61" fmla="*/ 4 h 5"/>
                  <a:gd name="T62" fmla="*/ 15 w 18"/>
                  <a:gd name="T63" fmla="*/ 4 h 5"/>
                  <a:gd name="T64" fmla="*/ 15 w 18"/>
                  <a:gd name="T65" fmla="*/ 3 h 5"/>
                  <a:gd name="T66" fmla="*/ 16 w 18"/>
                  <a:gd name="T67" fmla="*/ 2 h 5"/>
                  <a:gd name="T68" fmla="*/ 15 w 18"/>
                  <a:gd name="T69" fmla="*/ 1 h 5"/>
                  <a:gd name="T70" fmla="*/ 1 w 18"/>
                  <a:gd name="T71" fmla="*/ 3 h 5"/>
                  <a:gd name="T72" fmla="*/ 0 w 18"/>
                  <a:gd name="T73" fmla="*/ 4 h 5"/>
                  <a:gd name="T74" fmla="*/ 1 w 18"/>
                  <a:gd name="T75" fmla="*/ 4 h 5"/>
                  <a:gd name="T76" fmla="*/ 1 w 18"/>
                  <a:gd name="T77" fmla="*/ 3 h 5"/>
                  <a:gd name="T78" fmla="*/ 1 w 18"/>
                  <a:gd name="T7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5">
                    <a:moveTo>
                      <a:pt x="18" y="3"/>
                    </a:moveTo>
                    <a:cubicBezTo>
                      <a:pt x="17" y="3"/>
                      <a:pt x="17" y="4"/>
                      <a:pt x="16" y="3"/>
                    </a:cubicBezTo>
                    <a:cubicBezTo>
                      <a:pt x="17" y="3"/>
                      <a:pt x="17" y="3"/>
                      <a:pt x="18" y="3"/>
                    </a:cubicBezTo>
                    <a:close/>
                    <a:moveTo>
                      <a:pt x="15" y="1"/>
                    </a:moveTo>
                    <a:cubicBezTo>
                      <a:pt x="15" y="1"/>
                      <a:pt x="15" y="1"/>
                      <a:pt x="15" y="1"/>
                    </a:cubicBezTo>
                    <a:cubicBezTo>
                      <a:pt x="15" y="1"/>
                      <a:pt x="15" y="1"/>
                      <a:pt x="15" y="1"/>
                    </a:cubicBezTo>
                    <a:cubicBezTo>
                      <a:pt x="15" y="1"/>
                      <a:pt x="15" y="1"/>
                      <a:pt x="15" y="1"/>
                    </a:cubicBezTo>
                    <a:cubicBezTo>
                      <a:pt x="14" y="1"/>
                      <a:pt x="14" y="1"/>
                      <a:pt x="13" y="1"/>
                    </a:cubicBezTo>
                    <a:cubicBezTo>
                      <a:pt x="13" y="1"/>
                      <a:pt x="13" y="1"/>
                      <a:pt x="13" y="1"/>
                    </a:cubicBezTo>
                    <a:cubicBezTo>
                      <a:pt x="13" y="1"/>
                      <a:pt x="13" y="1"/>
                      <a:pt x="12" y="1"/>
                    </a:cubicBezTo>
                    <a:cubicBezTo>
                      <a:pt x="12" y="1"/>
                      <a:pt x="11" y="1"/>
                      <a:pt x="11" y="1"/>
                    </a:cubicBezTo>
                    <a:cubicBezTo>
                      <a:pt x="10" y="1"/>
                      <a:pt x="9" y="1"/>
                      <a:pt x="9" y="1"/>
                    </a:cubicBezTo>
                    <a:cubicBezTo>
                      <a:pt x="9" y="1"/>
                      <a:pt x="8" y="1"/>
                      <a:pt x="8" y="1"/>
                    </a:cubicBezTo>
                    <a:cubicBezTo>
                      <a:pt x="8" y="0"/>
                      <a:pt x="8" y="1"/>
                      <a:pt x="8" y="1"/>
                    </a:cubicBezTo>
                    <a:cubicBezTo>
                      <a:pt x="7" y="1"/>
                      <a:pt x="7" y="1"/>
                      <a:pt x="6" y="1"/>
                    </a:cubicBezTo>
                    <a:cubicBezTo>
                      <a:pt x="6" y="0"/>
                      <a:pt x="6" y="1"/>
                      <a:pt x="6" y="1"/>
                    </a:cubicBezTo>
                    <a:cubicBezTo>
                      <a:pt x="5" y="1"/>
                      <a:pt x="6" y="1"/>
                      <a:pt x="6" y="1"/>
                    </a:cubicBezTo>
                    <a:cubicBezTo>
                      <a:pt x="6" y="1"/>
                      <a:pt x="5" y="1"/>
                      <a:pt x="5" y="1"/>
                    </a:cubicBezTo>
                    <a:cubicBezTo>
                      <a:pt x="5" y="2"/>
                      <a:pt x="5" y="2"/>
                      <a:pt x="5" y="2"/>
                    </a:cubicBezTo>
                    <a:cubicBezTo>
                      <a:pt x="5" y="2"/>
                      <a:pt x="6" y="3"/>
                      <a:pt x="5" y="3"/>
                    </a:cubicBezTo>
                    <a:cubicBezTo>
                      <a:pt x="5" y="3"/>
                      <a:pt x="5" y="4"/>
                      <a:pt x="5" y="4"/>
                    </a:cubicBezTo>
                    <a:cubicBezTo>
                      <a:pt x="5" y="4"/>
                      <a:pt x="5" y="4"/>
                      <a:pt x="6" y="4"/>
                    </a:cubicBezTo>
                    <a:cubicBezTo>
                      <a:pt x="6" y="4"/>
                      <a:pt x="6" y="5"/>
                      <a:pt x="6" y="4"/>
                    </a:cubicBezTo>
                    <a:cubicBezTo>
                      <a:pt x="7" y="4"/>
                      <a:pt x="7" y="4"/>
                      <a:pt x="7" y="4"/>
                    </a:cubicBezTo>
                    <a:cubicBezTo>
                      <a:pt x="7" y="5"/>
                      <a:pt x="8" y="5"/>
                      <a:pt x="8" y="4"/>
                    </a:cubicBezTo>
                    <a:cubicBezTo>
                      <a:pt x="8" y="4"/>
                      <a:pt x="8" y="4"/>
                      <a:pt x="9" y="4"/>
                    </a:cubicBezTo>
                    <a:cubicBezTo>
                      <a:pt x="9" y="4"/>
                      <a:pt x="9" y="4"/>
                      <a:pt x="9" y="4"/>
                    </a:cubicBezTo>
                    <a:cubicBezTo>
                      <a:pt x="9" y="4"/>
                      <a:pt x="9" y="4"/>
                      <a:pt x="9" y="4"/>
                    </a:cubicBezTo>
                    <a:cubicBezTo>
                      <a:pt x="10" y="4"/>
                      <a:pt x="10" y="4"/>
                      <a:pt x="11" y="5"/>
                    </a:cubicBezTo>
                    <a:cubicBezTo>
                      <a:pt x="11" y="5"/>
                      <a:pt x="11" y="5"/>
                      <a:pt x="11" y="5"/>
                    </a:cubicBezTo>
                    <a:cubicBezTo>
                      <a:pt x="12" y="5"/>
                      <a:pt x="13" y="4"/>
                      <a:pt x="14" y="4"/>
                    </a:cubicBezTo>
                    <a:cubicBezTo>
                      <a:pt x="14" y="4"/>
                      <a:pt x="14" y="4"/>
                      <a:pt x="15" y="4"/>
                    </a:cubicBezTo>
                    <a:cubicBezTo>
                      <a:pt x="15" y="3"/>
                      <a:pt x="15" y="3"/>
                      <a:pt x="15" y="3"/>
                    </a:cubicBezTo>
                    <a:cubicBezTo>
                      <a:pt x="16" y="3"/>
                      <a:pt x="16" y="2"/>
                      <a:pt x="16" y="2"/>
                    </a:cubicBezTo>
                    <a:cubicBezTo>
                      <a:pt x="16" y="2"/>
                      <a:pt x="16" y="1"/>
                      <a:pt x="15" y="1"/>
                    </a:cubicBezTo>
                    <a:close/>
                    <a:moveTo>
                      <a:pt x="1" y="3"/>
                    </a:moveTo>
                    <a:cubicBezTo>
                      <a:pt x="1" y="3"/>
                      <a:pt x="0" y="3"/>
                      <a:pt x="0" y="4"/>
                    </a:cubicBezTo>
                    <a:cubicBezTo>
                      <a:pt x="0" y="4"/>
                      <a:pt x="0" y="4"/>
                      <a:pt x="1" y="4"/>
                    </a:cubicBezTo>
                    <a:cubicBezTo>
                      <a:pt x="1" y="4"/>
                      <a:pt x="1" y="4"/>
                      <a:pt x="1" y="3"/>
                    </a:cubicBezTo>
                    <a:cubicBezTo>
                      <a:pt x="1" y="3"/>
                      <a:pt x="1" y="3"/>
                      <a:pt x="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7" name="Freeform 762">
                <a:extLst>
                  <a:ext uri="{FF2B5EF4-FFF2-40B4-BE49-F238E27FC236}">
                    <a16:creationId xmlns:a16="http://schemas.microsoft.com/office/drawing/2014/main" id="{A13D1D69-39CD-63E5-A577-838511177E73}"/>
                  </a:ext>
                </a:extLst>
              </p:cNvPr>
              <p:cNvSpPr>
                <a:spLocks/>
              </p:cNvSpPr>
              <p:nvPr/>
            </p:nvSpPr>
            <p:spPr bwMode="auto">
              <a:xfrm>
                <a:off x="3011488" y="4587875"/>
                <a:ext cx="166687" cy="71438"/>
              </a:xfrm>
              <a:custGeom>
                <a:avLst/>
                <a:gdLst>
                  <a:gd name="T0" fmla="*/ 36 w 40"/>
                  <a:gd name="T1" fmla="*/ 13 h 17"/>
                  <a:gd name="T2" fmla="*/ 38 w 40"/>
                  <a:gd name="T3" fmla="*/ 12 h 17"/>
                  <a:gd name="T4" fmla="*/ 39 w 40"/>
                  <a:gd name="T5" fmla="*/ 11 h 17"/>
                  <a:gd name="T6" fmla="*/ 38 w 40"/>
                  <a:gd name="T7" fmla="*/ 6 h 17"/>
                  <a:gd name="T8" fmla="*/ 38 w 40"/>
                  <a:gd name="T9" fmla="*/ 6 h 17"/>
                  <a:gd name="T10" fmla="*/ 35 w 40"/>
                  <a:gd name="T11" fmla="*/ 4 h 17"/>
                  <a:gd name="T12" fmla="*/ 33 w 40"/>
                  <a:gd name="T13" fmla="*/ 2 h 17"/>
                  <a:gd name="T14" fmla="*/ 32 w 40"/>
                  <a:gd name="T15" fmla="*/ 2 h 17"/>
                  <a:gd name="T16" fmla="*/ 29 w 40"/>
                  <a:gd name="T17" fmla="*/ 1 h 17"/>
                  <a:gd name="T18" fmla="*/ 27 w 40"/>
                  <a:gd name="T19" fmla="*/ 0 h 17"/>
                  <a:gd name="T20" fmla="*/ 24 w 40"/>
                  <a:gd name="T21" fmla="*/ 0 h 17"/>
                  <a:gd name="T22" fmla="*/ 21 w 40"/>
                  <a:gd name="T23" fmla="*/ 2 h 17"/>
                  <a:gd name="T24" fmla="*/ 18 w 40"/>
                  <a:gd name="T25" fmla="*/ 3 h 17"/>
                  <a:gd name="T26" fmla="*/ 14 w 40"/>
                  <a:gd name="T27" fmla="*/ 6 h 17"/>
                  <a:gd name="T28" fmla="*/ 9 w 40"/>
                  <a:gd name="T29" fmla="*/ 4 h 17"/>
                  <a:gd name="T30" fmla="*/ 9 w 40"/>
                  <a:gd name="T31" fmla="*/ 3 h 17"/>
                  <a:gd name="T32" fmla="*/ 9 w 40"/>
                  <a:gd name="T33" fmla="*/ 4 h 17"/>
                  <a:gd name="T34" fmla="*/ 6 w 40"/>
                  <a:gd name="T35" fmla="*/ 4 h 17"/>
                  <a:gd name="T36" fmla="*/ 5 w 40"/>
                  <a:gd name="T37" fmla="*/ 3 h 17"/>
                  <a:gd name="T38" fmla="*/ 4 w 40"/>
                  <a:gd name="T39" fmla="*/ 0 h 17"/>
                  <a:gd name="T40" fmla="*/ 3 w 40"/>
                  <a:gd name="T41" fmla="*/ 1 h 17"/>
                  <a:gd name="T42" fmla="*/ 2 w 40"/>
                  <a:gd name="T43" fmla="*/ 1 h 17"/>
                  <a:gd name="T44" fmla="*/ 1 w 40"/>
                  <a:gd name="T45" fmla="*/ 3 h 17"/>
                  <a:gd name="T46" fmla="*/ 2 w 40"/>
                  <a:gd name="T47" fmla="*/ 5 h 17"/>
                  <a:gd name="T48" fmla="*/ 2 w 40"/>
                  <a:gd name="T49" fmla="*/ 6 h 17"/>
                  <a:gd name="T50" fmla="*/ 0 w 40"/>
                  <a:gd name="T51" fmla="*/ 9 h 17"/>
                  <a:gd name="T52" fmla="*/ 1 w 40"/>
                  <a:gd name="T53" fmla="*/ 10 h 17"/>
                  <a:gd name="T54" fmla="*/ 2 w 40"/>
                  <a:gd name="T55" fmla="*/ 10 h 17"/>
                  <a:gd name="T56" fmla="*/ 3 w 40"/>
                  <a:gd name="T57" fmla="*/ 9 h 17"/>
                  <a:gd name="T58" fmla="*/ 5 w 40"/>
                  <a:gd name="T59" fmla="*/ 8 h 17"/>
                  <a:gd name="T60" fmla="*/ 6 w 40"/>
                  <a:gd name="T61" fmla="*/ 9 h 17"/>
                  <a:gd name="T62" fmla="*/ 9 w 40"/>
                  <a:gd name="T63" fmla="*/ 10 h 17"/>
                  <a:gd name="T64" fmla="*/ 12 w 40"/>
                  <a:gd name="T65" fmla="*/ 13 h 17"/>
                  <a:gd name="T66" fmla="*/ 13 w 40"/>
                  <a:gd name="T67" fmla="*/ 12 h 17"/>
                  <a:gd name="T68" fmla="*/ 15 w 40"/>
                  <a:gd name="T69" fmla="*/ 14 h 17"/>
                  <a:gd name="T70" fmla="*/ 16 w 40"/>
                  <a:gd name="T71" fmla="*/ 16 h 17"/>
                  <a:gd name="T72" fmla="*/ 18 w 40"/>
                  <a:gd name="T73" fmla="*/ 16 h 17"/>
                  <a:gd name="T74" fmla="*/ 19 w 40"/>
                  <a:gd name="T75" fmla="*/ 15 h 17"/>
                  <a:gd name="T76" fmla="*/ 21 w 40"/>
                  <a:gd name="T77" fmla="*/ 14 h 17"/>
                  <a:gd name="T78" fmla="*/ 18 w 40"/>
                  <a:gd name="T79" fmla="*/ 11 h 17"/>
                  <a:gd name="T80" fmla="*/ 18 w 40"/>
                  <a:gd name="T81" fmla="*/ 9 h 17"/>
                  <a:gd name="T82" fmla="*/ 22 w 40"/>
                  <a:gd name="T83" fmla="*/ 7 h 17"/>
                  <a:gd name="T84" fmla="*/ 23 w 40"/>
                  <a:gd name="T85" fmla="*/ 5 h 17"/>
                  <a:gd name="T86" fmla="*/ 26 w 40"/>
                  <a:gd name="T87" fmla="*/ 4 h 17"/>
                  <a:gd name="T88" fmla="*/ 29 w 40"/>
                  <a:gd name="T89" fmla="*/ 5 h 17"/>
                  <a:gd name="T90" fmla="*/ 31 w 40"/>
                  <a:gd name="T91" fmla="*/ 8 h 17"/>
                  <a:gd name="T92" fmla="*/ 32 w 40"/>
                  <a:gd name="T93" fmla="*/ 8 h 17"/>
                  <a:gd name="T94" fmla="*/ 33 w 40"/>
                  <a:gd name="T95" fmla="*/ 8 h 17"/>
                  <a:gd name="T96" fmla="*/ 34 w 40"/>
                  <a:gd name="T97" fmla="*/ 8 h 17"/>
                  <a:gd name="T98" fmla="*/ 33 w 40"/>
                  <a:gd name="T99" fmla="*/ 9 h 17"/>
                  <a:gd name="T100" fmla="*/ 32 w 40"/>
                  <a:gd name="T101" fmla="*/ 10 h 17"/>
                  <a:gd name="T102" fmla="*/ 32 w 40"/>
                  <a:gd name="T103" fmla="*/ 12 h 17"/>
                  <a:gd name="T104" fmla="*/ 33 w 40"/>
                  <a:gd name="T105" fmla="*/ 15 h 17"/>
                  <a:gd name="T106" fmla="*/ 35 w 40"/>
                  <a:gd name="T10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17">
                    <a:moveTo>
                      <a:pt x="36" y="15"/>
                    </a:moveTo>
                    <a:cubicBezTo>
                      <a:pt x="36" y="14"/>
                      <a:pt x="36" y="13"/>
                      <a:pt x="36" y="13"/>
                    </a:cubicBezTo>
                    <a:cubicBezTo>
                      <a:pt x="36" y="13"/>
                      <a:pt x="37" y="13"/>
                      <a:pt x="37" y="14"/>
                    </a:cubicBezTo>
                    <a:cubicBezTo>
                      <a:pt x="37" y="13"/>
                      <a:pt x="38" y="13"/>
                      <a:pt x="38" y="12"/>
                    </a:cubicBezTo>
                    <a:cubicBezTo>
                      <a:pt x="38" y="12"/>
                      <a:pt x="38" y="12"/>
                      <a:pt x="38" y="12"/>
                    </a:cubicBezTo>
                    <a:cubicBezTo>
                      <a:pt x="38" y="11"/>
                      <a:pt x="38" y="11"/>
                      <a:pt x="39" y="11"/>
                    </a:cubicBezTo>
                    <a:cubicBezTo>
                      <a:pt x="39" y="11"/>
                      <a:pt x="40" y="11"/>
                      <a:pt x="40" y="11"/>
                    </a:cubicBezTo>
                    <a:cubicBezTo>
                      <a:pt x="39" y="10"/>
                      <a:pt x="39" y="8"/>
                      <a:pt x="38" y="6"/>
                    </a:cubicBezTo>
                    <a:cubicBezTo>
                      <a:pt x="38" y="6"/>
                      <a:pt x="38" y="6"/>
                      <a:pt x="38" y="7"/>
                    </a:cubicBezTo>
                    <a:cubicBezTo>
                      <a:pt x="38" y="6"/>
                      <a:pt x="38" y="6"/>
                      <a:pt x="38" y="6"/>
                    </a:cubicBezTo>
                    <a:cubicBezTo>
                      <a:pt x="38" y="6"/>
                      <a:pt x="37" y="6"/>
                      <a:pt x="37" y="5"/>
                    </a:cubicBezTo>
                    <a:cubicBezTo>
                      <a:pt x="37" y="5"/>
                      <a:pt x="36" y="4"/>
                      <a:pt x="35" y="4"/>
                    </a:cubicBezTo>
                    <a:cubicBezTo>
                      <a:pt x="35" y="4"/>
                      <a:pt x="34" y="2"/>
                      <a:pt x="34" y="2"/>
                    </a:cubicBezTo>
                    <a:cubicBezTo>
                      <a:pt x="33" y="2"/>
                      <a:pt x="33" y="2"/>
                      <a:pt x="33" y="2"/>
                    </a:cubicBezTo>
                    <a:cubicBezTo>
                      <a:pt x="33" y="2"/>
                      <a:pt x="33" y="2"/>
                      <a:pt x="33" y="2"/>
                    </a:cubicBezTo>
                    <a:cubicBezTo>
                      <a:pt x="32" y="2"/>
                      <a:pt x="32" y="2"/>
                      <a:pt x="32" y="2"/>
                    </a:cubicBezTo>
                    <a:cubicBezTo>
                      <a:pt x="31" y="1"/>
                      <a:pt x="31" y="1"/>
                      <a:pt x="30" y="1"/>
                    </a:cubicBezTo>
                    <a:cubicBezTo>
                      <a:pt x="30" y="1"/>
                      <a:pt x="29" y="1"/>
                      <a:pt x="29" y="1"/>
                    </a:cubicBezTo>
                    <a:cubicBezTo>
                      <a:pt x="28" y="1"/>
                      <a:pt x="28" y="1"/>
                      <a:pt x="28" y="1"/>
                    </a:cubicBezTo>
                    <a:cubicBezTo>
                      <a:pt x="27" y="1"/>
                      <a:pt x="27" y="1"/>
                      <a:pt x="27" y="0"/>
                    </a:cubicBezTo>
                    <a:cubicBezTo>
                      <a:pt x="27" y="0"/>
                      <a:pt x="27" y="0"/>
                      <a:pt x="26" y="0"/>
                    </a:cubicBezTo>
                    <a:cubicBezTo>
                      <a:pt x="25" y="0"/>
                      <a:pt x="25" y="0"/>
                      <a:pt x="24" y="0"/>
                    </a:cubicBezTo>
                    <a:cubicBezTo>
                      <a:pt x="23" y="0"/>
                      <a:pt x="23" y="0"/>
                      <a:pt x="23" y="0"/>
                    </a:cubicBezTo>
                    <a:cubicBezTo>
                      <a:pt x="22" y="1"/>
                      <a:pt x="21" y="2"/>
                      <a:pt x="21" y="2"/>
                    </a:cubicBezTo>
                    <a:cubicBezTo>
                      <a:pt x="20" y="2"/>
                      <a:pt x="20" y="3"/>
                      <a:pt x="20" y="3"/>
                    </a:cubicBezTo>
                    <a:cubicBezTo>
                      <a:pt x="19" y="3"/>
                      <a:pt x="19" y="3"/>
                      <a:pt x="18" y="3"/>
                    </a:cubicBezTo>
                    <a:cubicBezTo>
                      <a:pt x="17" y="3"/>
                      <a:pt x="17" y="4"/>
                      <a:pt x="16" y="4"/>
                    </a:cubicBezTo>
                    <a:cubicBezTo>
                      <a:pt x="15" y="5"/>
                      <a:pt x="15" y="5"/>
                      <a:pt x="14" y="6"/>
                    </a:cubicBezTo>
                    <a:cubicBezTo>
                      <a:pt x="13" y="6"/>
                      <a:pt x="12" y="6"/>
                      <a:pt x="11" y="5"/>
                    </a:cubicBezTo>
                    <a:cubicBezTo>
                      <a:pt x="11" y="5"/>
                      <a:pt x="10" y="5"/>
                      <a:pt x="9" y="4"/>
                    </a:cubicBezTo>
                    <a:cubicBezTo>
                      <a:pt x="9" y="4"/>
                      <a:pt x="9" y="4"/>
                      <a:pt x="9" y="4"/>
                    </a:cubicBezTo>
                    <a:cubicBezTo>
                      <a:pt x="9" y="3"/>
                      <a:pt x="9" y="3"/>
                      <a:pt x="9" y="3"/>
                    </a:cubicBezTo>
                    <a:cubicBezTo>
                      <a:pt x="8" y="3"/>
                      <a:pt x="8" y="3"/>
                      <a:pt x="8" y="3"/>
                    </a:cubicBezTo>
                    <a:cubicBezTo>
                      <a:pt x="8" y="3"/>
                      <a:pt x="8" y="4"/>
                      <a:pt x="9" y="4"/>
                    </a:cubicBezTo>
                    <a:cubicBezTo>
                      <a:pt x="8" y="4"/>
                      <a:pt x="7" y="4"/>
                      <a:pt x="6" y="4"/>
                    </a:cubicBezTo>
                    <a:cubicBezTo>
                      <a:pt x="6" y="4"/>
                      <a:pt x="6" y="4"/>
                      <a:pt x="6" y="4"/>
                    </a:cubicBezTo>
                    <a:cubicBezTo>
                      <a:pt x="6" y="3"/>
                      <a:pt x="6" y="3"/>
                      <a:pt x="6" y="3"/>
                    </a:cubicBezTo>
                    <a:cubicBezTo>
                      <a:pt x="6" y="3"/>
                      <a:pt x="5" y="3"/>
                      <a:pt x="5" y="3"/>
                    </a:cubicBezTo>
                    <a:cubicBezTo>
                      <a:pt x="5" y="2"/>
                      <a:pt x="5" y="2"/>
                      <a:pt x="5" y="2"/>
                    </a:cubicBezTo>
                    <a:cubicBezTo>
                      <a:pt x="5" y="1"/>
                      <a:pt x="4" y="1"/>
                      <a:pt x="4" y="0"/>
                    </a:cubicBezTo>
                    <a:cubicBezTo>
                      <a:pt x="4" y="0"/>
                      <a:pt x="4" y="0"/>
                      <a:pt x="4" y="0"/>
                    </a:cubicBezTo>
                    <a:cubicBezTo>
                      <a:pt x="3" y="0"/>
                      <a:pt x="3" y="1"/>
                      <a:pt x="3" y="1"/>
                    </a:cubicBezTo>
                    <a:cubicBezTo>
                      <a:pt x="3" y="1"/>
                      <a:pt x="2" y="0"/>
                      <a:pt x="2" y="0"/>
                    </a:cubicBezTo>
                    <a:cubicBezTo>
                      <a:pt x="2" y="0"/>
                      <a:pt x="2" y="1"/>
                      <a:pt x="2" y="1"/>
                    </a:cubicBezTo>
                    <a:cubicBezTo>
                      <a:pt x="2" y="1"/>
                      <a:pt x="1" y="1"/>
                      <a:pt x="1" y="1"/>
                    </a:cubicBezTo>
                    <a:cubicBezTo>
                      <a:pt x="1" y="1"/>
                      <a:pt x="1" y="3"/>
                      <a:pt x="1" y="3"/>
                    </a:cubicBezTo>
                    <a:cubicBezTo>
                      <a:pt x="1" y="3"/>
                      <a:pt x="2" y="4"/>
                      <a:pt x="2" y="4"/>
                    </a:cubicBezTo>
                    <a:cubicBezTo>
                      <a:pt x="2" y="4"/>
                      <a:pt x="2" y="5"/>
                      <a:pt x="2" y="5"/>
                    </a:cubicBezTo>
                    <a:cubicBezTo>
                      <a:pt x="2" y="5"/>
                      <a:pt x="1" y="5"/>
                      <a:pt x="1" y="6"/>
                    </a:cubicBezTo>
                    <a:cubicBezTo>
                      <a:pt x="1" y="6"/>
                      <a:pt x="2" y="6"/>
                      <a:pt x="2" y="6"/>
                    </a:cubicBezTo>
                    <a:cubicBezTo>
                      <a:pt x="2" y="7"/>
                      <a:pt x="2" y="8"/>
                      <a:pt x="2" y="8"/>
                    </a:cubicBezTo>
                    <a:cubicBezTo>
                      <a:pt x="0" y="9"/>
                      <a:pt x="0" y="9"/>
                      <a:pt x="0" y="9"/>
                    </a:cubicBezTo>
                    <a:cubicBezTo>
                      <a:pt x="0" y="9"/>
                      <a:pt x="0" y="9"/>
                      <a:pt x="1" y="9"/>
                    </a:cubicBezTo>
                    <a:cubicBezTo>
                      <a:pt x="1" y="9"/>
                      <a:pt x="1" y="10"/>
                      <a:pt x="1" y="10"/>
                    </a:cubicBezTo>
                    <a:cubicBezTo>
                      <a:pt x="1" y="10"/>
                      <a:pt x="1" y="10"/>
                      <a:pt x="2" y="10"/>
                    </a:cubicBezTo>
                    <a:cubicBezTo>
                      <a:pt x="2" y="11"/>
                      <a:pt x="2" y="10"/>
                      <a:pt x="2" y="10"/>
                    </a:cubicBezTo>
                    <a:cubicBezTo>
                      <a:pt x="2" y="9"/>
                      <a:pt x="2" y="9"/>
                      <a:pt x="2" y="9"/>
                    </a:cubicBezTo>
                    <a:cubicBezTo>
                      <a:pt x="2" y="8"/>
                      <a:pt x="3" y="9"/>
                      <a:pt x="3" y="9"/>
                    </a:cubicBezTo>
                    <a:cubicBezTo>
                      <a:pt x="4" y="9"/>
                      <a:pt x="4" y="9"/>
                      <a:pt x="5" y="9"/>
                    </a:cubicBezTo>
                    <a:cubicBezTo>
                      <a:pt x="5" y="9"/>
                      <a:pt x="5" y="9"/>
                      <a:pt x="5" y="8"/>
                    </a:cubicBezTo>
                    <a:cubicBezTo>
                      <a:pt x="6" y="8"/>
                      <a:pt x="6" y="9"/>
                      <a:pt x="6" y="9"/>
                    </a:cubicBezTo>
                    <a:cubicBezTo>
                      <a:pt x="6" y="9"/>
                      <a:pt x="6" y="9"/>
                      <a:pt x="6" y="9"/>
                    </a:cubicBezTo>
                    <a:cubicBezTo>
                      <a:pt x="7" y="9"/>
                      <a:pt x="8" y="9"/>
                      <a:pt x="8" y="10"/>
                    </a:cubicBezTo>
                    <a:cubicBezTo>
                      <a:pt x="8" y="10"/>
                      <a:pt x="9" y="10"/>
                      <a:pt x="9" y="10"/>
                    </a:cubicBezTo>
                    <a:cubicBezTo>
                      <a:pt x="9" y="11"/>
                      <a:pt x="10" y="12"/>
                      <a:pt x="10" y="12"/>
                    </a:cubicBezTo>
                    <a:cubicBezTo>
                      <a:pt x="10" y="13"/>
                      <a:pt x="11" y="13"/>
                      <a:pt x="12" y="13"/>
                    </a:cubicBezTo>
                    <a:cubicBezTo>
                      <a:pt x="12" y="13"/>
                      <a:pt x="12" y="13"/>
                      <a:pt x="13" y="13"/>
                    </a:cubicBezTo>
                    <a:cubicBezTo>
                      <a:pt x="14" y="13"/>
                      <a:pt x="13" y="12"/>
                      <a:pt x="13" y="12"/>
                    </a:cubicBezTo>
                    <a:cubicBezTo>
                      <a:pt x="13" y="12"/>
                      <a:pt x="14" y="12"/>
                      <a:pt x="14" y="13"/>
                    </a:cubicBezTo>
                    <a:cubicBezTo>
                      <a:pt x="14" y="13"/>
                      <a:pt x="15" y="14"/>
                      <a:pt x="15" y="14"/>
                    </a:cubicBezTo>
                    <a:cubicBezTo>
                      <a:pt x="15" y="14"/>
                      <a:pt x="15" y="15"/>
                      <a:pt x="15" y="16"/>
                    </a:cubicBezTo>
                    <a:cubicBezTo>
                      <a:pt x="15" y="17"/>
                      <a:pt x="16" y="16"/>
                      <a:pt x="16" y="16"/>
                    </a:cubicBezTo>
                    <a:cubicBezTo>
                      <a:pt x="16" y="16"/>
                      <a:pt x="16" y="16"/>
                      <a:pt x="17" y="16"/>
                    </a:cubicBezTo>
                    <a:cubicBezTo>
                      <a:pt x="17" y="16"/>
                      <a:pt x="17" y="16"/>
                      <a:pt x="18" y="16"/>
                    </a:cubicBezTo>
                    <a:cubicBezTo>
                      <a:pt x="18" y="16"/>
                      <a:pt x="18" y="16"/>
                      <a:pt x="18" y="15"/>
                    </a:cubicBezTo>
                    <a:cubicBezTo>
                      <a:pt x="18" y="15"/>
                      <a:pt x="19" y="15"/>
                      <a:pt x="19" y="15"/>
                    </a:cubicBezTo>
                    <a:cubicBezTo>
                      <a:pt x="19" y="15"/>
                      <a:pt x="21" y="15"/>
                      <a:pt x="21" y="14"/>
                    </a:cubicBezTo>
                    <a:cubicBezTo>
                      <a:pt x="21" y="14"/>
                      <a:pt x="21" y="14"/>
                      <a:pt x="21" y="14"/>
                    </a:cubicBezTo>
                    <a:cubicBezTo>
                      <a:pt x="20" y="13"/>
                      <a:pt x="20" y="13"/>
                      <a:pt x="20" y="12"/>
                    </a:cubicBezTo>
                    <a:cubicBezTo>
                      <a:pt x="19" y="12"/>
                      <a:pt x="19" y="11"/>
                      <a:pt x="18" y="11"/>
                    </a:cubicBezTo>
                    <a:cubicBezTo>
                      <a:pt x="18" y="11"/>
                      <a:pt x="18" y="10"/>
                      <a:pt x="18" y="10"/>
                    </a:cubicBezTo>
                    <a:cubicBezTo>
                      <a:pt x="18" y="9"/>
                      <a:pt x="18" y="9"/>
                      <a:pt x="18" y="9"/>
                    </a:cubicBezTo>
                    <a:cubicBezTo>
                      <a:pt x="18" y="9"/>
                      <a:pt x="20" y="8"/>
                      <a:pt x="20" y="8"/>
                    </a:cubicBezTo>
                    <a:cubicBezTo>
                      <a:pt x="21" y="8"/>
                      <a:pt x="22" y="7"/>
                      <a:pt x="22" y="7"/>
                    </a:cubicBezTo>
                    <a:cubicBezTo>
                      <a:pt x="22" y="7"/>
                      <a:pt x="22" y="6"/>
                      <a:pt x="22" y="6"/>
                    </a:cubicBezTo>
                    <a:cubicBezTo>
                      <a:pt x="22" y="6"/>
                      <a:pt x="23" y="5"/>
                      <a:pt x="23" y="5"/>
                    </a:cubicBezTo>
                    <a:cubicBezTo>
                      <a:pt x="23" y="5"/>
                      <a:pt x="24" y="4"/>
                      <a:pt x="24" y="4"/>
                    </a:cubicBezTo>
                    <a:cubicBezTo>
                      <a:pt x="25" y="4"/>
                      <a:pt x="25" y="4"/>
                      <a:pt x="26" y="4"/>
                    </a:cubicBezTo>
                    <a:cubicBezTo>
                      <a:pt x="26" y="4"/>
                      <a:pt x="27" y="4"/>
                      <a:pt x="27" y="4"/>
                    </a:cubicBezTo>
                    <a:cubicBezTo>
                      <a:pt x="28" y="4"/>
                      <a:pt x="28" y="5"/>
                      <a:pt x="29" y="5"/>
                    </a:cubicBezTo>
                    <a:cubicBezTo>
                      <a:pt x="29" y="6"/>
                      <a:pt x="30" y="6"/>
                      <a:pt x="31" y="7"/>
                    </a:cubicBezTo>
                    <a:cubicBezTo>
                      <a:pt x="31" y="7"/>
                      <a:pt x="31" y="8"/>
                      <a:pt x="31" y="8"/>
                    </a:cubicBezTo>
                    <a:cubicBezTo>
                      <a:pt x="31" y="8"/>
                      <a:pt x="31" y="8"/>
                      <a:pt x="31" y="8"/>
                    </a:cubicBezTo>
                    <a:cubicBezTo>
                      <a:pt x="32" y="8"/>
                      <a:pt x="32" y="8"/>
                      <a:pt x="32" y="8"/>
                    </a:cubicBezTo>
                    <a:cubicBezTo>
                      <a:pt x="32" y="8"/>
                      <a:pt x="32" y="8"/>
                      <a:pt x="32" y="8"/>
                    </a:cubicBezTo>
                    <a:cubicBezTo>
                      <a:pt x="33" y="8"/>
                      <a:pt x="33" y="8"/>
                      <a:pt x="33" y="8"/>
                    </a:cubicBezTo>
                    <a:cubicBezTo>
                      <a:pt x="33" y="8"/>
                      <a:pt x="33" y="8"/>
                      <a:pt x="33" y="8"/>
                    </a:cubicBezTo>
                    <a:cubicBezTo>
                      <a:pt x="34" y="8"/>
                      <a:pt x="34" y="8"/>
                      <a:pt x="34" y="8"/>
                    </a:cubicBezTo>
                    <a:cubicBezTo>
                      <a:pt x="33" y="8"/>
                      <a:pt x="33" y="9"/>
                      <a:pt x="33" y="9"/>
                    </a:cubicBezTo>
                    <a:cubicBezTo>
                      <a:pt x="33" y="9"/>
                      <a:pt x="32" y="9"/>
                      <a:pt x="33" y="9"/>
                    </a:cubicBezTo>
                    <a:cubicBezTo>
                      <a:pt x="33" y="10"/>
                      <a:pt x="33" y="10"/>
                      <a:pt x="32" y="10"/>
                    </a:cubicBezTo>
                    <a:cubicBezTo>
                      <a:pt x="32" y="10"/>
                      <a:pt x="32" y="10"/>
                      <a:pt x="32" y="10"/>
                    </a:cubicBezTo>
                    <a:cubicBezTo>
                      <a:pt x="31" y="11"/>
                      <a:pt x="31" y="11"/>
                      <a:pt x="31" y="11"/>
                    </a:cubicBezTo>
                    <a:cubicBezTo>
                      <a:pt x="31" y="12"/>
                      <a:pt x="32" y="12"/>
                      <a:pt x="32" y="12"/>
                    </a:cubicBezTo>
                    <a:cubicBezTo>
                      <a:pt x="32" y="12"/>
                      <a:pt x="33" y="13"/>
                      <a:pt x="33" y="14"/>
                    </a:cubicBezTo>
                    <a:cubicBezTo>
                      <a:pt x="33" y="14"/>
                      <a:pt x="33" y="14"/>
                      <a:pt x="33" y="15"/>
                    </a:cubicBezTo>
                    <a:cubicBezTo>
                      <a:pt x="33" y="15"/>
                      <a:pt x="34" y="15"/>
                      <a:pt x="35" y="16"/>
                    </a:cubicBezTo>
                    <a:cubicBezTo>
                      <a:pt x="35" y="16"/>
                      <a:pt x="35" y="15"/>
                      <a:pt x="35" y="15"/>
                    </a:cubicBezTo>
                    <a:cubicBezTo>
                      <a:pt x="35" y="15"/>
                      <a:pt x="35" y="14"/>
                      <a:pt x="36"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8" name="Freeform 763">
                <a:extLst>
                  <a:ext uri="{FF2B5EF4-FFF2-40B4-BE49-F238E27FC236}">
                    <a16:creationId xmlns:a16="http://schemas.microsoft.com/office/drawing/2014/main" id="{C0D28BD9-E1B1-EBFF-33C9-146838D5E1EC}"/>
                  </a:ext>
                </a:extLst>
              </p:cNvPr>
              <p:cNvSpPr>
                <a:spLocks/>
              </p:cNvSpPr>
              <p:nvPr/>
            </p:nvSpPr>
            <p:spPr bwMode="auto">
              <a:xfrm>
                <a:off x="2886076" y="4433888"/>
                <a:ext cx="122237" cy="120650"/>
              </a:xfrm>
              <a:custGeom>
                <a:avLst/>
                <a:gdLst>
                  <a:gd name="T0" fmla="*/ 15 w 29"/>
                  <a:gd name="T1" fmla="*/ 27 h 29"/>
                  <a:gd name="T2" fmla="*/ 19 w 29"/>
                  <a:gd name="T3" fmla="*/ 27 h 29"/>
                  <a:gd name="T4" fmla="*/ 22 w 29"/>
                  <a:gd name="T5" fmla="*/ 28 h 29"/>
                  <a:gd name="T6" fmla="*/ 24 w 29"/>
                  <a:gd name="T7" fmla="*/ 29 h 29"/>
                  <a:gd name="T8" fmla="*/ 26 w 29"/>
                  <a:gd name="T9" fmla="*/ 29 h 29"/>
                  <a:gd name="T10" fmla="*/ 26 w 29"/>
                  <a:gd name="T11" fmla="*/ 28 h 29"/>
                  <a:gd name="T12" fmla="*/ 25 w 29"/>
                  <a:gd name="T13" fmla="*/ 26 h 29"/>
                  <a:gd name="T14" fmla="*/ 26 w 29"/>
                  <a:gd name="T15" fmla="*/ 24 h 29"/>
                  <a:gd name="T16" fmla="*/ 26 w 29"/>
                  <a:gd name="T17" fmla="*/ 23 h 29"/>
                  <a:gd name="T18" fmla="*/ 26 w 29"/>
                  <a:gd name="T19" fmla="*/ 22 h 29"/>
                  <a:gd name="T20" fmla="*/ 25 w 29"/>
                  <a:gd name="T21" fmla="*/ 22 h 29"/>
                  <a:gd name="T22" fmla="*/ 26 w 29"/>
                  <a:gd name="T23" fmla="*/ 19 h 29"/>
                  <a:gd name="T24" fmla="*/ 26 w 29"/>
                  <a:gd name="T25" fmla="*/ 18 h 29"/>
                  <a:gd name="T26" fmla="*/ 26 w 29"/>
                  <a:gd name="T27" fmla="*/ 18 h 29"/>
                  <a:gd name="T28" fmla="*/ 26 w 29"/>
                  <a:gd name="T29" fmla="*/ 17 h 29"/>
                  <a:gd name="T30" fmla="*/ 27 w 29"/>
                  <a:gd name="T31" fmla="*/ 17 h 29"/>
                  <a:gd name="T32" fmla="*/ 27 w 29"/>
                  <a:gd name="T33" fmla="*/ 18 h 29"/>
                  <a:gd name="T34" fmla="*/ 27 w 29"/>
                  <a:gd name="T35" fmla="*/ 17 h 29"/>
                  <a:gd name="T36" fmla="*/ 27 w 29"/>
                  <a:gd name="T37" fmla="*/ 16 h 29"/>
                  <a:gd name="T38" fmla="*/ 27 w 29"/>
                  <a:gd name="T39" fmla="*/ 14 h 29"/>
                  <a:gd name="T40" fmla="*/ 27 w 29"/>
                  <a:gd name="T41" fmla="*/ 13 h 29"/>
                  <a:gd name="T42" fmla="*/ 27 w 29"/>
                  <a:gd name="T43" fmla="*/ 10 h 29"/>
                  <a:gd name="T44" fmla="*/ 27 w 29"/>
                  <a:gd name="T45" fmla="*/ 9 h 29"/>
                  <a:gd name="T46" fmla="*/ 27 w 29"/>
                  <a:gd name="T47" fmla="*/ 8 h 29"/>
                  <a:gd name="T48" fmla="*/ 27 w 29"/>
                  <a:gd name="T49" fmla="*/ 7 h 29"/>
                  <a:gd name="T50" fmla="*/ 29 w 29"/>
                  <a:gd name="T51" fmla="*/ 6 h 29"/>
                  <a:gd name="T52" fmla="*/ 29 w 29"/>
                  <a:gd name="T53" fmla="*/ 4 h 29"/>
                  <a:gd name="T54" fmla="*/ 28 w 29"/>
                  <a:gd name="T55" fmla="*/ 1 h 29"/>
                  <a:gd name="T56" fmla="*/ 29 w 29"/>
                  <a:gd name="T57" fmla="*/ 1 h 29"/>
                  <a:gd name="T58" fmla="*/ 29 w 29"/>
                  <a:gd name="T59" fmla="*/ 0 h 29"/>
                  <a:gd name="T60" fmla="*/ 27 w 29"/>
                  <a:gd name="T61" fmla="*/ 0 h 29"/>
                  <a:gd name="T62" fmla="*/ 26 w 29"/>
                  <a:gd name="T63" fmla="*/ 1 h 29"/>
                  <a:gd name="T64" fmla="*/ 24 w 29"/>
                  <a:gd name="T65" fmla="*/ 2 h 29"/>
                  <a:gd name="T66" fmla="*/ 23 w 29"/>
                  <a:gd name="T67" fmla="*/ 2 h 29"/>
                  <a:gd name="T68" fmla="*/ 22 w 29"/>
                  <a:gd name="T69" fmla="*/ 2 h 29"/>
                  <a:gd name="T70" fmla="*/ 21 w 29"/>
                  <a:gd name="T71" fmla="*/ 3 h 29"/>
                  <a:gd name="T72" fmla="*/ 19 w 29"/>
                  <a:gd name="T73" fmla="*/ 2 h 29"/>
                  <a:gd name="T74" fmla="*/ 18 w 29"/>
                  <a:gd name="T75" fmla="*/ 1 h 29"/>
                  <a:gd name="T76" fmla="*/ 17 w 29"/>
                  <a:gd name="T77" fmla="*/ 3 h 29"/>
                  <a:gd name="T78" fmla="*/ 16 w 29"/>
                  <a:gd name="T79" fmla="*/ 4 h 29"/>
                  <a:gd name="T80" fmla="*/ 16 w 29"/>
                  <a:gd name="T81" fmla="*/ 5 h 29"/>
                  <a:gd name="T82" fmla="*/ 14 w 29"/>
                  <a:gd name="T83" fmla="*/ 6 h 29"/>
                  <a:gd name="T84" fmla="*/ 12 w 29"/>
                  <a:gd name="T85" fmla="*/ 8 h 29"/>
                  <a:gd name="T86" fmla="*/ 10 w 29"/>
                  <a:gd name="T87" fmla="*/ 6 h 29"/>
                  <a:gd name="T88" fmla="*/ 8 w 29"/>
                  <a:gd name="T89" fmla="*/ 8 h 29"/>
                  <a:gd name="T90" fmla="*/ 5 w 29"/>
                  <a:gd name="T91" fmla="*/ 9 h 29"/>
                  <a:gd name="T92" fmla="*/ 6 w 29"/>
                  <a:gd name="T93" fmla="*/ 12 h 29"/>
                  <a:gd name="T94" fmla="*/ 4 w 29"/>
                  <a:gd name="T95" fmla="*/ 13 h 29"/>
                  <a:gd name="T96" fmla="*/ 2 w 29"/>
                  <a:gd name="T97" fmla="*/ 14 h 29"/>
                  <a:gd name="T98" fmla="*/ 0 w 29"/>
                  <a:gd name="T99" fmla="*/ 14 h 29"/>
                  <a:gd name="T100" fmla="*/ 0 w 29"/>
                  <a:gd name="T101" fmla="*/ 14 h 29"/>
                  <a:gd name="T102" fmla="*/ 1 w 29"/>
                  <a:gd name="T103" fmla="*/ 16 h 29"/>
                  <a:gd name="T104" fmla="*/ 2 w 29"/>
                  <a:gd name="T105" fmla="*/ 17 h 29"/>
                  <a:gd name="T106" fmla="*/ 5 w 29"/>
                  <a:gd name="T107" fmla="*/ 19 h 29"/>
                  <a:gd name="T108" fmla="*/ 7 w 29"/>
                  <a:gd name="T109" fmla="*/ 22 h 29"/>
                  <a:gd name="T110" fmla="*/ 11 w 29"/>
                  <a:gd name="T111" fmla="*/ 26 h 29"/>
                  <a:gd name="T112" fmla="*/ 13 w 29"/>
                  <a:gd name="T113"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29">
                    <a:moveTo>
                      <a:pt x="13" y="26"/>
                    </a:moveTo>
                    <a:cubicBezTo>
                      <a:pt x="14" y="26"/>
                      <a:pt x="15" y="27"/>
                      <a:pt x="15" y="27"/>
                    </a:cubicBezTo>
                    <a:cubicBezTo>
                      <a:pt x="15" y="27"/>
                      <a:pt x="18" y="28"/>
                      <a:pt x="18" y="28"/>
                    </a:cubicBezTo>
                    <a:cubicBezTo>
                      <a:pt x="18" y="28"/>
                      <a:pt x="19" y="27"/>
                      <a:pt x="19" y="27"/>
                    </a:cubicBezTo>
                    <a:cubicBezTo>
                      <a:pt x="19" y="27"/>
                      <a:pt x="21" y="28"/>
                      <a:pt x="21" y="28"/>
                    </a:cubicBezTo>
                    <a:cubicBezTo>
                      <a:pt x="21" y="28"/>
                      <a:pt x="22" y="28"/>
                      <a:pt x="22" y="28"/>
                    </a:cubicBezTo>
                    <a:cubicBezTo>
                      <a:pt x="22" y="28"/>
                      <a:pt x="22" y="28"/>
                      <a:pt x="22" y="28"/>
                    </a:cubicBezTo>
                    <a:cubicBezTo>
                      <a:pt x="22" y="28"/>
                      <a:pt x="24" y="29"/>
                      <a:pt x="24" y="29"/>
                    </a:cubicBezTo>
                    <a:cubicBezTo>
                      <a:pt x="25" y="29"/>
                      <a:pt x="25" y="29"/>
                      <a:pt x="25" y="29"/>
                    </a:cubicBezTo>
                    <a:cubicBezTo>
                      <a:pt x="26" y="29"/>
                      <a:pt x="26" y="29"/>
                      <a:pt x="26" y="29"/>
                    </a:cubicBezTo>
                    <a:cubicBezTo>
                      <a:pt x="26" y="28"/>
                      <a:pt x="26" y="28"/>
                      <a:pt x="26" y="28"/>
                    </a:cubicBezTo>
                    <a:cubicBezTo>
                      <a:pt x="26" y="28"/>
                      <a:pt x="26" y="28"/>
                      <a:pt x="26" y="28"/>
                    </a:cubicBezTo>
                    <a:cubicBezTo>
                      <a:pt x="26" y="27"/>
                      <a:pt x="25" y="27"/>
                      <a:pt x="25" y="27"/>
                    </a:cubicBezTo>
                    <a:cubicBezTo>
                      <a:pt x="25" y="26"/>
                      <a:pt x="25" y="26"/>
                      <a:pt x="25" y="26"/>
                    </a:cubicBezTo>
                    <a:cubicBezTo>
                      <a:pt x="25" y="26"/>
                      <a:pt x="25" y="26"/>
                      <a:pt x="25" y="26"/>
                    </a:cubicBezTo>
                    <a:cubicBezTo>
                      <a:pt x="25" y="25"/>
                      <a:pt x="25" y="24"/>
                      <a:pt x="26" y="24"/>
                    </a:cubicBezTo>
                    <a:cubicBezTo>
                      <a:pt x="26" y="24"/>
                      <a:pt x="26" y="24"/>
                      <a:pt x="26" y="24"/>
                    </a:cubicBezTo>
                    <a:cubicBezTo>
                      <a:pt x="26" y="24"/>
                      <a:pt x="26" y="23"/>
                      <a:pt x="26" y="23"/>
                    </a:cubicBezTo>
                    <a:cubicBezTo>
                      <a:pt x="26" y="23"/>
                      <a:pt x="26" y="23"/>
                      <a:pt x="26" y="22"/>
                    </a:cubicBezTo>
                    <a:cubicBezTo>
                      <a:pt x="26" y="22"/>
                      <a:pt x="26" y="22"/>
                      <a:pt x="26" y="22"/>
                    </a:cubicBezTo>
                    <a:cubicBezTo>
                      <a:pt x="26" y="22"/>
                      <a:pt x="26" y="22"/>
                      <a:pt x="26" y="22"/>
                    </a:cubicBezTo>
                    <a:cubicBezTo>
                      <a:pt x="25" y="22"/>
                      <a:pt x="25" y="22"/>
                      <a:pt x="25" y="22"/>
                    </a:cubicBezTo>
                    <a:cubicBezTo>
                      <a:pt x="25" y="21"/>
                      <a:pt x="25" y="21"/>
                      <a:pt x="25" y="21"/>
                    </a:cubicBezTo>
                    <a:cubicBezTo>
                      <a:pt x="26" y="21"/>
                      <a:pt x="26" y="20"/>
                      <a:pt x="26" y="19"/>
                    </a:cubicBezTo>
                    <a:cubicBezTo>
                      <a:pt x="26" y="19"/>
                      <a:pt x="26" y="19"/>
                      <a:pt x="26" y="19"/>
                    </a:cubicBezTo>
                    <a:cubicBezTo>
                      <a:pt x="26" y="19"/>
                      <a:pt x="26" y="19"/>
                      <a:pt x="26" y="18"/>
                    </a:cubicBezTo>
                    <a:cubicBezTo>
                      <a:pt x="26" y="18"/>
                      <a:pt x="26" y="18"/>
                      <a:pt x="26" y="18"/>
                    </a:cubicBezTo>
                    <a:cubicBezTo>
                      <a:pt x="26" y="18"/>
                      <a:pt x="26" y="18"/>
                      <a:pt x="26" y="18"/>
                    </a:cubicBezTo>
                    <a:cubicBezTo>
                      <a:pt x="25" y="18"/>
                      <a:pt x="25" y="17"/>
                      <a:pt x="26" y="17"/>
                    </a:cubicBezTo>
                    <a:cubicBezTo>
                      <a:pt x="26" y="17"/>
                      <a:pt x="26" y="17"/>
                      <a:pt x="26" y="17"/>
                    </a:cubicBezTo>
                    <a:cubicBezTo>
                      <a:pt x="26" y="17"/>
                      <a:pt x="26" y="17"/>
                      <a:pt x="27" y="17"/>
                    </a:cubicBezTo>
                    <a:cubicBezTo>
                      <a:pt x="27" y="17"/>
                      <a:pt x="27" y="17"/>
                      <a:pt x="27" y="17"/>
                    </a:cubicBezTo>
                    <a:cubicBezTo>
                      <a:pt x="27" y="17"/>
                      <a:pt x="27" y="18"/>
                      <a:pt x="27" y="18"/>
                    </a:cubicBezTo>
                    <a:cubicBezTo>
                      <a:pt x="27" y="18"/>
                      <a:pt x="27" y="18"/>
                      <a:pt x="27" y="18"/>
                    </a:cubicBezTo>
                    <a:cubicBezTo>
                      <a:pt x="27" y="18"/>
                      <a:pt x="28" y="18"/>
                      <a:pt x="27" y="17"/>
                    </a:cubicBezTo>
                    <a:cubicBezTo>
                      <a:pt x="27" y="17"/>
                      <a:pt x="27" y="17"/>
                      <a:pt x="27" y="17"/>
                    </a:cubicBezTo>
                    <a:cubicBezTo>
                      <a:pt x="27" y="17"/>
                      <a:pt x="27" y="17"/>
                      <a:pt x="27" y="17"/>
                    </a:cubicBezTo>
                    <a:cubicBezTo>
                      <a:pt x="27" y="16"/>
                      <a:pt x="27" y="16"/>
                      <a:pt x="27" y="16"/>
                    </a:cubicBezTo>
                    <a:cubicBezTo>
                      <a:pt x="27" y="15"/>
                      <a:pt x="27" y="15"/>
                      <a:pt x="27" y="15"/>
                    </a:cubicBezTo>
                    <a:cubicBezTo>
                      <a:pt x="27" y="14"/>
                      <a:pt x="27" y="14"/>
                      <a:pt x="27" y="14"/>
                    </a:cubicBezTo>
                    <a:cubicBezTo>
                      <a:pt x="27" y="14"/>
                      <a:pt x="27" y="14"/>
                      <a:pt x="27" y="14"/>
                    </a:cubicBezTo>
                    <a:cubicBezTo>
                      <a:pt x="27" y="14"/>
                      <a:pt x="27" y="13"/>
                      <a:pt x="27" y="13"/>
                    </a:cubicBezTo>
                    <a:cubicBezTo>
                      <a:pt x="27" y="12"/>
                      <a:pt x="27" y="11"/>
                      <a:pt x="27" y="10"/>
                    </a:cubicBezTo>
                    <a:cubicBezTo>
                      <a:pt x="27" y="10"/>
                      <a:pt x="27" y="10"/>
                      <a:pt x="27" y="10"/>
                    </a:cubicBezTo>
                    <a:cubicBezTo>
                      <a:pt x="27" y="10"/>
                      <a:pt x="27" y="9"/>
                      <a:pt x="27" y="9"/>
                    </a:cubicBezTo>
                    <a:cubicBezTo>
                      <a:pt x="27" y="9"/>
                      <a:pt x="27" y="9"/>
                      <a:pt x="27" y="9"/>
                    </a:cubicBezTo>
                    <a:cubicBezTo>
                      <a:pt x="27" y="9"/>
                      <a:pt x="27" y="9"/>
                      <a:pt x="27" y="9"/>
                    </a:cubicBezTo>
                    <a:cubicBezTo>
                      <a:pt x="27" y="9"/>
                      <a:pt x="27" y="9"/>
                      <a:pt x="27" y="8"/>
                    </a:cubicBezTo>
                    <a:cubicBezTo>
                      <a:pt x="28" y="8"/>
                      <a:pt x="28" y="8"/>
                      <a:pt x="28" y="7"/>
                    </a:cubicBezTo>
                    <a:cubicBezTo>
                      <a:pt x="27" y="7"/>
                      <a:pt x="27" y="7"/>
                      <a:pt x="27" y="7"/>
                    </a:cubicBezTo>
                    <a:cubicBezTo>
                      <a:pt x="28" y="7"/>
                      <a:pt x="28" y="7"/>
                      <a:pt x="28" y="7"/>
                    </a:cubicBezTo>
                    <a:cubicBezTo>
                      <a:pt x="28" y="7"/>
                      <a:pt x="28" y="6"/>
                      <a:pt x="29" y="6"/>
                    </a:cubicBezTo>
                    <a:cubicBezTo>
                      <a:pt x="29" y="6"/>
                      <a:pt x="29" y="5"/>
                      <a:pt x="29" y="5"/>
                    </a:cubicBezTo>
                    <a:cubicBezTo>
                      <a:pt x="29" y="5"/>
                      <a:pt x="29" y="4"/>
                      <a:pt x="29" y="4"/>
                    </a:cubicBezTo>
                    <a:cubicBezTo>
                      <a:pt x="29" y="3"/>
                      <a:pt x="29" y="2"/>
                      <a:pt x="28" y="1"/>
                    </a:cubicBezTo>
                    <a:cubicBezTo>
                      <a:pt x="28" y="1"/>
                      <a:pt x="28" y="1"/>
                      <a:pt x="28" y="1"/>
                    </a:cubicBezTo>
                    <a:cubicBezTo>
                      <a:pt x="28"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7" y="0"/>
                      <a:pt x="27" y="0"/>
                      <a:pt x="27" y="0"/>
                    </a:cubicBezTo>
                    <a:cubicBezTo>
                      <a:pt x="27" y="1"/>
                      <a:pt x="27" y="1"/>
                      <a:pt x="27" y="1"/>
                    </a:cubicBezTo>
                    <a:cubicBezTo>
                      <a:pt x="26" y="1"/>
                      <a:pt x="26" y="1"/>
                      <a:pt x="26" y="1"/>
                    </a:cubicBezTo>
                    <a:cubicBezTo>
                      <a:pt x="26" y="1"/>
                      <a:pt x="25" y="1"/>
                      <a:pt x="25" y="1"/>
                    </a:cubicBezTo>
                    <a:cubicBezTo>
                      <a:pt x="25" y="1"/>
                      <a:pt x="24" y="2"/>
                      <a:pt x="24" y="2"/>
                    </a:cubicBezTo>
                    <a:cubicBezTo>
                      <a:pt x="23" y="1"/>
                      <a:pt x="23" y="1"/>
                      <a:pt x="23" y="1"/>
                    </a:cubicBezTo>
                    <a:cubicBezTo>
                      <a:pt x="23" y="2"/>
                      <a:pt x="23" y="2"/>
                      <a:pt x="23" y="2"/>
                    </a:cubicBezTo>
                    <a:cubicBezTo>
                      <a:pt x="22" y="2"/>
                      <a:pt x="22" y="2"/>
                      <a:pt x="22" y="2"/>
                    </a:cubicBezTo>
                    <a:cubicBezTo>
                      <a:pt x="22" y="2"/>
                      <a:pt x="22" y="2"/>
                      <a:pt x="22" y="2"/>
                    </a:cubicBezTo>
                    <a:cubicBezTo>
                      <a:pt x="22" y="2"/>
                      <a:pt x="22" y="2"/>
                      <a:pt x="22" y="2"/>
                    </a:cubicBezTo>
                    <a:cubicBezTo>
                      <a:pt x="21" y="3"/>
                      <a:pt x="21" y="3"/>
                      <a:pt x="21" y="3"/>
                    </a:cubicBezTo>
                    <a:cubicBezTo>
                      <a:pt x="20" y="2"/>
                      <a:pt x="20" y="2"/>
                      <a:pt x="20" y="2"/>
                    </a:cubicBezTo>
                    <a:cubicBezTo>
                      <a:pt x="19" y="2"/>
                      <a:pt x="19" y="2"/>
                      <a:pt x="19" y="2"/>
                    </a:cubicBezTo>
                    <a:cubicBezTo>
                      <a:pt x="19" y="1"/>
                      <a:pt x="19" y="1"/>
                      <a:pt x="19" y="1"/>
                    </a:cubicBezTo>
                    <a:cubicBezTo>
                      <a:pt x="18" y="1"/>
                      <a:pt x="18" y="1"/>
                      <a:pt x="18" y="1"/>
                    </a:cubicBezTo>
                    <a:cubicBezTo>
                      <a:pt x="17" y="2"/>
                      <a:pt x="17" y="2"/>
                      <a:pt x="17" y="2"/>
                    </a:cubicBezTo>
                    <a:cubicBezTo>
                      <a:pt x="17" y="3"/>
                      <a:pt x="17" y="3"/>
                      <a:pt x="17" y="3"/>
                    </a:cubicBezTo>
                    <a:cubicBezTo>
                      <a:pt x="16" y="3"/>
                      <a:pt x="16" y="3"/>
                      <a:pt x="16" y="3"/>
                    </a:cubicBezTo>
                    <a:cubicBezTo>
                      <a:pt x="16" y="4"/>
                      <a:pt x="16" y="4"/>
                      <a:pt x="16" y="4"/>
                    </a:cubicBezTo>
                    <a:cubicBezTo>
                      <a:pt x="16" y="4"/>
                      <a:pt x="16" y="4"/>
                      <a:pt x="16" y="4"/>
                    </a:cubicBezTo>
                    <a:cubicBezTo>
                      <a:pt x="16" y="4"/>
                      <a:pt x="16" y="5"/>
                      <a:pt x="16" y="5"/>
                    </a:cubicBezTo>
                    <a:cubicBezTo>
                      <a:pt x="15" y="5"/>
                      <a:pt x="15" y="5"/>
                      <a:pt x="15" y="5"/>
                    </a:cubicBezTo>
                    <a:cubicBezTo>
                      <a:pt x="14" y="6"/>
                      <a:pt x="14" y="6"/>
                      <a:pt x="14" y="6"/>
                    </a:cubicBezTo>
                    <a:cubicBezTo>
                      <a:pt x="14" y="6"/>
                      <a:pt x="13" y="7"/>
                      <a:pt x="12" y="7"/>
                    </a:cubicBezTo>
                    <a:cubicBezTo>
                      <a:pt x="12" y="7"/>
                      <a:pt x="12" y="8"/>
                      <a:pt x="12" y="8"/>
                    </a:cubicBezTo>
                    <a:cubicBezTo>
                      <a:pt x="10" y="7"/>
                      <a:pt x="10" y="7"/>
                      <a:pt x="10" y="7"/>
                    </a:cubicBezTo>
                    <a:cubicBezTo>
                      <a:pt x="10" y="6"/>
                      <a:pt x="10" y="6"/>
                      <a:pt x="10" y="6"/>
                    </a:cubicBezTo>
                    <a:cubicBezTo>
                      <a:pt x="10" y="6"/>
                      <a:pt x="10" y="6"/>
                      <a:pt x="10" y="6"/>
                    </a:cubicBezTo>
                    <a:cubicBezTo>
                      <a:pt x="8" y="8"/>
                      <a:pt x="8" y="8"/>
                      <a:pt x="8" y="8"/>
                    </a:cubicBezTo>
                    <a:cubicBezTo>
                      <a:pt x="6" y="8"/>
                      <a:pt x="6" y="8"/>
                      <a:pt x="6" y="8"/>
                    </a:cubicBezTo>
                    <a:cubicBezTo>
                      <a:pt x="5" y="9"/>
                      <a:pt x="5" y="9"/>
                      <a:pt x="5" y="9"/>
                    </a:cubicBezTo>
                    <a:cubicBezTo>
                      <a:pt x="5" y="9"/>
                      <a:pt x="6" y="10"/>
                      <a:pt x="6" y="10"/>
                    </a:cubicBezTo>
                    <a:cubicBezTo>
                      <a:pt x="6" y="11"/>
                      <a:pt x="6" y="12"/>
                      <a:pt x="6" y="12"/>
                    </a:cubicBezTo>
                    <a:cubicBezTo>
                      <a:pt x="6" y="12"/>
                      <a:pt x="5" y="12"/>
                      <a:pt x="4" y="12"/>
                    </a:cubicBezTo>
                    <a:cubicBezTo>
                      <a:pt x="4" y="12"/>
                      <a:pt x="4" y="13"/>
                      <a:pt x="4" y="13"/>
                    </a:cubicBezTo>
                    <a:cubicBezTo>
                      <a:pt x="2" y="14"/>
                      <a:pt x="2" y="14"/>
                      <a:pt x="2" y="14"/>
                    </a:cubicBezTo>
                    <a:cubicBezTo>
                      <a:pt x="2" y="14"/>
                      <a:pt x="2" y="14"/>
                      <a:pt x="2" y="14"/>
                    </a:cubicBezTo>
                    <a:cubicBezTo>
                      <a:pt x="2" y="14"/>
                      <a:pt x="1" y="14"/>
                      <a:pt x="1" y="14"/>
                    </a:cubicBezTo>
                    <a:cubicBezTo>
                      <a:pt x="1" y="14"/>
                      <a:pt x="1" y="14"/>
                      <a:pt x="0" y="14"/>
                    </a:cubicBezTo>
                    <a:cubicBezTo>
                      <a:pt x="0" y="14"/>
                      <a:pt x="0" y="14"/>
                      <a:pt x="0" y="14"/>
                    </a:cubicBezTo>
                    <a:cubicBezTo>
                      <a:pt x="0" y="14"/>
                      <a:pt x="0" y="14"/>
                      <a:pt x="0" y="14"/>
                    </a:cubicBezTo>
                    <a:cubicBezTo>
                      <a:pt x="0" y="15"/>
                      <a:pt x="0" y="15"/>
                      <a:pt x="0" y="15"/>
                    </a:cubicBezTo>
                    <a:cubicBezTo>
                      <a:pt x="1" y="15"/>
                      <a:pt x="1" y="16"/>
                      <a:pt x="1" y="16"/>
                    </a:cubicBezTo>
                    <a:cubicBezTo>
                      <a:pt x="1" y="16"/>
                      <a:pt x="1" y="16"/>
                      <a:pt x="1" y="16"/>
                    </a:cubicBezTo>
                    <a:cubicBezTo>
                      <a:pt x="2" y="17"/>
                      <a:pt x="2" y="17"/>
                      <a:pt x="2" y="17"/>
                    </a:cubicBezTo>
                    <a:cubicBezTo>
                      <a:pt x="3" y="17"/>
                      <a:pt x="3" y="18"/>
                      <a:pt x="3" y="18"/>
                    </a:cubicBezTo>
                    <a:cubicBezTo>
                      <a:pt x="3" y="18"/>
                      <a:pt x="5" y="19"/>
                      <a:pt x="5" y="19"/>
                    </a:cubicBezTo>
                    <a:cubicBezTo>
                      <a:pt x="6" y="20"/>
                      <a:pt x="6" y="20"/>
                      <a:pt x="6" y="21"/>
                    </a:cubicBezTo>
                    <a:cubicBezTo>
                      <a:pt x="6" y="21"/>
                      <a:pt x="7" y="22"/>
                      <a:pt x="7" y="22"/>
                    </a:cubicBezTo>
                    <a:cubicBezTo>
                      <a:pt x="8" y="23"/>
                      <a:pt x="8" y="23"/>
                      <a:pt x="9" y="23"/>
                    </a:cubicBezTo>
                    <a:cubicBezTo>
                      <a:pt x="9" y="24"/>
                      <a:pt x="11" y="25"/>
                      <a:pt x="11" y="26"/>
                    </a:cubicBezTo>
                    <a:cubicBezTo>
                      <a:pt x="12" y="26"/>
                      <a:pt x="12" y="27"/>
                      <a:pt x="12" y="27"/>
                    </a:cubicBezTo>
                    <a:cubicBezTo>
                      <a:pt x="13" y="26"/>
                      <a:pt x="13" y="26"/>
                      <a:pt x="13" y="26"/>
                    </a:cubicBezTo>
                    <a:cubicBezTo>
                      <a:pt x="13" y="26"/>
                      <a:pt x="13" y="26"/>
                      <a:pt x="13"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9" name="Freeform 764">
                <a:extLst>
                  <a:ext uri="{FF2B5EF4-FFF2-40B4-BE49-F238E27FC236}">
                    <a16:creationId xmlns:a16="http://schemas.microsoft.com/office/drawing/2014/main" id="{F9C93804-09FE-76B7-6106-37FAD2F33039}"/>
                  </a:ext>
                </a:extLst>
              </p:cNvPr>
              <p:cNvSpPr>
                <a:spLocks noEditPoints="1"/>
              </p:cNvSpPr>
              <p:nvPr/>
            </p:nvSpPr>
            <p:spPr bwMode="auto">
              <a:xfrm>
                <a:off x="99839" y="1978072"/>
                <a:ext cx="3363912" cy="2162175"/>
              </a:xfrm>
              <a:custGeom>
                <a:avLst/>
                <a:gdLst>
                  <a:gd name="T0" fmla="*/ 235 w 808"/>
                  <a:gd name="T1" fmla="*/ 205 h 519"/>
                  <a:gd name="T2" fmla="*/ 230 w 808"/>
                  <a:gd name="T3" fmla="*/ 223 h 519"/>
                  <a:gd name="T4" fmla="*/ 226 w 808"/>
                  <a:gd name="T5" fmla="*/ 226 h 519"/>
                  <a:gd name="T6" fmla="*/ 223 w 808"/>
                  <a:gd name="T7" fmla="*/ 218 h 519"/>
                  <a:gd name="T8" fmla="*/ 229 w 808"/>
                  <a:gd name="T9" fmla="*/ 214 h 519"/>
                  <a:gd name="T10" fmla="*/ 235 w 808"/>
                  <a:gd name="T11" fmla="*/ 211 h 519"/>
                  <a:gd name="T12" fmla="*/ 237 w 808"/>
                  <a:gd name="T13" fmla="*/ 209 h 519"/>
                  <a:gd name="T14" fmla="*/ 221 w 808"/>
                  <a:gd name="T15" fmla="*/ 231 h 519"/>
                  <a:gd name="T16" fmla="*/ 130 w 808"/>
                  <a:gd name="T17" fmla="*/ 266 h 519"/>
                  <a:gd name="T18" fmla="*/ 138 w 808"/>
                  <a:gd name="T19" fmla="*/ 265 h 519"/>
                  <a:gd name="T20" fmla="*/ 84 w 808"/>
                  <a:gd name="T21" fmla="*/ 283 h 519"/>
                  <a:gd name="T22" fmla="*/ 3 w 808"/>
                  <a:gd name="T23" fmla="*/ 275 h 519"/>
                  <a:gd name="T24" fmla="*/ 144 w 808"/>
                  <a:gd name="T25" fmla="*/ 259 h 519"/>
                  <a:gd name="T26" fmla="*/ 77 w 808"/>
                  <a:gd name="T27" fmla="*/ 285 h 519"/>
                  <a:gd name="T28" fmla="*/ 59 w 808"/>
                  <a:gd name="T29" fmla="*/ 286 h 519"/>
                  <a:gd name="T30" fmla="*/ 180 w 808"/>
                  <a:gd name="T31" fmla="*/ 247 h 519"/>
                  <a:gd name="T32" fmla="*/ 146 w 808"/>
                  <a:gd name="T33" fmla="*/ 187 h 519"/>
                  <a:gd name="T34" fmla="*/ 277 w 808"/>
                  <a:gd name="T35" fmla="*/ 180 h 519"/>
                  <a:gd name="T36" fmla="*/ 360 w 808"/>
                  <a:gd name="T37" fmla="*/ 231 h 519"/>
                  <a:gd name="T38" fmla="*/ 366 w 808"/>
                  <a:gd name="T39" fmla="*/ 251 h 519"/>
                  <a:gd name="T40" fmla="*/ 353 w 808"/>
                  <a:gd name="T41" fmla="*/ 235 h 519"/>
                  <a:gd name="T42" fmla="*/ 346 w 808"/>
                  <a:gd name="T43" fmla="*/ 220 h 519"/>
                  <a:gd name="T44" fmla="*/ 350 w 808"/>
                  <a:gd name="T45" fmla="*/ 216 h 519"/>
                  <a:gd name="T46" fmla="*/ 354 w 808"/>
                  <a:gd name="T47" fmla="*/ 229 h 519"/>
                  <a:gd name="T48" fmla="*/ 359 w 808"/>
                  <a:gd name="T49" fmla="*/ 239 h 519"/>
                  <a:gd name="T50" fmla="*/ 364 w 808"/>
                  <a:gd name="T51" fmla="*/ 237 h 519"/>
                  <a:gd name="T52" fmla="*/ 366 w 808"/>
                  <a:gd name="T53" fmla="*/ 247 h 519"/>
                  <a:gd name="T54" fmla="*/ 367 w 808"/>
                  <a:gd name="T55" fmla="*/ 232 h 519"/>
                  <a:gd name="T56" fmla="*/ 355 w 808"/>
                  <a:gd name="T57" fmla="*/ 221 h 519"/>
                  <a:gd name="T58" fmla="*/ 804 w 808"/>
                  <a:gd name="T59" fmla="*/ 351 h 519"/>
                  <a:gd name="T60" fmla="*/ 642 w 808"/>
                  <a:gd name="T61" fmla="*/ 324 h 519"/>
                  <a:gd name="T62" fmla="*/ 435 w 808"/>
                  <a:gd name="T63" fmla="*/ 329 h 519"/>
                  <a:gd name="T64" fmla="*/ 424 w 808"/>
                  <a:gd name="T65" fmla="*/ 383 h 519"/>
                  <a:gd name="T66" fmla="*/ 546 w 808"/>
                  <a:gd name="T67" fmla="*/ 471 h 519"/>
                  <a:gd name="T68" fmla="*/ 620 w 808"/>
                  <a:gd name="T69" fmla="*/ 484 h 519"/>
                  <a:gd name="T70" fmla="*/ 702 w 808"/>
                  <a:gd name="T71" fmla="*/ 490 h 519"/>
                  <a:gd name="T72" fmla="*/ 719 w 808"/>
                  <a:gd name="T73" fmla="*/ 461 h 519"/>
                  <a:gd name="T74" fmla="*/ 748 w 808"/>
                  <a:gd name="T75" fmla="*/ 432 h 519"/>
                  <a:gd name="T76" fmla="*/ 747 w 808"/>
                  <a:gd name="T77" fmla="*/ 415 h 519"/>
                  <a:gd name="T78" fmla="*/ 764 w 808"/>
                  <a:gd name="T79" fmla="*/ 392 h 519"/>
                  <a:gd name="T80" fmla="*/ 793 w 808"/>
                  <a:gd name="T81" fmla="*/ 363 h 519"/>
                  <a:gd name="T82" fmla="*/ 351 w 808"/>
                  <a:gd name="T83" fmla="*/ 195 h 519"/>
                  <a:gd name="T84" fmla="*/ 262 w 808"/>
                  <a:gd name="T85" fmla="*/ 37 h 519"/>
                  <a:gd name="T86" fmla="*/ 220 w 808"/>
                  <a:gd name="T87" fmla="*/ 12 h 519"/>
                  <a:gd name="T88" fmla="*/ 184 w 808"/>
                  <a:gd name="T89" fmla="*/ 17 h 519"/>
                  <a:gd name="T90" fmla="*/ 172 w 808"/>
                  <a:gd name="T91" fmla="*/ 82 h 519"/>
                  <a:gd name="T92" fmla="*/ 150 w 808"/>
                  <a:gd name="T93" fmla="*/ 92 h 519"/>
                  <a:gd name="T94" fmla="*/ 162 w 808"/>
                  <a:gd name="T95" fmla="*/ 123 h 519"/>
                  <a:gd name="T96" fmla="*/ 154 w 808"/>
                  <a:gd name="T97" fmla="*/ 143 h 519"/>
                  <a:gd name="T98" fmla="*/ 151 w 808"/>
                  <a:gd name="T99" fmla="*/ 175 h 519"/>
                  <a:gd name="T100" fmla="*/ 172 w 808"/>
                  <a:gd name="T101" fmla="*/ 194 h 519"/>
                  <a:gd name="T102" fmla="*/ 194 w 808"/>
                  <a:gd name="T103" fmla="*/ 203 h 519"/>
                  <a:gd name="T104" fmla="*/ 165 w 808"/>
                  <a:gd name="T105" fmla="*/ 250 h 519"/>
                  <a:gd name="T106" fmla="*/ 203 w 808"/>
                  <a:gd name="T107" fmla="*/ 228 h 519"/>
                  <a:gd name="T108" fmla="*/ 224 w 808"/>
                  <a:gd name="T109" fmla="*/ 196 h 519"/>
                  <a:gd name="T110" fmla="*/ 242 w 808"/>
                  <a:gd name="T111" fmla="*/ 182 h 519"/>
                  <a:gd name="T112" fmla="*/ 253 w 808"/>
                  <a:gd name="T113" fmla="*/ 190 h 519"/>
                  <a:gd name="T114" fmla="*/ 260 w 808"/>
                  <a:gd name="T115" fmla="*/ 178 h 519"/>
                  <a:gd name="T116" fmla="*/ 286 w 808"/>
                  <a:gd name="T117" fmla="*/ 180 h 519"/>
                  <a:gd name="T118" fmla="*/ 333 w 808"/>
                  <a:gd name="T119" fmla="*/ 204 h 519"/>
                  <a:gd name="T120" fmla="*/ 354 w 808"/>
                  <a:gd name="T121" fmla="*/ 210 h 519"/>
                  <a:gd name="T122" fmla="*/ 366 w 808"/>
                  <a:gd name="T123" fmla="*/ 224 h 519"/>
                  <a:gd name="T124" fmla="*/ 373 w 808"/>
                  <a:gd name="T125" fmla="*/ 24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8" h="519">
                    <a:moveTo>
                      <a:pt x="431" y="320"/>
                    </a:moveTo>
                    <a:cubicBezTo>
                      <a:pt x="431" y="320"/>
                      <a:pt x="431" y="320"/>
                      <a:pt x="431" y="320"/>
                    </a:cubicBezTo>
                    <a:cubicBezTo>
                      <a:pt x="431" y="320"/>
                      <a:pt x="431" y="319"/>
                      <a:pt x="431" y="319"/>
                    </a:cubicBezTo>
                    <a:cubicBezTo>
                      <a:pt x="431" y="319"/>
                      <a:pt x="431" y="319"/>
                      <a:pt x="431" y="319"/>
                    </a:cubicBezTo>
                    <a:cubicBezTo>
                      <a:pt x="431" y="319"/>
                      <a:pt x="431" y="319"/>
                      <a:pt x="431" y="319"/>
                    </a:cubicBezTo>
                    <a:cubicBezTo>
                      <a:pt x="431" y="319"/>
                      <a:pt x="431" y="319"/>
                      <a:pt x="431" y="320"/>
                    </a:cubicBezTo>
                    <a:cubicBezTo>
                      <a:pt x="431" y="320"/>
                      <a:pt x="431" y="320"/>
                      <a:pt x="431" y="320"/>
                    </a:cubicBezTo>
                    <a:cubicBezTo>
                      <a:pt x="432" y="320"/>
                      <a:pt x="432" y="320"/>
                      <a:pt x="432" y="320"/>
                    </a:cubicBezTo>
                    <a:cubicBezTo>
                      <a:pt x="432" y="320"/>
                      <a:pt x="432" y="320"/>
                      <a:pt x="432" y="320"/>
                    </a:cubicBezTo>
                    <a:cubicBezTo>
                      <a:pt x="432" y="320"/>
                      <a:pt x="432" y="320"/>
                      <a:pt x="432" y="320"/>
                    </a:cubicBezTo>
                    <a:cubicBezTo>
                      <a:pt x="432" y="320"/>
                      <a:pt x="432" y="320"/>
                      <a:pt x="431" y="320"/>
                    </a:cubicBezTo>
                    <a:cubicBezTo>
                      <a:pt x="431" y="320"/>
                      <a:pt x="431" y="320"/>
                      <a:pt x="431" y="320"/>
                    </a:cubicBezTo>
                    <a:cubicBezTo>
                      <a:pt x="431" y="320"/>
                      <a:pt x="431" y="320"/>
                      <a:pt x="431" y="320"/>
                    </a:cubicBezTo>
                    <a:cubicBezTo>
                      <a:pt x="431" y="320"/>
                      <a:pt x="431" y="320"/>
                      <a:pt x="431" y="320"/>
                    </a:cubicBezTo>
                    <a:cubicBezTo>
                      <a:pt x="431" y="320"/>
                      <a:pt x="431" y="320"/>
                      <a:pt x="431" y="320"/>
                    </a:cubicBezTo>
                    <a:close/>
                    <a:moveTo>
                      <a:pt x="432" y="319"/>
                    </a:moveTo>
                    <a:cubicBezTo>
                      <a:pt x="432" y="319"/>
                      <a:pt x="432" y="319"/>
                      <a:pt x="432" y="319"/>
                    </a:cubicBezTo>
                    <a:cubicBezTo>
                      <a:pt x="432" y="319"/>
                      <a:pt x="432" y="319"/>
                      <a:pt x="432" y="319"/>
                    </a:cubicBezTo>
                    <a:cubicBezTo>
                      <a:pt x="432" y="319"/>
                      <a:pt x="433" y="319"/>
                      <a:pt x="433" y="319"/>
                    </a:cubicBezTo>
                    <a:cubicBezTo>
                      <a:pt x="433" y="319"/>
                      <a:pt x="433" y="319"/>
                      <a:pt x="433" y="319"/>
                    </a:cubicBezTo>
                    <a:cubicBezTo>
                      <a:pt x="433" y="319"/>
                      <a:pt x="433" y="319"/>
                      <a:pt x="433" y="319"/>
                    </a:cubicBezTo>
                    <a:cubicBezTo>
                      <a:pt x="433" y="319"/>
                      <a:pt x="433" y="319"/>
                      <a:pt x="433" y="319"/>
                    </a:cubicBezTo>
                    <a:cubicBezTo>
                      <a:pt x="433" y="319"/>
                      <a:pt x="433" y="319"/>
                      <a:pt x="433" y="319"/>
                    </a:cubicBezTo>
                    <a:cubicBezTo>
                      <a:pt x="433" y="318"/>
                      <a:pt x="433" y="318"/>
                      <a:pt x="433" y="318"/>
                    </a:cubicBezTo>
                    <a:cubicBezTo>
                      <a:pt x="433" y="318"/>
                      <a:pt x="433" y="318"/>
                      <a:pt x="433" y="318"/>
                    </a:cubicBezTo>
                    <a:cubicBezTo>
                      <a:pt x="433" y="318"/>
                      <a:pt x="433" y="318"/>
                      <a:pt x="433" y="318"/>
                    </a:cubicBezTo>
                    <a:cubicBezTo>
                      <a:pt x="433" y="318"/>
                      <a:pt x="432" y="318"/>
                      <a:pt x="432" y="318"/>
                    </a:cubicBezTo>
                    <a:cubicBezTo>
                      <a:pt x="432" y="318"/>
                      <a:pt x="432" y="318"/>
                      <a:pt x="432" y="318"/>
                    </a:cubicBezTo>
                    <a:cubicBezTo>
                      <a:pt x="432" y="318"/>
                      <a:pt x="432" y="318"/>
                      <a:pt x="432" y="318"/>
                    </a:cubicBezTo>
                    <a:cubicBezTo>
                      <a:pt x="432" y="318"/>
                      <a:pt x="432" y="319"/>
                      <a:pt x="432" y="319"/>
                    </a:cubicBezTo>
                    <a:cubicBezTo>
                      <a:pt x="432" y="319"/>
                      <a:pt x="432" y="319"/>
                      <a:pt x="432" y="319"/>
                    </a:cubicBezTo>
                    <a:cubicBezTo>
                      <a:pt x="432" y="319"/>
                      <a:pt x="432" y="319"/>
                      <a:pt x="432" y="319"/>
                    </a:cubicBezTo>
                    <a:close/>
                    <a:moveTo>
                      <a:pt x="433" y="320"/>
                    </a:moveTo>
                    <a:cubicBezTo>
                      <a:pt x="432" y="320"/>
                      <a:pt x="432" y="320"/>
                      <a:pt x="432" y="320"/>
                    </a:cubicBezTo>
                    <a:cubicBezTo>
                      <a:pt x="432" y="320"/>
                      <a:pt x="432" y="320"/>
                      <a:pt x="432" y="320"/>
                    </a:cubicBezTo>
                    <a:cubicBezTo>
                      <a:pt x="432" y="320"/>
                      <a:pt x="432" y="320"/>
                      <a:pt x="432" y="321"/>
                    </a:cubicBezTo>
                    <a:cubicBezTo>
                      <a:pt x="432" y="321"/>
                      <a:pt x="432" y="321"/>
                      <a:pt x="432" y="321"/>
                    </a:cubicBezTo>
                    <a:cubicBezTo>
                      <a:pt x="432" y="321"/>
                      <a:pt x="433" y="321"/>
                      <a:pt x="433" y="321"/>
                    </a:cubicBezTo>
                    <a:cubicBezTo>
                      <a:pt x="433" y="321"/>
                      <a:pt x="433" y="321"/>
                      <a:pt x="433" y="321"/>
                    </a:cubicBezTo>
                    <a:cubicBezTo>
                      <a:pt x="433" y="321"/>
                      <a:pt x="433" y="321"/>
                      <a:pt x="433" y="321"/>
                    </a:cubicBezTo>
                    <a:cubicBezTo>
                      <a:pt x="433" y="320"/>
                      <a:pt x="433" y="320"/>
                      <a:pt x="433" y="320"/>
                    </a:cubicBezTo>
                    <a:cubicBezTo>
                      <a:pt x="433" y="320"/>
                      <a:pt x="433" y="320"/>
                      <a:pt x="433" y="320"/>
                    </a:cubicBezTo>
                    <a:cubicBezTo>
                      <a:pt x="433" y="320"/>
                      <a:pt x="433" y="320"/>
                      <a:pt x="433" y="320"/>
                    </a:cubicBezTo>
                    <a:cubicBezTo>
                      <a:pt x="433" y="320"/>
                      <a:pt x="433" y="320"/>
                      <a:pt x="433" y="320"/>
                    </a:cubicBezTo>
                    <a:cubicBezTo>
                      <a:pt x="433" y="320"/>
                      <a:pt x="433" y="320"/>
                      <a:pt x="433" y="320"/>
                    </a:cubicBezTo>
                    <a:close/>
                    <a:moveTo>
                      <a:pt x="105" y="137"/>
                    </a:moveTo>
                    <a:cubicBezTo>
                      <a:pt x="105" y="138"/>
                      <a:pt x="105" y="138"/>
                      <a:pt x="105" y="139"/>
                    </a:cubicBezTo>
                    <a:cubicBezTo>
                      <a:pt x="106" y="139"/>
                      <a:pt x="106" y="140"/>
                      <a:pt x="107" y="140"/>
                    </a:cubicBezTo>
                    <a:cubicBezTo>
                      <a:pt x="107" y="140"/>
                      <a:pt x="107" y="140"/>
                      <a:pt x="107" y="140"/>
                    </a:cubicBezTo>
                    <a:cubicBezTo>
                      <a:pt x="108" y="140"/>
                      <a:pt x="108" y="140"/>
                      <a:pt x="108" y="140"/>
                    </a:cubicBezTo>
                    <a:cubicBezTo>
                      <a:pt x="108" y="140"/>
                      <a:pt x="109" y="140"/>
                      <a:pt x="109" y="139"/>
                    </a:cubicBezTo>
                    <a:cubicBezTo>
                      <a:pt x="109" y="139"/>
                      <a:pt x="110" y="139"/>
                      <a:pt x="111" y="139"/>
                    </a:cubicBezTo>
                    <a:cubicBezTo>
                      <a:pt x="112" y="139"/>
                      <a:pt x="113" y="139"/>
                      <a:pt x="113" y="140"/>
                    </a:cubicBezTo>
                    <a:cubicBezTo>
                      <a:pt x="114" y="140"/>
                      <a:pt x="114" y="141"/>
                      <a:pt x="115" y="141"/>
                    </a:cubicBezTo>
                    <a:cubicBezTo>
                      <a:pt x="115" y="142"/>
                      <a:pt x="115" y="142"/>
                      <a:pt x="115" y="142"/>
                    </a:cubicBezTo>
                    <a:cubicBezTo>
                      <a:pt x="116" y="143"/>
                      <a:pt x="116" y="143"/>
                      <a:pt x="117" y="143"/>
                    </a:cubicBezTo>
                    <a:cubicBezTo>
                      <a:pt x="118" y="143"/>
                      <a:pt x="118" y="144"/>
                      <a:pt x="118" y="144"/>
                    </a:cubicBezTo>
                    <a:cubicBezTo>
                      <a:pt x="118" y="144"/>
                      <a:pt x="118" y="145"/>
                      <a:pt x="118" y="145"/>
                    </a:cubicBezTo>
                    <a:cubicBezTo>
                      <a:pt x="118" y="145"/>
                      <a:pt x="119" y="146"/>
                      <a:pt x="119" y="146"/>
                    </a:cubicBezTo>
                    <a:cubicBezTo>
                      <a:pt x="119" y="146"/>
                      <a:pt x="119" y="146"/>
                      <a:pt x="119" y="146"/>
                    </a:cubicBezTo>
                    <a:cubicBezTo>
                      <a:pt x="120" y="146"/>
                      <a:pt x="120" y="146"/>
                      <a:pt x="120" y="145"/>
                    </a:cubicBezTo>
                    <a:cubicBezTo>
                      <a:pt x="120" y="145"/>
                      <a:pt x="120" y="145"/>
                      <a:pt x="120" y="145"/>
                    </a:cubicBezTo>
                    <a:cubicBezTo>
                      <a:pt x="120" y="144"/>
                      <a:pt x="121" y="143"/>
                      <a:pt x="122" y="143"/>
                    </a:cubicBezTo>
                    <a:cubicBezTo>
                      <a:pt x="122" y="142"/>
                      <a:pt x="123" y="142"/>
                      <a:pt x="124" y="143"/>
                    </a:cubicBezTo>
                    <a:cubicBezTo>
                      <a:pt x="124" y="143"/>
                      <a:pt x="124" y="143"/>
                      <a:pt x="124" y="143"/>
                    </a:cubicBezTo>
                    <a:cubicBezTo>
                      <a:pt x="125" y="143"/>
                      <a:pt x="125" y="143"/>
                      <a:pt x="125" y="142"/>
                    </a:cubicBezTo>
                    <a:cubicBezTo>
                      <a:pt x="126" y="142"/>
                      <a:pt x="126" y="141"/>
                      <a:pt x="126" y="141"/>
                    </a:cubicBezTo>
                    <a:cubicBezTo>
                      <a:pt x="126" y="141"/>
                      <a:pt x="126" y="141"/>
                      <a:pt x="126" y="141"/>
                    </a:cubicBezTo>
                    <a:cubicBezTo>
                      <a:pt x="126" y="140"/>
                      <a:pt x="126" y="140"/>
                      <a:pt x="125" y="140"/>
                    </a:cubicBezTo>
                    <a:cubicBezTo>
                      <a:pt x="124" y="140"/>
                      <a:pt x="122" y="140"/>
                      <a:pt x="120" y="139"/>
                    </a:cubicBezTo>
                    <a:cubicBezTo>
                      <a:pt x="120" y="139"/>
                      <a:pt x="120" y="139"/>
                      <a:pt x="119" y="139"/>
                    </a:cubicBezTo>
                    <a:cubicBezTo>
                      <a:pt x="119" y="138"/>
                      <a:pt x="118" y="138"/>
                      <a:pt x="117" y="138"/>
                    </a:cubicBezTo>
                    <a:cubicBezTo>
                      <a:pt x="117" y="138"/>
                      <a:pt x="117" y="137"/>
                      <a:pt x="117" y="137"/>
                    </a:cubicBezTo>
                    <a:cubicBezTo>
                      <a:pt x="117" y="136"/>
                      <a:pt x="116" y="136"/>
                      <a:pt x="116" y="135"/>
                    </a:cubicBezTo>
                    <a:cubicBezTo>
                      <a:pt x="115" y="135"/>
                      <a:pt x="115" y="135"/>
                      <a:pt x="115" y="135"/>
                    </a:cubicBezTo>
                    <a:cubicBezTo>
                      <a:pt x="115" y="135"/>
                      <a:pt x="114" y="135"/>
                      <a:pt x="114" y="135"/>
                    </a:cubicBezTo>
                    <a:cubicBezTo>
                      <a:pt x="113" y="135"/>
                      <a:pt x="113" y="135"/>
                      <a:pt x="112" y="136"/>
                    </a:cubicBezTo>
                    <a:cubicBezTo>
                      <a:pt x="112" y="136"/>
                      <a:pt x="111" y="136"/>
                      <a:pt x="111" y="136"/>
                    </a:cubicBezTo>
                    <a:cubicBezTo>
                      <a:pt x="111" y="136"/>
                      <a:pt x="110" y="136"/>
                      <a:pt x="110" y="136"/>
                    </a:cubicBezTo>
                    <a:cubicBezTo>
                      <a:pt x="109" y="136"/>
                      <a:pt x="108" y="136"/>
                      <a:pt x="107" y="135"/>
                    </a:cubicBezTo>
                    <a:cubicBezTo>
                      <a:pt x="107" y="135"/>
                      <a:pt x="106" y="135"/>
                      <a:pt x="106" y="135"/>
                    </a:cubicBezTo>
                    <a:cubicBezTo>
                      <a:pt x="106" y="134"/>
                      <a:pt x="106" y="134"/>
                      <a:pt x="106" y="134"/>
                    </a:cubicBezTo>
                    <a:cubicBezTo>
                      <a:pt x="106" y="134"/>
                      <a:pt x="106" y="134"/>
                      <a:pt x="105" y="134"/>
                    </a:cubicBezTo>
                    <a:cubicBezTo>
                      <a:pt x="105" y="134"/>
                      <a:pt x="105" y="134"/>
                      <a:pt x="105" y="135"/>
                    </a:cubicBezTo>
                    <a:cubicBezTo>
                      <a:pt x="105" y="135"/>
                      <a:pt x="105" y="136"/>
                      <a:pt x="105" y="137"/>
                    </a:cubicBezTo>
                    <a:close/>
                    <a:moveTo>
                      <a:pt x="222" y="227"/>
                    </a:moveTo>
                    <a:cubicBezTo>
                      <a:pt x="222" y="227"/>
                      <a:pt x="222" y="227"/>
                      <a:pt x="222" y="227"/>
                    </a:cubicBezTo>
                    <a:close/>
                    <a:moveTo>
                      <a:pt x="233" y="207"/>
                    </a:moveTo>
                    <a:cubicBezTo>
                      <a:pt x="233" y="207"/>
                      <a:pt x="234" y="207"/>
                      <a:pt x="234" y="207"/>
                    </a:cubicBezTo>
                    <a:cubicBezTo>
                      <a:pt x="234" y="207"/>
                      <a:pt x="234" y="207"/>
                      <a:pt x="234" y="207"/>
                    </a:cubicBezTo>
                    <a:cubicBezTo>
                      <a:pt x="234" y="207"/>
                      <a:pt x="234" y="207"/>
                      <a:pt x="234" y="207"/>
                    </a:cubicBezTo>
                    <a:cubicBezTo>
                      <a:pt x="235" y="207"/>
                      <a:pt x="235" y="207"/>
                      <a:pt x="235" y="207"/>
                    </a:cubicBezTo>
                    <a:cubicBezTo>
                      <a:pt x="235" y="207"/>
                      <a:pt x="235" y="207"/>
                      <a:pt x="235" y="207"/>
                    </a:cubicBezTo>
                    <a:cubicBezTo>
                      <a:pt x="235" y="207"/>
                      <a:pt x="235" y="207"/>
                      <a:pt x="235" y="206"/>
                    </a:cubicBezTo>
                    <a:cubicBezTo>
                      <a:pt x="235" y="206"/>
                      <a:pt x="235" y="206"/>
                      <a:pt x="235" y="206"/>
                    </a:cubicBezTo>
                    <a:cubicBezTo>
                      <a:pt x="235" y="206"/>
                      <a:pt x="235" y="206"/>
                      <a:pt x="235" y="206"/>
                    </a:cubicBezTo>
                    <a:cubicBezTo>
                      <a:pt x="235" y="206"/>
                      <a:pt x="235" y="206"/>
                      <a:pt x="235" y="206"/>
                    </a:cubicBezTo>
                    <a:cubicBezTo>
                      <a:pt x="235" y="205"/>
                      <a:pt x="235" y="205"/>
                      <a:pt x="235" y="205"/>
                    </a:cubicBezTo>
                    <a:cubicBezTo>
                      <a:pt x="235" y="205"/>
                      <a:pt x="235" y="205"/>
                      <a:pt x="235" y="205"/>
                    </a:cubicBezTo>
                    <a:cubicBezTo>
                      <a:pt x="235" y="205"/>
                      <a:pt x="235" y="205"/>
                      <a:pt x="235" y="205"/>
                    </a:cubicBezTo>
                    <a:cubicBezTo>
                      <a:pt x="235" y="205"/>
                      <a:pt x="235" y="205"/>
                      <a:pt x="235" y="205"/>
                    </a:cubicBezTo>
                    <a:cubicBezTo>
                      <a:pt x="234" y="205"/>
                      <a:pt x="234" y="206"/>
                      <a:pt x="234" y="206"/>
                    </a:cubicBezTo>
                    <a:cubicBezTo>
                      <a:pt x="234" y="206"/>
                      <a:pt x="234" y="206"/>
                      <a:pt x="234" y="206"/>
                    </a:cubicBezTo>
                    <a:cubicBezTo>
                      <a:pt x="234" y="206"/>
                      <a:pt x="234" y="206"/>
                      <a:pt x="234" y="206"/>
                    </a:cubicBezTo>
                    <a:cubicBezTo>
                      <a:pt x="234" y="205"/>
                      <a:pt x="234" y="205"/>
                      <a:pt x="234" y="205"/>
                    </a:cubicBezTo>
                    <a:cubicBezTo>
                      <a:pt x="234" y="206"/>
                      <a:pt x="234" y="206"/>
                      <a:pt x="233" y="206"/>
                    </a:cubicBezTo>
                    <a:cubicBezTo>
                      <a:pt x="233" y="206"/>
                      <a:pt x="233" y="206"/>
                      <a:pt x="233" y="206"/>
                    </a:cubicBezTo>
                    <a:cubicBezTo>
                      <a:pt x="233" y="206"/>
                      <a:pt x="233" y="206"/>
                      <a:pt x="233" y="206"/>
                    </a:cubicBezTo>
                    <a:cubicBezTo>
                      <a:pt x="234" y="206"/>
                      <a:pt x="234" y="206"/>
                      <a:pt x="234" y="206"/>
                    </a:cubicBezTo>
                    <a:cubicBezTo>
                      <a:pt x="234" y="206"/>
                      <a:pt x="234" y="206"/>
                      <a:pt x="234" y="206"/>
                    </a:cubicBezTo>
                    <a:cubicBezTo>
                      <a:pt x="234" y="206"/>
                      <a:pt x="234" y="206"/>
                      <a:pt x="234" y="206"/>
                    </a:cubicBezTo>
                    <a:cubicBezTo>
                      <a:pt x="233" y="206"/>
                      <a:pt x="233" y="206"/>
                      <a:pt x="233" y="206"/>
                    </a:cubicBezTo>
                    <a:cubicBezTo>
                      <a:pt x="233" y="206"/>
                      <a:pt x="233" y="206"/>
                      <a:pt x="233" y="206"/>
                    </a:cubicBezTo>
                    <a:cubicBezTo>
                      <a:pt x="233" y="206"/>
                      <a:pt x="233" y="206"/>
                      <a:pt x="233" y="207"/>
                    </a:cubicBezTo>
                    <a:close/>
                    <a:moveTo>
                      <a:pt x="224" y="231"/>
                    </a:moveTo>
                    <a:cubicBezTo>
                      <a:pt x="224" y="231"/>
                      <a:pt x="224" y="231"/>
                      <a:pt x="224" y="231"/>
                    </a:cubicBezTo>
                    <a:cubicBezTo>
                      <a:pt x="224" y="231"/>
                      <a:pt x="224" y="231"/>
                      <a:pt x="224" y="230"/>
                    </a:cubicBezTo>
                    <a:cubicBezTo>
                      <a:pt x="224" y="230"/>
                      <a:pt x="223" y="230"/>
                      <a:pt x="223" y="230"/>
                    </a:cubicBezTo>
                    <a:cubicBezTo>
                      <a:pt x="223" y="230"/>
                      <a:pt x="223" y="231"/>
                      <a:pt x="223" y="230"/>
                    </a:cubicBezTo>
                    <a:cubicBezTo>
                      <a:pt x="223" y="230"/>
                      <a:pt x="223" y="230"/>
                      <a:pt x="223" y="230"/>
                    </a:cubicBezTo>
                    <a:cubicBezTo>
                      <a:pt x="222" y="231"/>
                      <a:pt x="222" y="231"/>
                      <a:pt x="222" y="231"/>
                    </a:cubicBezTo>
                    <a:cubicBezTo>
                      <a:pt x="222" y="231"/>
                      <a:pt x="222" y="231"/>
                      <a:pt x="222" y="231"/>
                    </a:cubicBezTo>
                    <a:cubicBezTo>
                      <a:pt x="222" y="231"/>
                      <a:pt x="222" y="231"/>
                      <a:pt x="222" y="232"/>
                    </a:cubicBezTo>
                    <a:cubicBezTo>
                      <a:pt x="222" y="232"/>
                      <a:pt x="222" y="232"/>
                      <a:pt x="223" y="232"/>
                    </a:cubicBezTo>
                    <a:cubicBezTo>
                      <a:pt x="223" y="232"/>
                      <a:pt x="223" y="232"/>
                      <a:pt x="224" y="231"/>
                    </a:cubicBezTo>
                    <a:cubicBezTo>
                      <a:pt x="224" y="231"/>
                      <a:pt x="224" y="231"/>
                      <a:pt x="224" y="231"/>
                    </a:cubicBezTo>
                    <a:close/>
                    <a:moveTo>
                      <a:pt x="221" y="231"/>
                    </a:moveTo>
                    <a:cubicBezTo>
                      <a:pt x="221" y="231"/>
                      <a:pt x="221" y="231"/>
                      <a:pt x="221" y="231"/>
                    </a:cubicBezTo>
                    <a:cubicBezTo>
                      <a:pt x="221" y="231"/>
                      <a:pt x="221" y="231"/>
                      <a:pt x="221" y="231"/>
                    </a:cubicBezTo>
                    <a:cubicBezTo>
                      <a:pt x="221" y="231"/>
                      <a:pt x="221" y="231"/>
                      <a:pt x="221" y="231"/>
                    </a:cubicBezTo>
                    <a:cubicBezTo>
                      <a:pt x="220" y="231"/>
                      <a:pt x="220" y="231"/>
                      <a:pt x="219" y="232"/>
                    </a:cubicBezTo>
                    <a:cubicBezTo>
                      <a:pt x="219" y="232"/>
                      <a:pt x="219" y="232"/>
                      <a:pt x="219" y="233"/>
                    </a:cubicBezTo>
                    <a:cubicBezTo>
                      <a:pt x="219" y="233"/>
                      <a:pt x="219" y="233"/>
                      <a:pt x="219" y="233"/>
                    </a:cubicBezTo>
                    <a:cubicBezTo>
                      <a:pt x="219" y="233"/>
                      <a:pt x="219" y="233"/>
                      <a:pt x="219" y="233"/>
                    </a:cubicBezTo>
                    <a:cubicBezTo>
                      <a:pt x="220" y="233"/>
                      <a:pt x="220" y="233"/>
                      <a:pt x="220" y="232"/>
                    </a:cubicBezTo>
                    <a:cubicBezTo>
                      <a:pt x="220" y="232"/>
                      <a:pt x="220" y="232"/>
                      <a:pt x="220" y="232"/>
                    </a:cubicBezTo>
                    <a:cubicBezTo>
                      <a:pt x="220" y="232"/>
                      <a:pt x="221" y="232"/>
                      <a:pt x="221" y="232"/>
                    </a:cubicBezTo>
                    <a:cubicBezTo>
                      <a:pt x="221" y="232"/>
                      <a:pt x="221" y="232"/>
                      <a:pt x="221" y="232"/>
                    </a:cubicBezTo>
                    <a:cubicBezTo>
                      <a:pt x="221" y="232"/>
                      <a:pt x="221" y="232"/>
                      <a:pt x="221" y="231"/>
                    </a:cubicBezTo>
                    <a:close/>
                    <a:moveTo>
                      <a:pt x="221" y="231"/>
                    </a:moveTo>
                    <a:cubicBezTo>
                      <a:pt x="221" y="231"/>
                      <a:pt x="221" y="231"/>
                      <a:pt x="221" y="231"/>
                    </a:cubicBezTo>
                    <a:close/>
                    <a:moveTo>
                      <a:pt x="237" y="218"/>
                    </a:moveTo>
                    <a:cubicBezTo>
                      <a:pt x="237" y="218"/>
                      <a:pt x="237" y="218"/>
                      <a:pt x="237" y="218"/>
                    </a:cubicBezTo>
                    <a:cubicBezTo>
                      <a:pt x="236" y="219"/>
                      <a:pt x="236" y="219"/>
                      <a:pt x="236" y="219"/>
                    </a:cubicBezTo>
                    <a:cubicBezTo>
                      <a:pt x="236" y="219"/>
                      <a:pt x="235" y="220"/>
                      <a:pt x="235" y="220"/>
                    </a:cubicBezTo>
                    <a:cubicBezTo>
                      <a:pt x="235" y="220"/>
                      <a:pt x="235" y="220"/>
                      <a:pt x="235" y="220"/>
                    </a:cubicBezTo>
                    <a:cubicBezTo>
                      <a:pt x="235" y="220"/>
                      <a:pt x="235" y="220"/>
                      <a:pt x="235" y="220"/>
                    </a:cubicBezTo>
                    <a:cubicBezTo>
                      <a:pt x="234" y="220"/>
                      <a:pt x="235" y="220"/>
                      <a:pt x="235" y="220"/>
                    </a:cubicBezTo>
                    <a:cubicBezTo>
                      <a:pt x="235" y="220"/>
                      <a:pt x="235" y="220"/>
                      <a:pt x="235" y="220"/>
                    </a:cubicBezTo>
                    <a:cubicBezTo>
                      <a:pt x="235" y="220"/>
                      <a:pt x="234" y="220"/>
                      <a:pt x="234" y="220"/>
                    </a:cubicBezTo>
                    <a:cubicBezTo>
                      <a:pt x="234" y="220"/>
                      <a:pt x="234" y="220"/>
                      <a:pt x="234" y="220"/>
                    </a:cubicBezTo>
                    <a:cubicBezTo>
                      <a:pt x="234" y="220"/>
                      <a:pt x="234" y="220"/>
                      <a:pt x="234" y="220"/>
                    </a:cubicBezTo>
                    <a:cubicBezTo>
                      <a:pt x="234" y="220"/>
                      <a:pt x="234" y="220"/>
                      <a:pt x="233" y="220"/>
                    </a:cubicBezTo>
                    <a:cubicBezTo>
                      <a:pt x="233" y="220"/>
                      <a:pt x="233" y="220"/>
                      <a:pt x="233" y="220"/>
                    </a:cubicBezTo>
                    <a:cubicBezTo>
                      <a:pt x="233" y="219"/>
                      <a:pt x="233" y="219"/>
                      <a:pt x="232" y="219"/>
                    </a:cubicBezTo>
                    <a:cubicBezTo>
                      <a:pt x="232" y="220"/>
                      <a:pt x="232" y="219"/>
                      <a:pt x="232" y="219"/>
                    </a:cubicBezTo>
                    <a:cubicBezTo>
                      <a:pt x="232" y="219"/>
                      <a:pt x="232" y="219"/>
                      <a:pt x="232" y="219"/>
                    </a:cubicBezTo>
                    <a:cubicBezTo>
                      <a:pt x="232" y="219"/>
                      <a:pt x="232" y="219"/>
                      <a:pt x="231" y="219"/>
                    </a:cubicBezTo>
                    <a:cubicBezTo>
                      <a:pt x="231" y="220"/>
                      <a:pt x="232" y="220"/>
                      <a:pt x="232"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2" y="220"/>
                      <a:pt x="232" y="220"/>
                    </a:cubicBezTo>
                    <a:cubicBezTo>
                      <a:pt x="232" y="220"/>
                      <a:pt x="232" y="220"/>
                      <a:pt x="233" y="220"/>
                    </a:cubicBezTo>
                    <a:cubicBezTo>
                      <a:pt x="233" y="220"/>
                      <a:pt x="233" y="220"/>
                      <a:pt x="233" y="220"/>
                    </a:cubicBezTo>
                    <a:cubicBezTo>
                      <a:pt x="233" y="220"/>
                      <a:pt x="233" y="220"/>
                      <a:pt x="233" y="220"/>
                    </a:cubicBezTo>
                    <a:cubicBezTo>
                      <a:pt x="233" y="221"/>
                      <a:pt x="233" y="221"/>
                      <a:pt x="233" y="221"/>
                    </a:cubicBezTo>
                    <a:cubicBezTo>
                      <a:pt x="233" y="221"/>
                      <a:pt x="234" y="221"/>
                      <a:pt x="234" y="221"/>
                    </a:cubicBezTo>
                    <a:cubicBezTo>
                      <a:pt x="234" y="221"/>
                      <a:pt x="234" y="221"/>
                      <a:pt x="234" y="221"/>
                    </a:cubicBezTo>
                    <a:cubicBezTo>
                      <a:pt x="233" y="221"/>
                      <a:pt x="233" y="222"/>
                      <a:pt x="233" y="222"/>
                    </a:cubicBezTo>
                    <a:cubicBezTo>
                      <a:pt x="233" y="222"/>
                      <a:pt x="233" y="222"/>
                      <a:pt x="233" y="222"/>
                    </a:cubicBezTo>
                    <a:cubicBezTo>
                      <a:pt x="233" y="222"/>
                      <a:pt x="233" y="222"/>
                      <a:pt x="233" y="222"/>
                    </a:cubicBezTo>
                    <a:cubicBezTo>
                      <a:pt x="233" y="222"/>
                      <a:pt x="233" y="222"/>
                      <a:pt x="233"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1"/>
                    </a:cubicBezTo>
                    <a:cubicBezTo>
                      <a:pt x="232" y="221"/>
                      <a:pt x="232" y="221"/>
                      <a:pt x="232" y="221"/>
                    </a:cubicBezTo>
                    <a:cubicBezTo>
                      <a:pt x="232" y="221"/>
                      <a:pt x="232" y="221"/>
                      <a:pt x="232" y="221"/>
                    </a:cubicBezTo>
                    <a:cubicBezTo>
                      <a:pt x="231" y="222"/>
                      <a:pt x="231" y="222"/>
                      <a:pt x="231" y="221"/>
                    </a:cubicBezTo>
                    <a:cubicBezTo>
                      <a:pt x="231" y="221"/>
                      <a:pt x="231" y="221"/>
                      <a:pt x="231" y="221"/>
                    </a:cubicBezTo>
                    <a:cubicBezTo>
                      <a:pt x="231" y="222"/>
                      <a:pt x="231" y="222"/>
                      <a:pt x="231" y="222"/>
                    </a:cubicBezTo>
                    <a:cubicBezTo>
                      <a:pt x="231" y="222"/>
                      <a:pt x="230" y="222"/>
                      <a:pt x="230" y="222"/>
                    </a:cubicBezTo>
                    <a:cubicBezTo>
                      <a:pt x="230" y="222"/>
                      <a:pt x="230" y="222"/>
                      <a:pt x="230" y="222"/>
                    </a:cubicBezTo>
                    <a:cubicBezTo>
                      <a:pt x="230" y="221"/>
                      <a:pt x="230" y="221"/>
                      <a:pt x="230" y="221"/>
                    </a:cubicBezTo>
                    <a:cubicBezTo>
                      <a:pt x="230" y="221"/>
                      <a:pt x="230" y="221"/>
                      <a:pt x="230" y="221"/>
                    </a:cubicBezTo>
                    <a:cubicBezTo>
                      <a:pt x="230" y="222"/>
                      <a:pt x="230" y="222"/>
                      <a:pt x="230" y="222"/>
                    </a:cubicBezTo>
                    <a:cubicBezTo>
                      <a:pt x="230" y="222"/>
                      <a:pt x="230" y="222"/>
                      <a:pt x="230" y="222"/>
                    </a:cubicBezTo>
                    <a:cubicBezTo>
                      <a:pt x="230" y="222"/>
                      <a:pt x="230" y="222"/>
                      <a:pt x="230" y="222"/>
                    </a:cubicBezTo>
                    <a:cubicBezTo>
                      <a:pt x="230" y="222"/>
                      <a:pt x="231" y="222"/>
                      <a:pt x="231" y="222"/>
                    </a:cubicBezTo>
                    <a:cubicBezTo>
                      <a:pt x="231" y="222"/>
                      <a:pt x="231" y="222"/>
                      <a:pt x="231" y="222"/>
                    </a:cubicBezTo>
                    <a:cubicBezTo>
                      <a:pt x="231" y="222"/>
                      <a:pt x="231" y="223"/>
                      <a:pt x="231" y="223"/>
                    </a:cubicBezTo>
                    <a:cubicBezTo>
                      <a:pt x="231" y="223"/>
                      <a:pt x="231" y="223"/>
                      <a:pt x="231" y="223"/>
                    </a:cubicBezTo>
                    <a:cubicBezTo>
                      <a:pt x="231" y="223"/>
                      <a:pt x="231" y="223"/>
                      <a:pt x="230" y="223"/>
                    </a:cubicBezTo>
                    <a:cubicBezTo>
                      <a:pt x="230" y="223"/>
                      <a:pt x="230" y="223"/>
                      <a:pt x="230" y="223"/>
                    </a:cubicBezTo>
                    <a:cubicBezTo>
                      <a:pt x="230" y="223"/>
                      <a:pt x="230" y="223"/>
                      <a:pt x="230" y="223"/>
                    </a:cubicBezTo>
                    <a:cubicBezTo>
                      <a:pt x="229" y="223"/>
                      <a:pt x="229" y="223"/>
                      <a:pt x="229" y="223"/>
                    </a:cubicBezTo>
                    <a:cubicBezTo>
                      <a:pt x="229" y="223"/>
                      <a:pt x="229" y="223"/>
                      <a:pt x="229" y="223"/>
                    </a:cubicBezTo>
                    <a:cubicBezTo>
                      <a:pt x="229" y="223"/>
                      <a:pt x="229" y="223"/>
                      <a:pt x="229" y="223"/>
                    </a:cubicBezTo>
                    <a:cubicBezTo>
                      <a:pt x="230" y="223"/>
                      <a:pt x="229" y="223"/>
                      <a:pt x="230" y="223"/>
                    </a:cubicBezTo>
                    <a:cubicBezTo>
                      <a:pt x="230" y="223"/>
                      <a:pt x="230" y="223"/>
                      <a:pt x="230" y="223"/>
                    </a:cubicBezTo>
                    <a:cubicBezTo>
                      <a:pt x="230" y="223"/>
                      <a:pt x="230" y="223"/>
                      <a:pt x="230" y="223"/>
                    </a:cubicBezTo>
                    <a:cubicBezTo>
                      <a:pt x="230" y="223"/>
                      <a:pt x="230" y="223"/>
                      <a:pt x="230" y="223"/>
                    </a:cubicBezTo>
                    <a:cubicBezTo>
                      <a:pt x="230" y="224"/>
                      <a:pt x="230" y="224"/>
                      <a:pt x="230" y="224"/>
                    </a:cubicBezTo>
                    <a:cubicBezTo>
                      <a:pt x="230" y="224"/>
                      <a:pt x="230" y="224"/>
                      <a:pt x="230" y="224"/>
                    </a:cubicBezTo>
                    <a:cubicBezTo>
                      <a:pt x="230" y="224"/>
                      <a:pt x="230" y="224"/>
                      <a:pt x="230" y="223"/>
                    </a:cubicBezTo>
                    <a:cubicBezTo>
                      <a:pt x="231" y="223"/>
                      <a:pt x="231" y="223"/>
                      <a:pt x="231" y="223"/>
                    </a:cubicBezTo>
                    <a:cubicBezTo>
                      <a:pt x="230" y="224"/>
                      <a:pt x="230" y="224"/>
                      <a:pt x="230" y="224"/>
                    </a:cubicBezTo>
                    <a:cubicBezTo>
                      <a:pt x="230" y="224"/>
                      <a:pt x="230" y="224"/>
                      <a:pt x="230" y="224"/>
                    </a:cubicBezTo>
                    <a:cubicBezTo>
                      <a:pt x="230" y="224"/>
                      <a:pt x="231" y="224"/>
                      <a:pt x="231" y="224"/>
                    </a:cubicBezTo>
                    <a:cubicBezTo>
                      <a:pt x="231" y="223"/>
                      <a:pt x="231" y="223"/>
                      <a:pt x="231" y="223"/>
                    </a:cubicBezTo>
                    <a:cubicBezTo>
                      <a:pt x="231" y="223"/>
                      <a:pt x="231" y="223"/>
                      <a:pt x="231" y="224"/>
                    </a:cubicBezTo>
                    <a:cubicBezTo>
                      <a:pt x="232" y="224"/>
                      <a:pt x="232" y="224"/>
                      <a:pt x="232" y="224"/>
                    </a:cubicBezTo>
                    <a:cubicBezTo>
                      <a:pt x="232" y="224"/>
                      <a:pt x="232" y="224"/>
                      <a:pt x="232" y="224"/>
                    </a:cubicBezTo>
                    <a:cubicBezTo>
                      <a:pt x="232" y="224"/>
                      <a:pt x="232" y="224"/>
                      <a:pt x="232" y="224"/>
                    </a:cubicBezTo>
                    <a:cubicBezTo>
                      <a:pt x="231" y="224"/>
                      <a:pt x="231" y="224"/>
                      <a:pt x="231" y="224"/>
                    </a:cubicBezTo>
                    <a:cubicBezTo>
                      <a:pt x="231" y="224"/>
                      <a:pt x="231" y="224"/>
                      <a:pt x="231" y="224"/>
                    </a:cubicBezTo>
                    <a:cubicBezTo>
                      <a:pt x="230" y="224"/>
                      <a:pt x="230" y="225"/>
                      <a:pt x="230" y="224"/>
                    </a:cubicBezTo>
                    <a:cubicBezTo>
                      <a:pt x="230" y="224"/>
                      <a:pt x="230" y="225"/>
                      <a:pt x="230" y="225"/>
                    </a:cubicBezTo>
                    <a:cubicBezTo>
                      <a:pt x="230" y="225"/>
                      <a:pt x="229" y="225"/>
                      <a:pt x="230" y="225"/>
                    </a:cubicBezTo>
                    <a:cubicBezTo>
                      <a:pt x="230" y="225"/>
                      <a:pt x="230" y="225"/>
                      <a:pt x="230" y="225"/>
                    </a:cubicBezTo>
                    <a:cubicBezTo>
                      <a:pt x="230" y="225"/>
                      <a:pt x="229" y="226"/>
                      <a:pt x="229" y="226"/>
                    </a:cubicBezTo>
                    <a:cubicBezTo>
                      <a:pt x="229" y="226"/>
                      <a:pt x="229" y="226"/>
                      <a:pt x="229" y="225"/>
                    </a:cubicBezTo>
                    <a:cubicBezTo>
                      <a:pt x="229" y="225"/>
                      <a:pt x="229" y="225"/>
                      <a:pt x="229" y="225"/>
                    </a:cubicBezTo>
                    <a:cubicBezTo>
                      <a:pt x="229" y="225"/>
                      <a:pt x="229" y="225"/>
                      <a:pt x="229" y="225"/>
                    </a:cubicBezTo>
                    <a:cubicBezTo>
                      <a:pt x="229" y="225"/>
                      <a:pt x="229" y="225"/>
                      <a:pt x="229" y="224"/>
                    </a:cubicBezTo>
                    <a:cubicBezTo>
                      <a:pt x="229" y="224"/>
                      <a:pt x="229" y="225"/>
                      <a:pt x="229" y="225"/>
                    </a:cubicBezTo>
                    <a:cubicBezTo>
                      <a:pt x="229" y="225"/>
                      <a:pt x="229" y="225"/>
                      <a:pt x="229" y="225"/>
                    </a:cubicBezTo>
                    <a:cubicBezTo>
                      <a:pt x="229" y="225"/>
                      <a:pt x="228" y="225"/>
                      <a:pt x="228" y="225"/>
                    </a:cubicBezTo>
                    <a:cubicBezTo>
                      <a:pt x="228" y="225"/>
                      <a:pt x="228" y="225"/>
                      <a:pt x="228" y="225"/>
                    </a:cubicBezTo>
                    <a:cubicBezTo>
                      <a:pt x="228" y="225"/>
                      <a:pt x="228" y="225"/>
                      <a:pt x="228" y="225"/>
                    </a:cubicBezTo>
                    <a:cubicBezTo>
                      <a:pt x="229" y="224"/>
                      <a:pt x="229" y="224"/>
                      <a:pt x="229" y="224"/>
                    </a:cubicBezTo>
                    <a:cubicBezTo>
                      <a:pt x="229" y="224"/>
                      <a:pt x="229" y="224"/>
                      <a:pt x="229" y="224"/>
                    </a:cubicBezTo>
                    <a:cubicBezTo>
                      <a:pt x="229" y="224"/>
                      <a:pt x="229" y="224"/>
                      <a:pt x="228" y="224"/>
                    </a:cubicBezTo>
                    <a:cubicBezTo>
                      <a:pt x="228" y="224"/>
                      <a:pt x="229" y="224"/>
                      <a:pt x="229" y="224"/>
                    </a:cubicBezTo>
                    <a:cubicBezTo>
                      <a:pt x="229" y="224"/>
                      <a:pt x="229" y="224"/>
                      <a:pt x="229" y="223"/>
                    </a:cubicBezTo>
                    <a:cubicBezTo>
                      <a:pt x="229" y="223"/>
                      <a:pt x="229" y="223"/>
                      <a:pt x="229" y="223"/>
                    </a:cubicBezTo>
                    <a:cubicBezTo>
                      <a:pt x="229" y="223"/>
                      <a:pt x="229" y="223"/>
                      <a:pt x="229" y="223"/>
                    </a:cubicBezTo>
                    <a:cubicBezTo>
                      <a:pt x="229" y="223"/>
                      <a:pt x="229" y="223"/>
                      <a:pt x="229" y="223"/>
                    </a:cubicBezTo>
                    <a:cubicBezTo>
                      <a:pt x="229" y="223"/>
                      <a:pt x="229" y="223"/>
                      <a:pt x="229" y="223"/>
                    </a:cubicBezTo>
                    <a:cubicBezTo>
                      <a:pt x="228" y="223"/>
                      <a:pt x="228" y="223"/>
                      <a:pt x="228" y="223"/>
                    </a:cubicBezTo>
                    <a:cubicBezTo>
                      <a:pt x="228" y="223"/>
                      <a:pt x="228" y="223"/>
                      <a:pt x="228" y="223"/>
                    </a:cubicBezTo>
                    <a:cubicBezTo>
                      <a:pt x="228" y="223"/>
                      <a:pt x="229" y="223"/>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7" y="223"/>
                      <a:pt x="227" y="224"/>
                    </a:cubicBezTo>
                    <a:cubicBezTo>
                      <a:pt x="227" y="224"/>
                      <a:pt x="227" y="224"/>
                      <a:pt x="227" y="224"/>
                    </a:cubicBezTo>
                    <a:cubicBezTo>
                      <a:pt x="227" y="224"/>
                      <a:pt x="227" y="224"/>
                      <a:pt x="227" y="224"/>
                    </a:cubicBezTo>
                    <a:cubicBezTo>
                      <a:pt x="228" y="224"/>
                      <a:pt x="228" y="224"/>
                      <a:pt x="228" y="224"/>
                    </a:cubicBezTo>
                    <a:cubicBezTo>
                      <a:pt x="228" y="224"/>
                      <a:pt x="228" y="224"/>
                      <a:pt x="228" y="224"/>
                    </a:cubicBezTo>
                    <a:cubicBezTo>
                      <a:pt x="227" y="224"/>
                      <a:pt x="228" y="224"/>
                      <a:pt x="228" y="225"/>
                    </a:cubicBezTo>
                    <a:cubicBezTo>
                      <a:pt x="228" y="225"/>
                      <a:pt x="228" y="225"/>
                      <a:pt x="228" y="225"/>
                    </a:cubicBezTo>
                    <a:cubicBezTo>
                      <a:pt x="228" y="225"/>
                      <a:pt x="227" y="225"/>
                      <a:pt x="227" y="225"/>
                    </a:cubicBezTo>
                    <a:cubicBezTo>
                      <a:pt x="227" y="225"/>
                      <a:pt x="227" y="225"/>
                      <a:pt x="227" y="225"/>
                    </a:cubicBezTo>
                    <a:cubicBezTo>
                      <a:pt x="227" y="225"/>
                      <a:pt x="227" y="225"/>
                      <a:pt x="227" y="225"/>
                    </a:cubicBezTo>
                    <a:cubicBezTo>
                      <a:pt x="226" y="225"/>
                      <a:pt x="226" y="225"/>
                      <a:pt x="226" y="225"/>
                    </a:cubicBezTo>
                    <a:cubicBezTo>
                      <a:pt x="226" y="225"/>
                      <a:pt x="226" y="225"/>
                      <a:pt x="226" y="225"/>
                    </a:cubicBezTo>
                    <a:cubicBezTo>
                      <a:pt x="226" y="225"/>
                      <a:pt x="226" y="225"/>
                      <a:pt x="226" y="225"/>
                    </a:cubicBezTo>
                    <a:cubicBezTo>
                      <a:pt x="227" y="225"/>
                      <a:pt x="227" y="225"/>
                      <a:pt x="227" y="225"/>
                    </a:cubicBezTo>
                    <a:cubicBezTo>
                      <a:pt x="227" y="225"/>
                      <a:pt x="227" y="225"/>
                      <a:pt x="227" y="225"/>
                    </a:cubicBezTo>
                    <a:cubicBezTo>
                      <a:pt x="227" y="225"/>
                      <a:pt x="227" y="225"/>
                      <a:pt x="227" y="225"/>
                    </a:cubicBezTo>
                    <a:cubicBezTo>
                      <a:pt x="227" y="225"/>
                      <a:pt x="227" y="225"/>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7"/>
                      <a:pt x="227" y="226"/>
                      <a:pt x="227" y="226"/>
                    </a:cubicBezTo>
                    <a:cubicBezTo>
                      <a:pt x="226" y="227"/>
                      <a:pt x="226" y="226"/>
                      <a:pt x="226" y="226"/>
                    </a:cubicBezTo>
                    <a:cubicBezTo>
                      <a:pt x="226" y="226"/>
                      <a:pt x="226" y="226"/>
                      <a:pt x="226" y="226"/>
                    </a:cubicBezTo>
                    <a:cubicBezTo>
                      <a:pt x="226" y="226"/>
                      <a:pt x="226" y="226"/>
                      <a:pt x="226" y="226"/>
                    </a:cubicBezTo>
                    <a:cubicBezTo>
                      <a:pt x="226" y="226"/>
                      <a:pt x="226" y="226"/>
                      <a:pt x="226" y="226"/>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8"/>
                      <a:pt x="226" y="228"/>
                    </a:cubicBezTo>
                    <a:cubicBezTo>
                      <a:pt x="226" y="228"/>
                      <a:pt x="225" y="228"/>
                      <a:pt x="225" y="228"/>
                    </a:cubicBezTo>
                    <a:cubicBezTo>
                      <a:pt x="225" y="228"/>
                      <a:pt x="225" y="228"/>
                      <a:pt x="225" y="228"/>
                    </a:cubicBezTo>
                    <a:cubicBezTo>
                      <a:pt x="225" y="228"/>
                      <a:pt x="225" y="228"/>
                      <a:pt x="225" y="229"/>
                    </a:cubicBezTo>
                    <a:cubicBezTo>
                      <a:pt x="225" y="229"/>
                      <a:pt x="225" y="229"/>
                      <a:pt x="224" y="229"/>
                    </a:cubicBezTo>
                    <a:cubicBezTo>
                      <a:pt x="224" y="229"/>
                      <a:pt x="224" y="229"/>
                      <a:pt x="224" y="229"/>
                    </a:cubicBezTo>
                    <a:cubicBezTo>
                      <a:pt x="224" y="229"/>
                      <a:pt x="224" y="229"/>
                      <a:pt x="224" y="229"/>
                    </a:cubicBezTo>
                    <a:cubicBezTo>
                      <a:pt x="224" y="229"/>
                      <a:pt x="224" y="229"/>
                      <a:pt x="223" y="229"/>
                    </a:cubicBezTo>
                    <a:cubicBezTo>
                      <a:pt x="223" y="229"/>
                      <a:pt x="223" y="228"/>
                      <a:pt x="223" y="228"/>
                    </a:cubicBezTo>
                    <a:cubicBezTo>
                      <a:pt x="224" y="228"/>
                      <a:pt x="224" y="228"/>
                      <a:pt x="224" y="227"/>
                    </a:cubicBezTo>
                    <a:cubicBezTo>
                      <a:pt x="224" y="227"/>
                      <a:pt x="224" y="227"/>
                      <a:pt x="225" y="227"/>
                    </a:cubicBezTo>
                    <a:cubicBezTo>
                      <a:pt x="225" y="227"/>
                      <a:pt x="225" y="227"/>
                      <a:pt x="225" y="227"/>
                    </a:cubicBezTo>
                    <a:cubicBezTo>
                      <a:pt x="225" y="227"/>
                      <a:pt x="225" y="226"/>
                      <a:pt x="226" y="226"/>
                    </a:cubicBezTo>
                    <a:cubicBezTo>
                      <a:pt x="226" y="226"/>
                      <a:pt x="226" y="226"/>
                      <a:pt x="226" y="226"/>
                    </a:cubicBezTo>
                    <a:cubicBezTo>
                      <a:pt x="226" y="226"/>
                      <a:pt x="226" y="226"/>
                      <a:pt x="226" y="226"/>
                    </a:cubicBezTo>
                    <a:cubicBezTo>
                      <a:pt x="226" y="226"/>
                      <a:pt x="226" y="226"/>
                      <a:pt x="226" y="226"/>
                    </a:cubicBezTo>
                    <a:cubicBezTo>
                      <a:pt x="226" y="226"/>
                      <a:pt x="225" y="226"/>
                      <a:pt x="225" y="226"/>
                    </a:cubicBezTo>
                    <a:cubicBezTo>
                      <a:pt x="225" y="226"/>
                      <a:pt x="225" y="226"/>
                      <a:pt x="225" y="226"/>
                    </a:cubicBezTo>
                    <a:cubicBezTo>
                      <a:pt x="225" y="226"/>
                      <a:pt x="225" y="225"/>
                      <a:pt x="225" y="225"/>
                    </a:cubicBezTo>
                    <a:cubicBezTo>
                      <a:pt x="225" y="225"/>
                      <a:pt x="225" y="225"/>
                      <a:pt x="225" y="225"/>
                    </a:cubicBezTo>
                    <a:cubicBezTo>
                      <a:pt x="225" y="226"/>
                      <a:pt x="225" y="226"/>
                      <a:pt x="225" y="226"/>
                    </a:cubicBezTo>
                    <a:cubicBezTo>
                      <a:pt x="225" y="226"/>
                      <a:pt x="225" y="226"/>
                      <a:pt x="225" y="226"/>
                    </a:cubicBezTo>
                    <a:cubicBezTo>
                      <a:pt x="225" y="226"/>
                      <a:pt x="225" y="226"/>
                      <a:pt x="225" y="226"/>
                    </a:cubicBezTo>
                    <a:cubicBezTo>
                      <a:pt x="225" y="226"/>
                      <a:pt x="224" y="226"/>
                      <a:pt x="224" y="226"/>
                    </a:cubicBezTo>
                    <a:cubicBezTo>
                      <a:pt x="225" y="226"/>
                      <a:pt x="225" y="226"/>
                      <a:pt x="225" y="225"/>
                    </a:cubicBezTo>
                    <a:cubicBezTo>
                      <a:pt x="225" y="225"/>
                      <a:pt x="225" y="225"/>
                      <a:pt x="225" y="225"/>
                    </a:cubicBezTo>
                    <a:cubicBezTo>
                      <a:pt x="225" y="225"/>
                      <a:pt x="225" y="225"/>
                      <a:pt x="225" y="225"/>
                    </a:cubicBezTo>
                    <a:cubicBezTo>
                      <a:pt x="225" y="225"/>
                      <a:pt x="225" y="225"/>
                      <a:pt x="225" y="225"/>
                    </a:cubicBezTo>
                    <a:cubicBezTo>
                      <a:pt x="225" y="224"/>
                      <a:pt x="226" y="224"/>
                      <a:pt x="226" y="224"/>
                    </a:cubicBezTo>
                    <a:cubicBezTo>
                      <a:pt x="226" y="224"/>
                      <a:pt x="226" y="224"/>
                      <a:pt x="226" y="224"/>
                    </a:cubicBezTo>
                    <a:cubicBezTo>
                      <a:pt x="226" y="224"/>
                      <a:pt x="226" y="224"/>
                      <a:pt x="226" y="224"/>
                    </a:cubicBezTo>
                    <a:cubicBezTo>
                      <a:pt x="226" y="224"/>
                      <a:pt x="226" y="224"/>
                      <a:pt x="226" y="224"/>
                    </a:cubicBezTo>
                    <a:cubicBezTo>
                      <a:pt x="225" y="224"/>
                      <a:pt x="225" y="224"/>
                      <a:pt x="225" y="224"/>
                    </a:cubicBezTo>
                    <a:cubicBezTo>
                      <a:pt x="225" y="224"/>
                      <a:pt x="225" y="224"/>
                      <a:pt x="225" y="224"/>
                    </a:cubicBezTo>
                    <a:cubicBezTo>
                      <a:pt x="225" y="224"/>
                      <a:pt x="225" y="225"/>
                      <a:pt x="225" y="225"/>
                    </a:cubicBezTo>
                    <a:cubicBezTo>
                      <a:pt x="224" y="225"/>
                      <a:pt x="224" y="225"/>
                      <a:pt x="224" y="225"/>
                    </a:cubicBezTo>
                    <a:cubicBezTo>
                      <a:pt x="224" y="225"/>
                      <a:pt x="224" y="225"/>
                      <a:pt x="224" y="225"/>
                    </a:cubicBezTo>
                    <a:cubicBezTo>
                      <a:pt x="224" y="225"/>
                      <a:pt x="224" y="226"/>
                      <a:pt x="224" y="226"/>
                    </a:cubicBezTo>
                    <a:cubicBezTo>
                      <a:pt x="224" y="226"/>
                      <a:pt x="224" y="226"/>
                      <a:pt x="224" y="226"/>
                    </a:cubicBezTo>
                    <a:cubicBezTo>
                      <a:pt x="224" y="226"/>
                      <a:pt x="223" y="226"/>
                      <a:pt x="223" y="226"/>
                    </a:cubicBezTo>
                    <a:cubicBezTo>
                      <a:pt x="223" y="226"/>
                      <a:pt x="223" y="226"/>
                      <a:pt x="223" y="225"/>
                    </a:cubicBezTo>
                    <a:cubicBezTo>
                      <a:pt x="224" y="225"/>
                      <a:pt x="224" y="225"/>
                      <a:pt x="224" y="225"/>
                    </a:cubicBezTo>
                    <a:cubicBezTo>
                      <a:pt x="224" y="225"/>
                      <a:pt x="224" y="224"/>
                      <a:pt x="224" y="224"/>
                    </a:cubicBezTo>
                    <a:cubicBezTo>
                      <a:pt x="224" y="224"/>
                      <a:pt x="224" y="224"/>
                      <a:pt x="225" y="224"/>
                    </a:cubicBezTo>
                    <a:cubicBezTo>
                      <a:pt x="224" y="224"/>
                      <a:pt x="224" y="224"/>
                      <a:pt x="224" y="224"/>
                    </a:cubicBezTo>
                    <a:cubicBezTo>
                      <a:pt x="224" y="224"/>
                      <a:pt x="224"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2" y="224"/>
                      <a:pt x="222" y="224"/>
                    </a:cubicBezTo>
                    <a:cubicBezTo>
                      <a:pt x="222" y="224"/>
                      <a:pt x="222" y="224"/>
                      <a:pt x="222" y="224"/>
                    </a:cubicBezTo>
                    <a:cubicBezTo>
                      <a:pt x="222" y="224"/>
                      <a:pt x="222" y="224"/>
                      <a:pt x="222" y="224"/>
                    </a:cubicBezTo>
                    <a:cubicBezTo>
                      <a:pt x="222" y="224"/>
                      <a:pt x="222" y="224"/>
                      <a:pt x="221" y="224"/>
                    </a:cubicBezTo>
                    <a:cubicBezTo>
                      <a:pt x="221" y="224"/>
                      <a:pt x="221" y="224"/>
                      <a:pt x="221" y="224"/>
                    </a:cubicBezTo>
                    <a:cubicBezTo>
                      <a:pt x="221" y="224"/>
                      <a:pt x="221" y="224"/>
                      <a:pt x="221" y="225"/>
                    </a:cubicBezTo>
                    <a:cubicBezTo>
                      <a:pt x="221" y="225"/>
                      <a:pt x="221" y="225"/>
                      <a:pt x="222" y="225"/>
                    </a:cubicBezTo>
                    <a:cubicBezTo>
                      <a:pt x="222" y="225"/>
                      <a:pt x="222" y="225"/>
                      <a:pt x="222" y="225"/>
                    </a:cubicBezTo>
                    <a:cubicBezTo>
                      <a:pt x="222" y="225"/>
                      <a:pt x="222" y="225"/>
                      <a:pt x="222" y="225"/>
                    </a:cubicBezTo>
                    <a:cubicBezTo>
                      <a:pt x="222" y="224"/>
                      <a:pt x="222" y="224"/>
                      <a:pt x="223" y="224"/>
                    </a:cubicBezTo>
                    <a:cubicBezTo>
                      <a:pt x="223" y="224"/>
                      <a:pt x="223" y="224"/>
                      <a:pt x="223" y="224"/>
                    </a:cubicBezTo>
                    <a:cubicBezTo>
                      <a:pt x="224" y="224"/>
                      <a:pt x="224" y="224"/>
                      <a:pt x="224" y="224"/>
                    </a:cubicBezTo>
                    <a:cubicBezTo>
                      <a:pt x="224" y="225"/>
                      <a:pt x="224" y="225"/>
                      <a:pt x="223" y="225"/>
                    </a:cubicBezTo>
                    <a:cubicBezTo>
                      <a:pt x="223" y="225"/>
                      <a:pt x="223" y="226"/>
                      <a:pt x="223" y="226"/>
                    </a:cubicBezTo>
                    <a:cubicBezTo>
                      <a:pt x="223" y="226"/>
                      <a:pt x="223" y="226"/>
                      <a:pt x="223" y="226"/>
                    </a:cubicBezTo>
                    <a:cubicBezTo>
                      <a:pt x="223" y="226"/>
                      <a:pt x="223" y="226"/>
                      <a:pt x="223" y="226"/>
                    </a:cubicBezTo>
                    <a:cubicBezTo>
                      <a:pt x="223" y="226"/>
                      <a:pt x="223" y="226"/>
                      <a:pt x="223" y="226"/>
                    </a:cubicBezTo>
                    <a:cubicBezTo>
                      <a:pt x="223" y="226"/>
                      <a:pt x="223" y="226"/>
                      <a:pt x="223" y="226"/>
                    </a:cubicBezTo>
                    <a:cubicBezTo>
                      <a:pt x="223" y="226"/>
                      <a:pt x="223" y="227"/>
                      <a:pt x="223" y="227"/>
                    </a:cubicBezTo>
                    <a:cubicBezTo>
                      <a:pt x="223" y="227"/>
                      <a:pt x="223" y="227"/>
                      <a:pt x="223" y="227"/>
                    </a:cubicBezTo>
                    <a:cubicBezTo>
                      <a:pt x="223" y="227"/>
                      <a:pt x="223" y="227"/>
                      <a:pt x="223" y="227"/>
                    </a:cubicBezTo>
                    <a:cubicBezTo>
                      <a:pt x="223" y="227"/>
                      <a:pt x="223" y="227"/>
                      <a:pt x="223" y="227"/>
                    </a:cubicBezTo>
                    <a:cubicBezTo>
                      <a:pt x="223" y="227"/>
                      <a:pt x="223"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6"/>
                      <a:pt x="222" y="226"/>
                    </a:cubicBezTo>
                    <a:cubicBezTo>
                      <a:pt x="222" y="226"/>
                      <a:pt x="222" y="226"/>
                      <a:pt x="222" y="226"/>
                    </a:cubicBezTo>
                    <a:cubicBezTo>
                      <a:pt x="222" y="226"/>
                      <a:pt x="222" y="226"/>
                      <a:pt x="222" y="226"/>
                    </a:cubicBezTo>
                    <a:cubicBezTo>
                      <a:pt x="222" y="226"/>
                      <a:pt x="222" y="226"/>
                      <a:pt x="222" y="226"/>
                    </a:cubicBezTo>
                    <a:cubicBezTo>
                      <a:pt x="222" y="226"/>
                      <a:pt x="221" y="226"/>
                      <a:pt x="221" y="226"/>
                    </a:cubicBezTo>
                    <a:cubicBezTo>
                      <a:pt x="221" y="226"/>
                      <a:pt x="221" y="226"/>
                      <a:pt x="221" y="225"/>
                    </a:cubicBezTo>
                    <a:cubicBezTo>
                      <a:pt x="221" y="225"/>
                      <a:pt x="221" y="225"/>
                      <a:pt x="221" y="224"/>
                    </a:cubicBezTo>
                    <a:cubicBezTo>
                      <a:pt x="221" y="224"/>
                      <a:pt x="221" y="224"/>
                      <a:pt x="221" y="223"/>
                    </a:cubicBezTo>
                    <a:cubicBezTo>
                      <a:pt x="221" y="223"/>
                      <a:pt x="220" y="223"/>
                      <a:pt x="220" y="222"/>
                    </a:cubicBezTo>
                    <a:cubicBezTo>
                      <a:pt x="220" y="222"/>
                      <a:pt x="220" y="222"/>
                      <a:pt x="220" y="222"/>
                    </a:cubicBezTo>
                    <a:cubicBezTo>
                      <a:pt x="220" y="222"/>
                      <a:pt x="220" y="222"/>
                      <a:pt x="220" y="222"/>
                    </a:cubicBezTo>
                    <a:cubicBezTo>
                      <a:pt x="220"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1"/>
                      <a:pt x="219" y="221"/>
                    </a:cubicBezTo>
                    <a:cubicBezTo>
                      <a:pt x="219" y="221"/>
                      <a:pt x="219" y="221"/>
                      <a:pt x="219" y="221"/>
                    </a:cubicBezTo>
                    <a:cubicBezTo>
                      <a:pt x="219" y="221"/>
                      <a:pt x="219" y="221"/>
                      <a:pt x="219" y="221"/>
                    </a:cubicBezTo>
                    <a:cubicBezTo>
                      <a:pt x="219" y="221"/>
                      <a:pt x="219" y="221"/>
                      <a:pt x="220" y="221"/>
                    </a:cubicBezTo>
                    <a:cubicBezTo>
                      <a:pt x="220" y="221"/>
                      <a:pt x="220" y="221"/>
                      <a:pt x="220" y="221"/>
                    </a:cubicBezTo>
                    <a:cubicBezTo>
                      <a:pt x="219" y="220"/>
                      <a:pt x="219" y="220"/>
                      <a:pt x="220" y="220"/>
                    </a:cubicBezTo>
                    <a:cubicBezTo>
                      <a:pt x="220" y="220"/>
                      <a:pt x="220" y="220"/>
                      <a:pt x="220" y="220"/>
                    </a:cubicBezTo>
                    <a:cubicBezTo>
                      <a:pt x="220" y="220"/>
                      <a:pt x="220" y="220"/>
                      <a:pt x="220" y="220"/>
                    </a:cubicBezTo>
                    <a:cubicBezTo>
                      <a:pt x="220" y="219"/>
                      <a:pt x="220" y="219"/>
                      <a:pt x="220" y="219"/>
                    </a:cubicBezTo>
                    <a:cubicBezTo>
                      <a:pt x="220" y="219"/>
                      <a:pt x="221" y="219"/>
                      <a:pt x="221" y="219"/>
                    </a:cubicBezTo>
                    <a:cubicBezTo>
                      <a:pt x="221" y="219"/>
                      <a:pt x="221" y="219"/>
                      <a:pt x="221" y="219"/>
                    </a:cubicBezTo>
                    <a:cubicBezTo>
                      <a:pt x="221" y="219"/>
                      <a:pt x="221" y="219"/>
                      <a:pt x="221" y="219"/>
                    </a:cubicBezTo>
                    <a:cubicBezTo>
                      <a:pt x="221" y="219"/>
                      <a:pt x="221" y="218"/>
                      <a:pt x="221" y="219"/>
                    </a:cubicBezTo>
                    <a:cubicBezTo>
                      <a:pt x="221" y="219"/>
                      <a:pt x="221" y="219"/>
                      <a:pt x="221" y="218"/>
                    </a:cubicBezTo>
                    <a:cubicBezTo>
                      <a:pt x="221" y="218"/>
                      <a:pt x="222" y="218"/>
                      <a:pt x="222" y="218"/>
                    </a:cubicBezTo>
                    <a:cubicBezTo>
                      <a:pt x="222" y="218"/>
                      <a:pt x="222" y="218"/>
                      <a:pt x="222" y="218"/>
                    </a:cubicBezTo>
                    <a:cubicBezTo>
                      <a:pt x="222" y="218"/>
                      <a:pt x="222" y="218"/>
                      <a:pt x="222" y="218"/>
                    </a:cubicBezTo>
                    <a:cubicBezTo>
                      <a:pt x="222" y="218"/>
                      <a:pt x="223" y="217"/>
                      <a:pt x="223" y="218"/>
                    </a:cubicBezTo>
                    <a:cubicBezTo>
                      <a:pt x="223" y="217"/>
                      <a:pt x="223" y="218"/>
                      <a:pt x="223" y="218"/>
                    </a:cubicBezTo>
                    <a:cubicBezTo>
                      <a:pt x="224" y="218"/>
                      <a:pt x="224" y="218"/>
                      <a:pt x="224" y="218"/>
                    </a:cubicBezTo>
                    <a:cubicBezTo>
                      <a:pt x="224" y="217"/>
                      <a:pt x="224" y="218"/>
                      <a:pt x="224" y="218"/>
                    </a:cubicBezTo>
                    <a:cubicBezTo>
                      <a:pt x="224" y="218"/>
                      <a:pt x="224" y="218"/>
                      <a:pt x="224" y="218"/>
                    </a:cubicBezTo>
                    <a:cubicBezTo>
                      <a:pt x="224" y="218"/>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5" y="219"/>
                      <a:pt x="225" y="219"/>
                      <a:pt x="225" y="219"/>
                    </a:cubicBezTo>
                    <a:cubicBezTo>
                      <a:pt x="225" y="219"/>
                      <a:pt x="225" y="219"/>
                      <a:pt x="225" y="219"/>
                    </a:cubicBezTo>
                    <a:cubicBezTo>
                      <a:pt x="225" y="219"/>
                      <a:pt x="225" y="219"/>
                      <a:pt x="225" y="220"/>
                    </a:cubicBezTo>
                    <a:cubicBezTo>
                      <a:pt x="225" y="220"/>
                      <a:pt x="225" y="220"/>
                      <a:pt x="225" y="220"/>
                    </a:cubicBezTo>
                    <a:cubicBezTo>
                      <a:pt x="225" y="220"/>
                      <a:pt x="225" y="220"/>
                      <a:pt x="225" y="220"/>
                    </a:cubicBezTo>
                    <a:cubicBezTo>
                      <a:pt x="225" y="220"/>
                      <a:pt x="225" y="221"/>
                      <a:pt x="225" y="221"/>
                    </a:cubicBezTo>
                    <a:cubicBezTo>
                      <a:pt x="225" y="221"/>
                      <a:pt x="225" y="221"/>
                      <a:pt x="226" y="221"/>
                    </a:cubicBezTo>
                    <a:cubicBezTo>
                      <a:pt x="226" y="221"/>
                      <a:pt x="226" y="222"/>
                      <a:pt x="226" y="222"/>
                    </a:cubicBezTo>
                    <a:cubicBezTo>
                      <a:pt x="226" y="222"/>
                      <a:pt x="226" y="222"/>
                      <a:pt x="226" y="222"/>
                    </a:cubicBezTo>
                    <a:cubicBezTo>
                      <a:pt x="226" y="222"/>
                      <a:pt x="226" y="222"/>
                      <a:pt x="227" y="222"/>
                    </a:cubicBezTo>
                    <a:cubicBezTo>
                      <a:pt x="227" y="222"/>
                      <a:pt x="226" y="222"/>
                      <a:pt x="226" y="222"/>
                    </a:cubicBezTo>
                    <a:cubicBezTo>
                      <a:pt x="226" y="222"/>
                      <a:pt x="226" y="222"/>
                      <a:pt x="226" y="222"/>
                    </a:cubicBezTo>
                    <a:cubicBezTo>
                      <a:pt x="226" y="222"/>
                      <a:pt x="226" y="221"/>
                      <a:pt x="226" y="221"/>
                    </a:cubicBezTo>
                    <a:cubicBezTo>
                      <a:pt x="226" y="221"/>
                      <a:pt x="226" y="221"/>
                      <a:pt x="226" y="221"/>
                    </a:cubicBezTo>
                    <a:cubicBezTo>
                      <a:pt x="226" y="221"/>
                      <a:pt x="226" y="220"/>
                      <a:pt x="226" y="220"/>
                    </a:cubicBezTo>
                    <a:cubicBezTo>
                      <a:pt x="226" y="220"/>
                      <a:pt x="225" y="220"/>
                      <a:pt x="226" y="219"/>
                    </a:cubicBezTo>
                    <a:cubicBezTo>
                      <a:pt x="226" y="219"/>
                      <a:pt x="225" y="219"/>
                      <a:pt x="225" y="219"/>
                    </a:cubicBezTo>
                    <a:cubicBezTo>
                      <a:pt x="225" y="219"/>
                      <a:pt x="225" y="219"/>
                      <a:pt x="225" y="219"/>
                    </a:cubicBezTo>
                    <a:cubicBezTo>
                      <a:pt x="225" y="219"/>
                      <a:pt x="225" y="219"/>
                      <a:pt x="225" y="219"/>
                    </a:cubicBezTo>
                    <a:cubicBezTo>
                      <a:pt x="225" y="218"/>
                      <a:pt x="225" y="219"/>
                      <a:pt x="225"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8"/>
                      <a:pt x="225" y="218"/>
                      <a:pt x="225" y="218"/>
                    </a:cubicBezTo>
                    <a:cubicBezTo>
                      <a:pt x="225" y="218"/>
                      <a:pt x="225" y="218"/>
                      <a:pt x="225" y="218"/>
                    </a:cubicBezTo>
                    <a:cubicBezTo>
                      <a:pt x="226" y="218"/>
                      <a:pt x="226"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7"/>
                      <a:pt x="226" y="217"/>
                    </a:cubicBezTo>
                    <a:cubicBezTo>
                      <a:pt x="226" y="217"/>
                      <a:pt x="226" y="217"/>
                      <a:pt x="226" y="217"/>
                    </a:cubicBezTo>
                    <a:cubicBezTo>
                      <a:pt x="226" y="217"/>
                      <a:pt x="226" y="217"/>
                      <a:pt x="226" y="217"/>
                    </a:cubicBezTo>
                    <a:cubicBezTo>
                      <a:pt x="225" y="217"/>
                      <a:pt x="225" y="217"/>
                      <a:pt x="225" y="217"/>
                    </a:cubicBezTo>
                    <a:cubicBezTo>
                      <a:pt x="225" y="217"/>
                      <a:pt x="225" y="217"/>
                      <a:pt x="225" y="216"/>
                    </a:cubicBezTo>
                    <a:cubicBezTo>
                      <a:pt x="225" y="216"/>
                      <a:pt x="225" y="216"/>
                      <a:pt x="225" y="216"/>
                    </a:cubicBezTo>
                    <a:cubicBezTo>
                      <a:pt x="225" y="216"/>
                      <a:pt x="225" y="215"/>
                      <a:pt x="225" y="215"/>
                    </a:cubicBezTo>
                    <a:cubicBezTo>
                      <a:pt x="225" y="215"/>
                      <a:pt x="225" y="215"/>
                      <a:pt x="225" y="215"/>
                    </a:cubicBezTo>
                    <a:cubicBezTo>
                      <a:pt x="225" y="215"/>
                      <a:pt x="225" y="215"/>
                      <a:pt x="225" y="215"/>
                    </a:cubicBezTo>
                    <a:cubicBezTo>
                      <a:pt x="226" y="215"/>
                      <a:pt x="226" y="215"/>
                      <a:pt x="226" y="215"/>
                    </a:cubicBezTo>
                    <a:cubicBezTo>
                      <a:pt x="226" y="215"/>
                      <a:pt x="226" y="215"/>
                      <a:pt x="226" y="215"/>
                    </a:cubicBezTo>
                    <a:cubicBezTo>
                      <a:pt x="226" y="215"/>
                      <a:pt x="227" y="215"/>
                      <a:pt x="227" y="215"/>
                    </a:cubicBezTo>
                    <a:cubicBezTo>
                      <a:pt x="227" y="215"/>
                      <a:pt x="227" y="215"/>
                      <a:pt x="227" y="215"/>
                    </a:cubicBezTo>
                    <a:cubicBezTo>
                      <a:pt x="227" y="215"/>
                      <a:pt x="227" y="215"/>
                      <a:pt x="227" y="215"/>
                    </a:cubicBezTo>
                    <a:cubicBezTo>
                      <a:pt x="227" y="215"/>
                      <a:pt x="227" y="215"/>
                      <a:pt x="227" y="215"/>
                    </a:cubicBezTo>
                    <a:cubicBezTo>
                      <a:pt x="227" y="215"/>
                      <a:pt x="227" y="215"/>
                      <a:pt x="227" y="215"/>
                    </a:cubicBezTo>
                    <a:cubicBezTo>
                      <a:pt x="227" y="216"/>
                      <a:pt x="227" y="216"/>
                      <a:pt x="227" y="216"/>
                    </a:cubicBezTo>
                    <a:cubicBezTo>
                      <a:pt x="227" y="216"/>
                      <a:pt x="227" y="216"/>
                      <a:pt x="227" y="217"/>
                    </a:cubicBezTo>
                    <a:cubicBezTo>
                      <a:pt x="227" y="217"/>
                      <a:pt x="227" y="217"/>
                      <a:pt x="227" y="217"/>
                    </a:cubicBezTo>
                    <a:cubicBezTo>
                      <a:pt x="227" y="217"/>
                      <a:pt x="227" y="218"/>
                      <a:pt x="228" y="218"/>
                    </a:cubicBezTo>
                    <a:cubicBezTo>
                      <a:pt x="228" y="217"/>
                      <a:pt x="228" y="217"/>
                      <a:pt x="228" y="217"/>
                    </a:cubicBezTo>
                    <a:cubicBezTo>
                      <a:pt x="227" y="217"/>
                      <a:pt x="228" y="217"/>
                      <a:pt x="228" y="217"/>
                    </a:cubicBezTo>
                    <a:cubicBezTo>
                      <a:pt x="228" y="217"/>
                      <a:pt x="228" y="217"/>
                      <a:pt x="228" y="217"/>
                    </a:cubicBezTo>
                    <a:cubicBezTo>
                      <a:pt x="228" y="217"/>
                      <a:pt x="228" y="217"/>
                      <a:pt x="228" y="217"/>
                    </a:cubicBezTo>
                    <a:cubicBezTo>
                      <a:pt x="227" y="216"/>
                      <a:pt x="228" y="216"/>
                      <a:pt x="228" y="216"/>
                    </a:cubicBezTo>
                    <a:cubicBezTo>
                      <a:pt x="228" y="216"/>
                      <a:pt x="228" y="216"/>
                      <a:pt x="228" y="216"/>
                    </a:cubicBezTo>
                    <a:cubicBezTo>
                      <a:pt x="228" y="216"/>
                      <a:pt x="228" y="216"/>
                      <a:pt x="228" y="216"/>
                    </a:cubicBezTo>
                    <a:cubicBezTo>
                      <a:pt x="228" y="216"/>
                      <a:pt x="228" y="217"/>
                      <a:pt x="228" y="217"/>
                    </a:cubicBezTo>
                    <a:cubicBezTo>
                      <a:pt x="228" y="217"/>
                      <a:pt x="228" y="217"/>
                      <a:pt x="229" y="217"/>
                    </a:cubicBezTo>
                    <a:cubicBezTo>
                      <a:pt x="229" y="217"/>
                      <a:pt x="229" y="217"/>
                      <a:pt x="229" y="217"/>
                    </a:cubicBezTo>
                    <a:cubicBezTo>
                      <a:pt x="229" y="217"/>
                      <a:pt x="229" y="217"/>
                      <a:pt x="229" y="217"/>
                    </a:cubicBezTo>
                    <a:cubicBezTo>
                      <a:pt x="229" y="217"/>
                      <a:pt x="229" y="217"/>
                      <a:pt x="229" y="217"/>
                    </a:cubicBezTo>
                    <a:cubicBezTo>
                      <a:pt x="229" y="217"/>
                      <a:pt x="229" y="217"/>
                      <a:pt x="229" y="217"/>
                    </a:cubicBezTo>
                    <a:cubicBezTo>
                      <a:pt x="229" y="217"/>
                      <a:pt x="229" y="216"/>
                      <a:pt x="229" y="216"/>
                    </a:cubicBezTo>
                    <a:cubicBezTo>
                      <a:pt x="229" y="216"/>
                      <a:pt x="229" y="216"/>
                      <a:pt x="229" y="216"/>
                    </a:cubicBezTo>
                    <a:cubicBezTo>
                      <a:pt x="228" y="216"/>
                      <a:pt x="228" y="216"/>
                      <a:pt x="228" y="216"/>
                    </a:cubicBezTo>
                    <a:cubicBezTo>
                      <a:pt x="228" y="216"/>
                      <a:pt x="228" y="216"/>
                      <a:pt x="228" y="216"/>
                    </a:cubicBezTo>
                    <a:cubicBezTo>
                      <a:pt x="228" y="216"/>
                      <a:pt x="228" y="216"/>
                      <a:pt x="228" y="215"/>
                    </a:cubicBezTo>
                    <a:cubicBezTo>
                      <a:pt x="228" y="215"/>
                      <a:pt x="228" y="215"/>
                      <a:pt x="228" y="215"/>
                    </a:cubicBezTo>
                    <a:cubicBezTo>
                      <a:pt x="228" y="215"/>
                      <a:pt x="228" y="216"/>
                      <a:pt x="229" y="216"/>
                    </a:cubicBezTo>
                    <a:cubicBezTo>
                      <a:pt x="229" y="216"/>
                      <a:pt x="229" y="216"/>
                      <a:pt x="229" y="216"/>
                    </a:cubicBezTo>
                    <a:cubicBezTo>
                      <a:pt x="229" y="216"/>
                      <a:pt x="229" y="216"/>
                      <a:pt x="229" y="216"/>
                    </a:cubicBezTo>
                    <a:cubicBezTo>
                      <a:pt x="230" y="216"/>
                      <a:pt x="230" y="216"/>
                      <a:pt x="230" y="216"/>
                    </a:cubicBezTo>
                    <a:cubicBezTo>
                      <a:pt x="230" y="216"/>
                      <a:pt x="230" y="216"/>
                      <a:pt x="229" y="216"/>
                    </a:cubicBezTo>
                    <a:cubicBezTo>
                      <a:pt x="229" y="216"/>
                      <a:pt x="229" y="216"/>
                      <a:pt x="229" y="217"/>
                    </a:cubicBezTo>
                    <a:cubicBezTo>
                      <a:pt x="229" y="217"/>
                      <a:pt x="230" y="217"/>
                      <a:pt x="230" y="217"/>
                    </a:cubicBezTo>
                    <a:cubicBezTo>
                      <a:pt x="230" y="217"/>
                      <a:pt x="230" y="217"/>
                      <a:pt x="230" y="217"/>
                    </a:cubicBezTo>
                    <a:cubicBezTo>
                      <a:pt x="230" y="216"/>
                      <a:pt x="230" y="216"/>
                      <a:pt x="230" y="216"/>
                    </a:cubicBezTo>
                    <a:cubicBezTo>
                      <a:pt x="230" y="216"/>
                      <a:pt x="230" y="215"/>
                      <a:pt x="230" y="215"/>
                    </a:cubicBezTo>
                    <a:cubicBezTo>
                      <a:pt x="230" y="215"/>
                      <a:pt x="229" y="215"/>
                      <a:pt x="229" y="215"/>
                    </a:cubicBezTo>
                    <a:cubicBezTo>
                      <a:pt x="229" y="215"/>
                      <a:pt x="229" y="215"/>
                      <a:pt x="229"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4"/>
                      <a:pt x="230" y="214"/>
                      <a:pt x="230" y="214"/>
                    </a:cubicBezTo>
                    <a:cubicBezTo>
                      <a:pt x="229" y="214"/>
                      <a:pt x="229" y="214"/>
                      <a:pt x="229" y="214"/>
                    </a:cubicBezTo>
                    <a:cubicBezTo>
                      <a:pt x="229" y="213"/>
                      <a:pt x="229" y="213"/>
                      <a:pt x="229" y="213"/>
                    </a:cubicBezTo>
                    <a:cubicBezTo>
                      <a:pt x="229" y="213"/>
                      <a:pt x="229" y="213"/>
                      <a:pt x="229" y="213"/>
                    </a:cubicBezTo>
                    <a:cubicBezTo>
                      <a:pt x="229" y="213"/>
                      <a:pt x="229" y="213"/>
                      <a:pt x="230" y="214"/>
                    </a:cubicBezTo>
                    <a:cubicBezTo>
                      <a:pt x="230" y="214"/>
                      <a:pt x="230" y="214"/>
                      <a:pt x="230" y="214"/>
                    </a:cubicBezTo>
                    <a:cubicBezTo>
                      <a:pt x="230" y="214"/>
                      <a:pt x="230" y="214"/>
                      <a:pt x="231" y="214"/>
                    </a:cubicBezTo>
                    <a:cubicBezTo>
                      <a:pt x="231" y="214"/>
                      <a:pt x="231" y="214"/>
                      <a:pt x="231" y="214"/>
                    </a:cubicBezTo>
                    <a:cubicBezTo>
                      <a:pt x="231" y="214"/>
                      <a:pt x="231" y="214"/>
                      <a:pt x="231" y="214"/>
                    </a:cubicBezTo>
                    <a:cubicBezTo>
                      <a:pt x="231" y="214"/>
                      <a:pt x="231" y="214"/>
                      <a:pt x="231" y="214"/>
                    </a:cubicBezTo>
                    <a:cubicBezTo>
                      <a:pt x="231" y="214"/>
                      <a:pt x="232" y="214"/>
                      <a:pt x="232" y="214"/>
                    </a:cubicBezTo>
                    <a:cubicBezTo>
                      <a:pt x="232" y="214"/>
                      <a:pt x="232" y="214"/>
                      <a:pt x="232" y="214"/>
                    </a:cubicBezTo>
                    <a:cubicBezTo>
                      <a:pt x="232" y="214"/>
                      <a:pt x="232" y="214"/>
                      <a:pt x="232" y="215"/>
                    </a:cubicBezTo>
                    <a:cubicBezTo>
                      <a:pt x="232" y="215"/>
                      <a:pt x="232" y="215"/>
                      <a:pt x="232" y="215"/>
                    </a:cubicBezTo>
                    <a:cubicBezTo>
                      <a:pt x="232" y="215"/>
                      <a:pt x="232" y="215"/>
                      <a:pt x="232" y="215"/>
                    </a:cubicBezTo>
                    <a:cubicBezTo>
                      <a:pt x="232" y="215"/>
                      <a:pt x="232" y="215"/>
                      <a:pt x="232" y="215"/>
                    </a:cubicBezTo>
                    <a:cubicBezTo>
                      <a:pt x="232" y="215"/>
                      <a:pt x="232" y="215"/>
                      <a:pt x="232" y="215"/>
                    </a:cubicBezTo>
                    <a:cubicBezTo>
                      <a:pt x="232" y="216"/>
                      <a:pt x="232" y="216"/>
                      <a:pt x="232" y="216"/>
                    </a:cubicBezTo>
                    <a:cubicBezTo>
                      <a:pt x="232" y="216"/>
                      <a:pt x="232" y="216"/>
                      <a:pt x="232" y="217"/>
                    </a:cubicBezTo>
                    <a:cubicBezTo>
                      <a:pt x="232" y="217"/>
                      <a:pt x="232" y="217"/>
                      <a:pt x="232" y="217"/>
                    </a:cubicBezTo>
                    <a:cubicBezTo>
                      <a:pt x="232" y="217"/>
                      <a:pt x="232" y="217"/>
                      <a:pt x="232" y="217"/>
                    </a:cubicBezTo>
                    <a:cubicBezTo>
                      <a:pt x="232" y="216"/>
                      <a:pt x="232" y="216"/>
                      <a:pt x="232" y="216"/>
                    </a:cubicBezTo>
                    <a:cubicBezTo>
                      <a:pt x="232" y="215"/>
                      <a:pt x="232" y="215"/>
                      <a:pt x="232" y="215"/>
                    </a:cubicBezTo>
                    <a:cubicBezTo>
                      <a:pt x="232" y="215"/>
                      <a:pt x="232" y="215"/>
                      <a:pt x="232" y="215"/>
                    </a:cubicBezTo>
                    <a:cubicBezTo>
                      <a:pt x="232"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4"/>
                    </a:cubicBezTo>
                    <a:cubicBezTo>
                      <a:pt x="233" y="214"/>
                      <a:pt x="234" y="214"/>
                      <a:pt x="234" y="214"/>
                    </a:cubicBezTo>
                    <a:cubicBezTo>
                      <a:pt x="234" y="214"/>
                      <a:pt x="234" y="214"/>
                      <a:pt x="234" y="214"/>
                    </a:cubicBezTo>
                    <a:cubicBezTo>
                      <a:pt x="234" y="214"/>
                      <a:pt x="234" y="214"/>
                      <a:pt x="234" y="214"/>
                    </a:cubicBezTo>
                    <a:cubicBezTo>
                      <a:pt x="234" y="214"/>
                      <a:pt x="234" y="214"/>
                      <a:pt x="234" y="214"/>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6"/>
                      <a:pt x="235" y="215"/>
                      <a:pt x="235" y="215"/>
                    </a:cubicBezTo>
                    <a:cubicBezTo>
                      <a:pt x="235" y="215"/>
                      <a:pt x="235" y="215"/>
                      <a:pt x="235" y="215"/>
                    </a:cubicBezTo>
                    <a:cubicBezTo>
                      <a:pt x="235" y="215"/>
                      <a:pt x="235" y="216"/>
                      <a:pt x="235" y="216"/>
                    </a:cubicBezTo>
                    <a:cubicBezTo>
                      <a:pt x="235" y="216"/>
                      <a:pt x="235" y="216"/>
                      <a:pt x="235" y="216"/>
                    </a:cubicBezTo>
                    <a:cubicBezTo>
                      <a:pt x="235" y="216"/>
                      <a:pt x="235" y="216"/>
                      <a:pt x="235" y="216"/>
                    </a:cubicBezTo>
                    <a:cubicBezTo>
                      <a:pt x="235" y="216"/>
                      <a:pt x="234" y="216"/>
                      <a:pt x="234" y="216"/>
                    </a:cubicBezTo>
                    <a:cubicBezTo>
                      <a:pt x="234" y="216"/>
                      <a:pt x="234" y="216"/>
                      <a:pt x="234" y="216"/>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5" y="217"/>
                      <a:pt x="234" y="217"/>
                      <a:pt x="234" y="217"/>
                    </a:cubicBezTo>
                    <a:cubicBezTo>
                      <a:pt x="234" y="217"/>
                      <a:pt x="234" y="217"/>
                      <a:pt x="234" y="217"/>
                    </a:cubicBezTo>
                    <a:cubicBezTo>
                      <a:pt x="234" y="217"/>
                      <a:pt x="234" y="218"/>
                      <a:pt x="234" y="218"/>
                    </a:cubicBezTo>
                    <a:cubicBezTo>
                      <a:pt x="235" y="218"/>
                      <a:pt x="235" y="217"/>
                      <a:pt x="235" y="217"/>
                    </a:cubicBezTo>
                    <a:cubicBezTo>
                      <a:pt x="235" y="217"/>
                      <a:pt x="235" y="217"/>
                      <a:pt x="235" y="217"/>
                    </a:cubicBezTo>
                    <a:cubicBezTo>
                      <a:pt x="235" y="218"/>
                      <a:pt x="235" y="218"/>
                      <a:pt x="235" y="218"/>
                    </a:cubicBezTo>
                    <a:cubicBezTo>
                      <a:pt x="235" y="218"/>
                      <a:pt x="235" y="218"/>
                      <a:pt x="235" y="218"/>
                    </a:cubicBezTo>
                    <a:cubicBezTo>
                      <a:pt x="235" y="218"/>
                      <a:pt x="235" y="218"/>
                      <a:pt x="234" y="218"/>
                    </a:cubicBezTo>
                    <a:cubicBezTo>
                      <a:pt x="235" y="218"/>
                      <a:pt x="235" y="218"/>
                      <a:pt x="235" y="218"/>
                    </a:cubicBezTo>
                    <a:cubicBezTo>
                      <a:pt x="235" y="218"/>
                      <a:pt x="235" y="218"/>
                      <a:pt x="236" y="218"/>
                    </a:cubicBezTo>
                    <a:cubicBezTo>
                      <a:pt x="236" y="218"/>
                      <a:pt x="236" y="218"/>
                      <a:pt x="236" y="218"/>
                    </a:cubicBezTo>
                    <a:cubicBezTo>
                      <a:pt x="236" y="218"/>
                      <a:pt x="236" y="218"/>
                      <a:pt x="236" y="218"/>
                    </a:cubicBezTo>
                    <a:cubicBezTo>
                      <a:pt x="236" y="218"/>
                      <a:pt x="236" y="218"/>
                      <a:pt x="236" y="218"/>
                    </a:cubicBezTo>
                    <a:cubicBezTo>
                      <a:pt x="236" y="218"/>
                      <a:pt x="237" y="218"/>
                      <a:pt x="237" y="218"/>
                    </a:cubicBezTo>
                    <a:close/>
                    <a:moveTo>
                      <a:pt x="226" y="217"/>
                    </a:moveTo>
                    <a:cubicBezTo>
                      <a:pt x="226" y="217"/>
                      <a:pt x="226" y="217"/>
                      <a:pt x="226" y="217"/>
                    </a:cubicBezTo>
                    <a:cubicBezTo>
                      <a:pt x="226" y="217"/>
                      <a:pt x="226" y="217"/>
                      <a:pt x="226" y="217"/>
                    </a:cubicBezTo>
                    <a:close/>
                    <a:moveTo>
                      <a:pt x="232" y="218"/>
                    </a:moveTo>
                    <a:cubicBezTo>
                      <a:pt x="232" y="218"/>
                      <a:pt x="232" y="218"/>
                      <a:pt x="232" y="218"/>
                    </a:cubicBezTo>
                    <a:close/>
                    <a:moveTo>
                      <a:pt x="234" y="217"/>
                    </a:moveTo>
                    <a:cubicBezTo>
                      <a:pt x="234" y="217"/>
                      <a:pt x="234" y="217"/>
                      <a:pt x="234" y="217"/>
                    </a:cubicBezTo>
                    <a:cubicBezTo>
                      <a:pt x="234" y="217"/>
                      <a:pt x="234" y="217"/>
                      <a:pt x="234" y="217"/>
                    </a:cubicBezTo>
                    <a:cubicBezTo>
                      <a:pt x="234" y="217"/>
                      <a:pt x="234" y="217"/>
                      <a:pt x="234" y="217"/>
                    </a:cubicBezTo>
                    <a:close/>
                    <a:moveTo>
                      <a:pt x="214" y="239"/>
                    </a:moveTo>
                    <a:cubicBezTo>
                      <a:pt x="214" y="239"/>
                      <a:pt x="214" y="239"/>
                      <a:pt x="214" y="239"/>
                    </a:cubicBezTo>
                    <a:cubicBezTo>
                      <a:pt x="214" y="239"/>
                      <a:pt x="213" y="239"/>
                      <a:pt x="213" y="239"/>
                    </a:cubicBezTo>
                    <a:cubicBezTo>
                      <a:pt x="213" y="239"/>
                      <a:pt x="213" y="240"/>
                      <a:pt x="213" y="240"/>
                    </a:cubicBezTo>
                    <a:cubicBezTo>
                      <a:pt x="213" y="240"/>
                      <a:pt x="213" y="240"/>
                      <a:pt x="213" y="240"/>
                    </a:cubicBezTo>
                    <a:cubicBezTo>
                      <a:pt x="213" y="240"/>
                      <a:pt x="213" y="240"/>
                      <a:pt x="213" y="240"/>
                    </a:cubicBezTo>
                    <a:cubicBezTo>
                      <a:pt x="213" y="240"/>
                      <a:pt x="213" y="240"/>
                      <a:pt x="213" y="240"/>
                    </a:cubicBezTo>
                    <a:cubicBezTo>
                      <a:pt x="213" y="240"/>
                      <a:pt x="213" y="240"/>
                      <a:pt x="213" y="241"/>
                    </a:cubicBezTo>
                    <a:cubicBezTo>
                      <a:pt x="213" y="241"/>
                      <a:pt x="214" y="241"/>
                      <a:pt x="214" y="241"/>
                    </a:cubicBezTo>
                    <a:cubicBezTo>
                      <a:pt x="214" y="240"/>
                      <a:pt x="214" y="240"/>
                      <a:pt x="214" y="240"/>
                    </a:cubicBezTo>
                    <a:cubicBezTo>
                      <a:pt x="214" y="240"/>
                      <a:pt x="214" y="239"/>
                      <a:pt x="214" y="239"/>
                    </a:cubicBezTo>
                    <a:close/>
                    <a:moveTo>
                      <a:pt x="238" y="210"/>
                    </a:moveTo>
                    <a:cubicBezTo>
                      <a:pt x="238" y="210"/>
                      <a:pt x="238" y="210"/>
                      <a:pt x="238" y="210"/>
                    </a:cubicBezTo>
                    <a:cubicBezTo>
                      <a:pt x="238" y="211"/>
                      <a:pt x="238" y="211"/>
                      <a:pt x="238" y="211"/>
                    </a:cubicBezTo>
                    <a:cubicBezTo>
                      <a:pt x="237" y="211"/>
                      <a:pt x="237" y="211"/>
                      <a:pt x="237" y="211"/>
                    </a:cubicBezTo>
                    <a:cubicBezTo>
                      <a:pt x="237" y="211"/>
                      <a:pt x="237" y="211"/>
                      <a:pt x="237" y="211"/>
                    </a:cubicBezTo>
                    <a:cubicBezTo>
                      <a:pt x="237" y="211"/>
                      <a:pt x="237" y="211"/>
                      <a:pt x="237" y="211"/>
                    </a:cubicBezTo>
                    <a:cubicBezTo>
                      <a:pt x="237" y="211"/>
                      <a:pt x="237" y="211"/>
                      <a:pt x="237" y="211"/>
                    </a:cubicBezTo>
                    <a:cubicBezTo>
                      <a:pt x="236" y="211"/>
                      <a:pt x="236" y="211"/>
                      <a:pt x="236" y="211"/>
                    </a:cubicBezTo>
                    <a:cubicBezTo>
                      <a:pt x="236" y="210"/>
                      <a:pt x="236" y="210"/>
                      <a:pt x="236" y="210"/>
                    </a:cubicBezTo>
                    <a:cubicBezTo>
                      <a:pt x="236" y="210"/>
                      <a:pt x="236" y="210"/>
                      <a:pt x="236" y="210"/>
                    </a:cubicBezTo>
                    <a:cubicBezTo>
                      <a:pt x="236" y="210"/>
                      <a:pt x="236" y="210"/>
                      <a:pt x="236" y="210"/>
                    </a:cubicBezTo>
                    <a:cubicBezTo>
                      <a:pt x="236" y="210"/>
                      <a:pt x="236" y="210"/>
                      <a:pt x="236" y="210"/>
                    </a:cubicBezTo>
                    <a:cubicBezTo>
                      <a:pt x="235" y="210"/>
                      <a:pt x="235" y="211"/>
                      <a:pt x="236" y="211"/>
                    </a:cubicBezTo>
                    <a:cubicBezTo>
                      <a:pt x="236" y="211"/>
                      <a:pt x="236" y="211"/>
                      <a:pt x="236" y="211"/>
                    </a:cubicBezTo>
                    <a:cubicBezTo>
                      <a:pt x="236" y="211"/>
                      <a:pt x="236" y="211"/>
                      <a:pt x="236" y="211"/>
                    </a:cubicBezTo>
                    <a:cubicBezTo>
                      <a:pt x="235" y="211"/>
                      <a:pt x="235" y="211"/>
                      <a:pt x="235" y="211"/>
                    </a:cubicBezTo>
                    <a:cubicBezTo>
                      <a:pt x="235" y="211"/>
                      <a:pt x="235" y="211"/>
                      <a:pt x="236" y="211"/>
                    </a:cubicBezTo>
                    <a:cubicBezTo>
                      <a:pt x="236" y="211"/>
                      <a:pt x="236" y="212"/>
                      <a:pt x="236" y="212"/>
                    </a:cubicBezTo>
                    <a:cubicBezTo>
                      <a:pt x="236" y="212"/>
                      <a:pt x="235" y="212"/>
                      <a:pt x="235" y="212"/>
                    </a:cubicBezTo>
                    <a:cubicBezTo>
                      <a:pt x="235" y="212"/>
                      <a:pt x="235" y="212"/>
                      <a:pt x="235" y="212"/>
                    </a:cubicBezTo>
                    <a:cubicBezTo>
                      <a:pt x="235" y="212"/>
                      <a:pt x="235" y="212"/>
                      <a:pt x="235" y="212"/>
                    </a:cubicBezTo>
                    <a:cubicBezTo>
                      <a:pt x="235" y="211"/>
                      <a:pt x="235" y="211"/>
                      <a:pt x="235" y="212"/>
                    </a:cubicBezTo>
                    <a:cubicBezTo>
                      <a:pt x="235" y="212"/>
                      <a:pt x="235" y="212"/>
                      <a:pt x="235" y="212"/>
                    </a:cubicBezTo>
                    <a:cubicBezTo>
                      <a:pt x="234" y="212"/>
                      <a:pt x="234" y="212"/>
                      <a:pt x="234" y="212"/>
                    </a:cubicBezTo>
                    <a:cubicBezTo>
                      <a:pt x="234" y="212"/>
                      <a:pt x="234" y="212"/>
                      <a:pt x="234" y="212"/>
                    </a:cubicBezTo>
                    <a:cubicBezTo>
                      <a:pt x="234" y="212"/>
                      <a:pt x="234" y="212"/>
                      <a:pt x="234" y="212"/>
                    </a:cubicBezTo>
                    <a:cubicBezTo>
                      <a:pt x="234" y="211"/>
                      <a:pt x="234" y="211"/>
                      <a:pt x="234" y="211"/>
                    </a:cubicBezTo>
                    <a:cubicBezTo>
                      <a:pt x="234" y="211"/>
                      <a:pt x="234" y="211"/>
                      <a:pt x="234" y="211"/>
                    </a:cubicBezTo>
                    <a:cubicBezTo>
                      <a:pt x="234" y="211"/>
                      <a:pt x="234" y="211"/>
                      <a:pt x="234" y="211"/>
                    </a:cubicBezTo>
                    <a:cubicBezTo>
                      <a:pt x="234" y="211"/>
                      <a:pt x="234" y="211"/>
                      <a:pt x="234" y="212"/>
                    </a:cubicBezTo>
                    <a:cubicBezTo>
                      <a:pt x="234" y="212"/>
                      <a:pt x="233" y="212"/>
                      <a:pt x="233" y="212"/>
                    </a:cubicBezTo>
                    <a:cubicBezTo>
                      <a:pt x="233" y="212"/>
                      <a:pt x="233" y="212"/>
                      <a:pt x="233" y="212"/>
                    </a:cubicBezTo>
                    <a:cubicBezTo>
                      <a:pt x="233" y="212"/>
                      <a:pt x="233" y="212"/>
                      <a:pt x="233" y="212"/>
                    </a:cubicBezTo>
                    <a:cubicBezTo>
                      <a:pt x="233" y="213"/>
                      <a:pt x="233" y="213"/>
                      <a:pt x="233" y="212"/>
                    </a:cubicBezTo>
                    <a:cubicBezTo>
                      <a:pt x="233" y="212"/>
                      <a:pt x="233" y="212"/>
                      <a:pt x="233" y="212"/>
                    </a:cubicBezTo>
                    <a:cubicBezTo>
                      <a:pt x="232" y="212"/>
                      <a:pt x="232" y="212"/>
                      <a:pt x="232" y="212"/>
                    </a:cubicBezTo>
                    <a:cubicBezTo>
                      <a:pt x="232" y="212"/>
                      <a:pt x="232" y="213"/>
                      <a:pt x="233" y="213"/>
                    </a:cubicBezTo>
                    <a:cubicBezTo>
                      <a:pt x="233" y="213"/>
                      <a:pt x="233" y="213"/>
                      <a:pt x="232" y="213"/>
                    </a:cubicBezTo>
                    <a:cubicBezTo>
                      <a:pt x="232" y="213"/>
                      <a:pt x="232" y="213"/>
                      <a:pt x="232" y="213"/>
                    </a:cubicBezTo>
                    <a:cubicBezTo>
                      <a:pt x="232" y="213"/>
                      <a:pt x="231" y="213"/>
                      <a:pt x="231" y="213"/>
                    </a:cubicBezTo>
                    <a:cubicBezTo>
                      <a:pt x="231" y="212"/>
                      <a:pt x="231" y="212"/>
                      <a:pt x="231" y="212"/>
                    </a:cubicBezTo>
                    <a:cubicBezTo>
                      <a:pt x="231" y="212"/>
                      <a:pt x="231" y="212"/>
                      <a:pt x="231" y="212"/>
                    </a:cubicBezTo>
                    <a:cubicBezTo>
                      <a:pt x="230" y="212"/>
                      <a:pt x="230" y="212"/>
                      <a:pt x="230" y="212"/>
                    </a:cubicBezTo>
                    <a:cubicBezTo>
                      <a:pt x="230" y="212"/>
                      <a:pt x="230" y="212"/>
                      <a:pt x="230" y="212"/>
                    </a:cubicBezTo>
                    <a:cubicBezTo>
                      <a:pt x="230" y="212"/>
                      <a:pt x="230" y="212"/>
                      <a:pt x="230" y="212"/>
                    </a:cubicBezTo>
                    <a:cubicBezTo>
                      <a:pt x="230" y="211"/>
                      <a:pt x="230" y="211"/>
                      <a:pt x="230" y="211"/>
                    </a:cubicBezTo>
                    <a:cubicBezTo>
                      <a:pt x="229" y="211"/>
                      <a:pt x="230" y="211"/>
                      <a:pt x="230" y="211"/>
                    </a:cubicBezTo>
                    <a:cubicBezTo>
                      <a:pt x="230" y="211"/>
                      <a:pt x="230" y="211"/>
                      <a:pt x="230" y="210"/>
                    </a:cubicBezTo>
                    <a:cubicBezTo>
                      <a:pt x="230" y="210"/>
                      <a:pt x="230" y="210"/>
                      <a:pt x="230" y="211"/>
                    </a:cubicBezTo>
                    <a:cubicBezTo>
                      <a:pt x="230" y="211"/>
                      <a:pt x="230" y="211"/>
                      <a:pt x="230" y="211"/>
                    </a:cubicBezTo>
                    <a:cubicBezTo>
                      <a:pt x="230"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2" y="211"/>
                      <a:pt x="231" y="211"/>
                    </a:cubicBezTo>
                    <a:cubicBezTo>
                      <a:pt x="231" y="211"/>
                      <a:pt x="231" y="211"/>
                      <a:pt x="231" y="211"/>
                    </a:cubicBezTo>
                    <a:cubicBezTo>
                      <a:pt x="231" y="211"/>
                      <a:pt x="231" y="210"/>
                      <a:pt x="231" y="210"/>
                    </a:cubicBezTo>
                    <a:cubicBezTo>
                      <a:pt x="231" y="210"/>
                      <a:pt x="231" y="210"/>
                      <a:pt x="231" y="210"/>
                    </a:cubicBezTo>
                    <a:cubicBezTo>
                      <a:pt x="230" y="210"/>
                      <a:pt x="230" y="210"/>
                      <a:pt x="231" y="210"/>
                    </a:cubicBezTo>
                    <a:cubicBezTo>
                      <a:pt x="231" y="209"/>
                      <a:pt x="231" y="209"/>
                      <a:pt x="231" y="209"/>
                    </a:cubicBezTo>
                    <a:cubicBezTo>
                      <a:pt x="231" y="210"/>
                      <a:pt x="231" y="210"/>
                      <a:pt x="232" y="210"/>
                    </a:cubicBezTo>
                    <a:cubicBezTo>
                      <a:pt x="232" y="210"/>
                      <a:pt x="232" y="210"/>
                      <a:pt x="232" y="210"/>
                    </a:cubicBezTo>
                    <a:cubicBezTo>
                      <a:pt x="232" y="209"/>
                      <a:pt x="232" y="209"/>
                      <a:pt x="232" y="210"/>
                    </a:cubicBezTo>
                    <a:cubicBezTo>
                      <a:pt x="232" y="210"/>
                      <a:pt x="233" y="210"/>
                      <a:pt x="233" y="210"/>
                    </a:cubicBezTo>
                    <a:cubicBezTo>
                      <a:pt x="233" y="210"/>
                      <a:pt x="233" y="210"/>
                      <a:pt x="233" y="210"/>
                    </a:cubicBezTo>
                    <a:cubicBezTo>
                      <a:pt x="232" y="209"/>
                      <a:pt x="233" y="209"/>
                      <a:pt x="232" y="209"/>
                    </a:cubicBezTo>
                    <a:cubicBezTo>
                      <a:pt x="232" y="209"/>
                      <a:pt x="232" y="209"/>
                      <a:pt x="232" y="209"/>
                    </a:cubicBezTo>
                    <a:cubicBezTo>
                      <a:pt x="232" y="209"/>
                      <a:pt x="232" y="209"/>
                      <a:pt x="232" y="209"/>
                    </a:cubicBezTo>
                    <a:cubicBezTo>
                      <a:pt x="232" y="209"/>
                      <a:pt x="233" y="209"/>
                      <a:pt x="233" y="209"/>
                    </a:cubicBezTo>
                    <a:cubicBezTo>
                      <a:pt x="233" y="209"/>
                      <a:pt x="233" y="209"/>
                      <a:pt x="233" y="209"/>
                    </a:cubicBezTo>
                    <a:cubicBezTo>
                      <a:pt x="233"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3" y="208"/>
                      <a:pt x="233" y="207"/>
                      <a:pt x="233" y="207"/>
                    </a:cubicBezTo>
                    <a:cubicBezTo>
                      <a:pt x="233" y="208"/>
                      <a:pt x="233" y="208"/>
                      <a:pt x="233" y="208"/>
                    </a:cubicBezTo>
                    <a:cubicBezTo>
                      <a:pt x="233" y="208"/>
                      <a:pt x="233" y="208"/>
                      <a:pt x="233" y="207"/>
                    </a:cubicBezTo>
                    <a:cubicBezTo>
                      <a:pt x="233" y="207"/>
                      <a:pt x="233" y="207"/>
                      <a:pt x="233" y="207"/>
                    </a:cubicBezTo>
                    <a:cubicBezTo>
                      <a:pt x="233" y="207"/>
                      <a:pt x="233" y="207"/>
                      <a:pt x="233" y="207"/>
                    </a:cubicBezTo>
                    <a:cubicBezTo>
                      <a:pt x="233" y="207"/>
                      <a:pt x="234" y="207"/>
                      <a:pt x="234" y="207"/>
                    </a:cubicBezTo>
                    <a:cubicBezTo>
                      <a:pt x="234" y="207"/>
                      <a:pt x="234" y="207"/>
                      <a:pt x="234" y="207"/>
                    </a:cubicBezTo>
                    <a:cubicBezTo>
                      <a:pt x="234" y="207"/>
                      <a:pt x="234" y="207"/>
                      <a:pt x="234" y="207"/>
                    </a:cubicBezTo>
                    <a:cubicBezTo>
                      <a:pt x="234" y="207"/>
                      <a:pt x="234" y="207"/>
                      <a:pt x="234" y="207"/>
                    </a:cubicBezTo>
                    <a:cubicBezTo>
                      <a:pt x="234" y="207"/>
                      <a:pt x="234" y="208"/>
                      <a:pt x="234" y="208"/>
                    </a:cubicBezTo>
                    <a:cubicBezTo>
                      <a:pt x="234" y="208"/>
                      <a:pt x="234" y="208"/>
                      <a:pt x="234" y="208"/>
                    </a:cubicBezTo>
                    <a:cubicBezTo>
                      <a:pt x="235" y="208"/>
                      <a:pt x="235" y="208"/>
                      <a:pt x="234" y="208"/>
                    </a:cubicBezTo>
                    <a:cubicBezTo>
                      <a:pt x="234" y="208"/>
                      <a:pt x="234" y="209"/>
                      <a:pt x="234" y="209"/>
                    </a:cubicBezTo>
                    <a:cubicBezTo>
                      <a:pt x="234" y="209"/>
                      <a:pt x="234" y="209"/>
                      <a:pt x="234" y="209"/>
                    </a:cubicBezTo>
                    <a:cubicBezTo>
                      <a:pt x="235" y="209"/>
                      <a:pt x="235" y="209"/>
                      <a:pt x="235" y="209"/>
                    </a:cubicBezTo>
                    <a:cubicBezTo>
                      <a:pt x="235" y="209"/>
                      <a:pt x="235" y="209"/>
                      <a:pt x="235" y="209"/>
                    </a:cubicBezTo>
                    <a:cubicBezTo>
                      <a:pt x="235" y="209"/>
                      <a:pt x="235" y="209"/>
                      <a:pt x="235" y="209"/>
                    </a:cubicBezTo>
                    <a:cubicBezTo>
                      <a:pt x="235" y="209"/>
                      <a:pt x="235" y="209"/>
                      <a:pt x="235" y="209"/>
                    </a:cubicBezTo>
                    <a:cubicBezTo>
                      <a:pt x="235" y="209"/>
                      <a:pt x="235" y="208"/>
                      <a:pt x="235" y="208"/>
                    </a:cubicBezTo>
                    <a:cubicBezTo>
                      <a:pt x="235" y="208"/>
                      <a:pt x="235" y="208"/>
                      <a:pt x="235" y="208"/>
                    </a:cubicBezTo>
                    <a:cubicBezTo>
                      <a:pt x="235" y="208"/>
                      <a:pt x="235" y="208"/>
                      <a:pt x="235" y="208"/>
                    </a:cubicBezTo>
                    <a:cubicBezTo>
                      <a:pt x="235" y="208"/>
                      <a:pt x="235" y="208"/>
                      <a:pt x="235" y="208"/>
                    </a:cubicBezTo>
                    <a:cubicBezTo>
                      <a:pt x="236" y="208"/>
                      <a:pt x="236" y="208"/>
                      <a:pt x="236" y="208"/>
                    </a:cubicBezTo>
                    <a:cubicBezTo>
                      <a:pt x="236" y="208"/>
                      <a:pt x="236" y="208"/>
                      <a:pt x="236" y="208"/>
                    </a:cubicBezTo>
                    <a:cubicBezTo>
                      <a:pt x="236" y="208"/>
                      <a:pt x="236" y="208"/>
                      <a:pt x="236" y="208"/>
                    </a:cubicBezTo>
                    <a:cubicBezTo>
                      <a:pt x="236" y="208"/>
                      <a:pt x="236" y="208"/>
                      <a:pt x="236" y="208"/>
                    </a:cubicBezTo>
                    <a:cubicBezTo>
                      <a:pt x="236" y="208"/>
                      <a:pt x="236" y="209"/>
                      <a:pt x="236" y="209"/>
                    </a:cubicBezTo>
                    <a:cubicBezTo>
                      <a:pt x="236" y="209"/>
                      <a:pt x="236" y="209"/>
                      <a:pt x="236" y="209"/>
                    </a:cubicBezTo>
                    <a:cubicBezTo>
                      <a:pt x="236" y="209"/>
                      <a:pt x="236" y="209"/>
                      <a:pt x="236" y="209"/>
                    </a:cubicBezTo>
                    <a:cubicBezTo>
                      <a:pt x="236" y="208"/>
                      <a:pt x="237" y="208"/>
                      <a:pt x="237" y="208"/>
                    </a:cubicBezTo>
                    <a:cubicBezTo>
                      <a:pt x="237" y="209"/>
                      <a:pt x="237" y="209"/>
                      <a:pt x="237" y="209"/>
                    </a:cubicBezTo>
                    <a:cubicBezTo>
                      <a:pt x="237" y="209"/>
                      <a:pt x="237" y="209"/>
                      <a:pt x="237" y="209"/>
                    </a:cubicBezTo>
                    <a:cubicBezTo>
                      <a:pt x="237" y="209"/>
                      <a:pt x="237" y="210"/>
                      <a:pt x="237" y="210"/>
                    </a:cubicBezTo>
                    <a:cubicBezTo>
                      <a:pt x="237" y="210"/>
                      <a:pt x="237" y="210"/>
                      <a:pt x="237" y="210"/>
                    </a:cubicBezTo>
                    <a:cubicBezTo>
                      <a:pt x="237" y="210"/>
                      <a:pt x="237" y="210"/>
                      <a:pt x="237" y="210"/>
                    </a:cubicBezTo>
                    <a:cubicBezTo>
                      <a:pt x="237" y="210"/>
                      <a:pt x="237" y="210"/>
                      <a:pt x="237" y="210"/>
                    </a:cubicBezTo>
                    <a:cubicBezTo>
                      <a:pt x="237" y="210"/>
                      <a:pt x="237" y="210"/>
                      <a:pt x="237" y="209"/>
                    </a:cubicBezTo>
                    <a:cubicBezTo>
                      <a:pt x="237" y="209"/>
                      <a:pt x="237" y="210"/>
                      <a:pt x="237" y="210"/>
                    </a:cubicBezTo>
                    <a:cubicBezTo>
                      <a:pt x="237" y="210"/>
                      <a:pt x="237" y="209"/>
                      <a:pt x="237" y="209"/>
                    </a:cubicBezTo>
                    <a:cubicBezTo>
                      <a:pt x="238" y="209"/>
                      <a:pt x="238" y="209"/>
                      <a:pt x="238" y="209"/>
                    </a:cubicBezTo>
                    <a:cubicBezTo>
                      <a:pt x="238" y="209"/>
                      <a:pt x="238" y="210"/>
                      <a:pt x="238" y="210"/>
                    </a:cubicBezTo>
                    <a:close/>
                    <a:moveTo>
                      <a:pt x="228" y="214"/>
                    </a:moveTo>
                    <a:cubicBezTo>
                      <a:pt x="228" y="215"/>
                      <a:pt x="228" y="215"/>
                      <a:pt x="228" y="215"/>
                    </a:cubicBezTo>
                    <a:cubicBezTo>
                      <a:pt x="228" y="215"/>
                      <a:pt x="228" y="215"/>
                      <a:pt x="229" y="215"/>
                    </a:cubicBezTo>
                    <a:cubicBezTo>
                      <a:pt x="229" y="215"/>
                      <a:pt x="229" y="215"/>
                      <a:pt x="229" y="215"/>
                    </a:cubicBezTo>
                    <a:cubicBezTo>
                      <a:pt x="229" y="215"/>
                      <a:pt x="229" y="215"/>
                      <a:pt x="229" y="215"/>
                    </a:cubicBezTo>
                    <a:cubicBezTo>
                      <a:pt x="229" y="215"/>
                      <a:pt x="229" y="216"/>
                      <a:pt x="229" y="216"/>
                    </a:cubicBezTo>
                    <a:cubicBezTo>
                      <a:pt x="229" y="216"/>
                      <a:pt x="229" y="216"/>
                      <a:pt x="230" y="216"/>
                    </a:cubicBezTo>
                    <a:cubicBezTo>
                      <a:pt x="230" y="216"/>
                      <a:pt x="230" y="216"/>
                      <a:pt x="230" y="215"/>
                    </a:cubicBezTo>
                    <a:cubicBezTo>
                      <a:pt x="229" y="215"/>
                      <a:pt x="229" y="215"/>
                      <a:pt x="229" y="215"/>
                    </a:cubicBezTo>
                    <a:cubicBezTo>
                      <a:pt x="229" y="215"/>
                      <a:pt x="229" y="215"/>
                      <a:pt x="229" y="215"/>
                    </a:cubicBezTo>
                    <a:cubicBezTo>
                      <a:pt x="229" y="215"/>
                      <a:pt x="229" y="214"/>
                      <a:pt x="229" y="214"/>
                    </a:cubicBezTo>
                    <a:cubicBezTo>
                      <a:pt x="229" y="214"/>
                      <a:pt x="229" y="214"/>
                      <a:pt x="229" y="214"/>
                    </a:cubicBezTo>
                    <a:cubicBezTo>
                      <a:pt x="228" y="214"/>
                      <a:pt x="228" y="214"/>
                      <a:pt x="228" y="214"/>
                    </a:cubicBezTo>
                    <a:cubicBezTo>
                      <a:pt x="228" y="214"/>
                      <a:pt x="228" y="214"/>
                      <a:pt x="228" y="214"/>
                    </a:cubicBezTo>
                    <a:cubicBezTo>
                      <a:pt x="227" y="214"/>
                      <a:pt x="227" y="214"/>
                      <a:pt x="228" y="214"/>
                    </a:cubicBezTo>
                    <a:close/>
                    <a:moveTo>
                      <a:pt x="225" y="231"/>
                    </a:moveTo>
                    <a:cubicBezTo>
                      <a:pt x="225" y="231"/>
                      <a:pt x="225" y="231"/>
                      <a:pt x="225" y="231"/>
                    </a:cubicBezTo>
                    <a:cubicBezTo>
                      <a:pt x="225" y="231"/>
                      <a:pt x="225" y="231"/>
                      <a:pt x="225" y="231"/>
                    </a:cubicBezTo>
                    <a:cubicBezTo>
                      <a:pt x="225" y="231"/>
                      <a:pt x="225" y="231"/>
                      <a:pt x="224" y="231"/>
                    </a:cubicBezTo>
                    <a:cubicBezTo>
                      <a:pt x="224" y="231"/>
                      <a:pt x="224" y="231"/>
                      <a:pt x="224" y="231"/>
                    </a:cubicBezTo>
                    <a:cubicBezTo>
                      <a:pt x="224" y="231"/>
                      <a:pt x="224" y="231"/>
                      <a:pt x="224" y="232"/>
                    </a:cubicBezTo>
                    <a:cubicBezTo>
                      <a:pt x="223" y="232"/>
                      <a:pt x="223" y="232"/>
                      <a:pt x="224" y="232"/>
                    </a:cubicBezTo>
                    <a:cubicBezTo>
                      <a:pt x="224" y="232"/>
                      <a:pt x="224" y="232"/>
                      <a:pt x="224" y="232"/>
                    </a:cubicBezTo>
                    <a:cubicBezTo>
                      <a:pt x="225" y="232"/>
                      <a:pt x="225" y="231"/>
                      <a:pt x="225" y="231"/>
                    </a:cubicBezTo>
                    <a:cubicBezTo>
                      <a:pt x="225" y="231"/>
                      <a:pt x="225" y="231"/>
                      <a:pt x="225" y="231"/>
                    </a:cubicBezTo>
                    <a:close/>
                    <a:moveTo>
                      <a:pt x="228" y="212"/>
                    </a:moveTo>
                    <a:cubicBezTo>
                      <a:pt x="229" y="212"/>
                      <a:pt x="229" y="212"/>
                      <a:pt x="229" y="211"/>
                    </a:cubicBezTo>
                    <a:cubicBezTo>
                      <a:pt x="229" y="211"/>
                      <a:pt x="229" y="211"/>
                      <a:pt x="229" y="211"/>
                    </a:cubicBezTo>
                    <a:cubicBezTo>
                      <a:pt x="229" y="211"/>
                      <a:pt x="229" y="211"/>
                      <a:pt x="229" y="211"/>
                    </a:cubicBezTo>
                    <a:cubicBezTo>
                      <a:pt x="229" y="212"/>
                      <a:pt x="229" y="212"/>
                      <a:pt x="230" y="212"/>
                    </a:cubicBezTo>
                    <a:cubicBezTo>
                      <a:pt x="230" y="212"/>
                      <a:pt x="230" y="212"/>
                      <a:pt x="230" y="212"/>
                    </a:cubicBezTo>
                    <a:cubicBezTo>
                      <a:pt x="230" y="212"/>
                      <a:pt x="230" y="212"/>
                      <a:pt x="230" y="212"/>
                    </a:cubicBezTo>
                    <a:cubicBezTo>
                      <a:pt x="230" y="212"/>
                      <a:pt x="230" y="212"/>
                      <a:pt x="230" y="212"/>
                    </a:cubicBezTo>
                    <a:cubicBezTo>
                      <a:pt x="230" y="212"/>
                      <a:pt x="230" y="212"/>
                      <a:pt x="230" y="212"/>
                    </a:cubicBezTo>
                    <a:cubicBezTo>
                      <a:pt x="230" y="212"/>
                      <a:pt x="230" y="212"/>
                      <a:pt x="231" y="213"/>
                    </a:cubicBezTo>
                    <a:cubicBezTo>
                      <a:pt x="231" y="213"/>
                      <a:pt x="231" y="213"/>
                      <a:pt x="231" y="213"/>
                    </a:cubicBezTo>
                    <a:cubicBezTo>
                      <a:pt x="231" y="213"/>
                      <a:pt x="231" y="213"/>
                      <a:pt x="231" y="213"/>
                    </a:cubicBezTo>
                    <a:cubicBezTo>
                      <a:pt x="231" y="213"/>
                      <a:pt x="232" y="213"/>
                      <a:pt x="232" y="213"/>
                    </a:cubicBezTo>
                    <a:cubicBezTo>
                      <a:pt x="232" y="213"/>
                      <a:pt x="231" y="213"/>
                      <a:pt x="231" y="213"/>
                    </a:cubicBezTo>
                    <a:cubicBezTo>
                      <a:pt x="231" y="214"/>
                      <a:pt x="231" y="213"/>
                      <a:pt x="231" y="213"/>
                    </a:cubicBezTo>
                    <a:cubicBezTo>
                      <a:pt x="231" y="213"/>
                      <a:pt x="230" y="213"/>
                      <a:pt x="230" y="213"/>
                    </a:cubicBezTo>
                    <a:cubicBezTo>
                      <a:pt x="230" y="213"/>
                      <a:pt x="230" y="213"/>
                      <a:pt x="230" y="213"/>
                    </a:cubicBezTo>
                    <a:cubicBezTo>
                      <a:pt x="230" y="213"/>
                      <a:pt x="230" y="213"/>
                      <a:pt x="229" y="213"/>
                    </a:cubicBezTo>
                    <a:cubicBezTo>
                      <a:pt x="229" y="212"/>
                      <a:pt x="229" y="212"/>
                      <a:pt x="229" y="212"/>
                    </a:cubicBezTo>
                    <a:cubicBezTo>
                      <a:pt x="229" y="212"/>
                      <a:pt x="229" y="212"/>
                      <a:pt x="229" y="212"/>
                    </a:cubicBezTo>
                    <a:cubicBezTo>
                      <a:pt x="229" y="212"/>
                      <a:pt x="229" y="212"/>
                      <a:pt x="229" y="212"/>
                    </a:cubicBezTo>
                    <a:cubicBezTo>
                      <a:pt x="229" y="212"/>
                      <a:pt x="229" y="212"/>
                      <a:pt x="229" y="212"/>
                    </a:cubicBezTo>
                    <a:cubicBezTo>
                      <a:pt x="229" y="213"/>
                      <a:pt x="229" y="213"/>
                      <a:pt x="229" y="213"/>
                    </a:cubicBezTo>
                    <a:cubicBezTo>
                      <a:pt x="229" y="213"/>
                      <a:pt x="229" y="213"/>
                      <a:pt x="229" y="213"/>
                    </a:cubicBezTo>
                    <a:cubicBezTo>
                      <a:pt x="228" y="212"/>
                      <a:pt x="228" y="212"/>
                      <a:pt x="228" y="212"/>
                    </a:cubicBezTo>
                    <a:close/>
                    <a:moveTo>
                      <a:pt x="239" y="210"/>
                    </a:moveTo>
                    <a:cubicBezTo>
                      <a:pt x="239" y="210"/>
                      <a:pt x="239" y="210"/>
                      <a:pt x="239" y="210"/>
                    </a:cubicBezTo>
                    <a:cubicBezTo>
                      <a:pt x="239" y="210"/>
                      <a:pt x="239" y="210"/>
                      <a:pt x="239" y="210"/>
                    </a:cubicBezTo>
                    <a:cubicBezTo>
                      <a:pt x="239" y="210"/>
                      <a:pt x="239" y="210"/>
                      <a:pt x="238" y="210"/>
                    </a:cubicBezTo>
                    <a:cubicBezTo>
                      <a:pt x="238" y="210"/>
                      <a:pt x="238" y="211"/>
                      <a:pt x="238" y="211"/>
                    </a:cubicBezTo>
                    <a:cubicBezTo>
                      <a:pt x="238" y="211"/>
                      <a:pt x="238" y="211"/>
                      <a:pt x="238" y="211"/>
                    </a:cubicBezTo>
                    <a:cubicBezTo>
                      <a:pt x="238" y="211"/>
                      <a:pt x="239" y="211"/>
                      <a:pt x="239" y="211"/>
                    </a:cubicBezTo>
                    <a:cubicBezTo>
                      <a:pt x="239" y="211"/>
                      <a:pt x="239" y="211"/>
                      <a:pt x="239" y="211"/>
                    </a:cubicBezTo>
                    <a:cubicBezTo>
                      <a:pt x="239" y="211"/>
                      <a:pt x="239" y="210"/>
                      <a:pt x="239" y="210"/>
                    </a:cubicBezTo>
                    <a:close/>
                    <a:moveTo>
                      <a:pt x="233" y="214"/>
                    </a:moveTo>
                    <a:cubicBezTo>
                      <a:pt x="233" y="214"/>
                      <a:pt x="233" y="214"/>
                      <a:pt x="233" y="214"/>
                    </a:cubicBezTo>
                    <a:cubicBezTo>
                      <a:pt x="233" y="213"/>
                      <a:pt x="233" y="213"/>
                      <a:pt x="233" y="213"/>
                    </a:cubicBezTo>
                    <a:cubicBezTo>
                      <a:pt x="232" y="213"/>
                      <a:pt x="232" y="213"/>
                      <a:pt x="232" y="214"/>
                    </a:cubicBezTo>
                    <a:cubicBezTo>
                      <a:pt x="232" y="214"/>
                      <a:pt x="232" y="214"/>
                      <a:pt x="232" y="214"/>
                    </a:cubicBezTo>
                    <a:cubicBezTo>
                      <a:pt x="232" y="214"/>
                      <a:pt x="232" y="214"/>
                      <a:pt x="232" y="214"/>
                    </a:cubicBezTo>
                    <a:cubicBezTo>
                      <a:pt x="233" y="214"/>
                      <a:pt x="233" y="214"/>
                      <a:pt x="233" y="214"/>
                    </a:cubicBezTo>
                    <a:close/>
                    <a:moveTo>
                      <a:pt x="235" y="214"/>
                    </a:moveTo>
                    <a:cubicBezTo>
                      <a:pt x="235" y="214"/>
                      <a:pt x="235" y="214"/>
                      <a:pt x="235" y="214"/>
                    </a:cubicBezTo>
                    <a:cubicBezTo>
                      <a:pt x="235" y="214"/>
                      <a:pt x="234" y="214"/>
                      <a:pt x="234" y="214"/>
                    </a:cubicBezTo>
                    <a:cubicBezTo>
                      <a:pt x="234" y="214"/>
                      <a:pt x="234" y="214"/>
                      <a:pt x="235" y="214"/>
                    </a:cubicBezTo>
                    <a:cubicBezTo>
                      <a:pt x="235" y="214"/>
                      <a:pt x="235" y="214"/>
                      <a:pt x="235" y="214"/>
                    </a:cubicBezTo>
                    <a:cubicBezTo>
                      <a:pt x="235" y="214"/>
                      <a:pt x="235" y="214"/>
                      <a:pt x="235" y="214"/>
                    </a:cubicBezTo>
                    <a:cubicBezTo>
                      <a:pt x="235" y="214"/>
                      <a:pt x="235" y="214"/>
                      <a:pt x="235" y="214"/>
                    </a:cubicBezTo>
                    <a:cubicBezTo>
                      <a:pt x="235" y="215"/>
                      <a:pt x="235" y="215"/>
                      <a:pt x="235" y="214"/>
                    </a:cubicBezTo>
                    <a:cubicBezTo>
                      <a:pt x="235" y="214"/>
                      <a:pt x="235" y="214"/>
                      <a:pt x="235" y="214"/>
                    </a:cubicBezTo>
                    <a:cubicBezTo>
                      <a:pt x="235" y="214"/>
                      <a:pt x="235" y="214"/>
                      <a:pt x="235" y="214"/>
                    </a:cubicBezTo>
                    <a:cubicBezTo>
                      <a:pt x="235" y="214"/>
                      <a:pt x="235" y="214"/>
                      <a:pt x="235" y="214"/>
                    </a:cubicBezTo>
                    <a:close/>
                    <a:moveTo>
                      <a:pt x="225" y="220"/>
                    </a:moveTo>
                    <a:cubicBezTo>
                      <a:pt x="225" y="220"/>
                      <a:pt x="225" y="219"/>
                      <a:pt x="225" y="219"/>
                    </a:cubicBezTo>
                    <a:cubicBezTo>
                      <a:pt x="225" y="219"/>
                      <a:pt x="225" y="219"/>
                      <a:pt x="225" y="219"/>
                    </a:cubicBezTo>
                    <a:cubicBezTo>
                      <a:pt x="225" y="219"/>
                      <a:pt x="225" y="220"/>
                      <a:pt x="225" y="220"/>
                    </a:cubicBezTo>
                    <a:cubicBezTo>
                      <a:pt x="225" y="220"/>
                      <a:pt x="225" y="220"/>
                      <a:pt x="225" y="220"/>
                    </a:cubicBezTo>
                    <a:close/>
                    <a:moveTo>
                      <a:pt x="232" y="209"/>
                    </a:moveTo>
                    <a:cubicBezTo>
                      <a:pt x="232" y="209"/>
                      <a:pt x="232" y="209"/>
                      <a:pt x="232" y="209"/>
                    </a:cubicBezTo>
                    <a:cubicBezTo>
                      <a:pt x="232" y="209"/>
                      <a:pt x="232" y="210"/>
                      <a:pt x="232" y="209"/>
                    </a:cubicBezTo>
                    <a:cubicBezTo>
                      <a:pt x="232" y="209"/>
                      <a:pt x="232" y="209"/>
                      <a:pt x="232" y="209"/>
                    </a:cubicBezTo>
                    <a:cubicBezTo>
                      <a:pt x="232" y="209"/>
                      <a:pt x="232" y="209"/>
                      <a:pt x="232" y="209"/>
                    </a:cubicBezTo>
                    <a:cubicBezTo>
                      <a:pt x="232" y="209"/>
                      <a:pt x="232" y="209"/>
                      <a:pt x="232" y="209"/>
                    </a:cubicBezTo>
                    <a:cubicBezTo>
                      <a:pt x="232" y="209"/>
                      <a:pt x="232" y="209"/>
                      <a:pt x="231" y="209"/>
                    </a:cubicBezTo>
                    <a:cubicBezTo>
                      <a:pt x="231" y="209"/>
                      <a:pt x="231" y="209"/>
                      <a:pt x="231" y="209"/>
                    </a:cubicBezTo>
                    <a:cubicBezTo>
                      <a:pt x="231" y="209"/>
                      <a:pt x="231" y="209"/>
                      <a:pt x="232" y="209"/>
                    </a:cubicBezTo>
                    <a:close/>
                    <a:moveTo>
                      <a:pt x="224" y="229"/>
                    </a:moveTo>
                    <a:cubicBezTo>
                      <a:pt x="224" y="229"/>
                      <a:pt x="224" y="229"/>
                      <a:pt x="224" y="229"/>
                    </a:cubicBezTo>
                    <a:cubicBezTo>
                      <a:pt x="224" y="229"/>
                      <a:pt x="224" y="229"/>
                      <a:pt x="224" y="229"/>
                    </a:cubicBezTo>
                    <a:cubicBezTo>
                      <a:pt x="224" y="229"/>
                      <a:pt x="224" y="229"/>
                      <a:pt x="224" y="229"/>
                    </a:cubicBezTo>
                    <a:cubicBezTo>
                      <a:pt x="224" y="229"/>
                      <a:pt x="224" y="229"/>
                      <a:pt x="224" y="229"/>
                    </a:cubicBezTo>
                    <a:cubicBezTo>
                      <a:pt x="224" y="230"/>
                      <a:pt x="224" y="230"/>
                      <a:pt x="224" y="229"/>
                    </a:cubicBezTo>
                    <a:close/>
                    <a:moveTo>
                      <a:pt x="221" y="231"/>
                    </a:moveTo>
                    <a:cubicBezTo>
                      <a:pt x="221" y="231"/>
                      <a:pt x="221" y="231"/>
                      <a:pt x="221" y="231"/>
                    </a:cubicBezTo>
                    <a:cubicBezTo>
                      <a:pt x="221" y="231"/>
                      <a:pt x="221" y="231"/>
                      <a:pt x="221" y="231"/>
                    </a:cubicBezTo>
                    <a:cubicBezTo>
                      <a:pt x="221" y="231"/>
                      <a:pt x="221" y="231"/>
                      <a:pt x="221" y="231"/>
                    </a:cubicBezTo>
                    <a:cubicBezTo>
                      <a:pt x="222" y="231"/>
                      <a:pt x="222" y="231"/>
                      <a:pt x="222" y="231"/>
                    </a:cubicBezTo>
                    <a:cubicBezTo>
                      <a:pt x="222" y="231"/>
                      <a:pt x="221" y="231"/>
                      <a:pt x="221" y="231"/>
                    </a:cubicBezTo>
                    <a:close/>
                    <a:moveTo>
                      <a:pt x="227" y="227"/>
                    </a:moveTo>
                    <a:cubicBezTo>
                      <a:pt x="227" y="227"/>
                      <a:pt x="227" y="227"/>
                      <a:pt x="227" y="227"/>
                    </a:cubicBezTo>
                    <a:cubicBezTo>
                      <a:pt x="227" y="227"/>
                      <a:pt x="227" y="227"/>
                      <a:pt x="227" y="227"/>
                    </a:cubicBezTo>
                    <a:cubicBezTo>
                      <a:pt x="227" y="227"/>
                      <a:pt x="227" y="227"/>
                      <a:pt x="227" y="227"/>
                    </a:cubicBezTo>
                    <a:cubicBezTo>
                      <a:pt x="227" y="227"/>
                      <a:pt x="227" y="227"/>
                      <a:pt x="227" y="227"/>
                    </a:cubicBezTo>
                    <a:cubicBezTo>
                      <a:pt x="227" y="227"/>
                      <a:pt x="227" y="227"/>
                      <a:pt x="227" y="227"/>
                    </a:cubicBezTo>
                    <a:close/>
                    <a:moveTo>
                      <a:pt x="223" y="227"/>
                    </a:moveTo>
                    <a:cubicBezTo>
                      <a:pt x="223" y="227"/>
                      <a:pt x="222" y="227"/>
                      <a:pt x="222" y="227"/>
                    </a:cubicBezTo>
                    <a:cubicBezTo>
                      <a:pt x="222" y="227"/>
                      <a:pt x="223" y="227"/>
                      <a:pt x="223" y="227"/>
                    </a:cubicBezTo>
                    <a:close/>
                    <a:moveTo>
                      <a:pt x="236" y="221"/>
                    </a:moveTo>
                    <a:cubicBezTo>
                      <a:pt x="236" y="221"/>
                      <a:pt x="236" y="221"/>
                      <a:pt x="236" y="221"/>
                    </a:cubicBezTo>
                    <a:cubicBezTo>
                      <a:pt x="236" y="221"/>
                      <a:pt x="236" y="221"/>
                      <a:pt x="236" y="221"/>
                    </a:cubicBezTo>
                    <a:cubicBezTo>
                      <a:pt x="236" y="221"/>
                      <a:pt x="236" y="221"/>
                      <a:pt x="236" y="221"/>
                    </a:cubicBezTo>
                    <a:cubicBezTo>
                      <a:pt x="236" y="221"/>
                      <a:pt x="236" y="221"/>
                      <a:pt x="236" y="221"/>
                    </a:cubicBezTo>
                    <a:close/>
                    <a:moveTo>
                      <a:pt x="235" y="216"/>
                    </a:moveTo>
                    <a:cubicBezTo>
                      <a:pt x="236" y="216"/>
                      <a:pt x="236" y="216"/>
                      <a:pt x="236" y="216"/>
                    </a:cubicBezTo>
                    <a:cubicBezTo>
                      <a:pt x="236" y="216"/>
                      <a:pt x="235" y="216"/>
                      <a:pt x="235" y="216"/>
                    </a:cubicBezTo>
                    <a:cubicBezTo>
                      <a:pt x="235" y="216"/>
                      <a:pt x="235" y="216"/>
                      <a:pt x="235" y="216"/>
                    </a:cubicBezTo>
                    <a:cubicBezTo>
                      <a:pt x="235" y="216"/>
                      <a:pt x="235" y="216"/>
                      <a:pt x="235" y="216"/>
                    </a:cubicBezTo>
                    <a:close/>
                    <a:moveTo>
                      <a:pt x="221" y="231"/>
                    </a:moveTo>
                    <a:cubicBezTo>
                      <a:pt x="221" y="231"/>
                      <a:pt x="221" y="231"/>
                      <a:pt x="221" y="231"/>
                    </a:cubicBezTo>
                    <a:cubicBezTo>
                      <a:pt x="221" y="231"/>
                      <a:pt x="221" y="230"/>
                      <a:pt x="221" y="231"/>
                    </a:cubicBezTo>
                    <a:close/>
                    <a:moveTo>
                      <a:pt x="221" y="231"/>
                    </a:moveTo>
                    <a:cubicBezTo>
                      <a:pt x="221" y="231"/>
                      <a:pt x="221" y="231"/>
                      <a:pt x="221" y="231"/>
                    </a:cubicBezTo>
                    <a:cubicBezTo>
                      <a:pt x="221" y="231"/>
                      <a:pt x="221" y="231"/>
                      <a:pt x="221" y="231"/>
                    </a:cubicBezTo>
                    <a:close/>
                    <a:moveTo>
                      <a:pt x="222" y="227"/>
                    </a:moveTo>
                    <a:cubicBezTo>
                      <a:pt x="222" y="227"/>
                      <a:pt x="222" y="227"/>
                      <a:pt x="222" y="227"/>
                    </a:cubicBezTo>
                    <a:cubicBezTo>
                      <a:pt x="222" y="227"/>
                      <a:pt x="222" y="227"/>
                      <a:pt x="222" y="227"/>
                    </a:cubicBezTo>
                    <a:close/>
                    <a:moveTo>
                      <a:pt x="222" y="227"/>
                    </a:moveTo>
                    <a:cubicBezTo>
                      <a:pt x="222" y="227"/>
                      <a:pt x="222" y="227"/>
                      <a:pt x="222" y="227"/>
                    </a:cubicBezTo>
                    <a:cubicBezTo>
                      <a:pt x="222" y="227"/>
                      <a:pt x="222" y="227"/>
                      <a:pt x="222" y="227"/>
                    </a:cubicBezTo>
                    <a:close/>
                    <a:moveTo>
                      <a:pt x="161" y="253"/>
                    </a:moveTo>
                    <a:cubicBezTo>
                      <a:pt x="162" y="253"/>
                      <a:pt x="162" y="253"/>
                      <a:pt x="162" y="253"/>
                    </a:cubicBezTo>
                    <a:cubicBezTo>
                      <a:pt x="162" y="253"/>
                      <a:pt x="163" y="253"/>
                      <a:pt x="164" y="253"/>
                    </a:cubicBezTo>
                    <a:cubicBezTo>
                      <a:pt x="164" y="253"/>
                      <a:pt x="163" y="253"/>
                      <a:pt x="163" y="252"/>
                    </a:cubicBezTo>
                    <a:cubicBezTo>
                      <a:pt x="163" y="252"/>
                      <a:pt x="162" y="252"/>
                      <a:pt x="162" y="252"/>
                    </a:cubicBezTo>
                    <a:cubicBezTo>
                      <a:pt x="162" y="252"/>
                      <a:pt x="161" y="252"/>
                      <a:pt x="161" y="252"/>
                    </a:cubicBezTo>
                    <a:cubicBezTo>
                      <a:pt x="161" y="252"/>
                      <a:pt x="161" y="251"/>
                      <a:pt x="161" y="251"/>
                    </a:cubicBezTo>
                    <a:cubicBezTo>
                      <a:pt x="161" y="250"/>
                      <a:pt x="161" y="250"/>
                      <a:pt x="161" y="250"/>
                    </a:cubicBezTo>
                    <a:cubicBezTo>
                      <a:pt x="161" y="249"/>
                      <a:pt x="161" y="249"/>
                      <a:pt x="160" y="249"/>
                    </a:cubicBezTo>
                    <a:cubicBezTo>
                      <a:pt x="160" y="249"/>
                      <a:pt x="160" y="249"/>
                      <a:pt x="160" y="249"/>
                    </a:cubicBezTo>
                    <a:cubicBezTo>
                      <a:pt x="160" y="249"/>
                      <a:pt x="159" y="249"/>
                      <a:pt x="159" y="249"/>
                    </a:cubicBezTo>
                    <a:cubicBezTo>
                      <a:pt x="158" y="249"/>
                      <a:pt x="158" y="249"/>
                      <a:pt x="158" y="249"/>
                    </a:cubicBezTo>
                    <a:cubicBezTo>
                      <a:pt x="158" y="249"/>
                      <a:pt x="158" y="249"/>
                      <a:pt x="157" y="250"/>
                    </a:cubicBezTo>
                    <a:cubicBezTo>
                      <a:pt x="157" y="250"/>
                      <a:pt x="157" y="250"/>
                      <a:pt x="157" y="250"/>
                    </a:cubicBezTo>
                    <a:cubicBezTo>
                      <a:pt x="156" y="250"/>
                      <a:pt x="156" y="250"/>
                      <a:pt x="156" y="251"/>
                    </a:cubicBezTo>
                    <a:cubicBezTo>
                      <a:pt x="156" y="251"/>
                      <a:pt x="155" y="251"/>
                      <a:pt x="155" y="251"/>
                    </a:cubicBezTo>
                    <a:cubicBezTo>
                      <a:pt x="155" y="251"/>
                      <a:pt x="155" y="250"/>
                      <a:pt x="154" y="250"/>
                    </a:cubicBezTo>
                    <a:cubicBezTo>
                      <a:pt x="154" y="250"/>
                      <a:pt x="154" y="250"/>
                      <a:pt x="154" y="251"/>
                    </a:cubicBezTo>
                    <a:cubicBezTo>
                      <a:pt x="154" y="251"/>
                      <a:pt x="154" y="251"/>
                      <a:pt x="154" y="251"/>
                    </a:cubicBezTo>
                    <a:cubicBezTo>
                      <a:pt x="154" y="252"/>
                      <a:pt x="153" y="252"/>
                      <a:pt x="153" y="252"/>
                    </a:cubicBezTo>
                    <a:cubicBezTo>
                      <a:pt x="153" y="253"/>
                      <a:pt x="153" y="253"/>
                      <a:pt x="153" y="253"/>
                    </a:cubicBezTo>
                    <a:cubicBezTo>
                      <a:pt x="153" y="253"/>
                      <a:pt x="152" y="254"/>
                      <a:pt x="152" y="254"/>
                    </a:cubicBezTo>
                    <a:cubicBezTo>
                      <a:pt x="152" y="254"/>
                      <a:pt x="152" y="254"/>
                      <a:pt x="151" y="254"/>
                    </a:cubicBezTo>
                    <a:cubicBezTo>
                      <a:pt x="151" y="254"/>
                      <a:pt x="151" y="255"/>
                      <a:pt x="151" y="255"/>
                    </a:cubicBezTo>
                    <a:cubicBezTo>
                      <a:pt x="151" y="255"/>
                      <a:pt x="151" y="256"/>
                      <a:pt x="151" y="256"/>
                    </a:cubicBezTo>
                    <a:cubicBezTo>
                      <a:pt x="151" y="256"/>
                      <a:pt x="151" y="256"/>
                      <a:pt x="151" y="256"/>
                    </a:cubicBezTo>
                    <a:cubicBezTo>
                      <a:pt x="151" y="256"/>
                      <a:pt x="151" y="256"/>
                      <a:pt x="151" y="256"/>
                    </a:cubicBezTo>
                    <a:cubicBezTo>
                      <a:pt x="152" y="256"/>
                      <a:pt x="154" y="257"/>
                      <a:pt x="155" y="256"/>
                    </a:cubicBezTo>
                    <a:cubicBezTo>
                      <a:pt x="155" y="256"/>
                      <a:pt x="155" y="256"/>
                      <a:pt x="155" y="256"/>
                    </a:cubicBezTo>
                    <a:cubicBezTo>
                      <a:pt x="155" y="256"/>
                      <a:pt x="155" y="255"/>
                      <a:pt x="155" y="255"/>
                    </a:cubicBezTo>
                    <a:cubicBezTo>
                      <a:pt x="156" y="255"/>
                      <a:pt x="156" y="254"/>
                      <a:pt x="157" y="254"/>
                    </a:cubicBezTo>
                    <a:cubicBezTo>
                      <a:pt x="158" y="253"/>
                      <a:pt x="160" y="254"/>
                      <a:pt x="161" y="254"/>
                    </a:cubicBezTo>
                    <a:cubicBezTo>
                      <a:pt x="161" y="254"/>
                      <a:pt x="161" y="253"/>
                      <a:pt x="161" y="253"/>
                    </a:cubicBezTo>
                    <a:cubicBezTo>
                      <a:pt x="161" y="253"/>
                      <a:pt x="161" y="253"/>
                      <a:pt x="161" y="253"/>
                    </a:cubicBezTo>
                    <a:close/>
                    <a:moveTo>
                      <a:pt x="131" y="268"/>
                    </a:moveTo>
                    <a:cubicBezTo>
                      <a:pt x="131" y="269"/>
                      <a:pt x="130" y="269"/>
                      <a:pt x="130" y="269"/>
                    </a:cubicBezTo>
                    <a:cubicBezTo>
                      <a:pt x="129" y="270"/>
                      <a:pt x="129" y="270"/>
                      <a:pt x="128" y="270"/>
                    </a:cubicBezTo>
                    <a:cubicBezTo>
                      <a:pt x="128" y="271"/>
                      <a:pt x="128" y="271"/>
                      <a:pt x="128" y="271"/>
                    </a:cubicBezTo>
                    <a:cubicBezTo>
                      <a:pt x="128" y="272"/>
                      <a:pt x="127" y="272"/>
                      <a:pt x="127" y="272"/>
                    </a:cubicBezTo>
                    <a:cubicBezTo>
                      <a:pt x="127" y="272"/>
                      <a:pt x="126" y="273"/>
                      <a:pt x="126" y="273"/>
                    </a:cubicBezTo>
                    <a:cubicBezTo>
                      <a:pt x="126" y="273"/>
                      <a:pt x="126" y="273"/>
                      <a:pt x="126" y="273"/>
                    </a:cubicBezTo>
                    <a:cubicBezTo>
                      <a:pt x="126" y="273"/>
                      <a:pt x="125" y="273"/>
                      <a:pt x="125" y="273"/>
                    </a:cubicBezTo>
                    <a:cubicBezTo>
                      <a:pt x="125" y="273"/>
                      <a:pt x="125" y="273"/>
                      <a:pt x="125" y="273"/>
                    </a:cubicBezTo>
                    <a:cubicBezTo>
                      <a:pt x="125" y="273"/>
                      <a:pt x="125" y="274"/>
                      <a:pt x="125" y="274"/>
                    </a:cubicBezTo>
                    <a:cubicBezTo>
                      <a:pt x="125" y="274"/>
                      <a:pt x="125" y="274"/>
                      <a:pt x="125" y="274"/>
                    </a:cubicBezTo>
                    <a:cubicBezTo>
                      <a:pt x="125" y="273"/>
                      <a:pt x="125" y="273"/>
                      <a:pt x="125" y="274"/>
                    </a:cubicBezTo>
                    <a:cubicBezTo>
                      <a:pt x="124" y="274"/>
                      <a:pt x="124" y="274"/>
                      <a:pt x="124" y="274"/>
                    </a:cubicBezTo>
                    <a:cubicBezTo>
                      <a:pt x="123" y="274"/>
                      <a:pt x="124" y="274"/>
                      <a:pt x="124" y="274"/>
                    </a:cubicBezTo>
                    <a:cubicBezTo>
                      <a:pt x="124" y="274"/>
                      <a:pt x="124" y="274"/>
                      <a:pt x="124" y="274"/>
                    </a:cubicBezTo>
                    <a:cubicBezTo>
                      <a:pt x="124" y="273"/>
                      <a:pt x="124" y="273"/>
                      <a:pt x="124" y="273"/>
                    </a:cubicBezTo>
                    <a:cubicBezTo>
                      <a:pt x="125" y="273"/>
                      <a:pt x="125" y="273"/>
                      <a:pt x="125" y="273"/>
                    </a:cubicBezTo>
                    <a:cubicBezTo>
                      <a:pt x="125" y="273"/>
                      <a:pt x="125" y="272"/>
                      <a:pt x="125" y="272"/>
                    </a:cubicBezTo>
                    <a:cubicBezTo>
                      <a:pt x="125" y="272"/>
                      <a:pt x="125" y="272"/>
                      <a:pt x="125" y="272"/>
                    </a:cubicBezTo>
                    <a:cubicBezTo>
                      <a:pt x="125" y="272"/>
                      <a:pt x="125" y="272"/>
                      <a:pt x="125" y="272"/>
                    </a:cubicBezTo>
                    <a:cubicBezTo>
                      <a:pt x="125" y="271"/>
                      <a:pt x="125" y="271"/>
                      <a:pt x="125" y="271"/>
                    </a:cubicBezTo>
                    <a:cubicBezTo>
                      <a:pt x="125" y="270"/>
                      <a:pt x="126" y="270"/>
                      <a:pt x="126" y="270"/>
                    </a:cubicBezTo>
                    <a:cubicBezTo>
                      <a:pt x="126" y="270"/>
                      <a:pt x="126" y="270"/>
                      <a:pt x="126" y="270"/>
                    </a:cubicBezTo>
                    <a:cubicBezTo>
                      <a:pt x="126" y="270"/>
                      <a:pt x="127" y="270"/>
                      <a:pt x="127" y="270"/>
                    </a:cubicBezTo>
                    <a:cubicBezTo>
                      <a:pt x="127" y="270"/>
                      <a:pt x="127" y="270"/>
                      <a:pt x="128" y="270"/>
                    </a:cubicBezTo>
                    <a:cubicBezTo>
                      <a:pt x="128" y="270"/>
                      <a:pt x="128" y="270"/>
                      <a:pt x="128" y="270"/>
                    </a:cubicBezTo>
                    <a:cubicBezTo>
                      <a:pt x="128" y="269"/>
                      <a:pt x="128" y="269"/>
                      <a:pt x="128" y="269"/>
                    </a:cubicBezTo>
                    <a:cubicBezTo>
                      <a:pt x="128" y="269"/>
                      <a:pt x="128" y="269"/>
                      <a:pt x="128" y="269"/>
                    </a:cubicBezTo>
                    <a:cubicBezTo>
                      <a:pt x="128" y="269"/>
                      <a:pt x="128" y="268"/>
                      <a:pt x="128" y="268"/>
                    </a:cubicBezTo>
                    <a:cubicBezTo>
                      <a:pt x="128" y="268"/>
                      <a:pt x="128" y="267"/>
                      <a:pt x="128" y="267"/>
                    </a:cubicBezTo>
                    <a:cubicBezTo>
                      <a:pt x="128" y="267"/>
                      <a:pt x="129" y="267"/>
                      <a:pt x="129" y="267"/>
                    </a:cubicBezTo>
                    <a:cubicBezTo>
                      <a:pt x="129" y="267"/>
                      <a:pt x="129" y="267"/>
                      <a:pt x="130" y="266"/>
                    </a:cubicBezTo>
                    <a:cubicBezTo>
                      <a:pt x="130" y="266"/>
                      <a:pt x="131" y="266"/>
                      <a:pt x="131" y="267"/>
                    </a:cubicBezTo>
                    <a:cubicBezTo>
                      <a:pt x="131" y="267"/>
                      <a:pt x="131" y="267"/>
                      <a:pt x="132" y="267"/>
                    </a:cubicBezTo>
                    <a:cubicBezTo>
                      <a:pt x="132" y="267"/>
                      <a:pt x="132" y="267"/>
                      <a:pt x="132" y="267"/>
                    </a:cubicBezTo>
                    <a:cubicBezTo>
                      <a:pt x="132" y="267"/>
                      <a:pt x="132" y="267"/>
                      <a:pt x="132" y="267"/>
                    </a:cubicBezTo>
                    <a:cubicBezTo>
                      <a:pt x="132" y="268"/>
                      <a:pt x="131" y="268"/>
                      <a:pt x="132" y="268"/>
                    </a:cubicBezTo>
                    <a:cubicBezTo>
                      <a:pt x="132" y="268"/>
                      <a:pt x="132" y="268"/>
                      <a:pt x="131" y="268"/>
                    </a:cubicBezTo>
                    <a:close/>
                    <a:moveTo>
                      <a:pt x="66" y="285"/>
                    </a:moveTo>
                    <a:cubicBezTo>
                      <a:pt x="66" y="285"/>
                      <a:pt x="66" y="285"/>
                      <a:pt x="66" y="285"/>
                    </a:cubicBezTo>
                    <a:cubicBezTo>
                      <a:pt x="66" y="285"/>
                      <a:pt x="66" y="285"/>
                      <a:pt x="65" y="285"/>
                    </a:cubicBezTo>
                    <a:cubicBezTo>
                      <a:pt x="65" y="285"/>
                      <a:pt x="65" y="285"/>
                      <a:pt x="64" y="285"/>
                    </a:cubicBezTo>
                    <a:cubicBezTo>
                      <a:pt x="64" y="285"/>
                      <a:pt x="64" y="284"/>
                      <a:pt x="64" y="284"/>
                    </a:cubicBezTo>
                    <a:cubicBezTo>
                      <a:pt x="64" y="284"/>
                      <a:pt x="63" y="284"/>
                      <a:pt x="63" y="284"/>
                    </a:cubicBezTo>
                    <a:cubicBezTo>
                      <a:pt x="63" y="284"/>
                      <a:pt x="63" y="284"/>
                      <a:pt x="62" y="285"/>
                    </a:cubicBezTo>
                    <a:cubicBezTo>
                      <a:pt x="62" y="285"/>
                      <a:pt x="62" y="285"/>
                      <a:pt x="63" y="285"/>
                    </a:cubicBezTo>
                    <a:cubicBezTo>
                      <a:pt x="63" y="285"/>
                      <a:pt x="63" y="285"/>
                      <a:pt x="63" y="286"/>
                    </a:cubicBezTo>
                    <a:cubicBezTo>
                      <a:pt x="63" y="286"/>
                      <a:pt x="63" y="286"/>
                      <a:pt x="64" y="286"/>
                    </a:cubicBezTo>
                    <a:cubicBezTo>
                      <a:pt x="64" y="286"/>
                      <a:pt x="64" y="286"/>
                      <a:pt x="64" y="286"/>
                    </a:cubicBezTo>
                    <a:cubicBezTo>
                      <a:pt x="64" y="286"/>
                      <a:pt x="64" y="286"/>
                      <a:pt x="64" y="287"/>
                    </a:cubicBezTo>
                    <a:cubicBezTo>
                      <a:pt x="64" y="287"/>
                      <a:pt x="63" y="287"/>
                      <a:pt x="63" y="287"/>
                    </a:cubicBezTo>
                    <a:cubicBezTo>
                      <a:pt x="63" y="287"/>
                      <a:pt x="63" y="287"/>
                      <a:pt x="63" y="287"/>
                    </a:cubicBezTo>
                    <a:cubicBezTo>
                      <a:pt x="63" y="287"/>
                      <a:pt x="63" y="287"/>
                      <a:pt x="63" y="287"/>
                    </a:cubicBezTo>
                    <a:cubicBezTo>
                      <a:pt x="63" y="287"/>
                      <a:pt x="64" y="287"/>
                      <a:pt x="64" y="287"/>
                    </a:cubicBezTo>
                    <a:cubicBezTo>
                      <a:pt x="64" y="287"/>
                      <a:pt x="64" y="287"/>
                      <a:pt x="64" y="288"/>
                    </a:cubicBezTo>
                    <a:cubicBezTo>
                      <a:pt x="64" y="288"/>
                      <a:pt x="64" y="288"/>
                      <a:pt x="64" y="288"/>
                    </a:cubicBezTo>
                    <a:cubicBezTo>
                      <a:pt x="64" y="288"/>
                      <a:pt x="64" y="287"/>
                      <a:pt x="64" y="287"/>
                    </a:cubicBezTo>
                    <a:cubicBezTo>
                      <a:pt x="64" y="287"/>
                      <a:pt x="64" y="287"/>
                      <a:pt x="65" y="287"/>
                    </a:cubicBezTo>
                    <a:cubicBezTo>
                      <a:pt x="65" y="287"/>
                      <a:pt x="65" y="287"/>
                      <a:pt x="65" y="287"/>
                    </a:cubicBezTo>
                    <a:cubicBezTo>
                      <a:pt x="65" y="286"/>
                      <a:pt x="65" y="286"/>
                      <a:pt x="65" y="286"/>
                    </a:cubicBezTo>
                    <a:cubicBezTo>
                      <a:pt x="65" y="286"/>
                      <a:pt x="65" y="286"/>
                      <a:pt x="65" y="286"/>
                    </a:cubicBezTo>
                    <a:cubicBezTo>
                      <a:pt x="65" y="286"/>
                      <a:pt x="66" y="285"/>
                      <a:pt x="66" y="285"/>
                    </a:cubicBezTo>
                    <a:close/>
                    <a:moveTo>
                      <a:pt x="142" y="265"/>
                    </a:moveTo>
                    <a:cubicBezTo>
                      <a:pt x="142" y="265"/>
                      <a:pt x="142" y="265"/>
                      <a:pt x="142" y="265"/>
                    </a:cubicBezTo>
                    <a:cubicBezTo>
                      <a:pt x="141" y="265"/>
                      <a:pt x="141" y="265"/>
                      <a:pt x="140" y="265"/>
                    </a:cubicBezTo>
                    <a:cubicBezTo>
                      <a:pt x="140" y="265"/>
                      <a:pt x="140" y="265"/>
                      <a:pt x="140" y="266"/>
                    </a:cubicBezTo>
                    <a:cubicBezTo>
                      <a:pt x="140" y="266"/>
                      <a:pt x="140" y="266"/>
                      <a:pt x="140" y="266"/>
                    </a:cubicBezTo>
                    <a:cubicBezTo>
                      <a:pt x="140" y="266"/>
                      <a:pt x="140" y="266"/>
                      <a:pt x="140" y="266"/>
                    </a:cubicBezTo>
                    <a:cubicBezTo>
                      <a:pt x="140" y="266"/>
                      <a:pt x="140" y="266"/>
                      <a:pt x="140" y="266"/>
                    </a:cubicBezTo>
                    <a:cubicBezTo>
                      <a:pt x="140" y="266"/>
                      <a:pt x="140" y="266"/>
                      <a:pt x="140" y="266"/>
                    </a:cubicBezTo>
                    <a:cubicBezTo>
                      <a:pt x="140" y="266"/>
                      <a:pt x="140" y="266"/>
                      <a:pt x="139" y="266"/>
                    </a:cubicBezTo>
                    <a:cubicBezTo>
                      <a:pt x="139" y="266"/>
                      <a:pt x="139" y="266"/>
                      <a:pt x="140" y="266"/>
                    </a:cubicBezTo>
                    <a:cubicBezTo>
                      <a:pt x="140" y="266"/>
                      <a:pt x="140" y="266"/>
                      <a:pt x="139" y="267"/>
                    </a:cubicBezTo>
                    <a:cubicBezTo>
                      <a:pt x="139" y="267"/>
                      <a:pt x="139" y="267"/>
                      <a:pt x="139" y="266"/>
                    </a:cubicBezTo>
                    <a:cubicBezTo>
                      <a:pt x="139" y="266"/>
                      <a:pt x="139" y="266"/>
                      <a:pt x="139" y="266"/>
                    </a:cubicBezTo>
                    <a:cubicBezTo>
                      <a:pt x="139" y="267"/>
                      <a:pt x="139" y="267"/>
                      <a:pt x="139" y="267"/>
                    </a:cubicBezTo>
                    <a:cubicBezTo>
                      <a:pt x="139" y="267"/>
                      <a:pt x="140" y="267"/>
                      <a:pt x="139" y="267"/>
                    </a:cubicBezTo>
                    <a:cubicBezTo>
                      <a:pt x="139" y="267"/>
                      <a:pt x="139" y="267"/>
                      <a:pt x="139" y="267"/>
                    </a:cubicBezTo>
                    <a:cubicBezTo>
                      <a:pt x="139" y="267"/>
                      <a:pt x="139" y="267"/>
                      <a:pt x="139" y="266"/>
                    </a:cubicBezTo>
                    <a:cubicBezTo>
                      <a:pt x="139" y="266"/>
                      <a:pt x="139" y="266"/>
                      <a:pt x="139" y="266"/>
                    </a:cubicBezTo>
                    <a:cubicBezTo>
                      <a:pt x="139" y="267"/>
                      <a:pt x="139" y="267"/>
                      <a:pt x="139" y="267"/>
                    </a:cubicBezTo>
                    <a:cubicBezTo>
                      <a:pt x="139" y="267"/>
                      <a:pt x="139" y="267"/>
                      <a:pt x="139" y="267"/>
                    </a:cubicBezTo>
                    <a:cubicBezTo>
                      <a:pt x="139" y="267"/>
                      <a:pt x="139" y="267"/>
                      <a:pt x="139" y="267"/>
                    </a:cubicBezTo>
                    <a:cubicBezTo>
                      <a:pt x="139" y="267"/>
                      <a:pt x="138" y="268"/>
                      <a:pt x="138" y="267"/>
                    </a:cubicBezTo>
                    <a:cubicBezTo>
                      <a:pt x="138" y="267"/>
                      <a:pt x="138" y="267"/>
                      <a:pt x="138" y="267"/>
                    </a:cubicBezTo>
                    <a:cubicBezTo>
                      <a:pt x="138" y="267"/>
                      <a:pt x="138" y="268"/>
                      <a:pt x="138" y="268"/>
                    </a:cubicBezTo>
                    <a:cubicBezTo>
                      <a:pt x="138" y="267"/>
                      <a:pt x="138" y="268"/>
                      <a:pt x="137" y="268"/>
                    </a:cubicBezTo>
                    <a:cubicBezTo>
                      <a:pt x="137" y="268"/>
                      <a:pt x="137" y="268"/>
                      <a:pt x="137" y="268"/>
                    </a:cubicBezTo>
                    <a:cubicBezTo>
                      <a:pt x="137" y="267"/>
                      <a:pt x="137" y="267"/>
                      <a:pt x="137" y="267"/>
                    </a:cubicBezTo>
                    <a:cubicBezTo>
                      <a:pt x="137" y="267"/>
                      <a:pt x="137" y="267"/>
                      <a:pt x="137" y="267"/>
                    </a:cubicBezTo>
                    <a:cubicBezTo>
                      <a:pt x="137" y="268"/>
                      <a:pt x="137" y="268"/>
                      <a:pt x="137" y="268"/>
                    </a:cubicBezTo>
                    <a:cubicBezTo>
                      <a:pt x="136" y="268"/>
                      <a:pt x="136" y="268"/>
                      <a:pt x="136" y="268"/>
                    </a:cubicBezTo>
                    <a:cubicBezTo>
                      <a:pt x="136" y="268"/>
                      <a:pt x="136" y="268"/>
                      <a:pt x="135" y="268"/>
                    </a:cubicBezTo>
                    <a:cubicBezTo>
                      <a:pt x="135" y="269"/>
                      <a:pt x="135" y="269"/>
                      <a:pt x="134" y="269"/>
                    </a:cubicBezTo>
                    <a:cubicBezTo>
                      <a:pt x="134" y="269"/>
                      <a:pt x="134" y="269"/>
                      <a:pt x="134" y="269"/>
                    </a:cubicBezTo>
                    <a:cubicBezTo>
                      <a:pt x="134" y="270"/>
                      <a:pt x="134" y="270"/>
                      <a:pt x="134" y="269"/>
                    </a:cubicBezTo>
                    <a:cubicBezTo>
                      <a:pt x="134" y="269"/>
                      <a:pt x="133" y="269"/>
                      <a:pt x="133" y="269"/>
                    </a:cubicBezTo>
                    <a:cubicBezTo>
                      <a:pt x="133" y="269"/>
                      <a:pt x="133" y="270"/>
                      <a:pt x="133" y="270"/>
                    </a:cubicBezTo>
                    <a:cubicBezTo>
                      <a:pt x="133" y="270"/>
                      <a:pt x="133" y="270"/>
                      <a:pt x="133" y="270"/>
                    </a:cubicBezTo>
                    <a:cubicBezTo>
                      <a:pt x="133" y="270"/>
                      <a:pt x="132" y="269"/>
                      <a:pt x="132" y="269"/>
                    </a:cubicBezTo>
                    <a:cubicBezTo>
                      <a:pt x="132" y="270"/>
                      <a:pt x="132" y="269"/>
                      <a:pt x="132" y="269"/>
                    </a:cubicBezTo>
                    <a:cubicBezTo>
                      <a:pt x="132" y="269"/>
                      <a:pt x="131" y="269"/>
                      <a:pt x="132" y="269"/>
                    </a:cubicBezTo>
                    <a:cubicBezTo>
                      <a:pt x="132" y="269"/>
                      <a:pt x="132" y="269"/>
                      <a:pt x="132" y="268"/>
                    </a:cubicBezTo>
                    <a:cubicBezTo>
                      <a:pt x="132" y="268"/>
                      <a:pt x="133" y="268"/>
                      <a:pt x="133" y="268"/>
                    </a:cubicBezTo>
                    <a:cubicBezTo>
                      <a:pt x="133" y="268"/>
                      <a:pt x="133" y="268"/>
                      <a:pt x="133" y="268"/>
                    </a:cubicBezTo>
                    <a:cubicBezTo>
                      <a:pt x="133" y="268"/>
                      <a:pt x="133" y="268"/>
                      <a:pt x="134" y="268"/>
                    </a:cubicBezTo>
                    <a:cubicBezTo>
                      <a:pt x="134" y="268"/>
                      <a:pt x="134" y="268"/>
                      <a:pt x="134" y="268"/>
                    </a:cubicBezTo>
                    <a:cubicBezTo>
                      <a:pt x="134" y="268"/>
                      <a:pt x="134" y="268"/>
                      <a:pt x="134" y="268"/>
                    </a:cubicBezTo>
                    <a:cubicBezTo>
                      <a:pt x="134" y="268"/>
                      <a:pt x="134" y="268"/>
                      <a:pt x="134" y="268"/>
                    </a:cubicBezTo>
                    <a:cubicBezTo>
                      <a:pt x="134" y="268"/>
                      <a:pt x="135" y="268"/>
                      <a:pt x="135" y="268"/>
                    </a:cubicBezTo>
                    <a:cubicBezTo>
                      <a:pt x="135" y="268"/>
                      <a:pt x="135" y="268"/>
                      <a:pt x="135" y="268"/>
                    </a:cubicBezTo>
                    <a:cubicBezTo>
                      <a:pt x="135" y="268"/>
                      <a:pt x="135" y="268"/>
                      <a:pt x="135" y="268"/>
                    </a:cubicBezTo>
                    <a:cubicBezTo>
                      <a:pt x="135" y="268"/>
                      <a:pt x="135" y="268"/>
                      <a:pt x="135" y="268"/>
                    </a:cubicBezTo>
                    <a:cubicBezTo>
                      <a:pt x="135" y="267"/>
                      <a:pt x="135" y="268"/>
                      <a:pt x="135" y="268"/>
                    </a:cubicBezTo>
                    <a:cubicBezTo>
                      <a:pt x="135" y="267"/>
                      <a:pt x="135" y="267"/>
                      <a:pt x="135" y="267"/>
                    </a:cubicBezTo>
                    <a:cubicBezTo>
                      <a:pt x="136" y="267"/>
                      <a:pt x="136" y="267"/>
                      <a:pt x="137" y="267"/>
                    </a:cubicBezTo>
                    <a:cubicBezTo>
                      <a:pt x="136" y="267"/>
                      <a:pt x="136" y="267"/>
                      <a:pt x="136" y="267"/>
                    </a:cubicBezTo>
                    <a:cubicBezTo>
                      <a:pt x="136" y="267"/>
                      <a:pt x="136" y="267"/>
                      <a:pt x="136" y="267"/>
                    </a:cubicBezTo>
                    <a:cubicBezTo>
                      <a:pt x="136" y="267"/>
                      <a:pt x="136" y="267"/>
                      <a:pt x="136" y="267"/>
                    </a:cubicBezTo>
                    <a:cubicBezTo>
                      <a:pt x="137" y="267"/>
                      <a:pt x="137" y="267"/>
                      <a:pt x="137" y="267"/>
                    </a:cubicBezTo>
                    <a:cubicBezTo>
                      <a:pt x="137" y="266"/>
                      <a:pt x="137" y="266"/>
                      <a:pt x="137" y="267"/>
                    </a:cubicBezTo>
                    <a:cubicBezTo>
                      <a:pt x="137" y="267"/>
                      <a:pt x="136" y="267"/>
                      <a:pt x="136" y="266"/>
                    </a:cubicBezTo>
                    <a:cubicBezTo>
                      <a:pt x="136" y="266"/>
                      <a:pt x="136" y="266"/>
                      <a:pt x="136" y="266"/>
                    </a:cubicBezTo>
                    <a:cubicBezTo>
                      <a:pt x="136" y="266"/>
                      <a:pt x="136" y="266"/>
                      <a:pt x="136" y="266"/>
                    </a:cubicBezTo>
                    <a:cubicBezTo>
                      <a:pt x="136" y="265"/>
                      <a:pt x="137" y="265"/>
                      <a:pt x="137" y="266"/>
                    </a:cubicBezTo>
                    <a:cubicBezTo>
                      <a:pt x="137" y="266"/>
                      <a:pt x="137" y="266"/>
                      <a:pt x="137" y="266"/>
                    </a:cubicBezTo>
                    <a:cubicBezTo>
                      <a:pt x="137" y="265"/>
                      <a:pt x="137" y="265"/>
                      <a:pt x="137" y="265"/>
                    </a:cubicBezTo>
                    <a:cubicBezTo>
                      <a:pt x="137" y="265"/>
                      <a:pt x="137" y="265"/>
                      <a:pt x="137" y="265"/>
                    </a:cubicBezTo>
                    <a:cubicBezTo>
                      <a:pt x="137" y="265"/>
                      <a:pt x="137" y="265"/>
                      <a:pt x="137" y="265"/>
                    </a:cubicBezTo>
                    <a:cubicBezTo>
                      <a:pt x="137" y="265"/>
                      <a:pt x="137" y="265"/>
                      <a:pt x="137" y="265"/>
                    </a:cubicBezTo>
                    <a:cubicBezTo>
                      <a:pt x="137" y="265"/>
                      <a:pt x="137" y="265"/>
                      <a:pt x="138" y="265"/>
                    </a:cubicBezTo>
                    <a:cubicBezTo>
                      <a:pt x="138" y="264"/>
                      <a:pt x="138" y="265"/>
                      <a:pt x="138" y="265"/>
                    </a:cubicBezTo>
                    <a:cubicBezTo>
                      <a:pt x="138" y="265"/>
                      <a:pt x="138" y="265"/>
                      <a:pt x="138" y="265"/>
                    </a:cubicBezTo>
                    <a:cubicBezTo>
                      <a:pt x="138" y="265"/>
                      <a:pt x="138" y="265"/>
                      <a:pt x="138" y="265"/>
                    </a:cubicBezTo>
                    <a:cubicBezTo>
                      <a:pt x="138" y="265"/>
                      <a:pt x="138" y="265"/>
                      <a:pt x="138" y="265"/>
                    </a:cubicBezTo>
                    <a:cubicBezTo>
                      <a:pt x="138" y="265"/>
                      <a:pt x="139" y="265"/>
                      <a:pt x="139" y="265"/>
                    </a:cubicBezTo>
                    <a:cubicBezTo>
                      <a:pt x="139" y="265"/>
                      <a:pt x="139" y="265"/>
                      <a:pt x="139" y="265"/>
                    </a:cubicBezTo>
                    <a:cubicBezTo>
                      <a:pt x="139" y="265"/>
                      <a:pt x="138" y="265"/>
                      <a:pt x="138" y="265"/>
                    </a:cubicBezTo>
                    <a:cubicBezTo>
                      <a:pt x="138" y="265"/>
                      <a:pt x="138" y="264"/>
                      <a:pt x="139" y="265"/>
                    </a:cubicBezTo>
                    <a:cubicBezTo>
                      <a:pt x="139" y="265"/>
                      <a:pt x="139" y="264"/>
                      <a:pt x="139" y="264"/>
                    </a:cubicBezTo>
                    <a:cubicBezTo>
                      <a:pt x="139" y="264"/>
                      <a:pt x="139" y="264"/>
                      <a:pt x="139" y="264"/>
                    </a:cubicBezTo>
                    <a:cubicBezTo>
                      <a:pt x="139" y="264"/>
                      <a:pt x="139" y="264"/>
                      <a:pt x="139" y="264"/>
                    </a:cubicBezTo>
                    <a:cubicBezTo>
                      <a:pt x="139" y="264"/>
                      <a:pt x="139" y="264"/>
                      <a:pt x="139" y="264"/>
                    </a:cubicBezTo>
                    <a:cubicBezTo>
                      <a:pt x="138" y="264"/>
                      <a:pt x="138" y="264"/>
                      <a:pt x="138" y="264"/>
                    </a:cubicBezTo>
                    <a:cubicBezTo>
                      <a:pt x="138" y="264"/>
                      <a:pt x="138" y="264"/>
                      <a:pt x="138" y="264"/>
                    </a:cubicBezTo>
                    <a:cubicBezTo>
                      <a:pt x="138" y="264"/>
                      <a:pt x="138" y="264"/>
                      <a:pt x="138" y="264"/>
                    </a:cubicBezTo>
                    <a:cubicBezTo>
                      <a:pt x="137" y="264"/>
                      <a:pt x="137" y="264"/>
                      <a:pt x="137" y="264"/>
                    </a:cubicBezTo>
                    <a:cubicBezTo>
                      <a:pt x="137" y="264"/>
                      <a:pt x="137" y="264"/>
                      <a:pt x="137" y="263"/>
                    </a:cubicBezTo>
                    <a:cubicBezTo>
                      <a:pt x="137" y="263"/>
                      <a:pt x="136" y="263"/>
                      <a:pt x="136" y="263"/>
                    </a:cubicBezTo>
                    <a:cubicBezTo>
                      <a:pt x="136" y="263"/>
                      <a:pt x="136" y="263"/>
                      <a:pt x="136" y="263"/>
                    </a:cubicBezTo>
                    <a:cubicBezTo>
                      <a:pt x="136" y="263"/>
                      <a:pt x="137" y="263"/>
                      <a:pt x="137" y="262"/>
                    </a:cubicBezTo>
                    <a:cubicBezTo>
                      <a:pt x="137" y="262"/>
                      <a:pt x="137" y="262"/>
                      <a:pt x="137" y="262"/>
                    </a:cubicBezTo>
                    <a:cubicBezTo>
                      <a:pt x="138" y="262"/>
                      <a:pt x="138" y="262"/>
                      <a:pt x="139" y="261"/>
                    </a:cubicBezTo>
                    <a:cubicBezTo>
                      <a:pt x="139" y="261"/>
                      <a:pt x="139" y="261"/>
                      <a:pt x="139" y="261"/>
                    </a:cubicBezTo>
                    <a:cubicBezTo>
                      <a:pt x="139" y="261"/>
                      <a:pt x="139" y="261"/>
                      <a:pt x="139" y="261"/>
                    </a:cubicBezTo>
                    <a:cubicBezTo>
                      <a:pt x="139" y="261"/>
                      <a:pt x="139" y="261"/>
                      <a:pt x="139" y="261"/>
                    </a:cubicBezTo>
                    <a:cubicBezTo>
                      <a:pt x="139" y="261"/>
                      <a:pt x="140" y="261"/>
                      <a:pt x="140" y="261"/>
                    </a:cubicBezTo>
                    <a:cubicBezTo>
                      <a:pt x="140" y="261"/>
                      <a:pt x="140" y="261"/>
                      <a:pt x="140" y="261"/>
                    </a:cubicBezTo>
                    <a:cubicBezTo>
                      <a:pt x="140" y="262"/>
                      <a:pt x="140" y="262"/>
                      <a:pt x="140" y="262"/>
                    </a:cubicBezTo>
                    <a:cubicBezTo>
                      <a:pt x="140" y="262"/>
                      <a:pt x="140" y="262"/>
                      <a:pt x="140" y="262"/>
                    </a:cubicBezTo>
                    <a:cubicBezTo>
                      <a:pt x="140" y="262"/>
                      <a:pt x="140" y="263"/>
                      <a:pt x="140" y="263"/>
                    </a:cubicBezTo>
                    <a:cubicBezTo>
                      <a:pt x="140" y="263"/>
                      <a:pt x="140" y="263"/>
                      <a:pt x="140" y="263"/>
                    </a:cubicBezTo>
                    <a:cubicBezTo>
                      <a:pt x="140" y="263"/>
                      <a:pt x="140" y="263"/>
                      <a:pt x="140" y="263"/>
                    </a:cubicBezTo>
                    <a:cubicBezTo>
                      <a:pt x="140" y="263"/>
                      <a:pt x="140" y="263"/>
                      <a:pt x="140" y="263"/>
                    </a:cubicBezTo>
                    <a:cubicBezTo>
                      <a:pt x="140" y="263"/>
                      <a:pt x="141" y="263"/>
                      <a:pt x="141" y="262"/>
                    </a:cubicBezTo>
                    <a:cubicBezTo>
                      <a:pt x="141" y="262"/>
                      <a:pt x="141" y="262"/>
                      <a:pt x="141" y="262"/>
                    </a:cubicBezTo>
                    <a:cubicBezTo>
                      <a:pt x="141" y="262"/>
                      <a:pt x="141" y="262"/>
                      <a:pt x="141" y="261"/>
                    </a:cubicBezTo>
                    <a:cubicBezTo>
                      <a:pt x="141" y="261"/>
                      <a:pt x="141" y="261"/>
                      <a:pt x="141" y="261"/>
                    </a:cubicBezTo>
                    <a:cubicBezTo>
                      <a:pt x="142" y="261"/>
                      <a:pt x="141" y="261"/>
                      <a:pt x="141" y="262"/>
                    </a:cubicBezTo>
                    <a:cubicBezTo>
                      <a:pt x="141" y="262"/>
                      <a:pt x="141"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3"/>
                      <a:pt x="142" y="263"/>
                      <a:pt x="142" y="263"/>
                    </a:cubicBezTo>
                    <a:cubicBezTo>
                      <a:pt x="142" y="263"/>
                      <a:pt x="141" y="263"/>
                      <a:pt x="141" y="263"/>
                    </a:cubicBezTo>
                    <a:cubicBezTo>
                      <a:pt x="141" y="263"/>
                      <a:pt x="141" y="263"/>
                      <a:pt x="141" y="263"/>
                    </a:cubicBezTo>
                    <a:cubicBezTo>
                      <a:pt x="141" y="264"/>
                      <a:pt x="141" y="264"/>
                      <a:pt x="141" y="264"/>
                    </a:cubicBezTo>
                    <a:cubicBezTo>
                      <a:pt x="141" y="264"/>
                      <a:pt x="140" y="264"/>
                      <a:pt x="140" y="264"/>
                    </a:cubicBezTo>
                    <a:cubicBezTo>
                      <a:pt x="140" y="264"/>
                      <a:pt x="140" y="264"/>
                      <a:pt x="140" y="264"/>
                    </a:cubicBezTo>
                    <a:cubicBezTo>
                      <a:pt x="140" y="264"/>
                      <a:pt x="140" y="265"/>
                      <a:pt x="140" y="265"/>
                    </a:cubicBezTo>
                    <a:cubicBezTo>
                      <a:pt x="140" y="265"/>
                      <a:pt x="140" y="264"/>
                      <a:pt x="141" y="264"/>
                    </a:cubicBezTo>
                    <a:cubicBezTo>
                      <a:pt x="141" y="264"/>
                      <a:pt x="141" y="265"/>
                      <a:pt x="141" y="265"/>
                    </a:cubicBezTo>
                    <a:cubicBezTo>
                      <a:pt x="141" y="264"/>
                      <a:pt x="141" y="264"/>
                      <a:pt x="141" y="264"/>
                    </a:cubicBezTo>
                    <a:cubicBezTo>
                      <a:pt x="141" y="264"/>
                      <a:pt x="141" y="264"/>
                      <a:pt x="141" y="264"/>
                    </a:cubicBezTo>
                    <a:cubicBezTo>
                      <a:pt x="141" y="264"/>
                      <a:pt x="141" y="264"/>
                      <a:pt x="141" y="264"/>
                    </a:cubicBezTo>
                    <a:cubicBezTo>
                      <a:pt x="141" y="264"/>
                      <a:pt x="141" y="264"/>
                      <a:pt x="142" y="264"/>
                    </a:cubicBezTo>
                    <a:cubicBezTo>
                      <a:pt x="142" y="264"/>
                      <a:pt x="142" y="264"/>
                      <a:pt x="142" y="264"/>
                    </a:cubicBezTo>
                    <a:cubicBezTo>
                      <a:pt x="142" y="264"/>
                      <a:pt x="142" y="264"/>
                      <a:pt x="142" y="264"/>
                    </a:cubicBezTo>
                    <a:cubicBezTo>
                      <a:pt x="142" y="264"/>
                      <a:pt x="142" y="265"/>
                      <a:pt x="142" y="265"/>
                    </a:cubicBezTo>
                    <a:close/>
                    <a:moveTo>
                      <a:pt x="96" y="282"/>
                    </a:moveTo>
                    <a:cubicBezTo>
                      <a:pt x="95" y="282"/>
                      <a:pt x="95" y="282"/>
                      <a:pt x="95" y="282"/>
                    </a:cubicBezTo>
                    <a:cubicBezTo>
                      <a:pt x="95" y="282"/>
                      <a:pt x="95" y="282"/>
                      <a:pt x="95" y="282"/>
                    </a:cubicBezTo>
                    <a:cubicBezTo>
                      <a:pt x="94" y="282"/>
                      <a:pt x="94" y="282"/>
                      <a:pt x="94" y="282"/>
                    </a:cubicBezTo>
                    <a:cubicBezTo>
                      <a:pt x="94" y="282"/>
                      <a:pt x="94" y="282"/>
                      <a:pt x="94" y="282"/>
                    </a:cubicBezTo>
                    <a:cubicBezTo>
                      <a:pt x="93" y="282"/>
                      <a:pt x="92" y="282"/>
                      <a:pt x="92" y="282"/>
                    </a:cubicBezTo>
                    <a:cubicBezTo>
                      <a:pt x="91" y="282"/>
                      <a:pt x="91" y="282"/>
                      <a:pt x="90" y="282"/>
                    </a:cubicBezTo>
                    <a:cubicBezTo>
                      <a:pt x="90" y="282"/>
                      <a:pt x="91" y="282"/>
                      <a:pt x="91" y="283"/>
                    </a:cubicBezTo>
                    <a:cubicBezTo>
                      <a:pt x="91" y="283"/>
                      <a:pt x="91" y="283"/>
                      <a:pt x="92" y="283"/>
                    </a:cubicBezTo>
                    <a:cubicBezTo>
                      <a:pt x="92" y="283"/>
                      <a:pt x="93" y="283"/>
                      <a:pt x="93" y="283"/>
                    </a:cubicBezTo>
                    <a:cubicBezTo>
                      <a:pt x="93" y="283"/>
                      <a:pt x="93" y="283"/>
                      <a:pt x="93" y="283"/>
                    </a:cubicBezTo>
                    <a:cubicBezTo>
                      <a:pt x="94" y="283"/>
                      <a:pt x="94" y="283"/>
                      <a:pt x="94" y="283"/>
                    </a:cubicBezTo>
                    <a:cubicBezTo>
                      <a:pt x="94" y="283"/>
                      <a:pt x="95" y="283"/>
                      <a:pt x="95" y="283"/>
                    </a:cubicBezTo>
                    <a:cubicBezTo>
                      <a:pt x="95" y="283"/>
                      <a:pt x="95" y="283"/>
                      <a:pt x="95" y="283"/>
                    </a:cubicBezTo>
                    <a:cubicBezTo>
                      <a:pt x="96" y="283"/>
                      <a:pt x="96" y="283"/>
                      <a:pt x="97" y="283"/>
                    </a:cubicBezTo>
                    <a:cubicBezTo>
                      <a:pt x="97" y="283"/>
                      <a:pt x="97" y="283"/>
                      <a:pt x="97" y="282"/>
                    </a:cubicBezTo>
                    <a:cubicBezTo>
                      <a:pt x="97" y="282"/>
                      <a:pt x="97" y="282"/>
                      <a:pt x="97" y="282"/>
                    </a:cubicBezTo>
                    <a:cubicBezTo>
                      <a:pt x="97" y="282"/>
                      <a:pt x="96" y="282"/>
                      <a:pt x="96" y="282"/>
                    </a:cubicBezTo>
                    <a:close/>
                    <a:moveTo>
                      <a:pt x="90" y="280"/>
                    </a:moveTo>
                    <a:cubicBezTo>
                      <a:pt x="90" y="280"/>
                      <a:pt x="90" y="279"/>
                      <a:pt x="90" y="279"/>
                    </a:cubicBezTo>
                    <a:cubicBezTo>
                      <a:pt x="90" y="279"/>
                      <a:pt x="89" y="279"/>
                      <a:pt x="89" y="279"/>
                    </a:cubicBezTo>
                    <a:cubicBezTo>
                      <a:pt x="89" y="279"/>
                      <a:pt x="88" y="279"/>
                      <a:pt x="88" y="280"/>
                    </a:cubicBezTo>
                    <a:cubicBezTo>
                      <a:pt x="88" y="280"/>
                      <a:pt x="88" y="280"/>
                      <a:pt x="88" y="280"/>
                    </a:cubicBezTo>
                    <a:cubicBezTo>
                      <a:pt x="88" y="280"/>
                      <a:pt x="87" y="280"/>
                      <a:pt x="87" y="280"/>
                    </a:cubicBezTo>
                    <a:cubicBezTo>
                      <a:pt x="88" y="280"/>
                      <a:pt x="88" y="280"/>
                      <a:pt x="88" y="280"/>
                    </a:cubicBezTo>
                    <a:cubicBezTo>
                      <a:pt x="88" y="280"/>
                      <a:pt x="88" y="280"/>
                      <a:pt x="88" y="280"/>
                    </a:cubicBezTo>
                    <a:cubicBezTo>
                      <a:pt x="88" y="280"/>
                      <a:pt x="89" y="280"/>
                      <a:pt x="89" y="281"/>
                    </a:cubicBezTo>
                    <a:cubicBezTo>
                      <a:pt x="89" y="281"/>
                      <a:pt x="89" y="281"/>
                      <a:pt x="89" y="281"/>
                    </a:cubicBezTo>
                    <a:cubicBezTo>
                      <a:pt x="89" y="281"/>
                      <a:pt x="89" y="281"/>
                      <a:pt x="89" y="281"/>
                    </a:cubicBezTo>
                    <a:cubicBezTo>
                      <a:pt x="89" y="281"/>
                      <a:pt x="88" y="281"/>
                      <a:pt x="88" y="281"/>
                    </a:cubicBezTo>
                    <a:cubicBezTo>
                      <a:pt x="88" y="281"/>
                      <a:pt x="88" y="281"/>
                      <a:pt x="87" y="281"/>
                    </a:cubicBezTo>
                    <a:cubicBezTo>
                      <a:pt x="87" y="281"/>
                      <a:pt x="88" y="281"/>
                      <a:pt x="88" y="281"/>
                    </a:cubicBezTo>
                    <a:cubicBezTo>
                      <a:pt x="88" y="282"/>
                      <a:pt x="88" y="282"/>
                      <a:pt x="88" y="282"/>
                    </a:cubicBezTo>
                    <a:cubicBezTo>
                      <a:pt x="87" y="282"/>
                      <a:pt x="87" y="282"/>
                      <a:pt x="87" y="282"/>
                    </a:cubicBezTo>
                    <a:cubicBezTo>
                      <a:pt x="87" y="282"/>
                      <a:pt x="87" y="282"/>
                      <a:pt x="87" y="282"/>
                    </a:cubicBezTo>
                    <a:cubicBezTo>
                      <a:pt x="87" y="282"/>
                      <a:pt x="87" y="282"/>
                      <a:pt x="87" y="282"/>
                    </a:cubicBezTo>
                    <a:cubicBezTo>
                      <a:pt x="87" y="282"/>
                      <a:pt x="86" y="282"/>
                      <a:pt x="86" y="282"/>
                    </a:cubicBezTo>
                    <a:cubicBezTo>
                      <a:pt x="86" y="282"/>
                      <a:pt x="86" y="282"/>
                      <a:pt x="86" y="282"/>
                    </a:cubicBezTo>
                    <a:cubicBezTo>
                      <a:pt x="86" y="282"/>
                      <a:pt x="86" y="282"/>
                      <a:pt x="86" y="282"/>
                    </a:cubicBezTo>
                    <a:cubicBezTo>
                      <a:pt x="85" y="283"/>
                      <a:pt x="85" y="282"/>
                      <a:pt x="85" y="282"/>
                    </a:cubicBezTo>
                    <a:cubicBezTo>
                      <a:pt x="85" y="282"/>
                      <a:pt x="84" y="282"/>
                      <a:pt x="84" y="283"/>
                    </a:cubicBezTo>
                    <a:cubicBezTo>
                      <a:pt x="84" y="283"/>
                      <a:pt x="84" y="283"/>
                      <a:pt x="84" y="283"/>
                    </a:cubicBezTo>
                    <a:cubicBezTo>
                      <a:pt x="84" y="283"/>
                      <a:pt x="84" y="283"/>
                      <a:pt x="84" y="283"/>
                    </a:cubicBezTo>
                    <a:cubicBezTo>
                      <a:pt x="83" y="283"/>
                      <a:pt x="83" y="283"/>
                      <a:pt x="83" y="283"/>
                    </a:cubicBezTo>
                    <a:cubicBezTo>
                      <a:pt x="83" y="283"/>
                      <a:pt x="83" y="283"/>
                      <a:pt x="83" y="283"/>
                    </a:cubicBezTo>
                    <a:cubicBezTo>
                      <a:pt x="82" y="283"/>
                      <a:pt x="82" y="283"/>
                      <a:pt x="82" y="283"/>
                    </a:cubicBezTo>
                    <a:cubicBezTo>
                      <a:pt x="82" y="283"/>
                      <a:pt x="83" y="283"/>
                      <a:pt x="83" y="283"/>
                    </a:cubicBezTo>
                    <a:cubicBezTo>
                      <a:pt x="83" y="283"/>
                      <a:pt x="84" y="283"/>
                      <a:pt x="84" y="283"/>
                    </a:cubicBezTo>
                    <a:cubicBezTo>
                      <a:pt x="84" y="283"/>
                      <a:pt x="84" y="283"/>
                      <a:pt x="84" y="283"/>
                    </a:cubicBezTo>
                    <a:cubicBezTo>
                      <a:pt x="85" y="283"/>
                      <a:pt x="85" y="283"/>
                      <a:pt x="86" y="283"/>
                    </a:cubicBezTo>
                    <a:cubicBezTo>
                      <a:pt x="86" y="283"/>
                      <a:pt x="86" y="283"/>
                      <a:pt x="86" y="283"/>
                    </a:cubicBezTo>
                    <a:cubicBezTo>
                      <a:pt x="86" y="283"/>
                      <a:pt x="86" y="283"/>
                      <a:pt x="86" y="283"/>
                    </a:cubicBezTo>
                    <a:cubicBezTo>
                      <a:pt x="86" y="283"/>
                      <a:pt x="87" y="283"/>
                      <a:pt x="87" y="283"/>
                    </a:cubicBezTo>
                    <a:cubicBezTo>
                      <a:pt x="87" y="283"/>
                      <a:pt x="87" y="283"/>
                      <a:pt x="87" y="283"/>
                    </a:cubicBezTo>
                    <a:cubicBezTo>
                      <a:pt x="87" y="283"/>
                      <a:pt x="87" y="283"/>
                      <a:pt x="87" y="283"/>
                    </a:cubicBezTo>
                    <a:cubicBezTo>
                      <a:pt x="87" y="283"/>
                      <a:pt x="87" y="283"/>
                      <a:pt x="87" y="283"/>
                    </a:cubicBezTo>
                    <a:cubicBezTo>
                      <a:pt x="88" y="283"/>
                      <a:pt x="88" y="283"/>
                      <a:pt x="88" y="283"/>
                    </a:cubicBezTo>
                    <a:cubicBezTo>
                      <a:pt x="88" y="283"/>
                      <a:pt x="88" y="283"/>
                      <a:pt x="88" y="283"/>
                    </a:cubicBezTo>
                    <a:cubicBezTo>
                      <a:pt x="88" y="283"/>
                      <a:pt x="88" y="282"/>
                      <a:pt x="88" y="282"/>
                    </a:cubicBezTo>
                    <a:cubicBezTo>
                      <a:pt x="88" y="282"/>
                      <a:pt x="88" y="282"/>
                      <a:pt x="88" y="282"/>
                    </a:cubicBezTo>
                    <a:cubicBezTo>
                      <a:pt x="88" y="282"/>
                      <a:pt x="89" y="282"/>
                      <a:pt x="89" y="282"/>
                    </a:cubicBezTo>
                    <a:cubicBezTo>
                      <a:pt x="89" y="283"/>
                      <a:pt x="89" y="282"/>
                      <a:pt x="89" y="282"/>
                    </a:cubicBezTo>
                    <a:cubicBezTo>
                      <a:pt x="89" y="282"/>
                      <a:pt x="90" y="282"/>
                      <a:pt x="90" y="282"/>
                    </a:cubicBezTo>
                    <a:cubicBezTo>
                      <a:pt x="90" y="282"/>
                      <a:pt x="90" y="282"/>
                      <a:pt x="90" y="282"/>
                    </a:cubicBezTo>
                    <a:cubicBezTo>
                      <a:pt x="90" y="282"/>
                      <a:pt x="90" y="282"/>
                      <a:pt x="89" y="281"/>
                    </a:cubicBezTo>
                    <a:cubicBezTo>
                      <a:pt x="89" y="281"/>
                      <a:pt x="89" y="281"/>
                      <a:pt x="90" y="281"/>
                    </a:cubicBezTo>
                    <a:cubicBezTo>
                      <a:pt x="90" y="281"/>
                      <a:pt x="90" y="281"/>
                      <a:pt x="90" y="281"/>
                    </a:cubicBezTo>
                    <a:cubicBezTo>
                      <a:pt x="90" y="281"/>
                      <a:pt x="90" y="281"/>
                      <a:pt x="90" y="281"/>
                    </a:cubicBezTo>
                    <a:cubicBezTo>
                      <a:pt x="91" y="280"/>
                      <a:pt x="91" y="280"/>
                      <a:pt x="90" y="280"/>
                    </a:cubicBezTo>
                    <a:close/>
                    <a:moveTo>
                      <a:pt x="69" y="284"/>
                    </a:moveTo>
                    <a:cubicBezTo>
                      <a:pt x="69" y="284"/>
                      <a:pt x="69" y="284"/>
                      <a:pt x="69" y="285"/>
                    </a:cubicBezTo>
                    <a:cubicBezTo>
                      <a:pt x="69" y="285"/>
                      <a:pt x="69" y="285"/>
                      <a:pt x="69" y="285"/>
                    </a:cubicBezTo>
                    <a:cubicBezTo>
                      <a:pt x="69" y="285"/>
                      <a:pt x="69" y="286"/>
                      <a:pt x="69" y="286"/>
                    </a:cubicBezTo>
                    <a:cubicBezTo>
                      <a:pt x="68" y="286"/>
                      <a:pt x="67" y="286"/>
                      <a:pt x="67" y="286"/>
                    </a:cubicBezTo>
                    <a:cubicBezTo>
                      <a:pt x="67" y="287"/>
                      <a:pt x="67" y="287"/>
                      <a:pt x="66" y="286"/>
                    </a:cubicBezTo>
                    <a:cubicBezTo>
                      <a:pt x="66" y="286"/>
                      <a:pt x="66" y="286"/>
                      <a:pt x="66" y="286"/>
                    </a:cubicBezTo>
                    <a:cubicBezTo>
                      <a:pt x="66" y="287"/>
                      <a:pt x="66" y="287"/>
                      <a:pt x="66" y="287"/>
                    </a:cubicBezTo>
                    <a:cubicBezTo>
                      <a:pt x="66" y="287"/>
                      <a:pt x="66" y="287"/>
                      <a:pt x="66" y="287"/>
                    </a:cubicBezTo>
                    <a:cubicBezTo>
                      <a:pt x="66" y="287"/>
                      <a:pt x="66" y="287"/>
                      <a:pt x="66" y="287"/>
                    </a:cubicBezTo>
                    <a:cubicBezTo>
                      <a:pt x="66" y="287"/>
                      <a:pt x="67" y="287"/>
                      <a:pt x="67" y="287"/>
                    </a:cubicBezTo>
                    <a:cubicBezTo>
                      <a:pt x="67" y="287"/>
                      <a:pt x="67" y="287"/>
                      <a:pt x="67" y="287"/>
                    </a:cubicBezTo>
                    <a:cubicBezTo>
                      <a:pt x="68" y="286"/>
                      <a:pt x="68" y="286"/>
                      <a:pt x="68" y="286"/>
                    </a:cubicBezTo>
                    <a:cubicBezTo>
                      <a:pt x="68" y="286"/>
                      <a:pt x="68" y="287"/>
                      <a:pt x="68" y="287"/>
                    </a:cubicBezTo>
                    <a:cubicBezTo>
                      <a:pt x="68" y="287"/>
                      <a:pt x="68" y="287"/>
                      <a:pt x="69" y="287"/>
                    </a:cubicBezTo>
                    <a:cubicBezTo>
                      <a:pt x="69" y="287"/>
                      <a:pt x="69" y="287"/>
                      <a:pt x="69" y="287"/>
                    </a:cubicBezTo>
                    <a:cubicBezTo>
                      <a:pt x="69" y="287"/>
                      <a:pt x="69" y="287"/>
                      <a:pt x="69" y="287"/>
                    </a:cubicBezTo>
                    <a:cubicBezTo>
                      <a:pt x="69" y="287"/>
                      <a:pt x="70" y="287"/>
                      <a:pt x="70" y="286"/>
                    </a:cubicBezTo>
                    <a:cubicBezTo>
                      <a:pt x="70" y="286"/>
                      <a:pt x="70" y="286"/>
                      <a:pt x="70" y="286"/>
                    </a:cubicBezTo>
                    <a:cubicBezTo>
                      <a:pt x="70" y="285"/>
                      <a:pt x="70" y="285"/>
                      <a:pt x="70" y="285"/>
                    </a:cubicBezTo>
                    <a:cubicBezTo>
                      <a:pt x="70" y="285"/>
                      <a:pt x="70" y="285"/>
                      <a:pt x="70" y="285"/>
                    </a:cubicBezTo>
                    <a:cubicBezTo>
                      <a:pt x="70" y="284"/>
                      <a:pt x="70" y="284"/>
                      <a:pt x="69" y="284"/>
                    </a:cubicBezTo>
                    <a:close/>
                    <a:moveTo>
                      <a:pt x="34" y="284"/>
                    </a:moveTo>
                    <a:cubicBezTo>
                      <a:pt x="34" y="284"/>
                      <a:pt x="34" y="284"/>
                      <a:pt x="34" y="284"/>
                    </a:cubicBezTo>
                    <a:cubicBezTo>
                      <a:pt x="34" y="283"/>
                      <a:pt x="35" y="283"/>
                      <a:pt x="35" y="283"/>
                    </a:cubicBezTo>
                    <a:cubicBezTo>
                      <a:pt x="35" y="282"/>
                      <a:pt x="35" y="282"/>
                      <a:pt x="35" y="282"/>
                    </a:cubicBezTo>
                    <a:cubicBezTo>
                      <a:pt x="34" y="282"/>
                      <a:pt x="34" y="282"/>
                      <a:pt x="34" y="282"/>
                    </a:cubicBezTo>
                    <a:cubicBezTo>
                      <a:pt x="34" y="282"/>
                      <a:pt x="34" y="283"/>
                      <a:pt x="34" y="283"/>
                    </a:cubicBezTo>
                    <a:cubicBezTo>
                      <a:pt x="34" y="283"/>
                      <a:pt x="34" y="283"/>
                      <a:pt x="34" y="283"/>
                    </a:cubicBezTo>
                    <a:cubicBezTo>
                      <a:pt x="34" y="283"/>
                      <a:pt x="34" y="284"/>
                      <a:pt x="33" y="284"/>
                    </a:cubicBezTo>
                    <a:cubicBezTo>
                      <a:pt x="33" y="284"/>
                      <a:pt x="33" y="284"/>
                      <a:pt x="33" y="284"/>
                    </a:cubicBezTo>
                    <a:cubicBezTo>
                      <a:pt x="33" y="284"/>
                      <a:pt x="33" y="284"/>
                      <a:pt x="32" y="284"/>
                    </a:cubicBezTo>
                    <a:cubicBezTo>
                      <a:pt x="32" y="284"/>
                      <a:pt x="32" y="285"/>
                      <a:pt x="32" y="285"/>
                    </a:cubicBezTo>
                    <a:cubicBezTo>
                      <a:pt x="32" y="285"/>
                      <a:pt x="32" y="285"/>
                      <a:pt x="32" y="285"/>
                    </a:cubicBezTo>
                    <a:cubicBezTo>
                      <a:pt x="32" y="285"/>
                      <a:pt x="32" y="285"/>
                      <a:pt x="32" y="285"/>
                    </a:cubicBezTo>
                    <a:cubicBezTo>
                      <a:pt x="33" y="285"/>
                      <a:pt x="33" y="285"/>
                      <a:pt x="33" y="285"/>
                    </a:cubicBezTo>
                    <a:cubicBezTo>
                      <a:pt x="33" y="285"/>
                      <a:pt x="33" y="284"/>
                      <a:pt x="33" y="284"/>
                    </a:cubicBezTo>
                    <a:cubicBezTo>
                      <a:pt x="34" y="284"/>
                      <a:pt x="34" y="284"/>
                      <a:pt x="34" y="284"/>
                    </a:cubicBezTo>
                    <a:cubicBezTo>
                      <a:pt x="34" y="284"/>
                      <a:pt x="34" y="284"/>
                      <a:pt x="34" y="284"/>
                    </a:cubicBezTo>
                    <a:cubicBezTo>
                      <a:pt x="34" y="284"/>
                      <a:pt x="34" y="284"/>
                      <a:pt x="34" y="284"/>
                    </a:cubicBezTo>
                    <a:close/>
                    <a:moveTo>
                      <a:pt x="6" y="274"/>
                    </a:moveTo>
                    <a:cubicBezTo>
                      <a:pt x="6" y="274"/>
                      <a:pt x="6" y="274"/>
                      <a:pt x="6" y="274"/>
                    </a:cubicBezTo>
                    <a:cubicBezTo>
                      <a:pt x="6" y="274"/>
                      <a:pt x="6" y="274"/>
                      <a:pt x="6" y="274"/>
                    </a:cubicBezTo>
                    <a:cubicBezTo>
                      <a:pt x="6" y="274"/>
                      <a:pt x="5" y="274"/>
                      <a:pt x="6" y="274"/>
                    </a:cubicBezTo>
                    <a:cubicBezTo>
                      <a:pt x="6" y="274"/>
                      <a:pt x="6" y="273"/>
                      <a:pt x="6" y="273"/>
                    </a:cubicBezTo>
                    <a:cubicBezTo>
                      <a:pt x="6" y="273"/>
                      <a:pt x="5" y="273"/>
                      <a:pt x="5" y="273"/>
                    </a:cubicBezTo>
                    <a:cubicBezTo>
                      <a:pt x="5" y="273"/>
                      <a:pt x="5" y="273"/>
                      <a:pt x="5" y="273"/>
                    </a:cubicBezTo>
                    <a:cubicBezTo>
                      <a:pt x="5" y="274"/>
                      <a:pt x="5" y="274"/>
                      <a:pt x="5" y="273"/>
                    </a:cubicBezTo>
                    <a:cubicBezTo>
                      <a:pt x="5" y="273"/>
                      <a:pt x="5" y="273"/>
                      <a:pt x="5" y="273"/>
                    </a:cubicBezTo>
                    <a:cubicBezTo>
                      <a:pt x="5" y="273"/>
                      <a:pt x="5" y="273"/>
                      <a:pt x="4" y="273"/>
                    </a:cubicBezTo>
                    <a:cubicBezTo>
                      <a:pt x="4" y="273"/>
                      <a:pt x="4" y="273"/>
                      <a:pt x="4" y="273"/>
                    </a:cubicBezTo>
                    <a:cubicBezTo>
                      <a:pt x="4" y="273"/>
                      <a:pt x="4" y="273"/>
                      <a:pt x="4" y="273"/>
                    </a:cubicBezTo>
                    <a:cubicBezTo>
                      <a:pt x="4" y="273"/>
                      <a:pt x="4" y="273"/>
                      <a:pt x="3" y="273"/>
                    </a:cubicBezTo>
                    <a:cubicBezTo>
                      <a:pt x="3" y="273"/>
                      <a:pt x="3" y="273"/>
                      <a:pt x="3" y="273"/>
                    </a:cubicBezTo>
                    <a:cubicBezTo>
                      <a:pt x="3" y="273"/>
                      <a:pt x="3" y="273"/>
                      <a:pt x="3" y="273"/>
                    </a:cubicBezTo>
                    <a:cubicBezTo>
                      <a:pt x="2" y="273"/>
                      <a:pt x="2" y="272"/>
                      <a:pt x="2" y="273"/>
                    </a:cubicBezTo>
                    <a:cubicBezTo>
                      <a:pt x="2" y="273"/>
                      <a:pt x="1" y="272"/>
                      <a:pt x="1" y="273"/>
                    </a:cubicBezTo>
                    <a:cubicBezTo>
                      <a:pt x="1" y="273"/>
                      <a:pt x="1" y="273"/>
                      <a:pt x="0" y="273"/>
                    </a:cubicBezTo>
                    <a:cubicBezTo>
                      <a:pt x="0" y="273"/>
                      <a:pt x="0" y="273"/>
                      <a:pt x="0" y="273"/>
                    </a:cubicBezTo>
                    <a:cubicBezTo>
                      <a:pt x="0" y="273"/>
                      <a:pt x="0" y="274"/>
                      <a:pt x="1" y="274"/>
                    </a:cubicBezTo>
                    <a:cubicBezTo>
                      <a:pt x="1" y="273"/>
                      <a:pt x="1" y="273"/>
                      <a:pt x="1" y="273"/>
                    </a:cubicBezTo>
                    <a:cubicBezTo>
                      <a:pt x="1" y="273"/>
                      <a:pt x="1" y="273"/>
                      <a:pt x="1" y="273"/>
                    </a:cubicBezTo>
                    <a:cubicBezTo>
                      <a:pt x="1" y="274"/>
                      <a:pt x="1" y="274"/>
                      <a:pt x="1" y="274"/>
                    </a:cubicBezTo>
                    <a:cubicBezTo>
                      <a:pt x="1" y="274"/>
                      <a:pt x="1"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5"/>
                    </a:cubicBezTo>
                    <a:cubicBezTo>
                      <a:pt x="2" y="275"/>
                      <a:pt x="2" y="275"/>
                      <a:pt x="2" y="275"/>
                    </a:cubicBezTo>
                    <a:cubicBezTo>
                      <a:pt x="2" y="275"/>
                      <a:pt x="2" y="275"/>
                      <a:pt x="2" y="275"/>
                    </a:cubicBezTo>
                    <a:cubicBezTo>
                      <a:pt x="2" y="275"/>
                      <a:pt x="3" y="275"/>
                      <a:pt x="3" y="275"/>
                    </a:cubicBezTo>
                    <a:cubicBezTo>
                      <a:pt x="3" y="275"/>
                      <a:pt x="3" y="275"/>
                      <a:pt x="3" y="275"/>
                    </a:cubicBezTo>
                    <a:cubicBezTo>
                      <a:pt x="4" y="275"/>
                      <a:pt x="4" y="275"/>
                      <a:pt x="4" y="274"/>
                    </a:cubicBezTo>
                    <a:cubicBezTo>
                      <a:pt x="4" y="274"/>
                      <a:pt x="4" y="275"/>
                      <a:pt x="4" y="275"/>
                    </a:cubicBezTo>
                    <a:cubicBezTo>
                      <a:pt x="4" y="275"/>
                      <a:pt x="5" y="275"/>
                      <a:pt x="5" y="275"/>
                    </a:cubicBezTo>
                    <a:cubicBezTo>
                      <a:pt x="5" y="275"/>
                      <a:pt x="5" y="274"/>
                      <a:pt x="5" y="274"/>
                    </a:cubicBezTo>
                    <a:cubicBezTo>
                      <a:pt x="5" y="274"/>
                      <a:pt x="5" y="274"/>
                      <a:pt x="5" y="274"/>
                    </a:cubicBezTo>
                    <a:cubicBezTo>
                      <a:pt x="5" y="274"/>
                      <a:pt x="6" y="274"/>
                      <a:pt x="6" y="274"/>
                    </a:cubicBezTo>
                    <a:cubicBezTo>
                      <a:pt x="6" y="274"/>
                      <a:pt x="6" y="274"/>
                      <a:pt x="6" y="274"/>
                    </a:cubicBezTo>
                    <a:cubicBezTo>
                      <a:pt x="6" y="274"/>
                      <a:pt x="6" y="274"/>
                      <a:pt x="6" y="274"/>
                    </a:cubicBezTo>
                    <a:close/>
                    <a:moveTo>
                      <a:pt x="8" y="278"/>
                    </a:moveTo>
                    <a:cubicBezTo>
                      <a:pt x="8" y="278"/>
                      <a:pt x="8" y="278"/>
                      <a:pt x="8" y="278"/>
                    </a:cubicBezTo>
                    <a:cubicBezTo>
                      <a:pt x="8" y="278"/>
                      <a:pt x="8" y="278"/>
                      <a:pt x="8" y="278"/>
                    </a:cubicBezTo>
                    <a:cubicBezTo>
                      <a:pt x="7" y="279"/>
                      <a:pt x="7" y="279"/>
                      <a:pt x="7" y="279"/>
                    </a:cubicBezTo>
                    <a:cubicBezTo>
                      <a:pt x="6" y="279"/>
                      <a:pt x="6" y="279"/>
                      <a:pt x="6" y="279"/>
                    </a:cubicBezTo>
                    <a:cubicBezTo>
                      <a:pt x="6" y="279"/>
                      <a:pt x="6" y="279"/>
                      <a:pt x="6" y="279"/>
                    </a:cubicBezTo>
                    <a:cubicBezTo>
                      <a:pt x="6" y="279"/>
                      <a:pt x="6" y="279"/>
                      <a:pt x="6" y="279"/>
                    </a:cubicBezTo>
                    <a:cubicBezTo>
                      <a:pt x="7" y="279"/>
                      <a:pt x="7" y="279"/>
                      <a:pt x="7" y="279"/>
                    </a:cubicBezTo>
                    <a:cubicBezTo>
                      <a:pt x="8" y="279"/>
                      <a:pt x="8" y="279"/>
                      <a:pt x="8" y="280"/>
                    </a:cubicBezTo>
                    <a:cubicBezTo>
                      <a:pt x="8" y="280"/>
                      <a:pt x="8" y="280"/>
                      <a:pt x="8" y="280"/>
                    </a:cubicBezTo>
                    <a:cubicBezTo>
                      <a:pt x="8" y="280"/>
                      <a:pt x="9" y="280"/>
                      <a:pt x="8" y="279"/>
                    </a:cubicBezTo>
                    <a:cubicBezTo>
                      <a:pt x="8" y="279"/>
                      <a:pt x="8" y="279"/>
                      <a:pt x="8" y="279"/>
                    </a:cubicBezTo>
                    <a:cubicBezTo>
                      <a:pt x="8" y="279"/>
                      <a:pt x="8" y="278"/>
                      <a:pt x="9" y="278"/>
                    </a:cubicBezTo>
                    <a:cubicBezTo>
                      <a:pt x="9" y="278"/>
                      <a:pt x="9" y="278"/>
                      <a:pt x="9" y="278"/>
                    </a:cubicBezTo>
                    <a:cubicBezTo>
                      <a:pt x="9" y="278"/>
                      <a:pt x="9" y="278"/>
                      <a:pt x="8" y="278"/>
                    </a:cubicBezTo>
                    <a:close/>
                    <a:moveTo>
                      <a:pt x="48" y="283"/>
                    </a:moveTo>
                    <a:cubicBezTo>
                      <a:pt x="48" y="283"/>
                      <a:pt x="48" y="283"/>
                      <a:pt x="48" y="283"/>
                    </a:cubicBezTo>
                    <a:cubicBezTo>
                      <a:pt x="48" y="284"/>
                      <a:pt x="47" y="284"/>
                      <a:pt x="47" y="284"/>
                    </a:cubicBezTo>
                    <a:cubicBezTo>
                      <a:pt x="47" y="284"/>
                      <a:pt x="47" y="284"/>
                      <a:pt x="47" y="284"/>
                    </a:cubicBezTo>
                    <a:cubicBezTo>
                      <a:pt x="47" y="285"/>
                      <a:pt x="48" y="285"/>
                      <a:pt x="48" y="285"/>
                    </a:cubicBezTo>
                    <a:cubicBezTo>
                      <a:pt x="48" y="285"/>
                      <a:pt x="49" y="284"/>
                      <a:pt x="49" y="284"/>
                    </a:cubicBezTo>
                    <a:cubicBezTo>
                      <a:pt x="49" y="284"/>
                      <a:pt x="49" y="284"/>
                      <a:pt x="49" y="284"/>
                    </a:cubicBezTo>
                    <a:cubicBezTo>
                      <a:pt x="49" y="284"/>
                      <a:pt x="48" y="284"/>
                      <a:pt x="48" y="283"/>
                    </a:cubicBezTo>
                    <a:close/>
                    <a:moveTo>
                      <a:pt x="101" y="279"/>
                    </a:moveTo>
                    <a:cubicBezTo>
                      <a:pt x="101" y="279"/>
                      <a:pt x="101" y="279"/>
                      <a:pt x="101" y="279"/>
                    </a:cubicBezTo>
                    <a:cubicBezTo>
                      <a:pt x="100" y="280"/>
                      <a:pt x="100" y="280"/>
                      <a:pt x="100" y="280"/>
                    </a:cubicBezTo>
                    <a:cubicBezTo>
                      <a:pt x="100" y="280"/>
                      <a:pt x="100" y="280"/>
                      <a:pt x="100" y="281"/>
                    </a:cubicBezTo>
                    <a:cubicBezTo>
                      <a:pt x="100" y="281"/>
                      <a:pt x="100" y="281"/>
                      <a:pt x="100" y="281"/>
                    </a:cubicBezTo>
                    <a:cubicBezTo>
                      <a:pt x="101" y="281"/>
                      <a:pt x="101" y="280"/>
                      <a:pt x="101" y="280"/>
                    </a:cubicBezTo>
                    <a:cubicBezTo>
                      <a:pt x="102" y="280"/>
                      <a:pt x="102" y="280"/>
                      <a:pt x="101" y="279"/>
                    </a:cubicBezTo>
                    <a:close/>
                    <a:moveTo>
                      <a:pt x="113" y="276"/>
                    </a:moveTo>
                    <a:cubicBezTo>
                      <a:pt x="112" y="276"/>
                      <a:pt x="112" y="276"/>
                      <a:pt x="112" y="276"/>
                    </a:cubicBezTo>
                    <a:cubicBezTo>
                      <a:pt x="112" y="277"/>
                      <a:pt x="112" y="277"/>
                      <a:pt x="112" y="277"/>
                    </a:cubicBezTo>
                    <a:cubicBezTo>
                      <a:pt x="112" y="277"/>
                      <a:pt x="112" y="277"/>
                      <a:pt x="112" y="278"/>
                    </a:cubicBezTo>
                    <a:cubicBezTo>
                      <a:pt x="112" y="278"/>
                      <a:pt x="112" y="278"/>
                      <a:pt x="112" y="277"/>
                    </a:cubicBezTo>
                    <a:cubicBezTo>
                      <a:pt x="112" y="277"/>
                      <a:pt x="112" y="277"/>
                      <a:pt x="113" y="277"/>
                    </a:cubicBezTo>
                    <a:cubicBezTo>
                      <a:pt x="113" y="277"/>
                      <a:pt x="113" y="277"/>
                      <a:pt x="113" y="277"/>
                    </a:cubicBezTo>
                    <a:cubicBezTo>
                      <a:pt x="113" y="277"/>
                      <a:pt x="113" y="276"/>
                      <a:pt x="113" y="276"/>
                    </a:cubicBezTo>
                    <a:cubicBezTo>
                      <a:pt x="113" y="276"/>
                      <a:pt x="113" y="276"/>
                      <a:pt x="113" y="276"/>
                    </a:cubicBezTo>
                    <a:close/>
                    <a:moveTo>
                      <a:pt x="148" y="259"/>
                    </a:moveTo>
                    <a:cubicBezTo>
                      <a:pt x="148" y="259"/>
                      <a:pt x="148" y="259"/>
                      <a:pt x="148" y="259"/>
                    </a:cubicBezTo>
                    <a:cubicBezTo>
                      <a:pt x="147" y="259"/>
                      <a:pt x="147" y="259"/>
                      <a:pt x="147" y="259"/>
                    </a:cubicBezTo>
                    <a:cubicBezTo>
                      <a:pt x="147" y="259"/>
                      <a:pt x="147" y="259"/>
                      <a:pt x="147" y="259"/>
                    </a:cubicBezTo>
                    <a:cubicBezTo>
                      <a:pt x="147" y="258"/>
                      <a:pt x="147" y="258"/>
                      <a:pt x="147" y="258"/>
                    </a:cubicBezTo>
                    <a:cubicBezTo>
                      <a:pt x="147" y="258"/>
                      <a:pt x="147" y="258"/>
                      <a:pt x="147" y="258"/>
                    </a:cubicBezTo>
                    <a:cubicBezTo>
                      <a:pt x="147" y="258"/>
                      <a:pt x="147" y="258"/>
                      <a:pt x="147" y="258"/>
                    </a:cubicBezTo>
                    <a:cubicBezTo>
                      <a:pt x="147" y="258"/>
                      <a:pt x="147" y="258"/>
                      <a:pt x="147" y="258"/>
                    </a:cubicBezTo>
                    <a:cubicBezTo>
                      <a:pt x="146" y="258"/>
                      <a:pt x="146" y="258"/>
                      <a:pt x="146" y="258"/>
                    </a:cubicBezTo>
                    <a:cubicBezTo>
                      <a:pt x="146" y="258"/>
                      <a:pt x="146" y="259"/>
                      <a:pt x="146" y="259"/>
                    </a:cubicBezTo>
                    <a:cubicBezTo>
                      <a:pt x="146" y="259"/>
                      <a:pt x="146" y="259"/>
                      <a:pt x="146" y="259"/>
                    </a:cubicBezTo>
                    <a:cubicBezTo>
                      <a:pt x="146" y="259"/>
                      <a:pt x="146" y="259"/>
                      <a:pt x="147" y="259"/>
                    </a:cubicBezTo>
                    <a:cubicBezTo>
                      <a:pt x="147" y="259"/>
                      <a:pt x="147" y="259"/>
                      <a:pt x="147" y="259"/>
                    </a:cubicBezTo>
                    <a:cubicBezTo>
                      <a:pt x="146" y="259"/>
                      <a:pt x="146" y="259"/>
                      <a:pt x="146" y="259"/>
                    </a:cubicBezTo>
                    <a:cubicBezTo>
                      <a:pt x="147" y="259"/>
                      <a:pt x="146" y="259"/>
                      <a:pt x="146" y="260"/>
                    </a:cubicBezTo>
                    <a:cubicBezTo>
                      <a:pt x="146" y="260"/>
                      <a:pt x="146" y="260"/>
                      <a:pt x="147" y="260"/>
                    </a:cubicBezTo>
                    <a:cubicBezTo>
                      <a:pt x="147" y="260"/>
                      <a:pt x="147" y="260"/>
                      <a:pt x="147" y="260"/>
                    </a:cubicBezTo>
                    <a:cubicBezTo>
                      <a:pt x="147" y="260"/>
                      <a:pt x="147" y="260"/>
                      <a:pt x="147" y="260"/>
                    </a:cubicBezTo>
                    <a:cubicBezTo>
                      <a:pt x="147" y="260"/>
                      <a:pt x="147" y="260"/>
                      <a:pt x="147" y="259"/>
                    </a:cubicBezTo>
                    <a:cubicBezTo>
                      <a:pt x="147" y="259"/>
                      <a:pt x="147" y="259"/>
                      <a:pt x="148" y="259"/>
                    </a:cubicBezTo>
                    <a:cubicBezTo>
                      <a:pt x="148" y="259"/>
                      <a:pt x="148" y="259"/>
                      <a:pt x="148" y="259"/>
                    </a:cubicBezTo>
                    <a:close/>
                    <a:moveTo>
                      <a:pt x="119" y="274"/>
                    </a:moveTo>
                    <a:cubicBezTo>
                      <a:pt x="119" y="274"/>
                      <a:pt x="118" y="274"/>
                      <a:pt x="118" y="274"/>
                    </a:cubicBezTo>
                    <a:cubicBezTo>
                      <a:pt x="118" y="274"/>
                      <a:pt x="118" y="274"/>
                      <a:pt x="118" y="274"/>
                    </a:cubicBezTo>
                    <a:cubicBezTo>
                      <a:pt x="117" y="274"/>
                      <a:pt x="117" y="274"/>
                      <a:pt x="117" y="274"/>
                    </a:cubicBezTo>
                    <a:cubicBezTo>
                      <a:pt x="117" y="275"/>
                      <a:pt x="117" y="275"/>
                      <a:pt x="117" y="275"/>
                    </a:cubicBezTo>
                    <a:cubicBezTo>
                      <a:pt x="118" y="275"/>
                      <a:pt x="118" y="275"/>
                      <a:pt x="118" y="275"/>
                    </a:cubicBezTo>
                    <a:cubicBezTo>
                      <a:pt x="118" y="275"/>
                      <a:pt x="118" y="275"/>
                      <a:pt x="118" y="275"/>
                    </a:cubicBezTo>
                    <a:cubicBezTo>
                      <a:pt x="118" y="275"/>
                      <a:pt x="119" y="275"/>
                      <a:pt x="119" y="275"/>
                    </a:cubicBezTo>
                    <a:cubicBezTo>
                      <a:pt x="119" y="275"/>
                      <a:pt x="119" y="275"/>
                      <a:pt x="119" y="275"/>
                    </a:cubicBezTo>
                    <a:cubicBezTo>
                      <a:pt x="119" y="275"/>
                      <a:pt x="119" y="274"/>
                      <a:pt x="119" y="274"/>
                    </a:cubicBezTo>
                    <a:close/>
                    <a:moveTo>
                      <a:pt x="76" y="284"/>
                    </a:moveTo>
                    <a:cubicBezTo>
                      <a:pt x="76" y="284"/>
                      <a:pt x="77" y="284"/>
                      <a:pt x="77" y="284"/>
                    </a:cubicBezTo>
                    <a:cubicBezTo>
                      <a:pt x="77" y="284"/>
                      <a:pt x="77" y="284"/>
                      <a:pt x="77" y="284"/>
                    </a:cubicBezTo>
                    <a:cubicBezTo>
                      <a:pt x="77" y="284"/>
                      <a:pt x="77" y="284"/>
                      <a:pt x="77" y="283"/>
                    </a:cubicBezTo>
                    <a:cubicBezTo>
                      <a:pt x="77" y="283"/>
                      <a:pt x="77" y="283"/>
                      <a:pt x="77" y="283"/>
                    </a:cubicBezTo>
                    <a:cubicBezTo>
                      <a:pt x="77" y="283"/>
                      <a:pt x="77" y="283"/>
                      <a:pt x="77" y="283"/>
                    </a:cubicBezTo>
                    <a:cubicBezTo>
                      <a:pt x="77" y="283"/>
                      <a:pt x="77" y="282"/>
                      <a:pt x="76" y="282"/>
                    </a:cubicBezTo>
                    <a:cubicBezTo>
                      <a:pt x="76" y="282"/>
                      <a:pt x="76" y="283"/>
                      <a:pt x="76" y="283"/>
                    </a:cubicBezTo>
                    <a:cubicBezTo>
                      <a:pt x="76" y="283"/>
                      <a:pt x="76" y="283"/>
                      <a:pt x="76" y="284"/>
                    </a:cubicBezTo>
                    <a:close/>
                    <a:moveTo>
                      <a:pt x="146" y="260"/>
                    </a:moveTo>
                    <a:cubicBezTo>
                      <a:pt x="146" y="260"/>
                      <a:pt x="146" y="260"/>
                      <a:pt x="146" y="260"/>
                    </a:cubicBezTo>
                    <a:cubicBezTo>
                      <a:pt x="146" y="260"/>
                      <a:pt x="146" y="260"/>
                      <a:pt x="146" y="260"/>
                    </a:cubicBezTo>
                    <a:cubicBezTo>
                      <a:pt x="146" y="260"/>
                      <a:pt x="146" y="260"/>
                      <a:pt x="146" y="260"/>
                    </a:cubicBezTo>
                    <a:cubicBezTo>
                      <a:pt x="146" y="260"/>
                      <a:pt x="146" y="260"/>
                      <a:pt x="145" y="260"/>
                    </a:cubicBezTo>
                    <a:cubicBezTo>
                      <a:pt x="145" y="260"/>
                      <a:pt x="145" y="260"/>
                      <a:pt x="145" y="260"/>
                    </a:cubicBezTo>
                    <a:cubicBezTo>
                      <a:pt x="145" y="260"/>
                      <a:pt x="145" y="260"/>
                      <a:pt x="145" y="260"/>
                    </a:cubicBezTo>
                    <a:cubicBezTo>
                      <a:pt x="146" y="260"/>
                      <a:pt x="146" y="260"/>
                      <a:pt x="145" y="259"/>
                    </a:cubicBezTo>
                    <a:cubicBezTo>
                      <a:pt x="145" y="259"/>
                      <a:pt x="145" y="259"/>
                      <a:pt x="145" y="259"/>
                    </a:cubicBezTo>
                    <a:cubicBezTo>
                      <a:pt x="145" y="259"/>
                      <a:pt x="145" y="259"/>
                      <a:pt x="145" y="259"/>
                    </a:cubicBezTo>
                    <a:cubicBezTo>
                      <a:pt x="145" y="259"/>
                      <a:pt x="145" y="259"/>
                      <a:pt x="145" y="259"/>
                    </a:cubicBezTo>
                    <a:cubicBezTo>
                      <a:pt x="144" y="259"/>
                      <a:pt x="144" y="259"/>
                      <a:pt x="144" y="259"/>
                    </a:cubicBezTo>
                    <a:cubicBezTo>
                      <a:pt x="144" y="259"/>
                      <a:pt x="144" y="259"/>
                      <a:pt x="144" y="259"/>
                    </a:cubicBezTo>
                    <a:cubicBezTo>
                      <a:pt x="143" y="259"/>
                      <a:pt x="143" y="260"/>
                      <a:pt x="143" y="260"/>
                    </a:cubicBezTo>
                    <a:cubicBezTo>
                      <a:pt x="144" y="260"/>
                      <a:pt x="144" y="261"/>
                      <a:pt x="144" y="261"/>
                    </a:cubicBezTo>
                    <a:cubicBezTo>
                      <a:pt x="144" y="261"/>
                      <a:pt x="144" y="261"/>
                      <a:pt x="144" y="261"/>
                    </a:cubicBezTo>
                    <a:cubicBezTo>
                      <a:pt x="144" y="261"/>
                      <a:pt x="144" y="261"/>
                      <a:pt x="144" y="261"/>
                    </a:cubicBezTo>
                    <a:cubicBezTo>
                      <a:pt x="144" y="261"/>
                      <a:pt x="144" y="260"/>
                      <a:pt x="145" y="261"/>
                    </a:cubicBezTo>
                    <a:cubicBezTo>
                      <a:pt x="145" y="261"/>
                      <a:pt x="145" y="261"/>
                      <a:pt x="145" y="261"/>
                    </a:cubicBezTo>
                    <a:cubicBezTo>
                      <a:pt x="145" y="261"/>
                      <a:pt x="145" y="261"/>
                      <a:pt x="145" y="261"/>
                    </a:cubicBezTo>
                    <a:cubicBezTo>
                      <a:pt x="145" y="260"/>
                      <a:pt x="145" y="260"/>
                      <a:pt x="145" y="260"/>
                    </a:cubicBezTo>
                    <a:cubicBezTo>
                      <a:pt x="145" y="261"/>
                      <a:pt x="146" y="260"/>
                      <a:pt x="146" y="260"/>
                    </a:cubicBezTo>
                    <a:cubicBezTo>
                      <a:pt x="146" y="260"/>
                      <a:pt x="146" y="260"/>
                      <a:pt x="146" y="260"/>
                    </a:cubicBezTo>
                    <a:cubicBezTo>
                      <a:pt x="146" y="260"/>
                      <a:pt x="146" y="260"/>
                      <a:pt x="146" y="260"/>
                    </a:cubicBezTo>
                    <a:close/>
                    <a:moveTo>
                      <a:pt x="75" y="285"/>
                    </a:move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3" y="285"/>
                      <a:pt x="73" y="285"/>
                    </a:cubicBezTo>
                    <a:cubicBezTo>
                      <a:pt x="73" y="285"/>
                      <a:pt x="73" y="285"/>
                      <a:pt x="73" y="285"/>
                    </a:cubicBezTo>
                    <a:cubicBezTo>
                      <a:pt x="73" y="285"/>
                      <a:pt x="73" y="285"/>
                      <a:pt x="73" y="284"/>
                    </a:cubicBezTo>
                    <a:cubicBezTo>
                      <a:pt x="73" y="284"/>
                      <a:pt x="73" y="284"/>
                      <a:pt x="73" y="284"/>
                    </a:cubicBezTo>
                    <a:cubicBezTo>
                      <a:pt x="73" y="284"/>
                      <a:pt x="73" y="284"/>
                      <a:pt x="73" y="284"/>
                    </a:cubicBezTo>
                    <a:cubicBezTo>
                      <a:pt x="73" y="284"/>
                      <a:pt x="73" y="283"/>
                      <a:pt x="73" y="284"/>
                    </a:cubicBezTo>
                    <a:cubicBezTo>
                      <a:pt x="73" y="284"/>
                      <a:pt x="73" y="284"/>
                      <a:pt x="73" y="284"/>
                    </a:cubicBezTo>
                    <a:cubicBezTo>
                      <a:pt x="73" y="284"/>
                      <a:pt x="73" y="284"/>
                      <a:pt x="73" y="284"/>
                    </a:cubicBezTo>
                    <a:cubicBezTo>
                      <a:pt x="73" y="284"/>
                      <a:pt x="73" y="284"/>
                      <a:pt x="73" y="284"/>
                    </a:cubicBezTo>
                    <a:cubicBezTo>
                      <a:pt x="73" y="284"/>
                      <a:pt x="72" y="284"/>
                      <a:pt x="72" y="284"/>
                    </a:cubicBezTo>
                    <a:cubicBezTo>
                      <a:pt x="72" y="284"/>
                      <a:pt x="72" y="284"/>
                      <a:pt x="72" y="284"/>
                    </a:cubicBezTo>
                    <a:cubicBezTo>
                      <a:pt x="72" y="284"/>
                      <a:pt x="72" y="285"/>
                      <a:pt x="72" y="285"/>
                    </a:cubicBezTo>
                    <a:cubicBezTo>
                      <a:pt x="72" y="285"/>
                      <a:pt x="72" y="285"/>
                      <a:pt x="72" y="285"/>
                    </a:cubicBezTo>
                    <a:cubicBezTo>
                      <a:pt x="72" y="285"/>
                      <a:pt x="72" y="285"/>
                      <a:pt x="72" y="286"/>
                    </a:cubicBezTo>
                    <a:cubicBezTo>
                      <a:pt x="72" y="286"/>
                      <a:pt x="72" y="286"/>
                      <a:pt x="71" y="285"/>
                    </a:cubicBezTo>
                    <a:cubicBezTo>
                      <a:pt x="71" y="285"/>
                      <a:pt x="71" y="285"/>
                      <a:pt x="71" y="286"/>
                    </a:cubicBezTo>
                    <a:cubicBezTo>
                      <a:pt x="71" y="286"/>
                      <a:pt x="71" y="286"/>
                      <a:pt x="71" y="286"/>
                    </a:cubicBezTo>
                    <a:cubicBezTo>
                      <a:pt x="71" y="286"/>
                      <a:pt x="71" y="286"/>
                      <a:pt x="71" y="286"/>
                    </a:cubicBezTo>
                    <a:cubicBezTo>
                      <a:pt x="71" y="286"/>
                      <a:pt x="71" y="287"/>
                      <a:pt x="71" y="287"/>
                    </a:cubicBezTo>
                    <a:cubicBezTo>
                      <a:pt x="71" y="287"/>
                      <a:pt x="71" y="287"/>
                      <a:pt x="70" y="287"/>
                    </a:cubicBezTo>
                    <a:cubicBezTo>
                      <a:pt x="70" y="288"/>
                      <a:pt x="71" y="288"/>
                      <a:pt x="71" y="288"/>
                    </a:cubicBezTo>
                    <a:cubicBezTo>
                      <a:pt x="71" y="288"/>
                      <a:pt x="71" y="288"/>
                      <a:pt x="71" y="288"/>
                    </a:cubicBezTo>
                    <a:cubicBezTo>
                      <a:pt x="71" y="287"/>
                      <a:pt x="71" y="287"/>
                      <a:pt x="71" y="287"/>
                    </a:cubicBezTo>
                    <a:cubicBezTo>
                      <a:pt x="71" y="287"/>
                      <a:pt x="72" y="287"/>
                      <a:pt x="72" y="287"/>
                    </a:cubicBezTo>
                    <a:cubicBezTo>
                      <a:pt x="72" y="288"/>
                      <a:pt x="72" y="288"/>
                      <a:pt x="72" y="288"/>
                    </a:cubicBezTo>
                    <a:cubicBezTo>
                      <a:pt x="72" y="287"/>
                      <a:pt x="72" y="287"/>
                      <a:pt x="72" y="287"/>
                    </a:cubicBezTo>
                    <a:cubicBezTo>
                      <a:pt x="72" y="287"/>
                      <a:pt x="72" y="287"/>
                      <a:pt x="72" y="287"/>
                    </a:cubicBezTo>
                    <a:cubicBezTo>
                      <a:pt x="73" y="287"/>
                      <a:pt x="73" y="287"/>
                      <a:pt x="73" y="287"/>
                    </a:cubicBezTo>
                    <a:cubicBezTo>
                      <a:pt x="73" y="287"/>
                      <a:pt x="73" y="287"/>
                      <a:pt x="73" y="287"/>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5" y="286"/>
                      <a:pt x="75" y="286"/>
                    </a:cubicBezTo>
                    <a:cubicBezTo>
                      <a:pt x="75" y="286"/>
                      <a:pt x="75" y="286"/>
                      <a:pt x="75" y="286"/>
                    </a:cubicBezTo>
                    <a:cubicBezTo>
                      <a:pt x="75" y="286"/>
                      <a:pt x="75" y="286"/>
                      <a:pt x="75" y="286"/>
                    </a:cubicBezTo>
                    <a:cubicBezTo>
                      <a:pt x="75" y="286"/>
                      <a:pt x="75" y="286"/>
                      <a:pt x="75" y="286"/>
                    </a:cubicBezTo>
                    <a:cubicBezTo>
                      <a:pt x="75" y="285"/>
                      <a:pt x="75" y="285"/>
                      <a:pt x="75" y="285"/>
                    </a:cubicBezTo>
                    <a:close/>
                    <a:moveTo>
                      <a:pt x="143" y="263"/>
                    </a:moveTo>
                    <a:cubicBezTo>
                      <a:pt x="143" y="263"/>
                      <a:pt x="142" y="263"/>
                      <a:pt x="142" y="264"/>
                    </a:cubicBezTo>
                    <a:cubicBezTo>
                      <a:pt x="142" y="264"/>
                      <a:pt x="142" y="264"/>
                      <a:pt x="142" y="264"/>
                    </a:cubicBezTo>
                    <a:cubicBezTo>
                      <a:pt x="142" y="263"/>
                      <a:pt x="142" y="264"/>
                      <a:pt x="142" y="264"/>
                    </a:cubicBezTo>
                    <a:cubicBezTo>
                      <a:pt x="142" y="264"/>
                      <a:pt x="142" y="264"/>
                      <a:pt x="142" y="264"/>
                    </a:cubicBezTo>
                    <a:cubicBezTo>
                      <a:pt x="142" y="264"/>
                      <a:pt x="142" y="264"/>
                      <a:pt x="142" y="264"/>
                    </a:cubicBezTo>
                    <a:cubicBezTo>
                      <a:pt x="143" y="264"/>
                      <a:pt x="143" y="264"/>
                      <a:pt x="143" y="264"/>
                    </a:cubicBezTo>
                    <a:cubicBezTo>
                      <a:pt x="143" y="264"/>
                      <a:pt x="143" y="264"/>
                      <a:pt x="143" y="264"/>
                    </a:cubicBezTo>
                    <a:cubicBezTo>
                      <a:pt x="143" y="264"/>
                      <a:pt x="143" y="264"/>
                      <a:pt x="143" y="264"/>
                    </a:cubicBezTo>
                    <a:cubicBezTo>
                      <a:pt x="143" y="263"/>
                      <a:pt x="143" y="263"/>
                      <a:pt x="143" y="263"/>
                    </a:cubicBezTo>
                    <a:cubicBezTo>
                      <a:pt x="143" y="263"/>
                      <a:pt x="143" y="263"/>
                      <a:pt x="143" y="263"/>
                    </a:cubicBezTo>
                    <a:cubicBezTo>
                      <a:pt x="143" y="263"/>
                      <a:pt x="143" y="263"/>
                      <a:pt x="143" y="263"/>
                    </a:cubicBezTo>
                    <a:close/>
                    <a:moveTo>
                      <a:pt x="151" y="260"/>
                    </a:moveTo>
                    <a:cubicBezTo>
                      <a:pt x="151" y="260"/>
                      <a:pt x="150" y="260"/>
                      <a:pt x="150" y="260"/>
                    </a:cubicBezTo>
                    <a:cubicBezTo>
                      <a:pt x="150" y="260"/>
                      <a:pt x="150" y="260"/>
                      <a:pt x="149" y="260"/>
                    </a:cubicBezTo>
                    <a:cubicBezTo>
                      <a:pt x="149" y="260"/>
                      <a:pt x="149" y="260"/>
                      <a:pt x="149" y="260"/>
                    </a:cubicBezTo>
                    <a:cubicBezTo>
                      <a:pt x="150" y="260"/>
                      <a:pt x="150" y="260"/>
                      <a:pt x="150" y="260"/>
                    </a:cubicBezTo>
                    <a:cubicBezTo>
                      <a:pt x="150" y="261"/>
                      <a:pt x="151" y="260"/>
                      <a:pt x="151" y="260"/>
                    </a:cubicBezTo>
                    <a:cubicBezTo>
                      <a:pt x="151" y="260"/>
                      <a:pt x="151" y="260"/>
                      <a:pt x="151" y="260"/>
                    </a:cubicBezTo>
                    <a:cubicBezTo>
                      <a:pt x="151" y="260"/>
                      <a:pt x="151" y="260"/>
                      <a:pt x="151" y="260"/>
                    </a:cubicBezTo>
                    <a:close/>
                    <a:moveTo>
                      <a:pt x="77" y="285"/>
                    </a:moveTo>
                    <a:cubicBezTo>
                      <a:pt x="76" y="285"/>
                      <a:pt x="76" y="285"/>
                      <a:pt x="76" y="285"/>
                    </a:cubicBezTo>
                    <a:cubicBezTo>
                      <a:pt x="76" y="285"/>
                      <a:pt x="76" y="285"/>
                      <a:pt x="76" y="285"/>
                    </a:cubicBezTo>
                    <a:cubicBezTo>
                      <a:pt x="76" y="285"/>
                      <a:pt x="76" y="286"/>
                      <a:pt x="76" y="286"/>
                    </a:cubicBezTo>
                    <a:cubicBezTo>
                      <a:pt x="76" y="286"/>
                      <a:pt x="76" y="286"/>
                      <a:pt x="76" y="286"/>
                    </a:cubicBezTo>
                    <a:cubicBezTo>
                      <a:pt x="76" y="286"/>
                      <a:pt x="76" y="286"/>
                      <a:pt x="76" y="286"/>
                    </a:cubicBezTo>
                    <a:cubicBezTo>
                      <a:pt x="76" y="285"/>
                      <a:pt x="77" y="285"/>
                      <a:pt x="77" y="285"/>
                    </a:cubicBezTo>
                    <a:cubicBezTo>
                      <a:pt x="77" y="285"/>
                      <a:pt x="77" y="285"/>
                      <a:pt x="77" y="285"/>
                    </a:cubicBezTo>
                    <a:cubicBezTo>
                      <a:pt x="77" y="285"/>
                      <a:pt x="77" y="285"/>
                      <a:pt x="77" y="285"/>
                    </a:cubicBezTo>
                    <a:close/>
                    <a:moveTo>
                      <a:pt x="40" y="284"/>
                    </a:moveTo>
                    <a:cubicBezTo>
                      <a:pt x="40" y="284"/>
                      <a:pt x="40" y="284"/>
                      <a:pt x="40" y="284"/>
                    </a:cubicBezTo>
                    <a:cubicBezTo>
                      <a:pt x="40" y="284"/>
                      <a:pt x="40" y="284"/>
                      <a:pt x="40" y="285"/>
                    </a:cubicBezTo>
                    <a:cubicBezTo>
                      <a:pt x="41" y="285"/>
                      <a:pt x="41" y="284"/>
                      <a:pt x="41" y="284"/>
                    </a:cubicBezTo>
                    <a:cubicBezTo>
                      <a:pt x="41" y="284"/>
                      <a:pt x="41" y="284"/>
                      <a:pt x="40" y="284"/>
                    </a:cubicBezTo>
                    <a:close/>
                    <a:moveTo>
                      <a:pt x="109" y="278"/>
                    </a:moveTo>
                    <a:cubicBezTo>
                      <a:pt x="109" y="278"/>
                      <a:pt x="108" y="278"/>
                      <a:pt x="108" y="278"/>
                    </a:cubicBezTo>
                    <a:cubicBezTo>
                      <a:pt x="108" y="279"/>
                      <a:pt x="109" y="279"/>
                      <a:pt x="109" y="279"/>
                    </a:cubicBezTo>
                    <a:cubicBezTo>
                      <a:pt x="109" y="279"/>
                      <a:pt x="109" y="278"/>
                      <a:pt x="109" y="278"/>
                    </a:cubicBezTo>
                    <a:cubicBezTo>
                      <a:pt x="109" y="278"/>
                      <a:pt x="109" y="278"/>
                      <a:pt x="109" y="278"/>
                    </a:cubicBezTo>
                    <a:close/>
                    <a:moveTo>
                      <a:pt x="119" y="272"/>
                    </a:moveTo>
                    <a:cubicBezTo>
                      <a:pt x="119" y="272"/>
                      <a:pt x="119" y="273"/>
                      <a:pt x="119" y="273"/>
                    </a:cubicBezTo>
                    <a:cubicBezTo>
                      <a:pt x="119" y="273"/>
                      <a:pt x="119" y="273"/>
                      <a:pt x="119" y="273"/>
                    </a:cubicBezTo>
                    <a:cubicBezTo>
                      <a:pt x="119" y="273"/>
                      <a:pt x="119" y="273"/>
                      <a:pt x="119" y="273"/>
                    </a:cubicBezTo>
                    <a:cubicBezTo>
                      <a:pt x="119" y="272"/>
                      <a:pt x="119" y="272"/>
                      <a:pt x="119" y="272"/>
                    </a:cubicBezTo>
                    <a:close/>
                    <a:moveTo>
                      <a:pt x="77" y="285"/>
                    </a:moveTo>
                    <a:cubicBezTo>
                      <a:pt x="77" y="284"/>
                      <a:pt x="77" y="285"/>
                      <a:pt x="77" y="285"/>
                    </a:cubicBezTo>
                    <a:cubicBezTo>
                      <a:pt x="77" y="285"/>
                      <a:pt x="77" y="285"/>
                      <a:pt x="76" y="285"/>
                    </a:cubicBezTo>
                    <a:cubicBezTo>
                      <a:pt x="77" y="285"/>
                      <a:pt x="77" y="285"/>
                      <a:pt x="77" y="285"/>
                    </a:cubicBezTo>
                    <a:cubicBezTo>
                      <a:pt x="77" y="285"/>
                      <a:pt x="77" y="285"/>
                      <a:pt x="77" y="285"/>
                    </a:cubicBezTo>
                    <a:cubicBezTo>
                      <a:pt x="78" y="285"/>
                      <a:pt x="77" y="285"/>
                      <a:pt x="77" y="285"/>
                    </a:cubicBezTo>
                    <a:close/>
                    <a:moveTo>
                      <a:pt x="149" y="260"/>
                    </a:moveTo>
                    <a:cubicBezTo>
                      <a:pt x="148" y="260"/>
                      <a:pt x="148" y="260"/>
                      <a:pt x="148" y="260"/>
                    </a:cubicBezTo>
                    <a:cubicBezTo>
                      <a:pt x="148" y="261"/>
                      <a:pt x="148" y="260"/>
                      <a:pt x="148" y="261"/>
                    </a:cubicBezTo>
                    <a:cubicBezTo>
                      <a:pt x="149" y="261"/>
                      <a:pt x="149" y="261"/>
                      <a:pt x="149" y="261"/>
                    </a:cubicBezTo>
                    <a:cubicBezTo>
                      <a:pt x="149" y="260"/>
                      <a:pt x="149" y="260"/>
                      <a:pt x="149" y="260"/>
                    </a:cubicBezTo>
                    <a:close/>
                    <a:moveTo>
                      <a:pt x="38" y="283"/>
                    </a:moveTo>
                    <a:cubicBezTo>
                      <a:pt x="38" y="283"/>
                      <a:pt x="38" y="283"/>
                      <a:pt x="38" y="283"/>
                    </a:cubicBezTo>
                    <a:cubicBezTo>
                      <a:pt x="38" y="283"/>
                      <a:pt x="38" y="284"/>
                      <a:pt x="38" y="284"/>
                    </a:cubicBezTo>
                    <a:cubicBezTo>
                      <a:pt x="38" y="284"/>
                      <a:pt x="38" y="284"/>
                      <a:pt x="38" y="284"/>
                    </a:cubicBezTo>
                    <a:cubicBezTo>
                      <a:pt x="38" y="283"/>
                      <a:pt x="38" y="283"/>
                      <a:pt x="38" y="283"/>
                    </a:cubicBezTo>
                    <a:close/>
                    <a:moveTo>
                      <a:pt x="117" y="274"/>
                    </a:moveTo>
                    <a:cubicBezTo>
                      <a:pt x="117" y="273"/>
                      <a:pt x="117" y="274"/>
                      <a:pt x="117" y="274"/>
                    </a:cubicBezTo>
                    <a:cubicBezTo>
                      <a:pt x="117" y="273"/>
                      <a:pt x="116" y="273"/>
                      <a:pt x="116" y="274"/>
                    </a:cubicBezTo>
                    <a:cubicBezTo>
                      <a:pt x="116" y="274"/>
                      <a:pt x="116" y="274"/>
                      <a:pt x="117" y="274"/>
                    </a:cubicBezTo>
                    <a:cubicBezTo>
                      <a:pt x="117" y="274"/>
                      <a:pt x="117" y="274"/>
                      <a:pt x="117" y="274"/>
                    </a:cubicBezTo>
                    <a:cubicBezTo>
                      <a:pt x="117" y="274"/>
                      <a:pt x="117" y="274"/>
                      <a:pt x="117" y="274"/>
                    </a:cubicBezTo>
                    <a:close/>
                    <a:moveTo>
                      <a:pt x="143" y="261"/>
                    </a:moveTo>
                    <a:cubicBezTo>
                      <a:pt x="143" y="261"/>
                      <a:pt x="143" y="261"/>
                      <a:pt x="143" y="262"/>
                    </a:cubicBezTo>
                    <a:cubicBezTo>
                      <a:pt x="143" y="262"/>
                      <a:pt x="143" y="262"/>
                      <a:pt x="143" y="262"/>
                    </a:cubicBezTo>
                    <a:cubicBezTo>
                      <a:pt x="143" y="262"/>
                      <a:pt x="143" y="262"/>
                      <a:pt x="143" y="262"/>
                    </a:cubicBezTo>
                    <a:cubicBezTo>
                      <a:pt x="143" y="261"/>
                      <a:pt x="143" y="261"/>
                      <a:pt x="143" y="261"/>
                    </a:cubicBezTo>
                    <a:close/>
                    <a:moveTo>
                      <a:pt x="116" y="275"/>
                    </a:moveTo>
                    <a:cubicBezTo>
                      <a:pt x="116" y="275"/>
                      <a:pt x="116" y="275"/>
                      <a:pt x="116" y="276"/>
                    </a:cubicBezTo>
                    <a:cubicBezTo>
                      <a:pt x="116" y="276"/>
                      <a:pt x="116" y="276"/>
                      <a:pt x="116" y="276"/>
                    </a:cubicBezTo>
                    <a:cubicBezTo>
                      <a:pt x="116" y="276"/>
                      <a:pt x="116" y="276"/>
                      <a:pt x="116" y="276"/>
                    </a:cubicBezTo>
                    <a:cubicBezTo>
                      <a:pt x="116" y="276"/>
                      <a:pt x="116" y="276"/>
                      <a:pt x="116" y="276"/>
                    </a:cubicBezTo>
                    <a:cubicBezTo>
                      <a:pt x="116" y="276"/>
                      <a:pt x="116" y="276"/>
                      <a:pt x="116" y="276"/>
                    </a:cubicBezTo>
                    <a:cubicBezTo>
                      <a:pt x="117" y="275"/>
                      <a:pt x="117" y="275"/>
                      <a:pt x="117" y="275"/>
                    </a:cubicBezTo>
                    <a:cubicBezTo>
                      <a:pt x="116" y="275"/>
                      <a:pt x="116" y="275"/>
                      <a:pt x="116" y="275"/>
                    </a:cubicBezTo>
                    <a:close/>
                    <a:moveTo>
                      <a:pt x="39" y="286"/>
                    </a:moveTo>
                    <a:cubicBezTo>
                      <a:pt x="39" y="285"/>
                      <a:pt x="39" y="285"/>
                      <a:pt x="39" y="285"/>
                    </a:cubicBezTo>
                    <a:cubicBezTo>
                      <a:pt x="39" y="286"/>
                      <a:pt x="39" y="286"/>
                      <a:pt x="39" y="286"/>
                    </a:cubicBezTo>
                    <a:cubicBezTo>
                      <a:pt x="39" y="286"/>
                      <a:pt x="39" y="286"/>
                      <a:pt x="39" y="286"/>
                    </a:cubicBezTo>
                    <a:cubicBezTo>
                      <a:pt x="39" y="286"/>
                      <a:pt x="39" y="286"/>
                      <a:pt x="39" y="286"/>
                    </a:cubicBezTo>
                    <a:cubicBezTo>
                      <a:pt x="39" y="286"/>
                      <a:pt x="39" y="286"/>
                      <a:pt x="39" y="286"/>
                    </a:cubicBezTo>
                    <a:cubicBezTo>
                      <a:pt x="39" y="286"/>
                      <a:pt x="39" y="286"/>
                      <a:pt x="39" y="286"/>
                    </a:cubicBezTo>
                    <a:close/>
                    <a:moveTo>
                      <a:pt x="23" y="280"/>
                    </a:moveTo>
                    <a:cubicBezTo>
                      <a:pt x="23" y="279"/>
                      <a:pt x="23" y="279"/>
                      <a:pt x="23" y="279"/>
                    </a:cubicBezTo>
                    <a:cubicBezTo>
                      <a:pt x="23" y="280"/>
                      <a:pt x="23" y="280"/>
                      <a:pt x="23" y="280"/>
                    </a:cubicBezTo>
                    <a:cubicBezTo>
                      <a:pt x="23" y="280"/>
                      <a:pt x="23" y="280"/>
                      <a:pt x="23" y="280"/>
                    </a:cubicBezTo>
                    <a:cubicBezTo>
                      <a:pt x="23" y="280"/>
                      <a:pt x="23" y="280"/>
                      <a:pt x="23" y="280"/>
                    </a:cubicBezTo>
                    <a:cubicBezTo>
                      <a:pt x="23" y="279"/>
                      <a:pt x="23" y="280"/>
                      <a:pt x="23" y="280"/>
                    </a:cubicBezTo>
                    <a:close/>
                    <a:moveTo>
                      <a:pt x="78" y="284"/>
                    </a:moveTo>
                    <a:cubicBezTo>
                      <a:pt x="78" y="284"/>
                      <a:pt x="78" y="284"/>
                      <a:pt x="78" y="284"/>
                    </a:cubicBezTo>
                    <a:cubicBezTo>
                      <a:pt x="78" y="284"/>
                      <a:pt x="78" y="284"/>
                      <a:pt x="79" y="284"/>
                    </a:cubicBezTo>
                    <a:cubicBezTo>
                      <a:pt x="79" y="284"/>
                      <a:pt x="79" y="284"/>
                      <a:pt x="78" y="284"/>
                    </a:cubicBezTo>
                    <a:close/>
                    <a:moveTo>
                      <a:pt x="78" y="284"/>
                    </a:moveTo>
                    <a:cubicBezTo>
                      <a:pt x="78" y="284"/>
                      <a:pt x="78" y="284"/>
                      <a:pt x="78" y="284"/>
                    </a:cubicBezTo>
                    <a:cubicBezTo>
                      <a:pt x="78" y="284"/>
                      <a:pt x="78" y="284"/>
                      <a:pt x="78" y="284"/>
                    </a:cubicBezTo>
                    <a:cubicBezTo>
                      <a:pt x="78" y="284"/>
                      <a:pt x="78" y="284"/>
                      <a:pt x="78" y="284"/>
                    </a:cubicBezTo>
                    <a:cubicBezTo>
                      <a:pt x="78" y="284"/>
                      <a:pt x="78" y="284"/>
                      <a:pt x="78" y="284"/>
                    </a:cubicBezTo>
                    <a:close/>
                    <a:moveTo>
                      <a:pt x="11" y="275"/>
                    </a:moveTo>
                    <a:cubicBezTo>
                      <a:pt x="11" y="275"/>
                      <a:pt x="11" y="275"/>
                      <a:pt x="11" y="276"/>
                    </a:cubicBezTo>
                    <a:cubicBezTo>
                      <a:pt x="11" y="276"/>
                      <a:pt x="11" y="276"/>
                      <a:pt x="11" y="276"/>
                    </a:cubicBezTo>
                    <a:cubicBezTo>
                      <a:pt x="11" y="276"/>
                      <a:pt x="11" y="276"/>
                      <a:pt x="11" y="276"/>
                    </a:cubicBezTo>
                    <a:cubicBezTo>
                      <a:pt x="11" y="275"/>
                      <a:pt x="11" y="275"/>
                      <a:pt x="11" y="275"/>
                    </a:cubicBezTo>
                    <a:close/>
                    <a:moveTo>
                      <a:pt x="147" y="261"/>
                    </a:moveTo>
                    <a:cubicBezTo>
                      <a:pt x="147" y="261"/>
                      <a:pt x="147" y="261"/>
                      <a:pt x="147" y="261"/>
                    </a:cubicBezTo>
                    <a:cubicBezTo>
                      <a:pt x="147" y="261"/>
                      <a:pt x="147" y="261"/>
                      <a:pt x="147" y="261"/>
                    </a:cubicBezTo>
                    <a:cubicBezTo>
                      <a:pt x="147" y="261"/>
                      <a:pt x="147" y="261"/>
                      <a:pt x="147" y="261"/>
                    </a:cubicBezTo>
                    <a:close/>
                    <a:moveTo>
                      <a:pt x="79" y="284"/>
                    </a:moveTo>
                    <a:cubicBezTo>
                      <a:pt x="79" y="284"/>
                      <a:pt x="79" y="284"/>
                      <a:pt x="79" y="284"/>
                    </a:cubicBezTo>
                    <a:cubicBezTo>
                      <a:pt x="79" y="284"/>
                      <a:pt x="79" y="284"/>
                      <a:pt x="79" y="284"/>
                    </a:cubicBezTo>
                    <a:close/>
                    <a:moveTo>
                      <a:pt x="56" y="291"/>
                    </a:moveTo>
                    <a:cubicBezTo>
                      <a:pt x="56" y="291"/>
                      <a:pt x="56" y="291"/>
                      <a:pt x="56" y="292"/>
                    </a:cubicBezTo>
                    <a:cubicBezTo>
                      <a:pt x="56" y="292"/>
                      <a:pt x="56" y="292"/>
                      <a:pt x="56" y="292"/>
                    </a:cubicBezTo>
                    <a:cubicBezTo>
                      <a:pt x="57" y="291"/>
                      <a:pt x="57" y="291"/>
                      <a:pt x="56" y="291"/>
                    </a:cubicBezTo>
                    <a:close/>
                    <a:moveTo>
                      <a:pt x="140" y="262"/>
                    </a:moveTo>
                    <a:cubicBezTo>
                      <a:pt x="140" y="262"/>
                      <a:pt x="141" y="262"/>
                      <a:pt x="140" y="262"/>
                    </a:cubicBezTo>
                    <a:cubicBezTo>
                      <a:pt x="140" y="262"/>
                      <a:pt x="140" y="262"/>
                      <a:pt x="140" y="263"/>
                    </a:cubicBezTo>
                    <a:cubicBezTo>
                      <a:pt x="140" y="263"/>
                      <a:pt x="140" y="262"/>
                      <a:pt x="140" y="262"/>
                    </a:cubicBezTo>
                    <a:close/>
                    <a:moveTo>
                      <a:pt x="110" y="277"/>
                    </a:moveTo>
                    <a:cubicBezTo>
                      <a:pt x="110" y="277"/>
                      <a:pt x="109" y="277"/>
                      <a:pt x="109" y="277"/>
                    </a:cubicBezTo>
                    <a:cubicBezTo>
                      <a:pt x="109" y="277"/>
                      <a:pt x="110" y="277"/>
                      <a:pt x="110" y="277"/>
                    </a:cubicBezTo>
                    <a:cubicBezTo>
                      <a:pt x="110" y="277"/>
                      <a:pt x="110" y="277"/>
                      <a:pt x="110" y="277"/>
                    </a:cubicBezTo>
                    <a:cubicBezTo>
                      <a:pt x="110" y="277"/>
                      <a:pt x="110" y="277"/>
                      <a:pt x="110" y="277"/>
                    </a:cubicBezTo>
                    <a:close/>
                    <a:moveTo>
                      <a:pt x="35" y="284"/>
                    </a:moveTo>
                    <a:cubicBezTo>
                      <a:pt x="35" y="284"/>
                      <a:pt x="35" y="284"/>
                      <a:pt x="35" y="284"/>
                    </a:cubicBezTo>
                    <a:cubicBezTo>
                      <a:pt x="35" y="284"/>
                      <a:pt x="35" y="284"/>
                      <a:pt x="35" y="284"/>
                    </a:cubicBezTo>
                    <a:cubicBezTo>
                      <a:pt x="35" y="284"/>
                      <a:pt x="35" y="284"/>
                      <a:pt x="35" y="284"/>
                    </a:cubicBezTo>
                    <a:close/>
                    <a:moveTo>
                      <a:pt x="59" y="288"/>
                    </a:moveTo>
                    <a:cubicBezTo>
                      <a:pt x="58" y="288"/>
                      <a:pt x="58" y="288"/>
                      <a:pt x="58" y="288"/>
                    </a:cubicBezTo>
                    <a:cubicBezTo>
                      <a:pt x="58" y="288"/>
                      <a:pt x="58" y="288"/>
                      <a:pt x="59" y="288"/>
                    </a:cubicBezTo>
                    <a:close/>
                    <a:moveTo>
                      <a:pt x="57" y="290"/>
                    </a:moveTo>
                    <a:cubicBezTo>
                      <a:pt x="57" y="290"/>
                      <a:pt x="57" y="290"/>
                      <a:pt x="57" y="290"/>
                    </a:cubicBezTo>
                    <a:cubicBezTo>
                      <a:pt x="57" y="290"/>
                      <a:pt x="57" y="291"/>
                      <a:pt x="57" y="291"/>
                    </a:cubicBezTo>
                    <a:cubicBezTo>
                      <a:pt x="57" y="291"/>
                      <a:pt x="57" y="290"/>
                      <a:pt x="58" y="291"/>
                    </a:cubicBezTo>
                    <a:cubicBezTo>
                      <a:pt x="58" y="291"/>
                      <a:pt x="58" y="291"/>
                      <a:pt x="58" y="291"/>
                    </a:cubicBezTo>
                    <a:cubicBezTo>
                      <a:pt x="58" y="290"/>
                      <a:pt x="58" y="290"/>
                      <a:pt x="57" y="290"/>
                    </a:cubicBezTo>
                    <a:close/>
                    <a:moveTo>
                      <a:pt x="151" y="259"/>
                    </a:moveTo>
                    <a:cubicBezTo>
                      <a:pt x="152" y="259"/>
                      <a:pt x="152" y="259"/>
                      <a:pt x="152" y="259"/>
                    </a:cubicBezTo>
                    <a:cubicBezTo>
                      <a:pt x="152" y="259"/>
                      <a:pt x="152" y="259"/>
                      <a:pt x="151" y="259"/>
                    </a:cubicBezTo>
                    <a:close/>
                    <a:moveTo>
                      <a:pt x="10" y="276"/>
                    </a:moveTo>
                    <a:cubicBezTo>
                      <a:pt x="10" y="275"/>
                      <a:pt x="10" y="275"/>
                      <a:pt x="10" y="275"/>
                    </a:cubicBezTo>
                    <a:cubicBezTo>
                      <a:pt x="10" y="276"/>
                      <a:pt x="10" y="276"/>
                      <a:pt x="10" y="276"/>
                    </a:cubicBezTo>
                    <a:close/>
                    <a:moveTo>
                      <a:pt x="59" y="286"/>
                    </a:moveTo>
                    <a:cubicBezTo>
                      <a:pt x="59" y="286"/>
                      <a:pt x="59" y="286"/>
                      <a:pt x="59" y="286"/>
                    </a:cubicBezTo>
                    <a:cubicBezTo>
                      <a:pt x="59" y="286"/>
                      <a:pt x="59" y="286"/>
                      <a:pt x="59" y="286"/>
                    </a:cubicBezTo>
                    <a:cubicBezTo>
                      <a:pt x="58" y="286"/>
                      <a:pt x="58" y="286"/>
                      <a:pt x="58" y="286"/>
                    </a:cubicBezTo>
                    <a:cubicBezTo>
                      <a:pt x="58" y="286"/>
                      <a:pt x="58" y="286"/>
                      <a:pt x="58" y="285"/>
                    </a:cubicBezTo>
                    <a:cubicBezTo>
                      <a:pt x="58" y="285"/>
                      <a:pt x="59" y="285"/>
                      <a:pt x="59" y="286"/>
                    </a:cubicBezTo>
                    <a:cubicBezTo>
                      <a:pt x="59" y="286"/>
                      <a:pt x="59" y="286"/>
                      <a:pt x="59" y="286"/>
                    </a:cubicBezTo>
                    <a:close/>
                    <a:moveTo>
                      <a:pt x="59" y="286"/>
                    </a:moveTo>
                    <a:cubicBezTo>
                      <a:pt x="59" y="286"/>
                      <a:pt x="59" y="286"/>
                      <a:pt x="59" y="286"/>
                    </a:cubicBezTo>
                    <a:cubicBezTo>
                      <a:pt x="59" y="286"/>
                      <a:pt x="59" y="286"/>
                      <a:pt x="59" y="286"/>
                    </a:cubicBezTo>
                    <a:cubicBezTo>
                      <a:pt x="59" y="286"/>
                      <a:pt x="59" y="286"/>
                      <a:pt x="59" y="286"/>
                    </a:cubicBezTo>
                    <a:close/>
                    <a:moveTo>
                      <a:pt x="59" y="288"/>
                    </a:moveTo>
                    <a:cubicBezTo>
                      <a:pt x="59" y="288"/>
                      <a:pt x="59" y="288"/>
                      <a:pt x="59" y="288"/>
                    </a:cubicBezTo>
                    <a:cubicBezTo>
                      <a:pt x="59" y="288"/>
                      <a:pt x="59" y="288"/>
                      <a:pt x="59" y="288"/>
                    </a:cubicBezTo>
                    <a:cubicBezTo>
                      <a:pt x="59" y="288"/>
                      <a:pt x="60" y="288"/>
                      <a:pt x="60" y="288"/>
                    </a:cubicBezTo>
                    <a:cubicBezTo>
                      <a:pt x="60" y="288"/>
                      <a:pt x="59" y="288"/>
                      <a:pt x="59" y="288"/>
                    </a:cubicBezTo>
                    <a:close/>
                    <a:moveTo>
                      <a:pt x="119" y="272"/>
                    </a:moveTo>
                    <a:cubicBezTo>
                      <a:pt x="119" y="272"/>
                      <a:pt x="119" y="272"/>
                      <a:pt x="119" y="272"/>
                    </a:cubicBezTo>
                    <a:cubicBezTo>
                      <a:pt x="119" y="272"/>
                      <a:pt x="119" y="272"/>
                      <a:pt x="119" y="272"/>
                    </a:cubicBezTo>
                    <a:cubicBezTo>
                      <a:pt x="119" y="272"/>
                      <a:pt x="119" y="272"/>
                      <a:pt x="119" y="272"/>
                    </a:cubicBezTo>
                    <a:close/>
                    <a:moveTo>
                      <a:pt x="46" y="290"/>
                    </a:moveTo>
                    <a:cubicBezTo>
                      <a:pt x="46" y="290"/>
                      <a:pt x="46" y="290"/>
                      <a:pt x="46" y="290"/>
                    </a:cubicBezTo>
                    <a:cubicBezTo>
                      <a:pt x="46" y="290"/>
                      <a:pt x="45" y="290"/>
                      <a:pt x="45" y="290"/>
                    </a:cubicBezTo>
                    <a:cubicBezTo>
                      <a:pt x="45" y="290"/>
                      <a:pt x="45" y="290"/>
                      <a:pt x="45" y="290"/>
                    </a:cubicBezTo>
                    <a:cubicBezTo>
                      <a:pt x="45" y="289"/>
                      <a:pt x="45" y="289"/>
                      <a:pt x="45" y="289"/>
                    </a:cubicBezTo>
                    <a:cubicBezTo>
                      <a:pt x="44" y="289"/>
                      <a:pt x="44" y="289"/>
                      <a:pt x="44" y="289"/>
                    </a:cubicBezTo>
                    <a:cubicBezTo>
                      <a:pt x="44" y="289"/>
                      <a:pt x="44" y="289"/>
                      <a:pt x="44" y="289"/>
                    </a:cubicBezTo>
                    <a:cubicBezTo>
                      <a:pt x="44" y="288"/>
                      <a:pt x="44" y="288"/>
                      <a:pt x="43" y="288"/>
                    </a:cubicBezTo>
                    <a:cubicBezTo>
                      <a:pt x="43" y="288"/>
                      <a:pt x="43" y="288"/>
                      <a:pt x="43" y="288"/>
                    </a:cubicBezTo>
                    <a:cubicBezTo>
                      <a:pt x="43" y="288"/>
                      <a:pt x="43" y="288"/>
                      <a:pt x="43" y="288"/>
                    </a:cubicBezTo>
                    <a:cubicBezTo>
                      <a:pt x="42" y="287"/>
                      <a:pt x="42" y="287"/>
                      <a:pt x="42" y="287"/>
                    </a:cubicBezTo>
                    <a:cubicBezTo>
                      <a:pt x="41" y="287"/>
                      <a:pt x="41" y="287"/>
                      <a:pt x="41" y="287"/>
                    </a:cubicBezTo>
                    <a:cubicBezTo>
                      <a:pt x="41" y="287"/>
                      <a:pt x="41" y="287"/>
                      <a:pt x="41" y="288"/>
                    </a:cubicBezTo>
                    <a:cubicBezTo>
                      <a:pt x="41" y="288"/>
                      <a:pt x="42" y="288"/>
                      <a:pt x="42" y="288"/>
                    </a:cubicBezTo>
                    <a:cubicBezTo>
                      <a:pt x="42" y="288"/>
                      <a:pt x="43" y="288"/>
                      <a:pt x="43" y="288"/>
                    </a:cubicBezTo>
                    <a:cubicBezTo>
                      <a:pt x="43" y="288"/>
                      <a:pt x="43" y="288"/>
                      <a:pt x="43" y="288"/>
                    </a:cubicBezTo>
                    <a:cubicBezTo>
                      <a:pt x="44" y="289"/>
                      <a:pt x="44" y="289"/>
                      <a:pt x="44" y="289"/>
                    </a:cubicBezTo>
                    <a:cubicBezTo>
                      <a:pt x="44" y="290"/>
                      <a:pt x="45" y="290"/>
                      <a:pt x="45" y="290"/>
                    </a:cubicBezTo>
                    <a:cubicBezTo>
                      <a:pt x="45" y="290"/>
                      <a:pt x="45" y="290"/>
                      <a:pt x="45" y="290"/>
                    </a:cubicBezTo>
                    <a:cubicBezTo>
                      <a:pt x="45" y="290"/>
                      <a:pt x="45" y="290"/>
                      <a:pt x="45" y="290"/>
                    </a:cubicBezTo>
                    <a:cubicBezTo>
                      <a:pt x="46" y="290"/>
                      <a:pt x="46" y="290"/>
                      <a:pt x="46" y="290"/>
                    </a:cubicBezTo>
                    <a:cubicBezTo>
                      <a:pt x="46" y="290"/>
                      <a:pt x="46" y="290"/>
                      <a:pt x="46" y="290"/>
                    </a:cubicBezTo>
                    <a:cubicBezTo>
                      <a:pt x="47" y="290"/>
                      <a:pt x="47" y="290"/>
                      <a:pt x="47" y="290"/>
                    </a:cubicBezTo>
                    <a:cubicBezTo>
                      <a:pt x="47" y="290"/>
                      <a:pt x="47" y="290"/>
                      <a:pt x="47" y="290"/>
                    </a:cubicBezTo>
                    <a:cubicBezTo>
                      <a:pt x="46" y="290"/>
                      <a:pt x="46" y="290"/>
                      <a:pt x="46" y="290"/>
                    </a:cubicBezTo>
                    <a:close/>
                    <a:moveTo>
                      <a:pt x="77" y="284"/>
                    </a:moveTo>
                    <a:cubicBezTo>
                      <a:pt x="77" y="284"/>
                      <a:pt x="77" y="284"/>
                      <a:pt x="77" y="284"/>
                    </a:cubicBezTo>
                    <a:cubicBezTo>
                      <a:pt x="77" y="284"/>
                      <a:pt x="77" y="284"/>
                      <a:pt x="77" y="284"/>
                    </a:cubicBezTo>
                    <a:cubicBezTo>
                      <a:pt x="77" y="284"/>
                      <a:pt x="77" y="284"/>
                      <a:pt x="77" y="284"/>
                    </a:cubicBezTo>
                    <a:cubicBezTo>
                      <a:pt x="77" y="284"/>
                      <a:pt x="77" y="284"/>
                      <a:pt x="77" y="284"/>
                    </a:cubicBezTo>
                    <a:close/>
                    <a:moveTo>
                      <a:pt x="167" y="257"/>
                    </a:moveTo>
                    <a:cubicBezTo>
                      <a:pt x="167" y="256"/>
                      <a:pt x="167" y="256"/>
                      <a:pt x="167" y="256"/>
                    </a:cubicBezTo>
                    <a:cubicBezTo>
                      <a:pt x="167" y="256"/>
                      <a:pt x="167" y="256"/>
                      <a:pt x="167" y="256"/>
                    </a:cubicBezTo>
                    <a:cubicBezTo>
                      <a:pt x="167" y="256"/>
                      <a:pt x="167" y="256"/>
                      <a:pt x="167" y="256"/>
                    </a:cubicBezTo>
                    <a:cubicBezTo>
                      <a:pt x="166" y="256"/>
                      <a:pt x="166" y="256"/>
                      <a:pt x="166" y="256"/>
                    </a:cubicBezTo>
                    <a:cubicBezTo>
                      <a:pt x="166" y="256"/>
                      <a:pt x="165" y="256"/>
                      <a:pt x="165" y="256"/>
                    </a:cubicBezTo>
                    <a:cubicBezTo>
                      <a:pt x="165" y="256"/>
                      <a:pt x="165" y="256"/>
                      <a:pt x="165" y="256"/>
                    </a:cubicBezTo>
                    <a:cubicBezTo>
                      <a:pt x="165" y="256"/>
                      <a:pt x="166" y="256"/>
                      <a:pt x="166" y="256"/>
                    </a:cubicBezTo>
                    <a:cubicBezTo>
                      <a:pt x="166" y="257"/>
                      <a:pt x="166" y="257"/>
                      <a:pt x="166" y="257"/>
                    </a:cubicBezTo>
                    <a:cubicBezTo>
                      <a:pt x="166" y="257"/>
                      <a:pt x="166" y="257"/>
                      <a:pt x="166" y="257"/>
                    </a:cubicBezTo>
                    <a:cubicBezTo>
                      <a:pt x="166" y="257"/>
                      <a:pt x="166" y="257"/>
                      <a:pt x="166" y="257"/>
                    </a:cubicBezTo>
                    <a:cubicBezTo>
                      <a:pt x="166" y="257"/>
                      <a:pt x="167" y="257"/>
                      <a:pt x="167" y="257"/>
                    </a:cubicBezTo>
                    <a:cubicBezTo>
                      <a:pt x="167" y="257"/>
                      <a:pt x="167" y="257"/>
                      <a:pt x="167" y="257"/>
                    </a:cubicBezTo>
                    <a:close/>
                    <a:moveTo>
                      <a:pt x="168" y="250"/>
                    </a:moveTo>
                    <a:cubicBezTo>
                      <a:pt x="168" y="250"/>
                      <a:pt x="168" y="250"/>
                      <a:pt x="168" y="250"/>
                    </a:cubicBezTo>
                    <a:cubicBezTo>
                      <a:pt x="168" y="250"/>
                      <a:pt x="168" y="250"/>
                      <a:pt x="168" y="250"/>
                    </a:cubicBezTo>
                    <a:cubicBezTo>
                      <a:pt x="168" y="251"/>
                      <a:pt x="168" y="251"/>
                      <a:pt x="168" y="251"/>
                    </a:cubicBezTo>
                    <a:cubicBezTo>
                      <a:pt x="168" y="251"/>
                      <a:pt x="168" y="251"/>
                      <a:pt x="168" y="251"/>
                    </a:cubicBezTo>
                    <a:cubicBezTo>
                      <a:pt x="168" y="251"/>
                      <a:pt x="169" y="252"/>
                      <a:pt x="169" y="251"/>
                    </a:cubicBezTo>
                    <a:cubicBezTo>
                      <a:pt x="169" y="251"/>
                      <a:pt x="169" y="251"/>
                      <a:pt x="169" y="251"/>
                    </a:cubicBezTo>
                    <a:cubicBezTo>
                      <a:pt x="169" y="251"/>
                      <a:pt x="169" y="251"/>
                      <a:pt x="169" y="250"/>
                    </a:cubicBezTo>
                    <a:cubicBezTo>
                      <a:pt x="169" y="250"/>
                      <a:pt x="169" y="250"/>
                      <a:pt x="169" y="250"/>
                    </a:cubicBezTo>
                    <a:cubicBezTo>
                      <a:pt x="169" y="250"/>
                      <a:pt x="169" y="250"/>
                      <a:pt x="169" y="250"/>
                    </a:cubicBezTo>
                    <a:cubicBezTo>
                      <a:pt x="169" y="250"/>
                      <a:pt x="169" y="250"/>
                      <a:pt x="169" y="250"/>
                    </a:cubicBezTo>
                    <a:cubicBezTo>
                      <a:pt x="168" y="250"/>
                      <a:pt x="168" y="250"/>
                      <a:pt x="168" y="250"/>
                    </a:cubicBezTo>
                    <a:close/>
                    <a:moveTo>
                      <a:pt x="173" y="248"/>
                    </a:moveTo>
                    <a:cubicBezTo>
                      <a:pt x="173" y="248"/>
                      <a:pt x="173" y="248"/>
                      <a:pt x="173"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9"/>
                    </a:cubicBezTo>
                    <a:cubicBezTo>
                      <a:pt x="172" y="249"/>
                      <a:pt x="172" y="249"/>
                      <a:pt x="172" y="249"/>
                    </a:cubicBezTo>
                    <a:cubicBezTo>
                      <a:pt x="172" y="249"/>
                      <a:pt x="173" y="249"/>
                      <a:pt x="173" y="249"/>
                    </a:cubicBezTo>
                    <a:cubicBezTo>
                      <a:pt x="173" y="249"/>
                      <a:pt x="173" y="249"/>
                      <a:pt x="173" y="249"/>
                    </a:cubicBezTo>
                    <a:cubicBezTo>
                      <a:pt x="173" y="249"/>
                      <a:pt x="173" y="249"/>
                      <a:pt x="173" y="249"/>
                    </a:cubicBezTo>
                    <a:cubicBezTo>
                      <a:pt x="173" y="249"/>
                      <a:pt x="173" y="249"/>
                      <a:pt x="173" y="248"/>
                    </a:cubicBezTo>
                    <a:cubicBezTo>
                      <a:pt x="173" y="248"/>
                      <a:pt x="173" y="248"/>
                      <a:pt x="173" y="248"/>
                    </a:cubicBezTo>
                    <a:close/>
                    <a:moveTo>
                      <a:pt x="179" y="245"/>
                    </a:moveTo>
                    <a:cubicBezTo>
                      <a:pt x="179" y="245"/>
                      <a:pt x="179" y="246"/>
                      <a:pt x="178" y="246"/>
                    </a:cubicBezTo>
                    <a:cubicBezTo>
                      <a:pt x="178" y="246"/>
                      <a:pt x="178" y="246"/>
                      <a:pt x="178" y="246"/>
                    </a:cubicBezTo>
                    <a:cubicBezTo>
                      <a:pt x="178" y="247"/>
                      <a:pt x="178" y="247"/>
                      <a:pt x="178" y="248"/>
                    </a:cubicBezTo>
                    <a:cubicBezTo>
                      <a:pt x="179" y="248"/>
                      <a:pt x="179" y="248"/>
                      <a:pt x="179" y="248"/>
                    </a:cubicBezTo>
                    <a:cubicBezTo>
                      <a:pt x="179" y="248"/>
                      <a:pt x="179" y="248"/>
                      <a:pt x="179" y="248"/>
                    </a:cubicBezTo>
                    <a:cubicBezTo>
                      <a:pt x="179" y="247"/>
                      <a:pt x="179" y="247"/>
                      <a:pt x="180" y="248"/>
                    </a:cubicBezTo>
                    <a:cubicBezTo>
                      <a:pt x="180" y="248"/>
                      <a:pt x="180" y="248"/>
                      <a:pt x="180" y="248"/>
                    </a:cubicBezTo>
                    <a:cubicBezTo>
                      <a:pt x="180" y="248"/>
                      <a:pt x="180" y="248"/>
                      <a:pt x="180" y="248"/>
                    </a:cubicBezTo>
                    <a:cubicBezTo>
                      <a:pt x="180" y="248"/>
                      <a:pt x="181" y="248"/>
                      <a:pt x="181" y="248"/>
                    </a:cubicBezTo>
                    <a:cubicBezTo>
                      <a:pt x="181" y="248"/>
                      <a:pt x="181" y="248"/>
                      <a:pt x="181" y="247"/>
                    </a:cubicBezTo>
                    <a:cubicBezTo>
                      <a:pt x="180" y="247"/>
                      <a:pt x="180" y="247"/>
                      <a:pt x="180" y="247"/>
                    </a:cubicBezTo>
                    <a:cubicBezTo>
                      <a:pt x="180" y="247"/>
                      <a:pt x="180" y="247"/>
                      <a:pt x="180" y="247"/>
                    </a:cubicBezTo>
                    <a:cubicBezTo>
                      <a:pt x="180" y="246"/>
                      <a:pt x="181" y="246"/>
                      <a:pt x="181" y="246"/>
                    </a:cubicBezTo>
                    <a:cubicBezTo>
                      <a:pt x="181" y="246"/>
                      <a:pt x="182" y="246"/>
                      <a:pt x="182" y="246"/>
                    </a:cubicBezTo>
                    <a:cubicBezTo>
                      <a:pt x="182" y="246"/>
                      <a:pt x="182" y="246"/>
                      <a:pt x="181" y="246"/>
                    </a:cubicBezTo>
                    <a:cubicBezTo>
                      <a:pt x="181" y="246"/>
                      <a:pt x="181" y="246"/>
                      <a:pt x="181" y="246"/>
                    </a:cubicBezTo>
                    <a:cubicBezTo>
                      <a:pt x="181" y="246"/>
                      <a:pt x="180" y="245"/>
                      <a:pt x="181" y="245"/>
                    </a:cubicBezTo>
                    <a:cubicBezTo>
                      <a:pt x="180" y="245"/>
                      <a:pt x="180" y="245"/>
                      <a:pt x="180" y="245"/>
                    </a:cubicBezTo>
                    <a:cubicBezTo>
                      <a:pt x="180" y="245"/>
                      <a:pt x="180" y="245"/>
                      <a:pt x="180" y="245"/>
                    </a:cubicBezTo>
                    <a:cubicBezTo>
                      <a:pt x="180" y="245"/>
                      <a:pt x="180" y="245"/>
                      <a:pt x="180" y="245"/>
                    </a:cubicBezTo>
                    <a:cubicBezTo>
                      <a:pt x="179" y="245"/>
                      <a:pt x="179" y="245"/>
                      <a:pt x="179" y="245"/>
                    </a:cubicBezTo>
                    <a:close/>
                    <a:moveTo>
                      <a:pt x="183" y="245"/>
                    </a:moveTo>
                    <a:cubicBezTo>
                      <a:pt x="183" y="245"/>
                      <a:pt x="183" y="245"/>
                      <a:pt x="183" y="245"/>
                    </a:cubicBezTo>
                    <a:cubicBezTo>
                      <a:pt x="183" y="245"/>
                      <a:pt x="183" y="244"/>
                      <a:pt x="183" y="244"/>
                    </a:cubicBezTo>
                    <a:cubicBezTo>
                      <a:pt x="183" y="244"/>
                      <a:pt x="183" y="244"/>
                      <a:pt x="183" y="244"/>
                    </a:cubicBezTo>
                    <a:cubicBezTo>
                      <a:pt x="182" y="244"/>
                      <a:pt x="182" y="245"/>
                      <a:pt x="182" y="245"/>
                    </a:cubicBezTo>
                    <a:cubicBezTo>
                      <a:pt x="182" y="245"/>
                      <a:pt x="182" y="245"/>
                      <a:pt x="182" y="245"/>
                    </a:cubicBezTo>
                    <a:cubicBezTo>
                      <a:pt x="182" y="245"/>
                      <a:pt x="182" y="245"/>
                      <a:pt x="182" y="245"/>
                    </a:cubicBezTo>
                    <a:cubicBezTo>
                      <a:pt x="182" y="245"/>
                      <a:pt x="182" y="245"/>
                      <a:pt x="182" y="245"/>
                    </a:cubicBezTo>
                    <a:cubicBezTo>
                      <a:pt x="182" y="245"/>
                      <a:pt x="182" y="245"/>
                      <a:pt x="182" y="245"/>
                    </a:cubicBezTo>
                    <a:cubicBezTo>
                      <a:pt x="183" y="245"/>
                      <a:pt x="183" y="245"/>
                      <a:pt x="183" y="245"/>
                    </a:cubicBezTo>
                    <a:close/>
                    <a:moveTo>
                      <a:pt x="185" y="248"/>
                    </a:moveTo>
                    <a:cubicBezTo>
                      <a:pt x="185" y="248"/>
                      <a:pt x="185" y="247"/>
                      <a:pt x="185" y="247"/>
                    </a:cubicBezTo>
                    <a:cubicBezTo>
                      <a:pt x="185" y="247"/>
                      <a:pt x="185" y="247"/>
                      <a:pt x="185" y="247"/>
                    </a:cubicBezTo>
                    <a:cubicBezTo>
                      <a:pt x="185" y="246"/>
                      <a:pt x="185" y="246"/>
                      <a:pt x="185" y="246"/>
                    </a:cubicBezTo>
                    <a:cubicBezTo>
                      <a:pt x="185" y="247"/>
                      <a:pt x="185" y="247"/>
                      <a:pt x="185" y="247"/>
                    </a:cubicBezTo>
                    <a:cubicBezTo>
                      <a:pt x="185" y="247"/>
                      <a:pt x="184" y="247"/>
                      <a:pt x="184" y="248"/>
                    </a:cubicBezTo>
                    <a:cubicBezTo>
                      <a:pt x="184" y="248"/>
                      <a:pt x="184" y="248"/>
                      <a:pt x="184" y="248"/>
                    </a:cubicBezTo>
                    <a:cubicBezTo>
                      <a:pt x="184" y="248"/>
                      <a:pt x="183" y="248"/>
                      <a:pt x="184" y="248"/>
                    </a:cubicBezTo>
                    <a:cubicBezTo>
                      <a:pt x="184" y="248"/>
                      <a:pt x="184" y="249"/>
                      <a:pt x="184" y="249"/>
                    </a:cubicBezTo>
                    <a:cubicBezTo>
                      <a:pt x="184" y="249"/>
                      <a:pt x="184" y="249"/>
                      <a:pt x="183" y="249"/>
                    </a:cubicBezTo>
                    <a:cubicBezTo>
                      <a:pt x="183" y="249"/>
                      <a:pt x="183" y="249"/>
                      <a:pt x="183" y="249"/>
                    </a:cubicBezTo>
                    <a:cubicBezTo>
                      <a:pt x="183" y="249"/>
                      <a:pt x="183" y="249"/>
                      <a:pt x="183" y="249"/>
                    </a:cubicBezTo>
                    <a:cubicBezTo>
                      <a:pt x="183" y="249"/>
                      <a:pt x="183" y="249"/>
                      <a:pt x="183" y="249"/>
                    </a:cubicBezTo>
                    <a:cubicBezTo>
                      <a:pt x="183" y="250"/>
                      <a:pt x="183" y="250"/>
                      <a:pt x="183" y="250"/>
                    </a:cubicBezTo>
                    <a:cubicBezTo>
                      <a:pt x="183" y="250"/>
                      <a:pt x="184" y="250"/>
                      <a:pt x="184" y="250"/>
                    </a:cubicBezTo>
                    <a:cubicBezTo>
                      <a:pt x="184" y="250"/>
                      <a:pt x="184" y="249"/>
                      <a:pt x="184" y="249"/>
                    </a:cubicBezTo>
                    <a:cubicBezTo>
                      <a:pt x="184" y="249"/>
                      <a:pt x="185" y="249"/>
                      <a:pt x="185" y="248"/>
                    </a:cubicBezTo>
                    <a:cubicBezTo>
                      <a:pt x="185" y="248"/>
                      <a:pt x="185" y="248"/>
                      <a:pt x="185" y="248"/>
                    </a:cubicBezTo>
                    <a:cubicBezTo>
                      <a:pt x="185" y="248"/>
                      <a:pt x="185" y="248"/>
                      <a:pt x="185" y="248"/>
                    </a:cubicBezTo>
                    <a:cubicBezTo>
                      <a:pt x="185" y="248"/>
                      <a:pt x="185" y="248"/>
                      <a:pt x="185" y="248"/>
                    </a:cubicBezTo>
                    <a:close/>
                    <a:moveTo>
                      <a:pt x="187" y="248"/>
                    </a:moveTo>
                    <a:cubicBezTo>
                      <a:pt x="187" y="248"/>
                      <a:pt x="187" y="249"/>
                      <a:pt x="187" y="249"/>
                    </a:cubicBezTo>
                    <a:cubicBezTo>
                      <a:pt x="187" y="249"/>
                      <a:pt x="187" y="249"/>
                      <a:pt x="187" y="249"/>
                    </a:cubicBezTo>
                    <a:cubicBezTo>
                      <a:pt x="187" y="249"/>
                      <a:pt x="187" y="249"/>
                      <a:pt x="187" y="249"/>
                    </a:cubicBezTo>
                    <a:cubicBezTo>
                      <a:pt x="187" y="249"/>
                      <a:pt x="187" y="249"/>
                      <a:pt x="187" y="248"/>
                    </a:cubicBezTo>
                    <a:cubicBezTo>
                      <a:pt x="187" y="248"/>
                      <a:pt x="187" y="248"/>
                      <a:pt x="187" y="248"/>
                    </a:cubicBezTo>
                    <a:cubicBezTo>
                      <a:pt x="187" y="248"/>
                      <a:pt x="187" y="247"/>
                      <a:pt x="187" y="247"/>
                    </a:cubicBezTo>
                    <a:cubicBezTo>
                      <a:pt x="187" y="247"/>
                      <a:pt x="187" y="247"/>
                      <a:pt x="187" y="248"/>
                    </a:cubicBezTo>
                    <a:cubicBezTo>
                      <a:pt x="187" y="248"/>
                      <a:pt x="187" y="248"/>
                      <a:pt x="187" y="248"/>
                    </a:cubicBezTo>
                    <a:cubicBezTo>
                      <a:pt x="187" y="248"/>
                      <a:pt x="187" y="248"/>
                      <a:pt x="187" y="248"/>
                    </a:cubicBezTo>
                    <a:close/>
                    <a:moveTo>
                      <a:pt x="188" y="250"/>
                    </a:moveTo>
                    <a:cubicBezTo>
                      <a:pt x="188" y="250"/>
                      <a:pt x="188" y="250"/>
                      <a:pt x="188" y="250"/>
                    </a:cubicBezTo>
                    <a:cubicBezTo>
                      <a:pt x="188" y="250"/>
                      <a:pt x="188" y="250"/>
                      <a:pt x="188" y="250"/>
                    </a:cubicBezTo>
                    <a:cubicBezTo>
                      <a:pt x="188" y="250"/>
                      <a:pt x="188" y="250"/>
                      <a:pt x="188" y="250"/>
                    </a:cubicBezTo>
                    <a:cubicBezTo>
                      <a:pt x="188" y="250"/>
                      <a:pt x="188" y="250"/>
                      <a:pt x="188" y="250"/>
                    </a:cubicBezTo>
                    <a:cubicBezTo>
                      <a:pt x="189" y="250"/>
                      <a:pt x="188" y="250"/>
                      <a:pt x="188" y="250"/>
                    </a:cubicBezTo>
                    <a:cubicBezTo>
                      <a:pt x="188" y="250"/>
                      <a:pt x="188" y="250"/>
                      <a:pt x="188" y="250"/>
                    </a:cubicBezTo>
                    <a:cubicBezTo>
                      <a:pt x="188" y="249"/>
                      <a:pt x="188" y="249"/>
                      <a:pt x="188" y="249"/>
                    </a:cubicBezTo>
                    <a:cubicBezTo>
                      <a:pt x="188" y="249"/>
                      <a:pt x="188" y="249"/>
                      <a:pt x="188" y="249"/>
                    </a:cubicBezTo>
                    <a:cubicBezTo>
                      <a:pt x="188" y="249"/>
                      <a:pt x="188" y="249"/>
                      <a:pt x="188" y="250"/>
                    </a:cubicBezTo>
                    <a:moveTo>
                      <a:pt x="143" y="182"/>
                    </a:moveTo>
                    <a:cubicBezTo>
                      <a:pt x="143" y="182"/>
                      <a:pt x="143" y="182"/>
                      <a:pt x="142" y="182"/>
                    </a:cubicBezTo>
                    <a:cubicBezTo>
                      <a:pt x="142" y="182"/>
                      <a:pt x="142" y="182"/>
                      <a:pt x="142" y="182"/>
                    </a:cubicBezTo>
                    <a:cubicBezTo>
                      <a:pt x="142" y="182"/>
                      <a:pt x="141" y="182"/>
                      <a:pt x="141" y="182"/>
                    </a:cubicBezTo>
                    <a:cubicBezTo>
                      <a:pt x="141" y="182"/>
                      <a:pt x="141" y="182"/>
                      <a:pt x="141" y="182"/>
                    </a:cubicBezTo>
                    <a:cubicBezTo>
                      <a:pt x="141" y="182"/>
                      <a:pt x="141" y="182"/>
                      <a:pt x="141" y="182"/>
                    </a:cubicBezTo>
                    <a:cubicBezTo>
                      <a:pt x="140" y="183"/>
                      <a:pt x="140" y="183"/>
                      <a:pt x="139" y="183"/>
                    </a:cubicBezTo>
                    <a:cubicBezTo>
                      <a:pt x="139" y="183"/>
                      <a:pt x="138" y="183"/>
                      <a:pt x="139" y="184"/>
                    </a:cubicBezTo>
                    <a:cubicBezTo>
                      <a:pt x="139" y="184"/>
                      <a:pt x="139" y="184"/>
                      <a:pt x="139" y="184"/>
                    </a:cubicBezTo>
                    <a:cubicBezTo>
                      <a:pt x="139" y="184"/>
                      <a:pt x="139" y="184"/>
                      <a:pt x="138" y="184"/>
                    </a:cubicBezTo>
                    <a:cubicBezTo>
                      <a:pt x="138" y="184"/>
                      <a:pt x="138" y="184"/>
                      <a:pt x="138" y="184"/>
                    </a:cubicBezTo>
                    <a:cubicBezTo>
                      <a:pt x="137" y="184"/>
                      <a:pt x="137" y="184"/>
                      <a:pt x="137" y="184"/>
                    </a:cubicBezTo>
                    <a:cubicBezTo>
                      <a:pt x="137" y="184"/>
                      <a:pt x="137" y="184"/>
                      <a:pt x="137" y="184"/>
                    </a:cubicBezTo>
                    <a:cubicBezTo>
                      <a:pt x="136" y="184"/>
                      <a:pt x="136" y="184"/>
                      <a:pt x="135" y="184"/>
                    </a:cubicBezTo>
                    <a:cubicBezTo>
                      <a:pt x="135" y="184"/>
                      <a:pt x="135" y="184"/>
                      <a:pt x="135" y="184"/>
                    </a:cubicBezTo>
                    <a:cubicBezTo>
                      <a:pt x="135" y="184"/>
                      <a:pt x="135" y="184"/>
                      <a:pt x="135" y="185"/>
                    </a:cubicBezTo>
                    <a:cubicBezTo>
                      <a:pt x="134" y="185"/>
                      <a:pt x="135" y="185"/>
                      <a:pt x="135" y="185"/>
                    </a:cubicBezTo>
                    <a:cubicBezTo>
                      <a:pt x="135" y="186"/>
                      <a:pt x="135" y="186"/>
                      <a:pt x="135" y="186"/>
                    </a:cubicBezTo>
                    <a:cubicBezTo>
                      <a:pt x="135" y="186"/>
                      <a:pt x="136" y="187"/>
                      <a:pt x="136" y="187"/>
                    </a:cubicBezTo>
                    <a:cubicBezTo>
                      <a:pt x="136" y="187"/>
                      <a:pt x="136" y="187"/>
                      <a:pt x="136" y="187"/>
                    </a:cubicBezTo>
                    <a:cubicBezTo>
                      <a:pt x="136" y="187"/>
                      <a:pt x="136" y="188"/>
                      <a:pt x="137" y="188"/>
                    </a:cubicBezTo>
                    <a:cubicBezTo>
                      <a:pt x="137" y="188"/>
                      <a:pt x="138" y="188"/>
                      <a:pt x="139" y="189"/>
                    </a:cubicBezTo>
                    <a:cubicBezTo>
                      <a:pt x="139" y="189"/>
                      <a:pt x="139" y="189"/>
                      <a:pt x="139" y="189"/>
                    </a:cubicBezTo>
                    <a:cubicBezTo>
                      <a:pt x="140" y="189"/>
                      <a:pt x="141" y="189"/>
                      <a:pt x="141" y="189"/>
                    </a:cubicBezTo>
                    <a:cubicBezTo>
                      <a:pt x="141" y="189"/>
                      <a:pt x="142" y="189"/>
                      <a:pt x="142" y="189"/>
                    </a:cubicBezTo>
                    <a:cubicBezTo>
                      <a:pt x="142" y="190"/>
                      <a:pt x="142" y="190"/>
                      <a:pt x="142" y="190"/>
                    </a:cubicBezTo>
                    <a:cubicBezTo>
                      <a:pt x="142" y="190"/>
                      <a:pt x="142" y="190"/>
                      <a:pt x="142" y="190"/>
                    </a:cubicBezTo>
                    <a:cubicBezTo>
                      <a:pt x="142" y="190"/>
                      <a:pt x="143" y="190"/>
                      <a:pt x="143" y="190"/>
                    </a:cubicBezTo>
                    <a:cubicBezTo>
                      <a:pt x="143" y="190"/>
                      <a:pt x="143" y="190"/>
                      <a:pt x="143" y="190"/>
                    </a:cubicBezTo>
                    <a:cubicBezTo>
                      <a:pt x="143" y="190"/>
                      <a:pt x="143" y="190"/>
                      <a:pt x="142" y="190"/>
                    </a:cubicBezTo>
                    <a:cubicBezTo>
                      <a:pt x="142" y="189"/>
                      <a:pt x="142" y="189"/>
                      <a:pt x="142" y="189"/>
                    </a:cubicBezTo>
                    <a:cubicBezTo>
                      <a:pt x="142" y="189"/>
                      <a:pt x="142" y="189"/>
                      <a:pt x="142" y="189"/>
                    </a:cubicBezTo>
                    <a:cubicBezTo>
                      <a:pt x="143" y="189"/>
                      <a:pt x="143" y="189"/>
                      <a:pt x="143" y="189"/>
                    </a:cubicBezTo>
                    <a:cubicBezTo>
                      <a:pt x="144" y="189"/>
                      <a:pt x="144" y="189"/>
                      <a:pt x="144" y="189"/>
                    </a:cubicBezTo>
                    <a:cubicBezTo>
                      <a:pt x="144" y="189"/>
                      <a:pt x="145" y="189"/>
                      <a:pt x="145" y="189"/>
                    </a:cubicBezTo>
                    <a:cubicBezTo>
                      <a:pt x="145" y="189"/>
                      <a:pt x="145" y="188"/>
                      <a:pt x="145" y="188"/>
                    </a:cubicBezTo>
                    <a:cubicBezTo>
                      <a:pt x="145" y="188"/>
                      <a:pt x="145" y="188"/>
                      <a:pt x="145" y="188"/>
                    </a:cubicBezTo>
                    <a:cubicBezTo>
                      <a:pt x="146" y="188"/>
                      <a:pt x="146" y="188"/>
                      <a:pt x="146" y="188"/>
                    </a:cubicBezTo>
                    <a:cubicBezTo>
                      <a:pt x="147" y="188"/>
                      <a:pt x="147" y="188"/>
                      <a:pt x="147" y="188"/>
                    </a:cubicBezTo>
                    <a:cubicBezTo>
                      <a:pt x="147" y="188"/>
                      <a:pt x="147" y="188"/>
                      <a:pt x="147" y="187"/>
                    </a:cubicBezTo>
                    <a:cubicBezTo>
                      <a:pt x="147" y="187"/>
                      <a:pt x="146" y="187"/>
                      <a:pt x="146" y="187"/>
                    </a:cubicBezTo>
                    <a:cubicBezTo>
                      <a:pt x="146" y="187"/>
                      <a:pt x="146" y="187"/>
                      <a:pt x="146" y="187"/>
                    </a:cubicBezTo>
                    <a:cubicBezTo>
                      <a:pt x="146" y="187"/>
                      <a:pt x="146" y="187"/>
                      <a:pt x="146" y="187"/>
                    </a:cubicBezTo>
                    <a:cubicBezTo>
                      <a:pt x="146" y="187"/>
                      <a:pt x="146" y="186"/>
                      <a:pt x="146" y="186"/>
                    </a:cubicBezTo>
                    <a:cubicBezTo>
                      <a:pt x="146" y="186"/>
                      <a:pt x="146" y="186"/>
                      <a:pt x="146" y="185"/>
                    </a:cubicBezTo>
                    <a:cubicBezTo>
                      <a:pt x="146" y="185"/>
                      <a:pt x="146" y="185"/>
                      <a:pt x="146" y="185"/>
                    </a:cubicBezTo>
                    <a:cubicBezTo>
                      <a:pt x="146" y="185"/>
                      <a:pt x="146" y="185"/>
                      <a:pt x="146" y="184"/>
                    </a:cubicBezTo>
                    <a:cubicBezTo>
                      <a:pt x="146" y="184"/>
                      <a:pt x="146" y="184"/>
                      <a:pt x="146" y="184"/>
                    </a:cubicBezTo>
                    <a:cubicBezTo>
                      <a:pt x="146" y="184"/>
                      <a:pt x="146" y="183"/>
                      <a:pt x="146" y="183"/>
                    </a:cubicBezTo>
                    <a:cubicBezTo>
                      <a:pt x="146" y="183"/>
                      <a:pt x="145" y="183"/>
                      <a:pt x="145" y="183"/>
                    </a:cubicBezTo>
                    <a:cubicBezTo>
                      <a:pt x="145" y="183"/>
                      <a:pt x="145" y="183"/>
                      <a:pt x="145" y="183"/>
                    </a:cubicBezTo>
                    <a:cubicBezTo>
                      <a:pt x="145" y="183"/>
                      <a:pt x="144" y="183"/>
                      <a:pt x="144" y="183"/>
                    </a:cubicBezTo>
                    <a:cubicBezTo>
                      <a:pt x="144" y="183"/>
                      <a:pt x="143" y="183"/>
                      <a:pt x="143" y="182"/>
                    </a:cubicBezTo>
                    <a:cubicBezTo>
                      <a:pt x="143" y="182"/>
                      <a:pt x="143" y="182"/>
                      <a:pt x="143" y="182"/>
                    </a:cubicBezTo>
                    <a:close/>
                    <a:moveTo>
                      <a:pt x="266" y="188"/>
                    </a:moveTo>
                    <a:cubicBezTo>
                      <a:pt x="266" y="188"/>
                      <a:pt x="266" y="189"/>
                      <a:pt x="266" y="189"/>
                    </a:cubicBezTo>
                    <a:cubicBezTo>
                      <a:pt x="266" y="189"/>
                      <a:pt x="266" y="189"/>
                      <a:pt x="266" y="189"/>
                    </a:cubicBezTo>
                    <a:cubicBezTo>
                      <a:pt x="266" y="189"/>
                      <a:pt x="265" y="190"/>
                      <a:pt x="265" y="190"/>
                    </a:cubicBezTo>
                    <a:cubicBezTo>
                      <a:pt x="266" y="190"/>
                      <a:pt x="267" y="189"/>
                      <a:pt x="267" y="189"/>
                    </a:cubicBezTo>
                    <a:cubicBezTo>
                      <a:pt x="267" y="189"/>
                      <a:pt x="268" y="189"/>
                      <a:pt x="268" y="189"/>
                    </a:cubicBezTo>
                    <a:cubicBezTo>
                      <a:pt x="268" y="189"/>
                      <a:pt x="268" y="189"/>
                      <a:pt x="268" y="189"/>
                    </a:cubicBezTo>
                    <a:cubicBezTo>
                      <a:pt x="268" y="189"/>
                      <a:pt x="268" y="188"/>
                      <a:pt x="268" y="188"/>
                    </a:cubicBezTo>
                    <a:cubicBezTo>
                      <a:pt x="268" y="188"/>
                      <a:pt x="268" y="188"/>
                      <a:pt x="269" y="188"/>
                    </a:cubicBezTo>
                    <a:cubicBezTo>
                      <a:pt x="269" y="187"/>
                      <a:pt x="269" y="187"/>
                      <a:pt x="269" y="187"/>
                    </a:cubicBezTo>
                    <a:cubicBezTo>
                      <a:pt x="269" y="187"/>
                      <a:pt x="269" y="186"/>
                      <a:pt x="269" y="186"/>
                    </a:cubicBezTo>
                    <a:cubicBezTo>
                      <a:pt x="270" y="185"/>
                      <a:pt x="271" y="185"/>
                      <a:pt x="271" y="184"/>
                    </a:cubicBezTo>
                    <a:cubicBezTo>
                      <a:pt x="271" y="184"/>
                      <a:pt x="272" y="184"/>
                      <a:pt x="272" y="184"/>
                    </a:cubicBezTo>
                    <a:cubicBezTo>
                      <a:pt x="272" y="183"/>
                      <a:pt x="272" y="183"/>
                      <a:pt x="271" y="183"/>
                    </a:cubicBezTo>
                    <a:cubicBezTo>
                      <a:pt x="271" y="183"/>
                      <a:pt x="271" y="183"/>
                      <a:pt x="271" y="183"/>
                    </a:cubicBezTo>
                    <a:cubicBezTo>
                      <a:pt x="271" y="184"/>
                      <a:pt x="271" y="183"/>
                      <a:pt x="271" y="183"/>
                    </a:cubicBezTo>
                    <a:cubicBezTo>
                      <a:pt x="271" y="183"/>
                      <a:pt x="271" y="183"/>
                      <a:pt x="271" y="183"/>
                    </a:cubicBezTo>
                    <a:cubicBezTo>
                      <a:pt x="271" y="183"/>
                      <a:pt x="270" y="182"/>
                      <a:pt x="270" y="182"/>
                    </a:cubicBezTo>
                    <a:cubicBezTo>
                      <a:pt x="270" y="183"/>
                      <a:pt x="270" y="183"/>
                      <a:pt x="270" y="183"/>
                    </a:cubicBezTo>
                    <a:cubicBezTo>
                      <a:pt x="270" y="183"/>
                      <a:pt x="270" y="183"/>
                      <a:pt x="270" y="184"/>
                    </a:cubicBezTo>
                    <a:cubicBezTo>
                      <a:pt x="270" y="184"/>
                      <a:pt x="270" y="184"/>
                      <a:pt x="270" y="184"/>
                    </a:cubicBezTo>
                    <a:cubicBezTo>
                      <a:pt x="270" y="184"/>
                      <a:pt x="270" y="184"/>
                      <a:pt x="269" y="184"/>
                    </a:cubicBezTo>
                    <a:cubicBezTo>
                      <a:pt x="269" y="185"/>
                      <a:pt x="268" y="186"/>
                      <a:pt x="268" y="186"/>
                    </a:cubicBezTo>
                    <a:cubicBezTo>
                      <a:pt x="268" y="187"/>
                      <a:pt x="267" y="187"/>
                      <a:pt x="267" y="187"/>
                    </a:cubicBezTo>
                    <a:cubicBezTo>
                      <a:pt x="266" y="188"/>
                      <a:pt x="266" y="188"/>
                      <a:pt x="266" y="188"/>
                    </a:cubicBezTo>
                    <a:cubicBezTo>
                      <a:pt x="266" y="188"/>
                      <a:pt x="266" y="188"/>
                      <a:pt x="266" y="188"/>
                    </a:cubicBezTo>
                    <a:cubicBezTo>
                      <a:pt x="266" y="188"/>
                      <a:pt x="266" y="188"/>
                      <a:pt x="266" y="188"/>
                    </a:cubicBezTo>
                    <a:close/>
                    <a:moveTo>
                      <a:pt x="265" y="187"/>
                    </a:moveTo>
                    <a:cubicBezTo>
                      <a:pt x="265" y="187"/>
                      <a:pt x="265" y="187"/>
                      <a:pt x="265" y="187"/>
                    </a:cubicBezTo>
                    <a:cubicBezTo>
                      <a:pt x="265" y="187"/>
                      <a:pt x="265" y="187"/>
                      <a:pt x="265" y="187"/>
                    </a:cubicBezTo>
                    <a:cubicBezTo>
                      <a:pt x="265" y="187"/>
                      <a:pt x="265" y="187"/>
                      <a:pt x="265" y="187"/>
                    </a:cubicBezTo>
                    <a:cubicBezTo>
                      <a:pt x="265" y="187"/>
                      <a:pt x="265" y="186"/>
                      <a:pt x="265" y="186"/>
                    </a:cubicBezTo>
                    <a:cubicBezTo>
                      <a:pt x="265" y="186"/>
                      <a:pt x="265" y="186"/>
                      <a:pt x="265" y="186"/>
                    </a:cubicBezTo>
                    <a:cubicBezTo>
                      <a:pt x="265" y="186"/>
                      <a:pt x="265" y="186"/>
                      <a:pt x="265" y="186"/>
                    </a:cubicBezTo>
                    <a:cubicBezTo>
                      <a:pt x="265" y="187"/>
                      <a:pt x="265" y="187"/>
                      <a:pt x="265" y="187"/>
                    </a:cubicBezTo>
                    <a:cubicBezTo>
                      <a:pt x="265" y="187"/>
                      <a:pt x="265" y="187"/>
                      <a:pt x="265" y="187"/>
                    </a:cubicBezTo>
                    <a:cubicBezTo>
                      <a:pt x="264" y="187"/>
                      <a:pt x="264" y="188"/>
                      <a:pt x="264" y="188"/>
                    </a:cubicBezTo>
                    <a:cubicBezTo>
                      <a:pt x="265" y="188"/>
                      <a:pt x="265" y="188"/>
                      <a:pt x="265" y="188"/>
                    </a:cubicBezTo>
                    <a:cubicBezTo>
                      <a:pt x="265" y="188"/>
                      <a:pt x="265" y="188"/>
                      <a:pt x="265" y="187"/>
                    </a:cubicBezTo>
                    <a:close/>
                    <a:moveTo>
                      <a:pt x="265" y="184"/>
                    </a:moveTo>
                    <a:cubicBezTo>
                      <a:pt x="265" y="184"/>
                      <a:pt x="266" y="184"/>
                      <a:pt x="266" y="185"/>
                    </a:cubicBezTo>
                    <a:cubicBezTo>
                      <a:pt x="266" y="185"/>
                      <a:pt x="266" y="184"/>
                      <a:pt x="266" y="184"/>
                    </a:cubicBezTo>
                    <a:cubicBezTo>
                      <a:pt x="266" y="184"/>
                      <a:pt x="266" y="184"/>
                      <a:pt x="266" y="184"/>
                    </a:cubicBezTo>
                    <a:cubicBezTo>
                      <a:pt x="266" y="183"/>
                      <a:pt x="266" y="183"/>
                      <a:pt x="266" y="183"/>
                    </a:cubicBezTo>
                    <a:cubicBezTo>
                      <a:pt x="267" y="183"/>
                      <a:pt x="267" y="183"/>
                      <a:pt x="267" y="183"/>
                    </a:cubicBezTo>
                    <a:cubicBezTo>
                      <a:pt x="267" y="183"/>
                      <a:pt x="267" y="182"/>
                      <a:pt x="267" y="182"/>
                    </a:cubicBezTo>
                    <a:cubicBezTo>
                      <a:pt x="267" y="182"/>
                      <a:pt x="267" y="182"/>
                      <a:pt x="267" y="182"/>
                    </a:cubicBezTo>
                    <a:cubicBezTo>
                      <a:pt x="267" y="182"/>
                      <a:pt x="267" y="182"/>
                      <a:pt x="267" y="182"/>
                    </a:cubicBezTo>
                    <a:cubicBezTo>
                      <a:pt x="267" y="182"/>
                      <a:pt x="267" y="182"/>
                      <a:pt x="267" y="182"/>
                    </a:cubicBezTo>
                    <a:cubicBezTo>
                      <a:pt x="267" y="181"/>
                      <a:pt x="267" y="181"/>
                      <a:pt x="267" y="181"/>
                    </a:cubicBezTo>
                    <a:cubicBezTo>
                      <a:pt x="267" y="181"/>
                      <a:pt x="267" y="181"/>
                      <a:pt x="267" y="181"/>
                    </a:cubicBezTo>
                    <a:cubicBezTo>
                      <a:pt x="267" y="181"/>
                      <a:pt x="267" y="181"/>
                      <a:pt x="267" y="181"/>
                    </a:cubicBezTo>
                    <a:cubicBezTo>
                      <a:pt x="266" y="181"/>
                      <a:pt x="266" y="181"/>
                      <a:pt x="266" y="181"/>
                    </a:cubicBezTo>
                    <a:cubicBezTo>
                      <a:pt x="266" y="181"/>
                      <a:pt x="266" y="181"/>
                      <a:pt x="265" y="182"/>
                    </a:cubicBezTo>
                    <a:cubicBezTo>
                      <a:pt x="265" y="182"/>
                      <a:pt x="265" y="182"/>
                      <a:pt x="265" y="182"/>
                    </a:cubicBezTo>
                    <a:cubicBezTo>
                      <a:pt x="266" y="183"/>
                      <a:pt x="265" y="183"/>
                      <a:pt x="265" y="183"/>
                    </a:cubicBezTo>
                    <a:cubicBezTo>
                      <a:pt x="265" y="184"/>
                      <a:pt x="265" y="184"/>
                      <a:pt x="265" y="184"/>
                    </a:cubicBezTo>
                    <a:close/>
                    <a:moveTo>
                      <a:pt x="277" y="182"/>
                    </a:moveTo>
                    <a:cubicBezTo>
                      <a:pt x="277" y="182"/>
                      <a:pt x="277" y="182"/>
                      <a:pt x="277" y="182"/>
                    </a:cubicBezTo>
                    <a:cubicBezTo>
                      <a:pt x="277" y="182"/>
                      <a:pt x="277" y="181"/>
                      <a:pt x="277" y="181"/>
                    </a:cubicBezTo>
                    <a:cubicBezTo>
                      <a:pt x="276" y="181"/>
                      <a:pt x="276" y="182"/>
                      <a:pt x="276" y="182"/>
                    </a:cubicBezTo>
                    <a:cubicBezTo>
                      <a:pt x="276" y="182"/>
                      <a:pt x="275" y="182"/>
                      <a:pt x="275" y="181"/>
                    </a:cubicBezTo>
                    <a:cubicBezTo>
                      <a:pt x="275" y="181"/>
                      <a:pt x="275" y="181"/>
                      <a:pt x="275" y="181"/>
                    </a:cubicBezTo>
                    <a:cubicBezTo>
                      <a:pt x="275" y="181"/>
                      <a:pt x="275" y="181"/>
                      <a:pt x="275" y="181"/>
                    </a:cubicBezTo>
                    <a:cubicBezTo>
                      <a:pt x="275" y="181"/>
                      <a:pt x="275" y="181"/>
                      <a:pt x="275" y="181"/>
                    </a:cubicBezTo>
                    <a:cubicBezTo>
                      <a:pt x="275" y="181"/>
                      <a:pt x="274" y="181"/>
                      <a:pt x="274" y="181"/>
                    </a:cubicBezTo>
                    <a:cubicBezTo>
                      <a:pt x="274" y="181"/>
                      <a:pt x="274" y="180"/>
                      <a:pt x="274" y="181"/>
                    </a:cubicBezTo>
                    <a:cubicBezTo>
                      <a:pt x="273" y="181"/>
                      <a:pt x="274" y="181"/>
                      <a:pt x="273" y="181"/>
                    </a:cubicBezTo>
                    <a:cubicBezTo>
                      <a:pt x="273" y="182"/>
                      <a:pt x="273" y="182"/>
                      <a:pt x="273" y="182"/>
                    </a:cubicBezTo>
                    <a:cubicBezTo>
                      <a:pt x="273" y="182"/>
                      <a:pt x="273" y="182"/>
                      <a:pt x="273" y="182"/>
                    </a:cubicBezTo>
                    <a:cubicBezTo>
                      <a:pt x="273" y="183"/>
                      <a:pt x="273" y="183"/>
                      <a:pt x="273" y="183"/>
                    </a:cubicBezTo>
                    <a:cubicBezTo>
                      <a:pt x="273" y="183"/>
                      <a:pt x="273" y="182"/>
                      <a:pt x="273" y="182"/>
                    </a:cubicBezTo>
                    <a:cubicBezTo>
                      <a:pt x="274" y="182"/>
                      <a:pt x="274" y="182"/>
                      <a:pt x="274" y="182"/>
                    </a:cubicBezTo>
                    <a:cubicBezTo>
                      <a:pt x="274" y="182"/>
                      <a:pt x="274" y="182"/>
                      <a:pt x="274" y="182"/>
                    </a:cubicBezTo>
                    <a:cubicBezTo>
                      <a:pt x="274" y="182"/>
                      <a:pt x="274" y="182"/>
                      <a:pt x="274" y="182"/>
                    </a:cubicBezTo>
                    <a:cubicBezTo>
                      <a:pt x="274" y="183"/>
                      <a:pt x="274" y="183"/>
                      <a:pt x="274" y="183"/>
                    </a:cubicBezTo>
                    <a:cubicBezTo>
                      <a:pt x="274" y="183"/>
                      <a:pt x="274" y="183"/>
                      <a:pt x="274" y="183"/>
                    </a:cubicBezTo>
                    <a:cubicBezTo>
                      <a:pt x="274" y="183"/>
                      <a:pt x="274" y="184"/>
                      <a:pt x="274" y="184"/>
                    </a:cubicBezTo>
                    <a:cubicBezTo>
                      <a:pt x="274" y="184"/>
                      <a:pt x="274" y="184"/>
                      <a:pt x="274" y="184"/>
                    </a:cubicBezTo>
                    <a:cubicBezTo>
                      <a:pt x="275" y="184"/>
                      <a:pt x="275" y="183"/>
                      <a:pt x="276" y="183"/>
                    </a:cubicBezTo>
                    <a:cubicBezTo>
                      <a:pt x="276" y="182"/>
                      <a:pt x="276" y="182"/>
                      <a:pt x="277" y="182"/>
                    </a:cubicBezTo>
                    <a:cubicBezTo>
                      <a:pt x="277" y="182"/>
                      <a:pt x="277" y="182"/>
                      <a:pt x="277" y="182"/>
                    </a:cubicBezTo>
                    <a:close/>
                    <a:moveTo>
                      <a:pt x="276" y="181"/>
                    </a:moveTo>
                    <a:cubicBezTo>
                      <a:pt x="276" y="181"/>
                      <a:pt x="276" y="181"/>
                      <a:pt x="276" y="181"/>
                    </a:cubicBezTo>
                    <a:cubicBezTo>
                      <a:pt x="277" y="181"/>
                      <a:pt x="277" y="181"/>
                      <a:pt x="278" y="180"/>
                    </a:cubicBezTo>
                    <a:cubicBezTo>
                      <a:pt x="278" y="180"/>
                      <a:pt x="279" y="180"/>
                      <a:pt x="279" y="179"/>
                    </a:cubicBezTo>
                    <a:cubicBezTo>
                      <a:pt x="279" y="179"/>
                      <a:pt x="279" y="179"/>
                      <a:pt x="279" y="179"/>
                    </a:cubicBezTo>
                    <a:cubicBezTo>
                      <a:pt x="279" y="179"/>
                      <a:pt x="279" y="179"/>
                      <a:pt x="279" y="179"/>
                    </a:cubicBezTo>
                    <a:cubicBezTo>
                      <a:pt x="278" y="179"/>
                      <a:pt x="278" y="180"/>
                      <a:pt x="277" y="180"/>
                    </a:cubicBezTo>
                    <a:cubicBezTo>
                      <a:pt x="277" y="180"/>
                      <a:pt x="277" y="180"/>
                      <a:pt x="277" y="180"/>
                    </a:cubicBezTo>
                    <a:cubicBezTo>
                      <a:pt x="276" y="180"/>
                      <a:pt x="276" y="180"/>
                      <a:pt x="276" y="180"/>
                    </a:cubicBezTo>
                    <a:cubicBezTo>
                      <a:pt x="276" y="180"/>
                      <a:pt x="276" y="181"/>
                      <a:pt x="276" y="181"/>
                    </a:cubicBezTo>
                    <a:close/>
                    <a:moveTo>
                      <a:pt x="359" y="226"/>
                    </a:moveTo>
                    <a:cubicBezTo>
                      <a:pt x="359" y="227"/>
                      <a:pt x="359" y="227"/>
                      <a:pt x="360" y="227"/>
                    </a:cubicBezTo>
                    <a:cubicBezTo>
                      <a:pt x="360" y="227"/>
                      <a:pt x="359" y="227"/>
                      <a:pt x="359" y="227"/>
                    </a:cubicBezTo>
                    <a:cubicBezTo>
                      <a:pt x="359" y="227"/>
                      <a:pt x="359" y="227"/>
                      <a:pt x="359" y="227"/>
                    </a:cubicBezTo>
                    <a:cubicBezTo>
                      <a:pt x="359" y="227"/>
                      <a:pt x="359" y="227"/>
                      <a:pt x="359" y="227"/>
                    </a:cubicBezTo>
                    <a:cubicBezTo>
                      <a:pt x="359" y="227"/>
                      <a:pt x="359" y="227"/>
                      <a:pt x="359" y="228"/>
                    </a:cubicBezTo>
                    <a:cubicBezTo>
                      <a:pt x="360" y="228"/>
                      <a:pt x="360" y="228"/>
                      <a:pt x="360" y="228"/>
                    </a:cubicBezTo>
                    <a:cubicBezTo>
                      <a:pt x="360" y="228"/>
                      <a:pt x="360" y="228"/>
                      <a:pt x="360" y="228"/>
                    </a:cubicBezTo>
                    <a:cubicBezTo>
                      <a:pt x="360" y="228"/>
                      <a:pt x="360" y="229"/>
                      <a:pt x="360" y="229"/>
                    </a:cubicBezTo>
                    <a:cubicBezTo>
                      <a:pt x="360" y="229"/>
                      <a:pt x="360" y="229"/>
                      <a:pt x="360" y="229"/>
                    </a:cubicBezTo>
                    <a:cubicBezTo>
                      <a:pt x="360" y="230"/>
                      <a:pt x="360" y="230"/>
                      <a:pt x="360" y="230"/>
                    </a:cubicBezTo>
                    <a:cubicBezTo>
                      <a:pt x="360" y="230"/>
                      <a:pt x="360" y="231"/>
                      <a:pt x="360" y="231"/>
                    </a:cubicBezTo>
                    <a:cubicBezTo>
                      <a:pt x="360" y="231"/>
                      <a:pt x="360" y="232"/>
                      <a:pt x="360" y="232"/>
                    </a:cubicBezTo>
                    <a:cubicBezTo>
                      <a:pt x="360" y="232"/>
                      <a:pt x="360" y="233"/>
                      <a:pt x="361" y="232"/>
                    </a:cubicBezTo>
                    <a:cubicBezTo>
                      <a:pt x="361" y="232"/>
                      <a:pt x="361" y="233"/>
                      <a:pt x="361" y="232"/>
                    </a:cubicBezTo>
                    <a:cubicBezTo>
                      <a:pt x="362" y="232"/>
                      <a:pt x="362" y="232"/>
                      <a:pt x="362" y="232"/>
                    </a:cubicBezTo>
                    <a:cubicBezTo>
                      <a:pt x="362" y="232"/>
                      <a:pt x="362" y="232"/>
                      <a:pt x="362" y="232"/>
                    </a:cubicBezTo>
                    <a:cubicBezTo>
                      <a:pt x="362" y="232"/>
                      <a:pt x="362" y="232"/>
                      <a:pt x="362" y="232"/>
                    </a:cubicBezTo>
                    <a:cubicBezTo>
                      <a:pt x="362" y="232"/>
                      <a:pt x="362" y="232"/>
                      <a:pt x="363" y="232"/>
                    </a:cubicBezTo>
                    <a:cubicBezTo>
                      <a:pt x="363" y="232"/>
                      <a:pt x="363" y="232"/>
                      <a:pt x="363" y="232"/>
                    </a:cubicBezTo>
                    <a:cubicBezTo>
                      <a:pt x="364" y="232"/>
                      <a:pt x="364" y="232"/>
                      <a:pt x="364" y="232"/>
                    </a:cubicBezTo>
                    <a:cubicBezTo>
                      <a:pt x="364" y="232"/>
                      <a:pt x="364" y="231"/>
                      <a:pt x="364" y="231"/>
                    </a:cubicBezTo>
                    <a:cubicBezTo>
                      <a:pt x="364" y="231"/>
                      <a:pt x="364" y="231"/>
                      <a:pt x="364" y="231"/>
                    </a:cubicBezTo>
                    <a:cubicBezTo>
                      <a:pt x="364" y="231"/>
                      <a:pt x="364" y="231"/>
                      <a:pt x="364" y="231"/>
                    </a:cubicBezTo>
                    <a:cubicBezTo>
                      <a:pt x="364" y="231"/>
                      <a:pt x="364" y="231"/>
                      <a:pt x="364" y="231"/>
                    </a:cubicBezTo>
                    <a:cubicBezTo>
                      <a:pt x="364" y="230"/>
                      <a:pt x="364" y="230"/>
                      <a:pt x="364" y="230"/>
                    </a:cubicBezTo>
                    <a:cubicBezTo>
                      <a:pt x="364" y="230"/>
                      <a:pt x="364" y="230"/>
                      <a:pt x="363" y="230"/>
                    </a:cubicBezTo>
                    <a:cubicBezTo>
                      <a:pt x="363" y="230"/>
                      <a:pt x="363" y="230"/>
                      <a:pt x="363" y="230"/>
                    </a:cubicBezTo>
                    <a:cubicBezTo>
                      <a:pt x="363" y="230"/>
                      <a:pt x="363" y="230"/>
                      <a:pt x="363" y="230"/>
                    </a:cubicBezTo>
                    <a:cubicBezTo>
                      <a:pt x="363" y="230"/>
                      <a:pt x="363" y="230"/>
                      <a:pt x="363" y="229"/>
                    </a:cubicBezTo>
                    <a:cubicBezTo>
                      <a:pt x="363" y="229"/>
                      <a:pt x="363" y="229"/>
                      <a:pt x="363" y="229"/>
                    </a:cubicBezTo>
                    <a:cubicBezTo>
                      <a:pt x="363" y="229"/>
                      <a:pt x="363" y="229"/>
                      <a:pt x="363" y="229"/>
                    </a:cubicBezTo>
                    <a:cubicBezTo>
                      <a:pt x="363" y="228"/>
                      <a:pt x="363" y="228"/>
                      <a:pt x="362" y="228"/>
                    </a:cubicBezTo>
                    <a:cubicBezTo>
                      <a:pt x="362" y="228"/>
                      <a:pt x="362" y="228"/>
                      <a:pt x="362" y="228"/>
                    </a:cubicBezTo>
                    <a:cubicBezTo>
                      <a:pt x="363" y="228"/>
                      <a:pt x="363" y="228"/>
                      <a:pt x="363" y="228"/>
                    </a:cubicBezTo>
                    <a:cubicBezTo>
                      <a:pt x="363" y="228"/>
                      <a:pt x="363" y="228"/>
                      <a:pt x="363" y="228"/>
                    </a:cubicBezTo>
                    <a:cubicBezTo>
                      <a:pt x="363" y="228"/>
                      <a:pt x="363" y="229"/>
                      <a:pt x="363" y="229"/>
                    </a:cubicBezTo>
                    <a:cubicBezTo>
                      <a:pt x="363" y="229"/>
                      <a:pt x="364" y="229"/>
                      <a:pt x="364" y="229"/>
                    </a:cubicBezTo>
                    <a:cubicBezTo>
                      <a:pt x="364" y="230"/>
                      <a:pt x="364" y="230"/>
                      <a:pt x="365" y="230"/>
                    </a:cubicBezTo>
                    <a:cubicBezTo>
                      <a:pt x="365" y="230"/>
                      <a:pt x="365" y="231"/>
                      <a:pt x="365" y="230"/>
                    </a:cubicBezTo>
                    <a:cubicBezTo>
                      <a:pt x="365" y="230"/>
                      <a:pt x="365" y="230"/>
                      <a:pt x="365" y="230"/>
                    </a:cubicBezTo>
                    <a:cubicBezTo>
                      <a:pt x="365" y="229"/>
                      <a:pt x="365" y="229"/>
                      <a:pt x="365" y="229"/>
                    </a:cubicBezTo>
                    <a:cubicBezTo>
                      <a:pt x="365" y="229"/>
                      <a:pt x="365" y="229"/>
                      <a:pt x="365" y="229"/>
                    </a:cubicBezTo>
                    <a:cubicBezTo>
                      <a:pt x="365" y="229"/>
                      <a:pt x="365" y="229"/>
                      <a:pt x="365" y="229"/>
                    </a:cubicBezTo>
                    <a:cubicBezTo>
                      <a:pt x="365" y="229"/>
                      <a:pt x="365" y="229"/>
                      <a:pt x="365" y="229"/>
                    </a:cubicBezTo>
                    <a:cubicBezTo>
                      <a:pt x="365" y="230"/>
                      <a:pt x="365" y="230"/>
                      <a:pt x="365" y="230"/>
                    </a:cubicBezTo>
                    <a:cubicBezTo>
                      <a:pt x="365" y="230"/>
                      <a:pt x="365" y="230"/>
                      <a:pt x="365" y="231"/>
                    </a:cubicBezTo>
                    <a:cubicBezTo>
                      <a:pt x="365" y="231"/>
                      <a:pt x="365" y="231"/>
                      <a:pt x="365" y="231"/>
                    </a:cubicBezTo>
                    <a:cubicBezTo>
                      <a:pt x="365" y="231"/>
                      <a:pt x="364" y="231"/>
                      <a:pt x="364" y="231"/>
                    </a:cubicBezTo>
                    <a:cubicBezTo>
                      <a:pt x="364" y="231"/>
                      <a:pt x="365" y="232"/>
                      <a:pt x="365" y="232"/>
                    </a:cubicBezTo>
                    <a:cubicBezTo>
                      <a:pt x="365" y="232"/>
                      <a:pt x="365" y="232"/>
                      <a:pt x="365" y="232"/>
                    </a:cubicBezTo>
                    <a:cubicBezTo>
                      <a:pt x="365" y="231"/>
                      <a:pt x="365" y="231"/>
                      <a:pt x="365" y="231"/>
                    </a:cubicBezTo>
                    <a:cubicBezTo>
                      <a:pt x="365" y="231"/>
                      <a:pt x="365" y="231"/>
                      <a:pt x="365" y="231"/>
                    </a:cubicBezTo>
                    <a:cubicBezTo>
                      <a:pt x="365" y="232"/>
                      <a:pt x="365" y="232"/>
                      <a:pt x="365" y="232"/>
                    </a:cubicBezTo>
                    <a:cubicBezTo>
                      <a:pt x="366" y="232"/>
                      <a:pt x="366" y="232"/>
                      <a:pt x="366" y="232"/>
                    </a:cubicBezTo>
                    <a:cubicBezTo>
                      <a:pt x="366" y="232"/>
                      <a:pt x="366" y="232"/>
                      <a:pt x="367" y="232"/>
                    </a:cubicBezTo>
                    <a:cubicBezTo>
                      <a:pt x="367" y="232"/>
                      <a:pt x="366" y="231"/>
                      <a:pt x="366" y="231"/>
                    </a:cubicBezTo>
                    <a:cubicBezTo>
                      <a:pt x="366" y="231"/>
                      <a:pt x="366" y="231"/>
                      <a:pt x="366" y="231"/>
                    </a:cubicBezTo>
                    <a:cubicBezTo>
                      <a:pt x="367" y="231"/>
                      <a:pt x="367" y="231"/>
                      <a:pt x="367" y="231"/>
                    </a:cubicBezTo>
                    <a:cubicBezTo>
                      <a:pt x="367" y="231"/>
                      <a:pt x="367" y="231"/>
                      <a:pt x="367" y="231"/>
                    </a:cubicBezTo>
                    <a:cubicBezTo>
                      <a:pt x="367" y="231"/>
                      <a:pt x="367" y="231"/>
                      <a:pt x="368" y="231"/>
                    </a:cubicBezTo>
                    <a:cubicBezTo>
                      <a:pt x="368" y="231"/>
                      <a:pt x="368" y="231"/>
                      <a:pt x="368" y="230"/>
                    </a:cubicBezTo>
                    <a:cubicBezTo>
                      <a:pt x="367" y="230"/>
                      <a:pt x="367" y="230"/>
                      <a:pt x="367" y="230"/>
                    </a:cubicBezTo>
                    <a:cubicBezTo>
                      <a:pt x="367" y="230"/>
                      <a:pt x="367" y="230"/>
                      <a:pt x="367" y="230"/>
                    </a:cubicBezTo>
                    <a:cubicBezTo>
                      <a:pt x="367" y="230"/>
                      <a:pt x="366" y="229"/>
                      <a:pt x="366" y="229"/>
                    </a:cubicBezTo>
                    <a:cubicBezTo>
                      <a:pt x="366" y="228"/>
                      <a:pt x="366" y="228"/>
                      <a:pt x="365" y="228"/>
                    </a:cubicBezTo>
                    <a:cubicBezTo>
                      <a:pt x="365" y="228"/>
                      <a:pt x="365" y="228"/>
                      <a:pt x="365" y="229"/>
                    </a:cubicBezTo>
                    <a:cubicBezTo>
                      <a:pt x="365" y="228"/>
                      <a:pt x="365" y="228"/>
                      <a:pt x="365" y="228"/>
                    </a:cubicBezTo>
                    <a:cubicBezTo>
                      <a:pt x="365" y="228"/>
                      <a:pt x="365" y="228"/>
                      <a:pt x="365" y="228"/>
                    </a:cubicBezTo>
                    <a:cubicBezTo>
                      <a:pt x="365" y="228"/>
                      <a:pt x="365" y="227"/>
                      <a:pt x="365" y="227"/>
                    </a:cubicBezTo>
                    <a:cubicBezTo>
                      <a:pt x="365" y="227"/>
                      <a:pt x="365" y="227"/>
                      <a:pt x="365" y="227"/>
                    </a:cubicBezTo>
                    <a:cubicBezTo>
                      <a:pt x="365" y="227"/>
                      <a:pt x="365" y="227"/>
                      <a:pt x="365" y="227"/>
                    </a:cubicBezTo>
                    <a:cubicBezTo>
                      <a:pt x="365" y="226"/>
                      <a:pt x="364" y="226"/>
                      <a:pt x="364" y="226"/>
                    </a:cubicBezTo>
                    <a:cubicBezTo>
                      <a:pt x="364" y="226"/>
                      <a:pt x="364" y="226"/>
                      <a:pt x="364" y="226"/>
                    </a:cubicBezTo>
                    <a:cubicBezTo>
                      <a:pt x="364" y="226"/>
                      <a:pt x="363" y="226"/>
                      <a:pt x="363" y="226"/>
                    </a:cubicBezTo>
                    <a:cubicBezTo>
                      <a:pt x="363" y="226"/>
                      <a:pt x="363" y="226"/>
                      <a:pt x="363" y="226"/>
                    </a:cubicBezTo>
                    <a:cubicBezTo>
                      <a:pt x="363" y="226"/>
                      <a:pt x="363" y="226"/>
                      <a:pt x="363" y="227"/>
                    </a:cubicBezTo>
                    <a:cubicBezTo>
                      <a:pt x="363" y="226"/>
                      <a:pt x="363" y="226"/>
                      <a:pt x="362" y="226"/>
                    </a:cubicBezTo>
                    <a:cubicBezTo>
                      <a:pt x="362" y="226"/>
                      <a:pt x="362" y="226"/>
                      <a:pt x="362" y="226"/>
                    </a:cubicBezTo>
                    <a:cubicBezTo>
                      <a:pt x="362" y="225"/>
                      <a:pt x="361" y="225"/>
                      <a:pt x="361" y="225"/>
                    </a:cubicBezTo>
                    <a:cubicBezTo>
                      <a:pt x="361" y="225"/>
                      <a:pt x="361" y="225"/>
                      <a:pt x="360" y="225"/>
                    </a:cubicBezTo>
                    <a:cubicBezTo>
                      <a:pt x="360" y="225"/>
                      <a:pt x="360" y="225"/>
                      <a:pt x="360" y="225"/>
                    </a:cubicBezTo>
                    <a:cubicBezTo>
                      <a:pt x="359" y="225"/>
                      <a:pt x="359" y="225"/>
                      <a:pt x="358" y="225"/>
                    </a:cubicBezTo>
                    <a:cubicBezTo>
                      <a:pt x="358" y="225"/>
                      <a:pt x="358" y="225"/>
                      <a:pt x="358" y="226"/>
                    </a:cubicBezTo>
                    <a:cubicBezTo>
                      <a:pt x="358" y="226"/>
                      <a:pt x="359" y="226"/>
                      <a:pt x="359" y="226"/>
                    </a:cubicBezTo>
                    <a:close/>
                    <a:moveTo>
                      <a:pt x="359" y="234"/>
                    </a:moveTo>
                    <a:cubicBezTo>
                      <a:pt x="359" y="233"/>
                      <a:pt x="359" y="233"/>
                      <a:pt x="359" y="233"/>
                    </a:cubicBezTo>
                    <a:cubicBezTo>
                      <a:pt x="359" y="233"/>
                      <a:pt x="359" y="233"/>
                      <a:pt x="359" y="233"/>
                    </a:cubicBezTo>
                    <a:cubicBezTo>
                      <a:pt x="359" y="233"/>
                      <a:pt x="359" y="233"/>
                      <a:pt x="358" y="233"/>
                    </a:cubicBezTo>
                    <a:cubicBezTo>
                      <a:pt x="359" y="233"/>
                      <a:pt x="359" y="232"/>
                      <a:pt x="359" y="233"/>
                    </a:cubicBezTo>
                    <a:cubicBezTo>
                      <a:pt x="359" y="233"/>
                      <a:pt x="359" y="232"/>
                      <a:pt x="359" y="232"/>
                    </a:cubicBezTo>
                    <a:cubicBezTo>
                      <a:pt x="359" y="232"/>
                      <a:pt x="359" y="232"/>
                      <a:pt x="359" y="232"/>
                    </a:cubicBezTo>
                    <a:cubicBezTo>
                      <a:pt x="359" y="232"/>
                      <a:pt x="358" y="232"/>
                      <a:pt x="358" y="232"/>
                    </a:cubicBezTo>
                    <a:cubicBezTo>
                      <a:pt x="359" y="232"/>
                      <a:pt x="359" y="232"/>
                      <a:pt x="359" y="231"/>
                    </a:cubicBezTo>
                    <a:cubicBezTo>
                      <a:pt x="359" y="231"/>
                      <a:pt x="359" y="231"/>
                      <a:pt x="359" y="231"/>
                    </a:cubicBezTo>
                    <a:cubicBezTo>
                      <a:pt x="359" y="231"/>
                      <a:pt x="359" y="231"/>
                      <a:pt x="359" y="230"/>
                    </a:cubicBezTo>
                    <a:cubicBezTo>
                      <a:pt x="359" y="230"/>
                      <a:pt x="359" y="230"/>
                      <a:pt x="360" y="231"/>
                    </a:cubicBezTo>
                    <a:cubicBezTo>
                      <a:pt x="360" y="231"/>
                      <a:pt x="360" y="231"/>
                      <a:pt x="360" y="231"/>
                    </a:cubicBezTo>
                    <a:cubicBezTo>
                      <a:pt x="360" y="231"/>
                      <a:pt x="360" y="231"/>
                      <a:pt x="360" y="230"/>
                    </a:cubicBezTo>
                    <a:cubicBezTo>
                      <a:pt x="360" y="230"/>
                      <a:pt x="360" y="230"/>
                      <a:pt x="360" y="230"/>
                    </a:cubicBezTo>
                    <a:cubicBezTo>
                      <a:pt x="360" y="230"/>
                      <a:pt x="360" y="230"/>
                      <a:pt x="360" y="230"/>
                    </a:cubicBezTo>
                    <a:cubicBezTo>
                      <a:pt x="360" y="229"/>
                      <a:pt x="360" y="229"/>
                      <a:pt x="360" y="229"/>
                    </a:cubicBezTo>
                    <a:cubicBezTo>
                      <a:pt x="360" y="229"/>
                      <a:pt x="360" y="228"/>
                      <a:pt x="360" y="228"/>
                    </a:cubicBezTo>
                    <a:cubicBezTo>
                      <a:pt x="360" y="228"/>
                      <a:pt x="359" y="228"/>
                      <a:pt x="359" y="228"/>
                    </a:cubicBezTo>
                    <a:cubicBezTo>
                      <a:pt x="359" y="228"/>
                      <a:pt x="359" y="228"/>
                      <a:pt x="359" y="228"/>
                    </a:cubicBezTo>
                    <a:cubicBezTo>
                      <a:pt x="359" y="228"/>
                      <a:pt x="359" y="228"/>
                      <a:pt x="359" y="229"/>
                    </a:cubicBezTo>
                    <a:cubicBezTo>
                      <a:pt x="359" y="229"/>
                      <a:pt x="359" y="229"/>
                      <a:pt x="359" y="229"/>
                    </a:cubicBezTo>
                    <a:cubicBezTo>
                      <a:pt x="359" y="229"/>
                      <a:pt x="359" y="229"/>
                      <a:pt x="359" y="229"/>
                    </a:cubicBezTo>
                    <a:cubicBezTo>
                      <a:pt x="359" y="230"/>
                      <a:pt x="359" y="230"/>
                      <a:pt x="358" y="230"/>
                    </a:cubicBezTo>
                    <a:cubicBezTo>
                      <a:pt x="358" y="230"/>
                      <a:pt x="358" y="230"/>
                      <a:pt x="358" y="230"/>
                    </a:cubicBezTo>
                    <a:cubicBezTo>
                      <a:pt x="358" y="230"/>
                      <a:pt x="358" y="230"/>
                      <a:pt x="358" y="230"/>
                    </a:cubicBezTo>
                    <a:cubicBezTo>
                      <a:pt x="358" y="230"/>
                      <a:pt x="359" y="229"/>
                      <a:pt x="359" y="229"/>
                    </a:cubicBezTo>
                    <a:cubicBezTo>
                      <a:pt x="358" y="228"/>
                      <a:pt x="358" y="228"/>
                      <a:pt x="358" y="228"/>
                    </a:cubicBezTo>
                    <a:cubicBezTo>
                      <a:pt x="358" y="228"/>
                      <a:pt x="358" y="228"/>
                      <a:pt x="358" y="228"/>
                    </a:cubicBezTo>
                    <a:cubicBezTo>
                      <a:pt x="358" y="228"/>
                      <a:pt x="358" y="228"/>
                      <a:pt x="358" y="227"/>
                    </a:cubicBezTo>
                    <a:cubicBezTo>
                      <a:pt x="358" y="227"/>
                      <a:pt x="358" y="227"/>
                      <a:pt x="358" y="227"/>
                    </a:cubicBezTo>
                    <a:cubicBezTo>
                      <a:pt x="358" y="227"/>
                      <a:pt x="357" y="227"/>
                      <a:pt x="357" y="227"/>
                    </a:cubicBezTo>
                    <a:cubicBezTo>
                      <a:pt x="357" y="227"/>
                      <a:pt x="357" y="227"/>
                      <a:pt x="357" y="227"/>
                    </a:cubicBezTo>
                    <a:cubicBezTo>
                      <a:pt x="357" y="227"/>
                      <a:pt x="357" y="227"/>
                      <a:pt x="357" y="228"/>
                    </a:cubicBezTo>
                    <a:cubicBezTo>
                      <a:pt x="357" y="228"/>
                      <a:pt x="357" y="227"/>
                      <a:pt x="357" y="227"/>
                    </a:cubicBezTo>
                    <a:cubicBezTo>
                      <a:pt x="356" y="227"/>
                      <a:pt x="356" y="227"/>
                      <a:pt x="356" y="227"/>
                    </a:cubicBezTo>
                    <a:cubicBezTo>
                      <a:pt x="356" y="227"/>
                      <a:pt x="356" y="227"/>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7"/>
                      <a:pt x="355" y="227"/>
                    </a:cubicBezTo>
                    <a:cubicBezTo>
                      <a:pt x="355" y="228"/>
                      <a:pt x="355" y="228"/>
                      <a:pt x="355" y="228"/>
                    </a:cubicBezTo>
                    <a:cubicBezTo>
                      <a:pt x="355" y="228"/>
                      <a:pt x="355" y="228"/>
                      <a:pt x="355" y="228"/>
                    </a:cubicBezTo>
                    <a:cubicBezTo>
                      <a:pt x="355" y="228"/>
                      <a:pt x="355" y="228"/>
                      <a:pt x="355" y="228"/>
                    </a:cubicBezTo>
                    <a:cubicBezTo>
                      <a:pt x="356" y="229"/>
                      <a:pt x="355" y="229"/>
                      <a:pt x="356" y="229"/>
                    </a:cubicBezTo>
                    <a:cubicBezTo>
                      <a:pt x="356" y="229"/>
                      <a:pt x="356" y="230"/>
                      <a:pt x="356" y="230"/>
                    </a:cubicBezTo>
                    <a:cubicBezTo>
                      <a:pt x="356" y="230"/>
                      <a:pt x="356" y="230"/>
                      <a:pt x="356" y="230"/>
                    </a:cubicBezTo>
                    <a:cubicBezTo>
                      <a:pt x="356" y="230"/>
                      <a:pt x="357" y="230"/>
                      <a:pt x="357" y="230"/>
                    </a:cubicBezTo>
                    <a:cubicBezTo>
                      <a:pt x="357" y="230"/>
                      <a:pt x="357" y="230"/>
                      <a:pt x="356" y="230"/>
                    </a:cubicBezTo>
                    <a:cubicBezTo>
                      <a:pt x="356" y="230"/>
                      <a:pt x="356" y="230"/>
                      <a:pt x="356" y="230"/>
                    </a:cubicBezTo>
                    <a:cubicBezTo>
                      <a:pt x="356" y="230"/>
                      <a:pt x="356" y="230"/>
                      <a:pt x="357" y="230"/>
                    </a:cubicBezTo>
                    <a:cubicBezTo>
                      <a:pt x="357" y="230"/>
                      <a:pt x="357" y="230"/>
                      <a:pt x="357" y="230"/>
                    </a:cubicBezTo>
                    <a:cubicBezTo>
                      <a:pt x="357" y="230"/>
                      <a:pt x="357" y="231"/>
                      <a:pt x="357" y="231"/>
                    </a:cubicBezTo>
                    <a:cubicBezTo>
                      <a:pt x="356" y="231"/>
                      <a:pt x="356" y="231"/>
                      <a:pt x="356" y="231"/>
                    </a:cubicBezTo>
                    <a:cubicBezTo>
                      <a:pt x="356" y="231"/>
                      <a:pt x="357" y="231"/>
                      <a:pt x="357" y="231"/>
                    </a:cubicBezTo>
                    <a:cubicBezTo>
                      <a:pt x="357" y="231"/>
                      <a:pt x="357" y="231"/>
                      <a:pt x="357" y="231"/>
                    </a:cubicBezTo>
                    <a:cubicBezTo>
                      <a:pt x="357" y="232"/>
                      <a:pt x="357" y="232"/>
                      <a:pt x="357" y="232"/>
                    </a:cubicBezTo>
                    <a:cubicBezTo>
                      <a:pt x="357" y="232"/>
                      <a:pt x="357" y="232"/>
                      <a:pt x="357" y="231"/>
                    </a:cubicBezTo>
                    <a:cubicBezTo>
                      <a:pt x="357" y="231"/>
                      <a:pt x="357" y="231"/>
                      <a:pt x="358" y="231"/>
                    </a:cubicBezTo>
                    <a:cubicBezTo>
                      <a:pt x="358" y="231"/>
                      <a:pt x="358" y="231"/>
                      <a:pt x="358" y="231"/>
                    </a:cubicBezTo>
                    <a:cubicBezTo>
                      <a:pt x="358" y="232"/>
                      <a:pt x="358" y="232"/>
                      <a:pt x="358" y="232"/>
                    </a:cubicBezTo>
                    <a:cubicBezTo>
                      <a:pt x="358" y="232"/>
                      <a:pt x="358" y="232"/>
                      <a:pt x="358" y="233"/>
                    </a:cubicBezTo>
                    <a:cubicBezTo>
                      <a:pt x="358" y="233"/>
                      <a:pt x="358" y="233"/>
                      <a:pt x="358" y="233"/>
                    </a:cubicBezTo>
                    <a:cubicBezTo>
                      <a:pt x="358" y="233"/>
                      <a:pt x="357" y="233"/>
                      <a:pt x="357" y="233"/>
                    </a:cubicBezTo>
                    <a:cubicBezTo>
                      <a:pt x="357" y="233"/>
                      <a:pt x="357" y="233"/>
                      <a:pt x="357" y="233"/>
                    </a:cubicBezTo>
                    <a:cubicBezTo>
                      <a:pt x="357" y="233"/>
                      <a:pt x="357" y="233"/>
                      <a:pt x="357" y="233"/>
                    </a:cubicBezTo>
                    <a:cubicBezTo>
                      <a:pt x="356" y="233"/>
                      <a:pt x="356" y="234"/>
                      <a:pt x="356" y="234"/>
                    </a:cubicBezTo>
                    <a:cubicBezTo>
                      <a:pt x="356" y="234"/>
                      <a:pt x="356" y="234"/>
                      <a:pt x="356" y="234"/>
                    </a:cubicBezTo>
                    <a:cubicBezTo>
                      <a:pt x="356" y="234"/>
                      <a:pt x="356" y="234"/>
                      <a:pt x="356" y="234"/>
                    </a:cubicBezTo>
                    <a:cubicBezTo>
                      <a:pt x="356" y="234"/>
                      <a:pt x="356" y="234"/>
                      <a:pt x="356" y="234"/>
                    </a:cubicBezTo>
                    <a:cubicBezTo>
                      <a:pt x="356" y="234"/>
                      <a:pt x="357" y="234"/>
                      <a:pt x="357" y="234"/>
                    </a:cubicBezTo>
                    <a:cubicBezTo>
                      <a:pt x="357" y="234"/>
                      <a:pt x="357" y="234"/>
                      <a:pt x="357" y="234"/>
                    </a:cubicBezTo>
                    <a:cubicBezTo>
                      <a:pt x="357" y="234"/>
                      <a:pt x="356" y="235"/>
                      <a:pt x="356" y="235"/>
                    </a:cubicBezTo>
                    <a:cubicBezTo>
                      <a:pt x="356" y="235"/>
                      <a:pt x="356" y="235"/>
                      <a:pt x="356" y="235"/>
                    </a:cubicBezTo>
                    <a:cubicBezTo>
                      <a:pt x="356" y="236"/>
                      <a:pt x="356" y="236"/>
                      <a:pt x="357" y="236"/>
                    </a:cubicBezTo>
                    <a:cubicBezTo>
                      <a:pt x="357" y="236"/>
                      <a:pt x="357" y="236"/>
                      <a:pt x="357" y="236"/>
                    </a:cubicBezTo>
                    <a:cubicBezTo>
                      <a:pt x="356" y="236"/>
                      <a:pt x="356" y="236"/>
                      <a:pt x="357" y="237"/>
                    </a:cubicBezTo>
                    <a:cubicBezTo>
                      <a:pt x="357" y="237"/>
                      <a:pt x="356" y="237"/>
                      <a:pt x="357" y="237"/>
                    </a:cubicBezTo>
                    <a:cubicBezTo>
                      <a:pt x="357" y="237"/>
                      <a:pt x="357" y="237"/>
                      <a:pt x="357" y="238"/>
                    </a:cubicBezTo>
                    <a:cubicBezTo>
                      <a:pt x="357" y="238"/>
                      <a:pt x="357" y="238"/>
                      <a:pt x="357" y="238"/>
                    </a:cubicBezTo>
                    <a:cubicBezTo>
                      <a:pt x="357" y="238"/>
                      <a:pt x="357" y="238"/>
                      <a:pt x="357" y="237"/>
                    </a:cubicBezTo>
                    <a:cubicBezTo>
                      <a:pt x="357" y="237"/>
                      <a:pt x="357" y="237"/>
                      <a:pt x="357" y="237"/>
                    </a:cubicBezTo>
                    <a:cubicBezTo>
                      <a:pt x="358" y="236"/>
                      <a:pt x="358" y="236"/>
                      <a:pt x="357" y="236"/>
                    </a:cubicBezTo>
                    <a:cubicBezTo>
                      <a:pt x="357" y="236"/>
                      <a:pt x="357" y="236"/>
                      <a:pt x="357" y="236"/>
                    </a:cubicBezTo>
                    <a:cubicBezTo>
                      <a:pt x="357" y="236"/>
                      <a:pt x="357" y="236"/>
                      <a:pt x="357" y="236"/>
                    </a:cubicBezTo>
                    <a:cubicBezTo>
                      <a:pt x="357" y="236"/>
                      <a:pt x="358" y="236"/>
                      <a:pt x="357" y="235"/>
                    </a:cubicBezTo>
                    <a:cubicBezTo>
                      <a:pt x="357" y="235"/>
                      <a:pt x="357" y="235"/>
                      <a:pt x="357" y="235"/>
                    </a:cubicBezTo>
                    <a:cubicBezTo>
                      <a:pt x="358" y="235"/>
                      <a:pt x="358" y="235"/>
                      <a:pt x="358" y="234"/>
                    </a:cubicBezTo>
                    <a:cubicBezTo>
                      <a:pt x="358" y="234"/>
                      <a:pt x="358" y="234"/>
                      <a:pt x="358" y="234"/>
                    </a:cubicBezTo>
                    <a:cubicBezTo>
                      <a:pt x="358" y="234"/>
                      <a:pt x="358" y="234"/>
                      <a:pt x="358" y="234"/>
                    </a:cubicBezTo>
                    <a:cubicBezTo>
                      <a:pt x="358" y="234"/>
                      <a:pt x="358" y="234"/>
                      <a:pt x="358" y="234"/>
                    </a:cubicBezTo>
                    <a:cubicBezTo>
                      <a:pt x="358" y="235"/>
                      <a:pt x="358" y="236"/>
                      <a:pt x="358" y="236"/>
                    </a:cubicBezTo>
                    <a:cubicBezTo>
                      <a:pt x="358" y="237"/>
                      <a:pt x="358" y="237"/>
                      <a:pt x="358" y="237"/>
                    </a:cubicBezTo>
                    <a:cubicBezTo>
                      <a:pt x="358" y="237"/>
                      <a:pt x="358" y="237"/>
                      <a:pt x="358" y="236"/>
                    </a:cubicBezTo>
                    <a:cubicBezTo>
                      <a:pt x="359" y="236"/>
                      <a:pt x="359" y="236"/>
                      <a:pt x="358" y="236"/>
                    </a:cubicBezTo>
                    <a:cubicBezTo>
                      <a:pt x="358" y="235"/>
                      <a:pt x="358" y="235"/>
                      <a:pt x="359" y="235"/>
                    </a:cubicBezTo>
                    <a:cubicBezTo>
                      <a:pt x="359" y="235"/>
                      <a:pt x="359" y="235"/>
                      <a:pt x="359" y="235"/>
                    </a:cubicBezTo>
                    <a:cubicBezTo>
                      <a:pt x="359" y="235"/>
                      <a:pt x="359" y="235"/>
                      <a:pt x="359" y="234"/>
                    </a:cubicBezTo>
                    <a:cubicBezTo>
                      <a:pt x="358" y="234"/>
                      <a:pt x="358" y="235"/>
                      <a:pt x="358" y="235"/>
                    </a:cubicBezTo>
                    <a:cubicBezTo>
                      <a:pt x="358" y="235"/>
                      <a:pt x="358" y="234"/>
                      <a:pt x="358" y="234"/>
                    </a:cubicBezTo>
                    <a:cubicBezTo>
                      <a:pt x="358" y="234"/>
                      <a:pt x="358" y="234"/>
                      <a:pt x="358" y="234"/>
                    </a:cubicBezTo>
                    <a:cubicBezTo>
                      <a:pt x="358" y="234"/>
                      <a:pt x="358" y="234"/>
                      <a:pt x="358" y="234"/>
                    </a:cubicBezTo>
                    <a:cubicBezTo>
                      <a:pt x="358" y="234"/>
                      <a:pt x="359" y="234"/>
                      <a:pt x="359" y="234"/>
                    </a:cubicBezTo>
                    <a:cubicBezTo>
                      <a:pt x="359" y="234"/>
                      <a:pt x="359" y="234"/>
                      <a:pt x="359" y="234"/>
                    </a:cubicBezTo>
                    <a:cubicBezTo>
                      <a:pt x="359" y="234"/>
                      <a:pt x="359" y="234"/>
                      <a:pt x="359" y="234"/>
                    </a:cubicBezTo>
                    <a:cubicBezTo>
                      <a:pt x="359" y="234"/>
                      <a:pt x="359" y="234"/>
                      <a:pt x="359" y="234"/>
                    </a:cubicBezTo>
                    <a:close/>
                    <a:moveTo>
                      <a:pt x="367" y="253"/>
                    </a:moveTo>
                    <a:cubicBezTo>
                      <a:pt x="367" y="253"/>
                      <a:pt x="367" y="253"/>
                      <a:pt x="367" y="252"/>
                    </a:cubicBezTo>
                    <a:cubicBezTo>
                      <a:pt x="366" y="252"/>
                      <a:pt x="366" y="252"/>
                      <a:pt x="366" y="252"/>
                    </a:cubicBezTo>
                    <a:cubicBezTo>
                      <a:pt x="367" y="252"/>
                      <a:pt x="366" y="252"/>
                      <a:pt x="366" y="252"/>
                    </a:cubicBezTo>
                    <a:cubicBezTo>
                      <a:pt x="366" y="251"/>
                      <a:pt x="366" y="251"/>
                      <a:pt x="366" y="251"/>
                    </a:cubicBezTo>
                    <a:cubicBezTo>
                      <a:pt x="366" y="251"/>
                      <a:pt x="366" y="251"/>
                      <a:pt x="366" y="251"/>
                    </a:cubicBezTo>
                    <a:cubicBezTo>
                      <a:pt x="365" y="251"/>
                      <a:pt x="365" y="250"/>
                      <a:pt x="365" y="250"/>
                    </a:cubicBezTo>
                    <a:cubicBezTo>
                      <a:pt x="365" y="250"/>
                      <a:pt x="365" y="250"/>
                      <a:pt x="365" y="250"/>
                    </a:cubicBezTo>
                    <a:cubicBezTo>
                      <a:pt x="365" y="250"/>
                      <a:pt x="365" y="249"/>
                      <a:pt x="365" y="249"/>
                    </a:cubicBezTo>
                    <a:cubicBezTo>
                      <a:pt x="365" y="249"/>
                      <a:pt x="365" y="249"/>
                      <a:pt x="364" y="249"/>
                    </a:cubicBezTo>
                    <a:cubicBezTo>
                      <a:pt x="364" y="249"/>
                      <a:pt x="364" y="249"/>
                      <a:pt x="365" y="249"/>
                    </a:cubicBezTo>
                    <a:cubicBezTo>
                      <a:pt x="364" y="249"/>
                      <a:pt x="364" y="249"/>
                      <a:pt x="364" y="249"/>
                    </a:cubicBezTo>
                    <a:cubicBezTo>
                      <a:pt x="364" y="249"/>
                      <a:pt x="364" y="249"/>
                      <a:pt x="364" y="248"/>
                    </a:cubicBezTo>
                    <a:cubicBezTo>
                      <a:pt x="364" y="248"/>
                      <a:pt x="364" y="248"/>
                      <a:pt x="364" y="248"/>
                    </a:cubicBezTo>
                    <a:cubicBezTo>
                      <a:pt x="365" y="248"/>
                      <a:pt x="365" y="248"/>
                      <a:pt x="365" y="248"/>
                    </a:cubicBezTo>
                    <a:cubicBezTo>
                      <a:pt x="365" y="248"/>
                      <a:pt x="365" y="248"/>
                      <a:pt x="365" y="248"/>
                    </a:cubicBezTo>
                    <a:cubicBezTo>
                      <a:pt x="365" y="248"/>
                      <a:pt x="365" y="248"/>
                      <a:pt x="364" y="248"/>
                    </a:cubicBezTo>
                    <a:cubicBezTo>
                      <a:pt x="364" y="248"/>
                      <a:pt x="364" y="248"/>
                      <a:pt x="364" y="248"/>
                    </a:cubicBezTo>
                    <a:cubicBezTo>
                      <a:pt x="364" y="247"/>
                      <a:pt x="364" y="247"/>
                      <a:pt x="364" y="247"/>
                    </a:cubicBezTo>
                    <a:cubicBezTo>
                      <a:pt x="364" y="247"/>
                      <a:pt x="364" y="247"/>
                      <a:pt x="364" y="247"/>
                    </a:cubicBezTo>
                    <a:cubicBezTo>
                      <a:pt x="364" y="247"/>
                      <a:pt x="364" y="247"/>
                      <a:pt x="364" y="247"/>
                    </a:cubicBezTo>
                    <a:cubicBezTo>
                      <a:pt x="364" y="247"/>
                      <a:pt x="363" y="247"/>
                      <a:pt x="363" y="247"/>
                    </a:cubicBezTo>
                    <a:cubicBezTo>
                      <a:pt x="363" y="247"/>
                      <a:pt x="363" y="247"/>
                      <a:pt x="364" y="247"/>
                    </a:cubicBezTo>
                    <a:cubicBezTo>
                      <a:pt x="363" y="247"/>
                      <a:pt x="363" y="247"/>
                      <a:pt x="363" y="247"/>
                    </a:cubicBezTo>
                    <a:cubicBezTo>
                      <a:pt x="363" y="248"/>
                      <a:pt x="363" y="248"/>
                      <a:pt x="363" y="248"/>
                    </a:cubicBezTo>
                    <a:cubicBezTo>
                      <a:pt x="363" y="248"/>
                      <a:pt x="364" y="248"/>
                      <a:pt x="364" y="248"/>
                    </a:cubicBezTo>
                    <a:cubicBezTo>
                      <a:pt x="364" y="248"/>
                      <a:pt x="363" y="248"/>
                      <a:pt x="363" y="248"/>
                    </a:cubicBezTo>
                    <a:cubicBezTo>
                      <a:pt x="363" y="249"/>
                      <a:pt x="363" y="249"/>
                      <a:pt x="364" y="249"/>
                    </a:cubicBezTo>
                    <a:cubicBezTo>
                      <a:pt x="364" y="249"/>
                      <a:pt x="364" y="249"/>
                      <a:pt x="364" y="249"/>
                    </a:cubicBezTo>
                    <a:cubicBezTo>
                      <a:pt x="363" y="249"/>
                      <a:pt x="364" y="249"/>
                      <a:pt x="364" y="249"/>
                    </a:cubicBezTo>
                    <a:cubicBezTo>
                      <a:pt x="364" y="249"/>
                      <a:pt x="364" y="249"/>
                      <a:pt x="364" y="250"/>
                    </a:cubicBezTo>
                    <a:cubicBezTo>
                      <a:pt x="364" y="250"/>
                      <a:pt x="364" y="250"/>
                      <a:pt x="364" y="250"/>
                    </a:cubicBezTo>
                    <a:cubicBezTo>
                      <a:pt x="364" y="250"/>
                      <a:pt x="364" y="250"/>
                      <a:pt x="364" y="250"/>
                    </a:cubicBezTo>
                    <a:cubicBezTo>
                      <a:pt x="364" y="250"/>
                      <a:pt x="364" y="250"/>
                      <a:pt x="364" y="250"/>
                    </a:cubicBezTo>
                    <a:cubicBezTo>
                      <a:pt x="364" y="251"/>
                      <a:pt x="364" y="250"/>
                      <a:pt x="364" y="250"/>
                    </a:cubicBezTo>
                    <a:cubicBezTo>
                      <a:pt x="364" y="251"/>
                      <a:pt x="364" y="251"/>
                      <a:pt x="364" y="251"/>
                    </a:cubicBezTo>
                    <a:cubicBezTo>
                      <a:pt x="365" y="251"/>
                      <a:pt x="365" y="251"/>
                      <a:pt x="365" y="251"/>
                    </a:cubicBezTo>
                    <a:cubicBezTo>
                      <a:pt x="365" y="252"/>
                      <a:pt x="365" y="252"/>
                      <a:pt x="365" y="251"/>
                    </a:cubicBezTo>
                    <a:cubicBezTo>
                      <a:pt x="365" y="251"/>
                      <a:pt x="365" y="251"/>
                      <a:pt x="365" y="251"/>
                    </a:cubicBezTo>
                    <a:cubicBezTo>
                      <a:pt x="365" y="252"/>
                      <a:pt x="365" y="252"/>
                      <a:pt x="365" y="252"/>
                    </a:cubicBezTo>
                    <a:cubicBezTo>
                      <a:pt x="365" y="252"/>
                      <a:pt x="365" y="252"/>
                      <a:pt x="366" y="252"/>
                    </a:cubicBezTo>
                    <a:cubicBezTo>
                      <a:pt x="366" y="252"/>
                      <a:pt x="366" y="252"/>
                      <a:pt x="366" y="252"/>
                    </a:cubicBezTo>
                    <a:cubicBezTo>
                      <a:pt x="366" y="253"/>
                      <a:pt x="366" y="252"/>
                      <a:pt x="366" y="253"/>
                    </a:cubicBezTo>
                    <a:cubicBezTo>
                      <a:pt x="366" y="253"/>
                      <a:pt x="366" y="253"/>
                      <a:pt x="366" y="253"/>
                    </a:cubicBezTo>
                    <a:cubicBezTo>
                      <a:pt x="366" y="253"/>
                      <a:pt x="366" y="253"/>
                      <a:pt x="366" y="253"/>
                    </a:cubicBezTo>
                    <a:cubicBezTo>
                      <a:pt x="366" y="253"/>
                      <a:pt x="367" y="253"/>
                      <a:pt x="367" y="253"/>
                    </a:cubicBezTo>
                    <a:cubicBezTo>
                      <a:pt x="367" y="253"/>
                      <a:pt x="367" y="253"/>
                      <a:pt x="367" y="253"/>
                    </a:cubicBezTo>
                    <a:close/>
                    <a:moveTo>
                      <a:pt x="366" y="235"/>
                    </a:moveTo>
                    <a:cubicBezTo>
                      <a:pt x="366" y="235"/>
                      <a:pt x="366" y="235"/>
                      <a:pt x="367" y="235"/>
                    </a:cubicBezTo>
                    <a:cubicBezTo>
                      <a:pt x="367" y="235"/>
                      <a:pt x="367" y="234"/>
                      <a:pt x="367" y="234"/>
                    </a:cubicBezTo>
                    <a:cubicBezTo>
                      <a:pt x="367" y="234"/>
                      <a:pt x="367" y="234"/>
                      <a:pt x="367" y="233"/>
                    </a:cubicBezTo>
                    <a:cubicBezTo>
                      <a:pt x="367" y="233"/>
                      <a:pt x="367" y="233"/>
                      <a:pt x="367" y="233"/>
                    </a:cubicBezTo>
                    <a:cubicBezTo>
                      <a:pt x="367" y="232"/>
                      <a:pt x="367" y="232"/>
                      <a:pt x="367" y="232"/>
                    </a:cubicBezTo>
                    <a:cubicBezTo>
                      <a:pt x="366" y="233"/>
                      <a:pt x="366" y="232"/>
                      <a:pt x="366" y="232"/>
                    </a:cubicBezTo>
                    <a:cubicBezTo>
                      <a:pt x="365" y="232"/>
                      <a:pt x="365" y="233"/>
                      <a:pt x="365" y="233"/>
                    </a:cubicBezTo>
                    <a:cubicBezTo>
                      <a:pt x="365" y="233"/>
                      <a:pt x="364" y="233"/>
                      <a:pt x="364" y="233"/>
                    </a:cubicBezTo>
                    <a:cubicBezTo>
                      <a:pt x="364" y="234"/>
                      <a:pt x="364" y="234"/>
                      <a:pt x="364" y="234"/>
                    </a:cubicBezTo>
                    <a:cubicBezTo>
                      <a:pt x="365" y="234"/>
                      <a:pt x="365" y="235"/>
                      <a:pt x="365" y="235"/>
                    </a:cubicBezTo>
                    <a:cubicBezTo>
                      <a:pt x="366" y="235"/>
                      <a:pt x="366" y="235"/>
                      <a:pt x="366" y="235"/>
                    </a:cubicBezTo>
                    <a:close/>
                    <a:moveTo>
                      <a:pt x="362" y="240"/>
                    </a:moveTo>
                    <a:cubicBezTo>
                      <a:pt x="362" y="240"/>
                      <a:pt x="361" y="240"/>
                      <a:pt x="361" y="240"/>
                    </a:cubicBezTo>
                    <a:cubicBezTo>
                      <a:pt x="361" y="240"/>
                      <a:pt x="361" y="240"/>
                      <a:pt x="361" y="240"/>
                    </a:cubicBezTo>
                    <a:cubicBezTo>
                      <a:pt x="361" y="240"/>
                      <a:pt x="361" y="240"/>
                      <a:pt x="361" y="240"/>
                    </a:cubicBezTo>
                    <a:cubicBezTo>
                      <a:pt x="361" y="240"/>
                      <a:pt x="361" y="240"/>
                      <a:pt x="361" y="240"/>
                    </a:cubicBezTo>
                    <a:cubicBezTo>
                      <a:pt x="360" y="240"/>
                      <a:pt x="360" y="240"/>
                      <a:pt x="360" y="241"/>
                    </a:cubicBezTo>
                    <a:cubicBezTo>
                      <a:pt x="360" y="241"/>
                      <a:pt x="360" y="241"/>
                      <a:pt x="360" y="241"/>
                    </a:cubicBezTo>
                    <a:cubicBezTo>
                      <a:pt x="360" y="241"/>
                      <a:pt x="361" y="241"/>
                      <a:pt x="361" y="241"/>
                    </a:cubicBezTo>
                    <a:cubicBezTo>
                      <a:pt x="361" y="241"/>
                      <a:pt x="361" y="241"/>
                      <a:pt x="361" y="241"/>
                    </a:cubicBezTo>
                    <a:cubicBezTo>
                      <a:pt x="362" y="241"/>
                      <a:pt x="362" y="241"/>
                      <a:pt x="361" y="241"/>
                    </a:cubicBezTo>
                    <a:cubicBezTo>
                      <a:pt x="361" y="241"/>
                      <a:pt x="361" y="241"/>
                      <a:pt x="361" y="241"/>
                    </a:cubicBezTo>
                    <a:cubicBezTo>
                      <a:pt x="362" y="241"/>
                      <a:pt x="362" y="241"/>
                      <a:pt x="362" y="241"/>
                    </a:cubicBezTo>
                    <a:cubicBezTo>
                      <a:pt x="363" y="241"/>
                      <a:pt x="363" y="240"/>
                      <a:pt x="362" y="240"/>
                    </a:cubicBezTo>
                    <a:cubicBezTo>
                      <a:pt x="362" y="240"/>
                      <a:pt x="362" y="240"/>
                      <a:pt x="362" y="240"/>
                    </a:cubicBezTo>
                    <a:close/>
                    <a:moveTo>
                      <a:pt x="367" y="248"/>
                    </a:moveTo>
                    <a:cubicBezTo>
                      <a:pt x="366" y="248"/>
                      <a:pt x="366" y="248"/>
                      <a:pt x="366" y="248"/>
                    </a:cubicBezTo>
                    <a:cubicBezTo>
                      <a:pt x="366" y="248"/>
                      <a:pt x="366" y="247"/>
                      <a:pt x="366" y="247"/>
                    </a:cubicBezTo>
                    <a:cubicBezTo>
                      <a:pt x="366" y="248"/>
                      <a:pt x="365" y="248"/>
                      <a:pt x="366" y="248"/>
                    </a:cubicBezTo>
                    <a:cubicBezTo>
                      <a:pt x="366" y="248"/>
                      <a:pt x="366" y="248"/>
                      <a:pt x="366" y="248"/>
                    </a:cubicBezTo>
                    <a:cubicBezTo>
                      <a:pt x="366" y="249"/>
                      <a:pt x="366" y="249"/>
                      <a:pt x="366" y="249"/>
                    </a:cubicBezTo>
                    <a:cubicBezTo>
                      <a:pt x="366" y="249"/>
                      <a:pt x="365" y="249"/>
                      <a:pt x="366" y="249"/>
                    </a:cubicBezTo>
                    <a:cubicBezTo>
                      <a:pt x="366" y="249"/>
                      <a:pt x="366" y="249"/>
                      <a:pt x="366" y="249"/>
                    </a:cubicBezTo>
                    <a:cubicBezTo>
                      <a:pt x="366" y="249"/>
                      <a:pt x="366" y="249"/>
                      <a:pt x="366" y="249"/>
                    </a:cubicBezTo>
                    <a:cubicBezTo>
                      <a:pt x="366" y="249"/>
                      <a:pt x="366" y="250"/>
                      <a:pt x="366" y="250"/>
                    </a:cubicBezTo>
                    <a:cubicBezTo>
                      <a:pt x="366" y="250"/>
                      <a:pt x="367" y="249"/>
                      <a:pt x="367" y="249"/>
                    </a:cubicBezTo>
                    <a:cubicBezTo>
                      <a:pt x="367" y="249"/>
                      <a:pt x="367" y="249"/>
                      <a:pt x="367" y="249"/>
                    </a:cubicBezTo>
                    <a:cubicBezTo>
                      <a:pt x="367" y="249"/>
                      <a:pt x="366" y="248"/>
                      <a:pt x="367" y="248"/>
                    </a:cubicBezTo>
                    <a:cubicBezTo>
                      <a:pt x="367" y="248"/>
                      <a:pt x="367" y="248"/>
                      <a:pt x="367" y="248"/>
                    </a:cubicBezTo>
                    <a:close/>
                    <a:moveTo>
                      <a:pt x="354" y="231"/>
                    </a:moveTo>
                    <a:cubicBezTo>
                      <a:pt x="354" y="231"/>
                      <a:pt x="354" y="231"/>
                      <a:pt x="354" y="231"/>
                    </a:cubicBezTo>
                    <a:cubicBezTo>
                      <a:pt x="354" y="231"/>
                      <a:pt x="354" y="231"/>
                      <a:pt x="354" y="231"/>
                    </a:cubicBezTo>
                    <a:cubicBezTo>
                      <a:pt x="354" y="231"/>
                      <a:pt x="354" y="231"/>
                      <a:pt x="354" y="231"/>
                    </a:cubicBezTo>
                    <a:cubicBezTo>
                      <a:pt x="354" y="231"/>
                      <a:pt x="354" y="231"/>
                      <a:pt x="353" y="231"/>
                    </a:cubicBezTo>
                    <a:cubicBezTo>
                      <a:pt x="353" y="231"/>
                      <a:pt x="353" y="231"/>
                      <a:pt x="353" y="231"/>
                    </a:cubicBezTo>
                    <a:cubicBezTo>
                      <a:pt x="353" y="231"/>
                      <a:pt x="353" y="231"/>
                      <a:pt x="354" y="231"/>
                    </a:cubicBezTo>
                    <a:cubicBezTo>
                      <a:pt x="354" y="231"/>
                      <a:pt x="354" y="231"/>
                      <a:pt x="354" y="231"/>
                    </a:cubicBezTo>
                    <a:cubicBezTo>
                      <a:pt x="354" y="232"/>
                      <a:pt x="354" y="232"/>
                      <a:pt x="354" y="232"/>
                    </a:cubicBezTo>
                    <a:cubicBezTo>
                      <a:pt x="354" y="232"/>
                      <a:pt x="354" y="232"/>
                      <a:pt x="354" y="232"/>
                    </a:cubicBezTo>
                    <a:cubicBezTo>
                      <a:pt x="354" y="233"/>
                      <a:pt x="354" y="233"/>
                      <a:pt x="354" y="233"/>
                    </a:cubicBezTo>
                    <a:cubicBezTo>
                      <a:pt x="354" y="233"/>
                      <a:pt x="354" y="233"/>
                      <a:pt x="354" y="233"/>
                    </a:cubicBezTo>
                    <a:cubicBezTo>
                      <a:pt x="354" y="233"/>
                      <a:pt x="354" y="233"/>
                      <a:pt x="354" y="233"/>
                    </a:cubicBezTo>
                    <a:cubicBezTo>
                      <a:pt x="354" y="234"/>
                      <a:pt x="354" y="234"/>
                      <a:pt x="354" y="234"/>
                    </a:cubicBezTo>
                    <a:cubicBezTo>
                      <a:pt x="354" y="234"/>
                      <a:pt x="354" y="234"/>
                      <a:pt x="354" y="234"/>
                    </a:cubicBezTo>
                    <a:cubicBezTo>
                      <a:pt x="354" y="234"/>
                      <a:pt x="354" y="234"/>
                      <a:pt x="354" y="234"/>
                    </a:cubicBezTo>
                    <a:cubicBezTo>
                      <a:pt x="354" y="234"/>
                      <a:pt x="354" y="235"/>
                      <a:pt x="354" y="235"/>
                    </a:cubicBezTo>
                    <a:cubicBezTo>
                      <a:pt x="354" y="235"/>
                      <a:pt x="354" y="235"/>
                      <a:pt x="354" y="236"/>
                    </a:cubicBezTo>
                    <a:cubicBezTo>
                      <a:pt x="353" y="236"/>
                      <a:pt x="353" y="236"/>
                      <a:pt x="354" y="235"/>
                    </a:cubicBezTo>
                    <a:cubicBezTo>
                      <a:pt x="354" y="235"/>
                      <a:pt x="353" y="235"/>
                      <a:pt x="353" y="235"/>
                    </a:cubicBezTo>
                    <a:cubicBezTo>
                      <a:pt x="353" y="235"/>
                      <a:pt x="353" y="235"/>
                      <a:pt x="353" y="235"/>
                    </a:cubicBezTo>
                    <a:cubicBezTo>
                      <a:pt x="353" y="235"/>
                      <a:pt x="353" y="235"/>
                      <a:pt x="353" y="235"/>
                    </a:cubicBezTo>
                    <a:cubicBezTo>
                      <a:pt x="353" y="235"/>
                      <a:pt x="352" y="235"/>
                      <a:pt x="353" y="234"/>
                    </a:cubicBezTo>
                    <a:cubicBezTo>
                      <a:pt x="353" y="234"/>
                      <a:pt x="353" y="234"/>
                      <a:pt x="353" y="234"/>
                    </a:cubicBezTo>
                    <a:cubicBezTo>
                      <a:pt x="353" y="234"/>
                      <a:pt x="353" y="234"/>
                      <a:pt x="353" y="234"/>
                    </a:cubicBezTo>
                    <a:cubicBezTo>
                      <a:pt x="352" y="234"/>
                      <a:pt x="352" y="234"/>
                      <a:pt x="352" y="233"/>
                    </a:cubicBezTo>
                    <a:cubicBezTo>
                      <a:pt x="352" y="233"/>
                      <a:pt x="352" y="233"/>
                      <a:pt x="352" y="233"/>
                    </a:cubicBezTo>
                    <a:cubicBezTo>
                      <a:pt x="352" y="232"/>
                      <a:pt x="351" y="232"/>
                      <a:pt x="352" y="232"/>
                    </a:cubicBezTo>
                    <a:cubicBezTo>
                      <a:pt x="352" y="232"/>
                      <a:pt x="352" y="232"/>
                      <a:pt x="351" y="232"/>
                    </a:cubicBezTo>
                    <a:cubicBezTo>
                      <a:pt x="351" y="232"/>
                      <a:pt x="351" y="232"/>
                      <a:pt x="351" y="231"/>
                    </a:cubicBezTo>
                    <a:cubicBezTo>
                      <a:pt x="351" y="231"/>
                      <a:pt x="351" y="231"/>
                      <a:pt x="351" y="231"/>
                    </a:cubicBezTo>
                    <a:cubicBezTo>
                      <a:pt x="351" y="231"/>
                      <a:pt x="351" y="231"/>
                      <a:pt x="352" y="231"/>
                    </a:cubicBezTo>
                    <a:cubicBezTo>
                      <a:pt x="352" y="230"/>
                      <a:pt x="352" y="230"/>
                      <a:pt x="352" y="230"/>
                    </a:cubicBezTo>
                    <a:cubicBezTo>
                      <a:pt x="352" y="230"/>
                      <a:pt x="351" y="230"/>
                      <a:pt x="352" y="230"/>
                    </a:cubicBezTo>
                    <a:cubicBezTo>
                      <a:pt x="352" y="230"/>
                      <a:pt x="351" y="230"/>
                      <a:pt x="352" y="230"/>
                    </a:cubicBezTo>
                    <a:cubicBezTo>
                      <a:pt x="352" y="230"/>
                      <a:pt x="352" y="230"/>
                      <a:pt x="352" y="230"/>
                    </a:cubicBezTo>
                    <a:cubicBezTo>
                      <a:pt x="351" y="230"/>
                      <a:pt x="351" y="230"/>
                      <a:pt x="351" y="230"/>
                    </a:cubicBezTo>
                    <a:cubicBezTo>
                      <a:pt x="351" y="230"/>
                      <a:pt x="351" y="230"/>
                      <a:pt x="351" y="230"/>
                    </a:cubicBezTo>
                    <a:cubicBezTo>
                      <a:pt x="351" y="231"/>
                      <a:pt x="351" y="231"/>
                      <a:pt x="351" y="231"/>
                    </a:cubicBezTo>
                    <a:cubicBezTo>
                      <a:pt x="350" y="231"/>
                      <a:pt x="351" y="230"/>
                      <a:pt x="351" y="230"/>
                    </a:cubicBezTo>
                    <a:cubicBezTo>
                      <a:pt x="351" y="230"/>
                      <a:pt x="351" y="230"/>
                      <a:pt x="351" y="230"/>
                    </a:cubicBezTo>
                    <a:cubicBezTo>
                      <a:pt x="350" y="230"/>
                      <a:pt x="351" y="229"/>
                      <a:pt x="351" y="229"/>
                    </a:cubicBezTo>
                    <a:cubicBezTo>
                      <a:pt x="351" y="229"/>
                      <a:pt x="351" y="229"/>
                      <a:pt x="351" y="229"/>
                    </a:cubicBezTo>
                    <a:cubicBezTo>
                      <a:pt x="351" y="229"/>
                      <a:pt x="351" y="229"/>
                      <a:pt x="351" y="229"/>
                    </a:cubicBezTo>
                    <a:cubicBezTo>
                      <a:pt x="351" y="229"/>
                      <a:pt x="351" y="229"/>
                      <a:pt x="351" y="229"/>
                    </a:cubicBezTo>
                    <a:cubicBezTo>
                      <a:pt x="350" y="229"/>
                      <a:pt x="350" y="230"/>
                      <a:pt x="350" y="230"/>
                    </a:cubicBezTo>
                    <a:cubicBezTo>
                      <a:pt x="350" y="230"/>
                      <a:pt x="350" y="230"/>
                      <a:pt x="350" y="230"/>
                    </a:cubicBezTo>
                    <a:cubicBezTo>
                      <a:pt x="350" y="230"/>
                      <a:pt x="350" y="229"/>
                      <a:pt x="350" y="229"/>
                    </a:cubicBezTo>
                    <a:cubicBezTo>
                      <a:pt x="350" y="229"/>
                      <a:pt x="350" y="229"/>
                      <a:pt x="350" y="229"/>
                    </a:cubicBezTo>
                    <a:cubicBezTo>
                      <a:pt x="350" y="229"/>
                      <a:pt x="350" y="229"/>
                      <a:pt x="350" y="228"/>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49" y="229"/>
                      <a:pt x="350" y="228"/>
                      <a:pt x="350" y="228"/>
                    </a:cubicBezTo>
                    <a:cubicBezTo>
                      <a:pt x="350" y="228"/>
                      <a:pt x="350" y="228"/>
                      <a:pt x="350" y="228"/>
                    </a:cubicBezTo>
                    <a:cubicBezTo>
                      <a:pt x="350" y="228"/>
                      <a:pt x="349" y="228"/>
                      <a:pt x="349" y="228"/>
                    </a:cubicBezTo>
                    <a:cubicBezTo>
                      <a:pt x="349" y="228"/>
                      <a:pt x="349" y="228"/>
                      <a:pt x="349" y="227"/>
                    </a:cubicBezTo>
                    <a:cubicBezTo>
                      <a:pt x="349" y="227"/>
                      <a:pt x="349" y="227"/>
                      <a:pt x="349" y="227"/>
                    </a:cubicBezTo>
                    <a:cubicBezTo>
                      <a:pt x="349" y="227"/>
                      <a:pt x="349" y="227"/>
                      <a:pt x="349" y="227"/>
                    </a:cubicBezTo>
                    <a:cubicBezTo>
                      <a:pt x="349" y="227"/>
                      <a:pt x="349" y="226"/>
                      <a:pt x="349" y="226"/>
                    </a:cubicBezTo>
                    <a:cubicBezTo>
                      <a:pt x="349" y="226"/>
                      <a:pt x="349" y="226"/>
                      <a:pt x="349" y="226"/>
                    </a:cubicBezTo>
                    <a:cubicBezTo>
                      <a:pt x="349" y="226"/>
                      <a:pt x="350" y="226"/>
                      <a:pt x="350" y="225"/>
                    </a:cubicBezTo>
                    <a:cubicBezTo>
                      <a:pt x="350" y="225"/>
                      <a:pt x="350" y="225"/>
                      <a:pt x="350" y="225"/>
                    </a:cubicBezTo>
                    <a:cubicBezTo>
                      <a:pt x="350" y="225"/>
                      <a:pt x="350" y="225"/>
                      <a:pt x="350" y="225"/>
                    </a:cubicBezTo>
                    <a:cubicBezTo>
                      <a:pt x="350" y="225"/>
                      <a:pt x="350" y="225"/>
                      <a:pt x="350" y="225"/>
                    </a:cubicBezTo>
                    <a:cubicBezTo>
                      <a:pt x="350" y="225"/>
                      <a:pt x="350" y="225"/>
                      <a:pt x="350" y="225"/>
                    </a:cubicBezTo>
                    <a:cubicBezTo>
                      <a:pt x="350" y="225"/>
                      <a:pt x="349" y="225"/>
                      <a:pt x="349" y="225"/>
                    </a:cubicBezTo>
                    <a:cubicBezTo>
                      <a:pt x="349" y="224"/>
                      <a:pt x="349" y="224"/>
                      <a:pt x="349" y="224"/>
                    </a:cubicBezTo>
                    <a:cubicBezTo>
                      <a:pt x="349" y="224"/>
                      <a:pt x="349" y="224"/>
                      <a:pt x="350"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3"/>
                      <a:pt x="349" y="223"/>
                      <a:pt x="349" y="223"/>
                    </a:cubicBezTo>
                    <a:cubicBezTo>
                      <a:pt x="349" y="223"/>
                      <a:pt x="348" y="223"/>
                      <a:pt x="348" y="223"/>
                    </a:cubicBezTo>
                    <a:cubicBezTo>
                      <a:pt x="348" y="223"/>
                      <a:pt x="348" y="223"/>
                      <a:pt x="348" y="223"/>
                    </a:cubicBezTo>
                    <a:cubicBezTo>
                      <a:pt x="348" y="223"/>
                      <a:pt x="348" y="223"/>
                      <a:pt x="348" y="223"/>
                    </a:cubicBezTo>
                    <a:cubicBezTo>
                      <a:pt x="348" y="223"/>
                      <a:pt x="347" y="223"/>
                      <a:pt x="347" y="223"/>
                    </a:cubicBezTo>
                    <a:cubicBezTo>
                      <a:pt x="347" y="223"/>
                      <a:pt x="347" y="223"/>
                      <a:pt x="347" y="224"/>
                    </a:cubicBezTo>
                    <a:cubicBezTo>
                      <a:pt x="347" y="224"/>
                      <a:pt x="348" y="224"/>
                      <a:pt x="348" y="224"/>
                    </a:cubicBezTo>
                    <a:cubicBezTo>
                      <a:pt x="348" y="225"/>
                      <a:pt x="347" y="225"/>
                      <a:pt x="347" y="225"/>
                    </a:cubicBezTo>
                    <a:cubicBezTo>
                      <a:pt x="347" y="226"/>
                      <a:pt x="347" y="226"/>
                      <a:pt x="346" y="226"/>
                    </a:cubicBezTo>
                    <a:cubicBezTo>
                      <a:pt x="346" y="226"/>
                      <a:pt x="346" y="226"/>
                      <a:pt x="346" y="226"/>
                    </a:cubicBezTo>
                    <a:cubicBezTo>
                      <a:pt x="346" y="226"/>
                      <a:pt x="346" y="225"/>
                      <a:pt x="346" y="225"/>
                    </a:cubicBezTo>
                    <a:cubicBezTo>
                      <a:pt x="346" y="225"/>
                      <a:pt x="346" y="224"/>
                      <a:pt x="346" y="224"/>
                    </a:cubicBezTo>
                    <a:cubicBezTo>
                      <a:pt x="347" y="224"/>
                      <a:pt x="347" y="224"/>
                      <a:pt x="347" y="224"/>
                    </a:cubicBezTo>
                    <a:cubicBezTo>
                      <a:pt x="347" y="224"/>
                      <a:pt x="346" y="224"/>
                      <a:pt x="346" y="224"/>
                    </a:cubicBezTo>
                    <a:cubicBezTo>
                      <a:pt x="346" y="224"/>
                      <a:pt x="346" y="224"/>
                      <a:pt x="346" y="223"/>
                    </a:cubicBezTo>
                    <a:cubicBezTo>
                      <a:pt x="346" y="223"/>
                      <a:pt x="346" y="223"/>
                      <a:pt x="346" y="223"/>
                    </a:cubicBezTo>
                    <a:cubicBezTo>
                      <a:pt x="346" y="223"/>
                      <a:pt x="346" y="223"/>
                      <a:pt x="346" y="223"/>
                    </a:cubicBezTo>
                    <a:cubicBezTo>
                      <a:pt x="346" y="222"/>
                      <a:pt x="346" y="222"/>
                      <a:pt x="346" y="222"/>
                    </a:cubicBezTo>
                    <a:cubicBezTo>
                      <a:pt x="346" y="222"/>
                      <a:pt x="346" y="222"/>
                      <a:pt x="346" y="222"/>
                    </a:cubicBezTo>
                    <a:cubicBezTo>
                      <a:pt x="346" y="222"/>
                      <a:pt x="346" y="222"/>
                      <a:pt x="346"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1"/>
                    </a:cubicBezTo>
                    <a:cubicBezTo>
                      <a:pt x="347" y="221"/>
                      <a:pt x="347" y="221"/>
                      <a:pt x="347" y="221"/>
                    </a:cubicBezTo>
                    <a:cubicBezTo>
                      <a:pt x="347" y="221"/>
                      <a:pt x="348" y="221"/>
                      <a:pt x="348" y="221"/>
                    </a:cubicBezTo>
                    <a:cubicBezTo>
                      <a:pt x="348" y="221"/>
                      <a:pt x="348" y="221"/>
                      <a:pt x="348" y="221"/>
                    </a:cubicBezTo>
                    <a:cubicBezTo>
                      <a:pt x="348" y="221"/>
                      <a:pt x="348" y="221"/>
                      <a:pt x="348" y="221"/>
                    </a:cubicBezTo>
                    <a:cubicBezTo>
                      <a:pt x="347" y="221"/>
                      <a:pt x="347" y="221"/>
                      <a:pt x="348" y="221"/>
                    </a:cubicBezTo>
                    <a:cubicBezTo>
                      <a:pt x="348" y="220"/>
                      <a:pt x="348" y="220"/>
                      <a:pt x="348" y="220"/>
                    </a:cubicBezTo>
                    <a:cubicBezTo>
                      <a:pt x="348" y="220"/>
                      <a:pt x="348" y="220"/>
                      <a:pt x="347" y="220"/>
                    </a:cubicBezTo>
                    <a:cubicBezTo>
                      <a:pt x="347" y="220"/>
                      <a:pt x="347" y="220"/>
                      <a:pt x="347" y="220"/>
                    </a:cubicBezTo>
                    <a:cubicBezTo>
                      <a:pt x="347" y="221"/>
                      <a:pt x="347" y="221"/>
                      <a:pt x="347" y="221"/>
                    </a:cubicBezTo>
                    <a:cubicBezTo>
                      <a:pt x="347" y="221"/>
                      <a:pt x="347" y="221"/>
                      <a:pt x="347" y="221"/>
                    </a:cubicBezTo>
                    <a:cubicBezTo>
                      <a:pt x="347" y="221"/>
                      <a:pt x="347" y="221"/>
                      <a:pt x="347" y="221"/>
                    </a:cubicBezTo>
                    <a:cubicBezTo>
                      <a:pt x="346" y="221"/>
                      <a:pt x="346" y="221"/>
                      <a:pt x="346" y="221"/>
                    </a:cubicBezTo>
                    <a:cubicBezTo>
                      <a:pt x="346" y="221"/>
                      <a:pt x="346" y="221"/>
                      <a:pt x="346" y="221"/>
                    </a:cubicBezTo>
                    <a:cubicBezTo>
                      <a:pt x="346" y="220"/>
                      <a:pt x="345" y="220"/>
                      <a:pt x="345" y="220"/>
                    </a:cubicBezTo>
                    <a:cubicBezTo>
                      <a:pt x="345" y="220"/>
                      <a:pt x="345" y="220"/>
                      <a:pt x="345" y="219"/>
                    </a:cubicBezTo>
                    <a:cubicBezTo>
                      <a:pt x="345" y="219"/>
                      <a:pt x="345" y="219"/>
                      <a:pt x="345" y="219"/>
                    </a:cubicBezTo>
                    <a:cubicBezTo>
                      <a:pt x="345" y="219"/>
                      <a:pt x="345" y="219"/>
                      <a:pt x="345" y="219"/>
                    </a:cubicBezTo>
                    <a:cubicBezTo>
                      <a:pt x="345" y="219"/>
                      <a:pt x="345" y="219"/>
                      <a:pt x="345" y="220"/>
                    </a:cubicBezTo>
                    <a:cubicBezTo>
                      <a:pt x="345" y="220"/>
                      <a:pt x="346" y="220"/>
                      <a:pt x="346" y="220"/>
                    </a:cubicBezTo>
                    <a:cubicBezTo>
                      <a:pt x="346" y="220"/>
                      <a:pt x="346" y="220"/>
                      <a:pt x="345" y="220"/>
                    </a:cubicBezTo>
                    <a:cubicBezTo>
                      <a:pt x="345" y="219"/>
                      <a:pt x="345" y="219"/>
                      <a:pt x="345" y="219"/>
                    </a:cubicBezTo>
                    <a:cubicBezTo>
                      <a:pt x="345" y="219"/>
                      <a:pt x="345" y="219"/>
                      <a:pt x="345" y="219"/>
                    </a:cubicBezTo>
                    <a:cubicBezTo>
                      <a:pt x="344" y="219"/>
                      <a:pt x="344" y="219"/>
                      <a:pt x="345" y="218"/>
                    </a:cubicBezTo>
                    <a:cubicBezTo>
                      <a:pt x="344" y="218"/>
                      <a:pt x="344" y="218"/>
                      <a:pt x="344" y="218"/>
                    </a:cubicBezTo>
                    <a:cubicBezTo>
                      <a:pt x="344" y="218"/>
                      <a:pt x="344" y="218"/>
                      <a:pt x="344" y="218"/>
                    </a:cubicBezTo>
                    <a:cubicBezTo>
                      <a:pt x="344" y="218"/>
                      <a:pt x="344" y="218"/>
                      <a:pt x="344" y="218"/>
                    </a:cubicBezTo>
                    <a:cubicBezTo>
                      <a:pt x="344" y="218"/>
                      <a:pt x="344" y="218"/>
                      <a:pt x="344" y="218"/>
                    </a:cubicBezTo>
                    <a:cubicBezTo>
                      <a:pt x="344" y="218"/>
                      <a:pt x="344" y="218"/>
                      <a:pt x="343" y="218"/>
                    </a:cubicBezTo>
                    <a:cubicBezTo>
                      <a:pt x="343" y="218"/>
                      <a:pt x="343" y="217"/>
                      <a:pt x="343" y="217"/>
                    </a:cubicBezTo>
                    <a:cubicBezTo>
                      <a:pt x="343" y="217"/>
                      <a:pt x="343" y="217"/>
                      <a:pt x="344" y="217"/>
                    </a:cubicBezTo>
                    <a:cubicBezTo>
                      <a:pt x="344" y="217"/>
                      <a:pt x="343" y="217"/>
                      <a:pt x="343" y="216"/>
                    </a:cubicBezTo>
                    <a:cubicBezTo>
                      <a:pt x="343" y="216"/>
                      <a:pt x="343" y="216"/>
                      <a:pt x="343" y="216"/>
                    </a:cubicBezTo>
                    <a:cubicBezTo>
                      <a:pt x="343" y="216"/>
                      <a:pt x="343" y="216"/>
                      <a:pt x="343" y="216"/>
                    </a:cubicBezTo>
                    <a:cubicBezTo>
                      <a:pt x="343" y="216"/>
                      <a:pt x="343" y="217"/>
                      <a:pt x="343" y="217"/>
                    </a:cubicBezTo>
                    <a:cubicBezTo>
                      <a:pt x="343" y="217"/>
                      <a:pt x="343" y="216"/>
                      <a:pt x="343" y="216"/>
                    </a:cubicBezTo>
                    <a:cubicBezTo>
                      <a:pt x="343" y="216"/>
                      <a:pt x="343" y="216"/>
                      <a:pt x="342" y="216"/>
                    </a:cubicBezTo>
                    <a:cubicBezTo>
                      <a:pt x="342" y="215"/>
                      <a:pt x="342" y="215"/>
                      <a:pt x="342" y="215"/>
                    </a:cubicBezTo>
                    <a:cubicBezTo>
                      <a:pt x="342" y="215"/>
                      <a:pt x="342" y="215"/>
                      <a:pt x="342" y="215"/>
                    </a:cubicBezTo>
                    <a:cubicBezTo>
                      <a:pt x="342" y="215"/>
                      <a:pt x="342" y="215"/>
                      <a:pt x="342" y="215"/>
                    </a:cubicBezTo>
                    <a:cubicBezTo>
                      <a:pt x="342" y="215"/>
                      <a:pt x="342" y="215"/>
                      <a:pt x="341" y="215"/>
                    </a:cubicBezTo>
                    <a:cubicBezTo>
                      <a:pt x="341" y="214"/>
                      <a:pt x="341" y="214"/>
                      <a:pt x="341" y="214"/>
                    </a:cubicBezTo>
                    <a:cubicBezTo>
                      <a:pt x="341" y="214"/>
                      <a:pt x="341" y="214"/>
                      <a:pt x="341" y="214"/>
                    </a:cubicBezTo>
                    <a:cubicBezTo>
                      <a:pt x="341" y="213"/>
                      <a:pt x="341" y="213"/>
                      <a:pt x="341" y="213"/>
                    </a:cubicBezTo>
                    <a:cubicBezTo>
                      <a:pt x="341" y="213"/>
                      <a:pt x="341" y="212"/>
                      <a:pt x="341" y="212"/>
                    </a:cubicBezTo>
                    <a:cubicBezTo>
                      <a:pt x="342" y="212"/>
                      <a:pt x="342" y="212"/>
                      <a:pt x="342" y="212"/>
                    </a:cubicBezTo>
                    <a:cubicBezTo>
                      <a:pt x="342" y="213"/>
                      <a:pt x="342" y="213"/>
                      <a:pt x="342" y="213"/>
                    </a:cubicBezTo>
                    <a:cubicBezTo>
                      <a:pt x="342" y="213"/>
                      <a:pt x="342" y="213"/>
                      <a:pt x="342" y="213"/>
                    </a:cubicBezTo>
                    <a:cubicBezTo>
                      <a:pt x="342" y="213"/>
                      <a:pt x="343" y="213"/>
                      <a:pt x="343" y="213"/>
                    </a:cubicBezTo>
                    <a:cubicBezTo>
                      <a:pt x="343" y="214"/>
                      <a:pt x="344" y="214"/>
                      <a:pt x="344" y="215"/>
                    </a:cubicBezTo>
                    <a:cubicBezTo>
                      <a:pt x="344" y="215"/>
                      <a:pt x="344" y="215"/>
                      <a:pt x="344" y="215"/>
                    </a:cubicBezTo>
                    <a:cubicBezTo>
                      <a:pt x="344" y="215"/>
                      <a:pt x="344" y="215"/>
                      <a:pt x="345" y="215"/>
                    </a:cubicBezTo>
                    <a:cubicBezTo>
                      <a:pt x="345" y="215"/>
                      <a:pt x="345" y="215"/>
                      <a:pt x="344" y="215"/>
                    </a:cubicBezTo>
                    <a:cubicBezTo>
                      <a:pt x="344" y="215"/>
                      <a:pt x="344" y="215"/>
                      <a:pt x="344" y="215"/>
                    </a:cubicBezTo>
                    <a:cubicBezTo>
                      <a:pt x="344" y="215"/>
                      <a:pt x="344" y="215"/>
                      <a:pt x="344" y="215"/>
                    </a:cubicBezTo>
                    <a:cubicBezTo>
                      <a:pt x="344" y="215"/>
                      <a:pt x="344" y="215"/>
                      <a:pt x="344" y="214"/>
                    </a:cubicBezTo>
                    <a:cubicBezTo>
                      <a:pt x="343" y="214"/>
                      <a:pt x="343" y="214"/>
                      <a:pt x="343" y="213"/>
                    </a:cubicBezTo>
                    <a:cubicBezTo>
                      <a:pt x="343" y="213"/>
                      <a:pt x="343" y="213"/>
                      <a:pt x="342" y="213"/>
                    </a:cubicBezTo>
                    <a:cubicBezTo>
                      <a:pt x="342" y="213"/>
                      <a:pt x="342" y="212"/>
                      <a:pt x="342" y="212"/>
                    </a:cubicBezTo>
                    <a:cubicBezTo>
                      <a:pt x="342" y="212"/>
                      <a:pt x="342" y="212"/>
                      <a:pt x="342" y="212"/>
                    </a:cubicBezTo>
                    <a:cubicBezTo>
                      <a:pt x="342" y="212"/>
                      <a:pt x="342" y="211"/>
                      <a:pt x="343" y="212"/>
                    </a:cubicBezTo>
                    <a:cubicBezTo>
                      <a:pt x="343" y="212"/>
                      <a:pt x="343" y="212"/>
                      <a:pt x="343" y="212"/>
                    </a:cubicBezTo>
                    <a:cubicBezTo>
                      <a:pt x="343" y="212"/>
                      <a:pt x="343" y="212"/>
                      <a:pt x="343" y="212"/>
                    </a:cubicBezTo>
                    <a:cubicBezTo>
                      <a:pt x="343" y="212"/>
                      <a:pt x="343" y="211"/>
                      <a:pt x="343" y="211"/>
                    </a:cubicBezTo>
                    <a:cubicBezTo>
                      <a:pt x="342" y="211"/>
                      <a:pt x="342" y="211"/>
                      <a:pt x="343" y="211"/>
                    </a:cubicBezTo>
                    <a:cubicBezTo>
                      <a:pt x="343" y="211"/>
                      <a:pt x="343" y="211"/>
                      <a:pt x="343" y="211"/>
                    </a:cubicBezTo>
                    <a:cubicBezTo>
                      <a:pt x="343" y="211"/>
                      <a:pt x="343" y="211"/>
                      <a:pt x="343" y="211"/>
                    </a:cubicBezTo>
                    <a:cubicBezTo>
                      <a:pt x="343" y="211"/>
                      <a:pt x="344" y="212"/>
                      <a:pt x="343" y="212"/>
                    </a:cubicBezTo>
                    <a:cubicBezTo>
                      <a:pt x="343" y="212"/>
                      <a:pt x="344" y="212"/>
                      <a:pt x="344" y="212"/>
                    </a:cubicBezTo>
                    <a:cubicBezTo>
                      <a:pt x="344" y="212"/>
                      <a:pt x="344" y="212"/>
                      <a:pt x="344" y="212"/>
                    </a:cubicBezTo>
                    <a:cubicBezTo>
                      <a:pt x="344" y="212"/>
                      <a:pt x="344" y="212"/>
                      <a:pt x="344" y="212"/>
                    </a:cubicBezTo>
                    <a:cubicBezTo>
                      <a:pt x="344" y="212"/>
                      <a:pt x="344" y="212"/>
                      <a:pt x="344" y="212"/>
                    </a:cubicBezTo>
                    <a:cubicBezTo>
                      <a:pt x="344" y="212"/>
                      <a:pt x="344" y="211"/>
                      <a:pt x="344" y="211"/>
                    </a:cubicBezTo>
                    <a:cubicBezTo>
                      <a:pt x="344" y="211"/>
                      <a:pt x="344" y="211"/>
                      <a:pt x="344" y="211"/>
                    </a:cubicBezTo>
                    <a:cubicBezTo>
                      <a:pt x="344" y="211"/>
                      <a:pt x="344" y="211"/>
                      <a:pt x="344" y="211"/>
                    </a:cubicBezTo>
                    <a:cubicBezTo>
                      <a:pt x="345" y="211"/>
                      <a:pt x="345" y="211"/>
                      <a:pt x="345" y="211"/>
                    </a:cubicBezTo>
                    <a:cubicBezTo>
                      <a:pt x="345" y="211"/>
                      <a:pt x="345" y="211"/>
                      <a:pt x="345" y="211"/>
                    </a:cubicBezTo>
                    <a:cubicBezTo>
                      <a:pt x="345" y="211"/>
                      <a:pt x="345" y="210"/>
                      <a:pt x="345" y="210"/>
                    </a:cubicBezTo>
                    <a:cubicBezTo>
                      <a:pt x="346" y="210"/>
                      <a:pt x="346" y="210"/>
                      <a:pt x="346" y="210"/>
                    </a:cubicBezTo>
                    <a:cubicBezTo>
                      <a:pt x="346" y="210"/>
                      <a:pt x="346" y="210"/>
                      <a:pt x="346" y="210"/>
                    </a:cubicBezTo>
                    <a:cubicBezTo>
                      <a:pt x="347" y="210"/>
                      <a:pt x="347" y="211"/>
                      <a:pt x="347" y="211"/>
                    </a:cubicBezTo>
                    <a:cubicBezTo>
                      <a:pt x="347" y="211"/>
                      <a:pt x="347" y="211"/>
                      <a:pt x="348" y="211"/>
                    </a:cubicBezTo>
                    <a:cubicBezTo>
                      <a:pt x="348" y="211"/>
                      <a:pt x="348" y="211"/>
                      <a:pt x="348" y="211"/>
                    </a:cubicBezTo>
                    <a:cubicBezTo>
                      <a:pt x="348" y="211"/>
                      <a:pt x="348" y="212"/>
                      <a:pt x="348" y="212"/>
                    </a:cubicBezTo>
                    <a:cubicBezTo>
                      <a:pt x="348" y="212"/>
                      <a:pt x="348" y="212"/>
                      <a:pt x="347" y="213"/>
                    </a:cubicBezTo>
                    <a:cubicBezTo>
                      <a:pt x="347" y="213"/>
                      <a:pt x="347" y="213"/>
                      <a:pt x="347" y="213"/>
                    </a:cubicBezTo>
                    <a:cubicBezTo>
                      <a:pt x="347" y="213"/>
                      <a:pt x="346" y="213"/>
                      <a:pt x="346" y="213"/>
                    </a:cubicBezTo>
                    <a:cubicBezTo>
                      <a:pt x="346" y="213"/>
                      <a:pt x="346" y="213"/>
                      <a:pt x="347" y="213"/>
                    </a:cubicBezTo>
                    <a:cubicBezTo>
                      <a:pt x="347" y="213"/>
                      <a:pt x="347" y="213"/>
                      <a:pt x="347" y="213"/>
                    </a:cubicBezTo>
                    <a:cubicBezTo>
                      <a:pt x="347" y="213"/>
                      <a:pt x="347" y="213"/>
                      <a:pt x="347" y="213"/>
                    </a:cubicBezTo>
                    <a:cubicBezTo>
                      <a:pt x="347" y="213"/>
                      <a:pt x="347" y="213"/>
                      <a:pt x="347" y="213"/>
                    </a:cubicBezTo>
                    <a:cubicBezTo>
                      <a:pt x="347" y="213"/>
                      <a:pt x="347" y="214"/>
                      <a:pt x="347" y="213"/>
                    </a:cubicBezTo>
                    <a:cubicBezTo>
                      <a:pt x="347" y="213"/>
                      <a:pt x="346" y="213"/>
                      <a:pt x="346" y="214"/>
                    </a:cubicBezTo>
                    <a:cubicBezTo>
                      <a:pt x="346" y="214"/>
                      <a:pt x="347" y="214"/>
                      <a:pt x="347" y="214"/>
                    </a:cubicBezTo>
                    <a:cubicBezTo>
                      <a:pt x="347" y="214"/>
                      <a:pt x="347" y="214"/>
                      <a:pt x="347" y="214"/>
                    </a:cubicBezTo>
                    <a:cubicBezTo>
                      <a:pt x="347" y="214"/>
                      <a:pt x="347" y="214"/>
                      <a:pt x="347" y="214"/>
                    </a:cubicBezTo>
                    <a:cubicBezTo>
                      <a:pt x="348" y="214"/>
                      <a:pt x="348" y="213"/>
                      <a:pt x="348" y="213"/>
                    </a:cubicBezTo>
                    <a:cubicBezTo>
                      <a:pt x="348" y="213"/>
                      <a:pt x="348" y="212"/>
                      <a:pt x="348" y="212"/>
                    </a:cubicBezTo>
                    <a:cubicBezTo>
                      <a:pt x="349" y="212"/>
                      <a:pt x="349" y="212"/>
                      <a:pt x="349" y="212"/>
                    </a:cubicBezTo>
                    <a:cubicBezTo>
                      <a:pt x="348" y="212"/>
                      <a:pt x="348" y="212"/>
                      <a:pt x="348" y="212"/>
                    </a:cubicBezTo>
                    <a:cubicBezTo>
                      <a:pt x="349" y="212"/>
                      <a:pt x="349" y="211"/>
                      <a:pt x="349" y="212"/>
                    </a:cubicBezTo>
                    <a:cubicBezTo>
                      <a:pt x="349" y="212"/>
                      <a:pt x="349" y="212"/>
                      <a:pt x="349" y="212"/>
                    </a:cubicBezTo>
                    <a:cubicBezTo>
                      <a:pt x="349" y="212"/>
                      <a:pt x="350" y="212"/>
                      <a:pt x="350" y="212"/>
                    </a:cubicBezTo>
                    <a:cubicBezTo>
                      <a:pt x="351" y="212"/>
                      <a:pt x="351" y="212"/>
                      <a:pt x="351" y="212"/>
                    </a:cubicBezTo>
                    <a:cubicBezTo>
                      <a:pt x="351" y="212"/>
                      <a:pt x="351" y="212"/>
                      <a:pt x="351" y="212"/>
                    </a:cubicBezTo>
                    <a:cubicBezTo>
                      <a:pt x="351" y="213"/>
                      <a:pt x="351" y="212"/>
                      <a:pt x="351" y="213"/>
                    </a:cubicBezTo>
                    <a:cubicBezTo>
                      <a:pt x="351" y="213"/>
                      <a:pt x="352" y="212"/>
                      <a:pt x="352" y="213"/>
                    </a:cubicBezTo>
                    <a:cubicBezTo>
                      <a:pt x="352" y="213"/>
                      <a:pt x="352" y="213"/>
                      <a:pt x="352" y="214"/>
                    </a:cubicBezTo>
                    <a:cubicBezTo>
                      <a:pt x="352" y="214"/>
                      <a:pt x="352" y="214"/>
                      <a:pt x="352" y="215"/>
                    </a:cubicBezTo>
                    <a:cubicBezTo>
                      <a:pt x="351" y="215"/>
                      <a:pt x="351" y="215"/>
                      <a:pt x="351" y="215"/>
                    </a:cubicBezTo>
                    <a:cubicBezTo>
                      <a:pt x="351" y="215"/>
                      <a:pt x="351" y="214"/>
                      <a:pt x="351" y="214"/>
                    </a:cubicBezTo>
                    <a:cubicBezTo>
                      <a:pt x="350" y="214"/>
                      <a:pt x="350" y="214"/>
                      <a:pt x="350" y="214"/>
                    </a:cubicBezTo>
                    <a:cubicBezTo>
                      <a:pt x="350" y="214"/>
                      <a:pt x="350" y="214"/>
                      <a:pt x="350" y="214"/>
                    </a:cubicBezTo>
                    <a:cubicBezTo>
                      <a:pt x="350" y="214"/>
                      <a:pt x="350" y="214"/>
                      <a:pt x="350" y="214"/>
                    </a:cubicBezTo>
                    <a:cubicBezTo>
                      <a:pt x="350" y="214"/>
                      <a:pt x="350" y="214"/>
                      <a:pt x="350" y="214"/>
                    </a:cubicBezTo>
                    <a:cubicBezTo>
                      <a:pt x="350" y="215"/>
                      <a:pt x="351" y="215"/>
                      <a:pt x="351" y="215"/>
                    </a:cubicBezTo>
                    <a:cubicBezTo>
                      <a:pt x="351" y="215"/>
                      <a:pt x="351" y="215"/>
                      <a:pt x="351" y="215"/>
                    </a:cubicBezTo>
                    <a:cubicBezTo>
                      <a:pt x="351" y="215"/>
                      <a:pt x="351" y="215"/>
                      <a:pt x="351" y="215"/>
                    </a:cubicBezTo>
                    <a:cubicBezTo>
                      <a:pt x="351" y="216"/>
                      <a:pt x="352" y="216"/>
                      <a:pt x="352" y="216"/>
                    </a:cubicBezTo>
                    <a:cubicBezTo>
                      <a:pt x="352" y="216"/>
                      <a:pt x="351" y="216"/>
                      <a:pt x="351" y="216"/>
                    </a:cubicBezTo>
                    <a:cubicBezTo>
                      <a:pt x="351" y="216"/>
                      <a:pt x="351" y="216"/>
                      <a:pt x="350" y="216"/>
                    </a:cubicBezTo>
                    <a:cubicBezTo>
                      <a:pt x="350" y="216"/>
                      <a:pt x="350" y="216"/>
                      <a:pt x="350" y="216"/>
                    </a:cubicBezTo>
                    <a:cubicBezTo>
                      <a:pt x="349" y="216"/>
                      <a:pt x="349" y="215"/>
                      <a:pt x="349" y="215"/>
                    </a:cubicBezTo>
                    <a:cubicBezTo>
                      <a:pt x="348" y="215"/>
                      <a:pt x="348" y="215"/>
                      <a:pt x="348" y="215"/>
                    </a:cubicBezTo>
                    <a:cubicBezTo>
                      <a:pt x="347" y="214"/>
                      <a:pt x="347" y="214"/>
                      <a:pt x="346" y="214"/>
                    </a:cubicBezTo>
                    <a:cubicBezTo>
                      <a:pt x="346" y="214"/>
                      <a:pt x="346" y="214"/>
                      <a:pt x="346" y="214"/>
                    </a:cubicBezTo>
                    <a:cubicBezTo>
                      <a:pt x="346" y="214"/>
                      <a:pt x="347" y="214"/>
                      <a:pt x="347" y="214"/>
                    </a:cubicBezTo>
                    <a:cubicBezTo>
                      <a:pt x="347" y="214"/>
                      <a:pt x="347" y="215"/>
                      <a:pt x="347" y="215"/>
                    </a:cubicBezTo>
                    <a:cubicBezTo>
                      <a:pt x="347" y="215"/>
                      <a:pt x="347" y="215"/>
                      <a:pt x="347" y="215"/>
                    </a:cubicBezTo>
                    <a:cubicBezTo>
                      <a:pt x="347" y="215"/>
                      <a:pt x="347" y="215"/>
                      <a:pt x="348" y="215"/>
                    </a:cubicBezTo>
                    <a:cubicBezTo>
                      <a:pt x="348" y="215"/>
                      <a:pt x="348" y="215"/>
                      <a:pt x="348" y="215"/>
                    </a:cubicBezTo>
                    <a:cubicBezTo>
                      <a:pt x="348" y="215"/>
                      <a:pt x="348" y="215"/>
                      <a:pt x="348" y="216"/>
                    </a:cubicBezTo>
                    <a:cubicBezTo>
                      <a:pt x="348" y="215"/>
                      <a:pt x="348" y="215"/>
                      <a:pt x="349" y="216"/>
                    </a:cubicBezTo>
                    <a:cubicBezTo>
                      <a:pt x="349" y="216"/>
                      <a:pt x="349" y="216"/>
                      <a:pt x="349" y="216"/>
                    </a:cubicBezTo>
                    <a:cubicBezTo>
                      <a:pt x="349" y="216"/>
                      <a:pt x="349" y="216"/>
                      <a:pt x="349" y="216"/>
                    </a:cubicBezTo>
                    <a:cubicBezTo>
                      <a:pt x="349" y="216"/>
                      <a:pt x="349" y="216"/>
                      <a:pt x="349" y="216"/>
                    </a:cubicBezTo>
                    <a:cubicBezTo>
                      <a:pt x="349" y="217"/>
                      <a:pt x="349" y="217"/>
                      <a:pt x="349" y="217"/>
                    </a:cubicBezTo>
                    <a:cubicBezTo>
                      <a:pt x="349" y="217"/>
                      <a:pt x="349" y="217"/>
                      <a:pt x="349" y="217"/>
                    </a:cubicBezTo>
                    <a:cubicBezTo>
                      <a:pt x="349" y="217"/>
                      <a:pt x="349" y="217"/>
                      <a:pt x="349" y="217"/>
                    </a:cubicBezTo>
                    <a:cubicBezTo>
                      <a:pt x="350" y="217"/>
                      <a:pt x="350" y="217"/>
                      <a:pt x="350" y="217"/>
                    </a:cubicBezTo>
                    <a:cubicBezTo>
                      <a:pt x="350" y="217"/>
                      <a:pt x="350" y="217"/>
                      <a:pt x="350" y="217"/>
                    </a:cubicBezTo>
                    <a:cubicBezTo>
                      <a:pt x="350" y="217"/>
                      <a:pt x="350" y="217"/>
                      <a:pt x="350" y="217"/>
                    </a:cubicBezTo>
                    <a:cubicBezTo>
                      <a:pt x="350" y="217"/>
                      <a:pt x="351" y="217"/>
                      <a:pt x="351" y="216"/>
                    </a:cubicBezTo>
                    <a:cubicBezTo>
                      <a:pt x="351" y="216"/>
                      <a:pt x="351" y="216"/>
                      <a:pt x="351" y="216"/>
                    </a:cubicBezTo>
                    <a:cubicBezTo>
                      <a:pt x="351" y="217"/>
                      <a:pt x="351" y="217"/>
                      <a:pt x="352" y="216"/>
                    </a:cubicBezTo>
                    <a:cubicBezTo>
                      <a:pt x="352" y="216"/>
                      <a:pt x="352" y="216"/>
                      <a:pt x="352" y="217"/>
                    </a:cubicBezTo>
                    <a:cubicBezTo>
                      <a:pt x="352" y="217"/>
                      <a:pt x="352" y="217"/>
                      <a:pt x="352" y="217"/>
                    </a:cubicBezTo>
                    <a:cubicBezTo>
                      <a:pt x="352" y="217"/>
                      <a:pt x="352" y="218"/>
                      <a:pt x="352" y="218"/>
                    </a:cubicBezTo>
                    <a:cubicBezTo>
                      <a:pt x="352" y="218"/>
                      <a:pt x="352" y="218"/>
                      <a:pt x="352" y="218"/>
                    </a:cubicBezTo>
                    <a:cubicBezTo>
                      <a:pt x="352" y="218"/>
                      <a:pt x="352" y="218"/>
                      <a:pt x="352" y="218"/>
                    </a:cubicBezTo>
                    <a:cubicBezTo>
                      <a:pt x="352" y="218"/>
                      <a:pt x="352" y="218"/>
                      <a:pt x="352" y="218"/>
                    </a:cubicBezTo>
                    <a:cubicBezTo>
                      <a:pt x="352" y="218"/>
                      <a:pt x="352" y="219"/>
                      <a:pt x="352" y="219"/>
                    </a:cubicBezTo>
                    <a:cubicBezTo>
                      <a:pt x="352" y="219"/>
                      <a:pt x="352" y="219"/>
                      <a:pt x="352" y="219"/>
                    </a:cubicBezTo>
                    <a:cubicBezTo>
                      <a:pt x="352" y="219"/>
                      <a:pt x="352" y="219"/>
                      <a:pt x="352" y="219"/>
                    </a:cubicBezTo>
                    <a:cubicBezTo>
                      <a:pt x="352" y="219"/>
                      <a:pt x="352" y="220"/>
                      <a:pt x="353" y="220"/>
                    </a:cubicBezTo>
                    <a:cubicBezTo>
                      <a:pt x="352" y="220"/>
                      <a:pt x="352" y="220"/>
                      <a:pt x="352" y="219"/>
                    </a:cubicBezTo>
                    <a:cubicBezTo>
                      <a:pt x="352" y="219"/>
                      <a:pt x="352" y="219"/>
                      <a:pt x="352" y="219"/>
                    </a:cubicBezTo>
                    <a:cubicBezTo>
                      <a:pt x="352" y="219"/>
                      <a:pt x="352" y="220"/>
                      <a:pt x="352" y="220"/>
                    </a:cubicBezTo>
                    <a:cubicBezTo>
                      <a:pt x="352" y="220"/>
                      <a:pt x="352" y="220"/>
                      <a:pt x="352" y="220"/>
                    </a:cubicBezTo>
                    <a:cubicBezTo>
                      <a:pt x="352" y="220"/>
                      <a:pt x="351" y="220"/>
                      <a:pt x="351" y="220"/>
                    </a:cubicBezTo>
                    <a:cubicBezTo>
                      <a:pt x="351" y="220"/>
                      <a:pt x="351" y="220"/>
                      <a:pt x="351" y="220"/>
                    </a:cubicBezTo>
                    <a:cubicBezTo>
                      <a:pt x="351" y="220"/>
                      <a:pt x="351" y="219"/>
                      <a:pt x="350" y="219"/>
                    </a:cubicBezTo>
                    <a:cubicBezTo>
                      <a:pt x="350" y="219"/>
                      <a:pt x="350" y="219"/>
                      <a:pt x="350" y="219"/>
                    </a:cubicBezTo>
                    <a:cubicBezTo>
                      <a:pt x="350" y="219"/>
                      <a:pt x="349" y="219"/>
                      <a:pt x="349" y="219"/>
                    </a:cubicBezTo>
                    <a:cubicBezTo>
                      <a:pt x="349" y="218"/>
                      <a:pt x="348" y="218"/>
                      <a:pt x="348" y="218"/>
                    </a:cubicBezTo>
                    <a:cubicBezTo>
                      <a:pt x="348" y="217"/>
                      <a:pt x="348" y="217"/>
                      <a:pt x="348" y="217"/>
                    </a:cubicBezTo>
                    <a:cubicBezTo>
                      <a:pt x="348" y="217"/>
                      <a:pt x="348" y="217"/>
                      <a:pt x="348" y="217"/>
                    </a:cubicBezTo>
                    <a:cubicBezTo>
                      <a:pt x="347" y="217"/>
                      <a:pt x="347" y="217"/>
                      <a:pt x="347" y="217"/>
                    </a:cubicBezTo>
                    <a:cubicBezTo>
                      <a:pt x="347" y="217"/>
                      <a:pt x="347" y="217"/>
                      <a:pt x="346" y="216"/>
                    </a:cubicBezTo>
                    <a:cubicBezTo>
                      <a:pt x="346" y="216"/>
                      <a:pt x="346" y="216"/>
                      <a:pt x="346" y="216"/>
                    </a:cubicBezTo>
                    <a:cubicBezTo>
                      <a:pt x="346" y="216"/>
                      <a:pt x="346" y="216"/>
                      <a:pt x="346" y="216"/>
                    </a:cubicBezTo>
                    <a:cubicBezTo>
                      <a:pt x="346" y="216"/>
                      <a:pt x="346" y="216"/>
                      <a:pt x="346" y="216"/>
                    </a:cubicBezTo>
                    <a:cubicBezTo>
                      <a:pt x="346" y="217"/>
                      <a:pt x="346" y="217"/>
                      <a:pt x="346" y="217"/>
                    </a:cubicBezTo>
                    <a:cubicBezTo>
                      <a:pt x="347" y="217"/>
                      <a:pt x="347" y="217"/>
                      <a:pt x="346" y="218"/>
                    </a:cubicBezTo>
                    <a:cubicBezTo>
                      <a:pt x="346" y="218"/>
                      <a:pt x="346" y="218"/>
                      <a:pt x="347" y="218"/>
                    </a:cubicBezTo>
                    <a:cubicBezTo>
                      <a:pt x="347" y="218"/>
                      <a:pt x="347" y="218"/>
                      <a:pt x="347" y="218"/>
                    </a:cubicBezTo>
                    <a:cubicBezTo>
                      <a:pt x="347" y="218"/>
                      <a:pt x="347" y="218"/>
                      <a:pt x="347" y="218"/>
                    </a:cubicBezTo>
                    <a:cubicBezTo>
                      <a:pt x="348" y="218"/>
                      <a:pt x="348" y="218"/>
                      <a:pt x="348" y="218"/>
                    </a:cubicBezTo>
                    <a:cubicBezTo>
                      <a:pt x="348" y="219"/>
                      <a:pt x="348" y="219"/>
                      <a:pt x="347" y="219"/>
                    </a:cubicBezTo>
                    <a:cubicBezTo>
                      <a:pt x="347" y="219"/>
                      <a:pt x="347" y="219"/>
                      <a:pt x="347" y="219"/>
                    </a:cubicBezTo>
                    <a:cubicBezTo>
                      <a:pt x="347" y="219"/>
                      <a:pt x="347" y="219"/>
                      <a:pt x="347" y="219"/>
                    </a:cubicBezTo>
                    <a:cubicBezTo>
                      <a:pt x="348" y="219"/>
                      <a:pt x="348" y="219"/>
                      <a:pt x="348" y="219"/>
                    </a:cubicBezTo>
                    <a:cubicBezTo>
                      <a:pt x="348" y="219"/>
                      <a:pt x="348" y="220"/>
                      <a:pt x="348" y="220"/>
                    </a:cubicBezTo>
                    <a:cubicBezTo>
                      <a:pt x="348" y="220"/>
                      <a:pt x="348" y="220"/>
                      <a:pt x="348" y="219"/>
                    </a:cubicBezTo>
                    <a:cubicBezTo>
                      <a:pt x="348" y="219"/>
                      <a:pt x="348" y="219"/>
                      <a:pt x="348" y="219"/>
                    </a:cubicBezTo>
                    <a:cubicBezTo>
                      <a:pt x="349" y="219"/>
                      <a:pt x="349" y="219"/>
                      <a:pt x="349" y="219"/>
                    </a:cubicBezTo>
                    <a:cubicBezTo>
                      <a:pt x="349" y="219"/>
                      <a:pt x="349" y="219"/>
                      <a:pt x="349" y="220"/>
                    </a:cubicBezTo>
                    <a:cubicBezTo>
                      <a:pt x="350" y="220"/>
                      <a:pt x="349" y="220"/>
                      <a:pt x="349" y="220"/>
                    </a:cubicBezTo>
                    <a:cubicBezTo>
                      <a:pt x="349" y="220"/>
                      <a:pt x="349" y="220"/>
                      <a:pt x="349" y="220"/>
                    </a:cubicBezTo>
                    <a:cubicBezTo>
                      <a:pt x="349" y="220"/>
                      <a:pt x="349" y="220"/>
                      <a:pt x="349" y="220"/>
                    </a:cubicBezTo>
                    <a:cubicBezTo>
                      <a:pt x="349" y="220"/>
                      <a:pt x="349" y="220"/>
                      <a:pt x="349" y="220"/>
                    </a:cubicBezTo>
                    <a:cubicBezTo>
                      <a:pt x="349" y="220"/>
                      <a:pt x="349" y="220"/>
                      <a:pt x="349" y="220"/>
                    </a:cubicBezTo>
                    <a:cubicBezTo>
                      <a:pt x="350" y="220"/>
                      <a:pt x="350" y="220"/>
                      <a:pt x="350" y="220"/>
                    </a:cubicBezTo>
                    <a:cubicBezTo>
                      <a:pt x="350" y="220"/>
                      <a:pt x="350" y="220"/>
                      <a:pt x="350" y="220"/>
                    </a:cubicBezTo>
                    <a:cubicBezTo>
                      <a:pt x="350" y="220"/>
                      <a:pt x="350" y="220"/>
                      <a:pt x="350" y="220"/>
                    </a:cubicBezTo>
                    <a:cubicBezTo>
                      <a:pt x="350" y="220"/>
                      <a:pt x="350" y="220"/>
                      <a:pt x="350" y="220"/>
                    </a:cubicBezTo>
                    <a:cubicBezTo>
                      <a:pt x="351" y="220"/>
                      <a:pt x="351" y="220"/>
                      <a:pt x="351" y="221"/>
                    </a:cubicBezTo>
                    <a:cubicBezTo>
                      <a:pt x="351" y="221"/>
                      <a:pt x="351" y="221"/>
                      <a:pt x="351" y="221"/>
                    </a:cubicBezTo>
                    <a:cubicBezTo>
                      <a:pt x="352" y="220"/>
                      <a:pt x="352" y="220"/>
                      <a:pt x="353" y="221"/>
                    </a:cubicBezTo>
                    <a:cubicBezTo>
                      <a:pt x="353" y="221"/>
                      <a:pt x="353" y="221"/>
                      <a:pt x="353" y="222"/>
                    </a:cubicBezTo>
                    <a:cubicBezTo>
                      <a:pt x="353" y="222"/>
                      <a:pt x="353" y="222"/>
                      <a:pt x="352" y="222"/>
                    </a:cubicBezTo>
                    <a:cubicBezTo>
                      <a:pt x="352" y="222"/>
                      <a:pt x="352" y="221"/>
                      <a:pt x="351" y="222"/>
                    </a:cubicBezTo>
                    <a:cubicBezTo>
                      <a:pt x="351" y="222"/>
                      <a:pt x="352" y="222"/>
                      <a:pt x="352" y="222"/>
                    </a:cubicBezTo>
                    <a:cubicBezTo>
                      <a:pt x="352" y="222"/>
                      <a:pt x="352" y="222"/>
                      <a:pt x="352" y="222"/>
                    </a:cubicBezTo>
                    <a:cubicBezTo>
                      <a:pt x="352" y="222"/>
                      <a:pt x="352" y="222"/>
                      <a:pt x="352" y="222"/>
                    </a:cubicBezTo>
                    <a:cubicBezTo>
                      <a:pt x="352" y="222"/>
                      <a:pt x="352" y="223"/>
                      <a:pt x="352" y="222"/>
                    </a:cubicBezTo>
                    <a:cubicBezTo>
                      <a:pt x="352" y="222"/>
                      <a:pt x="352" y="222"/>
                      <a:pt x="352" y="223"/>
                    </a:cubicBezTo>
                    <a:cubicBezTo>
                      <a:pt x="352" y="223"/>
                      <a:pt x="353" y="223"/>
                      <a:pt x="352" y="223"/>
                    </a:cubicBezTo>
                    <a:cubicBezTo>
                      <a:pt x="352" y="223"/>
                      <a:pt x="352" y="223"/>
                      <a:pt x="352" y="223"/>
                    </a:cubicBezTo>
                    <a:cubicBezTo>
                      <a:pt x="352" y="223"/>
                      <a:pt x="352" y="223"/>
                      <a:pt x="352" y="223"/>
                    </a:cubicBezTo>
                    <a:cubicBezTo>
                      <a:pt x="352" y="223"/>
                      <a:pt x="353" y="223"/>
                      <a:pt x="353" y="223"/>
                    </a:cubicBezTo>
                    <a:cubicBezTo>
                      <a:pt x="353" y="224"/>
                      <a:pt x="353" y="224"/>
                      <a:pt x="353" y="224"/>
                    </a:cubicBezTo>
                    <a:cubicBezTo>
                      <a:pt x="353" y="224"/>
                      <a:pt x="353" y="224"/>
                      <a:pt x="353" y="224"/>
                    </a:cubicBezTo>
                    <a:cubicBezTo>
                      <a:pt x="353" y="224"/>
                      <a:pt x="353" y="224"/>
                      <a:pt x="353" y="225"/>
                    </a:cubicBezTo>
                    <a:cubicBezTo>
                      <a:pt x="353" y="225"/>
                      <a:pt x="353" y="225"/>
                      <a:pt x="353" y="225"/>
                    </a:cubicBezTo>
                    <a:cubicBezTo>
                      <a:pt x="353" y="225"/>
                      <a:pt x="353" y="225"/>
                      <a:pt x="353" y="225"/>
                    </a:cubicBezTo>
                    <a:cubicBezTo>
                      <a:pt x="353" y="225"/>
                      <a:pt x="353" y="225"/>
                      <a:pt x="353" y="225"/>
                    </a:cubicBezTo>
                    <a:cubicBezTo>
                      <a:pt x="353" y="225"/>
                      <a:pt x="353" y="226"/>
                      <a:pt x="353" y="226"/>
                    </a:cubicBezTo>
                    <a:cubicBezTo>
                      <a:pt x="353" y="226"/>
                      <a:pt x="353" y="226"/>
                      <a:pt x="353" y="226"/>
                    </a:cubicBezTo>
                    <a:cubicBezTo>
                      <a:pt x="353" y="227"/>
                      <a:pt x="354" y="227"/>
                      <a:pt x="353" y="227"/>
                    </a:cubicBezTo>
                    <a:cubicBezTo>
                      <a:pt x="353" y="228"/>
                      <a:pt x="353" y="228"/>
                      <a:pt x="353" y="228"/>
                    </a:cubicBezTo>
                    <a:cubicBezTo>
                      <a:pt x="354" y="228"/>
                      <a:pt x="354" y="228"/>
                      <a:pt x="354" y="229"/>
                    </a:cubicBezTo>
                    <a:cubicBezTo>
                      <a:pt x="354" y="229"/>
                      <a:pt x="354" y="229"/>
                      <a:pt x="354" y="229"/>
                    </a:cubicBezTo>
                    <a:cubicBezTo>
                      <a:pt x="354" y="229"/>
                      <a:pt x="354" y="229"/>
                      <a:pt x="354" y="229"/>
                    </a:cubicBezTo>
                    <a:cubicBezTo>
                      <a:pt x="354" y="229"/>
                      <a:pt x="354" y="229"/>
                      <a:pt x="354" y="229"/>
                    </a:cubicBezTo>
                    <a:cubicBezTo>
                      <a:pt x="354" y="229"/>
                      <a:pt x="354" y="229"/>
                      <a:pt x="354" y="229"/>
                    </a:cubicBezTo>
                    <a:cubicBezTo>
                      <a:pt x="354" y="230"/>
                      <a:pt x="354" y="230"/>
                      <a:pt x="354" y="231"/>
                    </a:cubicBezTo>
                    <a:close/>
                    <a:moveTo>
                      <a:pt x="354" y="232"/>
                    </a:moveTo>
                    <a:cubicBezTo>
                      <a:pt x="354" y="232"/>
                      <a:pt x="354" y="232"/>
                      <a:pt x="354" y="232"/>
                    </a:cubicBezTo>
                    <a:close/>
                    <a:moveTo>
                      <a:pt x="363" y="246"/>
                    </a:moveTo>
                    <a:cubicBezTo>
                      <a:pt x="363" y="246"/>
                      <a:pt x="363" y="246"/>
                      <a:pt x="363" y="246"/>
                    </a:cubicBezTo>
                    <a:cubicBezTo>
                      <a:pt x="363" y="246"/>
                      <a:pt x="363" y="246"/>
                      <a:pt x="363" y="246"/>
                    </a:cubicBezTo>
                    <a:cubicBezTo>
                      <a:pt x="363" y="245"/>
                      <a:pt x="362" y="246"/>
                      <a:pt x="362" y="246"/>
                    </a:cubicBezTo>
                    <a:cubicBezTo>
                      <a:pt x="362" y="246"/>
                      <a:pt x="362" y="246"/>
                      <a:pt x="362" y="246"/>
                    </a:cubicBezTo>
                    <a:cubicBezTo>
                      <a:pt x="362" y="246"/>
                      <a:pt x="362" y="246"/>
                      <a:pt x="362" y="246"/>
                    </a:cubicBezTo>
                    <a:cubicBezTo>
                      <a:pt x="362" y="246"/>
                      <a:pt x="362" y="246"/>
                      <a:pt x="362" y="246"/>
                    </a:cubicBezTo>
                    <a:cubicBezTo>
                      <a:pt x="362" y="247"/>
                      <a:pt x="362" y="247"/>
                      <a:pt x="362" y="247"/>
                    </a:cubicBezTo>
                    <a:cubicBezTo>
                      <a:pt x="362" y="247"/>
                      <a:pt x="362" y="247"/>
                      <a:pt x="362" y="247"/>
                    </a:cubicBezTo>
                    <a:cubicBezTo>
                      <a:pt x="362" y="247"/>
                      <a:pt x="362" y="247"/>
                      <a:pt x="362" y="247"/>
                    </a:cubicBezTo>
                    <a:cubicBezTo>
                      <a:pt x="363" y="247"/>
                      <a:pt x="363" y="247"/>
                      <a:pt x="363" y="247"/>
                    </a:cubicBezTo>
                    <a:cubicBezTo>
                      <a:pt x="363" y="247"/>
                      <a:pt x="363" y="247"/>
                      <a:pt x="363" y="246"/>
                    </a:cubicBezTo>
                    <a:cubicBezTo>
                      <a:pt x="363" y="246"/>
                      <a:pt x="363" y="246"/>
                      <a:pt x="363" y="246"/>
                    </a:cubicBezTo>
                    <a:close/>
                    <a:moveTo>
                      <a:pt x="361" y="245"/>
                    </a:moveTo>
                    <a:cubicBezTo>
                      <a:pt x="361" y="245"/>
                      <a:pt x="361" y="245"/>
                      <a:pt x="361" y="245"/>
                    </a:cubicBezTo>
                    <a:cubicBezTo>
                      <a:pt x="361" y="245"/>
                      <a:pt x="361" y="245"/>
                      <a:pt x="360" y="245"/>
                    </a:cubicBezTo>
                    <a:cubicBezTo>
                      <a:pt x="360" y="245"/>
                      <a:pt x="360" y="245"/>
                      <a:pt x="360" y="245"/>
                    </a:cubicBezTo>
                    <a:cubicBezTo>
                      <a:pt x="361" y="245"/>
                      <a:pt x="360" y="246"/>
                      <a:pt x="360" y="246"/>
                    </a:cubicBezTo>
                    <a:cubicBezTo>
                      <a:pt x="360" y="246"/>
                      <a:pt x="360" y="246"/>
                      <a:pt x="361" y="247"/>
                    </a:cubicBezTo>
                    <a:cubicBezTo>
                      <a:pt x="361" y="246"/>
                      <a:pt x="361" y="246"/>
                      <a:pt x="361" y="245"/>
                    </a:cubicBezTo>
                    <a:cubicBezTo>
                      <a:pt x="361" y="246"/>
                      <a:pt x="361" y="245"/>
                      <a:pt x="361" y="245"/>
                    </a:cubicBezTo>
                    <a:cubicBezTo>
                      <a:pt x="362" y="245"/>
                      <a:pt x="362" y="245"/>
                      <a:pt x="362" y="245"/>
                    </a:cubicBezTo>
                    <a:cubicBezTo>
                      <a:pt x="362" y="244"/>
                      <a:pt x="361" y="245"/>
                      <a:pt x="361" y="245"/>
                    </a:cubicBezTo>
                    <a:close/>
                    <a:moveTo>
                      <a:pt x="367" y="252"/>
                    </a:moveTo>
                    <a:cubicBezTo>
                      <a:pt x="367" y="252"/>
                      <a:pt x="367" y="251"/>
                      <a:pt x="367" y="251"/>
                    </a:cubicBezTo>
                    <a:cubicBezTo>
                      <a:pt x="367" y="251"/>
                      <a:pt x="367" y="251"/>
                      <a:pt x="367" y="251"/>
                    </a:cubicBezTo>
                    <a:cubicBezTo>
                      <a:pt x="367" y="251"/>
                      <a:pt x="367" y="251"/>
                      <a:pt x="367" y="251"/>
                    </a:cubicBezTo>
                    <a:cubicBezTo>
                      <a:pt x="367" y="251"/>
                      <a:pt x="367" y="250"/>
                      <a:pt x="367" y="251"/>
                    </a:cubicBezTo>
                    <a:cubicBezTo>
                      <a:pt x="367" y="251"/>
                      <a:pt x="367" y="250"/>
                      <a:pt x="367" y="250"/>
                    </a:cubicBezTo>
                    <a:cubicBezTo>
                      <a:pt x="366" y="250"/>
                      <a:pt x="366" y="250"/>
                      <a:pt x="366" y="250"/>
                    </a:cubicBezTo>
                    <a:cubicBezTo>
                      <a:pt x="366" y="251"/>
                      <a:pt x="366" y="251"/>
                      <a:pt x="366" y="251"/>
                    </a:cubicBezTo>
                    <a:cubicBezTo>
                      <a:pt x="367" y="251"/>
                      <a:pt x="367" y="252"/>
                      <a:pt x="367" y="252"/>
                    </a:cubicBezTo>
                    <a:cubicBezTo>
                      <a:pt x="367" y="252"/>
                      <a:pt x="367" y="252"/>
                      <a:pt x="367" y="252"/>
                    </a:cubicBezTo>
                    <a:cubicBezTo>
                      <a:pt x="367" y="252"/>
                      <a:pt x="367" y="252"/>
                      <a:pt x="367" y="252"/>
                    </a:cubicBezTo>
                    <a:cubicBezTo>
                      <a:pt x="367" y="252"/>
                      <a:pt x="367" y="252"/>
                      <a:pt x="367" y="252"/>
                    </a:cubicBezTo>
                    <a:close/>
                    <a:moveTo>
                      <a:pt x="361" y="244"/>
                    </a:moveTo>
                    <a:cubicBezTo>
                      <a:pt x="361" y="244"/>
                      <a:pt x="361" y="244"/>
                      <a:pt x="361" y="244"/>
                    </a:cubicBezTo>
                    <a:cubicBezTo>
                      <a:pt x="361" y="244"/>
                      <a:pt x="361" y="243"/>
                      <a:pt x="361" y="243"/>
                    </a:cubicBezTo>
                    <a:cubicBezTo>
                      <a:pt x="361" y="243"/>
                      <a:pt x="360" y="243"/>
                      <a:pt x="360" y="243"/>
                    </a:cubicBezTo>
                    <a:cubicBezTo>
                      <a:pt x="360" y="243"/>
                      <a:pt x="360" y="243"/>
                      <a:pt x="360" y="243"/>
                    </a:cubicBezTo>
                    <a:cubicBezTo>
                      <a:pt x="360" y="243"/>
                      <a:pt x="360" y="243"/>
                      <a:pt x="360" y="243"/>
                    </a:cubicBezTo>
                    <a:cubicBezTo>
                      <a:pt x="360" y="243"/>
                      <a:pt x="360" y="243"/>
                      <a:pt x="360" y="243"/>
                    </a:cubicBezTo>
                    <a:cubicBezTo>
                      <a:pt x="360" y="244"/>
                      <a:pt x="360" y="244"/>
                      <a:pt x="360" y="244"/>
                    </a:cubicBezTo>
                    <a:cubicBezTo>
                      <a:pt x="360" y="244"/>
                      <a:pt x="360" y="244"/>
                      <a:pt x="360" y="244"/>
                    </a:cubicBezTo>
                    <a:cubicBezTo>
                      <a:pt x="360" y="244"/>
                      <a:pt x="360" y="244"/>
                      <a:pt x="361" y="244"/>
                    </a:cubicBezTo>
                    <a:close/>
                    <a:moveTo>
                      <a:pt x="362" y="243"/>
                    </a:moveTo>
                    <a:cubicBezTo>
                      <a:pt x="362" y="243"/>
                      <a:pt x="362" y="243"/>
                      <a:pt x="362" y="243"/>
                    </a:cubicBezTo>
                    <a:cubicBezTo>
                      <a:pt x="362" y="243"/>
                      <a:pt x="362" y="243"/>
                      <a:pt x="362" y="244"/>
                    </a:cubicBezTo>
                    <a:cubicBezTo>
                      <a:pt x="362" y="244"/>
                      <a:pt x="362" y="244"/>
                      <a:pt x="362" y="244"/>
                    </a:cubicBezTo>
                    <a:cubicBezTo>
                      <a:pt x="362" y="244"/>
                      <a:pt x="362" y="244"/>
                      <a:pt x="362" y="244"/>
                    </a:cubicBezTo>
                    <a:cubicBezTo>
                      <a:pt x="363" y="244"/>
                      <a:pt x="363" y="244"/>
                      <a:pt x="363" y="243"/>
                    </a:cubicBezTo>
                    <a:cubicBezTo>
                      <a:pt x="363" y="243"/>
                      <a:pt x="362" y="243"/>
                      <a:pt x="362" y="243"/>
                    </a:cubicBezTo>
                    <a:close/>
                    <a:moveTo>
                      <a:pt x="349" y="223"/>
                    </a:moveTo>
                    <a:cubicBezTo>
                      <a:pt x="349" y="223"/>
                      <a:pt x="349" y="223"/>
                      <a:pt x="349" y="223"/>
                    </a:cubicBezTo>
                    <a:cubicBezTo>
                      <a:pt x="349" y="223"/>
                      <a:pt x="348" y="223"/>
                      <a:pt x="348" y="223"/>
                    </a:cubicBezTo>
                    <a:cubicBezTo>
                      <a:pt x="348" y="223"/>
                      <a:pt x="348" y="223"/>
                      <a:pt x="348" y="223"/>
                    </a:cubicBezTo>
                    <a:cubicBezTo>
                      <a:pt x="348" y="223"/>
                      <a:pt x="348" y="223"/>
                      <a:pt x="348" y="224"/>
                    </a:cubicBezTo>
                    <a:cubicBezTo>
                      <a:pt x="348" y="224"/>
                      <a:pt x="348" y="224"/>
                      <a:pt x="348" y="224"/>
                    </a:cubicBezTo>
                    <a:cubicBezTo>
                      <a:pt x="348" y="224"/>
                      <a:pt x="348" y="224"/>
                      <a:pt x="348" y="224"/>
                    </a:cubicBezTo>
                    <a:cubicBezTo>
                      <a:pt x="348" y="224"/>
                      <a:pt x="348" y="224"/>
                      <a:pt x="348" y="224"/>
                    </a:cubicBezTo>
                    <a:cubicBezTo>
                      <a:pt x="348" y="223"/>
                      <a:pt x="349" y="223"/>
                      <a:pt x="349" y="224"/>
                    </a:cubicBezTo>
                    <a:cubicBezTo>
                      <a:pt x="349" y="223"/>
                      <a:pt x="349" y="223"/>
                      <a:pt x="349" y="223"/>
                    </a:cubicBezTo>
                    <a:close/>
                    <a:moveTo>
                      <a:pt x="363" y="240"/>
                    </a:moveTo>
                    <a:cubicBezTo>
                      <a:pt x="363" y="240"/>
                      <a:pt x="363" y="240"/>
                      <a:pt x="363" y="240"/>
                    </a:cubicBezTo>
                    <a:cubicBezTo>
                      <a:pt x="363" y="240"/>
                      <a:pt x="363" y="240"/>
                      <a:pt x="363" y="240"/>
                    </a:cubicBezTo>
                    <a:cubicBezTo>
                      <a:pt x="363" y="240"/>
                      <a:pt x="363" y="240"/>
                      <a:pt x="363" y="239"/>
                    </a:cubicBezTo>
                    <a:cubicBezTo>
                      <a:pt x="363" y="239"/>
                      <a:pt x="363" y="239"/>
                      <a:pt x="363" y="239"/>
                    </a:cubicBezTo>
                    <a:cubicBezTo>
                      <a:pt x="363" y="240"/>
                      <a:pt x="363" y="239"/>
                      <a:pt x="363" y="239"/>
                    </a:cubicBezTo>
                    <a:cubicBezTo>
                      <a:pt x="363" y="239"/>
                      <a:pt x="363" y="239"/>
                      <a:pt x="363" y="239"/>
                    </a:cubicBezTo>
                    <a:cubicBezTo>
                      <a:pt x="362" y="239"/>
                      <a:pt x="362" y="239"/>
                      <a:pt x="363" y="240"/>
                    </a:cubicBezTo>
                    <a:close/>
                    <a:moveTo>
                      <a:pt x="357" y="239"/>
                    </a:moveTo>
                    <a:cubicBezTo>
                      <a:pt x="357" y="239"/>
                      <a:pt x="357" y="239"/>
                      <a:pt x="357" y="239"/>
                    </a:cubicBezTo>
                    <a:cubicBezTo>
                      <a:pt x="357" y="239"/>
                      <a:pt x="356" y="239"/>
                      <a:pt x="356" y="239"/>
                    </a:cubicBezTo>
                    <a:cubicBezTo>
                      <a:pt x="356" y="239"/>
                      <a:pt x="356" y="239"/>
                      <a:pt x="356" y="239"/>
                    </a:cubicBezTo>
                    <a:cubicBezTo>
                      <a:pt x="356" y="239"/>
                      <a:pt x="356" y="239"/>
                      <a:pt x="356" y="239"/>
                    </a:cubicBezTo>
                    <a:cubicBezTo>
                      <a:pt x="356" y="239"/>
                      <a:pt x="356" y="239"/>
                      <a:pt x="356" y="239"/>
                    </a:cubicBezTo>
                    <a:cubicBezTo>
                      <a:pt x="356" y="239"/>
                      <a:pt x="356" y="239"/>
                      <a:pt x="356" y="240"/>
                    </a:cubicBezTo>
                    <a:cubicBezTo>
                      <a:pt x="356" y="240"/>
                      <a:pt x="356" y="240"/>
                      <a:pt x="356" y="240"/>
                    </a:cubicBezTo>
                    <a:cubicBezTo>
                      <a:pt x="357" y="239"/>
                      <a:pt x="357" y="239"/>
                      <a:pt x="357" y="239"/>
                    </a:cubicBezTo>
                    <a:cubicBezTo>
                      <a:pt x="357" y="239"/>
                      <a:pt x="357" y="239"/>
                      <a:pt x="357" y="239"/>
                    </a:cubicBezTo>
                    <a:cubicBezTo>
                      <a:pt x="357" y="239"/>
                      <a:pt x="357" y="239"/>
                      <a:pt x="357" y="239"/>
                    </a:cubicBezTo>
                    <a:close/>
                    <a:moveTo>
                      <a:pt x="361" y="244"/>
                    </a:moveTo>
                    <a:cubicBezTo>
                      <a:pt x="361" y="244"/>
                      <a:pt x="361" y="244"/>
                      <a:pt x="361" y="244"/>
                    </a:cubicBezTo>
                    <a:cubicBezTo>
                      <a:pt x="361" y="244"/>
                      <a:pt x="361" y="244"/>
                      <a:pt x="361" y="244"/>
                    </a:cubicBezTo>
                    <a:cubicBezTo>
                      <a:pt x="362" y="244"/>
                      <a:pt x="362" y="244"/>
                      <a:pt x="362" y="244"/>
                    </a:cubicBezTo>
                    <a:cubicBezTo>
                      <a:pt x="362" y="244"/>
                      <a:pt x="362" y="243"/>
                      <a:pt x="361" y="243"/>
                    </a:cubicBezTo>
                    <a:cubicBezTo>
                      <a:pt x="361" y="243"/>
                      <a:pt x="361" y="244"/>
                      <a:pt x="361" y="244"/>
                    </a:cubicBezTo>
                    <a:cubicBezTo>
                      <a:pt x="361" y="244"/>
                      <a:pt x="361" y="244"/>
                      <a:pt x="361" y="244"/>
                    </a:cubicBezTo>
                    <a:cubicBezTo>
                      <a:pt x="361" y="244"/>
                      <a:pt x="361" y="244"/>
                      <a:pt x="361" y="244"/>
                    </a:cubicBezTo>
                    <a:close/>
                    <a:moveTo>
                      <a:pt x="359" y="239"/>
                    </a:moveTo>
                    <a:cubicBezTo>
                      <a:pt x="359" y="239"/>
                      <a:pt x="359" y="239"/>
                      <a:pt x="359" y="239"/>
                    </a:cubicBezTo>
                    <a:cubicBezTo>
                      <a:pt x="358" y="239"/>
                      <a:pt x="359" y="239"/>
                      <a:pt x="359" y="239"/>
                    </a:cubicBezTo>
                    <a:cubicBezTo>
                      <a:pt x="359" y="240"/>
                      <a:pt x="359" y="240"/>
                      <a:pt x="359" y="240"/>
                    </a:cubicBezTo>
                    <a:cubicBezTo>
                      <a:pt x="359" y="240"/>
                      <a:pt x="359" y="239"/>
                      <a:pt x="359" y="239"/>
                    </a:cubicBezTo>
                    <a:cubicBezTo>
                      <a:pt x="359" y="239"/>
                      <a:pt x="359" y="239"/>
                      <a:pt x="359" y="239"/>
                    </a:cubicBezTo>
                    <a:cubicBezTo>
                      <a:pt x="359" y="239"/>
                      <a:pt x="359" y="239"/>
                      <a:pt x="359" y="239"/>
                    </a:cubicBezTo>
                    <a:cubicBezTo>
                      <a:pt x="359" y="239"/>
                      <a:pt x="359" y="239"/>
                      <a:pt x="359" y="239"/>
                    </a:cubicBezTo>
                    <a:close/>
                    <a:moveTo>
                      <a:pt x="344" y="210"/>
                    </a:moveTo>
                    <a:cubicBezTo>
                      <a:pt x="344" y="210"/>
                      <a:pt x="345" y="210"/>
                      <a:pt x="345" y="210"/>
                    </a:cubicBezTo>
                    <a:cubicBezTo>
                      <a:pt x="345" y="210"/>
                      <a:pt x="345" y="209"/>
                      <a:pt x="344" y="209"/>
                    </a:cubicBezTo>
                    <a:cubicBezTo>
                      <a:pt x="344" y="209"/>
                      <a:pt x="344" y="210"/>
                      <a:pt x="344" y="210"/>
                    </a:cubicBezTo>
                    <a:cubicBezTo>
                      <a:pt x="344" y="210"/>
                      <a:pt x="344" y="210"/>
                      <a:pt x="344" y="210"/>
                    </a:cubicBezTo>
                    <a:close/>
                    <a:moveTo>
                      <a:pt x="365" y="236"/>
                    </a:moveTo>
                    <a:cubicBezTo>
                      <a:pt x="364" y="236"/>
                      <a:pt x="364" y="237"/>
                      <a:pt x="364" y="237"/>
                    </a:cubicBezTo>
                    <a:cubicBezTo>
                      <a:pt x="364" y="237"/>
                      <a:pt x="364" y="237"/>
                      <a:pt x="365" y="237"/>
                    </a:cubicBezTo>
                    <a:cubicBezTo>
                      <a:pt x="365" y="237"/>
                      <a:pt x="365" y="237"/>
                      <a:pt x="365" y="237"/>
                    </a:cubicBezTo>
                    <a:cubicBezTo>
                      <a:pt x="365" y="237"/>
                      <a:pt x="365" y="236"/>
                      <a:pt x="365" y="236"/>
                    </a:cubicBezTo>
                    <a:close/>
                    <a:moveTo>
                      <a:pt x="347" y="217"/>
                    </a:moveTo>
                    <a:cubicBezTo>
                      <a:pt x="347" y="217"/>
                      <a:pt x="347" y="218"/>
                      <a:pt x="347" y="218"/>
                    </a:cubicBezTo>
                    <a:cubicBezTo>
                      <a:pt x="347" y="218"/>
                      <a:pt x="347" y="218"/>
                      <a:pt x="347" y="218"/>
                    </a:cubicBezTo>
                    <a:cubicBezTo>
                      <a:pt x="348" y="218"/>
                      <a:pt x="347" y="217"/>
                      <a:pt x="347" y="217"/>
                    </a:cubicBezTo>
                    <a:cubicBezTo>
                      <a:pt x="347" y="217"/>
                      <a:pt x="347" y="217"/>
                      <a:pt x="347" y="217"/>
                    </a:cubicBezTo>
                    <a:close/>
                    <a:moveTo>
                      <a:pt x="371" y="252"/>
                    </a:moveTo>
                    <a:cubicBezTo>
                      <a:pt x="371" y="251"/>
                      <a:pt x="371" y="251"/>
                      <a:pt x="371" y="251"/>
                    </a:cubicBezTo>
                    <a:cubicBezTo>
                      <a:pt x="371" y="251"/>
                      <a:pt x="371" y="251"/>
                      <a:pt x="371" y="251"/>
                    </a:cubicBezTo>
                    <a:cubicBezTo>
                      <a:pt x="371" y="251"/>
                      <a:pt x="371" y="251"/>
                      <a:pt x="371" y="251"/>
                    </a:cubicBezTo>
                    <a:cubicBezTo>
                      <a:pt x="371" y="251"/>
                      <a:pt x="371" y="251"/>
                      <a:pt x="372" y="250"/>
                    </a:cubicBezTo>
                    <a:cubicBezTo>
                      <a:pt x="372" y="250"/>
                      <a:pt x="372" y="250"/>
                      <a:pt x="371" y="250"/>
                    </a:cubicBezTo>
                    <a:cubicBezTo>
                      <a:pt x="371" y="250"/>
                      <a:pt x="371" y="250"/>
                      <a:pt x="371" y="250"/>
                    </a:cubicBezTo>
                    <a:cubicBezTo>
                      <a:pt x="371" y="250"/>
                      <a:pt x="371" y="250"/>
                      <a:pt x="371" y="250"/>
                    </a:cubicBezTo>
                    <a:cubicBezTo>
                      <a:pt x="372" y="250"/>
                      <a:pt x="371" y="249"/>
                      <a:pt x="371" y="249"/>
                    </a:cubicBezTo>
                    <a:cubicBezTo>
                      <a:pt x="371" y="249"/>
                      <a:pt x="371" y="249"/>
                      <a:pt x="371" y="249"/>
                    </a:cubicBezTo>
                    <a:cubicBezTo>
                      <a:pt x="371" y="249"/>
                      <a:pt x="371" y="250"/>
                      <a:pt x="371" y="250"/>
                    </a:cubicBezTo>
                    <a:cubicBezTo>
                      <a:pt x="370" y="250"/>
                      <a:pt x="370" y="250"/>
                      <a:pt x="370" y="250"/>
                    </a:cubicBezTo>
                    <a:cubicBezTo>
                      <a:pt x="370" y="250"/>
                      <a:pt x="370" y="250"/>
                      <a:pt x="370" y="250"/>
                    </a:cubicBezTo>
                    <a:cubicBezTo>
                      <a:pt x="370" y="250"/>
                      <a:pt x="370" y="250"/>
                      <a:pt x="370" y="250"/>
                    </a:cubicBezTo>
                    <a:cubicBezTo>
                      <a:pt x="370" y="250"/>
                      <a:pt x="370" y="250"/>
                      <a:pt x="370" y="249"/>
                    </a:cubicBezTo>
                    <a:cubicBezTo>
                      <a:pt x="370" y="249"/>
                      <a:pt x="370" y="249"/>
                      <a:pt x="370" y="249"/>
                    </a:cubicBezTo>
                    <a:cubicBezTo>
                      <a:pt x="371" y="249"/>
                      <a:pt x="371" y="249"/>
                      <a:pt x="371" y="249"/>
                    </a:cubicBezTo>
                    <a:cubicBezTo>
                      <a:pt x="371" y="248"/>
                      <a:pt x="371" y="248"/>
                      <a:pt x="371" y="248"/>
                    </a:cubicBezTo>
                    <a:cubicBezTo>
                      <a:pt x="371" y="248"/>
                      <a:pt x="371" y="248"/>
                      <a:pt x="371" y="248"/>
                    </a:cubicBezTo>
                    <a:cubicBezTo>
                      <a:pt x="371" y="249"/>
                      <a:pt x="371" y="249"/>
                      <a:pt x="371" y="248"/>
                    </a:cubicBezTo>
                    <a:cubicBezTo>
                      <a:pt x="371" y="248"/>
                      <a:pt x="371" y="248"/>
                      <a:pt x="371" y="248"/>
                    </a:cubicBezTo>
                    <a:cubicBezTo>
                      <a:pt x="371" y="248"/>
                      <a:pt x="371" y="248"/>
                      <a:pt x="371" y="248"/>
                    </a:cubicBezTo>
                    <a:cubicBezTo>
                      <a:pt x="371" y="248"/>
                      <a:pt x="371" y="248"/>
                      <a:pt x="371" y="248"/>
                    </a:cubicBezTo>
                    <a:cubicBezTo>
                      <a:pt x="372" y="247"/>
                      <a:pt x="372" y="247"/>
                      <a:pt x="371" y="247"/>
                    </a:cubicBezTo>
                    <a:cubicBezTo>
                      <a:pt x="371" y="246"/>
                      <a:pt x="371" y="246"/>
                      <a:pt x="371" y="246"/>
                    </a:cubicBezTo>
                    <a:cubicBezTo>
                      <a:pt x="371" y="246"/>
                      <a:pt x="371" y="246"/>
                      <a:pt x="371" y="247"/>
                    </a:cubicBezTo>
                    <a:cubicBezTo>
                      <a:pt x="371" y="247"/>
                      <a:pt x="371" y="247"/>
                      <a:pt x="370" y="247"/>
                    </a:cubicBezTo>
                    <a:cubicBezTo>
                      <a:pt x="370" y="247"/>
                      <a:pt x="370" y="247"/>
                      <a:pt x="370" y="247"/>
                    </a:cubicBezTo>
                    <a:cubicBezTo>
                      <a:pt x="370" y="247"/>
                      <a:pt x="370" y="247"/>
                      <a:pt x="370" y="247"/>
                    </a:cubicBezTo>
                    <a:cubicBezTo>
                      <a:pt x="370" y="247"/>
                      <a:pt x="370" y="247"/>
                      <a:pt x="369" y="247"/>
                    </a:cubicBezTo>
                    <a:cubicBezTo>
                      <a:pt x="369" y="247"/>
                      <a:pt x="369" y="247"/>
                      <a:pt x="369" y="248"/>
                    </a:cubicBezTo>
                    <a:cubicBezTo>
                      <a:pt x="369" y="248"/>
                      <a:pt x="369" y="248"/>
                      <a:pt x="369" y="248"/>
                    </a:cubicBezTo>
                    <a:cubicBezTo>
                      <a:pt x="369" y="247"/>
                      <a:pt x="369" y="247"/>
                      <a:pt x="369" y="247"/>
                    </a:cubicBezTo>
                    <a:cubicBezTo>
                      <a:pt x="369" y="247"/>
                      <a:pt x="369" y="247"/>
                      <a:pt x="369" y="247"/>
                    </a:cubicBezTo>
                    <a:cubicBezTo>
                      <a:pt x="369" y="246"/>
                      <a:pt x="370" y="247"/>
                      <a:pt x="370" y="247"/>
                    </a:cubicBezTo>
                    <a:cubicBezTo>
                      <a:pt x="370" y="247"/>
                      <a:pt x="370" y="247"/>
                      <a:pt x="371" y="246"/>
                    </a:cubicBezTo>
                    <a:cubicBezTo>
                      <a:pt x="371" y="246"/>
                      <a:pt x="371" y="246"/>
                      <a:pt x="371" y="246"/>
                    </a:cubicBezTo>
                    <a:cubicBezTo>
                      <a:pt x="370" y="246"/>
                      <a:pt x="370" y="246"/>
                      <a:pt x="370" y="246"/>
                    </a:cubicBezTo>
                    <a:cubicBezTo>
                      <a:pt x="370" y="246"/>
                      <a:pt x="370" y="245"/>
                      <a:pt x="370" y="245"/>
                    </a:cubicBezTo>
                    <a:cubicBezTo>
                      <a:pt x="370" y="245"/>
                      <a:pt x="370" y="245"/>
                      <a:pt x="370" y="245"/>
                    </a:cubicBezTo>
                    <a:cubicBezTo>
                      <a:pt x="370" y="245"/>
                      <a:pt x="369" y="245"/>
                      <a:pt x="369" y="245"/>
                    </a:cubicBezTo>
                    <a:cubicBezTo>
                      <a:pt x="369" y="245"/>
                      <a:pt x="369" y="245"/>
                      <a:pt x="369" y="245"/>
                    </a:cubicBezTo>
                    <a:cubicBezTo>
                      <a:pt x="369" y="245"/>
                      <a:pt x="369" y="246"/>
                      <a:pt x="369" y="246"/>
                    </a:cubicBezTo>
                    <a:cubicBezTo>
                      <a:pt x="369" y="245"/>
                      <a:pt x="369" y="245"/>
                      <a:pt x="369" y="245"/>
                    </a:cubicBezTo>
                    <a:cubicBezTo>
                      <a:pt x="369" y="245"/>
                      <a:pt x="368" y="245"/>
                      <a:pt x="368" y="245"/>
                    </a:cubicBezTo>
                    <a:cubicBezTo>
                      <a:pt x="368" y="244"/>
                      <a:pt x="369" y="245"/>
                      <a:pt x="369" y="244"/>
                    </a:cubicBezTo>
                    <a:cubicBezTo>
                      <a:pt x="369" y="244"/>
                      <a:pt x="369" y="244"/>
                      <a:pt x="369" y="244"/>
                    </a:cubicBezTo>
                    <a:cubicBezTo>
                      <a:pt x="369" y="244"/>
                      <a:pt x="369" y="244"/>
                      <a:pt x="369" y="244"/>
                    </a:cubicBezTo>
                    <a:cubicBezTo>
                      <a:pt x="369" y="244"/>
                      <a:pt x="369" y="244"/>
                      <a:pt x="369" y="244"/>
                    </a:cubicBezTo>
                    <a:cubicBezTo>
                      <a:pt x="369" y="244"/>
                      <a:pt x="369" y="244"/>
                      <a:pt x="368" y="244"/>
                    </a:cubicBezTo>
                    <a:cubicBezTo>
                      <a:pt x="368" y="244"/>
                      <a:pt x="368" y="244"/>
                      <a:pt x="368" y="244"/>
                    </a:cubicBezTo>
                    <a:cubicBezTo>
                      <a:pt x="368" y="244"/>
                      <a:pt x="368" y="244"/>
                      <a:pt x="368" y="244"/>
                    </a:cubicBezTo>
                    <a:cubicBezTo>
                      <a:pt x="367" y="244"/>
                      <a:pt x="367" y="244"/>
                      <a:pt x="367" y="245"/>
                    </a:cubicBezTo>
                    <a:cubicBezTo>
                      <a:pt x="367" y="244"/>
                      <a:pt x="367" y="244"/>
                      <a:pt x="367" y="244"/>
                    </a:cubicBezTo>
                    <a:cubicBezTo>
                      <a:pt x="367" y="244"/>
                      <a:pt x="367" y="244"/>
                      <a:pt x="368" y="244"/>
                    </a:cubicBezTo>
                    <a:cubicBezTo>
                      <a:pt x="368" y="244"/>
                      <a:pt x="368" y="244"/>
                      <a:pt x="368" y="243"/>
                    </a:cubicBezTo>
                    <a:cubicBezTo>
                      <a:pt x="368" y="243"/>
                      <a:pt x="368" y="243"/>
                      <a:pt x="368" y="243"/>
                    </a:cubicBezTo>
                    <a:cubicBezTo>
                      <a:pt x="368" y="243"/>
                      <a:pt x="368" y="243"/>
                      <a:pt x="368" y="243"/>
                    </a:cubicBezTo>
                    <a:cubicBezTo>
                      <a:pt x="368" y="242"/>
                      <a:pt x="368" y="242"/>
                      <a:pt x="368" y="243"/>
                    </a:cubicBezTo>
                    <a:cubicBezTo>
                      <a:pt x="368" y="243"/>
                      <a:pt x="368" y="243"/>
                      <a:pt x="368" y="243"/>
                    </a:cubicBezTo>
                    <a:cubicBezTo>
                      <a:pt x="368" y="243"/>
                      <a:pt x="368" y="243"/>
                      <a:pt x="369" y="243"/>
                    </a:cubicBezTo>
                    <a:cubicBezTo>
                      <a:pt x="369" y="243"/>
                      <a:pt x="370" y="244"/>
                      <a:pt x="370" y="244"/>
                    </a:cubicBezTo>
                    <a:cubicBezTo>
                      <a:pt x="370" y="244"/>
                      <a:pt x="370" y="244"/>
                      <a:pt x="370" y="244"/>
                    </a:cubicBezTo>
                    <a:cubicBezTo>
                      <a:pt x="370" y="244"/>
                      <a:pt x="370" y="244"/>
                      <a:pt x="370" y="244"/>
                    </a:cubicBezTo>
                    <a:cubicBezTo>
                      <a:pt x="370" y="244"/>
                      <a:pt x="370" y="244"/>
                      <a:pt x="370" y="243"/>
                    </a:cubicBezTo>
                    <a:cubicBezTo>
                      <a:pt x="370" y="243"/>
                      <a:pt x="369" y="243"/>
                      <a:pt x="369" y="243"/>
                    </a:cubicBezTo>
                    <a:cubicBezTo>
                      <a:pt x="369" y="242"/>
                      <a:pt x="369" y="242"/>
                      <a:pt x="369" y="242"/>
                    </a:cubicBezTo>
                    <a:cubicBezTo>
                      <a:pt x="369" y="242"/>
                      <a:pt x="369" y="242"/>
                      <a:pt x="369" y="242"/>
                    </a:cubicBezTo>
                    <a:cubicBezTo>
                      <a:pt x="369" y="242"/>
                      <a:pt x="369" y="242"/>
                      <a:pt x="369" y="242"/>
                    </a:cubicBezTo>
                    <a:cubicBezTo>
                      <a:pt x="369" y="242"/>
                      <a:pt x="369" y="242"/>
                      <a:pt x="368" y="242"/>
                    </a:cubicBezTo>
                    <a:cubicBezTo>
                      <a:pt x="369" y="242"/>
                      <a:pt x="368" y="242"/>
                      <a:pt x="368" y="242"/>
                    </a:cubicBezTo>
                    <a:cubicBezTo>
                      <a:pt x="368" y="242"/>
                      <a:pt x="368" y="242"/>
                      <a:pt x="368" y="241"/>
                    </a:cubicBezTo>
                    <a:cubicBezTo>
                      <a:pt x="368" y="241"/>
                      <a:pt x="368" y="241"/>
                      <a:pt x="368" y="241"/>
                    </a:cubicBezTo>
                    <a:cubicBezTo>
                      <a:pt x="368" y="241"/>
                      <a:pt x="368" y="241"/>
                      <a:pt x="368" y="241"/>
                    </a:cubicBezTo>
                    <a:cubicBezTo>
                      <a:pt x="368" y="241"/>
                      <a:pt x="368" y="241"/>
                      <a:pt x="368" y="241"/>
                    </a:cubicBezTo>
                    <a:cubicBezTo>
                      <a:pt x="368" y="240"/>
                      <a:pt x="368" y="240"/>
                      <a:pt x="368" y="240"/>
                    </a:cubicBezTo>
                    <a:cubicBezTo>
                      <a:pt x="368" y="240"/>
                      <a:pt x="368" y="239"/>
                      <a:pt x="367" y="239"/>
                    </a:cubicBezTo>
                    <a:cubicBezTo>
                      <a:pt x="367" y="239"/>
                      <a:pt x="367" y="239"/>
                      <a:pt x="367" y="239"/>
                    </a:cubicBezTo>
                    <a:cubicBezTo>
                      <a:pt x="367" y="239"/>
                      <a:pt x="367" y="239"/>
                      <a:pt x="367" y="239"/>
                    </a:cubicBezTo>
                    <a:cubicBezTo>
                      <a:pt x="367" y="238"/>
                      <a:pt x="367" y="238"/>
                      <a:pt x="367" y="238"/>
                    </a:cubicBezTo>
                    <a:cubicBezTo>
                      <a:pt x="366" y="238"/>
                      <a:pt x="366" y="238"/>
                      <a:pt x="366" y="238"/>
                    </a:cubicBezTo>
                    <a:cubicBezTo>
                      <a:pt x="366" y="238"/>
                      <a:pt x="365" y="237"/>
                      <a:pt x="365" y="237"/>
                    </a:cubicBezTo>
                    <a:cubicBezTo>
                      <a:pt x="365" y="237"/>
                      <a:pt x="365" y="237"/>
                      <a:pt x="364" y="237"/>
                    </a:cubicBezTo>
                    <a:cubicBezTo>
                      <a:pt x="364" y="237"/>
                      <a:pt x="364" y="237"/>
                      <a:pt x="364" y="237"/>
                    </a:cubicBezTo>
                    <a:cubicBezTo>
                      <a:pt x="364" y="237"/>
                      <a:pt x="364" y="237"/>
                      <a:pt x="364" y="236"/>
                    </a:cubicBezTo>
                    <a:cubicBezTo>
                      <a:pt x="364" y="237"/>
                      <a:pt x="364" y="237"/>
                      <a:pt x="364" y="236"/>
                    </a:cubicBezTo>
                    <a:cubicBezTo>
                      <a:pt x="364" y="236"/>
                      <a:pt x="365" y="236"/>
                      <a:pt x="364" y="236"/>
                    </a:cubicBezTo>
                    <a:cubicBezTo>
                      <a:pt x="364" y="236"/>
                      <a:pt x="364" y="235"/>
                      <a:pt x="364" y="235"/>
                    </a:cubicBezTo>
                    <a:cubicBezTo>
                      <a:pt x="364" y="235"/>
                      <a:pt x="364" y="235"/>
                      <a:pt x="364" y="235"/>
                    </a:cubicBezTo>
                    <a:cubicBezTo>
                      <a:pt x="364" y="235"/>
                      <a:pt x="364" y="234"/>
                      <a:pt x="364" y="234"/>
                    </a:cubicBezTo>
                    <a:cubicBezTo>
                      <a:pt x="364" y="234"/>
                      <a:pt x="364" y="234"/>
                      <a:pt x="363" y="234"/>
                    </a:cubicBezTo>
                    <a:cubicBezTo>
                      <a:pt x="363" y="234"/>
                      <a:pt x="363" y="234"/>
                      <a:pt x="363" y="234"/>
                    </a:cubicBezTo>
                    <a:cubicBezTo>
                      <a:pt x="363" y="234"/>
                      <a:pt x="363" y="234"/>
                      <a:pt x="363" y="234"/>
                    </a:cubicBezTo>
                    <a:cubicBezTo>
                      <a:pt x="363" y="234"/>
                      <a:pt x="363" y="234"/>
                      <a:pt x="363" y="234"/>
                    </a:cubicBezTo>
                    <a:cubicBezTo>
                      <a:pt x="363" y="234"/>
                      <a:pt x="363" y="235"/>
                      <a:pt x="363" y="235"/>
                    </a:cubicBezTo>
                    <a:cubicBezTo>
                      <a:pt x="362" y="235"/>
                      <a:pt x="362" y="234"/>
                      <a:pt x="362" y="234"/>
                    </a:cubicBezTo>
                    <a:cubicBezTo>
                      <a:pt x="362" y="234"/>
                      <a:pt x="363" y="234"/>
                      <a:pt x="363" y="234"/>
                    </a:cubicBezTo>
                    <a:cubicBezTo>
                      <a:pt x="363" y="234"/>
                      <a:pt x="363" y="234"/>
                      <a:pt x="362" y="234"/>
                    </a:cubicBezTo>
                    <a:cubicBezTo>
                      <a:pt x="362" y="234"/>
                      <a:pt x="362" y="234"/>
                      <a:pt x="362" y="234"/>
                    </a:cubicBezTo>
                    <a:cubicBezTo>
                      <a:pt x="362" y="234"/>
                      <a:pt x="361" y="234"/>
                      <a:pt x="361" y="234"/>
                    </a:cubicBezTo>
                    <a:cubicBezTo>
                      <a:pt x="361" y="234"/>
                      <a:pt x="361" y="234"/>
                      <a:pt x="361" y="234"/>
                    </a:cubicBezTo>
                    <a:cubicBezTo>
                      <a:pt x="361" y="234"/>
                      <a:pt x="361" y="234"/>
                      <a:pt x="361" y="234"/>
                    </a:cubicBezTo>
                    <a:cubicBezTo>
                      <a:pt x="361" y="234"/>
                      <a:pt x="360" y="234"/>
                      <a:pt x="360" y="234"/>
                    </a:cubicBezTo>
                    <a:cubicBezTo>
                      <a:pt x="360" y="234"/>
                      <a:pt x="360" y="234"/>
                      <a:pt x="360" y="234"/>
                    </a:cubicBezTo>
                    <a:cubicBezTo>
                      <a:pt x="361" y="234"/>
                      <a:pt x="361" y="234"/>
                      <a:pt x="361" y="234"/>
                    </a:cubicBezTo>
                    <a:cubicBezTo>
                      <a:pt x="360" y="235"/>
                      <a:pt x="361" y="235"/>
                      <a:pt x="361" y="235"/>
                    </a:cubicBezTo>
                    <a:cubicBezTo>
                      <a:pt x="361" y="235"/>
                      <a:pt x="361" y="236"/>
                      <a:pt x="361" y="236"/>
                    </a:cubicBezTo>
                    <a:cubicBezTo>
                      <a:pt x="361" y="236"/>
                      <a:pt x="361" y="236"/>
                      <a:pt x="361" y="236"/>
                    </a:cubicBezTo>
                    <a:cubicBezTo>
                      <a:pt x="362" y="236"/>
                      <a:pt x="362" y="236"/>
                      <a:pt x="362" y="236"/>
                    </a:cubicBezTo>
                    <a:cubicBezTo>
                      <a:pt x="362" y="236"/>
                      <a:pt x="362" y="236"/>
                      <a:pt x="362" y="236"/>
                    </a:cubicBezTo>
                    <a:cubicBezTo>
                      <a:pt x="361" y="236"/>
                      <a:pt x="361" y="236"/>
                      <a:pt x="361" y="236"/>
                    </a:cubicBezTo>
                    <a:cubicBezTo>
                      <a:pt x="361" y="236"/>
                      <a:pt x="361" y="236"/>
                      <a:pt x="361" y="236"/>
                    </a:cubicBezTo>
                    <a:cubicBezTo>
                      <a:pt x="361" y="236"/>
                      <a:pt x="361" y="237"/>
                      <a:pt x="361" y="237"/>
                    </a:cubicBezTo>
                    <a:cubicBezTo>
                      <a:pt x="361" y="237"/>
                      <a:pt x="361" y="237"/>
                      <a:pt x="361" y="237"/>
                    </a:cubicBezTo>
                    <a:cubicBezTo>
                      <a:pt x="361" y="237"/>
                      <a:pt x="361" y="237"/>
                      <a:pt x="361" y="237"/>
                    </a:cubicBezTo>
                    <a:cubicBezTo>
                      <a:pt x="361" y="237"/>
                      <a:pt x="361" y="237"/>
                      <a:pt x="361" y="237"/>
                    </a:cubicBezTo>
                    <a:cubicBezTo>
                      <a:pt x="361" y="237"/>
                      <a:pt x="361" y="237"/>
                      <a:pt x="361" y="237"/>
                    </a:cubicBezTo>
                    <a:cubicBezTo>
                      <a:pt x="361" y="237"/>
                      <a:pt x="360" y="237"/>
                      <a:pt x="360" y="237"/>
                    </a:cubicBezTo>
                    <a:cubicBezTo>
                      <a:pt x="360" y="237"/>
                      <a:pt x="360" y="238"/>
                      <a:pt x="360" y="238"/>
                    </a:cubicBezTo>
                    <a:cubicBezTo>
                      <a:pt x="360" y="238"/>
                      <a:pt x="360" y="238"/>
                      <a:pt x="359" y="238"/>
                    </a:cubicBezTo>
                    <a:cubicBezTo>
                      <a:pt x="359" y="239"/>
                      <a:pt x="360" y="239"/>
                      <a:pt x="360" y="239"/>
                    </a:cubicBezTo>
                    <a:cubicBezTo>
                      <a:pt x="360" y="239"/>
                      <a:pt x="360" y="239"/>
                      <a:pt x="360" y="239"/>
                    </a:cubicBezTo>
                    <a:cubicBezTo>
                      <a:pt x="360" y="238"/>
                      <a:pt x="361" y="238"/>
                      <a:pt x="361" y="238"/>
                    </a:cubicBezTo>
                    <a:cubicBezTo>
                      <a:pt x="361" y="238"/>
                      <a:pt x="361" y="238"/>
                      <a:pt x="361" y="238"/>
                    </a:cubicBezTo>
                    <a:cubicBezTo>
                      <a:pt x="361" y="238"/>
                      <a:pt x="361" y="237"/>
                      <a:pt x="362" y="238"/>
                    </a:cubicBezTo>
                    <a:cubicBezTo>
                      <a:pt x="362" y="238"/>
                      <a:pt x="362" y="238"/>
                      <a:pt x="362" y="237"/>
                    </a:cubicBezTo>
                    <a:cubicBezTo>
                      <a:pt x="362" y="237"/>
                      <a:pt x="362" y="238"/>
                      <a:pt x="362" y="238"/>
                    </a:cubicBezTo>
                    <a:cubicBezTo>
                      <a:pt x="362" y="238"/>
                      <a:pt x="362" y="238"/>
                      <a:pt x="362" y="238"/>
                    </a:cubicBezTo>
                    <a:cubicBezTo>
                      <a:pt x="362" y="238"/>
                      <a:pt x="362" y="238"/>
                      <a:pt x="362" y="238"/>
                    </a:cubicBezTo>
                    <a:cubicBezTo>
                      <a:pt x="362" y="238"/>
                      <a:pt x="362" y="238"/>
                      <a:pt x="362" y="238"/>
                    </a:cubicBezTo>
                    <a:cubicBezTo>
                      <a:pt x="362" y="238"/>
                      <a:pt x="361" y="238"/>
                      <a:pt x="362" y="238"/>
                    </a:cubicBezTo>
                    <a:cubicBezTo>
                      <a:pt x="362" y="238"/>
                      <a:pt x="362" y="239"/>
                      <a:pt x="362" y="239"/>
                    </a:cubicBezTo>
                    <a:cubicBezTo>
                      <a:pt x="362" y="239"/>
                      <a:pt x="362" y="239"/>
                      <a:pt x="362" y="239"/>
                    </a:cubicBezTo>
                    <a:cubicBezTo>
                      <a:pt x="362" y="239"/>
                      <a:pt x="362" y="238"/>
                      <a:pt x="362" y="238"/>
                    </a:cubicBezTo>
                    <a:cubicBezTo>
                      <a:pt x="363" y="238"/>
                      <a:pt x="363" y="237"/>
                      <a:pt x="363" y="237"/>
                    </a:cubicBezTo>
                    <a:cubicBezTo>
                      <a:pt x="363" y="237"/>
                      <a:pt x="363" y="237"/>
                      <a:pt x="363" y="237"/>
                    </a:cubicBezTo>
                    <a:cubicBezTo>
                      <a:pt x="363" y="236"/>
                      <a:pt x="363" y="236"/>
                      <a:pt x="362" y="236"/>
                    </a:cubicBezTo>
                    <a:cubicBezTo>
                      <a:pt x="362" y="236"/>
                      <a:pt x="363" y="236"/>
                      <a:pt x="363" y="236"/>
                    </a:cubicBezTo>
                    <a:cubicBezTo>
                      <a:pt x="363" y="236"/>
                      <a:pt x="363" y="236"/>
                      <a:pt x="363" y="236"/>
                    </a:cubicBezTo>
                    <a:cubicBezTo>
                      <a:pt x="363" y="237"/>
                      <a:pt x="363" y="237"/>
                      <a:pt x="363" y="237"/>
                    </a:cubicBezTo>
                    <a:cubicBezTo>
                      <a:pt x="363" y="237"/>
                      <a:pt x="363" y="238"/>
                      <a:pt x="363" y="238"/>
                    </a:cubicBezTo>
                    <a:cubicBezTo>
                      <a:pt x="363" y="238"/>
                      <a:pt x="363" y="239"/>
                      <a:pt x="363" y="239"/>
                    </a:cubicBezTo>
                    <a:cubicBezTo>
                      <a:pt x="363" y="239"/>
                      <a:pt x="363" y="239"/>
                      <a:pt x="363" y="239"/>
                    </a:cubicBezTo>
                    <a:cubicBezTo>
                      <a:pt x="364" y="239"/>
                      <a:pt x="364" y="239"/>
                      <a:pt x="364" y="239"/>
                    </a:cubicBezTo>
                    <a:cubicBezTo>
                      <a:pt x="364" y="239"/>
                      <a:pt x="364" y="239"/>
                      <a:pt x="364" y="239"/>
                    </a:cubicBezTo>
                    <a:cubicBezTo>
                      <a:pt x="364" y="239"/>
                      <a:pt x="364" y="239"/>
                      <a:pt x="364" y="239"/>
                    </a:cubicBezTo>
                    <a:cubicBezTo>
                      <a:pt x="364" y="239"/>
                      <a:pt x="364" y="239"/>
                      <a:pt x="364" y="240"/>
                    </a:cubicBezTo>
                    <a:cubicBezTo>
                      <a:pt x="364" y="240"/>
                      <a:pt x="364" y="240"/>
                      <a:pt x="363" y="240"/>
                    </a:cubicBezTo>
                    <a:cubicBezTo>
                      <a:pt x="363" y="240"/>
                      <a:pt x="363" y="240"/>
                      <a:pt x="363" y="240"/>
                    </a:cubicBezTo>
                    <a:cubicBezTo>
                      <a:pt x="363" y="241"/>
                      <a:pt x="363" y="241"/>
                      <a:pt x="363" y="241"/>
                    </a:cubicBezTo>
                    <a:cubicBezTo>
                      <a:pt x="363" y="241"/>
                      <a:pt x="363" y="241"/>
                      <a:pt x="362" y="241"/>
                    </a:cubicBezTo>
                    <a:cubicBezTo>
                      <a:pt x="362" y="241"/>
                      <a:pt x="362" y="241"/>
                      <a:pt x="362" y="241"/>
                    </a:cubicBezTo>
                    <a:cubicBezTo>
                      <a:pt x="362" y="242"/>
                      <a:pt x="362" y="242"/>
                      <a:pt x="363" y="243"/>
                    </a:cubicBezTo>
                    <a:cubicBezTo>
                      <a:pt x="363" y="243"/>
                      <a:pt x="363" y="243"/>
                      <a:pt x="363" y="243"/>
                    </a:cubicBezTo>
                    <a:cubicBezTo>
                      <a:pt x="363" y="243"/>
                      <a:pt x="364" y="243"/>
                      <a:pt x="364" y="242"/>
                    </a:cubicBezTo>
                    <a:cubicBezTo>
                      <a:pt x="364" y="242"/>
                      <a:pt x="364" y="242"/>
                      <a:pt x="364" y="242"/>
                    </a:cubicBezTo>
                    <a:cubicBezTo>
                      <a:pt x="364" y="242"/>
                      <a:pt x="364" y="242"/>
                      <a:pt x="364" y="242"/>
                    </a:cubicBezTo>
                    <a:cubicBezTo>
                      <a:pt x="364" y="242"/>
                      <a:pt x="364" y="242"/>
                      <a:pt x="364" y="242"/>
                    </a:cubicBezTo>
                    <a:cubicBezTo>
                      <a:pt x="364" y="243"/>
                      <a:pt x="364" y="243"/>
                      <a:pt x="364" y="243"/>
                    </a:cubicBezTo>
                    <a:cubicBezTo>
                      <a:pt x="364" y="243"/>
                      <a:pt x="364" y="244"/>
                      <a:pt x="364" y="244"/>
                    </a:cubicBezTo>
                    <a:cubicBezTo>
                      <a:pt x="364" y="244"/>
                      <a:pt x="364" y="244"/>
                      <a:pt x="364" y="244"/>
                    </a:cubicBezTo>
                    <a:cubicBezTo>
                      <a:pt x="365" y="244"/>
                      <a:pt x="365" y="244"/>
                      <a:pt x="365" y="244"/>
                    </a:cubicBezTo>
                    <a:cubicBezTo>
                      <a:pt x="365" y="244"/>
                      <a:pt x="364" y="244"/>
                      <a:pt x="364" y="245"/>
                    </a:cubicBezTo>
                    <a:cubicBezTo>
                      <a:pt x="364" y="245"/>
                      <a:pt x="365" y="245"/>
                      <a:pt x="365" y="245"/>
                    </a:cubicBezTo>
                    <a:cubicBezTo>
                      <a:pt x="365" y="245"/>
                      <a:pt x="365" y="245"/>
                      <a:pt x="365" y="245"/>
                    </a:cubicBezTo>
                    <a:cubicBezTo>
                      <a:pt x="365" y="245"/>
                      <a:pt x="365" y="245"/>
                      <a:pt x="365" y="245"/>
                    </a:cubicBezTo>
                    <a:cubicBezTo>
                      <a:pt x="365" y="245"/>
                      <a:pt x="365" y="246"/>
                      <a:pt x="364" y="245"/>
                    </a:cubicBezTo>
                    <a:cubicBezTo>
                      <a:pt x="364" y="245"/>
                      <a:pt x="364" y="245"/>
                      <a:pt x="364" y="245"/>
                    </a:cubicBezTo>
                    <a:cubicBezTo>
                      <a:pt x="364" y="245"/>
                      <a:pt x="364" y="245"/>
                      <a:pt x="364" y="245"/>
                    </a:cubicBezTo>
                    <a:cubicBezTo>
                      <a:pt x="363" y="245"/>
                      <a:pt x="363" y="245"/>
                      <a:pt x="363" y="245"/>
                    </a:cubicBezTo>
                    <a:cubicBezTo>
                      <a:pt x="363" y="246"/>
                      <a:pt x="363" y="246"/>
                      <a:pt x="363" y="246"/>
                    </a:cubicBezTo>
                    <a:cubicBezTo>
                      <a:pt x="364" y="246"/>
                      <a:pt x="364" y="246"/>
                      <a:pt x="365" y="246"/>
                    </a:cubicBezTo>
                    <a:cubicBezTo>
                      <a:pt x="365" y="246"/>
                      <a:pt x="365" y="246"/>
                      <a:pt x="365" y="246"/>
                    </a:cubicBezTo>
                    <a:cubicBezTo>
                      <a:pt x="365" y="246"/>
                      <a:pt x="365" y="246"/>
                      <a:pt x="365" y="247"/>
                    </a:cubicBezTo>
                    <a:cubicBezTo>
                      <a:pt x="365" y="247"/>
                      <a:pt x="365" y="247"/>
                      <a:pt x="365" y="247"/>
                    </a:cubicBezTo>
                    <a:cubicBezTo>
                      <a:pt x="365" y="247"/>
                      <a:pt x="364" y="247"/>
                      <a:pt x="365" y="247"/>
                    </a:cubicBezTo>
                    <a:cubicBezTo>
                      <a:pt x="365" y="247"/>
                      <a:pt x="365" y="247"/>
                      <a:pt x="365" y="247"/>
                    </a:cubicBezTo>
                    <a:cubicBezTo>
                      <a:pt x="365" y="247"/>
                      <a:pt x="365" y="247"/>
                      <a:pt x="365" y="247"/>
                    </a:cubicBezTo>
                    <a:cubicBezTo>
                      <a:pt x="365" y="247"/>
                      <a:pt x="365" y="247"/>
                      <a:pt x="365" y="247"/>
                    </a:cubicBezTo>
                    <a:cubicBezTo>
                      <a:pt x="365" y="247"/>
                      <a:pt x="365" y="247"/>
                      <a:pt x="365" y="247"/>
                    </a:cubicBezTo>
                    <a:cubicBezTo>
                      <a:pt x="365" y="247"/>
                      <a:pt x="366" y="247"/>
                      <a:pt x="366" y="247"/>
                    </a:cubicBezTo>
                    <a:cubicBezTo>
                      <a:pt x="365" y="247"/>
                      <a:pt x="365" y="247"/>
                      <a:pt x="365" y="247"/>
                    </a:cubicBezTo>
                    <a:cubicBezTo>
                      <a:pt x="366" y="247"/>
                      <a:pt x="366" y="247"/>
                      <a:pt x="366" y="246"/>
                    </a:cubicBezTo>
                    <a:cubicBezTo>
                      <a:pt x="366" y="247"/>
                      <a:pt x="366" y="247"/>
                      <a:pt x="366" y="247"/>
                    </a:cubicBezTo>
                    <a:cubicBezTo>
                      <a:pt x="366" y="247"/>
                      <a:pt x="366" y="247"/>
                      <a:pt x="366" y="247"/>
                    </a:cubicBezTo>
                    <a:cubicBezTo>
                      <a:pt x="366" y="247"/>
                      <a:pt x="366" y="248"/>
                      <a:pt x="367" y="248"/>
                    </a:cubicBezTo>
                    <a:cubicBezTo>
                      <a:pt x="367" y="248"/>
                      <a:pt x="367" y="248"/>
                      <a:pt x="367" y="248"/>
                    </a:cubicBezTo>
                    <a:cubicBezTo>
                      <a:pt x="367" y="248"/>
                      <a:pt x="367" y="247"/>
                      <a:pt x="367" y="247"/>
                    </a:cubicBezTo>
                    <a:cubicBezTo>
                      <a:pt x="367" y="247"/>
                      <a:pt x="367" y="247"/>
                      <a:pt x="367" y="247"/>
                    </a:cubicBezTo>
                    <a:cubicBezTo>
                      <a:pt x="367" y="247"/>
                      <a:pt x="367" y="246"/>
                      <a:pt x="367" y="246"/>
                    </a:cubicBezTo>
                    <a:cubicBezTo>
                      <a:pt x="367" y="247"/>
                      <a:pt x="367" y="247"/>
                      <a:pt x="367" y="247"/>
                    </a:cubicBezTo>
                    <a:cubicBezTo>
                      <a:pt x="368" y="247"/>
                      <a:pt x="368" y="248"/>
                      <a:pt x="367" y="248"/>
                    </a:cubicBezTo>
                    <a:cubicBezTo>
                      <a:pt x="367" y="248"/>
                      <a:pt x="367" y="248"/>
                      <a:pt x="367" y="249"/>
                    </a:cubicBezTo>
                    <a:cubicBezTo>
                      <a:pt x="367" y="248"/>
                      <a:pt x="367" y="248"/>
                      <a:pt x="368" y="248"/>
                    </a:cubicBezTo>
                    <a:cubicBezTo>
                      <a:pt x="368" y="248"/>
                      <a:pt x="368" y="248"/>
                      <a:pt x="368" y="249"/>
                    </a:cubicBezTo>
                    <a:cubicBezTo>
                      <a:pt x="368" y="249"/>
                      <a:pt x="368" y="249"/>
                      <a:pt x="368" y="249"/>
                    </a:cubicBezTo>
                    <a:cubicBezTo>
                      <a:pt x="368" y="249"/>
                      <a:pt x="368" y="249"/>
                      <a:pt x="368" y="249"/>
                    </a:cubicBezTo>
                    <a:cubicBezTo>
                      <a:pt x="368" y="249"/>
                      <a:pt x="368" y="249"/>
                      <a:pt x="368" y="249"/>
                    </a:cubicBezTo>
                    <a:cubicBezTo>
                      <a:pt x="368" y="249"/>
                      <a:pt x="368" y="249"/>
                      <a:pt x="367" y="249"/>
                    </a:cubicBezTo>
                    <a:cubicBezTo>
                      <a:pt x="368" y="249"/>
                      <a:pt x="368" y="250"/>
                      <a:pt x="368" y="250"/>
                    </a:cubicBezTo>
                    <a:cubicBezTo>
                      <a:pt x="368" y="250"/>
                      <a:pt x="368" y="250"/>
                      <a:pt x="368" y="250"/>
                    </a:cubicBezTo>
                    <a:cubicBezTo>
                      <a:pt x="368" y="250"/>
                      <a:pt x="367" y="250"/>
                      <a:pt x="368" y="250"/>
                    </a:cubicBezTo>
                    <a:cubicBezTo>
                      <a:pt x="368" y="250"/>
                      <a:pt x="368" y="250"/>
                      <a:pt x="368" y="250"/>
                    </a:cubicBezTo>
                    <a:cubicBezTo>
                      <a:pt x="368" y="250"/>
                      <a:pt x="368" y="250"/>
                      <a:pt x="368" y="250"/>
                    </a:cubicBezTo>
                    <a:cubicBezTo>
                      <a:pt x="368" y="250"/>
                      <a:pt x="368" y="250"/>
                      <a:pt x="368" y="250"/>
                    </a:cubicBezTo>
                    <a:cubicBezTo>
                      <a:pt x="368" y="250"/>
                      <a:pt x="368" y="250"/>
                      <a:pt x="368" y="251"/>
                    </a:cubicBezTo>
                    <a:cubicBezTo>
                      <a:pt x="368" y="251"/>
                      <a:pt x="368" y="251"/>
                      <a:pt x="368" y="251"/>
                    </a:cubicBezTo>
                    <a:cubicBezTo>
                      <a:pt x="368" y="251"/>
                      <a:pt x="369" y="250"/>
                      <a:pt x="369" y="250"/>
                    </a:cubicBezTo>
                    <a:cubicBezTo>
                      <a:pt x="369" y="250"/>
                      <a:pt x="369" y="249"/>
                      <a:pt x="369" y="249"/>
                    </a:cubicBezTo>
                    <a:cubicBezTo>
                      <a:pt x="369" y="249"/>
                      <a:pt x="369" y="249"/>
                      <a:pt x="369" y="249"/>
                    </a:cubicBezTo>
                    <a:cubicBezTo>
                      <a:pt x="369" y="249"/>
                      <a:pt x="369" y="250"/>
                      <a:pt x="369" y="250"/>
                    </a:cubicBezTo>
                    <a:cubicBezTo>
                      <a:pt x="369" y="250"/>
                      <a:pt x="369" y="250"/>
                      <a:pt x="369" y="250"/>
                    </a:cubicBezTo>
                    <a:cubicBezTo>
                      <a:pt x="369" y="250"/>
                      <a:pt x="369" y="250"/>
                      <a:pt x="369" y="250"/>
                    </a:cubicBezTo>
                    <a:cubicBezTo>
                      <a:pt x="369" y="250"/>
                      <a:pt x="369" y="250"/>
                      <a:pt x="369" y="250"/>
                    </a:cubicBezTo>
                    <a:cubicBezTo>
                      <a:pt x="369" y="251"/>
                      <a:pt x="369" y="251"/>
                      <a:pt x="369" y="251"/>
                    </a:cubicBezTo>
                    <a:cubicBezTo>
                      <a:pt x="369" y="251"/>
                      <a:pt x="369" y="252"/>
                      <a:pt x="369" y="252"/>
                    </a:cubicBezTo>
                    <a:cubicBezTo>
                      <a:pt x="369" y="252"/>
                      <a:pt x="369" y="252"/>
                      <a:pt x="369" y="252"/>
                    </a:cubicBezTo>
                    <a:cubicBezTo>
                      <a:pt x="369" y="252"/>
                      <a:pt x="369" y="253"/>
                      <a:pt x="369" y="253"/>
                    </a:cubicBezTo>
                    <a:cubicBezTo>
                      <a:pt x="370" y="253"/>
                      <a:pt x="370" y="253"/>
                      <a:pt x="370" y="252"/>
                    </a:cubicBezTo>
                    <a:cubicBezTo>
                      <a:pt x="370" y="253"/>
                      <a:pt x="370" y="253"/>
                      <a:pt x="370" y="253"/>
                    </a:cubicBezTo>
                    <a:cubicBezTo>
                      <a:pt x="370" y="253"/>
                      <a:pt x="370" y="253"/>
                      <a:pt x="370" y="253"/>
                    </a:cubicBezTo>
                    <a:cubicBezTo>
                      <a:pt x="371" y="253"/>
                      <a:pt x="370" y="253"/>
                      <a:pt x="370" y="253"/>
                    </a:cubicBezTo>
                    <a:cubicBezTo>
                      <a:pt x="371" y="253"/>
                      <a:pt x="371" y="253"/>
                      <a:pt x="371" y="253"/>
                    </a:cubicBezTo>
                    <a:cubicBezTo>
                      <a:pt x="371" y="253"/>
                      <a:pt x="371" y="253"/>
                      <a:pt x="371" y="253"/>
                    </a:cubicBezTo>
                    <a:cubicBezTo>
                      <a:pt x="371" y="253"/>
                      <a:pt x="371" y="253"/>
                      <a:pt x="371" y="252"/>
                    </a:cubicBezTo>
                    <a:cubicBezTo>
                      <a:pt x="371" y="252"/>
                      <a:pt x="371" y="252"/>
                      <a:pt x="371" y="252"/>
                    </a:cubicBezTo>
                    <a:cubicBezTo>
                      <a:pt x="371" y="252"/>
                      <a:pt x="371" y="252"/>
                      <a:pt x="371" y="252"/>
                    </a:cubicBezTo>
                    <a:cubicBezTo>
                      <a:pt x="371" y="252"/>
                      <a:pt x="371" y="252"/>
                      <a:pt x="371" y="252"/>
                    </a:cubicBezTo>
                    <a:cubicBezTo>
                      <a:pt x="371" y="252"/>
                      <a:pt x="371" y="252"/>
                      <a:pt x="372" y="252"/>
                    </a:cubicBezTo>
                    <a:cubicBezTo>
                      <a:pt x="372" y="252"/>
                      <a:pt x="372" y="252"/>
                      <a:pt x="371" y="252"/>
                    </a:cubicBezTo>
                    <a:close/>
                    <a:moveTo>
                      <a:pt x="363" y="245"/>
                    </a:moveTo>
                    <a:cubicBezTo>
                      <a:pt x="363" y="245"/>
                      <a:pt x="363" y="245"/>
                      <a:pt x="363" y="244"/>
                    </a:cubicBezTo>
                    <a:cubicBezTo>
                      <a:pt x="363" y="244"/>
                      <a:pt x="363" y="244"/>
                      <a:pt x="363" y="244"/>
                    </a:cubicBezTo>
                    <a:cubicBezTo>
                      <a:pt x="363" y="244"/>
                      <a:pt x="363" y="244"/>
                      <a:pt x="363" y="245"/>
                    </a:cubicBezTo>
                    <a:cubicBezTo>
                      <a:pt x="363" y="245"/>
                      <a:pt x="363" y="245"/>
                      <a:pt x="363" y="245"/>
                    </a:cubicBezTo>
                    <a:close/>
                    <a:moveTo>
                      <a:pt x="343" y="210"/>
                    </a:moveTo>
                    <a:cubicBezTo>
                      <a:pt x="343" y="210"/>
                      <a:pt x="343" y="210"/>
                      <a:pt x="343" y="210"/>
                    </a:cubicBezTo>
                    <a:cubicBezTo>
                      <a:pt x="343" y="210"/>
                      <a:pt x="343" y="210"/>
                      <a:pt x="343" y="210"/>
                    </a:cubicBezTo>
                    <a:cubicBezTo>
                      <a:pt x="343" y="210"/>
                      <a:pt x="342" y="210"/>
                      <a:pt x="342" y="210"/>
                    </a:cubicBezTo>
                    <a:cubicBezTo>
                      <a:pt x="342" y="210"/>
                      <a:pt x="343" y="210"/>
                      <a:pt x="343" y="210"/>
                    </a:cubicBezTo>
                    <a:close/>
                    <a:moveTo>
                      <a:pt x="365" y="235"/>
                    </a:moveTo>
                    <a:cubicBezTo>
                      <a:pt x="365" y="235"/>
                      <a:pt x="365" y="235"/>
                      <a:pt x="365" y="235"/>
                    </a:cubicBezTo>
                    <a:cubicBezTo>
                      <a:pt x="365" y="235"/>
                      <a:pt x="365" y="235"/>
                      <a:pt x="365" y="235"/>
                    </a:cubicBezTo>
                    <a:cubicBezTo>
                      <a:pt x="365" y="235"/>
                      <a:pt x="365" y="235"/>
                      <a:pt x="365" y="235"/>
                    </a:cubicBezTo>
                    <a:cubicBezTo>
                      <a:pt x="365" y="235"/>
                      <a:pt x="365" y="235"/>
                      <a:pt x="365" y="235"/>
                    </a:cubicBezTo>
                    <a:close/>
                    <a:moveTo>
                      <a:pt x="365" y="236"/>
                    </a:moveTo>
                    <a:cubicBezTo>
                      <a:pt x="365" y="236"/>
                      <a:pt x="365" y="236"/>
                      <a:pt x="366" y="236"/>
                    </a:cubicBezTo>
                    <a:cubicBezTo>
                      <a:pt x="366" y="236"/>
                      <a:pt x="366" y="236"/>
                      <a:pt x="366" y="236"/>
                    </a:cubicBezTo>
                    <a:cubicBezTo>
                      <a:pt x="366" y="236"/>
                      <a:pt x="366" y="236"/>
                      <a:pt x="365" y="236"/>
                    </a:cubicBezTo>
                    <a:cubicBezTo>
                      <a:pt x="365" y="236"/>
                      <a:pt x="365" y="236"/>
                      <a:pt x="365" y="236"/>
                    </a:cubicBezTo>
                    <a:close/>
                    <a:moveTo>
                      <a:pt x="361" y="242"/>
                    </a:moveTo>
                    <a:cubicBezTo>
                      <a:pt x="361" y="242"/>
                      <a:pt x="361" y="242"/>
                      <a:pt x="361" y="242"/>
                    </a:cubicBezTo>
                    <a:cubicBezTo>
                      <a:pt x="361" y="242"/>
                      <a:pt x="361" y="242"/>
                      <a:pt x="361" y="242"/>
                    </a:cubicBezTo>
                    <a:cubicBezTo>
                      <a:pt x="361" y="242"/>
                      <a:pt x="361" y="242"/>
                      <a:pt x="361" y="242"/>
                    </a:cubicBezTo>
                    <a:cubicBezTo>
                      <a:pt x="361" y="242"/>
                      <a:pt x="361" y="242"/>
                      <a:pt x="361" y="242"/>
                    </a:cubicBezTo>
                    <a:cubicBezTo>
                      <a:pt x="361" y="242"/>
                      <a:pt x="361" y="242"/>
                      <a:pt x="361" y="242"/>
                    </a:cubicBezTo>
                    <a:close/>
                    <a:moveTo>
                      <a:pt x="360" y="232"/>
                    </a:moveTo>
                    <a:cubicBezTo>
                      <a:pt x="360" y="232"/>
                      <a:pt x="359" y="232"/>
                      <a:pt x="359" y="232"/>
                    </a:cubicBezTo>
                    <a:cubicBezTo>
                      <a:pt x="359" y="232"/>
                      <a:pt x="359" y="232"/>
                      <a:pt x="359" y="232"/>
                    </a:cubicBezTo>
                    <a:cubicBezTo>
                      <a:pt x="360" y="232"/>
                      <a:pt x="360" y="232"/>
                      <a:pt x="360" y="232"/>
                    </a:cubicBezTo>
                    <a:close/>
                    <a:moveTo>
                      <a:pt x="362" y="245"/>
                    </a:moveTo>
                    <a:cubicBezTo>
                      <a:pt x="362" y="245"/>
                      <a:pt x="362" y="245"/>
                      <a:pt x="362" y="245"/>
                    </a:cubicBezTo>
                    <a:cubicBezTo>
                      <a:pt x="362" y="245"/>
                      <a:pt x="362" y="245"/>
                      <a:pt x="362" y="245"/>
                    </a:cubicBezTo>
                    <a:cubicBezTo>
                      <a:pt x="362" y="245"/>
                      <a:pt x="362" y="245"/>
                      <a:pt x="362" y="245"/>
                    </a:cubicBezTo>
                    <a:cubicBezTo>
                      <a:pt x="362" y="245"/>
                      <a:pt x="362" y="245"/>
                      <a:pt x="362" y="245"/>
                    </a:cubicBezTo>
                    <a:cubicBezTo>
                      <a:pt x="362" y="245"/>
                      <a:pt x="362" y="245"/>
                      <a:pt x="362" y="245"/>
                    </a:cubicBezTo>
                    <a:close/>
                    <a:moveTo>
                      <a:pt x="367" y="232"/>
                    </a:moveTo>
                    <a:cubicBezTo>
                      <a:pt x="367" y="232"/>
                      <a:pt x="367" y="232"/>
                      <a:pt x="367" y="232"/>
                    </a:cubicBezTo>
                    <a:cubicBezTo>
                      <a:pt x="367" y="232"/>
                      <a:pt x="368" y="232"/>
                      <a:pt x="368" y="232"/>
                    </a:cubicBezTo>
                    <a:cubicBezTo>
                      <a:pt x="368" y="232"/>
                      <a:pt x="367" y="232"/>
                      <a:pt x="367" y="232"/>
                    </a:cubicBezTo>
                    <a:cubicBezTo>
                      <a:pt x="367" y="232"/>
                      <a:pt x="367" y="232"/>
                      <a:pt x="367" y="232"/>
                    </a:cubicBezTo>
                    <a:close/>
                    <a:moveTo>
                      <a:pt x="368" y="231"/>
                    </a:moveTo>
                    <a:cubicBezTo>
                      <a:pt x="368" y="231"/>
                      <a:pt x="368" y="231"/>
                      <a:pt x="368" y="231"/>
                    </a:cubicBezTo>
                    <a:cubicBezTo>
                      <a:pt x="368" y="231"/>
                      <a:pt x="368" y="231"/>
                      <a:pt x="368" y="231"/>
                    </a:cubicBezTo>
                    <a:cubicBezTo>
                      <a:pt x="368" y="231"/>
                      <a:pt x="368" y="231"/>
                      <a:pt x="368" y="231"/>
                    </a:cubicBezTo>
                    <a:close/>
                    <a:moveTo>
                      <a:pt x="361" y="236"/>
                    </a:moveTo>
                    <a:cubicBezTo>
                      <a:pt x="361" y="236"/>
                      <a:pt x="361" y="236"/>
                      <a:pt x="361" y="236"/>
                    </a:cubicBezTo>
                    <a:cubicBezTo>
                      <a:pt x="361" y="236"/>
                      <a:pt x="361" y="236"/>
                      <a:pt x="361" y="236"/>
                    </a:cubicBezTo>
                    <a:cubicBezTo>
                      <a:pt x="361" y="236"/>
                      <a:pt x="361" y="236"/>
                      <a:pt x="361" y="236"/>
                    </a:cubicBezTo>
                    <a:close/>
                    <a:moveTo>
                      <a:pt x="363" y="239"/>
                    </a:moveTo>
                    <a:cubicBezTo>
                      <a:pt x="363" y="239"/>
                      <a:pt x="363" y="239"/>
                      <a:pt x="363" y="238"/>
                    </a:cubicBezTo>
                    <a:cubicBezTo>
                      <a:pt x="363" y="239"/>
                      <a:pt x="362" y="239"/>
                      <a:pt x="363" y="239"/>
                    </a:cubicBezTo>
                    <a:close/>
                    <a:moveTo>
                      <a:pt x="368" y="232"/>
                    </a:moveTo>
                    <a:cubicBezTo>
                      <a:pt x="368" y="232"/>
                      <a:pt x="368" y="232"/>
                      <a:pt x="367" y="232"/>
                    </a:cubicBezTo>
                    <a:cubicBezTo>
                      <a:pt x="367" y="232"/>
                      <a:pt x="367" y="232"/>
                      <a:pt x="367" y="232"/>
                    </a:cubicBezTo>
                    <a:cubicBezTo>
                      <a:pt x="367" y="232"/>
                      <a:pt x="367" y="232"/>
                      <a:pt x="368" y="232"/>
                    </a:cubicBezTo>
                    <a:cubicBezTo>
                      <a:pt x="368" y="232"/>
                      <a:pt x="368" y="232"/>
                      <a:pt x="368" y="232"/>
                    </a:cubicBezTo>
                    <a:close/>
                    <a:moveTo>
                      <a:pt x="365" y="235"/>
                    </a:moveTo>
                    <a:cubicBezTo>
                      <a:pt x="365" y="235"/>
                      <a:pt x="365" y="235"/>
                      <a:pt x="365" y="235"/>
                    </a:cubicBezTo>
                    <a:cubicBezTo>
                      <a:pt x="365" y="235"/>
                      <a:pt x="365" y="235"/>
                      <a:pt x="365" y="235"/>
                    </a:cubicBezTo>
                    <a:cubicBezTo>
                      <a:pt x="365" y="235"/>
                      <a:pt x="365" y="235"/>
                      <a:pt x="365" y="235"/>
                    </a:cubicBezTo>
                    <a:close/>
                    <a:moveTo>
                      <a:pt x="368" y="232"/>
                    </a:moveTo>
                    <a:cubicBezTo>
                      <a:pt x="368" y="231"/>
                      <a:pt x="368" y="231"/>
                      <a:pt x="368" y="231"/>
                    </a:cubicBezTo>
                    <a:cubicBezTo>
                      <a:pt x="368" y="231"/>
                      <a:pt x="368" y="231"/>
                      <a:pt x="368" y="231"/>
                    </a:cubicBezTo>
                    <a:cubicBezTo>
                      <a:pt x="368" y="231"/>
                      <a:pt x="368" y="231"/>
                      <a:pt x="368" y="232"/>
                    </a:cubicBezTo>
                    <a:close/>
                    <a:moveTo>
                      <a:pt x="365" y="247"/>
                    </a:moveTo>
                    <a:cubicBezTo>
                      <a:pt x="365" y="246"/>
                      <a:pt x="365" y="246"/>
                      <a:pt x="365" y="246"/>
                    </a:cubicBezTo>
                    <a:cubicBezTo>
                      <a:pt x="365" y="246"/>
                      <a:pt x="365" y="246"/>
                      <a:pt x="365" y="247"/>
                    </a:cubicBezTo>
                    <a:cubicBezTo>
                      <a:pt x="365" y="247"/>
                      <a:pt x="365" y="247"/>
                      <a:pt x="365" y="247"/>
                    </a:cubicBezTo>
                    <a:cubicBezTo>
                      <a:pt x="365" y="247"/>
                      <a:pt x="365" y="247"/>
                      <a:pt x="365" y="247"/>
                    </a:cubicBezTo>
                    <a:close/>
                    <a:moveTo>
                      <a:pt x="343" y="217"/>
                    </a:moveTo>
                    <a:cubicBezTo>
                      <a:pt x="343" y="217"/>
                      <a:pt x="343" y="217"/>
                      <a:pt x="343" y="217"/>
                    </a:cubicBezTo>
                    <a:cubicBezTo>
                      <a:pt x="343" y="217"/>
                      <a:pt x="343" y="217"/>
                      <a:pt x="343" y="217"/>
                    </a:cubicBezTo>
                    <a:cubicBezTo>
                      <a:pt x="343" y="217"/>
                      <a:pt x="343" y="217"/>
                      <a:pt x="343" y="217"/>
                    </a:cubicBezTo>
                    <a:cubicBezTo>
                      <a:pt x="343" y="217"/>
                      <a:pt x="343" y="217"/>
                      <a:pt x="343" y="217"/>
                    </a:cubicBezTo>
                    <a:close/>
                    <a:moveTo>
                      <a:pt x="364" y="243"/>
                    </a:moveTo>
                    <a:cubicBezTo>
                      <a:pt x="364" y="243"/>
                      <a:pt x="364" y="243"/>
                      <a:pt x="364" y="243"/>
                    </a:cubicBezTo>
                    <a:cubicBezTo>
                      <a:pt x="364" y="243"/>
                      <a:pt x="364" y="243"/>
                      <a:pt x="364" y="243"/>
                    </a:cubicBezTo>
                    <a:close/>
                    <a:moveTo>
                      <a:pt x="359" y="218"/>
                    </a:moveTo>
                    <a:cubicBezTo>
                      <a:pt x="359" y="218"/>
                      <a:pt x="359" y="218"/>
                      <a:pt x="359" y="218"/>
                    </a:cubicBezTo>
                    <a:cubicBezTo>
                      <a:pt x="359" y="218"/>
                      <a:pt x="359" y="218"/>
                      <a:pt x="359" y="218"/>
                    </a:cubicBezTo>
                    <a:cubicBezTo>
                      <a:pt x="359" y="218"/>
                      <a:pt x="359" y="218"/>
                      <a:pt x="358" y="217"/>
                    </a:cubicBezTo>
                    <a:cubicBezTo>
                      <a:pt x="358" y="217"/>
                      <a:pt x="358" y="216"/>
                      <a:pt x="358" y="216"/>
                    </a:cubicBezTo>
                    <a:cubicBezTo>
                      <a:pt x="358" y="216"/>
                      <a:pt x="358" y="216"/>
                      <a:pt x="358" y="215"/>
                    </a:cubicBezTo>
                    <a:cubicBezTo>
                      <a:pt x="357" y="215"/>
                      <a:pt x="357" y="215"/>
                      <a:pt x="357" y="214"/>
                    </a:cubicBezTo>
                    <a:cubicBezTo>
                      <a:pt x="357" y="214"/>
                      <a:pt x="357" y="214"/>
                      <a:pt x="357" y="214"/>
                    </a:cubicBezTo>
                    <a:cubicBezTo>
                      <a:pt x="357" y="213"/>
                      <a:pt x="357" y="213"/>
                      <a:pt x="357" y="213"/>
                    </a:cubicBezTo>
                    <a:cubicBezTo>
                      <a:pt x="357" y="213"/>
                      <a:pt x="357" y="213"/>
                      <a:pt x="356" y="212"/>
                    </a:cubicBezTo>
                    <a:cubicBezTo>
                      <a:pt x="356" y="213"/>
                      <a:pt x="357" y="213"/>
                      <a:pt x="356" y="213"/>
                    </a:cubicBezTo>
                    <a:cubicBezTo>
                      <a:pt x="356" y="213"/>
                      <a:pt x="356" y="213"/>
                      <a:pt x="356" y="213"/>
                    </a:cubicBezTo>
                    <a:cubicBezTo>
                      <a:pt x="357" y="213"/>
                      <a:pt x="357" y="214"/>
                      <a:pt x="357" y="214"/>
                    </a:cubicBezTo>
                    <a:cubicBezTo>
                      <a:pt x="356" y="214"/>
                      <a:pt x="356" y="214"/>
                      <a:pt x="356" y="214"/>
                    </a:cubicBezTo>
                    <a:cubicBezTo>
                      <a:pt x="356" y="214"/>
                      <a:pt x="356" y="214"/>
                      <a:pt x="356" y="214"/>
                    </a:cubicBezTo>
                    <a:cubicBezTo>
                      <a:pt x="356" y="214"/>
                      <a:pt x="356" y="214"/>
                      <a:pt x="356" y="214"/>
                    </a:cubicBezTo>
                    <a:cubicBezTo>
                      <a:pt x="356" y="214"/>
                      <a:pt x="356" y="215"/>
                      <a:pt x="356" y="215"/>
                    </a:cubicBezTo>
                    <a:cubicBezTo>
                      <a:pt x="356" y="215"/>
                      <a:pt x="356" y="215"/>
                      <a:pt x="356" y="215"/>
                    </a:cubicBezTo>
                    <a:cubicBezTo>
                      <a:pt x="356" y="215"/>
                      <a:pt x="356" y="215"/>
                      <a:pt x="356" y="215"/>
                    </a:cubicBezTo>
                    <a:cubicBezTo>
                      <a:pt x="357" y="215"/>
                      <a:pt x="357" y="215"/>
                      <a:pt x="357" y="215"/>
                    </a:cubicBezTo>
                    <a:cubicBezTo>
                      <a:pt x="357" y="216"/>
                      <a:pt x="357" y="216"/>
                      <a:pt x="358" y="217"/>
                    </a:cubicBezTo>
                    <a:cubicBezTo>
                      <a:pt x="358" y="217"/>
                      <a:pt x="358" y="217"/>
                      <a:pt x="358" y="218"/>
                    </a:cubicBezTo>
                    <a:cubicBezTo>
                      <a:pt x="358" y="218"/>
                      <a:pt x="358" y="218"/>
                      <a:pt x="358" y="218"/>
                    </a:cubicBezTo>
                    <a:cubicBezTo>
                      <a:pt x="359" y="218"/>
                      <a:pt x="359" y="218"/>
                      <a:pt x="359" y="218"/>
                    </a:cubicBezTo>
                    <a:cubicBezTo>
                      <a:pt x="358" y="219"/>
                      <a:pt x="359" y="219"/>
                      <a:pt x="359" y="219"/>
                    </a:cubicBezTo>
                    <a:cubicBezTo>
                      <a:pt x="359" y="219"/>
                      <a:pt x="359" y="220"/>
                      <a:pt x="359" y="220"/>
                    </a:cubicBezTo>
                    <a:cubicBezTo>
                      <a:pt x="359" y="220"/>
                      <a:pt x="359" y="219"/>
                      <a:pt x="359" y="220"/>
                    </a:cubicBezTo>
                    <a:cubicBezTo>
                      <a:pt x="358" y="220"/>
                      <a:pt x="358" y="220"/>
                      <a:pt x="358" y="220"/>
                    </a:cubicBezTo>
                    <a:cubicBezTo>
                      <a:pt x="358" y="219"/>
                      <a:pt x="358" y="220"/>
                      <a:pt x="358" y="220"/>
                    </a:cubicBezTo>
                    <a:cubicBezTo>
                      <a:pt x="358" y="220"/>
                      <a:pt x="358" y="220"/>
                      <a:pt x="358" y="220"/>
                    </a:cubicBezTo>
                    <a:cubicBezTo>
                      <a:pt x="358" y="220"/>
                      <a:pt x="358" y="220"/>
                      <a:pt x="358" y="220"/>
                    </a:cubicBezTo>
                    <a:cubicBezTo>
                      <a:pt x="358" y="220"/>
                      <a:pt x="358" y="220"/>
                      <a:pt x="358" y="220"/>
                    </a:cubicBezTo>
                    <a:cubicBezTo>
                      <a:pt x="358" y="220"/>
                      <a:pt x="358" y="220"/>
                      <a:pt x="359" y="220"/>
                    </a:cubicBezTo>
                    <a:cubicBezTo>
                      <a:pt x="359" y="220"/>
                      <a:pt x="359" y="220"/>
                      <a:pt x="359" y="221"/>
                    </a:cubicBezTo>
                    <a:cubicBezTo>
                      <a:pt x="359" y="221"/>
                      <a:pt x="359" y="221"/>
                      <a:pt x="359" y="221"/>
                    </a:cubicBezTo>
                    <a:cubicBezTo>
                      <a:pt x="359" y="221"/>
                      <a:pt x="359" y="221"/>
                      <a:pt x="358" y="222"/>
                    </a:cubicBezTo>
                    <a:cubicBezTo>
                      <a:pt x="358" y="222"/>
                      <a:pt x="358" y="222"/>
                      <a:pt x="358" y="222"/>
                    </a:cubicBezTo>
                    <a:cubicBezTo>
                      <a:pt x="358" y="221"/>
                      <a:pt x="358" y="221"/>
                      <a:pt x="358" y="221"/>
                    </a:cubicBezTo>
                    <a:cubicBezTo>
                      <a:pt x="358" y="221"/>
                      <a:pt x="358" y="221"/>
                      <a:pt x="358" y="221"/>
                    </a:cubicBezTo>
                    <a:cubicBezTo>
                      <a:pt x="358" y="221"/>
                      <a:pt x="357" y="221"/>
                      <a:pt x="357" y="221"/>
                    </a:cubicBezTo>
                    <a:cubicBezTo>
                      <a:pt x="357" y="221"/>
                      <a:pt x="357" y="221"/>
                      <a:pt x="357" y="221"/>
                    </a:cubicBezTo>
                    <a:cubicBezTo>
                      <a:pt x="357" y="221"/>
                      <a:pt x="357" y="221"/>
                      <a:pt x="357" y="221"/>
                    </a:cubicBezTo>
                    <a:cubicBezTo>
                      <a:pt x="357" y="221"/>
                      <a:pt x="357" y="221"/>
                      <a:pt x="357" y="221"/>
                    </a:cubicBezTo>
                    <a:cubicBezTo>
                      <a:pt x="357" y="221"/>
                      <a:pt x="357" y="222"/>
                      <a:pt x="357" y="222"/>
                    </a:cubicBezTo>
                    <a:cubicBezTo>
                      <a:pt x="358" y="222"/>
                      <a:pt x="358" y="222"/>
                      <a:pt x="358" y="222"/>
                    </a:cubicBezTo>
                    <a:cubicBezTo>
                      <a:pt x="357" y="222"/>
                      <a:pt x="357" y="222"/>
                      <a:pt x="357" y="222"/>
                    </a:cubicBezTo>
                    <a:cubicBezTo>
                      <a:pt x="357" y="222"/>
                      <a:pt x="357" y="222"/>
                      <a:pt x="357" y="222"/>
                    </a:cubicBezTo>
                    <a:cubicBezTo>
                      <a:pt x="357" y="223"/>
                      <a:pt x="357" y="223"/>
                      <a:pt x="357" y="223"/>
                    </a:cubicBezTo>
                    <a:cubicBezTo>
                      <a:pt x="357" y="223"/>
                      <a:pt x="357" y="223"/>
                      <a:pt x="357" y="223"/>
                    </a:cubicBezTo>
                    <a:cubicBezTo>
                      <a:pt x="357" y="223"/>
                      <a:pt x="357" y="223"/>
                      <a:pt x="356" y="223"/>
                    </a:cubicBezTo>
                    <a:cubicBezTo>
                      <a:pt x="356" y="223"/>
                      <a:pt x="356" y="223"/>
                      <a:pt x="356" y="223"/>
                    </a:cubicBezTo>
                    <a:cubicBezTo>
                      <a:pt x="356" y="223"/>
                      <a:pt x="356" y="223"/>
                      <a:pt x="356" y="223"/>
                    </a:cubicBezTo>
                    <a:cubicBezTo>
                      <a:pt x="356" y="223"/>
                      <a:pt x="356" y="223"/>
                      <a:pt x="356" y="224"/>
                    </a:cubicBezTo>
                    <a:cubicBezTo>
                      <a:pt x="356" y="224"/>
                      <a:pt x="356" y="224"/>
                      <a:pt x="356" y="224"/>
                    </a:cubicBezTo>
                    <a:cubicBezTo>
                      <a:pt x="356" y="224"/>
                      <a:pt x="356" y="224"/>
                      <a:pt x="356" y="224"/>
                    </a:cubicBezTo>
                    <a:cubicBezTo>
                      <a:pt x="356" y="224"/>
                      <a:pt x="356" y="224"/>
                      <a:pt x="356" y="224"/>
                    </a:cubicBezTo>
                    <a:cubicBezTo>
                      <a:pt x="356" y="224"/>
                      <a:pt x="356" y="224"/>
                      <a:pt x="356" y="224"/>
                    </a:cubicBezTo>
                    <a:cubicBezTo>
                      <a:pt x="355" y="225"/>
                      <a:pt x="355" y="225"/>
                      <a:pt x="355" y="225"/>
                    </a:cubicBezTo>
                    <a:cubicBezTo>
                      <a:pt x="355" y="225"/>
                      <a:pt x="355" y="225"/>
                      <a:pt x="355" y="225"/>
                    </a:cubicBezTo>
                    <a:cubicBezTo>
                      <a:pt x="355" y="225"/>
                      <a:pt x="354" y="225"/>
                      <a:pt x="354" y="225"/>
                    </a:cubicBezTo>
                    <a:cubicBezTo>
                      <a:pt x="354" y="225"/>
                      <a:pt x="354" y="224"/>
                      <a:pt x="354" y="224"/>
                    </a:cubicBezTo>
                    <a:cubicBezTo>
                      <a:pt x="354" y="224"/>
                      <a:pt x="354" y="224"/>
                      <a:pt x="354" y="224"/>
                    </a:cubicBezTo>
                    <a:cubicBezTo>
                      <a:pt x="354" y="224"/>
                      <a:pt x="354" y="223"/>
                      <a:pt x="354" y="223"/>
                    </a:cubicBezTo>
                    <a:cubicBezTo>
                      <a:pt x="354" y="223"/>
                      <a:pt x="354" y="223"/>
                      <a:pt x="354" y="223"/>
                    </a:cubicBezTo>
                    <a:cubicBezTo>
                      <a:pt x="354" y="222"/>
                      <a:pt x="354" y="223"/>
                      <a:pt x="354" y="223"/>
                    </a:cubicBezTo>
                    <a:cubicBezTo>
                      <a:pt x="354" y="223"/>
                      <a:pt x="354" y="223"/>
                      <a:pt x="354" y="223"/>
                    </a:cubicBezTo>
                    <a:cubicBezTo>
                      <a:pt x="355" y="223"/>
                      <a:pt x="354" y="223"/>
                      <a:pt x="354" y="222"/>
                    </a:cubicBezTo>
                    <a:cubicBezTo>
                      <a:pt x="354" y="222"/>
                      <a:pt x="354" y="222"/>
                      <a:pt x="355" y="222"/>
                    </a:cubicBezTo>
                    <a:cubicBezTo>
                      <a:pt x="355" y="222"/>
                      <a:pt x="355" y="222"/>
                      <a:pt x="355" y="222"/>
                    </a:cubicBezTo>
                    <a:cubicBezTo>
                      <a:pt x="355" y="222"/>
                      <a:pt x="355" y="222"/>
                      <a:pt x="355" y="221"/>
                    </a:cubicBezTo>
                    <a:cubicBezTo>
                      <a:pt x="355" y="221"/>
                      <a:pt x="355" y="221"/>
                      <a:pt x="355" y="221"/>
                    </a:cubicBezTo>
                    <a:cubicBezTo>
                      <a:pt x="354" y="221"/>
                      <a:pt x="354" y="221"/>
                      <a:pt x="354" y="221"/>
                    </a:cubicBezTo>
                    <a:cubicBezTo>
                      <a:pt x="354" y="221"/>
                      <a:pt x="355" y="221"/>
                      <a:pt x="355" y="221"/>
                    </a:cubicBezTo>
                    <a:cubicBezTo>
                      <a:pt x="355" y="221"/>
                      <a:pt x="355" y="221"/>
                      <a:pt x="356" y="221"/>
                    </a:cubicBezTo>
                    <a:cubicBezTo>
                      <a:pt x="356" y="221"/>
                      <a:pt x="356" y="221"/>
                      <a:pt x="356" y="221"/>
                    </a:cubicBezTo>
                    <a:cubicBezTo>
                      <a:pt x="356" y="221"/>
                      <a:pt x="356" y="221"/>
                      <a:pt x="356" y="221"/>
                    </a:cubicBezTo>
                    <a:cubicBezTo>
                      <a:pt x="356" y="221"/>
                      <a:pt x="356" y="221"/>
                      <a:pt x="356" y="221"/>
                    </a:cubicBezTo>
                    <a:cubicBezTo>
                      <a:pt x="356" y="221"/>
                      <a:pt x="356" y="221"/>
                      <a:pt x="355" y="221"/>
                    </a:cubicBezTo>
                    <a:cubicBezTo>
                      <a:pt x="355" y="221"/>
                      <a:pt x="355" y="221"/>
                      <a:pt x="355" y="221"/>
                    </a:cubicBezTo>
                    <a:cubicBezTo>
                      <a:pt x="355" y="221"/>
                      <a:pt x="355" y="220"/>
                      <a:pt x="355" y="220"/>
                    </a:cubicBezTo>
                    <a:cubicBezTo>
                      <a:pt x="355" y="220"/>
                      <a:pt x="355" y="220"/>
                      <a:pt x="354" y="220"/>
                    </a:cubicBezTo>
                    <a:cubicBezTo>
                      <a:pt x="354" y="220"/>
                      <a:pt x="354" y="220"/>
                      <a:pt x="354" y="220"/>
                    </a:cubicBezTo>
                    <a:cubicBezTo>
                      <a:pt x="354" y="219"/>
                      <a:pt x="354" y="219"/>
                      <a:pt x="354" y="218"/>
                    </a:cubicBezTo>
                    <a:cubicBezTo>
                      <a:pt x="354" y="218"/>
                      <a:pt x="354" y="218"/>
                      <a:pt x="354" y="217"/>
                    </a:cubicBezTo>
                    <a:cubicBezTo>
                      <a:pt x="354" y="217"/>
                      <a:pt x="354" y="217"/>
                      <a:pt x="354" y="217"/>
                    </a:cubicBezTo>
                    <a:cubicBezTo>
                      <a:pt x="353" y="217"/>
                      <a:pt x="354" y="216"/>
                      <a:pt x="354" y="215"/>
                    </a:cubicBezTo>
                    <a:cubicBezTo>
                      <a:pt x="353" y="214"/>
                      <a:pt x="353" y="214"/>
                      <a:pt x="353" y="213"/>
                    </a:cubicBezTo>
                    <a:cubicBezTo>
                      <a:pt x="353" y="213"/>
                      <a:pt x="353" y="213"/>
                      <a:pt x="353" y="212"/>
                    </a:cubicBezTo>
                    <a:cubicBezTo>
                      <a:pt x="353" y="212"/>
                      <a:pt x="353" y="212"/>
                      <a:pt x="353" y="212"/>
                    </a:cubicBezTo>
                    <a:cubicBezTo>
                      <a:pt x="353" y="212"/>
                      <a:pt x="353" y="212"/>
                      <a:pt x="353" y="212"/>
                    </a:cubicBezTo>
                    <a:cubicBezTo>
                      <a:pt x="353" y="212"/>
                      <a:pt x="353" y="212"/>
                      <a:pt x="353" y="212"/>
                    </a:cubicBezTo>
                    <a:cubicBezTo>
                      <a:pt x="353" y="211"/>
                      <a:pt x="353" y="211"/>
                      <a:pt x="352" y="211"/>
                    </a:cubicBezTo>
                    <a:cubicBezTo>
                      <a:pt x="352" y="211"/>
                      <a:pt x="352" y="211"/>
                      <a:pt x="352" y="210"/>
                    </a:cubicBezTo>
                    <a:cubicBezTo>
                      <a:pt x="352" y="210"/>
                      <a:pt x="352" y="210"/>
                      <a:pt x="352" y="210"/>
                    </a:cubicBezTo>
                    <a:cubicBezTo>
                      <a:pt x="352" y="210"/>
                      <a:pt x="352" y="210"/>
                      <a:pt x="352" y="210"/>
                    </a:cubicBezTo>
                    <a:cubicBezTo>
                      <a:pt x="352" y="210"/>
                      <a:pt x="352" y="209"/>
                      <a:pt x="352" y="209"/>
                    </a:cubicBezTo>
                    <a:cubicBezTo>
                      <a:pt x="352" y="209"/>
                      <a:pt x="352" y="209"/>
                      <a:pt x="352" y="209"/>
                    </a:cubicBezTo>
                    <a:cubicBezTo>
                      <a:pt x="352" y="209"/>
                      <a:pt x="352" y="209"/>
                      <a:pt x="352" y="209"/>
                    </a:cubicBezTo>
                    <a:cubicBezTo>
                      <a:pt x="352" y="209"/>
                      <a:pt x="353" y="209"/>
                      <a:pt x="353" y="209"/>
                    </a:cubicBezTo>
                    <a:cubicBezTo>
                      <a:pt x="353" y="209"/>
                      <a:pt x="353" y="210"/>
                      <a:pt x="353" y="210"/>
                    </a:cubicBezTo>
                    <a:cubicBezTo>
                      <a:pt x="353" y="210"/>
                      <a:pt x="354" y="211"/>
                      <a:pt x="354" y="211"/>
                    </a:cubicBezTo>
                    <a:cubicBezTo>
                      <a:pt x="354" y="211"/>
                      <a:pt x="354" y="211"/>
                      <a:pt x="354" y="211"/>
                    </a:cubicBezTo>
                    <a:cubicBezTo>
                      <a:pt x="354" y="211"/>
                      <a:pt x="354" y="211"/>
                      <a:pt x="354" y="211"/>
                    </a:cubicBezTo>
                    <a:cubicBezTo>
                      <a:pt x="354" y="211"/>
                      <a:pt x="355" y="211"/>
                      <a:pt x="355" y="211"/>
                    </a:cubicBezTo>
                    <a:cubicBezTo>
                      <a:pt x="355" y="211"/>
                      <a:pt x="355" y="211"/>
                      <a:pt x="356" y="211"/>
                    </a:cubicBezTo>
                    <a:cubicBezTo>
                      <a:pt x="356" y="212"/>
                      <a:pt x="356" y="212"/>
                      <a:pt x="357" y="211"/>
                    </a:cubicBezTo>
                    <a:cubicBezTo>
                      <a:pt x="357" y="211"/>
                      <a:pt x="357" y="211"/>
                      <a:pt x="357" y="211"/>
                    </a:cubicBezTo>
                    <a:cubicBezTo>
                      <a:pt x="357" y="212"/>
                      <a:pt x="357" y="212"/>
                      <a:pt x="357" y="212"/>
                    </a:cubicBezTo>
                    <a:cubicBezTo>
                      <a:pt x="357" y="212"/>
                      <a:pt x="357" y="212"/>
                      <a:pt x="357" y="212"/>
                    </a:cubicBezTo>
                    <a:cubicBezTo>
                      <a:pt x="357" y="213"/>
                      <a:pt x="358" y="213"/>
                      <a:pt x="358" y="214"/>
                    </a:cubicBezTo>
                    <a:cubicBezTo>
                      <a:pt x="358" y="214"/>
                      <a:pt x="358" y="214"/>
                      <a:pt x="358" y="214"/>
                    </a:cubicBezTo>
                    <a:cubicBezTo>
                      <a:pt x="358" y="214"/>
                      <a:pt x="358" y="214"/>
                      <a:pt x="358" y="215"/>
                    </a:cubicBezTo>
                    <a:cubicBezTo>
                      <a:pt x="358" y="215"/>
                      <a:pt x="358" y="215"/>
                      <a:pt x="359" y="215"/>
                    </a:cubicBezTo>
                    <a:cubicBezTo>
                      <a:pt x="359" y="216"/>
                      <a:pt x="359" y="216"/>
                      <a:pt x="359" y="216"/>
                    </a:cubicBezTo>
                    <a:cubicBezTo>
                      <a:pt x="359" y="216"/>
                      <a:pt x="359" y="216"/>
                      <a:pt x="359" y="216"/>
                    </a:cubicBezTo>
                    <a:cubicBezTo>
                      <a:pt x="359" y="217"/>
                      <a:pt x="359" y="217"/>
                      <a:pt x="359" y="217"/>
                    </a:cubicBezTo>
                    <a:cubicBezTo>
                      <a:pt x="359" y="217"/>
                      <a:pt x="359" y="217"/>
                      <a:pt x="359" y="218"/>
                    </a:cubicBezTo>
                    <a:cubicBezTo>
                      <a:pt x="359" y="218"/>
                      <a:pt x="359" y="218"/>
                      <a:pt x="359" y="218"/>
                    </a:cubicBezTo>
                    <a:close/>
                    <a:moveTo>
                      <a:pt x="357" y="216"/>
                    </a:moveTo>
                    <a:cubicBezTo>
                      <a:pt x="357" y="216"/>
                      <a:pt x="357" y="216"/>
                      <a:pt x="357" y="216"/>
                    </a:cubicBezTo>
                    <a:cubicBezTo>
                      <a:pt x="358" y="216"/>
                      <a:pt x="358" y="216"/>
                      <a:pt x="357" y="216"/>
                    </a:cubicBezTo>
                    <a:cubicBezTo>
                      <a:pt x="357" y="216"/>
                      <a:pt x="357" y="215"/>
                      <a:pt x="357" y="215"/>
                    </a:cubicBezTo>
                    <a:cubicBezTo>
                      <a:pt x="357" y="215"/>
                      <a:pt x="357" y="215"/>
                      <a:pt x="357" y="215"/>
                    </a:cubicBezTo>
                    <a:cubicBezTo>
                      <a:pt x="357" y="215"/>
                      <a:pt x="357" y="215"/>
                      <a:pt x="357" y="215"/>
                    </a:cubicBezTo>
                    <a:cubicBezTo>
                      <a:pt x="357" y="216"/>
                      <a:pt x="357" y="216"/>
                      <a:pt x="357" y="216"/>
                    </a:cubicBezTo>
                    <a:close/>
                    <a:moveTo>
                      <a:pt x="357" y="214"/>
                    </a:moveTo>
                    <a:cubicBezTo>
                      <a:pt x="357" y="214"/>
                      <a:pt x="357" y="214"/>
                      <a:pt x="357" y="214"/>
                    </a:cubicBezTo>
                    <a:cubicBezTo>
                      <a:pt x="357" y="214"/>
                      <a:pt x="357" y="214"/>
                      <a:pt x="356" y="214"/>
                    </a:cubicBezTo>
                    <a:cubicBezTo>
                      <a:pt x="356" y="214"/>
                      <a:pt x="356" y="214"/>
                      <a:pt x="357" y="214"/>
                    </a:cubicBezTo>
                    <a:cubicBezTo>
                      <a:pt x="357" y="214"/>
                      <a:pt x="357" y="214"/>
                      <a:pt x="357" y="214"/>
                    </a:cubicBezTo>
                    <a:cubicBezTo>
                      <a:pt x="357" y="214"/>
                      <a:pt x="357" y="214"/>
                      <a:pt x="357" y="214"/>
                    </a:cubicBezTo>
                    <a:close/>
                    <a:moveTo>
                      <a:pt x="357" y="215"/>
                    </a:moveTo>
                    <a:cubicBezTo>
                      <a:pt x="357" y="215"/>
                      <a:pt x="357" y="215"/>
                      <a:pt x="357" y="215"/>
                    </a:cubicBezTo>
                    <a:cubicBezTo>
                      <a:pt x="357" y="215"/>
                      <a:pt x="357" y="215"/>
                      <a:pt x="357" y="215"/>
                    </a:cubicBezTo>
                    <a:cubicBezTo>
                      <a:pt x="357" y="215"/>
                      <a:pt x="357" y="215"/>
                      <a:pt x="357" y="215"/>
                    </a:cubicBezTo>
                    <a:close/>
                    <a:moveTo>
                      <a:pt x="375" y="247"/>
                    </a:moveTo>
                    <a:cubicBezTo>
                      <a:pt x="375" y="247"/>
                      <a:pt x="375" y="247"/>
                      <a:pt x="375" y="247"/>
                    </a:cubicBezTo>
                    <a:cubicBezTo>
                      <a:pt x="375" y="247"/>
                      <a:pt x="374" y="247"/>
                      <a:pt x="374" y="247"/>
                    </a:cubicBezTo>
                    <a:cubicBezTo>
                      <a:pt x="374" y="247"/>
                      <a:pt x="374" y="248"/>
                      <a:pt x="374" y="248"/>
                    </a:cubicBezTo>
                    <a:cubicBezTo>
                      <a:pt x="374" y="248"/>
                      <a:pt x="374" y="248"/>
                      <a:pt x="374" y="248"/>
                    </a:cubicBezTo>
                    <a:cubicBezTo>
                      <a:pt x="374" y="249"/>
                      <a:pt x="374" y="249"/>
                      <a:pt x="374" y="249"/>
                    </a:cubicBezTo>
                    <a:cubicBezTo>
                      <a:pt x="374" y="249"/>
                      <a:pt x="374" y="249"/>
                      <a:pt x="374" y="250"/>
                    </a:cubicBezTo>
                    <a:cubicBezTo>
                      <a:pt x="374" y="250"/>
                      <a:pt x="374" y="250"/>
                      <a:pt x="374" y="250"/>
                    </a:cubicBezTo>
                    <a:cubicBezTo>
                      <a:pt x="374" y="250"/>
                      <a:pt x="374" y="250"/>
                      <a:pt x="374" y="250"/>
                    </a:cubicBezTo>
                    <a:cubicBezTo>
                      <a:pt x="375" y="249"/>
                      <a:pt x="374" y="249"/>
                      <a:pt x="375" y="249"/>
                    </a:cubicBezTo>
                    <a:cubicBezTo>
                      <a:pt x="375" y="249"/>
                      <a:pt x="375" y="249"/>
                      <a:pt x="375" y="249"/>
                    </a:cubicBezTo>
                    <a:cubicBezTo>
                      <a:pt x="375" y="249"/>
                      <a:pt x="375" y="249"/>
                      <a:pt x="376" y="249"/>
                    </a:cubicBezTo>
                    <a:cubicBezTo>
                      <a:pt x="376" y="249"/>
                      <a:pt x="376" y="249"/>
                      <a:pt x="376" y="249"/>
                    </a:cubicBezTo>
                    <a:cubicBezTo>
                      <a:pt x="376" y="249"/>
                      <a:pt x="376" y="249"/>
                      <a:pt x="376" y="249"/>
                    </a:cubicBezTo>
                    <a:cubicBezTo>
                      <a:pt x="376" y="249"/>
                      <a:pt x="376" y="249"/>
                      <a:pt x="376" y="249"/>
                    </a:cubicBezTo>
                    <a:cubicBezTo>
                      <a:pt x="376" y="248"/>
                      <a:pt x="376" y="248"/>
                      <a:pt x="376" y="248"/>
                    </a:cubicBezTo>
                    <a:cubicBezTo>
                      <a:pt x="376" y="248"/>
                      <a:pt x="376" y="248"/>
                      <a:pt x="376" y="248"/>
                    </a:cubicBezTo>
                    <a:cubicBezTo>
                      <a:pt x="376" y="248"/>
                      <a:pt x="375" y="248"/>
                      <a:pt x="375" y="248"/>
                    </a:cubicBezTo>
                    <a:cubicBezTo>
                      <a:pt x="375" y="247"/>
                      <a:pt x="376" y="247"/>
                      <a:pt x="376" y="247"/>
                    </a:cubicBezTo>
                    <a:cubicBezTo>
                      <a:pt x="375" y="247"/>
                      <a:pt x="375" y="247"/>
                      <a:pt x="375" y="247"/>
                    </a:cubicBezTo>
                    <a:cubicBezTo>
                      <a:pt x="375" y="247"/>
                      <a:pt x="375" y="247"/>
                      <a:pt x="375" y="247"/>
                    </a:cubicBezTo>
                    <a:close/>
                    <a:moveTo>
                      <a:pt x="376" y="251"/>
                    </a:moveTo>
                    <a:cubicBezTo>
                      <a:pt x="376" y="251"/>
                      <a:pt x="376" y="251"/>
                      <a:pt x="376" y="251"/>
                    </a:cubicBezTo>
                    <a:cubicBezTo>
                      <a:pt x="376" y="251"/>
                      <a:pt x="376" y="251"/>
                      <a:pt x="376" y="251"/>
                    </a:cubicBezTo>
                    <a:cubicBezTo>
                      <a:pt x="376" y="251"/>
                      <a:pt x="376" y="251"/>
                      <a:pt x="376" y="251"/>
                    </a:cubicBezTo>
                    <a:cubicBezTo>
                      <a:pt x="376" y="251"/>
                      <a:pt x="377" y="251"/>
                      <a:pt x="377" y="251"/>
                    </a:cubicBezTo>
                    <a:cubicBezTo>
                      <a:pt x="377" y="251"/>
                      <a:pt x="377" y="251"/>
                      <a:pt x="377" y="251"/>
                    </a:cubicBezTo>
                    <a:cubicBezTo>
                      <a:pt x="377" y="251"/>
                      <a:pt x="377" y="251"/>
                      <a:pt x="377" y="251"/>
                    </a:cubicBezTo>
                    <a:cubicBezTo>
                      <a:pt x="376" y="251"/>
                      <a:pt x="376" y="251"/>
                      <a:pt x="376" y="250"/>
                    </a:cubicBezTo>
                    <a:cubicBezTo>
                      <a:pt x="376" y="250"/>
                      <a:pt x="377" y="250"/>
                      <a:pt x="377" y="250"/>
                    </a:cubicBezTo>
                    <a:cubicBezTo>
                      <a:pt x="376" y="250"/>
                      <a:pt x="376" y="250"/>
                      <a:pt x="376" y="250"/>
                    </a:cubicBezTo>
                    <a:cubicBezTo>
                      <a:pt x="376" y="250"/>
                      <a:pt x="376" y="250"/>
                      <a:pt x="376" y="250"/>
                    </a:cubicBezTo>
                    <a:cubicBezTo>
                      <a:pt x="376" y="250"/>
                      <a:pt x="376" y="250"/>
                      <a:pt x="376" y="250"/>
                    </a:cubicBezTo>
                    <a:cubicBezTo>
                      <a:pt x="376" y="250"/>
                      <a:pt x="376" y="250"/>
                      <a:pt x="376" y="250"/>
                    </a:cubicBezTo>
                    <a:cubicBezTo>
                      <a:pt x="376" y="250"/>
                      <a:pt x="376" y="250"/>
                      <a:pt x="375" y="250"/>
                    </a:cubicBezTo>
                    <a:cubicBezTo>
                      <a:pt x="375" y="250"/>
                      <a:pt x="375" y="250"/>
                      <a:pt x="375" y="250"/>
                    </a:cubicBezTo>
                    <a:cubicBezTo>
                      <a:pt x="375" y="250"/>
                      <a:pt x="375" y="250"/>
                      <a:pt x="375" y="251"/>
                    </a:cubicBezTo>
                    <a:cubicBezTo>
                      <a:pt x="375" y="251"/>
                      <a:pt x="375" y="251"/>
                      <a:pt x="376" y="251"/>
                    </a:cubicBezTo>
                    <a:close/>
                    <a:moveTo>
                      <a:pt x="805" y="352"/>
                    </a:moveTo>
                    <a:cubicBezTo>
                      <a:pt x="805" y="352"/>
                      <a:pt x="805" y="353"/>
                      <a:pt x="804" y="353"/>
                    </a:cubicBezTo>
                    <a:cubicBezTo>
                      <a:pt x="804" y="353"/>
                      <a:pt x="804" y="353"/>
                      <a:pt x="804" y="353"/>
                    </a:cubicBezTo>
                    <a:cubicBezTo>
                      <a:pt x="804" y="353"/>
                      <a:pt x="804" y="352"/>
                      <a:pt x="804" y="352"/>
                    </a:cubicBezTo>
                    <a:cubicBezTo>
                      <a:pt x="804" y="352"/>
                      <a:pt x="804" y="351"/>
                      <a:pt x="804" y="351"/>
                    </a:cubicBezTo>
                    <a:cubicBezTo>
                      <a:pt x="804" y="351"/>
                      <a:pt x="804" y="351"/>
                      <a:pt x="804" y="351"/>
                    </a:cubicBezTo>
                    <a:cubicBezTo>
                      <a:pt x="804" y="351"/>
                      <a:pt x="804" y="351"/>
                      <a:pt x="804" y="351"/>
                    </a:cubicBezTo>
                    <a:cubicBezTo>
                      <a:pt x="804" y="350"/>
                      <a:pt x="804" y="350"/>
                      <a:pt x="804" y="350"/>
                    </a:cubicBezTo>
                    <a:cubicBezTo>
                      <a:pt x="804" y="350"/>
                      <a:pt x="803" y="350"/>
                      <a:pt x="803" y="350"/>
                    </a:cubicBezTo>
                    <a:cubicBezTo>
                      <a:pt x="803" y="350"/>
                      <a:pt x="804" y="349"/>
                      <a:pt x="804" y="349"/>
                    </a:cubicBezTo>
                    <a:cubicBezTo>
                      <a:pt x="804" y="349"/>
                      <a:pt x="804" y="349"/>
                      <a:pt x="804" y="349"/>
                    </a:cubicBezTo>
                    <a:cubicBezTo>
                      <a:pt x="804" y="349"/>
                      <a:pt x="801" y="348"/>
                      <a:pt x="801" y="348"/>
                    </a:cubicBezTo>
                    <a:cubicBezTo>
                      <a:pt x="801" y="348"/>
                      <a:pt x="801" y="347"/>
                      <a:pt x="801" y="347"/>
                    </a:cubicBezTo>
                    <a:cubicBezTo>
                      <a:pt x="801" y="347"/>
                      <a:pt x="802" y="347"/>
                      <a:pt x="802" y="347"/>
                    </a:cubicBezTo>
                    <a:cubicBezTo>
                      <a:pt x="802" y="347"/>
                      <a:pt x="802" y="346"/>
                      <a:pt x="802" y="346"/>
                    </a:cubicBezTo>
                    <a:cubicBezTo>
                      <a:pt x="802" y="346"/>
                      <a:pt x="801" y="346"/>
                      <a:pt x="801" y="346"/>
                    </a:cubicBezTo>
                    <a:cubicBezTo>
                      <a:pt x="801" y="346"/>
                      <a:pt x="802" y="345"/>
                      <a:pt x="802" y="345"/>
                    </a:cubicBezTo>
                    <a:cubicBezTo>
                      <a:pt x="802" y="334"/>
                      <a:pt x="802" y="334"/>
                      <a:pt x="802" y="334"/>
                    </a:cubicBezTo>
                    <a:cubicBezTo>
                      <a:pt x="799" y="332"/>
                      <a:pt x="799" y="332"/>
                      <a:pt x="799" y="332"/>
                    </a:cubicBezTo>
                    <a:cubicBezTo>
                      <a:pt x="797" y="332"/>
                      <a:pt x="797" y="332"/>
                      <a:pt x="797" y="332"/>
                    </a:cubicBezTo>
                    <a:cubicBezTo>
                      <a:pt x="797" y="332"/>
                      <a:pt x="797" y="332"/>
                      <a:pt x="797" y="332"/>
                    </a:cubicBezTo>
                    <a:cubicBezTo>
                      <a:pt x="796" y="332"/>
                      <a:pt x="796" y="332"/>
                      <a:pt x="796" y="332"/>
                    </a:cubicBezTo>
                    <a:cubicBezTo>
                      <a:pt x="794" y="333"/>
                      <a:pt x="794" y="333"/>
                      <a:pt x="794" y="333"/>
                    </a:cubicBezTo>
                    <a:cubicBezTo>
                      <a:pt x="793" y="332"/>
                      <a:pt x="793" y="332"/>
                      <a:pt x="793" y="332"/>
                    </a:cubicBezTo>
                    <a:cubicBezTo>
                      <a:pt x="793" y="331"/>
                      <a:pt x="793" y="331"/>
                      <a:pt x="793" y="331"/>
                    </a:cubicBezTo>
                    <a:cubicBezTo>
                      <a:pt x="792" y="331"/>
                      <a:pt x="792" y="331"/>
                      <a:pt x="792" y="331"/>
                    </a:cubicBezTo>
                    <a:cubicBezTo>
                      <a:pt x="787" y="338"/>
                      <a:pt x="787" y="338"/>
                      <a:pt x="787" y="338"/>
                    </a:cubicBezTo>
                    <a:cubicBezTo>
                      <a:pt x="787" y="338"/>
                      <a:pt x="786" y="339"/>
                      <a:pt x="786" y="340"/>
                    </a:cubicBezTo>
                    <a:cubicBezTo>
                      <a:pt x="786" y="340"/>
                      <a:pt x="786" y="340"/>
                      <a:pt x="786" y="340"/>
                    </a:cubicBezTo>
                    <a:cubicBezTo>
                      <a:pt x="786" y="341"/>
                      <a:pt x="786" y="341"/>
                      <a:pt x="786" y="341"/>
                    </a:cubicBezTo>
                    <a:cubicBezTo>
                      <a:pt x="785" y="341"/>
                      <a:pt x="785" y="341"/>
                      <a:pt x="785" y="341"/>
                    </a:cubicBezTo>
                    <a:cubicBezTo>
                      <a:pt x="785" y="342"/>
                      <a:pt x="785" y="342"/>
                      <a:pt x="785" y="342"/>
                    </a:cubicBezTo>
                    <a:cubicBezTo>
                      <a:pt x="785" y="342"/>
                      <a:pt x="785" y="343"/>
                      <a:pt x="785" y="343"/>
                    </a:cubicBezTo>
                    <a:cubicBezTo>
                      <a:pt x="785" y="343"/>
                      <a:pt x="785" y="343"/>
                      <a:pt x="785" y="343"/>
                    </a:cubicBezTo>
                    <a:cubicBezTo>
                      <a:pt x="785" y="344"/>
                      <a:pt x="785" y="344"/>
                      <a:pt x="785" y="344"/>
                    </a:cubicBezTo>
                    <a:cubicBezTo>
                      <a:pt x="785" y="344"/>
                      <a:pt x="785" y="344"/>
                      <a:pt x="785" y="344"/>
                    </a:cubicBezTo>
                    <a:cubicBezTo>
                      <a:pt x="785" y="344"/>
                      <a:pt x="785" y="345"/>
                      <a:pt x="785" y="345"/>
                    </a:cubicBezTo>
                    <a:cubicBezTo>
                      <a:pt x="785" y="346"/>
                      <a:pt x="785" y="346"/>
                      <a:pt x="785" y="346"/>
                    </a:cubicBezTo>
                    <a:cubicBezTo>
                      <a:pt x="784" y="347"/>
                      <a:pt x="784" y="347"/>
                      <a:pt x="784" y="347"/>
                    </a:cubicBezTo>
                    <a:cubicBezTo>
                      <a:pt x="784" y="347"/>
                      <a:pt x="784" y="347"/>
                      <a:pt x="784" y="347"/>
                    </a:cubicBezTo>
                    <a:cubicBezTo>
                      <a:pt x="784" y="347"/>
                      <a:pt x="783" y="348"/>
                      <a:pt x="783" y="348"/>
                    </a:cubicBezTo>
                    <a:cubicBezTo>
                      <a:pt x="783" y="348"/>
                      <a:pt x="782" y="348"/>
                      <a:pt x="782" y="348"/>
                    </a:cubicBezTo>
                    <a:cubicBezTo>
                      <a:pt x="782" y="348"/>
                      <a:pt x="782" y="349"/>
                      <a:pt x="782" y="349"/>
                    </a:cubicBezTo>
                    <a:cubicBezTo>
                      <a:pt x="782" y="349"/>
                      <a:pt x="782" y="350"/>
                      <a:pt x="782" y="350"/>
                    </a:cubicBezTo>
                    <a:cubicBezTo>
                      <a:pt x="782" y="350"/>
                      <a:pt x="782" y="351"/>
                      <a:pt x="782" y="351"/>
                    </a:cubicBezTo>
                    <a:cubicBezTo>
                      <a:pt x="782" y="351"/>
                      <a:pt x="782" y="351"/>
                      <a:pt x="782" y="350"/>
                    </a:cubicBezTo>
                    <a:cubicBezTo>
                      <a:pt x="782" y="350"/>
                      <a:pt x="782" y="350"/>
                      <a:pt x="782" y="350"/>
                    </a:cubicBezTo>
                    <a:cubicBezTo>
                      <a:pt x="782" y="350"/>
                      <a:pt x="781" y="351"/>
                      <a:pt x="781" y="351"/>
                    </a:cubicBezTo>
                    <a:cubicBezTo>
                      <a:pt x="781" y="351"/>
                      <a:pt x="781" y="351"/>
                      <a:pt x="781" y="351"/>
                    </a:cubicBezTo>
                    <a:cubicBezTo>
                      <a:pt x="781" y="351"/>
                      <a:pt x="781" y="352"/>
                      <a:pt x="781" y="352"/>
                    </a:cubicBezTo>
                    <a:cubicBezTo>
                      <a:pt x="780" y="351"/>
                      <a:pt x="780" y="351"/>
                      <a:pt x="780" y="351"/>
                    </a:cubicBezTo>
                    <a:cubicBezTo>
                      <a:pt x="779" y="352"/>
                      <a:pt x="779" y="352"/>
                      <a:pt x="779" y="352"/>
                    </a:cubicBezTo>
                    <a:cubicBezTo>
                      <a:pt x="779" y="352"/>
                      <a:pt x="778" y="351"/>
                      <a:pt x="778" y="351"/>
                    </a:cubicBezTo>
                    <a:cubicBezTo>
                      <a:pt x="778" y="351"/>
                      <a:pt x="777" y="352"/>
                      <a:pt x="777" y="352"/>
                    </a:cubicBezTo>
                    <a:cubicBezTo>
                      <a:pt x="777" y="352"/>
                      <a:pt x="777" y="353"/>
                      <a:pt x="777" y="353"/>
                    </a:cubicBezTo>
                    <a:cubicBezTo>
                      <a:pt x="777" y="353"/>
                      <a:pt x="777" y="353"/>
                      <a:pt x="777" y="353"/>
                    </a:cubicBezTo>
                    <a:cubicBezTo>
                      <a:pt x="777" y="353"/>
                      <a:pt x="777" y="354"/>
                      <a:pt x="777" y="354"/>
                    </a:cubicBezTo>
                    <a:cubicBezTo>
                      <a:pt x="754" y="354"/>
                      <a:pt x="754" y="354"/>
                      <a:pt x="754" y="354"/>
                    </a:cubicBezTo>
                    <a:cubicBezTo>
                      <a:pt x="751" y="356"/>
                      <a:pt x="751" y="356"/>
                      <a:pt x="751" y="356"/>
                    </a:cubicBezTo>
                    <a:cubicBezTo>
                      <a:pt x="747" y="360"/>
                      <a:pt x="747" y="360"/>
                      <a:pt x="747" y="360"/>
                    </a:cubicBezTo>
                    <a:cubicBezTo>
                      <a:pt x="744" y="362"/>
                      <a:pt x="744" y="362"/>
                      <a:pt x="744" y="362"/>
                    </a:cubicBezTo>
                    <a:cubicBezTo>
                      <a:pt x="741" y="367"/>
                      <a:pt x="741" y="367"/>
                      <a:pt x="741" y="367"/>
                    </a:cubicBezTo>
                    <a:cubicBezTo>
                      <a:pt x="728" y="367"/>
                      <a:pt x="728" y="367"/>
                      <a:pt x="728" y="367"/>
                    </a:cubicBezTo>
                    <a:cubicBezTo>
                      <a:pt x="725" y="369"/>
                      <a:pt x="725" y="369"/>
                      <a:pt x="725" y="369"/>
                    </a:cubicBezTo>
                    <a:cubicBezTo>
                      <a:pt x="726" y="370"/>
                      <a:pt x="726" y="370"/>
                      <a:pt x="726" y="370"/>
                    </a:cubicBezTo>
                    <a:cubicBezTo>
                      <a:pt x="726" y="372"/>
                      <a:pt x="726" y="372"/>
                      <a:pt x="726" y="372"/>
                    </a:cubicBezTo>
                    <a:cubicBezTo>
                      <a:pt x="727" y="373"/>
                      <a:pt x="727" y="373"/>
                      <a:pt x="727" y="373"/>
                    </a:cubicBezTo>
                    <a:cubicBezTo>
                      <a:pt x="727" y="374"/>
                      <a:pt x="727" y="374"/>
                      <a:pt x="727" y="374"/>
                    </a:cubicBezTo>
                    <a:cubicBezTo>
                      <a:pt x="719" y="378"/>
                      <a:pt x="719" y="378"/>
                      <a:pt x="719" y="378"/>
                    </a:cubicBezTo>
                    <a:cubicBezTo>
                      <a:pt x="711" y="380"/>
                      <a:pt x="711" y="380"/>
                      <a:pt x="711" y="380"/>
                    </a:cubicBezTo>
                    <a:cubicBezTo>
                      <a:pt x="704" y="385"/>
                      <a:pt x="704" y="385"/>
                      <a:pt x="704" y="385"/>
                    </a:cubicBezTo>
                    <a:cubicBezTo>
                      <a:pt x="701" y="385"/>
                      <a:pt x="701" y="385"/>
                      <a:pt x="701" y="385"/>
                    </a:cubicBezTo>
                    <a:cubicBezTo>
                      <a:pt x="699" y="383"/>
                      <a:pt x="699" y="383"/>
                      <a:pt x="699" y="383"/>
                    </a:cubicBezTo>
                    <a:cubicBezTo>
                      <a:pt x="699" y="383"/>
                      <a:pt x="699" y="382"/>
                      <a:pt x="699" y="382"/>
                    </a:cubicBezTo>
                    <a:cubicBezTo>
                      <a:pt x="699" y="382"/>
                      <a:pt x="699" y="381"/>
                      <a:pt x="699" y="381"/>
                    </a:cubicBezTo>
                    <a:cubicBezTo>
                      <a:pt x="699" y="381"/>
                      <a:pt x="699" y="380"/>
                      <a:pt x="699" y="380"/>
                    </a:cubicBezTo>
                    <a:cubicBezTo>
                      <a:pt x="699" y="380"/>
                      <a:pt x="699" y="379"/>
                      <a:pt x="699" y="379"/>
                    </a:cubicBezTo>
                    <a:cubicBezTo>
                      <a:pt x="699" y="379"/>
                      <a:pt x="701" y="379"/>
                      <a:pt x="701" y="379"/>
                    </a:cubicBezTo>
                    <a:cubicBezTo>
                      <a:pt x="701" y="379"/>
                      <a:pt x="703" y="376"/>
                      <a:pt x="703" y="376"/>
                    </a:cubicBezTo>
                    <a:cubicBezTo>
                      <a:pt x="703" y="375"/>
                      <a:pt x="703" y="375"/>
                      <a:pt x="703" y="375"/>
                    </a:cubicBezTo>
                    <a:cubicBezTo>
                      <a:pt x="703" y="375"/>
                      <a:pt x="703" y="373"/>
                      <a:pt x="703" y="373"/>
                    </a:cubicBezTo>
                    <a:cubicBezTo>
                      <a:pt x="703" y="373"/>
                      <a:pt x="705" y="368"/>
                      <a:pt x="705" y="368"/>
                    </a:cubicBezTo>
                    <a:cubicBezTo>
                      <a:pt x="703" y="351"/>
                      <a:pt x="703" y="351"/>
                      <a:pt x="703" y="351"/>
                    </a:cubicBezTo>
                    <a:cubicBezTo>
                      <a:pt x="696" y="346"/>
                      <a:pt x="696" y="346"/>
                      <a:pt x="696" y="346"/>
                    </a:cubicBezTo>
                    <a:cubicBezTo>
                      <a:pt x="697" y="345"/>
                      <a:pt x="697" y="345"/>
                      <a:pt x="697" y="345"/>
                    </a:cubicBezTo>
                    <a:cubicBezTo>
                      <a:pt x="696" y="344"/>
                      <a:pt x="696" y="344"/>
                      <a:pt x="696" y="344"/>
                    </a:cubicBezTo>
                    <a:cubicBezTo>
                      <a:pt x="694" y="344"/>
                      <a:pt x="694" y="344"/>
                      <a:pt x="694" y="344"/>
                    </a:cubicBezTo>
                    <a:cubicBezTo>
                      <a:pt x="693" y="344"/>
                      <a:pt x="693" y="344"/>
                      <a:pt x="693" y="344"/>
                    </a:cubicBezTo>
                    <a:cubicBezTo>
                      <a:pt x="692" y="342"/>
                      <a:pt x="692" y="342"/>
                      <a:pt x="692" y="342"/>
                    </a:cubicBezTo>
                    <a:cubicBezTo>
                      <a:pt x="692" y="339"/>
                      <a:pt x="692" y="339"/>
                      <a:pt x="692" y="339"/>
                    </a:cubicBezTo>
                    <a:cubicBezTo>
                      <a:pt x="690" y="340"/>
                      <a:pt x="690" y="340"/>
                      <a:pt x="690" y="340"/>
                    </a:cubicBezTo>
                    <a:cubicBezTo>
                      <a:pt x="689" y="340"/>
                      <a:pt x="689" y="340"/>
                      <a:pt x="689" y="340"/>
                    </a:cubicBezTo>
                    <a:cubicBezTo>
                      <a:pt x="688" y="338"/>
                      <a:pt x="688" y="338"/>
                      <a:pt x="688" y="338"/>
                    </a:cubicBezTo>
                    <a:cubicBezTo>
                      <a:pt x="687" y="336"/>
                      <a:pt x="687" y="336"/>
                      <a:pt x="687" y="336"/>
                    </a:cubicBezTo>
                    <a:cubicBezTo>
                      <a:pt x="663" y="322"/>
                      <a:pt x="663" y="322"/>
                      <a:pt x="663" y="322"/>
                    </a:cubicBezTo>
                    <a:cubicBezTo>
                      <a:pt x="662" y="322"/>
                      <a:pt x="662" y="322"/>
                      <a:pt x="662" y="322"/>
                    </a:cubicBezTo>
                    <a:cubicBezTo>
                      <a:pt x="657" y="325"/>
                      <a:pt x="657" y="325"/>
                      <a:pt x="657" y="325"/>
                    </a:cubicBezTo>
                    <a:cubicBezTo>
                      <a:pt x="655" y="325"/>
                      <a:pt x="655" y="325"/>
                      <a:pt x="655" y="325"/>
                    </a:cubicBezTo>
                    <a:cubicBezTo>
                      <a:pt x="655" y="325"/>
                      <a:pt x="654" y="325"/>
                      <a:pt x="654" y="325"/>
                    </a:cubicBezTo>
                    <a:cubicBezTo>
                      <a:pt x="654" y="325"/>
                      <a:pt x="654" y="325"/>
                      <a:pt x="654" y="325"/>
                    </a:cubicBezTo>
                    <a:cubicBezTo>
                      <a:pt x="653" y="325"/>
                      <a:pt x="653" y="325"/>
                      <a:pt x="653" y="325"/>
                    </a:cubicBezTo>
                    <a:cubicBezTo>
                      <a:pt x="652" y="324"/>
                      <a:pt x="652" y="324"/>
                      <a:pt x="652" y="324"/>
                    </a:cubicBezTo>
                    <a:cubicBezTo>
                      <a:pt x="648" y="324"/>
                      <a:pt x="648" y="324"/>
                      <a:pt x="648" y="324"/>
                    </a:cubicBezTo>
                    <a:cubicBezTo>
                      <a:pt x="647" y="323"/>
                      <a:pt x="647" y="323"/>
                      <a:pt x="647" y="323"/>
                    </a:cubicBezTo>
                    <a:cubicBezTo>
                      <a:pt x="644" y="324"/>
                      <a:pt x="644" y="324"/>
                      <a:pt x="644" y="324"/>
                    </a:cubicBezTo>
                    <a:cubicBezTo>
                      <a:pt x="642" y="324"/>
                      <a:pt x="642" y="324"/>
                      <a:pt x="642" y="324"/>
                    </a:cubicBezTo>
                    <a:cubicBezTo>
                      <a:pt x="642" y="324"/>
                      <a:pt x="642" y="324"/>
                      <a:pt x="642" y="324"/>
                    </a:cubicBezTo>
                    <a:cubicBezTo>
                      <a:pt x="641" y="324"/>
                      <a:pt x="641" y="324"/>
                      <a:pt x="641" y="324"/>
                    </a:cubicBezTo>
                    <a:cubicBezTo>
                      <a:pt x="641" y="323"/>
                      <a:pt x="641" y="323"/>
                      <a:pt x="641" y="323"/>
                    </a:cubicBezTo>
                    <a:cubicBezTo>
                      <a:pt x="640" y="323"/>
                      <a:pt x="640" y="323"/>
                      <a:pt x="640" y="323"/>
                    </a:cubicBezTo>
                    <a:cubicBezTo>
                      <a:pt x="639" y="322"/>
                      <a:pt x="639" y="322"/>
                      <a:pt x="639" y="322"/>
                    </a:cubicBezTo>
                    <a:cubicBezTo>
                      <a:pt x="638" y="322"/>
                      <a:pt x="638" y="322"/>
                      <a:pt x="638" y="322"/>
                    </a:cubicBezTo>
                    <a:cubicBezTo>
                      <a:pt x="637" y="323"/>
                      <a:pt x="637" y="323"/>
                      <a:pt x="637" y="323"/>
                    </a:cubicBezTo>
                    <a:cubicBezTo>
                      <a:pt x="637" y="323"/>
                      <a:pt x="637" y="323"/>
                      <a:pt x="637" y="323"/>
                    </a:cubicBezTo>
                    <a:cubicBezTo>
                      <a:pt x="637" y="321"/>
                      <a:pt x="637" y="321"/>
                      <a:pt x="637" y="321"/>
                    </a:cubicBezTo>
                    <a:cubicBezTo>
                      <a:pt x="636" y="321"/>
                      <a:pt x="636" y="321"/>
                      <a:pt x="636" y="321"/>
                    </a:cubicBezTo>
                    <a:cubicBezTo>
                      <a:pt x="635" y="320"/>
                      <a:pt x="635" y="320"/>
                      <a:pt x="635" y="320"/>
                    </a:cubicBezTo>
                    <a:cubicBezTo>
                      <a:pt x="635" y="319"/>
                      <a:pt x="635" y="319"/>
                      <a:pt x="635" y="319"/>
                    </a:cubicBezTo>
                    <a:cubicBezTo>
                      <a:pt x="634" y="319"/>
                      <a:pt x="634" y="319"/>
                      <a:pt x="634" y="319"/>
                    </a:cubicBezTo>
                    <a:cubicBezTo>
                      <a:pt x="633" y="319"/>
                      <a:pt x="633" y="319"/>
                      <a:pt x="633" y="319"/>
                    </a:cubicBezTo>
                    <a:cubicBezTo>
                      <a:pt x="631" y="319"/>
                      <a:pt x="631" y="319"/>
                      <a:pt x="631" y="319"/>
                    </a:cubicBezTo>
                    <a:cubicBezTo>
                      <a:pt x="630" y="319"/>
                      <a:pt x="630" y="319"/>
                      <a:pt x="630" y="319"/>
                    </a:cubicBezTo>
                    <a:cubicBezTo>
                      <a:pt x="629" y="320"/>
                      <a:pt x="629" y="320"/>
                      <a:pt x="629" y="320"/>
                    </a:cubicBezTo>
                    <a:cubicBezTo>
                      <a:pt x="627" y="320"/>
                      <a:pt x="627" y="320"/>
                      <a:pt x="627" y="320"/>
                    </a:cubicBezTo>
                    <a:cubicBezTo>
                      <a:pt x="627" y="318"/>
                      <a:pt x="627" y="318"/>
                      <a:pt x="627" y="318"/>
                    </a:cubicBezTo>
                    <a:cubicBezTo>
                      <a:pt x="627" y="318"/>
                      <a:pt x="625" y="318"/>
                      <a:pt x="625" y="318"/>
                    </a:cubicBezTo>
                    <a:cubicBezTo>
                      <a:pt x="624" y="318"/>
                      <a:pt x="623" y="318"/>
                      <a:pt x="623" y="318"/>
                    </a:cubicBezTo>
                    <a:cubicBezTo>
                      <a:pt x="621" y="317"/>
                      <a:pt x="621" y="317"/>
                      <a:pt x="621" y="317"/>
                    </a:cubicBezTo>
                    <a:cubicBezTo>
                      <a:pt x="621" y="315"/>
                      <a:pt x="621" y="315"/>
                      <a:pt x="621" y="315"/>
                    </a:cubicBezTo>
                    <a:cubicBezTo>
                      <a:pt x="621" y="313"/>
                      <a:pt x="621" y="313"/>
                      <a:pt x="621" y="313"/>
                    </a:cubicBezTo>
                    <a:cubicBezTo>
                      <a:pt x="620" y="312"/>
                      <a:pt x="620" y="312"/>
                      <a:pt x="620" y="312"/>
                    </a:cubicBezTo>
                    <a:cubicBezTo>
                      <a:pt x="620" y="312"/>
                      <a:pt x="620" y="311"/>
                      <a:pt x="620" y="311"/>
                    </a:cubicBezTo>
                    <a:cubicBezTo>
                      <a:pt x="620" y="311"/>
                      <a:pt x="618" y="311"/>
                      <a:pt x="618" y="311"/>
                    </a:cubicBezTo>
                    <a:cubicBezTo>
                      <a:pt x="618" y="315"/>
                      <a:pt x="618" y="315"/>
                      <a:pt x="618" y="315"/>
                    </a:cubicBezTo>
                    <a:cubicBezTo>
                      <a:pt x="433" y="315"/>
                      <a:pt x="433" y="315"/>
                      <a:pt x="433" y="315"/>
                    </a:cubicBezTo>
                    <a:cubicBezTo>
                      <a:pt x="433" y="315"/>
                      <a:pt x="433" y="315"/>
                      <a:pt x="433" y="315"/>
                    </a:cubicBezTo>
                    <a:cubicBezTo>
                      <a:pt x="433" y="315"/>
                      <a:pt x="433" y="316"/>
                      <a:pt x="433" y="316"/>
                    </a:cubicBezTo>
                    <a:cubicBezTo>
                      <a:pt x="433" y="316"/>
                      <a:pt x="433" y="316"/>
                      <a:pt x="433" y="316"/>
                    </a:cubicBezTo>
                    <a:cubicBezTo>
                      <a:pt x="433" y="316"/>
                      <a:pt x="434" y="317"/>
                      <a:pt x="434" y="317"/>
                    </a:cubicBezTo>
                    <a:cubicBezTo>
                      <a:pt x="434" y="317"/>
                      <a:pt x="434" y="317"/>
                      <a:pt x="435" y="317"/>
                    </a:cubicBezTo>
                    <a:cubicBezTo>
                      <a:pt x="435" y="317"/>
                      <a:pt x="435" y="317"/>
                      <a:pt x="435" y="317"/>
                    </a:cubicBezTo>
                    <a:cubicBezTo>
                      <a:pt x="435" y="318"/>
                      <a:pt x="435" y="318"/>
                      <a:pt x="435" y="318"/>
                    </a:cubicBezTo>
                    <a:cubicBezTo>
                      <a:pt x="435" y="318"/>
                      <a:pt x="435" y="318"/>
                      <a:pt x="435" y="318"/>
                    </a:cubicBezTo>
                    <a:cubicBezTo>
                      <a:pt x="435" y="318"/>
                      <a:pt x="436" y="319"/>
                      <a:pt x="436" y="319"/>
                    </a:cubicBezTo>
                    <a:cubicBezTo>
                      <a:pt x="436" y="319"/>
                      <a:pt x="436" y="319"/>
                      <a:pt x="436" y="319"/>
                    </a:cubicBezTo>
                    <a:cubicBezTo>
                      <a:pt x="436" y="319"/>
                      <a:pt x="435" y="319"/>
                      <a:pt x="435" y="319"/>
                    </a:cubicBezTo>
                    <a:cubicBezTo>
                      <a:pt x="435" y="319"/>
                      <a:pt x="435" y="320"/>
                      <a:pt x="435" y="320"/>
                    </a:cubicBezTo>
                    <a:cubicBezTo>
                      <a:pt x="435" y="320"/>
                      <a:pt x="435" y="320"/>
                      <a:pt x="435" y="320"/>
                    </a:cubicBezTo>
                    <a:cubicBezTo>
                      <a:pt x="435" y="320"/>
                      <a:pt x="435" y="321"/>
                      <a:pt x="435" y="320"/>
                    </a:cubicBezTo>
                    <a:cubicBezTo>
                      <a:pt x="435" y="320"/>
                      <a:pt x="435" y="320"/>
                      <a:pt x="435" y="320"/>
                    </a:cubicBezTo>
                    <a:cubicBezTo>
                      <a:pt x="434" y="320"/>
                      <a:pt x="434" y="320"/>
                      <a:pt x="434" y="320"/>
                    </a:cubicBezTo>
                    <a:cubicBezTo>
                      <a:pt x="434" y="320"/>
                      <a:pt x="434" y="321"/>
                      <a:pt x="434" y="321"/>
                    </a:cubicBezTo>
                    <a:cubicBezTo>
                      <a:pt x="434" y="321"/>
                      <a:pt x="434" y="321"/>
                      <a:pt x="434" y="322"/>
                    </a:cubicBezTo>
                    <a:cubicBezTo>
                      <a:pt x="434" y="322"/>
                      <a:pt x="434" y="322"/>
                      <a:pt x="434" y="322"/>
                    </a:cubicBezTo>
                    <a:cubicBezTo>
                      <a:pt x="433" y="322"/>
                      <a:pt x="433" y="322"/>
                      <a:pt x="433" y="323"/>
                    </a:cubicBezTo>
                    <a:cubicBezTo>
                      <a:pt x="433" y="323"/>
                      <a:pt x="433" y="323"/>
                      <a:pt x="433" y="323"/>
                    </a:cubicBezTo>
                    <a:cubicBezTo>
                      <a:pt x="434" y="323"/>
                      <a:pt x="434" y="323"/>
                      <a:pt x="434" y="324"/>
                    </a:cubicBezTo>
                    <a:cubicBezTo>
                      <a:pt x="434" y="324"/>
                      <a:pt x="434" y="324"/>
                      <a:pt x="434" y="324"/>
                    </a:cubicBezTo>
                    <a:cubicBezTo>
                      <a:pt x="434" y="324"/>
                      <a:pt x="434" y="324"/>
                      <a:pt x="435" y="323"/>
                    </a:cubicBezTo>
                    <a:cubicBezTo>
                      <a:pt x="435" y="323"/>
                      <a:pt x="434" y="323"/>
                      <a:pt x="434" y="322"/>
                    </a:cubicBezTo>
                    <a:cubicBezTo>
                      <a:pt x="434" y="322"/>
                      <a:pt x="435" y="322"/>
                      <a:pt x="435" y="322"/>
                    </a:cubicBezTo>
                    <a:cubicBezTo>
                      <a:pt x="435" y="322"/>
                      <a:pt x="435" y="322"/>
                      <a:pt x="435" y="322"/>
                    </a:cubicBezTo>
                    <a:cubicBezTo>
                      <a:pt x="435" y="322"/>
                      <a:pt x="435" y="322"/>
                      <a:pt x="434" y="322"/>
                    </a:cubicBezTo>
                    <a:cubicBezTo>
                      <a:pt x="434" y="321"/>
                      <a:pt x="435" y="321"/>
                      <a:pt x="435" y="321"/>
                    </a:cubicBezTo>
                    <a:cubicBezTo>
                      <a:pt x="435" y="321"/>
                      <a:pt x="435" y="321"/>
                      <a:pt x="435" y="321"/>
                    </a:cubicBezTo>
                    <a:cubicBezTo>
                      <a:pt x="435" y="322"/>
                      <a:pt x="436" y="322"/>
                      <a:pt x="436" y="322"/>
                    </a:cubicBezTo>
                    <a:cubicBezTo>
                      <a:pt x="436" y="322"/>
                      <a:pt x="436" y="322"/>
                      <a:pt x="436" y="322"/>
                    </a:cubicBezTo>
                    <a:cubicBezTo>
                      <a:pt x="436" y="323"/>
                      <a:pt x="436" y="323"/>
                      <a:pt x="436" y="323"/>
                    </a:cubicBezTo>
                    <a:cubicBezTo>
                      <a:pt x="436" y="324"/>
                      <a:pt x="436" y="324"/>
                      <a:pt x="437" y="325"/>
                    </a:cubicBezTo>
                    <a:cubicBezTo>
                      <a:pt x="437" y="325"/>
                      <a:pt x="437" y="325"/>
                      <a:pt x="437" y="325"/>
                    </a:cubicBezTo>
                    <a:cubicBezTo>
                      <a:pt x="437" y="325"/>
                      <a:pt x="437" y="326"/>
                      <a:pt x="436" y="326"/>
                    </a:cubicBezTo>
                    <a:cubicBezTo>
                      <a:pt x="436" y="327"/>
                      <a:pt x="436" y="328"/>
                      <a:pt x="436" y="329"/>
                    </a:cubicBezTo>
                    <a:cubicBezTo>
                      <a:pt x="436" y="329"/>
                      <a:pt x="436" y="330"/>
                      <a:pt x="436" y="331"/>
                    </a:cubicBezTo>
                    <a:cubicBezTo>
                      <a:pt x="436" y="331"/>
                      <a:pt x="436" y="332"/>
                      <a:pt x="436" y="332"/>
                    </a:cubicBezTo>
                    <a:cubicBezTo>
                      <a:pt x="436" y="332"/>
                      <a:pt x="436" y="332"/>
                      <a:pt x="436" y="332"/>
                    </a:cubicBezTo>
                    <a:cubicBezTo>
                      <a:pt x="435" y="332"/>
                      <a:pt x="435" y="333"/>
                      <a:pt x="435" y="333"/>
                    </a:cubicBezTo>
                    <a:cubicBezTo>
                      <a:pt x="435" y="333"/>
                      <a:pt x="435" y="333"/>
                      <a:pt x="435" y="333"/>
                    </a:cubicBezTo>
                    <a:cubicBezTo>
                      <a:pt x="435" y="333"/>
                      <a:pt x="435" y="333"/>
                      <a:pt x="435" y="333"/>
                    </a:cubicBezTo>
                    <a:cubicBezTo>
                      <a:pt x="434" y="333"/>
                      <a:pt x="434" y="334"/>
                      <a:pt x="434" y="334"/>
                    </a:cubicBezTo>
                    <a:cubicBezTo>
                      <a:pt x="434" y="334"/>
                      <a:pt x="433" y="334"/>
                      <a:pt x="433" y="334"/>
                    </a:cubicBezTo>
                    <a:cubicBezTo>
                      <a:pt x="433" y="334"/>
                      <a:pt x="433" y="333"/>
                      <a:pt x="433" y="334"/>
                    </a:cubicBezTo>
                    <a:cubicBezTo>
                      <a:pt x="433" y="334"/>
                      <a:pt x="433" y="334"/>
                      <a:pt x="432" y="334"/>
                    </a:cubicBezTo>
                    <a:cubicBezTo>
                      <a:pt x="432" y="334"/>
                      <a:pt x="432" y="334"/>
                      <a:pt x="432" y="334"/>
                    </a:cubicBezTo>
                    <a:cubicBezTo>
                      <a:pt x="432" y="334"/>
                      <a:pt x="432" y="334"/>
                      <a:pt x="432" y="333"/>
                    </a:cubicBezTo>
                    <a:cubicBezTo>
                      <a:pt x="432" y="333"/>
                      <a:pt x="432" y="333"/>
                      <a:pt x="432" y="333"/>
                    </a:cubicBezTo>
                    <a:cubicBezTo>
                      <a:pt x="432" y="333"/>
                      <a:pt x="432" y="333"/>
                      <a:pt x="432" y="333"/>
                    </a:cubicBezTo>
                    <a:cubicBezTo>
                      <a:pt x="433" y="333"/>
                      <a:pt x="433" y="333"/>
                      <a:pt x="433" y="332"/>
                    </a:cubicBezTo>
                    <a:cubicBezTo>
                      <a:pt x="433" y="332"/>
                      <a:pt x="433" y="332"/>
                      <a:pt x="432" y="332"/>
                    </a:cubicBezTo>
                    <a:cubicBezTo>
                      <a:pt x="432" y="331"/>
                      <a:pt x="432" y="331"/>
                      <a:pt x="432" y="331"/>
                    </a:cubicBezTo>
                    <a:cubicBezTo>
                      <a:pt x="432" y="331"/>
                      <a:pt x="432" y="331"/>
                      <a:pt x="432" y="331"/>
                    </a:cubicBezTo>
                    <a:cubicBezTo>
                      <a:pt x="432" y="331"/>
                      <a:pt x="433" y="331"/>
                      <a:pt x="433" y="331"/>
                    </a:cubicBezTo>
                    <a:cubicBezTo>
                      <a:pt x="433" y="331"/>
                      <a:pt x="433" y="332"/>
                      <a:pt x="433" y="332"/>
                    </a:cubicBezTo>
                    <a:cubicBezTo>
                      <a:pt x="433" y="332"/>
                      <a:pt x="433" y="332"/>
                      <a:pt x="433" y="332"/>
                    </a:cubicBezTo>
                    <a:cubicBezTo>
                      <a:pt x="433" y="333"/>
                      <a:pt x="433" y="333"/>
                      <a:pt x="433" y="333"/>
                    </a:cubicBezTo>
                    <a:cubicBezTo>
                      <a:pt x="434" y="333"/>
                      <a:pt x="434" y="333"/>
                      <a:pt x="434" y="333"/>
                    </a:cubicBezTo>
                    <a:cubicBezTo>
                      <a:pt x="434" y="333"/>
                      <a:pt x="434" y="333"/>
                      <a:pt x="434" y="332"/>
                    </a:cubicBezTo>
                    <a:cubicBezTo>
                      <a:pt x="433" y="332"/>
                      <a:pt x="434" y="332"/>
                      <a:pt x="434" y="332"/>
                    </a:cubicBezTo>
                    <a:cubicBezTo>
                      <a:pt x="434" y="332"/>
                      <a:pt x="434" y="332"/>
                      <a:pt x="434" y="332"/>
                    </a:cubicBezTo>
                    <a:cubicBezTo>
                      <a:pt x="434" y="332"/>
                      <a:pt x="434" y="332"/>
                      <a:pt x="434" y="332"/>
                    </a:cubicBezTo>
                    <a:cubicBezTo>
                      <a:pt x="434" y="332"/>
                      <a:pt x="434" y="332"/>
                      <a:pt x="434" y="332"/>
                    </a:cubicBezTo>
                    <a:cubicBezTo>
                      <a:pt x="435" y="332"/>
                      <a:pt x="435" y="332"/>
                      <a:pt x="435" y="332"/>
                    </a:cubicBezTo>
                    <a:cubicBezTo>
                      <a:pt x="435" y="331"/>
                      <a:pt x="435" y="331"/>
                      <a:pt x="435" y="331"/>
                    </a:cubicBezTo>
                    <a:cubicBezTo>
                      <a:pt x="435" y="331"/>
                      <a:pt x="435" y="331"/>
                      <a:pt x="435" y="331"/>
                    </a:cubicBezTo>
                    <a:cubicBezTo>
                      <a:pt x="435" y="331"/>
                      <a:pt x="436" y="331"/>
                      <a:pt x="436" y="331"/>
                    </a:cubicBezTo>
                    <a:cubicBezTo>
                      <a:pt x="436" y="331"/>
                      <a:pt x="436" y="330"/>
                      <a:pt x="436" y="330"/>
                    </a:cubicBezTo>
                    <a:cubicBezTo>
                      <a:pt x="435" y="330"/>
                      <a:pt x="435" y="330"/>
                      <a:pt x="435" y="330"/>
                    </a:cubicBezTo>
                    <a:cubicBezTo>
                      <a:pt x="435" y="330"/>
                      <a:pt x="435" y="330"/>
                      <a:pt x="435" y="329"/>
                    </a:cubicBezTo>
                    <a:cubicBezTo>
                      <a:pt x="435" y="329"/>
                      <a:pt x="435" y="329"/>
                      <a:pt x="435" y="329"/>
                    </a:cubicBezTo>
                    <a:cubicBezTo>
                      <a:pt x="435" y="329"/>
                      <a:pt x="435" y="329"/>
                      <a:pt x="435" y="328"/>
                    </a:cubicBezTo>
                    <a:cubicBezTo>
                      <a:pt x="435" y="328"/>
                      <a:pt x="435" y="328"/>
                      <a:pt x="435" y="328"/>
                    </a:cubicBezTo>
                    <a:cubicBezTo>
                      <a:pt x="435" y="328"/>
                      <a:pt x="435" y="328"/>
                      <a:pt x="435" y="328"/>
                    </a:cubicBezTo>
                    <a:cubicBezTo>
                      <a:pt x="435" y="328"/>
                      <a:pt x="435" y="327"/>
                      <a:pt x="435" y="327"/>
                    </a:cubicBezTo>
                    <a:cubicBezTo>
                      <a:pt x="435" y="327"/>
                      <a:pt x="435" y="327"/>
                      <a:pt x="435" y="327"/>
                    </a:cubicBezTo>
                    <a:cubicBezTo>
                      <a:pt x="435" y="326"/>
                      <a:pt x="435" y="326"/>
                      <a:pt x="435" y="326"/>
                    </a:cubicBezTo>
                    <a:cubicBezTo>
                      <a:pt x="435" y="326"/>
                      <a:pt x="435" y="326"/>
                      <a:pt x="435" y="326"/>
                    </a:cubicBezTo>
                    <a:cubicBezTo>
                      <a:pt x="435" y="326"/>
                      <a:pt x="435" y="326"/>
                      <a:pt x="435" y="326"/>
                    </a:cubicBezTo>
                    <a:cubicBezTo>
                      <a:pt x="434" y="327"/>
                      <a:pt x="434" y="327"/>
                      <a:pt x="434" y="327"/>
                    </a:cubicBezTo>
                    <a:cubicBezTo>
                      <a:pt x="434" y="328"/>
                      <a:pt x="434" y="328"/>
                      <a:pt x="434" y="328"/>
                    </a:cubicBezTo>
                    <a:cubicBezTo>
                      <a:pt x="434" y="328"/>
                      <a:pt x="434" y="328"/>
                      <a:pt x="433" y="328"/>
                    </a:cubicBezTo>
                    <a:cubicBezTo>
                      <a:pt x="433" y="328"/>
                      <a:pt x="433" y="328"/>
                      <a:pt x="433" y="328"/>
                    </a:cubicBezTo>
                    <a:cubicBezTo>
                      <a:pt x="433" y="328"/>
                      <a:pt x="433" y="328"/>
                      <a:pt x="433" y="328"/>
                    </a:cubicBezTo>
                    <a:cubicBezTo>
                      <a:pt x="433" y="328"/>
                      <a:pt x="433" y="329"/>
                      <a:pt x="433" y="329"/>
                    </a:cubicBezTo>
                    <a:cubicBezTo>
                      <a:pt x="433" y="329"/>
                      <a:pt x="433" y="329"/>
                      <a:pt x="433" y="329"/>
                    </a:cubicBezTo>
                    <a:cubicBezTo>
                      <a:pt x="433" y="329"/>
                      <a:pt x="432" y="329"/>
                      <a:pt x="432" y="329"/>
                    </a:cubicBezTo>
                    <a:cubicBezTo>
                      <a:pt x="432" y="330"/>
                      <a:pt x="432" y="330"/>
                      <a:pt x="432" y="330"/>
                    </a:cubicBezTo>
                    <a:cubicBezTo>
                      <a:pt x="432" y="330"/>
                      <a:pt x="432" y="329"/>
                      <a:pt x="432" y="329"/>
                    </a:cubicBezTo>
                    <a:cubicBezTo>
                      <a:pt x="432" y="329"/>
                      <a:pt x="432" y="329"/>
                      <a:pt x="432" y="329"/>
                    </a:cubicBezTo>
                    <a:cubicBezTo>
                      <a:pt x="432" y="329"/>
                      <a:pt x="432" y="328"/>
                      <a:pt x="433" y="328"/>
                    </a:cubicBezTo>
                    <a:cubicBezTo>
                      <a:pt x="433" y="328"/>
                      <a:pt x="433" y="328"/>
                      <a:pt x="433" y="328"/>
                    </a:cubicBezTo>
                    <a:cubicBezTo>
                      <a:pt x="434" y="327"/>
                      <a:pt x="434" y="327"/>
                      <a:pt x="434" y="327"/>
                    </a:cubicBezTo>
                    <a:cubicBezTo>
                      <a:pt x="434" y="326"/>
                      <a:pt x="434" y="326"/>
                      <a:pt x="434" y="326"/>
                    </a:cubicBezTo>
                    <a:cubicBezTo>
                      <a:pt x="434" y="326"/>
                      <a:pt x="434" y="325"/>
                      <a:pt x="434" y="325"/>
                    </a:cubicBezTo>
                    <a:cubicBezTo>
                      <a:pt x="434" y="325"/>
                      <a:pt x="433" y="324"/>
                      <a:pt x="433" y="324"/>
                    </a:cubicBezTo>
                    <a:cubicBezTo>
                      <a:pt x="433" y="323"/>
                      <a:pt x="433" y="324"/>
                      <a:pt x="433" y="324"/>
                    </a:cubicBezTo>
                    <a:cubicBezTo>
                      <a:pt x="433" y="325"/>
                      <a:pt x="432" y="325"/>
                      <a:pt x="432" y="325"/>
                    </a:cubicBezTo>
                    <a:cubicBezTo>
                      <a:pt x="432" y="324"/>
                      <a:pt x="432" y="324"/>
                      <a:pt x="431" y="324"/>
                    </a:cubicBezTo>
                    <a:cubicBezTo>
                      <a:pt x="431" y="324"/>
                      <a:pt x="431" y="324"/>
                      <a:pt x="430" y="324"/>
                    </a:cubicBezTo>
                    <a:cubicBezTo>
                      <a:pt x="430" y="324"/>
                      <a:pt x="429" y="324"/>
                      <a:pt x="429" y="324"/>
                    </a:cubicBezTo>
                    <a:cubicBezTo>
                      <a:pt x="428" y="324"/>
                      <a:pt x="428" y="324"/>
                      <a:pt x="427" y="324"/>
                    </a:cubicBezTo>
                    <a:cubicBezTo>
                      <a:pt x="427" y="324"/>
                      <a:pt x="425" y="324"/>
                      <a:pt x="425" y="324"/>
                    </a:cubicBezTo>
                    <a:cubicBezTo>
                      <a:pt x="425" y="323"/>
                      <a:pt x="423" y="322"/>
                      <a:pt x="422" y="322"/>
                    </a:cubicBezTo>
                    <a:cubicBezTo>
                      <a:pt x="422" y="322"/>
                      <a:pt x="421" y="321"/>
                      <a:pt x="421" y="322"/>
                    </a:cubicBezTo>
                    <a:cubicBezTo>
                      <a:pt x="420" y="322"/>
                      <a:pt x="420" y="323"/>
                      <a:pt x="420" y="324"/>
                    </a:cubicBezTo>
                    <a:cubicBezTo>
                      <a:pt x="420" y="324"/>
                      <a:pt x="421" y="326"/>
                      <a:pt x="421" y="326"/>
                    </a:cubicBezTo>
                    <a:cubicBezTo>
                      <a:pt x="421" y="326"/>
                      <a:pt x="422" y="327"/>
                      <a:pt x="422" y="328"/>
                    </a:cubicBezTo>
                    <a:cubicBezTo>
                      <a:pt x="423" y="328"/>
                      <a:pt x="423" y="329"/>
                      <a:pt x="423" y="329"/>
                    </a:cubicBezTo>
                    <a:cubicBezTo>
                      <a:pt x="423" y="329"/>
                      <a:pt x="423" y="330"/>
                      <a:pt x="423" y="331"/>
                    </a:cubicBezTo>
                    <a:cubicBezTo>
                      <a:pt x="423" y="331"/>
                      <a:pt x="423" y="332"/>
                      <a:pt x="423" y="332"/>
                    </a:cubicBezTo>
                    <a:cubicBezTo>
                      <a:pt x="423" y="332"/>
                      <a:pt x="424" y="333"/>
                      <a:pt x="424" y="333"/>
                    </a:cubicBezTo>
                    <a:cubicBezTo>
                      <a:pt x="424" y="334"/>
                      <a:pt x="424" y="335"/>
                      <a:pt x="424" y="335"/>
                    </a:cubicBezTo>
                    <a:cubicBezTo>
                      <a:pt x="424" y="335"/>
                      <a:pt x="424" y="335"/>
                      <a:pt x="424" y="335"/>
                    </a:cubicBezTo>
                    <a:cubicBezTo>
                      <a:pt x="425" y="335"/>
                      <a:pt x="424" y="335"/>
                      <a:pt x="424" y="335"/>
                    </a:cubicBezTo>
                    <a:cubicBezTo>
                      <a:pt x="424" y="334"/>
                      <a:pt x="425" y="334"/>
                      <a:pt x="425" y="334"/>
                    </a:cubicBezTo>
                    <a:cubicBezTo>
                      <a:pt x="425" y="334"/>
                      <a:pt x="425" y="335"/>
                      <a:pt x="425" y="335"/>
                    </a:cubicBezTo>
                    <a:cubicBezTo>
                      <a:pt x="425" y="335"/>
                      <a:pt x="425" y="335"/>
                      <a:pt x="425" y="335"/>
                    </a:cubicBezTo>
                    <a:cubicBezTo>
                      <a:pt x="425" y="335"/>
                      <a:pt x="426" y="335"/>
                      <a:pt x="426" y="335"/>
                    </a:cubicBezTo>
                    <a:cubicBezTo>
                      <a:pt x="426" y="336"/>
                      <a:pt x="426" y="336"/>
                      <a:pt x="425" y="336"/>
                    </a:cubicBezTo>
                    <a:cubicBezTo>
                      <a:pt x="425" y="336"/>
                      <a:pt x="425" y="336"/>
                      <a:pt x="425" y="336"/>
                    </a:cubicBezTo>
                    <a:cubicBezTo>
                      <a:pt x="424" y="336"/>
                      <a:pt x="425" y="337"/>
                      <a:pt x="424" y="337"/>
                    </a:cubicBezTo>
                    <a:cubicBezTo>
                      <a:pt x="424" y="338"/>
                      <a:pt x="425" y="338"/>
                      <a:pt x="425" y="338"/>
                    </a:cubicBezTo>
                    <a:cubicBezTo>
                      <a:pt x="425" y="338"/>
                      <a:pt x="426" y="338"/>
                      <a:pt x="426" y="337"/>
                    </a:cubicBezTo>
                    <a:cubicBezTo>
                      <a:pt x="426" y="337"/>
                      <a:pt x="426" y="338"/>
                      <a:pt x="426" y="338"/>
                    </a:cubicBezTo>
                    <a:cubicBezTo>
                      <a:pt x="426" y="338"/>
                      <a:pt x="426" y="338"/>
                      <a:pt x="425" y="339"/>
                    </a:cubicBezTo>
                    <a:cubicBezTo>
                      <a:pt x="425" y="339"/>
                      <a:pt x="426" y="339"/>
                      <a:pt x="426" y="339"/>
                    </a:cubicBezTo>
                    <a:cubicBezTo>
                      <a:pt x="426" y="339"/>
                      <a:pt x="426" y="340"/>
                      <a:pt x="426" y="340"/>
                    </a:cubicBezTo>
                    <a:cubicBezTo>
                      <a:pt x="426" y="341"/>
                      <a:pt x="425" y="341"/>
                      <a:pt x="425" y="341"/>
                    </a:cubicBezTo>
                    <a:cubicBezTo>
                      <a:pt x="425" y="341"/>
                      <a:pt x="425" y="340"/>
                      <a:pt x="425" y="340"/>
                    </a:cubicBezTo>
                    <a:cubicBezTo>
                      <a:pt x="425" y="340"/>
                      <a:pt x="425" y="339"/>
                      <a:pt x="425" y="339"/>
                    </a:cubicBezTo>
                    <a:cubicBezTo>
                      <a:pt x="425" y="339"/>
                      <a:pt x="425" y="339"/>
                      <a:pt x="425" y="340"/>
                    </a:cubicBezTo>
                    <a:cubicBezTo>
                      <a:pt x="425" y="340"/>
                      <a:pt x="425" y="340"/>
                      <a:pt x="425" y="341"/>
                    </a:cubicBezTo>
                    <a:cubicBezTo>
                      <a:pt x="425" y="342"/>
                      <a:pt x="425" y="342"/>
                      <a:pt x="425" y="342"/>
                    </a:cubicBezTo>
                    <a:cubicBezTo>
                      <a:pt x="425" y="342"/>
                      <a:pt x="426" y="342"/>
                      <a:pt x="427" y="342"/>
                    </a:cubicBezTo>
                    <a:cubicBezTo>
                      <a:pt x="427" y="342"/>
                      <a:pt x="427" y="342"/>
                      <a:pt x="428" y="342"/>
                    </a:cubicBezTo>
                    <a:cubicBezTo>
                      <a:pt x="428" y="342"/>
                      <a:pt x="429" y="343"/>
                      <a:pt x="430" y="343"/>
                    </a:cubicBezTo>
                    <a:cubicBezTo>
                      <a:pt x="430" y="343"/>
                      <a:pt x="430" y="343"/>
                      <a:pt x="430" y="344"/>
                    </a:cubicBezTo>
                    <a:cubicBezTo>
                      <a:pt x="429" y="344"/>
                      <a:pt x="429" y="343"/>
                      <a:pt x="428" y="343"/>
                    </a:cubicBezTo>
                    <a:cubicBezTo>
                      <a:pt x="428" y="343"/>
                      <a:pt x="428" y="343"/>
                      <a:pt x="427" y="343"/>
                    </a:cubicBezTo>
                    <a:cubicBezTo>
                      <a:pt x="427" y="343"/>
                      <a:pt x="426" y="343"/>
                      <a:pt x="426" y="343"/>
                    </a:cubicBezTo>
                    <a:cubicBezTo>
                      <a:pt x="425" y="343"/>
                      <a:pt x="425" y="343"/>
                      <a:pt x="425" y="343"/>
                    </a:cubicBezTo>
                    <a:cubicBezTo>
                      <a:pt x="425" y="344"/>
                      <a:pt x="425" y="344"/>
                      <a:pt x="425" y="344"/>
                    </a:cubicBezTo>
                    <a:cubicBezTo>
                      <a:pt x="425" y="345"/>
                      <a:pt x="425" y="345"/>
                      <a:pt x="425" y="345"/>
                    </a:cubicBezTo>
                    <a:cubicBezTo>
                      <a:pt x="425" y="346"/>
                      <a:pt x="425" y="346"/>
                      <a:pt x="425" y="346"/>
                    </a:cubicBezTo>
                    <a:cubicBezTo>
                      <a:pt x="425" y="346"/>
                      <a:pt x="426" y="347"/>
                      <a:pt x="426" y="347"/>
                    </a:cubicBezTo>
                    <a:cubicBezTo>
                      <a:pt x="425" y="348"/>
                      <a:pt x="426" y="349"/>
                      <a:pt x="426" y="349"/>
                    </a:cubicBezTo>
                    <a:cubicBezTo>
                      <a:pt x="426" y="349"/>
                      <a:pt x="425" y="350"/>
                      <a:pt x="425" y="351"/>
                    </a:cubicBezTo>
                    <a:cubicBezTo>
                      <a:pt x="425" y="351"/>
                      <a:pt x="425" y="352"/>
                      <a:pt x="425" y="352"/>
                    </a:cubicBezTo>
                    <a:cubicBezTo>
                      <a:pt x="425" y="353"/>
                      <a:pt x="425" y="354"/>
                      <a:pt x="425" y="355"/>
                    </a:cubicBezTo>
                    <a:cubicBezTo>
                      <a:pt x="425" y="356"/>
                      <a:pt x="425" y="356"/>
                      <a:pt x="425" y="356"/>
                    </a:cubicBezTo>
                    <a:cubicBezTo>
                      <a:pt x="425" y="357"/>
                      <a:pt x="425" y="357"/>
                      <a:pt x="425" y="358"/>
                    </a:cubicBezTo>
                    <a:cubicBezTo>
                      <a:pt x="425" y="358"/>
                      <a:pt x="425" y="359"/>
                      <a:pt x="425" y="360"/>
                    </a:cubicBezTo>
                    <a:cubicBezTo>
                      <a:pt x="425" y="360"/>
                      <a:pt x="424" y="360"/>
                      <a:pt x="424" y="361"/>
                    </a:cubicBezTo>
                    <a:cubicBezTo>
                      <a:pt x="424" y="361"/>
                      <a:pt x="424" y="362"/>
                      <a:pt x="424" y="362"/>
                    </a:cubicBezTo>
                    <a:cubicBezTo>
                      <a:pt x="424" y="362"/>
                      <a:pt x="424" y="364"/>
                      <a:pt x="424" y="364"/>
                    </a:cubicBezTo>
                    <a:cubicBezTo>
                      <a:pt x="424" y="364"/>
                      <a:pt x="424" y="365"/>
                      <a:pt x="424" y="365"/>
                    </a:cubicBezTo>
                    <a:cubicBezTo>
                      <a:pt x="424" y="366"/>
                      <a:pt x="424" y="366"/>
                      <a:pt x="424" y="366"/>
                    </a:cubicBezTo>
                    <a:cubicBezTo>
                      <a:pt x="424" y="366"/>
                      <a:pt x="424" y="367"/>
                      <a:pt x="424" y="367"/>
                    </a:cubicBezTo>
                    <a:cubicBezTo>
                      <a:pt x="424" y="367"/>
                      <a:pt x="424" y="367"/>
                      <a:pt x="424" y="368"/>
                    </a:cubicBezTo>
                    <a:cubicBezTo>
                      <a:pt x="424" y="368"/>
                      <a:pt x="423" y="368"/>
                      <a:pt x="423" y="369"/>
                    </a:cubicBezTo>
                    <a:cubicBezTo>
                      <a:pt x="423" y="369"/>
                      <a:pt x="423" y="369"/>
                      <a:pt x="423" y="370"/>
                    </a:cubicBezTo>
                    <a:cubicBezTo>
                      <a:pt x="422" y="370"/>
                      <a:pt x="423" y="370"/>
                      <a:pt x="423" y="371"/>
                    </a:cubicBezTo>
                    <a:cubicBezTo>
                      <a:pt x="422" y="371"/>
                      <a:pt x="422" y="372"/>
                      <a:pt x="422" y="372"/>
                    </a:cubicBezTo>
                    <a:cubicBezTo>
                      <a:pt x="422" y="372"/>
                      <a:pt x="422" y="373"/>
                      <a:pt x="422" y="373"/>
                    </a:cubicBezTo>
                    <a:cubicBezTo>
                      <a:pt x="422" y="374"/>
                      <a:pt x="421" y="374"/>
                      <a:pt x="421" y="375"/>
                    </a:cubicBezTo>
                    <a:cubicBezTo>
                      <a:pt x="421" y="375"/>
                      <a:pt x="422" y="376"/>
                      <a:pt x="422" y="376"/>
                    </a:cubicBezTo>
                    <a:cubicBezTo>
                      <a:pt x="423" y="376"/>
                      <a:pt x="422" y="377"/>
                      <a:pt x="422" y="377"/>
                    </a:cubicBezTo>
                    <a:cubicBezTo>
                      <a:pt x="422" y="377"/>
                      <a:pt x="422" y="377"/>
                      <a:pt x="422" y="378"/>
                    </a:cubicBezTo>
                    <a:cubicBezTo>
                      <a:pt x="422" y="378"/>
                      <a:pt x="422" y="379"/>
                      <a:pt x="422" y="380"/>
                    </a:cubicBezTo>
                    <a:cubicBezTo>
                      <a:pt x="422" y="381"/>
                      <a:pt x="423" y="381"/>
                      <a:pt x="423" y="381"/>
                    </a:cubicBezTo>
                    <a:cubicBezTo>
                      <a:pt x="424" y="382"/>
                      <a:pt x="424" y="383"/>
                      <a:pt x="424" y="383"/>
                    </a:cubicBezTo>
                    <a:cubicBezTo>
                      <a:pt x="424" y="383"/>
                      <a:pt x="423" y="384"/>
                      <a:pt x="423" y="384"/>
                    </a:cubicBezTo>
                    <a:cubicBezTo>
                      <a:pt x="423" y="384"/>
                      <a:pt x="424" y="384"/>
                      <a:pt x="424" y="385"/>
                    </a:cubicBezTo>
                    <a:cubicBezTo>
                      <a:pt x="424" y="385"/>
                      <a:pt x="424" y="386"/>
                      <a:pt x="424" y="386"/>
                    </a:cubicBezTo>
                    <a:cubicBezTo>
                      <a:pt x="425" y="387"/>
                      <a:pt x="425" y="388"/>
                      <a:pt x="425" y="388"/>
                    </a:cubicBezTo>
                    <a:cubicBezTo>
                      <a:pt x="425" y="389"/>
                      <a:pt x="424" y="389"/>
                      <a:pt x="424" y="389"/>
                    </a:cubicBezTo>
                    <a:cubicBezTo>
                      <a:pt x="424" y="390"/>
                      <a:pt x="424" y="390"/>
                      <a:pt x="424" y="390"/>
                    </a:cubicBezTo>
                    <a:cubicBezTo>
                      <a:pt x="424" y="390"/>
                      <a:pt x="424" y="391"/>
                      <a:pt x="424" y="392"/>
                    </a:cubicBezTo>
                    <a:cubicBezTo>
                      <a:pt x="424" y="392"/>
                      <a:pt x="423" y="393"/>
                      <a:pt x="423" y="394"/>
                    </a:cubicBezTo>
                    <a:cubicBezTo>
                      <a:pt x="423" y="394"/>
                      <a:pt x="422" y="395"/>
                      <a:pt x="422" y="395"/>
                    </a:cubicBezTo>
                    <a:cubicBezTo>
                      <a:pt x="422" y="396"/>
                      <a:pt x="422" y="396"/>
                      <a:pt x="423" y="397"/>
                    </a:cubicBezTo>
                    <a:cubicBezTo>
                      <a:pt x="423" y="397"/>
                      <a:pt x="423" y="397"/>
                      <a:pt x="423" y="397"/>
                    </a:cubicBezTo>
                    <a:cubicBezTo>
                      <a:pt x="423" y="398"/>
                      <a:pt x="423" y="398"/>
                      <a:pt x="424" y="398"/>
                    </a:cubicBezTo>
                    <a:cubicBezTo>
                      <a:pt x="424" y="398"/>
                      <a:pt x="424" y="399"/>
                      <a:pt x="425" y="399"/>
                    </a:cubicBezTo>
                    <a:cubicBezTo>
                      <a:pt x="425" y="399"/>
                      <a:pt x="426" y="401"/>
                      <a:pt x="426" y="402"/>
                    </a:cubicBezTo>
                    <a:cubicBezTo>
                      <a:pt x="427" y="402"/>
                      <a:pt x="427" y="403"/>
                      <a:pt x="427" y="403"/>
                    </a:cubicBezTo>
                    <a:cubicBezTo>
                      <a:pt x="427" y="404"/>
                      <a:pt x="426" y="404"/>
                      <a:pt x="426" y="404"/>
                    </a:cubicBezTo>
                    <a:cubicBezTo>
                      <a:pt x="426" y="405"/>
                      <a:pt x="426" y="405"/>
                      <a:pt x="426" y="406"/>
                    </a:cubicBezTo>
                    <a:cubicBezTo>
                      <a:pt x="426" y="406"/>
                      <a:pt x="427" y="407"/>
                      <a:pt x="427" y="407"/>
                    </a:cubicBezTo>
                    <a:cubicBezTo>
                      <a:pt x="427" y="407"/>
                      <a:pt x="427" y="408"/>
                      <a:pt x="427" y="408"/>
                    </a:cubicBezTo>
                    <a:cubicBezTo>
                      <a:pt x="427" y="409"/>
                      <a:pt x="427" y="409"/>
                      <a:pt x="427" y="409"/>
                    </a:cubicBezTo>
                    <a:cubicBezTo>
                      <a:pt x="427" y="410"/>
                      <a:pt x="428" y="410"/>
                      <a:pt x="428" y="410"/>
                    </a:cubicBezTo>
                    <a:cubicBezTo>
                      <a:pt x="428" y="410"/>
                      <a:pt x="429" y="411"/>
                      <a:pt x="429" y="411"/>
                    </a:cubicBezTo>
                    <a:cubicBezTo>
                      <a:pt x="429" y="412"/>
                      <a:pt x="430" y="412"/>
                      <a:pt x="430" y="412"/>
                    </a:cubicBezTo>
                    <a:cubicBezTo>
                      <a:pt x="430" y="412"/>
                      <a:pt x="431" y="414"/>
                      <a:pt x="431" y="414"/>
                    </a:cubicBezTo>
                    <a:cubicBezTo>
                      <a:pt x="431" y="414"/>
                      <a:pt x="432" y="415"/>
                      <a:pt x="432" y="415"/>
                    </a:cubicBezTo>
                    <a:cubicBezTo>
                      <a:pt x="432" y="415"/>
                      <a:pt x="432" y="415"/>
                      <a:pt x="432" y="416"/>
                    </a:cubicBezTo>
                    <a:cubicBezTo>
                      <a:pt x="432" y="416"/>
                      <a:pt x="432" y="416"/>
                      <a:pt x="432" y="417"/>
                    </a:cubicBezTo>
                    <a:cubicBezTo>
                      <a:pt x="432" y="417"/>
                      <a:pt x="432" y="417"/>
                      <a:pt x="433" y="417"/>
                    </a:cubicBezTo>
                    <a:cubicBezTo>
                      <a:pt x="433" y="417"/>
                      <a:pt x="433" y="417"/>
                      <a:pt x="434" y="418"/>
                    </a:cubicBezTo>
                    <a:cubicBezTo>
                      <a:pt x="434" y="418"/>
                      <a:pt x="435" y="418"/>
                      <a:pt x="435" y="418"/>
                    </a:cubicBezTo>
                    <a:cubicBezTo>
                      <a:pt x="435" y="418"/>
                      <a:pt x="435" y="418"/>
                      <a:pt x="435" y="418"/>
                    </a:cubicBezTo>
                    <a:cubicBezTo>
                      <a:pt x="435" y="418"/>
                      <a:pt x="435" y="417"/>
                      <a:pt x="435" y="417"/>
                    </a:cubicBezTo>
                    <a:cubicBezTo>
                      <a:pt x="435" y="416"/>
                      <a:pt x="436" y="416"/>
                      <a:pt x="436" y="416"/>
                    </a:cubicBezTo>
                    <a:cubicBezTo>
                      <a:pt x="436" y="416"/>
                      <a:pt x="436" y="416"/>
                      <a:pt x="436" y="417"/>
                    </a:cubicBezTo>
                    <a:cubicBezTo>
                      <a:pt x="436" y="417"/>
                      <a:pt x="436" y="417"/>
                      <a:pt x="436" y="417"/>
                    </a:cubicBezTo>
                    <a:cubicBezTo>
                      <a:pt x="436" y="418"/>
                      <a:pt x="436" y="418"/>
                      <a:pt x="436" y="418"/>
                    </a:cubicBezTo>
                    <a:cubicBezTo>
                      <a:pt x="436" y="419"/>
                      <a:pt x="435" y="419"/>
                      <a:pt x="435" y="419"/>
                    </a:cubicBezTo>
                    <a:cubicBezTo>
                      <a:pt x="435" y="419"/>
                      <a:pt x="435" y="420"/>
                      <a:pt x="435" y="420"/>
                    </a:cubicBezTo>
                    <a:cubicBezTo>
                      <a:pt x="435" y="420"/>
                      <a:pt x="435" y="421"/>
                      <a:pt x="435" y="421"/>
                    </a:cubicBezTo>
                    <a:cubicBezTo>
                      <a:pt x="435" y="421"/>
                      <a:pt x="436" y="422"/>
                      <a:pt x="436" y="422"/>
                    </a:cubicBezTo>
                    <a:cubicBezTo>
                      <a:pt x="436" y="422"/>
                      <a:pt x="436" y="423"/>
                      <a:pt x="436" y="423"/>
                    </a:cubicBezTo>
                    <a:cubicBezTo>
                      <a:pt x="436" y="424"/>
                      <a:pt x="436" y="424"/>
                      <a:pt x="436" y="424"/>
                    </a:cubicBezTo>
                    <a:cubicBezTo>
                      <a:pt x="437" y="425"/>
                      <a:pt x="437" y="425"/>
                      <a:pt x="437" y="425"/>
                    </a:cubicBezTo>
                    <a:cubicBezTo>
                      <a:pt x="438" y="426"/>
                      <a:pt x="438" y="426"/>
                      <a:pt x="439" y="426"/>
                    </a:cubicBezTo>
                    <a:cubicBezTo>
                      <a:pt x="440" y="426"/>
                      <a:pt x="440" y="426"/>
                      <a:pt x="440" y="427"/>
                    </a:cubicBezTo>
                    <a:cubicBezTo>
                      <a:pt x="440" y="427"/>
                      <a:pt x="440" y="428"/>
                      <a:pt x="440" y="428"/>
                    </a:cubicBezTo>
                    <a:cubicBezTo>
                      <a:pt x="439" y="428"/>
                      <a:pt x="439" y="429"/>
                      <a:pt x="439" y="429"/>
                    </a:cubicBezTo>
                    <a:cubicBezTo>
                      <a:pt x="439" y="430"/>
                      <a:pt x="439" y="431"/>
                      <a:pt x="439" y="431"/>
                    </a:cubicBezTo>
                    <a:cubicBezTo>
                      <a:pt x="439" y="431"/>
                      <a:pt x="440" y="432"/>
                      <a:pt x="440" y="432"/>
                    </a:cubicBezTo>
                    <a:cubicBezTo>
                      <a:pt x="440" y="432"/>
                      <a:pt x="441" y="433"/>
                      <a:pt x="441" y="433"/>
                    </a:cubicBezTo>
                    <a:cubicBezTo>
                      <a:pt x="441" y="433"/>
                      <a:pt x="441" y="434"/>
                      <a:pt x="442" y="434"/>
                    </a:cubicBezTo>
                    <a:cubicBezTo>
                      <a:pt x="442" y="434"/>
                      <a:pt x="443" y="435"/>
                      <a:pt x="443" y="435"/>
                    </a:cubicBezTo>
                    <a:cubicBezTo>
                      <a:pt x="443" y="436"/>
                      <a:pt x="443" y="436"/>
                      <a:pt x="443" y="437"/>
                    </a:cubicBezTo>
                    <a:cubicBezTo>
                      <a:pt x="443" y="437"/>
                      <a:pt x="443" y="437"/>
                      <a:pt x="444" y="437"/>
                    </a:cubicBezTo>
                    <a:cubicBezTo>
                      <a:pt x="445" y="437"/>
                      <a:pt x="444" y="437"/>
                      <a:pt x="445" y="438"/>
                    </a:cubicBezTo>
                    <a:cubicBezTo>
                      <a:pt x="445" y="438"/>
                      <a:pt x="445" y="438"/>
                      <a:pt x="445" y="438"/>
                    </a:cubicBezTo>
                    <a:cubicBezTo>
                      <a:pt x="446" y="439"/>
                      <a:pt x="446" y="439"/>
                      <a:pt x="446" y="439"/>
                    </a:cubicBezTo>
                    <a:cubicBezTo>
                      <a:pt x="446" y="439"/>
                      <a:pt x="446" y="439"/>
                      <a:pt x="446" y="440"/>
                    </a:cubicBezTo>
                    <a:cubicBezTo>
                      <a:pt x="446" y="440"/>
                      <a:pt x="446" y="440"/>
                      <a:pt x="446" y="440"/>
                    </a:cubicBezTo>
                    <a:cubicBezTo>
                      <a:pt x="446" y="440"/>
                      <a:pt x="446" y="441"/>
                      <a:pt x="447" y="441"/>
                    </a:cubicBezTo>
                    <a:cubicBezTo>
                      <a:pt x="447" y="441"/>
                      <a:pt x="448" y="441"/>
                      <a:pt x="448" y="441"/>
                    </a:cubicBezTo>
                    <a:cubicBezTo>
                      <a:pt x="448" y="441"/>
                      <a:pt x="448" y="442"/>
                      <a:pt x="448" y="442"/>
                    </a:cubicBezTo>
                    <a:cubicBezTo>
                      <a:pt x="448" y="442"/>
                      <a:pt x="447" y="442"/>
                      <a:pt x="447" y="443"/>
                    </a:cubicBezTo>
                    <a:cubicBezTo>
                      <a:pt x="447" y="443"/>
                      <a:pt x="448" y="443"/>
                      <a:pt x="448" y="443"/>
                    </a:cubicBezTo>
                    <a:cubicBezTo>
                      <a:pt x="448" y="444"/>
                      <a:pt x="447" y="444"/>
                      <a:pt x="448" y="444"/>
                    </a:cubicBezTo>
                    <a:cubicBezTo>
                      <a:pt x="448" y="444"/>
                      <a:pt x="448" y="445"/>
                      <a:pt x="448" y="445"/>
                    </a:cubicBezTo>
                    <a:cubicBezTo>
                      <a:pt x="448" y="445"/>
                      <a:pt x="447" y="445"/>
                      <a:pt x="447" y="445"/>
                    </a:cubicBezTo>
                    <a:cubicBezTo>
                      <a:pt x="447" y="446"/>
                      <a:pt x="448" y="446"/>
                      <a:pt x="448" y="446"/>
                    </a:cubicBezTo>
                    <a:cubicBezTo>
                      <a:pt x="448" y="446"/>
                      <a:pt x="448" y="446"/>
                      <a:pt x="448" y="446"/>
                    </a:cubicBezTo>
                    <a:cubicBezTo>
                      <a:pt x="449" y="446"/>
                      <a:pt x="450" y="446"/>
                      <a:pt x="450" y="446"/>
                    </a:cubicBezTo>
                    <a:cubicBezTo>
                      <a:pt x="450" y="446"/>
                      <a:pt x="453" y="447"/>
                      <a:pt x="454" y="447"/>
                    </a:cubicBezTo>
                    <a:cubicBezTo>
                      <a:pt x="454" y="447"/>
                      <a:pt x="455" y="447"/>
                      <a:pt x="455" y="447"/>
                    </a:cubicBezTo>
                    <a:cubicBezTo>
                      <a:pt x="456" y="447"/>
                      <a:pt x="456" y="448"/>
                      <a:pt x="456" y="448"/>
                    </a:cubicBezTo>
                    <a:cubicBezTo>
                      <a:pt x="457" y="448"/>
                      <a:pt x="457" y="449"/>
                      <a:pt x="458" y="449"/>
                    </a:cubicBezTo>
                    <a:cubicBezTo>
                      <a:pt x="458" y="449"/>
                      <a:pt x="459" y="450"/>
                      <a:pt x="459" y="450"/>
                    </a:cubicBezTo>
                    <a:cubicBezTo>
                      <a:pt x="460" y="450"/>
                      <a:pt x="460" y="450"/>
                      <a:pt x="460" y="450"/>
                    </a:cubicBezTo>
                    <a:cubicBezTo>
                      <a:pt x="460" y="450"/>
                      <a:pt x="460" y="450"/>
                      <a:pt x="461" y="450"/>
                    </a:cubicBezTo>
                    <a:cubicBezTo>
                      <a:pt x="461" y="450"/>
                      <a:pt x="461" y="450"/>
                      <a:pt x="461" y="450"/>
                    </a:cubicBezTo>
                    <a:cubicBezTo>
                      <a:pt x="462" y="450"/>
                      <a:pt x="462" y="450"/>
                      <a:pt x="462" y="451"/>
                    </a:cubicBezTo>
                    <a:cubicBezTo>
                      <a:pt x="462" y="451"/>
                      <a:pt x="462" y="451"/>
                      <a:pt x="463" y="451"/>
                    </a:cubicBezTo>
                    <a:cubicBezTo>
                      <a:pt x="463" y="452"/>
                      <a:pt x="462" y="452"/>
                      <a:pt x="463" y="452"/>
                    </a:cubicBezTo>
                    <a:cubicBezTo>
                      <a:pt x="463" y="453"/>
                      <a:pt x="463" y="452"/>
                      <a:pt x="464" y="452"/>
                    </a:cubicBezTo>
                    <a:cubicBezTo>
                      <a:pt x="464" y="452"/>
                      <a:pt x="464" y="452"/>
                      <a:pt x="464" y="452"/>
                    </a:cubicBezTo>
                    <a:cubicBezTo>
                      <a:pt x="464" y="452"/>
                      <a:pt x="465" y="452"/>
                      <a:pt x="465" y="453"/>
                    </a:cubicBezTo>
                    <a:cubicBezTo>
                      <a:pt x="465" y="453"/>
                      <a:pt x="466" y="453"/>
                      <a:pt x="466" y="454"/>
                    </a:cubicBezTo>
                    <a:cubicBezTo>
                      <a:pt x="467" y="454"/>
                      <a:pt x="467" y="455"/>
                      <a:pt x="468" y="455"/>
                    </a:cubicBezTo>
                    <a:cubicBezTo>
                      <a:pt x="468" y="456"/>
                      <a:pt x="469" y="456"/>
                      <a:pt x="469" y="457"/>
                    </a:cubicBezTo>
                    <a:cubicBezTo>
                      <a:pt x="470" y="457"/>
                      <a:pt x="470" y="458"/>
                      <a:pt x="470" y="458"/>
                    </a:cubicBezTo>
                    <a:cubicBezTo>
                      <a:pt x="470" y="458"/>
                      <a:pt x="470" y="459"/>
                      <a:pt x="470" y="459"/>
                    </a:cubicBezTo>
                    <a:cubicBezTo>
                      <a:pt x="470" y="459"/>
                      <a:pt x="470" y="460"/>
                      <a:pt x="470" y="460"/>
                    </a:cubicBezTo>
                    <a:cubicBezTo>
                      <a:pt x="470" y="460"/>
                      <a:pt x="471" y="460"/>
                      <a:pt x="471" y="461"/>
                    </a:cubicBezTo>
                    <a:cubicBezTo>
                      <a:pt x="471" y="461"/>
                      <a:pt x="471" y="461"/>
                      <a:pt x="471" y="461"/>
                    </a:cubicBezTo>
                    <a:cubicBezTo>
                      <a:pt x="471" y="461"/>
                      <a:pt x="471" y="462"/>
                      <a:pt x="471" y="462"/>
                    </a:cubicBezTo>
                    <a:cubicBezTo>
                      <a:pt x="487" y="460"/>
                      <a:pt x="487" y="460"/>
                      <a:pt x="487" y="460"/>
                    </a:cubicBezTo>
                    <a:cubicBezTo>
                      <a:pt x="486" y="462"/>
                      <a:pt x="486" y="462"/>
                      <a:pt x="486" y="462"/>
                    </a:cubicBezTo>
                    <a:cubicBezTo>
                      <a:pt x="511" y="471"/>
                      <a:pt x="511" y="471"/>
                      <a:pt x="511" y="471"/>
                    </a:cubicBezTo>
                    <a:cubicBezTo>
                      <a:pt x="531" y="471"/>
                      <a:pt x="531" y="471"/>
                      <a:pt x="531" y="471"/>
                    </a:cubicBezTo>
                    <a:cubicBezTo>
                      <a:pt x="531" y="468"/>
                      <a:pt x="531" y="468"/>
                      <a:pt x="531" y="468"/>
                    </a:cubicBezTo>
                    <a:cubicBezTo>
                      <a:pt x="543" y="468"/>
                      <a:pt x="543" y="468"/>
                      <a:pt x="543" y="468"/>
                    </a:cubicBezTo>
                    <a:cubicBezTo>
                      <a:pt x="545" y="470"/>
                      <a:pt x="545" y="470"/>
                      <a:pt x="545" y="470"/>
                    </a:cubicBezTo>
                    <a:cubicBezTo>
                      <a:pt x="546" y="471"/>
                      <a:pt x="546" y="471"/>
                      <a:pt x="546" y="471"/>
                    </a:cubicBezTo>
                    <a:cubicBezTo>
                      <a:pt x="550" y="475"/>
                      <a:pt x="550" y="475"/>
                      <a:pt x="550" y="475"/>
                    </a:cubicBezTo>
                    <a:cubicBezTo>
                      <a:pt x="552" y="476"/>
                      <a:pt x="552" y="476"/>
                      <a:pt x="552" y="476"/>
                    </a:cubicBezTo>
                    <a:cubicBezTo>
                      <a:pt x="554" y="480"/>
                      <a:pt x="554" y="480"/>
                      <a:pt x="554" y="480"/>
                    </a:cubicBezTo>
                    <a:cubicBezTo>
                      <a:pt x="555" y="483"/>
                      <a:pt x="555" y="483"/>
                      <a:pt x="555" y="483"/>
                    </a:cubicBezTo>
                    <a:cubicBezTo>
                      <a:pt x="557" y="485"/>
                      <a:pt x="557" y="485"/>
                      <a:pt x="557" y="485"/>
                    </a:cubicBezTo>
                    <a:cubicBezTo>
                      <a:pt x="557" y="486"/>
                      <a:pt x="557" y="486"/>
                      <a:pt x="557" y="486"/>
                    </a:cubicBezTo>
                    <a:cubicBezTo>
                      <a:pt x="559" y="487"/>
                      <a:pt x="559" y="487"/>
                      <a:pt x="559" y="487"/>
                    </a:cubicBezTo>
                    <a:cubicBezTo>
                      <a:pt x="561" y="487"/>
                      <a:pt x="561" y="487"/>
                      <a:pt x="561" y="487"/>
                    </a:cubicBezTo>
                    <a:cubicBezTo>
                      <a:pt x="564" y="489"/>
                      <a:pt x="564" y="489"/>
                      <a:pt x="564" y="489"/>
                    </a:cubicBezTo>
                    <a:cubicBezTo>
                      <a:pt x="565" y="489"/>
                      <a:pt x="565" y="489"/>
                      <a:pt x="565" y="489"/>
                    </a:cubicBezTo>
                    <a:cubicBezTo>
                      <a:pt x="566" y="488"/>
                      <a:pt x="566" y="488"/>
                      <a:pt x="566" y="488"/>
                    </a:cubicBezTo>
                    <a:cubicBezTo>
                      <a:pt x="566" y="487"/>
                      <a:pt x="566" y="487"/>
                      <a:pt x="566" y="487"/>
                    </a:cubicBezTo>
                    <a:cubicBezTo>
                      <a:pt x="567" y="486"/>
                      <a:pt x="567" y="486"/>
                      <a:pt x="567" y="486"/>
                    </a:cubicBezTo>
                    <a:cubicBezTo>
                      <a:pt x="567" y="486"/>
                      <a:pt x="567" y="485"/>
                      <a:pt x="567" y="485"/>
                    </a:cubicBezTo>
                    <a:cubicBezTo>
                      <a:pt x="567" y="485"/>
                      <a:pt x="568" y="484"/>
                      <a:pt x="568" y="484"/>
                    </a:cubicBezTo>
                    <a:cubicBezTo>
                      <a:pt x="570" y="484"/>
                      <a:pt x="570" y="484"/>
                      <a:pt x="570" y="484"/>
                    </a:cubicBezTo>
                    <a:cubicBezTo>
                      <a:pt x="570" y="482"/>
                      <a:pt x="570" y="482"/>
                      <a:pt x="570" y="482"/>
                    </a:cubicBezTo>
                    <a:cubicBezTo>
                      <a:pt x="572" y="483"/>
                      <a:pt x="572" y="483"/>
                      <a:pt x="572" y="483"/>
                    </a:cubicBezTo>
                    <a:cubicBezTo>
                      <a:pt x="576" y="483"/>
                      <a:pt x="576" y="483"/>
                      <a:pt x="576" y="483"/>
                    </a:cubicBezTo>
                    <a:cubicBezTo>
                      <a:pt x="577" y="484"/>
                      <a:pt x="577" y="484"/>
                      <a:pt x="577" y="484"/>
                    </a:cubicBezTo>
                    <a:cubicBezTo>
                      <a:pt x="577" y="485"/>
                      <a:pt x="577" y="485"/>
                      <a:pt x="577" y="485"/>
                    </a:cubicBezTo>
                    <a:cubicBezTo>
                      <a:pt x="577" y="485"/>
                      <a:pt x="577" y="485"/>
                      <a:pt x="577" y="485"/>
                    </a:cubicBezTo>
                    <a:cubicBezTo>
                      <a:pt x="579" y="486"/>
                      <a:pt x="579" y="486"/>
                      <a:pt x="579" y="486"/>
                    </a:cubicBezTo>
                    <a:cubicBezTo>
                      <a:pt x="581" y="488"/>
                      <a:pt x="581" y="488"/>
                      <a:pt x="581" y="488"/>
                    </a:cubicBezTo>
                    <a:cubicBezTo>
                      <a:pt x="581" y="490"/>
                      <a:pt x="581" y="490"/>
                      <a:pt x="581" y="490"/>
                    </a:cubicBezTo>
                    <a:cubicBezTo>
                      <a:pt x="581" y="490"/>
                      <a:pt x="584" y="493"/>
                      <a:pt x="584" y="493"/>
                    </a:cubicBezTo>
                    <a:cubicBezTo>
                      <a:pt x="584" y="493"/>
                      <a:pt x="584" y="495"/>
                      <a:pt x="584" y="495"/>
                    </a:cubicBezTo>
                    <a:cubicBezTo>
                      <a:pt x="584" y="495"/>
                      <a:pt x="586" y="497"/>
                      <a:pt x="586" y="497"/>
                    </a:cubicBezTo>
                    <a:cubicBezTo>
                      <a:pt x="586" y="497"/>
                      <a:pt x="587" y="499"/>
                      <a:pt x="587" y="499"/>
                    </a:cubicBezTo>
                    <a:cubicBezTo>
                      <a:pt x="589" y="500"/>
                      <a:pt x="589" y="500"/>
                      <a:pt x="589" y="500"/>
                    </a:cubicBezTo>
                    <a:cubicBezTo>
                      <a:pt x="589" y="501"/>
                      <a:pt x="589" y="501"/>
                      <a:pt x="589" y="501"/>
                    </a:cubicBezTo>
                    <a:cubicBezTo>
                      <a:pt x="589" y="501"/>
                      <a:pt x="589" y="502"/>
                      <a:pt x="589" y="502"/>
                    </a:cubicBezTo>
                    <a:cubicBezTo>
                      <a:pt x="589" y="502"/>
                      <a:pt x="589" y="502"/>
                      <a:pt x="589" y="502"/>
                    </a:cubicBezTo>
                    <a:cubicBezTo>
                      <a:pt x="589" y="503"/>
                      <a:pt x="590" y="503"/>
                      <a:pt x="590" y="503"/>
                    </a:cubicBezTo>
                    <a:cubicBezTo>
                      <a:pt x="590" y="504"/>
                      <a:pt x="590" y="504"/>
                      <a:pt x="590" y="504"/>
                    </a:cubicBezTo>
                    <a:cubicBezTo>
                      <a:pt x="591" y="506"/>
                      <a:pt x="591" y="506"/>
                      <a:pt x="591" y="506"/>
                    </a:cubicBezTo>
                    <a:cubicBezTo>
                      <a:pt x="591" y="508"/>
                      <a:pt x="591" y="508"/>
                      <a:pt x="591" y="508"/>
                    </a:cubicBezTo>
                    <a:cubicBezTo>
                      <a:pt x="592" y="509"/>
                      <a:pt x="592" y="509"/>
                      <a:pt x="592" y="509"/>
                    </a:cubicBezTo>
                    <a:cubicBezTo>
                      <a:pt x="593" y="509"/>
                      <a:pt x="593" y="509"/>
                      <a:pt x="593" y="509"/>
                    </a:cubicBezTo>
                    <a:cubicBezTo>
                      <a:pt x="595" y="510"/>
                      <a:pt x="595" y="510"/>
                      <a:pt x="595" y="510"/>
                    </a:cubicBezTo>
                    <a:cubicBezTo>
                      <a:pt x="596" y="510"/>
                      <a:pt x="596" y="510"/>
                      <a:pt x="596" y="510"/>
                    </a:cubicBezTo>
                    <a:cubicBezTo>
                      <a:pt x="597" y="511"/>
                      <a:pt x="597" y="511"/>
                      <a:pt x="597" y="511"/>
                    </a:cubicBezTo>
                    <a:cubicBezTo>
                      <a:pt x="598" y="512"/>
                      <a:pt x="598" y="512"/>
                      <a:pt x="598" y="512"/>
                    </a:cubicBezTo>
                    <a:cubicBezTo>
                      <a:pt x="599" y="512"/>
                      <a:pt x="599" y="512"/>
                      <a:pt x="599" y="512"/>
                    </a:cubicBezTo>
                    <a:cubicBezTo>
                      <a:pt x="601" y="512"/>
                      <a:pt x="601" y="512"/>
                      <a:pt x="601" y="512"/>
                    </a:cubicBezTo>
                    <a:cubicBezTo>
                      <a:pt x="601" y="512"/>
                      <a:pt x="602" y="512"/>
                      <a:pt x="602" y="512"/>
                    </a:cubicBezTo>
                    <a:cubicBezTo>
                      <a:pt x="602" y="513"/>
                      <a:pt x="603" y="513"/>
                      <a:pt x="603" y="513"/>
                    </a:cubicBezTo>
                    <a:cubicBezTo>
                      <a:pt x="603" y="513"/>
                      <a:pt x="603" y="513"/>
                      <a:pt x="603" y="513"/>
                    </a:cubicBezTo>
                    <a:cubicBezTo>
                      <a:pt x="604" y="513"/>
                      <a:pt x="604" y="512"/>
                      <a:pt x="605" y="512"/>
                    </a:cubicBezTo>
                    <a:cubicBezTo>
                      <a:pt x="605" y="512"/>
                      <a:pt x="605" y="512"/>
                      <a:pt x="605" y="512"/>
                    </a:cubicBezTo>
                    <a:cubicBezTo>
                      <a:pt x="605" y="512"/>
                      <a:pt x="605" y="512"/>
                      <a:pt x="605" y="512"/>
                    </a:cubicBezTo>
                    <a:cubicBezTo>
                      <a:pt x="604" y="512"/>
                      <a:pt x="604" y="512"/>
                      <a:pt x="604" y="511"/>
                    </a:cubicBezTo>
                    <a:cubicBezTo>
                      <a:pt x="604" y="511"/>
                      <a:pt x="604" y="510"/>
                      <a:pt x="603" y="510"/>
                    </a:cubicBezTo>
                    <a:cubicBezTo>
                      <a:pt x="603" y="510"/>
                      <a:pt x="603" y="510"/>
                      <a:pt x="603" y="510"/>
                    </a:cubicBezTo>
                    <a:cubicBezTo>
                      <a:pt x="603" y="509"/>
                      <a:pt x="603" y="509"/>
                      <a:pt x="603" y="508"/>
                    </a:cubicBezTo>
                    <a:cubicBezTo>
                      <a:pt x="603" y="508"/>
                      <a:pt x="603" y="507"/>
                      <a:pt x="603" y="507"/>
                    </a:cubicBezTo>
                    <a:cubicBezTo>
                      <a:pt x="603" y="507"/>
                      <a:pt x="603" y="507"/>
                      <a:pt x="603" y="506"/>
                    </a:cubicBezTo>
                    <a:cubicBezTo>
                      <a:pt x="603" y="506"/>
                      <a:pt x="602" y="506"/>
                      <a:pt x="602" y="506"/>
                    </a:cubicBezTo>
                    <a:cubicBezTo>
                      <a:pt x="602" y="506"/>
                      <a:pt x="602" y="505"/>
                      <a:pt x="602" y="505"/>
                    </a:cubicBezTo>
                    <a:cubicBezTo>
                      <a:pt x="603" y="505"/>
                      <a:pt x="603" y="504"/>
                      <a:pt x="603" y="503"/>
                    </a:cubicBezTo>
                    <a:cubicBezTo>
                      <a:pt x="603" y="503"/>
                      <a:pt x="603" y="503"/>
                      <a:pt x="603" y="503"/>
                    </a:cubicBezTo>
                    <a:cubicBezTo>
                      <a:pt x="603" y="503"/>
                      <a:pt x="603" y="503"/>
                      <a:pt x="602" y="503"/>
                    </a:cubicBezTo>
                    <a:cubicBezTo>
                      <a:pt x="602" y="503"/>
                      <a:pt x="602" y="503"/>
                      <a:pt x="601" y="502"/>
                    </a:cubicBezTo>
                    <a:cubicBezTo>
                      <a:pt x="601" y="502"/>
                      <a:pt x="601" y="502"/>
                      <a:pt x="601" y="502"/>
                    </a:cubicBezTo>
                    <a:cubicBezTo>
                      <a:pt x="602" y="502"/>
                      <a:pt x="602" y="502"/>
                      <a:pt x="602" y="502"/>
                    </a:cubicBezTo>
                    <a:cubicBezTo>
                      <a:pt x="602" y="502"/>
                      <a:pt x="603" y="503"/>
                      <a:pt x="603" y="502"/>
                    </a:cubicBezTo>
                    <a:cubicBezTo>
                      <a:pt x="603" y="502"/>
                      <a:pt x="603" y="502"/>
                      <a:pt x="603" y="501"/>
                    </a:cubicBezTo>
                    <a:cubicBezTo>
                      <a:pt x="603" y="501"/>
                      <a:pt x="603" y="501"/>
                      <a:pt x="604" y="500"/>
                    </a:cubicBezTo>
                    <a:cubicBezTo>
                      <a:pt x="604" y="500"/>
                      <a:pt x="604" y="500"/>
                      <a:pt x="604" y="500"/>
                    </a:cubicBezTo>
                    <a:cubicBezTo>
                      <a:pt x="604" y="500"/>
                      <a:pt x="603" y="499"/>
                      <a:pt x="603" y="499"/>
                    </a:cubicBezTo>
                    <a:cubicBezTo>
                      <a:pt x="603" y="499"/>
                      <a:pt x="603" y="499"/>
                      <a:pt x="603" y="499"/>
                    </a:cubicBezTo>
                    <a:cubicBezTo>
                      <a:pt x="603" y="498"/>
                      <a:pt x="603" y="498"/>
                      <a:pt x="603" y="498"/>
                    </a:cubicBezTo>
                    <a:cubicBezTo>
                      <a:pt x="604" y="498"/>
                      <a:pt x="604" y="498"/>
                      <a:pt x="604" y="498"/>
                    </a:cubicBezTo>
                    <a:cubicBezTo>
                      <a:pt x="605" y="498"/>
                      <a:pt x="605" y="498"/>
                      <a:pt x="605" y="498"/>
                    </a:cubicBezTo>
                    <a:cubicBezTo>
                      <a:pt x="605" y="498"/>
                      <a:pt x="605" y="498"/>
                      <a:pt x="605" y="497"/>
                    </a:cubicBezTo>
                    <a:cubicBezTo>
                      <a:pt x="605" y="497"/>
                      <a:pt x="605" y="497"/>
                      <a:pt x="605" y="497"/>
                    </a:cubicBezTo>
                    <a:cubicBezTo>
                      <a:pt x="605" y="497"/>
                      <a:pt x="605" y="497"/>
                      <a:pt x="605" y="497"/>
                    </a:cubicBezTo>
                    <a:cubicBezTo>
                      <a:pt x="605" y="496"/>
                      <a:pt x="605" y="496"/>
                      <a:pt x="605" y="496"/>
                    </a:cubicBezTo>
                    <a:cubicBezTo>
                      <a:pt x="605" y="496"/>
                      <a:pt x="605" y="496"/>
                      <a:pt x="605" y="496"/>
                    </a:cubicBezTo>
                    <a:cubicBezTo>
                      <a:pt x="605" y="496"/>
                      <a:pt x="605" y="496"/>
                      <a:pt x="605" y="496"/>
                    </a:cubicBezTo>
                    <a:cubicBezTo>
                      <a:pt x="606" y="496"/>
                      <a:pt x="606" y="496"/>
                      <a:pt x="606" y="495"/>
                    </a:cubicBezTo>
                    <a:cubicBezTo>
                      <a:pt x="606" y="495"/>
                      <a:pt x="607" y="496"/>
                      <a:pt x="607" y="496"/>
                    </a:cubicBezTo>
                    <a:cubicBezTo>
                      <a:pt x="607" y="496"/>
                      <a:pt x="607" y="496"/>
                      <a:pt x="607" y="496"/>
                    </a:cubicBezTo>
                    <a:cubicBezTo>
                      <a:pt x="607" y="495"/>
                      <a:pt x="607" y="495"/>
                      <a:pt x="608" y="494"/>
                    </a:cubicBezTo>
                    <a:cubicBezTo>
                      <a:pt x="608" y="495"/>
                      <a:pt x="608" y="495"/>
                      <a:pt x="609" y="494"/>
                    </a:cubicBezTo>
                    <a:cubicBezTo>
                      <a:pt x="609" y="494"/>
                      <a:pt x="609" y="494"/>
                      <a:pt x="610" y="494"/>
                    </a:cubicBezTo>
                    <a:cubicBezTo>
                      <a:pt x="610" y="494"/>
                      <a:pt x="610" y="493"/>
                      <a:pt x="609" y="493"/>
                    </a:cubicBezTo>
                    <a:cubicBezTo>
                      <a:pt x="609" y="493"/>
                      <a:pt x="609" y="492"/>
                      <a:pt x="608" y="492"/>
                    </a:cubicBezTo>
                    <a:cubicBezTo>
                      <a:pt x="609" y="492"/>
                      <a:pt x="610" y="492"/>
                      <a:pt x="611" y="492"/>
                    </a:cubicBezTo>
                    <a:cubicBezTo>
                      <a:pt x="611" y="492"/>
                      <a:pt x="611" y="492"/>
                      <a:pt x="611" y="492"/>
                    </a:cubicBezTo>
                    <a:cubicBezTo>
                      <a:pt x="612" y="492"/>
                      <a:pt x="613" y="492"/>
                      <a:pt x="614" y="492"/>
                    </a:cubicBezTo>
                    <a:cubicBezTo>
                      <a:pt x="613" y="492"/>
                      <a:pt x="613" y="492"/>
                      <a:pt x="613" y="492"/>
                    </a:cubicBezTo>
                    <a:cubicBezTo>
                      <a:pt x="615" y="492"/>
                      <a:pt x="616" y="491"/>
                      <a:pt x="617" y="490"/>
                    </a:cubicBezTo>
                    <a:cubicBezTo>
                      <a:pt x="617" y="490"/>
                      <a:pt x="617" y="490"/>
                      <a:pt x="618" y="489"/>
                    </a:cubicBezTo>
                    <a:cubicBezTo>
                      <a:pt x="618" y="489"/>
                      <a:pt x="618" y="488"/>
                      <a:pt x="619" y="488"/>
                    </a:cubicBezTo>
                    <a:cubicBezTo>
                      <a:pt x="619" y="488"/>
                      <a:pt x="620" y="488"/>
                      <a:pt x="620" y="488"/>
                    </a:cubicBezTo>
                    <a:cubicBezTo>
                      <a:pt x="621" y="488"/>
                      <a:pt x="621" y="487"/>
                      <a:pt x="621" y="487"/>
                    </a:cubicBezTo>
                    <a:cubicBezTo>
                      <a:pt x="621" y="487"/>
                      <a:pt x="620" y="487"/>
                      <a:pt x="620" y="487"/>
                    </a:cubicBezTo>
                    <a:cubicBezTo>
                      <a:pt x="620" y="487"/>
                      <a:pt x="620" y="486"/>
                      <a:pt x="620" y="486"/>
                    </a:cubicBezTo>
                    <a:cubicBezTo>
                      <a:pt x="619" y="485"/>
                      <a:pt x="619" y="485"/>
                      <a:pt x="619" y="485"/>
                    </a:cubicBezTo>
                    <a:cubicBezTo>
                      <a:pt x="619" y="485"/>
                      <a:pt x="620" y="485"/>
                      <a:pt x="620" y="484"/>
                    </a:cubicBezTo>
                    <a:cubicBezTo>
                      <a:pt x="620" y="484"/>
                      <a:pt x="620" y="484"/>
                      <a:pt x="620" y="484"/>
                    </a:cubicBezTo>
                    <a:cubicBezTo>
                      <a:pt x="621" y="483"/>
                      <a:pt x="621" y="483"/>
                      <a:pt x="621" y="484"/>
                    </a:cubicBezTo>
                    <a:cubicBezTo>
                      <a:pt x="621" y="484"/>
                      <a:pt x="622" y="484"/>
                      <a:pt x="621" y="484"/>
                    </a:cubicBezTo>
                    <a:cubicBezTo>
                      <a:pt x="621" y="485"/>
                      <a:pt x="621" y="485"/>
                      <a:pt x="621" y="485"/>
                    </a:cubicBezTo>
                    <a:cubicBezTo>
                      <a:pt x="622" y="486"/>
                      <a:pt x="623" y="485"/>
                      <a:pt x="624" y="485"/>
                    </a:cubicBezTo>
                    <a:cubicBezTo>
                      <a:pt x="625" y="485"/>
                      <a:pt x="626" y="484"/>
                      <a:pt x="627" y="484"/>
                    </a:cubicBezTo>
                    <a:cubicBezTo>
                      <a:pt x="629" y="483"/>
                      <a:pt x="632" y="483"/>
                      <a:pt x="634" y="484"/>
                    </a:cubicBezTo>
                    <a:cubicBezTo>
                      <a:pt x="635" y="485"/>
                      <a:pt x="636" y="485"/>
                      <a:pt x="638" y="485"/>
                    </a:cubicBezTo>
                    <a:cubicBezTo>
                      <a:pt x="638" y="485"/>
                      <a:pt x="638" y="485"/>
                      <a:pt x="639" y="485"/>
                    </a:cubicBezTo>
                    <a:cubicBezTo>
                      <a:pt x="639" y="485"/>
                      <a:pt x="639" y="484"/>
                      <a:pt x="638" y="484"/>
                    </a:cubicBezTo>
                    <a:cubicBezTo>
                      <a:pt x="638" y="483"/>
                      <a:pt x="638" y="483"/>
                      <a:pt x="638" y="483"/>
                    </a:cubicBezTo>
                    <a:cubicBezTo>
                      <a:pt x="639" y="483"/>
                      <a:pt x="639" y="483"/>
                      <a:pt x="639" y="484"/>
                    </a:cubicBezTo>
                    <a:cubicBezTo>
                      <a:pt x="639" y="483"/>
                      <a:pt x="639" y="483"/>
                      <a:pt x="639" y="483"/>
                    </a:cubicBezTo>
                    <a:cubicBezTo>
                      <a:pt x="639" y="482"/>
                      <a:pt x="639" y="482"/>
                      <a:pt x="640" y="482"/>
                    </a:cubicBezTo>
                    <a:cubicBezTo>
                      <a:pt x="640" y="482"/>
                      <a:pt x="640" y="483"/>
                      <a:pt x="640" y="483"/>
                    </a:cubicBezTo>
                    <a:cubicBezTo>
                      <a:pt x="641" y="483"/>
                      <a:pt x="641" y="484"/>
                      <a:pt x="641" y="483"/>
                    </a:cubicBezTo>
                    <a:cubicBezTo>
                      <a:pt x="641" y="484"/>
                      <a:pt x="642" y="485"/>
                      <a:pt x="642" y="485"/>
                    </a:cubicBezTo>
                    <a:cubicBezTo>
                      <a:pt x="642" y="485"/>
                      <a:pt x="642" y="485"/>
                      <a:pt x="642" y="485"/>
                    </a:cubicBezTo>
                    <a:cubicBezTo>
                      <a:pt x="643" y="486"/>
                      <a:pt x="643" y="486"/>
                      <a:pt x="643" y="486"/>
                    </a:cubicBezTo>
                    <a:cubicBezTo>
                      <a:pt x="644" y="486"/>
                      <a:pt x="644" y="486"/>
                      <a:pt x="644" y="486"/>
                    </a:cubicBezTo>
                    <a:cubicBezTo>
                      <a:pt x="644" y="486"/>
                      <a:pt x="644" y="485"/>
                      <a:pt x="645" y="485"/>
                    </a:cubicBezTo>
                    <a:cubicBezTo>
                      <a:pt x="645" y="486"/>
                      <a:pt x="645" y="486"/>
                      <a:pt x="645" y="486"/>
                    </a:cubicBezTo>
                    <a:cubicBezTo>
                      <a:pt x="645" y="486"/>
                      <a:pt x="645" y="487"/>
                      <a:pt x="645" y="487"/>
                    </a:cubicBezTo>
                    <a:cubicBezTo>
                      <a:pt x="645" y="487"/>
                      <a:pt x="645" y="487"/>
                      <a:pt x="645" y="488"/>
                    </a:cubicBezTo>
                    <a:cubicBezTo>
                      <a:pt x="646" y="488"/>
                      <a:pt x="646" y="488"/>
                      <a:pt x="646" y="488"/>
                    </a:cubicBezTo>
                    <a:cubicBezTo>
                      <a:pt x="646" y="488"/>
                      <a:pt x="646" y="487"/>
                      <a:pt x="646" y="487"/>
                    </a:cubicBezTo>
                    <a:cubicBezTo>
                      <a:pt x="647" y="487"/>
                      <a:pt x="647" y="487"/>
                      <a:pt x="647" y="487"/>
                    </a:cubicBezTo>
                    <a:cubicBezTo>
                      <a:pt x="647" y="488"/>
                      <a:pt x="647" y="488"/>
                      <a:pt x="648" y="488"/>
                    </a:cubicBezTo>
                    <a:cubicBezTo>
                      <a:pt x="648" y="488"/>
                      <a:pt x="648" y="488"/>
                      <a:pt x="648" y="488"/>
                    </a:cubicBezTo>
                    <a:cubicBezTo>
                      <a:pt x="648" y="488"/>
                      <a:pt x="649" y="488"/>
                      <a:pt x="649" y="488"/>
                    </a:cubicBezTo>
                    <a:cubicBezTo>
                      <a:pt x="649" y="487"/>
                      <a:pt x="650" y="487"/>
                      <a:pt x="650" y="487"/>
                    </a:cubicBezTo>
                    <a:cubicBezTo>
                      <a:pt x="650" y="487"/>
                      <a:pt x="651" y="488"/>
                      <a:pt x="651" y="488"/>
                    </a:cubicBezTo>
                    <a:cubicBezTo>
                      <a:pt x="651" y="488"/>
                      <a:pt x="652" y="488"/>
                      <a:pt x="652" y="488"/>
                    </a:cubicBezTo>
                    <a:cubicBezTo>
                      <a:pt x="652" y="488"/>
                      <a:pt x="652" y="488"/>
                      <a:pt x="652" y="487"/>
                    </a:cubicBezTo>
                    <a:cubicBezTo>
                      <a:pt x="652" y="487"/>
                      <a:pt x="652" y="487"/>
                      <a:pt x="652" y="487"/>
                    </a:cubicBezTo>
                    <a:cubicBezTo>
                      <a:pt x="652" y="487"/>
                      <a:pt x="652" y="487"/>
                      <a:pt x="652" y="487"/>
                    </a:cubicBezTo>
                    <a:cubicBezTo>
                      <a:pt x="653" y="487"/>
                      <a:pt x="653" y="486"/>
                      <a:pt x="652" y="486"/>
                    </a:cubicBezTo>
                    <a:cubicBezTo>
                      <a:pt x="652" y="486"/>
                      <a:pt x="652" y="486"/>
                      <a:pt x="652" y="485"/>
                    </a:cubicBezTo>
                    <a:cubicBezTo>
                      <a:pt x="652" y="485"/>
                      <a:pt x="652" y="485"/>
                      <a:pt x="652" y="485"/>
                    </a:cubicBezTo>
                    <a:cubicBezTo>
                      <a:pt x="652" y="485"/>
                      <a:pt x="652" y="485"/>
                      <a:pt x="652" y="486"/>
                    </a:cubicBezTo>
                    <a:cubicBezTo>
                      <a:pt x="653" y="486"/>
                      <a:pt x="654" y="486"/>
                      <a:pt x="655" y="487"/>
                    </a:cubicBezTo>
                    <a:cubicBezTo>
                      <a:pt x="655" y="487"/>
                      <a:pt x="656" y="487"/>
                      <a:pt x="656" y="487"/>
                    </a:cubicBezTo>
                    <a:cubicBezTo>
                      <a:pt x="656" y="488"/>
                      <a:pt x="656" y="488"/>
                      <a:pt x="656" y="488"/>
                    </a:cubicBezTo>
                    <a:cubicBezTo>
                      <a:pt x="657" y="488"/>
                      <a:pt x="657" y="488"/>
                      <a:pt x="657" y="488"/>
                    </a:cubicBezTo>
                    <a:cubicBezTo>
                      <a:pt x="657" y="487"/>
                      <a:pt x="656" y="486"/>
                      <a:pt x="655" y="486"/>
                    </a:cubicBezTo>
                    <a:cubicBezTo>
                      <a:pt x="655" y="485"/>
                      <a:pt x="655" y="485"/>
                      <a:pt x="655" y="485"/>
                    </a:cubicBezTo>
                    <a:cubicBezTo>
                      <a:pt x="655" y="484"/>
                      <a:pt x="655" y="484"/>
                      <a:pt x="655" y="484"/>
                    </a:cubicBezTo>
                    <a:cubicBezTo>
                      <a:pt x="655" y="484"/>
                      <a:pt x="655" y="484"/>
                      <a:pt x="655" y="484"/>
                    </a:cubicBezTo>
                    <a:cubicBezTo>
                      <a:pt x="655" y="483"/>
                      <a:pt x="655" y="483"/>
                      <a:pt x="655" y="484"/>
                    </a:cubicBezTo>
                    <a:cubicBezTo>
                      <a:pt x="655" y="484"/>
                      <a:pt x="655" y="484"/>
                      <a:pt x="656" y="484"/>
                    </a:cubicBezTo>
                    <a:cubicBezTo>
                      <a:pt x="656" y="484"/>
                      <a:pt x="656" y="484"/>
                      <a:pt x="656" y="484"/>
                    </a:cubicBezTo>
                    <a:cubicBezTo>
                      <a:pt x="657" y="484"/>
                      <a:pt x="657" y="484"/>
                      <a:pt x="657" y="483"/>
                    </a:cubicBezTo>
                    <a:cubicBezTo>
                      <a:pt x="657" y="483"/>
                      <a:pt x="657" y="483"/>
                      <a:pt x="657" y="483"/>
                    </a:cubicBezTo>
                    <a:cubicBezTo>
                      <a:pt x="657" y="483"/>
                      <a:pt x="657" y="483"/>
                      <a:pt x="657" y="483"/>
                    </a:cubicBezTo>
                    <a:cubicBezTo>
                      <a:pt x="656" y="482"/>
                      <a:pt x="657" y="482"/>
                      <a:pt x="656" y="481"/>
                    </a:cubicBezTo>
                    <a:cubicBezTo>
                      <a:pt x="656" y="481"/>
                      <a:pt x="656" y="481"/>
                      <a:pt x="656" y="482"/>
                    </a:cubicBezTo>
                    <a:cubicBezTo>
                      <a:pt x="656" y="482"/>
                      <a:pt x="656" y="482"/>
                      <a:pt x="655" y="483"/>
                    </a:cubicBezTo>
                    <a:cubicBezTo>
                      <a:pt x="655" y="483"/>
                      <a:pt x="655" y="483"/>
                      <a:pt x="654" y="482"/>
                    </a:cubicBezTo>
                    <a:cubicBezTo>
                      <a:pt x="654" y="482"/>
                      <a:pt x="654" y="482"/>
                      <a:pt x="654" y="482"/>
                    </a:cubicBezTo>
                    <a:cubicBezTo>
                      <a:pt x="654" y="482"/>
                      <a:pt x="654" y="482"/>
                      <a:pt x="654" y="482"/>
                    </a:cubicBezTo>
                    <a:cubicBezTo>
                      <a:pt x="655" y="481"/>
                      <a:pt x="656" y="481"/>
                      <a:pt x="657" y="480"/>
                    </a:cubicBezTo>
                    <a:cubicBezTo>
                      <a:pt x="657" y="480"/>
                      <a:pt x="657" y="480"/>
                      <a:pt x="658" y="479"/>
                    </a:cubicBezTo>
                    <a:cubicBezTo>
                      <a:pt x="658" y="479"/>
                      <a:pt x="659" y="479"/>
                      <a:pt x="659" y="479"/>
                    </a:cubicBezTo>
                    <a:cubicBezTo>
                      <a:pt x="660" y="479"/>
                      <a:pt x="660" y="479"/>
                      <a:pt x="660" y="479"/>
                    </a:cubicBezTo>
                    <a:cubicBezTo>
                      <a:pt x="660" y="479"/>
                      <a:pt x="661" y="479"/>
                      <a:pt x="661" y="479"/>
                    </a:cubicBezTo>
                    <a:cubicBezTo>
                      <a:pt x="662" y="479"/>
                      <a:pt x="663" y="479"/>
                      <a:pt x="663" y="479"/>
                    </a:cubicBezTo>
                    <a:cubicBezTo>
                      <a:pt x="664" y="479"/>
                      <a:pt x="664" y="479"/>
                      <a:pt x="664" y="479"/>
                    </a:cubicBezTo>
                    <a:cubicBezTo>
                      <a:pt x="664" y="479"/>
                      <a:pt x="665" y="479"/>
                      <a:pt x="665" y="479"/>
                    </a:cubicBezTo>
                    <a:cubicBezTo>
                      <a:pt x="665" y="479"/>
                      <a:pt x="666" y="479"/>
                      <a:pt x="666" y="478"/>
                    </a:cubicBezTo>
                    <a:cubicBezTo>
                      <a:pt x="666" y="478"/>
                      <a:pt x="665" y="477"/>
                      <a:pt x="666" y="477"/>
                    </a:cubicBezTo>
                    <a:cubicBezTo>
                      <a:pt x="666" y="476"/>
                      <a:pt x="666" y="477"/>
                      <a:pt x="667" y="477"/>
                    </a:cubicBezTo>
                    <a:cubicBezTo>
                      <a:pt x="667" y="477"/>
                      <a:pt x="667" y="478"/>
                      <a:pt x="667" y="478"/>
                    </a:cubicBezTo>
                    <a:cubicBezTo>
                      <a:pt x="667" y="479"/>
                      <a:pt x="668" y="479"/>
                      <a:pt x="668" y="480"/>
                    </a:cubicBezTo>
                    <a:cubicBezTo>
                      <a:pt x="669" y="480"/>
                      <a:pt x="670" y="479"/>
                      <a:pt x="671" y="479"/>
                    </a:cubicBezTo>
                    <a:cubicBezTo>
                      <a:pt x="672" y="478"/>
                      <a:pt x="672" y="478"/>
                      <a:pt x="673" y="478"/>
                    </a:cubicBezTo>
                    <a:cubicBezTo>
                      <a:pt x="673" y="478"/>
                      <a:pt x="673" y="479"/>
                      <a:pt x="673" y="479"/>
                    </a:cubicBezTo>
                    <a:cubicBezTo>
                      <a:pt x="674" y="479"/>
                      <a:pt x="675" y="479"/>
                      <a:pt x="676" y="478"/>
                    </a:cubicBezTo>
                    <a:cubicBezTo>
                      <a:pt x="677" y="478"/>
                      <a:pt x="678" y="478"/>
                      <a:pt x="679" y="479"/>
                    </a:cubicBezTo>
                    <a:cubicBezTo>
                      <a:pt x="678" y="479"/>
                      <a:pt x="678" y="479"/>
                      <a:pt x="678" y="479"/>
                    </a:cubicBezTo>
                    <a:cubicBezTo>
                      <a:pt x="679" y="480"/>
                      <a:pt x="681" y="480"/>
                      <a:pt x="683" y="481"/>
                    </a:cubicBezTo>
                    <a:cubicBezTo>
                      <a:pt x="683" y="481"/>
                      <a:pt x="683" y="481"/>
                      <a:pt x="682" y="481"/>
                    </a:cubicBezTo>
                    <a:cubicBezTo>
                      <a:pt x="683" y="482"/>
                      <a:pt x="684" y="482"/>
                      <a:pt x="684" y="483"/>
                    </a:cubicBezTo>
                    <a:cubicBezTo>
                      <a:pt x="684" y="483"/>
                      <a:pt x="684" y="484"/>
                      <a:pt x="684" y="484"/>
                    </a:cubicBezTo>
                    <a:cubicBezTo>
                      <a:pt x="685" y="484"/>
                      <a:pt x="685" y="484"/>
                      <a:pt x="686" y="484"/>
                    </a:cubicBezTo>
                    <a:cubicBezTo>
                      <a:pt x="686" y="484"/>
                      <a:pt x="687" y="484"/>
                      <a:pt x="687" y="484"/>
                    </a:cubicBezTo>
                    <a:cubicBezTo>
                      <a:pt x="687" y="484"/>
                      <a:pt x="688" y="483"/>
                      <a:pt x="688" y="483"/>
                    </a:cubicBezTo>
                    <a:cubicBezTo>
                      <a:pt x="688" y="483"/>
                      <a:pt x="688" y="482"/>
                      <a:pt x="688" y="482"/>
                    </a:cubicBezTo>
                    <a:cubicBezTo>
                      <a:pt x="688" y="483"/>
                      <a:pt x="689" y="483"/>
                      <a:pt x="690" y="482"/>
                    </a:cubicBezTo>
                    <a:cubicBezTo>
                      <a:pt x="690" y="482"/>
                      <a:pt x="690" y="482"/>
                      <a:pt x="690" y="482"/>
                    </a:cubicBezTo>
                    <a:cubicBezTo>
                      <a:pt x="690" y="482"/>
                      <a:pt x="690" y="482"/>
                      <a:pt x="691" y="482"/>
                    </a:cubicBezTo>
                    <a:cubicBezTo>
                      <a:pt x="691" y="482"/>
                      <a:pt x="691" y="481"/>
                      <a:pt x="691" y="481"/>
                    </a:cubicBezTo>
                    <a:cubicBezTo>
                      <a:pt x="691" y="480"/>
                      <a:pt x="692" y="480"/>
                      <a:pt x="692" y="480"/>
                    </a:cubicBezTo>
                    <a:cubicBezTo>
                      <a:pt x="692" y="480"/>
                      <a:pt x="692" y="481"/>
                      <a:pt x="692" y="481"/>
                    </a:cubicBezTo>
                    <a:cubicBezTo>
                      <a:pt x="692" y="481"/>
                      <a:pt x="693" y="481"/>
                      <a:pt x="693" y="482"/>
                    </a:cubicBezTo>
                    <a:cubicBezTo>
                      <a:pt x="694" y="482"/>
                      <a:pt x="695" y="482"/>
                      <a:pt x="696" y="483"/>
                    </a:cubicBezTo>
                    <a:cubicBezTo>
                      <a:pt x="696" y="484"/>
                      <a:pt x="696" y="484"/>
                      <a:pt x="696" y="484"/>
                    </a:cubicBezTo>
                    <a:cubicBezTo>
                      <a:pt x="696" y="484"/>
                      <a:pt x="697" y="484"/>
                      <a:pt x="697" y="485"/>
                    </a:cubicBezTo>
                    <a:cubicBezTo>
                      <a:pt x="697" y="485"/>
                      <a:pt x="697" y="485"/>
                      <a:pt x="697" y="485"/>
                    </a:cubicBezTo>
                    <a:cubicBezTo>
                      <a:pt x="698" y="486"/>
                      <a:pt x="699" y="488"/>
                      <a:pt x="700" y="488"/>
                    </a:cubicBezTo>
                    <a:cubicBezTo>
                      <a:pt x="700" y="488"/>
                      <a:pt x="701" y="489"/>
                      <a:pt x="701" y="489"/>
                    </a:cubicBezTo>
                    <a:cubicBezTo>
                      <a:pt x="701" y="489"/>
                      <a:pt x="702" y="490"/>
                      <a:pt x="702" y="490"/>
                    </a:cubicBezTo>
                    <a:cubicBezTo>
                      <a:pt x="702" y="492"/>
                      <a:pt x="702" y="494"/>
                      <a:pt x="702" y="495"/>
                    </a:cubicBezTo>
                    <a:cubicBezTo>
                      <a:pt x="701" y="496"/>
                      <a:pt x="701" y="497"/>
                      <a:pt x="701" y="498"/>
                    </a:cubicBezTo>
                    <a:cubicBezTo>
                      <a:pt x="701" y="498"/>
                      <a:pt x="701" y="498"/>
                      <a:pt x="701" y="499"/>
                    </a:cubicBezTo>
                    <a:cubicBezTo>
                      <a:pt x="701" y="499"/>
                      <a:pt x="701" y="499"/>
                      <a:pt x="701" y="499"/>
                    </a:cubicBezTo>
                    <a:cubicBezTo>
                      <a:pt x="702" y="499"/>
                      <a:pt x="702" y="499"/>
                      <a:pt x="702" y="498"/>
                    </a:cubicBezTo>
                    <a:cubicBezTo>
                      <a:pt x="702" y="498"/>
                      <a:pt x="702" y="497"/>
                      <a:pt x="703" y="498"/>
                    </a:cubicBezTo>
                    <a:cubicBezTo>
                      <a:pt x="703" y="498"/>
                      <a:pt x="703" y="498"/>
                      <a:pt x="703" y="498"/>
                    </a:cubicBezTo>
                    <a:cubicBezTo>
                      <a:pt x="703" y="498"/>
                      <a:pt x="703" y="498"/>
                      <a:pt x="703" y="499"/>
                    </a:cubicBezTo>
                    <a:cubicBezTo>
                      <a:pt x="703" y="499"/>
                      <a:pt x="703" y="499"/>
                      <a:pt x="703" y="499"/>
                    </a:cubicBezTo>
                    <a:cubicBezTo>
                      <a:pt x="703" y="500"/>
                      <a:pt x="702" y="500"/>
                      <a:pt x="702" y="500"/>
                    </a:cubicBezTo>
                    <a:cubicBezTo>
                      <a:pt x="702" y="501"/>
                      <a:pt x="702" y="501"/>
                      <a:pt x="702" y="501"/>
                    </a:cubicBezTo>
                    <a:cubicBezTo>
                      <a:pt x="702" y="501"/>
                      <a:pt x="702" y="501"/>
                      <a:pt x="702" y="501"/>
                    </a:cubicBezTo>
                    <a:cubicBezTo>
                      <a:pt x="703" y="503"/>
                      <a:pt x="703" y="505"/>
                      <a:pt x="704" y="506"/>
                    </a:cubicBezTo>
                    <a:cubicBezTo>
                      <a:pt x="705" y="506"/>
                      <a:pt x="705" y="507"/>
                      <a:pt x="705" y="507"/>
                    </a:cubicBezTo>
                    <a:cubicBezTo>
                      <a:pt x="705" y="507"/>
                      <a:pt x="705" y="506"/>
                      <a:pt x="705" y="506"/>
                    </a:cubicBezTo>
                    <a:cubicBezTo>
                      <a:pt x="705" y="506"/>
                      <a:pt x="705" y="506"/>
                      <a:pt x="705" y="506"/>
                    </a:cubicBezTo>
                    <a:cubicBezTo>
                      <a:pt x="705" y="506"/>
                      <a:pt x="705" y="505"/>
                      <a:pt x="706" y="505"/>
                    </a:cubicBezTo>
                    <a:cubicBezTo>
                      <a:pt x="706" y="505"/>
                      <a:pt x="706" y="506"/>
                      <a:pt x="706" y="506"/>
                    </a:cubicBezTo>
                    <a:cubicBezTo>
                      <a:pt x="706" y="507"/>
                      <a:pt x="706" y="507"/>
                      <a:pt x="706" y="507"/>
                    </a:cubicBezTo>
                    <a:cubicBezTo>
                      <a:pt x="705" y="507"/>
                      <a:pt x="705" y="508"/>
                      <a:pt x="705" y="508"/>
                    </a:cubicBezTo>
                    <a:cubicBezTo>
                      <a:pt x="706" y="508"/>
                      <a:pt x="706" y="508"/>
                      <a:pt x="707" y="508"/>
                    </a:cubicBezTo>
                    <a:cubicBezTo>
                      <a:pt x="707" y="508"/>
                      <a:pt x="707" y="508"/>
                      <a:pt x="707" y="509"/>
                    </a:cubicBezTo>
                    <a:cubicBezTo>
                      <a:pt x="707" y="509"/>
                      <a:pt x="707" y="509"/>
                      <a:pt x="707" y="510"/>
                    </a:cubicBezTo>
                    <a:cubicBezTo>
                      <a:pt x="708" y="510"/>
                      <a:pt x="708" y="511"/>
                      <a:pt x="708" y="511"/>
                    </a:cubicBezTo>
                    <a:cubicBezTo>
                      <a:pt x="708" y="512"/>
                      <a:pt x="708" y="512"/>
                      <a:pt x="709" y="513"/>
                    </a:cubicBezTo>
                    <a:cubicBezTo>
                      <a:pt x="709" y="513"/>
                      <a:pt x="710" y="513"/>
                      <a:pt x="710" y="514"/>
                    </a:cubicBezTo>
                    <a:cubicBezTo>
                      <a:pt x="711" y="514"/>
                      <a:pt x="712" y="516"/>
                      <a:pt x="712" y="517"/>
                    </a:cubicBezTo>
                    <a:cubicBezTo>
                      <a:pt x="712" y="518"/>
                      <a:pt x="712" y="518"/>
                      <a:pt x="713" y="518"/>
                    </a:cubicBezTo>
                    <a:cubicBezTo>
                      <a:pt x="713" y="518"/>
                      <a:pt x="713" y="518"/>
                      <a:pt x="713" y="518"/>
                    </a:cubicBezTo>
                    <a:cubicBezTo>
                      <a:pt x="714" y="519"/>
                      <a:pt x="715" y="518"/>
                      <a:pt x="716" y="518"/>
                    </a:cubicBezTo>
                    <a:cubicBezTo>
                      <a:pt x="716" y="518"/>
                      <a:pt x="716" y="518"/>
                      <a:pt x="716" y="518"/>
                    </a:cubicBezTo>
                    <a:cubicBezTo>
                      <a:pt x="716" y="518"/>
                      <a:pt x="717" y="518"/>
                      <a:pt x="717" y="518"/>
                    </a:cubicBezTo>
                    <a:cubicBezTo>
                      <a:pt x="718" y="518"/>
                      <a:pt x="718" y="517"/>
                      <a:pt x="718" y="516"/>
                    </a:cubicBezTo>
                    <a:cubicBezTo>
                      <a:pt x="718" y="516"/>
                      <a:pt x="718" y="515"/>
                      <a:pt x="718" y="515"/>
                    </a:cubicBezTo>
                    <a:cubicBezTo>
                      <a:pt x="718" y="515"/>
                      <a:pt x="719" y="514"/>
                      <a:pt x="719" y="514"/>
                    </a:cubicBezTo>
                    <a:cubicBezTo>
                      <a:pt x="719" y="514"/>
                      <a:pt x="719" y="513"/>
                      <a:pt x="719" y="513"/>
                    </a:cubicBezTo>
                    <a:cubicBezTo>
                      <a:pt x="719" y="511"/>
                      <a:pt x="719" y="510"/>
                      <a:pt x="719" y="508"/>
                    </a:cubicBezTo>
                    <a:cubicBezTo>
                      <a:pt x="720" y="507"/>
                      <a:pt x="720" y="505"/>
                      <a:pt x="719" y="504"/>
                    </a:cubicBezTo>
                    <a:cubicBezTo>
                      <a:pt x="718" y="504"/>
                      <a:pt x="718" y="503"/>
                      <a:pt x="718" y="503"/>
                    </a:cubicBezTo>
                    <a:cubicBezTo>
                      <a:pt x="718" y="502"/>
                      <a:pt x="718" y="502"/>
                      <a:pt x="718" y="501"/>
                    </a:cubicBezTo>
                    <a:cubicBezTo>
                      <a:pt x="718" y="500"/>
                      <a:pt x="717" y="498"/>
                      <a:pt x="716" y="497"/>
                    </a:cubicBezTo>
                    <a:cubicBezTo>
                      <a:pt x="715" y="496"/>
                      <a:pt x="715" y="495"/>
                      <a:pt x="715" y="494"/>
                    </a:cubicBezTo>
                    <a:cubicBezTo>
                      <a:pt x="715" y="493"/>
                      <a:pt x="714" y="493"/>
                      <a:pt x="714" y="492"/>
                    </a:cubicBezTo>
                    <a:cubicBezTo>
                      <a:pt x="714" y="492"/>
                      <a:pt x="715" y="492"/>
                      <a:pt x="715" y="491"/>
                    </a:cubicBezTo>
                    <a:cubicBezTo>
                      <a:pt x="715" y="490"/>
                      <a:pt x="714" y="490"/>
                      <a:pt x="713" y="489"/>
                    </a:cubicBezTo>
                    <a:cubicBezTo>
                      <a:pt x="713" y="488"/>
                      <a:pt x="713" y="487"/>
                      <a:pt x="712" y="486"/>
                    </a:cubicBezTo>
                    <a:cubicBezTo>
                      <a:pt x="711" y="483"/>
                      <a:pt x="710" y="481"/>
                      <a:pt x="710" y="478"/>
                    </a:cubicBezTo>
                    <a:cubicBezTo>
                      <a:pt x="710" y="478"/>
                      <a:pt x="710" y="477"/>
                      <a:pt x="710" y="477"/>
                    </a:cubicBezTo>
                    <a:cubicBezTo>
                      <a:pt x="710" y="477"/>
                      <a:pt x="710" y="477"/>
                      <a:pt x="710" y="477"/>
                    </a:cubicBezTo>
                    <a:cubicBezTo>
                      <a:pt x="710" y="477"/>
                      <a:pt x="710" y="477"/>
                      <a:pt x="710" y="477"/>
                    </a:cubicBezTo>
                    <a:cubicBezTo>
                      <a:pt x="710" y="477"/>
                      <a:pt x="710" y="476"/>
                      <a:pt x="710" y="476"/>
                    </a:cubicBezTo>
                    <a:cubicBezTo>
                      <a:pt x="710" y="476"/>
                      <a:pt x="710" y="476"/>
                      <a:pt x="710" y="476"/>
                    </a:cubicBezTo>
                    <a:cubicBezTo>
                      <a:pt x="710" y="476"/>
                      <a:pt x="710" y="475"/>
                      <a:pt x="710" y="475"/>
                    </a:cubicBezTo>
                    <a:cubicBezTo>
                      <a:pt x="710" y="475"/>
                      <a:pt x="710" y="475"/>
                      <a:pt x="710" y="475"/>
                    </a:cubicBezTo>
                    <a:cubicBezTo>
                      <a:pt x="710" y="475"/>
                      <a:pt x="710" y="475"/>
                      <a:pt x="710" y="474"/>
                    </a:cubicBezTo>
                    <a:cubicBezTo>
                      <a:pt x="710" y="474"/>
                      <a:pt x="710" y="474"/>
                      <a:pt x="710" y="474"/>
                    </a:cubicBezTo>
                    <a:cubicBezTo>
                      <a:pt x="710" y="474"/>
                      <a:pt x="710" y="474"/>
                      <a:pt x="710" y="474"/>
                    </a:cubicBezTo>
                    <a:cubicBezTo>
                      <a:pt x="710" y="474"/>
                      <a:pt x="710" y="474"/>
                      <a:pt x="710" y="474"/>
                    </a:cubicBezTo>
                    <a:cubicBezTo>
                      <a:pt x="710" y="474"/>
                      <a:pt x="710" y="473"/>
                      <a:pt x="710" y="473"/>
                    </a:cubicBezTo>
                    <a:cubicBezTo>
                      <a:pt x="710" y="473"/>
                      <a:pt x="710" y="473"/>
                      <a:pt x="710" y="473"/>
                    </a:cubicBezTo>
                    <a:cubicBezTo>
                      <a:pt x="710" y="473"/>
                      <a:pt x="710" y="473"/>
                      <a:pt x="710" y="473"/>
                    </a:cubicBezTo>
                    <a:cubicBezTo>
                      <a:pt x="710" y="473"/>
                      <a:pt x="710" y="473"/>
                      <a:pt x="711" y="473"/>
                    </a:cubicBezTo>
                    <a:cubicBezTo>
                      <a:pt x="711" y="473"/>
                      <a:pt x="711" y="472"/>
                      <a:pt x="711" y="472"/>
                    </a:cubicBezTo>
                    <a:cubicBezTo>
                      <a:pt x="711" y="472"/>
                      <a:pt x="711" y="472"/>
                      <a:pt x="711" y="472"/>
                    </a:cubicBezTo>
                    <a:cubicBezTo>
                      <a:pt x="711" y="472"/>
                      <a:pt x="710" y="472"/>
                      <a:pt x="710" y="472"/>
                    </a:cubicBezTo>
                    <a:cubicBezTo>
                      <a:pt x="711" y="471"/>
                      <a:pt x="711" y="472"/>
                      <a:pt x="711" y="471"/>
                    </a:cubicBezTo>
                    <a:cubicBezTo>
                      <a:pt x="711" y="471"/>
                      <a:pt x="711" y="471"/>
                      <a:pt x="711" y="471"/>
                    </a:cubicBezTo>
                    <a:cubicBezTo>
                      <a:pt x="711" y="471"/>
                      <a:pt x="711" y="471"/>
                      <a:pt x="711" y="471"/>
                    </a:cubicBezTo>
                    <a:cubicBezTo>
                      <a:pt x="711" y="471"/>
                      <a:pt x="712" y="470"/>
                      <a:pt x="711" y="470"/>
                    </a:cubicBezTo>
                    <a:cubicBezTo>
                      <a:pt x="711" y="470"/>
                      <a:pt x="711" y="470"/>
                      <a:pt x="711" y="470"/>
                    </a:cubicBezTo>
                    <a:cubicBezTo>
                      <a:pt x="711" y="470"/>
                      <a:pt x="711" y="470"/>
                      <a:pt x="711" y="470"/>
                    </a:cubicBezTo>
                    <a:cubicBezTo>
                      <a:pt x="711" y="470"/>
                      <a:pt x="711" y="470"/>
                      <a:pt x="711" y="469"/>
                    </a:cubicBezTo>
                    <a:cubicBezTo>
                      <a:pt x="711" y="469"/>
                      <a:pt x="711" y="469"/>
                      <a:pt x="711" y="469"/>
                    </a:cubicBezTo>
                    <a:cubicBezTo>
                      <a:pt x="711" y="469"/>
                      <a:pt x="711" y="468"/>
                      <a:pt x="711" y="468"/>
                    </a:cubicBezTo>
                    <a:cubicBezTo>
                      <a:pt x="711" y="468"/>
                      <a:pt x="711" y="468"/>
                      <a:pt x="711" y="468"/>
                    </a:cubicBezTo>
                    <a:cubicBezTo>
                      <a:pt x="712" y="468"/>
                      <a:pt x="712" y="468"/>
                      <a:pt x="712" y="468"/>
                    </a:cubicBezTo>
                    <a:cubicBezTo>
                      <a:pt x="712" y="468"/>
                      <a:pt x="712" y="468"/>
                      <a:pt x="712" y="468"/>
                    </a:cubicBezTo>
                    <a:cubicBezTo>
                      <a:pt x="713" y="468"/>
                      <a:pt x="713" y="467"/>
                      <a:pt x="713" y="467"/>
                    </a:cubicBezTo>
                    <a:cubicBezTo>
                      <a:pt x="713" y="467"/>
                      <a:pt x="713" y="467"/>
                      <a:pt x="713" y="467"/>
                    </a:cubicBezTo>
                    <a:cubicBezTo>
                      <a:pt x="713" y="467"/>
                      <a:pt x="713" y="467"/>
                      <a:pt x="714" y="467"/>
                    </a:cubicBezTo>
                    <a:cubicBezTo>
                      <a:pt x="714" y="467"/>
                      <a:pt x="714" y="466"/>
                      <a:pt x="714" y="466"/>
                    </a:cubicBezTo>
                    <a:cubicBezTo>
                      <a:pt x="713" y="466"/>
                      <a:pt x="713" y="466"/>
                      <a:pt x="713" y="466"/>
                    </a:cubicBezTo>
                    <a:cubicBezTo>
                      <a:pt x="713" y="465"/>
                      <a:pt x="714" y="465"/>
                      <a:pt x="714" y="465"/>
                    </a:cubicBezTo>
                    <a:cubicBezTo>
                      <a:pt x="714" y="465"/>
                      <a:pt x="714" y="464"/>
                      <a:pt x="714" y="464"/>
                    </a:cubicBezTo>
                    <a:cubicBezTo>
                      <a:pt x="714" y="463"/>
                      <a:pt x="714" y="463"/>
                      <a:pt x="714" y="463"/>
                    </a:cubicBezTo>
                    <a:cubicBezTo>
                      <a:pt x="714" y="463"/>
                      <a:pt x="714" y="463"/>
                      <a:pt x="714" y="463"/>
                    </a:cubicBezTo>
                    <a:cubicBezTo>
                      <a:pt x="715" y="463"/>
                      <a:pt x="715" y="463"/>
                      <a:pt x="715" y="464"/>
                    </a:cubicBezTo>
                    <a:cubicBezTo>
                      <a:pt x="715" y="464"/>
                      <a:pt x="715" y="464"/>
                      <a:pt x="715" y="464"/>
                    </a:cubicBezTo>
                    <a:cubicBezTo>
                      <a:pt x="715" y="464"/>
                      <a:pt x="715" y="464"/>
                      <a:pt x="716" y="464"/>
                    </a:cubicBezTo>
                    <a:cubicBezTo>
                      <a:pt x="716" y="464"/>
                      <a:pt x="716" y="464"/>
                      <a:pt x="716" y="464"/>
                    </a:cubicBezTo>
                    <a:cubicBezTo>
                      <a:pt x="717" y="464"/>
                      <a:pt x="717" y="463"/>
                      <a:pt x="717" y="463"/>
                    </a:cubicBezTo>
                    <a:cubicBezTo>
                      <a:pt x="717" y="463"/>
                      <a:pt x="716" y="463"/>
                      <a:pt x="716" y="463"/>
                    </a:cubicBezTo>
                    <a:cubicBezTo>
                      <a:pt x="716" y="462"/>
                      <a:pt x="715" y="462"/>
                      <a:pt x="715" y="461"/>
                    </a:cubicBezTo>
                    <a:cubicBezTo>
                      <a:pt x="716" y="461"/>
                      <a:pt x="716" y="462"/>
                      <a:pt x="717" y="462"/>
                    </a:cubicBezTo>
                    <a:cubicBezTo>
                      <a:pt x="717" y="462"/>
                      <a:pt x="717" y="462"/>
                      <a:pt x="717" y="462"/>
                    </a:cubicBezTo>
                    <a:cubicBezTo>
                      <a:pt x="717" y="462"/>
                      <a:pt x="717" y="462"/>
                      <a:pt x="718" y="462"/>
                    </a:cubicBezTo>
                    <a:cubicBezTo>
                      <a:pt x="718" y="462"/>
                      <a:pt x="718" y="462"/>
                      <a:pt x="718" y="462"/>
                    </a:cubicBezTo>
                    <a:cubicBezTo>
                      <a:pt x="718" y="462"/>
                      <a:pt x="718" y="461"/>
                      <a:pt x="718" y="461"/>
                    </a:cubicBezTo>
                    <a:cubicBezTo>
                      <a:pt x="718" y="461"/>
                      <a:pt x="718" y="461"/>
                      <a:pt x="719" y="461"/>
                    </a:cubicBezTo>
                    <a:cubicBezTo>
                      <a:pt x="718" y="461"/>
                      <a:pt x="718" y="461"/>
                      <a:pt x="719" y="462"/>
                    </a:cubicBezTo>
                    <a:cubicBezTo>
                      <a:pt x="719" y="462"/>
                      <a:pt x="719" y="462"/>
                      <a:pt x="719" y="461"/>
                    </a:cubicBezTo>
                    <a:cubicBezTo>
                      <a:pt x="720" y="461"/>
                      <a:pt x="720" y="461"/>
                      <a:pt x="720" y="461"/>
                    </a:cubicBezTo>
                    <a:cubicBezTo>
                      <a:pt x="720" y="461"/>
                      <a:pt x="720" y="461"/>
                      <a:pt x="720" y="461"/>
                    </a:cubicBezTo>
                    <a:cubicBezTo>
                      <a:pt x="721" y="461"/>
                      <a:pt x="721" y="460"/>
                      <a:pt x="720" y="460"/>
                    </a:cubicBezTo>
                    <a:cubicBezTo>
                      <a:pt x="721" y="460"/>
                      <a:pt x="722" y="460"/>
                      <a:pt x="722" y="459"/>
                    </a:cubicBezTo>
                    <a:cubicBezTo>
                      <a:pt x="722" y="459"/>
                      <a:pt x="722" y="459"/>
                      <a:pt x="722" y="459"/>
                    </a:cubicBezTo>
                    <a:cubicBezTo>
                      <a:pt x="722" y="459"/>
                      <a:pt x="722" y="458"/>
                      <a:pt x="722" y="458"/>
                    </a:cubicBezTo>
                    <a:cubicBezTo>
                      <a:pt x="723" y="458"/>
                      <a:pt x="724" y="458"/>
                      <a:pt x="725" y="457"/>
                    </a:cubicBezTo>
                    <a:cubicBezTo>
                      <a:pt x="725" y="457"/>
                      <a:pt x="725" y="457"/>
                      <a:pt x="725" y="457"/>
                    </a:cubicBezTo>
                    <a:cubicBezTo>
                      <a:pt x="725" y="457"/>
                      <a:pt x="725" y="457"/>
                      <a:pt x="725" y="456"/>
                    </a:cubicBezTo>
                    <a:cubicBezTo>
                      <a:pt x="725" y="456"/>
                      <a:pt x="725" y="456"/>
                      <a:pt x="725" y="456"/>
                    </a:cubicBezTo>
                    <a:cubicBezTo>
                      <a:pt x="726" y="456"/>
                      <a:pt x="726" y="455"/>
                      <a:pt x="725" y="455"/>
                    </a:cubicBezTo>
                    <a:cubicBezTo>
                      <a:pt x="725" y="455"/>
                      <a:pt x="725" y="455"/>
                      <a:pt x="725" y="455"/>
                    </a:cubicBezTo>
                    <a:cubicBezTo>
                      <a:pt x="725" y="455"/>
                      <a:pt x="725" y="455"/>
                      <a:pt x="725" y="455"/>
                    </a:cubicBezTo>
                    <a:cubicBezTo>
                      <a:pt x="726" y="454"/>
                      <a:pt x="727" y="453"/>
                      <a:pt x="728" y="453"/>
                    </a:cubicBezTo>
                    <a:cubicBezTo>
                      <a:pt x="728" y="452"/>
                      <a:pt x="728" y="452"/>
                      <a:pt x="729" y="452"/>
                    </a:cubicBezTo>
                    <a:cubicBezTo>
                      <a:pt x="730" y="451"/>
                      <a:pt x="731" y="451"/>
                      <a:pt x="732" y="451"/>
                    </a:cubicBezTo>
                    <a:cubicBezTo>
                      <a:pt x="732" y="451"/>
                      <a:pt x="733" y="451"/>
                      <a:pt x="733" y="451"/>
                    </a:cubicBezTo>
                    <a:cubicBezTo>
                      <a:pt x="733" y="451"/>
                      <a:pt x="733" y="450"/>
                      <a:pt x="734" y="449"/>
                    </a:cubicBezTo>
                    <a:cubicBezTo>
                      <a:pt x="734" y="449"/>
                      <a:pt x="734" y="450"/>
                      <a:pt x="734" y="450"/>
                    </a:cubicBezTo>
                    <a:cubicBezTo>
                      <a:pt x="734" y="450"/>
                      <a:pt x="734" y="450"/>
                      <a:pt x="734" y="450"/>
                    </a:cubicBezTo>
                    <a:cubicBezTo>
                      <a:pt x="734" y="450"/>
                      <a:pt x="734" y="450"/>
                      <a:pt x="734" y="450"/>
                    </a:cubicBezTo>
                    <a:cubicBezTo>
                      <a:pt x="734" y="449"/>
                      <a:pt x="734" y="449"/>
                      <a:pt x="735" y="448"/>
                    </a:cubicBezTo>
                    <a:cubicBezTo>
                      <a:pt x="735" y="448"/>
                      <a:pt x="735" y="448"/>
                      <a:pt x="735" y="448"/>
                    </a:cubicBezTo>
                    <a:cubicBezTo>
                      <a:pt x="736" y="447"/>
                      <a:pt x="736" y="447"/>
                      <a:pt x="737" y="446"/>
                    </a:cubicBezTo>
                    <a:cubicBezTo>
                      <a:pt x="737" y="446"/>
                      <a:pt x="737" y="446"/>
                      <a:pt x="738" y="446"/>
                    </a:cubicBezTo>
                    <a:cubicBezTo>
                      <a:pt x="738" y="446"/>
                      <a:pt x="738" y="446"/>
                      <a:pt x="739" y="445"/>
                    </a:cubicBezTo>
                    <a:cubicBezTo>
                      <a:pt x="739" y="445"/>
                      <a:pt x="740" y="445"/>
                      <a:pt x="740" y="445"/>
                    </a:cubicBezTo>
                    <a:cubicBezTo>
                      <a:pt x="741" y="445"/>
                      <a:pt x="741" y="445"/>
                      <a:pt x="741" y="445"/>
                    </a:cubicBezTo>
                    <a:cubicBezTo>
                      <a:pt x="742" y="445"/>
                      <a:pt x="743" y="444"/>
                      <a:pt x="744" y="444"/>
                    </a:cubicBezTo>
                    <a:cubicBezTo>
                      <a:pt x="744" y="443"/>
                      <a:pt x="744" y="443"/>
                      <a:pt x="744" y="443"/>
                    </a:cubicBezTo>
                    <a:cubicBezTo>
                      <a:pt x="744" y="443"/>
                      <a:pt x="745" y="443"/>
                      <a:pt x="745" y="443"/>
                    </a:cubicBezTo>
                    <a:cubicBezTo>
                      <a:pt x="745" y="443"/>
                      <a:pt x="745" y="442"/>
                      <a:pt x="745" y="442"/>
                    </a:cubicBezTo>
                    <a:cubicBezTo>
                      <a:pt x="744" y="442"/>
                      <a:pt x="744" y="442"/>
                      <a:pt x="744" y="442"/>
                    </a:cubicBezTo>
                    <a:cubicBezTo>
                      <a:pt x="744" y="442"/>
                      <a:pt x="744" y="442"/>
                      <a:pt x="744" y="442"/>
                    </a:cubicBezTo>
                    <a:cubicBezTo>
                      <a:pt x="744" y="442"/>
                      <a:pt x="744" y="442"/>
                      <a:pt x="743" y="442"/>
                    </a:cubicBezTo>
                    <a:cubicBezTo>
                      <a:pt x="743" y="442"/>
                      <a:pt x="743" y="442"/>
                      <a:pt x="743" y="442"/>
                    </a:cubicBezTo>
                    <a:cubicBezTo>
                      <a:pt x="743" y="442"/>
                      <a:pt x="742" y="442"/>
                      <a:pt x="742" y="442"/>
                    </a:cubicBezTo>
                    <a:cubicBezTo>
                      <a:pt x="742" y="443"/>
                      <a:pt x="742" y="443"/>
                      <a:pt x="742" y="443"/>
                    </a:cubicBezTo>
                    <a:cubicBezTo>
                      <a:pt x="741" y="443"/>
                      <a:pt x="741" y="443"/>
                      <a:pt x="741" y="443"/>
                    </a:cubicBezTo>
                    <a:cubicBezTo>
                      <a:pt x="741" y="442"/>
                      <a:pt x="740" y="442"/>
                      <a:pt x="740" y="442"/>
                    </a:cubicBezTo>
                    <a:cubicBezTo>
                      <a:pt x="740" y="442"/>
                      <a:pt x="740" y="442"/>
                      <a:pt x="740" y="442"/>
                    </a:cubicBezTo>
                    <a:cubicBezTo>
                      <a:pt x="740" y="442"/>
                      <a:pt x="740" y="442"/>
                      <a:pt x="740" y="442"/>
                    </a:cubicBezTo>
                    <a:cubicBezTo>
                      <a:pt x="740" y="442"/>
                      <a:pt x="740" y="442"/>
                      <a:pt x="741" y="442"/>
                    </a:cubicBezTo>
                    <a:cubicBezTo>
                      <a:pt x="741" y="442"/>
                      <a:pt x="741" y="442"/>
                      <a:pt x="741" y="442"/>
                    </a:cubicBezTo>
                    <a:cubicBezTo>
                      <a:pt x="741" y="442"/>
                      <a:pt x="741" y="442"/>
                      <a:pt x="742" y="442"/>
                    </a:cubicBezTo>
                    <a:cubicBezTo>
                      <a:pt x="742" y="442"/>
                      <a:pt x="742" y="442"/>
                      <a:pt x="743" y="441"/>
                    </a:cubicBezTo>
                    <a:cubicBezTo>
                      <a:pt x="743" y="441"/>
                      <a:pt x="743" y="441"/>
                      <a:pt x="743" y="441"/>
                    </a:cubicBezTo>
                    <a:cubicBezTo>
                      <a:pt x="743" y="441"/>
                      <a:pt x="742" y="441"/>
                      <a:pt x="742" y="441"/>
                    </a:cubicBezTo>
                    <a:cubicBezTo>
                      <a:pt x="742" y="441"/>
                      <a:pt x="742" y="441"/>
                      <a:pt x="742" y="441"/>
                    </a:cubicBezTo>
                    <a:cubicBezTo>
                      <a:pt x="743" y="441"/>
                      <a:pt x="743" y="440"/>
                      <a:pt x="743" y="440"/>
                    </a:cubicBezTo>
                    <a:cubicBezTo>
                      <a:pt x="743" y="440"/>
                      <a:pt x="743" y="440"/>
                      <a:pt x="743" y="440"/>
                    </a:cubicBezTo>
                    <a:cubicBezTo>
                      <a:pt x="743" y="440"/>
                      <a:pt x="743" y="440"/>
                      <a:pt x="743" y="440"/>
                    </a:cubicBezTo>
                    <a:cubicBezTo>
                      <a:pt x="743" y="439"/>
                      <a:pt x="743" y="439"/>
                      <a:pt x="743" y="439"/>
                    </a:cubicBezTo>
                    <a:cubicBezTo>
                      <a:pt x="742" y="439"/>
                      <a:pt x="740" y="439"/>
                      <a:pt x="740" y="438"/>
                    </a:cubicBezTo>
                    <a:cubicBezTo>
                      <a:pt x="741" y="438"/>
                      <a:pt x="741" y="439"/>
                      <a:pt x="742" y="439"/>
                    </a:cubicBezTo>
                    <a:cubicBezTo>
                      <a:pt x="742" y="438"/>
                      <a:pt x="742" y="438"/>
                      <a:pt x="743" y="438"/>
                    </a:cubicBezTo>
                    <a:cubicBezTo>
                      <a:pt x="743" y="437"/>
                      <a:pt x="743" y="438"/>
                      <a:pt x="743" y="438"/>
                    </a:cubicBezTo>
                    <a:cubicBezTo>
                      <a:pt x="743" y="438"/>
                      <a:pt x="743" y="438"/>
                      <a:pt x="743" y="438"/>
                    </a:cubicBezTo>
                    <a:cubicBezTo>
                      <a:pt x="743" y="439"/>
                      <a:pt x="743" y="439"/>
                      <a:pt x="744" y="439"/>
                    </a:cubicBezTo>
                    <a:cubicBezTo>
                      <a:pt x="744" y="439"/>
                      <a:pt x="744" y="439"/>
                      <a:pt x="744" y="439"/>
                    </a:cubicBezTo>
                    <a:cubicBezTo>
                      <a:pt x="744" y="439"/>
                      <a:pt x="744" y="439"/>
                      <a:pt x="745" y="439"/>
                    </a:cubicBezTo>
                    <a:cubicBezTo>
                      <a:pt x="745" y="439"/>
                      <a:pt x="745" y="439"/>
                      <a:pt x="745" y="439"/>
                    </a:cubicBezTo>
                    <a:cubicBezTo>
                      <a:pt x="745" y="439"/>
                      <a:pt x="745" y="439"/>
                      <a:pt x="746" y="439"/>
                    </a:cubicBezTo>
                    <a:cubicBezTo>
                      <a:pt x="746" y="439"/>
                      <a:pt x="746" y="439"/>
                      <a:pt x="746" y="439"/>
                    </a:cubicBezTo>
                    <a:cubicBezTo>
                      <a:pt x="746" y="439"/>
                      <a:pt x="746" y="439"/>
                      <a:pt x="746" y="439"/>
                    </a:cubicBezTo>
                    <a:cubicBezTo>
                      <a:pt x="747" y="439"/>
                      <a:pt x="747" y="438"/>
                      <a:pt x="748" y="437"/>
                    </a:cubicBezTo>
                    <a:cubicBezTo>
                      <a:pt x="748" y="437"/>
                      <a:pt x="748" y="437"/>
                      <a:pt x="748" y="437"/>
                    </a:cubicBezTo>
                    <a:cubicBezTo>
                      <a:pt x="748" y="437"/>
                      <a:pt x="748" y="437"/>
                      <a:pt x="748" y="437"/>
                    </a:cubicBezTo>
                    <a:cubicBezTo>
                      <a:pt x="748" y="436"/>
                      <a:pt x="748" y="435"/>
                      <a:pt x="748" y="435"/>
                    </a:cubicBezTo>
                    <a:cubicBezTo>
                      <a:pt x="748" y="434"/>
                      <a:pt x="747" y="435"/>
                      <a:pt x="747" y="435"/>
                    </a:cubicBezTo>
                    <a:cubicBezTo>
                      <a:pt x="747" y="436"/>
                      <a:pt x="747" y="436"/>
                      <a:pt x="747" y="436"/>
                    </a:cubicBezTo>
                    <a:cubicBezTo>
                      <a:pt x="747" y="437"/>
                      <a:pt x="746" y="437"/>
                      <a:pt x="746" y="437"/>
                    </a:cubicBezTo>
                    <a:cubicBezTo>
                      <a:pt x="746" y="437"/>
                      <a:pt x="746" y="437"/>
                      <a:pt x="746" y="437"/>
                    </a:cubicBezTo>
                    <a:cubicBezTo>
                      <a:pt x="745" y="437"/>
                      <a:pt x="745" y="437"/>
                      <a:pt x="745" y="437"/>
                    </a:cubicBezTo>
                    <a:cubicBezTo>
                      <a:pt x="745" y="437"/>
                      <a:pt x="745" y="437"/>
                      <a:pt x="745" y="436"/>
                    </a:cubicBezTo>
                    <a:cubicBezTo>
                      <a:pt x="745" y="436"/>
                      <a:pt x="745" y="436"/>
                      <a:pt x="746" y="436"/>
                    </a:cubicBezTo>
                    <a:cubicBezTo>
                      <a:pt x="746" y="437"/>
                      <a:pt x="746" y="437"/>
                      <a:pt x="746" y="437"/>
                    </a:cubicBezTo>
                    <a:cubicBezTo>
                      <a:pt x="746" y="437"/>
                      <a:pt x="746" y="437"/>
                      <a:pt x="746" y="436"/>
                    </a:cubicBezTo>
                    <a:cubicBezTo>
                      <a:pt x="746" y="436"/>
                      <a:pt x="746" y="436"/>
                      <a:pt x="746" y="436"/>
                    </a:cubicBezTo>
                    <a:cubicBezTo>
                      <a:pt x="746" y="435"/>
                      <a:pt x="746" y="435"/>
                      <a:pt x="746" y="434"/>
                    </a:cubicBezTo>
                    <a:cubicBezTo>
                      <a:pt x="746" y="434"/>
                      <a:pt x="746" y="434"/>
                      <a:pt x="746" y="434"/>
                    </a:cubicBezTo>
                    <a:cubicBezTo>
                      <a:pt x="746" y="434"/>
                      <a:pt x="746" y="434"/>
                      <a:pt x="746" y="434"/>
                    </a:cubicBezTo>
                    <a:cubicBezTo>
                      <a:pt x="746" y="434"/>
                      <a:pt x="746" y="434"/>
                      <a:pt x="745" y="434"/>
                    </a:cubicBezTo>
                    <a:cubicBezTo>
                      <a:pt x="745" y="434"/>
                      <a:pt x="745" y="434"/>
                      <a:pt x="745" y="434"/>
                    </a:cubicBezTo>
                    <a:cubicBezTo>
                      <a:pt x="745" y="434"/>
                      <a:pt x="744" y="434"/>
                      <a:pt x="744" y="434"/>
                    </a:cubicBezTo>
                    <a:cubicBezTo>
                      <a:pt x="744" y="434"/>
                      <a:pt x="743" y="434"/>
                      <a:pt x="743" y="434"/>
                    </a:cubicBezTo>
                    <a:cubicBezTo>
                      <a:pt x="742" y="434"/>
                      <a:pt x="742" y="434"/>
                      <a:pt x="742" y="434"/>
                    </a:cubicBezTo>
                    <a:cubicBezTo>
                      <a:pt x="742" y="434"/>
                      <a:pt x="742" y="433"/>
                      <a:pt x="742" y="434"/>
                    </a:cubicBezTo>
                    <a:cubicBezTo>
                      <a:pt x="742" y="434"/>
                      <a:pt x="742" y="434"/>
                      <a:pt x="743" y="434"/>
                    </a:cubicBezTo>
                    <a:cubicBezTo>
                      <a:pt x="743" y="434"/>
                      <a:pt x="743" y="434"/>
                      <a:pt x="744" y="434"/>
                    </a:cubicBezTo>
                    <a:cubicBezTo>
                      <a:pt x="744" y="433"/>
                      <a:pt x="744" y="433"/>
                      <a:pt x="744" y="433"/>
                    </a:cubicBezTo>
                    <a:cubicBezTo>
                      <a:pt x="744" y="432"/>
                      <a:pt x="744" y="432"/>
                      <a:pt x="744" y="432"/>
                    </a:cubicBezTo>
                    <a:cubicBezTo>
                      <a:pt x="744" y="433"/>
                      <a:pt x="744" y="433"/>
                      <a:pt x="744" y="433"/>
                    </a:cubicBezTo>
                    <a:cubicBezTo>
                      <a:pt x="745" y="433"/>
                      <a:pt x="745" y="433"/>
                      <a:pt x="745" y="433"/>
                    </a:cubicBezTo>
                    <a:cubicBezTo>
                      <a:pt x="745" y="433"/>
                      <a:pt x="745" y="433"/>
                      <a:pt x="746" y="433"/>
                    </a:cubicBezTo>
                    <a:cubicBezTo>
                      <a:pt x="746" y="433"/>
                      <a:pt x="746" y="433"/>
                      <a:pt x="746" y="433"/>
                    </a:cubicBezTo>
                    <a:cubicBezTo>
                      <a:pt x="746" y="433"/>
                      <a:pt x="746" y="432"/>
                      <a:pt x="746" y="432"/>
                    </a:cubicBezTo>
                    <a:cubicBezTo>
                      <a:pt x="746" y="432"/>
                      <a:pt x="746" y="432"/>
                      <a:pt x="746" y="432"/>
                    </a:cubicBezTo>
                    <a:cubicBezTo>
                      <a:pt x="747" y="433"/>
                      <a:pt x="747" y="433"/>
                      <a:pt x="747" y="432"/>
                    </a:cubicBezTo>
                    <a:cubicBezTo>
                      <a:pt x="747" y="432"/>
                      <a:pt x="747" y="432"/>
                      <a:pt x="747" y="432"/>
                    </a:cubicBezTo>
                    <a:cubicBezTo>
                      <a:pt x="747" y="432"/>
                      <a:pt x="748" y="432"/>
                      <a:pt x="748" y="432"/>
                    </a:cubicBezTo>
                    <a:cubicBezTo>
                      <a:pt x="748" y="432"/>
                      <a:pt x="748" y="432"/>
                      <a:pt x="748" y="432"/>
                    </a:cubicBezTo>
                    <a:cubicBezTo>
                      <a:pt x="748" y="432"/>
                      <a:pt x="747" y="432"/>
                      <a:pt x="747" y="431"/>
                    </a:cubicBezTo>
                    <a:cubicBezTo>
                      <a:pt x="747" y="431"/>
                      <a:pt x="747" y="431"/>
                      <a:pt x="747" y="431"/>
                    </a:cubicBezTo>
                    <a:cubicBezTo>
                      <a:pt x="747" y="431"/>
                      <a:pt x="747" y="431"/>
                      <a:pt x="747" y="431"/>
                    </a:cubicBezTo>
                    <a:cubicBezTo>
                      <a:pt x="747" y="431"/>
                      <a:pt x="747" y="430"/>
                      <a:pt x="747" y="430"/>
                    </a:cubicBezTo>
                    <a:cubicBezTo>
                      <a:pt x="747" y="430"/>
                      <a:pt x="747" y="430"/>
                      <a:pt x="747" y="430"/>
                    </a:cubicBezTo>
                    <a:cubicBezTo>
                      <a:pt x="747" y="430"/>
                      <a:pt x="747" y="430"/>
                      <a:pt x="747" y="430"/>
                    </a:cubicBezTo>
                    <a:cubicBezTo>
                      <a:pt x="747" y="430"/>
                      <a:pt x="748" y="430"/>
                      <a:pt x="748" y="430"/>
                    </a:cubicBezTo>
                    <a:cubicBezTo>
                      <a:pt x="748" y="430"/>
                      <a:pt x="748" y="430"/>
                      <a:pt x="748" y="430"/>
                    </a:cubicBezTo>
                    <a:cubicBezTo>
                      <a:pt x="747" y="430"/>
                      <a:pt x="748" y="429"/>
                      <a:pt x="747" y="429"/>
                    </a:cubicBezTo>
                    <a:cubicBezTo>
                      <a:pt x="747" y="429"/>
                      <a:pt x="747" y="429"/>
                      <a:pt x="747" y="429"/>
                    </a:cubicBezTo>
                    <a:cubicBezTo>
                      <a:pt x="747" y="429"/>
                      <a:pt x="747" y="429"/>
                      <a:pt x="747" y="429"/>
                    </a:cubicBezTo>
                    <a:cubicBezTo>
                      <a:pt x="747" y="429"/>
                      <a:pt x="747" y="429"/>
                      <a:pt x="747" y="429"/>
                    </a:cubicBezTo>
                    <a:cubicBezTo>
                      <a:pt x="747" y="428"/>
                      <a:pt x="747" y="428"/>
                      <a:pt x="747" y="427"/>
                    </a:cubicBezTo>
                    <a:cubicBezTo>
                      <a:pt x="747" y="427"/>
                      <a:pt x="746" y="426"/>
                      <a:pt x="746" y="426"/>
                    </a:cubicBezTo>
                    <a:cubicBezTo>
                      <a:pt x="746" y="426"/>
                      <a:pt x="745" y="426"/>
                      <a:pt x="745" y="426"/>
                    </a:cubicBezTo>
                    <a:cubicBezTo>
                      <a:pt x="745" y="426"/>
                      <a:pt x="745" y="426"/>
                      <a:pt x="745" y="426"/>
                    </a:cubicBezTo>
                    <a:cubicBezTo>
                      <a:pt x="744" y="426"/>
                      <a:pt x="745" y="425"/>
                      <a:pt x="745" y="425"/>
                    </a:cubicBezTo>
                    <a:cubicBezTo>
                      <a:pt x="745" y="425"/>
                      <a:pt x="744" y="425"/>
                      <a:pt x="744" y="424"/>
                    </a:cubicBezTo>
                    <a:cubicBezTo>
                      <a:pt x="744" y="424"/>
                      <a:pt x="744" y="424"/>
                      <a:pt x="744" y="424"/>
                    </a:cubicBezTo>
                    <a:cubicBezTo>
                      <a:pt x="744" y="424"/>
                      <a:pt x="744" y="424"/>
                      <a:pt x="744" y="424"/>
                    </a:cubicBezTo>
                    <a:cubicBezTo>
                      <a:pt x="744" y="424"/>
                      <a:pt x="744" y="423"/>
                      <a:pt x="744" y="423"/>
                    </a:cubicBezTo>
                    <a:cubicBezTo>
                      <a:pt x="744" y="423"/>
                      <a:pt x="744" y="423"/>
                      <a:pt x="744" y="423"/>
                    </a:cubicBezTo>
                    <a:cubicBezTo>
                      <a:pt x="744" y="423"/>
                      <a:pt x="744" y="423"/>
                      <a:pt x="745" y="423"/>
                    </a:cubicBezTo>
                    <a:cubicBezTo>
                      <a:pt x="745" y="423"/>
                      <a:pt x="745" y="422"/>
                      <a:pt x="745" y="422"/>
                    </a:cubicBezTo>
                    <a:cubicBezTo>
                      <a:pt x="745" y="422"/>
                      <a:pt x="745" y="422"/>
                      <a:pt x="745" y="422"/>
                    </a:cubicBezTo>
                    <a:cubicBezTo>
                      <a:pt x="744" y="421"/>
                      <a:pt x="744" y="421"/>
                      <a:pt x="744" y="421"/>
                    </a:cubicBezTo>
                    <a:cubicBezTo>
                      <a:pt x="744" y="421"/>
                      <a:pt x="744" y="421"/>
                      <a:pt x="744" y="421"/>
                    </a:cubicBezTo>
                    <a:cubicBezTo>
                      <a:pt x="744" y="421"/>
                      <a:pt x="744" y="421"/>
                      <a:pt x="743" y="420"/>
                    </a:cubicBezTo>
                    <a:cubicBezTo>
                      <a:pt x="743" y="420"/>
                      <a:pt x="743" y="420"/>
                      <a:pt x="743" y="420"/>
                    </a:cubicBezTo>
                    <a:cubicBezTo>
                      <a:pt x="742" y="419"/>
                      <a:pt x="741" y="419"/>
                      <a:pt x="741" y="418"/>
                    </a:cubicBezTo>
                    <a:cubicBezTo>
                      <a:pt x="741" y="418"/>
                      <a:pt x="741" y="418"/>
                      <a:pt x="741" y="417"/>
                    </a:cubicBezTo>
                    <a:cubicBezTo>
                      <a:pt x="741" y="417"/>
                      <a:pt x="741" y="417"/>
                      <a:pt x="741" y="417"/>
                    </a:cubicBezTo>
                    <a:cubicBezTo>
                      <a:pt x="741" y="417"/>
                      <a:pt x="741" y="418"/>
                      <a:pt x="742" y="418"/>
                    </a:cubicBezTo>
                    <a:cubicBezTo>
                      <a:pt x="742" y="418"/>
                      <a:pt x="742" y="418"/>
                      <a:pt x="743" y="419"/>
                    </a:cubicBezTo>
                    <a:cubicBezTo>
                      <a:pt x="743" y="419"/>
                      <a:pt x="743" y="419"/>
                      <a:pt x="743" y="419"/>
                    </a:cubicBezTo>
                    <a:cubicBezTo>
                      <a:pt x="743" y="420"/>
                      <a:pt x="743" y="420"/>
                      <a:pt x="744" y="420"/>
                    </a:cubicBezTo>
                    <a:cubicBezTo>
                      <a:pt x="744" y="420"/>
                      <a:pt x="744" y="420"/>
                      <a:pt x="744" y="420"/>
                    </a:cubicBezTo>
                    <a:cubicBezTo>
                      <a:pt x="745" y="420"/>
                      <a:pt x="745" y="419"/>
                      <a:pt x="745" y="419"/>
                    </a:cubicBezTo>
                    <a:cubicBezTo>
                      <a:pt x="745" y="419"/>
                      <a:pt x="745" y="419"/>
                      <a:pt x="745" y="418"/>
                    </a:cubicBezTo>
                    <a:cubicBezTo>
                      <a:pt x="744" y="418"/>
                      <a:pt x="744" y="418"/>
                      <a:pt x="744" y="418"/>
                    </a:cubicBezTo>
                    <a:cubicBezTo>
                      <a:pt x="743" y="417"/>
                      <a:pt x="742" y="416"/>
                      <a:pt x="741" y="416"/>
                    </a:cubicBezTo>
                    <a:cubicBezTo>
                      <a:pt x="741" y="416"/>
                      <a:pt x="741" y="416"/>
                      <a:pt x="740" y="415"/>
                    </a:cubicBezTo>
                    <a:cubicBezTo>
                      <a:pt x="740" y="415"/>
                      <a:pt x="740" y="415"/>
                      <a:pt x="740" y="415"/>
                    </a:cubicBezTo>
                    <a:cubicBezTo>
                      <a:pt x="740" y="415"/>
                      <a:pt x="740" y="414"/>
                      <a:pt x="739" y="414"/>
                    </a:cubicBezTo>
                    <a:cubicBezTo>
                      <a:pt x="739" y="414"/>
                      <a:pt x="738" y="414"/>
                      <a:pt x="738" y="414"/>
                    </a:cubicBezTo>
                    <a:cubicBezTo>
                      <a:pt x="738" y="414"/>
                      <a:pt x="738" y="414"/>
                      <a:pt x="738" y="413"/>
                    </a:cubicBezTo>
                    <a:cubicBezTo>
                      <a:pt x="738" y="413"/>
                      <a:pt x="738" y="413"/>
                      <a:pt x="738" y="413"/>
                    </a:cubicBezTo>
                    <a:cubicBezTo>
                      <a:pt x="738" y="412"/>
                      <a:pt x="738" y="412"/>
                      <a:pt x="739" y="411"/>
                    </a:cubicBezTo>
                    <a:cubicBezTo>
                      <a:pt x="739" y="412"/>
                      <a:pt x="739" y="412"/>
                      <a:pt x="739" y="412"/>
                    </a:cubicBezTo>
                    <a:cubicBezTo>
                      <a:pt x="739" y="412"/>
                      <a:pt x="739" y="412"/>
                      <a:pt x="739" y="413"/>
                    </a:cubicBezTo>
                    <a:cubicBezTo>
                      <a:pt x="739" y="413"/>
                      <a:pt x="739" y="413"/>
                      <a:pt x="739" y="413"/>
                    </a:cubicBezTo>
                    <a:cubicBezTo>
                      <a:pt x="739" y="414"/>
                      <a:pt x="740" y="414"/>
                      <a:pt x="740" y="414"/>
                    </a:cubicBezTo>
                    <a:cubicBezTo>
                      <a:pt x="740" y="414"/>
                      <a:pt x="740" y="414"/>
                      <a:pt x="740" y="414"/>
                    </a:cubicBezTo>
                    <a:cubicBezTo>
                      <a:pt x="740" y="414"/>
                      <a:pt x="741" y="414"/>
                      <a:pt x="741" y="414"/>
                    </a:cubicBezTo>
                    <a:cubicBezTo>
                      <a:pt x="741" y="414"/>
                      <a:pt x="741" y="414"/>
                      <a:pt x="741" y="415"/>
                    </a:cubicBezTo>
                    <a:cubicBezTo>
                      <a:pt x="741" y="415"/>
                      <a:pt x="742" y="415"/>
                      <a:pt x="742" y="415"/>
                    </a:cubicBezTo>
                    <a:cubicBezTo>
                      <a:pt x="742" y="415"/>
                      <a:pt x="743" y="415"/>
                      <a:pt x="743" y="416"/>
                    </a:cubicBezTo>
                    <a:cubicBezTo>
                      <a:pt x="743" y="416"/>
                      <a:pt x="743" y="416"/>
                      <a:pt x="744" y="416"/>
                    </a:cubicBezTo>
                    <a:cubicBezTo>
                      <a:pt x="744" y="416"/>
                      <a:pt x="744" y="416"/>
                      <a:pt x="744" y="416"/>
                    </a:cubicBezTo>
                    <a:cubicBezTo>
                      <a:pt x="744" y="416"/>
                      <a:pt x="744" y="417"/>
                      <a:pt x="744" y="416"/>
                    </a:cubicBezTo>
                    <a:cubicBezTo>
                      <a:pt x="745" y="416"/>
                      <a:pt x="744" y="415"/>
                      <a:pt x="744" y="415"/>
                    </a:cubicBezTo>
                    <a:cubicBezTo>
                      <a:pt x="743" y="414"/>
                      <a:pt x="743" y="414"/>
                      <a:pt x="743" y="413"/>
                    </a:cubicBezTo>
                    <a:cubicBezTo>
                      <a:pt x="742" y="413"/>
                      <a:pt x="742" y="413"/>
                      <a:pt x="742" y="413"/>
                    </a:cubicBezTo>
                    <a:cubicBezTo>
                      <a:pt x="742" y="413"/>
                      <a:pt x="742" y="412"/>
                      <a:pt x="742" y="412"/>
                    </a:cubicBezTo>
                    <a:cubicBezTo>
                      <a:pt x="743" y="413"/>
                      <a:pt x="743" y="414"/>
                      <a:pt x="744" y="414"/>
                    </a:cubicBezTo>
                    <a:cubicBezTo>
                      <a:pt x="744" y="413"/>
                      <a:pt x="743" y="413"/>
                      <a:pt x="743" y="413"/>
                    </a:cubicBezTo>
                    <a:cubicBezTo>
                      <a:pt x="743" y="412"/>
                      <a:pt x="743" y="411"/>
                      <a:pt x="743" y="411"/>
                    </a:cubicBezTo>
                    <a:cubicBezTo>
                      <a:pt x="743" y="410"/>
                      <a:pt x="743" y="409"/>
                      <a:pt x="744" y="408"/>
                    </a:cubicBezTo>
                    <a:cubicBezTo>
                      <a:pt x="744" y="408"/>
                      <a:pt x="744" y="408"/>
                      <a:pt x="744" y="408"/>
                    </a:cubicBezTo>
                    <a:cubicBezTo>
                      <a:pt x="744" y="408"/>
                      <a:pt x="743" y="407"/>
                      <a:pt x="743" y="407"/>
                    </a:cubicBezTo>
                    <a:cubicBezTo>
                      <a:pt x="743" y="407"/>
                      <a:pt x="743" y="407"/>
                      <a:pt x="743" y="407"/>
                    </a:cubicBezTo>
                    <a:cubicBezTo>
                      <a:pt x="744" y="406"/>
                      <a:pt x="744" y="406"/>
                      <a:pt x="744" y="406"/>
                    </a:cubicBezTo>
                    <a:cubicBezTo>
                      <a:pt x="745" y="406"/>
                      <a:pt x="746" y="405"/>
                      <a:pt x="746" y="405"/>
                    </a:cubicBezTo>
                    <a:cubicBezTo>
                      <a:pt x="746" y="405"/>
                      <a:pt x="746" y="404"/>
                      <a:pt x="746" y="404"/>
                    </a:cubicBezTo>
                    <a:cubicBezTo>
                      <a:pt x="746" y="404"/>
                      <a:pt x="747" y="404"/>
                      <a:pt x="747" y="404"/>
                    </a:cubicBezTo>
                    <a:cubicBezTo>
                      <a:pt x="747" y="404"/>
                      <a:pt x="747" y="405"/>
                      <a:pt x="747" y="405"/>
                    </a:cubicBezTo>
                    <a:cubicBezTo>
                      <a:pt x="747" y="405"/>
                      <a:pt x="747" y="405"/>
                      <a:pt x="748" y="405"/>
                    </a:cubicBezTo>
                    <a:cubicBezTo>
                      <a:pt x="747" y="405"/>
                      <a:pt x="747" y="406"/>
                      <a:pt x="746" y="406"/>
                    </a:cubicBezTo>
                    <a:cubicBezTo>
                      <a:pt x="746" y="406"/>
                      <a:pt x="746" y="406"/>
                      <a:pt x="746" y="406"/>
                    </a:cubicBezTo>
                    <a:cubicBezTo>
                      <a:pt x="746" y="406"/>
                      <a:pt x="746" y="406"/>
                      <a:pt x="745" y="406"/>
                    </a:cubicBezTo>
                    <a:cubicBezTo>
                      <a:pt x="745" y="407"/>
                      <a:pt x="745" y="407"/>
                      <a:pt x="745" y="407"/>
                    </a:cubicBezTo>
                    <a:cubicBezTo>
                      <a:pt x="745" y="408"/>
                      <a:pt x="745" y="408"/>
                      <a:pt x="746" y="408"/>
                    </a:cubicBezTo>
                    <a:cubicBezTo>
                      <a:pt x="745" y="408"/>
                      <a:pt x="745" y="409"/>
                      <a:pt x="744" y="409"/>
                    </a:cubicBezTo>
                    <a:cubicBezTo>
                      <a:pt x="744" y="409"/>
                      <a:pt x="745" y="409"/>
                      <a:pt x="745" y="409"/>
                    </a:cubicBezTo>
                    <a:cubicBezTo>
                      <a:pt x="745" y="409"/>
                      <a:pt x="745" y="409"/>
                      <a:pt x="745" y="409"/>
                    </a:cubicBezTo>
                    <a:cubicBezTo>
                      <a:pt x="745" y="409"/>
                      <a:pt x="746" y="409"/>
                      <a:pt x="746" y="410"/>
                    </a:cubicBezTo>
                    <a:cubicBezTo>
                      <a:pt x="746" y="410"/>
                      <a:pt x="745" y="410"/>
                      <a:pt x="745" y="410"/>
                    </a:cubicBezTo>
                    <a:cubicBezTo>
                      <a:pt x="745" y="410"/>
                      <a:pt x="744" y="411"/>
                      <a:pt x="744" y="411"/>
                    </a:cubicBezTo>
                    <a:cubicBezTo>
                      <a:pt x="745" y="411"/>
                      <a:pt x="745" y="411"/>
                      <a:pt x="745" y="411"/>
                    </a:cubicBezTo>
                    <a:cubicBezTo>
                      <a:pt x="745" y="411"/>
                      <a:pt x="746" y="411"/>
                      <a:pt x="746" y="411"/>
                    </a:cubicBezTo>
                    <a:cubicBezTo>
                      <a:pt x="746" y="411"/>
                      <a:pt x="746" y="411"/>
                      <a:pt x="746" y="411"/>
                    </a:cubicBezTo>
                    <a:cubicBezTo>
                      <a:pt x="746" y="411"/>
                      <a:pt x="746" y="412"/>
                      <a:pt x="746" y="412"/>
                    </a:cubicBezTo>
                    <a:cubicBezTo>
                      <a:pt x="745" y="412"/>
                      <a:pt x="745" y="412"/>
                      <a:pt x="745" y="412"/>
                    </a:cubicBezTo>
                    <a:cubicBezTo>
                      <a:pt x="745" y="412"/>
                      <a:pt x="745" y="412"/>
                      <a:pt x="745" y="412"/>
                    </a:cubicBezTo>
                    <a:cubicBezTo>
                      <a:pt x="745" y="413"/>
                      <a:pt x="745" y="413"/>
                      <a:pt x="745" y="413"/>
                    </a:cubicBezTo>
                    <a:cubicBezTo>
                      <a:pt x="745" y="413"/>
                      <a:pt x="745" y="413"/>
                      <a:pt x="745" y="413"/>
                    </a:cubicBezTo>
                    <a:cubicBezTo>
                      <a:pt x="745" y="414"/>
                      <a:pt x="745" y="414"/>
                      <a:pt x="745" y="414"/>
                    </a:cubicBezTo>
                    <a:cubicBezTo>
                      <a:pt x="745" y="414"/>
                      <a:pt x="746" y="414"/>
                      <a:pt x="746" y="415"/>
                    </a:cubicBezTo>
                    <a:cubicBezTo>
                      <a:pt x="746" y="414"/>
                      <a:pt x="746" y="414"/>
                      <a:pt x="746" y="414"/>
                    </a:cubicBezTo>
                    <a:cubicBezTo>
                      <a:pt x="747" y="414"/>
                      <a:pt x="747" y="415"/>
                      <a:pt x="747" y="415"/>
                    </a:cubicBezTo>
                    <a:cubicBezTo>
                      <a:pt x="747" y="415"/>
                      <a:pt x="747" y="415"/>
                      <a:pt x="748" y="415"/>
                    </a:cubicBezTo>
                    <a:cubicBezTo>
                      <a:pt x="747" y="415"/>
                      <a:pt x="747" y="415"/>
                      <a:pt x="747" y="415"/>
                    </a:cubicBezTo>
                    <a:cubicBezTo>
                      <a:pt x="747" y="415"/>
                      <a:pt x="747" y="416"/>
                      <a:pt x="747" y="416"/>
                    </a:cubicBezTo>
                    <a:cubicBezTo>
                      <a:pt x="747" y="416"/>
                      <a:pt x="748" y="416"/>
                      <a:pt x="748" y="416"/>
                    </a:cubicBezTo>
                    <a:cubicBezTo>
                      <a:pt x="748" y="416"/>
                      <a:pt x="748" y="416"/>
                      <a:pt x="748" y="417"/>
                    </a:cubicBezTo>
                    <a:cubicBezTo>
                      <a:pt x="748" y="417"/>
                      <a:pt x="747" y="417"/>
                      <a:pt x="748" y="417"/>
                    </a:cubicBezTo>
                    <a:cubicBezTo>
                      <a:pt x="748" y="418"/>
                      <a:pt x="748" y="417"/>
                      <a:pt x="748" y="418"/>
                    </a:cubicBezTo>
                    <a:cubicBezTo>
                      <a:pt x="749" y="418"/>
                      <a:pt x="749" y="418"/>
                      <a:pt x="749" y="418"/>
                    </a:cubicBezTo>
                    <a:cubicBezTo>
                      <a:pt x="748" y="419"/>
                      <a:pt x="748" y="419"/>
                      <a:pt x="748" y="419"/>
                    </a:cubicBezTo>
                    <a:cubicBezTo>
                      <a:pt x="748" y="420"/>
                      <a:pt x="747" y="420"/>
                      <a:pt x="747" y="421"/>
                    </a:cubicBezTo>
                    <a:cubicBezTo>
                      <a:pt x="747" y="422"/>
                      <a:pt x="747" y="422"/>
                      <a:pt x="747" y="423"/>
                    </a:cubicBezTo>
                    <a:cubicBezTo>
                      <a:pt x="747" y="423"/>
                      <a:pt x="747" y="424"/>
                      <a:pt x="747" y="424"/>
                    </a:cubicBezTo>
                    <a:cubicBezTo>
                      <a:pt x="747" y="424"/>
                      <a:pt x="747" y="424"/>
                      <a:pt x="747" y="424"/>
                    </a:cubicBezTo>
                    <a:cubicBezTo>
                      <a:pt x="748" y="424"/>
                      <a:pt x="747" y="423"/>
                      <a:pt x="747" y="423"/>
                    </a:cubicBezTo>
                    <a:cubicBezTo>
                      <a:pt x="747" y="423"/>
                      <a:pt x="748" y="422"/>
                      <a:pt x="748" y="422"/>
                    </a:cubicBezTo>
                    <a:cubicBezTo>
                      <a:pt x="748" y="422"/>
                      <a:pt x="748" y="422"/>
                      <a:pt x="748" y="422"/>
                    </a:cubicBezTo>
                    <a:cubicBezTo>
                      <a:pt x="748" y="421"/>
                      <a:pt x="749" y="421"/>
                      <a:pt x="749" y="421"/>
                    </a:cubicBezTo>
                    <a:cubicBezTo>
                      <a:pt x="749" y="421"/>
                      <a:pt x="749" y="421"/>
                      <a:pt x="749" y="421"/>
                    </a:cubicBezTo>
                    <a:cubicBezTo>
                      <a:pt x="749" y="421"/>
                      <a:pt x="749" y="420"/>
                      <a:pt x="749" y="420"/>
                    </a:cubicBezTo>
                    <a:cubicBezTo>
                      <a:pt x="749" y="419"/>
                      <a:pt x="750" y="419"/>
                      <a:pt x="750" y="418"/>
                    </a:cubicBezTo>
                    <a:cubicBezTo>
                      <a:pt x="751" y="418"/>
                      <a:pt x="751" y="418"/>
                      <a:pt x="751" y="418"/>
                    </a:cubicBezTo>
                    <a:cubicBezTo>
                      <a:pt x="751" y="418"/>
                      <a:pt x="751" y="418"/>
                      <a:pt x="751" y="418"/>
                    </a:cubicBezTo>
                    <a:cubicBezTo>
                      <a:pt x="751" y="418"/>
                      <a:pt x="751" y="418"/>
                      <a:pt x="751" y="418"/>
                    </a:cubicBezTo>
                    <a:cubicBezTo>
                      <a:pt x="750" y="418"/>
                      <a:pt x="751" y="417"/>
                      <a:pt x="751" y="417"/>
                    </a:cubicBezTo>
                    <a:cubicBezTo>
                      <a:pt x="751" y="417"/>
                      <a:pt x="751" y="416"/>
                      <a:pt x="752" y="415"/>
                    </a:cubicBezTo>
                    <a:cubicBezTo>
                      <a:pt x="752" y="415"/>
                      <a:pt x="753" y="414"/>
                      <a:pt x="753" y="414"/>
                    </a:cubicBezTo>
                    <a:cubicBezTo>
                      <a:pt x="753" y="413"/>
                      <a:pt x="753" y="413"/>
                      <a:pt x="753" y="413"/>
                    </a:cubicBezTo>
                    <a:cubicBezTo>
                      <a:pt x="753" y="412"/>
                      <a:pt x="752" y="412"/>
                      <a:pt x="752" y="412"/>
                    </a:cubicBezTo>
                    <a:cubicBezTo>
                      <a:pt x="752" y="412"/>
                      <a:pt x="752" y="412"/>
                      <a:pt x="752" y="412"/>
                    </a:cubicBezTo>
                    <a:cubicBezTo>
                      <a:pt x="753" y="412"/>
                      <a:pt x="753" y="411"/>
                      <a:pt x="753" y="411"/>
                    </a:cubicBezTo>
                    <a:cubicBezTo>
                      <a:pt x="753" y="411"/>
                      <a:pt x="753" y="411"/>
                      <a:pt x="753" y="411"/>
                    </a:cubicBezTo>
                    <a:cubicBezTo>
                      <a:pt x="753" y="411"/>
                      <a:pt x="753" y="411"/>
                      <a:pt x="753" y="411"/>
                    </a:cubicBezTo>
                    <a:cubicBezTo>
                      <a:pt x="753" y="410"/>
                      <a:pt x="752" y="410"/>
                      <a:pt x="752" y="410"/>
                    </a:cubicBezTo>
                    <a:cubicBezTo>
                      <a:pt x="752" y="410"/>
                      <a:pt x="752" y="410"/>
                      <a:pt x="751" y="410"/>
                    </a:cubicBezTo>
                    <a:cubicBezTo>
                      <a:pt x="751" y="409"/>
                      <a:pt x="751" y="409"/>
                      <a:pt x="751" y="409"/>
                    </a:cubicBezTo>
                    <a:cubicBezTo>
                      <a:pt x="751" y="409"/>
                      <a:pt x="751" y="409"/>
                      <a:pt x="751" y="409"/>
                    </a:cubicBezTo>
                    <a:cubicBezTo>
                      <a:pt x="751" y="408"/>
                      <a:pt x="751" y="407"/>
                      <a:pt x="751" y="407"/>
                    </a:cubicBezTo>
                    <a:cubicBezTo>
                      <a:pt x="751" y="406"/>
                      <a:pt x="750" y="406"/>
                      <a:pt x="750" y="405"/>
                    </a:cubicBezTo>
                    <a:cubicBezTo>
                      <a:pt x="750" y="405"/>
                      <a:pt x="749" y="404"/>
                      <a:pt x="749" y="404"/>
                    </a:cubicBezTo>
                    <a:cubicBezTo>
                      <a:pt x="749" y="403"/>
                      <a:pt x="749" y="402"/>
                      <a:pt x="750" y="401"/>
                    </a:cubicBezTo>
                    <a:cubicBezTo>
                      <a:pt x="750" y="402"/>
                      <a:pt x="750" y="402"/>
                      <a:pt x="750" y="402"/>
                    </a:cubicBezTo>
                    <a:cubicBezTo>
                      <a:pt x="750" y="403"/>
                      <a:pt x="750" y="404"/>
                      <a:pt x="750" y="404"/>
                    </a:cubicBezTo>
                    <a:cubicBezTo>
                      <a:pt x="750" y="404"/>
                      <a:pt x="750" y="405"/>
                      <a:pt x="751" y="405"/>
                    </a:cubicBezTo>
                    <a:cubicBezTo>
                      <a:pt x="751" y="406"/>
                      <a:pt x="752" y="407"/>
                      <a:pt x="753" y="407"/>
                    </a:cubicBezTo>
                    <a:cubicBezTo>
                      <a:pt x="753" y="407"/>
                      <a:pt x="754" y="407"/>
                      <a:pt x="754" y="407"/>
                    </a:cubicBezTo>
                    <a:cubicBezTo>
                      <a:pt x="754" y="407"/>
                      <a:pt x="754" y="408"/>
                      <a:pt x="754" y="408"/>
                    </a:cubicBezTo>
                    <a:cubicBezTo>
                      <a:pt x="754" y="408"/>
                      <a:pt x="754" y="409"/>
                      <a:pt x="754" y="409"/>
                    </a:cubicBezTo>
                    <a:cubicBezTo>
                      <a:pt x="754" y="409"/>
                      <a:pt x="754" y="409"/>
                      <a:pt x="754" y="409"/>
                    </a:cubicBezTo>
                    <a:cubicBezTo>
                      <a:pt x="754" y="409"/>
                      <a:pt x="754" y="409"/>
                      <a:pt x="754" y="409"/>
                    </a:cubicBezTo>
                    <a:cubicBezTo>
                      <a:pt x="755" y="409"/>
                      <a:pt x="755" y="408"/>
                      <a:pt x="755" y="407"/>
                    </a:cubicBezTo>
                    <a:cubicBezTo>
                      <a:pt x="756" y="407"/>
                      <a:pt x="757" y="406"/>
                      <a:pt x="757" y="405"/>
                    </a:cubicBezTo>
                    <a:cubicBezTo>
                      <a:pt x="758" y="405"/>
                      <a:pt x="758" y="405"/>
                      <a:pt x="758" y="404"/>
                    </a:cubicBezTo>
                    <a:cubicBezTo>
                      <a:pt x="758" y="404"/>
                      <a:pt x="757" y="404"/>
                      <a:pt x="757" y="404"/>
                    </a:cubicBezTo>
                    <a:cubicBezTo>
                      <a:pt x="757" y="404"/>
                      <a:pt x="757" y="404"/>
                      <a:pt x="757" y="403"/>
                    </a:cubicBezTo>
                    <a:cubicBezTo>
                      <a:pt x="757" y="404"/>
                      <a:pt x="758" y="404"/>
                      <a:pt x="758" y="404"/>
                    </a:cubicBezTo>
                    <a:cubicBezTo>
                      <a:pt x="758" y="404"/>
                      <a:pt x="758" y="403"/>
                      <a:pt x="759" y="403"/>
                    </a:cubicBezTo>
                    <a:cubicBezTo>
                      <a:pt x="759" y="403"/>
                      <a:pt x="759" y="402"/>
                      <a:pt x="759" y="402"/>
                    </a:cubicBezTo>
                    <a:cubicBezTo>
                      <a:pt x="759" y="401"/>
                      <a:pt x="760" y="400"/>
                      <a:pt x="760" y="399"/>
                    </a:cubicBezTo>
                    <a:cubicBezTo>
                      <a:pt x="760" y="399"/>
                      <a:pt x="760" y="399"/>
                      <a:pt x="760" y="399"/>
                    </a:cubicBezTo>
                    <a:cubicBezTo>
                      <a:pt x="760" y="399"/>
                      <a:pt x="760" y="398"/>
                      <a:pt x="760" y="398"/>
                    </a:cubicBezTo>
                    <a:cubicBezTo>
                      <a:pt x="760" y="398"/>
                      <a:pt x="760" y="398"/>
                      <a:pt x="760" y="398"/>
                    </a:cubicBezTo>
                    <a:cubicBezTo>
                      <a:pt x="760" y="397"/>
                      <a:pt x="760" y="397"/>
                      <a:pt x="760" y="396"/>
                    </a:cubicBezTo>
                    <a:cubicBezTo>
                      <a:pt x="760" y="396"/>
                      <a:pt x="760" y="396"/>
                      <a:pt x="760" y="396"/>
                    </a:cubicBezTo>
                    <a:cubicBezTo>
                      <a:pt x="760" y="396"/>
                      <a:pt x="760" y="396"/>
                      <a:pt x="760" y="396"/>
                    </a:cubicBezTo>
                    <a:cubicBezTo>
                      <a:pt x="760" y="396"/>
                      <a:pt x="759" y="396"/>
                      <a:pt x="759" y="396"/>
                    </a:cubicBezTo>
                    <a:cubicBezTo>
                      <a:pt x="759" y="396"/>
                      <a:pt x="758" y="396"/>
                      <a:pt x="758" y="396"/>
                    </a:cubicBezTo>
                    <a:cubicBezTo>
                      <a:pt x="758" y="396"/>
                      <a:pt x="758" y="396"/>
                      <a:pt x="758" y="396"/>
                    </a:cubicBezTo>
                    <a:cubicBezTo>
                      <a:pt x="758" y="395"/>
                      <a:pt x="758" y="395"/>
                      <a:pt x="758" y="395"/>
                    </a:cubicBezTo>
                    <a:cubicBezTo>
                      <a:pt x="758" y="395"/>
                      <a:pt x="759" y="395"/>
                      <a:pt x="759" y="395"/>
                    </a:cubicBezTo>
                    <a:cubicBezTo>
                      <a:pt x="759" y="395"/>
                      <a:pt x="759" y="395"/>
                      <a:pt x="759" y="395"/>
                    </a:cubicBezTo>
                    <a:cubicBezTo>
                      <a:pt x="759" y="395"/>
                      <a:pt x="760" y="395"/>
                      <a:pt x="760" y="395"/>
                    </a:cubicBezTo>
                    <a:cubicBezTo>
                      <a:pt x="760" y="395"/>
                      <a:pt x="760" y="395"/>
                      <a:pt x="760" y="395"/>
                    </a:cubicBezTo>
                    <a:cubicBezTo>
                      <a:pt x="760" y="395"/>
                      <a:pt x="760" y="395"/>
                      <a:pt x="761" y="395"/>
                    </a:cubicBezTo>
                    <a:cubicBezTo>
                      <a:pt x="761" y="395"/>
                      <a:pt x="761" y="395"/>
                      <a:pt x="761" y="395"/>
                    </a:cubicBezTo>
                    <a:cubicBezTo>
                      <a:pt x="761" y="394"/>
                      <a:pt x="761" y="394"/>
                      <a:pt x="761" y="395"/>
                    </a:cubicBezTo>
                    <a:cubicBezTo>
                      <a:pt x="762" y="395"/>
                      <a:pt x="762" y="395"/>
                      <a:pt x="763" y="395"/>
                    </a:cubicBezTo>
                    <a:cubicBezTo>
                      <a:pt x="763" y="395"/>
                      <a:pt x="763" y="395"/>
                      <a:pt x="763" y="394"/>
                    </a:cubicBezTo>
                    <a:cubicBezTo>
                      <a:pt x="763" y="394"/>
                      <a:pt x="763" y="394"/>
                      <a:pt x="764" y="394"/>
                    </a:cubicBezTo>
                    <a:cubicBezTo>
                      <a:pt x="764" y="394"/>
                      <a:pt x="764" y="394"/>
                      <a:pt x="764" y="394"/>
                    </a:cubicBezTo>
                    <a:cubicBezTo>
                      <a:pt x="765" y="394"/>
                      <a:pt x="766" y="394"/>
                      <a:pt x="766" y="393"/>
                    </a:cubicBezTo>
                    <a:cubicBezTo>
                      <a:pt x="767" y="393"/>
                      <a:pt x="767" y="393"/>
                      <a:pt x="768" y="393"/>
                    </a:cubicBezTo>
                    <a:cubicBezTo>
                      <a:pt x="768" y="393"/>
                      <a:pt x="768" y="393"/>
                      <a:pt x="769" y="393"/>
                    </a:cubicBezTo>
                    <a:cubicBezTo>
                      <a:pt x="769" y="393"/>
                      <a:pt x="769" y="393"/>
                      <a:pt x="769" y="393"/>
                    </a:cubicBezTo>
                    <a:cubicBezTo>
                      <a:pt x="769" y="393"/>
                      <a:pt x="769" y="393"/>
                      <a:pt x="769" y="393"/>
                    </a:cubicBezTo>
                    <a:cubicBezTo>
                      <a:pt x="770" y="393"/>
                      <a:pt x="771" y="392"/>
                      <a:pt x="772" y="392"/>
                    </a:cubicBezTo>
                    <a:cubicBezTo>
                      <a:pt x="772" y="392"/>
                      <a:pt x="773" y="392"/>
                      <a:pt x="773" y="391"/>
                    </a:cubicBezTo>
                    <a:cubicBezTo>
                      <a:pt x="773" y="391"/>
                      <a:pt x="772" y="391"/>
                      <a:pt x="772" y="391"/>
                    </a:cubicBezTo>
                    <a:cubicBezTo>
                      <a:pt x="772" y="391"/>
                      <a:pt x="772" y="391"/>
                      <a:pt x="772" y="391"/>
                    </a:cubicBezTo>
                    <a:cubicBezTo>
                      <a:pt x="772" y="391"/>
                      <a:pt x="771" y="391"/>
                      <a:pt x="771" y="391"/>
                    </a:cubicBezTo>
                    <a:cubicBezTo>
                      <a:pt x="771" y="391"/>
                      <a:pt x="771" y="392"/>
                      <a:pt x="770" y="392"/>
                    </a:cubicBezTo>
                    <a:cubicBezTo>
                      <a:pt x="770" y="392"/>
                      <a:pt x="770" y="392"/>
                      <a:pt x="769" y="392"/>
                    </a:cubicBezTo>
                    <a:cubicBezTo>
                      <a:pt x="770" y="391"/>
                      <a:pt x="771" y="391"/>
                      <a:pt x="771" y="391"/>
                    </a:cubicBezTo>
                    <a:cubicBezTo>
                      <a:pt x="771" y="391"/>
                      <a:pt x="771" y="390"/>
                      <a:pt x="771" y="390"/>
                    </a:cubicBezTo>
                    <a:cubicBezTo>
                      <a:pt x="771" y="390"/>
                      <a:pt x="771" y="390"/>
                      <a:pt x="771" y="390"/>
                    </a:cubicBezTo>
                    <a:cubicBezTo>
                      <a:pt x="771" y="390"/>
                      <a:pt x="771" y="390"/>
                      <a:pt x="770" y="390"/>
                    </a:cubicBezTo>
                    <a:cubicBezTo>
                      <a:pt x="770" y="391"/>
                      <a:pt x="769" y="391"/>
                      <a:pt x="768" y="391"/>
                    </a:cubicBezTo>
                    <a:cubicBezTo>
                      <a:pt x="767" y="391"/>
                      <a:pt x="766" y="391"/>
                      <a:pt x="766" y="392"/>
                    </a:cubicBezTo>
                    <a:cubicBezTo>
                      <a:pt x="766" y="392"/>
                      <a:pt x="765" y="392"/>
                      <a:pt x="765" y="392"/>
                    </a:cubicBezTo>
                    <a:cubicBezTo>
                      <a:pt x="765" y="392"/>
                      <a:pt x="765" y="392"/>
                      <a:pt x="765" y="392"/>
                    </a:cubicBezTo>
                    <a:cubicBezTo>
                      <a:pt x="764" y="392"/>
                      <a:pt x="764" y="392"/>
                      <a:pt x="764" y="392"/>
                    </a:cubicBezTo>
                    <a:cubicBezTo>
                      <a:pt x="764" y="392"/>
                      <a:pt x="764" y="392"/>
                      <a:pt x="764" y="392"/>
                    </a:cubicBezTo>
                    <a:cubicBezTo>
                      <a:pt x="763" y="392"/>
                      <a:pt x="763" y="392"/>
                      <a:pt x="763" y="392"/>
                    </a:cubicBezTo>
                    <a:cubicBezTo>
                      <a:pt x="763" y="392"/>
                      <a:pt x="762" y="393"/>
                      <a:pt x="761" y="392"/>
                    </a:cubicBezTo>
                    <a:cubicBezTo>
                      <a:pt x="761" y="392"/>
                      <a:pt x="761" y="392"/>
                      <a:pt x="761" y="392"/>
                    </a:cubicBezTo>
                    <a:cubicBezTo>
                      <a:pt x="761" y="392"/>
                      <a:pt x="761" y="392"/>
                      <a:pt x="761" y="392"/>
                    </a:cubicBezTo>
                    <a:cubicBezTo>
                      <a:pt x="762" y="391"/>
                      <a:pt x="763" y="391"/>
                      <a:pt x="764" y="390"/>
                    </a:cubicBezTo>
                    <a:cubicBezTo>
                      <a:pt x="765" y="390"/>
                      <a:pt x="766" y="390"/>
                      <a:pt x="766" y="389"/>
                    </a:cubicBezTo>
                    <a:cubicBezTo>
                      <a:pt x="767" y="389"/>
                      <a:pt x="767" y="389"/>
                      <a:pt x="767" y="389"/>
                    </a:cubicBezTo>
                    <a:cubicBezTo>
                      <a:pt x="768" y="389"/>
                      <a:pt x="768" y="389"/>
                      <a:pt x="768" y="389"/>
                    </a:cubicBezTo>
                    <a:cubicBezTo>
                      <a:pt x="769" y="389"/>
                      <a:pt x="770" y="389"/>
                      <a:pt x="771" y="389"/>
                    </a:cubicBezTo>
                    <a:cubicBezTo>
                      <a:pt x="771" y="388"/>
                      <a:pt x="772" y="388"/>
                      <a:pt x="772" y="388"/>
                    </a:cubicBezTo>
                    <a:cubicBezTo>
                      <a:pt x="773" y="388"/>
                      <a:pt x="773" y="388"/>
                      <a:pt x="774" y="388"/>
                    </a:cubicBezTo>
                    <a:cubicBezTo>
                      <a:pt x="774" y="388"/>
                      <a:pt x="774" y="388"/>
                      <a:pt x="774" y="388"/>
                    </a:cubicBezTo>
                    <a:cubicBezTo>
                      <a:pt x="774" y="388"/>
                      <a:pt x="774" y="388"/>
                      <a:pt x="774" y="388"/>
                    </a:cubicBezTo>
                    <a:cubicBezTo>
                      <a:pt x="775" y="388"/>
                      <a:pt x="776" y="388"/>
                      <a:pt x="777" y="388"/>
                    </a:cubicBezTo>
                    <a:cubicBezTo>
                      <a:pt x="777" y="388"/>
                      <a:pt x="777" y="388"/>
                      <a:pt x="777" y="388"/>
                    </a:cubicBezTo>
                    <a:cubicBezTo>
                      <a:pt x="777" y="388"/>
                      <a:pt x="777" y="387"/>
                      <a:pt x="777" y="387"/>
                    </a:cubicBezTo>
                    <a:cubicBezTo>
                      <a:pt x="777" y="386"/>
                      <a:pt x="777" y="385"/>
                      <a:pt x="778" y="384"/>
                    </a:cubicBezTo>
                    <a:cubicBezTo>
                      <a:pt x="778" y="385"/>
                      <a:pt x="779" y="385"/>
                      <a:pt x="779" y="386"/>
                    </a:cubicBezTo>
                    <a:cubicBezTo>
                      <a:pt x="779" y="386"/>
                      <a:pt x="779" y="387"/>
                      <a:pt x="779" y="387"/>
                    </a:cubicBezTo>
                    <a:cubicBezTo>
                      <a:pt x="779" y="387"/>
                      <a:pt x="779" y="387"/>
                      <a:pt x="780" y="387"/>
                    </a:cubicBezTo>
                    <a:cubicBezTo>
                      <a:pt x="780" y="387"/>
                      <a:pt x="780" y="387"/>
                      <a:pt x="780" y="386"/>
                    </a:cubicBezTo>
                    <a:cubicBezTo>
                      <a:pt x="780" y="386"/>
                      <a:pt x="781" y="386"/>
                      <a:pt x="781" y="386"/>
                    </a:cubicBezTo>
                    <a:cubicBezTo>
                      <a:pt x="782" y="385"/>
                      <a:pt x="782" y="385"/>
                      <a:pt x="783" y="384"/>
                    </a:cubicBezTo>
                    <a:cubicBezTo>
                      <a:pt x="783" y="385"/>
                      <a:pt x="783" y="386"/>
                      <a:pt x="782" y="386"/>
                    </a:cubicBezTo>
                    <a:cubicBezTo>
                      <a:pt x="782" y="386"/>
                      <a:pt x="782" y="386"/>
                      <a:pt x="782" y="386"/>
                    </a:cubicBezTo>
                    <a:cubicBezTo>
                      <a:pt x="782" y="386"/>
                      <a:pt x="783" y="386"/>
                      <a:pt x="783" y="386"/>
                    </a:cubicBezTo>
                    <a:cubicBezTo>
                      <a:pt x="783" y="386"/>
                      <a:pt x="784" y="386"/>
                      <a:pt x="784" y="386"/>
                    </a:cubicBezTo>
                    <a:cubicBezTo>
                      <a:pt x="785" y="385"/>
                      <a:pt x="786" y="385"/>
                      <a:pt x="786" y="385"/>
                    </a:cubicBezTo>
                    <a:cubicBezTo>
                      <a:pt x="786" y="385"/>
                      <a:pt x="787" y="385"/>
                      <a:pt x="787" y="385"/>
                    </a:cubicBezTo>
                    <a:cubicBezTo>
                      <a:pt x="787" y="385"/>
                      <a:pt x="787" y="385"/>
                      <a:pt x="787" y="385"/>
                    </a:cubicBezTo>
                    <a:cubicBezTo>
                      <a:pt x="787" y="384"/>
                      <a:pt x="787" y="384"/>
                      <a:pt x="787" y="383"/>
                    </a:cubicBezTo>
                    <a:cubicBezTo>
                      <a:pt x="787" y="382"/>
                      <a:pt x="786" y="382"/>
                      <a:pt x="786" y="381"/>
                    </a:cubicBezTo>
                    <a:cubicBezTo>
                      <a:pt x="786" y="381"/>
                      <a:pt x="785" y="381"/>
                      <a:pt x="785" y="381"/>
                    </a:cubicBezTo>
                    <a:cubicBezTo>
                      <a:pt x="785" y="381"/>
                      <a:pt x="785" y="382"/>
                      <a:pt x="786" y="382"/>
                    </a:cubicBezTo>
                    <a:cubicBezTo>
                      <a:pt x="786" y="382"/>
                      <a:pt x="786" y="382"/>
                      <a:pt x="786" y="382"/>
                    </a:cubicBezTo>
                    <a:cubicBezTo>
                      <a:pt x="786" y="382"/>
                      <a:pt x="786" y="382"/>
                      <a:pt x="787" y="383"/>
                    </a:cubicBezTo>
                    <a:cubicBezTo>
                      <a:pt x="787" y="383"/>
                      <a:pt x="787" y="384"/>
                      <a:pt x="787" y="384"/>
                    </a:cubicBezTo>
                    <a:cubicBezTo>
                      <a:pt x="786" y="384"/>
                      <a:pt x="786" y="384"/>
                      <a:pt x="785" y="384"/>
                    </a:cubicBezTo>
                    <a:cubicBezTo>
                      <a:pt x="785" y="385"/>
                      <a:pt x="785" y="385"/>
                      <a:pt x="785" y="385"/>
                    </a:cubicBezTo>
                    <a:cubicBezTo>
                      <a:pt x="785" y="384"/>
                      <a:pt x="784" y="384"/>
                      <a:pt x="784" y="384"/>
                    </a:cubicBezTo>
                    <a:cubicBezTo>
                      <a:pt x="784" y="384"/>
                      <a:pt x="784" y="384"/>
                      <a:pt x="784" y="384"/>
                    </a:cubicBezTo>
                    <a:cubicBezTo>
                      <a:pt x="783" y="384"/>
                      <a:pt x="783" y="384"/>
                      <a:pt x="783" y="384"/>
                    </a:cubicBezTo>
                    <a:cubicBezTo>
                      <a:pt x="783" y="383"/>
                      <a:pt x="783" y="383"/>
                      <a:pt x="783" y="382"/>
                    </a:cubicBezTo>
                    <a:cubicBezTo>
                      <a:pt x="783" y="382"/>
                      <a:pt x="783" y="382"/>
                      <a:pt x="783" y="382"/>
                    </a:cubicBezTo>
                    <a:cubicBezTo>
                      <a:pt x="782" y="382"/>
                      <a:pt x="782" y="382"/>
                      <a:pt x="782" y="382"/>
                    </a:cubicBezTo>
                    <a:cubicBezTo>
                      <a:pt x="782" y="382"/>
                      <a:pt x="782" y="382"/>
                      <a:pt x="782" y="382"/>
                    </a:cubicBezTo>
                    <a:cubicBezTo>
                      <a:pt x="782" y="381"/>
                      <a:pt x="782" y="381"/>
                      <a:pt x="782" y="381"/>
                    </a:cubicBezTo>
                    <a:cubicBezTo>
                      <a:pt x="782" y="381"/>
                      <a:pt x="782" y="381"/>
                      <a:pt x="782" y="380"/>
                    </a:cubicBezTo>
                    <a:cubicBezTo>
                      <a:pt x="782" y="380"/>
                      <a:pt x="781" y="380"/>
                      <a:pt x="781" y="380"/>
                    </a:cubicBezTo>
                    <a:cubicBezTo>
                      <a:pt x="781" y="380"/>
                      <a:pt x="781" y="380"/>
                      <a:pt x="781" y="380"/>
                    </a:cubicBezTo>
                    <a:cubicBezTo>
                      <a:pt x="781" y="380"/>
                      <a:pt x="780" y="380"/>
                      <a:pt x="780" y="380"/>
                    </a:cubicBezTo>
                    <a:cubicBezTo>
                      <a:pt x="780" y="379"/>
                      <a:pt x="780" y="379"/>
                      <a:pt x="780" y="379"/>
                    </a:cubicBezTo>
                    <a:cubicBezTo>
                      <a:pt x="780" y="379"/>
                      <a:pt x="780" y="379"/>
                      <a:pt x="780" y="378"/>
                    </a:cubicBezTo>
                    <a:cubicBezTo>
                      <a:pt x="780" y="378"/>
                      <a:pt x="781" y="378"/>
                      <a:pt x="781" y="378"/>
                    </a:cubicBezTo>
                    <a:cubicBezTo>
                      <a:pt x="781" y="378"/>
                      <a:pt x="781" y="378"/>
                      <a:pt x="781" y="378"/>
                    </a:cubicBezTo>
                    <a:cubicBezTo>
                      <a:pt x="781" y="378"/>
                      <a:pt x="781" y="378"/>
                      <a:pt x="781" y="378"/>
                    </a:cubicBezTo>
                    <a:cubicBezTo>
                      <a:pt x="781" y="378"/>
                      <a:pt x="781" y="378"/>
                      <a:pt x="781" y="378"/>
                    </a:cubicBezTo>
                    <a:cubicBezTo>
                      <a:pt x="781" y="377"/>
                      <a:pt x="781" y="377"/>
                      <a:pt x="781" y="377"/>
                    </a:cubicBezTo>
                    <a:cubicBezTo>
                      <a:pt x="782" y="377"/>
                      <a:pt x="782" y="377"/>
                      <a:pt x="782" y="377"/>
                    </a:cubicBezTo>
                    <a:cubicBezTo>
                      <a:pt x="782" y="377"/>
                      <a:pt x="782" y="377"/>
                      <a:pt x="782" y="377"/>
                    </a:cubicBezTo>
                    <a:cubicBezTo>
                      <a:pt x="782" y="377"/>
                      <a:pt x="783" y="377"/>
                      <a:pt x="783" y="377"/>
                    </a:cubicBezTo>
                    <a:cubicBezTo>
                      <a:pt x="783" y="376"/>
                      <a:pt x="783" y="376"/>
                      <a:pt x="783" y="376"/>
                    </a:cubicBezTo>
                    <a:cubicBezTo>
                      <a:pt x="782" y="376"/>
                      <a:pt x="782" y="376"/>
                      <a:pt x="782" y="376"/>
                    </a:cubicBezTo>
                    <a:cubicBezTo>
                      <a:pt x="782" y="376"/>
                      <a:pt x="782" y="376"/>
                      <a:pt x="782" y="376"/>
                    </a:cubicBezTo>
                    <a:cubicBezTo>
                      <a:pt x="782" y="375"/>
                      <a:pt x="782" y="375"/>
                      <a:pt x="782" y="375"/>
                    </a:cubicBezTo>
                    <a:cubicBezTo>
                      <a:pt x="781" y="375"/>
                      <a:pt x="781" y="375"/>
                      <a:pt x="781" y="375"/>
                    </a:cubicBezTo>
                    <a:cubicBezTo>
                      <a:pt x="781" y="375"/>
                      <a:pt x="781" y="375"/>
                      <a:pt x="781" y="375"/>
                    </a:cubicBezTo>
                    <a:cubicBezTo>
                      <a:pt x="781" y="374"/>
                      <a:pt x="781" y="374"/>
                      <a:pt x="781" y="374"/>
                    </a:cubicBezTo>
                    <a:cubicBezTo>
                      <a:pt x="782" y="373"/>
                      <a:pt x="782" y="373"/>
                      <a:pt x="782" y="373"/>
                    </a:cubicBezTo>
                    <a:cubicBezTo>
                      <a:pt x="782" y="372"/>
                      <a:pt x="782" y="371"/>
                      <a:pt x="783" y="370"/>
                    </a:cubicBezTo>
                    <a:cubicBezTo>
                      <a:pt x="783" y="370"/>
                      <a:pt x="783" y="370"/>
                      <a:pt x="784" y="370"/>
                    </a:cubicBezTo>
                    <a:cubicBezTo>
                      <a:pt x="784" y="370"/>
                      <a:pt x="784" y="370"/>
                      <a:pt x="784" y="370"/>
                    </a:cubicBezTo>
                    <a:cubicBezTo>
                      <a:pt x="784" y="370"/>
                      <a:pt x="784" y="370"/>
                      <a:pt x="784" y="369"/>
                    </a:cubicBezTo>
                    <a:cubicBezTo>
                      <a:pt x="784" y="369"/>
                      <a:pt x="784" y="369"/>
                      <a:pt x="784" y="369"/>
                    </a:cubicBezTo>
                    <a:cubicBezTo>
                      <a:pt x="784" y="369"/>
                      <a:pt x="784" y="369"/>
                      <a:pt x="784" y="369"/>
                    </a:cubicBezTo>
                    <a:cubicBezTo>
                      <a:pt x="784" y="368"/>
                      <a:pt x="784" y="368"/>
                      <a:pt x="785" y="368"/>
                    </a:cubicBezTo>
                    <a:cubicBezTo>
                      <a:pt x="785" y="368"/>
                      <a:pt x="785" y="368"/>
                      <a:pt x="785" y="368"/>
                    </a:cubicBezTo>
                    <a:cubicBezTo>
                      <a:pt x="785" y="368"/>
                      <a:pt x="785" y="368"/>
                      <a:pt x="785" y="368"/>
                    </a:cubicBezTo>
                    <a:cubicBezTo>
                      <a:pt x="785" y="368"/>
                      <a:pt x="785" y="367"/>
                      <a:pt x="785" y="367"/>
                    </a:cubicBezTo>
                    <a:cubicBezTo>
                      <a:pt x="785" y="367"/>
                      <a:pt x="785" y="367"/>
                      <a:pt x="785" y="367"/>
                    </a:cubicBezTo>
                    <a:cubicBezTo>
                      <a:pt x="785" y="367"/>
                      <a:pt x="785" y="367"/>
                      <a:pt x="785" y="367"/>
                    </a:cubicBezTo>
                    <a:cubicBezTo>
                      <a:pt x="785" y="367"/>
                      <a:pt x="785" y="367"/>
                      <a:pt x="785" y="367"/>
                    </a:cubicBezTo>
                    <a:cubicBezTo>
                      <a:pt x="785" y="366"/>
                      <a:pt x="785" y="366"/>
                      <a:pt x="786" y="366"/>
                    </a:cubicBezTo>
                    <a:cubicBezTo>
                      <a:pt x="786" y="366"/>
                      <a:pt x="786" y="365"/>
                      <a:pt x="786" y="365"/>
                    </a:cubicBezTo>
                    <a:cubicBezTo>
                      <a:pt x="787" y="365"/>
                      <a:pt x="787" y="365"/>
                      <a:pt x="787" y="366"/>
                    </a:cubicBezTo>
                    <a:cubicBezTo>
                      <a:pt x="787" y="366"/>
                      <a:pt x="788" y="366"/>
                      <a:pt x="788" y="366"/>
                    </a:cubicBezTo>
                    <a:cubicBezTo>
                      <a:pt x="788" y="366"/>
                      <a:pt x="788" y="366"/>
                      <a:pt x="788" y="366"/>
                    </a:cubicBezTo>
                    <a:cubicBezTo>
                      <a:pt x="788" y="366"/>
                      <a:pt x="788" y="366"/>
                      <a:pt x="788" y="366"/>
                    </a:cubicBezTo>
                    <a:cubicBezTo>
                      <a:pt x="788" y="365"/>
                      <a:pt x="788" y="365"/>
                      <a:pt x="788" y="365"/>
                    </a:cubicBezTo>
                    <a:cubicBezTo>
                      <a:pt x="788" y="366"/>
                      <a:pt x="789" y="366"/>
                      <a:pt x="789" y="366"/>
                    </a:cubicBezTo>
                    <a:cubicBezTo>
                      <a:pt x="789" y="366"/>
                      <a:pt x="789" y="366"/>
                      <a:pt x="789" y="365"/>
                    </a:cubicBezTo>
                    <a:cubicBezTo>
                      <a:pt x="789" y="365"/>
                      <a:pt x="790" y="365"/>
                      <a:pt x="790" y="365"/>
                    </a:cubicBezTo>
                    <a:cubicBezTo>
                      <a:pt x="790" y="365"/>
                      <a:pt x="790" y="365"/>
                      <a:pt x="790" y="365"/>
                    </a:cubicBezTo>
                    <a:cubicBezTo>
                      <a:pt x="790" y="364"/>
                      <a:pt x="790" y="364"/>
                      <a:pt x="790" y="364"/>
                    </a:cubicBezTo>
                    <a:cubicBezTo>
                      <a:pt x="791" y="364"/>
                      <a:pt x="791" y="364"/>
                      <a:pt x="791" y="364"/>
                    </a:cubicBezTo>
                    <a:cubicBezTo>
                      <a:pt x="791" y="364"/>
                      <a:pt x="791" y="364"/>
                      <a:pt x="791" y="364"/>
                    </a:cubicBezTo>
                    <a:cubicBezTo>
                      <a:pt x="792" y="364"/>
                      <a:pt x="792" y="364"/>
                      <a:pt x="792" y="364"/>
                    </a:cubicBezTo>
                    <a:cubicBezTo>
                      <a:pt x="792" y="364"/>
                      <a:pt x="792" y="364"/>
                      <a:pt x="792" y="364"/>
                    </a:cubicBezTo>
                    <a:cubicBezTo>
                      <a:pt x="792" y="364"/>
                      <a:pt x="793" y="364"/>
                      <a:pt x="793" y="364"/>
                    </a:cubicBezTo>
                    <a:cubicBezTo>
                      <a:pt x="793" y="364"/>
                      <a:pt x="793" y="363"/>
                      <a:pt x="793" y="363"/>
                    </a:cubicBezTo>
                    <a:cubicBezTo>
                      <a:pt x="793" y="363"/>
                      <a:pt x="793" y="363"/>
                      <a:pt x="793" y="363"/>
                    </a:cubicBezTo>
                    <a:cubicBezTo>
                      <a:pt x="793" y="363"/>
                      <a:pt x="793" y="362"/>
                      <a:pt x="793" y="362"/>
                    </a:cubicBezTo>
                    <a:cubicBezTo>
                      <a:pt x="793" y="362"/>
                      <a:pt x="793" y="362"/>
                      <a:pt x="794" y="361"/>
                    </a:cubicBezTo>
                    <a:cubicBezTo>
                      <a:pt x="794" y="361"/>
                      <a:pt x="794" y="360"/>
                      <a:pt x="794" y="360"/>
                    </a:cubicBezTo>
                    <a:cubicBezTo>
                      <a:pt x="794" y="360"/>
                      <a:pt x="794" y="360"/>
                      <a:pt x="794" y="359"/>
                    </a:cubicBezTo>
                    <a:cubicBezTo>
                      <a:pt x="794" y="359"/>
                      <a:pt x="794" y="359"/>
                      <a:pt x="794" y="359"/>
                    </a:cubicBezTo>
                    <a:cubicBezTo>
                      <a:pt x="794" y="359"/>
                      <a:pt x="795" y="359"/>
                      <a:pt x="795" y="359"/>
                    </a:cubicBezTo>
                    <a:cubicBezTo>
                      <a:pt x="795" y="359"/>
                      <a:pt x="795" y="359"/>
                      <a:pt x="795" y="359"/>
                    </a:cubicBezTo>
                    <a:cubicBezTo>
                      <a:pt x="795" y="359"/>
                      <a:pt x="795" y="359"/>
                      <a:pt x="795" y="359"/>
                    </a:cubicBezTo>
                    <a:cubicBezTo>
                      <a:pt x="795" y="360"/>
                      <a:pt x="795" y="360"/>
                      <a:pt x="795" y="360"/>
                    </a:cubicBezTo>
                    <a:cubicBezTo>
                      <a:pt x="795" y="360"/>
                      <a:pt x="795" y="360"/>
                      <a:pt x="796" y="360"/>
                    </a:cubicBezTo>
                    <a:cubicBezTo>
                      <a:pt x="796" y="360"/>
                      <a:pt x="796" y="360"/>
                      <a:pt x="796" y="360"/>
                    </a:cubicBezTo>
                    <a:cubicBezTo>
                      <a:pt x="795" y="360"/>
                      <a:pt x="795" y="360"/>
                      <a:pt x="795" y="360"/>
                    </a:cubicBezTo>
                    <a:cubicBezTo>
                      <a:pt x="795" y="360"/>
                      <a:pt x="795" y="360"/>
                      <a:pt x="795" y="360"/>
                    </a:cubicBezTo>
                    <a:cubicBezTo>
                      <a:pt x="795" y="360"/>
                      <a:pt x="795" y="360"/>
                      <a:pt x="795" y="361"/>
                    </a:cubicBezTo>
                    <a:cubicBezTo>
                      <a:pt x="795" y="361"/>
                      <a:pt x="795" y="361"/>
                      <a:pt x="795" y="361"/>
                    </a:cubicBezTo>
                    <a:cubicBezTo>
                      <a:pt x="795" y="361"/>
                      <a:pt x="796" y="361"/>
                      <a:pt x="796" y="361"/>
                    </a:cubicBezTo>
                    <a:cubicBezTo>
                      <a:pt x="796" y="361"/>
                      <a:pt x="796" y="361"/>
                      <a:pt x="796" y="361"/>
                    </a:cubicBezTo>
                    <a:cubicBezTo>
                      <a:pt x="797" y="361"/>
                      <a:pt x="796" y="361"/>
                      <a:pt x="796" y="361"/>
                    </a:cubicBezTo>
                    <a:cubicBezTo>
                      <a:pt x="796" y="361"/>
                      <a:pt x="796" y="360"/>
                      <a:pt x="796" y="360"/>
                    </a:cubicBezTo>
                    <a:cubicBezTo>
                      <a:pt x="797" y="360"/>
                      <a:pt x="797" y="360"/>
                      <a:pt x="797" y="360"/>
                    </a:cubicBezTo>
                    <a:cubicBezTo>
                      <a:pt x="797" y="360"/>
                      <a:pt x="797" y="360"/>
                      <a:pt x="798" y="360"/>
                    </a:cubicBezTo>
                    <a:cubicBezTo>
                      <a:pt x="798" y="360"/>
                      <a:pt x="798" y="361"/>
                      <a:pt x="797" y="361"/>
                    </a:cubicBezTo>
                    <a:cubicBezTo>
                      <a:pt x="797" y="361"/>
                      <a:pt x="798" y="361"/>
                      <a:pt x="798" y="361"/>
                    </a:cubicBezTo>
                    <a:cubicBezTo>
                      <a:pt x="798" y="361"/>
                      <a:pt x="798" y="362"/>
                      <a:pt x="798" y="362"/>
                    </a:cubicBezTo>
                    <a:cubicBezTo>
                      <a:pt x="798" y="362"/>
                      <a:pt x="798" y="362"/>
                      <a:pt x="798" y="361"/>
                    </a:cubicBezTo>
                    <a:cubicBezTo>
                      <a:pt x="798" y="361"/>
                      <a:pt x="799" y="361"/>
                      <a:pt x="799" y="361"/>
                    </a:cubicBezTo>
                    <a:cubicBezTo>
                      <a:pt x="799" y="361"/>
                      <a:pt x="799" y="361"/>
                      <a:pt x="799" y="361"/>
                    </a:cubicBezTo>
                    <a:cubicBezTo>
                      <a:pt x="799" y="361"/>
                      <a:pt x="799" y="361"/>
                      <a:pt x="799" y="360"/>
                    </a:cubicBezTo>
                    <a:cubicBezTo>
                      <a:pt x="799" y="360"/>
                      <a:pt x="799" y="360"/>
                      <a:pt x="799" y="360"/>
                    </a:cubicBezTo>
                    <a:cubicBezTo>
                      <a:pt x="798" y="360"/>
                      <a:pt x="798" y="360"/>
                      <a:pt x="798" y="360"/>
                    </a:cubicBezTo>
                    <a:cubicBezTo>
                      <a:pt x="798" y="360"/>
                      <a:pt x="798" y="359"/>
                      <a:pt x="798" y="359"/>
                    </a:cubicBezTo>
                    <a:cubicBezTo>
                      <a:pt x="798" y="359"/>
                      <a:pt x="798" y="359"/>
                      <a:pt x="798" y="359"/>
                    </a:cubicBezTo>
                    <a:cubicBezTo>
                      <a:pt x="799" y="359"/>
                      <a:pt x="799" y="359"/>
                      <a:pt x="799" y="359"/>
                    </a:cubicBezTo>
                    <a:cubicBezTo>
                      <a:pt x="799" y="360"/>
                      <a:pt x="799" y="360"/>
                      <a:pt x="799" y="360"/>
                    </a:cubicBezTo>
                    <a:cubicBezTo>
                      <a:pt x="800" y="360"/>
                      <a:pt x="799" y="360"/>
                      <a:pt x="799" y="360"/>
                    </a:cubicBezTo>
                    <a:cubicBezTo>
                      <a:pt x="799" y="360"/>
                      <a:pt x="800" y="361"/>
                      <a:pt x="800" y="361"/>
                    </a:cubicBezTo>
                    <a:cubicBezTo>
                      <a:pt x="800" y="361"/>
                      <a:pt x="800" y="360"/>
                      <a:pt x="800" y="360"/>
                    </a:cubicBezTo>
                    <a:cubicBezTo>
                      <a:pt x="800" y="360"/>
                      <a:pt x="800" y="360"/>
                      <a:pt x="800" y="360"/>
                    </a:cubicBezTo>
                    <a:cubicBezTo>
                      <a:pt x="800" y="360"/>
                      <a:pt x="800" y="360"/>
                      <a:pt x="801" y="360"/>
                    </a:cubicBezTo>
                    <a:cubicBezTo>
                      <a:pt x="801" y="360"/>
                      <a:pt x="801" y="360"/>
                      <a:pt x="801" y="360"/>
                    </a:cubicBezTo>
                    <a:cubicBezTo>
                      <a:pt x="801" y="360"/>
                      <a:pt x="801" y="360"/>
                      <a:pt x="801" y="359"/>
                    </a:cubicBezTo>
                    <a:cubicBezTo>
                      <a:pt x="801" y="359"/>
                      <a:pt x="801" y="359"/>
                      <a:pt x="801" y="359"/>
                    </a:cubicBezTo>
                    <a:cubicBezTo>
                      <a:pt x="801" y="359"/>
                      <a:pt x="801" y="359"/>
                      <a:pt x="802" y="359"/>
                    </a:cubicBezTo>
                    <a:cubicBezTo>
                      <a:pt x="802" y="359"/>
                      <a:pt x="802" y="359"/>
                      <a:pt x="802" y="359"/>
                    </a:cubicBezTo>
                    <a:cubicBezTo>
                      <a:pt x="802" y="359"/>
                      <a:pt x="803" y="359"/>
                      <a:pt x="803" y="359"/>
                    </a:cubicBezTo>
                    <a:cubicBezTo>
                      <a:pt x="803" y="359"/>
                      <a:pt x="803" y="358"/>
                      <a:pt x="803" y="358"/>
                    </a:cubicBezTo>
                    <a:cubicBezTo>
                      <a:pt x="803" y="358"/>
                      <a:pt x="804" y="358"/>
                      <a:pt x="804" y="358"/>
                    </a:cubicBezTo>
                    <a:cubicBezTo>
                      <a:pt x="804" y="358"/>
                      <a:pt x="804" y="358"/>
                      <a:pt x="804" y="358"/>
                    </a:cubicBezTo>
                    <a:cubicBezTo>
                      <a:pt x="804" y="358"/>
                      <a:pt x="804" y="358"/>
                      <a:pt x="804" y="358"/>
                    </a:cubicBezTo>
                    <a:cubicBezTo>
                      <a:pt x="804" y="358"/>
                      <a:pt x="804" y="358"/>
                      <a:pt x="804" y="357"/>
                    </a:cubicBezTo>
                    <a:cubicBezTo>
                      <a:pt x="804" y="357"/>
                      <a:pt x="803" y="357"/>
                      <a:pt x="803" y="357"/>
                    </a:cubicBezTo>
                    <a:cubicBezTo>
                      <a:pt x="803" y="357"/>
                      <a:pt x="803" y="357"/>
                      <a:pt x="803" y="357"/>
                    </a:cubicBezTo>
                    <a:cubicBezTo>
                      <a:pt x="803" y="357"/>
                      <a:pt x="803" y="357"/>
                      <a:pt x="803" y="357"/>
                    </a:cubicBezTo>
                    <a:cubicBezTo>
                      <a:pt x="803" y="357"/>
                      <a:pt x="803" y="357"/>
                      <a:pt x="804" y="357"/>
                    </a:cubicBezTo>
                    <a:cubicBezTo>
                      <a:pt x="804" y="357"/>
                      <a:pt x="804" y="357"/>
                      <a:pt x="804" y="357"/>
                    </a:cubicBezTo>
                    <a:cubicBezTo>
                      <a:pt x="804" y="357"/>
                      <a:pt x="805" y="357"/>
                      <a:pt x="805" y="358"/>
                    </a:cubicBezTo>
                    <a:cubicBezTo>
                      <a:pt x="806" y="358"/>
                      <a:pt x="806" y="358"/>
                      <a:pt x="806" y="357"/>
                    </a:cubicBezTo>
                    <a:cubicBezTo>
                      <a:pt x="806" y="357"/>
                      <a:pt x="806" y="357"/>
                      <a:pt x="806" y="357"/>
                    </a:cubicBezTo>
                    <a:cubicBezTo>
                      <a:pt x="807" y="357"/>
                      <a:pt x="807" y="356"/>
                      <a:pt x="808" y="356"/>
                    </a:cubicBezTo>
                    <a:cubicBezTo>
                      <a:pt x="808" y="356"/>
                      <a:pt x="808" y="356"/>
                      <a:pt x="808" y="356"/>
                    </a:cubicBezTo>
                    <a:cubicBezTo>
                      <a:pt x="808" y="355"/>
                      <a:pt x="807" y="355"/>
                      <a:pt x="807" y="355"/>
                    </a:cubicBezTo>
                    <a:cubicBezTo>
                      <a:pt x="807" y="355"/>
                      <a:pt x="807" y="356"/>
                      <a:pt x="807" y="356"/>
                    </a:cubicBezTo>
                    <a:cubicBezTo>
                      <a:pt x="807" y="356"/>
                      <a:pt x="806" y="356"/>
                      <a:pt x="806" y="356"/>
                    </a:cubicBezTo>
                    <a:cubicBezTo>
                      <a:pt x="806" y="356"/>
                      <a:pt x="806" y="356"/>
                      <a:pt x="806" y="355"/>
                    </a:cubicBezTo>
                    <a:cubicBezTo>
                      <a:pt x="806" y="355"/>
                      <a:pt x="806" y="355"/>
                      <a:pt x="806" y="355"/>
                    </a:cubicBezTo>
                    <a:cubicBezTo>
                      <a:pt x="806" y="355"/>
                      <a:pt x="807" y="355"/>
                      <a:pt x="807" y="355"/>
                    </a:cubicBezTo>
                    <a:cubicBezTo>
                      <a:pt x="806" y="355"/>
                      <a:pt x="806" y="354"/>
                      <a:pt x="806" y="354"/>
                    </a:cubicBezTo>
                    <a:cubicBezTo>
                      <a:pt x="806" y="354"/>
                      <a:pt x="806" y="354"/>
                      <a:pt x="806" y="354"/>
                    </a:cubicBezTo>
                    <a:cubicBezTo>
                      <a:pt x="806" y="353"/>
                      <a:pt x="806" y="353"/>
                      <a:pt x="806" y="353"/>
                    </a:cubicBezTo>
                    <a:cubicBezTo>
                      <a:pt x="806" y="353"/>
                      <a:pt x="805" y="352"/>
                      <a:pt x="805" y="352"/>
                    </a:cubicBezTo>
                    <a:close/>
                    <a:moveTo>
                      <a:pt x="385" y="238"/>
                    </a:moveTo>
                    <a:cubicBezTo>
                      <a:pt x="385" y="238"/>
                      <a:pt x="384" y="236"/>
                      <a:pt x="384" y="236"/>
                    </a:cubicBezTo>
                    <a:cubicBezTo>
                      <a:pt x="383" y="236"/>
                      <a:pt x="383" y="236"/>
                      <a:pt x="383" y="236"/>
                    </a:cubicBezTo>
                    <a:cubicBezTo>
                      <a:pt x="382" y="236"/>
                      <a:pt x="382" y="236"/>
                      <a:pt x="382" y="236"/>
                    </a:cubicBezTo>
                    <a:cubicBezTo>
                      <a:pt x="382" y="236"/>
                      <a:pt x="382" y="236"/>
                      <a:pt x="382" y="236"/>
                    </a:cubicBezTo>
                    <a:cubicBezTo>
                      <a:pt x="382" y="235"/>
                      <a:pt x="382" y="235"/>
                      <a:pt x="382" y="235"/>
                    </a:cubicBezTo>
                    <a:cubicBezTo>
                      <a:pt x="382" y="235"/>
                      <a:pt x="381" y="235"/>
                      <a:pt x="381" y="235"/>
                    </a:cubicBezTo>
                    <a:cubicBezTo>
                      <a:pt x="381" y="235"/>
                      <a:pt x="380" y="233"/>
                      <a:pt x="380" y="233"/>
                    </a:cubicBezTo>
                    <a:cubicBezTo>
                      <a:pt x="379" y="233"/>
                      <a:pt x="379" y="233"/>
                      <a:pt x="379" y="233"/>
                    </a:cubicBezTo>
                    <a:cubicBezTo>
                      <a:pt x="377" y="233"/>
                      <a:pt x="377" y="233"/>
                      <a:pt x="377" y="233"/>
                    </a:cubicBezTo>
                    <a:cubicBezTo>
                      <a:pt x="377" y="233"/>
                      <a:pt x="374" y="230"/>
                      <a:pt x="374" y="230"/>
                    </a:cubicBezTo>
                    <a:cubicBezTo>
                      <a:pt x="374" y="230"/>
                      <a:pt x="372" y="230"/>
                      <a:pt x="372" y="230"/>
                    </a:cubicBezTo>
                    <a:cubicBezTo>
                      <a:pt x="372" y="228"/>
                      <a:pt x="372" y="228"/>
                      <a:pt x="372" y="228"/>
                    </a:cubicBezTo>
                    <a:cubicBezTo>
                      <a:pt x="371" y="227"/>
                      <a:pt x="371" y="227"/>
                      <a:pt x="371" y="227"/>
                    </a:cubicBezTo>
                    <a:cubicBezTo>
                      <a:pt x="371" y="226"/>
                      <a:pt x="371" y="226"/>
                      <a:pt x="371" y="226"/>
                    </a:cubicBezTo>
                    <a:cubicBezTo>
                      <a:pt x="371" y="226"/>
                      <a:pt x="371" y="226"/>
                      <a:pt x="371" y="226"/>
                    </a:cubicBezTo>
                    <a:cubicBezTo>
                      <a:pt x="371" y="225"/>
                      <a:pt x="371" y="225"/>
                      <a:pt x="371" y="225"/>
                    </a:cubicBezTo>
                    <a:cubicBezTo>
                      <a:pt x="369" y="224"/>
                      <a:pt x="369" y="224"/>
                      <a:pt x="369" y="224"/>
                    </a:cubicBezTo>
                    <a:cubicBezTo>
                      <a:pt x="369" y="224"/>
                      <a:pt x="369" y="224"/>
                      <a:pt x="369" y="224"/>
                    </a:cubicBezTo>
                    <a:cubicBezTo>
                      <a:pt x="369" y="224"/>
                      <a:pt x="370" y="223"/>
                      <a:pt x="370" y="223"/>
                    </a:cubicBezTo>
                    <a:cubicBezTo>
                      <a:pt x="362" y="208"/>
                      <a:pt x="362" y="208"/>
                      <a:pt x="362" y="208"/>
                    </a:cubicBezTo>
                    <a:cubicBezTo>
                      <a:pt x="362" y="208"/>
                      <a:pt x="362" y="208"/>
                      <a:pt x="362" y="208"/>
                    </a:cubicBezTo>
                    <a:cubicBezTo>
                      <a:pt x="359" y="204"/>
                      <a:pt x="359" y="204"/>
                      <a:pt x="359" y="204"/>
                    </a:cubicBezTo>
                    <a:cubicBezTo>
                      <a:pt x="357" y="202"/>
                      <a:pt x="357" y="202"/>
                      <a:pt x="357" y="202"/>
                    </a:cubicBezTo>
                    <a:cubicBezTo>
                      <a:pt x="356" y="201"/>
                      <a:pt x="356" y="201"/>
                      <a:pt x="356" y="201"/>
                    </a:cubicBezTo>
                    <a:cubicBezTo>
                      <a:pt x="356" y="201"/>
                      <a:pt x="356" y="201"/>
                      <a:pt x="356" y="201"/>
                    </a:cubicBezTo>
                    <a:cubicBezTo>
                      <a:pt x="355" y="199"/>
                      <a:pt x="355" y="199"/>
                      <a:pt x="355" y="199"/>
                    </a:cubicBezTo>
                    <a:cubicBezTo>
                      <a:pt x="353" y="198"/>
                      <a:pt x="353" y="198"/>
                      <a:pt x="353" y="198"/>
                    </a:cubicBezTo>
                    <a:cubicBezTo>
                      <a:pt x="353" y="197"/>
                      <a:pt x="353" y="197"/>
                      <a:pt x="353" y="197"/>
                    </a:cubicBezTo>
                    <a:cubicBezTo>
                      <a:pt x="351" y="196"/>
                      <a:pt x="351" y="196"/>
                      <a:pt x="351" y="196"/>
                    </a:cubicBezTo>
                    <a:cubicBezTo>
                      <a:pt x="351" y="195"/>
                      <a:pt x="351" y="195"/>
                      <a:pt x="351" y="195"/>
                    </a:cubicBezTo>
                    <a:cubicBezTo>
                      <a:pt x="351" y="195"/>
                      <a:pt x="351" y="195"/>
                      <a:pt x="351" y="195"/>
                    </a:cubicBezTo>
                    <a:cubicBezTo>
                      <a:pt x="351" y="194"/>
                      <a:pt x="351" y="194"/>
                      <a:pt x="351" y="194"/>
                    </a:cubicBezTo>
                    <a:cubicBezTo>
                      <a:pt x="351" y="194"/>
                      <a:pt x="351" y="194"/>
                      <a:pt x="351" y="194"/>
                    </a:cubicBezTo>
                    <a:cubicBezTo>
                      <a:pt x="351" y="193"/>
                      <a:pt x="351" y="193"/>
                      <a:pt x="351" y="193"/>
                    </a:cubicBezTo>
                    <a:cubicBezTo>
                      <a:pt x="348" y="190"/>
                      <a:pt x="348" y="190"/>
                      <a:pt x="348" y="190"/>
                    </a:cubicBezTo>
                    <a:cubicBezTo>
                      <a:pt x="348" y="190"/>
                      <a:pt x="348" y="190"/>
                      <a:pt x="348" y="190"/>
                    </a:cubicBezTo>
                    <a:cubicBezTo>
                      <a:pt x="344" y="192"/>
                      <a:pt x="344" y="192"/>
                      <a:pt x="344" y="192"/>
                    </a:cubicBezTo>
                    <a:cubicBezTo>
                      <a:pt x="342" y="192"/>
                      <a:pt x="342" y="192"/>
                      <a:pt x="342" y="192"/>
                    </a:cubicBezTo>
                    <a:cubicBezTo>
                      <a:pt x="342" y="192"/>
                      <a:pt x="342" y="192"/>
                      <a:pt x="342" y="192"/>
                    </a:cubicBezTo>
                    <a:cubicBezTo>
                      <a:pt x="343" y="193"/>
                      <a:pt x="343" y="193"/>
                      <a:pt x="343" y="193"/>
                    </a:cubicBezTo>
                    <a:cubicBezTo>
                      <a:pt x="343" y="193"/>
                      <a:pt x="343" y="193"/>
                      <a:pt x="343" y="193"/>
                    </a:cubicBezTo>
                    <a:cubicBezTo>
                      <a:pt x="343" y="193"/>
                      <a:pt x="343" y="194"/>
                      <a:pt x="343" y="194"/>
                    </a:cubicBezTo>
                    <a:cubicBezTo>
                      <a:pt x="342" y="194"/>
                      <a:pt x="342" y="194"/>
                      <a:pt x="342" y="194"/>
                    </a:cubicBezTo>
                    <a:cubicBezTo>
                      <a:pt x="342" y="196"/>
                      <a:pt x="342" y="196"/>
                      <a:pt x="342" y="196"/>
                    </a:cubicBezTo>
                    <a:cubicBezTo>
                      <a:pt x="341" y="198"/>
                      <a:pt x="341" y="198"/>
                      <a:pt x="341" y="198"/>
                    </a:cubicBezTo>
                    <a:cubicBezTo>
                      <a:pt x="339" y="198"/>
                      <a:pt x="339" y="198"/>
                      <a:pt x="339" y="198"/>
                    </a:cubicBezTo>
                    <a:cubicBezTo>
                      <a:pt x="334" y="202"/>
                      <a:pt x="334" y="202"/>
                      <a:pt x="334" y="202"/>
                    </a:cubicBezTo>
                    <a:cubicBezTo>
                      <a:pt x="334" y="197"/>
                      <a:pt x="334" y="197"/>
                      <a:pt x="334" y="197"/>
                    </a:cubicBezTo>
                    <a:cubicBezTo>
                      <a:pt x="327" y="190"/>
                      <a:pt x="327" y="190"/>
                      <a:pt x="327" y="190"/>
                    </a:cubicBezTo>
                    <a:cubicBezTo>
                      <a:pt x="327" y="189"/>
                      <a:pt x="327" y="189"/>
                      <a:pt x="327" y="189"/>
                    </a:cubicBezTo>
                    <a:cubicBezTo>
                      <a:pt x="327" y="188"/>
                      <a:pt x="327" y="188"/>
                      <a:pt x="327" y="188"/>
                    </a:cubicBezTo>
                    <a:cubicBezTo>
                      <a:pt x="324" y="187"/>
                      <a:pt x="324" y="187"/>
                      <a:pt x="324" y="187"/>
                    </a:cubicBezTo>
                    <a:cubicBezTo>
                      <a:pt x="323" y="186"/>
                      <a:pt x="323" y="186"/>
                      <a:pt x="323" y="186"/>
                    </a:cubicBezTo>
                    <a:cubicBezTo>
                      <a:pt x="323" y="186"/>
                      <a:pt x="323" y="185"/>
                      <a:pt x="323" y="185"/>
                    </a:cubicBezTo>
                    <a:cubicBezTo>
                      <a:pt x="323" y="185"/>
                      <a:pt x="324" y="184"/>
                      <a:pt x="324" y="184"/>
                    </a:cubicBezTo>
                    <a:cubicBezTo>
                      <a:pt x="324" y="183"/>
                      <a:pt x="324" y="182"/>
                      <a:pt x="324" y="182"/>
                    </a:cubicBezTo>
                    <a:cubicBezTo>
                      <a:pt x="320" y="182"/>
                      <a:pt x="320" y="182"/>
                      <a:pt x="320" y="182"/>
                    </a:cubicBezTo>
                    <a:cubicBezTo>
                      <a:pt x="318" y="185"/>
                      <a:pt x="318" y="185"/>
                      <a:pt x="318" y="185"/>
                    </a:cubicBezTo>
                    <a:cubicBezTo>
                      <a:pt x="318" y="185"/>
                      <a:pt x="315" y="183"/>
                      <a:pt x="315" y="183"/>
                    </a:cubicBezTo>
                    <a:cubicBezTo>
                      <a:pt x="315" y="183"/>
                      <a:pt x="314" y="184"/>
                      <a:pt x="314" y="184"/>
                    </a:cubicBezTo>
                    <a:cubicBezTo>
                      <a:pt x="311" y="183"/>
                      <a:pt x="311" y="183"/>
                      <a:pt x="311" y="183"/>
                    </a:cubicBezTo>
                    <a:cubicBezTo>
                      <a:pt x="311" y="33"/>
                      <a:pt x="311" y="33"/>
                      <a:pt x="311" y="33"/>
                    </a:cubicBezTo>
                    <a:cubicBezTo>
                      <a:pt x="311" y="33"/>
                      <a:pt x="311" y="33"/>
                      <a:pt x="311" y="33"/>
                    </a:cubicBezTo>
                    <a:cubicBezTo>
                      <a:pt x="311" y="33"/>
                      <a:pt x="310" y="33"/>
                      <a:pt x="310" y="33"/>
                    </a:cubicBezTo>
                    <a:cubicBezTo>
                      <a:pt x="310" y="33"/>
                      <a:pt x="310" y="33"/>
                      <a:pt x="310" y="34"/>
                    </a:cubicBezTo>
                    <a:cubicBezTo>
                      <a:pt x="309" y="34"/>
                      <a:pt x="309" y="33"/>
                      <a:pt x="309" y="33"/>
                    </a:cubicBezTo>
                    <a:cubicBezTo>
                      <a:pt x="308" y="33"/>
                      <a:pt x="308" y="33"/>
                      <a:pt x="308" y="32"/>
                    </a:cubicBezTo>
                    <a:cubicBezTo>
                      <a:pt x="307" y="32"/>
                      <a:pt x="307" y="32"/>
                      <a:pt x="307" y="31"/>
                    </a:cubicBezTo>
                    <a:cubicBezTo>
                      <a:pt x="307" y="31"/>
                      <a:pt x="306" y="32"/>
                      <a:pt x="306" y="32"/>
                    </a:cubicBezTo>
                    <a:cubicBezTo>
                      <a:pt x="306" y="32"/>
                      <a:pt x="306" y="31"/>
                      <a:pt x="307" y="31"/>
                    </a:cubicBezTo>
                    <a:cubicBezTo>
                      <a:pt x="306" y="31"/>
                      <a:pt x="305" y="31"/>
                      <a:pt x="305" y="30"/>
                    </a:cubicBezTo>
                    <a:cubicBezTo>
                      <a:pt x="304" y="30"/>
                      <a:pt x="304" y="30"/>
                      <a:pt x="304" y="30"/>
                    </a:cubicBezTo>
                    <a:cubicBezTo>
                      <a:pt x="304" y="30"/>
                      <a:pt x="304" y="30"/>
                      <a:pt x="304" y="30"/>
                    </a:cubicBezTo>
                    <a:cubicBezTo>
                      <a:pt x="304" y="30"/>
                      <a:pt x="304" y="30"/>
                      <a:pt x="304" y="30"/>
                    </a:cubicBezTo>
                    <a:cubicBezTo>
                      <a:pt x="304" y="30"/>
                      <a:pt x="303" y="30"/>
                      <a:pt x="303" y="29"/>
                    </a:cubicBezTo>
                    <a:cubicBezTo>
                      <a:pt x="303" y="29"/>
                      <a:pt x="303" y="29"/>
                      <a:pt x="303" y="29"/>
                    </a:cubicBezTo>
                    <a:cubicBezTo>
                      <a:pt x="303" y="29"/>
                      <a:pt x="303" y="29"/>
                      <a:pt x="303" y="29"/>
                    </a:cubicBezTo>
                    <a:cubicBezTo>
                      <a:pt x="302" y="28"/>
                      <a:pt x="302" y="28"/>
                      <a:pt x="302" y="28"/>
                    </a:cubicBezTo>
                    <a:cubicBezTo>
                      <a:pt x="302" y="28"/>
                      <a:pt x="302" y="28"/>
                      <a:pt x="301" y="28"/>
                    </a:cubicBezTo>
                    <a:cubicBezTo>
                      <a:pt x="301" y="28"/>
                      <a:pt x="301" y="27"/>
                      <a:pt x="301" y="27"/>
                    </a:cubicBezTo>
                    <a:cubicBezTo>
                      <a:pt x="301" y="27"/>
                      <a:pt x="301" y="27"/>
                      <a:pt x="301" y="27"/>
                    </a:cubicBezTo>
                    <a:cubicBezTo>
                      <a:pt x="301" y="26"/>
                      <a:pt x="301" y="26"/>
                      <a:pt x="301" y="26"/>
                    </a:cubicBezTo>
                    <a:cubicBezTo>
                      <a:pt x="300" y="26"/>
                      <a:pt x="300" y="26"/>
                      <a:pt x="300" y="26"/>
                    </a:cubicBezTo>
                    <a:cubicBezTo>
                      <a:pt x="299" y="25"/>
                      <a:pt x="299" y="25"/>
                      <a:pt x="299" y="25"/>
                    </a:cubicBezTo>
                    <a:cubicBezTo>
                      <a:pt x="299" y="25"/>
                      <a:pt x="298" y="25"/>
                      <a:pt x="298" y="25"/>
                    </a:cubicBezTo>
                    <a:cubicBezTo>
                      <a:pt x="297" y="25"/>
                      <a:pt x="297" y="25"/>
                      <a:pt x="297" y="25"/>
                    </a:cubicBezTo>
                    <a:cubicBezTo>
                      <a:pt x="297" y="25"/>
                      <a:pt x="297" y="25"/>
                      <a:pt x="297" y="25"/>
                    </a:cubicBezTo>
                    <a:cubicBezTo>
                      <a:pt x="296" y="25"/>
                      <a:pt x="296" y="25"/>
                      <a:pt x="296" y="25"/>
                    </a:cubicBezTo>
                    <a:cubicBezTo>
                      <a:pt x="296" y="25"/>
                      <a:pt x="295" y="25"/>
                      <a:pt x="295" y="25"/>
                    </a:cubicBezTo>
                    <a:cubicBezTo>
                      <a:pt x="295" y="25"/>
                      <a:pt x="294" y="25"/>
                      <a:pt x="294" y="25"/>
                    </a:cubicBezTo>
                    <a:cubicBezTo>
                      <a:pt x="294" y="25"/>
                      <a:pt x="294" y="24"/>
                      <a:pt x="294" y="24"/>
                    </a:cubicBezTo>
                    <a:cubicBezTo>
                      <a:pt x="294" y="24"/>
                      <a:pt x="293" y="24"/>
                      <a:pt x="293" y="24"/>
                    </a:cubicBezTo>
                    <a:cubicBezTo>
                      <a:pt x="293" y="24"/>
                      <a:pt x="293" y="25"/>
                      <a:pt x="293" y="25"/>
                    </a:cubicBezTo>
                    <a:cubicBezTo>
                      <a:pt x="293" y="25"/>
                      <a:pt x="293" y="25"/>
                      <a:pt x="293" y="25"/>
                    </a:cubicBezTo>
                    <a:cubicBezTo>
                      <a:pt x="292" y="25"/>
                      <a:pt x="292" y="25"/>
                      <a:pt x="291" y="25"/>
                    </a:cubicBezTo>
                    <a:cubicBezTo>
                      <a:pt x="291" y="25"/>
                      <a:pt x="291" y="26"/>
                      <a:pt x="291" y="26"/>
                    </a:cubicBezTo>
                    <a:cubicBezTo>
                      <a:pt x="290" y="26"/>
                      <a:pt x="290" y="26"/>
                      <a:pt x="289" y="26"/>
                    </a:cubicBezTo>
                    <a:cubicBezTo>
                      <a:pt x="289" y="26"/>
                      <a:pt x="289" y="27"/>
                      <a:pt x="289" y="27"/>
                    </a:cubicBezTo>
                    <a:cubicBezTo>
                      <a:pt x="288" y="27"/>
                      <a:pt x="288" y="27"/>
                      <a:pt x="288" y="27"/>
                    </a:cubicBezTo>
                    <a:cubicBezTo>
                      <a:pt x="288" y="27"/>
                      <a:pt x="288" y="27"/>
                      <a:pt x="288" y="27"/>
                    </a:cubicBezTo>
                    <a:cubicBezTo>
                      <a:pt x="287" y="27"/>
                      <a:pt x="286" y="27"/>
                      <a:pt x="285" y="27"/>
                    </a:cubicBezTo>
                    <a:cubicBezTo>
                      <a:pt x="285" y="27"/>
                      <a:pt x="285" y="27"/>
                      <a:pt x="285" y="27"/>
                    </a:cubicBezTo>
                    <a:cubicBezTo>
                      <a:pt x="285" y="27"/>
                      <a:pt x="285" y="27"/>
                      <a:pt x="285" y="27"/>
                    </a:cubicBezTo>
                    <a:cubicBezTo>
                      <a:pt x="284" y="27"/>
                      <a:pt x="283" y="27"/>
                      <a:pt x="282" y="26"/>
                    </a:cubicBezTo>
                    <a:cubicBezTo>
                      <a:pt x="282" y="26"/>
                      <a:pt x="282" y="26"/>
                      <a:pt x="282" y="26"/>
                    </a:cubicBezTo>
                    <a:cubicBezTo>
                      <a:pt x="281" y="26"/>
                      <a:pt x="281" y="26"/>
                      <a:pt x="281" y="26"/>
                    </a:cubicBezTo>
                    <a:cubicBezTo>
                      <a:pt x="281" y="26"/>
                      <a:pt x="281" y="25"/>
                      <a:pt x="281" y="25"/>
                    </a:cubicBezTo>
                    <a:cubicBezTo>
                      <a:pt x="280" y="25"/>
                      <a:pt x="280" y="25"/>
                      <a:pt x="280" y="24"/>
                    </a:cubicBezTo>
                    <a:cubicBezTo>
                      <a:pt x="280" y="24"/>
                      <a:pt x="280" y="24"/>
                      <a:pt x="280" y="24"/>
                    </a:cubicBezTo>
                    <a:cubicBezTo>
                      <a:pt x="280" y="24"/>
                      <a:pt x="279" y="24"/>
                      <a:pt x="279" y="24"/>
                    </a:cubicBezTo>
                    <a:cubicBezTo>
                      <a:pt x="279" y="25"/>
                      <a:pt x="278" y="25"/>
                      <a:pt x="278" y="25"/>
                    </a:cubicBezTo>
                    <a:cubicBezTo>
                      <a:pt x="278" y="25"/>
                      <a:pt x="278" y="25"/>
                      <a:pt x="278" y="25"/>
                    </a:cubicBezTo>
                    <a:cubicBezTo>
                      <a:pt x="278" y="25"/>
                      <a:pt x="278" y="25"/>
                      <a:pt x="278" y="25"/>
                    </a:cubicBezTo>
                    <a:cubicBezTo>
                      <a:pt x="278" y="24"/>
                      <a:pt x="278" y="24"/>
                      <a:pt x="278" y="24"/>
                    </a:cubicBezTo>
                    <a:cubicBezTo>
                      <a:pt x="277" y="23"/>
                      <a:pt x="276" y="23"/>
                      <a:pt x="275" y="23"/>
                    </a:cubicBezTo>
                    <a:cubicBezTo>
                      <a:pt x="274" y="23"/>
                      <a:pt x="273" y="23"/>
                      <a:pt x="272" y="23"/>
                    </a:cubicBezTo>
                    <a:cubicBezTo>
                      <a:pt x="272" y="24"/>
                      <a:pt x="271" y="24"/>
                      <a:pt x="270" y="24"/>
                    </a:cubicBezTo>
                    <a:cubicBezTo>
                      <a:pt x="270" y="24"/>
                      <a:pt x="270" y="23"/>
                      <a:pt x="269" y="23"/>
                    </a:cubicBezTo>
                    <a:cubicBezTo>
                      <a:pt x="269" y="24"/>
                      <a:pt x="269" y="24"/>
                      <a:pt x="269" y="25"/>
                    </a:cubicBezTo>
                    <a:cubicBezTo>
                      <a:pt x="269" y="25"/>
                      <a:pt x="269" y="24"/>
                      <a:pt x="269" y="24"/>
                    </a:cubicBezTo>
                    <a:cubicBezTo>
                      <a:pt x="269" y="23"/>
                      <a:pt x="269" y="23"/>
                      <a:pt x="268" y="23"/>
                    </a:cubicBezTo>
                    <a:cubicBezTo>
                      <a:pt x="268" y="23"/>
                      <a:pt x="267" y="23"/>
                      <a:pt x="267" y="23"/>
                    </a:cubicBezTo>
                    <a:cubicBezTo>
                      <a:pt x="266" y="23"/>
                      <a:pt x="266" y="22"/>
                      <a:pt x="265" y="22"/>
                    </a:cubicBezTo>
                    <a:cubicBezTo>
                      <a:pt x="265" y="22"/>
                      <a:pt x="265" y="23"/>
                      <a:pt x="265" y="23"/>
                    </a:cubicBezTo>
                    <a:cubicBezTo>
                      <a:pt x="264" y="24"/>
                      <a:pt x="263" y="24"/>
                      <a:pt x="263" y="25"/>
                    </a:cubicBezTo>
                    <a:cubicBezTo>
                      <a:pt x="262" y="26"/>
                      <a:pt x="262" y="26"/>
                      <a:pt x="261" y="27"/>
                    </a:cubicBezTo>
                    <a:cubicBezTo>
                      <a:pt x="261" y="27"/>
                      <a:pt x="260" y="27"/>
                      <a:pt x="260" y="28"/>
                    </a:cubicBezTo>
                    <a:cubicBezTo>
                      <a:pt x="260" y="29"/>
                      <a:pt x="260" y="30"/>
                      <a:pt x="260" y="30"/>
                    </a:cubicBezTo>
                    <a:cubicBezTo>
                      <a:pt x="260" y="31"/>
                      <a:pt x="260" y="32"/>
                      <a:pt x="260" y="32"/>
                    </a:cubicBezTo>
                    <a:cubicBezTo>
                      <a:pt x="261" y="33"/>
                      <a:pt x="261" y="35"/>
                      <a:pt x="262" y="36"/>
                    </a:cubicBezTo>
                    <a:cubicBezTo>
                      <a:pt x="262" y="36"/>
                      <a:pt x="262" y="37"/>
                      <a:pt x="262" y="37"/>
                    </a:cubicBezTo>
                    <a:cubicBezTo>
                      <a:pt x="262" y="37"/>
                      <a:pt x="262" y="37"/>
                      <a:pt x="262" y="38"/>
                    </a:cubicBezTo>
                    <a:cubicBezTo>
                      <a:pt x="262" y="38"/>
                      <a:pt x="262" y="38"/>
                      <a:pt x="262" y="38"/>
                    </a:cubicBezTo>
                    <a:cubicBezTo>
                      <a:pt x="262" y="38"/>
                      <a:pt x="262" y="38"/>
                      <a:pt x="262" y="38"/>
                    </a:cubicBezTo>
                    <a:cubicBezTo>
                      <a:pt x="262" y="38"/>
                      <a:pt x="262" y="38"/>
                      <a:pt x="262" y="38"/>
                    </a:cubicBezTo>
                    <a:cubicBezTo>
                      <a:pt x="262" y="37"/>
                      <a:pt x="262" y="37"/>
                      <a:pt x="261" y="37"/>
                    </a:cubicBezTo>
                    <a:cubicBezTo>
                      <a:pt x="261" y="36"/>
                      <a:pt x="261" y="36"/>
                      <a:pt x="261" y="36"/>
                    </a:cubicBezTo>
                    <a:cubicBezTo>
                      <a:pt x="261" y="35"/>
                      <a:pt x="261" y="35"/>
                      <a:pt x="260" y="35"/>
                    </a:cubicBezTo>
                    <a:cubicBezTo>
                      <a:pt x="260" y="33"/>
                      <a:pt x="259" y="31"/>
                      <a:pt x="260" y="29"/>
                    </a:cubicBezTo>
                    <a:cubicBezTo>
                      <a:pt x="260" y="28"/>
                      <a:pt x="260" y="27"/>
                      <a:pt x="260" y="26"/>
                    </a:cubicBezTo>
                    <a:cubicBezTo>
                      <a:pt x="260" y="26"/>
                      <a:pt x="261" y="25"/>
                      <a:pt x="261" y="24"/>
                    </a:cubicBezTo>
                    <a:cubicBezTo>
                      <a:pt x="261" y="24"/>
                      <a:pt x="262" y="23"/>
                      <a:pt x="262" y="22"/>
                    </a:cubicBezTo>
                    <a:cubicBezTo>
                      <a:pt x="262" y="22"/>
                      <a:pt x="262" y="22"/>
                      <a:pt x="262" y="22"/>
                    </a:cubicBezTo>
                    <a:cubicBezTo>
                      <a:pt x="263" y="22"/>
                      <a:pt x="263" y="21"/>
                      <a:pt x="263" y="21"/>
                    </a:cubicBezTo>
                    <a:cubicBezTo>
                      <a:pt x="263" y="21"/>
                      <a:pt x="263" y="20"/>
                      <a:pt x="263" y="20"/>
                    </a:cubicBezTo>
                    <a:cubicBezTo>
                      <a:pt x="263" y="20"/>
                      <a:pt x="262" y="21"/>
                      <a:pt x="262" y="21"/>
                    </a:cubicBezTo>
                    <a:cubicBezTo>
                      <a:pt x="262" y="21"/>
                      <a:pt x="262" y="20"/>
                      <a:pt x="262" y="21"/>
                    </a:cubicBezTo>
                    <a:cubicBezTo>
                      <a:pt x="261" y="21"/>
                      <a:pt x="261" y="21"/>
                      <a:pt x="261" y="21"/>
                    </a:cubicBezTo>
                    <a:cubicBezTo>
                      <a:pt x="261" y="20"/>
                      <a:pt x="261" y="20"/>
                      <a:pt x="261" y="20"/>
                    </a:cubicBezTo>
                    <a:cubicBezTo>
                      <a:pt x="261" y="20"/>
                      <a:pt x="261" y="19"/>
                      <a:pt x="261" y="19"/>
                    </a:cubicBezTo>
                    <a:cubicBezTo>
                      <a:pt x="261" y="19"/>
                      <a:pt x="261" y="19"/>
                      <a:pt x="261" y="19"/>
                    </a:cubicBezTo>
                    <a:cubicBezTo>
                      <a:pt x="261" y="19"/>
                      <a:pt x="261" y="19"/>
                      <a:pt x="261" y="19"/>
                    </a:cubicBezTo>
                    <a:cubicBezTo>
                      <a:pt x="260" y="19"/>
                      <a:pt x="260" y="19"/>
                      <a:pt x="260" y="19"/>
                    </a:cubicBezTo>
                    <a:cubicBezTo>
                      <a:pt x="259" y="19"/>
                      <a:pt x="259" y="19"/>
                      <a:pt x="259" y="19"/>
                    </a:cubicBezTo>
                    <a:cubicBezTo>
                      <a:pt x="259" y="19"/>
                      <a:pt x="259" y="19"/>
                      <a:pt x="259" y="19"/>
                    </a:cubicBezTo>
                    <a:cubicBezTo>
                      <a:pt x="258" y="20"/>
                      <a:pt x="258" y="20"/>
                      <a:pt x="258" y="21"/>
                    </a:cubicBezTo>
                    <a:cubicBezTo>
                      <a:pt x="258" y="21"/>
                      <a:pt x="258" y="22"/>
                      <a:pt x="258" y="23"/>
                    </a:cubicBezTo>
                    <a:cubicBezTo>
                      <a:pt x="258" y="23"/>
                      <a:pt x="258" y="24"/>
                      <a:pt x="257" y="24"/>
                    </a:cubicBezTo>
                    <a:cubicBezTo>
                      <a:pt x="257" y="25"/>
                      <a:pt x="257" y="25"/>
                      <a:pt x="256" y="25"/>
                    </a:cubicBezTo>
                    <a:cubicBezTo>
                      <a:pt x="256" y="25"/>
                      <a:pt x="256" y="26"/>
                      <a:pt x="256" y="26"/>
                    </a:cubicBezTo>
                    <a:cubicBezTo>
                      <a:pt x="256" y="26"/>
                      <a:pt x="255" y="26"/>
                      <a:pt x="255" y="26"/>
                    </a:cubicBezTo>
                    <a:cubicBezTo>
                      <a:pt x="255" y="26"/>
                      <a:pt x="255" y="26"/>
                      <a:pt x="255" y="26"/>
                    </a:cubicBezTo>
                    <a:cubicBezTo>
                      <a:pt x="256" y="25"/>
                      <a:pt x="256" y="25"/>
                      <a:pt x="256" y="24"/>
                    </a:cubicBezTo>
                    <a:cubicBezTo>
                      <a:pt x="257" y="24"/>
                      <a:pt x="257" y="23"/>
                      <a:pt x="257" y="23"/>
                    </a:cubicBezTo>
                    <a:cubicBezTo>
                      <a:pt x="258" y="22"/>
                      <a:pt x="258" y="21"/>
                      <a:pt x="258" y="21"/>
                    </a:cubicBezTo>
                    <a:cubicBezTo>
                      <a:pt x="258" y="21"/>
                      <a:pt x="257" y="20"/>
                      <a:pt x="258" y="20"/>
                    </a:cubicBezTo>
                    <a:cubicBezTo>
                      <a:pt x="258" y="20"/>
                      <a:pt x="258" y="20"/>
                      <a:pt x="258" y="19"/>
                    </a:cubicBezTo>
                    <a:cubicBezTo>
                      <a:pt x="258" y="19"/>
                      <a:pt x="258" y="19"/>
                      <a:pt x="258" y="18"/>
                    </a:cubicBezTo>
                    <a:cubicBezTo>
                      <a:pt x="258" y="18"/>
                      <a:pt x="258" y="18"/>
                      <a:pt x="258" y="18"/>
                    </a:cubicBezTo>
                    <a:cubicBezTo>
                      <a:pt x="258" y="18"/>
                      <a:pt x="258" y="18"/>
                      <a:pt x="258" y="18"/>
                    </a:cubicBezTo>
                    <a:cubicBezTo>
                      <a:pt x="257" y="18"/>
                      <a:pt x="257" y="17"/>
                      <a:pt x="257" y="17"/>
                    </a:cubicBezTo>
                    <a:cubicBezTo>
                      <a:pt x="256" y="17"/>
                      <a:pt x="254" y="17"/>
                      <a:pt x="253" y="17"/>
                    </a:cubicBezTo>
                    <a:cubicBezTo>
                      <a:pt x="253" y="17"/>
                      <a:pt x="253" y="17"/>
                      <a:pt x="252" y="17"/>
                    </a:cubicBezTo>
                    <a:cubicBezTo>
                      <a:pt x="252" y="17"/>
                      <a:pt x="252" y="17"/>
                      <a:pt x="252" y="17"/>
                    </a:cubicBezTo>
                    <a:cubicBezTo>
                      <a:pt x="252" y="17"/>
                      <a:pt x="252" y="17"/>
                      <a:pt x="252" y="17"/>
                    </a:cubicBezTo>
                    <a:cubicBezTo>
                      <a:pt x="252" y="17"/>
                      <a:pt x="251" y="17"/>
                      <a:pt x="251" y="17"/>
                    </a:cubicBezTo>
                    <a:cubicBezTo>
                      <a:pt x="251" y="18"/>
                      <a:pt x="251" y="18"/>
                      <a:pt x="250" y="18"/>
                    </a:cubicBezTo>
                    <a:cubicBezTo>
                      <a:pt x="250" y="18"/>
                      <a:pt x="250" y="18"/>
                      <a:pt x="250" y="18"/>
                    </a:cubicBezTo>
                    <a:cubicBezTo>
                      <a:pt x="249" y="19"/>
                      <a:pt x="248" y="19"/>
                      <a:pt x="248" y="19"/>
                    </a:cubicBezTo>
                    <a:cubicBezTo>
                      <a:pt x="247" y="19"/>
                      <a:pt x="247" y="20"/>
                      <a:pt x="247" y="20"/>
                    </a:cubicBezTo>
                    <a:cubicBezTo>
                      <a:pt x="247" y="20"/>
                      <a:pt x="247" y="20"/>
                      <a:pt x="246" y="21"/>
                    </a:cubicBezTo>
                    <a:cubicBezTo>
                      <a:pt x="246" y="21"/>
                      <a:pt x="246" y="21"/>
                      <a:pt x="246" y="21"/>
                    </a:cubicBezTo>
                    <a:cubicBezTo>
                      <a:pt x="246" y="22"/>
                      <a:pt x="245" y="22"/>
                      <a:pt x="245" y="21"/>
                    </a:cubicBezTo>
                    <a:cubicBezTo>
                      <a:pt x="245" y="21"/>
                      <a:pt x="245" y="21"/>
                      <a:pt x="245" y="21"/>
                    </a:cubicBezTo>
                    <a:cubicBezTo>
                      <a:pt x="246" y="20"/>
                      <a:pt x="246" y="20"/>
                      <a:pt x="246" y="20"/>
                    </a:cubicBezTo>
                    <a:cubicBezTo>
                      <a:pt x="246" y="20"/>
                      <a:pt x="246" y="20"/>
                      <a:pt x="246" y="19"/>
                    </a:cubicBezTo>
                    <a:cubicBezTo>
                      <a:pt x="246" y="19"/>
                      <a:pt x="246" y="19"/>
                      <a:pt x="247" y="18"/>
                    </a:cubicBezTo>
                    <a:cubicBezTo>
                      <a:pt x="247" y="18"/>
                      <a:pt x="247" y="18"/>
                      <a:pt x="246" y="18"/>
                    </a:cubicBezTo>
                    <a:cubicBezTo>
                      <a:pt x="247" y="18"/>
                      <a:pt x="247" y="17"/>
                      <a:pt x="247" y="17"/>
                    </a:cubicBezTo>
                    <a:cubicBezTo>
                      <a:pt x="247" y="17"/>
                      <a:pt x="247" y="17"/>
                      <a:pt x="247" y="17"/>
                    </a:cubicBezTo>
                    <a:cubicBezTo>
                      <a:pt x="247" y="17"/>
                      <a:pt x="247" y="17"/>
                      <a:pt x="247" y="17"/>
                    </a:cubicBezTo>
                    <a:cubicBezTo>
                      <a:pt x="247" y="17"/>
                      <a:pt x="246" y="17"/>
                      <a:pt x="246" y="17"/>
                    </a:cubicBezTo>
                    <a:cubicBezTo>
                      <a:pt x="246" y="17"/>
                      <a:pt x="246" y="17"/>
                      <a:pt x="245" y="17"/>
                    </a:cubicBezTo>
                    <a:cubicBezTo>
                      <a:pt x="245" y="18"/>
                      <a:pt x="245" y="18"/>
                      <a:pt x="244" y="18"/>
                    </a:cubicBezTo>
                    <a:cubicBezTo>
                      <a:pt x="244" y="19"/>
                      <a:pt x="244" y="19"/>
                      <a:pt x="244" y="19"/>
                    </a:cubicBezTo>
                    <a:cubicBezTo>
                      <a:pt x="244" y="19"/>
                      <a:pt x="244" y="19"/>
                      <a:pt x="244" y="19"/>
                    </a:cubicBezTo>
                    <a:cubicBezTo>
                      <a:pt x="244" y="19"/>
                      <a:pt x="243" y="19"/>
                      <a:pt x="243" y="19"/>
                    </a:cubicBezTo>
                    <a:cubicBezTo>
                      <a:pt x="243" y="19"/>
                      <a:pt x="243" y="19"/>
                      <a:pt x="243" y="19"/>
                    </a:cubicBezTo>
                    <a:cubicBezTo>
                      <a:pt x="242" y="19"/>
                      <a:pt x="242" y="19"/>
                      <a:pt x="242" y="18"/>
                    </a:cubicBezTo>
                    <a:cubicBezTo>
                      <a:pt x="241" y="18"/>
                      <a:pt x="241" y="18"/>
                      <a:pt x="240" y="18"/>
                    </a:cubicBezTo>
                    <a:cubicBezTo>
                      <a:pt x="240" y="18"/>
                      <a:pt x="239" y="18"/>
                      <a:pt x="238" y="18"/>
                    </a:cubicBezTo>
                    <a:cubicBezTo>
                      <a:pt x="238" y="18"/>
                      <a:pt x="238" y="18"/>
                      <a:pt x="239" y="17"/>
                    </a:cubicBezTo>
                    <a:cubicBezTo>
                      <a:pt x="239" y="17"/>
                      <a:pt x="239" y="16"/>
                      <a:pt x="239" y="16"/>
                    </a:cubicBezTo>
                    <a:cubicBezTo>
                      <a:pt x="239" y="16"/>
                      <a:pt x="239" y="16"/>
                      <a:pt x="238" y="16"/>
                    </a:cubicBezTo>
                    <a:cubicBezTo>
                      <a:pt x="237" y="16"/>
                      <a:pt x="237" y="16"/>
                      <a:pt x="236" y="16"/>
                    </a:cubicBezTo>
                    <a:cubicBezTo>
                      <a:pt x="236" y="16"/>
                      <a:pt x="235" y="16"/>
                      <a:pt x="234" y="16"/>
                    </a:cubicBezTo>
                    <a:cubicBezTo>
                      <a:pt x="234" y="15"/>
                      <a:pt x="235" y="15"/>
                      <a:pt x="235" y="15"/>
                    </a:cubicBezTo>
                    <a:cubicBezTo>
                      <a:pt x="236" y="15"/>
                      <a:pt x="236" y="15"/>
                      <a:pt x="237" y="15"/>
                    </a:cubicBezTo>
                    <a:cubicBezTo>
                      <a:pt x="237" y="15"/>
                      <a:pt x="237" y="15"/>
                      <a:pt x="237" y="15"/>
                    </a:cubicBezTo>
                    <a:cubicBezTo>
                      <a:pt x="237" y="15"/>
                      <a:pt x="237" y="15"/>
                      <a:pt x="236" y="15"/>
                    </a:cubicBezTo>
                    <a:cubicBezTo>
                      <a:pt x="236" y="15"/>
                      <a:pt x="236" y="15"/>
                      <a:pt x="236" y="14"/>
                    </a:cubicBezTo>
                    <a:cubicBezTo>
                      <a:pt x="235" y="14"/>
                      <a:pt x="235" y="14"/>
                      <a:pt x="235" y="14"/>
                    </a:cubicBezTo>
                    <a:cubicBezTo>
                      <a:pt x="235" y="13"/>
                      <a:pt x="235" y="13"/>
                      <a:pt x="235" y="12"/>
                    </a:cubicBezTo>
                    <a:cubicBezTo>
                      <a:pt x="235" y="12"/>
                      <a:pt x="236" y="11"/>
                      <a:pt x="236" y="11"/>
                    </a:cubicBezTo>
                    <a:cubicBezTo>
                      <a:pt x="236" y="11"/>
                      <a:pt x="236" y="10"/>
                      <a:pt x="236" y="10"/>
                    </a:cubicBezTo>
                    <a:cubicBezTo>
                      <a:pt x="236" y="10"/>
                      <a:pt x="236" y="10"/>
                      <a:pt x="236" y="10"/>
                    </a:cubicBezTo>
                    <a:cubicBezTo>
                      <a:pt x="235" y="10"/>
                      <a:pt x="234" y="9"/>
                      <a:pt x="233" y="9"/>
                    </a:cubicBezTo>
                    <a:cubicBezTo>
                      <a:pt x="233" y="9"/>
                      <a:pt x="233" y="10"/>
                      <a:pt x="233" y="10"/>
                    </a:cubicBezTo>
                    <a:cubicBezTo>
                      <a:pt x="233" y="10"/>
                      <a:pt x="233" y="10"/>
                      <a:pt x="233" y="9"/>
                    </a:cubicBezTo>
                    <a:cubicBezTo>
                      <a:pt x="232" y="9"/>
                      <a:pt x="232" y="9"/>
                      <a:pt x="231" y="9"/>
                    </a:cubicBezTo>
                    <a:cubicBezTo>
                      <a:pt x="231" y="8"/>
                      <a:pt x="230" y="8"/>
                      <a:pt x="229" y="8"/>
                    </a:cubicBezTo>
                    <a:cubicBezTo>
                      <a:pt x="229" y="8"/>
                      <a:pt x="229" y="9"/>
                      <a:pt x="228" y="9"/>
                    </a:cubicBezTo>
                    <a:cubicBezTo>
                      <a:pt x="227" y="9"/>
                      <a:pt x="226" y="9"/>
                      <a:pt x="225" y="9"/>
                    </a:cubicBezTo>
                    <a:cubicBezTo>
                      <a:pt x="225" y="10"/>
                      <a:pt x="224" y="10"/>
                      <a:pt x="224" y="11"/>
                    </a:cubicBezTo>
                    <a:cubicBezTo>
                      <a:pt x="224" y="11"/>
                      <a:pt x="223" y="11"/>
                      <a:pt x="223" y="11"/>
                    </a:cubicBezTo>
                    <a:cubicBezTo>
                      <a:pt x="223" y="11"/>
                      <a:pt x="223" y="11"/>
                      <a:pt x="223" y="11"/>
                    </a:cubicBezTo>
                    <a:cubicBezTo>
                      <a:pt x="223" y="11"/>
                      <a:pt x="223" y="11"/>
                      <a:pt x="223" y="11"/>
                    </a:cubicBezTo>
                    <a:cubicBezTo>
                      <a:pt x="223" y="11"/>
                      <a:pt x="222" y="11"/>
                      <a:pt x="222" y="11"/>
                    </a:cubicBezTo>
                    <a:cubicBezTo>
                      <a:pt x="222" y="12"/>
                      <a:pt x="222" y="12"/>
                      <a:pt x="221" y="12"/>
                    </a:cubicBezTo>
                    <a:cubicBezTo>
                      <a:pt x="221" y="12"/>
                      <a:pt x="221" y="12"/>
                      <a:pt x="221" y="12"/>
                    </a:cubicBezTo>
                    <a:cubicBezTo>
                      <a:pt x="221" y="12"/>
                      <a:pt x="220" y="12"/>
                      <a:pt x="221" y="12"/>
                    </a:cubicBezTo>
                    <a:cubicBezTo>
                      <a:pt x="220" y="12"/>
                      <a:pt x="220" y="12"/>
                      <a:pt x="220" y="12"/>
                    </a:cubicBezTo>
                    <a:cubicBezTo>
                      <a:pt x="220" y="11"/>
                      <a:pt x="220" y="11"/>
                      <a:pt x="220" y="11"/>
                    </a:cubicBezTo>
                    <a:cubicBezTo>
                      <a:pt x="221" y="11"/>
                      <a:pt x="221" y="11"/>
                      <a:pt x="221" y="10"/>
                    </a:cubicBezTo>
                    <a:cubicBezTo>
                      <a:pt x="221" y="10"/>
                      <a:pt x="220" y="10"/>
                      <a:pt x="220" y="10"/>
                    </a:cubicBezTo>
                    <a:cubicBezTo>
                      <a:pt x="220" y="10"/>
                      <a:pt x="220" y="9"/>
                      <a:pt x="220" y="9"/>
                    </a:cubicBezTo>
                    <a:cubicBezTo>
                      <a:pt x="220" y="9"/>
                      <a:pt x="220" y="9"/>
                      <a:pt x="220" y="9"/>
                    </a:cubicBezTo>
                    <a:cubicBezTo>
                      <a:pt x="220" y="8"/>
                      <a:pt x="220" y="8"/>
                      <a:pt x="220" y="7"/>
                    </a:cubicBezTo>
                    <a:cubicBezTo>
                      <a:pt x="220" y="7"/>
                      <a:pt x="220" y="6"/>
                      <a:pt x="220" y="6"/>
                    </a:cubicBezTo>
                    <a:cubicBezTo>
                      <a:pt x="220" y="6"/>
                      <a:pt x="220" y="6"/>
                      <a:pt x="220" y="6"/>
                    </a:cubicBezTo>
                    <a:cubicBezTo>
                      <a:pt x="220" y="6"/>
                      <a:pt x="220" y="6"/>
                      <a:pt x="220" y="6"/>
                    </a:cubicBezTo>
                    <a:cubicBezTo>
                      <a:pt x="219" y="5"/>
                      <a:pt x="219" y="5"/>
                      <a:pt x="218" y="5"/>
                    </a:cubicBezTo>
                    <a:cubicBezTo>
                      <a:pt x="218" y="5"/>
                      <a:pt x="217" y="4"/>
                      <a:pt x="217" y="4"/>
                    </a:cubicBezTo>
                    <a:cubicBezTo>
                      <a:pt x="217" y="4"/>
                      <a:pt x="217" y="4"/>
                      <a:pt x="217" y="4"/>
                    </a:cubicBezTo>
                    <a:cubicBezTo>
                      <a:pt x="217" y="4"/>
                      <a:pt x="217" y="5"/>
                      <a:pt x="217" y="5"/>
                    </a:cubicBezTo>
                    <a:cubicBezTo>
                      <a:pt x="218" y="5"/>
                      <a:pt x="218" y="5"/>
                      <a:pt x="217" y="5"/>
                    </a:cubicBezTo>
                    <a:cubicBezTo>
                      <a:pt x="217" y="5"/>
                      <a:pt x="217" y="5"/>
                      <a:pt x="217" y="5"/>
                    </a:cubicBezTo>
                    <a:cubicBezTo>
                      <a:pt x="217" y="5"/>
                      <a:pt x="216" y="4"/>
                      <a:pt x="216" y="4"/>
                    </a:cubicBezTo>
                    <a:cubicBezTo>
                      <a:pt x="216" y="4"/>
                      <a:pt x="216" y="5"/>
                      <a:pt x="216" y="5"/>
                    </a:cubicBezTo>
                    <a:cubicBezTo>
                      <a:pt x="216" y="5"/>
                      <a:pt x="216" y="5"/>
                      <a:pt x="216" y="5"/>
                    </a:cubicBezTo>
                    <a:cubicBezTo>
                      <a:pt x="216" y="6"/>
                      <a:pt x="217" y="6"/>
                      <a:pt x="217" y="6"/>
                    </a:cubicBezTo>
                    <a:cubicBezTo>
                      <a:pt x="216" y="7"/>
                      <a:pt x="216" y="7"/>
                      <a:pt x="216" y="7"/>
                    </a:cubicBezTo>
                    <a:cubicBezTo>
                      <a:pt x="216" y="7"/>
                      <a:pt x="216" y="6"/>
                      <a:pt x="216" y="6"/>
                    </a:cubicBezTo>
                    <a:cubicBezTo>
                      <a:pt x="215" y="7"/>
                      <a:pt x="215" y="7"/>
                      <a:pt x="214" y="8"/>
                    </a:cubicBezTo>
                    <a:cubicBezTo>
                      <a:pt x="214" y="8"/>
                      <a:pt x="214" y="9"/>
                      <a:pt x="214" y="9"/>
                    </a:cubicBezTo>
                    <a:cubicBezTo>
                      <a:pt x="214" y="10"/>
                      <a:pt x="214" y="10"/>
                      <a:pt x="213" y="10"/>
                    </a:cubicBezTo>
                    <a:cubicBezTo>
                      <a:pt x="213" y="10"/>
                      <a:pt x="213" y="10"/>
                      <a:pt x="213" y="10"/>
                    </a:cubicBezTo>
                    <a:cubicBezTo>
                      <a:pt x="212" y="10"/>
                      <a:pt x="212" y="10"/>
                      <a:pt x="211" y="10"/>
                    </a:cubicBezTo>
                    <a:cubicBezTo>
                      <a:pt x="211" y="10"/>
                      <a:pt x="211" y="11"/>
                      <a:pt x="211" y="10"/>
                    </a:cubicBezTo>
                    <a:cubicBezTo>
                      <a:pt x="211" y="10"/>
                      <a:pt x="211" y="10"/>
                      <a:pt x="211" y="10"/>
                    </a:cubicBezTo>
                    <a:cubicBezTo>
                      <a:pt x="211" y="10"/>
                      <a:pt x="211" y="10"/>
                      <a:pt x="211" y="10"/>
                    </a:cubicBezTo>
                    <a:cubicBezTo>
                      <a:pt x="211" y="9"/>
                      <a:pt x="211" y="10"/>
                      <a:pt x="211" y="9"/>
                    </a:cubicBezTo>
                    <a:cubicBezTo>
                      <a:pt x="210" y="9"/>
                      <a:pt x="210" y="9"/>
                      <a:pt x="210" y="9"/>
                    </a:cubicBezTo>
                    <a:cubicBezTo>
                      <a:pt x="210" y="9"/>
                      <a:pt x="210" y="9"/>
                      <a:pt x="210" y="9"/>
                    </a:cubicBezTo>
                    <a:cubicBezTo>
                      <a:pt x="210" y="9"/>
                      <a:pt x="210" y="9"/>
                      <a:pt x="210" y="9"/>
                    </a:cubicBezTo>
                    <a:cubicBezTo>
                      <a:pt x="210" y="9"/>
                      <a:pt x="210" y="9"/>
                      <a:pt x="210" y="9"/>
                    </a:cubicBezTo>
                    <a:cubicBezTo>
                      <a:pt x="211" y="9"/>
                      <a:pt x="211" y="9"/>
                      <a:pt x="211" y="9"/>
                    </a:cubicBezTo>
                    <a:cubicBezTo>
                      <a:pt x="211" y="9"/>
                      <a:pt x="211" y="9"/>
                      <a:pt x="211" y="9"/>
                    </a:cubicBezTo>
                    <a:cubicBezTo>
                      <a:pt x="211" y="9"/>
                      <a:pt x="211" y="8"/>
                      <a:pt x="211" y="8"/>
                    </a:cubicBezTo>
                    <a:cubicBezTo>
                      <a:pt x="211" y="8"/>
                      <a:pt x="211" y="8"/>
                      <a:pt x="211" y="8"/>
                    </a:cubicBezTo>
                    <a:cubicBezTo>
                      <a:pt x="210" y="8"/>
                      <a:pt x="210" y="8"/>
                      <a:pt x="210" y="8"/>
                    </a:cubicBezTo>
                    <a:cubicBezTo>
                      <a:pt x="210" y="8"/>
                      <a:pt x="210" y="8"/>
                      <a:pt x="210" y="8"/>
                    </a:cubicBezTo>
                    <a:cubicBezTo>
                      <a:pt x="210" y="8"/>
                      <a:pt x="210" y="8"/>
                      <a:pt x="211" y="8"/>
                    </a:cubicBezTo>
                    <a:cubicBezTo>
                      <a:pt x="211" y="8"/>
                      <a:pt x="211" y="8"/>
                      <a:pt x="211" y="8"/>
                    </a:cubicBezTo>
                    <a:cubicBezTo>
                      <a:pt x="211" y="7"/>
                      <a:pt x="212" y="7"/>
                      <a:pt x="212" y="7"/>
                    </a:cubicBezTo>
                    <a:cubicBezTo>
                      <a:pt x="212" y="7"/>
                      <a:pt x="212" y="7"/>
                      <a:pt x="213" y="7"/>
                    </a:cubicBezTo>
                    <a:cubicBezTo>
                      <a:pt x="213" y="7"/>
                      <a:pt x="213" y="7"/>
                      <a:pt x="213" y="6"/>
                    </a:cubicBezTo>
                    <a:cubicBezTo>
                      <a:pt x="213" y="6"/>
                      <a:pt x="213" y="6"/>
                      <a:pt x="213" y="6"/>
                    </a:cubicBezTo>
                    <a:cubicBezTo>
                      <a:pt x="213" y="6"/>
                      <a:pt x="213" y="6"/>
                      <a:pt x="213" y="5"/>
                    </a:cubicBezTo>
                    <a:cubicBezTo>
                      <a:pt x="214" y="5"/>
                      <a:pt x="214" y="5"/>
                      <a:pt x="214" y="5"/>
                    </a:cubicBezTo>
                    <a:cubicBezTo>
                      <a:pt x="214" y="5"/>
                      <a:pt x="214" y="5"/>
                      <a:pt x="214" y="5"/>
                    </a:cubicBezTo>
                    <a:cubicBezTo>
                      <a:pt x="214" y="5"/>
                      <a:pt x="214" y="5"/>
                      <a:pt x="214" y="5"/>
                    </a:cubicBezTo>
                    <a:cubicBezTo>
                      <a:pt x="214" y="4"/>
                      <a:pt x="214" y="4"/>
                      <a:pt x="214" y="4"/>
                    </a:cubicBezTo>
                    <a:cubicBezTo>
                      <a:pt x="214" y="3"/>
                      <a:pt x="214" y="3"/>
                      <a:pt x="214" y="3"/>
                    </a:cubicBezTo>
                    <a:cubicBezTo>
                      <a:pt x="214" y="3"/>
                      <a:pt x="214" y="3"/>
                      <a:pt x="213" y="3"/>
                    </a:cubicBezTo>
                    <a:cubicBezTo>
                      <a:pt x="213" y="3"/>
                      <a:pt x="213" y="3"/>
                      <a:pt x="213" y="3"/>
                    </a:cubicBezTo>
                    <a:cubicBezTo>
                      <a:pt x="213" y="3"/>
                      <a:pt x="212" y="3"/>
                      <a:pt x="212" y="2"/>
                    </a:cubicBezTo>
                    <a:cubicBezTo>
                      <a:pt x="212" y="2"/>
                      <a:pt x="211" y="3"/>
                      <a:pt x="211" y="3"/>
                    </a:cubicBezTo>
                    <a:cubicBezTo>
                      <a:pt x="211" y="3"/>
                      <a:pt x="211" y="3"/>
                      <a:pt x="210" y="3"/>
                    </a:cubicBezTo>
                    <a:cubicBezTo>
                      <a:pt x="210" y="3"/>
                      <a:pt x="211" y="3"/>
                      <a:pt x="211" y="2"/>
                    </a:cubicBezTo>
                    <a:cubicBezTo>
                      <a:pt x="211" y="2"/>
                      <a:pt x="211" y="2"/>
                      <a:pt x="211" y="2"/>
                    </a:cubicBezTo>
                    <a:cubicBezTo>
                      <a:pt x="210" y="2"/>
                      <a:pt x="210" y="2"/>
                      <a:pt x="210" y="1"/>
                    </a:cubicBezTo>
                    <a:cubicBezTo>
                      <a:pt x="210" y="1"/>
                      <a:pt x="210" y="1"/>
                      <a:pt x="210" y="1"/>
                    </a:cubicBezTo>
                    <a:cubicBezTo>
                      <a:pt x="210" y="1"/>
                      <a:pt x="210" y="1"/>
                      <a:pt x="209" y="1"/>
                    </a:cubicBezTo>
                    <a:cubicBezTo>
                      <a:pt x="209" y="1"/>
                      <a:pt x="208" y="1"/>
                      <a:pt x="208" y="1"/>
                    </a:cubicBezTo>
                    <a:cubicBezTo>
                      <a:pt x="208" y="1"/>
                      <a:pt x="207" y="0"/>
                      <a:pt x="207" y="0"/>
                    </a:cubicBezTo>
                    <a:cubicBezTo>
                      <a:pt x="207" y="0"/>
                      <a:pt x="207" y="0"/>
                      <a:pt x="207" y="0"/>
                    </a:cubicBezTo>
                    <a:cubicBezTo>
                      <a:pt x="205" y="1"/>
                      <a:pt x="204" y="3"/>
                      <a:pt x="203" y="5"/>
                    </a:cubicBezTo>
                    <a:cubicBezTo>
                      <a:pt x="202" y="7"/>
                      <a:pt x="200" y="9"/>
                      <a:pt x="198" y="10"/>
                    </a:cubicBezTo>
                    <a:cubicBezTo>
                      <a:pt x="197" y="10"/>
                      <a:pt x="196" y="10"/>
                      <a:pt x="196" y="10"/>
                    </a:cubicBezTo>
                    <a:cubicBezTo>
                      <a:pt x="195" y="10"/>
                      <a:pt x="195" y="11"/>
                      <a:pt x="195" y="11"/>
                    </a:cubicBezTo>
                    <a:cubicBezTo>
                      <a:pt x="195" y="11"/>
                      <a:pt x="195" y="11"/>
                      <a:pt x="194" y="11"/>
                    </a:cubicBezTo>
                    <a:cubicBezTo>
                      <a:pt x="194" y="10"/>
                      <a:pt x="193" y="11"/>
                      <a:pt x="193" y="11"/>
                    </a:cubicBezTo>
                    <a:cubicBezTo>
                      <a:pt x="192" y="11"/>
                      <a:pt x="192" y="11"/>
                      <a:pt x="191" y="11"/>
                    </a:cubicBezTo>
                    <a:cubicBezTo>
                      <a:pt x="191" y="11"/>
                      <a:pt x="191" y="11"/>
                      <a:pt x="191" y="11"/>
                    </a:cubicBezTo>
                    <a:cubicBezTo>
                      <a:pt x="191" y="11"/>
                      <a:pt x="190" y="11"/>
                      <a:pt x="190" y="11"/>
                    </a:cubicBezTo>
                    <a:cubicBezTo>
                      <a:pt x="190" y="11"/>
                      <a:pt x="189" y="11"/>
                      <a:pt x="189" y="12"/>
                    </a:cubicBezTo>
                    <a:cubicBezTo>
                      <a:pt x="189" y="12"/>
                      <a:pt x="189" y="12"/>
                      <a:pt x="189" y="12"/>
                    </a:cubicBezTo>
                    <a:cubicBezTo>
                      <a:pt x="190" y="13"/>
                      <a:pt x="190" y="13"/>
                      <a:pt x="190" y="13"/>
                    </a:cubicBezTo>
                    <a:cubicBezTo>
                      <a:pt x="189" y="13"/>
                      <a:pt x="189" y="12"/>
                      <a:pt x="189" y="12"/>
                    </a:cubicBezTo>
                    <a:cubicBezTo>
                      <a:pt x="189" y="11"/>
                      <a:pt x="189" y="11"/>
                      <a:pt x="188" y="11"/>
                    </a:cubicBezTo>
                    <a:cubicBezTo>
                      <a:pt x="189" y="10"/>
                      <a:pt x="189" y="10"/>
                      <a:pt x="190" y="10"/>
                    </a:cubicBezTo>
                    <a:cubicBezTo>
                      <a:pt x="189" y="10"/>
                      <a:pt x="188" y="10"/>
                      <a:pt x="187" y="10"/>
                    </a:cubicBezTo>
                    <a:cubicBezTo>
                      <a:pt x="186" y="11"/>
                      <a:pt x="186" y="12"/>
                      <a:pt x="185" y="12"/>
                    </a:cubicBezTo>
                    <a:cubicBezTo>
                      <a:pt x="185" y="13"/>
                      <a:pt x="185" y="13"/>
                      <a:pt x="184" y="13"/>
                    </a:cubicBezTo>
                    <a:cubicBezTo>
                      <a:pt x="184" y="13"/>
                      <a:pt x="184" y="14"/>
                      <a:pt x="184" y="14"/>
                    </a:cubicBezTo>
                    <a:cubicBezTo>
                      <a:pt x="184" y="14"/>
                      <a:pt x="184" y="14"/>
                      <a:pt x="184" y="14"/>
                    </a:cubicBezTo>
                    <a:cubicBezTo>
                      <a:pt x="184" y="14"/>
                      <a:pt x="185" y="14"/>
                      <a:pt x="185" y="15"/>
                    </a:cubicBezTo>
                    <a:cubicBezTo>
                      <a:pt x="185" y="15"/>
                      <a:pt x="185" y="16"/>
                      <a:pt x="185" y="16"/>
                    </a:cubicBezTo>
                    <a:cubicBezTo>
                      <a:pt x="186" y="17"/>
                      <a:pt x="186" y="17"/>
                      <a:pt x="187" y="17"/>
                    </a:cubicBezTo>
                    <a:cubicBezTo>
                      <a:pt x="187" y="17"/>
                      <a:pt x="187" y="17"/>
                      <a:pt x="187" y="17"/>
                    </a:cubicBezTo>
                    <a:cubicBezTo>
                      <a:pt x="188" y="16"/>
                      <a:pt x="188" y="16"/>
                      <a:pt x="189" y="17"/>
                    </a:cubicBezTo>
                    <a:cubicBezTo>
                      <a:pt x="189" y="17"/>
                      <a:pt x="188" y="17"/>
                      <a:pt x="188" y="17"/>
                    </a:cubicBezTo>
                    <a:cubicBezTo>
                      <a:pt x="187" y="17"/>
                      <a:pt x="187" y="17"/>
                      <a:pt x="187" y="17"/>
                    </a:cubicBezTo>
                    <a:cubicBezTo>
                      <a:pt x="186" y="18"/>
                      <a:pt x="186" y="18"/>
                      <a:pt x="186" y="17"/>
                    </a:cubicBezTo>
                    <a:cubicBezTo>
                      <a:pt x="185" y="18"/>
                      <a:pt x="185" y="18"/>
                      <a:pt x="185" y="19"/>
                    </a:cubicBezTo>
                    <a:cubicBezTo>
                      <a:pt x="185" y="19"/>
                      <a:pt x="185" y="20"/>
                      <a:pt x="185" y="20"/>
                    </a:cubicBezTo>
                    <a:cubicBezTo>
                      <a:pt x="185" y="21"/>
                      <a:pt x="185" y="21"/>
                      <a:pt x="185" y="22"/>
                    </a:cubicBezTo>
                    <a:cubicBezTo>
                      <a:pt x="184" y="21"/>
                      <a:pt x="184" y="20"/>
                      <a:pt x="185" y="19"/>
                    </a:cubicBezTo>
                    <a:cubicBezTo>
                      <a:pt x="184" y="20"/>
                      <a:pt x="184" y="20"/>
                      <a:pt x="183" y="20"/>
                    </a:cubicBezTo>
                    <a:cubicBezTo>
                      <a:pt x="184" y="19"/>
                      <a:pt x="185" y="18"/>
                      <a:pt x="185" y="17"/>
                    </a:cubicBezTo>
                    <a:cubicBezTo>
                      <a:pt x="184" y="17"/>
                      <a:pt x="184" y="17"/>
                      <a:pt x="183" y="17"/>
                    </a:cubicBezTo>
                    <a:cubicBezTo>
                      <a:pt x="184" y="17"/>
                      <a:pt x="184" y="17"/>
                      <a:pt x="184" y="17"/>
                    </a:cubicBezTo>
                    <a:cubicBezTo>
                      <a:pt x="185" y="16"/>
                      <a:pt x="185" y="15"/>
                      <a:pt x="184" y="15"/>
                    </a:cubicBezTo>
                    <a:cubicBezTo>
                      <a:pt x="184" y="15"/>
                      <a:pt x="184" y="15"/>
                      <a:pt x="184" y="15"/>
                    </a:cubicBezTo>
                    <a:cubicBezTo>
                      <a:pt x="184" y="15"/>
                      <a:pt x="183" y="15"/>
                      <a:pt x="183" y="15"/>
                    </a:cubicBezTo>
                    <a:cubicBezTo>
                      <a:pt x="183" y="15"/>
                      <a:pt x="183" y="15"/>
                      <a:pt x="183" y="16"/>
                    </a:cubicBezTo>
                    <a:cubicBezTo>
                      <a:pt x="181" y="17"/>
                      <a:pt x="180" y="18"/>
                      <a:pt x="179" y="19"/>
                    </a:cubicBezTo>
                    <a:cubicBezTo>
                      <a:pt x="178" y="20"/>
                      <a:pt x="178" y="20"/>
                      <a:pt x="177" y="21"/>
                    </a:cubicBezTo>
                    <a:cubicBezTo>
                      <a:pt x="176" y="21"/>
                      <a:pt x="175" y="22"/>
                      <a:pt x="175" y="22"/>
                    </a:cubicBezTo>
                    <a:cubicBezTo>
                      <a:pt x="174" y="22"/>
                      <a:pt x="173" y="22"/>
                      <a:pt x="173" y="22"/>
                    </a:cubicBezTo>
                    <a:cubicBezTo>
                      <a:pt x="173" y="22"/>
                      <a:pt x="172" y="23"/>
                      <a:pt x="172" y="23"/>
                    </a:cubicBezTo>
                    <a:cubicBezTo>
                      <a:pt x="172" y="23"/>
                      <a:pt x="172" y="23"/>
                      <a:pt x="172" y="22"/>
                    </a:cubicBezTo>
                    <a:cubicBezTo>
                      <a:pt x="172" y="22"/>
                      <a:pt x="172" y="22"/>
                      <a:pt x="172" y="22"/>
                    </a:cubicBezTo>
                    <a:cubicBezTo>
                      <a:pt x="172" y="22"/>
                      <a:pt x="173" y="22"/>
                      <a:pt x="173" y="22"/>
                    </a:cubicBezTo>
                    <a:cubicBezTo>
                      <a:pt x="173" y="22"/>
                      <a:pt x="173" y="22"/>
                      <a:pt x="173" y="21"/>
                    </a:cubicBezTo>
                    <a:cubicBezTo>
                      <a:pt x="172" y="22"/>
                      <a:pt x="172" y="21"/>
                      <a:pt x="171" y="21"/>
                    </a:cubicBezTo>
                    <a:cubicBezTo>
                      <a:pt x="171" y="22"/>
                      <a:pt x="170" y="23"/>
                      <a:pt x="169" y="24"/>
                    </a:cubicBezTo>
                    <a:cubicBezTo>
                      <a:pt x="169" y="24"/>
                      <a:pt x="168" y="25"/>
                      <a:pt x="168" y="26"/>
                    </a:cubicBezTo>
                    <a:cubicBezTo>
                      <a:pt x="168" y="25"/>
                      <a:pt x="169" y="25"/>
                      <a:pt x="169" y="26"/>
                    </a:cubicBezTo>
                    <a:cubicBezTo>
                      <a:pt x="170" y="26"/>
                      <a:pt x="170" y="27"/>
                      <a:pt x="171" y="28"/>
                    </a:cubicBezTo>
                    <a:cubicBezTo>
                      <a:pt x="170" y="27"/>
                      <a:pt x="169" y="26"/>
                      <a:pt x="168" y="26"/>
                    </a:cubicBezTo>
                    <a:cubicBezTo>
                      <a:pt x="168" y="26"/>
                      <a:pt x="168" y="26"/>
                      <a:pt x="168" y="26"/>
                    </a:cubicBezTo>
                    <a:cubicBezTo>
                      <a:pt x="168" y="26"/>
                      <a:pt x="168" y="26"/>
                      <a:pt x="168" y="26"/>
                    </a:cubicBezTo>
                    <a:cubicBezTo>
                      <a:pt x="168" y="27"/>
                      <a:pt x="167" y="28"/>
                      <a:pt x="166" y="29"/>
                    </a:cubicBezTo>
                    <a:cubicBezTo>
                      <a:pt x="166" y="29"/>
                      <a:pt x="166" y="29"/>
                      <a:pt x="166" y="29"/>
                    </a:cubicBezTo>
                    <a:cubicBezTo>
                      <a:pt x="166" y="30"/>
                      <a:pt x="166" y="30"/>
                      <a:pt x="165" y="30"/>
                    </a:cubicBezTo>
                    <a:cubicBezTo>
                      <a:pt x="165" y="30"/>
                      <a:pt x="165" y="31"/>
                      <a:pt x="164" y="31"/>
                    </a:cubicBezTo>
                    <a:cubicBezTo>
                      <a:pt x="164" y="31"/>
                      <a:pt x="164" y="31"/>
                      <a:pt x="164" y="32"/>
                    </a:cubicBezTo>
                    <a:cubicBezTo>
                      <a:pt x="164" y="32"/>
                      <a:pt x="164" y="32"/>
                      <a:pt x="164" y="32"/>
                    </a:cubicBezTo>
                    <a:cubicBezTo>
                      <a:pt x="164" y="32"/>
                      <a:pt x="164" y="32"/>
                      <a:pt x="164" y="32"/>
                    </a:cubicBezTo>
                    <a:cubicBezTo>
                      <a:pt x="164" y="32"/>
                      <a:pt x="164" y="32"/>
                      <a:pt x="164" y="32"/>
                    </a:cubicBezTo>
                    <a:cubicBezTo>
                      <a:pt x="164" y="33"/>
                      <a:pt x="164" y="33"/>
                      <a:pt x="164" y="33"/>
                    </a:cubicBezTo>
                    <a:cubicBezTo>
                      <a:pt x="164" y="33"/>
                      <a:pt x="164" y="33"/>
                      <a:pt x="164" y="33"/>
                    </a:cubicBezTo>
                    <a:cubicBezTo>
                      <a:pt x="164" y="33"/>
                      <a:pt x="164" y="33"/>
                      <a:pt x="164" y="33"/>
                    </a:cubicBezTo>
                    <a:cubicBezTo>
                      <a:pt x="164" y="33"/>
                      <a:pt x="164" y="33"/>
                      <a:pt x="164" y="33"/>
                    </a:cubicBezTo>
                    <a:cubicBezTo>
                      <a:pt x="164" y="34"/>
                      <a:pt x="164" y="34"/>
                      <a:pt x="164" y="34"/>
                    </a:cubicBezTo>
                    <a:cubicBezTo>
                      <a:pt x="164" y="34"/>
                      <a:pt x="164" y="34"/>
                      <a:pt x="164" y="34"/>
                    </a:cubicBezTo>
                    <a:cubicBezTo>
                      <a:pt x="164" y="34"/>
                      <a:pt x="164" y="34"/>
                      <a:pt x="164" y="34"/>
                    </a:cubicBezTo>
                    <a:cubicBezTo>
                      <a:pt x="164" y="34"/>
                      <a:pt x="164" y="34"/>
                      <a:pt x="164" y="34"/>
                    </a:cubicBezTo>
                    <a:cubicBezTo>
                      <a:pt x="164" y="34"/>
                      <a:pt x="163" y="35"/>
                      <a:pt x="163" y="35"/>
                    </a:cubicBezTo>
                    <a:cubicBezTo>
                      <a:pt x="163" y="35"/>
                      <a:pt x="164" y="35"/>
                      <a:pt x="164" y="35"/>
                    </a:cubicBezTo>
                    <a:cubicBezTo>
                      <a:pt x="164" y="35"/>
                      <a:pt x="164" y="36"/>
                      <a:pt x="164" y="36"/>
                    </a:cubicBezTo>
                    <a:cubicBezTo>
                      <a:pt x="164" y="36"/>
                      <a:pt x="164" y="36"/>
                      <a:pt x="164" y="36"/>
                    </a:cubicBezTo>
                    <a:cubicBezTo>
                      <a:pt x="164" y="36"/>
                      <a:pt x="164" y="36"/>
                      <a:pt x="164" y="36"/>
                    </a:cubicBezTo>
                    <a:cubicBezTo>
                      <a:pt x="164" y="37"/>
                      <a:pt x="164" y="37"/>
                      <a:pt x="164" y="37"/>
                    </a:cubicBezTo>
                    <a:cubicBezTo>
                      <a:pt x="164" y="37"/>
                      <a:pt x="163" y="37"/>
                      <a:pt x="163" y="37"/>
                    </a:cubicBezTo>
                    <a:cubicBezTo>
                      <a:pt x="163" y="37"/>
                      <a:pt x="164" y="37"/>
                      <a:pt x="164" y="37"/>
                    </a:cubicBezTo>
                    <a:cubicBezTo>
                      <a:pt x="164" y="37"/>
                      <a:pt x="164" y="37"/>
                      <a:pt x="164" y="37"/>
                    </a:cubicBezTo>
                    <a:cubicBezTo>
                      <a:pt x="163" y="38"/>
                      <a:pt x="163" y="39"/>
                      <a:pt x="163" y="39"/>
                    </a:cubicBezTo>
                    <a:cubicBezTo>
                      <a:pt x="163" y="40"/>
                      <a:pt x="162" y="40"/>
                      <a:pt x="162" y="41"/>
                    </a:cubicBezTo>
                    <a:cubicBezTo>
                      <a:pt x="161" y="42"/>
                      <a:pt x="160" y="44"/>
                      <a:pt x="158" y="45"/>
                    </a:cubicBezTo>
                    <a:cubicBezTo>
                      <a:pt x="157" y="46"/>
                      <a:pt x="155" y="47"/>
                      <a:pt x="153" y="47"/>
                    </a:cubicBezTo>
                    <a:cubicBezTo>
                      <a:pt x="154" y="48"/>
                      <a:pt x="154" y="48"/>
                      <a:pt x="154" y="48"/>
                    </a:cubicBezTo>
                    <a:cubicBezTo>
                      <a:pt x="152" y="47"/>
                      <a:pt x="151" y="48"/>
                      <a:pt x="149" y="48"/>
                    </a:cubicBezTo>
                    <a:cubicBezTo>
                      <a:pt x="147" y="49"/>
                      <a:pt x="145" y="48"/>
                      <a:pt x="143" y="48"/>
                    </a:cubicBezTo>
                    <a:cubicBezTo>
                      <a:pt x="143" y="48"/>
                      <a:pt x="143" y="48"/>
                      <a:pt x="142" y="48"/>
                    </a:cubicBezTo>
                    <a:cubicBezTo>
                      <a:pt x="142" y="48"/>
                      <a:pt x="142" y="48"/>
                      <a:pt x="142" y="49"/>
                    </a:cubicBezTo>
                    <a:cubicBezTo>
                      <a:pt x="143" y="50"/>
                      <a:pt x="143" y="52"/>
                      <a:pt x="142" y="54"/>
                    </a:cubicBezTo>
                    <a:cubicBezTo>
                      <a:pt x="142" y="55"/>
                      <a:pt x="141" y="56"/>
                      <a:pt x="140" y="57"/>
                    </a:cubicBezTo>
                    <a:cubicBezTo>
                      <a:pt x="140" y="58"/>
                      <a:pt x="140" y="58"/>
                      <a:pt x="139" y="58"/>
                    </a:cubicBezTo>
                    <a:cubicBezTo>
                      <a:pt x="141" y="58"/>
                      <a:pt x="142" y="58"/>
                      <a:pt x="143" y="59"/>
                    </a:cubicBezTo>
                    <a:cubicBezTo>
                      <a:pt x="144" y="60"/>
                      <a:pt x="144" y="62"/>
                      <a:pt x="145" y="62"/>
                    </a:cubicBezTo>
                    <a:cubicBezTo>
                      <a:pt x="146" y="63"/>
                      <a:pt x="146" y="63"/>
                      <a:pt x="147" y="63"/>
                    </a:cubicBezTo>
                    <a:cubicBezTo>
                      <a:pt x="148" y="63"/>
                      <a:pt x="149" y="64"/>
                      <a:pt x="150" y="65"/>
                    </a:cubicBezTo>
                    <a:cubicBezTo>
                      <a:pt x="151" y="66"/>
                      <a:pt x="152" y="67"/>
                      <a:pt x="153" y="68"/>
                    </a:cubicBezTo>
                    <a:cubicBezTo>
                      <a:pt x="153" y="68"/>
                      <a:pt x="153" y="68"/>
                      <a:pt x="153" y="68"/>
                    </a:cubicBezTo>
                    <a:cubicBezTo>
                      <a:pt x="154" y="68"/>
                      <a:pt x="154" y="69"/>
                      <a:pt x="154" y="69"/>
                    </a:cubicBezTo>
                    <a:cubicBezTo>
                      <a:pt x="155" y="70"/>
                      <a:pt x="156" y="70"/>
                      <a:pt x="157" y="71"/>
                    </a:cubicBezTo>
                    <a:cubicBezTo>
                      <a:pt x="157" y="71"/>
                      <a:pt x="157" y="72"/>
                      <a:pt x="158" y="73"/>
                    </a:cubicBezTo>
                    <a:cubicBezTo>
                      <a:pt x="158" y="73"/>
                      <a:pt x="158" y="73"/>
                      <a:pt x="158" y="73"/>
                    </a:cubicBezTo>
                    <a:cubicBezTo>
                      <a:pt x="158" y="73"/>
                      <a:pt x="158" y="73"/>
                      <a:pt x="158" y="74"/>
                    </a:cubicBezTo>
                    <a:cubicBezTo>
                      <a:pt x="158" y="74"/>
                      <a:pt x="158" y="74"/>
                      <a:pt x="158" y="74"/>
                    </a:cubicBezTo>
                    <a:cubicBezTo>
                      <a:pt x="158" y="74"/>
                      <a:pt x="159" y="74"/>
                      <a:pt x="159" y="75"/>
                    </a:cubicBezTo>
                    <a:cubicBezTo>
                      <a:pt x="159" y="75"/>
                      <a:pt x="159" y="75"/>
                      <a:pt x="159" y="75"/>
                    </a:cubicBezTo>
                    <a:cubicBezTo>
                      <a:pt x="158" y="76"/>
                      <a:pt x="159" y="77"/>
                      <a:pt x="159" y="77"/>
                    </a:cubicBezTo>
                    <a:cubicBezTo>
                      <a:pt x="159" y="78"/>
                      <a:pt x="159" y="78"/>
                      <a:pt x="159" y="78"/>
                    </a:cubicBezTo>
                    <a:cubicBezTo>
                      <a:pt x="159" y="78"/>
                      <a:pt x="159" y="78"/>
                      <a:pt x="159" y="78"/>
                    </a:cubicBezTo>
                    <a:cubicBezTo>
                      <a:pt x="159" y="78"/>
                      <a:pt x="159" y="78"/>
                      <a:pt x="159" y="78"/>
                    </a:cubicBezTo>
                    <a:cubicBezTo>
                      <a:pt x="160" y="78"/>
                      <a:pt x="160" y="79"/>
                      <a:pt x="160" y="79"/>
                    </a:cubicBezTo>
                    <a:cubicBezTo>
                      <a:pt x="160" y="79"/>
                      <a:pt x="161" y="79"/>
                      <a:pt x="161" y="79"/>
                    </a:cubicBezTo>
                    <a:cubicBezTo>
                      <a:pt x="161" y="79"/>
                      <a:pt x="161" y="79"/>
                      <a:pt x="161" y="79"/>
                    </a:cubicBezTo>
                    <a:cubicBezTo>
                      <a:pt x="160" y="80"/>
                      <a:pt x="160" y="79"/>
                      <a:pt x="160" y="79"/>
                    </a:cubicBezTo>
                    <a:cubicBezTo>
                      <a:pt x="160" y="79"/>
                      <a:pt x="160" y="79"/>
                      <a:pt x="159" y="79"/>
                    </a:cubicBezTo>
                    <a:cubicBezTo>
                      <a:pt x="159" y="80"/>
                      <a:pt x="160" y="80"/>
                      <a:pt x="160" y="80"/>
                    </a:cubicBezTo>
                    <a:cubicBezTo>
                      <a:pt x="160" y="80"/>
                      <a:pt x="160" y="80"/>
                      <a:pt x="160" y="80"/>
                    </a:cubicBezTo>
                    <a:cubicBezTo>
                      <a:pt x="161" y="80"/>
                      <a:pt x="161" y="80"/>
                      <a:pt x="162" y="80"/>
                    </a:cubicBezTo>
                    <a:cubicBezTo>
                      <a:pt x="162" y="80"/>
                      <a:pt x="162" y="81"/>
                      <a:pt x="163" y="81"/>
                    </a:cubicBezTo>
                    <a:cubicBezTo>
                      <a:pt x="163" y="81"/>
                      <a:pt x="163" y="81"/>
                      <a:pt x="164" y="81"/>
                    </a:cubicBezTo>
                    <a:cubicBezTo>
                      <a:pt x="164" y="81"/>
                      <a:pt x="164" y="81"/>
                      <a:pt x="164" y="81"/>
                    </a:cubicBezTo>
                    <a:cubicBezTo>
                      <a:pt x="164" y="81"/>
                      <a:pt x="165" y="81"/>
                      <a:pt x="165" y="81"/>
                    </a:cubicBezTo>
                    <a:cubicBezTo>
                      <a:pt x="165" y="81"/>
                      <a:pt x="166" y="81"/>
                      <a:pt x="166" y="81"/>
                    </a:cubicBezTo>
                    <a:cubicBezTo>
                      <a:pt x="166" y="81"/>
                      <a:pt x="166" y="81"/>
                      <a:pt x="167" y="81"/>
                    </a:cubicBezTo>
                    <a:cubicBezTo>
                      <a:pt x="167" y="81"/>
                      <a:pt x="167" y="81"/>
                      <a:pt x="167" y="81"/>
                    </a:cubicBezTo>
                    <a:cubicBezTo>
                      <a:pt x="168" y="80"/>
                      <a:pt x="168" y="80"/>
                      <a:pt x="168" y="79"/>
                    </a:cubicBezTo>
                    <a:cubicBezTo>
                      <a:pt x="167" y="79"/>
                      <a:pt x="167" y="79"/>
                      <a:pt x="166" y="79"/>
                    </a:cubicBezTo>
                    <a:cubicBezTo>
                      <a:pt x="166" y="79"/>
                      <a:pt x="167" y="78"/>
                      <a:pt x="167" y="78"/>
                    </a:cubicBezTo>
                    <a:cubicBezTo>
                      <a:pt x="167" y="78"/>
                      <a:pt x="167" y="79"/>
                      <a:pt x="167" y="79"/>
                    </a:cubicBezTo>
                    <a:cubicBezTo>
                      <a:pt x="167" y="79"/>
                      <a:pt x="167" y="79"/>
                      <a:pt x="167" y="79"/>
                    </a:cubicBezTo>
                    <a:cubicBezTo>
                      <a:pt x="168" y="79"/>
                      <a:pt x="168" y="79"/>
                      <a:pt x="168" y="79"/>
                    </a:cubicBezTo>
                    <a:cubicBezTo>
                      <a:pt x="168" y="80"/>
                      <a:pt x="168" y="80"/>
                      <a:pt x="168" y="80"/>
                    </a:cubicBezTo>
                    <a:cubicBezTo>
                      <a:pt x="168" y="81"/>
                      <a:pt x="167" y="81"/>
                      <a:pt x="168" y="82"/>
                    </a:cubicBezTo>
                    <a:cubicBezTo>
                      <a:pt x="169" y="82"/>
                      <a:pt x="170" y="81"/>
                      <a:pt x="171" y="81"/>
                    </a:cubicBezTo>
                    <a:cubicBezTo>
                      <a:pt x="172" y="81"/>
                      <a:pt x="172" y="81"/>
                      <a:pt x="172" y="82"/>
                    </a:cubicBezTo>
                    <a:cubicBezTo>
                      <a:pt x="173" y="81"/>
                      <a:pt x="173" y="82"/>
                      <a:pt x="174" y="82"/>
                    </a:cubicBezTo>
                    <a:cubicBezTo>
                      <a:pt x="174" y="82"/>
                      <a:pt x="174" y="83"/>
                      <a:pt x="173" y="83"/>
                    </a:cubicBezTo>
                    <a:cubicBezTo>
                      <a:pt x="173" y="83"/>
                      <a:pt x="173" y="83"/>
                      <a:pt x="173" y="83"/>
                    </a:cubicBezTo>
                    <a:cubicBezTo>
                      <a:pt x="172" y="83"/>
                      <a:pt x="172" y="84"/>
                      <a:pt x="172" y="84"/>
                    </a:cubicBezTo>
                    <a:cubicBezTo>
                      <a:pt x="172" y="85"/>
                      <a:pt x="172" y="85"/>
                      <a:pt x="172" y="86"/>
                    </a:cubicBezTo>
                    <a:cubicBezTo>
                      <a:pt x="172" y="86"/>
                      <a:pt x="172" y="86"/>
                      <a:pt x="172" y="86"/>
                    </a:cubicBezTo>
                    <a:cubicBezTo>
                      <a:pt x="172" y="86"/>
                      <a:pt x="172" y="87"/>
                      <a:pt x="172" y="87"/>
                    </a:cubicBezTo>
                    <a:cubicBezTo>
                      <a:pt x="172" y="88"/>
                      <a:pt x="173" y="88"/>
                      <a:pt x="174" y="88"/>
                    </a:cubicBezTo>
                    <a:cubicBezTo>
                      <a:pt x="174" y="88"/>
                      <a:pt x="174" y="88"/>
                      <a:pt x="174" y="89"/>
                    </a:cubicBezTo>
                    <a:cubicBezTo>
                      <a:pt x="174" y="89"/>
                      <a:pt x="174" y="89"/>
                      <a:pt x="174" y="89"/>
                    </a:cubicBezTo>
                    <a:cubicBezTo>
                      <a:pt x="174" y="89"/>
                      <a:pt x="174" y="89"/>
                      <a:pt x="174" y="90"/>
                    </a:cubicBezTo>
                    <a:cubicBezTo>
                      <a:pt x="175" y="90"/>
                      <a:pt x="175" y="90"/>
                      <a:pt x="175" y="90"/>
                    </a:cubicBezTo>
                    <a:cubicBezTo>
                      <a:pt x="175" y="90"/>
                      <a:pt x="176" y="89"/>
                      <a:pt x="175" y="89"/>
                    </a:cubicBezTo>
                    <a:cubicBezTo>
                      <a:pt x="176" y="88"/>
                      <a:pt x="176" y="88"/>
                      <a:pt x="177" y="88"/>
                    </a:cubicBezTo>
                    <a:cubicBezTo>
                      <a:pt x="177" y="88"/>
                      <a:pt x="178" y="88"/>
                      <a:pt x="178" y="87"/>
                    </a:cubicBezTo>
                    <a:cubicBezTo>
                      <a:pt x="178" y="87"/>
                      <a:pt x="178" y="87"/>
                      <a:pt x="178" y="87"/>
                    </a:cubicBezTo>
                    <a:cubicBezTo>
                      <a:pt x="178" y="87"/>
                      <a:pt x="179" y="88"/>
                      <a:pt x="179" y="88"/>
                    </a:cubicBezTo>
                    <a:cubicBezTo>
                      <a:pt x="179" y="88"/>
                      <a:pt x="180" y="88"/>
                      <a:pt x="181" y="88"/>
                    </a:cubicBezTo>
                    <a:cubicBezTo>
                      <a:pt x="182" y="88"/>
                      <a:pt x="182" y="88"/>
                      <a:pt x="183" y="87"/>
                    </a:cubicBezTo>
                    <a:cubicBezTo>
                      <a:pt x="184" y="87"/>
                      <a:pt x="184" y="87"/>
                      <a:pt x="185" y="88"/>
                    </a:cubicBezTo>
                    <a:cubicBezTo>
                      <a:pt x="185" y="88"/>
                      <a:pt x="185" y="87"/>
                      <a:pt x="185" y="87"/>
                    </a:cubicBezTo>
                    <a:cubicBezTo>
                      <a:pt x="185" y="87"/>
                      <a:pt x="186" y="87"/>
                      <a:pt x="186" y="87"/>
                    </a:cubicBezTo>
                    <a:cubicBezTo>
                      <a:pt x="186" y="88"/>
                      <a:pt x="186" y="88"/>
                      <a:pt x="186" y="88"/>
                    </a:cubicBezTo>
                    <a:cubicBezTo>
                      <a:pt x="186" y="88"/>
                      <a:pt x="185" y="88"/>
                      <a:pt x="185" y="88"/>
                    </a:cubicBezTo>
                    <a:cubicBezTo>
                      <a:pt x="185" y="88"/>
                      <a:pt x="185" y="88"/>
                      <a:pt x="185" y="88"/>
                    </a:cubicBezTo>
                    <a:cubicBezTo>
                      <a:pt x="185" y="89"/>
                      <a:pt x="184" y="89"/>
                      <a:pt x="184" y="88"/>
                    </a:cubicBezTo>
                    <a:cubicBezTo>
                      <a:pt x="184" y="88"/>
                      <a:pt x="184" y="88"/>
                      <a:pt x="184" y="88"/>
                    </a:cubicBezTo>
                    <a:cubicBezTo>
                      <a:pt x="183" y="88"/>
                      <a:pt x="182" y="88"/>
                      <a:pt x="183" y="89"/>
                    </a:cubicBezTo>
                    <a:cubicBezTo>
                      <a:pt x="183" y="89"/>
                      <a:pt x="183" y="90"/>
                      <a:pt x="183" y="90"/>
                    </a:cubicBezTo>
                    <a:cubicBezTo>
                      <a:pt x="183" y="91"/>
                      <a:pt x="183" y="91"/>
                      <a:pt x="182" y="92"/>
                    </a:cubicBezTo>
                    <a:cubicBezTo>
                      <a:pt x="182" y="92"/>
                      <a:pt x="182" y="92"/>
                      <a:pt x="181" y="92"/>
                    </a:cubicBezTo>
                    <a:cubicBezTo>
                      <a:pt x="180" y="92"/>
                      <a:pt x="179" y="92"/>
                      <a:pt x="178" y="92"/>
                    </a:cubicBezTo>
                    <a:cubicBezTo>
                      <a:pt x="177" y="91"/>
                      <a:pt x="177" y="90"/>
                      <a:pt x="176" y="90"/>
                    </a:cubicBezTo>
                    <a:cubicBezTo>
                      <a:pt x="176" y="90"/>
                      <a:pt x="175" y="90"/>
                      <a:pt x="175" y="91"/>
                    </a:cubicBezTo>
                    <a:cubicBezTo>
                      <a:pt x="174" y="91"/>
                      <a:pt x="174" y="91"/>
                      <a:pt x="173" y="91"/>
                    </a:cubicBezTo>
                    <a:cubicBezTo>
                      <a:pt x="173" y="91"/>
                      <a:pt x="172" y="90"/>
                      <a:pt x="172" y="90"/>
                    </a:cubicBezTo>
                    <a:cubicBezTo>
                      <a:pt x="172" y="90"/>
                      <a:pt x="172" y="89"/>
                      <a:pt x="171" y="89"/>
                    </a:cubicBezTo>
                    <a:cubicBezTo>
                      <a:pt x="171" y="89"/>
                      <a:pt x="171" y="89"/>
                      <a:pt x="171" y="89"/>
                    </a:cubicBezTo>
                    <a:cubicBezTo>
                      <a:pt x="171" y="89"/>
                      <a:pt x="171" y="88"/>
                      <a:pt x="171" y="88"/>
                    </a:cubicBezTo>
                    <a:cubicBezTo>
                      <a:pt x="170" y="88"/>
                      <a:pt x="170" y="88"/>
                      <a:pt x="170" y="88"/>
                    </a:cubicBezTo>
                    <a:cubicBezTo>
                      <a:pt x="170" y="87"/>
                      <a:pt x="170" y="87"/>
                      <a:pt x="170" y="87"/>
                    </a:cubicBezTo>
                    <a:cubicBezTo>
                      <a:pt x="170" y="87"/>
                      <a:pt x="170" y="86"/>
                      <a:pt x="171" y="86"/>
                    </a:cubicBezTo>
                    <a:cubicBezTo>
                      <a:pt x="171" y="86"/>
                      <a:pt x="171" y="86"/>
                      <a:pt x="171" y="86"/>
                    </a:cubicBezTo>
                    <a:cubicBezTo>
                      <a:pt x="171" y="85"/>
                      <a:pt x="170" y="85"/>
                      <a:pt x="170" y="85"/>
                    </a:cubicBezTo>
                    <a:cubicBezTo>
                      <a:pt x="170" y="85"/>
                      <a:pt x="170" y="85"/>
                      <a:pt x="170" y="84"/>
                    </a:cubicBezTo>
                    <a:cubicBezTo>
                      <a:pt x="169" y="84"/>
                      <a:pt x="169" y="83"/>
                      <a:pt x="169" y="83"/>
                    </a:cubicBezTo>
                    <a:cubicBezTo>
                      <a:pt x="169" y="83"/>
                      <a:pt x="169" y="83"/>
                      <a:pt x="169" y="83"/>
                    </a:cubicBezTo>
                    <a:cubicBezTo>
                      <a:pt x="168" y="83"/>
                      <a:pt x="168" y="83"/>
                      <a:pt x="168" y="83"/>
                    </a:cubicBezTo>
                    <a:cubicBezTo>
                      <a:pt x="168" y="83"/>
                      <a:pt x="168" y="83"/>
                      <a:pt x="168" y="83"/>
                    </a:cubicBezTo>
                    <a:cubicBezTo>
                      <a:pt x="168" y="83"/>
                      <a:pt x="167" y="83"/>
                      <a:pt x="167" y="83"/>
                    </a:cubicBezTo>
                    <a:cubicBezTo>
                      <a:pt x="167" y="83"/>
                      <a:pt x="167" y="83"/>
                      <a:pt x="167" y="83"/>
                    </a:cubicBezTo>
                    <a:cubicBezTo>
                      <a:pt x="167" y="83"/>
                      <a:pt x="167" y="83"/>
                      <a:pt x="167" y="84"/>
                    </a:cubicBezTo>
                    <a:cubicBezTo>
                      <a:pt x="167" y="84"/>
                      <a:pt x="167" y="84"/>
                      <a:pt x="167" y="84"/>
                    </a:cubicBezTo>
                    <a:cubicBezTo>
                      <a:pt x="167" y="84"/>
                      <a:pt x="167" y="84"/>
                      <a:pt x="167" y="84"/>
                    </a:cubicBezTo>
                    <a:cubicBezTo>
                      <a:pt x="167" y="85"/>
                      <a:pt x="167" y="85"/>
                      <a:pt x="167" y="85"/>
                    </a:cubicBezTo>
                    <a:cubicBezTo>
                      <a:pt x="167" y="85"/>
                      <a:pt x="167" y="86"/>
                      <a:pt x="168" y="86"/>
                    </a:cubicBezTo>
                    <a:cubicBezTo>
                      <a:pt x="168" y="86"/>
                      <a:pt x="168" y="86"/>
                      <a:pt x="168" y="86"/>
                    </a:cubicBezTo>
                    <a:cubicBezTo>
                      <a:pt x="169" y="86"/>
                      <a:pt x="169" y="87"/>
                      <a:pt x="170" y="87"/>
                    </a:cubicBezTo>
                    <a:cubicBezTo>
                      <a:pt x="170" y="87"/>
                      <a:pt x="170" y="88"/>
                      <a:pt x="170" y="88"/>
                    </a:cubicBezTo>
                    <a:cubicBezTo>
                      <a:pt x="170" y="88"/>
                      <a:pt x="171" y="89"/>
                      <a:pt x="171" y="89"/>
                    </a:cubicBezTo>
                    <a:cubicBezTo>
                      <a:pt x="171" y="89"/>
                      <a:pt x="171" y="90"/>
                      <a:pt x="171" y="90"/>
                    </a:cubicBezTo>
                    <a:cubicBezTo>
                      <a:pt x="172" y="90"/>
                      <a:pt x="172" y="91"/>
                      <a:pt x="172" y="91"/>
                    </a:cubicBezTo>
                    <a:cubicBezTo>
                      <a:pt x="172" y="91"/>
                      <a:pt x="172" y="92"/>
                      <a:pt x="172" y="92"/>
                    </a:cubicBezTo>
                    <a:cubicBezTo>
                      <a:pt x="172" y="92"/>
                      <a:pt x="172" y="92"/>
                      <a:pt x="172" y="92"/>
                    </a:cubicBezTo>
                    <a:cubicBezTo>
                      <a:pt x="173" y="92"/>
                      <a:pt x="173" y="92"/>
                      <a:pt x="174" y="92"/>
                    </a:cubicBezTo>
                    <a:cubicBezTo>
                      <a:pt x="175" y="92"/>
                      <a:pt x="177" y="93"/>
                      <a:pt x="177" y="94"/>
                    </a:cubicBezTo>
                    <a:cubicBezTo>
                      <a:pt x="177" y="94"/>
                      <a:pt x="177" y="94"/>
                      <a:pt x="177" y="94"/>
                    </a:cubicBezTo>
                    <a:cubicBezTo>
                      <a:pt x="177" y="95"/>
                      <a:pt x="177" y="95"/>
                      <a:pt x="177" y="95"/>
                    </a:cubicBezTo>
                    <a:cubicBezTo>
                      <a:pt x="177" y="95"/>
                      <a:pt x="177" y="96"/>
                      <a:pt x="177" y="96"/>
                    </a:cubicBezTo>
                    <a:cubicBezTo>
                      <a:pt x="176" y="96"/>
                      <a:pt x="177" y="96"/>
                      <a:pt x="177" y="95"/>
                    </a:cubicBezTo>
                    <a:cubicBezTo>
                      <a:pt x="177" y="95"/>
                      <a:pt x="177" y="95"/>
                      <a:pt x="177" y="95"/>
                    </a:cubicBezTo>
                    <a:cubicBezTo>
                      <a:pt x="177" y="95"/>
                      <a:pt x="176" y="95"/>
                      <a:pt x="176" y="95"/>
                    </a:cubicBezTo>
                    <a:cubicBezTo>
                      <a:pt x="176" y="95"/>
                      <a:pt x="175" y="95"/>
                      <a:pt x="175" y="94"/>
                    </a:cubicBezTo>
                    <a:cubicBezTo>
                      <a:pt x="175" y="94"/>
                      <a:pt x="175" y="94"/>
                      <a:pt x="174" y="94"/>
                    </a:cubicBezTo>
                    <a:cubicBezTo>
                      <a:pt x="174" y="94"/>
                      <a:pt x="174" y="94"/>
                      <a:pt x="174" y="95"/>
                    </a:cubicBezTo>
                    <a:cubicBezTo>
                      <a:pt x="173" y="96"/>
                      <a:pt x="173" y="97"/>
                      <a:pt x="172" y="99"/>
                    </a:cubicBezTo>
                    <a:cubicBezTo>
                      <a:pt x="172" y="99"/>
                      <a:pt x="171" y="99"/>
                      <a:pt x="171" y="98"/>
                    </a:cubicBezTo>
                    <a:cubicBezTo>
                      <a:pt x="171" y="98"/>
                      <a:pt x="172" y="98"/>
                      <a:pt x="172" y="98"/>
                    </a:cubicBezTo>
                    <a:cubicBezTo>
                      <a:pt x="171" y="98"/>
                      <a:pt x="171" y="97"/>
                      <a:pt x="170" y="97"/>
                    </a:cubicBezTo>
                    <a:cubicBezTo>
                      <a:pt x="170" y="97"/>
                      <a:pt x="169" y="98"/>
                      <a:pt x="169" y="98"/>
                    </a:cubicBezTo>
                    <a:cubicBezTo>
                      <a:pt x="168" y="98"/>
                      <a:pt x="167" y="97"/>
                      <a:pt x="166" y="98"/>
                    </a:cubicBezTo>
                    <a:cubicBezTo>
                      <a:pt x="166" y="97"/>
                      <a:pt x="166" y="97"/>
                      <a:pt x="166" y="97"/>
                    </a:cubicBezTo>
                    <a:cubicBezTo>
                      <a:pt x="165" y="97"/>
                      <a:pt x="165" y="97"/>
                      <a:pt x="165" y="97"/>
                    </a:cubicBezTo>
                    <a:cubicBezTo>
                      <a:pt x="164" y="97"/>
                      <a:pt x="163" y="97"/>
                      <a:pt x="163" y="97"/>
                    </a:cubicBezTo>
                    <a:cubicBezTo>
                      <a:pt x="161" y="97"/>
                      <a:pt x="160" y="97"/>
                      <a:pt x="159" y="98"/>
                    </a:cubicBezTo>
                    <a:cubicBezTo>
                      <a:pt x="159" y="97"/>
                      <a:pt x="159" y="97"/>
                      <a:pt x="159" y="97"/>
                    </a:cubicBezTo>
                    <a:cubicBezTo>
                      <a:pt x="158" y="96"/>
                      <a:pt x="158" y="96"/>
                      <a:pt x="158" y="96"/>
                    </a:cubicBezTo>
                    <a:cubicBezTo>
                      <a:pt x="158" y="95"/>
                      <a:pt x="158" y="95"/>
                      <a:pt x="157" y="95"/>
                    </a:cubicBezTo>
                    <a:cubicBezTo>
                      <a:pt x="157" y="95"/>
                      <a:pt x="157" y="95"/>
                      <a:pt x="157" y="95"/>
                    </a:cubicBezTo>
                    <a:cubicBezTo>
                      <a:pt x="157" y="95"/>
                      <a:pt x="158" y="95"/>
                      <a:pt x="158" y="94"/>
                    </a:cubicBezTo>
                    <a:cubicBezTo>
                      <a:pt x="159" y="94"/>
                      <a:pt x="158" y="93"/>
                      <a:pt x="158" y="93"/>
                    </a:cubicBezTo>
                    <a:cubicBezTo>
                      <a:pt x="158" y="92"/>
                      <a:pt x="159" y="91"/>
                      <a:pt x="159" y="90"/>
                    </a:cubicBezTo>
                    <a:cubicBezTo>
                      <a:pt x="159" y="90"/>
                      <a:pt x="159" y="90"/>
                      <a:pt x="159" y="89"/>
                    </a:cubicBezTo>
                    <a:cubicBezTo>
                      <a:pt x="159" y="89"/>
                      <a:pt x="158" y="89"/>
                      <a:pt x="158" y="89"/>
                    </a:cubicBezTo>
                    <a:cubicBezTo>
                      <a:pt x="158" y="89"/>
                      <a:pt x="159" y="89"/>
                      <a:pt x="159" y="89"/>
                    </a:cubicBezTo>
                    <a:cubicBezTo>
                      <a:pt x="158" y="88"/>
                      <a:pt x="157" y="88"/>
                      <a:pt x="156" y="88"/>
                    </a:cubicBezTo>
                    <a:cubicBezTo>
                      <a:pt x="155" y="88"/>
                      <a:pt x="154" y="89"/>
                      <a:pt x="153" y="89"/>
                    </a:cubicBezTo>
                    <a:cubicBezTo>
                      <a:pt x="153" y="89"/>
                      <a:pt x="152" y="90"/>
                      <a:pt x="152" y="90"/>
                    </a:cubicBezTo>
                    <a:cubicBezTo>
                      <a:pt x="151" y="91"/>
                      <a:pt x="151" y="91"/>
                      <a:pt x="151" y="91"/>
                    </a:cubicBezTo>
                    <a:cubicBezTo>
                      <a:pt x="151" y="91"/>
                      <a:pt x="151" y="92"/>
                      <a:pt x="151" y="92"/>
                    </a:cubicBezTo>
                    <a:cubicBezTo>
                      <a:pt x="151" y="92"/>
                      <a:pt x="151" y="92"/>
                      <a:pt x="150" y="92"/>
                    </a:cubicBezTo>
                    <a:cubicBezTo>
                      <a:pt x="150" y="92"/>
                      <a:pt x="150" y="91"/>
                      <a:pt x="150" y="91"/>
                    </a:cubicBezTo>
                    <a:cubicBezTo>
                      <a:pt x="150" y="91"/>
                      <a:pt x="149" y="91"/>
                      <a:pt x="149" y="91"/>
                    </a:cubicBezTo>
                    <a:cubicBezTo>
                      <a:pt x="149" y="91"/>
                      <a:pt x="150" y="91"/>
                      <a:pt x="150" y="91"/>
                    </a:cubicBezTo>
                    <a:cubicBezTo>
                      <a:pt x="150" y="91"/>
                      <a:pt x="149" y="91"/>
                      <a:pt x="149" y="91"/>
                    </a:cubicBezTo>
                    <a:cubicBezTo>
                      <a:pt x="148" y="91"/>
                      <a:pt x="148" y="92"/>
                      <a:pt x="147" y="92"/>
                    </a:cubicBezTo>
                    <a:cubicBezTo>
                      <a:pt x="147" y="92"/>
                      <a:pt x="146" y="92"/>
                      <a:pt x="146" y="92"/>
                    </a:cubicBezTo>
                    <a:cubicBezTo>
                      <a:pt x="146" y="92"/>
                      <a:pt x="146" y="93"/>
                      <a:pt x="146" y="93"/>
                    </a:cubicBezTo>
                    <a:cubicBezTo>
                      <a:pt x="146" y="93"/>
                      <a:pt x="146" y="93"/>
                      <a:pt x="145" y="93"/>
                    </a:cubicBezTo>
                    <a:cubicBezTo>
                      <a:pt x="145" y="93"/>
                      <a:pt x="145" y="94"/>
                      <a:pt x="145" y="94"/>
                    </a:cubicBezTo>
                    <a:cubicBezTo>
                      <a:pt x="145" y="94"/>
                      <a:pt x="145" y="94"/>
                      <a:pt x="145" y="94"/>
                    </a:cubicBezTo>
                    <a:cubicBezTo>
                      <a:pt x="145" y="95"/>
                      <a:pt x="145" y="95"/>
                      <a:pt x="145" y="95"/>
                    </a:cubicBezTo>
                    <a:cubicBezTo>
                      <a:pt x="145" y="95"/>
                      <a:pt x="145" y="95"/>
                      <a:pt x="145" y="95"/>
                    </a:cubicBezTo>
                    <a:cubicBezTo>
                      <a:pt x="145" y="95"/>
                      <a:pt x="146" y="95"/>
                      <a:pt x="146" y="95"/>
                    </a:cubicBezTo>
                    <a:cubicBezTo>
                      <a:pt x="146" y="95"/>
                      <a:pt x="147" y="95"/>
                      <a:pt x="147" y="96"/>
                    </a:cubicBezTo>
                    <a:cubicBezTo>
                      <a:pt x="147" y="96"/>
                      <a:pt x="147" y="96"/>
                      <a:pt x="147" y="96"/>
                    </a:cubicBezTo>
                    <a:cubicBezTo>
                      <a:pt x="147" y="96"/>
                      <a:pt x="147" y="96"/>
                      <a:pt x="147" y="96"/>
                    </a:cubicBezTo>
                    <a:cubicBezTo>
                      <a:pt x="146" y="97"/>
                      <a:pt x="146" y="97"/>
                      <a:pt x="145" y="97"/>
                    </a:cubicBezTo>
                    <a:cubicBezTo>
                      <a:pt x="145" y="97"/>
                      <a:pt x="144" y="97"/>
                      <a:pt x="144" y="96"/>
                    </a:cubicBezTo>
                    <a:cubicBezTo>
                      <a:pt x="144" y="96"/>
                      <a:pt x="143" y="96"/>
                      <a:pt x="143" y="96"/>
                    </a:cubicBezTo>
                    <a:cubicBezTo>
                      <a:pt x="143" y="96"/>
                      <a:pt x="143" y="96"/>
                      <a:pt x="143" y="95"/>
                    </a:cubicBezTo>
                    <a:cubicBezTo>
                      <a:pt x="141" y="96"/>
                      <a:pt x="141" y="97"/>
                      <a:pt x="139" y="97"/>
                    </a:cubicBezTo>
                    <a:cubicBezTo>
                      <a:pt x="139" y="97"/>
                      <a:pt x="139" y="98"/>
                      <a:pt x="139" y="98"/>
                    </a:cubicBezTo>
                    <a:cubicBezTo>
                      <a:pt x="139" y="98"/>
                      <a:pt x="139" y="98"/>
                      <a:pt x="139" y="98"/>
                    </a:cubicBezTo>
                    <a:cubicBezTo>
                      <a:pt x="139" y="98"/>
                      <a:pt x="139" y="98"/>
                      <a:pt x="139" y="98"/>
                    </a:cubicBezTo>
                    <a:cubicBezTo>
                      <a:pt x="139" y="98"/>
                      <a:pt x="138" y="99"/>
                      <a:pt x="138" y="99"/>
                    </a:cubicBezTo>
                    <a:cubicBezTo>
                      <a:pt x="138" y="99"/>
                      <a:pt x="138" y="99"/>
                      <a:pt x="137" y="99"/>
                    </a:cubicBezTo>
                    <a:cubicBezTo>
                      <a:pt x="137" y="99"/>
                      <a:pt x="137" y="99"/>
                      <a:pt x="138" y="99"/>
                    </a:cubicBezTo>
                    <a:cubicBezTo>
                      <a:pt x="138" y="99"/>
                      <a:pt x="138" y="99"/>
                      <a:pt x="138" y="100"/>
                    </a:cubicBezTo>
                    <a:cubicBezTo>
                      <a:pt x="138" y="100"/>
                      <a:pt x="138" y="100"/>
                      <a:pt x="138" y="100"/>
                    </a:cubicBezTo>
                    <a:cubicBezTo>
                      <a:pt x="137" y="100"/>
                      <a:pt x="137" y="101"/>
                      <a:pt x="136" y="101"/>
                    </a:cubicBezTo>
                    <a:cubicBezTo>
                      <a:pt x="136" y="101"/>
                      <a:pt x="135" y="101"/>
                      <a:pt x="135" y="100"/>
                    </a:cubicBezTo>
                    <a:cubicBezTo>
                      <a:pt x="135" y="101"/>
                      <a:pt x="134" y="101"/>
                      <a:pt x="134" y="101"/>
                    </a:cubicBezTo>
                    <a:cubicBezTo>
                      <a:pt x="134" y="101"/>
                      <a:pt x="134" y="101"/>
                      <a:pt x="134" y="101"/>
                    </a:cubicBezTo>
                    <a:cubicBezTo>
                      <a:pt x="134" y="101"/>
                      <a:pt x="134" y="101"/>
                      <a:pt x="134" y="102"/>
                    </a:cubicBezTo>
                    <a:cubicBezTo>
                      <a:pt x="134" y="102"/>
                      <a:pt x="134" y="102"/>
                      <a:pt x="134" y="102"/>
                    </a:cubicBezTo>
                    <a:cubicBezTo>
                      <a:pt x="134" y="102"/>
                      <a:pt x="134" y="102"/>
                      <a:pt x="134" y="102"/>
                    </a:cubicBezTo>
                    <a:cubicBezTo>
                      <a:pt x="134" y="102"/>
                      <a:pt x="134" y="103"/>
                      <a:pt x="134" y="103"/>
                    </a:cubicBezTo>
                    <a:cubicBezTo>
                      <a:pt x="134" y="103"/>
                      <a:pt x="133" y="103"/>
                      <a:pt x="133" y="103"/>
                    </a:cubicBezTo>
                    <a:cubicBezTo>
                      <a:pt x="133" y="103"/>
                      <a:pt x="133" y="103"/>
                      <a:pt x="133" y="103"/>
                    </a:cubicBezTo>
                    <a:cubicBezTo>
                      <a:pt x="133" y="103"/>
                      <a:pt x="132" y="103"/>
                      <a:pt x="132" y="103"/>
                    </a:cubicBezTo>
                    <a:cubicBezTo>
                      <a:pt x="131" y="103"/>
                      <a:pt x="131" y="104"/>
                      <a:pt x="131" y="104"/>
                    </a:cubicBezTo>
                    <a:cubicBezTo>
                      <a:pt x="131" y="104"/>
                      <a:pt x="130" y="104"/>
                      <a:pt x="130" y="104"/>
                    </a:cubicBezTo>
                    <a:cubicBezTo>
                      <a:pt x="130" y="104"/>
                      <a:pt x="130" y="104"/>
                      <a:pt x="130" y="104"/>
                    </a:cubicBezTo>
                    <a:cubicBezTo>
                      <a:pt x="130" y="104"/>
                      <a:pt x="130" y="103"/>
                      <a:pt x="131" y="103"/>
                    </a:cubicBezTo>
                    <a:cubicBezTo>
                      <a:pt x="131" y="103"/>
                      <a:pt x="131" y="103"/>
                      <a:pt x="132" y="103"/>
                    </a:cubicBezTo>
                    <a:cubicBezTo>
                      <a:pt x="132" y="103"/>
                      <a:pt x="133" y="102"/>
                      <a:pt x="133" y="102"/>
                    </a:cubicBezTo>
                    <a:cubicBezTo>
                      <a:pt x="133" y="102"/>
                      <a:pt x="133" y="102"/>
                      <a:pt x="132" y="102"/>
                    </a:cubicBezTo>
                    <a:cubicBezTo>
                      <a:pt x="132" y="102"/>
                      <a:pt x="132" y="102"/>
                      <a:pt x="132" y="102"/>
                    </a:cubicBezTo>
                    <a:cubicBezTo>
                      <a:pt x="132" y="102"/>
                      <a:pt x="131" y="102"/>
                      <a:pt x="131" y="103"/>
                    </a:cubicBezTo>
                    <a:cubicBezTo>
                      <a:pt x="130" y="103"/>
                      <a:pt x="130" y="103"/>
                      <a:pt x="130" y="103"/>
                    </a:cubicBezTo>
                    <a:cubicBezTo>
                      <a:pt x="130" y="104"/>
                      <a:pt x="130" y="104"/>
                      <a:pt x="130" y="104"/>
                    </a:cubicBezTo>
                    <a:cubicBezTo>
                      <a:pt x="130" y="105"/>
                      <a:pt x="130" y="105"/>
                      <a:pt x="131" y="106"/>
                    </a:cubicBezTo>
                    <a:cubicBezTo>
                      <a:pt x="132" y="106"/>
                      <a:pt x="132" y="107"/>
                      <a:pt x="133" y="107"/>
                    </a:cubicBezTo>
                    <a:cubicBezTo>
                      <a:pt x="134" y="108"/>
                      <a:pt x="134" y="108"/>
                      <a:pt x="135" y="108"/>
                    </a:cubicBezTo>
                    <a:cubicBezTo>
                      <a:pt x="136" y="108"/>
                      <a:pt x="137" y="108"/>
                      <a:pt x="138" y="108"/>
                    </a:cubicBezTo>
                    <a:cubicBezTo>
                      <a:pt x="138" y="109"/>
                      <a:pt x="139" y="109"/>
                      <a:pt x="140" y="109"/>
                    </a:cubicBezTo>
                    <a:cubicBezTo>
                      <a:pt x="141" y="109"/>
                      <a:pt x="142" y="110"/>
                      <a:pt x="143" y="110"/>
                    </a:cubicBezTo>
                    <a:cubicBezTo>
                      <a:pt x="143" y="110"/>
                      <a:pt x="144" y="110"/>
                      <a:pt x="144" y="111"/>
                    </a:cubicBezTo>
                    <a:cubicBezTo>
                      <a:pt x="144" y="111"/>
                      <a:pt x="144" y="111"/>
                      <a:pt x="144" y="111"/>
                    </a:cubicBezTo>
                    <a:cubicBezTo>
                      <a:pt x="144" y="112"/>
                      <a:pt x="145" y="112"/>
                      <a:pt x="145" y="112"/>
                    </a:cubicBezTo>
                    <a:cubicBezTo>
                      <a:pt x="145" y="112"/>
                      <a:pt x="146" y="112"/>
                      <a:pt x="146" y="112"/>
                    </a:cubicBezTo>
                    <a:cubicBezTo>
                      <a:pt x="146" y="111"/>
                      <a:pt x="146" y="111"/>
                      <a:pt x="146" y="111"/>
                    </a:cubicBezTo>
                    <a:cubicBezTo>
                      <a:pt x="145" y="111"/>
                      <a:pt x="145" y="110"/>
                      <a:pt x="145" y="110"/>
                    </a:cubicBezTo>
                    <a:cubicBezTo>
                      <a:pt x="145" y="110"/>
                      <a:pt x="145" y="110"/>
                      <a:pt x="146" y="110"/>
                    </a:cubicBezTo>
                    <a:cubicBezTo>
                      <a:pt x="145" y="110"/>
                      <a:pt x="146" y="111"/>
                      <a:pt x="146" y="111"/>
                    </a:cubicBezTo>
                    <a:cubicBezTo>
                      <a:pt x="146" y="111"/>
                      <a:pt x="147" y="111"/>
                      <a:pt x="147" y="112"/>
                    </a:cubicBezTo>
                    <a:cubicBezTo>
                      <a:pt x="147" y="112"/>
                      <a:pt x="147" y="112"/>
                      <a:pt x="148" y="112"/>
                    </a:cubicBezTo>
                    <a:cubicBezTo>
                      <a:pt x="148" y="111"/>
                      <a:pt x="148" y="111"/>
                      <a:pt x="148" y="111"/>
                    </a:cubicBezTo>
                    <a:cubicBezTo>
                      <a:pt x="148" y="111"/>
                      <a:pt x="148" y="111"/>
                      <a:pt x="148" y="112"/>
                    </a:cubicBezTo>
                    <a:cubicBezTo>
                      <a:pt x="148" y="112"/>
                      <a:pt x="148" y="112"/>
                      <a:pt x="148" y="112"/>
                    </a:cubicBezTo>
                    <a:cubicBezTo>
                      <a:pt x="147" y="113"/>
                      <a:pt x="147" y="113"/>
                      <a:pt x="146" y="114"/>
                    </a:cubicBezTo>
                    <a:cubicBezTo>
                      <a:pt x="146" y="114"/>
                      <a:pt x="146" y="114"/>
                      <a:pt x="146" y="114"/>
                    </a:cubicBezTo>
                    <a:cubicBezTo>
                      <a:pt x="146" y="114"/>
                      <a:pt x="146" y="114"/>
                      <a:pt x="146" y="114"/>
                    </a:cubicBezTo>
                    <a:cubicBezTo>
                      <a:pt x="145" y="113"/>
                      <a:pt x="145" y="113"/>
                      <a:pt x="145" y="113"/>
                    </a:cubicBezTo>
                    <a:cubicBezTo>
                      <a:pt x="144" y="112"/>
                      <a:pt x="144" y="112"/>
                      <a:pt x="143" y="112"/>
                    </a:cubicBezTo>
                    <a:cubicBezTo>
                      <a:pt x="143" y="112"/>
                      <a:pt x="143" y="111"/>
                      <a:pt x="144" y="111"/>
                    </a:cubicBezTo>
                    <a:cubicBezTo>
                      <a:pt x="143" y="111"/>
                      <a:pt x="143" y="111"/>
                      <a:pt x="142" y="110"/>
                    </a:cubicBezTo>
                    <a:cubicBezTo>
                      <a:pt x="142" y="110"/>
                      <a:pt x="141" y="110"/>
                      <a:pt x="141" y="111"/>
                    </a:cubicBezTo>
                    <a:cubicBezTo>
                      <a:pt x="141" y="111"/>
                      <a:pt x="141" y="112"/>
                      <a:pt x="140" y="112"/>
                    </a:cubicBezTo>
                    <a:cubicBezTo>
                      <a:pt x="140" y="113"/>
                      <a:pt x="139" y="113"/>
                      <a:pt x="138" y="112"/>
                    </a:cubicBezTo>
                    <a:cubicBezTo>
                      <a:pt x="138" y="112"/>
                      <a:pt x="138" y="112"/>
                      <a:pt x="138" y="112"/>
                    </a:cubicBezTo>
                    <a:cubicBezTo>
                      <a:pt x="138" y="112"/>
                      <a:pt x="138" y="113"/>
                      <a:pt x="138" y="113"/>
                    </a:cubicBezTo>
                    <a:cubicBezTo>
                      <a:pt x="138" y="113"/>
                      <a:pt x="138" y="113"/>
                      <a:pt x="138" y="113"/>
                    </a:cubicBezTo>
                    <a:cubicBezTo>
                      <a:pt x="139" y="113"/>
                      <a:pt x="139" y="114"/>
                      <a:pt x="139" y="114"/>
                    </a:cubicBezTo>
                    <a:cubicBezTo>
                      <a:pt x="139" y="114"/>
                      <a:pt x="139" y="114"/>
                      <a:pt x="139" y="115"/>
                    </a:cubicBezTo>
                    <a:cubicBezTo>
                      <a:pt x="140" y="115"/>
                      <a:pt x="141" y="116"/>
                      <a:pt x="141" y="116"/>
                    </a:cubicBezTo>
                    <a:cubicBezTo>
                      <a:pt x="141" y="117"/>
                      <a:pt x="141" y="117"/>
                      <a:pt x="141" y="117"/>
                    </a:cubicBezTo>
                    <a:cubicBezTo>
                      <a:pt x="141" y="117"/>
                      <a:pt x="141" y="117"/>
                      <a:pt x="142" y="117"/>
                    </a:cubicBezTo>
                    <a:cubicBezTo>
                      <a:pt x="141" y="118"/>
                      <a:pt x="141" y="117"/>
                      <a:pt x="141" y="118"/>
                    </a:cubicBezTo>
                    <a:cubicBezTo>
                      <a:pt x="141" y="118"/>
                      <a:pt x="141" y="118"/>
                      <a:pt x="141" y="118"/>
                    </a:cubicBezTo>
                    <a:cubicBezTo>
                      <a:pt x="141" y="119"/>
                      <a:pt x="141" y="120"/>
                      <a:pt x="142" y="121"/>
                    </a:cubicBezTo>
                    <a:cubicBezTo>
                      <a:pt x="143" y="121"/>
                      <a:pt x="144" y="121"/>
                      <a:pt x="144" y="121"/>
                    </a:cubicBezTo>
                    <a:cubicBezTo>
                      <a:pt x="146" y="122"/>
                      <a:pt x="148" y="122"/>
                      <a:pt x="150" y="123"/>
                    </a:cubicBezTo>
                    <a:cubicBezTo>
                      <a:pt x="151" y="124"/>
                      <a:pt x="151" y="123"/>
                      <a:pt x="151" y="123"/>
                    </a:cubicBezTo>
                    <a:cubicBezTo>
                      <a:pt x="152" y="122"/>
                      <a:pt x="152" y="122"/>
                      <a:pt x="152" y="122"/>
                    </a:cubicBezTo>
                    <a:cubicBezTo>
                      <a:pt x="153" y="122"/>
                      <a:pt x="153" y="122"/>
                      <a:pt x="153" y="122"/>
                    </a:cubicBezTo>
                    <a:cubicBezTo>
                      <a:pt x="153" y="122"/>
                      <a:pt x="154" y="122"/>
                      <a:pt x="154" y="122"/>
                    </a:cubicBezTo>
                    <a:cubicBezTo>
                      <a:pt x="154" y="122"/>
                      <a:pt x="155" y="121"/>
                      <a:pt x="155" y="121"/>
                    </a:cubicBezTo>
                    <a:cubicBezTo>
                      <a:pt x="156" y="121"/>
                      <a:pt x="156" y="121"/>
                      <a:pt x="157" y="121"/>
                    </a:cubicBezTo>
                    <a:cubicBezTo>
                      <a:pt x="158" y="121"/>
                      <a:pt x="158" y="121"/>
                      <a:pt x="159" y="121"/>
                    </a:cubicBezTo>
                    <a:cubicBezTo>
                      <a:pt x="161" y="121"/>
                      <a:pt x="162" y="122"/>
                      <a:pt x="162" y="123"/>
                    </a:cubicBezTo>
                    <a:cubicBezTo>
                      <a:pt x="163" y="123"/>
                      <a:pt x="163" y="124"/>
                      <a:pt x="163" y="124"/>
                    </a:cubicBezTo>
                    <a:cubicBezTo>
                      <a:pt x="163" y="124"/>
                      <a:pt x="164" y="123"/>
                      <a:pt x="164" y="123"/>
                    </a:cubicBezTo>
                    <a:cubicBezTo>
                      <a:pt x="163" y="122"/>
                      <a:pt x="163" y="122"/>
                      <a:pt x="163" y="122"/>
                    </a:cubicBezTo>
                    <a:cubicBezTo>
                      <a:pt x="162" y="122"/>
                      <a:pt x="162" y="121"/>
                      <a:pt x="162" y="121"/>
                    </a:cubicBezTo>
                    <a:cubicBezTo>
                      <a:pt x="162" y="121"/>
                      <a:pt x="161" y="121"/>
                      <a:pt x="162" y="120"/>
                    </a:cubicBezTo>
                    <a:cubicBezTo>
                      <a:pt x="162" y="120"/>
                      <a:pt x="162" y="120"/>
                      <a:pt x="162" y="120"/>
                    </a:cubicBezTo>
                    <a:cubicBezTo>
                      <a:pt x="163" y="120"/>
                      <a:pt x="163" y="120"/>
                      <a:pt x="163" y="121"/>
                    </a:cubicBezTo>
                    <a:cubicBezTo>
                      <a:pt x="164" y="121"/>
                      <a:pt x="164" y="122"/>
                      <a:pt x="165" y="122"/>
                    </a:cubicBezTo>
                    <a:cubicBezTo>
                      <a:pt x="165" y="123"/>
                      <a:pt x="165" y="124"/>
                      <a:pt x="165" y="124"/>
                    </a:cubicBezTo>
                    <a:cubicBezTo>
                      <a:pt x="165" y="124"/>
                      <a:pt x="165" y="125"/>
                      <a:pt x="165" y="125"/>
                    </a:cubicBezTo>
                    <a:cubicBezTo>
                      <a:pt x="166" y="125"/>
                      <a:pt x="166" y="125"/>
                      <a:pt x="166" y="125"/>
                    </a:cubicBezTo>
                    <a:cubicBezTo>
                      <a:pt x="167" y="124"/>
                      <a:pt x="167" y="124"/>
                      <a:pt x="167" y="124"/>
                    </a:cubicBezTo>
                    <a:cubicBezTo>
                      <a:pt x="167" y="123"/>
                      <a:pt x="167" y="123"/>
                      <a:pt x="167" y="123"/>
                    </a:cubicBezTo>
                    <a:cubicBezTo>
                      <a:pt x="167" y="122"/>
                      <a:pt x="167" y="122"/>
                      <a:pt x="167" y="122"/>
                    </a:cubicBezTo>
                    <a:cubicBezTo>
                      <a:pt x="168" y="122"/>
                      <a:pt x="168" y="121"/>
                      <a:pt x="169" y="120"/>
                    </a:cubicBezTo>
                    <a:cubicBezTo>
                      <a:pt x="169" y="120"/>
                      <a:pt x="170" y="119"/>
                      <a:pt x="170" y="119"/>
                    </a:cubicBezTo>
                    <a:cubicBezTo>
                      <a:pt x="170" y="119"/>
                      <a:pt x="170" y="119"/>
                      <a:pt x="170" y="119"/>
                    </a:cubicBezTo>
                    <a:cubicBezTo>
                      <a:pt x="170" y="118"/>
                      <a:pt x="170" y="118"/>
                      <a:pt x="170" y="118"/>
                    </a:cubicBezTo>
                    <a:cubicBezTo>
                      <a:pt x="170" y="118"/>
                      <a:pt x="170" y="118"/>
                      <a:pt x="170" y="118"/>
                    </a:cubicBezTo>
                    <a:cubicBezTo>
                      <a:pt x="171" y="119"/>
                      <a:pt x="171" y="119"/>
                      <a:pt x="171" y="119"/>
                    </a:cubicBezTo>
                    <a:cubicBezTo>
                      <a:pt x="171" y="119"/>
                      <a:pt x="172" y="119"/>
                      <a:pt x="172" y="118"/>
                    </a:cubicBezTo>
                    <a:cubicBezTo>
                      <a:pt x="172" y="118"/>
                      <a:pt x="172" y="118"/>
                      <a:pt x="172" y="118"/>
                    </a:cubicBezTo>
                    <a:cubicBezTo>
                      <a:pt x="172" y="118"/>
                      <a:pt x="172" y="118"/>
                      <a:pt x="172" y="118"/>
                    </a:cubicBezTo>
                    <a:cubicBezTo>
                      <a:pt x="172" y="118"/>
                      <a:pt x="172" y="117"/>
                      <a:pt x="172" y="117"/>
                    </a:cubicBezTo>
                    <a:cubicBezTo>
                      <a:pt x="173" y="117"/>
                      <a:pt x="173" y="118"/>
                      <a:pt x="173" y="118"/>
                    </a:cubicBezTo>
                    <a:cubicBezTo>
                      <a:pt x="173" y="118"/>
                      <a:pt x="174" y="118"/>
                      <a:pt x="175" y="118"/>
                    </a:cubicBezTo>
                    <a:cubicBezTo>
                      <a:pt x="175" y="118"/>
                      <a:pt x="175" y="118"/>
                      <a:pt x="175" y="117"/>
                    </a:cubicBezTo>
                    <a:cubicBezTo>
                      <a:pt x="175" y="117"/>
                      <a:pt x="176" y="116"/>
                      <a:pt x="176" y="115"/>
                    </a:cubicBezTo>
                    <a:cubicBezTo>
                      <a:pt x="177" y="117"/>
                      <a:pt x="178" y="118"/>
                      <a:pt x="179" y="119"/>
                    </a:cubicBezTo>
                    <a:cubicBezTo>
                      <a:pt x="179" y="119"/>
                      <a:pt x="179" y="120"/>
                      <a:pt x="179" y="120"/>
                    </a:cubicBezTo>
                    <a:cubicBezTo>
                      <a:pt x="178" y="121"/>
                      <a:pt x="178" y="121"/>
                      <a:pt x="178" y="122"/>
                    </a:cubicBezTo>
                    <a:cubicBezTo>
                      <a:pt x="178" y="122"/>
                      <a:pt x="178" y="122"/>
                      <a:pt x="177" y="122"/>
                    </a:cubicBezTo>
                    <a:cubicBezTo>
                      <a:pt x="177" y="122"/>
                      <a:pt x="177" y="122"/>
                      <a:pt x="177" y="122"/>
                    </a:cubicBezTo>
                    <a:cubicBezTo>
                      <a:pt x="177" y="122"/>
                      <a:pt x="176" y="122"/>
                      <a:pt x="176" y="122"/>
                    </a:cubicBezTo>
                    <a:cubicBezTo>
                      <a:pt x="176" y="122"/>
                      <a:pt x="175" y="122"/>
                      <a:pt x="175" y="122"/>
                    </a:cubicBezTo>
                    <a:cubicBezTo>
                      <a:pt x="175" y="122"/>
                      <a:pt x="175" y="122"/>
                      <a:pt x="175" y="122"/>
                    </a:cubicBezTo>
                    <a:cubicBezTo>
                      <a:pt x="175" y="122"/>
                      <a:pt x="175" y="122"/>
                      <a:pt x="175" y="122"/>
                    </a:cubicBezTo>
                    <a:cubicBezTo>
                      <a:pt x="175" y="122"/>
                      <a:pt x="174" y="122"/>
                      <a:pt x="174" y="122"/>
                    </a:cubicBezTo>
                    <a:cubicBezTo>
                      <a:pt x="174" y="123"/>
                      <a:pt x="174" y="123"/>
                      <a:pt x="174" y="123"/>
                    </a:cubicBezTo>
                    <a:cubicBezTo>
                      <a:pt x="174" y="124"/>
                      <a:pt x="174" y="124"/>
                      <a:pt x="174" y="124"/>
                    </a:cubicBezTo>
                    <a:cubicBezTo>
                      <a:pt x="174" y="124"/>
                      <a:pt x="174" y="124"/>
                      <a:pt x="174" y="124"/>
                    </a:cubicBezTo>
                    <a:cubicBezTo>
                      <a:pt x="175" y="123"/>
                      <a:pt x="175" y="123"/>
                      <a:pt x="175" y="123"/>
                    </a:cubicBezTo>
                    <a:cubicBezTo>
                      <a:pt x="175" y="123"/>
                      <a:pt x="175" y="123"/>
                      <a:pt x="175" y="123"/>
                    </a:cubicBezTo>
                    <a:cubicBezTo>
                      <a:pt x="175" y="123"/>
                      <a:pt x="175" y="123"/>
                      <a:pt x="175" y="123"/>
                    </a:cubicBezTo>
                    <a:cubicBezTo>
                      <a:pt x="175" y="124"/>
                      <a:pt x="175" y="124"/>
                      <a:pt x="176" y="124"/>
                    </a:cubicBezTo>
                    <a:cubicBezTo>
                      <a:pt x="176" y="125"/>
                      <a:pt x="177" y="126"/>
                      <a:pt x="177" y="126"/>
                    </a:cubicBezTo>
                    <a:cubicBezTo>
                      <a:pt x="177" y="126"/>
                      <a:pt x="178" y="127"/>
                      <a:pt x="178" y="127"/>
                    </a:cubicBezTo>
                    <a:cubicBezTo>
                      <a:pt x="178" y="127"/>
                      <a:pt x="178" y="128"/>
                      <a:pt x="178" y="128"/>
                    </a:cubicBezTo>
                    <a:cubicBezTo>
                      <a:pt x="178" y="129"/>
                      <a:pt x="178" y="129"/>
                      <a:pt x="178" y="129"/>
                    </a:cubicBezTo>
                    <a:cubicBezTo>
                      <a:pt x="178" y="130"/>
                      <a:pt x="178" y="130"/>
                      <a:pt x="178" y="130"/>
                    </a:cubicBezTo>
                    <a:cubicBezTo>
                      <a:pt x="178" y="130"/>
                      <a:pt x="179" y="131"/>
                      <a:pt x="179" y="132"/>
                    </a:cubicBezTo>
                    <a:cubicBezTo>
                      <a:pt x="179" y="132"/>
                      <a:pt x="179" y="132"/>
                      <a:pt x="179" y="132"/>
                    </a:cubicBezTo>
                    <a:cubicBezTo>
                      <a:pt x="179" y="132"/>
                      <a:pt x="179" y="132"/>
                      <a:pt x="179" y="132"/>
                    </a:cubicBezTo>
                    <a:cubicBezTo>
                      <a:pt x="179" y="132"/>
                      <a:pt x="179" y="132"/>
                      <a:pt x="179" y="132"/>
                    </a:cubicBezTo>
                    <a:cubicBezTo>
                      <a:pt x="179" y="133"/>
                      <a:pt x="179" y="133"/>
                      <a:pt x="179" y="133"/>
                    </a:cubicBezTo>
                    <a:cubicBezTo>
                      <a:pt x="179" y="133"/>
                      <a:pt x="179" y="134"/>
                      <a:pt x="179" y="134"/>
                    </a:cubicBezTo>
                    <a:cubicBezTo>
                      <a:pt x="179" y="134"/>
                      <a:pt x="178" y="135"/>
                      <a:pt x="178" y="135"/>
                    </a:cubicBezTo>
                    <a:cubicBezTo>
                      <a:pt x="178" y="136"/>
                      <a:pt x="177" y="137"/>
                      <a:pt x="177" y="137"/>
                    </a:cubicBezTo>
                    <a:cubicBezTo>
                      <a:pt x="176" y="138"/>
                      <a:pt x="175" y="138"/>
                      <a:pt x="175" y="138"/>
                    </a:cubicBezTo>
                    <a:cubicBezTo>
                      <a:pt x="174" y="138"/>
                      <a:pt x="174" y="138"/>
                      <a:pt x="174" y="138"/>
                    </a:cubicBezTo>
                    <a:cubicBezTo>
                      <a:pt x="174" y="138"/>
                      <a:pt x="173" y="139"/>
                      <a:pt x="173" y="138"/>
                    </a:cubicBezTo>
                    <a:cubicBezTo>
                      <a:pt x="173" y="138"/>
                      <a:pt x="173" y="138"/>
                      <a:pt x="173" y="138"/>
                    </a:cubicBezTo>
                    <a:cubicBezTo>
                      <a:pt x="173" y="138"/>
                      <a:pt x="173" y="138"/>
                      <a:pt x="172" y="138"/>
                    </a:cubicBezTo>
                    <a:cubicBezTo>
                      <a:pt x="172" y="139"/>
                      <a:pt x="171" y="139"/>
                      <a:pt x="170" y="138"/>
                    </a:cubicBezTo>
                    <a:cubicBezTo>
                      <a:pt x="170" y="138"/>
                      <a:pt x="171" y="138"/>
                      <a:pt x="171" y="138"/>
                    </a:cubicBezTo>
                    <a:cubicBezTo>
                      <a:pt x="170" y="138"/>
                      <a:pt x="170" y="138"/>
                      <a:pt x="170" y="137"/>
                    </a:cubicBezTo>
                    <a:cubicBezTo>
                      <a:pt x="170" y="137"/>
                      <a:pt x="169" y="137"/>
                      <a:pt x="169" y="137"/>
                    </a:cubicBezTo>
                    <a:cubicBezTo>
                      <a:pt x="169" y="138"/>
                      <a:pt x="169" y="138"/>
                      <a:pt x="169" y="138"/>
                    </a:cubicBezTo>
                    <a:cubicBezTo>
                      <a:pt x="169" y="138"/>
                      <a:pt x="168" y="139"/>
                      <a:pt x="168" y="139"/>
                    </a:cubicBezTo>
                    <a:cubicBezTo>
                      <a:pt x="168" y="139"/>
                      <a:pt x="168" y="139"/>
                      <a:pt x="168" y="139"/>
                    </a:cubicBezTo>
                    <a:cubicBezTo>
                      <a:pt x="168" y="139"/>
                      <a:pt x="168" y="140"/>
                      <a:pt x="168" y="140"/>
                    </a:cubicBezTo>
                    <a:cubicBezTo>
                      <a:pt x="168" y="140"/>
                      <a:pt x="168" y="140"/>
                      <a:pt x="168" y="140"/>
                    </a:cubicBezTo>
                    <a:cubicBezTo>
                      <a:pt x="168" y="140"/>
                      <a:pt x="168" y="140"/>
                      <a:pt x="167" y="140"/>
                    </a:cubicBezTo>
                    <a:cubicBezTo>
                      <a:pt x="167" y="140"/>
                      <a:pt x="167" y="141"/>
                      <a:pt x="167" y="141"/>
                    </a:cubicBezTo>
                    <a:cubicBezTo>
                      <a:pt x="166" y="142"/>
                      <a:pt x="165" y="143"/>
                      <a:pt x="164" y="144"/>
                    </a:cubicBezTo>
                    <a:cubicBezTo>
                      <a:pt x="164" y="144"/>
                      <a:pt x="164" y="144"/>
                      <a:pt x="164" y="144"/>
                    </a:cubicBezTo>
                    <a:cubicBezTo>
                      <a:pt x="163" y="144"/>
                      <a:pt x="163" y="144"/>
                      <a:pt x="163" y="144"/>
                    </a:cubicBezTo>
                    <a:cubicBezTo>
                      <a:pt x="163" y="144"/>
                      <a:pt x="162" y="144"/>
                      <a:pt x="162" y="144"/>
                    </a:cubicBezTo>
                    <a:cubicBezTo>
                      <a:pt x="162" y="144"/>
                      <a:pt x="161" y="144"/>
                      <a:pt x="161" y="144"/>
                    </a:cubicBezTo>
                    <a:cubicBezTo>
                      <a:pt x="161" y="144"/>
                      <a:pt x="161" y="144"/>
                      <a:pt x="161" y="144"/>
                    </a:cubicBezTo>
                    <a:cubicBezTo>
                      <a:pt x="161" y="144"/>
                      <a:pt x="161" y="144"/>
                      <a:pt x="161" y="144"/>
                    </a:cubicBezTo>
                    <a:cubicBezTo>
                      <a:pt x="161" y="144"/>
                      <a:pt x="161" y="145"/>
                      <a:pt x="161" y="145"/>
                    </a:cubicBezTo>
                    <a:cubicBezTo>
                      <a:pt x="160" y="145"/>
                      <a:pt x="160" y="145"/>
                      <a:pt x="160" y="145"/>
                    </a:cubicBezTo>
                    <a:cubicBezTo>
                      <a:pt x="160" y="145"/>
                      <a:pt x="159" y="144"/>
                      <a:pt x="159" y="144"/>
                    </a:cubicBezTo>
                    <a:cubicBezTo>
                      <a:pt x="160" y="144"/>
                      <a:pt x="160" y="144"/>
                      <a:pt x="160" y="144"/>
                    </a:cubicBezTo>
                    <a:cubicBezTo>
                      <a:pt x="160" y="144"/>
                      <a:pt x="160" y="143"/>
                      <a:pt x="160" y="143"/>
                    </a:cubicBezTo>
                    <a:cubicBezTo>
                      <a:pt x="160" y="143"/>
                      <a:pt x="160" y="143"/>
                      <a:pt x="160" y="143"/>
                    </a:cubicBezTo>
                    <a:cubicBezTo>
                      <a:pt x="160" y="143"/>
                      <a:pt x="160" y="143"/>
                      <a:pt x="160" y="143"/>
                    </a:cubicBezTo>
                    <a:cubicBezTo>
                      <a:pt x="160" y="143"/>
                      <a:pt x="160" y="143"/>
                      <a:pt x="159" y="143"/>
                    </a:cubicBezTo>
                    <a:cubicBezTo>
                      <a:pt x="159" y="143"/>
                      <a:pt x="159" y="142"/>
                      <a:pt x="159" y="142"/>
                    </a:cubicBezTo>
                    <a:cubicBezTo>
                      <a:pt x="159" y="142"/>
                      <a:pt x="159" y="143"/>
                      <a:pt x="159" y="143"/>
                    </a:cubicBezTo>
                    <a:cubicBezTo>
                      <a:pt x="159" y="143"/>
                      <a:pt x="159" y="143"/>
                      <a:pt x="159" y="143"/>
                    </a:cubicBezTo>
                    <a:cubicBezTo>
                      <a:pt x="159" y="143"/>
                      <a:pt x="159" y="144"/>
                      <a:pt x="159" y="144"/>
                    </a:cubicBezTo>
                    <a:cubicBezTo>
                      <a:pt x="159" y="144"/>
                      <a:pt x="159" y="144"/>
                      <a:pt x="158" y="144"/>
                    </a:cubicBezTo>
                    <a:cubicBezTo>
                      <a:pt x="158" y="144"/>
                      <a:pt x="158" y="144"/>
                      <a:pt x="158" y="144"/>
                    </a:cubicBezTo>
                    <a:cubicBezTo>
                      <a:pt x="158" y="144"/>
                      <a:pt x="158" y="143"/>
                      <a:pt x="158" y="143"/>
                    </a:cubicBezTo>
                    <a:cubicBezTo>
                      <a:pt x="158" y="143"/>
                      <a:pt x="158" y="143"/>
                      <a:pt x="158" y="143"/>
                    </a:cubicBezTo>
                    <a:cubicBezTo>
                      <a:pt x="158" y="143"/>
                      <a:pt x="158" y="142"/>
                      <a:pt x="158" y="142"/>
                    </a:cubicBezTo>
                    <a:cubicBezTo>
                      <a:pt x="158" y="142"/>
                      <a:pt x="157" y="141"/>
                      <a:pt x="157" y="141"/>
                    </a:cubicBezTo>
                    <a:cubicBezTo>
                      <a:pt x="157" y="141"/>
                      <a:pt x="157" y="141"/>
                      <a:pt x="156" y="141"/>
                    </a:cubicBezTo>
                    <a:cubicBezTo>
                      <a:pt x="155" y="141"/>
                      <a:pt x="154" y="142"/>
                      <a:pt x="154" y="143"/>
                    </a:cubicBezTo>
                    <a:cubicBezTo>
                      <a:pt x="154" y="143"/>
                      <a:pt x="154" y="143"/>
                      <a:pt x="154" y="143"/>
                    </a:cubicBezTo>
                    <a:cubicBezTo>
                      <a:pt x="154" y="143"/>
                      <a:pt x="154" y="143"/>
                      <a:pt x="154" y="144"/>
                    </a:cubicBezTo>
                    <a:cubicBezTo>
                      <a:pt x="154" y="144"/>
                      <a:pt x="154" y="144"/>
                      <a:pt x="154" y="144"/>
                    </a:cubicBezTo>
                    <a:cubicBezTo>
                      <a:pt x="155" y="144"/>
                      <a:pt x="155" y="144"/>
                      <a:pt x="155" y="144"/>
                    </a:cubicBezTo>
                    <a:cubicBezTo>
                      <a:pt x="155" y="144"/>
                      <a:pt x="155" y="144"/>
                      <a:pt x="156" y="145"/>
                    </a:cubicBezTo>
                    <a:cubicBezTo>
                      <a:pt x="156" y="145"/>
                      <a:pt x="157" y="145"/>
                      <a:pt x="157" y="146"/>
                    </a:cubicBezTo>
                    <a:cubicBezTo>
                      <a:pt x="157" y="146"/>
                      <a:pt x="157" y="146"/>
                      <a:pt x="157" y="146"/>
                    </a:cubicBezTo>
                    <a:cubicBezTo>
                      <a:pt x="157" y="146"/>
                      <a:pt x="157" y="146"/>
                      <a:pt x="157" y="146"/>
                    </a:cubicBezTo>
                    <a:cubicBezTo>
                      <a:pt x="158" y="146"/>
                      <a:pt x="158" y="146"/>
                      <a:pt x="159" y="146"/>
                    </a:cubicBezTo>
                    <a:cubicBezTo>
                      <a:pt x="158" y="147"/>
                      <a:pt x="158" y="147"/>
                      <a:pt x="158" y="147"/>
                    </a:cubicBezTo>
                    <a:cubicBezTo>
                      <a:pt x="158" y="147"/>
                      <a:pt x="158" y="147"/>
                      <a:pt x="157" y="147"/>
                    </a:cubicBezTo>
                    <a:cubicBezTo>
                      <a:pt x="157" y="147"/>
                      <a:pt x="157" y="148"/>
                      <a:pt x="157" y="148"/>
                    </a:cubicBezTo>
                    <a:cubicBezTo>
                      <a:pt x="156" y="147"/>
                      <a:pt x="156" y="147"/>
                      <a:pt x="156" y="147"/>
                    </a:cubicBezTo>
                    <a:cubicBezTo>
                      <a:pt x="156" y="146"/>
                      <a:pt x="156" y="146"/>
                      <a:pt x="156" y="146"/>
                    </a:cubicBezTo>
                    <a:cubicBezTo>
                      <a:pt x="156" y="146"/>
                      <a:pt x="156" y="146"/>
                      <a:pt x="156" y="146"/>
                    </a:cubicBezTo>
                    <a:cubicBezTo>
                      <a:pt x="155" y="146"/>
                      <a:pt x="155" y="146"/>
                      <a:pt x="155" y="146"/>
                    </a:cubicBezTo>
                    <a:cubicBezTo>
                      <a:pt x="155" y="145"/>
                      <a:pt x="155" y="145"/>
                      <a:pt x="155" y="145"/>
                    </a:cubicBezTo>
                    <a:cubicBezTo>
                      <a:pt x="154" y="145"/>
                      <a:pt x="154" y="145"/>
                      <a:pt x="153" y="145"/>
                    </a:cubicBezTo>
                    <a:cubicBezTo>
                      <a:pt x="153" y="145"/>
                      <a:pt x="153" y="145"/>
                      <a:pt x="152" y="145"/>
                    </a:cubicBezTo>
                    <a:cubicBezTo>
                      <a:pt x="152" y="146"/>
                      <a:pt x="152" y="146"/>
                      <a:pt x="152" y="146"/>
                    </a:cubicBezTo>
                    <a:cubicBezTo>
                      <a:pt x="152" y="147"/>
                      <a:pt x="152" y="147"/>
                      <a:pt x="152" y="148"/>
                    </a:cubicBezTo>
                    <a:cubicBezTo>
                      <a:pt x="152" y="148"/>
                      <a:pt x="152" y="148"/>
                      <a:pt x="152" y="149"/>
                    </a:cubicBezTo>
                    <a:cubicBezTo>
                      <a:pt x="152" y="149"/>
                      <a:pt x="152" y="149"/>
                      <a:pt x="151" y="149"/>
                    </a:cubicBezTo>
                    <a:cubicBezTo>
                      <a:pt x="151" y="149"/>
                      <a:pt x="151" y="149"/>
                      <a:pt x="151" y="149"/>
                    </a:cubicBezTo>
                    <a:cubicBezTo>
                      <a:pt x="151" y="150"/>
                      <a:pt x="152" y="150"/>
                      <a:pt x="152" y="150"/>
                    </a:cubicBezTo>
                    <a:cubicBezTo>
                      <a:pt x="152" y="150"/>
                      <a:pt x="152" y="150"/>
                      <a:pt x="151" y="150"/>
                    </a:cubicBezTo>
                    <a:cubicBezTo>
                      <a:pt x="151" y="150"/>
                      <a:pt x="151" y="151"/>
                      <a:pt x="151" y="151"/>
                    </a:cubicBezTo>
                    <a:cubicBezTo>
                      <a:pt x="151" y="151"/>
                      <a:pt x="152" y="151"/>
                      <a:pt x="152" y="151"/>
                    </a:cubicBezTo>
                    <a:cubicBezTo>
                      <a:pt x="153" y="150"/>
                      <a:pt x="153" y="150"/>
                      <a:pt x="154" y="149"/>
                    </a:cubicBezTo>
                    <a:cubicBezTo>
                      <a:pt x="154" y="150"/>
                      <a:pt x="153" y="150"/>
                      <a:pt x="153" y="150"/>
                    </a:cubicBezTo>
                    <a:cubicBezTo>
                      <a:pt x="153" y="151"/>
                      <a:pt x="152" y="151"/>
                      <a:pt x="152" y="151"/>
                    </a:cubicBezTo>
                    <a:cubicBezTo>
                      <a:pt x="152" y="152"/>
                      <a:pt x="152" y="152"/>
                      <a:pt x="152" y="152"/>
                    </a:cubicBezTo>
                    <a:cubicBezTo>
                      <a:pt x="152" y="153"/>
                      <a:pt x="152" y="153"/>
                      <a:pt x="152" y="153"/>
                    </a:cubicBezTo>
                    <a:cubicBezTo>
                      <a:pt x="152" y="153"/>
                      <a:pt x="152" y="153"/>
                      <a:pt x="152" y="153"/>
                    </a:cubicBezTo>
                    <a:cubicBezTo>
                      <a:pt x="151" y="153"/>
                      <a:pt x="151" y="152"/>
                      <a:pt x="151" y="152"/>
                    </a:cubicBezTo>
                    <a:cubicBezTo>
                      <a:pt x="151" y="151"/>
                      <a:pt x="150" y="152"/>
                      <a:pt x="150" y="152"/>
                    </a:cubicBezTo>
                    <a:cubicBezTo>
                      <a:pt x="149" y="153"/>
                      <a:pt x="149" y="153"/>
                      <a:pt x="149" y="153"/>
                    </a:cubicBezTo>
                    <a:cubicBezTo>
                      <a:pt x="149" y="154"/>
                      <a:pt x="149" y="154"/>
                      <a:pt x="149" y="154"/>
                    </a:cubicBezTo>
                    <a:cubicBezTo>
                      <a:pt x="149" y="154"/>
                      <a:pt x="148" y="154"/>
                      <a:pt x="148" y="154"/>
                    </a:cubicBezTo>
                    <a:cubicBezTo>
                      <a:pt x="147" y="156"/>
                      <a:pt x="146" y="157"/>
                      <a:pt x="146" y="159"/>
                    </a:cubicBezTo>
                    <a:cubicBezTo>
                      <a:pt x="146" y="159"/>
                      <a:pt x="146" y="160"/>
                      <a:pt x="146" y="160"/>
                    </a:cubicBezTo>
                    <a:cubicBezTo>
                      <a:pt x="146" y="160"/>
                      <a:pt x="146" y="161"/>
                      <a:pt x="146" y="161"/>
                    </a:cubicBezTo>
                    <a:cubicBezTo>
                      <a:pt x="146" y="161"/>
                      <a:pt x="146" y="162"/>
                      <a:pt x="146" y="162"/>
                    </a:cubicBezTo>
                    <a:cubicBezTo>
                      <a:pt x="146" y="162"/>
                      <a:pt x="146" y="162"/>
                      <a:pt x="146" y="162"/>
                    </a:cubicBezTo>
                    <a:cubicBezTo>
                      <a:pt x="146" y="162"/>
                      <a:pt x="146" y="162"/>
                      <a:pt x="145" y="162"/>
                    </a:cubicBezTo>
                    <a:cubicBezTo>
                      <a:pt x="145" y="162"/>
                      <a:pt x="145" y="162"/>
                      <a:pt x="145" y="162"/>
                    </a:cubicBezTo>
                    <a:cubicBezTo>
                      <a:pt x="145" y="162"/>
                      <a:pt x="145" y="162"/>
                      <a:pt x="145" y="162"/>
                    </a:cubicBezTo>
                    <a:cubicBezTo>
                      <a:pt x="144" y="162"/>
                      <a:pt x="144" y="162"/>
                      <a:pt x="143" y="162"/>
                    </a:cubicBezTo>
                    <a:cubicBezTo>
                      <a:pt x="143" y="162"/>
                      <a:pt x="143" y="163"/>
                      <a:pt x="144" y="163"/>
                    </a:cubicBezTo>
                    <a:cubicBezTo>
                      <a:pt x="144" y="163"/>
                      <a:pt x="144" y="163"/>
                      <a:pt x="144" y="163"/>
                    </a:cubicBezTo>
                    <a:cubicBezTo>
                      <a:pt x="144" y="163"/>
                      <a:pt x="144" y="163"/>
                      <a:pt x="144" y="163"/>
                    </a:cubicBezTo>
                    <a:cubicBezTo>
                      <a:pt x="144" y="163"/>
                      <a:pt x="144" y="164"/>
                      <a:pt x="145" y="164"/>
                    </a:cubicBezTo>
                    <a:cubicBezTo>
                      <a:pt x="145" y="164"/>
                      <a:pt x="145" y="164"/>
                      <a:pt x="145" y="164"/>
                    </a:cubicBezTo>
                    <a:cubicBezTo>
                      <a:pt x="145" y="164"/>
                      <a:pt x="145" y="164"/>
                      <a:pt x="145" y="164"/>
                    </a:cubicBezTo>
                    <a:cubicBezTo>
                      <a:pt x="144" y="164"/>
                      <a:pt x="144" y="165"/>
                      <a:pt x="144" y="165"/>
                    </a:cubicBezTo>
                    <a:cubicBezTo>
                      <a:pt x="143" y="165"/>
                      <a:pt x="143" y="164"/>
                      <a:pt x="143" y="164"/>
                    </a:cubicBezTo>
                    <a:cubicBezTo>
                      <a:pt x="143" y="165"/>
                      <a:pt x="143" y="165"/>
                      <a:pt x="143" y="165"/>
                    </a:cubicBezTo>
                    <a:cubicBezTo>
                      <a:pt x="143" y="165"/>
                      <a:pt x="143" y="165"/>
                      <a:pt x="143" y="166"/>
                    </a:cubicBezTo>
                    <a:cubicBezTo>
                      <a:pt x="143" y="166"/>
                      <a:pt x="143" y="166"/>
                      <a:pt x="143" y="166"/>
                    </a:cubicBezTo>
                    <a:cubicBezTo>
                      <a:pt x="143" y="166"/>
                      <a:pt x="143" y="166"/>
                      <a:pt x="143" y="166"/>
                    </a:cubicBezTo>
                    <a:cubicBezTo>
                      <a:pt x="143" y="166"/>
                      <a:pt x="143" y="166"/>
                      <a:pt x="143" y="166"/>
                    </a:cubicBezTo>
                    <a:cubicBezTo>
                      <a:pt x="143" y="166"/>
                      <a:pt x="143" y="166"/>
                      <a:pt x="143" y="166"/>
                    </a:cubicBezTo>
                    <a:cubicBezTo>
                      <a:pt x="144" y="166"/>
                      <a:pt x="144" y="166"/>
                      <a:pt x="144" y="166"/>
                    </a:cubicBezTo>
                    <a:cubicBezTo>
                      <a:pt x="144" y="166"/>
                      <a:pt x="144" y="166"/>
                      <a:pt x="144" y="166"/>
                    </a:cubicBezTo>
                    <a:cubicBezTo>
                      <a:pt x="144" y="166"/>
                      <a:pt x="144" y="166"/>
                      <a:pt x="144" y="166"/>
                    </a:cubicBezTo>
                    <a:cubicBezTo>
                      <a:pt x="145" y="166"/>
                      <a:pt x="145" y="166"/>
                      <a:pt x="145" y="166"/>
                    </a:cubicBezTo>
                    <a:cubicBezTo>
                      <a:pt x="145" y="166"/>
                      <a:pt x="145" y="166"/>
                      <a:pt x="145" y="167"/>
                    </a:cubicBezTo>
                    <a:cubicBezTo>
                      <a:pt x="145" y="167"/>
                      <a:pt x="145" y="167"/>
                      <a:pt x="145" y="167"/>
                    </a:cubicBezTo>
                    <a:cubicBezTo>
                      <a:pt x="145" y="167"/>
                      <a:pt x="145" y="168"/>
                      <a:pt x="145" y="168"/>
                    </a:cubicBezTo>
                    <a:cubicBezTo>
                      <a:pt x="145" y="168"/>
                      <a:pt x="144" y="168"/>
                      <a:pt x="144" y="168"/>
                    </a:cubicBezTo>
                    <a:cubicBezTo>
                      <a:pt x="144" y="168"/>
                      <a:pt x="144" y="169"/>
                      <a:pt x="144" y="169"/>
                    </a:cubicBezTo>
                    <a:cubicBezTo>
                      <a:pt x="144" y="169"/>
                      <a:pt x="145" y="169"/>
                      <a:pt x="145" y="169"/>
                    </a:cubicBezTo>
                    <a:cubicBezTo>
                      <a:pt x="145" y="169"/>
                      <a:pt x="145" y="169"/>
                      <a:pt x="145" y="169"/>
                    </a:cubicBezTo>
                    <a:cubicBezTo>
                      <a:pt x="145" y="169"/>
                      <a:pt x="145" y="169"/>
                      <a:pt x="145" y="169"/>
                    </a:cubicBezTo>
                    <a:cubicBezTo>
                      <a:pt x="145" y="169"/>
                      <a:pt x="145" y="169"/>
                      <a:pt x="145" y="169"/>
                    </a:cubicBezTo>
                    <a:cubicBezTo>
                      <a:pt x="146" y="169"/>
                      <a:pt x="146" y="170"/>
                      <a:pt x="146" y="170"/>
                    </a:cubicBezTo>
                    <a:cubicBezTo>
                      <a:pt x="146" y="171"/>
                      <a:pt x="146" y="171"/>
                      <a:pt x="147" y="172"/>
                    </a:cubicBezTo>
                    <a:cubicBezTo>
                      <a:pt x="147" y="172"/>
                      <a:pt x="147" y="172"/>
                      <a:pt x="147" y="172"/>
                    </a:cubicBezTo>
                    <a:cubicBezTo>
                      <a:pt x="148" y="173"/>
                      <a:pt x="148" y="173"/>
                      <a:pt x="148" y="172"/>
                    </a:cubicBezTo>
                    <a:cubicBezTo>
                      <a:pt x="148" y="172"/>
                      <a:pt x="148" y="171"/>
                      <a:pt x="148" y="171"/>
                    </a:cubicBezTo>
                    <a:cubicBezTo>
                      <a:pt x="148" y="170"/>
                      <a:pt x="148" y="170"/>
                      <a:pt x="149" y="170"/>
                    </a:cubicBezTo>
                    <a:cubicBezTo>
                      <a:pt x="149" y="170"/>
                      <a:pt x="149" y="170"/>
                      <a:pt x="149" y="171"/>
                    </a:cubicBezTo>
                    <a:cubicBezTo>
                      <a:pt x="148" y="171"/>
                      <a:pt x="148" y="171"/>
                      <a:pt x="148" y="171"/>
                    </a:cubicBezTo>
                    <a:cubicBezTo>
                      <a:pt x="149" y="171"/>
                      <a:pt x="149" y="171"/>
                      <a:pt x="149" y="171"/>
                    </a:cubicBezTo>
                    <a:cubicBezTo>
                      <a:pt x="149" y="171"/>
                      <a:pt x="149" y="171"/>
                      <a:pt x="149" y="171"/>
                    </a:cubicBezTo>
                    <a:cubicBezTo>
                      <a:pt x="149" y="171"/>
                      <a:pt x="149" y="171"/>
                      <a:pt x="150" y="171"/>
                    </a:cubicBezTo>
                    <a:cubicBezTo>
                      <a:pt x="150" y="172"/>
                      <a:pt x="149" y="172"/>
                      <a:pt x="150" y="172"/>
                    </a:cubicBezTo>
                    <a:cubicBezTo>
                      <a:pt x="150" y="173"/>
                      <a:pt x="150" y="173"/>
                      <a:pt x="150" y="173"/>
                    </a:cubicBezTo>
                    <a:cubicBezTo>
                      <a:pt x="151" y="173"/>
                      <a:pt x="151" y="172"/>
                      <a:pt x="151" y="172"/>
                    </a:cubicBezTo>
                    <a:cubicBezTo>
                      <a:pt x="151" y="172"/>
                      <a:pt x="151" y="172"/>
                      <a:pt x="151" y="172"/>
                    </a:cubicBezTo>
                    <a:cubicBezTo>
                      <a:pt x="152" y="172"/>
                      <a:pt x="151" y="172"/>
                      <a:pt x="152" y="172"/>
                    </a:cubicBezTo>
                    <a:cubicBezTo>
                      <a:pt x="152" y="173"/>
                      <a:pt x="152" y="173"/>
                      <a:pt x="153" y="173"/>
                    </a:cubicBezTo>
                    <a:cubicBezTo>
                      <a:pt x="152" y="173"/>
                      <a:pt x="152" y="173"/>
                      <a:pt x="152" y="173"/>
                    </a:cubicBezTo>
                    <a:cubicBezTo>
                      <a:pt x="151" y="173"/>
                      <a:pt x="151" y="173"/>
                      <a:pt x="151" y="173"/>
                    </a:cubicBezTo>
                    <a:cubicBezTo>
                      <a:pt x="151" y="173"/>
                      <a:pt x="150" y="173"/>
                      <a:pt x="150" y="173"/>
                    </a:cubicBezTo>
                    <a:cubicBezTo>
                      <a:pt x="150" y="174"/>
                      <a:pt x="151" y="174"/>
                      <a:pt x="151" y="174"/>
                    </a:cubicBezTo>
                    <a:cubicBezTo>
                      <a:pt x="151" y="174"/>
                      <a:pt x="150" y="174"/>
                      <a:pt x="150" y="174"/>
                    </a:cubicBezTo>
                    <a:cubicBezTo>
                      <a:pt x="150" y="174"/>
                      <a:pt x="150" y="174"/>
                      <a:pt x="150" y="174"/>
                    </a:cubicBezTo>
                    <a:cubicBezTo>
                      <a:pt x="149" y="174"/>
                      <a:pt x="149" y="174"/>
                      <a:pt x="149" y="174"/>
                    </a:cubicBezTo>
                    <a:cubicBezTo>
                      <a:pt x="150" y="174"/>
                      <a:pt x="150" y="175"/>
                      <a:pt x="150" y="175"/>
                    </a:cubicBezTo>
                    <a:cubicBezTo>
                      <a:pt x="150" y="175"/>
                      <a:pt x="151" y="174"/>
                      <a:pt x="151" y="175"/>
                    </a:cubicBezTo>
                    <a:cubicBezTo>
                      <a:pt x="152" y="175"/>
                      <a:pt x="152" y="175"/>
                      <a:pt x="152" y="175"/>
                    </a:cubicBezTo>
                    <a:cubicBezTo>
                      <a:pt x="152" y="175"/>
                      <a:pt x="152" y="175"/>
                      <a:pt x="152" y="175"/>
                    </a:cubicBezTo>
                    <a:cubicBezTo>
                      <a:pt x="153" y="175"/>
                      <a:pt x="153" y="175"/>
                      <a:pt x="153" y="175"/>
                    </a:cubicBezTo>
                    <a:cubicBezTo>
                      <a:pt x="153" y="175"/>
                      <a:pt x="153" y="175"/>
                      <a:pt x="153" y="175"/>
                    </a:cubicBezTo>
                    <a:cubicBezTo>
                      <a:pt x="153" y="175"/>
                      <a:pt x="154" y="176"/>
                      <a:pt x="154" y="175"/>
                    </a:cubicBezTo>
                    <a:cubicBezTo>
                      <a:pt x="154" y="175"/>
                      <a:pt x="154" y="175"/>
                      <a:pt x="155" y="175"/>
                    </a:cubicBezTo>
                    <a:cubicBezTo>
                      <a:pt x="155" y="175"/>
                      <a:pt x="155" y="175"/>
                      <a:pt x="156" y="176"/>
                    </a:cubicBezTo>
                    <a:cubicBezTo>
                      <a:pt x="156" y="176"/>
                      <a:pt x="156" y="175"/>
                      <a:pt x="156" y="175"/>
                    </a:cubicBezTo>
                    <a:cubicBezTo>
                      <a:pt x="156" y="175"/>
                      <a:pt x="156" y="175"/>
                      <a:pt x="157" y="174"/>
                    </a:cubicBezTo>
                    <a:cubicBezTo>
                      <a:pt x="157" y="174"/>
                      <a:pt x="157" y="174"/>
                      <a:pt x="157" y="174"/>
                    </a:cubicBezTo>
                    <a:cubicBezTo>
                      <a:pt x="157" y="173"/>
                      <a:pt x="157" y="173"/>
                      <a:pt x="157" y="173"/>
                    </a:cubicBezTo>
                    <a:cubicBezTo>
                      <a:pt x="157" y="173"/>
                      <a:pt x="157" y="173"/>
                      <a:pt x="157" y="173"/>
                    </a:cubicBezTo>
                    <a:cubicBezTo>
                      <a:pt x="157" y="173"/>
                      <a:pt x="157" y="173"/>
                      <a:pt x="157" y="173"/>
                    </a:cubicBezTo>
                    <a:cubicBezTo>
                      <a:pt x="157" y="174"/>
                      <a:pt x="157" y="174"/>
                      <a:pt x="157" y="174"/>
                    </a:cubicBezTo>
                    <a:cubicBezTo>
                      <a:pt x="158" y="174"/>
                      <a:pt x="158" y="174"/>
                      <a:pt x="158" y="175"/>
                    </a:cubicBezTo>
                    <a:cubicBezTo>
                      <a:pt x="158" y="175"/>
                      <a:pt x="157" y="175"/>
                      <a:pt x="157" y="175"/>
                    </a:cubicBezTo>
                    <a:cubicBezTo>
                      <a:pt x="157" y="176"/>
                      <a:pt x="157" y="176"/>
                      <a:pt x="158" y="176"/>
                    </a:cubicBezTo>
                    <a:cubicBezTo>
                      <a:pt x="158" y="175"/>
                      <a:pt x="158" y="175"/>
                      <a:pt x="158" y="175"/>
                    </a:cubicBezTo>
                    <a:cubicBezTo>
                      <a:pt x="158" y="175"/>
                      <a:pt x="159" y="174"/>
                      <a:pt x="159" y="174"/>
                    </a:cubicBezTo>
                    <a:cubicBezTo>
                      <a:pt x="160" y="174"/>
                      <a:pt x="159" y="174"/>
                      <a:pt x="159" y="175"/>
                    </a:cubicBezTo>
                    <a:cubicBezTo>
                      <a:pt x="159" y="175"/>
                      <a:pt x="158" y="175"/>
                      <a:pt x="158" y="175"/>
                    </a:cubicBezTo>
                    <a:cubicBezTo>
                      <a:pt x="159" y="175"/>
                      <a:pt x="159" y="176"/>
                      <a:pt x="160" y="176"/>
                    </a:cubicBezTo>
                    <a:cubicBezTo>
                      <a:pt x="160" y="176"/>
                      <a:pt x="160" y="176"/>
                      <a:pt x="160" y="176"/>
                    </a:cubicBezTo>
                    <a:cubicBezTo>
                      <a:pt x="160" y="176"/>
                      <a:pt x="160" y="176"/>
                      <a:pt x="160" y="176"/>
                    </a:cubicBezTo>
                    <a:cubicBezTo>
                      <a:pt x="160" y="175"/>
                      <a:pt x="160" y="175"/>
                      <a:pt x="161" y="175"/>
                    </a:cubicBezTo>
                    <a:cubicBezTo>
                      <a:pt x="161" y="175"/>
                      <a:pt x="161" y="175"/>
                      <a:pt x="161" y="175"/>
                    </a:cubicBezTo>
                    <a:cubicBezTo>
                      <a:pt x="161" y="175"/>
                      <a:pt x="162" y="176"/>
                      <a:pt x="162" y="176"/>
                    </a:cubicBezTo>
                    <a:cubicBezTo>
                      <a:pt x="161" y="176"/>
                      <a:pt x="161" y="176"/>
                      <a:pt x="161" y="176"/>
                    </a:cubicBezTo>
                    <a:cubicBezTo>
                      <a:pt x="161" y="176"/>
                      <a:pt x="161" y="176"/>
                      <a:pt x="161" y="177"/>
                    </a:cubicBezTo>
                    <a:cubicBezTo>
                      <a:pt x="161" y="177"/>
                      <a:pt x="161" y="177"/>
                      <a:pt x="161" y="177"/>
                    </a:cubicBezTo>
                    <a:cubicBezTo>
                      <a:pt x="161" y="177"/>
                      <a:pt x="161" y="177"/>
                      <a:pt x="161" y="178"/>
                    </a:cubicBezTo>
                    <a:cubicBezTo>
                      <a:pt x="161" y="178"/>
                      <a:pt x="161" y="178"/>
                      <a:pt x="161" y="178"/>
                    </a:cubicBezTo>
                    <a:cubicBezTo>
                      <a:pt x="160" y="179"/>
                      <a:pt x="160" y="179"/>
                      <a:pt x="160" y="179"/>
                    </a:cubicBezTo>
                    <a:cubicBezTo>
                      <a:pt x="160" y="179"/>
                      <a:pt x="160" y="179"/>
                      <a:pt x="159" y="179"/>
                    </a:cubicBezTo>
                    <a:cubicBezTo>
                      <a:pt x="159" y="180"/>
                      <a:pt x="159" y="179"/>
                      <a:pt x="159" y="179"/>
                    </a:cubicBezTo>
                    <a:cubicBezTo>
                      <a:pt x="158" y="179"/>
                      <a:pt x="158" y="178"/>
                      <a:pt x="159" y="178"/>
                    </a:cubicBezTo>
                    <a:cubicBezTo>
                      <a:pt x="159" y="178"/>
                      <a:pt x="159" y="178"/>
                      <a:pt x="159" y="178"/>
                    </a:cubicBezTo>
                    <a:cubicBezTo>
                      <a:pt x="159" y="177"/>
                      <a:pt x="159" y="177"/>
                      <a:pt x="159" y="177"/>
                    </a:cubicBezTo>
                    <a:cubicBezTo>
                      <a:pt x="159" y="177"/>
                      <a:pt x="158" y="177"/>
                      <a:pt x="158" y="177"/>
                    </a:cubicBezTo>
                    <a:cubicBezTo>
                      <a:pt x="158" y="177"/>
                      <a:pt x="157" y="177"/>
                      <a:pt x="157" y="177"/>
                    </a:cubicBezTo>
                    <a:cubicBezTo>
                      <a:pt x="157" y="178"/>
                      <a:pt x="157" y="178"/>
                      <a:pt x="156" y="178"/>
                    </a:cubicBezTo>
                    <a:cubicBezTo>
                      <a:pt x="156" y="178"/>
                      <a:pt x="156" y="178"/>
                      <a:pt x="156" y="178"/>
                    </a:cubicBezTo>
                    <a:cubicBezTo>
                      <a:pt x="156" y="178"/>
                      <a:pt x="156" y="178"/>
                      <a:pt x="156" y="178"/>
                    </a:cubicBezTo>
                    <a:cubicBezTo>
                      <a:pt x="155" y="179"/>
                      <a:pt x="155" y="179"/>
                      <a:pt x="155" y="179"/>
                    </a:cubicBezTo>
                    <a:cubicBezTo>
                      <a:pt x="155" y="179"/>
                      <a:pt x="155" y="179"/>
                      <a:pt x="156" y="178"/>
                    </a:cubicBezTo>
                    <a:cubicBezTo>
                      <a:pt x="156" y="178"/>
                      <a:pt x="156" y="177"/>
                      <a:pt x="156" y="177"/>
                    </a:cubicBezTo>
                    <a:cubicBezTo>
                      <a:pt x="156" y="177"/>
                      <a:pt x="156" y="177"/>
                      <a:pt x="155" y="177"/>
                    </a:cubicBezTo>
                    <a:cubicBezTo>
                      <a:pt x="155" y="177"/>
                      <a:pt x="155" y="177"/>
                      <a:pt x="155" y="177"/>
                    </a:cubicBezTo>
                    <a:cubicBezTo>
                      <a:pt x="154" y="176"/>
                      <a:pt x="154" y="176"/>
                      <a:pt x="153" y="176"/>
                    </a:cubicBezTo>
                    <a:cubicBezTo>
                      <a:pt x="153" y="176"/>
                      <a:pt x="153" y="175"/>
                      <a:pt x="153" y="175"/>
                    </a:cubicBezTo>
                    <a:cubicBezTo>
                      <a:pt x="152" y="175"/>
                      <a:pt x="152" y="175"/>
                      <a:pt x="152" y="175"/>
                    </a:cubicBezTo>
                    <a:cubicBezTo>
                      <a:pt x="152" y="175"/>
                      <a:pt x="151" y="175"/>
                      <a:pt x="151" y="175"/>
                    </a:cubicBezTo>
                    <a:cubicBezTo>
                      <a:pt x="151" y="175"/>
                      <a:pt x="151" y="176"/>
                      <a:pt x="151" y="176"/>
                    </a:cubicBezTo>
                    <a:cubicBezTo>
                      <a:pt x="151" y="176"/>
                      <a:pt x="151" y="176"/>
                      <a:pt x="152" y="176"/>
                    </a:cubicBezTo>
                    <a:cubicBezTo>
                      <a:pt x="152" y="176"/>
                      <a:pt x="151" y="176"/>
                      <a:pt x="151" y="177"/>
                    </a:cubicBezTo>
                    <a:cubicBezTo>
                      <a:pt x="151" y="177"/>
                      <a:pt x="151" y="177"/>
                      <a:pt x="151" y="178"/>
                    </a:cubicBezTo>
                    <a:cubicBezTo>
                      <a:pt x="150" y="178"/>
                      <a:pt x="150" y="178"/>
                      <a:pt x="150" y="178"/>
                    </a:cubicBezTo>
                    <a:cubicBezTo>
                      <a:pt x="150" y="178"/>
                      <a:pt x="149" y="178"/>
                      <a:pt x="149" y="179"/>
                    </a:cubicBezTo>
                    <a:cubicBezTo>
                      <a:pt x="149" y="179"/>
                      <a:pt x="149" y="179"/>
                      <a:pt x="149" y="179"/>
                    </a:cubicBezTo>
                    <a:cubicBezTo>
                      <a:pt x="149" y="179"/>
                      <a:pt x="148" y="179"/>
                      <a:pt x="148" y="179"/>
                    </a:cubicBezTo>
                    <a:cubicBezTo>
                      <a:pt x="148" y="179"/>
                      <a:pt x="148" y="180"/>
                      <a:pt x="148" y="180"/>
                    </a:cubicBezTo>
                    <a:cubicBezTo>
                      <a:pt x="148" y="180"/>
                      <a:pt x="149" y="180"/>
                      <a:pt x="149" y="180"/>
                    </a:cubicBezTo>
                    <a:cubicBezTo>
                      <a:pt x="149" y="181"/>
                      <a:pt x="150" y="180"/>
                      <a:pt x="150" y="180"/>
                    </a:cubicBezTo>
                    <a:cubicBezTo>
                      <a:pt x="150" y="180"/>
                      <a:pt x="151" y="180"/>
                      <a:pt x="151" y="180"/>
                    </a:cubicBezTo>
                    <a:cubicBezTo>
                      <a:pt x="151" y="180"/>
                      <a:pt x="151" y="181"/>
                      <a:pt x="151" y="181"/>
                    </a:cubicBezTo>
                    <a:cubicBezTo>
                      <a:pt x="150" y="181"/>
                      <a:pt x="150" y="181"/>
                      <a:pt x="150" y="181"/>
                    </a:cubicBezTo>
                    <a:cubicBezTo>
                      <a:pt x="150" y="181"/>
                      <a:pt x="150" y="182"/>
                      <a:pt x="150" y="182"/>
                    </a:cubicBezTo>
                    <a:cubicBezTo>
                      <a:pt x="151" y="183"/>
                      <a:pt x="154" y="184"/>
                      <a:pt x="154" y="186"/>
                    </a:cubicBezTo>
                    <a:cubicBezTo>
                      <a:pt x="155" y="186"/>
                      <a:pt x="155" y="186"/>
                      <a:pt x="155" y="186"/>
                    </a:cubicBezTo>
                    <a:cubicBezTo>
                      <a:pt x="155" y="187"/>
                      <a:pt x="155" y="187"/>
                      <a:pt x="155" y="187"/>
                    </a:cubicBezTo>
                    <a:cubicBezTo>
                      <a:pt x="156" y="187"/>
                      <a:pt x="156" y="187"/>
                      <a:pt x="156" y="187"/>
                    </a:cubicBezTo>
                    <a:cubicBezTo>
                      <a:pt x="156" y="187"/>
                      <a:pt x="156" y="187"/>
                      <a:pt x="156" y="187"/>
                    </a:cubicBezTo>
                    <a:cubicBezTo>
                      <a:pt x="156" y="188"/>
                      <a:pt x="156" y="188"/>
                      <a:pt x="156" y="188"/>
                    </a:cubicBezTo>
                    <a:cubicBezTo>
                      <a:pt x="156" y="188"/>
                      <a:pt x="156" y="188"/>
                      <a:pt x="156" y="188"/>
                    </a:cubicBezTo>
                    <a:cubicBezTo>
                      <a:pt x="156" y="188"/>
                      <a:pt x="156" y="189"/>
                      <a:pt x="156" y="189"/>
                    </a:cubicBezTo>
                    <a:cubicBezTo>
                      <a:pt x="156" y="189"/>
                      <a:pt x="156" y="189"/>
                      <a:pt x="157" y="189"/>
                    </a:cubicBezTo>
                    <a:cubicBezTo>
                      <a:pt x="157" y="189"/>
                      <a:pt x="157" y="189"/>
                      <a:pt x="157" y="189"/>
                    </a:cubicBezTo>
                    <a:cubicBezTo>
                      <a:pt x="160" y="191"/>
                      <a:pt x="164" y="190"/>
                      <a:pt x="166" y="187"/>
                    </a:cubicBezTo>
                    <a:cubicBezTo>
                      <a:pt x="166" y="187"/>
                      <a:pt x="167" y="188"/>
                      <a:pt x="167" y="187"/>
                    </a:cubicBezTo>
                    <a:cubicBezTo>
                      <a:pt x="167" y="187"/>
                      <a:pt x="167" y="187"/>
                      <a:pt x="167" y="186"/>
                    </a:cubicBezTo>
                    <a:cubicBezTo>
                      <a:pt x="168" y="186"/>
                      <a:pt x="168" y="185"/>
                      <a:pt x="167" y="184"/>
                    </a:cubicBezTo>
                    <a:cubicBezTo>
                      <a:pt x="167" y="184"/>
                      <a:pt x="166" y="184"/>
                      <a:pt x="166" y="184"/>
                    </a:cubicBezTo>
                    <a:cubicBezTo>
                      <a:pt x="166" y="183"/>
                      <a:pt x="167" y="182"/>
                      <a:pt x="168" y="182"/>
                    </a:cubicBezTo>
                    <a:cubicBezTo>
                      <a:pt x="168" y="181"/>
                      <a:pt x="168" y="181"/>
                      <a:pt x="168" y="181"/>
                    </a:cubicBezTo>
                    <a:cubicBezTo>
                      <a:pt x="168" y="180"/>
                      <a:pt x="168" y="180"/>
                      <a:pt x="168" y="179"/>
                    </a:cubicBezTo>
                    <a:cubicBezTo>
                      <a:pt x="169" y="179"/>
                      <a:pt x="169" y="179"/>
                      <a:pt x="169" y="179"/>
                    </a:cubicBezTo>
                    <a:cubicBezTo>
                      <a:pt x="169" y="179"/>
                      <a:pt x="169" y="179"/>
                      <a:pt x="170" y="178"/>
                    </a:cubicBezTo>
                    <a:cubicBezTo>
                      <a:pt x="170" y="178"/>
                      <a:pt x="170" y="178"/>
                      <a:pt x="170" y="178"/>
                    </a:cubicBezTo>
                    <a:cubicBezTo>
                      <a:pt x="170" y="178"/>
                      <a:pt x="170" y="178"/>
                      <a:pt x="170" y="178"/>
                    </a:cubicBezTo>
                    <a:cubicBezTo>
                      <a:pt x="170" y="178"/>
                      <a:pt x="170" y="178"/>
                      <a:pt x="171" y="178"/>
                    </a:cubicBezTo>
                    <a:cubicBezTo>
                      <a:pt x="171" y="178"/>
                      <a:pt x="171" y="178"/>
                      <a:pt x="171" y="178"/>
                    </a:cubicBezTo>
                    <a:cubicBezTo>
                      <a:pt x="171" y="179"/>
                      <a:pt x="170" y="179"/>
                      <a:pt x="169" y="180"/>
                    </a:cubicBezTo>
                    <a:cubicBezTo>
                      <a:pt x="169" y="181"/>
                      <a:pt x="169" y="181"/>
                      <a:pt x="169" y="182"/>
                    </a:cubicBezTo>
                    <a:cubicBezTo>
                      <a:pt x="168" y="183"/>
                      <a:pt x="168" y="183"/>
                      <a:pt x="168" y="184"/>
                    </a:cubicBezTo>
                    <a:cubicBezTo>
                      <a:pt x="168" y="184"/>
                      <a:pt x="169" y="184"/>
                      <a:pt x="169" y="185"/>
                    </a:cubicBezTo>
                    <a:cubicBezTo>
                      <a:pt x="170" y="185"/>
                      <a:pt x="169" y="187"/>
                      <a:pt x="169" y="187"/>
                    </a:cubicBezTo>
                    <a:cubicBezTo>
                      <a:pt x="170" y="188"/>
                      <a:pt x="170" y="188"/>
                      <a:pt x="170" y="188"/>
                    </a:cubicBezTo>
                    <a:cubicBezTo>
                      <a:pt x="170" y="188"/>
                      <a:pt x="170" y="188"/>
                      <a:pt x="170" y="189"/>
                    </a:cubicBezTo>
                    <a:cubicBezTo>
                      <a:pt x="171" y="190"/>
                      <a:pt x="171" y="192"/>
                      <a:pt x="172" y="193"/>
                    </a:cubicBezTo>
                    <a:cubicBezTo>
                      <a:pt x="173" y="194"/>
                      <a:pt x="173" y="194"/>
                      <a:pt x="172" y="194"/>
                    </a:cubicBezTo>
                    <a:cubicBezTo>
                      <a:pt x="172" y="194"/>
                      <a:pt x="172" y="194"/>
                      <a:pt x="172" y="194"/>
                    </a:cubicBezTo>
                    <a:cubicBezTo>
                      <a:pt x="172" y="194"/>
                      <a:pt x="172" y="195"/>
                      <a:pt x="172" y="195"/>
                    </a:cubicBezTo>
                    <a:cubicBezTo>
                      <a:pt x="172" y="195"/>
                      <a:pt x="171" y="195"/>
                      <a:pt x="171" y="195"/>
                    </a:cubicBezTo>
                    <a:cubicBezTo>
                      <a:pt x="171" y="195"/>
                      <a:pt x="171" y="196"/>
                      <a:pt x="171" y="196"/>
                    </a:cubicBezTo>
                    <a:cubicBezTo>
                      <a:pt x="171" y="196"/>
                      <a:pt x="171" y="197"/>
                      <a:pt x="171" y="197"/>
                    </a:cubicBezTo>
                    <a:cubicBezTo>
                      <a:pt x="171" y="197"/>
                      <a:pt x="171" y="197"/>
                      <a:pt x="171" y="198"/>
                    </a:cubicBezTo>
                    <a:cubicBezTo>
                      <a:pt x="171" y="198"/>
                      <a:pt x="171" y="198"/>
                      <a:pt x="171" y="198"/>
                    </a:cubicBezTo>
                    <a:cubicBezTo>
                      <a:pt x="171" y="198"/>
                      <a:pt x="171" y="198"/>
                      <a:pt x="171" y="198"/>
                    </a:cubicBezTo>
                    <a:cubicBezTo>
                      <a:pt x="171" y="199"/>
                      <a:pt x="171" y="199"/>
                      <a:pt x="171" y="199"/>
                    </a:cubicBezTo>
                    <a:cubicBezTo>
                      <a:pt x="171" y="199"/>
                      <a:pt x="171" y="199"/>
                      <a:pt x="172" y="199"/>
                    </a:cubicBezTo>
                    <a:cubicBezTo>
                      <a:pt x="172" y="199"/>
                      <a:pt x="172" y="199"/>
                      <a:pt x="172" y="199"/>
                    </a:cubicBezTo>
                    <a:cubicBezTo>
                      <a:pt x="172" y="199"/>
                      <a:pt x="172" y="199"/>
                      <a:pt x="172" y="199"/>
                    </a:cubicBezTo>
                    <a:cubicBezTo>
                      <a:pt x="173" y="199"/>
                      <a:pt x="173" y="199"/>
                      <a:pt x="174" y="199"/>
                    </a:cubicBezTo>
                    <a:cubicBezTo>
                      <a:pt x="174" y="199"/>
                      <a:pt x="173" y="200"/>
                      <a:pt x="173" y="200"/>
                    </a:cubicBezTo>
                    <a:cubicBezTo>
                      <a:pt x="173" y="200"/>
                      <a:pt x="173" y="200"/>
                      <a:pt x="173" y="200"/>
                    </a:cubicBezTo>
                    <a:cubicBezTo>
                      <a:pt x="172" y="200"/>
                      <a:pt x="172" y="200"/>
                      <a:pt x="172" y="200"/>
                    </a:cubicBezTo>
                    <a:cubicBezTo>
                      <a:pt x="172" y="200"/>
                      <a:pt x="172" y="200"/>
                      <a:pt x="172" y="200"/>
                    </a:cubicBezTo>
                    <a:cubicBezTo>
                      <a:pt x="172" y="201"/>
                      <a:pt x="172" y="201"/>
                      <a:pt x="172" y="202"/>
                    </a:cubicBezTo>
                    <a:cubicBezTo>
                      <a:pt x="172" y="202"/>
                      <a:pt x="172" y="202"/>
                      <a:pt x="172" y="202"/>
                    </a:cubicBezTo>
                    <a:cubicBezTo>
                      <a:pt x="172" y="202"/>
                      <a:pt x="172" y="202"/>
                      <a:pt x="172" y="202"/>
                    </a:cubicBezTo>
                    <a:cubicBezTo>
                      <a:pt x="172" y="202"/>
                      <a:pt x="172" y="202"/>
                      <a:pt x="172" y="203"/>
                    </a:cubicBezTo>
                    <a:cubicBezTo>
                      <a:pt x="172" y="203"/>
                      <a:pt x="172" y="203"/>
                      <a:pt x="173" y="203"/>
                    </a:cubicBezTo>
                    <a:cubicBezTo>
                      <a:pt x="173" y="203"/>
                      <a:pt x="173" y="203"/>
                      <a:pt x="173" y="202"/>
                    </a:cubicBezTo>
                    <a:cubicBezTo>
                      <a:pt x="173" y="202"/>
                      <a:pt x="173" y="202"/>
                      <a:pt x="173" y="202"/>
                    </a:cubicBezTo>
                    <a:cubicBezTo>
                      <a:pt x="173" y="202"/>
                      <a:pt x="173" y="202"/>
                      <a:pt x="173" y="202"/>
                    </a:cubicBezTo>
                    <a:cubicBezTo>
                      <a:pt x="173" y="203"/>
                      <a:pt x="173" y="203"/>
                      <a:pt x="173" y="203"/>
                    </a:cubicBezTo>
                    <a:cubicBezTo>
                      <a:pt x="173" y="203"/>
                      <a:pt x="173" y="203"/>
                      <a:pt x="173" y="203"/>
                    </a:cubicBezTo>
                    <a:cubicBezTo>
                      <a:pt x="173" y="203"/>
                      <a:pt x="173" y="203"/>
                      <a:pt x="173" y="203"/>
                    </a:cubicBezTo>
                    <a:cubicBezTo>
                      <a:pt x="173" y="203"/>
                      <a:pt x="173" y="203"/>
                      <a:pt x="172" y="203"/>
                    </a:cubicBezTo>
                    <a:cubicBezTo>
                      <a:pt x="172" y="204"/>
                      <a:pt x="172" y="204"/>
                      <a:pt x="172" y="204"/>
                    </a:cubicBezTo>
                    <a:cubicBezTo>
                      <a:pt x="172" y="204"/>
                      <a:pt x="172" y="204"/>
                      <a:pt x="172" y="204"/>
                    </a:cubicBezTo>
                    <a:cubicBezTo>
                      <a:pt x="172" y="204"/>
                      <a:pt x="172" y="204"/>
                      <a:pt x="172" y="204"/>
                    </a:cubicBezTo>
                    <a:cubicBezTo>
                      <a:pt x="172" y="204"/>
                      <a:pt x="172" y="204"/>
                      <a:pt x="172" y="204"/>
                    </a:cubicBezTo>
                    <a:cubicBezTo>
                      <a:pt x="172" y="205"/>
                      <a:pt x="172" y="205"/>
                      <a:pt x="172" y="205"/>
                    </a:cubicBezTo>
                    <a:cubicBezTo>
                      <a:pt x="171" y="205"/>
                      <a:pt x="171" y="205"/>
                      <a:pt x="171" y="205"/>
                    </a:cubicBezTo>
                    <a:cubicBezTo>
                      <a:pt x="171" y="205"/>
                      <a:pt x="171" y="205"/>
                      <a:pt x="171" y="205"/>
                    </a:cubicBezTo>
                    <a:cubicBezTo>
                      <a:pt x="171" y="205"/>
                      <a:pt x="170" y="205"/>
                      <a:pt x="170" y="205"/>
                    </a:cubicBezTo>
                    <a:cubicBezTo>
                      <a:pt x="170" y="205"/>
                      <a:pt x="170" y="205"/>
                      <a:pt x="170" y="205"/>
                    </a:cubicBezTo>
                    <a:cubicBezTo>
                      <a:pt x="170" y="205"/>
                      <a:pt x="170" y="205"/>
                      <a:pt x="170" y="205"/>
                    </a:cubicBezTo>
                    <a:cubicBezTo>
                      <a:pt x="171" y="205"/>
                      <a:pt x="171" y="205"/>
                      <a:pt x="172" y="205"/>
                    </a:cubicBezTo>
                    <a:cubicBezTo>
                      <a:pt x="172" y="205"/>
                      <a:pt x="172" y="205"/>
                      <a:pt x="172" y="205"/>
                    </a:cubicBezTo>
                    <a:cubicBezTo>
                      <a:pt x="172" y="205"/>
                      <a:pt x="172" y="206"/>
                      <a:pt x="172" y="206"/>
                    </a:cubicBezTo>
                    <a:cubicBezTo>
                      <a:pt x="172" y="206"/>
                      <a:pt x="172" y="206"/>
                      <a:pt x="172" y="206"/>
                    </a:cubicBezTo>
                    <a:cubicBezTo>
                      <a:pt x="172" y="206"/>
                      <a:pt x="173" y="206"/>
                      <a:pt x="173" y="206"/>
                    </a:cubicBezTo>
                    <a:cubicBezTo>
                      <a:pt x="174" y="205"/>
                      <a:pt x="174" y="205"/>
                      <a:pt x="175" y="205"/>
                    </a:cubicBezTo>
                    <a:cubicBezTo>
                      <a:pt x="175" y="204"/>
                      <a:pt x="175" y="204"/>
                      <a:pt x="175" y="204"/>
                    </a:cubicBezTo>
                    <a:cubicBezTo>
                      <a:pt x="175" y="204"/>
                      <a:pt x="176" y="203"/>
                      <a:pt x="176" y="203"/>
                    </a:cubicBezTo>
                    <a:cubicBezTo>
                      <a:pt x="176" y="203"/>
                      <a:pt x="176" y="203"/>
                      <a:pt x="176" y="203"/>
                    </a:cubicBezTo>
                    <a:cubicBezTo>
                      <a:pt x="176" y="203"/>
                      <a:pt x="177" y="203"/>
                      <a:pt x="177" y="203"/>
                    </a:cubicBezTo>
                    <a:cubicBezTo>
                      <a:pt x="177" y="203"/>
                      <a:pt x="177" y="203"/>
                      <a:pt x="177" y="202"/>
                    </a:cubicBezTo>
                    <a:cubicBezTo>
                      <a:pt x="177" y="202"/>
                      <a:pt x="178" y="202"/>
                      <a:pt x="178" y="202"/>
                    </a:cubicBezTo>
                    <a:cubicBezTo>
                      <a:pt x="178" y="202"/>
                      <a:pt x="178" y="202"/>
                      <a:pt x="178" y="202"/>
                    </a:cubicBezTo>
                    <a:cubicBezTo>
                      <a:pt x="178" y="202"/>
                      <a:pt x="179" y="202"/>
                      <a:pt x="179" y="202"/>
                    </a:cubicBezTo>
                    <a:cubicBezTo>
                      <a:pt x="180" y="201"/>
                      <a:pt x="181" y="200"/>
                      <a:pt x="182" y="200"/>
                    </a:cubicBezTo>
                    <a:cubicBezTo>
                      <a:pt x="182" y="200"/>
                      <a:pt x="182" y="200"/>
                      <a:pt x="182" y="200"/>
                    </a:cubicBezTo>
                    <a:cubicBezTo>
                      <a:pt x="182" y="201"/>
                      <a:pt x="182" y="201"/>
                      <a:pt x="182" y="201"/>
                    </a:cubicBezTo>
                    <a:cubicBezTo>
                      <a:pt x="182" y="201"/>
                      <a:pt x="182" y="201"/>
                      <a:pt x="182" y="201"/>
                    </a:cubicBezTo>
                    <a:cubicBezTo>
                      <a:pt x="182" y="201"/>
                      <a:pt x="182" y="202"/>
                      <a:pt x="183" y="202"/>
                    </a:cubicBezTo>
                    <a:cubicBezTo>
                      <a:pt x="183" y="202"/>
                      <a:pt x="183" y="202"/>
                      <a:pt x="183" y="202"/>
                    </a:cubicBezTo>
                    <a:cubicBezTo>
                      <a:pt x="183" y="202"/>
                      <a:pt x="183" y="202"/>
                      <a:pt x="183" y="202"/>
                    </a:cubicBezTo>
                    <a:cubicBezTo>
                      <a:pt x="184" y="202"/>
                      <a:pt x="184" y="202"/>
                      <a:pt x="184" y="202"/>
                    </a:cubicBezTo>
                    <a:cubicBezTo>
                      <a:pt x="184" y="202"/>
                      <a:pt x="184" y="202"/>
                      <a:pt x="184" y="202"/>
                    </a:cubicBezTo>
                    <a:cubicBezTo>
                      <a:pt x="184" y="202"/>
                      <a:pt x="184" y="202"/>
                      <a:pt x="184" y="202"/>
                    </a:cubicBezTo>
                    <a:cubicBezTo>
                      <a:pt x="184" y="202"/>
                      <a:pt x="184" y="203"/>
                      <a:pt x="184" y="203"/>
                    </a:cubicBezTo>
                    <a:cubicBezTo>
                      <a:pt x="184" y="203"/>
                      <a:pt x="185" y="203"/>
                      <a:pt x="185" y="203"/>
                    </a:cubicBezTo>
                    <a:cubicBezTo>
                      <a:pt x="185" y="203"/>
                      <a:pt x="185" y="203"/>
                      <a:pt x="185" y="203"/>
                    </a:cubicBezTo>
                    <a:cubicBezTo>
                      <a:pt x="185" y="202"/>
                      <a:pt x="186" y="202"/>
                      <a:pt x="186" y="202"/>
                    </a:cubicBezTo>
                    <a:cubicBezTo>
                      <a:pt x="186" y="202"/>
                      <a:pt x="186" y="202"/>
                      <a:pt x="186" y="202"/>
                    </a:cubicBezTo>
                    <a:cubicBezTo>
                      <a:pt x="186" y="201"/>
                      <a:pt x="186" y="201"/>
                      <a:pt x="186" y="201"/>
                    </a:cubicBezTo>
                    <a:cubicBezTo>
                      <a:pt x="187" y="201"/>
                      <a:pt x="187" y="201"/>
                      <a:pt x="187" y="202"/>
                    </a:cubicBezTo>
                    <a:cubicBezTo>
                      <a:pt x="187" y="202"/>
                      <a:pt x="187" y="202"/>
                      <a:pt x="187" y="202"/>
                    </a:cubicBezTo>
                    <a:cubicBezTo>
                      <a:pt x="187" y="203"/>
                      <a:pt x="187" y="203"/>
                      <a:pt x="187" y="203"/>
                    </a:cubicBezTo>
                    <a:cubicBezTo>
                      <a:pt x="187" y="203"/>
                      <a:pt x="188" y="203"/>
                      <a:pt x="188" y="203"/>
                    </a:cubicBezTo>
                    <a:cubicBezTo>
                      <a:pt x="189" y="203"/>
                      <a:pt x="189" y="205"/>
                      <a:pt x="189" y="205"/>
                    </a:cubicBezTo>
                    <a:cubicBezTo>
                      <a:pt x="189" y="206"/>
                      <a:pt x="190" y="206"/>
                      <a:pt x="190" y="207"/>
                    </a:cubicBezTo>
                    <a:cubicBezTo>
                      <a:pt x="190" y="207"/>
                      <a:pt x="190" y="207"/>
                      <a:pt x="190" y="208"/>
                    </a:cubicBezTo>
                    <a:cubicBezTo>
                      <a:pt x="191" y="208"/>
                      <a:pt x="191" y="208"/>
                      <a:pt x="191" y="208"/>
                    </a:cubicBezTo>
                    <a:cubicBezTo>
                      <a:pt x="192" y="208"/>
                      <a:pt x="192" y="208"/>
                      <a:pt x="193" y="207"/>
                    </a:cubicBezTo>
                    <a:cubicBezTo>
                      <a:pt x="193" y="207"/>
                      <a:pt x="193" y="207"/>
                      <a:pt x="193" y="207"/>
                    </a:cubicBezTo>
                    <a:cubicBezTo>
                      <a:pt x="193" y="207"/>
                      <a:pt x="193" y="207"/>
                      <a:pt x="193" y="207"/>
                    </a:cubicBezTo>
                    <a:cubicBezTo>
                      <a:pt x="192" y="206"/>
                      <a:pt x="192" y="206"/>
                      <a:pt x="192" y="206"/>
                    </a:cubicBezTo>
                    <a:cubicBezTo>
                      <a:pt x="192" y="205"/>
                      <a:pt x="191" y="205"/>
                      <a:pt x="192" y="204"/>
                    </a:cubicBezTo>
                    <a:cubicBezTo>
                      <a:pt x="192" y="204"/>
                      <a:pt x="192" y="204"/>
                      <a:pt x="192" y="204"/>
                    </a:cubicBezTo>
                    <a:cubicBezTo>
                      <a:pt x="192" y="203"/>
                      <a:pt x="192" y="203"/>
                      <a:pt x="192" y="202"/>
                    </a:cubicBezTo>
                    <a:cubicBezTo>
                      <a:pt x="192" y="202"/>
                      <a:pt x="193" y="202"/>
                      <a:pt x="193" y="202"/>
                    </a:cubicBezTo>
                    <a:cubicBezTo>
                      <a:pt x="193" y="202"/>
                      <a:pt x="194" y="201"/>
                      <a:pt x="194" y="200"/>
                    </a:cubicBezTo>
                    <a:cubicBezTo>
                      <a:pt x="194" y="200"/>
                      <a:pt x="194" y="200"/>
                      <a:pt x="195" y="200"/>
                    </a:cubicBezTo>
                    <a:cubicBezTo>
                      <a:pt x="195" y="200"/>
                      <a:pt x="195" y="200"/>
                      <a:pt x="195" y="200"/>
                    </a:cubicBezTo>
                    <a:cubicBezTo>
                      <a:pt x="195" y="200"/>
                      <a:pt x="195" y="200"/>
                      <a:pt x="195" y="200"/>
                    </a:cubicBezTo>
                    <a:cubicBezTo>
                      <a:pt x="196" y="200"/>
                      <a:pt x="196" y="200"/>
                      <a:pt x="197" y="200"/>
                    </a:cubicBezTo>
                    <a:cubicBezTo>
                      <a:pt x="197" y="200"/>
                      <a:pt x="197" y="200"/>
                      <a:pt x="197" y="201"/>
                    </a:cubicBezTo>
                    <a:cubicBezTo>
                      <a:pt x="197" y="201"/>
                      <a:pt x="198" y="201"/>
                      <a:pt x="198" y="201"/>
                    </a:cubicBezTo>
                    <a:cubicBezTo>
                      <a:pt x="198" y="201"/>
                      <a:pt x="198" y="201"/>
                      <a:pt x="198" y="201"/>
                    </a:cubicBezTo>
                    <a:cubicBezTo>
                      <a:pt x="198" y="202"/>
                      <a:pt x="198" y="202"/>
                      <a:pt x="198" y="202"/>
                    </a:cubicBezTo>
                    <a:cubicBezTo>
                      <a:pt x="198" y="202"/>
                      <a:pt x="198" y="202"/>
                      <a:pt x="197" y="202"/>
                    </a:cubicBezTo>
                    <a:cubicBezTo>
                      <a:pt x="197" y="202"/>
                      <a:pt x="197" y="202"/>
                      <a:pt x="197" y="202"/>
                    </a:cubicBezTo>
                    <a:cubicBezTo>
                      <a:pt x="197" y="202"/>
                      <a:pt x="197" y="201"/>
                      <a:pt x="197" y="201"/>
                    </a:cubicBezTo>
                    <a:cubicBezTo>
                      <a:pt x="196" y="200"/>
                      <a:pt x="196" y="200"/>
                      <a:pt x="196" y="200"/>
                    </a:cubicBezTo>
                    <a:cubicBezTo>
                      <a:pt x="195" y="200"/>
                      <a:pt x="195" y="200"/>
                      <a:pt x="195" y="201"/>
                    </a:cubicBezTo>
                    <a:cubicBezTo>
                      <a:pt x="194" y="201"/>
                      <a:pt x="194" y="201"/>
                      <a:pt x="194" y="202"/>
                    </a:cubicBezTo>
                    <a:cubicBezTo>
                      <a:pt x="194" y="202"/>
                      <a:pt x="194" y="202"/>
                      <a:pt x="194" y="202"/>
                    </a:cubicBezTo>
                    <a:cubicBezTo>
                      <a:pt x="194" y="203"/>
                      <a:pt x="194" y="203"/>
                      <a:pt x="194" y="203"/>
                    </a:cubicBezTo>
                    <a:cubicBezTo>
                      <a:pt x="194" y="203"/>
                      <a:pt x="194" y="203"/>
                      <a:pt x="194" y="203"/>
                    </a:cubicBezTo>
                    <a:cubicBezTo>
                      <a:pt x="194" y="203"/>
                      <a:pt x="195" y="203"/>
                      <a:pt x="195" y="203"/>
                    </a:cubicBezTo>
                    <a:cubicBezTo>
                      <a:pt x="195" y="204"/>
                      <a:pt x="195" y="204"/>
                      <a:pt x="195" y="204"/>
                    </a:cubicBezTo>
                    <a:cubicBezTo>
                      <a:pt x="195" y="204"/>
                      <a:pt x="195" y="205"/>
                      <a:pt x="195" y="205"/>
                    </a:cubicBezTo>
                    <a:cubicBezTo>
                      <a:pt x="195" y="205"/>
                      <a:pt x="195" y="205"/>
                      <a:pt x="195" y="205"/>
                    </a:cubicBezTo>
                    <a:cubicBezTo>
                      <a:pt x="196" y="205"/>
                      <a:pt x="196" y="205"/>
                      <a:pt x="196" y="205"/>
                    </a:cubicBezTo>
                    <a:cubicBezTo>
                      <a:pt x="196" y="205"/>
                      <a:pt x="196" y="205"/>
                      <a:pt x="196" y="205"/>
                    </a:cubicBezTo>
                    <a:cubicBezTo>
                      <a:pt x="197" y="205"/>
                      <a:pt x="198" y="205"/>
                      <a:pt x="199" y="205"/>
                    </a:cubicBezTo>
                    <a:cubicBezTo>
                      <a:pt x="200" y="204"/>
                      <a:pt x="201" y="203"/>
                      <a:pt x="202" y="203"/>
                    </a:cubicBezTo>
                    <a:cubicBezTo>
                      <a:pt x="202" y="203"/>
                      <a:pt x="202" y="203"/>
                      <a:pt x="202" y="202"/>
                    </a:cubicBezTo>
                    <a:cubicBezTo>
                      <a:pt x="203" y="202"/>
                      <a:pt x="203" y="202"/>
                      <a:pt x="204" y="202"/>
                    </a:cubicBezTo>
                    <a:cubicBezTo>
                      <a:pt x="204" y="202"/>
                      <a:pt x="204" y="202"/>
                      <a:pt x="204" y="202"/>
                    </a:cubicBezTo>
                    <a:cubicBezTo>
                      <a:pt x="204" y="202"/>
                      <a:pt x="204" y="202"/>
                      <a:pt x="204" y="202"/>
                    </a:cubicBezTo>
                    <a:cubicBezTo>
                      <a:pt x="204" y="202"/>
                      <a:pt x="204" y="203"/>
                      <a:pt x="204" y="203"/>
                    </a:cubicBezTo>
                    <a:cubicBezTo>
                      <a:pt x="204" y="203"/>
                      <a:pt x="204" y="203"/>
                      <a:pt x="204" y="203"/>
                    </a:cubicBezTo>
                    <a:cubicBezTo>
                      <a:pt x="204" y="203"/>
                      <a:pt x="204" y="204"/>
                      <a:pt x="204" y="204"/>
                    </a:cubicBezTo>
                    <a:cubicBezTo>
                      <a:pt x="204" y="204"/>
                      <a:pt x="204" y="204"/>
                      <a:pt x="204" y="204"/>
                    </a:cubicBezTo>
                    <a:cubicBezTo>
                      <a:pt x="204" y="204"/>
                      <a:pt x="203" y="204"/>
                      <a:pt x="203" y="205"/>
                    </a:cubicBezTo>
                    <a:cubicBezTo>
                      <a:pt x="203" y="205"/>
                      <a:pt x="202" y="206"/>
                      <a:pt x="202" y="206"/>
                    </a:cubicBezTo>
                    <a:cubicBezTo>
                      <a:pt x="202" y="207"/>
                      <a:pt x="201" y="207"/>
                      <a:pt x="201" y="208"/>
                    </a:cubicBezTo>
                    <a:cubicBezTo>
                      <a:pt x="201" y="208"/>
                      <a:pt x="201" y="209"/>
                      <a:pt x="201" y="210"/>
                    </a:cubicBezTo>
                    <a:cubicBezTo>
                      <a:pt x="201" y="210"/>
                      <a:pt x="201" y="210"/>
                      <a:pt x="201" y="210"/>
                    </a:cubicBezTo>
                    <a:cubicBezTo>
                      <a:pt x="201" y="210"/>
                      <a:pt x="201" y="210"/>
                      <a:pt x="201" y="210"/>
                    </a:cubicBezTo>
                    <a:cubicBezTo>
                      <a:pt x="202" y="210"/>
                      <a:pt x="202" y="210"/>
                      <a:pt x="202" y="210"/>
                    </a:cubicBezTo>
                    <a:cubicBezTo>
                      <a:pt x="202" y="211"/>
                      <a:pt x="201" y="211"/>
                      <a:pt x="200" y="212"/>
                    </a:cubicBezTo>
                    <a:cubicBezTo>
                      <a:pt x="200" y="212"/>
                      <a:pt x="200" y="212"/>
                      <a:pt x="200" y="212"/>
                    </a:cubicBezTo>
                    <a:cubicBezTo>
                      <a:pt x="200" y="212"/>
                      <a:pt x="200" y="213"/>
                      <a:pt x="200" y="213"/>
                    </a:cubicBezTo>
                    <a:cubicBezTo>
                      <a:pt x="200" y="213"/>
                      <a:pt x="200" y="214"/>
                      <a:pt x="200" y="214"/>
                    </a:cubicBezTo>
                    <a:cubicBezTo>
                      <a:pt x="200" y="214"/>
                      <a:pt x="200" y="215"/>
                      <a:pt x="200" y="215"/>
                    </a:cubicBezTo>
                    <a:cubicBezTo>
                      <a:pt x="200" y="216"/>
                      <a:pt x="200" y="216"/>
                      <a:pt x="200" y="216"/>
                    </a:cubicBezTo>
                    <a:cubicBezTo>
                      <a:pt x="199" y="217"/>
                      <a:pt x="199" y="217"/>
                      <a:pt x="199" y="218"/>
                    </a:cubicBezTo>
                    <a:cubicBezTo>
                      <a:pt x="200" y="218"/>
                      <a:pt x="200" y="218"/>
                      <a:pt x="200" y="218"/>
                    </a:cubicBezTo>
                    <a:cubicBezTo>
                      <a:pt x="200" y="218"/>
                      <a:pt x="200" y="218"/>
                      <a:pt x="200" y="218"/>
                    </a:cubicBezTo>
                    <a:cubicBezTo>
                      <a:pt x="200" y="217"/>
                      <a:pt x="200" y="217"/>
                      <a:pt x="200" y="217"/>
                    </a:cubicBezTo>
                    <a:cubicBezTo>
                      <a:pt x="201" y="217"/>
                      <a:pt x="201" y="217"/>
                      <a:pt x="201" y="218"/>
                    </a:cubicBezTo>
                    <a:cubicBezTo>
                      <a:pt x="201" y="218"/>
                      <a:pt x="201" y="218"/>
                      <a:pt x="201" y="219"/>
                    </a:cubicBezTo>
                    <a:cubicBezTo>
                      <a:pt x="201" y="219"/>
                      <a:pt x="201" y="219"/>
                      <a:pt x="200" y="220"/>
                    </a:cubicBezTo>
                    <a:cubicBezTo>
                      <a:pt x="200" y="220"/>
                      <a:pt x="200" y="220"/>
                      <a:pt x="200" y="219"/>
                    </a:cubicBezTo>
                    <a:cubicBezTo>
                      <a:pt x="200" y="219"/>
                      <a:pt x="199" y="219"/>
                      <a:pt x="199" y="219"/>
                    </a:cubicBezTo>
                    <a:cubicBezTo>
                      <a:pt x="198" y="219"/>
                      <a:pt x="198" y="220"/>
                      <a:pt x="197" y="221"/>
                    </a:cubicBezTo>
                    <a:cubicBezTo>
                      <a:pt x="197" y="221"/>
                      <a:pt x="197" y="221"/>
                      <a:pt x="197" y="222"/>
                    </a:cubicBezTo>
                    <a:cubicBezTo>
                      <a:pt x="197" y="222"/>
                      <a:pt x="197" y="222"/>
                      <a:pt x="196" y="222"/>
                    </a:cubicBezTo>
                    <a:cubicBezTo>
                      <a:pt x="196" y="222"/>
                      <a:pt x="196" y="222"/>
                      <a:pt x="196" y="222"/>
                    </a:cubicBezTo>
                    <a:cubicBezTo>
                      <a:pt x="196" y="222"/>
                      <a:pt x="196" y="222"/>
                      <a:pt x="196" y="222"/>
                    </a:cubicBezTo>
                    <a:cubicBezTo>
                      <a:pt x="196" y="222"/>
                      <a:pt x="195" y="222"/>
                      <a:pt x="195" y="222"/>
                    </a:cubicBezTo>
                    <a:cubicBezTo>
                      <a:pt x="195" y="223"/>
                      <a:pt x="194" y="223"/>
                      <a:pt x="194" y="224"/>
                    </a:cubicBezTo>
                    <a:cubicBezTo>
                      <a:pt x="194" y="225"/>
                      <a:pt x="194" y="225"/>
                      <a:pt x="193" y="225"/>
                    </a:cubicBezTo>
                    <a:cubicBezTo>
                      <a:pt x="193" y="226"/>
                      <a:pt x="193" y="226"/>
                      <a:pt x="193" y="227"/>
                    </a:cubicBezTo>
                    <a:cubicBezTo>
                      <a:pt x="193" y="227"/>
                      <a:pt x="193" y="228"/>
                      <a:pt x="193" y="228"/>
                    </a:cubicBezTo>
                    <a:cubicBezTo>
                      <a:pt x="193" y="228"/>
                      <a:pt x="193" y="228"/>
                      <a:pt x="192" y="228"/>
                    </a:cubicBezTo>
                    <a:cubicBezTo>
                      <a:pt x="192" y="228"/>
                      <a:pt x="192" y="228"/>
                      <a:pt x="191" y="228"/>
                    </a:cubicBezTo>
                    <a:cubicBezTo>
                      <a:pt x="191" y="228"/>
                      <a:pt x="191" y="228"/>
                      <a:pt x="191" y="228"/>
                    </a:cubicBezTo>
                    <a:cubicBezTo>
                      <a:pt x="191" y="228"/>
                      <a:pt x="191" y="228"/>
                      <a:pt x="190" y="228"/>
                    </a:cubicBezTo>
                    <a:cubicBezTo>
                      <a:pt x="190" y="229"/>
                      <a:pt x="189" y="230"/>
                      <a:pt x="188" y="230"/>
                    </a:cubicBezTo>
                    <a:cubicBezTo>
                      <a:pt x="188" y="230"/>
                      <a:pt x="187" y="230"/>
                      <a:pt x="187" y="231"/>
                    </a:cubicBezTo>
                    <a:cubicBezTo>
                      <a:pt x="186" y="231"/>
                      <a:pt x="185" y="231"/>
                      <a:pt x="185" y="232"/>
                    </a:cubicBezTo>
                    <a:cubicBezTo>
                      <a:pt x="184" y="233"/>
                      <a:pt x="183" y="234"/>
                      <a:pt x="182" y="234"/>
                    </a:cubicBezTo>
                    <a:cubicBezTo>
                      <a:pt x="182" y="234"/>
                      <a:pt x="183" y="234"/>
                      <a:pt x="183" y="235"/>
                    </a:cubicBezTo>
                    <a:cubicBezTo>
                      <a:pt x="183" y="235"/>
                      <a:pt x="183" y="235"/>
                      <a:pt x="183" y="235"/>
                    </a:cubicBezTo>
                    <a:cubicBezTo>
                      <a:pt x="182" y="235"/>
                      <a:pt x="182" y="235"/>
                      <a:pt x="182" y="235"/>
                    </a:cubicBezTo>
                    <a:cubicBezTo>
                      <a:pt x="182" y="235"/>
                      <a:pt x="181" y="235"/>
                      <a:pt x="181" y="235"/>
                    </a:cubicBezTo>
                    <a:cubicBezTo>
                      <a:pt x="181" y="236"/>
                      <a:pt x="181" y="236"/>
                      <a:pt x="181" y="237"/>
                    </a:cubicBezTo>
                    <a:cubicBezTo>
                      <a:pt x="181" y="237"/>
                      <a:pt x="181" y="237"/>
                      <a:pt x="181" y="237"/>
                    </a:cubicBezTo>
                    <a:cubicBezTo>
                      <a:pt x="181" y="237"/>
                      <a:pt x="180" y="237"/>
                      <a:pt x="180" y="238"/>
                    </a:cubicBezTo>
                    <a:cubicBezTo>
                      <a:pt x="180" y="238"/>
                      <a:pt x="180" y="238"/>
                      <a:pt x="180" y="238"/>
                    </a:cubicBezTo>
                    <a:cubicBezTo>
                      <a:pt x="181" y="239"/>
                      <a:pt x="181" y="239"/>
                      <a:pt x="182" y="240"/>
                    </a:cubicBezTo>
                    <a:cubicBezTo>
                      <a:pt x="182" y="240"/>
                      <a:pt x="182" y="240"/>
                      <a:pt x="182" y="240"/>
                    </a:cubicBezTo>
                    <a:cubicBezTo>
                      <a:pt x="182" y="240"/>
                      <a:pt x="182" y="240"/>
                      <a:pt x="182" y="240"/>
                    </a:cubicBezTo>
                    <a:cubicBezTo>
                      <a:pt x="182" y="240"/>
                      <a:pt x="181" y="240"/>
                      <a:pt x="181" y="240"/>
                    </a:cubicBezTo>
                    <a:cubicBezTo>
                      <a:pt x="181" y="240"/>
                      <a:pt x="181" y="240"/>
                      <a:pt x="181" y="239"/>
                    </a:cubicBezTo>
                    <a:cubicBezTo>
                      <a:pt x="181" y="239"/>
                      <a:pt x="180" y="239"/>
                      <a:pt x="180" y="239"/>
                    </a:cubicBezTo>
                    <a:cubicBezTo>
                      <a:pt x="180" y="239"/>
                      <a:pt x="179" y="239"/>
                      <a:pt x="179" y="239"/>
                    </a:cubicBezTo>
                    <a:cubicBezTo>
                      <a:pt x="179" y="239"/>
                      <a:pt x="179" y="239"/>
                      <a:pt x="179" y="240"/>
                    </a:cubicBezTo>
                    <a:cubicBezTo>
                      <a:pt x="179" y="240"/>
                      <a:pt x="179" y="240"/>
                      <a:pt x="179" y="240"/>
                    </a:cubicBezTo>
                    <a:cubicBezTo>
                      <a:pt x="179" y="240"/>
                      <a:pt x="179" y="241"/>
                      <a:pt x="179" y="241"/>
                    </a:cubicBezTo>
                    <a:cubicBezTo>
                      <a:pt x="179" y="241"/>
                      <a:pt x="178" y="241"/>
                      <a:pt x="178" y="240"/>
                    </a:cubicBezTo>
                    <a:cubicBezTo>
                      <a:pt x="178" y="240"/>
                      <a:pt x="178" y="239"/>
                      <a:pt x="177" y="239"/>
                    </a:cubicBezTo>
                    <a:cubicBezTo>
                      <a:pt x="177" y="239"/>
                      <a:pt x="177" y="238"/>
                      <a:pt x="177" y="238"/>
                    </a:cubicBezTo>
                    <a:cubicBezTo>
                      <a:pt x="176" y="238"/>
                      <a:pt x="176" y="238"/>
                      <a:pt x="175" y="238"/>
                    </a:cubicBezTo>
                    <a:cubicBezTo>
                      <a:pt x="175" y="238"/>
                      <a:pt x="175" y="238"/>
                      <a:pt x="174" y="238"/>
                    </a:cubicBezTo>
                    <a:cubicBezTo>
                      <a:pt x="174" y="238"/>
                      <a:pt x="173" y="239"/>
                      <a:pt x="173" y="239"/>
                    </a:cubicBezTo>
                    <a:cubicBezTo>
                      <a:pt x="171" y="240"/>
                      <a:pt x="168" y="242"/>
                      <a:pt x="167" y="244"/>
                    </a:cubicBezTo>
                    <a:cubicBezTo>
                      <a:pt x="167" y="244"/>
                      <a:pt x="167" y="244"/>
                      <a:pt x="167" y="245"/>
                    </a:cubicBezTo>
                    <a:cubicBezTo>
                      <a:pt x="167" y="245"/>
                      <a:pt x="167" y="245"/>
                      <a:pt x="167" y="245"/>
                    </a:cubicBezTo>
                    <a:cubicBezTo>
                      <a:pt x="167" y="246"/>
                      <a:pt x="166" y="246"/>
                      <a:pt x="166" y="246"/>
                    </a:cubicBezTo>
                    <a:cubicBezTo>
                      <a:pt x="166" y="246"/>
                      <a:pt x="165" y="246"/>
                      <a:pt x="165" y="247"/>
                    </a:cubicBezTo>
                    <a:cubicBezTo>
                      <a:pt x="165" y="247"/>
                      <a:pt x="165" y="247"/>
                      <a:pt x="165" y="247"/>
                    </a:cubicBezTo>
                    <a:cubicBezTo>
                      <a:pt x="165" y="247"/>
                      <a:pt x="165" y="247"/>
                      <a:pt x="165" y="247"/>
                    </a:cubicBezTo>
                    <a:cubicBezTo>
                      <a:pt x="164" y="248"/>
                      <a:pt x="164" y="248"/>
                      <a:pt x="163" y="248"/>
                    </a:cubicBezTo>
                    <a:cubicBezTo>
                      <a:pt x="163" y="248"/>
                      <a:pt x="163" y="248"/>
                      <a:pt x="163" y="248"/>
                    </a:cubicBezTo>
                    <a:cubicBezTo>
                      <a:pt x="162" y="248"/>
                      <a:pt x="162" y="248"/>
                      <a:pt x="162" y="249"/>
                    </a:cubicBezTo>
                    <a:cubicBezTo>
                      <a:pt x="162" y="249"/>
                      <a:pt x="162" y="250"/>
                      <a:pt x="162" y="250"/>
                    </a:cubicBezTo>
                    <a:cubicBezTo>
                      <a:pt x="162" y="250"/>
                      <a:pt x="162" y="251"/>
                      <a:pt x="162" y="251"/>
                    </a:cubicBezTo>
                    <a:cubicBezTo>
                      <a:pt x="161" y="251"/>
                      <a:pt x="161" y="252"/>
                      <a:pt x="162" y="252"/>
                    </a:cubicBezTo>
                    <a:cubicBezTo>
                      <a:pt x="162" y="252"/>
                      <a:pt x="163" y="251"/>
                      <a:pt x="163" y="251"/>
                    </a:cubicBezTo>
                    <a:cubicBezTo>
                      <a:pt x="163" y="251"/>
                      <a:pt x="163" y="251"/>
                      <a:pt x="163" y="250"/>
                    </a:cubicBezTo>
                    <a:cubicBezTo>
                      <a:pt x="164" y="250"/>
                      <a:pt x="163" y="249"/>
                      <a:pt x="163" y="249"/>
                    </a:cubicBezTo>
                    <a:cubicBezTo>
                      <a:pt x="163" y="249"/>
                      <a:pt x="163" y="248"/>
                      <a:pt x="164" y="248"/>
                    </a:cubicBezTo>
                    <a:cubicBezTo>
                      <a:pt x="164" y="248"/>
                      <a:pt x="164" y="249"/>
                      <a:pt x="164" y="249"/>
                    </a:cubicBezTo>
                    <a:cubicBezTo>
                      <a:pt x="164" y="249"/>
                      <a:pt x="164" y="250"/>
                      <a:pt x="164" y="250"/>
                    </a:cubicBezTo>
                    <a:cubicBezTo>
                      <a:pt x="165" y="250"/>
                      <a:pt x="165" y="250"/>
                      <a:pt x="165" y="250"/>
                    </a:cubicBezTo>
                    <a:cubicBezTo>
                      <a:pt x="166" y="250"/>
                      <a:pt x="166" y="250"/>
                      <a:pt x="166" y="250"/>
                    </a:cubicBezTo>
                    <a:cubicBezTo>
                      <a:pt x="167" y="250"/>
                      <a:pt x="167" y="249"/>
                      <a:pt x="167" y="249"/>
                    </a:cubicBezTo>
                    <a:cubicBezTo>
                      <a:pt x="167" y="249"/>
                      <a:pt x="167" y="248"/>
                      <a:pt x="167" y="248"/>
                    </a:cubicBezTo>
                    <a:cubicBezTo>
                      <a:pt x="167" y="248"/>
                      <a:pt x="167" y="247"/>
                      <a:pt x="166" y="247"/>
                    </a:cubicBezTo>
                    <a:cubicBezTo>
                      <a:pt x="166" y="247"/>
                      <a:pt x="166" y="247"/>
                      <a:pt x="166" y="247"/>
                    </a:cubicBezTo>
                    <a:cubicBezTo>
                      <a:pt x="166" y="247"/>
                      <a:pt x="166" y="246"/>
                      <a:pt x="166" y="246"/>
                    </a:cubicBezTo>
                    <a:cubicBezTo>
                      <a:pt x="167" y="246"/>
                      <a:pt x="167" y="247"/>
                      <a:pt x="167" y="247"/>
                    </a:cubicBezTo>
                    <a:cubicBezTo>
                      <a:pt x="167" y="247"/>
                      <a:pt x="167" y="248"/>
                      <a:pt x="167" y="248"/>
                    </a:cubicBezTo>
                    <a:cubicBezTo>
                      <a:pt x="167" y="248"/>
                      <a:pt x="168" y="248"/>
                      <a:pt x="168" y="248"/>
                    </a:cubicBezTo>
                    <a:cubicBezTo>
                      <a:pt x="168" y="248"/>
                      <a:pt x="167" y="248"/>
                      <a:pt x="167" y="248"/>
                    </a:cubicBezTo>
                    <a:cubicBezTo>
                      <a:pt x="167" y="248"/>
                      <a:pt x="167" y="249"/>
                      <a:pt x="167" y="249"/>
                    </a:cubicBezTo>
                    <a:cubicBezTo>
                      <a:pt x="167" y="249"/>
                      <a:pt x="168" y="249"/>
                      <a:pt x="168" y="249"/>
                    </a:cubicBezTo>
                    <a:cubicBezTo>
                      <a:pt x="168" y="249"/>
                      <a:pt x="168" y="249"/>
                      <a:pt x="168" y="249"/>
                    </a:cubicBezTo>
                    <a:cubicBezTo>
                      <a:pt x="168" y="249"/>
                      <a:pt x="168" y="249"/>
                      <a:pt x="168" y="249"/>
                    </a:cubicBezTo>
                    <a:cubicBezTo>
                      <a:pt x="168" y="249"/>
                      <a:pt x="169" y="249"/>
                      <a:pt x="169" y="249"/>
                    </a:cubicBezTo>
                    <a:cubicBezTo>
                      <a:pt x="169" y="248"/>
                      <a:pt x="169" y="248"/>
                      <a:pt x="170" y="248"/>
                    </a:cubicBezTo>
                    <a:cubicBezTo>
                      <a:pt x="170" y="248"/>
                      <a:pt x="170" y="248"/>
                      <a:pt x="170" y="248"/>
                    </a:cubicBezTo>
                    <a:cubicBezTo>
                      <a:pt x="170" y="248"/>
                      <a:pt x="170" y="248"/>
                      <a:pt x="170" y="248"/>
                    </a:cubicBezTo>
                    <a:cubicBezTo>
                      <a:pt x="170" y="248"/>
                      <a:pt x="170" y="249"/>
                      <a:pt x="170" y="249"/>
                    </a:cubicBezTo>
                    <a:cubicBezTo>
                      <a:pt x="170" y="249"/>
                      <a:pt x="171" y="249"/>
                      <a:pt x="171" y="248"/>
                    </a:cubicBezTo>
                    <a:cubicBezTo>
                      <a:pt x="171" y="248"/>
                      <a:pt x="171" y="248"/>
                      <a:pt x="171" y="247"/>
                    </a:cubicBezTo>
                    <a:cubicBezTo>
                      <a:pt x="171" y="247"/>
                      <a:pt x="170" y="247"/>
                      <a:pt x="171" y="247"/>
                    </a:cubicBezTo>
                    <a:cubicBezTo>
                      <a:pt x="171" y="247"/>
                      <a:pt x="171" y="247"/>
                      <a:pt x="171" y="247"/>
                    </a:cubicBezTo>
                    <a:cubicBezTo>
                      <a:pt x="171" y="247"/>
                      <a:pt x="171" y="247"/>
                      <a:pt x="171" y="247"/>
                    </a:cubicBezTo>
                    <a:cubicBezTo>
                      <a:pt x="172" y="247"/>
                      <a:pt x="172" y="247"/>
                      <a:pt x="172" y="247"/>
                    </a:cubicBezTo>
                    <a:cubicBezTo>
                      <a:pt x="172" y="246"/>
                      <a:pt x="172" y="246"/>
                      <a:pt x="172" y="246"/>
                    </a:cubicBezTo>
                    <a:cubicBezTo>
                      <a:pt x="172" y="246"/>
                      <a:pt x="173" y="245"/>
                      <a:pt x="173" y="244"/>
                    </a:cubicBezTo>
                    <a:cubicBezTo>
                      <a:pt x="173" y="244"/>
                      <a:pt x="173" y="244"/>
                      <a:pt x="173" y="243"/>
                    </a:cubicBezTo>
                    <a:cubicBezTo>
                      <a:pt x="173" y="243"/>
                      <a:pt x="173" y="243"/>
                      <a:pt x="174" y="242"/>
                    </a:cubicBezTo>
                    <a:cubicBezTo>
                      <a:pt x="174" y="242"/>
                      <a:pt x="174" y="242"/>
                      <a:pt x="174" y="242"/>
                    </a:cubicBezTo>
                    <a:cubicBezTo>
                      <a:pt x="175" y="242"/>
                      <a:pt x="175" y="242"/>
                      <a:pt x="175" y="242"/>
                    </a:cubicBezTo>
                    <a:cubicBezTo>
                      <a:pt x="175" y="243"/>
                      <a:pt x="176" y="243"/>
                      <a:pt x="176" y="243"/>
                    </a:cubicBezTo>
                    <a:cubicBezTo>
                      <a:pt x="176" y="244"/>
                      <a:pt x="176" y="244"/>
                      <a:pt x="176" y="243"/>
                    </a:cubicBezTo>
                    <a:cubicBezTo>
                      <a:pt x="175" y="243"/>
                      <a:pt x="175" y="243"/>
                      <a:pt x="175" y="243"/>
                    </a:cubicBezTo>
                    <a:cubicBezTo>
                      <a:pt x="175" y="243"/>
                      <a:pt x="175" y="243"/>
                      <a:pt x="175" y="243"/>
                    </a:cubicBezTo>
                    <a:cubicBezTo>
                      <a:pt x="175" y="243"/>
                      <a:pt x="175" y="244"/>
                      <a:pt x="174" y="244"/>
                    </a:cubicBezTo>
                    <a:cubicBezTo>
                      <a:pt x="174" y="244"/>
                      <a:pt x="174" y="245"/>
                      <a:pt x="174" y="245"/>
                    </a:cubicBezTo>
                    <a:cubicBezTo>
                      <a:pt x="175" y="246"/>
                      <a:pt x="177" y="245"/>
                      <a:pt x="178" y="244"/>
                    </a:cubicBezTo>
                    <a:cubicBezTo>
                      <a:pt x="178" y="244"/>
                      <a:pt x="178" y="244"/>
                      <a:pt x="179" y="244"/>
                    </a:cubicBezTo>
                    <a:cubicBezTo>
                      <a:pt x="179" y="244"/>
                      <a:pt x="179" y="244"/>
                      <a:pt x="179" y="244"/>
                    </a:cubicBezTo>
                    <a:cubicBezTo>
                      <a:pt x="179" y="244"/>
                      <a:pt x="180" y="244"/>
                      <a:pt x="180" y="244"/>
                    </a:cubicBezTo>
                    <a:cubicBezTo>
                      <a:pt x="180" y="244"/>
                      <a:pt x="179" y="244"/>
                      <a:pt x="179" y="244"/>
                    </a:cubicBezTo>
                    <a:cubicBezTo>
                      <a:pt x="179" y="243"/>
                      <a:pt x="179" y="243"/>
                      <a:pt x="179" y="243"/>
                    </a:cubicBezTo>
                    <a:cubicBezTo>
                      <a:pt x="179" y="243"/>
                      <a:pt x="179" y="243"/>
                      <a:pt x="179" y="243"/>
                    </a:cubicBezTo>
                    <a:cubicBezTo>
                      <a:pt x="179" y="243"/>
                      <a:pt x="180" y="243"/>
                      <a:pt x="180" y="243"/>
                    </a:cubicBezTo>
                    <a:cubicBezTo>
                      <a:pt x="180" y="243"/>
                      <a:pt x="180" y="243"/>
                      <a:pt x="180" y="244"/>
                    </a:cubicBezTo>
                    <a:cubicBezTo>
                      <a:pt x="180" y="244"/>
                      <a:pt x="180" y="244"/>
                      <a:pt x="181" y="244"/>
                    </a:cubicBezTo>
                    <a:cubicBezTo>
                      <a:pt x="181" y="244"/>
                      <a:pt x="181" y="244"/>
                      <a:pt x="181" y="244"/>
                    </a:cubicBezTo>
                    <a:cubicBezTo>
                      <a:pt x="181" y="244"/>
                      <a:pt x="181" y="243"/>
                      <a:pt x="181" y="243"/>
                    </a:cubicBezTo>
                    <a:cubicBezTo>
                      <a:pt x="181" y="243"/>
                      <a:pt x="181" y="242"/>
                      <a:pt x="182" y="242"/>
                    </a:cubicBezTo>
                    <a:cubicBezTo>
                      <a:pt x="182" y="242"/>
                      <a:pt x="182" y="242"/>
                      <a:pt x="182" y="242"/>
                    </a:cubicBezTo>
                    <a:cubicBezTo>
                      <a:pt x="182" y="242"/>
                      <a:pt x="182" y="242"/>
                      <a:pt x="182" y="242"/>
                    </a:cubicBezTo>
                    <a:cubicBezTo>
                      <a:pt x="182" y="242"/>
                      <a:pt x="183" y="242"/>
                      <a:pt x="183" y="242"/>
                    </a:cubicBezTo>
                    <a:cubicBezTo>
                      <a:pt x="183" y="242"/>
                      <a:pt x="183" y="242"/>
                      <a:pt x="183" y="242"/>
                    </a:cubicBezTo>
                    <a:cubicBezTo>
                      <a:pt x="184" y="241"/>
                      <a:pt x="184" y="241"/>
                      <a:pt x="185" y="240"/>
                    </a:cubicBezTo>
                    <a:cubicBezTo>
                      <a:pt x="185" y="240"/>
                      <a:pt x="186" y="240"/>
                      <a:pt x="186" y="240"/>
                    </a:cubicBezTo>
                    <a:cubicBezTo>
                      <a:pt x="186" y="240"/>
                      <a:pt x="186" y="240"/>
                      <a:pt x="187" y="240"/>
                    </a:cubicBezTo>
                    <a:cubicBezTo>
                      <a:pt x="187" y="240"/>
                      <a:pt x="187" y="240"/>
                      <a:pt x="187" y="240"/>
                    </a:cubicBezTo>
                    <a:cubicBezTo>
                      <a:pt x="187" y="240"/>
                      <a:pt x="187" y="240"/>
                      <a:pt x="187" y="240"/>
                    </a:cubicBezTo>
                    <a:cubicBezTo>
                      <a:pt x="186" y="241"/>
                      <a:pt x="186" y="241"/>
                      <a:pt x="186" y="242"/>
                    </a:cubicBezTo>
                    <a:cubicBezTo>
                      <a:pt x="187" y="242"/>
                      <a:pt x="187" y="242"/>
                      <a:pt x="187" y="242"/>
                    </a:cubicBezTo>
                    <a:cubicBezTo>
                      <a:pt x="187" y="242"/>
                      <a:pt x="186" y="243"/>
                      <a:pt x="186" y="243"/>
                    </a:cubicBezTo>
                    <a:cubicBezTo>
                      <a:pt x="186" y="243"/>
                      <a:pt x="186" y="243"/>
                      <a:pt x="186" y="243"/>
                    </a:cubicBezTo>
                    <a:cubicBezTo>
                      <a:pt x="187" y="243"/>
                      <a:pt x="187" y="242"/>
                      <a:pt x="187" y="242"/>
                    </a:cubicBezTo>
                    <a:cubicBezTo>
                      <a:pt x="187" y="241"/>
                      <a:pt x="187" y="240"/>
                      <a:pt x="187" y="240"/>
                    </a:cubicBezTo>
                    <a:cubicBezTo>
                      <a:pt x="188" y="240"/>
                      <a:pt x="188" y="240"/>
                      <a:pt x="188" y="240"/>
                    </a:cubicBezTo>
                    <a:cubicBezTo>
                      <a:pt x="188" y="240"/>
                      <a:pt x="188" y="240"/>
                      <a:pt x="189" y="240"/>
                    </a:cubicBezTo>
                    <a:cubicBezTo>
                      <a:pt x="189" y="239"/>
                      <a:pt x="190" y="239"/>
                      <a:pt x="191" y="239"/>
                    </a:cubicBezTo>
                    <a:cubicBezTo>
                      <a:pt x="191" y="239"/>
                      <a:pt x="191" y="239"/>
                      <a:pt x="191" y="238"/>
                    </a:cubicBezTo>
                    <a:cubicBezTo>
                      <a:pt x="191" y="238"/>
                      <a:pt x="192" y="238"/>
                      <a:pt x="192" y="238"/>
                    </a:cubicBezTo>
                    <a:cubicBezTo>
                      <a:pt x="192" y="238"/>
                      <a:pt x="192" y="238"/>
                      <a:pt x="193" y="238"/>
                    </a:cubicBezTo>
                    <a:cubicBezTo>
                      <a:pt x="193" y="238"/>
                      <a:pt x="193" y="237"/>
                      <a:pt x="193" y="236"/>
                    </a:cubicBezTo>
                    <a:cubicBezTo>
                      <a:pt x="193" y="236"/>
                      <a:pt x="193" y="236"/>
                      <a:pt x="194" y="236"/>
                    </a:cubicBezTo>
                    <a:cubicBezTo>
                      <a:pt x="194" y="235"/>
                      <a:pt x="194" y="235"/>
                      <a:pt x="194" y="236"/>
                    </a:cubicBezTo>
                    <a:cubicBezTo>
                      <a:pt x="194" y="236"/>
                      <a:pt x="194" y="237"/>
                      <a:pt x="194" y="237"/>
                    </a:cubicBezTo>
                    <a:cubicBezTo>
                      <a:pt x="194" y="238"/>
                      <a:pt x="194" y="238"/>
                      <a:pt x="194" y="238"/>
                    </a:cubicBezTo>
                    <a:cubicBezTo>
                      <a:pt x="194" y="238"/>
                      <a:pt x="194" y="238"/>
                      <a:pt x="194" y="238"/>
                    </a:cubicBezTo>
                    <a:cubicBezTo>
                      <a:pt x="194" y="237"/>
                      <a:pt x="194" y="237"/>
                      <a:pt x="194" y="237"/>
                    </a:cubicBezTo>
                    <a:cubicBezTo>
                      <a:pt x="195" y="237"/>
                      <a:pt x="195" y="236"/>
                      <a:pt x="195" y="236"/>
                    </a:cubicBezTo>
                    <a:cubicBezTo>
                      <a:pt x="196" y="235"/>
                      <a:pt x="196" y="235"/>
                      <a:pt x="196" y="235"/>
                    </a:cubicBezTo>
                    <a:cubicBezTo>
                      <a:pt x="196" y="234"/>
                      <a:pt x="196" y="234"/>
                      <a:pt x="196" y="234"/>
                    </a:cubicBezTo>
                    <a:cubicBezTo>
                      <a:pt x="196" y="234"/>
                      <a:pt x="196" y="234"/>
                      <a:pt x="195" y="234"/>
                    </a:cubicBezTo>
                    <a:cubicBezTo>
                      <a:pt x="195" y="234"/>
                      <a:pt x="195" y="234"/>
                      <a:pt x="195" y="234"/>
                    </a:cubicBezTo>
                    <a:cubicBezTo>
                      <a:pt x="195" y="234"/>
                      <a:pt x="194" y="234"/>
                      <a:pt x="194" y="234"/>
                    </a:cubicBezTo>
                    <a:cubicBezTo>
                      <a:pt x="194" y="234"/>
                      <a:pt x="194" y="234"/>
                      <a:pt x="194" y="234"/>
                    </a:cubicBezTo>
                    <a:cubicBezTo>
                      <a:pt x="194" y="235"/>
                      <a:pt x="193" y="235"/>
                      <a:pt x="193" y="235"/>
                    </a:cubicBezTo>
                    <a:cubicBezTo>
                      <a:pt x="193" y="234"/>
                      <a:pt x="193" y="234"/>
                      <a:pt x="193" y="234"/>
                    </a:cubicBezTo>
                    <a:cubicBezTo>
                      <a:pt x="194" y="234"/>
                      <a:pt x="194" y="233"/>
                      <a:pt x="195" y="233"/>
                    </a:cubicBezTo>
                    <a:cubicBezTo>
                      <a:pt x="195" y="233"/>
                      <a:pt x="195" y="232"/>
                      <a:pt x="195" y="232"/>
                    </a:cubicBezTo>
                    <a:cubicBezTo>
                      <a:pt x="196" y="232"/>
                      <a:pt x="196" y="232"/>
                      <a:pt x="196" y="232"/>
                    </a:cubicBezTo>
                    <a:cubicBezTo>
                      <a:pt x="197" y="232"/>
                      <a:pt x="197" y="232"/>
                      <a:pt x="197" y="232"/>
                    </a:cubicBezTo>
                    <a:cubicBezTo>
                      <a:pt x="197" y="231"/>
                      <a:pt x="198" y="230"/>
                      <a:pt x="199" y="230"/>
                    </a:cubicBezTo>
                    <a:cubicBezTo>
                      <a:pt x="199" y="230"/>
                      <a:pt x="200" y="231"/>
                      <a:pt x="201" y="230"/>
                    </a:cubicBezTo>
                    <a:cubicBezTo>
                      <a:pt x="201" y="230"/>
                      <a:pt x="201" y="230"/>
                      <a:pt x="201" y="230"/>
                    </a:cubicBezTo>
                    <a:cubicBezTo>
                      <a:pt x="201" y="230"/>
                      <a:pt x="200" y="230"/>
                      <a:pt x="200" y="230"/>
                    </a:cubicBezTo>
                    <a:cubicBezTo>
                      <a:pt x="200" y="229"/>
                      <a:pt x="201" y="229"/>
                      <a:pt x="201" y="228"/>
                    </a:cubicBezTo>
                    <a:cubicBezTo>
                      <a:pt x="201" y="228"/>
                      <a:pt x="201" y="228"/>
                      <a:pt x="201" y="228"/>
                    </a:cubicBezTo>
                    <a:cubicBezTo>
                      <a:pt x="201" y="228"/>
                      <a:pt x="201" y="228"/>
                      <a:pt x="201" y="227"/>
                    </a:cubicBezTo>
                    <a:cubicBezTo>
                      <a:pt x="202" y="227"/>
                      <a:pt x="202" y="227"/>
                      <a:pt x="202" y="228"/>
                    </a:cubicBezTo>
                    <a:cubicBezTo>
                      <a:pt x="202" y="228"/>
                      <a:pt x="202" y="228"/>
                      <a:pt x="202" y="228"/>
                    </a:cubicBezTo>
                    <a:cubicBezTo>
                      <a:pt x="203" y="228"/>
                      <a:pt x="203" y="228"/>
                      <a:pt x="203" y="228"/>
                    </a:cubicBezTo>
                    <a:cubicBezTo>
                      <a:pt x="204" y="227"/>
                      <a:pt x="204" y="227"/>
                      <a:pt x="205" y="226"/>
                    </a:cubicBezTo>
                    <a:cubicBezTo>
                      <a:pt x="205" y="227"/>
                      <a:pt x="205" y="227"/>
                      <a:pt x="205" y="227"/>
                    </a:cubicBezTo>
                    <a:cubicBezTo>
                      <a:pt x="205" y="227"/>
                      <a:pt x="206" y="227"/>
                      <a:pt x="206" y="226"/>
                    </a:cubicBezTo>
                    <a:cubicBezTo>
                      <a:pt x="206" y="226"/>
                      <a:pt x="206" y="226"/>
                      <a:pt x="206" y="226"/>
                    </a:cubicBezTo>
                    <a:cubicBezTo>
                      <a:pt x="206" y="225"/>
                      <a:pt x="206" y="225"/>
                      <a:pt x="206" y="225"/>
                    </a:cubicBezTo>
                    <a:cubicBezTo>
                      <a:pt x="206" y="226"/>
                      <a:pt x="206" y="226"/>
                      <a:pt x="207" y="226"/>
                    </a:cubicBezTo>
                    <a:cubicBezTo>
                      <a:pt x="207" y="226"/>
                      <a:pt x="207" y="226"/>
                      <a:pt x="207" y="226"/>
                    </a:cubicBezTo>
                    <a:cubicBezTo>
                      <a:pt x="207" y="225"/>
                      <a:pt x="207" y="225"/>
                      <a:pt x="208" y="225"/>
                    </a:cubicBezTo>
                    <a:cubicBezTo>
                      <a:pt x="208" y="224"/>
                      <a:pt x="208" y="224"/>
                      <a:pt x="208" y="224"/>
                    </a:cubicBezTo>
                    <a:cubicBezTo>
                      <a:pt x="208" y="224"/>
                      <a:pt x="209" y="224"/>
                      <a:pt x="209" y="224"/>
                    </a:cubicBezTo>
                    <a:cubicBezTo>
                      <a:pt x="209" y="223"/>
                      <a:pt x="209" y="223"/>
                      <a:pt x="209" y="223"/>
                    </a:cubicBezTo>
                    <a:cubicBezTo>
                      <a:pt x="209" y="223"/>
                      <a:pt x="209" y="223"/>
                      <a:pt x="208" y="223"/>
                    </a:cubicBezTo>
                    <a:cubicBezTo>
                      <a:pt x="208" y="223"/>
                      <a:pt x="208" y="223"/>
                      <a:pt x="209" y="223"/>
                    </a:cubicBezTo>
                    <a:cubicBezTo>
                      <a:pt x="209" y="222"/>
                      <a:pt x="209" y="222"/>
                      <a:pt x="209" y="222"/>
                    </a:cubicBezTo>
                    <a:cubicBezTo>
                      <a:pt x="209" y="222"/>
                      <a:pt x="209" y="222"/>
                      <a:pt x="208" y="222"/>
                    </a:cubicBezTo>
                    <a:cubicBezTo>
                      <a:pt x="208" y="222"/>
                      <a:pt x="208" y="222"/>
                      <a:pt x="208" y="222"/>
                    </a:cubicBezTo>
                    <a:cubicBezTo>
                      <a:pt x="208" y="222"/>
                      <a:pt x="208" y="222"/>
                      <a:pt x="207" y="222"/>
                    </a:cubicBezTo>
                    <a:cubicBezTo>
                      <a:pt x="207" y="222"/>
                      <a:pt x="207" y="222"/>
                      <a:pt x="208" y="221"/>
                    </a:cubicBezTo>
                    <a:cubicBezTo>
                      <a:pt x="208" y="221"/>
                      <a:pt x="208" y="221"/>
                      <a:pt x="209" y="221"/>
                    </a:cubicBezTo>
                    <a:cubicBezTo>
                      <a:pt x="209" y="221"/>
                      <a:pt x="209" y="220"/>
                      <a:pt x="209" y="220"/>
                    </a:cubicBezTo>
                    <a:cubicBezTo>
                      <a:pt x="210" y="220"/>
                      <a:pt x="210" y="220"/>
                      <a:pt x="210" y="220"/>
                    </a:cubicBezTo>
                    <a:cubicBezTo>
                      <a:pt x="210" y="220"/>
                      <a:pt x="210" y="220"/>
                      <a:pt x="210" y="220"/>
                    </a:cubicBezTo>
                    <a:cubicBezTo>
                      <a:pt x="210" y="220"/>
                      <a:pt x="210" y="220"/>
                      <a:pt x="210" y="220"/>
                    </a:cubicBezTo>
                    <a:cubicBezTo>
                      <a:pt x="211" y="220"/>
                      <a:pt x="211" y="220"/>
                      <a:pt x="211" y="220"/>
                    </a:cubicBezTo>
                    <a:cubicBezTo>
                      <a:pt x="211" y="219"/>
                      <a:pt x="211" y="219"/>
                      <a:pt x="212" y="219"/>
                    </a:cubicBezTo>
                    <a:cubicBezTo>
                      <a:pt x="212" y="219"/>
                      <a:pt x="212" y="219"/>
                      <a:pt x="212" y="219"/>
                    </a:cubicBezTo>
                    <a:cubicBezTo>
                      <a:pt x="213" y="219"/>
                      <a:pt x="213" y="218"/>
                      <a:pt x="213" y="218"/>
                    </a:cubicBezTo>
                    <a:cubicBezTo>
                      <a:pt x="213" y="218"/>
                      <a:pt x="213" y="218"/>
                      <a:pt x="213" y="218"/>
                    </a:cubicBezTo>
                    <a:cubicBezTo>
                      <a:pt x="214" y="218"/>
                      <a:pt x="214" y="217"/>
                      <a:pt x="214" y="217"/>
                    </a:cubicBezTo>
                    <a:cubicBezTo>
                      <a:pt x="213" y="217"/>
                      <a:pt x="213" y="217"/>
                      <a:pt x="213" y="217"/>
                    </a:cubicBezTo>
                    <a:cubicBezTo>
                      <a:pt x="213" y="217"/>
                      <a:pt x="213" y="217"/>
                      <a:pt x="213" y="217"/>
                    </a:cubicBezTo>
                    <a:cubicBezTo>
                      <a:pt x="213" y="217"/>
                      <a:pt x="213" y="216"/>
                      <a:pt x="213" y="216"/>
                    </a:cubicBezTo>
                    <a:cubicBezTo>
                      <a:pt x="214" y="216"/>
                      <a:pt x="214" y="216"/>
                      <a:pt x="214" y="216"/>
                    </a:cubicBezTo>
                    <a:cubicBezTo>
                      <a:pt x="214" y="216"/>
                      <a:pt x="214" y="216"/>
                      <a:pt x="214" y="216"/>
                    </a:cubicBezTo>
                    <a:cubicBezTo>
                      <a:pt x="214" y="216"/>
                      <a:pt x="215" y="217"/>
                      <a:pt x="215" y="217"/>
                    </a:cubicBezTo>
                    <a:cubicBezTo>
                      <a:pt x="215" y="217"/>
                      <a:pt x="215" y="217"/>
                      <a:pt x="215" y="217"/>
                    </a:cubicBezTo>
                    <a:cubicBezTo>
                      <a:pt x="215" y="217"/>
                      <a:pt x="215" y="217"/>
                      <a:pt x="215" y="217"/>
                    </a:cubicBezTo>
                    <a:cubicBezTo>
                      <a:pt x="216" y="216"/>
                      <a:pt x="216" y="216"/>
                      <a:pt x="216" y="215"/>
                    </a:cubicBezTo>
                    <a:cubicBezTo>
                      <a:pt x="216" y="215"/>
                      <a:pt x="216" y="215"/>
                      <a:pt x="217" y="215"/>
                    </a:cubicBezTo>
                    <a:cubicBezTo>
                      <a:pt x="217" y="215"/>
                      <a:pt x="217" y="215"/>
                      <a:pt x="217" y="214"/>
                    </a:cubicBezTo>
                    <a:cubicBezTo>
                      <a:pt x="217" y="214"/>
                      <a:pt x="217" y="214"/>
                      <a:pt x="217" y="214"/>
                    </a:cubicBezTo>
                    <a:cubicBezTo>
                      <a:pt x="217" y="214"/>
                      <a:pt x="217" y="214"/>
                      <a:pt x="217" y="214"/>
                    </a:cubicBezTo>
                    <a:cubicBezTo>
                      <a:pt x="217" y="214"/>
                      <a:pt x="217" y="213"/>
                      <a:pt x="218" y="213"/>
                    </a:cubicBezTo>
                    <a:cubicBezTo>
                      <a:pt x="217" y="213"/>
                      <a:pt x="217" y="213"/>
                      <a:pt x="217" y="213"/>
                    </a:cubicBezTo>
                    <a:cubicBezTo>
                      <a:pt x="217" y="213"/>
                      <a:pt x="217" y="213"/>
                      <a:pt x="217" y="213"/>
                    </a:cubicBezTo>
                    <a:cubicBezTo>
                      <a:pt x="217" y="212"/>
                      <a:pt x="217" y="212"/>
                      <a:pt x="217" y="211"/>
                    </a:cubicBezTo>
                    <a:cubicBezTo>
                      <a:pt x="217" y="211"/>
                      <a:pt x="217" y="211"/>
                      <a:pt x="217" y="211"/>
                    </a:cubicBezTo>
                    <a:cubicBezTo>
                      <a:pt x="217" y="211"/>
                      <a:pt x="217" y="211"/>
                      <a:pt x="217" y="211"/>
                    </a:cubicBezTo>
                    <a:cubicBezTo>
                      <a:pt x="218" y="211"/>
                      <a:pt x="218" y="211"/>
                      <a:pt x="218" y="211"/>
                    </a:cubicBezTo>
                    <a:cubicBezTo>
                      <a:pt x="218" y="211"/>
                      <a:pt x="218" y="212"/>
                      <a:pt x="218" y="212"/>
                    </a:cubicBezTo>
                    <a:cubicBezTo>
                      <a:pt x="218" y="212"/>
                      <a:pt x="218" y="212"/>
                      <a:pt x="218" y="212"/>
                    </a:cubicBezTo>
                    <a:cubicBezTo>
                      <a:pt x="218" y="212"/>
                      <a:pt x="218" y="213"/>
                      <a:pt x="218" y="213"/>
                    </a:cubicBezTo>
                    <a:cubicBezTo>
                      <a:pt x="218" y="213"/>
                      <a:pt x="218" y="213"/>
                      <a:pt x="218" y="213"/>
                    </a:cubicBezTo>
                    <a:cubicBezTo>
                      <a:pt x="219" y="213"/>
                      <a:pt x="219" y="213"/>
                      <a:pt x="219" y="213"/>
                    </a:cubicBezTo>
                    <a:cubicBezTo>
                      <a:pt x="219" y="213"/>
                      <a:pt x="219" y="213"/>
                      <a:pt x="219" y="213"/>
                    </a:cubicBezTo>
                    <a:cubicBezTo>
                      <a:pt x="219" y="213"/>
                      <a:pt x="220" y="212"/>
                      <a:pt x="220" y="212"/>
                    </a:cubicBezTo>
                    <a:cubicBezTo>
                      <a:pt x="220" y="212"/>
                      <a:pt x="220" y="213"/>
                      <a:pt x="220" y="213"/>
                    </a:cubicBezTo>
                    <a:cubicBezTo>
                      <a:pt x="220" y="213"/>
                      <a:pt x="220" y="213"/>
                      <a:pt x="221" y="212"/>
                    </a:cubicBezTo>
                    <a:cubicBezTo>
                      <a:pt x="221" y="212"/>
                      <a:pt x="221" y="212"/>
                      <a:pt x="221" y="212"/>
                    </a:cubicBezTo>
                    <a:cubicBezTo>
                      <a:pt x="222" y="212"/>
                      <a:pt x="222" y="212"/>
                      <a:pt x="222" y="212"/>
                    </a:cubicBezTo>
                    <a:cubicBezTo>
                      <a:pt x="222" y="212"/>
                      <a:pt x="222" y="212"/>
                      <a:pt x="222" y="212"/>
                    </a:cubicBezTo>
                    <a:cubicBezTo>
                      <a:pt x="223" y="211"/>
                      <a:pt x="223" y="211"/>
                      <a:pt x="223" y="211"/>
                    </a:cubicBezTo>
                    <a:cubicBezTo>
                      <a:pt x="223" y="211"/>
                      <a:pt x="223" y="211"/>
                      <a:pt x="223" y="211"/>
                    </a:cubicBezTo>
                    <a:cubicBezTo>
                      <a:pt x="223" y="211"/>
                      <a:pt x="223" y="211"/>
                      <a:pt x="223" y="210"/>
                    </a:cubicBezTo>
                    <a:cubicBezTo>
                      <a:pt x="223" y="210"/>
                      <a:pt x="223" y="210"/>
                      <a:pt x="223" y="210"/>
                    </a:cubicBezTo>
                    <a:cubicBezTo>
                      <a:pt x="223" y="210"/>
                      <a:pt x="223" y="210"/>
                      <a:pt x="223" y="209"/>
                    </a:cubicBezTo>
                    <a:cubicBezTo>
                      <a:pt x="223" y="209"/>
                      <a:pt x="222" y="210"/>
                      <a:pt x="222" y="210"/>
                    </a:cubicBezTo>
                    <a:cubicBezTo>
                      <a:pt x="222" y="210"/>
                      <a:pt x="222" y="209"/>
                      <a:pt x="222" y="209"/>
                    </a:cubicBezTo>
                    <a:cubicBezTo>
                      <a:pt x="223" y="209"/>
                      <a:pt x="223" y="209"/>
                      <a:pt x="223" y="209"/>
                    </a:cubicBezTo>
                    <a:cubicBezTo>
                      <a:pt x="224" y="209"/>
                      <a:pt x="224" y="209"/>
                      <a:pt x="224" y="209"/>
                    </a:cubicBezTo>
                    <a:cubicBezTo>
                      <a:pt x="224" y="208"/>
                      <a:pt x="224" y="208"/>
                      <a:pt x="224" y="208"/>
                    </a:cubicBezTo>
                    <a:cubicBezTo>
                      <a:pt x="224" y="208"/>
                      <a:pt x="224" y="208"/>
                      <a:pt x="224" y="208"/>
                    </a:cubicBezTo>
                    <a:cubicBezTo>
                      <a:pt x="224" y="208"/>
                      <a:pt x="224" y="207"/>
                      <a:pt x="224" y="207"/>
                    </a:cubicBezTo>
                    <a:cubicBezTo>
                      <a:pt x="224" y="207"/>
                      <a:pt x="224" y="207"/>
                      <a:pt x="225" y="206"/>
                    </a:cubicBezTo>
                    <a:cubicBezTo>
                      <a:pt x="225" y="206"/>
                      <a:pt x="225" y="206"/>
                      <a:pt x="225" y="206"/>
                    </a:cubicBezTo>
                    <a:cubicBezTo>
                      <a:pt x="225" y="205"/>
                      <a:pt x="226" y="205"/>
                      <a:pt x="226" y="205"/>
                    </a:cubicBezTo>
                    <a:cubicBezTo>
                      <a:pt x="227" y="205"/>
                      <a:pt x="227" y="205"/>
                      <a:pt x="228" y="204"/>
                    </a:cubicBezTo>
                    <a:cubicBezTo>
                      <a:pt x="228" y="204"/>
                      <a:pt x="228" y="203"/>
                      <a:pt x="229" y="203"/>
                    </a:cubicBezTo>
                    <a:cubicBezTo>
                      <a:pt x="229" y="202"/>
                      <a:pt x="229" y="201"/>
                      <a:pt x="228" y="201"/>
                    </a:cubicBezTo>
                    <a:cubicBezTo>
                      <a:pt x="228" y="201"/>
                      <a:pt x="228" y="201"/>
                      <a:pt x="228" y="201"/>
                    </a:cubicBezTo>
                    <a:cubicBezTo>
                      <a:pt x="228" y="201"/>
                      <a:pt x="228" y="200"/>
                      <a:pt x="228" y="200"/>
                    </a:cubicBezTo>
                    <a:cubicBezTo>
                      <a:pt x="227" y="200"/>
                      <a:pt x="227" y="200"/>
                      <a:pt x="227" y="200"/>
                    </a:cubicBezTo>
                    <a:cubicBezTo>
                      <a:pt x="227" y="200"/>
                      <a:pt x="227" y="200"/>
                      <a:pt x="227" y="200"/>
                    </a:cubicBezTo>
                    <a:cubicBezTo>
                      <a:pt x="226" y="200"/>
                      <a:pt x="226" y="200"/>
                      <a:pt x="226" y="200"/>
                    </a:cubicBezTo>
                    <a:cubicBezTo>
                      <a:pt x="226" y="199"/>
                      <a:pt x="226" y="199"/>
                      <a:pt x="226" y="199"/>
                    </a:cubicBezTo>
                    <a:cubicBezTo>
                      <a:pt x="225" y="199"/>
                      <a:pt x="225" y="199"/>
                      <a:pt x="225" y="199"/>
                    </a:cubicBezTo>
                    <a:cubicBezTo>
                      <a:pt x="225" y="199"/>
                      <a:pt x="225" y="200"/>
                      <a:pt x="225" y="200"/>
                    </a:cubicBezTo>
                    <a:cubicBezTo>
                      <a:pt x="225" y="200"/>
                      <a:pt x="224" y="199"/>
                      <a:pt x="224" y="199"/>
                    </a:cubicBezTo>
                    <a:cubicBezTo>
                      <a:pt x="224" y="199"/>
                      <a:pt x="224" y="200"/>
                      <a:pt x="223" y="200"/>
                    </a:cubicBezTo>
                    <a:cubicBezTo>
                      <a:pt x="223" y="200"/>
                      <a:pt x="223" y="200"/>
                      <a:pt x="223" y="200"/>
                    </a:cubicBezTo>
                    <a:cubicBezTo>
                      <a:pt x="223" y="200"/>
                      <a:pt x="223" y="200"/>
                      <a:pt x="223" y="200"/>
                    </a:cubicBezTo>
                    <a:cubicBezTo>
                      <a:pt x="223" y="199"/>
                      <a:pt x="223" y="199"/>
                      <a:pt x="223" y="199"/>
                    </a:cubicBezTo>
                    <a:cubicBezTo>
                      <a:pt x="223" y="199"/>
                      <a:pt x="223" y="199"/>
                      <a:pt x="223" y="199"/>
                    </a:cubicBezTo>
                    <a:cubicBezTo>
                      <a:pt x="223" y="199"/>
                      <a:pt x="223" y="199"/>
                      <a:pt x="223" y="199"/>
                    </a:cubicBezTo>
                    <a:cubicBezTo>
                      <a:pt x="223" y="199"/>
                      <a:pt x="223" y="199"/>
                      <a:pt x="223" y="199"/>
                    </a:cubicBezTo>
                    <a:cubicBezTo>
                      <a:pt x="223" y="199"/>
                      <a:pt x="223" y="199"/>
                      <a:pt x="223" y="198"/>
                    </a:cubicBezTo>
                    <a:cubicBezTo>
                      <a:pt x="223" y="198"/>
                      <a:pt x="223" y="198"/>
                      <a:pt x="223" y="198"/>
                    </a:cubicBezTo>
                    <a:cubicBezTo>
                      <a:pt x="223" y="197"/>
                      <a:pt x="223" y="197"/>
                      <a:pt x="223" y="197"/>
                    </a:cubicBezTo>
                    <a:cubicBezTo>
                      <a:pt x="224" y="196"/>
                      <a:pt x="224" y="196"/>
                      <a:pt x="224" y="196"/>
                    </a:cubicBezTo>
                    <a:cubicBezTo>
                      <a:pt x="224" y="196"/>
                      <a:pt x="224" y="196"/>
                      <a:pt x="224" y="196"/>
                    </a:cubicBezTo>
                    <a:cubicBezTo>
                      <a:pt x="224" y="196"/>
                      <a:pt x="224" y="196"/>
                      <a:pt x="224" y="196"/>
                    </a:cubicBezTo>
                    <a:cubicBezTo>
                      <a:pt x="224" y="196"/>
                      <a:pt x="224" y="196"/>
                      <a:pt x="224" y="195"/>
                    </a:cubicBezTo>
                    <a:cubicBezTo>
                      <a:pt x="224" y="195"/>
                      <a:pt x="224" y="195"/>
                      <a:pt x="225" y="195"/>
                    </a:cubicBezTo>
                    <a:cubicBezTo>
                      <a:pt x="225" y="195"/>
                      <a:pt x="225" y="195"/>
                      <a:pt x="226" y="195"/>
                    </a:cubicBezTo>
                    <a:cubicBezTo>
                      <a:pt x="226" y="195"/>
                      <a:pt x="226" y="194"/>
                      <a:pt x="226" y="194"/>
                    </a:cubicBezTo>
                    <a:cubicBezTo>
                      <a:pt x="226" y="194"/>
                      <a:pt x="226" y="194"/>
                      <a:pt x="226" y="194"/>
                    </a:cubicBezTo>
                    <a:cubicBezTo>
                      <a:pt x="226" y="194"/>
                      <a:pt x="226" y="194"/>
                      <a:pt x="226" y="194"/>
                    </a:cubicBezTo>
                    <a:cubicBezTo>
                      <a:pt x="226" y="194"/>
                      <a:pt x="226" y="194"/>
                      <a:pt x="226" y="193"/>
                    </a:cubicBezTo>
                    <a:cubicBezTo>
                      <a:pt x="226" y="193"/>
                      <a:pt x="226" y="193"/>
                      <a:pt x="226" y="193"/>
                    </a:cubicBezTo>
                    <a:cubicBezTo>
                      <a:pt x="226" y="193"/>
                      <a:pt x="227" y="193"/>
                      <a:pt x="227" y="193"/>
                    </a:cubicBezTo>
                    <a:cubicBezTo>
                      <a:pt x="227" y="193"/>
                      <a:pt x="227" y="193"/>
                      <a:pt x="227" y="193"/>
                    </a:cubicBezTo>
                    <a:cubicBezTo>
                      <a:pt x="227" y="193"/>
                      <a:pt x="227" y="193"/>
                      <a:pt x="227" y="192"/>
                    </a:cubicBezTo>
                    <a:cubicBezTo>
                      <a:pt x="227" y="192"/>
                      <a:pt x="227" y="192"/>
                      <a:pt x="227" y="192"/>
                    </a:cubicBezTo>
                    <a:cubicBezTo>
                      <a:pt x="226" y="192"/>
                      <a:pt x="226" y="192"/>
                      <a:pt x="226" y="192"/>
                    </a:cubicBezTo>
                    <a:cubicBezTo>
                      <a:pt x="226" y="192"/>
                      <a:pt x="226" y="192"/>
                      <a:pt x="226" y="192"/>
                    </a:cubicBezTo>
                    <a:cubicBezTo>
                      <a:pt x="226" y="192"/>
                      <a:pt x="226" y="192"/>
                      <a:pt x="227" y="192"/>
                    </a:cubicBezTo>
                    <a:cubicBezTo>
                      <a:pt x="227" y="192"/>
                      <a:pt x="227" y="192"/>
                      <a:pt x="227" y="192"/>
                    </a:cubicBezTo>
                    <a:cubicBezTo>
                      <a:pt x="227" y="192"/>
                      <a:pt x="227" y="192"/>
                      <a:pt x="227" y="192"/>
                    </a:cubicBezTo>
                    <a:cubicBezTo>
                      <a:pt x="227" y="192"/>
                      <a:pt x="228" y="192"/>
                      <a:pt x="228" y="192"/>
                    </a:cubicBezTo>
                    <a:cubicBezTo>
                      <a:pt x="228" y="192"/>
                      <a:pt x="228" y="192"/>
                      <a:pt x="228" y="192"/>
                    </a:cubicBezTo>
                    <a:cubicBezTo>
                      <a:pt x="228" y="191"/>
                      <a:pt x="228" y="191"/>
                      <a:pt x="228" y="191"/>
                    </a:cubicBezTo>
                    <a:cubicBezTo>
                      <a:pt x="228" y="190"/>
                      <a:pt x="228" y="190"/>
                      <a:pt x="228" y="190"/>
                    </a:cubicBezTo>
                    <a:cubicBezTo>
                      <a:pt x="228" y="190"/>
                      <a:pt x="228" y="190"/>
                      <a:pt x="228" y="190"/>
                    </a:cubicBezTo>
                    <a:cubicBezTo>
                      <a:pt x="228" y="190"/>
                      <a:pt x="228" y="190"/>
                      <a:pt x="228" y="190"/>
                    </a:cubicBezTo>
                    <a:cubicBezTo>
                      <a:pt x="228" y="190"/>
                      <a:pt x="229" y="190"/>
                      <a:pt x="229" y="191"/>
                    </a:cubicBezTo>
                    <a:cubicBezTo>
                      <a:pt x="229" y="191"/>
                      <a:pt x="228" y="191"/>
                      <a:pt x="228" y="191"/>
                    </a:cubicBezTo>
                    <a:cubicBezTo>
                      <a:pt x="228" y="192"/>
                      <a:pt x="228" y="192"/>
                      <a:pt x="228" y="192"/>
                    </a:cubicBezTo>
                    <a:cubicBezTo>
                      <a:pt x="228" y="192"/>
                      <a:pt x="228" y="192"/>
                      <a:pt x="228" y="192"/>
                    </a:cubicBezTo>
                    <a:cubicBezTo>
                      <a:pt x="228" y="192"/>
                      <a:pt x="229" y="192"/>
                      <a:pt x="229" y="192"/>
                    </a:cubicBezTo>
                    <a:cubicBezTo>
                      <a:pt x="229" y="192"/>
                      <a:pt x="229" y="192"/>
                      <a:pt x="229" y="192"/>
                    </a:cubicBezTo>
                    <a:cubicBezTo>
                      <a:pt x="230" y="192"/>
                      <a:pt x="230" y="192"/>
                      <a:pt x="230" y="192"/>
                    </a:cubicBezTo>
                    <a:cubicBezTo>
                      <a:pt x="230" y="192"/>
                      <a:pt x="230" y="191"/>
                      <a:pt x="230" y="191"/>
                    </a:cubicBezTo>
                    <a:cubicBezTo>
                      <a:pt x="230" y="191"/>
                      <a:pt x="231" y="190"/>
                      <a:pt x="231" y="189"/>
                    </a:cubicBezTo>
                    <a:cubicBezTo>
                      <a:pt x="231" y="189"/>
                      <a:pt x="231" y="189"/>
                      <a:pt x="231" y="189"/>
                    </a:cubicBezTo>
                    <a:cubicBezTo>
                      <a:pt x="230" y="189"/>
                      <a:pt x="230" y="189"/>
                      <a:pt x="230" y="189"/>
                    </a:cubicBezTo>
                    <a:cubicBezTo>
                      <a:pt x="230" y="189"/>
                      <a:pt x="230" y="189"/>
                      <a:pt x="230" y="189"/>
                    </a:cubicBezTo>
                    <a:cubicBezTo>
                      <a:pt x="230" y="189"/>
                      <a:pt x="229" y="189"/>
                      <a:pt x="230" y="189"/>
                    </a:cubicBezTo>
                    <a:cubicBezTo>
                      <a:pt x="230" y="189"/>
                      <a:pt x="231" y="189"/>
                      <a:pt x="232" y="189"/>
                    </a:cubicBezTo>
                    <a:cubicBezTo>
                      <a:pt x="232" y="189"/>
                      <a:pt x="232" y="189"/>
                      <a:pt x="233" y="189"/>
                    </a:cubicBezTo>
                    <a:cubicBezTo>
                      <a:pt x="233" y="188"/>
                      <a:pt x="233" y="188"/>
                      <a:pt x="233" y="188"/>
                    </a:cubicBezTo>
                    <a:cubicBezTo>
                      <a:pt x="233" y="188"/>
                      <a:pt x="233" y="187"/>
                      <a:pt x="233" y="187"/>
                    </a:cubicBezTo>
                    <a:cubicBezTo>
                      <a:pt x="233" y="187"/>
                      <a:pt x="234" y="187"/>
                      <a:pt x="234" y="187"/>
                    </a:cubicBezTo>
                    <a:cubicBezTo>
                      <a:pt x="234" y="186"/>
                      <a:pt x="233" y="186"/>
                      <a:pt x="233" y="186"/>
                    </a:cubicBezTo>
                    <a:cubicBezTo>
                      <a:pt x="233" y="185"/>
                      <a:pt x="233" y="185"/>
                      <a:pt x="232" y="185"/>
                    </a:cubicBezTo>
                    <a:cubicBezTo>
                      <a:pt x="232" y="184"/>
                      <a:pt x="232" y="184"/>
                      <a:pt x="232" y="184"/>
                    </a:cubicBezTo>
                    <a:cubicBezTo>
                      <a:pt x="232" y="184"/>
                      <a:pt x="231" y="184"/>
                      <a:pt x="232" y="184"/>
                    </a:cubicBezTo>
                    <a:cubicBezTo>
                      <a:pt x="232" y="184"/>
                      <a:pt x="232" y="184"/>
                      <a:pt x="232" y="184"/>
                    </a:cubicBezTo>
                    <a:cubicBezTo>
                      <a:pt x="232" y="184"/>
                      <a:pt x="232" y="184"/>
                      <a:pt x="232" y="184"/>
                    </a:cubicBezTo>
                    <a:cubicBezTo>
                      <a:pt x="232" y="184"/>
                      <a:pt x="232" y="184"/>
                      <a:pt x="233" y="184"/>
                    </a:cubicBezTo>
                    <a:cubicBezTo>
                      <a:pt x="233" y="184"/>
                      <a:pt x="233" y="184"/>
                      <a:pt x="233" y="184"/>
                    </a:cubicBezTo>
                    <a:cubicBezTo>
                      <a:pt x="233" y="184"/>
                      <a:pt x="233" y="184"/>
                      <a:pt x="234" y="184"/>
                    </a:cubicBezTo>
                    <a:cubicBezTo>
                      <a:pt x="234" y="184"/>
                      <a:pt x="234" y="184"/>
                      <a:pt x="234" y="184"/>
                    </a:cubicBezTo>
                    <a:cubicBezTo>
                      <a:pt x="235" y="184"/>
                      <a:pt x="235" y="183"/>
                      <a:pt x="235" y="183"/>
                    </a:cubicBezTo>
                    <a:cubicBezTo>
                      <a:pt x="235" y="183"/>
                      <a:pt x="235" y="183"/>
                      <a:pt x="235" y="183"/>
                    </a:cubicBezTo>
                    <a:cubicBezTo>
                      <a:pt x="235" y="182"/>
                      <a:pt x="236" y="182"/>
                      <a:pt x="236" y="182"/>
                    </a:cubicBezTo>
                    <a:cubicBezTo>
                      <a:pt x="236" y="182"/>
                      <a:pt x="236" y="182"/>
                      <a:pt x="236" y="182"/>
                    </a:cubicBezTo>
                    <a:cubicBezTo>
                      <a:pt x="236" y="182"/>
                      <a:pt x="236" y="181"/>
                      <a:pt x="236" y="181"/>
                    </a:cubicBezTo>
                    <a:cubicBezTo>
                      <a:pt x="235" y="181"/>
                      <a:pt x="235" y="181"/>
                      <a:pt x="235" y="181"/>
                    </a:cubicBezTo>
                    <a:cubicBezTo>
                      <a:pt x="235" y="181"/>
                      <a:pt x="236" y="180"/>
                      <a:pt x="236" y="180"/>
                    </a:cubicBezTo>
                    <a:cubicBezTo>
                      <a:pt x="236" y="180"/>
                      <a:pt x="237" y="179"/>
                      <a:pt x="238" y="178"/>
                    </a:cubicBezTo>
                    <a:cubicBezTo>
                      <a:pt x="238" y="178"/>
                      <a:pt x="238" y="177"/>
                      <a:pt x="238" y="177"/>
                    </a:cubicBezTo>
                    <a:cubicBezTo>
                      <a:pt x="239" y="177"/>
                      <a:pt x="239" y="177"/>
                      <a:pt x="239" y="178"/>
                    </a:cubicBezTo>
                    <a:cubicBezTo>
                      <a:pt x="240" y="177"/>
                      <a:pt x="240" y="177"/>
                      <a:pt x="239" y="177"/>
                    </a:cubicBezTo>
                    <a:cubicBezTo>
                      <a:pt x="239" y="176"/>
                      <a:pt x="239" y="176"/>
                      <a:pt x="239" y="176"/>
                    </a:cubicBezTo>
                    <a:cubicBezTo>
                      <a:pt x="239" y="175"/>
                      <a:pt x="240" y="174"/>
                      <a:pt x="240" y="174"/>
                    </a:cubicBezTo>
                    <a:cubicBezTo>
                      <a:pt x="241" y="174"/>
                      <a:pt x="242" y="174"/>
                      <a:pt x="242" y="173"/>
                    </a:cubicBezTo>
                    <a:cubicBezTo>
                      <a:pt x="243" y="173"/>
                      <a:pt x="243" y="172"/>
                      <a:pt x="244" y="172"/>
                    </a:cubicBezTo>
                    <a:cubicBezTo>
                      <a:pt x="245" y="171"/>
                      <a:pt x="246" y="171"/>
                      <a:pt x="246" y="170"/>
                    </a:cubicBezTo>
                    <a:cubicBezTo>
                      <a:pt x="247" y="169"/>
                      <a:pt x="247" y="168"/>
                      <a:pt x="247" y="167"/>
                    </a:cubicBezTo>
                    <a:cubicBezTo>
                      <a:pt x="247" y="167"/>
                      <a:pt x="247" y="167"/>
                      <a:pt x="247" y="166"/>
                    </a:cubicBezTo>
                    <a:cubicBezTo>
                      <a:pt x="248" y="167"/>
                      <a:pt x="248" y="167"/>
                      <a:pt x="248" y="168"/>
                    </a:cubicBezTo>
                    <a:cubicBezTo>
                      <a:pt x="248" y="168"/>
                      <a:pt x="248" y="169"/>
                      <a:pt x="248" y="169"/>
                    </a:cubicBezTo>
                    <a:cubicBezTo>
                      <a:pt x="248" y="169"/>
                      <a:pt x="248" y="169"/>
                      <a:pt x="248" y="170"/>
                    </a:cubicBezTo>
                    <a:cubicBezTo>
                      <a:pt x="248" y="170"/>
                      <a:pt x="248" y="170"/>
                      <a:pt x="248" y="170"/>
                    </a:cubicBezTo>
                    <a:cubicBezTo>
                      <a:pt x="249" y="170"/>
                      <a:pt x="249" y="170"/>
                      <a:pt x="249" y="170"/>
                    </a:cubicBezTo>
                    <a:cubicBezTo>
                      <a:pt x="250" y="170"/>
                      <a:pt x="251" y="171"/>
                      <a:pt x="251" y="170"/>
                    </a:cubicBezTo>
                    <a:cubicBezTo>
                      <a:pt x="251" y="170"/>
                      <a:pt x="252" y="170"/>
                      <a:pt x="252" y="169"/>
                    </a:cubicBezTo>
                    <a:cubicBezTo>
                      <a:pt x="252" y="169"/>
                      <a:pt x="252" y="168"/>
                      <a:pt x="253" y="167"/>
                    </a:cubicBezTo>
                    <a:cubicBezTo>
                      <a:pt x="253" y="167"/>
                      <a:pt x="254" y="167"/>
                      <a:pt x="254" y="167"/>
                    </a:cubicBezTo>
                    <a:cubicBezTo>
                      <a:pt x="255" y="167"/>
                      <a:pt x="255" y="167"/>
                      <a:pt x="256" y="167"/>
                    </a:cubicBezTo>
                    <a:cubicBezTo>
                      <a:pt x="256" y="166"/>
                      <a:pt x="257" y="166"/>
                      <a:pt x="257" y="166"/>
                    </a:cubicBezTo>
                    <a:cubicBezTo>
                      <a:pt x="256" y="167"/>
                      <a:pt x="254" y="168"/>
                      <a:pt x="253" y="169"/>
                    </a:cubicBezTo>
                    <a:cubicBezTo>
                      <a:pt x="252" y="170"/>
                      <a:pt x="252" y="170"/>
                      <a:pt x="251" y="171"/>
                    </a:cubicBezTo>
                    <a:cubicBezTo>
                      <a:pt x="251" y="171"/>
                      <a:pt x="251" y="171"/>
                      <a:pt x="251" y="171"/>
                    </a:cubicBezTo>
                    <a:cubicBezTo>
                      <a:pt x="251" y="172"/>
                      <a:pt x="252" y="172"/>
                      <a:pt x="252" y="172"/>
                    </a:cubicBezTo>
                    <a:cubicBezTo>
                      <a:pt x="252" y="173"/>
                      <a:pt x="252" y="173"/>
                      <a:pt x="253" y="173"/>
                    </a:cubicBezTo>
                    <a:cubicBezTo>
                      <a:pt x="253" y="173"/>
                      <a:pt x="253" y="173"/>
                      <a:pt x="254" y="173"/>
                    </a:cubicBezTo>
                    <a:cubicBezTo>
                      <a:pt x="254" y="174"/>
                      <a:pt x="255" y="174"/>
                      <a:pt x="256" y="175"/>
                    </a:cubicBezTo>
                    <a:cubicBezTo>
                      <a:pt x="256" y="174"/>
                      <a:pt x="257" y="175"/>
                      <a:pt x="258" y="176"/>
                    </a:cubicBezTo>
                    <a:cubicBezTo>
                      <a:pt x="256" y="175"/>
                      <a:pt x="254" y="174"/>
                      <a:pt x="253" y="174"/>
                    </a:cubicBezTo>
                    <a:cubicBezTo>
                      <a:pt x="252" y="174"/>
                      <a:pt x="251" y="175"/>
                      <a:pt x="251" y="175"/>
                    </a:cubicBezTo>
                    <a:cubicBezTo>
                      <a:pt x="250" y="175"/>
                      <a:pt x="249" y="174"/>
                      <a:pt x="249" y="174"/>
                    </a:cubicBezTo>
                    <a:cubicBezTo>
                      <a:pt x="249" y="174"/>
                      <a:pt x="249" y="173"/>
                      <a:pt x="249" y="173"/>
                    </a:cubicBezTo>
                    <a:cubicBezTo>
                      <a:pt x="248" y="173"/>
                      <a:pt x="248" y="173"/>
                      <a:pt x="248" y="173"/>
                    </a:cubicBezTo>
                    <a:cubicBezTo>
                      <a:pt x="247" y="174"/>
                      <a:pt x="246" y="174"/>
                      <a:pt x="246" y="175"/>
                    </a:cubicBezTo>
                    <a:cubicBezTo>
                      <a:pt x="245" y="175"/>
                      <a:pt x="245" y="176"/>
                      <a:pt x="245" y="176"/>
                    </a:cubicBezTo>
                    <a:cubicBezTo>
                      <a:pt x="244" y="177"/>
                      <a:pt x="243" y="177"/>
                      <a:pt x="242" y="178"/>
                    </a:cubicBezTo>
                    <a:cubicBezTo>
                      <a:pt x="242" y="178"/>
                      <a:pt x="242" y="178"/>
                      <a:pt x="242" y="178"/>
                    </a:cubicBezTo>
                    <a:cubicBezTo>
                      <a:pt x="242" y="178"/>
                      <a:pt x="242" y="179"/>
                      <a:pt x="242" y="179"/>
                    </a:cubicBezTo>
                    <a:cubicBezTo>
                      <a:pt x="242" y="179"/>
                      <a:pt x="242" y="180"/>
                      <a:pt x="243" y="181"/>
                    </a:cubicBezTo>
                    <a:cubicBezTo>
                      <a:pt x="243" y="181"/>
                      <a:pt x="243" y="181"/>
                      <a:pt x="242" y="182"/>
                    </a:cubicBezTo>
                    <a:cubicBezTo>
                      <a:pt x="242" y="182"/>
                      <a:pt x="242" y="182"/>
                      <a:pt x="242" y="182"/>
                    </a:cubicBezTo>
                    <a:cubicBezTo>
                      <a:pt x="242" y="183"/>
                      <a:pt x="242" y="183"/>
                      <a:pt x="242" y="184"/>
                    </a:cubicBezTo>
                    <a:cubicBezTo>
                      <a:pt x="242" y="184"/>
                      <a:pt x="241" y="185"/>
                      <a:pt x="241" y="185"/>
                    </a:cubicBezTo>
                    <a:cubicBezTo>
                      <a:pt x="240" y="186"/>
                      <a:pt x="240" y="187"/>
                      <a:pt x="240" y="188"/>
                    </a:cubicBezTo>
                    <a:cubicBezTo>
                      <a:pt x="239" y="188"/>
                      <a:pt x="239" y="188"/>
                      <a:pt x="239" y="189"/>
                    </a:cubicBezTo>
                    <a:cubicBezTo>
                      <a:pt x="239" y="189"/>
                      <a:pt x="239" y="190"/>
                      <a:pt x="239" y="190"/>
                    </a:cubicBezTo>
                    <a:cubicBezTo>
                      <a:pt x="239" y="190"/>
                      <a:pt x="239" y="191"/>
                      <a:pt x="239" y="191"/>
                    </a:cubicBezTo>
                    <a:cubicBezTo>
                      <a:pt x="239" y="191"/>
                      <a:pt x="240" y="192"/>
                      <a:pt x="240" y="192"/>
                    </a:cubicBezTo>
                    <a:cubicBezTo>
                      <a:pt x="241" y="192"/>
                      <a:pt x="241" y="192"/>
                      <a:pt x="241" y="192"/>
                    </a:cubicBezTo>
                    <a:cubicBezTo>
                      <a:pt x="241" y="192"/>
                      <a:pt x="242" y="192"/>
                      <a:pt x="242" y="192"/>
                    </a:cubicBezTo>
                    <a:cubicBezTo>
                      <a:pt x="242" y="191"/>
                      <a:pt x="243" y="191"/>
                      <a:pt x="243" y="191"/>
                    </a:cubicBezTo>
                    <a:cubicBezTo>
                      <a:pt x="243" y="190"/>
                      <a:pt x="244" y="190"/>
                      <a:pt x="244" y="190"/>
                    </a:cubicBezTo>
                    <a:cubicBezTo>
                      <a:pt x="244" y="190"/>
                      <a:pt x="244" y="190"/>
                      <a:pt x="244" y="190"/>
                    </a:cubicBezTo>
                    <a:cubicBezTo>
                      <a:pt x="244" y="191"/>
                      <a:pt x="244" y="191"/>
                      <a:pt x="243" y="192"/>
                    </a:cubicBezTo>
                    <a:cubicBezTo>
                      <a:pt x="243" y="192"/>
                      <a:pt x="243" y="192"/>
                      <a:pt x="243" y="192"/>
                    </a:cubicBezTo>
                    <a:cubicBezTo>
                      <a:pt x="243" y="192"/>
                      <a:pt x="243" y="192"/>
                      <a:pt x="243" y="192"/>
                    </a:cubicBezTo>
                    <a:cubicBezTo>
                      <a:pt x="243" y="192"/>
                      <a:pt x="243" y="192"/>
                      <a:pt x="243" y="192"/>
                    </a:cubicBezTo>
                    <a:cubicBezTo>
                      <a:pt x="243" y="192"/>
                      <a:pt x="243" y="192"/>
                      <a:pt x="244" y="193"/>
                    </a:cubicBezTo>
                    <a:cubicBezTo>
                      <a:pt x="243" y="193"/>
                      <a:pt x="243" y="193"/>
                      <a:pt x="243" y="193"/>
                    </a:cubicBezTo>
                    <a:cubicBezTo>
                      <a:pt x="243" y="193"/>
                      <a:pt x="242" y="193"/>
                      <a:pt x="242" y="193"/>
                    </a:cubicBezTo>
                    <a:cubicBezTo>
                      <a:pt x="242" y="193"/>
                      <a:pt x="242" y="193"/>
                      <a:pt x="242" y="193"/>
                    </a:cubicBezTo>
                    <a:cubicBezTo>
                      <a:pt x="242" y="193"/>
                      <a:pt x="241" y="193"/>
                      <a:pt x="241" y="193"/>
                    </a:cubicBezTo>
                    <a:cubicBezTo>
                      <a:pt x="241" y="194"/>
                      <a:pt x="241" y="194"/>
                      <a:pt x="242" y="194"/>
                    </a:cubicBezTo>
                    <a:cubicBezTo>
                      <a:pt x="242" y="194"/>
                      <a:pt x="241" y="194"/>
                      <a:pt x="241" y="194"/>
                    </a:cubicBezTo>
                    <a:cubicBezTo>
                      <a:pt x="241" y="195"/>
                      <a:pt x="241" y="194"/>
                      <a:pt x="240" y="194"/>
                    </a:cubicBezTo>
                    <a:cubicBezTo>
                      <a:pt x="240" y="194"/>
                      <a:pt x="240" y="194"/>
                      <a:pt x="240" y="195"/>
                    </a:cubicBezTo>
                    <a:cubicBezTo>
                      <a:pt x="239" y="195"/>
                      <a:pt x="239" y="195"/>
                      <a:pt x="239" y="194"/>
                    </a:cubicBezTo>
                    <a:cubicBezTo>
                      <a:pt x="239" y="195"/>
                      <a:pt x="239" y="195"/>
                      <a:pt x="239" y="195"/>
                    </a:cubicBezTo>
                    <a:cubicBezTo>
                      <a:pt x="239" y="195"/>
                      <a:pt x="238" y="195"/>
                      <a:pt x="238" y="195"/>
                    </a:cubicBezTo>
                    <a:cubicBezTo>
                      <a:pt x="238" y="195"/>
                      <a:pt x="238" y="195"/>
                      <a:pt x="238" y="195"/>
                    </a:cubicBezTo>
                    <a:cubicBezTo>
                      <a:pt x="238" y="195"/>
                      <a:pt x="239" y="195"/>
                      <a:pt x="239" y="195"/>
                    </a:cubicBezTo>
                    <a:cubicBezTo>
                      <a:pt x="239" y="195"/>
                      <a:pt x="239" y="196"/>
                      <a:pt x="238" y="196"/>
                    </a:cubicBezTo>
                    <a:cubicBezTo>
                      <a:pt x="238" y="196"/>
                      <a:pt x="238" y="196"/>
                      <a:pt x="238" y="196"/>
                    </a:cubicBezTo>
                    <a:cubicBezTo>
                      <a:pt x="238" y="196"/>
                      <a:pt x="238" y="196"/>
                      <a:pt x="238" y="196"/>
                    </a:cubicBezTo>
                    <a:cubicBezTo>
                      <a:pt x="238" y="196"/>
                      <a:pt x="238" y="196"/>
                      <a:pt x="238" y="197"/>
                    </a:cubicBezTo>
                    <a:cubicBezTo>
                      <a:pt x="238" y="197"/>
                      <a:pt x="238" y="197"/>
                      <a:pt x="238" y="197"/>
                    </a:cubicBezTo>
                    <a:cubicBezTo>
                      <a:pt x="238" y="197"/>
                      <a:pt x="238" y="197"/>
                      <a:pt x="238" y="197"/>
                    </a:cubicBezTo>
                    <a:cubicBezTo>
                      <a:pt x="238" y="198"/>
                      <a:pt x="239" y="198"/>
                      <a:pt x="239" y="198"/>
                    </a:cubicBezTo>
                    <a:cubicBezTo>
                      <a:pt x="239" y="198"/>
                      <a:pt x="239" y="198"/>
                      <a:pt x="239" y="198"/>
                    </a:cubicBezTo>
                    <a:cubicBezTo>
                      <a:pt x="239" y="198"/>
                      <a:pt x="239" y="198"/>
                      <a:pt x="239" y="198"/>
                    </a:cubicBezTo>
                    <a:cubicBezTo>
                      <a:pt x="239" y="198"/>
                      <a:pt x="240" y="198"/>
                      <a:pt x="240" y="198"/>
                    </a:cubicBezTo>
                    <a:cubicBezTo>
                      <a:pt x="240" y="198"/>
                      <a:pt x="240" y="198"/>
                      <a:pt x="240" y="198"/>
                    </a:cubicBezTo>
                    <a:cubicBezTo>
                      <a:pt x="240" y="198"/>
                      <a:pt x="240" y="198"/>
                      <a:pt x="241" y="198"/>
                    </a:cubicBezTo>
                    <a:cubicBezTo>
                      <a:pt x="241" y="198"/>
                      <a:pt x="241" y="198"/>
                      <a:pt x="241" y="198"/>
                    </a:cubicBezTo>
                    <a:cubicBezTo>
                      <a:pt x="241" y="198"/>
                      <a:pt x="241" y="197"/>
                      <a:pt x="242" y="197"/>
                    </a:cubicBezTo>
                    <a:cubicBezTo>
                      <a:pt x="242" y="197"/>
                      <a:pt x="242" y="197"/>
                      <a:pt x="242" y="198"/>
                    </a:cubicBezTo>
                    <a:cubicBezTo>
                      <a:pt x="242" y="198"/>
                      <a:pt x="242" y="198"/>
                      <a:pt x="243" y="198"/>
                    </a:cubicBezTo>
                    <a:cubicBezTo>
                      <a:pt x="243" y="198"/>
                      <a:pt x="243" y="198"/>
                      <a:pt x="243" y="198"/>
                    </a:cubicBezTo>
                    <a:cubicBezTo>
                      <a:pt x="244" y="198"/>
                      <a:pt x="244" y="197"/>
                      <a:pt x="244" y="197"/>
                    </a:cubicBezTo>
                    <a:cubicBezTo>
                      <a:pt x="244" y="197"/>
                      <a:pt x="244" y="197"/>
                      <a:pt x="244" y="197"/>
                    </a:cubicBezTo>
                    <a:cubicBezTo>
                      <a:pt x="244" y="197"/>
                      <a:pt x="244" y="197"/>
                      <a:pt x="244" y="197"/>
                    </a:cubicBezTo>
                    <a:cubicBezTo>
                      <a:pt x="243" y="197"/>
                      <a:pt x="243" y="197"/>
                      <a:pt x="243" y="197"/>
                    </a:cubicBezTo>
                    <a:cubicBezTo>
                      <a:pt x="243" y="197"/>
                      <a:pt x="243" y="197"/>
                      <a:pt x="242" y="197"/>
                    </a:cubicBezTo>
                    <a:cubicBezTo>
                      <a:pt x="242" y="197"/>
                      <a:pt x="242" y="196"/>
                      <a:pt x="242" y="196"/>
                    </a:cubicBezTo>
                    <a:cubicBezTo>
                      <a:pt x="243" y="196"/>
                      <a:pt x="244" y="197"/>
                      <a:pt x="244" y="197"/>
                    </a:cubicBezTo>
                    <a:cubicBezTo>
                      <a:pt x="244" y="197"/>
                      <a:pt x="244" y="197"/>
                      <a:pt x="244" y="197"/>
                    </a:cubicBezTo>
                    <a:cubicBezTo>
                      <a:pt x="244" y="197"/>
                      <a:pt x="244" y="197"/>
                      <a:pt x="244" y="197"/>
                    </a:cubicBezTo>
                    <a:cubicBezTo>
                      <a:pt x="244" y="197"/>
                      <a:pt x="244" y="197"/>
                      <a:pt x="244" y="197"/>
                    </a:cubicBezTo>
                    <a:cubicBezTo>
                      <a:pt x="245" y="197"/>
                      <a:pt x="245" y="197"/>
                      <a:pt x="245" y="197"/>
                    </a:cubicBezTo>
                    <a:cubicBezTo>
                      <a:pt x="245" y="197"/>
                      <a:pt x="245" y="197"/>
                      <a:pt x="245" y="197"/>
                    </a:cubicBezTo>
                    <a:cubicBezTo>
                      <a:pt x="245" y="197"/>
                      <a:pt x="245" y="197"/>
                      <a:pt x="245" y="197"/>
                    </a:cubicBezTo>
                    <a:cubicBezTo>
                      <a:pt x="245" y="196"/>
                      <a:pt x="245" y="196"/>
                      <a:pt x="245" y="196"/>
                    </a:cubicBezTo>
                    <a:cubicBezTo>
                      <a:pt x="245" y="196"/>
                      <a:pt x="245" y="196"/>
                      <a:pt x="245" y="196"/>
                    </a:cubicBezTo>
                    <a:cubicBezTo>
                      <a:pt x="246" y="196"/>
                      <a:pt x="246" y="196"/>
                      <a:pt x="246" y="195"/>
                    </a:cubicBezTo>
                    <a:cubicBezTo>
                      <a:pt x="246" y="195"/>
                      <a:pt x="246" y="195"/>
                      <a:pt x="246" y="195"/>
                    </a:cubicBezTo>
                    <a:cubicBezTo>
                      <a:pt x="246" y="195"/>
                      <a:pt x="247" y="195"/>
                      <a:pt x="247" y="195"/>
                    </a:cubicBezTo>
                    <a:cubicBezTo>
                      <a:pt x="247" y="194"/>
                      <a:pt x="247" y="194"/>
                      <a:pt x="247" y="194"/>
                    </a:cubicBezTo>
                    <a:cubicBezTo>
                      <a:pt x="247" y="194"/>
                      <a:pt x="247" y="193"/>
                      <a:pt x="247" y="193"/>
                    </a:cubicBezTo>
                    <a:cubicBezTo>
                      <a:pt x="247" y="193"/>
                      <a:pt x="247" y="193"/>
                      <a:pt x="248" y="193"/>
                    </a:cubicBezTo>
                    <a:cubicBezTo>
                      <a:pt x="248" y="193"/>
                      <a:pt x="248" y="193"/>
                      <a:pt x="248" y="194"/>
                    </a:cubicBezTo>
                    <a:cubicBezTo>
                      <a:pt x="248" y="194"/>
                      <a:pt x="248" y="194"/>
                      <a:pt x="248" y="194"/>
                    </a:cubicBezTo>
                    <a:cubicBezTo>
                      <a:pt x="248" y="194"/>
                      <a:pt x="248" y="194"/>
                      <a:pt x="248" y="193"/>
                    </a:cubicBezTo>
                    <a:cubicBezTo>
                      <a:pt x="248" y="193"/>
                      <a:pt x="248" y="193"/>
                      <a:pt x="249" y="193"/>
                    </a:cubicBezTo>
                    <a:cubicBezTo>
                      <a:pt x="249" y="192"/>
                      <a:pt x="249" y="192"/>
                      <a:pt x="249" y="192"/>
                    </a:cubicBezTo>
                    <a:cubicBezTo>
                      <a:pt x="249" y="191"/>
                      <a:pt x="249" y="191"/>
                      <a:pt x="250" y="191"/>
                    </a:cubicBezTo>
                    <a:cubicBezTo>
                      <a:pt x="249" y="192"/>
                      <a:pt x="249" y="193"/>
                      <a:pt x="249" y="194"/>
                    </a:cubicBezTo>
                    <a:cubicBezTo>
                      <a:pt x="248" y="194"/>
                      <a:pt x="248" y="194"/>
                      <a:pt x="248" y="195"/>
                    </a:cubicBezTo>
                    <a:cubicBezTo>
                      <a:pt x="248" y="195"/>
                      <a:pt x="249" y="195"/>
                      <a:pt x="249" y="195"/>
                    </a:cubicBezTo>
                    <a:cubicBezTo>
                      <a:pt x="249" y="195"/>
                      <a:pt x="249" y="194"/>
                      <a:pt x="249" y="194"/>
                    </a:cubicBezTo>
                    <a:cubicBezTo>
                      <a:pt x="249" y="194"/>
                      <a:pt x="249" y="194"/>
                      <a:pt x="249" y="194"/>
                    </a:cubicBezTo>
                    <a:cubicBezTo>
                      <a:pt x="249" y="194"/>
                      <a:pt x="250" y="193"/>
                      <a:pt x="250" y="193"/>
                    </a:cubicBezTo>
                    <a:cubicBezTo>
                      <a:pt x="250" y="193"/>
                      <a:pt x="250" y="193"/>
                      <a:pt x="250" y="193"/>
                    </a:cubicBezTo>
                    <a:cubicBezTo>
                      <a:pt x="250" y="193"/>
                      <a:pt x="250" y="193"/>
                      <a:pt x="250" y="193"/>
                    </a:cubicBezTo>
                    <a:cubicBezTo>
                      <a:pt x="250" y="193"/>
                      <a:pt x="250" y="192"/>
                      <a:pt x="251" y="192"/>
                    </a:cubicBezTo>
                    <a:cubicBezTo>
                      <a:pt x="251" y="192"/>
                      <a:pt x="251" y="192"/>
                      <a:pt x="251" y="192"/>
                    </a:cubicBezTo>
                    <a:cubicBezTo>
                      <a:pt x="251" y="192"/>
                      <a:pt x="251" y="192"/>
                      <a:pt x="252" y="192"/>
                    </a:cubicBezTo>
                    <a:cubicBezTo>
                      <a:pt x="252" y="191"/>
                      <a:pt x="251" y="191"/>
                      <a:pt x="251" y="191"/>
                    </a:cubicBezTo>
                    <a:cubicBezTo>
                      <a:pt x="251" y="191"/>
                      <a:pt x="251" y="191"/>
                      <a:pt x="251" y="191"/>
                    </a:cubicBezTo>
                    <a:cubicBezTo>
                      <a:pt x="251" y="191"/>
                      <a:pt x="251" y="191"/>
                      <a:pt x="251" y="190"/>
                    </a:cubicBezTo>
                    <a:cubicBezTo>
                      <a:pt x="251" y="190"/>
                      <a:pt x="251" y="190"/>
                      <a:pt x="251" y="190"/>
                    </a:cubicBezTo>
                    <a:cubicBezTo>
                      <a:pt x="251" y="190"/>
                      <a:pt x="252" y="190"/>
                      <a:pt x="252" y="190"/>
                    </a:cubicBezTo>
                    <a:cubicBezTo>
                      <a:pt x="252" y="191"/>
                      <a:pt x="252" y="191"/>
                      <a:pt x="252" y="191"/>
                    </a:cubicBezTo>
                    <a:cubicBezTo>
                      <a:pt x="252" y="191"/>
                      <a:pt x="252" y="191"/>
                      <a:pt x="252" y="191"/>
                    </a:cubicBezTo>
                    <a:cubicBezTo>
                      <a:pt x="252" y="191"/>
                      <a:pt x="253" y="191"/>
                      <a:pt x="253" y="191"/>
                    </a:cubicBezTo>
                    <a:cubicBezTo>
                      <a:pt x="253" y="191"/>
                      <a:pt x="253" y="190"/>
                      <a:pt x="253" y="190"/>
                    </a:cubicBezTo>
                    <a:cubicBezTo>
                      <a:pt x="253" y="190"/>
                      <a:pt x="252" y="190"/>
                      <a:pt x="252" y="190"/>
                    </a:cubicBezTo>
                    <a:cubicBezTo>
                      <a:pt x="252" y="190"/>
                      <a:pt x="252" y="190"/>
                      <a:pt x="253" y="190"/>
                    </a:cubicBezTo>
                    <a:cubicBezTo>
                      <a:pt x="253" y="189"/>
                      <a:pt x="253" y="189"/>
                      <a:pt x="253" y="189"/>
                    </a:cubicBezTo>
                    <a:cubicBezTo>
                      <a:pt x="252" y="188"/>
                      <a:pt x="252" y="188"/>
                      <a:pt x="253" y="188"/>
                    </a:cubicBezTo>
                    <a:cubicBezTo>
                      <a:pt x="253" y="188"/>
                      <a:pt x="253" y="188"/>
                      <a:pt x="253" y="188"/>
                    </a:cubicBezTo>
                    <a:cubicBezTo>
                      <a:pt x="253" y="189"/>
                      <a:pt x="253" y="189"/>
                      <a:pt x="253" y="189"/>
                    </a:cubicBezTo>
                    <a:cubicBezTo>
                      <a:pt x="253" y="189"/>
                      <a:pt x="253" y="190"/>
                      <a:pt x="253" y="190"/>
                    </a:cubicBezTo>
                    <a:cubicBezTo>
                      <a:pt x="253" y="190"/>
                      <a:pt x="254" y="190"/>
                      <a:pt x="254" y="190"/>
                    </a:cubicBezTo>
                    <a:cubicBezTo>
                      <a:pt x="254" y="190"/>
                      <a:pt x="254" y="190"/>
                      <a:pt x="254" y="189"/>
                    </a:cubicBezTo>
                    <a:cubicBezTo>
                      <a:pt x="254" y="189"/>
                      <a:pt x="254" y="189"/>
                      <a:pt x="254" y="189"/>
                    </a:cubicBezTo>
                    <a:cubicBezTo>
                      <a:pt x="254" y="189"/>
                      <a:pt x="254" y="188"/>
                      <a:pt x="254" y="188"/>
                    </a:cubicBezTo>
                    <a:cubicBezTo>
                      <a:pt x="254" y="188"/>
                      <a:pt x="254" y="188"/>
                      <a:pt x="254" y="188"/>
                    </a:cubicBezTo>
                    <a:cubicBezTo>
                      <a:pt x="254" y="188"/>
                      <a:pt x="254" y="188"/>
                      <a:pt x="254" y="188"/>
                    </a:cubicBezTo>
                    <a:cubicBezTo>
                      <a:pt x="255" y="188"/>
                      <a:pt x="255" y="188"/>
                      <a:pt x="255" y="188"/>
                    </a:cubicBezTo>
                    <a:cubicBezTo>
                      <a:pt x="255" y="188"/>
                      <a:pt x="255" y="187"/>
                      <a:pt x="255" y="187"/>
                    </a:cubicBezTo>
                    <a:cubicBezTo>
                      <a:pt x="255" y="187"/>
                      <a:pt x="255" y="187"/>
                      <a:pt x="255" y="186"/>
                    </a:cubicBezTo>
                    <a:cubicBezTo>
                      <a:pt x="255" y="186"/>
                      <a:pt x="255" y="186"/>
                      <a:pt x="255" y="186"/>
                    </a:cubicBezTo>
                    <a:cubicBezTo>
                      <a:pt x="255" y="186"/>
                      <a:pt x="255" y="186"/>
                      <a:pt x="255" y="186"/>
                    </a:cubicBezTo>
                    <a:cubicBezTo>
                      <a:pt x="255" y="186"/>
                      <a:pt x="255" y="186"/>
                      <a:pt x="255" y="186"/>
                    </a:cubicBezTo>
                    <a:cubicBezTo>
                      <a:pt x="255" y="187"/>
                      <a:pt x="255" y="187"/>
                      <a:pt x="255" y="188"/>
                    </a:cubicBezTo>
                    <a:cubicBezTo>
                      <a:pt x="255" y="188"/>
                      <a:pt x="255" y="188"/>
                      <a:pt x="256" y="188"/>
                    </a:cubicBezTo>
                    <a:cubicBezTo>
                      <a:pt x="256" y="189"/>
                      <a:pt x="256" y="189"/>
                      <a:pt x="256" y="189"/>
                    </a:cubicBezTo>
                    <a:cubicBezTo>
                      <a:pt x="256" y="188"/>
                      <a:pt x="256" y="188"/>
                      <a:pt x="256" y="187"/>
                    </a:cubicBezTo>
                    <a:cubicBezTo>
                      <a:pt x="256" y="187"/>
                      <a:pt x="256" y="187"/>
                      <a:pt x="256" y="187"/>
                    </a:cubicBezTo>
                    <a:cubicBezTo>
                      <a:pt x="257" y="187"/>
                      <a:pt x="257" y="187"/>
                      <a:pt x="257" y="187"/>
                    </a:cubicBezTo>
                    <a:cubicBezTo>
                      <a:pt x="257" y="187"/>
                      <a:pt x="257" y="187"/>
                      <a:pt x="257" y="187"/>
                    </a:cubicBezTo>
                    <a:cubicBezTo>
                      <a:pt x="257" y="188"/>
                      <a:pt x="258" y="188"/>
                      <a:pt x="258" y="188"/>
                    </a:cubicBezTo>
                    <a:cubicBezTo>
                      <a:pt x="258" y="188"/>
                      <a:pt x="258" y="188"/>
                      <a:pt x="259" y="188"/>
                    </a:cubicBezTo>
                    <a:cubicBezTo>
                      <a:pt x="259" y="188"/>
                      <a:pt x="259" y="188"/>
                      <a:pt x="259" y="188"/>
                    </a:cubicBezTo>
                    <a:cubicBezTo>
                      <a:pt x="259" y="188"/>
                      <a:pt x="259" y="188"/>
                      <a:pt x="260" y="188"/>
                    </a:cubicBezTo>
                    <a:cubicBezTo>
                      <a:pt x="260" y="188"/>
                      <a:pt x="260" y="188"/>
                      <a:pt x="260" y="188"/>
                    </a:cubicBezTo>
                    <a:cubicBezTo>
                      <a:pt x="260" y="188"/>
                      <a:pt x="260" y="188"/>
                      <a:pt x="260" y="188"/>
                    </a:cubicBezTo>
                    <a:cubicBezTo>
                      <a:pt x="260" y="188"/>
                      <a:pt x="260" y="188"/>
                      <a:pt x="260" y="187"/>
                    </a:cubicBezTo>
                    <a:cubicBezTo>
                      <a:pt x="260" y="187"/>
                      <a:pt x="261" y="187"/>
                      <a:pt x="261" y="187"/>
                    </a:cubicBezTo>
                    <a:cubicBezTo>
                      <a:pt x="261" y="187"/>
                      <a:pt x="261" y="187"/>
                      <a:pt x="261" y="188"/>
                    </a:cubicBezTo>
                    <a:cubicBezTo>
                      <a:pt x="261" y="188"/>
                      <a:pt x="261" y="188"/>
                      <a:pt x="261" y="188"/>
                    </a:cubicBezTo>
                    <a:cubicBezTo>
                      <a:pt x="261" y="188"/>
                      <a:pt x="262" y="188"/>
                      <a:pt x="262" y="188"/>
                    </a:cubicBezTo>
                    <a:cubicBezTo>
                      <a:pt x="262" y="187"/>
                      <a:pt x="262" y="187"/>
                      <a:pt x="262" y="187"/>
                    </a:cubicBezTo>
                    <a:cubicBezTo>
                      <a:pt x="262" y="186"/>
                      <a:pt x="262" y="186"/>
                      <a:pt x="262" y="186"/>
                    </a:cubicBezTo>
                    <a:cubicBezTo>
                      <a:pt x="262" y="185"/>
                      <a:pt x="262" y="185"/>
                      <a:pt x="262" y="185"/>
                    </a:cubicBezTo>
                    <a:cubicBezTo>
                      <a:pt x="262" y="185"/>
                      <a:pt x="262" y="186"/>
                      <a:pt x="263" y="186"/>
                    </a:cubicBezTo>
                    <a:cubicBezTo>
                      <a:pt x="263" y="186"/>
                      <a:pt x="263" y="186"/>
                      <a:pt x="263" y="186"/>
                    </a:cubicBezTo>
                    <a:cubicBezTo>
                      <a:pt x="263" y="186"/>
                      <a:pt x="263" y="187"/>
                      <a:pt x="263" y="187"/>
                    </a:cubicBezTo>
                    <a:cubicBezTo>
                      <a:pt x="263" y="187"/>
                      <a:pt x="263" y="187"/>
                      <a:pt x="264" y="187"/>
                    </a:cubicBezTo>
                    <a:cubicBezTo>
                      <a:pt x="264" y="187"/>
                      <a:pt x="264" y="187"/>
                      <a:pt x="264" y="187"/>
                    </a:cubicBezTo>
                    <a:cubicBezTo>
                      <a:pt x="264" y="187"/>
                      <a:pt x="264" y="187"/>
                      <a:pt x="264" y="187"/>
                    </a:cubicBezTo>
                    <a:cubicBezTo>
                      <a:pt x="264" y="187"/>
                      <a:pt x="264" y="186"/>
                      <a:pt x="264" y="186"/>
                    </a:cubicBezTo>
                    <a:cubicBezTo>
                      <a:pt x="264" y="186"/>
                      <a:pt x="265" y="186"/>
                      <a:pt x="265" y="186"/>
                    </a:cubicBezTo>
                    <a:cubicBezTo>
                      <a:pt x="265" y="186"/>
                      <a:pt x="265" y="185"/>
                      <a:pt x="265" y="185"/>
                    </a:cubicBezTo>
                    <a:cubicBezTo>
                      <a:pt x="265" y="186"/>
                      <a:pt x="265" y="186"/>
                      <a:pt x="264" y="186"/>
                    </a:cubicBezTo>
                    <a:cubicBezTo>
                      <a:pt x="264" y="186"/>
                      <a:pt x="264" y="186"/>
                      <a:pt x="264" y="186"/>
                    </a:cubicBezTo>
                    <a:cubicBezTo>
                      <a:pt x="264" y="186"/>
                      <a:pt x="264" y="186"/>
                      <a:pt x="264" y="186"/>
                    </a:cubicBezTo>
                    <a:cubicBezTo>
                      <a:pt x="264" y="186"/>
                      <a:pt x="264" y="186"/>
                      <a:pt x="264" y="186"/>
                    </a:cubicBezTo>
                    <a:cubicBezTo>
                      <a:pt x="264" y="185"/>
                      <a:pt x="264" y="185"/>
                      <a:pt x="264" y="185"/>
                    </a:cubicBezTo>
                    <a:cubicBezTo>
                      <a:pt x="264" y="185"/>
                      <a:pt x="264" y="185"/>
                      <a:pt x="264" y="185"/>
                    </a:cubicBezTo>
                    <a:cubicBezTo>
                      <a:pt x="264" y="185"/>
                      <a:pt x="264" y="185"/>
                      <a:pt x="264" y="185"/>
                    </a:cubicBezTo>
                    <a:cubicBezTo>
                      <a:pt x="264" y="185"/>
                      <a:pt x="264" y="184"/>
                      <a:pt x="264" y="185"/>
                    </a:cubicBezTo>
                    <a:cubicBezTo>
                      <a:pt x="263" y="185"/>
                      <a:pt x="263" y="185"/>
                      <a:pt x="263" y="185"/>
                    </a:cubicBezTo>
                    <a:cubicBezTo>
                      <a:pt x="263" y="185"/>
                      <a:pt x="263" y="184"/>
                      <a:pt x="263" y="184"/>
                    </a:cubicBezTo>
                    <a:cubicBezTo>
                      <a:pt x="263" y="184"/>
                      <a:pt x="263" y="184"/>
                      <a:pt x="262" y="184"/>
                    </a:cubicBezTo>
                    <a:cubicBezTo>
                      <a:pt x="262" y="184"/>
                      <a:pt x="262" y="185"/>
                      <a:pt x="262" y="184"/>
                    </a:cubicBezTo>
                    <a:cubicBezTo>
                      <a:pt x="262" y="184"/>
                      <a:pt x="262" y="184"/>
                      <a:pt x="262" y="184"/>
                    </a:cubicBezTo>
                    <a:cubicBezTo>
                      <a:pt x="262" y="184"/>
                      <a:pt x="262" y="184"/>
                      <a:pt x="262" y="184"/>
                    </a:cubicBezTo>
                    <a:cubicBezTo>
                      <a:pt x="262" y="184"/>
                      <a:pt x="262" y="184"/>
                      <a:pt x="262" y="184"/>
                    </a:cubicBezTo>
                    <a:cubicBezTo>
                      <a:pt x="262" y="183"/>
                      <a:pt x="262" y="183"/>
                      <a:pt x="262" y="183"/>
                    </a:cubicBezTo>
                    <a:cubicBezTo>
                      <a:pt x="262" y="184"/>
                      <a:pt x="263" y="183"/>
                      <a:pt x="263" y="183"/>
                    </a:cubicBezTo>
                    <a:cubicBezTo>
                      <a:pt x="263" y="183"/>
                      <a:pt x="264" y="183"/>
                      <a:pt x="264" y="183"/>
                    </a:cubicBezTo>
                    <a:cubicBezTo>
                      <a:pt x="264" y="183"/>
                      <a:pt x="264" y="182"/>
                      <a:pt x="264" y="182"/>
                    </a:cubicBezTo>
                    <a:cubicBezTo>
                      <a:pt x="264" y="182"/>
                      <a:pt x="264" y="182"/>
                      <a:pt x="265" y="182"/>
                    </a:cubicBezTo>
                    <a:cubicBezTo>
                      <a:pt x="265" y="182"/>
                      <a:pt x="265" y="181"/>
                      <a:pt x="265" y="181"/>
                    </a:cubicBezTo>
                    <a:cubicBezTo>
                      <a:pt x="265" y="181"/>
                      <a:pt x="265" y="181"/>
                      <a:pt x="265" y="181"/>
                    </a:cubicBezTo>
                    <a:cubicBezTo>
                      <a:pt x="264" y="181"/>
                      <a:pt x="264" y="181"/>
                      <a:pt x="264" y="180"/>
                    </a:cubicBezTo>
                    <a:cubicBezTo>
                      <a:pt x="265" y="180"/>
                      <a:pt x="265" y="180"/>
                      <a:pt x="264" y="180"/>
                    </a:cubicBezTo>
                    <a:cubicBezTo>
                      <a:pt x="264" y="180"/>
                      <a:pt x="264" y="180"/>
                      <a:pt x="264" y="180"/>
                    </a:cubicBezTo>
                    <a:cubicBezTo>
                      <a:pt x="264" y="180"/>
                      <a:pt x="264" y="180"/>
                      <a:pt x="264" y="180"/>
                    </a:cubicBezTo>
                    <a:cubicBezTo>
                      <a:pt x="264" y="179"/>
                      <a:pt x="264" y="179"/>
                      <a:pt x="264" y="179"/>
                    </a:cubicBezTo>
                    <a:cubicBezTo>
                      <a:pt x="264" y="179"/>
                      <a:pt x="264" y="179"/>
                      <a:pt x="263" y="180"/>
                    </a:cubicBezTo>
                    <a:cubicBezTo>
                      <a:pt x="263" y="180"/>
                      <a:pt x="263" y="180"/>
                      <a:pt x="263" y="180"/>
                    </a:cubicBezTo>
                    <a:cubicBezTo>
                      <a:pt x="263" y="180"/>
                      <a:pt x="263" y="181"/>
                      <a:pt x="262" y="181"/>
                    </a:cubicBezTo>
                    <a:cubicBezTo>
                      <a:pt x="262" y="181"/>
                      <a:pt x="262" y="180"/>
                      <a:pt x="262" y="180"/>
                    </a:cubicBezTo>
                    <a:cubicBezTo>
                      <a:pt x="261" y="180"/>
                      <a:pt x="261" y="180"/>
                      <a:pt x="261" y="180"/>
                    </a:cubicBezTo>
                    <a:cubicBezTo>
                      <a:pt x="261" y="180"/>
                      <a:pt x="261" y="181"/>
                      <a:pt x="260" y="181"/>
                    </a:cubicBezTo>
                    <a:cubicBezTo>
                      <a:pt x="260" y="181"/>
                      <a:pt x="260" y="181"/>
                      <a:pt x="259" y="181"/>
                    </a:cubicBezTo>
                    <a:cubicBezTo>
                      <a:pt x="259" y="181"/>
                      <a:pt x="260" y="181"/>
                      <a:pt x="260" y="181"/>
                    </a:cubicBezTo>
                    <a:cubicBezTo>
                      <a:pt x="260" y="180"/>
                      <a:pt x="261" y="180"/>
                      <a:pt x="261" y="180"/>
                    </a:cubicBezTo>
                    <a:cubicBezTo>
                      <a:pt x="261" y="179"/>
                      <a:pt x="261" y="179"/>
                      <a:pt x="261" y="180"/>
                    </a:cubicBezTo>
                    <a:cubicBezTo>
                      <a:pt x="262" y="180"/>
                      <a:pt x="262" y="180"/>
                      <a:pt x="262" y="180"/>
                    </a:cubicBezTo>
                    <a:cubicBezTo>
                      <a:pt x="262" y="180"/>
                      <a:pt x="262" y="180"/>
                      <a:pt x="262" y="180"/>
                    </a:cubicBezTo>
                    <a:cubicBezTo>
                      <a:pt x="262" y="180"/>
                      <a:pt x="262" y="180"/>
                      <a:pt x="262" y="180"/>
                    </a:cubicBezTo>
                    <a:cubicBezTo>
                      <a:pt x="263" y="179"/>
                      <a:pt x="263" y="179"/>
                      <a:pt x="263" y="179"/>
                    </a:cubicBezTo>
                    <a:cubicBezTo>
                      <a:pt x="263" y="179"/>
                      <a:pt x="263" y="179"/>
                      <a:pt x="263" y="179"/>
                    </a:cubicBezTo>
                    <a:cubicBezTo>
                      <a:pt x="263" y="179"/>
                      <a:pt x="263" y="179"/>
                      <a:pt x="263" y="178"/>
                    </a:cubicBezTo>
                    <a:cubicBezTo>
                      <a:pt x="263" y="178"/>
                      <a:pt x="263" y="178"/>
                      <a:pt x="263" y="178"/>
                    </a:cubicBezTo>
                    <a:cubicBezTo>
                      <a:pt x="263" y="178"/>
                      <a:pt x="263" y="178"/>
                      <a:pt x="263" y="178"/>
                    </a:cubicBezTo>
                    <a:cubicBezTo>
                      <a:pt x="263" y="178"/>
                      <a:pt x="263" y="178"/>
                      <a:pt x="263" y="178"/>
                    </a:cubicBezTo>
                    <a:cubicBezTo>
                      <a:pt x="263" y="178"/>
                      <a:pt x="263" y="178"/>
                      <a:pt x="264" y="178"/>
                    </a:cubicBezTo>
                    <a:cubicBezTo>
                      <a:pt x="264" y="178"/>
                      <a:pt x="264" y="178"/>
                      <a:pt x="264" y="178"/>
                    </a:cubicBezTo>
                    <a:cubicBezTo>
                      <a:pt x="264" y="178"/>
                      <a:pt x="264" y="178"/>
                      <a:pt x="264" y="178"/>
                    </a:cubicBezTo>
                    <a:cubicBezTo>
                      <a:pt x="264" y="178"/>
                      <a:pt x="264" y="177"/>
                      <a:pt x="264" y="177"/>
                    </a:cubicBezTo>
                    <a:cubicBezTo>
                      <a:pt x="263" y="177"/>
                      <a:pt x="263" y="177"/>
                      <a:pt x="262" y="178"/>
                    </a:cubicBezTo>
                    <a:cubicBezTo>
                      <a:pt x="262" y="178"/>
                      <a:pt x="262" y="178"/>
                      <a:pt x="262" y="178"/>
                    </a:cubicBezTo>
                    <a:cubicBezTo>
                      <a:pt x="262" y="178"/>
                      <a:pt x="262" y="179"/>
                      <a:pt x="262" y="179"/>
                    </a:cubicBezTo>
                    <a:cubicBezTo>
                      <a:pt x="262" y="179"/>
                      <a:pt x="262" y="179"/>
                      <a:pt x="262" y="179"/>
                    </a:cubicBezTo>
                    <a:cubicBezTo>
                      <a:pt x="262" y="178"/>
                      <a:pt x="262" y="178"/>
                      <a:pt x="262" y="178"/>
                    </a:cubicBezTo>
                    <a:cubicBezTo>
                      <a:pt x="262" y="178"/>
                      <a:pt x="262" y="178"/>
                      <a:pt x="262" y="178"/>
                    </a:cubicBezTo>
                    <a:cubicBezTo>
                      <a:pt x="262" y="177"/>
                      <a:pt x="262" y="177"/>
                      <a:pt x="262" y="177"/>
                    </a:cubicBezTo>
                    <a:cubicBezTo>
                      <a:pt x="261" y="177"/>
                      <a:pt x="261" y="177"/>
                      <a:pt x="261" y="177"/>
                    </a:cubicBezTo>
                    <a:cubicBezTo>
                      <a:pt x="261" y="177"/>
                      <a:pt x="261" y="178"/>
                      <a:pt x="260" y="178"/>
                    </a:cubicBezTo>
                    <a:cubicBezTo>
                      <a:pt x="260" y="178"/>
                      <a:pt x="260" y="178"/>
                      <a:pt x="260" y="178"/>
                    </a:cubicBezTo>
                    <a:cubicBezTo>
                      <a:pt x="260" y="178"/>
                      <a:pt x="260" y="178"/>
                      <a:pt x="260" y="178"/>
                    </a:cubicBezTo>
                    <a:cubicBezTo>
                      <a:pt x="260" y="177"/>
                      <a:pt x="260" y="177"/>
                      <a:pt x="260" y="177"/>
                    </a:cubicBezTo>
                    <a:cubicBezTo>
                      <a:pt x="260" y="177"/>
                      <a:pt x="260" y="177"/>
                      <a:pt x="261" y="177"/>
                    </a:cubicBezTo>
                    <a:cubicBezTo>
                      <a:pt x="261" y="177"/>
                      <a:pt x="261" y="177"/>
                      <a:pt x="261" y="176"/>
                    </a:cubicBezTo>
                    <a:cubicBezTo>
                      <a:pt x="261" y="176"/>
                      <a:pt x="261" y="176"/>
                      <a:pt x="261" y="176"/>
                    </a:cubicBezTo>
                    <a:cubicBezTo>
                      <a:pt x="261" y="176"/>
                      <a:pt x="261" y="176"/>
                      <a:pt x="261" y="176"/>
                    </a:cubicBezTo>
                    <a:cubicBezTo>
                      <a:pt x="261" y="176"/>
                      <a:pt x="262" y="176"/>
                      <a:pt x="262" y="176"/>
                    </a:cubicBezTo>
                    <a:cubicBezTo>
                      <a:pt x="262" y="176"/>
                      <a:pt x="262" y="176"/>
                      <a:pt x="262" y="176"/>
                    </a:cubicBezTo>
                    <a:cubicBezTo>
                      <a:pt x="262" y="176"/>
                      <a:pt x="262" y="175"/>
                      <a:pt x="262" y="175"/>
                    </a:cubicBezTo>
                    <a:cubicBezTo>
                      <a:pt x="262" y="175"/>
                      <a:pt x="263" y="175"/>
                      <a:pt x="263" y="174"/>
                    </a:cubicBezTo>
                    <a:cubicBezTo>
                      <a:pt x="263" y="174"/>
                      <a:pt x="263" y="174"/>
                      <a:pt x="263" y="174"/>
                    </a:cubicBezTo>
                    <a:cubicBezTo>
                      <a:pt x="263" y="173"/>
                      <a:pt x="263" y="173"/>
                      <a:pt x="263" y="173"/>
                    </a:cubicBezTo>
                    <a:cubicBezTo>
                      <a:pt x="263" y="173"/>
                      <a:pt x="262" y="173"/>
                      <a:pt x="262" y="173"/>
                    </a:cubicBezTo>
                    <a:cubicBezTo>
                      <a:pt x="262" y="173"/>
                      <a:pt x="262" y="174"/>
                      <a:pt x="262" y="173"/>
                    </a:cubicBezTo>
                    <a:cubicBezTo>
                      <a:pt x="262" y="173"/>
                      <a:pt x="263" y="173"/>
                      <a:pt x="263" y="172"/>
                    </a:cubicBezTo>
                    <a:cubicBezTo>
                      <a:pt x="263" y="172"/>
                      <a:pt x="264" y="172"/>
                      <a:pt x="264" y="172"/>
                    </a:cubicBezTo>
                    <a:cubicBezTo>
                      <a:pt x="264" y="173"/>
                      <a:pt x="264" y="173"/>
                      <a:pt x="264" y="173"/>
                    </a:cubicBezTo>
                    <a:cubicBezTo>
                      <a:pt x="264" y="173"/>
                      <a:pt x="264" y="173"/>
                      <a:pt x="264" y="173"/>
                    </a:cubicBezTo>
                    <a:cubicBezTo>
                      <a:pt x="265" y="172"/>
                      <a:pt x="265" y="171"/>
                      <a:pt x="266" y="170"/>
                    </a:cubicBezTo>
                    <a:cubicBezTo>
                      <a:pt x="266" y="170"/>
                      <a:pt x="266" y="170"/>
                      <a:pt x="267" y="170"/>
                    </a:cubicBezTo>
                    <a:cubicBezTo>
                      <a:pt x="266" y="170"/>
                      <a:pt x="267" y="171"/>
                      <a:pt x="267" y="171"/>
                    </a:cubicBezTo>
                    <a:cubicBezTo>
                      <a:pt x="266" y="171"/>
                      <a:pt x="265" y="172"/>
                      <a:pt x="265" y="174"/>
                    </a:cubicBezTo>
                    <a:cubicBezTo>
                      <a:pt x="265" y="174"/>
                      <a:pt x="265" y="174"/>
                      <a:pt x="264" y="175"/>
                    </a:cubicBezTo>
                    <a:cubicBezTo>
                      <a:pt x="264" y="175"/>
                      <a:pt x="264" y="175"/>
                      <a:pt x="264" y="175"/>
                    </a:cubicBezTo>
                    <a:cubicBezTo>
                      <a:pt x="264" y="176"/>
                      <a:pt x="264" y="176"/>
                      <a:pt x="264" y="176"/>
                    </a:cubicBezTo>
                    <a:cubicBezTo>
                      <a:pt x="264" y="176"/>
                      <a:pt x="264" y="176"/>
                      <a:pt x="264" y="176"/>
                    </a:cubicBezTo>
                    <a:cubicBezTo>
                      <a:pt x="264" y="176"/>
                      <a:pt x="265" y="176"/>
                      <a:pt x="265" y="176"/>
                    </a:cubicBezTo>
                    <a:cubicBezTo>
                      <a:pt x="266" y="176"/>
                      <a:pt x="266" y="176"/>
                      <a:pt x="266" y="176"/>
                    </a:cubicBezTo>
                    <a:cubicBezTo>
                      <a:pt x="266" y="176"/>
                      <a:pt x="266" y="176"/>
                      <a:pt x="266" y="176"/>
                    </a:cubicBezTo>
                    <a:cubicBezTo>
                      <a:pt x="266" y="176"/>
                      <a:pt x="266" y="175"/>
                      <a:pt x="266" y="175"/>
                    </a:cubicBezTo>
                    <a:cubicBezTo>
                      <a:pt x="266" y="175"/>
                      <a:pt x="266" y="175"/>
                      <a:pt x="267" y="175"/>
                    </a:cubicBezTo>
                    <a:cubicBezTo>
                      <a:pt x="267" y="175"/>
                      <a:pt x="266" y="176"/>
                      <a:pt x="267" y="176"/>
                    </a:cubicBezTo>
                    <a:cubicBezTo>
                      <a:pt x="267" y="176"/>
                      <a:pt x="267" y="176"/>
                      <a:pt x="267" y="176"/>
                    </a:cubicBezTo>
                    <a:cubicBezTo>
                      <a:pt x="267" y="176"/>
                      <a:pt x="267" y="175"/>
                      <a:pt x="267" y="175"/>
                    </a:cubicBezTo>
                    <a:cubicBezTo>
                      <a:pt x="267" y="175"/>
                      <a:pt x="268" y="174"/>
                      <a:pt x="268" y="174"/>
                    </a:cubicBezTo>
                    <a:cubicBezTo>
                      <a:pt x="268" y="174"/>
                      <a:pt x="268" y="175"/>
                      <a:pt x="268" y="175"/>
                    </a:cubicBezTo>
                    <a:cubicBezTo>
                      <a:pt x="268" y="175"/>
                      <a:pt x="269" y="175"/>
                      <a:pt x="269" y="175"/>
                    </a:cubicBezTo>
                    <a:cubicBezTo>
                      <a:pt x="269" y="175"/>
                      <a:pt x="269" y="175"/>
                      <a:pt x="269" y="174"/>
                    </a:cubicBezTo>
                    <a:cubicBezTo>
                      <a:pt x="270" y="174"/>
                      <a:pt x="270" y="174"/>
                      <a:pt x="270" y="174"/>
                    </a:cubicBezTo>
                    <a:cubicBezTo>
                      <a:pt x="270" y="174"/>
                      <a:pt x="270" y="174"/>
                      <a:pt x="270" y="173"/>
                    </a:cubicBezTo>
                    <a:cubicBezTo>
                      <a:pt x="270" y="173"/>
                      <a:pt x="271" y="173"/>
                      <a:pt x="271" y="173"/>
                    </a:cubicBezTo>
                    <a:cubicBezTo>
                      <a:pt x="271" y="173"/>
                      <a:pt x="271" y="173"/>
                      <a:pt x="271" y="173"/>
                    </a:cubicBezTo>
                    <a:cubicBezTo>
                      <a:pt x="271" y="174"/>
                      <a:pt x="271" y="174"/>
                      <a:pt x="271" y="174"/>
                    </a:cubicBezTo>
                    <a:cubicBezTo>
                      <a:pt x="271" y="174"/>
                      <a:pt x="271" y="174"/>
                      <a:pt x="272" y="174"/>
                    </a:cubicBezTo>
                    <a:cubicBezTo>
                      <a:pt x="272" y="174"/>
                      <a:pt x="272" y="174"/>
                      <a:pt x="272" y="174"/>
                    </a:cubicBezTo>
                    <a:cubicBezTo>
                      <a:pt x="273" y="173"/>
                      <a:pt x="273" y="173"/>
                      <a:pt x="273" y="172"/>
                    </a:cubicBezTo>
                    <a:cubicBezTo>
                      <a:pt x="274" y="172"/>
                      <a:pt x="274" y="172"/>
                      <a:pt x="274" y="172"/>
                    </a:cubicBezTo>
                    <a:cubicBezTo>
                      <a:pt x="274" y="172"/>
                      <a:pt x="275" y="172"/>
                      <a:pt x="275" y="172"/>
                    </a:cubicBezTo>
                    <a:cubicBezTo>
                      <a:pt x="276" y="172"/>
                      <a:pt x="277" y="172"/>
                      <a:pt x="278" y="173"/>
                    </a:cubicBezTo>
                    <a:cubicBezTo>
                      <a:pt x="278" y="173"/>
                      <a:pt x="277" y="173"/>
                      <a:pt x="277" y="173"/>
                    </a:cubicBezTo>
                    <a:cubicBezTo>
                      <a:pt x="276" y="172"/>
                      <a:pt x="275" y="172"/>
                      <a:pt x="274" y="172"/>
                    </a:cubicBezTo>
                    <a:cubicBezTo>
                      <a:pt x="274" y="172"/>
                      <a:pt x="274" y="172"/>
                      <a:pt x="274" y="173"/>
                    </a:cubicBezTo>
                    <a:cubicBezTo>
                      <a:pt x="274" y="173"/>
                      <a:pt x="274" y="173"/>
                      <a:pt x="274" y="173"/>
                    </a:cubicBezTo>
                    <a:cubicBezTo>
                      <a:pt x="274" y="173"/>
                      <a:pt x="273" y="174"/>
                      <a:pt x="273" y="174"/>
                    </a:cubicBezTo>
                    <a:cubicBezTo>
                      <a:pt x="273" y="174"/>
                      <a:pt x="274" y="174"/>
                      <a:pt x="274" y="174"/>
                    </a:cubicBezTo>
                    <a:cubicBezTo>
                      <a:pt x="274" y="174"/>
                      <a:pt x="273" y="174"/>
                      <a:pt x="273" y="174"/>
                    </a:cubicBezTo>
                    <a:cubicBezTo>
                      <a:pt x="273" y="175"/>
                      <a:pt x="273" y="175"/>
                      <a:pt x="273" y="175"/>
                    </a:cubicBezTo>
                    <a:cubicBezTo>
                      <a:pt x="274" y="175"/>
                      <a:pt x="274" y="175"/>
                      <a:pt x="274" y="175"/>
                    </a:cubicBezTo>
                    <a:cubicBezTo>
                      <a:pt x="274" y="176"/>
                      <a:pt x="274" y="176"/>
                      <a:pt x="274" y="176"/>
                    </a:cubicBezTo>
                    <a:cubicBezTo>
                      <a:pt x="274" y="176"/>
                      <a:pt x="274" y="176"/>
                      <a:pt x="275" y="176"/>
                    </a:cubicBezTo>
                    <a:cubicBezTo>
                      <a:pt x="275" y="176"/>
                      <a:pt x="275" y="176"/>
                      <a:pt x="276" y="176"/>
                    </a:cubicBezTo>
                    <a:cubicBezTo>
                      <a:pt x="276" y="176"/>
                      <a:pt x="276" y="175"/>
                      <a:pt x="276" y="175"/>
                    </a:cubicBezTo>
                    <a:cubicBezTo>
                      <a:pt x="276" y="176"/>
                      <a:pt x="275" y="177"/>
                      <a:pt x="274" y="177"/>
                    </a:cubicBezTo>
                    <a:cubicBezTo>
                      <a:pt x="274" y="177"/>
                      <a:pt x="274" y="177"/>
                      <a:pt x="274" y="177"/>
                    </a:cubicBezTo>
                    <a:cubicBezTo>
                      <a:pt x="273" y="177"/>
                      <a:pt x="273" y="178"/>
                      <a:pt x="274" y="178"/>
                    </a:cubicBezTo>
                    <a:cubicBezTo>
                      <a:pt x="274" y="178"/>
                      <a:pt x="274" y="178"/>
                      <a:pt x="275" y="178"/>
                    </a:cubicBezTo>
                    <a:cubicBezTo>
                      <a:pt x="275" y="178"/>
                      <a:pt x="275" y="178"/>
                      <a:pt x="275" y="177"/>
                    </a:cubicBezTo>
                    <a:cubicBezTo>
                      <a:pt x="276" y="177"/>
                      <a:pt x="276" y="177"/>
                      <a:pt x="276" y="177"/>
                    </a:cubicBezTo>
                    <a:cubicBezTo>
                      <a:pt x="277" y="177"/>
                      <a:pt x="277" y="177"/>
                      <a:pt x="278" y="177"/>
                    </a:cubicBezTo>
                    <a:cubicBezTo>
                      <a:pt x="277" y="177"/>
                      <a:pt x="277" y="178"/>
                      <a:pt x="277" y="178"/>
                    </a:cubicBezTo>
                    <a:cubicBezTo>
                      <a:pt x="276" y="178"/>
                      <a:pt x="276" y="178"/>
                      <a:pt x="276" y="178"/>
                    </a:cubicBezTo>
                    <a:cubicBezTo>
                      <a:pt x="276" y="179"/>
                      <a:pt x="276" y="179"/>
                      <a:pt x="277" y="179"/>
                    </a:cubicBezTo>
                    <a:cubicBezTo>
                      <a:pt x="277" y="179"/>
                      <a:pt x="277" y="179"/>
                      <a:pt x="277" y="178"/>
                    </a:cubicBezTo>
                    <a:cubicBezTo>
                      <a:pt x="277" y="178"/>
                      <a:pt x="277" y="178"/>
                      <a:pt x="278" y="178"/>
                    </a:cubicBezTo>
                    <a:cubicBezTo>
                      <a:pt x="278" y="178"/>
                      <a:pt x="278" y="178"/>
                      <a:pt x="278" y="179"/>
                    </a:cubicBezTo>
                    <a:cubicBezTo>
                      <a:pt x="278" y="178"/>
                      <a:pt x="278" y="178"/>
                      <a:pt x="279" y="179"/>
                    </a:cubicBezTo>
                    <a:cubicBezTo>
                      <a:pt x="279" y="179"/>
                      <a:pt x="279" y="179"/>
                      <a:pt x="279" y="179"/>
                    </a:cubicBezTo>
                    <a:cubicBezTo>
                      <a:pt x="279" y="179"/>
                      <a:pt x="279" y="179"/>
                      <a:pt x="280" y="178"/>
                    </a:cubicBezTo>
                    <a:cubicBezTo>
                      <a:pt x="280" y="178"/>
                      <a:pt x="280" y="177"/>
                      <a:pt x="281" y="177"/>
                    </a:cubicBezTo>
                    <a:cubicBezTo>
                      <a:pt x="281" y="177"/>
                      <a:pt x="281" y="177"/>
                      <a:pt x="281" y="177"/>
                    </a:cubicBezTo>
                    <a:cubicBezTo>
                      <a:pt x="282" y="177"/>
                      <a:pt x="282" y="177"/>
                      <a:pt x="282" y="177"/>
                    </a:cubicBezTo>
                    <a:cubicBezTo>
                      <a:pt x="282" y="177"/>
                      <a:pt x="282" y="177"/>
                      <a:pt x="282" y="177"/>
                    </a:cubicBezTo>
                    <a:cubicBezTo>
                      <a:pt x="281" y="177"/>
                      <a:pt x="281" y="178"/>
                      <a:pt x="281" y="178"/>
                    </a:cubicBezTo>
                    <a:cubicBezTo>
                      <a:pt x="280" y="179"/>
                      <a:pt x="280" y="180"/>
                      <a:pt x="279" y="180"/>
                    </a:cubicBezTo>
                    <a:cubicBezTo>
                      <a:pt x="279" y="180"/>
                      <a:pt x="279" y="181"/>
                      <a:pt x="279" y="181"/>
                    </a:cubicBezTo>
                    <a:cubicBezTo>
                      <a:pt x="279" y="181"/>
                      <a:pt x="278" y="181"/>
                      <a:pt x="279" y="181"/>
                    </a:cubicBezTo>
                    <a:cubicBezTo>
                      <a:pt x="279" y="181"/>
                      <a:pt x="279" y="181"/>
                      <a:pt x="279" y="181"/>
                    </a:cubicBezTo>
                    <a:cubicBezTo>
                      <a:pt x="280" y="181"/>
                      <a:pt x="281" y="182"/>
                      <a:pt x="282" y="182"/>
                    </a:cubicBezTo>
                    <a:cubicBezTo>
                      <a:pt x="282" y="182"/>
                      <a:pt x="282" y="182"/>
                      <a:pt x="282" y="182"/>
                    </a:cubicBezTo>
                    <a:cubicBezTo>
                      <a:pt x="282" y="182"/>
                      <a:pt x="281" y="182"/>
                      <a:pt x="281" y="182"/>
                    </a:cubicBezTo>
                    <a:cubicBezTo>
                      <a:pt x="282" y="182"/>
                      <a:pt x="282" y="182"/>
                      <a:pt x="282" y="182"/>
                    </a:cubicBezTo>
                    <a:cubicBezTo>
                      <a:pt x="282" y="183"/>
                      <a:pt x="283" y="183"/>
                      <a:pt x="283" y="183"/>
                    </a:cubicBezTo>
                    <a:cubicBezTo>
                      <a:pt x="283" y="183"/>
                      <a:pt x="283" y="183"/>
                      <a:pt x="283" y="182"/>
                    </a:cubicBezTo>
                    <a:cubicBezTo>
                      <a:pt x="283" y="182"/>
                      <a:pt x="283" y="182"/>
                      <a:pt x="283" y="182"/>
                    </a:cubicBezTo>
                    <a:cubicBezTo>
                      <a:pt x="283" y="182"/>
                      <a:pt x="283" y="182"/>
                      <a:pt x="283" y="182"/>
                    </a:cubicBezTo>
                    <a:cubicBezTo>
                      <a:pt x="284" y="182"/>
                      <a:pt x="284" y="181"/>
                      <a:pt x="284" y="181"/>
                    </a:cubicBezTo>
                    <a:cubicBezTo>
                      <a:pt x="284" y="181"/>
                      <a:pt x="285" y="180"/>
                      <a:pt x="285" y="180"/>
                    </a:cubicBezTo>
                    <a:cubicBezTo>
                      <a:pt x="285" y="179"/>
                      <a:pt x="285" y="179"/>
                      <a:pt x="285" y="179"/>
                    </a:cubicBezTo>
                    <a:cubicBezTo>
                      <a:pt x="286" y="179"/>
                      <a:pt x="286" y="179"/>
                      <a:pt x="286" y="179"/>
                    </a:cubicBezTo>
                    <a:cubicBezTo>
                      <a:pt x="286" y="179"/>
                      <a:pt x="286" y="180"/>
                      <a:pt x="286" y="180"/>
                    </a:cubicBezTo>
                    <a:cubicBezTo>
                      <a:pt x="286" y="180"/>
                      <a:pt x="286" y="181"/>
                      <a:pt x="286" y="181"/>
                    </a:cubicBezTo>
                    <a:cubicBezTo>
                      <a:pt x="286" y="182"/>
                      <a:pt x="286" y="182"/>
                      <a:pt x="285" y="182"/>
                    </a:cubicBezTo>
                    <a:cubicBezTo>
                      <a:pt x="285" y="182"/>
                      <a:pt x="285" y="183"/>
                      <a:pt x="285" y="183"/>
                    </a:cubicBezTo>
                    <a:cubicBezTo>
                      <a:pt x="286" y="183"/>
                      <a:pt x="286" y="183"/>
                      <a:pt x="286" y="183"/>
                    </a:cubicBezTo>
                    <a:cubicBezTo>
                      <a:pt x="286" y="184"/>
                      <a:pt x="286" y="184"/>
                      <a:pt x="287" y="184"/>
                    </a:cubicBezTo>
                    <a:cubicBezTo>
                      <a:pt x="287" y="184"/>
                      <a:pt x="287" y="184"/>
                      <a:pt x="287" y="184"/>
                    </a:cubicBezTo>
                    <a:cubicBezTo>
                      <a:pt x="287" y="185"/>
                      <a:pt x="288" y="185"/>
                      <a:pt x="288" y="185"/>
                    </a:cubicBezTo>
                    <a:cubicBezTo>
                      <a:pt x="289" y="185"/>
                      <a:pt x="289" y="184"/>
                      <a:pt x="290" y="185"/>
                    </a:cubicBezTo>
                    <a:cubicBezTo>
                      <a:pt x="290" y="185"/>
                      <a:pt x="290" y="185"/>
                      <a:pt x="289" y="185"/>
                    </a:cubicBezTo>
                    <a:cubicBezTo>
                      <a:pt x="289" y="185"/>
                      <a:pt x="290" y="186"/>
                      <a:pt x="290" y="186"/>
                    </a:cubicBezTo>
                    <a:cubicBezTo>
                      <a:pt x="290" y="186"/>
                      <a:pt x="290" y="186"/>
                      <a:pt x="290" y="186"/>
                    </a:cubicBezTo>
                    <a:cubicBezTo>
                      <a:pt x="291" y="186"/>
                      <a:pt x="291" y="186"/>
                      <a:pt x="291" y="187"/>
                    </a:cubicBezTo>
                    <a:cubicBezTo>
                      <a:pt x="291" y="187"/>
                      <a:pt x="292" y="187"/>
                      <a:pt x="292" y="187"/>
                    </a:cubicBezTo>
                    <a:cubicBezTo>
                      <a:pt x="292" y="187"/>
                      <a:pt x="292" y="187"/>
                      <a:pt x="293" y="187"/>
                    </a:cubicBezTo>
                    <a:cubicBezTo>
                      <a:pt x="294" y="187"/>
                      <a:pt x="295" y="186"/>
                      <a:pt x="297" y="186"/>
                    </a:cubicBezTo>
                    <a:cubicBezTo>
                      <a:pt x="299" y="186"/>
                      <a:pt x="301" y="186"/>
                      <a:pt x="303" y="187"/>
                    </a:cubicBezTo>
                    <a:cubicBezTo>
                      <a:pt x="303" y="187"/>
                      <a:pt x="303" y="187"/>
                      <a:pt x="304" y="187"/>
                    </a:cubicBezTo>
                    <a:cubicBezTo>
                      <a:pt x="304" y="187"/>
                      <a:pt x="304" y="187"/>
                      <a:pt x="305" y="187"/>
                    </a:cubicBezTo>
                    <a:cubicBezTo>
                      <a:pt x="305" y="187"/>
                      <a:pt x="306" y="187"/>
                      <a:pt x="306" y="188"/>
                    </a:cubicBezTo>
                    <a:cubicBezTo>
                      <a:pt x="307" y="188"/>
                      <a:pt x="308" y="188"/>
                      <a:pt x="308" y="187"/>
                    </a:cubicBezTo>
                    <a:cubicBezTo>
                      <a:pt x="309" y="187"/>
                      <a:pt x="309" y="187"/>
                      <a:pt x="309" y="187"/>
                    </a:cubicBezTo>
                    <a:cubicBezTo>
                      <a:pt x="308" y="186"/>
                      <a:pt x="308" y="186"/>
                      <a:pt x="308" y="186"/>
                    </a:cubicBezTo>
                    <a:cubicBezTo>
                      <a:pt x="308" y="186"/>
                      <a:pt x="308" y="186"/>
                      <a:pt x="308" y="185"/>
                    </a:cubicBezTo>
                    <a:cubicBezTo>
                      <a:pt x="308" y="185"/>
                      <a:pt x="308" y="185"/>
                      <a:pt x="308" y="185"/>
                    </a:cubicBezTo>
                    <a:cubicBezTo>
                      <a:pt x="309" y="185"/>
                      <a:pt x="309" y="185"/>
                      <a:pt x="309" y="185"/>
                    </a:cubicBezTo>
                    <a:cubicBezTo>
                      <a:pt x="309" y="185"/>
                      <a:pt x="309" y="186"/>
                      <a:pt x="309" y="186"/>
                    </a:cubicBezTo>
                    <a:cubicBezTo>
                      <a:pt x="310" y="186"/>
                      <a:pt x="310" y="185"/>
                      <a:pt x="311" y="185"/>
                    </a:cubicBezTo>
                    <a:cubicBezTo>
                      <a:pt x="310" y="186"/>
                      <a:pt x="310" y="186"/>
                      <a:pt x="310" y="186"/>
                    </a:cubicBezTo>
                    <a:cubicBezTo>
                      <a:pt x="309" y="186"/>
                      <a:pt x="309" y="186"/>
                      <a:pt x="309" y="187"/>
                    </a:cubicBezTo>
                    <a:cubicBezTo>
                      <a:pt x="309" y="187"/>
                      <a:pt x="309" y="187"/>
                      <a:pt x="310" y="187"/>
                    </a:cubicBezTo>
                    <a:cubicBezTo>
                      <a:pt x="310" y="187"/>
                      <a:pt x="310" y="187"/>
                      <a:pt x="310" y="187"/>
                    </a:cubicBezTo>
                    <a:cubicBezTo>
                      <a:pt x="310" y="187"/>
                      <a:pt x="310" y="187"/>
                      <a:pt x="310" y="188"/>
                    </a:cubicBezTo>
                    <a:cubicBezTo>
                      <a:pt x="310" y="188"/>
                      <a:pt x="309" y="188"/>
                      <a:pt x="309" y="188"/>
                    </a:cubicBezTo>
                    <a:cubicBezTo>
                      <a:pt x="309" y="188"/>
                      <a:pt x="309" y="188"/>
                      <a:pt x="309" y="188"/>
                    </a:cubicBezTo>
                    <a:cubicBezTo>
                      <a:pt x="309" y="188"/>
                      <a:pt x="309" y="189"/>
                      <a:pt x="309" y="189"/>
                    </a:cubicBezTo>
                    <a:cubicBezTo>
                      <a:pt x="309" y="189"/>
                      <a:pt x="309" y="189"/>
                      <a:pt x="309" y="189"/>
                    </a:cubicBezTo>
                    <a:cubicBezTo>
                      <a:pt x="310" y="189"/>
                      <a:pt x="310" y="189"/>
                      <a:pt x="311" y="190"/>
                    </a:cubicBezTo>
                    <a:cubicBezTo>
                      <a:pt x="311" y="190"/>
                      <a:pt x="311" y="190"/>
                      <a:pt x="311" y="190"/>
                    </a:cubicBezTo>
                    <a:cubicBezTo>
                      <a:pt x="312" y="191"/>
                      <a:pt x="312" y="191"/>
                      <a:pt x="313" y="191"/>
                    </a:cubicBezTo>
                    <a:cubicBezTo>
                      <a:pt x="314" y="191"/>
                      <a:pt x="315" y="191"/>
                      <a:pt x="316" y="191"/>
                    </a:cubicBezTo>
                    <a:cubicBezTo>
                      <a:pt x="316" y="191"/>
                      <a:pt x="316" y="191"/>
                      <a:pt x="317" y="191"/>
                    </a:cubicBezTo>
                    <a:cubicBezTo>
                      <a:pt x="317" y="191"/>
                      <a:pt x="318" y="190"/>
                      <a:pt x="318" y="190"/>
                    </a:cubicBezTo>
                    <a:cubicBezTo>
                      <a:pt x="318" y="190"/>
                      <a:pt x="318" y="190"/>
                      <a:pt x="318" y="190"/>
                    </a:cubicBezTo>
                    <a:cubicBezTo>
                      <a:pt x="319" y="190"/>
                      <a:pt x="319" y="190"/>
                      <a:pt x="319" y="190"/>
                    </a:cubicBezTo>
                    <a:cubicBezTo>
                      <a:pt x="319" y="190"/>
                      <a:pt x="318" y="189"/>
                      <a:pt x="318" y="189"/>
                    </a:cubicBezTo>
                    <a:cubicBezTo>
                      <a:pt x="318" y="189"/>
                      <a:pt x="318" y="189"/>
                      <a:pt x="318" y="189"/>
                    </a:cubicBezTo>
                    <a:cubicBezTo>
                      <a:pt x="319" y="189"/>
                      <a:pt x="319" y="189"/>
                      <a:pt x="319" y="189"/>
                    </a:cubicBezTo>
                    <a:cubicBezTo>
                      <a:pt x="320" y="189"/>
                      <a:pt x="320" y="188"/>
                      <a:pt x="320" y="188"/>
                    </a:cubicBezTo>
                    <a:cubicBezTo>
                      <a:pt x="321" y="187"/>
                      <a:pt x="321" y="187"/>
                      <a:pt x="321" y="187"/>
                    </a:cubicBezTo>
                    <a:cubicBezTo>
                      <a:pt x="321" y="187"/>
                      <a:pt x="322" y="187"/>
                      <a:pt x="322" y="187"/>
                    </a:cubicBezTo>
                    <a:cubicBezTo>
                      <a:pt x="322" y="188"/>
                      <a:pt x="322" y="188"/>
                      <a:pt x="323" y="188"/>
                    </a:cubicBezTo>
                    <a:cubicBezTo>
                      <a:pt x="323" y="188"/>
                      <a:pt x="323" y="189"/>
                      <a:pt x="323" y="189"/>
                    </a:cubicBezTo>
                    <a:cubicBezTo>
                      <a:pt x="323" y="189"/>
                      <a:pt x="324" y="189"/>
                      <a:pt x="324" y="189"/>
                    </a:cubicBezTo>
                    <a:cubicBezTo>
                      <a:pt x="324" y="189"/>
                      <a:pt x="324" y="189"/>
                      <a:pt x="324" y="189"/>
                    </a:cubicBezTo>
                    <a:cubicBezTo>
                      <a:pt x="324" y="189"/>
                      <a:pt x="324" y="189"/>
                      <a:pt x="324" y="189"/>
                    </a:cubicBezTo>
                    <a:cubicBezTo>
                      <a:pt x="323" y="189"/>
                      <a:pt x="323" y="189"/>
                      <a:pt x="323" y="189"/>
                    </a:cubicBezTo>
                    <a:cubicBezTo>
                      <a:pt x="323" y="190"/>
                      <a:pt x="323" y="191"/>
                      <a:pt x="323" y="191"/>
                    </a:cubicBezTo>
                    <a:cubicBezTo>
                      <a:pt x="323" y="192"/>
                      <a:pt x="323" y="192"/>
                      <a:pt x="323" y="192"/>
                    </a:cubicBezTo>
                    <a:cubicBezTo>
                      <a:pt x="323" y="192"/>
                      <a:pt x="323" y="192"/>
                      <a:pt x="323" y="193"/>
                    </a:cubicBezTo>
                    <a:cubicBezTo>
                      <a:pt x="323" y="193"/>
                      <a:pt x="323" y="193"/>
                      <a:pt x="322" y="193"/>
                    </a:cubicBezTo>
                    <a:cubicBezTo>
                      <a:pt x="323" y="192"/>
                      <a:pt x="323" y="192"/>
                      <a:pt x="323" y="192"/>
                    </a:cubicBezTo>
                    <a:cubicBezTo>
                      <a:pt x="322" y="191"/>
                      <a:pt x="322" y="191"/>
                      <a:pt x="322" y="191"/>
                    </a:cubicBezTo>
                    <a:cubicBezTo>
                      <a:pt x="322" y="191"/>
                      <a:pt x="322" y="191"/>
                      <a:pt x="322" y="191"/>
                    </a:cubicBezTo>
                    <a:cubicBezTo>
                      <a:pt x="322" y="190"/>
                      <a:pt x="322" y="190"/>
                      <a:pt x="322" y="190"/>
                    </a:cubicBezTo>
                    <a:cubicBezTo>
                      <a:pt x="322" y="189"/>
                      <a:pt x="322" y="189"/>
                      <a:pt x="322" y="189"/>
                    </a:cubicBezTo>
                    <a:cubicBezTo>
                      <a:pt x="322" y="188"/>
                      <a:pt x="322" y="188"/>
                      <a:pt x="321" y="188"/>
                    </a:cubicBezTo>
                    <a:cubicBezTo>
                      <a:pt x="321" y="188"/>
                      <a:pt x="321" y="188"/>
                      <a:pt x="321" y="189"/>
                    </a:cubicBezTo>
                    <a:cubicBezTo>
                      <a:pt x="320" y="189"/>
                      <a:pt x="320" y="189"/>
                      <a:pt x="320" y="189"/>
                    </a:cubicBezTo>
                    <a:cubicBezTo>
                      <a:pt x="320" y="189"/>
                      <a:pt x="321" y="189"/>
                      <a:pt x="321" y="190"/>
                    </a:cubicBezTo>
                    <a:cubicBezTo>
                      <a:pt x="321" y="190"/>
                      <a:pt x="321" y="190"/>
                      <a:pt x="321" y="191"/>
                    </a:cubicBezTo>
                    <a:cubicBezTo>
                      <a:pt x="321" y="191"/>
                      <a:pt x="321" y="191"/>
                      <a:pt x="321" y="191"/>
                    </a:cubicBezTo>
                    <a:cubicBezTo>
                      <a:pt x="321" y="191"/>
                      <a:pt x="321" y="191"/>
                      <a:pt x="321" y="191"/>
                    </a:cubicBezTo>
                    <a:cubicBezTo>
                      <a:pt x="321" y="192"/>
                      <a:pt x="321" y="192"/>
                      <a:pt x="321" y="192"/>
                    </a:cubicBezTo>
                    <a:cubicBezTo>
                      <a:pt x="321" y="192"/>
                      <a:pt x="321" y="192"/>
                      <a:pt x="321" y="193"/>
                    </a:cubicBezTo>
                    <a:cubicBezTo>
                      <a:pt x="320" y="193"/>
                      <a:pt x="320" y="193"/>
                      <a:pt x="320" y="193"/>
                    </a:cubicBezTo>
                    <a:cubicBezTo>
                      <a:pt x="320" y="193"/>
                      <a:pt x="320" y="193"/>
                      <a:pt x="320" y="193"/>
                    </a:cubicBezTo>
                    <a:cubicBezTo>
                      <a:pt x="320" y="193"/>
                      <a:pt x="319" y="193"/>
                      <a:pt x="319" y="193"/>
                    </a:cubicBezTo>
                    <a:cubicBezTo>
                      <a:pt x="320" y="194"/>
                      <a:pt x="321" y="194"/>
                      <a:pt x="321" y="195"/>
                    </a:cubicBezTo>
                    <a:cubicBezTo>
                      <a:pt x="322" y="195"/>
                      <a:pt x="322" y="195"/>
                      <a:pt x="322" y="195"/>
                    </a:cubicBezTo>
                    <a:cubicBezTo>
                      <a:pt x="322" y="195"/>
                      <a:pt x="322" y="195"/>
                      <a:pt x="322" y="195"/>
                    </a:cubicBezTo>
                    <a:cubicBezTo>
                      <a:pt x="322" y="195"/>
                      <a:pt x="322" y="195"/>
                      <a:pt x="322" y="195"/>
                    </a:cubicBezTo>
                    <a:cubicBezTo>
                      <a:pt x="323" y="195"/>
                      <a:pt x="324" y="195"/>
                      <a:pt x="325" y="194"/>
                    </a:cubicBezTo>
                    <a:cubicBezTo>
                      <a:pt x="325" y="194"/>
                      <a:pt x="325" y="194"/>
                      <a:pt x="325" y="194"/>
                    </a:cubicBezTo>
                    <a:cubicBezTo>
                      <a:pt x="325" y="195"/>
                      <a:pt x="325" y="195"/>
                      <a:pt x="325" y="195"/>
                    </a:cubicBezTo>
                    <a:cubicBezTo>
                      <a:pt x="325" y="195"/>
                      <a:pt x="324" y="195"/>
                      <a:pt x="324" y="195"/>
                    </a:cubicBezTo>
                    <a:cubicBezTo>
                      <a:pt x="324" y="195"/>
                      <a:pt x="324" y="196"/>
                      <a:pt x="323" y="196"/>
                    </a:cubicBezTo>
                    <a:cubicBezTo>
                      <a:pt x="323" y="196"/>
                      <a:pt x="323" y="196"/>
                      <a:pt x="323" y="196"/>
                    </a:cubicBezTo>
                    <a:cubicBezTo>
                      <a:pt x="323" y="196"/>
                      <a:pt x="323" y="196"/>
                      <a:pt x="323" y="196"/>
                    </a:cubicBezTo>
                    <a:cubicBezTo>
                      <a:pt x="324" y="196"/>
                      <a:pt x="325" y="197"/>
                      <a:pt x="326" y="198"/>
                    </a:cubicBezTo>
                    <a:cubicBezTo>
                      <a:pt x="326" y="198"/>
                      <a:pt x="326" y="198"/>
                      <a:pt x="326" y="198"/>
                    </a:cubicBezTo>
                    <a:cubicBezTo>
                      <a:pt x="327" y="198"/>
                      <a:pt x="327" y="198"/>
                      <a:pt x="327" y="198"/>
                    </a:cubicBezTo>
                    <a:cubicBezTo>
                      <a:pt x="327" y="198"/>
                      <a:pt x="328" y="198"/>
                      <a:pt x="328" y="198"/>
                    </a:cubicBezTo>
                    <a:cubicBezTo>
                      <a:pt x="328" y="198"/>
                      <a:pt x="328" y="198"/>
                      <a:pt x="329" y="198"/>
                    </a:cubicBezTo>
                    <a:cubicBezTo>
                      <a:pt x="328" y="198"/>
                      <a:pt x="328" y="198"/>
                      <a:pt x="328" y="199"/>
                    </a:cubicBezTo>
                    <a:cubicBezTo>
                      <a:pt x="328" y="199"/>
                      <a:pt x="328" y="199"/>
                      <a:pt x="328" y="199"/>
                    </a:cubicBezTo>
                    <a:cubicBezTo>
                      <a:pt x="328" y="199"/>
                      <a:pt x="328" y="199"/>
                      <a:pt x="328" y="199"/>
                    </a:cubicBezTo>
                    <a:cubicBezTo>
                      <a:pt x="328" y="200"/>
                      <a:pt x="329" y="199"/>
                      <a:pt x="330" y="200"/>
                    </a:cubicBezTo>
                    <a:cubicBezTo>
                      <a:pt x="330" y="200"/>
                      <a:pt x="331" y="201"/>
                      <a:pt x="331" y="201"/>
                    </a:cubicBezTo>
                    <a:cubicBezTo>
                      <a:pt x="331" y="202"/>
                      <a:pt x="332" y="202"/>
                      <a:pt x="332" y="202"/>
                    </a:cubicBezTo>
                    <a:cubicBezTo>
                      <a:pt x="332" y="202"/>
                      <a:pt x="332" y="203"/>
                      <a:pt x="332" y="203"/>
                    </a:cubicBezTo>
                    <a:cubicBezTo>
                      <a:pt x="332" y="204"/>
                      <a:pt x="332" y="204"/>
                      <a:pt x="333" y="204"/>
                    </a:cubicBezTo>
                    <a:cubicBezTo>
                      <a:pt x="333" y="204"/>
                      <a:pt x="333" y="204"/>
                      <a:pt x="333" y="205"/>
                    </a:cubicBezTo>
                    <a:cubicBezTo>
                      <a:pt x="333" y="205"/>
                      <a:pt x="334" y="205"/>
                      <a:pt x="334" y="205"/>
                    </a:cubicBezTo>
                    <a:cubicBezTo>
                      <a:pt x="334" y="205"/>
                      <a:pt x="334" y="205"/>
                      <a:pt x="334" y="205"/>
                    </a:cubicBezTo>
                    <a:cubicBezTo>
                      <a:pt x="334" y="205"/>
                      <a:pt x="335" y="206"/>
                      <a:pt x="335" y="206"/>
                    </a:cubicBezTo>
                    <a:cubicBezTo>
                      <a:pt x="336" y="207"/>
                      <a:pt x="337" y="208"/>
                      <a:pt x="338" y="208"/>
                    </a:cubicBezTo>
                    <a:cubicBezTo>
                      <a:pt x="338" y="208"/>
                      <a:pt x="339" y="208"/>
                      <a:pt x="339" y="209"/>
                    </a:cubicBezTo>
                    <a:cubicBezTo>
                      <a:pt x="339" y="209"/>
                      <a:pt x="339" y="209"/>
                      <a:pt x="339" y="209"/>
                    </a:cubicBezTo>
                    <a:cubicBezTo>
                      <a:pt x="339" y="209"/>
                      <a:pt x="339" y="209"/>
                      <a:pt x="339" y="209"/>
                    </a:cubicBezTo>
                    <a:cubicBezTo>
                      <a:pt x="340" y="209"/>
                      <a:pt x="339" y="209"/>
                      <a:pt x="339" y="210"/>
                    </a:cubicBezTo>
                    <a:cubicBezTo>
                      <a:pt x="340" y="210"/>
                      <a:pt x="340" y="210"/>
                      <a:pt x="340" y="210"/>
                    </a:cubicBezTo>
                    <a:cubicBezTo>
                      <a:pt x="340" y="210"/>
                      <a:pt x="340" y="210"/>
                      <a:pt x="341" y="211"/>
                    </a:cubicBezTo>
                    <a:cubicBezTo>
                      <a:pt x="341" y="211"/>
                      <a:pt x="341" y="210"/>
                      <a:pt x="341" y="210"/>
                    </a:cubicBezTo>
                    <a:cubicBezTo>
                      <a:pt x="341" y="210"/>
                      <a:pt x="341" y="210"/>
                      <a:pt x="341" y="210"/>
                    </a:cubicBezTo>
                    <a:cubicBezTo>
                      <a:pt x="341" y="209"/>
                      <a:pt x="341" y="209"/>
                      <a:pt x="341" y="209"/>
                    </a:cubicBezTo>
                    <a:cubicBezTo>
                      <a:pt x="341" y="209"/>
                      <a:pt x="342" y="209"/>
                      <a:pt x="342" y="209"/>
                    </a:cubicBezTo>
                    <a:cubicBezTo>
                      <a:pt x="342" y="209"/>
                      <a:pt x="342" y="209"/>
                      <a:pt x="342" y="209"/>
                    </a:cubicBezTo>
                    <a:cubicBezTo>
                      <a:pt x="342" y="209"/>
                      <a:pt x="341" y="209"/>
                      <a:pt x="341" y="209"/>
                    </a:cubicBezTo>
                    <a:cubicBezTo>
                      <a:pt x="341" y="208"/>
                      <a:pt x="341" y="208"/>
                      <a:pt x="342" y="208"/>
                    </a:cubicBezTo>
                    <a:cubicBezTo>
                      <a:pt x="342" y="209"/>
                      <a:pt x="342" y="209"/>
                      <a:pt x="343" y="208"/>
                    </a:cubicBezTo>
                    <a:cubicBezTo>
                      <a:pt x="343" y="209"/>
                      <a:pt x="343" y="209"/>
                      <a:pt x="343" y="209"/>
                    </a:cubicBezTo>
                    <a:cubicBezTo>
                      <a:pt x="343" y="209"/>
                      <a:pt x="344" y="209"/>
                      <a:pt x="344" y="209"/>
                    </a:cubicBezTo>
                    <a:cubicBezTo>
                      <a:pt x="344" y="209"/>
                      <a:pt x="344" y="209"/>
                      <a:pt x="344" y="209"/>
                    </a:cubicBezTo>
                    <a:cubicBezTo>
                      <a:pt x="344" y="209"/>
                      <a:pt x="344" y="209"/>
                      <a:pt x="344" y="208"/>
                    </a:cubicBezTo>
                    <a:cubicBezTo>
                      <a:pt x="344" y="208"/>
                      <a:pt x="344" y="208"/>
                      <a:pt x="344" y="207"/>
                    </a:cubicBezTo>
                    <a:cubicBezTo>
                      <a:pt x="344" y="207"/>
                      <a:pt x="344" y="207"/>
                      <a:pt x="344" y="207"/>
                    </a:cubicBezTo>
                    <a:cubicBezTo>
                      <a:pt x="344" y="207"/>
                      <a:pt x="344" y="207"/>
                      <a:pt x="344" y="207"/>
                    </a:cubicBezTo>
                    <a:cubicBezTo>
                      <a:pt x="344" y="206"/>
                      <a:pt x="344" y="206"/>
                      <a:pt x="344" y="206"/>
                    </a:cubicBezTo>
                    <a:cubicBezTo>
                      <a:pt x="344" y="206"/>
                      <a:pt x="343" y="205"/>
                      <a:pt x="343" y="205"/>
                    </a:cubicBezTo>
                    <a:cubicBezTo>
                      <a:pt x="342" y="205"/>
                      <a:pt x="342" y="205"/>
                      <a:pt x="341" y="206"/>
                    </a:cubicBezTo>
                    <a:cubicBezTo>
                      <a:pt x="341" y="205"/>
                      <a:pt x="341" y="205"/>
                      <a:pt x="342" y="205"/>
                    </a:cubicBezTo>
                    <a:cubicBezTo>
                      <a:pt x="342" y="205"/>
                      <a:pt x="342" y="205"/>
                      <a:pt x="342" y="204"/>
                    </a:cubicBezTo>
                    <a:cubicBezTo>
                      <a:pt x="342" y="204"/>
                      <a:pt x="342" y="204"/>
                      <a:pt x="342" y="204"/>
                    </a:cubicBezTo>
                    <a:cubicBezTo>
                      <a:pt x="342" y="204"/>
                      <a:pt x="341" y="203"/>
                      <a:pt x="341" y="203"/>
                    </a:cubicBezTo>
                    <a:cubicBezTo>
                      <a:pt x="341" y="203"/>
                      <a:pt x="341" y="203"/>
                      <a:pt x="341" y="203"/>
                    </a:cubicBezTo>
                    <a:cubicBezTo>
                      <a:pt x="341" y="203"/>
                      <a:pt x="341" y="203"/>
                      <a:pt x="341" y="203"/>
                    </a:cubicBezTo>
                    <a:cubicBezTo>
                      <a:pt x="340" y="202"/>
                      <a:pt x="339" y="202"/>
                      <a:pt x="338" y="202"/>
                    </a:cubicBezTo>
                    <a:cubicBezTo>
                      <a:pt x="338" y="202"/>
                      <a:pt x="337" y="202"/>
                      <a:pt x="337" y="202"/>
                    </a:cubicBezTo>
                    <a:cubicBezTo>
                      <a:pt x="337" y="202"/>
                      <a:pt x="338" y="202"/>
                      <a:pt x="338" y="201"/>
                    </a:cubicBezTo>
                    <a:cubicBezTo>
                      <a:pt x="338" y="201"/>
                      <a:pt x="338" y="201"/>
                      <a:pt x="338" y="201"/>
                    </a:cubicBezTo>
                    <a:cubicBezTo>
                      <a:pt x="338" y="201"/>
                      <a:pt x="338" y="200"/>
                      <a:pt x="338" y="200"/>
                    </a:cubicBezTo>
                    <a:cubicBezTo>
                      <a:pt x="338" y="200"/>
                      <a:pt x="339" y="200"/>
                      <a:pt x="339" y="201"/>
                    </a:cubicBezTo>
                    <a:cubicBezTo>
                      <a:pt x="340" y="201"/>
                      <a:pt x="340" y="201"/>
                      <a:pt x="341" y="201"/>
                    </a:cubicBezTo>
                    <a:cubicBezTo>
                      <a:pt x="341" y="201"/>
                      <a:pt x="341" y="201"/>
                      <a:pt x="341" y="201"/>
                    </a:cubicBezTo>
                    <a:cubicBezTo>
                      <a:pt x="342" y="201"/>
                      <a:pt x="341" y="201"/>
                      <a:pt x="341" y="202"/>
                    </a:cubicBezTo>
                    <a:cubicBezTo>
                      <a:pt x="341" y="202"/>
                      <a:pt x="342" y="203"/>
                      <a:pt x="343" y="203"/>
                    </a:cubicBezTo>
                    <a:cubicBezTo>
                      <a:pt x="343" y="203"/>
                      <a:pt x="343" y="204"/>
                      <a:pt x="343" y="203"/>
                    </a:cubicBezTo>
                    <a:cubicBezTo>
                      <a:pt x="344" y="203"/>
                      <a:pt x="344" y="203"/>
                      <a:pt x="344" y="203"/>
                    </a:cubicBezTo>
                    <a:cubicBezTo>
                      <a:pt x="344" y="202"/>
                      <a:pt x="343" y="201"/>
                      <a:pt x="344" y="200"/>
                    </a:cubicBezTo>
                    <a:cubicBezTo>
                      <a:pt x="344" y="201"/>
                      <a:pt x="344" y="201"/>
                      <a:pt x="344" y="202"/>
                    </a:cubicBezTo>
                    <a:cubicBezTo>
                      <a:pt x="344" y="203"/>
                      <a:pt x="344" y="204"/>
                      <a:pt x="345" y="204"/>
                    </a:cubicBezTo>
                    <a:cubicBezTo>
                      <a:pt x="345" y="205"/>
                      <a:pt x="346" y="205"/>
                      <a:pt x="346" y="206"/>
                    </a:cubicBezTo>
                    <a:cubicBezTo>
                      <a:pt x="346" y="206"/>
                      <a:pt x="345" y="207"/>
                      <a:pt x="345" y="207"/>
                    </a:cubicBezTo>
                    <a:cubicBezTo>
                      <a:pt x="345" y="207"/>
                      <a:pt x="345" y="207"/>
                      <a:pt x="345" y="207"/>
                    </a:cubicBezTo>
                    <a:cubicBezTo>
                      <a:pt x="345" y="208"/>
                      <a:pt x="345" y="208"/>
                      <a:pt x="346" y="208"/>
                    </a:cubicBezTo>
                    <a:cubicBezTo>
                      <a:pt x="346" y="208"/>
                      <a:pt x="346" y="208"/>
                      <a:pt x="346" y="208"/>
                    </a:cubicBezTo>
                    <a:cubicBezTo>
                      <a:pt x="347" y="208"/>
                      <a:pt x="347" y="208"/>
                      <a:pt x="347" y="209"/>
                    </a:cubicBezTo>
                    <a:cubicBezTo>
                      <a:pt x="347" y="208"/>
                      <a:pt x="347" y="208"/>
                      <a:pt x="347" y="208"/>
                    </a:cubicBezTo>
                    <a:cubicBezTo>
                      <a:pt x="347" y="208"/>
                      <a:pt x="348" y="208"/>
                      <a:pt x="348" y="208"/>
                    </a:cubicBezTo>
                    <a:cubicBezTo>
                      <a:pt x="348" y="208"/>
                      <a:pt x="348" y="208"/>
                      <a:pt x="348" y="207"/>
                    </a:cubicBezTo>
                    <a:cubicBezTo>
                      <a:pt x="348" y="207"/>
                      <a:pt x="348" y="207"/>
                      <a:pt x="348" y="207"/>
                    </a:cubicBezTo>
                    <a:cubicBezTo>
                      <a:pt x="348" y="208"/>
                      <a:pt x="348" y="208"/>
                      <a:pt x="348" y="208"/>
                    </a:cubicBezTo>
                    <a:cubicBezTo>
                      <a:pt x="348" y="208"/>
                      <a:pt x="349" y="209"/>
                      <a:pt x="349" y="209"/>
                    </a:cubicBezTo>
                    <a:cubicBezTo>
                      <a:pt x="349" y="209"/>
                      <a:pt x="350" y="210"/>
                      <a:pt x="350" y="210"/>
                    </a:cubicBezTo>
                    <a:cubicBezTo>
                      <a:pt x="350" y="210"/>
                      <a:pt x="350" y="211"/>
                      <a:pt x="350" y="211"/>
                    </a:cubicBezTo>
                    <a:cubicBezTo>
                      <a:pt x="351" y="211"/>
                      <a:pt x="351" y="210"/>
                      <a:pt x="351" y="210"/>
                    </a:cubicBezTo>
                    <a:cubicBezTo>
                      <a:pt x="351" y="210"/>
                      <a:pt x="351" y="209"/>
                      <a:pt x="351" y="208"/>
                    </a:cubicBezTo>
                    <a:cubicBezTo>
                      <a:pt x="351" y="208"/>
                      <a:pt x="351" y="207"/>
                      <a:pt x="350" y="207"/>
                    </a:cubicBezTo>
                    <a:cubicBezTo>
                      <a:pt x="350" y="206"/>
                      <a:pt x="350" y="206"/>
                      <a:pt x="350" y="205"/>
                    </a:cubicBezTo>
                    <a:cubicBezTo>
                      <a:pt x="350" y="205"/>
                      <a:pt x="350" y="205"/>
                      <a:pt x="351" y="205"/>
                    </a:cubicBezTo>
                    <a:cubicBezTo>
                      <a:pt x="350" y="204"/>
                      <a:pt x="349" y="203"/>
                      <a:pt x="350" y="202"/>
                    </a:cubicBezTo>
                    <a:cubicBezTo>
                      <a:pt x="350" y="201"/>
                      <a:pt x="350" y="201"/>
                      <a:pt x="349" y="201"/>
                    </a:cubicBezTo>
                    <a:cubicBezTo>
                      <a:pt x="349" y="201"/>
                      <a:pt x="349" y="201"/>
                      <a:pt x="349" y="201"/>
                    </a:cubicBezTo>
                    <a:cubicBezTo>
                      <a:pt x="348" y="201"/>
                      <a:pt x="349" y="200"/>
                      <a:pt x="349" y="200"/>
                    </a:cubicBezTo>
                    <a:cubicBezTo>
                      <a:pt x="349" y="200"/>
                      <a:pt x="349" y="199"/>
                      <a:pt x="349" y="199"/>
                    </a:cubicBezTo>
                    <a:cubicBezTo>
                      <a:pt x="349" y="199"/>
                      <a:pt x="349" y="199"/>
                      <a:pt x="349" y="199"/>
                    </a:cubicBezTo>
                    <a:cubicBezTo>
                      <a:pt x="348" y="199"/>
                      <a:pt x="348" y="199"/>
                      <a:pt x="348" y="199"/>
                    </a:cubicBezTo>
                    <a:cubicBezTo>
                      <a:pt x="348" y="198"/>
                      <a:pt x="348" y="197"/>
                      <a:pt x="347" y="197"/>
                    </a:cubicBezTo>
                    <a:cubicBezTo>
                      <a:pt x="347" y="197"/>
                      <a:pt x="347" y="196"/>
                      <a:pt x="347" y="196"/>
                    </a:cubicBezTo>
                    <a:cubicBezTo>
                      <a:pt x="348" y="197"/>
                      <a:pt x="349" y="198"/>
                      <a:pt x="349" y="198"/>
                    </a:cubicBezTo>
                    <a:cubicBezTo>
                      <a:pt x="349" y="198"/>
                      <a:pt x="349" y="197"/>
                      <a:pt x="348" y="197"/>
                    </a:cubicBezTo>
                    <a:cubicBezTo>
                      <a:pt x="348" y="196"/>
                      <a:pt x="349" y="196"/>
                      <a:pt x="349" y="196"/>
                    </a:cubicBezTo>
                    <a:cubicBezTo>
                      <a:pt x="349" y="196"/>
                      <a:pt x="349" y="196"/>
                      <a:pt x="349" y="197"/>
                    </a:cubicBezTo>
                    <a:cubicBezTo>
                      <a:pt x="349" y="197"/>
                      <a:pt x="349" y="197"/>
                      <a:pt x="350" y="198"/>
                    </a:cubicBezTo>
                    <a:cubicBezTo>
                      <a:pt x="350" y="198"/>
                      <a:pt x="350" y="198"/>
                      <a:pt x="350" y="199"/>
                    </a:cubicBezTo>
                    <a:cubicBezTo>
                      <a:pt x="350" y="199"/>
                      <a:pt x="350" y="199"/>
                      <a:pt x="350" y="199"/>
                    </a:cubicBezTo>
                    <a:cubicBezTo>
                      <a:pt x="350" y="199"/>
                      <a:pt x="350" y="200"/>
                      <a:pt x="350" y="200"/>
                    </a:cubicBezTo>
                    <a:cubicBezTo>
                      <a:pt x="350" y="200"/>
                      <a:pt x="350" y="201"/>
                      <a:pt x="350" y="201"/>
                    </a:cubicBezTo>
                    <a:cubicBezTo>
                      <a:pt x="350" y="201"/>
                      <a:pt x="350" y="201"/>
                      <a:pt x="350" y="201"/>
                    </a:cubicBezTo>
                    <a:cubicBezTo>
                      <a:pt x="350" y="202"/>
                      <a:pt x="350" y="202"/>
                      <a:pt x="350" y="202"/>
                    </a:cubicBezTo>
                    <a:cubicBezTo>
                      <a:pt x="350" y="203"/>
                      <a:pt x="351" y="203"/>
                      <a:pt x="351" y="203"/>
                    </a:cubicBezTo>
                    <a:cubicBezTo>
                      <a:pt x="351" y="203"/>
                      <a:pt x="351" y="203"/>
                      <a:pt x="351" y="203"/>
                    </a:cubicBezTo>
                    <a:cubicBezTo>
                      <a:pt x="351" y="203"/>
                      <a:pt x="351" y="203"/>
                      <a:pt x="351" y="203"/>
                    </a:cubicBezTo>
                    <a:cubicBezTo>
                      <a:pt x="352" y="203"/>
                      <a:pt x="352" y="203"/>
                      <a:pt x="352" y="203"/>
                    </a:cubicBezTo>
                    <a:cubicBezTo>
                      <a:pt x="352" y="203"/>
                      <a:pt x="352" y="204"/>
                      <a:pt x="352" y="205"/>
                    </a:cubicBezTo>
                    <a:cubicBezTo>
                      <a:pt x="352" y="205"/>
                      <a:pt x="352" y="206"/>
                      <a:pt x="353" y="206"/>
                    </a:cubicBezTo>
                    <a:cubicBezTo>
                      <a:pt x="353" y="206"/>
                      <a:pt x="353" y="207"/>
                      <a:pt x="353" y="207"/>
                    </a:cubicBezTo>
                    <a:cubicBezTo>
                      <a:pt x="353" y="208"/>
                      <a:pt x="353" y="208"/>
                      <a:pt x="353" y="208"/>
                    </a:cubicBezTo>
                    <a:cubicBezTo>
                      <a:pt x="353" y="208"/>
                      <a:pt x="354" y="208"/>
                      <a:pt x="354" y="208"/>
                    </a:cubicBezTo>
                    <a:cubicBezTo>
                      <a:pt x="354" y="209"/>
                      <a:pt x="354" y="209"/>
                      <a:pt x="354" y="209"/>
                    </a:cubicBezTo>
                    <a:cubicBezTo>
                      <a:pt x="354" y="209"/>
                      <a:pt x="354" y="209"/>
                      <a:pt x="354" y="209"/>
                    </a:cubicBezTo>
                    <a:cubicBezTo>
                      <a:pt x="354" y="210"/>
                      <a:pt x="354" y="210"/>
                      <a:pt x="354" y="210"/>
                    </a:cubicBezTo>
                    <a:cubicBezTo>
                      <a:pt x="354" y="210"/>
                      <a:pt x="355" y="210"/>
                      <a:pt x="355" y="210"/>
                    </a:cubicBezTo>
                    <a:cubicBezTo>
                      <a:pt x="355" y="210"/>
                      <a:pt x="356" y="210"/>
                      <a:pt x="356" y="210"/>
                    </a:cubicBezTo>
                    <a:cubicBezTo>
                      <a:pt x="356" y="210"/>
                      <a:pt x="356" y="211"/>
                      <a:pt x="356" y="211"/>
                    </a:cubicBezTo>
                    <a:cubicBezTo>
                      <a:pt x="356" y="211"/>
                      <a:pt x="357" y="210"/>
                      <a:pt x="356" y="210"/>
                    </a:cubicBezTo>
                    <a:cubicBezTo>
                      <a:pt x="356" y="210"/>
                      <a:pt x="356" y="210"/>
                      <a:pt x="356" y="210"/>
                    </a:cubicBezTo>
                    <a:cubicBezTo>
                      <a:pt x="356" y="210"/>
                      <a:pt x="356" y="210"/>
                      <a:pt x="356" y="209"/>
                    </a:cubicBezTo>
                    <a:cubicBezTo>
                      <a:pt x="356" y="209"/>
                      <a:pt x="356" y="210"/>
                      <a:pt x="356" y="210"/>
                    </a:cubicBezTo>
                    <a:cubicBezTo>
                      <a:pt x="357" y="210"/>
                      <a:pt x="357" y="210"/>
                      <a:pt x="357" y="211"/>
                    </a:cubicBezTo>
                    <a:cubicBezTo>
                      <a:pt x="357" y="211"/>
                      <a:pt x="357" y="211"/>
                      <a:pt x="357" y="211"/>
                    </a:cubicBezTo>
                    <a:cubicBezTo>
                      <a:pt x="357" y="211"/>
                      <a:pt x="357" y="210"/>
                      <a:pt x="357" y="210"/>
                    </a:cubicBezTo>
                    <a:cubicBezTo>
                      <a:pt x="358" y="210"/>
                      <a:pt x="358" y="210"/>
                      <a:pt x="358" y="209"/>
                    </a:cubicBezTo>
                    <a:cubicBezTo>
                      <a:pt x="358" y="209"/>
                      <a:pt x="358" y="209"/>
                      <a:pt x="358" y="208"/>
                    </a:cubicBezTo>
                    <a:cubicBezTo>
                      <a:pt x="358" y="208"/>
                      <a:pt x="358" y="208"/>
                      <a:pt x="358" y="208"/>
                    </a:cubicBezTo>
                    <a:cubicBezTo>
                      <a:pt x="358" y="208"/>
                      <a:pt x="358" y="208"/>
                      <a:pt x="359" y="207"/>
                    </a:cubicBezTo>
                    <a:cubicBezTo>
                      <a:pt x="359" y="207"/>
                      <a:pt x="359" y="207"/>
                      <a:pt x="359" y="207"/>
                    </a:cubicBezTo>
                    <a:cubicBezTo>
                      <a:pt x="359" y="207"/>
                      <a:pt x="359" y="207"/>
                      <a:pt x="359" y="207"/>
                    </a:cubicBezTo>
                    <a:cubicBezTo>
                      <a:pt x="359" y="208"/>
                      <a:pt x="359" y="208"/>
                      <a:pt x="359" y="208"/>
                    </a:cubicBezTo>
                    <a:cubicBezTo>
                      <a:pt x="358" y="208"/>
                      <a:pt x="358" y="209"/>
                      <a:pt x="358" y="209"/>
                    </a:cubicBezTo>
                    <a:cubicBezTo>
                      <a:pt x="358" y="209"/>
                      <a:pt x="358" y="209"/>
                      <a:pt x="358" y="209"/>
                    </a:cubicBezTo>
                    <a:cubicBezTo>
                      <a:pt x="358" y="210"/>
                      <a:pt x="358" y="210"/>
                      <a:pt x="358" y="210"/>
                    </a:cubicBezTo>
                    <a:cubicBezTo>
                      <a:pt x="358" y="211"/>
                      <a:pt x="358" y="211"/>
                      <a:pt x="358" y="211"/>
                    </a:cubicBezTo>
                    <a:cubicBezTo>
                      <a:pt x="358" y="211"/>
                      <a:pt x="358" y="211"/>
                      <a:pt x="358" y="211"/>
                    </a:cubicBezTo>
                    <a:cubicBezTo>
                      <a:pt x="358" y="211"/>
                      <a:pt x="358" y="211"/>
                      <a:pt x="358" y="211"/>
                    </a:cubicBezTo>
                    <a:cubicBezTo>
                      <a:pt x="358" y="211"/>
                      <a:pt x="358" y="212"/>
                      <a:pt x="358" y="212"/>
                    </a:cubicBezTo>
                    <a:cubicBezTo>
                      <a:pt x="358" y="212"/>
                      <a:pt x="358" y="212"/>
                      <a:pt x="358" y="212"/>
                    </a:cubicBezTo>
                    <a:cubicBezTo>
                      <a:pt x="358" y="213"/>
                      <a:pt x="358" y="213"/>
                      <a:pt x="359" y="213"/>
                    </a:cubicBezTo>
                    <a:cubicBezTo>
                      <a:pt x="359" y="213"/>
                      <a:pt x="359" y="213"/>
                      <a:pt x="359" y="213"/>
                    </a:cubicBezTo>
                    <a:cubicBezTo>
                      <a:pt x="359" y="214"/>
                      <a:pt x="359" y="213"/>
                      <a:pt x="359" y="213"/>
                    </a:cubicBezTo>
                    <a:cubicBezTo>
                      <a:pt x="359" y="213"/>
                      <a:pt x="360" y="213"/>
                      <a:pt x="360" y="213"/>
                    </a:cubicBezTo>
                    <a:cubicBezTo>
                      <a:pt x="360" y="213"/>
                      <a:pt x="360" y="213"/>
                      <a:pt x="360" y="213"/>
                    </a:cubicBezTo>
                    <a:cubicBezTo>
                      <a:pt x="360" y="212"/>
                      <a:pt x="360" y="212"/>
                      <a:pt x="360" y="212"/>
                    </a:cubicBezTo>
                    <a:cubicBezTo>
                      <a:pt x="360" y="212"/>
                      <a:pt x="360" y="212"/>
                      <a:pt x="360" y="212"/>
                    </a:cubicBezTo>
                    <a:cubicBezTo>
                      <a:pt x="360" y="212"/>
                      <a:pt x="360" y="212"/>
                      <a:pt x="360" y="212"/>
                    </a:cubicBezTo>
                    <a:cubicBezTo>
                      <a:pt x="360" y="213"/>
                      <a:pt x="360" y="213"/>
                      <a:pt x="361" y="213"/>
                    </a:cubicBezTo>
                    <a:cubicBezTo>
                      <a:pt x="360" y="213"/>
                      <a:pt x="360" y="214"/>
                      <a:pt x="360" y="214"/>
                    </a:cubicBezTo>
                    <a:cubicBezTo>
                      <a:pt x="360" y="214"/>
                      <a:pt x="360" y="214"/>
                      <a:pt x="360" y="214"/>
                    </a:cubicBezTo>
                    <a:cubicBezTo>
                      <a:pt x="359" y="214"/>
                      <a:pt x="359" y="214"/>
                      <a:pt x="359" y="214"/>
                    </a:cubicBezTo>
                    <a:cubicBezTo>
                      <a:pt x="359" y="215"/>
                      <a:pt x="360" y="215"/>
                      <a:pt x="360" y="215"/>
                    </a:cubicBezTo>
                    <a:cubicBezTo>
                      <a:pt x="360" y="215"/>
                      <a:pt x="360" y="215"/>
                      <a:pt x="360" y="215"/>
                    </a:cubicBezTo>
                    <a:cubicBezTo>
                      <a:pt x="360" y="215"/>
                      <a:pt x="360" y="215"/>
                      <a:pt x="360" y="216"/>
                    </a:cubicBezTo>
                    <a:cubicBezTo>
                      <a:pt x="360" y="216"/>
                      <a:pt x="360" y="216"/>
                      <a:pt x="361" y="216"/>
                    </a:cubicBezTo>
                    <a:cubicBezTo>
                      <a:pt x="361" y="216"/>
                      <a:pt x="361" y="215"/>
                      <a:pt x="361" y="215"/>
                    </a:cubicBezTo>
                    <a:cubicBezTo>
                      <a:pt x="361" y="215"/>
                      <a:pt x="361" y="214"/>
                      <a:pt x="361" y="214"/>
                    </a:cubicBezTo>
                    <a:cubicBezTo>
                      <a:pt x="361" y="214"/>
                      <a:pt x="361" y="214"/>
                      <a:pt x="361" y="214"/>
                    </a:cubicBezTo>
                    <a:cubicBezTo>
                      <a:pt x="361" y="214"/>
                      <a:pt x="361" y="214"/>
                      <a:pt x="361" y="214"/>
                    </a:cubicBezTo>
                    <a:cubicBezTo>
                      <a:pt x="362" y="214"/>
                      <a:pt x="363" y="214"/>
                      <a:pt x="364" y="215"/>
                    </a:cubicBezTo>
                    <a:cubicBezTo>
                      <a:pt x="364" y="215"/>
                      <a:pt x="364" y="215"/>
                      <a:pt x="364" y="215"/>
                    </a:cubicBezTo>
                    <a:cubicBezTo>
                      <a:pt x="364" y="215"/>
                      <a:pt x="364" y="215"/>
                      <a:pt x="364" y="215"/>
                    </a:cubicBezTo>
                    <a:cubicBezTo>
                      <a:pt x="363" y="215"/>
                      <a:pt x="363" y="215"/>
                      <a:pt x="363" y="215"/>
                    </a:cubicBezTo>
                    <a:cubicBezTo>
                      <a:pt x="362" y="214"/>
                      <a:pt x="362" y="214"/>
                      <a:pt x="362" y="214"/>
                    </a:cubicBezTo>
                    <a:cubicBezTo>
                      <a:pt x="361" y="214"/>
                      <a:pt x="361" y="215"/>
                      <a:pt x="361" y="215"/>
                    </a:cubicBezTo>
                    <a:cubicBezTo>
                      <a:pt x="361" y="216"/>
                      <a:pt x="361" y="216"/>
                      <a:pt x="361" y="216"/>
                    </a:cubicBezTo>
                    <a:cubicBezTo>
                      <a:pt x="362" y="217"/>
                      <a:pt x="363" y="217"/>
                      <a:pt x="364" y="218"/>
                    </a:cubicBezTo>
                    <a:cubicBezTo>
                      <a:pt x="364" y="218"/>
                      <a:pt x="364" y="218"/>
                      <a:pt x="364" y="218"/>
                    </a:cubicBezTo>
                    <a:cubicBezTo>
                      <a:pt x="364" y="219"/>
                      <a:pt x="364" y="219"/>
                      <a:pt x="364" y="219"/>
                    </a:cubicBezTo>
                    <a:cubicBezTo>
                      <a:pt x="365" y="219"/>
                      <a:pt x="365" y="219"/>
                      <a:pt x="365" y="219"/>
                    </a:cubicBezTo>
                    <a:cubicBezTo>
                      <a:pt x="365" y="219"/>
                      <a:pt x="365" y="219"/>
                      <a:pt x="365" y="220"/>
                    </a:cubicBezTo>
                    <a:cubicBezTo>
                      <a:pt x="365" y="220"/>
                      <a:pt x="365" y="220"/>
                      <a:pt x="365" y="219"/>
                    </a:cubicBezTo>
                    <a:cubicBezTo>
                      <a:pt x="364" y="219"/>
                      <a:pt x="364" y="219"/>
                      <a:pt x="364" y="219"/>
                    </a:cubicBezTo>
                    <a:cubicBezTo>
                      <a:pt x="364" y="219"/>
                      <a:pt x="364" y="219"/>
                      <a:pt x="364" y="219"/>
                    </a:cubicBezTo>
                    <a:cubicBezTo>
                      <a:pt x="363" y="218"/>
                      <a:pt x="363" y="218"/>
                      <a:pt x="362" y="217"/>
                    </a:cubicBezTo>
                    <a:cubicBezTo>
                      <a:pt x="362" y="217"/>
                      <a:pt x="362" y="217"/>
                      <a:pt x="361" y="217"/>
                    </a:cubicBezTo>
                    <a:cubicBezTo>
                      <a:pt x="361" y="217"/>
                      <a:pt x="361" y="217"/>
                      <a:pt x="361" y="217"/>
                    </a:cubicBezTo>
                    <a:cubicBezTo>
                      <a:pt x="361" y="217"/>
                      <a:pt x="361" y="217"/>
                      <a:pt x="361" y="217"/>
                    </a:cubicBezTo>
                    <a:cubicBezTo>
                      <a:pt x="361" y="217"/>
                      <a:pt x="361" y="217"/>
                      <a:pt x="361" y="218"/>
                    </a:cubicBezTo>
                    <a:cubicBezTo>
                      <a:pt x="361" y="218"/>
                      <a:pt x="361" y="218"/>
                      <a:pt x="361" y="218"/>
                    </a:cubicBezTo>
                    <a:cubicBezTo>
                      <a:pt x="361" y="218"/>
                      <a:pt x="361" y="218"/>
                      <a:pt x="361" y="218"/>
                    </a:cubicBezTo>
                    <a:cubicBezTo>
                      <a:pt x="361" y="218"/>
                      <a:pt x="361" y="218"/>
                      <a:pt x="361" y="219"/>
                    </a:cubicBezTo>
                    <a:cubicBezTo>
                      <a:pt x="361" y="219"/>
                      <a:pt x="361" y="219"/>
                      <a:pt x="361" y="219"/>
                    </a:cubicBezTo>
                    <a:cubicBezTo>
                      <a:pt x="362" y="219"/>
                      <a:pt x="361" y="219"/>
                      <a:pt x="361" y="219"/>
                    </a:cubicBezTo>
                    <a:cubicBezTo>
                      <a:pt x="361" y="219"/>
                      <a:pt x="361" y="219"/>
                      <a:pt x="361" y="220"/>
                    </a:cubicBezTo>
                    <a:cubicBezTo>
                      <a:pt x="361" y="220"/>
                      <a:pt x="361" y="220"/>
                      <a:pt x="361" y="220"/>
                    </a:cubicBezTo>
                    <a:cubicBezTo>
                      <a:pt x="361" y="220"/>
                      <a:pt x="362" y="220"/>
                      <a:pt x="362" y="220"/>
                    </a:cubicBezTo>
                    <a:cubicBezTo>
                      <a:pt x="362" y="220"/>
                      <a:pt x="362" y="220"/>
                      <a:pt x="363" y="220"/>
                    </a:cubicBezTo>
                    <a:cubicBezTo>
                      <a:pt x="362" y="221"/>
                      <a:pt x="362" y="221"/>
                      <a:pt x="362" y="221"/>
                    </a:cubicBezTo>
                    <a:cubicBezTo>
                      <a:pt x="362" y="221"/>
                      <a:pt x="362" y="221"/>
                      <a:pt x="362" y="221"/>
                    </a:cubicBezTo>
                    <a:cubicBezTo>
                      <a:pt x="363" y="222"/>
                      <a:pt x="363" y="222"/>
                      <a:pt x="363" y="222"/>
                    </a:cubicBezTo>
                    <a:cubicBezTo>
                      <a:pt x="364" y="222"/>
                      <a:pt x="364" y="222"/>
                      <a:pt x="364" y="222"/>
                    </a:cubicBezTo>
                    <a:cubicBezTo>
                      <a:pt x="364" y="222"/>
                      <a:pt x="364" y="222"/>
                      <a:pt x="364" y="222"/>
                    </a:cubicBezTo>
                    <a:cubicBezTo>
                      <a:pt x="364" y="222"/>
                      <a:pt x="364" y="222"/>
                      <a:pt x="364" y="222"/>
                    </a:cubicBezTo>
                    <a:cubicBezTo>
                      <a:pt x="364" y="222"/>
                      <a:pt x="363" y="222"/>
                      <a:pt x="363" y="222"/>
                    </a:cubicBezTo>
                    <a:cubicBezTo>
                      <a:pt x="363" y="222"/>
                      <a:pt x="362" y="222"/>
                      <a:pt x="362" y="222"/>
                    </a:cubicBezTo>
                    <a:cubicBezTo>
                      <a:pt x="362" y="222"/>
                      <a:pt x="362" y="222"/>
                      <a:pt x="362" y="222"/>
                    </a:cubicBezTo>
                    <a:cubicBezTo>
                      <a:pt x="362" y="222"/>
                      <a:pt x="362" y="222"/>
                      <a:pt x="362" y="223"/>
                    </a:cubicBezTo>
                    <a:cubicBezTo>
                      <a:pt x="362" y="223"/>
                      <a:pt x="361" y="223"/>
                      <a:pt x="361" y="223"/>
                    </a:cubicBezTo>
                    <a:cubicBezTo>
                      <a:pt x="361" y="223"/>
                      <a:pt x="361" y="223"/>
                      <a:pt x="361" y="223"/>
                    </a:cubicBezTo>
                    <a:cubicBezTo>
                      <a:pt x="361" y="223"/>
                      <a:pt x="361" y="223"/>
                      <a:pt x="361" y="223"/>
                    </a:cubicBezTo>
                    <a:cubicBezTo>
                      <a:pt x="362" y="224"/>
                      <a:pt x="362" y="224"/>
                      <a:pt x="363" y="224"/>
                    </a:cubicBezTo>
                    <a:cubicBezTo>
                      <a:pt x="363" y="224"/>
                      <a:pt x="363" y="224"/>
                      <a:pt x="363" y="224"/>
                    </a:cubicBezTo>
                    <a:cubicBezTo>
                      <a:pt x="363" y="224"/>
                      <a:pt x="363" y="224"/>
                      <a:pt x="363" y="224"/>
                    </a:cubicBezTo>
                    <a:cubicBezTo>
                      <a:pt x="363" y="224"/>
                      <a:pt x="364" y="224"/>
                      <a:pt x="364" y="224"/>
                    </a:cubicBezTo>
                    <a:cubicBezTo>
                      <a:pt x="364" y="224"/>
                      <a:pt x="364" y="224"/>
                      <a:pt x="364" y="224"/>
                    </a:cubicBezTo>
                    <a:cubicBezTo>
                      <a:pt x="364" y="224"/>
                      <a:pt x="364" y="224"/>
                      <a:pt x="364" y="224"/>
                    </a:cubicBezTo>
                    <a:cubicBezTo>
                      <a:pt x="364" y="224"/>
                      <a:pt x="364" y="224"/>
                      <a:pt x="364" y="224"/>
                    </a:cubicBezTo>
                    <a:cubicBezTo>
                      <a:pt x="364" y="224"/>
                      <a:pt x="364" y="224"/>
                      <a:pt x="364" y="225"/>
                    </a:cubicBezTo>
                    <a:cubicBezTo>
                      <a:pt x="364" y="225"/>
                      <a:pt x="364" y="225"/>
                      <a:pt x="365" y="225"/>
                    </a:cubicBezTo>
                    <a:cubicBezTo>
                      <a:pt x="365" y="225"/>
                      <a:pt x="365" y="225"/>
                      <a:pt x="365" y="225"/>
                    </a:cubicBezTo>
                    <a:cubicBezTo>
                      <a:pt x="365" y="225"/>
                      <a:pt x="366" y="225"/>
                      <a:pt x="366" y="225"/>
                    </a:cubicBezTo>
                    <a:cubicBezTo>
                      <a:pt x="366" y="225"/>
                      <a:pt x="366" y="225"/>
                      <a:pt x="366" y="225"/>
                    </a:cubicBezTo>
                    <a:cubicBezTo>
                      <a:pt x="366" y="224"/>
                      <a:pt x="366" y="224"/>
                      <a:pt x="366" y="224"/>
                    </a:cubicBezTo>
                    <a:cubicBezTo>
                      <a:pt x="366" y="224"/>
                      <a:pt x="366" y="224"/>
                      <a:pt x="366" y="224"/>
                    </a:cubicBezTo>
                    <a:cubicBezTo>
                      <a:pt x="366" y="224"/>
                      <a:pt x="366" y="224"/>
                      <a:pt x="366" y="225"/>
                    </a:cubicBezTo>
                    <a:cubicBezTo>
                      <a:pt x="366" y="225"/>
                      <a:pt x="366" y="225"/>
                      <a:pt x="366" y="225"/>
                    </a:cubicBezTo>
                    <a:cubicBezTo>
                      <a:pt x="366" y="225"/>
                      <a:pt x="366" y="226"/>
                      <a:pt x="366" y="226"/>
                    </a:cubicBezTo>
                    <a:cubicBezTo>
                      <a:pt x="366" y="226"/>
                      <a:pt x="366" y="226"/>
                      <a:pt x="365" y="226"/>
                    </a:cubicBezTo>
                    <a:cubicBezTo>
                      <a:pt x="365" y="226"/>
                      <a:pt x="365" y="226"/>
                      <a:pt x="365" y="226"/>
                    </a:cubicBezTo>
                    <a:cubicBezTo>
                      <a:pt x="366" y="227"/>
                      <a:pt x="366" y="227"/>
                      <a:pt x="366" y="227"/>
                    </a:cubicBezTo>
                    <a:cubicBezTo>
                      <a:pt x="366" y="227"/>
                      <a:pt x="366" y="227"/>
                      <a:pt x="366" y="228"/>
                    </a:cubicBezTo>
                    <a:cubicBezTo>
                      <a:pt x="367" y="228"/>
                      <a:pt x="367" y="228"/>
                      <a:pt x="367" y="228"/>
                    </a:cubicBezTo>
                    <a:cubicBezTo>
                      <a:pt x="367" y="228"/>
                      <a:pt x="367" y="229"/>
                      <a:pt x="367" y="229"/>
                    </a:cubicBezTo>
                    <a:cubicBezTo>
                      <a:pt x="368" y="229"/>
                      <a:pt x="368" y="229"/>
                      <a:pt x="368" y="229"/>
                    </a:cubicBezTo>
                    <a:cubicBezTo>
                      <a:pt x="368" y="229"/>
                      <a:pt x="368" y="229"/>
                      <a:pt x="368" y="229"/>
                    </a:cubicBezTo>
                    <a:cubicBezTo>
                      <a:pt x="368" y="229"/>
                      <a:pt x="368" y="229"/>
                      <a:pt x="368" y="229"/>
                    </a:cubicBezTo>
                    <a:cubicBezTo>
                      <a:pt x="368" y="229"/>
                      <a:pt x="368" y="229"/>
                      <a:pt x="368" y="229"/>
                    </a:cubicBezTo>
                    <a:cubicBezTo>
                      <a:pt x="368" y="229"/>
                      <a:pt x="368" y="229"/>
                      <a:pt x="368" y="230"/>
                    </a:cubicBezTo>
                    <a:cubicBezTo>
                      <a:pt x="368" y="230"/>
                      <a:pt x="368" y="230"/>
                      <a:pt x="368" y="230"/>
                    </a:cubicBezTo>
                    <a:cubicBezTo>
                      <a:pt x="368" y="230"/>
                      <a:pt x="368" y="230"/>
                      <a:pt x="368" y="230"/>
                    </a:cubicBezTo>
                    <a:cubicBezTo>
                      <a:pt x="368" y="230"/>
                      <a:pt x="369" y="230"/>
                      <a:pt x="369" y="230"/>
                    </a:cubicBezTo>
                    <a:cubicBezTo>
                      <a:pt x="369" y="230"/>
                      <a:pt x="369" y="230"/>
                      <a:pt x="369" y="230"/>
                    </a:cubicBezTo>
                    <a:cubicBezTo>
                      <a:pt x="369" y="230"/>
                      <a:pt x="369" y="230"/>
                      <a:pt x="369" y="230"/>
                    </a:cubicBezTo>
                    <a:cubicBezTo>
                      <a:pt x="369" y="231"/>
                      <a:pt x="369" y="231"/>
                      <a:pt x="369" y="231"/>
                    </a:cubicBezTo>
                    <a:cubicBezTo>
                      <a:pt x="369" y="232"/>
                      <a:pt x="369" y="232"/>
                      <a:pt x="370" y="232"/>
                    </a:cubicBezTo>
                    <a:cubicBezTo>
                      <a:pt x="370" y="232"/>
                      <a:pt x="370" y="232"/>
                      <a:pt x="370" y="232"/>
                    </a:cubicBezTo>
                    <a:cubicBezTo>
                      <a:pt x="370" y="232"/>
                      <a:pt x="370" y="233"/>
                      <a:pt x="370" y="233"/>
                    </a:cubicBezTo>
                    <a:cubicBezTo>
                      <a:pt x="370" y="233"/>
                      <a:pt x="371" y="233"/>
                      <a:pt x="371" y="234"/>
                    </a:cubicBezTo>
                    <a:cubicBezTo>
                      <a:pt x="371" y="234"/>
                      <a:pt x="371" y="234"/>
                      <a:pt x="371" y="234"/>
                    </a:cubicBezTo>
                    <a:cubicBezTo>
                      <a:pt x="371" y="234"/>
                      <a:pt x="371" y="234"/>
                      <a:pt x="371" y="234"/>
                    </a:cubicBezTo>
                    <a:cubicBezTo>
                      <a:pt x="371" y="234"/>
                      <a:pt x="371" y="234"/>
                      <a:pt x="370" y="234"/>
                    </a:cubicBezTo>
                    <a:cubicBezTo>
                      <a:pt x="370" y="233"/>
                      <a:pt x="370" y="233"/>
                      <a:pt x="370" y="233"/>
                    </a:cubicBezTo>
                    <a:cubicBezTo>
                      <a:pt x="369" y="232"/>
                      <a:pt x="369" y="232"/>
                      <a:pt x="369" y="232"/>
                    </a:cubicBezTo>
                    <a:cubicBezTo>
                      <a:pt x="369" y="232"/>
                      <a:pt x="369" y="232"/>
                      <a:pt x="369" y="232"/>
                    </a:cubicBezTo>
                    <a:cubicBezTo>
                      <a:pt x="369" y="233"/>
                      <a:pt x="369" y="233"/>
                      <a:pt x="369" y="233"/>
                    </a:cubicBezTo>
                    <a:cubicBezTo>
                      <a:pt x="369" y="233"/>
                      <a:pt x="369" y="233"/>
                      <a:pt x="369" y="234"/>
                    </a:cubicBezTo>
                    <a:cubicBezTo>
                      <a:pt x="369" y="234"/>
                      <a:pt x="370" y="234"/>
                      <a:pt x="369" y="234"/>
                    </a:cubicBezTo>
                    <a:cubicBezTo>
                      <a:pt x="369" y="234"/>
                      <a:pt x="369" y="234"/>
                      <a:pt x="369" y="234"/>
                    </a:cubicBezTo>
                    <a:cubicBezTo>
                      <a:pt x="369" y="235"/>
                      <a:pt x="369" y="235"/>
                      <a:pt x="369" y="235"/>
                    </a:cubicBezTo>
                    <a:cubicBezTo>
                      <a:pt x="370" y="235"/>
                      <a:pt x="370" y="235"/>
                      <a:pt x="370" y="235"/>
                    </a:cubicBezTo>
                    <a:cubicBezTo>
                      <a:pt x="370" y="235"/>
                      <a:pt x="369" y="235"/>
                      <a:pt x="369" y="235"/>
                    </a:cubicBezTo>
                    <a:cubicBezTo>
                      <a:pt x="369" y="235"/>
                      <a:pt x="369" y="235"/>
                      <a:pt x="369" y="236"/>
                    </a:cubicBezTo>
                    <a:cubicBezTo>
                      <a:pt x="369" y="236"/>
                      <a:pt x="368" y="236"/>
                      <a:pt x="368" y="236"/>
                    </a:cubicBezTo>
                    <a:cubicBezTo>
                      <a:pt x="368" y="235"/>
                      <a:pt x="368" y="235"/>
                      <a:pt x="368" y="235"/>
                    </a:cubicBezTo>
                    <a:cubicBezTo>
                      <a:pt x="368" y="235"/>
                      <a:pt x="369" y="235"/>
                      <a:pt x="369" y="235"/>
                    </a:cubicBezTo>
                    <a:cubicBezTo>
                      <a:pt x="369" y="235"/>
                      <a:pt x="369" y="235"/>
                      <a:pt x="369" y="234"/>
                    </a:cubicBezTo>
                    <a:cubicBezTo>
                      <a:pt x="369" y="234"/>
                      <a:pt x="369" y="234"/>
                      <a:pt x="369" y="234"/>
                    </a:cubicBezTo>
                    <a:cubicBezTo>
                      <a:pt x="369" y="234"/>
                      <a:pt x="369" y="234"/>
                      <a:pt x="369" y="234"/>
                    </a:cubicBezTo>
                    <a:cubicBezTo>
                      <a:pt x="369" y="234"/>
                      <a:pt x="369" y="234"/>
                      <a:pt x="369" y="234"/>
                    </a:cubicBezTo>
                    <a:cubicBezTo>
                      <a:pt x="369" y="234"/>
                      <a:pt x="368" y="234"/>
                      <a:pt x="368" y="233"/>
                    </a:cubicBezTo>
                    <a:cubicBezTo>
                      <a:pt x="368" y="233"/>
                      <a:pt x="369" y="233"/>
                      <a:pt x="369" y="233"/>
                    </a:cubicBezTo>
                    <a:cubicBezTo>
                      <a:pt x="369" y="233"/>
                      <a:pt x="369" y="233"/>
                      <a:pt x="368" y="233"/>
                    </a:cubicBezTo>
                    <a:cubicBezTo>
                      <a:pt x="368" y="232"/>
                      <a:pt x="368" y="233"/>
                      <a:pt x="368" y="233"/>
                    </a:cubicBezTo>
                    <a:cubicBezTo>
                      <a:pt x="368" y="233"/>
                      <a:pt x="368" y="234"/>
                      <a:pt x="368" y="234"/>
                    </a:cubicBezTo>
                    <a:cubicBezTo>
                      <a:pt x="368" y="234"/>
                      <a:pt x="368" y="234"/>
                      <a:pt x="368" y="234"/>
                    </a:cubicBezTo>
                    <a:cubicBezTo>
                      <a:pt x="367" y="235"/>
                      <a:pt x="368" y="235"/>
                      <a:pt x="367" y="235"/>
                    </a:cubicBezTo>
                    <a:cubicBezTo>
                      <a:pt x="367" y="235"/>
                      <a:pt x="367" y="235"/>
                      <a:pt x="367" y="235"/>
                    </a:cubicBezTo>
                    <a:cubicBezTo>
                      <a:pt x="367" y="235"/>
                      <a:pt x="367" y="236"/>
                      <a:pt x="367" y="236"/>
                    </a:cubicBezTo>
                    <a:cubicBezTo>
                      <a:pt x="367" y="236"/>
                      <a:pt x="367" y="237"/>
                      <a:pt x="367" y="237"/>
                    </a:cubicBezTo>
                    <a:cubicBezTo>
                      <a:pt x="367" y="237"/>
                      <a:pt x="367" y="237"/>
                      <a:pt x="367" y="237"/>
                    </a:cubicBezTo>
                    <a:cubicBezTo>
                      <a:pt x="367" y="237"/>
                      <a:pt x="367" y="237"/>
                      <a:pt x="367" y="237"/>
                    </a:cubicBezTo>
                    <a:cubicBezTo>
                      <a:pt x="368" y="237"/>
                      <a:pt x="368" y="237"/>
                      <a:pt x="368" y="237"/>
                    </a:cubicBezTo>
                    <a:cubicBezTo>
                      <a:pt x="368" y="237"/>
                      <a:pt x="368" y="237"/>
                      <a:pt x="368" y="237"/>
                    </a:cubicBezTo>
                    <a:cubicBezTo>
                      <a:pt x="368" y="237"/>
                      <a:pt x="368" y="238"/>
                      <a:pt x="369" y="238"/>
                    </a:cubicBezTo>
                    <a:cubicBezTo>
                      <a:pt x="369" y="238"/>
                      <a:pt x="369" y="238"/>
                      <a:pt x="369" y="238"/>
                    </a:cubicBezTo>
                    <a:cubicBezTo>
                      <a:pt x="369" y="239"/>
                      <a:pt x="369" y="239"/>
                      <a:pt x="369" y="239"/>
                    </a:cubicBezTo>
                    <a:cubicBezTo>
                      <a:pt x="369" y="239"/>
                      <a:pt x="369" y="239"/>
                      <a:pt x="369" y="239"/>
                    </a:cubicBezTo>
                    <a:cubicBezTo>
                      <a:pt x="369" y="239"/>
                      <a:pt x="369" y="239"/>
                      <a:pt x="369" y="239"/>
                    </a:cubicBezTo>
                    <a:cubicBezTo>
                      <a:pt x="369" y="239"/>
                      <a:pt x="370" y="239"/>
                      <a:pt x="370" y="238"/>
                    </a:cubicBezTo>
                    <a:cubicBezTo>
                      <a:pt x="370" y="238"/>
                      <a:pt x="370" y="238"/>
                      <a:pt x="370" y="238"/>
                    </a:cubicBezTo>
                    <a:cubicBezTo>
                      <a:pt x="370" y="238"/>
                      <a:pt x="370" y="238"/>
                      <a:pt x="370" y="238"/>
                    </a:cubicBezTo>
                    <a:cubicBezTo>
                      <a:pt x="371" y="238"/>
                      <a:pt x="371" y="237"/>
                      <a:pt x="370" y="237"/>
                    </a:cubicBezTo>
                    <a:cubicBezTo>
                      <a:pt x="370" y="237"/>
                      <a:pt x="370" y="237"/>
                      <a:pt x="370" y="237"/>
                    </a:cubicBezTo>
                    <a:cubicBezTo>
                      <a:pt x="370" y="237"/>
                      <a:pt x="370" y="237"/>
                      <a:pt x="370" y="237"/>
                    </a:cubicBezTo>
                    <a:cubicBezTo>
                      <a:pt x="371" y="237"/>
                      <a:pt x="371" y="236"/>
                      <a:pt x="371" y="236"/>
                    </a:cubicBezTo>
                    <a:cubicBezTo>
                      <a:pt x="370" y="236"/>
                      <a:pt x="370" y="236"/>
                      <a:pt x="370" y="236"/>
                    </a:cubicBezTo>
                    <a:cubicBezTo>
                      <a:pt x="370" y="236"/>
                      <a:pt x="370" y="236"/>
                      <a:pt x="370" y="236"/>
                    </a:cubicBezTo>
                    <a:cubicBezTo>
                      <a:pt x="370" y="236"/>
                      <a:pt x="370" y="236"/>
                      <a:pt x="371" y="236"/>
                    </a:cubicBezTo>
                    <a:cubicBezTo>
                      <a:pt x="371" y="236"/>
                      <a:pt x="371" y="236"/>
                      <a:pt x="371" y="236"/>
                    </a:cubicBezTo>
                    <a:cubicBezTo>
                      <a:pt x="371" y="236"/>
                      <a:pt x="371" y="235"/>
                      <a:pt x="372" y="235"/>
                    </a:cubicBezTo>
                    <a:cubicBezTo>
                      <a:pt x="372" y="235"/>
                      <a:pt x="373" y="235"/>
                      <a:pt x="373" y="235"/>
                    </a:cubicBezTo>
                    <a:cubicBezTo>
                      <a:pt x="373" y="235"/>
                      <a:pt x="374" y="235"/>
                      <a:pt x="374" y="235"/>
                    </a:cubicBezTo>
                    <a:cubicBezTo>
                      <a:pt x="374" y="235"/>
                      <a:pt x="374" y="235"/>
                      <a:pt x="374" y="235"/>
                    </a:cubicBezTo>
                    <a:cubicBezTo>
                      <a:pt x="374" y="235"/>
                      <a:pt x="375" y="235"/>
                      <a:pt x="375" y="235"/>
                    </a:cubicBezTo>
                    <a:cubicBezTo>
                      <a:pt x="375" y="236"/>
                      <a:pt x="375" y="236"/>
                      <a:pt x="374" y="236"/>
                    </a:cubicBezTo>
                    <a:cubicBezTo>
                      <a:pt x="374" y="236"/>
                      <a:pt x="374" y="236"/>
                      <a:pt x="374" y="236"/>
                    </a:cubicBezTo>
                    <a:cubicBezTo>
                      <a:pt x="374" y="236"/>
                      <a:pt x="373" y="236"/>
                      <a:pt x="372" y="236"/>
                    </a:cubicBezTo>
                    <a:cubicBezTo>
                      <a:pt x="372" y="236"/>
                      <a:pt x="372" y="236"/>
                      <a:pt x="372" y="236"/>
                    </a:cubicBezTo>
                    <a:cubicBezTo>
                      <a:pt x="372" y="236"/>
                      <a:pt x="372" y="236"/>
                      <a:pt x="372" y="236"/>
                    </a:cubicBezTo>
                    <a:cubicBezTo>
                      <a:pt x="372" y="236"/>
                      <a:pt x="372" y="236"/>
                      <a:pt x="372" y="236"/>
                    </a:cubicBezTo>
                    <a:cubicBezTo>
                      <a:pt x="372" y="237"/>
                      <a:pt x="371" y="237"/>
                      <a:pt x="371" y="237"/>
                    </a:cubicBezTo>
                    <a:cubicBezTo>
                      <a:pt x="371" y="237"/>
                      <a:pt x="371" y="237"/>
                      <a:pt x="371" y="237"/>
                    </a:cubicBezTo>
                    <a:cubicBezTo>
                      <a:pt x="371" y="238"/>
                      <a:pt x="372" y="238"/>
                      <a:pt x="372" y="238"/>
                    </a:cubicBezTo>
                    <a:cubicBezTo>
                      <a:pt x="372" y="238"/>
                      <a:pt x="372" y="238"/>
                      <a:pt x="372" y="238"/>
                    </a:cubicBezTo>
                    <a:cubicBezTo>
                      <a:pt x="372" y="238"/>
                      <a:pt x="372" y="238"/>
                      <a:pt x="372" y="238"/>
                    </a:cubicBezTo>
                    <a:cubicBezTo>
                      <a:pt x="371" y="238"/>
                      <a:pt x="371" y="239"/>
                      <a:pt x="371" y="239"/>
                    </a:cubicBezTo>
                    <a:cubicBezTo>
                      <a:pt x="371" y="240"/>
                      <a:pt x="371" y="240"/>
                      <a:pt x="370" y="241"/>
                    </a:cubicBezTo>
                    <a:cubicBezTo>
                      <a:pt x="370" y="241"/>
                      <a:pt x="370" y="241"/>
                      <a:pt x="370" y="241"/>
                    </a:cubicBezTo>
                    <a:cubicBezTo>
                      <a:pt x="370" y="241"/>
                      <a:pt x="370" y="241"/>
                      <a:pt x="370" y="242"/>
                    </a:cubicBezTo>
                    <a:cubicBezTo>
                      <a:pt x="370" y="242"/>
                      <a:pt x="370" y="242"/>
                      <a:pt x="370" y="242"/>
                    </a:cubicBezTo>
                    <a:cubicBezTo>
                      <a:pt x="370" y="243"/>
                      <a:pt x="371" y="243"/>
                      <a:pt x="371" y="243"/>
                    </a:cubicBezTo>
                    <a:cubicBezTo>
                      <a:pt x="371" y="244"/>
                      <a:pt x="372" y="244"/>
                      <a:pt x="372" y="244"/>
                    </a:cubicBezTo>
                    <a:cubicBezTo>
                      <a:pt x="372" y="243"/>
                      <a:pt x="372" y="243"/>
                      <a:pt x="372" y="243"/>
                    </a:cubicBezTo>
                    <a:cubicBezTo>
                      <a:pt x="372" y="242"/>
                      <a:pt x="372" y="242"/>
                      <a:pt x="373" y="241"/>
                    </a:cubicBezTo>
                    <a:cubicBezTo>
                      <a:pt x="373" y="241"/>
                      <a:pt x="373" y="240"/>
                      <a:pt x="373" y="240"/>
                    </a:cubicBezTo>
                    <a:cubicBezTo>
                      <a:pt x="373" y="240"/>
                      <a:pt x="372" y="240"/>
                      <a:pt x="372" y="240"/>
                    </a:cubicBezTo>
                    <a:cubicBezTo>
                      <a:pt x="372" y="240"/>
                      <a:pt x="373" y="240"/>
                      <a:pt x="373" y="240"/>
                    </a:cubicBezTo>
                    <a:cubicBezTo>
                      <a:pt x="373" y="239"/>
                      <a:pt x="374" y="239"/>
                      <a:pt x="374" y="238"/>
                    </a:cubicBezTo>
                    <a:cubicBezTo>
                      <a:pt x="374" y="238"/>
                      <a:pt x="374" y="238"/>
                      <a:pt x="374" y="238"/>
                    </a:cubicBezTo>
                    <a:cubicBezTo>
                      <a:pt x="374" y="239"/>
                      <a:pt x="374" y="239"/>
                      <a:pt x="374" y="239"/>
                    </a:cubicBezTo>
                    <a:cubicBezTo>
                      <a:pt x="374" y="239"/>
                      <a:pt x="374" y="239"/>
                      <a:pt x="374" y="239"/>
                    </a:cubicBezTo>
                    <a:cubicBezTo>
                      <a:pt x="374" y="239"/>
                      <a:pt x="374" y="239"/>
                      <a:pt x="374" y="240"/>
                    </a:cubicBezTo>
                    <a:cubicBezTo>
                      <a:pt x="374" y="240"/>
                      <a:pt x="374" y="240"/>
                      <a:pt x="373" y="240"/>
                    </a:cubicBezTo>
                    <a:cubicBezTo>
                      <a:pt x="374" y="240"/>
                      <a:pt x="374" y="240"/>
                      <a:pt x="374" y="240"/>
                    </a:cubicBezTo>
                    <a:cubicBezTo>
                      <a:pt x="374" y="240"/>
                      <a:pt x="374" y="241"/>
                      <a:pt x="374" y="241"/>
                    </a:cubicBezTo>
                    <a:cubicBezTo>
                      <a:pt x="374" y="241"/>
                      <a:pt x="373" y="241"/>
                      <a:pt x="373" y="241"/>
                    </a:cubicBezTo>
                    <a:cubicBezTo>
                      <a:pt x="373" y="241"/>
                      <a:pt x="374" y="241"/>
                      <a:pt x="373" y="241"/>
                    </a:cubicBezTo>
                    <a:cubicBezTo>
                      <a:pt x="373" y="242"/>
                      <a:pt x="373" y="242"/>
                      <a:pt x="373" y="242"/>
                    </a:cubicBezTo>
                    <a:cubicBezTo>
                      <a:pt x="373" y="242"/>
                      <a:pt x="373" y="242"/>
                      <a:pt x="373" y="242"/>
                    </a:cubicBezTo>
                    <a:cubicBezTo>
                      <a:pt x="374" y="242"/>
                      <a:pt x="374" y="243"/>
                      <a:pt x="374" y="243"/>
                    </a:cubicBezTo>
                    <a:cubicBezTo>
                      <a:pt x="374" y="243"/>
                      <a:pt x="374" y="243"/>
                      <a:pt x="374" y="243"/>
                    </a:cubicBezTo>
                    <a:cubicBezTo>
                      <a:pt x="374" y="243"/>
                      <a:pt x="374" y="243"/>
                      <a:pt x="373" y="244"/>
                    </a:cubicBezTo>
                    <a:cubicBezTo>
                      <a:pt x="373" y="244"/>
                      <a:pt x="373" y="244"/>
                      <a:pt x="373" y="244"/>
                    </a:cubicBezTo>
                    <a:cubicBezTo>
                      <a:pt x="373" y="244"/>
                      <a:pt x="373" y="244"/>
                      <a:pt x="373" y="244"/>
                    </a:cubicBezTo>
                    <a:cubicBezTo>
                      <a:pt x="373" y="245"/>
                      <a:pt x="373" y="245"/>
                      <a:pt x="373" y="245"/>
                    </a:cubicBezTo>
                    <a:cubicBezTo>
                      <a:pt x="373" y="245"/>
                      <a:pt x="373" y="245"/>
                      <a:pt x="372" y="245"/>
                    </a:cubicBezTo>
                    <a:cubicBezTo>
                      <a:pt x="372" y="246"/>
                      <a:pt x="372" y="246"/>
                      <a:pt x="373" y="247"/>
                    </a:cubicBezTo>
                    <a:cubicBezTo>
                      <a:pt x="373" y="247"/>
                      <a:pt x="373" y="247"/>
                      <a:pt x="373" y="247"/>
                    </a:cubicBezTo>
                    <a:cubicBezTo>
                      <a:pt x="373" y="247"/>
                      <a:pt x="373" y="247"/>
                      <a:pt x="373" y="248"/>
                    </a:cubicBezTo>
                    <a:cubicBezTo>
                      <a:pt x="373" y="248"/>
                      <a:pt x="373" y="248"/>
                      <a:pt x="373" y="247"/>
                    </a:cubicBezTo>
                    <a:cubicBezTo>
                      <a:pt x="373" y="247"/>
                      <a:pt x="373" y="247"/>
                      <a:pt x="373" y="247"/>
                    </a:cubicBezTo>
                    <a:cubicBezTo>
                      <a:pt x="373" y="247"/>
                      <a:pt x="373" y="247"/>
                      <a:pt x="374" y="247"/>
                    </a:cubicBezTo>
                    <a:cubicBezTo>
                      <a:pt x="374" y="246"/>
                      <a:pt x="374" y="246"/>
                      <a:pt x="374" y="246"/>
                    </a:cubicBezTo>
                    <a:cubicBezTo>
                      <a:pt x="374" y="246"/>
                      <a:pt x="374" y="246"/>
                      <a:pt x="374" y="246"/>
                    </a:cubicBezTo>
                    <a:cubicBezTo>
                      <a:pt x="374" y="246"/>
                      <a:pt x="374" y="245"/>
                      <a:pt x="374" y="245"/>
                    </a:cubicBezTo>
                    <a:cubicBezTo>
                      <a:pt x="374" y="245"/>
                      <a:pt x="374" y="245"/>
                      <a:pt x="375" y="244"/>
                    </a:cubicBezTo>
                    <a:cubicBezTo>
                      <a:pt x="375" y="244"/>
                      <a:pt x="375" y="244"/>
                      <a:pt x="375" y="244"/>
                    </a:cubicBezTo>
                    <a:cubicBezTo>
                      <a:pt x="375" y="244"/>
                      <a:pt x="375" y="244"/>
                      <a:pt x="375" y="245"/>
                    </a:cubicBezTo>
                    <a:cubicBezTo>
                      <a:pt x="375" y="245"/>
                      <a:pt x="375" y="245"/>
                      <a:pt x="375" y="245"/>
                    </a:cubicBezTo>
                    <a:cubicBezTo>
                      <a:pt x="375" y="246"/>
                      <a:pt x="376" y="246"/>
                      <a:pt x="376" y="246"/>
                    </a:cubicBezTo>
                    <a:cubicBezTo>
                      <a:pt x="376" y="246"/>
                      <a:pt x="376" y="246"/>
                      <a:pt x="376" y="246"/>
                    </a:cubicBezTo>
                    <a:cubicBezTo>
                      <a:pt x="376" y="246"/>
                      <a:pt x="376" y="246"/>
                      <a:pt x="376" y="246"/>
                    </a:cubicBezTo>
                    <a:cubicBezTo>
                      <a:pt x="376" y="246"/>
                      <a:pt x="376" y="246"/>
                      <a:pt x="376" y="246"/>
                    </a:cubicBezTo>
                    <a:cubicBezTo>
                      <a:pt x="376" y="245"/>
                      <a:pt x="377" y="245"/>
                      <a:pt x="377" y="245"/>
                    </a:cubicBezTo>
                    <a:cubicBezTo>
                      <a:pt x="377" y="245"/>
                      <a:pt x="377" y="246"/>
                      <a:pt x="377" y="246"/>
                    </a:cubicBezTo>
                    <a:cubicBezTo>
                      <a:pt x="377" y="246"/>
                      <a:pt x="376" y="247"/>
                      <a:pt x="377" y="247"/>
                    </a:cubicBezTo>
                    <a:cubicBezTo>
                      <a:pt x="377" y="247"/>
                      <a:pt x="377" y="247"/>
                      <a:pt x="377" y="247"/>
                    </a:cubicBezTo>
                    <a:cubicBezTo>
                      <a:pt x="377" y="247"/>
                      <a:pt x="378" y="247"/>
                      <a:pt x="378" y="246"/>
                    </a:cubicBezTo>
                    <a:cubicBezTo>
                      <a:pt x="378" y="246"/>
                      <a:pt x="378" y="245"/>
                      <a:pt x="378" y="244"/>
                    </a:cubicBezTo>
                    <a:cubicBezTo>
                      <a:pt x="378" y="242"/>
                      <a:pt x="378" y="240"/>
                      <a:pt x="377" y="239"/>
                    </a:cubicBezTo>
                    <a:cubicBezTo>
                      <a:pt x="377" y="239"/>
                      <a:pt x="376" y="238"/>
                      <a:pt x="376" y="238"/>
                    </a:cubicBezTo>
                    <a:cubicBezTo>
                      <a:pt x="376" y="238"/>
                      <a:pt x="375" y="239"/>
                      <a:pt x="375" y="239"/>
                    </a:cubicBezTo>
                    <a:cubicBezTo>
                      <a:pt x="375" y="238"/>
                      <a:pt x="375" y="238"/>
                      <a:pt x="376" y="238"/>
                    </a:cubicBezTo>
                    <a:cubicBezTo>
                      <a:pt x="376" y="238"/>
                      <a:pt x="377" y="237"/>
                      <a:pt x="377" y="237"/>
                    </a:cubicBezTo>
                    <a:cubicBezTo>
                      <a:pt x="377" y="237"/>
                      <a:pt x="378" y="237"/>
                      <a:pt x="378" y="237"/>
                    </a:cubicBezTo>
                    <a:cubicBezTo>
                      <a:pt x="378" y="237"/>
                      <a:pt x="378" y="237"/>
                      <a:pt x="378" y="237"/>
                    </a:cubicBezTo>
                    <a:cubicBezTo>
                      <a:pt x="377" y="237"/>
                      <a:pt x="377" y="238"/>
                      <a:pt x="377" y="238"/>
                    </a:cubicBezTo>
                    <a:cubicBezTo>
                      <a:pt x="377" y="238"/>
                      <a:pt x="377" y="238"/>
                      <a:pt x="377" y="239"/>
                    </a:cubicBezTo>
                    <a:cubicBezTo>
                      <a:pt x="378" y="240"/>
                      <a:pt x="379" y="241"/>
                      <a:pt x="379" y="243"/>
                    </a:cubicBezTo>
                    <a:cubicBezTo>
                      <a:pt x="379" y="243"/>
                      <a:pt x="379" y="243"/>
                      <a:pt x="379" y="243"/>
                    </a:cubicBezTo>
                    <a:cubicBezTo>
                      <a:pt x="379" y="244"/>
                      <a:pt x="379" y="244"/>
                      <a:pt x="379" y="244"/>
                    </a:cubicBezTo>
                    <a:cubicBezTo>
                      <a:pt x="379" y="245"/>
                      <a:pt x="379" y="245"/>
                      <a:pt x="379" y="245"/>
                    </a:cubicBezTo>
                    <a:cubicBezTo>
                      <a:pt x="380" y="246"/>
                      <a:pt x="380" y="246"/>
                      <a:pt x="380" y="246"/>
                    </a:cubicBezTo>
                    <a:cubicBezTo>
                      <a:pt x="381" y="246"/>
                      <a:pt x="380" y="246"/>
                      <a:pt x="380" y="246"/>
                    </a:cubicBezTo>
                    <a:cubicBezTo>
                      <a:pt x="380" y="246"/>
                      <a:pt x="379" y="246"/>
                      <a:pt x="379" y="246"/>
                    </a:cubicBezTo>
                    <a:cubicBezTo>
                      <a:pt x="379" y="247"/>
                      <a:pt x="379" y="247"/>
                      <a:pt x="378" y="247"/>
                    </a:cubicBezTo>
                    <a:cubicBezTo>
                      <a:pt x="378" y="247"/>
                      <a:pt x="378" y="247"/>
                      <a:pt x="378" y="247"/>
                    </a:cubicBezTo>
                    <a:cubicBezTo>
                      <a:pt x="378" y="248"/>
                      <a:pt x="378" y="248"/>
                      <a:pt x="378" y="248"/>
                    </a:cubicBezTo>
                    <a:cubicBezTo>
                      <a:pt x="379" y="249"/>
                      <a:pt x="379" y="251"/>
                      <a:pt x="379" y="252"/>
                    </a:cubicBezTo>
                    <a:cubicBezTo>
                      <a:pt x="379" y="252"/>
                      <a:pt x="379" y="252"/>
                      <a:pt x="379" y="252"/>
                    </a:cubicBezTo>
                    <a:cubicBezTo>
                      <a:pt x="379" y="252"/>
                      <a:pt x="379" y="252"/>
                      <a:pt x="379" y="252"/>
                    </a:cubicBezTo>
                    <a:cubicBezTo>
                      <a:pt x="380" y="252"/>
                      <a:pt x="382" y="251"/>
                      <a:pt x="382" y="250"/>
                    </a:cubicBezTo>
                    <a:cubicBezTo>
                      <a:pt x="383" y="250"/>
                      <a:pt x="384" y="248"/>
                      <a:pt x="384" y="247"/>
                    </a:cubicBezTo>
                    <a:cubicBezTo>
                      <a:pt x="384" y="246"/>
                      <a:pt x="385" y="246"/>
                      <a:pt x="384" y="245"/>
                    </a:cubicBezTo>
                    <a:cubicBezTo>
                      <a:pt x="384" y="244"/>
                      <a:pt x="384" y="243"/>
                      <a:pt x="384" y="242"/>
                    </a:cubicBezTo>
                    <a:cubicBezTo>
                      <a:pt x="384" y="241"/>
                      <a:pt x="384" y="241"/>
                      <a:pt x="384" y="240"/>
                    </a:cubicBezTo>
                    <a:cubicBezTo>
                      <a:pt x="384" y="240"/>
                      <a:pt x="384" y="240"/>
                      <a:pt x="384" y="240"/>
                    </a:cubicBezTo>
                    <a:cubicBezTo>
                      <a:pt x="384" y="240"/>
                      <a:pt x="384" y="240"/>
                      <a:pt x="384" y="240"/>
                    </a:cubicBezTo>
                    <a:cubicBezTo>
                      <a:pt x="385" y="239"/>
                      <a:pt x="385" y="239"/>
                      <a:pt x="385" y="239"/>
                    </a:cubicBezTo>
                    <a:cubicBezTo>
                      <a:pt x="385" y="239"/>
                      <a:pt x="385" y="238"/>
                      <a:pt x="385" y="23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0" name="Freeform 765">
                <a:extLst>
                  <a:ext uri="{FF2B5EF4-FFF2-40B4-BE49-F238E27FC236}">
                    <a16:creationId xmlns:a16="http://schemas.microsoft.com/office/drawing/2014/main" id="{6D609DAB-7D4C-DA13-6FC5-7709506E3B08}"/>
                  </a:ext>
                </a:extLst>
              </p:cNvPr>
              <p:cNvSpPr>
                <a:spLocks noEditPoints="1"/>
              </p:cNvSpPr>
              <p:nvPr/>
            </p:nvSpPr>
            <p:spPr bwMode="auto">
              <a:xfrm>
                <a:off x="839788" y="4262438"/>
                <a:ext cx="190500" cy="96838"/>
              </a:xfrm>
              <a:custGeom>
                <a:avLst/>
                <a:gdLst>
                  <a:gd name="T0" fmla="*/ 41 w 46"/>
                  <a:gd name="T1" fmla="*/ 20 h 23"/>
                  <a:gd name="T2" fmla="*/ 40 w 46"/>
                  <a:gd name="T3" fmla="*/ 18 h 23"/>
                  <a:gd name="T4" fmla="*/ 41 w 46"/>
                  <a:gd name="T5" fmla="*/ 17 h 23"/>
                  <a:gd name="T6" fmla="*/ 12 w 46"/>
                  <a:gd name="T7" fmla="*/ 1 h 23"/>
                  <a:gd name="T8" fmla="*/ 11 w 46"/>
                  <a:gd name="T9" fmla="*/ 3 h 23"/>
                  <a:gd name="T10" fmla="*/ 11 w 46"/>
                  <a:gd name="T11" fmla="*/ 4 h 23"/>
                  <a:gd name="T12" fmla="*/ 9 w 46"/>
                  <a:gd name="T13" fmla="*/ 4 h 23"/>
                  <a:gd name="T14" fmla="*/ 7 w 46"/>
                  <a:gd name="T15" fmla="*/ 3 h 23"/>
                  <a:gd name="T16" fmla="*/ 6 w 46"/>
                  <a:gd name="T17" fmla="*/ 1 h 23"/>
                  <a:gd name="T18" fmla="*/ 7 w 46"/>
                  <a:gd name="T19" fmla="*/ 1 h 23"/>
                  <a:gd name="T20" fmla="*/ 8 w 46"/>
                  <a:gd name="T21" fmla="*/ 0 h 23"/>
                  <a:gd name="T22" fmla="*/ 9 w 46"/>
                  <a:gd name="T23" fmla="*/ 0 h 23"/>
                  <a:gd name="T24" fmla="*/ 10 w 46"/>
                  <a:gd name="T25" fmla="*/ 0 h 23"/>
                  <a:gd name="T26" fmla="*/ 11 w 46"/>
                  <a:gd name="T27" fmla="*/ 0 h 23"/>
                  <a:gd name="T28" fmla="*/ 44 w 46"/>
                  <a:gd name="T29" fmla="*/ 14 h 23"/>
                  <a:gd name="T30" fmla="*/ 42 w 46"/>
                  <a:gd name="T31" fmla="*/ 15 h 23"/>
                  <a:gd name="T32" fmla="*/ 39 w 46"/>
                  <a:gd name="T33" fmla="*/ 15 h 23"/>
                  <a:gd name="T34" fmla="*/ 37 w 46"/>
                  <a:gd name="T35" fmla="*/ 14 h 23"/>
                  <a:gd name="T36" fmla="*/ 38 w 46"/>
                  <a:gd name="T37" fmla="*/ 13 h 23"/>
                  <a:gd name="T38" fmla="*/ 40 w 46"/>
                  <a:gd name="T39" fmla="*/ 14 h 23"/>
                  <a:gd name="T40" fmla="*/ 41 w 46"/>
                  <a:gd name="T41" fmla="*/ 14 h 23"/>
                  <a:gd name="T42" fmla="*/ 42 w 46"/>
                  <a:gd name="T43" fmla="*/ 14 h 23"/>
                  <a:gd name="T44" fmla="*/ 44 w 46"/>
                  <a:gd name="T45" fmla="*/ 14 h 23"/>
                  <a:gd name="T46" fmla="*/ 1 w 46"/>
                  <a:gd name="T47" fmla="*/ 3 h 23"/>
                  <a:gd name="T48" fmla="*/ 0 w 46"/>
                  <a:gd name="T49" fmla="*/ 6 h 23"/>
                  <a:gd name="T50" fmla="*/ 2 w 46"/>
                  <a:gd name="T51" fmla="*/ 4 h 23"/>
                  <a:gd name="T52" fmla="*/ 46 w 46"/>
                  <a:gd name="T53" fmla="*/ 22 h 23"/>
                  <a:gd name="T54" fmla="*/ 45 w 46"/>
                  <a:gd name="T55" fmla="*/ 23 h 23"/>
                  <a:gd name="T56" fmla="*/ 46 w 46"/>
                  <a:gd name="T57" fmla="*/ 23 h 23"/>
                  <a:gd name="T58" fmla="*/ 32 w 46"/>
                  <a:gd name="T59" fmla="*/ 12 h 23"/>
                  <a:gd name="T60" fmla="*/ 31 w 46"/>
                  <a:gd name="T61" fmla="*/ 12 h 23"/>
                  <a:gd name="T62" fmla="*/ 30 w 46"/>
                  <a:gd name="T63" fmla="*/ 13 h 23"/>
                  <a:gd name="T64" fmla="*/ 30 w 46"/>
                  <a:gd name="T65" fmla="*/ 12 h 23"/>
                  <a:gd name="T66" fmla="*/ 30 w 46"/>
                  <a:gd name="T67" fmla="*/ 12 h 23"/>
                  <a:gd name="T68" fmla="*/ 29 w 46"/>
                  <a:gd name="T69" fmla="*/ 12 h 23"/>
                  <a:gd name="T70" fmla="*/ 29 w 46"/>
                  <a:gd name="T71" fmla="*/ 12 h 23"/>
                  <a:gd name="T72" fmla="*/ 29 w 46"/>
                  <a:gd name="T73" fmla="*/ 11 h 23"/>
                  <a:gd name="T74" fmla="*/ 29 w 46"/>
                  <a:gd name="T75" fmla="*/ 11 h 23"/>
                  <a:gd name="T76" fmla="*/ 28 w 46"/>
                  <a:gd name="T77" fmla="*/ 11 h 23"/>
                  <a:gd name="T78" fmla="*/ 28 w 46"/>
                  <a:gd name="T79" fmla="*/ 11 h 23"/>
                  <a:gd name="T80" fmla="*/ 28 w 46"/>
                  <a:gd name="T81" fmla="*/ 12 h 23"/>
                  <a:gd name="T82" fmla="*/ 27 w 46"/>
                  <a:gd name="T83" fmla="*/ 12 h 23"/>
                  <a:gd name="T84" fmla="*/ 26 w 46"/>
                  <a:gd name="T85" fmla="*/ 11 h 23"/>
                  <a:gd name="T86" fmla="*/ 25 w 46"/>
                  <a:gd name="T87" fmla="*/ 10 h 23"/>
                  <a:gd name="T88" fmla="*/ 25 w 46"/>
                  <a:gd name="T89" fmla="*/ 8 h 23"/>
                  <a:gd name="T90" fmla="*/ 26 w 46"/>
                  <a:gd name="T91" fmla="*/ 8 h 23"/>
                  <a:gd name="T92" fmla="*/ 26 w 46"/>
                  <a:gd name="T93" fmla="*/ 8 h 23"/>
                  <a:gd name="T94" fmla="*/ 28 w 46"/>
                  <a:gd name="T95" fmla="*/ 7 h 23"/>
                  <a:gd name="T96" fmla="*/ 30 w 46"/>
                  <a:gd name="T97" fmla="*/ 9 h 23"/>
                  <a:gd name="T98" fmla="*/ 30 w 46"/>
                  <a:gd name="T99" fmla="*/ 10 h 23"/>
                  <a:gd name="T100" fmla="*/ 31 w 46"/>
                  <a:gd name="T101" fmla="*/ 10 h 23"/>
                  <a:gd name="T102" fmla="*/ 31 w 46"/>
                  <a:gd name="T103" fmla="*/ 11 h 23"/>
                  <a:gd name="T104" fmla="*/ 32 w 46"/>
                  <a:gd name="T105" fmla="*/ 11 h 23"/>
                  <a:gd name="T106" fmla="*/ 2 w 46"/>
                  <a:gd name="T107" fmla="*/ 2 h 23"/>
                  <a:gd name="T108" fmla="*/ 29 w 46"/>
                  <a:gd name="T109"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23">
                    <a:moveTo>
                      <a:pt x="43" y="18"/>
                    </a:moveTo>
                    <a:cubicBezTo>
                      <a:pt x="43" y="19"/>
                      <a:pt x="43" y="19"/>
                      <a:pt x="43" y="19"/>
                    </a:cubicBezTo>
                    <a:cubicBezTo>
                      <a:pt x="43" y="19"/>
                      <a:pt x="43" y="19"/>
                      <a:pt x="43" y="19"/>
                    </a:cubicBezTo>
                    <a:cubicBezTo>
                      <a:pt x="43" y="19"/>
                      <a:pt x="43" y="19"/>
                      <a:pt x="43" y="19"/>
                    </a:cubicBezTo>
                    <a:cubicBezTo>
                      <a:pt x="42" y="19"/>
                      <a:pt x="42" y="20"/>
                      <a:pt x="42" y="20"/>
                    </a:cubicBezTo>
                    <a:cubicBezTo>
                      <a:pt x="42" y="20"/>
                      <a:pt x="42" y="20"/>
                      <a:pt x="41" y="20"/>
                    </a:cubicBezTo>
                    <a:cubicBezTo>
                      <a:pt x="41" y="20"/>
                      <a:pt x="41" y="20"/>
                      <a:pt x="41" y="20"/>
                    </a:cubicBezTo>
                    <a:cubicBezTo>
                      <a:pt x="41" y="20"/>
                      <a:pt x="41" y="20"/>
                      <a:pt x="41" y="20"/>
                    </a:cubicBezTo>
                    <a:cubicBezTo>
                      <a:pt x="41" y="20"/>
                      <a:pt x="41" y="19"/>
                      <a:pt x="41" y="19"/>
                    </a:cubicBezTo>
                    <a:cubicBezTo>
                      <a:pt x="41" y="19"/>
                      <a:pt x="41" y="19"/>
                      <a:pt x="41" y="19"/>
                    </a:cubicBezTo>
                    <a:cubicBezTo>
                      <a:pt x="41" y="19"/>
                      <a:pt x="41" y="18"/>
                      <a:pt x="40" y="18"/>
                    </a:cubicBezTo>
                    <a:cubicBezTo>
                      <a:pt x="40" y="18"/>
                      <a:pt x="40" y="18"/>
                      <a:pt x="40" y="18"/>
                    </a:cubicBezTo>
                    <a:cubicBezTo>
                      <a:pt x="40" y="18"/>
                      <a:pt x="40" y="18"/>
                      <a:pt x="40" y="17"/>
                    </a:cubicBezTo>
                    <a:cubicBezTo>
                      <a:pt x="40" y="17"/>
                      <a:pt x="40" y="17"/>
                      <a:pt x="40" y="17"/>
                    </a:cubicBezTo>
                    <a:cubicBezTo>
                      <a:pt x="40" y="17"/>
                      <a:pt x="40" y="17"/>
                      <a:pt x="40" y="17"/>
                    </a:cubicBezTo>
                    <a:cubicBezTo>
                      <a:pt x="40" y="17"/>
                      <a:pt x="40" y="17"/>
                      <a:pt x="40" y="17"/>
                    </a:cubicBezTo>
                    <a:cubicBezTo>
                      <a:pt x="40" y="17"/>
                      <a:pt x="40" y="17"/>
                      <a:pt x="41" y="17"/>
                    </a:cubicBezTo>
                    <a:cubicBezTo>
                      <a:pt x="41" y="17"/>
                      <a:pt x="41" y="17"/>
                      <a:pt x="41" y="17"/>
                    </a:cubicBezTo>
                    <a:cubicBezTo>
                      <a:pt x="41" y="17"/>
                      <a:pt x="41" y="17"/>
                      <a:pt x="41" y="17"/>
                    </a:cubicBezTo>
                    <a:cubicBezTo>
                      <a:pt x="41" y="17"/>
                      <a:pt x="41" y="17"/>
                      <a:pt x="41" y="17"/>
                    </a:cubicBezTo>
                    <a:cubicBezTo>
                      <a:pt x="41" y="17"/>
                      <a:pt x="41" y="17"/>
                      <a:pt x="42" y="17"/>
                    </a:cubicBezTo>
                    <a:cubicBezTo>
                      <a:pt x="42" y="17"/>
                      <a:pt x="42" y="17"/>
                      <a:pt x="42" y="18"/>
                    </a:cubicBezTo>
                    <a:cubicBezTo>
                      <a:pt x="42" y="18"/>
                      <a:pt x="43" y="18"/>
                      <a:pt x="43" y="18"/>
                    </a:cubicBezTo>
                    <a:close/>
                    <a:moveTo>
                      <a:pt x="12" y="1"/>
                    </a:moveTo>
                    <a:cubicBezTo>
                      <a:pt x="12" y="1"/>
                      <a:pt x="12" y="1"/>
                      <a:pt x="12" y="1"/>
                    </a:cubicBezTo>
                    <a:cubicBezTo>
                      <a:pt x="12" y="1"/>
                      <a:pt x="12" y="1"/>
                      <a:pt x="12" y="1"/>
                    </a:cubicBezTo>
                    <a:cubicBezTo>
                      <a:pt x="12" y="2"/>
                      <a:pt x="11" y="2"/>
                      <a:pt x="11" y="2"/>
                    </a:cubicBezTo>
                    <a:cubicBezTo>
                      <a:pt x="11" y="2"/>
                      <a:pt x="11" y="2"/>
                      <a:pt x="11" y="2"/>
                    </a:cubicBezTo>
                    <a:cubicBezTo>
                      <a:pt x="11" y="2"/>
                      <a:pt x="11" y="3"/>
                      <a:pt x="11" y="3"/>
                    </a:cubicBezTo>
                    <a:cubicBezTo>
                      <a:pt x="11" y="3"/>
                      <a:pt x="11" y="3"/>
                      <a:pt x="11" y="3"/>
                    </a:cubicBezTo>
                    <a:cubicBezTo>
                      <a:pt x="11" y="3"/>
                      <a:pt x="11" y="3"/>
                      <a:pt x="11" y="3"/>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4"/>
                      <a:pt x="9" y="4"/>
                      <a:pt x="9" y="4"/>
                    </a:cubicBezTo>
                    <a:cubicBezTo>
                      <a:pt x="9" y="4"/>
                      <a:pt x="8" y="4"/>
                      <a:pt x="8" y="4"/>
                    </a:cubicBezTo>
                    <a:cubicBezTo>
                      <a:pt x="8" y="4"/>
                      <a:pt x="8" y="4"/>
                      <a:pt x="8" y="4"/>
                    </a:cubicBezTo>
                    <a:cubicBezTo>
                      <a:pt x="8" y="4"/>
                      <a:pt x="8" y="4"/>
                      <a:pt x="7" y="4"/>
                    </a:cubicBezTo>
                    <a:cubicBezTo>
                      <a:pt x="7" y="4"/>
                      <a:pt x="7" y="4"/>
                      <a:pt x="7" y="4"/>
                    </a:cubicBezTo>
                    <a:cubicBezTo>
                      <a:pt x="7" y="3"/>
                      <a:pt x="7" y="3"/>
                      <a:pt x="7" y="3"/>
                    </a:cubicBezTo>
                    <a:cubicBezTo>
                      <a:pt x="6" y="3"/>
                      <a:pt x="6" y="3"/>
                      <a:pt x="6" y="3"/>
                    </a:cubicBezTo>
                    <a:cubicBezTo>
                      <a:pt x="6" y="3"/>
                      <a:pt x="6" y="3"/>
                      <a:pt x="6" y="3"/>
                    </a:cubicBezTo>
                    <a:cubicBezTo>
                      <a:pt x="6" y="3"/>
                      <a:pt x="6" y="2"/>
                      <a:pt x="6" y="2"/>
                    </a:cubicBezTo>
                    <a:cubicBezTo>
                      <a:pt x="6" y="2"/>
                      <a:pt x="6" y="2"/>
                      <a:pt x="6" y="2"/>
                    </a:cubicBezTo>
                    <a:cubicBezTo>
                      <a:pt x="6" y="2"/>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7" y="1"/>
                    </a:cubicBezTo>
                    <a:cubicBezTo>
                      <a:pt x="7" y="1"/>
                      <a:pt x="7" y="1"/>
                      <a:pt x="7" y="1"/>
                    </a:cubicBezTo>
                    <a:cubicBezTo>
                      <a:pt x="7" y="1"/>
                      <a:pt x="7" y="1"/>
                      <a:pt x="7" y="1"/>
                    </a:cubicBezTo>
                    <a:cubicBezTo>
                      <a:pt x="7" y="1"/>
                      <a:pt x="7"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1" y="0"/>
                      <a:pt x="11" y="0"/>
                      <a:pt x="11" y="0"/>
                    </a:cubicBezTo>
                    <a:cubicBezTo>
                      <a:pt x="11" y="0"/>
                      <a:pt x="11" y="0"/>
                      <a:pt x="11" y="0"/>
                    </a:cubicBezTo>
                    <a:cubicBezTo>
                      <a:pt x="11" y="0"/>
                      <a:pt x="11" y="0"/>
                      <a:pt x="11" y="0"/>
                    </a:cubicBezTo>
                    <a:cubicBezTo>
                      <a:pt x="11" y="0"/>
                      <a:pt x="11" y="0"/>
                      <a:pt x="11" y="0"/>
                    </a:cubicBezTo>
                    <a:cubicBezTo>
                      <a:pt x="12" y="0"/>
                      <a:pt x="12" y="0"/>
                      <a:pt x="12" y="1"/>
                    </a:cubicBezTo>
                    <a:cubicBezTo>
                      <a:pt x="12" y="1"/>
                      <a:pt x="12" y="1"/>
                      <a:pt x="12" y="1"/>
                    </a:cubicBezTo>
                    <a:cubicBezTo>
                      <a:pt x="12" y="1"/>
                      <a:pt x="12" y="1"/>
                      <a:pt x="12" y="1"/>
                    </a:cubicBezTo>
                    <a:close/>
                    <a:moveTo>
                      <a:pt x="44" y="14"/>
                    </a:moveTo>
                    <a:cubicBezTo>
                      <a:pt x="44" y="14"/>
                      <a:pt x="44" y="14"/>
                      <a:pt x="44" y="14"/>
                    </a:cubicBezTo>
                    <a:cubicBezTo>
                      <a:pt x="44" y="14"/>
                      <a:pt x="44" y="15"/>
                      <a:pt x="44" y="15"/>
                    </a:cubicBezTo>
                    <a:cubicBezTo>
                      <a:pt x="44" y="15"/>
                      <a:pt x="44" y="15"/>
                      <a:pt x="44" y="15"/>
                    </a:cubicBezTo>
                    <a:cubicBezTo>
                      <a:pt x="44" y="15"/>
                      <a:pt x="44" y="15"/>
                      <a:pt x="44" y="15"/>
                    </a:cubicBezTo>
                    <a:cubicBezTo>
                      <a:pt x="44" y="15"/>
                      <a:pt x="43" y="15"/>
                      <a:pt x="43" y="15"/>
                    </a:cubicBezTo>
                    <a:cubicBezTo>
                      <a:pt x="43" y="15"/>
                      <a:pt x="43" y="16"/>
                      <a:pt x="42" y="15"/>
                    </a:cubicBezTo>
                    <a:cubicBezTo>
                      <a:pt x="42" y="15"/>
                      <a:pt x="42" y="15"/>
                      <a:pt x="42" y="15"/>
                    </a:cubicBezTo>
                    <a:cubicBezTo>
                      <a:pt x="42" y="16"/>
                      <a:pt x="42" y="15"/>
                      <a:pt x="42" y="15"/>
                    </a:cubicBezTo>
                    <a:cubicBezTo>
                      <a:pt x="41" y="15"/>
                      <a:pt x="41" y="15"/>
                      <a:pt x="41" y="15"/>
                    </a:cubicBezTo>
                    <a:cubicBezTo>
                      <a:pt x="41" y="15"/>
                      <a:pt x="40" y="15"/>
                      <a:pt x="40" y="15"/>
                    </a:cubicBezTo>
                    <a:cubicBezTo>
                      <a:pt x="40" y="15"/>
                      <a:pt x="40" y="15"/>
                      <a:pt x="40" y="15"/>
                    </a:cubicBezTo>
                    <a:cubicBezTo>
                      <a:pt x="40" y="15"/>
                      <a:pt x="40" y="15"/>
                      <a:pt x="39" y="15"/>
                    </a:cubicBezTo>
                    <a:cubicBezTo>
                      <a:pt x="39" y="15"/>
                      <a:pt x="39" y="15"/>
                      <a:pt x="39" y="15"/>
                    </a:cubicBezTo>
                    <a:cubicBezTo>
                      <a:pt x="39" y="15"/>
                      <a:pt x="38" y="15"/>
                      <a:pt x="38" y="15"/>
                    </a:cubicBezTo>
                    <a:cubicBezTo>
                      <a:pt x="38" y="15"/>
                      <a:pt x="38" y="15"/>
                      <a:pt x="38" y="15"/>
                    </a:cubicBezTo>
                    <a:cubicBezTo>
                      <a:pt x="37" y="15"/>
                      <a:pt x="37" y="15"/>
                      <a:pt x="37" y="15"/>
                    </a:cubicBezTo>
                    <a:cubicBezTo>
                      <a:pt x="37" y="15"/>
                      <a:pt x="37" y="15"/>
                      <a:pt x="37" y="15"/>
                    </a:cubicBezTo>
                    <a:cubicBezTo>
                      <a:pt x="37" y="15"/>
                      <a:pt x="37" y="15"/>
                      <a:pt x="37" y="14"/>
                    </a:cubicBezTo>
                    <a:cubicBezTo>
                      <a:pt x="37" y="14"/>
                      <a:pt x="37" y="14"/>
                      <a:pt x="37" y="14"/>
                    </a:cubicBezTo>
                    <a:cubicBezTo>
                      <a:pt x="37" y="14"/>
                      <a:pt x="37" y="14"/>
                      <a:pt x="37" y="14"/>
                    </a:cubicBezTo>
                    <a:cubicBezTo>
                      <a:pt x="37" y="13"/>
                      <a:pt x="37" y="13"/>
                      <a:pt x="37" y="13"/>
                    </a:cubicBezTo>
                    <a:cubicBezTo>
                      <a:pt x="37" y="13"/>
                      <a:pt x="37" y="13"/>
                      <a:pt x="37" y="13"/>
                    </a:cubicBezTo>
                    <a:cubicBezTo>
                      <a:pt x="37" y="13"/>
                      <a:pt x="37" y="13"/>
                      <a:pt x="37" y="13"/>
                    </a:cubicBezTo>
                    <a:cubicBezTo>
                      <a:pt x="38" y="13"/>
                      <a:pt x="38" y="13"/>
                      <a:pt x="38" y="13"/>
                    </a:cubicBezTo>
                    <a:cubicBezTo>
                      <a:pt x="38" y="13"/>
                      <a:pt x="38" y="13"/>
                      <a:pt x="38" y="13"/>
                    </a:cubicBezTo>
                    <a:cubicBezTo>
                      <a:pt x="39" y="14"/>
                      <a:pt x="39" y="14"/>
                      <a:pt x="39" y="14"/>
                    </a:cubicBezTo>
                    <a:cubicBezTo>
                      <a:pt x="39" y="14"/>
                      <a:pt x="39" y="14"/>
                      <a:pt x="39" y="14"/>
                    </a:cubicBezTo>
                    <a:cubicBezTo>
                      <a:pt x="39" y="14"/>
                      <a:pt x="39" y="14"/>
                      <a:pt x="39" y="14"/>
                    </a:cubicBezTo>
                    <a:cubicBezTo>
                      <a:pt x="40" y="14"/>
                      <a:pt x="40" y="14"/>
                      <a:pt x="40" y="14"/>
                    </a:cubicBezTo>
                    <a:cubicBezTo>
                      <a:pt x="40" y="14"/>
                      <a:pt x="40" y="14"/>
                      <a:pt x="40" y="14"/>
                    </a:cubicBezTo>
                    <a:cubicBezTo>
                      <a:pt x="40" y="14"/>
                      <a:pt x="40" y="14"/>
                      <a:pt x="40" y="14"/>
                    </a:cubicBezTo>
                    <a:cubicBezTo>
                      <a:pt x="40" y="14"/>
                      <a:pt x="40" y="14"/>
                      <a:pt x="41" y="14"/>
                    </a:cubicBezTo>
                    <a:cubicBezTo>
                      <a:pt x="41" y="14"/>
                      <a:pt x="41" y="14"/>
                      <a:pt x="41" y="14"/>
                    </a:cubicBezTo>
                    <a:cubicBezTo>
                      <a:pt x="41" y="14"/>
                      <a:pt x="41" y="14"/>
                      <a:pt x="41" y="14"/>
                    </a:cubicBezTo>
                    <a:cubicBezTo>
                      <a:pt x="41" y="13"/>
                      <a:pt x="41" y="13"/>
                      <a:pt x="41" y="13"/>
                    </a:cubicBezTo>
                    <a:cubicBezTo>
                      <a:pt x="41" y="13"/>
                      <a:pt x="41" y="13"/>
                      <a:pt x="41" y="13"/>
                    </a:cubicBezTo>
                    <a:cubicBezTo>
                      <a:pt x="41" y="14"/>
                      <a:pt x="41" y="14"/>
                      <a:pt x="41" y="14"/>
                    </a:cubicBezTo>
                    <a:cubicBezTo>
                      <a:pt x="41" y="14"/>
                      <a:pt x="41" y="14"/>
                      <a:pt x="41" y="14"/>
                    </a:cubicBezTo>
                    <a:cubicBezTo>
                      <a:pt x="41" y="14"/>
                      <a:pt x="41"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3" y="14"/>
                      <a:pt x="43" y="14"/>
                    </a:cubicBezTo>
                    <a:cubicBezTo>
                      <a:pt x="43" y="14"/>
                      <a:pt x="43" y="14"/>
                      <a:pt x="43" y="14"/>
                    </a:cubicBezTo>
                    <a:cubicBezTo>
                      <a:pt x="43" y="14"/>
                      <a:pt x="44" y="14"/>
                      <a:pt x="44" y="14"/>
                    </a:cubicBezTo>
                    <a:cubicBezTo>
                      <a:pt x="44" y="14"/>
                      <a:pt x="44" y="14"/>
                      <a:pt x="44" y="14"/>
                    </a:cubicBezTo>
                    <a:cubicBezTo>
                      <a:pt x="44" y="14"/>
                      <a:pt x="44" y="14"/>
                      <a:pt x="44" y="14"/>
                    </a:cubicBezTo>
                    <a:cubicBezTo>
                      <a:pt x="44" y="14"/>
                      <a:pt x="44" y="14"/>
                      <a:pt x="44" y="14"/>
                    </a:cubicBezTo>
                    <a:close/>
                    <a:moveTo>
                      <a:pt x="2" y="3"/>
                    </a:moveTo>
                    <a:cubicBezTo>
                      <a:pt x="2" y="3"/>
                      <a:pt x="2" y="3"/>
                      <a:pt x="2" y="3"/>
                    </a:cubicBezTo>
                    <a:cubicBezTo>
                      <a:pt x="2" y="3"/>
                      <a:pt x="2" y="3"/>
                      <a:pt x="2" y="3"/>
                    </a:cubicBezTo>
                    <a:cubicBezTo>
                      <a:pt x="1" y="3"/>
                      <a:pt x="1" y="3"/>
                      <a:pt x="1" y="3"/>
                    </a:cubicBezTo>
                    <a:cubicBezTo>
                      <a:pt x="1" y="4"/>
                      <a:pt x="1" y="4"/>
                      <a:pt x="1" y="4"/>
                    </a:cubicBezTo>
                    <a:cubicBezTo>
                      <a:pt x="0" y="4"/>
                      <a:pt x="0" y="4"/>
                      <a:pt x="0" y="5"/>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5"/>
                      <a:pt x="1" y="5"/>
                      <a:pt x="1" y="5"/>
                    </a:cubicBezTo>
                    <a:cubicBezTo>
                      <a:pt x="1" y="5"/>
                      <a:pt x="1" y="5"/>
                      <a:pt x="1" y="5"/>
                    </a:cubicBezTo>
                    <a:cubicBezTo>
                      <a:pt x="1" y="4"/>
                      <a:pt x="1" y="4"/>
                      <a:pt x="1" y="4"/>
                    </a:cubicBezTo>
                    <a:cubicBezTo>
                      <a:pt x="1" y="4"/>
                      <a:pt x="2" y="4"/>
                      <a:pt x="2" y="4"/>
                    </a:cubicBezTo>
                    <a:cubicBezTo>
                      <a:pt x="2" y="4"/>
                      <a:pt x="2" y="4"/>
                      <a:pt x="2" y="4"/>
                    </a:cubicBezTo>
                    <a:cubicBezTo>
                      <a:pt x="2" y="4"/>
                      <a:pt x="2" y="3"/>
                      <a:pt x="2" y="3"/>
                    </a:cubicBezTo>
                    <a:cubicBezTo>
                      <a:pt x="2" y="3"/>
                      <a:pt x="2" y="3"/>
                      <a:pt x="2" y="3"/>
                    </a:cubicBezTo>
                    <a:close/>
                    <a:moveTo>
                      <a:pt x="46" y="22"/>
                    </a:moveTo>
                    <a:cubicBezTo>
                      <a:pt x="46" y="22"/>
                      <a:pt x="46" y="22"/>
                      <a:pt x="46" y="22"/>
                    </a:cubicBezTo>
                    <a:cubicBezTo>
                      <a:pt x="46" y="22"/>
                      <a:pt x="46" y="22"/>
                      <a:pt x="46" y="22"/>
                    </a:cubicBezTo>
                    <a:cubicBezTo>
                      <a:pt x="46" y="22"/>
                      <a:pt x="46" y="22"/>
                      <a:pt x="46" y="22"/>
                    </a:cubicBezTo>
                    <a:cubicBezTo>
                      <a:pt x="46" y="22"/>
                      <a:pt x="46" y="21"/>
                      <a:pt x="46" y="22"/>
                    </a:cubicBezTo>
                    <a:cubicBezTo>
                      <a:pt x="46" y="22"/>
                      <a:pt x="45" y="22"/>
                      <a:pt x="45" y="22"/>
                    </a:cubicBezTo>
                    <a:cubicBezTo>
                      <a:pt x="45" y="22"/>
                      <a:pt x="45" y="22"/>
                      <a:pt x="45" y="22"/>
                    </a:cubicBezTo>
                    <a:cubicBezTo>
                      <a:pt x="44" y="22"/>
                      <a:pt x="44" y="22"/>
                      <a:pt x="44" y="22"/>
                    </a:cubicBezTo>
                    <a:cubicBezTo>
                      <a:pt x="44" y="23"/>
                      <a:pt x="44" y="23"/>
                      <a:pt x="44" y="23"/>
                    </a:cubicBezTo>
                    <a:cubicBezTo>
                      <a:pt x="45" y="23"/>
                      <a:pt x="45" y="23"/>
                      <a:pt x="45" y="23"/>
                    </a:cubicBezTo>
                    <a:cubicBezTo>
                      <a:pt x="45" y="23"/>
                      <a:pt x="45" y="23"/>
                      <a:pt x="45" y="23"/>
                    </a:cubicBezTo>
                    <a:cubicBezTo>
                      <a:pt x="45" y="23"/>
                      <a:pt x="45" y="23"/>
                      <a:pt x="45" y="23"/>
                    </a:cubicBezTo>
                    <a:cubicBezTo>
                      <a:pt x="45" y="23"/>
                      <a:pt x="45" y="23"/>
                      <a:pt x="45" y="23"/>
                    </a:cubicBezTo>
                    <a:cubicBezTo>
                      <a:pt x="46" y="23"/>
                      <a:pt x="46" y="23"/>
                      <a:pt x="46" y="23"/>
                    </a:cubicBezTo>
                    <a:cubicBezTo>
                      <a:pt x="46" y="23"/>
                      <a:pt x="46" y="23"/>
                      <a:pt x="46" y="23"/>
                    </a:cubicBezTo>
                    <a:cubicBezTo>
                      <a:pt x="46" y="23"/>
                      <a:pt x="46" y="23"/>
                      <a:pt x="46" y="23"/>
                    </a:cubicBezTo>
                    <a:cubicBezTo>
                      <a:pt x="46" y="23"/>
                      <a:pt x="46" y="23"/>
                      <a:pt x="46" y="23"/>
                    </a:cubicBezTo>
                    <a:cubicBezTo>
                      <a:pt x="46" y="22"/>
                      <a:pt x="46" y="22"/>
                      <a:pt x="46" y="22"/>
                    </a:cubicBezTo>
                    <a:close/>
                    <a:moveTo>
                      <a:pt x="29" y="11"/>
                    </a:moveTo>
                    <a:cubicBezTo>
                      <a:pt x="29" y="11"/>
                      <a:pt x="29" y="11"/>
                      <a:pt x="29" y="11"/>
                    </a:cubicBezTo>
                    <a:cubicBezTo>
                      <a:pt x="29" y="11"/>
                      <a:pt x="29" y="11"/>
                      <a:pt x="29" y="11"/>
                    </a:cubicBezTo>
                    <a:close/>
                    <a:moveTo>
                      <a:pt x="32" y="12"/>
                    </a:moveTo>
                    <a:cubicBezTo>
                      <a:pt x="32" y="12"/>
                      <a:pt x="32" y="12"/>
                      <a:pt x="32" y="13"/>
                    </a:cubicBezTo>
                    <a:cubicBezTo>
                      <a:pt x="32" y="13"/>
                      <a:pt x="32" y="13"/>
                      <a:pt x="32" y="13"/>
                    </a:cubicBezTo>
                    <a:cubicBezTo>
                      <a:pt x="32" y="13"/>
                      <a:pt x="32" y="13"/>
                      <a:pt x="32" y="13"/>
                    </a:cubicBezTo>
                    <a:cubicBezTo>
                      <a:pt x="32" y="13"/>
                      <a:pt x="32" y="13"/>
                      <a:pt x="32" y="12"/>
                    </a:cubicBezTo>
                    <a:cubicBezTo>
                      <a:pt x="32"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3"/>
                      <a:pt x="31" y="13"/>
                      <a:pt x="31" y="13"/>
                    </a:cubicBezTo>
                    <a:cubicBezTo>
                      <a:pt x="31" y="13"/>
                      <a:pt x="31"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29" y="12"/>
                      <a:pt x="30" y="12"/>
                      <a:pt x="30" y="12"/>
                    </a:cubicBezTo>
                    <a:cubicBezTo>
                      <a:pt x="30" y="12"/>
                      <a:pt x="30" y="12"/>
                      <a:pt x="30" y="12"/>
                    </a:cubicBezTo>
                    <a:cubicBezTo>
                      <a:pt x="30" y="12"/>
                      <a:pt x="30" y="12"/>
                      <a:pt x="30" y="12"/>
                    </a:cubicBezTo>
                    <a:cubicBezTo>
                      <a:pt x="30"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8" y="12"/>
                      <a:pt x="28"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7" y="12"/>
                      <a:pt x="27" y="12"/>
                      <a:pt x="27" y="12"/>
                    </a:cubicBezTo>
                    <a:cubicBezTo>
                      <a:pt x="27" y="12"/>
                      <a:pt x="27" y="12"/>
                      <a:pt x="27" y="12"/>
                    </a:cubicBezTo>
                    <a:cubicBezTo>
                      <a:pt x="27" y="12"/>
                      <a:pt x="27" y="12"/>
                      <a:pt x="27" y="12"/>
                    </a:cubicBezTo>
                    <a:cubicBezTo>
                      <a:pt x="27" y="12"/>
                      <a:pt x="27" y="12"/>
                      <a:pt x="27" y="12"/>
                    </a:cubicBezTo>
                    <a:cubicBezTo>
                      <a:pt x="26" y="12"/>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0"/>
                      <a:pt x="26" y="10"/>
                    </a:cubicBezTo>
                    <a:cubicBezTo>
                      <a:pt x="26" y="10"/>
                      <a:pt x="26" y="10"/>
                      <a:pt x="25" y="10"/>
                    </a:cubicBezTo>
                    <a:cubicBezTo>
                      <a:pt x="25" y="10"/>
                      <a:pt x="25" y="10"/>
                      <a:pt x="25" y="10"/>
                    </a:cubicBezTo>
                    <a:cubicBezTo>
                      <a:pt x="25" y="10"/>
                      <a:pt x="25" y="10"/>
                      <a:pt x="25" y="10"/>
                    </a:cubicBezTo>
                    <a:cubicBezTo>
                      <a:pt x="25" y="9"/>
                      <a:pt x="25" y="9"/>
                      <a:pt x="25" y="9"/>
                    </a:cubicBezTo>
                    <a:cubicBezTo>
                      <a:pt x="25" y="9"/>
                      <a:pt x="25" y="9"/>
                      <a:pt x="25" y="9"/>
                    </a:cubicBezTo>
                    <a:cubicBezTo>
                      <a:pt x="25" y="9"/>
                      <a:pt x="25" y="9"/>
                      <a:pt x="25" y="9"/>
                    </a:cubicBezTo>
                    <a:cubicBezTo>
                      <a:pt x="25" y="9"/>
                      <a:pt x="25" y="9"/>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7"/>
                    </a:cubicBezTo>
                    <a:cubicBezTo>
                      <a:pt x="27" y="7"/>
                      <a:pt x="28" y="7"/>
                      <a:pt x="28" y="7"/>
                    </a:cubicBezTo>
                    <a:cubicBezTo>
                      <a:pt x="28" y="7"/>
                      <a:pt x="28" y="7"/>
                      <a:pt x="28" y="7"/>
                    </a:cubicBezTo>
                    <a:cubicBezTo>
                      <a:pt x="28" y="7"/>
                      <a:pt x="28" y="7"/>
                      <a:pt x="28" y="7"/>
                    </a:cubicBezTo>
                    <a:cubicBezTo>
                      <a:pt x="28" y="7"/>
                      <a:pt x="28" y="7"/>
                      <a:pt x="29" y="7"/>
                    </a:cubicBezTo>
                    <a:cubicBezTo>
                      <a:pt x="29" y="7"/>
                      <a:pt x="29" y="7"/>
                      <a:pt x="29" y="7"/>
                    </a:cubicBezTo>
                    <a:cubicBezTo>
                      <a:pt x="29" y="8"/>
                      <a:pt x="29" y="8"/>
                      <a:pt x="29" y="8"/>
                    </a:cubicBezTo>
                    <a:cubicBezTo>
                      <a:pt x="29" y="8"/>
                      <a:pt x="29" y="8"/>
                      <a:pt x="29" y="8"/>
                    </a:cubicBezTo>
                    <a:cubicBezTo>
                      <a:pt x="29" y="8"/>
                      <a:pt x="29" y="8"/>
                      <a:pt x="29" y="8"/>
                    </a:cubicBezTo>
                    <a:cubicBezTo>
                      <a:pt x="29" y="8"/>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10"/>
                      <a:pt x="30" y="10"/>
                      <a:pt x="30" y="10"/>
                    </a:cubicBezTo>
                    <a:cubicBezTo>
                      <a:pt x="30" y="10"/>
                      <a:pt x="30" y="10"/>
                      <a:pt x="30" y="10"/>
                    </a:cubicBezTo>
                    <a:cubicBezTo>
                      <a:pt x="30" y="10"/>
                      <a:pt x="30" y="10"/>
                      <a:pt x="30" y="10"/>
                    </a:cubicBezTo>
                    <a:cubicBezTo>
                      <a:pt x="30" y="10"/>
                      <a:pt x="30" y="10"/>
                      <a:pt x="30" y="10"/>
                    </a:cubicBezTo>
                    <a:cubicBezTo>
                      <a:pt x="31" y="10"/>
                      <a:pt x="31" y="10"/>
                      <a:pt x="31" y="11"/>
                    </a:cubicBezTo>
                    <a:cubicBezTo>
                      <a:pt x="31" y="11"/>
                      <a:pt x="31" y="11"/>
                      <a:pt x="31" y="11"/>
                    </a:cubicBezTo>
                    <a:cubicBezTo>
                      <a:pt x="31" y="11"/>
                      <a:pt x="31" y="11"/>
                      <a:pt x="31" y="11"/>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1"/>
                    </a:cubicBezTo>
                    <a:cubicBezTo>
                      <a:pt x="31" y="11"/>
                      <a:pt x="31" y="11"/>
                      <a:pt x="31" y="11"/>
                    </a:cubicBezTo>
                    <a:cubicBezTo>
                      <a:pt x="31" y="11"/>
                      <a:pt x="31" y="11"/>
                      <a:pt x="31" y="11"/>
                    </a:cubicBezTo>
                    <a:cubicBezTo>
                      <a:pt x="31" y="11"/>
                      <a:pt x="31" y="11"/>
                      <a:pt x="31" y="11"/>
                    </a:cubicBezTo>
                    <a:cubicBezTo>
                      <a:pt x="31" y="11"/>
                      <a:pt x="31" y="11"/>
                      <a:pt x="31" y="11"/>
                    </a:cubicBezTo>
                    <a:cubicBezTo>
                      <a:pt x="32" y="11"/>
                      <a:pt x="32" y="11"/>
                      <a:pt x="32" y="11"/>
                    </a:cubicBezTo>
                    <a:cubicBezTo>
                      <a:pt x="32" y="11"/>
                      <a:pt x="32" y="11"/>
                      <a:pt x="32" y="11"/>
                    </a:cubicBezTo>
                    <a:cubicBezTo>
                      <a:pt x="32" y="11"/>
                      <a:pt x="32" y="11"/>
                      <a:pt x="32" y="12"/>
                    </a:cubicBezTo>
                    <a:cubicBezTo>
                      <a:pt x="32" y="12"/>
                      <a:pt x="32" y="12"/>
                      <a:pt x="32" y="12"/>
                    </a:cubicBezTo>
                    <a:cubicBezTo>
                      <a:pt x="32" y="12"/>
                      <a:pt x="32" y="12"/>
                      <a:pt x="32" y="12"/>
                    </a:cubicBezTo>
                    <a:cubicBezTo>
                      <a:pt x="32" y="12"/>
                      <a:pt x="32" y="12"/>
                      <a:pt x="32" y="12"/>
                    </a:cubicBezTo>
                    <a:close/>
                    <a:moveTo>
                      <a:pt x="2" y="2"/>
                    </a:moveTo>
                    <a:cubicBezTo>
                      <a:pt x="2" y="2"/>
                      <a:pt x="2" y="2"/>
                      <a:pt x="2" y="2"/>
                    </a:cubicBezTo>
                    <a:cubicBezTo>
                      <a:pt x="2" y="2"/>
                      <a:pt x="2" y="2"/>
                      <a:pt x="2" y="2"/>
                    </a:cubicBezTo>
                    <a:cubicBezTo>
                      <a:pt x="2" y="2"/>
                      <a:pt x="2" y="2"/>
                      <a:pt x="2" y="2"/>
                    </a:cubicBezTo>
                    <a:cubicBezTo>
                      <a:pt x="2" y="2"/>
                      <a:pt x="2" y="2"/>
                      <a:pt x="2" y="2"/>
                    </a:cubicBezTo>
                    <a:close/>
                    <a:moveTo>
                      <a:pt x="29" y="11"/>
                    </a:moveTo>
                    <a:cubicBezTo>
                      <a:pt x="28" y="11"/>
                      <a:pt x="28" y="11"/>
                      <a:pt x="28" y="11"/>
                    </a:cubicBezTo>
                    <a:cubicBezTo>
                      <a:pt x="29" y="11"/>
                      <a:pt x="29" y="11"/>
                      <a:pt x="29"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1" name="Freeform 766">
                <a:extLst>
                  <a:ext uri="{FF2B5EF4-FFF2-40B4-BE49-F238E27FC236}">
                    <a16:creationId xmlns:a16="http://schemas.microsoft.com/office/drawing/2014/main" id="{1364EDEA-8BBD-71C7-B5F9-90618F70E59C}"/>
                  </a:ext>
                </a:extLst>
              </p:cNvPr>
              <p:cNvSpPr>
                <a:spLocks noEditPoints="1"/>
              </p:cNvSpPr>
              <p:nvPr/>
            </p:nvSpPr>
            <p:spPr bwMode="auto">
              <a:xfrm>
                <a:off x="2062163" y="3887788"/>
                <a:ext cx="846137" cy="558800"/>
              </a:xfrm>
              <a:custGeom>
                <a:avLst/>
                <a:gdLst>
                  <a:gd name="T0" fmla="*/ 26 w 203"/>
                  <a:gd name="T1" fmla="*/ 29 h 134"/>
                  <a:gd name="T2" fmla="*/ 33 w 203"/>
                  <a:gd name="T3" fmla="*/ 29 h 134"/>
                  <a:gd name="T4" fmla="*/ 132 w 203"/>
                  <a:gd name="T5" fmla="*/ 53 h 134"/>
                  <a:gd name="T6" fmla="*/ 120 w 203"/>
                  <a:gd name="T7" fmla="*/ 48 h 134"/>
                  <a:gd name="T8" fmla="*/ 113 w 203"/>
                  <a:gd name="T9" fmla="*/ 35 h 134"/>
                  <a:gd name="T10" fmla="*/ 99 w 203"/>
                  <a:gd name="T11" fmla="*/ 22 h 134"/>
                  <a:gd name="T12" fmla="*/ 88 w 203"/>
                  <a:gd name="T13" fmla="*/ 27 h 134"/>
                  <a:gd name="T14" fmla="*/ 60 w 203"/>
                  <a:gd name="T15" fmla="*/ 8 h 134"/>
                  <a:gd name="T16" fmla="*/ 1 w 203"/>
                  <a:gd name="T17" fmla="*/ 5 h 134"/>
                  <a:gd name="T18" fmla="*/ 5 w 203"/>
                  <a:gd name="T19" fmla="*/ 14 h 134"/>
                  <a:gd name="T20" fmla="*/ 10 w 203"/>
                  <a:gd name="T21" fmla="*/ 23 h 134"/>
                  <a:gd name="T22" fmla="*/ 19 w 203"/>
                  <a:gd name="T23" fmla="*/ 32 h 134"/>
                  <a:gd name="T24" fmla="*/ 20 w 203"/>
                  <a:gd name="T25" fmla="*/ 38 h 134"/>
                  <a:gd name="T26" fmla="*/ 17 w 203"/>
                  <a:gd name="T27" fmla="*/ 39 h 134"/>
                  <a:gd name="T28" fmla="*/ 19 w 203"/>
                  <a:gd name="T29" fmla="*/ 44 h 134"/>
                  <a:gd name="T30" fmla="*/ 25 w 203"/>
                  <a:gd name="T31" fmla="*/ 46 h 134"/>
                  <a:gd name="T32" fmla="*/ 27 w 203"/>
                  <a:gd name="T33" fmla="*/ 47 h 134"/>
                  <a:gd name="T34" fmla="*/ 33 w 203"/>
                  <a:gd name="T35" fmla="*/ 60 h 134"/>
                  <a:gd name="T36" fmla="*/ 42 w 203"/>
                  <a:gd name="T37" fmla="*/ 67 h 134"/>
                  <a:gd name="T38" fmla="*/ 52 w 203"/>
                  <a:gd name="T39" fmla="*/ 71 h 134"/>
                  <a:gd name="T40" fmla="*/ 46 w 203"/>
                  <a:gd name="T41" fmla="*/ 65 h 134"/>
                  <a:gd name="T42" fmla="*/ 42 w 203"/>
                  <a:gd name="T43" fmla="*/ 59 h 134"/>
                  <a:gd name="T44" fmla="*/ 36 w 203"/>
                  <a:gd name="T45" fmla="*/ 45 h 134"/>
                  <a:gd name="T46" fmla="*/ 34 w 203"/>
                  <a:gd name="T47" fmla="*/ 43 h 134"/>
                  <a:gd name="T48" fmla="*/ 28 w 203"/>
                  <a:gd name="T49" fmla="*/ 33 h 134"/>
                  <a:gd name="T50" fmla="*/ 24 w 203"/>
                  <a:gd name="T51" fmla="*/ 28 h 134"/>
                  <a:gd name="T52" fmla="*/ 17 w 203"/>
                  <a:gd name="T53" fmla="*/ 17 h 134"/>
                  <a:gd name="T54" fmla="*/ 20 w 203"/>
                  <a:gd name="T55" fmla="*/ 10 h 134"/>
                  <a:gd name="T56" fmla="*/ 27 w 203"/>
                  <a:gd name="T57" fmla="*/ 16 h 134"/>
                  <a:gd name="T58" fmla="*/ 33 w 203"/>
                  <a:gd name="T59" fmla="*/ 27 h 134"/>
                  <a:gd name="T60" fmla="*/ 38 w 203"/>
                  <a:gd name="T61" fmla="*/ 36 h 134"/>
                  <a:gd name="T62" fmla="*/ 49 w 203"/>
                  <a:gd name="T63" fmla="*/ 46 h 134"/>
                  <a:gd name="T64" fmla="*/ 52 w 203"/>
                  <a:gd name="T65" fmla="*/ 52 h 134"/>
                  <a:gd name="T66" fmla="*/ 54 w 203"/>
                  <a:gd name="T67" fmla="*/ 55 h 134"/>
                  <a:gd name="T68" fmla="*/ 61 w 203"/>
                  <a:gd name="T69" fmla="*/ 59 h 134"/>
                  <a:gd name="T70" fmla="*/ 64 w 203"/>
                  <a:gd name="T71" fmla="*/ 63 h 134"/>
                  <a:gd name="T72" fmla="*/ 74 w 203"/>
                  <a:gd name="T73" fmla="*/ 74 h 134"/>
                  <a:gd name="T74" fmla="*/ 80 w 203"/>
                  <a:gd name="T75" fmla="*/ 88 h 134"/>
                  <a:gd name="T76" fmla="*/ 80 w 203"/>
                  <a:gd name="T77" fmla="*/ 98 h 134"/>
                  <a:gd name="T78" fmla="*/ 94 w 203"/>
                  <a:gd name="T79" fmla="*/ 109 h 134"/>
                  <a:gd name="T80" fmla="*/ 116 w 203"/>
                  <a:gd name="T81" fmla="*/ 118 h 134"/>
                  <a:gd name="T82" fmla="*/ 130 w 203"/>
                  <a:gd name="T83" fmla="*/ 124 h 134"/>
                  <a:gd name="T84" fmla="*/ 148 w 203"/>
                  <a:gd name="T85" fmla="*/ 123 h 134"/>
                  <a:gd name="T86" fmla="*/ 154 w 203"/>
                  <a:gd name="T87" fmla="*/ 123 h 134"/>
                  <a:gd name="T88" fmla="*/ 165 w 203"/>
                  <a:gd name="T89" fmla="*/ 132 h 134"/>
                  <a:gd name="T90" fmla="*/ 179 w 203"/>
                  <a:gd name="T91" fmla="*/ 121 h 134"/>
                  <a:gd name="T92" fmla="*/ 175 w 203"/>
                  <a:gd name="T93" fmla="*/ 115 h 134"/>
                  <a:gd name="T94" fmla="*/ 195 w 203"/>
                  <a:gd name="T95" fmla="*/ 104 h 134"/>
                  <a:gd name="T96" fmla="*/ 196 w 203"/>
                  <a:gd name="T97" fmla="*/ 109 h 134"/>
                  <a:gd name="T98" fmla="*/ 199 w 203"/>
                  <a:gd name="T99" fmla="*/ 101 h 134"/>
                  <a:gd name="T100" fmla="*/ 198 w 203"/>
                  <a:gd name="T101" fmla="*/ 100 h 134"/>
                  <a:gd name="T102" fmla="*/ 199 w 203"/>
                  <a:gd name="T103" fmla="*/ 94 h 134"/>
                  <a:gd name="T104" fmla="*/ 199 w 203"/>
                  <a:gd name="T105" fmla="*/ 85 h 134"/>
                  <a:gd name="T106" fmla="*/ 178 w 203"/>
                  <a:gd name="T107" fmla="*/ 97 h 134"/>
                  <a:gd name="T108" fmla="*/ 167 w 203"/>
                  <a:gd name="T109" fmla="*/ 105 h 134"/>
                  <a:gd name="T110" fmla="*/ 144 w 203"/>
                  <a:gd name="T111" fmla="*/ 105 h 134"/>
                  <a:gd name="T112" fmla="*/ 132 w 203"/>
                  <a:gd name="T113" fmla="*/ 84 h 134"/>
                  <a:gd name="T114" fmla="*/ 130 w 203"/>
                  <a:gd name="T115" fmla="*/ 80 h 134"/>
                  <a:gd name="T116" fmla="*/ 129 w 203"/>
                  <a:gd name="T117" fmla="*/ 63 h 134"/>
                  <a:gd name="T118" fmla="*/ 131 w 203"/>
                  <a:gd name="T119" fmla="*/ 5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134">
                    <a:moveTo>
                      <a:pt x="25" y="27"/>
                    </a:moveTo>
                    <a:cubicBezTo>
                      <a:pt x="25" y="27"/>
                      <a:pt x="26" y="27"/>
                      <a:pt x="26" y="27"/>
                    </a:cubicBezTo>
                    <a:cubicBezTo>
                      <a:pt x="26" y="27"/>
                      <a:pt x="26" y="27"/>
                      <a:pt x="26" y="27"/>
                    </a:cubicBezTo>
                    <a:cubicBezTo>
                      <a:pt x="27" y="28"/>
                      <a:pt x="27" y="28"/>
                      <a:pt x="27" y="28"/>
                    </a:cubicBezTo>
                    <a:cubicBezTo>
                      <a:pt x="27" y="28"/>
                      <a:pt x="27" y="28"/>
                      <a:pt x="27" y="29"/>
                    </a:cubicBezTo>
                    <a:cubicBezTo>
                      <a:pt x="27" y="29"/>
                      <a:pt x="27" y="29"/>
                      <a:pt x="27" y="29"/>
                    </a:cubicBezTo>
                    <a:cubicBezTo>
                      <a:pt x="27" y="29"/>
                      <a:pt x="27" y="29"/>
                      <a:pt x="27" y="29"/>
                    </a:cubicBezTo>
                    <a:cubicBezTo>
                      <a:pt x="27" y="29"/>
                      <a:pt x="27" y="29"/>
                      <a:pt x="27" y="29"/>
                    </a:cubicBezTo>
                    <a:cubicBezTo>
                      <a:pt x="27" y="29"/>
                      <a:pt x="26" y="29"/>
                      <a:pt x="26" y="29"/>
                    </a:cubicBezTo>
                    <a:cubicBezTo>
                      <a:pt x="26" y="29"/>
                      <a:pt x="26" y="29"/>
                      <a:pt x="26" y="29"/>
                    </a:cubicBezTo>
                    <a:cubicBezTo>
                      <a:pt x="26" y="28"/>
                      <a:pt x="25" y="28"/>
                      <a:pt x="25" y="28"/>
                    </a:cubicBezTo>
                    <a:cubicBezTo>
                      <a:pt x="25" y="28"/>
                      <a:pt x="24" y="27"/>
                      <a:pt x="24" y="27"/>
                    </a:cubicBezTo>
                    <a:cubicBezTo>
                      <a:pt x="24" y="27"/>
                      <a:pt x="24" y="26"/>
                      <a:pt x="24" y="26"/>
                    </a:cubicBezTo>
                    <a:cubicBezTo>
                      <a:pt x="24" y="26"/>
                      <a:pt x="24" y="25"/>
                      <a:pt x="25" y="25"/>
                    </a:cubicBezTo>
                    <a:cubicBezTo>
                      <a:pt x="25" y="25"/>
                      <a:pt x="25" y="26"/>
                      <a:pt x="25" y="26"/>
                    </a:cubicBezTo>
                    <a:cubicBezTo>
                      <a:pt x="25" y="26"/>
                      <a:pt x="25" y="26"/>
                      <a:pt x="25" y="27"/>
                    </a:cubicBezTo>
                    <a:close/>
                    <a:moveTo>
                      <a:pt x="32" y="31"/>
                    </a:moveTo>
                    <a:cubicBezTo>
                      <a:pt x="32" y="31"/>
                      <a:pt x="32" y="31"/>
                      <a:pt x="32" y="31"/>
                    </a:cubicBezTo>
                    <a:cubicBezTo>
                      <a:pt x="33" y="31"/>
                      <a:pt x="33" y="31"/>
                      <a:pt x="33" y="31"/>
                    </a:cubicBezTo>
                    <a:cubicBezTo>
                      <a:pt x="33" y="30"/>
                      <a:pt x="33" y="30"/>
                      <a:pt x="33" y="29"/>
                    </a:cubicBezTo>
                    <a:cubicBezTo>
                      <a:pt x="33" y="29"/>
                      <a:pt x="32" y="29"/>
                      <a:pt x="32" y="28"/>
                    </a:cubicBezTo>
                    <a:cubicBezTo>
                      <a:pt x="32" y="28"/>
                      <a:pt x="32" y="28"/>
                      <a:pt x="32" y="28"/>
                    </a:cubicBezTo>
                    <a:cubicBezTo>
                      <a:pt x="31" y="28"/>
                      <a:pt x="31" y="28"/>
                      <a:pt x="31" y="29"/>
                    </a:cubicBezTo>
                    <a:cubicBezTo>
                      <a:pt x="31" y="29"/>
                      <a:pt x="31" y="29"/>
                      <a:pt x="31" y="30"/>
                    </a:cubicBezTo>
                    <a:cubicBezTo>
                      <a:pt x="30" y="30"/>
                      <a:pt x="31" y="30"/>
                      <a:pt x="31" y="30"/>
                    </a:cubicBezTo>
                    <a:cubicBezTo>
                      <a:pt x="31" y="30"/>
                      <a:pt x="31" y="30"/>
                      <a:pt x="31" y="31"/>
                    </a:cubicBezTo>
                    <a:cubicBezTo>
                      <a:pt x="31" y="31"/>
                      <a:pt x="31" y="31"/>
                      <a:pt x="31" y="31"/>
                    </a:cubicBezTo>
                    <a:cubicBezTo>
                      <a:pt x="31" y="31"/>
                      <a:pt x="31" y="31"/>
                      <a:pt x="31" y="31"/>
                    </a:cubicBezTo>
                    <a:cubicBezTo>
                      <a:pt x="32" y="31"/>
                      <a:pt x="32" y="31"/>
                      <a:pt x="32" y="31"/>
                    </a:cubicBezTo>
                    <a:close/>
                    <a:moveTo>
                      <a:pt x="132" y="53"/>
                    </a:moveTo>
                    <a:cubicBezTo>
                      <a:pt x="132" y="53"/>
                      <a:pt x="131" y="53"/>
                      <a:pt x="131" y="52"/>
                    </a:cubicBezTo>
                    <a:cubicBezTo>
                      <a:pt x="131" y="52"/>
                      <a:pt x="130" y="52"/>
                      <a:pt x="130" y="52"/>
                    </a:cubicBezTo>
                    <a:cubicBezTo>
                      <a:pt x="128" y="52"/>
                      <a:pt x="128" y="52"/>
                      <a:pt x="128" y="52"/>
                    </a:cubicBezTo>
                    <a:cubicBezTo>
                      <a:pt x="127" y="52"/>
                      <a:pt x="127" y="52"/>
                      <a:pt x="127" y="52"/>
                    </a:cubicBezTo>
                    <a:cubicBezTo>
                      <a:pt x="126" y="51"/>
                      <a:pt x="126" y="51"/>
                      <a:pt x="126" y="51"/>
                    </a:cubicBezTo>
                    <a:cubicBezTo>
                      <a:pt x="125" y="50"/>
                      <a:pt x="125" y="50"/>
                      <a:pt x="125" y="50"/>
                    </a:cubicBezTo>
                    <a:cubicBezTo>
                      <a:pt x="124" y="50"/>
                      <a:pt x="124" y="50"/>
                      <a:pt x="124" y="50"/>
                    </a:cubicBezTo>
                    <a:cubicBezTo>
                      <a:pt x="122" y="49"/>
                      <a:pt x="122" y="49"/>
                      <a:pt x="122" y="49"/>
                    </a:cubicBezTo>
                    <a:cubicBezTo>
                      <a:pt x="121" y="49"/>
                      <a:pt x="121" y="49"/>
                      <a:pt x="121" y="49"/>
                    </a:cubicBezTo>
                    <a:cubicBezTo>
                      <a:pt x="120" y="48"/>
                      <a:pt x="120" y="48"/>
                      <a:pt x="120" y="48"/>
                    </a:cubicBezTo>
                    <a:cubicBezTo>
                      <a:pt x="120" y="46"/>
                      <a:pt x="120" y="46"/>
                      <a:pt x="120" y="46"/>
                    </a:cubicBezTo>
                    <a:cubicBezTo>
                      <a:pt x="119" y="44"/>
                      <a:pt x="119" y="44"/>
                      <a:pt x="119" y="44"/>
                    </a:cubicBezTo>
                    <a:cubicBezTo>
                      <a:pt x="119" y="43"/>
                      <a:pt x="119" y="43"/>
                      <a:pt x="119" y="43"/>
                    </a:cubicBezTo>
                    <a:cubicBezTo>
                      <a:pt x="119" y="43"/>
                      <a:pt x="118" y="43"/>
                      <a:pt x="118" y="42"/>
                    </a:cubicBezTo>
                    <a:cubicBezTo>
                      <a:pt x="118" y="42"/>
                      <a:pt x="118" y="42"/>
                      <a:pt x="118" y="42"/>
                    </a:cubicBezTo>
                    <a:cubicBezTo>
                      <a:pt x="118" y="42"/>
                      <a:pt x="118" y="41"/>
                      <a:pt x="118" y="41"/>
                    </a:cubicBezTo>
                    <a:cubicBezTo>
                      <a:pt x="118" y="40"/>
                      <a:pt x="118" y="40"/>
                      <a:pt x="118" y="40"/>
                    </a:cubicBezTo>
                    <a:cubicBezTo>
                      <a:pt x="116" y="39"/>
                      <a:pt x="116" y="39"/>
                      <a:pt x="116" y="39"/>
                    </a:cubicBezTo>
                    <a:cubicBezTo>
                      <a:pt x="116" y="39"/>
                      <a:pt x="115" y="37"/>
                      <a:pt x="115" y="37"/>
                    </a:cubicBezTo>
                    <a:cubicBezTo>
                      <a:pt x="115" y="37"/>
                      <a:pt x="113" y="35"/>
                      <a:pt x="113" y="35"/>
                    </a:cubicBezTo>
                    <a:cubicBezTo>
                      <a:pt x="113" y="35"/>
                      <a:pt x="113" y="33"/>
                      <a:pt x="113" y="33"/>
                    </a:cubicBezTo>
                    <a:cubicBezTo>
                      <a:pt x="113" y="33"/>
                      <a:pt x="110" y="30"/>
                      <a:pt x="110" y="30"/>
                    </a:cubicBezTo>
                    <a:cubicBezTo>
                      <a:pt x="110" y="28"/>
                      <a:pt x="110" y="28"/>
                      <a:pt x="110" y="28"/>
                    </a:cubicBezTo>
                    <a:cubicBezTo>
                      <a:pt x="108" y="26"/>
                      <a:pt x="108" y="26"/>
                      <a:pt x="108" y="26"/>
                    </a:cubicBezTo>
                    <a:cubicBezTo>
                      <a:pt x="106" y="25"/>
                      <a:pt x="106" y="25"/>
                      <a:pt x="106" y="25"/>
                    </a:cubicBezTo>
                    <a:cubicBezTo>
                      <a:pt x="106" y="25"/>
                      <a:pt x="106" y="25"/>
                      <a:pt x="106" y="25"/>
                    </a:cubicBezTo>
                    <a:cubicBezTo>
                      <a:pt x="106" y="24"/>
                      <a:pt x="106" y="24"/>
                      <a:pt x="106" y="24"/>
                    </a:cubicBezTo>
                    <a:cubicBezTo>
                      <a:pt x="105" y="23"/>
                      <a:pt x="105" y="23"/>
                      <a:pt x="105" y="23"/>
                    </a:cubicBezTo>
                    <a:cubicBezTo>
                      <a:pt x="101" y="23"/>
                      <a:pt x="101" y="23"/>
                      <a:pt x="101" y="23"/>
                    </a:cubicBezTo>
                    <a:cubicBezTo>
                      <a:pt x="99" y="22"/>
                      <a:pt x="99" y="22"/>
                      <a:pt x="99" y="22"/>
                    </a:cubicBezTo>
                    <a:cubicBezTo>
                      <a:pt x="99" y="24"/>
                      <a:pt x="99" y="24"/>
                      <a:pt x="99" y="24"/>
                    </a:cubicBezTo>
                    <a:cubicBezTo>
                      <a:pt x="97" y="24"/>
                      <a:pt x="97" y="24"/>
                      <a:pt x="97" y="24"/>
                    </a:cubicBezTo>
                    <a:cubicBezTo>
                      <a:pt x="97" y="24"/>
                      <a:pt x="96" y="25"/>
                      <a:pt x="96" y="25"/>
                    </a:cubicBezTo>
                    <a:cubicBezTo>
                      <a:pt x="96" y="25"/>
                      <a:pt x="96" y="26"/>
                      <a:pt x="96" y="26"/>
                    </a:cubicBezTo>
                    <a:cubicBezTo>
                      <a:pt x="95" y="27"/>
                      <a:pt x="95" y="27"/>
                      <a:pt x="95" y="27"/>
                    </a:cubicBezTo>
                    <a:cubicBezTo>
                      <a:pt x="95" y="28"/>
                      <a:pt x="95" y="28"/>
                      <a:pt x="95" y="28"/>
                    </a:cubicBezTo>
                    <a:cubicBezTo>
                      <a:pt x="94" y="29"/>
                      <a:pt x="94" y="29"/>
                      <a:pt x="94" y="29"/>
                    </a:cubicBezTo>
                    <a:cubicBezTo>
                      <a:pt x="93" y="29"/>
                      <a:pt x="93" y="29"/>
                      <a:pt x="93" y="29"/>
                    </a:cubicBezTo>
                    <a:cubicBezTo>
                      <a:pt x="90" y="27"/>
                      <a:pt x="90" y="27"/>
                      <a:pt x="90" y="27"/>
                    </a:cubicBezTo>
                    <a:cubicBezTo>
                      <a:pt x="88" y="27"/>
                      <a:pt x="88" y="27"/>
                      <a:pt x="88" y="27"/>
                    </a:cubicBezTo>
                    <a:cubicBezTo>
                      <a:pt x="86" y="26"/>
                      <a:pt x="86" y="26"/>
                      <a:pt x="86" y="26"/>
                    </a:cubicBezTo>
                    <a:cubicBezTo>
                      <a:pt x="86" y="25"/>
                      <a:pt x="86" y="25"/>
                      <a:pt x="86" y="25"/>
                    </a:cubicBezTo>
                    <a:cubicBezTo>
                      <a:pt x="84" y="23"/>
                      <a:pt x="84" y="23"/>
                      <a:pt x="84" y="23"/>
                    </a:cubicBezTo>
                    <a:cubicBezTo>
                      <a:pt x="83" y="20"/>
                      <a:pt x="83" y="20"/>
                      <a:pt x="83" y="20"/>
                    </a:cubicBezTo>
                    <a:cubicBezTo>
                      <a:pt x="81" y="16"/>
                      <a:pt x="81" y="16"/>
                      <a:pt x="81" y="16"/>
                    </a:cubicBezTo>
                    <a:cubicBezTo>
                      <a:pt x="79" y="15"/>
                      <a:pt x="79" y="15"/>
                      <a:pt x="79" y="15"/>
                    </a:cubicBezTo>
                    <a:cubicBezTo>
                      <a:pt x="75" y="11"/>
                      <a:pt x="75" y="11"/>
                      <a:pt x="75" y="11"/>
                    </a:cubicBezTo>
                    <a:cubicBezTo>
                      <a:pt x="74" y="10"/>
                      <a:pt x="74" y="10"/>
                      <a:pt x="74" y="10"/>
                    </a:cubicBezTo>
                    <a:cubicBezTo>
                      <a:pt x="72" y="8"/>
                      <a:pt x="72" y="8"/>
                      <a:pt x="72" y="8"/>
                    </a:cubicBezTo>
                    <a:cubicBezTo>
                      <a:pt x="60" y="8"/>
                      <a:pt x="60" y="8"/>
                      <a:pt x="60" y="8"/>
                    </a:cubicBezTo>
                    <a:cubicBezTo>
                      <a:pt x="60" y="11"/>
                      <a:pt x="60" y="11"/>
                      <a:pt x="60" y="11"/>
                    </a:cubicBezTo>
                    <a:cubicBezTo>
                      <a:pt x="40" y="11"/>
                      <a:pt x="40" y="11"/>
                      <a:pt x="40" y="11"/>
                    </a:cubicBezTo>
                    <a:cubicBezTo>
                      <a:pt x="15" y="2"/>
                      <a:pt x="15" y="2"/>
                      <a:pt x="15" y="2"/>
                    </a:cubicBezTo>
                    <a:cubicBezTo>
                      <a:pt x="16" y="0"/>
                      <a:pt x="16" y="0"/>
                      <a:pt x="16" y="0"/>
                    </a:cubicBezTo>
                    <a:cubicBezTo>
                      <a:pt x="0" y="2"/>
                      <a:pt x="0" y="2"/>
                      <a:pt x="0" y="2"/>
                    </a:cubicBezTo>
                    <a:cubicBezTo>
                      <a:pt x="0" y="2"/>
                      <a:pt x="0" y="2"/>
                      <a:pt x="0" y="2"/>
                    </a:cubicBezTo>
                    <a:cubicBezTo>
                      <a:pt x="0" y="3"/>
                      <a:pt x="0" y="3"/>
                      <a:pt x="0" y="3"/>
                    </a:cubicBezTo>
                    <a:cubicBezTo>
                      <a:pt x="0" y="3"/>
                      <a:pt x="1" y="4"/>
                      <a:pt x="1" y="4"/>
                    </a:cubicBezTo>
                    <a:cubicBezTo>
                      <a:pt x="1" y="4"/>
                      <a:pt x="1" y="5"/>
                      <a:pt x="1" y="5"/>
                    </a:cubicBezTo>
                    <a:cubicBezTo>
                      <a:pt x="1" y="5"/>
                      <a:pt x="1" y="5"/>
                      <a:pt x="1" y="5"/>
                    </a:cubicBezTo>
                    <a:cubicBezTo>
                      <a:pt x="1" y="6"/>
                      <a:pt x="2" y="6"/>
                      <a:pt x="2" y="6"/>
                    </a:cubicBezTo>
                    <a:cubicBezTo>
                      <a:pt x="2" y="6"/>
                      <a:pt x="3" y="7"/>
                      <a:pt x="3" y="7"/>
                    </a:cubicBezTo>
                    <a:cubicBezTo>
                      <a:pt x="3" y="8"/>
                      <a:pt x="3" y="8"/>
                      <a:pt x="3" y="8"/>
                    </a:cubicBezTo>
                    <a:cubicBezTo>
                      <a:pt x="3" y="9"/>
                      <a:pt x="3" y="9"/>
                      <a:pt x="3" y="9"/>
                    </a:cubicBezTo>
                    <a:cubicBezTo>
                      <a:pt x="3" y="10"/>
                      <a:pt x="3" y="10"/>
                      <a:pt x="3" y="10"/>
                    </a:cubicBezTo>
                    <a:cubicBezTo>
                      <a:pt x="3" y="10"/>
                      <a:pt x="4" y="10"/>
                      <a:pt x="4" y="10"/>
                    </a:cubicBezTo>
                    <a:cubicBezTo>
                      <a:pt x="4" y="11"/>
                      <a:pt x="5" y="11"/>
                      <a:pt x="5" y="12"/>
                    </a:cubicBezTo>
                    <a:cubicBezTo>
                      <a:pt x="5" y="12"/>
                      <a:pt x="6" y="13"/>
                      <a:pt x="6" y="13"/>
                    </a:cubicBezTo>
                    <a:cubicBezTo>
                      <a:pt x="6" y="13"/>
                      <a:pt x="6" y="13"/>
                      <a:pt x="6" y="13"/>
                    </a:cubicBezTo>
                    <a:cubicBezTo>
                      <a:pt x="5" y="13"/>
                      <a:pt x="5" y="14"/>
                      <a:pt x="5" y="14"/>
                    </a:cubicBezTo>
                    <a:cubicBezTo>
                      <a:pt x="5" y="14"/>
                      <a:pt x="5" y="14"/>
                      <a:pt x="6" y="15"/>
                    </a:cubicBezTo>
                    <a:cubicBezTo>
                      <a:pt x="6" y="15"/>
                      <a:pt x="6" y="15"/>
                      <a:pt x="7" y="15"/>
                    </a:cubicBezTo>
                    <a:cubicBezTo>
                      <a:pt x="7" y="16"/>
                      <a:pt x="7" y="16"/>
                      <a:pt x="7" y="17"/>
                    </a:cubicBezTo>
                    <a:cubicBezTo>
                      <a:pt x="7" y="17"/>
                      <a:pt x="7" y="18"/>
                      <a:pt x="7" y="18"/>
                    </a:cubicBezTo>
                    <a:cubicBezTo>
                      <a:pt x="7" y="18"/>
                      <a:pt x="8" y="18"/>
                      <a:pt x="8" y="19"/>
                    </a:cubicBezTo>
                    <a:cubicBezTo>
                      <a:pt x="8" y="19"/>
                      <a:pt x="9" y="20"/>
                      <a:pt x="9" y="20"/>
                    </a:cubicBezTo>
                    <a:cubicBezTo>
                      <a:pt x="9" y="20"/>
                      <a:pt x="9" y="21"/>
                      <a:pt x="9" y="21"/>
                    </a:cubicBezTo>
                    <a:cubicBezTo>
                      <a:pt x="9" y="21"/>
                      <a:pt x="9" y="22"/>
                      <a:pt x="9" y="22"/>
                    </a:cubicBezTo>
                    <a:cubicBezTo>
                      <a:pt x="9" y="22"/>
                      <a:pt x="9" y="22"/>
                      <a:pt x="9" y="22"/>
                    </a:cubicBezTo>
                    <a:cubicBezTo>
                      <a:pt x="10" y="22"/>
                      <a:pt x="10" y="23"/>
                      <a:pt x="10" y="23"/>
                    </a:cubicBezTo>
                    <a:cubicBezTo>
                      <a:pt x="10" y="24"/>
                      <a:pt x="10" y="24"/>
                      <a:pt x="11" y="24"/>
                    </a:cubicBezTo>
                    <a:cubicBezTo>
                      <a:pt x="11" y="25"/>
                      <a:pt x="11" y="25"/>
                      <a:pt x="12" y="25"/>
                    </a:cubicBezTo>
                    <a:cubicBezTo>
                      <a:pt x="12" y="25"/>
                      <a:pt x="13" y="26"/>
                      <a:pt x="13" y="26"/>
                    </a:cubicBezTo>
                    <a:cubicBezTo>
                      <a:pt x="13" y="26"/>
                      <a:pt x="14" y="26"/>
                      <a:pt x="14" y="27"/>
                    </a:cubicBezTo>
                    <a:cubicBezTo>
                      <a:pt x="15" y="27"/>
                      <a:pt x="16" y="28"/>
                      <a:pt x="16" y="28"/>
                    </a:cubicBezTo>
                    <a:cubicBezTo>
                      <a:pt x="16" y="28"/>
                      <a:pt x="16" y="29"/>
                      <a:pt x="16" y="29"/>
                    </a:cubicBezTo>
                    <a:cubicBezTo>
                      <a:pt x="17" y="29"/>
                      <a:pt x="17" y="29"/>
                      <a:pt x="17" y="30"/>
                    </a:cubicBezTo>
                    <a:cubicBezTo>
                      <a:pt x="17" y="30"/>
                      <a:pt x="17" y="30"/>
                      <a:pt x="18" y="30"/>
                    </a:cubicBezTo>
                    <a:cubicBezTo>
                      <a:pt x="19" y="30"/>
                      <a:pt x="18" y="31"/>
                      <a:pt x="19" y="31"/>
                    </a:cubicBezTo>
                    <a:cubicBezTo>
                      <a:pt x="19" y="32"/>
                      <a:pt x="19" y="32"/>
                      <a:pt x="19" y="32"/>
                    </a:cubicBezTo>
                    <a:cubicBezTo>
                      <a:pt x="20" y="32"/>
                      <a:pt x="20" y="33"/>
                      <a:pt x="20" y="33"/>
                    </a:cubicBezTo>
                    <a:cubicBezTo>
                      <a:pt x="21" y="33"/>
                      <a:pt x="21" y="34"/>
                      <a:pt x="21" y="34"/>
                    </a:cubicBezTo>
                    <a:cubicBezTo>
                      <a:pt x="21" y="34"/>
                      <a:pt x="20" y="35"/>
                      <a:pt x="20" y="35"/>
                    </a:cubicBezTo>
                    <a:cubicBezTo>
                      <a:pt x="20" y="35"/>
                      <a:pt x="21" y="35"/>
                      <a:pt x="21" y="36"/>
                    </a:cubicBezTo>
                    <a:cubicBezTo>
                      <a:pt x="21" y="36"/>
                      <a:pt x="20" y="36"/>
                      <a:pt x="20" y="36"/>
                    </a:cubicBezTo>
                    <a:cubicBezTo>
                      <a:pt x="20" y="36"/>
                      <a:pt x="20" y="37"/>
                      <a:pt x="20" y="37"/>
                    </a:cubicBezTo>
                    <a:cubicBezTo>
                      <a:pt x="20" y="37"/>
                      <a:pt x="20" y="37"/>
                      <a:pt x="19" y="37"/>
                    </a:cubicBezTo>
                    <a:cubicBezTo>
                      <a:pt x="19" y="37"/>
                      <a:pt x="19" y="38"/>
                      <a:pt x="19" y="38"/>
                    </a:cubicBezTo>
                    <a:cubicBezTo>
                      <a:pt x="19" y="38"/>
                      <a:pt x="20" y="38"/>
                      <a:pt x="20" y="38"/>
                    </a:cubicBezTo>
                    <a:cubicBezTo>
                      <a:pt x="20" y="38"/>
                      <a:pt x="20" y="38"/>
                      <a:pt x="20" y="38"/>
                    </a:cubicBezTo>
                    <a:cubicBezTo>
                      <a:pt x="20" y="38"/>
                      <a:pt x="20" y="38"/>
                      <a:pt x="20" y="39"/>
                    </a:cubicBezTo>
                    <a:cubicBezTo>
                      <a:pt x="20" y="39"/>
                      <a:pt x="20" y="39"/>
                      <a:pt x="21" y="39"/>
                    </a:cubicBezTo>
                    <a:cubicBezTo>
                      <a:pt x="21" y="39"/>
                      <a:pt x="22" y="39"/>
                      <a:pt x="22" y="39"/>
                    </a:cubicBezTo>
                    <a:cubicBezTo>
                      <a:pt x="22" y="39"/>
                      <a:pt x="21" y="39"/>
                      <a:pt x="21" y="39"/>
                    </a:cubicBezTo>
                    <a:cubicBezTo>
                      <a:pt x="21" y="40"/>
                      <a:pt x="21" y="40"/>
                      <a:pt x="21" y="40"/>
                    </a:cubicBezTo>
                    <a:cubicBezTo>
                      <a:pt x="21" y="40"/>
                      <a:pt x="20" y="40"/>
                      <a:pt x="20" y="40"/>
                    </a:cubicBezTo>
                    <a:cubicBezTo>
                      <a:pt x="20" y="40"/>
                      <a:pt x="20" y="39"/>
                      <a:pt x="20" y="39"/>
                    </a:cubicBezTo>
                    <a:cubicBezTo>
                      <a:pt x="19" y="39"/>
                      <a:pt x="19" y="39"/>
                      <a:pt x="19" y="39"/>
                    </a:cubicBezTo>
                    <a:cubicBezTo>
                      <a:pt x="19" y="38"/>
                      <a:pt x="19" y="39"/>
                      <a:pt x="18" y="39"/>
                    </a:cubicBezTo>
                    <a:cubicBezTo>
                      <a:pt x="18" y="39"/>
                      <a:pt x="17" y="39"/>
                      <a:pt x="17" y="39"/>
                    </a:cubicBezTo>
                    <a:cubicBezTo>
                      <a:pt x="16" y="39"/>
                      <a:pt x="16" y="39"/>
                      <a:pt x="16" y="39"/>
                    </a:cubicBezTo>
                    <a:cubicBezTo>
                      <a:pt x="15" y="38"/>
                      <a:pt x="14" y="38"/>
                      <a:pt x="14" y="39"/>
                    </a:cubicBezTo>
                    <a:cubicBezTo>
                      <a:pt x="14" y="39"/>
                      <a:pt x="14" y="39"/>
                      <a:pt x="14" y="39"/>
                    </a:cubicBezTo>
                    <a:cubicBezTo>
                      <a:pt x="14" y="39"/>
                      <a:pt x="15" y="39"/>
                      <a:pt x="15" y="40"/>
                    </a:cubicBezTo>
                    <a:cubicBezTo>
                      <a:pt x="15" y="40"/>
                      <a:pt x="16" y="40"/>
                      <a:pt x="16" y="40"/>
                    </a:cubicBezTo>
                    <a:cubicBezTo>
                      <a:pt x="16" y="40"/>
                      <a:pt x="16" y="41"/>
                      <a:pt x="17" y="41"/>
                    </a:cubicBezTo>
                    <a:cubicBezTo>
                      <a:pt x="17" y="41"/>
                      <a:pt x="17" y="41"/>
                      <a:pt x="18" y="41"/>
                    </a:cubicBezTo>
                    <a:cubicBezTo>
                      <a:pt x="18" y="42"/>
                      <a:pt x="18" y="42"/>
                      <a:pt x="18" y="43"/>
                    </a:cubicBezTo>
                    <a:cubicBezTo>
                      <a:pt x="18" y="43"/>
                      <a:pt x="18" y="43"/>
                      <a:pt x="18" y="43"/>
                    </a:cubicBezTo>
                    <a:cubicBezTo>
                      <a:pt x="19" y="44"/>
                      <a:pt x="19" y="44"/>
                      <a:pt x="19" y="44"/>
                    </a:cubicBezTo>
                    <a:cubicBezTo>
                      <a:pt x="20" y="44"/>
                      <a:pt x="20" y="44"/>
                      <a:pt x="20" y="44"/>
                    </a:cubicBezTo>
                    <a:cubicBezTo>
                      <a:pt x="20" y="44"/>
                      <a:pt x="21" y="44"/>
                      <a:pt x="21" y="45"/>
                    </a:cubicBezTo>
                    <a:cubicBezTo>
                      <a:pt x="21" y="45"/>
                      <a:pt x="21" y="45"/>
                      <a:pt x="22" y="45"/>
                    </a:cubicBezTo>
                    <a:cubicBezTo>
                      <a:pt x="22" y="45"/>
                      <a:pt x="22" y="45"/>
                      <a:pt x="23" y="45"/>
                    </a:cubicBezTo>
                    <a:cubicBezTo>
                      <a:pt x="23" y="45"/>
                      <a:pt x="23" y="46"/>
                      <a:pt x="23" y="46"/>
                    </a:cubicBezTo>
                    <a:cubicBezTo>
                      <a:pt x="23" y="46"/>
                      <a:pt x="23" y="46"/>
                      <a:pt x="23" y="47"/>
                    </a:cubicBezTo>
                    <a:cubicBezTo>
                      <a:pt x="23" y="47"/>
                      <a:pt x="24" y="47"/>
                      <a:pt x="24" y="47"/>
                    </a:cubicBezTo>
                    <a:cubicBezTo>
                      <a:pt x="24" y="47"/>
                      <a:pt x="24" y="46"/>
                      <a:pt x="24"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5"/>
                      <a:pt x="27" y="45"/>
                    </a:cubicBezTo>
                    <a:cubicBezTo>
                      <a:pt x="27" y="45"/>
                      <a:pt x="26" y="45"/>
                      <a:pt x="26" y="45"/>
                    </a:cubicBezTo>
                    <a:cubicBezTo>
                      <a:pt x="26" y="45"/>
                      <a:pt x="26" y="44"/>
                      <a:pt x="26" y="44"/>
                    </a:cubicBezTo>
                    <a:cubicBezTo>
                      <a:pt x="27" y="44"/>
                      <a:pt x="27" y="44"/>
                      <a:pt x="27" y="44"/>
                    </a:cubicBezTo>
                    <a:cubicBezTo>
                      <a:pt x="27" y="44"/>
                      <a:pt x="27" y="45"/>
                      <a:pt x="27" y="45"/>
                    </a:cubicBezTo>
                    <a:cubicBezTo>
                      <a:pt x="27" y="45"/>
                      <a:pt x="27" y="45"/>
                      <a:pt x="27" y="45"/>
                    </a:cubicBezTo>
                    <a:cubicBezTo>
                      <a:pt x="27" y="45"/>
                      <a:pt x="27" y="46"/>
                      <a:pt x="27" y="46"/>
                    </a:cubicBezTo>
                    <a:cubicBezTo>
                      <a:pt x="27" y="46"/>
                      <a:pt x="27" y="47"/>
                      <a:pt x="27" y="47"/>
                    </a:cubicBezTo>
                    <a:cubicBezTo>
                      <a:pt x="27" y="47"/>
                      <a:pt x="27" y="48"/>
                      <a:pt x="28" y="48"/>
                    </a:cubicBezTo>
                    <a:cubicBezTo>
                      <a:pt x="28" y="49"/>
                      <a:pt x="29" y="49"/>
                      <a:pt x="30" y="49"/>
                    </a:cubicBezTo>
                    <a:cubicBezTo>
                      <a:pt x="30" y="50"/>
                      <a:pt x="31" y="50"/>
                      <a:pt x="31" y="50"/>
                    </a:cubicBezTo>
                    <a:cubicBezTo>
                      <a:pt x="32" y="50"/>
                      <a:pt x="32" y="51"/>
                      <a:pt x="33" y="51"/>
                    </a:cubicBezTo>
                    <a:cubicBezTo>
                      <a:pt x="33" y="51"/>
                      <a:pt x="34" y="54"/>
                      <a:pt x="34" y="54"/>
                    </a:cubicBezTo>
                    <a:cubicBezTo>
                      <a:pt x="34" y="55"/>
                      <a:pt x="34" y="56"/>
                      <a:pt x="34" y="56"/>
                    </a:cubicBezTo>
                    <a:cubicBezTo>
                      <a:pt x="34" y="56"/>
                      <a:pt x="34" y="57"/>
                      <a:pt x="34" y="57"/>
                    </a:cubicBezTo>
                    <a:cubicBezTo>
                      <a:pt x="33" y="58"/>
                      <a:pt x="34" y="59"/>
                      <a:pt x="34" y="59"/>
                    </a:cubicBezTo>
                    <a:cubicBezTo>
                      <a:pt x="34" y="59"/>
                      <a:pt x="34" y="59"/>
                      <a:pt x="34" y="59"/>
                    </a:cubicBezTo>
                    <a:cubicBezTo>
                      <a:pt x="34" y="59"/>
                      <a:pt x="33" y="60"/>
                      <a:pt x="33" y="60"/>
                    </a:cubicBezTo>
                    <a:cubicBezTo>
                      <a:pt x="32" y="60"/>
                      <a:pt x="33" y="60"/>
                      <a:pt x="33" y="61"/>
                    </a:cubicBezTo>
                    <a:cubicBezTo>
                      <a:pt x="32" y="61"/>
                      <a:pt x="33" y="61"/>
                      <a:pt x="33" y="61"/>
                    </a:cubicBezTo>
                    <a:cubicBezTo>
                      <a:pt x="33" y="61"/>
                      <a:pt x="33" y="60"/>
                      <a:pt x="33" y="61"/>
                    </a:cubicBezTo>
                    <a:cubicBezTo>
                      <a:pt x="34" y="61"/>
                      <a:pt x="33" y="61"/>
                      <a:pt x="34" y="61"/>
                    </a:cubicBezTo>
                    <a:cubicBezTo>
                      <a:pt x="34" y="61"/>
                      <a:pt x="34" y="61"/>
                      <a:pt x="35" y="62"/>
                    </a:cubicBezTo>
                    <a:cubicBezTo>
                      <a:pt x="35" y="62"/>
                      <a:pt x="35" y="62"/>
                      <a:pt x="36" y="62"/>
                    </a:cubicBezTo>
                    <a:cubicBezTo>
                      <a:pt x="36" y="63"/>
                      <a:pt x="36" y="63"/>
                      <a:pt x="37" y="63"/>
                    </a:cubicBezTo>
                    <a:cubicBezTo>
                      <a:pt x="37" y="64"/>
                      <a:pt x="38" y="64"/>
                      <a:pt x="38" y="64"/>
                    </a:cubicBezTo>
                    <a:cubicBezTo>
                      <a:pt x="39" y="65"/>
                      <a:pt x="39" y="65"/>
                      <a:pt x="40" y="65"/>
                    </a:cubicBezTo>
                    <a:cubicBezTo>
                      <a:pt x="40" y="66"/>
                      <a:pt x="41" y="67"/>
                      <a:pt x="42" y="67"/>
                    </a:cubicBezTo>
                    <a:cubicBezTo>
                      <a:pt x="42" y="68"/>
                      <a:pt x="43" y="69"/>
                      <a:pt x="43" y="69"/>
                    </a:cubicBezTo>
                    <a:cubicBezTo>
                      <a:pt x="44" y="69"/>
                      <a:pt x="45" y="70"/>
                      <a:pt x="45" y="70"/>
                    </a:cubicBezTo>
                    <a:cubicBezTo>
                      <a:pt x="46" y="70"/>
                      <a:pt x="46" y="71"/>
                      <a:pt x="46" y="71"/>
                    </a:cubicBezTo>
                    <a:cubicBezTo>
                      <a:pt x="47" y="72"/>
                      <a:pt x="47" y="73"/>
                      <a:pt x="47" y="74"/>
                    </a:cubicBezTo>
                    <a:cubicBezTo>
                      <a:pt x="47" y="74"/>
                      <a:pt x="48" y="75"/>
                      <a:pt x="48" y="75"/>
                    </a:cubicBezTo>
                    <a:cubicBezTo>
                      <a:pt x="48" y="75"/>
                      <a:pt x="49" y="75"/>
                      <a:pt x="49" y="75"/>
                    </a:cubicBezTo>
                    <a:cubicBezTo>
                      <a:pt x="49" y="75"/>
                      <a:pt x="50" y="74"/>
                      <a:pt x="50" y="74"/>
                    </a:cubicBezTo>
                    <a:cubicBezTo>
                      <a:pt x="50" y="74"/>
                      <a:pt x="50" y="74"/>
                      <a:pt x="51" y="74"/>
                    </a:cubicBezTo>
                    <a:cubicBezTo>
                      <a:pt x="51" y="73"/>
                      <a:pt x="52" y="73"/>
                      <a:pt x="52" y="73"/>
                    </a:cubicBezTo>
                    <a:cubicBezTo>
                      <a:pt x="52" y="73"/>
                      <a:pt x="52" y="71"/>
                      <a:pt x="52" y="71"/>
                    </a:cubicBezTo>
                    <a:cubicBezTo>
                      <a:pt x="52" y="71"/>
                      <a:pt x="51" y="70"/>
                      <a:pt x="51" y="70"/>
                    </a:cubicBezTo>
                    <a:cubicBezTo>
                      <a:pt x="51" y="70"/>
                      <a:pt x="50" y="70"/>
                      <a:pt x="50" y="69"/>
                    </a:cubicBezTo>
                    <a:cubicBezTo>
                      <a:pt x="50" y="69"/>
                      <a:pt x="50" y="69"/>
                      <a:pt x="50" y="69"/>
                    </a:cubicBezTo>
                    <a:cubicBezTo>
                      <a:pt x="50" y="68"/>
                      <a:pt x="50" y="68"/>
                      <a:pt x="50" y="68"/>
                    </a:cubicBezTo>
                    <a:cubicBezTo>
                      <a:pt x="49" y="68"/>
                      <a:pt x="49" y="68"/>
                      <a:pt x="49" y="67"/>
                    </a:cubicBezTo>
                    <a:cubicBezTo>
                      <a:pt x="49" y="67"/>
                      <a:pt x="49" y="67"/>
                      <a:pt x="49" y="67"/>
                    </a:cubicBezTo>
                    <a:cubicBezTo>
                      <a:pt x="49" y="67"/>
                      <a:pt x="48" y="67"/>
                      <a:pt x="48" y="66"/>
                    </a:cubicBezTo>
                    <a:cubicBezTo>
                      <a:pt x="48" y="66"/>
                      <a:pt x="48" y="66"/>
                      <a:pt x="48" y="66"/>
                    </a:cubicBezTo>
                    <a:cubicBezTo>
                      <a:pt x="47" y="65"/>
                      <a:pt x="47" y="65"/>
                      <a:pt x="47" y="65"/>
                    </a:cubicBezTo>
                    <a:cubicBezTo>
                      <a:pt x="46" y="64"/>
                      <a:pt x="46" y="65"/>
                      <a:pt x="46" y="65"/>
                    </a:cubicBezTo>
                    <a:cubicBezTo>
                      <a:pt x="46" y="65"/>
                      <a:pt x="46" y="66"/>
                      <a:pt x="46" y="66"/>
                    </a:cubicBezTo>
                    <a:cubicBezTo>
                      <a:pt x="45" y="66"/>
                      <a:pt x="45" y="66"/>
                      <a:pt x="45" y="66"/>
                    </a:cubicBezTo>
                    <a:cubicBezTo>
                      <a:pt x="45" y="66"/>
                      <a:pt x="44" y="66"/>
                      <a:pt x="44" y="65"/>
                    </a:cubicBezTo>
                    <a:cubicBezTo>
                      <a:pt x="44" y="65"/>
                      <a:pt x="44" y="65"/>
                      <a:pt x="44" y="65"/>
                    </a:cubicBezTo>
                    <a:cubicBezTo>
                      <a:pt x="43" y="64"/>
                      <a:pt x="43" y="64"/>
                      <a:pt x="43" y="64"/>
                    </a:cubicBezTo>
                    <a:cubicBezTo>
                      <a:pt x="43" y="63"/>
                      <a:pt x="43" y="63"/>
                      <a:pt x="43" y="63"/>
                    </a:cubicBezTo>
                    <a:cubicBezTo>
                      <a:pt x="43" y="63"/>
                      <a:pt x="43" y="62"/>
                      <a:pt x="43" y="62"/>
                    </a:cubicBezTo>
                    <a:cubicBezTo>
                      <a:pt x="43" y="62"/>
                      <a:pt x="43" y="61"/>
                      <a:pt x="43" y="60"/>
                    </a:cubicBezTo>
                    <a:cubicBezTo>
                      <a:pt x="43" y="60"/>
                      <a:pt x="43" y="60"/>
                      <a:pt x="43" y="60"/>
                    </a:cubicBezTo>
                    <a:cubicBezTo>
                      <a:pt x="42" y="59"/>
                      <a:pt x="42" y="59"/>
                      <a:pt x="42" y="59"/>
                    </a:cubicBezTo>
                    <a:cubicBezTo>
                      <a:pt x="42" y="58"/>
                      <a:pt x="42" y="57"/>
                      <a:pt x="42" y="57"/>
                    </a:cubicBezTo>
                    <a:cubicBezTo>
                      <a:pt x="42" y="57"/>
                      <a:pt x="41" y="56"/>
                      <a:pt x="41" y="56"/>
                    </a:cubicBezTo>
                    <a:cubicBezTo>
                      <a:pt x="40" y="56"/>
                      <a:pt x="40" y="55"/>
                      <a:pt x="40" y="55"/>
                    </a:cubicBezTo>
                    <a:cubicBezTo>
                      <a:pt x="40" y="55"/>
                      <a:pt x="40" y="54"/>
                      <a:pt x="40" y="54"/>
                    </a:cubicBezTo>
                    <a:cubicBezTo>
                      <a:pt x="39" y="54"/>
                      <a:pt x="39" y="54"/>
                      <a:pt x="39" y="53"/>
                    </a:cubicBezTo>
                    <a:cubicBezTo>
                      <a:pt x="39" y="53"/>
                      <a:pt x="39" y="51"/>
                      <a:pt x="39" y="51"/>
                    </a:cubicBezTo>
                    <a:cubicBezTo>
                      <a:pt x="39" y="50"/>
                      <a:pt x="39" y="50"/>
                      <a:pt x="38" y="49"/>
                    </a:cubicBezTo>
                    <a:cubicBezTo>
                      <a:pt x="38" y="49"/>
                      <a:pt x="38" y="49"/>
                      <a:pt x="38" y="48"/>
                    </a:cubicBezTo>
                    <a:cubicBezTo>
                      <a:pt x="38" y="48"/>
                      <a:pt x="37" y="47"/>
                      <a:pt x="37" y="47"/>
                    </a:cubicBezTo>
                    <a:cubicBezTo>
                      <a:pt x="37" y="46"/>
                      <a:pt x="36" y="46"/>
                      <a:pt x="36" y="45"/>
                    </a:cubicBezTo>
                    <a:cubicBezTo>
                      <a:pt x="36" y="45"/>
                      <a:pt x="36" y="46"/>
                      <a:pt x="36" y="46"/>
                    </a:cubicBezTo>
                    <a:cubicBezTo>
                      <a:pt x="36" y="46"/>
                      <a:pt x="36" y="46"/>
                      <a:pt x="36" y="47"/>
                    </a:cubicBezTo>
                    <a:cubicBezTo>
                      <a:pt x="36" y="47"/>
                      <a:pt x="36" y="47"/>
                      <a:pt x="36" y="47"/>
                    </a:cubicBezTo>
                    <a:cubicBezTo>
                      <a:pt x="36" y="48"/>
                      <a:pt x="36" y="48"/>
                      <a:pt x="36" y="48"/>
                    </a:cubicBezTo>
                    <a:cubicBezTo>
                      <a:pt x="36" y="47"/>
                      <a:pt x="35" y="47"/>
                      <a:pt x="35" y="47"/>
                    </a:cubicBezTo>
                    <a:cubicBezTo>
                      <a:pt x="35" y="46"/>
                      <a:pt x="35" y="46"/>
                      <a:pt x="35" y="46"/>
                    </a:cubicBezTo>
                    <a:cubicBezTo>
                      <a:pt x="35" y="46"/>
                      <a:pt x="35" y="45"/>
                      <a:pt x="35" y="45"/>
                    </a:cubicBezTo>
                    <a:cubicBezTo>
                      <a:pt x="35" y="45"/>
                      <a:pt x="35" y="44"/>
                      <a:pt x="35" y="44"/>
                    </a:cubicBezTo>
                    <a:cubicBezTo>
                      <a:pt x="35" y="44"/>
                      <a:pt x="35" y="44"/>
                      <a:pt x="35" y="44"/>
                    </a:cubicBezTo>
                    <a:cubicBezTo>
                      <a:pt x="34" y="44"/>
                      <a:pt x="34" y="44"/>
                      <a:pt x="34" y="43"/>
                    </a:cubicBezTo>
                    <a:cubicBezTo>
                      <a:pt x="33" y="43"/>
                      <a:pt x="33" y="43"/>
                      <a:pt x="33" y="42"/>
                    </a:cubicBezTo>
                    <a:cubicBezTo>
                      <a:pt x="33" y="42"/>
                      <a:pt x="32" y="41"/>
                      <a:pt x="32" y="40"/>
                    </a:cubicBezTo>
                    <a:cubicBezTo>
                      <a:pt x="31" y="40"/>
                      <a:pt x="31" y="40"/>
                      <a:pt x="31" y="40"/>
                    </a:cubicBezTo>
                    <a:cubicBezTo>
                      <a:pt x="30" y="40"/>
                      <a:pt x="30" y="39"/>
                      <a:pt x="30" y="38"/>
                    </a:cubicBezTo>
                    <a:cubicBezTo>
                      <a:pt x="29" y="38"/>
                      <a:pt x="29" y="38"/>
                      <a:pt x="29" y="37"/>
                    </a:cubicBezTo>
                    <a:cubicBezTo>
                      <a:pt x="29" y="37"/>
                      <a:pt x="29" y="36"/>
                      <a:pt x="29" y="36"/>
                    </a:cubicBezTo>
                    <a:cubicBezTo>
                      <a:pt x="29" y="36"/>
                      <a:pt x="29" y="35"/>
                      <a:pt x="29" y="35"/>
                    </a:cubicBezTo>
                    <a:cubicBezTo>
                      <a:pt x="29" y="35"/>
                      <a:pt x="29" y="34"/>
                      <a:pt x="29" y="34"/>
                    </a:cubicBezTo>
                    <a:cubicBezTo>
                      <a:pt x="29" y="34"/>
                      <a:pt x="29" y="34"/>
                      <a:pt x="29" y="33"/>
                    </a:cubicBezTo>
                    <a:cubicBezTo>
                      <a:pt x="28" y="33"/>
                      <a:pt x="28" y="33"/>
                      <a:pt x="28" y="33"/>
                    </a:cubicBezTo>
                    <a:cubicBezTo>
                      <a:pt x="28" y="34"/>
                      <a:pt x="28" y="34"/>
                      <a:pt x="27" y="34"/>
                    </a:cubicBezTo>
                    <a:cubicBezTo>
                      <a:pt x="27" y="33"/>
                      <a:pt x="27" y="33"/>
                      <a:pt x="27" y="33"/>
                    </a:cubicBezTo>
                    <a:cubicBezTo>
                      <a:pt x="27" y="33"/>
                      <a:pt x="27" y="32"/>
                      <a:pt x="27" y="31"/>
                    </a:cubicBezTo>
                    <a:cubicBezTo>
                      <a:pt x="26" y="31"/>
                      <a:pt x="26" y="31"/>
                      <a:pt x="26" y="31"/>
                    </a:cubicBezTo>
                    <a:cubicBezTo>
                      <a:pt x="25" y="31"/>
                      <a:pt x="26" y="31"/>
                      <a:pt x="26" y="31"/>
                    </a:cubicBezTo>
                    <a:cubicBezTo>
                      <a:pt x="25" y="30"/>
                      <a:pt x="25" y="30"/>
                      <a:pt x="25" y="30"/>
                    </a:cubicBezTo>
                    <a:cubicBezTo>
                      <a:pt x="25" y="30"/>
                      <a:pt x="25" y="30"/>
                      <a:pt x="25" y="30"/>
                    </a:cubicBezTo>
                    <a:cubicBezTo>
                      <a:pt x="24" y="30"/>
                      <a:pt x="24" y="30"/>
                      <a:pt x="24" y="30"/>
                    </a:cubicBezTo>
                    <a:cubicBezTo>
                      <a:pt x="24" y="30"/>
                      <a:pt x="24" y="29"/>
                      <a:pt x="24" y="29"/>
                    </a:cubicBezTo>
                    <a:cubicBezTo>
                      <a:pt x="24" y="28"/>
                      <a:pt x="24" y="28"/>
                      <a:pt x="24" y="28"/>
                    </a:cubicBezTo>
                    <a:cubicBezTo>
                      <a:pt x="23" y="28"/>
                      <a:pt x="24" y="28"/>
                      <a:pt x="24" y="27"/>
                    </a:cubicBezTo>
                    <a:cubicBezTo>
                      <a:pt x="24" y="27"/>
                      <a:pt x="23" y="27"/>
                      <a:pt x="23" y="26"/>
                    </a:cubicBezTo>
                    <a:cubicBezTo>
                      <a:pt x="22" y="26"/>
                      <a:pt x="21" y="25"/>
                      <a:pt x="21" y="24"/>
                    </a:cubicBezTo>
                    <a:cubicBezTo>
                      <a:pt x="20" y="24"/>
                      <a:pt x="19" y="24"/>
                      <a:pt x="19" y="24"/>
                    </a:cubicBezTo>
                    <a:cubicBezTo>
                      <a:pt x="19" y="24"/>
                      <a:pt x="19" y="23"/>
                      <a:pt x="19" y="23"/>
                    </a:cubicBezTo>
                    <a:cubicBezTo>
                      <a:pt x="19" y="23"/>
                      <a:pt x="17" y="21"/>
                      <a:pt x="17" y="21"/>
                    </a:cubicBezTo>
                    <a:cubicBezTo>
                      <a:pt x="17" y="21"/>
                      <a:pt x="17" y="20"/>
                      <a:pt x="17" y="20"/>
                    </a:cubicBezTo>
                    <a:cubicBezTo>
                      <a:pt x="17" y="20"/>
                      <a:pt x="17" y="19"/>
                      <a:pt x="17" y="18"/>
                    </a:cubicBezTo>
                    <a:cubicBezTo>
                      <a:pt x="17" y="18"/>
                      <a:pt x="17" y="18"/>
                      <a:pt x="17" y="17"/>
                    </a:cubicBezTo>
                    <a:cubicBezTo>
                      <a:pt x="17" y="17"/>
                      <a:pt x="17" y="17"/>
                      <a:pt x="17" y="17"/>
                    </a:cubicBezTo>
                    <a:cubicBezTo>
                      <a:pt x="16" y="16"/>
                      <a:pt x="16" y="15"/>
                      <a:pt x="16" y="15"/>
                    </a:cubicBezTo>
                    <a:cubicBezTo>
                      <a:pt x="16" y="15"/>
                      <a:pt x="16" y="14"/>
                      <a:pt x="15" y="14"/>
                    </a:cubicBezTo>
                    <a:cubicBezTo>
                      <a:pt x="15" y="13"/>
                      <a:pt x="15" y="12"/>
                      <a:pt x="15" y="12"/>
                    </a:cubicBezTo>
                    <a:cubicBezTo>
                      <a:pt x="15" y="11"/>
                      <a:pt x="15" y="10"/>
                      <a:pt x="15" y="10"/>
                    </a:cubicBezTo>
                    <a:cubicBezTo>
                      <a:pt x="15" y="10"/>
                      <a:pt x="16" y="9"/>
                      <a:pt x="16" y="8"/>
                    </a:cubicBezTo>
                    <a:cubicBezTo>
                      <a:pt x="16" y="8"/>
                      <a:pt x="16" y="8"/>
                      <a:pt x="16" y="8"/>
                    </a:cubicBezTo>
                    <a:cubicBezTo>
                      <a:pt x="17" y="9"/>
                      <a:pt x="17" y="8"/>
                      <a:pt x="17" y="8"/>
                    </a:cubicBezTo>
                    <a:cubicBezTo>
                      <a:pt x="17" y="8"/>
                      <a:pt x="17" y="8"/>
                      <a:pt x="17" y="8"/>
                    </a:cubicBezTo>
                    <a:cubicBezTo>
                      <a:pt x="18" y="9"/>
                      <a:pt x="20" y="10"/>
                      <a:pt x="20" y="10"/>
                    </a:cubicBezTo>
                    <a:cubicBezTo>
                      <a:pt x="20" y="10"/>
                      <a:pt x="20" y="10"/>
                      <a:pt x="20" y="10"/>
                    </a:cubicBezTo>
                    <a:cubicBezTo>
                      <a:pt x="20" y="10"/>
                      <a:pt x="21" y="10"/>
                      <a:pt x="22" y="10"/>
                    </a:cubicBezTo>
                    <a:cubicBezTo>
                      <a:pt x="22" y="9"/>
                      <a:pt x="22" y="9"/>
                      <a:pt x="22" y="9"/>
                    </a:cubicBezTo>
                    <a:cubicBezTo>
                      <a:pt x="22" y="9"/>
                      <a:pt x="23" y="10"/>
                      <a:pt x="23" y="10"/>
                    </a:cubicBezTo>
                    <a:cubicBezTo>
                      <a:pt x="24" y="11"/>
                      <a:pt x="24" y="11"/>
                      <a:pt x="24" y="11"/>
                    </a:cubicBezTo>
                    <a:cubicBezTo>
                      <a:pt x="24" y="12"/>
                      <a:pt x="24" y="12"/>
                      <a:pt x="24" y="12"/>
                    </a:cubicBezTo>
                    <a:cubicBezTo>
                      <a:pt x="25" y="12"/>
                      <a:pt x="25" y="12"/>
                      <a:pt x="26" y="12"/>
                    </a:cubicBezTo>
                    <a:cubicBezTo>
                      <a:pt x="26" y="12"/>
                      <a:pt x="27" y="12"/>
                      <a:pt x="27" y="12"/>
                    </a:cubicBezTo>
                    <a:cubicBezTo>
                      <a:pt x="28" y="13"/>
                      <a:pt x="28" y="13"/>
                      <a:pt x="28" y="14"/>
                    </a:cubicBezTo>
                    <a:cubicBezTo>
                      <a:pt x="28" y="14"/>
                      <a:pt x="27" y="14"/>
                      <a:pt x="27" y="14"/>
                    </a:cubicBezTo>
                    <a:cubicBezTo>
                      <a:pt x="27" y="15"/>
                      <a:pt x="27" y="15"/>
                      <a:pt x="27" y="16"/>
                    </a:cubicBezTo>
                    <a:cubicBezTo>
                      <a:pt x="27" y="16"/>
                      <a:pt x="27" y="17"/>
                      <a:pt x="27" y="17"/>
                    </a:cubicBezTo>
                    <a:cubicBezTo>
                      <a:pt x="27" y="17"/>
                      <a:pt x="28" y="18"/>
                      <a:pt x="29" y="18"/>
                    </a:cubicBezTo>
                    <a:cubicBezTo>
                      <a:pt x="29" y="19"/>
                      <a:pt x="29" y="19"/>
                      <a:pt x="29" y="20"/>
                    </a:cubicBezTo>
                    <a:cubicBezTo>
                      <a:pt x="29" y="20"/>
                      <a:pt x="29" y="20"/>
                      <a:pt x="29" y="21"/>
                    </a:cubicBezTo>
                    <a:cubicBezTo>
                      <a:pt x="29" y="21"/>
                      <a:pt x="29" y="22"/>
                      <a:pt x="29" y="22"/>
                    </a:cubicBezTo>
                    <a:cubicBezTo>
                      <a:pt x="29" y="23"/>
                      <a:pt x="30" y="23"/>
                      <a:pt x="30" y="23"/>
                    </a:cubicBezTo>
                    <a:cubicBezTo>
                      <a:pt x="31" y="23"/>
                      <a:pt x="31" y="24"/>
                      <a:pt x="31" y="25"/>
                    </a:cubicBezTo>
                    <a:cubicBezTo>
                      <a:pt x="32" y="25"/>
                      <a:pt x="32" y="26"/>
                      <a:pt x="32" y="26"/>
                    </a:cubicBezTo>
                    <a:cubicBezTo>
                      <a:pt x="32" y="26"/>
                      <a:pt x="32" y="27"/>
                      <a:pt x="32" y="27"/>
                    </a:cubicBezTo>
                    <a:cubicBezTo>
                      <a:pt x="32" y="27"/>
                      <a:pt x="33" y="27"/>
                      <a:pt x="33" y="27"/>
                    </a:cubicBezTo>
                    <a:cubicBezTo>
                      <a:pt x="33" y="27"/>
                      <a:pt x="33" y="27"/>
                      <a:pt x="33" y="27"/>
                    </a:cubicBezTo>
                    <a:cubicBezTo>
                      <a:pt x="33" y="27"/>
                      <a:pt x="33" y="28"/>
                      <a:pt x="33" y="28"/>
                    </a:cubicBezTo>
                    <a:cubicBezTo>
                      <a:pt x="33" y="28"/>
                      <a:pt x="34" y="29"/>
                      <a:pt x="34" y="30"/>
                    </a:cubicBezTo>
                    <a:cubicBezTo>
                      <a:pt x="34" y="30"/>
                      <a:pt x="34" y="30"/>
                      <a:pt x="34" y="30"/>
                    </a:cubicBezTo>
                    <a:cubicBezTo>
                      <a:pt x="34" y="31"/>
                      <a:pt x="35" y="31"/>
                      <a:pt x="35" y="31"/>
                    </a:cubicBezTo>
                    <a:cubicBezTo>
                      <a:pt x="36" y="31"/>
                      <a:pt x="35" y="31"/>
                      <a:pt x="35" y="31"/>
                    </a:cubicBezTo>
                    <a:cubicBezTo>
                      <a:pt x="35" y="31"/>
                      <a:pt x="35" y="32"/>
                      <a:pt x="35" y="32"/>
                    </a:cubicBezTo>
                    <a:cubicBezTo>
                      <a:pt x="36" y="32"/>
                      <a:pt x="36" y="33"/>
                      <a:pt x="36" y="33"/>
                    </a:cubicBezTo>
                    <a:cubicBezTo>
                      <a:pt x="36" y="33"/>
                      <a:pt x="37" y="34"/>
                      <a:pt x="37" y="34"/>
                    </a:cubicBezTo>
                    <a:cubicBezTo>
                      <a:pt x="38" y="35"/>
                      <a:pt x="38" y="35"/>
                      <a:pt x="38" y="36"/>
                    </a:cubicBezTo>
                    <a:cubicBezTo>
                      <a:pt x="39" y="36"/>
                      <a:pt x="40" y="37"/>
                      <a:pt x="40" y="37"/>
                    </a:cubicBezTo>
                    <a:cubicBezTo>
                      <a:pt x="40" y="38"/>
                      <a:pt x="43" y="38"/>
                      <a:pt x="44" y="38"/>
                    </a:cubicBezTo>
                    <a:cubicBezTo>
                      <a:pt x="45" y="38"/>
                      <a:pt x="44" y="39"/>
                      <a:pt x="44" y="40"/>
                    </a:cubicBezTo>
                    <a:cubicBezTo>
                      <a:pt x="44" y="40"/>
                      <a:pt x="44" y="41"/>
                      <a:pt x="44" y="41"/>
                    </a:cubicBezTo>
                    <a:cubicBezTo>
                      <a:pt x="44" y="41"/>
                      <a:pt x="44" y="42"/>
                      <a:pt x="45" y="42"/>
                    </a:cubicBezTo>
                    <a:cubicBezTo>
                      <a:pt x="45" y="42"/>
                      <a:pt x="45" y="43"/>
                      <a:pt x="45" y="43"/>
                    </a:cubicBezTo>
                    <a:cubicBezTo>
                      <a:pt x="45" y="43"/>
                      <a:pt x="46" y="44"/>
                      <a:pt x="46" y="44"/>
                    </a:cubicBezTo>
                    <a:cubicBezTo>
                      <a:pt x="47" y="44"/>
                      <a:pt x="47" y="44"/>
                      <a:pt x="48" y="44"/>
                    </a:cubicBezTo>
                    <a:cubicBezTo>
                      <a:pt x="48" y="44"/>
                      <a:pt x="49" y="44"/>
                      <a:pt x="49" y="45"/>
                    </a:cubicBezTo>
                    <a:cubicBezTo>
                      <a:pt x="49" y="45"/>
                      <a:pt x="49" y="46"/>
                      <a:pt x="49" y="46"/>
                    </a:cubicBezTo>
                    <a:cubicBezTo>
                      <a:pt x="49" y="47"/>
                      <a:pt x="49" y="47"/>
                      <a:pt x="49" y="47"/>
                    </a:cubicBezTo>
                    <a:cubicBezTo>
                      <a:pt x="50" y="47"/>
                      <a:pt x="50" y="47"/>
                      <a:pt x="50" y="47"/>
                    </a:cubicBezTo>
                    <a:cubicBezTo>
                      <a:pt x="51" y="47"/>
                      <a:pt x="51" y="47"/>
                      <a:pt x="51" y="47"/>
                    </a:cubicBezTo>
                    <a:cubicBezTo>
                      <a:pt x="51" y="46"/>
                      <a:pt x="52" y="47"/>
                      <a:pt x="52" y="47"/>
                    </a:cubicBezTo>
                    <a:cubicBezTo>
                      <a:pt x="52" y="48"/>
                      <a:pt x="53" y="48"/>
                      <a:pt x="53" y="49"/>
                    </a:cubicBezTo>
                    <a:cubicBezTo>
                      <a:pt x="53" y="49"/>
                      <a:pt x="54" y="50"/>
                      <a:pt x="54" y="50"/>
                    </a:cubicBezTo>
                    <a:cubicBezTo>
                      <a:pt x="54" y="51"/>
                      <a:pt x="53" y="50"/>
                      <a:pt x="53" y="50"/>
                    </a:cubicBezTo>
                    <a:cubicBezTo>
                      <a:pt x="53" y="50"/>
                      <a:pt x="53" y="50"/>
                      <a:pt x="53" y="50"/>
                    </a:cubicBezTo>
                    <a:cubicBezTo>
                      <a:pt x="53" y="51"/>
                      <a:pt x="52" y="51"/>
                      <a:pt x="52" y="51"/>
                    </a:cubicBezTo>
                    <a:cubicBezTo>
                      <a:pt x="52" y="52"/>
                      <a:pt x="52" y="52"/>
                      <a:pt x="52" y="52"/>
                    </a:cubicBezTo>
                    <a:cubicBezTo>
                      <a:pt x="52" y="52"/>
                      <a:pt x="52" y="53"/>
                      <a:pt x="52" y="53"/>
                    </a:cubicBezTo>
                    <a:cubicBezTo>
                      <a:pt x="52" y="53"/>
                      <a:pt x="52" y="54"/>
                      <a:pt x="53" y="54"/>
                    </a:cubicBezTo>
                    <a:cubicBezTo>
                      <a:pt x="53" y="54"/>
                      <a:pt x="53" y="54"/>
                      <a:pt x="52" y="54"/>
                    </a:cubicBezTo>
                    <a:cubicBezTo>
                      <a:pt x="52" y="55"/>
                      <a:pt x="52" y="55"/>
                      <a:pt x="53" y="55"/>
                    </a:cubicBezTo>
                    <a:cubicBezTo>
                      <a:pt x="53" y="55"/>
                      <a:pt x="53" y="55"/>
                      <a:pt x="53" y="54"/>
                    </a:cubicBezTo>
                    <a:cubicBezTo>
                      <a:pt x="54" y="54"/>
                      <a:pt x="53" y="55"/>
                      <a:pt x="54" y="55"/>
                    </a:cubicBezTo>
                    <a:cubicBezTo>
                      <a:pt x="54" y="55"/>
                      <a:pt x="54" y="55"/>
                      <a:pt x="54" y="55"/>
                    </a:cubicBezTo>
                    <a:cubicBezTo>
                      <a:pt x="54" y="55"/>
                      <a:pt x="55" y="54"/>
                      <a:pt x="55" y="54"/>
                    </a:cubicBezTo>
                    <a:cubicBezTo>
                      <a:pt x="55" y="54"/>
                      <a:pt x="55" y="55"/>
                      <a:pt x="55" y="55"/>
                    </a:cubicBezTo>
                    <a:cubicBezTo>
                      <a:pt x="55" y="55"/>
                      <a:pt x="55" y="55"/>
                      <a:pt x="54" y="55"/>
                    </a:cubicBezTo>
                    <a:cubicBezTo>
                      <a:pt x="54" y="55"/>
                      <a:pt x="54" y="56"/>
                      <a:pt x="54" y="56"/>
                    </a:cubicBezTo>
                    <a:cubicBezTo>
                      <a:pt x="54" y="56"/>
                      <a:pt x="55" y="56"/>
                      <a:pt x="55" y="56"/>
                    </a:cubicBezTo>
                    <a:cubicBezTo>
                      <a:pt x="55" y="56"/>
                      <a:pt x="55" y="55"/>
                      <a:pt x="56" y="55"/>
                    </a:cubicBezTo>
                    <a:cubicBezTo>
                      <a:pt x="56" y="55"/>
                      <a:pt x="56" y="56"/>
                      <a:pt x="56" y="56"/>
                    </a:cubicBezTo>
                    <a:cubicBezTo>
                      <a:pt x="56" y="56"/>
                      <a:pt x="57" y="57"/>
                      <a:pt x="57" y="57"/>
                    </a:cubicBezTo>
                    <a:cubicBezTo>
                      <a:pt x="57" y="57"/>
                      <a:pt x="57" y="57"/>
                      <a:pt x="58" y="57"/>
                    </a:cubicBezTo>
                    <a:cubicBezTo>
                      <a:pt x="58" y="57"/>
                      <a:pt x="58" y="58"/>
                      <a:pt x="59" y="58"/>
                    </a:cubicBezTo>
                    <a:cubicBezTo>
                      <a:pt x="59" y="57"/>
                      <a:pt x="59" y="57"/>
                      <a:pt x="59" y="57"/>
                    </a:cubicBezTo>
                    <a:cubicBezTo>
                      <a:pt x="59" y="57"/>
                      <a:pt x="59" y="58"/>
                      <a:pt x="60" y="58"/>
                    </a:cubicBezTo>
                    <a:cubicBezTo>
                      <a:pt x="60" y="58"/>
                      <a:pt x="61" y="59"/>
                      <a:pt x="61" y="59"/>
                    </a:cubicBezTo>
                    <a:cubicBezTo>
                      <a:pt x="61" y="59"/>
                      <a:pt x="60" y="60"/>
                      <a:pt x="60" y="60"/>
                    </a:cubicBezTo>
                    <a:cubicBezTo>
                      <a:pt x="60" y="60"/>
                      <a:pt x="60" y="60"/>
                      <a:pt x="60" y="60"/>
                    </a:cubicBezTo>
                    <a:cubicBezTo>
                      <a:pt x="60" y="61"/>
                      <a:pt x="60" y="61"/>
                      <a:pt x="60" y="61"/>
                    </a:cubicBezTo>
                    <a:cubicBezTo>
                      <a:pt x="61" y="61"/>
                      <a:pt x="61" y="60"/>
                      <a:pt x="61" y="60"/>
                    </a:cubicBezTo>
                    <a:cubicBezTo>
                      <a:pt x="62" y="60"/>
                      <a:pt x="62" y="60"/>
                      <a:pt x="62" y="60"/>
                    </a:cubicBezTo>
                    <a:cubicBezTo>
                      <a:pt x="62" y="61"/>
                      <a:pt x="62" y="61"/>
                      <a:pt x="62" y="61"/>
                    </a:cubicBezTo>
                    <a:cubicBezTo>
                      <a:pt x="62" y="62"/>
                      <a:pt x="61" y="62"/>
                      <a:pt x="61" y="62"/>
                    </a:cubicBezTo>
                    <a:cubicBezTo>
                      <a:pt x="61" y="62"/>
                      <a:pt x="62" y="62"/>
                      <a:pt x="62" y="63"/>
                    </a:cubicBezTo>
                    <a:cubicBezTo>
                      <a:pt x="63" y="63"/>
                      <a:pt x="63" y="63"/>
                      <a:pt x="63" y="63"/>
                    </a:cubicBezTo>
                    <a:cubicBezTo>
                      <a:pt x="64" y="63"/>
                      <a:pt x="64" y="63"/>
                      <a:pt x="64" y="63"/>
                    </a:cubicBezTo>
                    <a:cubicBezTo>
                      <a:pt x="64" y="63"/>
                      <a:pt x="64" y="64"/>
                      <a:pt x="64" y="64"/>
                    </a:cubicBezTo>
                    <a:cubicBezTo>
                      <a:pt x="64" y="64"/>
                      <a:pt x="64" y="64"/>
                      <a:pt x="64" y="64"/>
                    </a:cubicBezTo>
                    <a:cubicBezTo>
                      <a:pt x="64" y="64"/>
                      <a:pt x="64" y="64"/>
                      <a:pt x="64" y="65"/>
                    </a:cubicBezTo>
                    <a:cubicBezTo>
                      <a:pt x="65" y="65"/>
                      <a:pt x="66" y="65"/>
                      <a:pt x="66" y="66"/>
                    </a:cubicBezTo>
                    <a:cubicBezTo>
                      <a:pt x="67" y="66"/>
                      <a:pt x="67" y="67"/>
                      <a:pt x="68" y="67"/>
                    </a:cubicBezTo>
                    <a:cubicBezTo>
                      <a:pt x="68" y="67"/>
                      <a:pt x="69" y="69"/>
                      <a:pt x="69" y="69"/>
                    </a:cubicBezTo>
                    <a:cubicBezTo>
                      <a:pt x="69" y="70"/>
                      <a:pt x="69" y="70"/>
                      <a:pt x="70" y="70"/>
                    </a:cubicBezTo>
                    <a:cubicBezTo>
                      <a:pt x="70" y="70"/>
                      <a:pt x="71" y="71"/>
                      <a:pt x="71" y="72"/>
                    </a:cubicBezTo>
                    <a:cubicBezTo>
                      <a:pt x="71" y="72"/>
                      <a:pt x="73" y="74"/>
                      <a:pt x="73" y="74"/>
                    </a:cubicBezTo>
                    <a:cubicBezTo>
                      <a:pt x="73" y="74"/>
                      <a:pt x="74" y="75"/>
                      <a:pt x="74" y="74"/>
                    </a:cubicBezTo>
                    <a:cubicBezTo>
                      <a:pt x="74" y="74"/>
                      <a:pt x="74" y="74"/>
                      <a:pt x="74" y="75"/>
                    </a:cubicBezTo>
                    <a:cubicBezTo>
                      <a:pt x="74" y="75"/>
                      <a:pt x="74" y="75"/>
                      <a:pt x="75" y="76"/>
                    </a:cubicBezTo>
                    <a:cubicBezTo>
                      <a:pt x="75" y="76"/>
                      <a:pt x="75" y="76"/>
                      <a:pt x="76" y="77"/>
                    </a:cubicBezTo>
                    <a:cubicBezTo>
                      <a:pt x="76" y="77"/>
                      <a:pt x="77" y="78"/>
                      <a:pt x="77" y="79"/>
                    </a:cubicBezTo>
                    <a:cubicBezTo>
                      <a:pt x="77" y="79"/>
                      <a:pt x="77" y="80"/>
                      <a:pt x="77" y="80"/>
                    </a:cubicBezTo>
                    <a:cubicBezTo>
                      <a:pt x="77" y="81"/>
                      <a:pt x="77" y="81"/>
                      <a:pt x="77" y="82"/>
                    </a:cubicBezTo>
                    <a:cubicBezTo>
                      <a:pt x="77" y="82"/>
                      <a:pt x="78" y="83"/>
                      <a:pt x="78" y="83"/>
                    </a:cubicBezTo>
                    <a:cubicBezTo>
                      <a:pt x="78" y="84"/>
                      <a:pt x="79" y="84"/>
                      <a:pt x="79" y="85"/>
                    </a:cubicBezTo>
                    <a:cubicBezTo>
                      <a:pt x="79" y="85"/>
                      <a:pt x="80" y="86"/>
                      <a:pt x="80" y="86"/>
                    </a:cubicBezTo>
                    <a:cubicBezTo>
                      <a:pt x="80" y="87"/>
                      <a:pt x="80" y="88"/>
                      <a:pt x="80" y="88"/>
                    </a:cubicBezTo>
                    <a:cubicBezTo>
                      <a:pt x="79" y="89"/>
                      <a:pt x="79" y="89"/>
                      <a:pt x="78" y="89"/>
                    </a:cubicBezTo>
                    <a:cubicBezTo>
                      <a:pt x="78" y="90"/>
                      <a:pt x="78" y="90"/>
                      <a:pt x="78" y="90"/>
                    </a:cubicBezTo>
                    <a:cubicBezTo>
                      <a:pt x="78" y="91"/>
                      <a:pt x="78" y="91"/>
                      <a:pt x="79" y="91"/>
                    </a:cubicBezTo>
                    <a:cubicBezTo>
                      <a:pt x="80" y="91"/>
                      <a:pt x="80" y="92"/>
                      <a:pt x="79" y="92"/>
                    </a:cubicBezTo>
                    <a:cubicBezTo>
                      <a:pt x="79" y="92"/>
                      <a:pt x="79" y="92"/>
                      <a:pt x="78" y="92"/>
                    </a:cubicBezTo>
                    <a:cubicBezTo>
                      <a:pt x="78" y="92"/>
                      <a:pt x="77" y="92"/>
                      <a:pt x="77" y="93"/>
                    </a:cubicBezTo>
                    <a:cubicBezTo>
                      <a:pt x="77" y="93"/>
                      <a:pt x="77" y="94"/>
                      <a:pt x="77" y="94"/>
                    </a:cubicBezTo>
                    <a:cubicBezTo>
                      <a:pt x="78" y="94"/>
                      <a:pt x="78" y="95"/>
                      <a:pt x="78" y="95"/>
                    </a:cubicBezTo>
                    <a:cubicBezTo>
                      <a:pt x="78" y="95"/>
                      <a:pt x="78" y="96"/>
                      <a:pt x="78" y="96"/>
                    </a:cubicBezTo>
                    <a:cubicBezTo>
                      <a:pt x="78" y="97"/>
                      <a:pt x="80" y="98"/>
                      <a:pt x="80" y="98"/>
                    </a:cubicBezTo>
                    <a:cubicBezTo>
                      <a:pt x="80" y="98"/>
                      <a:pt x="81" y="99"/>
                      <a:pt x="81" y="100"/>
                    </a:cubicBezTo>
                    <a:cubicBezTo>
                      <a:pt x="81" y="100"/>
                      <a:pt x="82" y="101"/>
                      <a:pt x="83" y="101"/>
                    </a:cubicBezTo>
                    <a:cubicBezTo>
                      <a:pt x="83" y="102"/>
                      <a:pt x="84" y="102"/>
                      <a:pt x="85" y="102"/>
                    </a:cubicBezTo>
                    <a:cubicBezTo>
                      <a:pt x="86" y="102"/>
                      <a:pt x="86" y="103"/>
                      <a:pt x="86" y="103"/>
                    </a:cubicBezTo>
                    <a:cubicBezTo>
                      <a:pt x="86" y="103"/>
                      <a:pt x="87" y="103"/>
                      <a:pt x="87" y="103"/>
                    </a:cubicBezTo>
                    <a:cubicBezTo>
                      <a:pt x="88" y="104"/>
                      <a:pt x="89" y="104"/>
                      <a:pt x="89" y="104"/>
                    </a:cubicBezTo>
                    <a:cubicBezTo>
                      <a:pt x="89" y="104"/>
                      <a:pt x="90" y="105"/>
                      <a:pt x="90" y="105"/>
                    </a:cubicBezTo>
                    <a:cubicBezTo>
                      <a:pt x="90" y="106"/>
                      <a:pt x="91" y="107"/>
                      <a:pt x="91" y="107"/>
                    </a:cubicBezTo>
                    <a:cubicBezTo>
                      <a:pt x="91" y="107"/>
                      <a:pt x="92" y="108"/>
                      <a:pt x="92" y="108"/>
                    </a:cubicBezTo>
                    <a:cubicBezTo>
                      <a:pt x="93" y="108"/>
                      <a:pt x="94" y="109"/>
                      <a:pt x="94" y="109"/>
                    </a:cubicBezTo>
                    <a:cubicBezTo>
                      <a:pt x="95" y="109"/>
                      <a:pt x="98" y="110"/>
                      <a:pt x="99" y="110"/>
                    </a:cubicBezTo>
                    <a:cubicBezTo>
                      <a:pt x="99" y="110"/>
                      <a:pt x="100" y="110"/>
                      <a:pt x="100" y="110"/>
                    </a:cubicBezTo>
                    <a:cubicBezTo>
                      <a:pt x="101" y="110"/>
                      <a:pt x="101" y="110"/>
                      <a:pt x="102" y="110"/>
                    </a:cubicBezTo>
                    <a:cubicBezTo>
                      <a:pt x="102" y="111"/>
                      <a:pt x="103" y="111"/>
                      <a:pt x="103" y="111"/>
                    </a:cubicBezTo>
                    <a:cubicBezTo>
                      <a:pt x="103" y="112"/>
                      <a:pt x="106" y="114"/>
                      <a:pt x="106" y="114"/>
                    </a:cubicBezTo>
                    <a:cubicBezTo>
                      <a:pt x="106" y="114"/>
                      <a:pt x="107" y="115"/>
                      <a:pt x="108" y="115"/>
                    </a:cubicBezTo>
                    <a:cubicBezTo>
                      <a:pt x="109" y="116"/>
                      <a:pt x="110" y="116"/>
                      <a:pt x="111" y="116"/>
                    </a:cubicBezTo>
                    <a:cubicBezTo>
                      <a:pt x="111" y="116"/>
                      <a:pt x="112" y="117"/>
                      <a:pt x="113" y="117"/>
                    </a:cubicBezTo>
                    <a:cubicBezTo>
                      <a:pt x="113" y="117"/>
                      <a:pt x="114" y="117"/>
                      <a:pt x="114" y="117"/>
                    </a:cubicBezTo>
                    <a:cubicBezTo>
                      <a:pt x="114" y="118"/>
                      <a:pt x="115" y="118"/>
                      <a:pt x="116" y="118"/>
                    </a:cubicBezTo>
                    <a:cubicBezTo>
                      <a:pt x="116" y="119"/>
                      <a:pt x="117" y="119"/>
                      <a:pt x="117" y="119"/>
                    </a:cubicBezTo>
                    <a:cubicBezTo>
                      <a:pt x="118" y="119"/>
                      <a:pt x="119" y="119"/>
                      <a:pt x="120" y="119"/>
                    </a:cubicBezTo>
                    <a:cubicBezTo>
                      <a:pt x="120" y="120"/>
                      <a:pt x="121" y="120"/>
                      <a:pt x="121" y="120"/>
                    </a:cubicBezTo>
                    <a:cubicBezTo>
                      <a:pt x="122" y="120"/>
                      <a:pt x="123" y="120"/>
                      <a:pt x="123" y="120"/>
                    </a:cubicBezTo>
                    <a:cubicBezTo>
                      <a:pt x="123" y="120"/>
                      <a:pt x="123" y="121"/>
                      <a:pt x="123" y="121"/>
                    </a:cubicBezTo>
                    <a:cubicBezTo>
                      <a:pt x="124" y="121"/>
                      <a:pt x="124" y="122"/>
                      <a:pt x="125" y="122"/>
                    </a:cubicBezTo>
                    <a:cubicBezTo>
                      <a:pt x="125" y="122"/>
                      <a:pt x="125" y="122"/>
                      <a:pt x="126" y="122"/>
                    </a:cubicBezTo>
                    <a:cubicBezTo>
                      <a:pt x="126" y="122"/>
                      <a:pt x="127" y="123"/>
                      <a:pt x="127" y="123"/>
                    </a:cubicBezTo>
                    <a:cubicBezTo>
                      <a:pt x="128" y="123"/>
                      <a:pt x="128" y="123"/>
                      <a:pt x="128" y="123"/>
                    </a:cubicBezTo>
                    <a:cubicBezTo>
                      <a:pt x="129" y="124"/>
                      <a:pt x="130" y="124"/>
                      <a:pt x="130" y="124"/>
                    </a:cubicBezTo>
                    <a:cubicBezTo>
                      <a:pt x="131" y="124"/>
                      <a:pt x="132" y="124"/>
                      <a:pt x="132" y="124"/>
                    </a:cubicBezTo>
                    <a:cubicBezTo>
                      <a:pt x="133" y="125"/>
                      <a:pt x="134" y="125"/>
                      <a:pt x="135" y="125"/>
                    </a:cubicBezTo>
                    <a:cubicBezTo>
                      <a:pt x="135" y="126"/>
                      <a:pt x="136" y="126"/>
                      <a:pt x="136" y="126"/>
                    </a:cubicBezTo>
                    <a:cubicBezTo>
                      <a:pt x="137" y="126"/>
                      <a:pt x="138" y="126"/>
                      <a:pt x="139" y="126"/>
                    </a:cubicBezTo>
                    <a:cubicBezTo>
                      <a:pt x="139" y="126"/>
                      <a:pt x="140" y="126"/>
                      <a:pt x="140" y="126"/>
                    </a:cubicBezTo>
                    <a:cubicBezTo>
                      <a:pt x="141" y="126"/>
                      <a:pt x="141" y="125"/>
                      <a:pt x="141" y="125"/>
                    </a:cubicBezTo>
                    <a:cubicBezTo>
                      <a:pt x="142" y="125"/>
                      <a:pt x="143" y="125"/>
                      <a:pt x="143" y="125"/>
                    </a:cubicBezTo>
                    <a:cubicBezTo>
                      <a:pt x="143" y="125"/>
                      <a:pt x="145" y="124"/>
                      <a:pt x="145" y="124"/>
                    </a:cubicBezTo>
                    <a:cubicBezTo>
                      <a:pt x="145" y="124"/>
                      <a:pt x="146" y="123"/>
                      <a:pt x="146" y="123"/>
                    </a:cubicBezTo>
                    <a:cubicBezTo>
                      <a:pt x="146" y="123"/>
                      <a:pt x="147" y="123"/>
                      <a:pt x="148" y="123"/>
                    </a:cubicBezTo>
                    <a:cubicBezTo>
                      <a:pt x="148" y="123"/>
                      <a:pt x="149" y="123"/>
                      <a:pt x="150" y="123"/>
                    </a:cubicBezTo>
                    <a:cubicBezTo>
                      <a:pt x="150" y="122"/>
                      <a:pt x="149" y="122"/>
                      <a:pt x="149" y="122"/>
                    </a:cubicBezTo>
                    <a:cubicBezTo>
                      <a:pt x="149" y="122"/>
                      <a:pt x="148" y="122"/>
                      <a:pt x="148" y="122"/>
                    </a:cubicBezTo>
                    <a:cubicBezTo>
                      <a:pt x="148" y="122"/>
                      <a:pt x="149" y="121"/>
                      <a:pt x="149" y="121"/>
                    </a:cubicBezTo>
                    <a:cubicBezTo>
                      <a:pt x="149" y="121"/>
                      <a:pt x="149" y="121"/>
                      <a:pt x="150" y="121"/>
                    </a:cubicBezTo>
                    <a:cubicBezTo>
                      <a:pt x="150" y="122"/>
                      <a:pt x="150" y="121"/>
                      <a:pt x="150" y="122"/>
                    </a:cubicBezTo>
                    <a:cubicBezTo>
                      <a:pt x="151" y="122"/>
                      <a:pt x="151" y="122"/>
                      <a:pt x="151" y="122"/>
                    </a:cubicBezTo>
                    <a:cubicBezTo>
                      <a:pt x="151" y="122"/>
                      <a:pt x="152" y="123"/>
                      <a:pt x="152" y="123"/>
                    </a:cubicBezTo>
                    <a:cubicBezTo>
                      <a:pt x="152" y="122"/>
                      <a:pt x="152" y="122"/>
                      <a:pt x="153" y="122"/>
                    </a:cubicBezTo>
                    <a:cubicBezTo>
                      <a:pt x="153" y="122"/>
                      <a:pt x="154" y="123"/>
                      <a:pt x="154" y="123"/>
                    </a:cubicBezTo>
                    <a:cubicBezTo>
                      <a:pt x="154" y="123"/>
                      <a:pt x="154" y="123"/>
                      <a:pt x="154" y="123"/>
                    </a:cubicBezTo>
                    <a:cubicBezTo>
                      <a:pt x="154" y="123"/>
                      <a:pt x="155" y="123"/>
                      <a:pt x="155" y="123"/>
                    </a:cubicBezTo>
                    <a:cubicBezTo>
                      <a:pt x="155" y="123"/>
                      <a:pt x="155" y="123"/>
                      <a:pt x="155" y="123"/>
                    </a:cubicBezTo>
                    <a:cubicBezTo>
                      <a:pt x="156" y="123"/>
                      <a:pt x="156" y="124"/>
                      <a:pt x="156" y="124"/>
                    </a:cubicBezTo>
                    <a:cubicBezTo>
                      <a:pt x="156" y="124"/>
                      <a:pt x="157" y="125"/>
                      <a:pt x="157" y="125"/>
                    </a:cubicBezTo>
                    <a:cubicBezTo>
                      <a:pt x="157" y="125"/>
                      <a:pt x="157" y="125"/>
                      <a:pt x="157" y="125"/>
                    </a:cubicBezTo>
                    <a:cubicBezTo>
                      <a:pt x="157" y="125"/>
                      <a:pt x="158" y="126"/>
                      <a:pt x="158" y="126"/>
                    </a:cubicBezTo>
                    <a:cubicBezTo>
                      <a:pt x="159" y="126"/>
                      <a:pt x="161" y="128"/>
                      <a:pt x="162" y="129"/>
                    </a:cubicBezTo>
                    <a:cubicBezTo>
                      <a:pt x="162" y="129"/>
                      <a:pt x="163" y="130"/>
                      <a:pt x="163" y="130"/>
                    </a:cubicBezTo>
                    <a:cubicBezTo>
                      <a:pt x="163" y="131"/>
                      <a:pt x="164" y="132"/>
                      <a:pt x="165" y="132"/>
                    </a:cubicBezTo>
                    <a:cubicBezTo>
                      <a:pt x="165" y="133"/>
                      <a:pt x="166" y="133"/>
                      <a:pt x="167" y="134"/>
                    </a:cubicBezTo>
                    <a:cubicBezTo>
                      <a:pt x="167" y="133"/>
                      <a:pt x="167" y="133"/>
                      <a:pt x="167" y="133"/>
                    </a:cubicBezTo>
                    <a:cubicBezTo>
                      <a:pt x="167" y="131"/>
                      <a:pt x="167" y="131"/>
                      <a:pt x="167" y="131"/>
                    </a:cubicBezTo>
                    <a:cubicBezTo>
                      <a:pt x="168" y="130"/>
                      <a:pt x="168" y="130"/>
                      <a:pt x="168" y="130"/>
                    </a:cubicBezTo>
                    <a:cubicBezTo>
                      <a:pt x="167" y="129"/>
                      <a:pt x="167" y="129"/>
                      <a:pt x="167" y="129"/>
                    </a:cubicBezTo>
                    <a:cubicBezTo>
                      <a:pt x="167" y="129"/>
                      <a:pt x="167" y="129"/>
                      <a:pt x="167" y="129"/>
                    </a:cubicBezTo>
                    <a:cubicBezTo>
                      <a:pt x="170" y="123"/>
                      <a:pt x="170" y="123"/>
                      <a:pt x="170" y="123"/>
                    </a:cubicBezTo>
                    <a:cubicBezTo>
                      <a:pt x="179" y="123"/>
                      <a:pt x="179" y="123"/>
                      <a:pt x="179" y="123"/>
                    </a:cubicBezTo>
                    <a:cubicBezTo>
                      <a:pt x="179" y="122"/>
                      <a:pt x="179" y="122"/>
                      <a:pt x="179" y="122"/>
                    </a:cubicBezTo>
                    <a:cubicBezTo>
                      <a:pt x="179" y="121"/>
                      <a:pt x="179" y="121"/>
                      <a:pt x="179" y="121"/>
                    </a:cubicBezTo>
                    <a:cubicBezTo>
                      <a:pt x="179" y="121"/>
                      <a:pt x="179" y="121"/>
                      <a:pt x="179" y="121"/>
                    </a:cubicBezTo>
                    <a:cubicBezTo>
                      <a:pt x="178" y="121"/>
                      <a:pt x="178" y="121"/>
                      <a:pt x="178" y="121"/>
                    </a:cubicBezTo>
                    <a:cubicBezTo>
                      <a:pt x="177" y="120"/>
                      <a:pt x="177" y="120"/>
                      <a:pt x="177" y="120"/>
                    </a:cubicBezTo>
                    <a:cubicBezTo>
                      <a:pt x="177" y="119"/>
                      <a:pt x="177" y="119"/>
                      <a:pt x="177" y="119"/>
                    </a:cubicBezTo>
                    <a:cubicBezTo>
                      <a:pt x="175" y="118"/>
                      <a:pt x="175" y="118"/>
                      <a:pt x="175" y="118"/>
                    </a:cubicBezTo>
                    <a:cubicBezTo>
                      <a:pt x="175" y="118"/>
                      <a:pt x="175" y="117"/>
                      <a:pt x="174" y="117"/>
                    </a:cubicBezTo>
                    <a:cubicBezTo>
                      <a:pt x="174" y="117"/>
                      <a:pt x="173" y="116"/>
                      <a:pt x="173" y="116"/>
                    </a:cubicBezTo>
                    <a:cubicBezTo>
                      <a:pt x="172" y="116"/>
                      <a:pt x="172" y="116"/>
                      <a:pt x="172" y="116"/>
                    </a:cubicBezTo>
                    <a:cubicBezTo>
                      <a:pt x="172" y="115"/>
                      <a:pt x="172" y="115"/>
                      <a:pt x="172" y="115"/>
                    </a:cubicBezTo>
                    <a:cubicBezTo>
                      <a:pt x="175" y="115"/>
                      <a:pt x="175" y="115"/>
                      <a:pt x="175" y="115"/>
                    </a:cubicBezTo>
                    <a:cubicBezTo>
                      <a:pt x="175" y="111"/>
                      <a:pt x="175" y="111"/>
                      <a:pt x="175" y="111"/>
                    </a:cubicBezTo>
                    <a:cubicBezTo>
                      <a:pt x="187" y="111"/>
                      <a:pt x="187" y="111"/>
                      <a:pt x="187" y="111"/>
                    </a:cubicBezTo>
                    <a:cubicBezTo>
                      <a:pt x="187" y="110"/>
                      <a:pt x="187" y="110"/>
                      <a:pt x="187" y="110"/>
                    </a:cubicBezTo>
                    <a:cubicBezTo>
                      <a:pt x="187" y="110"/>
                      <a:pt x="188" y="110"/>
                      <a:pt x="188" y="110"/>
                    </a:cubicBezTo>
                    <a:cubicBezTo>
                      <a:pt x="188" y="110"/>
                      <a:pt x="189" y="111"/>
                      <a:pt x="189" y="111"/>
                    </a:cubicBezTo>
                    <a:cubicBezTo>
                      <a:pt x="192" y="108"/>
                      <a:pt x="192" y="108"/>
                      <a:pt x="192" y="108"/>
                    </a:cubicBezTo>
                    <a:cubicBezTo>
                      <a:pt x="192" y="106"/>
                      <a:pt x="192" y="106"/>
                      <a:pt x="192" y="106"/>
                    </a:cubicBezTo>
                    <a:cubicBezTo>
                      <a:pt x="193" y="106"/>
                      <a:pt x="193" y="106"/>
                      <a:pt x="193" y="106"/>
                    </a:cubicBezTo>
                    <a:cubicBezTo>
                      <a:pt x="194" y="106"/>
                      <a:pt x="194" y="105"/>
                      <a:pt x="194" y="105"/>
                    </a:cubicBezTo>
                    <a:cubicBezTo>
                      <a:pt x="194" y="105"/>
                      <a:pt x="194" y="104"/>
                      <a:pt x="195" y="104"/>
                    </a:cubicBezTo>
                    <a:cubicBezTo>
                      <a:pt x="195" y="104"/>
                      <a:pt x="195" y="105"/>
                      <a:pt x="195" y="105"/>
                    </a:cubicBezTo>
                    <a:cubicBezTo>
                      <a:pt x="195" y="105"/>
                      <a:pt x="195" y="105"/>
                      <a:pt x="195" y="105"/>
                    </a:cubicBezTo>
                    <a:cubicBezTo>
                      <a:pt x="195" y="106"/>
                      <a:pt x="195" y="106"/>
                      <a:pt x="195" y="106"/>
                    </a:cubicBezTo>
                    <a:cubicBezTo>
                      <a:pt x="195" y="106"/>
                      <a:pt x="195" y="107"/>
                      <a:pt x="195" y="107"/>
                    </a:cubicBezTo>
                    <a:cubicBezTo>
                      <a:pt x="196" y="107"/>
                      <a:pt x="196" y="107"/>
                      <a:pt x="196" y="107"/>
                    </a:cubicBezTo>
                    <a:cubicBezTo>
                      <a:pt x="196" y="107"/>
                      <a:pt x="196" y="107"/>
                      <a:pt x="196" y="107"/>
                    </a:cubicBezTo>
                    <a:cubicBezTo>
                      <a:pt x="196" y="108"/>
                      <a:pt x="196" y="108"/>
                      <a:pt x="196" y="109"/>
                    </a:cubicBezTo>
                    <a:cubicBezTo>
                      <a:pt x="196" y="109"/>
                      <a:pt x="196" y="109"/>
                      <a:pt x="196" y="109"/>
                    </a:cubicBezTo>
                    <a:cubicBezTo>
                      <a:pt x="196" y="109"/>
                      <a:pt x="196" y="109"/>
                      <a:pt x="196" y="109"/>
                    </a:cubicBezTo>
                    <a:cubicBezTo>
                      <a:pt x="196" y="109"/>
                      <a:pt x="196" y="109"/>
                      <a:pt x="196" y="109"/>
                    </a:cubicBezTo>
                    <a:cubicBezTo>
                      <a:pt x="196" y="108"/>
                      <a:pt x="197" y="107"/>
                      <a:pt x="197" y="106"/>
                    </a:cubicBezTo>
                    <a:cubicBezTo>
                      <a:pt x="197" y="105"/>
                      <a:pt x="197" y="105"/>
                      <a:pt x="197" y="105"/>
                    </a:cubicBezTo>
                    <a:cubicBezTo>
                      <a:pt x="197" y="105"/>
                      <a:pt x="197" y="105"/>
                      <a:pt x="197" y="105"/>
                    </a:cubicBezTo>
                    <a:cubicBezTo>
                      <a:pt x="198" y="104"/>
                      <a:pt x="198" y="104"/>
                      <a:pt x="198" y="104"/>
                    </a:cubicBezTo>
                    <a:cubicBezTo>
                      <a:pt x="198" y="104"/>
                      <a:pt x="198" y="103"/>
                      <a:pt x="198" y="103"/>
                    </a:cubicBezTo>
                    <a:cubicBezTo>
                      <a:pt x="198" y="103"/>
                      <a:pt x="198" y="103"/>
                      <a:pt x="198" y="103"/>
                    </a:cubicBezTo>
                    <a:cubicBezTo>
                      <a:pt x="198" y="103"/>
                      <a:pt x="198" y="102"/>
                      <a:pt x="198" y="102"/>
                    </a:cubicBezTo>
                    <a:cubicBezTo>
                      <a:pt x="198" y="102"/>
                      <a:pt x="198" y="102"/>
                      <a:pt x="198" y="102"/>
                    </a:cubicBezTo>
                    <a:cubicBezTo>
                      <a:pt x="198" y="101"/>
                      <a:pt x="198" y="101"/>
                      <a:pt x="199" y="101"/>
                    </a:cubicBezTo>
                    <a:cubicBezTo>
                      <a:pt x="199" y="101"/>
                      <a:pt x="199" y="101"/>
                      <a:pt x="199" y="101"/>
                    </a:cubicBezTo>
                    <a:cubicBezTo>
                      <a:pt x="199" y="101"/>
                      <a:pt x="199" y="101"/>
                      <a:pt x="199" y="101"/>
                    </a:cubicBezTo>
                    <a:cubicBezTo>
                      <a:pt x="199" y="101"/>
                      <a:pt x="198" y="101"/>
                      <a:pt x="198" y="101"/>
                    </a:cubicBezTo>
                    <a:cubicBezTo>
                      <a:pt x="198" y="101"/>
                      <a:pt x="198" y="101"/>
                      <a:pt x="198" y="101"/>
                    </a:cubicBezTo>
                    <a:cubicBezTo>
                      <a:pt x="198" y="101"/>
                      <a:pt x="198" y="101"/>
                      <a:pt x="198" y="101"/>
                    </a:cubicBezTo>
                    <a:cubicBezTo>
                      <a:pt x="198" y="101"/>
                      <a:pt x="198" y="101"/>
                      <a:pt x="198" y="102"/>
                    </a:cubicBezTo>
                    <a:cubicBezTo>
                      <a:pt x="198" y="102"/>
                      <a:pt x="197" y="102"/>
                      <a:pt x="197" y="101"/>
                    </a:cubicBezTo>
                    <a:cubicBezTo>
                      <a:pt x="197" y="101"/>
                      <a:pt x="197" y="101"/>
                      <a:pt x="197" y="101"/>
                    </a:cubicBezTo>
                    <a:cubicBezTo>
                      <a:pt x="197" y="101"/>
                      <a:pt x="197" y="101"/>
                      <a:pt x="197" y="101"/>
                    </a:cubicBezTo>
                    <a:cubicBezTo>
                      <a:pt x="197" y="101"/>
                      <a:pt x="198" y="101"/>
                      <a:pt x="198" y="101"/>
                    </a:cubicBezTo>
                    <a:cubicBezTo>
                      <a:pt x="198" y="100"/>
                      <a:pt x="198" y="100"/>
                      <a:pt x="198" y="100"/>
                    </a:cubicBezTo>
                    <a:cubicBezTo>
                      <a:pt x="198" y="100"/>
                      <a:pt x="198" y="100"/>
                      <a:pt x="199" y="100"/>
                    </a:cubicBezTo>
                    <a:cubicBezTo>
                      <a:pt x="199" y="100"/>
                      <a:pt x="199" y="100"/>
                      <a:pt x="199" y="99"/>
                    </a:cubicBezTo>
                    <a:cubicBezTo>
                      <a:pt x="199" y="99"/>
                      <a:pt x="199" y="99"/>
                      <a:pt x="199" y="99"/>
                    </a:cubicBezTo>
                    <a:cubicBezTo>
                      <a:pt x="199" y="99"/>
                      <a:pt x="199" y="99"/>
                      <a:pt x="199" y="99"/>
                    </a:cubicBezTo>
                    <a:cubicBezTo>
                      <a:pt x="199" y="99"/>
                      <a:pt x="199" y="99"/>
                      <a:pt x="198" y="99"/>
                    </a:cubicBezTo>
                    <a:cubicBezTo>
                      <a:pt x="198" y="99"/>
                      <a:pt x="198" y="99"/>
                      <a:pt x="198" y="99"/>
                    </a:cubicBezTo>
                    <a:cubicBezTo>
                      <a:pt x="197" y="99"/>
                      <a:pt x="197" y="99"/>
                      <a:pt x="197" y="99"/>
                    </a:cubicBezTo>
                    <a:cubicBezTo>
                      <a:pt x="197" y="99"/>
                      <a:pt x="197" y="99"/>
                      <a:pt x="198" y="99"/>
                    </a:cubicBezTo>
                    <a:cubicBezTo>
                      <a:pt x="198" y="98"/>
                      <a:pt x="198" y="98"/>
                      <a:pt x="199" y="97"/>
                    </a:cubicBezTo>
                    <a:cubicBezTo>
                      <a:pt x="199" y="96"/>
                      <a:pt x="199" y="95"/>
                      <a:pt x="199" y="94"/>
                    </a:cubicBezTo>
                    <a:cubicBezTo>
                      <a:pt x="199" y="94"/>
                      <a:pt x="199" y="94"/>
                      <a:pt x="199" y="93"/>
                    </a:cubicBezTo>
                    <a:cubicBezTo>
                      <a:pt x="200" y="93"/>
                      <a:pt x="200" y="93"/>
                      <a:pt x="200" y="92"/>
                    </a:cubicBezTo>
                    <a:cubicBezTo>
                      <a:pt x="201" y="92"/>
                      <a:pt x="201" y="92"/>
                      <a:pt x="202" y="91"/>
                    </a:cubicBezTo>
                    <a:cubicBezTo>
                      <a:pt x="202" y="90"/>
                      <a:pt x="203" y="89"/>
                      <a:pt x="203" y="88"/>
                    </a:cubicBezTo>
                    <a:cubicBezTo>
                      <a:pt x="203" y="88"/>
                      <a:pt x="203" y="88"/>
                      <a:pt x="203" y="88"/>
                    </a:cubicBezTo>
                    <a:cubicBezTo>
                      <a:pt x="203" y="88"/>
                      <a:pt x="203" y="87"/>
                      <a:pt x="203" y="87"/>
                    </a:cubicBezTo>
                    <a:cubicBezTo>
                      <a:pt x="203" y="87"/>
                      <a:pt x="203" y="86"/>
                      <a:pt x="202" y="85"/>
                    </a:cubicBezTo>
                    <a:cubicBezTo>
                      <a:pt x="202" y="85"/>
                      <a:pt x="202" y="85"/>
                      <a:pt x="202" y="85"/>
                    </a:cubicBezTo>
                    <a:cubicBezTo>
                      <a:pt x="201" y="85"/>
                      <a:pt x="201" y="85"/>
                      <a:pt x="201" y="85"/>
                    </a:cubicBezTo>
                    <a:cubicBezTo>
                      <a:pt x="200" y="86"/>
                      <a:pt x="199" y="85"/>
                      <a:pt x="199" y="85"/>
                    </a:cubicBezTo>
                    <a:cubicBezTo>
                      <a:pt x="198" y="85"/>
                      <a:pt x="197" y="85"/>
                      <a:pt x="196" y="85"/>
                    </a:cubicBezTo>
                    <a:cubicBezTo>
                      <a:pt x="195" y="84"/>
                      <a:pt x="194" y="84"/>
                      <a:pt x="193" y="85"/>
                    </a:cubicBezTo>
                    <a:cubicBezTo>
                      <a:pt x="192" y="85"/>
                      <a:pt x="191" y="85"/>
                      <a:pt x="189" y="86"/>
                    </a:cubicBezTo>
                    <a:cubicBezTo>
                      <a:pt x="188" y="86"/>
                      <a:pt x="187" y="86"/>
                      <a:pt x="186" y="86"/>
                    </a:cubicBezTo>
                    <a:cubicBezTo>
                      <a:pt x="185" y="87"/>
                      <a:pt x="184" y="87"/>
                      <a:pt x="182" y="87"/>
                    </a:cubicBezTo>
                    <a:cubicBezTo>
                      <a:pt x="181" y="87"/>
                      <a:pt x="180" y="88"/>
                      <a:pt x="180" y="88"/>
                    </a:cubicBezTo>
                    <a:cubicBezTo>
                      <a:pt x="179" y="89"/>
                      <a:pt x="179" y="90"/>
                      <a:pt x="179" y="90"/>
                    </a:cubicBezTo>
                    <a:cubicBezTo>
                      <a:pt x="179" y="92"/>
                      <a:pt x="178" y="94"/>
                      <a:pt x="179" y="95"/>
                    </a:cubicBezTo>
                    <a:cubicBezTo>
                      <a:pt x="179" y="96"/>
                      <a:pt x="179" y="96"/>
                      <a:pt x="179" y="96"/>
                    </a:cubicBezTo>
                    <a:cubicBezTo>
                      <a:pt x="179" y="96"/>
                      <a:pt x="178" y="97"/>
                      <a:pt x="178" y="97"/>
                    </a:cubicBezTo>
                    <a:cubicBezTo>
                      <a:pt x="177" y="98"/>
                      <a:pt x="177" y="99"/>
                      <a:pt x="177" y="100"/>
                    </a:cubicBezTo>
                    <a:cubicBezTo>
                      <a:pt x="176" y="101"/>
                      <a:pt x="175" y="102"/>
                      <a:pt x="174" y="103"/>
                    </a:cubicBezTo>
                    <a:cubicBezTo>
                      <a:pt x="174" y="103"/>
                      <a:pt x="173" y="103"/>
                      <a:pt x="173" y="103"/>
                    </a:cubicBezTo>
                    <a:cubicBezTo>
                      <a:pt x="173" y="104"/>
                      <a:pt x="173" y="104"/>
                      <a:pt x="173" y="105"/>
                    </a:cubicBezTo>
                    <a:cubicBezTo>
                      <a:pt x="173" y="105"/>
                      <a:pt x="173" y="105"/>
                      <a:pt x="173" y="105"/>
                    </a:cubicBezTo>
                    <a:cubicBezTo>
                      <a:pt x="174" y="105"/>
                      <a:pt x="173" y="106"/>
                      <a:pt x="173" y="106"/>
                    </a:cubicBezTo>
                    <a:cubicBezTo>
                      <a:pt x="172" y="107"/>
                      <a:pt x="170" y="107"/>
                      <a:pt x="169" y="106"/>
                    </a:cubicBezTo>
                    <a:cubicBezTo>
                      <a:pt x="169" y="106"/>
                      <a:pt x="169" y="105"/>
                      <a:pt x="169" y="105"/>
                    </a:cubicBezTo>
                    <a:cubicBezTo>
                      <a:pt x="169" y="105"/>
                      <a:pt x="169" y="105"/>
                      <a:pt x="169" y="105"/>
                    </a:cubicBezTo>
                    <a:cubicBezTo>
                      <a:pt x="168" y="105"/>
                      <a:pt x="167" y="106"/>
                      <a:pt x="167" y="105"/>
                    </a:cubicBezTo>
                    <a:cubicBezTo>
                      <a:pt x="165" y="105"/>
                      <a:pt x="163" y="107"/>
                      <a:pt x="162" y="107"/>
                    </a:cubicBezTo>
                    <a:cubicBezTo>
                      <a:pt x="160" y="107"/>
                      <a:pt x="159" y="107"/>
                      <a:pt x="158" y="107"/>
                    </a:cubicBezTo>
                    <a:cubicBezTo>
                      <a:pt x="158" y="108"/>
                      <a:pt x="157" y="108"/>
                      <a:pt x="157" y="108"/>
                    </a:cubicBezTo>
                    <a:cubicBezTo>
                      <a:pt x="156" y="108"/>
                      <a:pt x="156" y="108"/>
                      <a:pt x="155" y="108"/>
                    </a:cubicBezTo>
                    <a:cubicBezTo>
                      <a:pt x="155" y="108"/>
                      <a:pt x="154" y="109"/>
                      <a:pt x="153" y="109"/>
                    </a:cubicBezTo>
                    <a:cubicBezTo>
                      <a:pt x="152" y="109"/>
                      <a:pt x="151" y="109"/>
                      <a:pt x="151" y="108"/>
                    </a:cubicBezTo>
                    <a:cubicBezTo>
                      <a:pt x="151" y="108"/>
                      <a:pt x="151" y="108"/>
                      <a:pt x="150" y="107"/>
                    </a:cubicBezTo>
                    <a:cubicBezTo>
                      <a:pt x="150" y="107"/>
                      <a:pt x="149" y="106"/>
                      <a:pt x="148" y="106"/>
                    </a:cubicBezTo>
                    <a:cubicBezTo>
                      <a:pt x="148" y="106"/>
                      <a:pt x="147" y="105"/>
                      <a:pt x="147" y="105"/>
                    </a:cubicBezTo>
                    <a:cubicBezTo>
                      <a:pt x="146" y="105"/>
                      <a:pt x="145" y="105"/>
                      <a:pt x="144" y="105"/>
                    </a:cubicBezTo>
                    <a:cubicBezTo>
                      <a:pt x="143" y="105"/>
                      <a:pt x="143" y="104"/>
                      <a:pt x="143" y="104"/>
                    </a:cubicBezTo>
                    <a:cubicBezTo>
                      <a:pt x="141" y="102"/>
                      <a:pt x="140" y="101"/>
                      <a:pt x="139" y="99"/>
                    </a:cubicBezTo>
                    <a:cubicBezTo>
                      <a:pt x="139" y="98"/>
                      <a:pt x="139" y="97"/>
                      <a:pt x="138" y="96"/>
                    </a:cubicBezTo>
                    <a:cubicBezTo>
                      <a:pt x="137" y="95"/>
                      <a:pt x="136" y="94"/>
                      <a:pt x="136" y="93"/>
                    </a:cubicBezTo>
                    <a:cubicBezTo>
                      <a:pt x="135" y="93"/>
                      <a:pt x="135" y="92"/>
                      <a:pt x="134" y="92"/>
                    </a:cubicBezTo>
                    <a:cubicBezTo>
                      <a:pt x="134" y="92"/>
                      <a:pt x="134" y="91"/>
                      <a:pt x="134" y="91"/>
                    </a:cubicBezTo>
                    <a:cubicBezTo>
                      <a:pt x="133" y="90"/>
                      <a:pt x="133" y="90"/>
                      <a:pt x="133" y="89"/>
                    </a:cubicBezTo>
                    <a:cubicBezTo>
                      <a:pt x="133" y="88"/>
                      <a:pt x="132" y="87"/>
                      <a:pt x="132" y="87"/>
                    </a:cubicBezTo>
                    <a:cubicBezTo>
                      <a:pt x="132" y="86"/>
                      <a:pt x="133" y="85"/>
                      <a:pt x="133" y="85"/>
                    </a:cubicBezTo>
                    <a:cubicBezTo>
                      <a:pt x="132" y="84"/>
                      <a:pt x="132" y="84"/>
                      <a:pt x="132" y="84"/>
                    </a:cubicBezTo>
                    <a:cubicBezTo>
                      <a:pt x="132" y="84"/>
                      <a:pt x="131" y="83"/>
                      <a:pt x="131" y="83"/>
                    </a:cubicBezTo>
                    <a:cubicBezTo>
                      <a:pt x="131" y="83"/>
                      <a:pt x="131" y="84"/>
                      <a:pt x="131" y="84"/>
                    </a:cubicBezTo>
                    <a:cubicBezTo>
                      <a:pt x="131" y="84"/>
                      <a:pt x="131" y="84"/>
                      <a:pt x="132" y="84"/>
                    </a:cubicBezTo>
                    <a:cubicBezTo>
                      <a:pt x="132" y="84"/>
                      <a:pt x="132" y="85"/>
                      <a:pt x="132" y="85"/>
                    </a:cubicBezTo>
                    <a:cubicBezTo>
                      <a:pt x="132" y="85"/>
                      <a:pt x="132" y="85"/>
                      <a:pt x="132" y="86"/>
                    </a:cubicBezTo>
                    <a:cubicBezTo>
                      <a:pt x="132" y="86"/>
                      <a:pt x="131" y="85"/>
                      <a:pt x="131" y="85"/>
                    </a:cubicBezTo>
                    <a:cubicBezTo>
                      <a:pt x="131" y="85"/>
                      <a:pt x="131" y="84"/>
                      <a:pt x="131" y="84"/>
                    </a:cubicBezTo>
                    <a:cubicBezTo>
                      <a:pt x="131" y="84"/>
                      <a:pt x="130" y="84"/>
                      <a:pt x="130" y="84"/>
                    </a:cubicBezTo>
                    <a:cubicBezTo>
                      <a:pt x="130" y="83"/>
                      <a:pt x="130" y="83"/>
                      <a:pt x="130" y="83"/>
                    </a:cubicBezTo>
                    <a:cubicBezTo>
                      <a:pt x="130" y="82"/>
                      <a:pt x="130" y="81"/>
                      <a:pt x="130" y="80"/>
                    </a:cubicBezTo>
                    <a:cubicBezTo>
                      <a:pt x="130" y="80"/>
                      <a:pt x="130" y="79"/>
                      <a:pt x="130" y="79"/>
                    </a:cubicBezTo>
                    <a:cubicBezTo>
                      <a:pt x="129" y="79"/>
                      <a:pt x="129" y="79"/>
                      <a:pt x="129" y="79"/>
                    </a:cubicBezTo>
                    <a:cubicBezTo>
                      <a:pt x="129" y="78"/>
                      <a:pt x="129" y="78"/>
                      <a:pt x="129" y="77"/>
                    </a:cubicBezTo>
                    <a:cubicBezTo>
                      <a:pt x="129" y="77"/>
                      <a:pt x="129" y="77"/>
                      <a:pt x="129" y="77"/>
                    </a:cubicBezTo>
                    <a:cubicBezTo>
                      <a:pt x="129" y="77"/>
                      <a:pt x="129" y="77"/>
                      <a:pt x="129" y="77"/>
                    </a:cubicBezTo>
                    <a:cubicBezTo>
                      <a:pt x="130" y="76"/>
                      <a:pt x="130" y="75"/>
                      <a:pt x="130" y="75"/>
                    </a:cubicBezTo>
                    <a:cubicBezTo>
                      <a:pt x="130" y="74"/>
                      <a:pt x="130" y="73"/>
                      <a:pt x="130" y="72"/>
                    </a:cubicBezTo>
                    <a:cubicBezTo>
                      <a:pt x="130" y="71"/>
                      <a:pt x="130" y="69"/>
                      <a:pt x="130" y="68"/>
                    </a:cubicBezTo>
                    <a:cubicBezTo>
                      <a:pt x="130" y="67"/>
                      <a:pt x="130" y="65"/>
                      <a:pt x="130" y="64"/>
                    </a:cubicBezTo>
                    <a:cubicBezTo>
                      <a:pt x="130" y="64"/>
                      <a:pt x="129" y="64"/>
                      <a:pt x="129" y="63"/>
                    </a:cubicBezTo>
                    <a:cubicBezTo>
                      <a:pt x="129" y="63"/>
                      <a:pt x="130" y="63"/>
                      <a:pt x="130" y="63"/>
                    </a:cubicBezTo>
                    <a:cubicBezTo>
                      <a:pt x="130" y="63"/>
                      <a:pt x="130" y="62"/>
                      <a:pt x="130" y="62"/>
                    </a:cubicBezTo>
                    <a:cubicBezTo>
                      <a:pt x="130" y="62"/>
                      <a:pt x="130" y="61"/>
                      <a:pt x="131" y="61"/>
                    </a:cubicBezTo>
                    <a:cubicBezTo>
                      <a:pt x="131" y="61"/>
                      <a:pt x="131" y="60"/>
                      <a:pt x="131" y="60"/>
                    </a:cubicBezTo>
                    <a:cubicBezTo>
                      <a:pt x="131" y="60"/>
                      <a:pt x="130" y="60"/>
                      <a:pt x="130" y="60"/>
                    </a:cubicBezTo>
                    <a:cubicBezTo>
                      <a:pt x="130" y="59"/>
                      <a:pt x="130" y="59"/>
                      <a:pt x="130" y="58"/>
                    </a:cubicBezTo>
                    <a:cubicBezTo>
                      <a:pt x="130" y="58"/>
                      <a:pt x="130" y="57"/>
                      <a:pt x="130" y="57"/>
                    </a:cubicBezTo>
                    <a:cubicBezTo>
                      <a:pt x="131" y="57"/>
                      <a:pt x="131" y="57"/>
                      <a:pt x="131" y="57"/>
                    </a:cubicBezTo>
                    <a:cubicBezTo>
                      <a:pt x="131" y="57"/>
                      <a:pt x="131" y="57"/>
                      <a:pt x="132" y="57"/>
                    </a:cubicBezTo>
                    <a:cubicBezTo>
                      <a:pt x="131" y="57"/>
                      <a:pt x="131" y="57"/>
                      <a:pt x="131" y="57"/>
                    </a:cubicBezTo>
                    <a:cubicBezTo>
                      <a:pt x="132" y="56"/>
                      <a:pt x="132" y="56"/>
                      <a:pt x="132" y="57"/>
                    </a:cubicBezTo>
                    <a:cubicBezTo>
                      <a:pt x="132" y="57"/>
                      <a:pt x="132" y="57"/>
                      <a:pt x="132" y="57"/>
                    </a:cubicBezTo>
                    <a:cubicBezTo>
                      <a:pt x="133" y="57"/>
                      <a:pt x="133" y="56"/>
                      <a:pt x="133" y="56"/>
                    </a:cubicBezTo>
                    <a:cubicBezTo>
                      <a:pt x="133" y="56"/>
                      <a:pt x="134" y="56"/>
                      <a:pt x="134" y="55"/>
                    </a:cubicBezTo>
                    <a:cubicBezTo>
                      <a:pt x="134" y="55"/>
                      <a:pt x="133" y="55"/>
                      <a:pt x="133" y="54"/>
                    </a:cubicBezTo>
                    <a:cubicBezTo>
                      <a:pt x="133" y="54"/>
                      <a:pt x="134" y="54"/>
                      <a:pt x="134" y="53"/>
                    </a:cubicBezTo>
                    <a:cubicBezTo>
                      <a:pt x="134" y="53"/>
                      <a:pt x="134" y="52"/>
                      <a:pt x="134" y="52"/>
                    </a:cubicBezTo>
                    <a:cubicBezTo>
                      <a:pt x="133" y="52"/>
                      <a:pt x="133" y="53"/>
                      <a:pt x="132" y="53"/>
                    </a:cubicBezTo>
                    <a:cubicBezTo>
                      <a:pt x="132" y="53"/>
                      <a:pt x="132" y="53"/>
                      <a:pt x="132"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2" name="Freeform 767">
                <a:extLst>
                  <a:ext uri="{FF2B5EF4-FFF2-40B4-BE49-F238E27FC236}">
                    <a16:creationId xmlns:a16="http://schemas.microsoft.com/office/drawing/2014/main" id="{ED505D4E-5EE8-EE93-73E4-3487A48B78F9}"/>
                  </a:ext>
                </a:extLst>
              </p:cNvPr>
              <p:cNvSpPr>
                <a:spLocks/>
              </p:cNvSpPr>
              <p:nvPr/>
            </p:nvSpPr>
            <p:spPr bwMode="auto">
              <a:xfrm>
                <a:off x="3144838" y="4329113"/>
                <a:ext cx="58737" cy="25400"/>
              </a:xfrm>
              <a:custGeom>
                <a:avLst/>
                <a:gdLst>
                  <a:gd name="T0" fmla="*/ 14 w 14"/>
                  <a:gd name="T1" fmla="*/ 4 h 6"/>
                  <a:gd name="T2" fmla="*/ 13 w 14"/>
                  <a:gd name="T3" fmla="*/ 3 h 6"/>
                  <a:gd name="T4" fmla="*/ 12 w 14"/>
                  <a:gd name="T5" fmla="*/ 3 h 6"/>
                  <a:gd name="T6" fmla="*/ 11 w 14"/>
                  <a:gd name="T7" fmla="*/ 2 h 6"/>
                  <a:gd name="T8" fmla="*/ 11 w 14"/>
                  <a:gd name="T9" fmla="*/ 2 h 6"/>
                  <a:gd name="T10" fmla="*/ 11 w 14"/>
                  <a:gd name="T11" fmla="*/ 2 h 6"/>
                  <a:gd name="T12" fmla="*/ 11 w 14"/>
                  <a:gd name="T13" fmla="*/ 2 h 6"/>
                  <a:gd name="T14" fmla="*/ 9 w 14"/>
                  <a:gd name="T15" fmla="*/ 1 h 6"/>
                  <a:gd name="T16" fmla="*/ 8 w 14"/>
                  <a:gd name="T17" fmla="*/ 1 h 6"/>
                  <a:gd name="T18" fmla="*/ 7 w 14"/>
                  <a:gd name="T19" fmla="*/ 1 h 6"/>
                  <a:gd name="T20" fmla="*/ 6 w 14"/>
                  <a:gd name="T21" fmla="*/ 1 h 6"/>
                  <a:gd name="T22" fmla="*/ 4 w 14"/>
                  <a:gd name="T23" fmla="*/ 0 h 6"/>
                  <a:gd name="T24" fmla="*/ 4 w 14"/>
                  <a:gd name="T25" fmla="*/ 0 h 6"/>
                  <a:gd name="T26" fmla="*/ 3 w 14"/>
                  <a:gd name="T27" fmla="*/ 0 h 6"/>
                  <a:gd name="T28" fmla="*/ 3 w 14"/>
                  <a:gd name="T29" fmla="*/ 0 h 6"/>
                  <a:gd name="T30" fmla="*/ 3 w 14"/>
                  <a:gd name="T31" fmla="*/ 1 h 6"/>
                  <a:gd name="T32" fmla="*/ 3 w 14"/>
                  <a:gd name="T33" fmla="*/ 1 h 6"/>
                  <a:gd name="T34" fmla="*/ 2 w 14"/>
                  <a:gd name="T35" fmla="*/ 1 h 6"/>
                  <a:gd name="T36" fmla="*/ 0 w 14"/>
                  <a:gd name="T37" fmla="*/ 2 h 6"/>
                  <a:gd name="T38" fmla="*/ 0 w 14"/>
                  <a:gd name="T39" fmla="*/ 3 h 6"/>
                  <a:gd name="T40" fmla="*/ 1 w 14"/>
                  <a:gd name="T41" fmla="*/ 3 h 6"/>
                  <a:gd name="T42" fmla="*/ 2 w 14"/>
                  <a:gd name="T43" fmla="*/ 3 h 6"/>
                  <a:gd name="T44" fmla="*/ 3 w 14"/>
                  <a:gd name="T45" fmla="*/ 4 h 6"/>
                  <a:gd name="T46" fmla="*/ 3 w 14"/>
                  <a:gd name="T47" fmla="*/ 4 h 6"/>
                  <a:gd name="T48" fmla="*/ 4 w 14"/>
                  <a:gd name="T49" fmla="*/ 4 h 6"/>
                  <a:gd name="T50" fmla="*/ 5 w 14"/>
                  <a:gd name="T51" fmla="*/ 5 h 6"/>
                  <a:gd name="T52" fmla="*/ 5 w 14"/>
                  <a:gd name="T53" fmla="*/ 5 h 6"/>
                  <a:gd name="T54" fmla="*/ 8 w 14"/>
                  <a:gd name="T55" fmla="*/ 6 h 6"/>
                  <a:gd name="T56" fmla="*/ 8 w 14"/>
                  <a:gd name="T57" fmla="*/ 6 h 6"/>
                  <a:gd name="T58" fmla="*/ 8 w 14"/>
                  <a:gd name="T59" fmla="*/ 6 h 6"/>
                  <a:gd name="T60" fmla="*/ 8 w 14"/>
                  <a:gd name="T61" fmla="*/ 5 h 6"/>
                  <a:gd name="T62" fmla="*/ 9 w 14"/>
                  <a:gd name="T63" fmla="*/ 5 h 6"/>
                  <a:gd name="T64" fmla="*/ 9 w 14"/>
                  <a:gd name="T65" fmla="*/ 5 h 6"/>
                  <a:gd name="T66" fmla="*/ 10 w 14"/>
                  <a:gd name="T67" fmla="*/ 5 h 6"/>
                  <a:gd name="T68" fmla="*/ 11 w 14"/>
                  <a:gd name="T69" fmla="*/ 4 h 6"/>
                  <a:gd name="T70" fmla="*/ 11 w 14"/>
                  <a:gd name="T71" fmla="*/ 4 h 6"/>
                  <a:gd name="T72" fmla="*/ 13 w 14"/>
                  <a:gd name="T73" fmla="*/ 5 h 6"/>
                  <a:gd name="T74" fmla="*/ 13 w 14"/>
                  <a:gd name="T75" fmla="*/ 5 h 6"/>
                  <a:gd name="T76" fmla="*/ 14 w 14"/>
                  <a:gd name="T77" fmla="*/ 5 h 6"/>
                  <a:gd name="T78" fmla="*/ 14 w 14"/>
                  <a:gd name="T79" fmla="*/ 5 h 6"/>
                  <a:gd name="T80" fmla="*/ 14 w 14"/>
                  <a:gd name="T81" fmla="*/ 5 h 6"/>
                  <a:gd name="T82" fmla="*/ 14 w 14"/>
                  <a:gd name="T83" fmla="*/ 4 h 6"/>
                  <a:gd name="T84" fmla="*/ 14 w 14"/>
                  <a:gd name="T8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6">
                    <a:moveTo>
                      <a:pt x="14" y="4"/>
                    </a:moveTo>
                    <a:cubicBezTo>
                      <a:pt x="14" y="4"/>
                      <a:pt x="14" y="3"/>
                      <a:pt x="13" y="3"/>
                    </a:cubicBezTo>
                    <a:cubicBezTo>
                      <a:pt x="13" y="3"/>
                      <a:pt x="13" y="3"/>
                      <a:pt x="12" y="3"/>
                    </a:cubicBezTo>
                    <a:cubicBezTo>
                      <a:pt x="12" y="3"/>
                      <a:pt x="12" y="2"/>
                      <a:pt x="11" y="2"/>
                    </a:cubicBezTo>
                    <a:cubicBezTo>
                      <a:pt x="11" y="2"/>
                      <a:pt x="11" y="2"/>
                      <a:pt x="11" y="2"/>
                    </a:cubicBezTo>
                    <a:cubicBezTo>
                      <a:pt x="11" y="2"/>
                      <a:pt x="11" y="2"/>
                      <a:pt x="11" y="2"/>
                    </a:cubicBezTo>
                    <a:cubicBezTo>
                      <a:pt x="11" y="2"/>
                      <a:pt x="11" y="2"/>
                      <a:pt x="11" y="2"/>
                    </a:cubicBezTo>
                    <a:cubicBezTo>
                      <a:pt x="10" y="2"/>
                      <a:pt x="10" y="1"/>
                      <a:pt x="9" y="1"/>
                    </a:cubicBezTo>
                    <a:cubicBezTo>
                      <a:pt x="9" y="1"/>
                      <a:pt x="9" y="1"/>
                      <a:pt x="8" y="1"/>
                    </a:cubicBezTo>
                    <a:cubicBezTo>
                      <a:pt x="8" y="1"/>
                      <a:pt x="8" y="1"/>
                      <a:pt x="7" y="1"/>
                    </a:cubicBezTo>
                    <a:cubicBezTo>
                      <a:pt x="7" y="1"/>
                      <a:pt x="7" y="1"/>
                      <a:pt x="6" y="1"/>
                    </a:cubicBezTo>
                    <a:cubicBezTo>
                      <a:pt x="6" y="1"/>
                      <a:pt x="5" y="1"/>
                      <a:pt x="4" y="0"/>
                    </a:cubicBezTo>
                    <a:cubicBezTo>
                      <a:pt x="4" y="0"/>
                      <a:pt x="4" y="0"/>
                      <a:pt x="4" y="0"/>
                    </a:cubicBezTo>
                    <a:cubicBezTo>
                      <a:pt x="4" y="0"/>
                      <a:pt x="4" y="0"/>
                      <a:pt x="3" y="0"/>
                    </a:cubicBezTo>
                    <a:cubicBezTo>
                      <a:pt x="3" y="0"/>
                      <a:pt x="3" y="0"/>
                      <a:pt x="3" y="0"/>
                    </a:cubicBezTo>
                    <a:cubicBezTo>
                      <a:pt x="3" y="0"/>
                      <a:pt x="3" y="0"/>
                      <a:pt x="3" y="1"/>
                    </a:cubicBezTo>
                    <a:cubicBezTo>
                      <a:pt x="3" y="1"/>
                      <a:pt x="3" y="1"/>
                      <a:pt x="3" y="1"/>
                    </a:cubicBezTo>
                    <a:cubicBezTo>
                      <a:pt x="3" y="1"/>
                      <a:pt x="2" y="1"/>
                      <a:pt x="2" y="1"/>
                    </a:cubicBezTo>
                    <a:cubicBezTo>
                      <a:pt x="1" y="1"/>
                      <a:pt x="1" y="1"/>
                      <a:pt x="0" y="2"/>
                    </a:cubicBezTo>
                    <a:cubicBezTo>
                      <a:pt x="0" y="2"/>
                      <a:pt x="0" y="2"/>
                      <a:pt x="0" y="3"/>
                    </a:cubicBezTo>
                    <a:cubicBezTo>
                      <a:pt x="1" y="3"/>
                      <a:pt x="1" y="3"/>
                      <a:pt x="1" y="3"/>
                    </a:cubicBezTo>
                    <a:cubicBezTo>
                      <a:pt x="1" y="3"/>
                      <a:pt x="2" y="3"/>
                      <a:pt x="2" y="3"/>
                    </a:cubicBezTo>
                    <a:cubicBezTo>
                      <a:pt x="2" y="3"/>
                      <a:pt x="3" y="3"/>
                      <a:pt x="3" y="4"/>
                    </a:cubicBezTo>
                    <a:cubicBezTo>
                      <a:pt x="3" y="4"/>
                      <a:pt x="3" y="4"/>
                      <a:pt x="3" y="4"/>
                    </a:cubicBezTo>
                    <a:cubicBezTo>
                      <a:pt x="3" y="4"/>
                      <a:pt x="4" y="4"/>
                      <a:pt x="4" y="4"/>
                    </a:cubicBezTo>
                    <a:cubicBezTo>
                      <a:pt x="4" y="5"/>
                      <a:pt x="4" y="5"/>
                      <a:pt x="5" y="5"/>
                    </a:cubicBezTo>
                    <a:cubicBezTo>
                      <a:pt x="5" y="5"/>
                      <a:pt x="5" y="5"/>
                      <a:pt x="5" y="5"/>
                    </a:cubicBezTo>
                    <a:cubicBezTo>
                      <a:pt x="6" y="5"/>
                      <a:pt x="7" y="5"/>
                      <a:pt x="8" y="6"/>
                    </a:cubicBezTo>
                    <a:cubicBezTo>
                      <a:pt x="8" y="6"/>
                      <a:pt x="8" y="6"/>
                      <a:pt x="8" y="6"/>
                    </a:cubicBezTo>
                    <a:cubicBezTo>
                      <a:pt x="8" y="6"/>
                      <a:pt x="8" y="6"/>
                      <a:pt x="8" y="6"/>
                    </a:cubicBezTo>
                    <a:cubicBezTo>
                      <a:pt x="8" y="5"/>
                      <a:pt x="8" y="5"/>
                      <a:pt x="8" y="5"/>
                    </a:cubicBezTo>
                    <a:cubicBezTo>
                      <a:pt x="8" y="5"/>
                      <a:pt x="9" y="5"/>
                      <a:pt x="9" y="5"/>
                    </a:cubicBezTo>
                    <a:cubicBezTo>
                      <a:pt x="9" y="5"/>
                      <a:pt x="9" y="5"/>
                      <a:pt x="9" y="5"/>
                    </a:cubicBezTo>
                    <a:cubicBezTo>
                      <a:pt x="9" y="5"/>
                      <a:pt x="10" y="5"/>
                      <a:pt x="10" y="5"/>
                    </a:cubicBezTo>
                    <a:cubicBezTo>
                      <a:pt x="10" y="4"/>
                      <a:pt x="10" y="4"/>
                      <a:pt x="11" y="4"/>
                    </a:cubicBezTo>
                    <a:cubicBezTo>
                      <a:pt x="11" y="4"/>
                      <a:pt x="11" y="4"/>
                      <a:pt x="11" y="4"/>
                    </a:cubicBezTo>
                    <a:cubicBezTo>
                      <a:pt x="12" y="5"/>
                      <a:pt x="12" y="5"/>
                      <a:pt x="13" y="5"/>
                    </a:cubicBezTo>
                    <a:cubicBezTo>
                      <a:pt x="13" y="5"/>
                      <a:pt x="13" y="5"/>
                      <a:pt x="13" y="5"/>
                    </a:cubicBezTo>
                    <a:cubicBezTo>
                      <a:pt x="13" y="5"/>
                      <a:pt x="13" y="5"/>
                      <a:pt x="14" y="5"/>
                    </a:cubicBezTo>
                    <a:cubicBezTo>
                      <a:pt x="14" y="5"/>
                      <a:pt x="14" y="5"/>
                      <a:pt x="14" y="5"/>
                    </a:cubicBezTo>
                    <a:cubicBezTo>
                      <a:pt x="14" y="5"/>
                      <a:pt x="14" y="5"/>
                      <a:pt x="14" y="5"/>
                    </a:cubicBezTo>
                    <a:cubicBezTo>
                      <a:pt x="14" y="5"/>
                      <a:pt x="14" y="4"/>
                      <a:pt x="14" y="4"/>
                    </a:cubicBezTo>
                    <a:cubicBezTo>
                      <a:pt x="14" y="4"/>
                      <a:pt x="14" y="4"/>
                      <a:pt x="1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3" name="Freeform 768">
                <a:extLst>
                  <a:ext uri="{FF2B5EF4-FFF2-40B4-BE49-F238E27FC236}">
                    <a16:creationId xmlns:a16="http://schemas.microsoft.com/office/drawing/2014/main" id="{D67C0D28-B180-79BC-1F40-0A490620D38F}"/>
                  </a:ext>
                </a:extLst>
              </p:cNvPr>
              <p:cNvSpPr>
                <a:spLocks/>
              </p:cNvSpPr>
              <p:nvPr/>
            </p:nvSpPr>
            <p:spPr bwMode="auto">
              <a:xfrm>
                <a:off x="2836863" y="4405313"/>
                <a:ext cx="171450" cy="87313"/>
              </a:xfrm>
              <a:custGeom>
                <a:avLst/>
                <a:gdLst>
                  <a:gd name="T0" fmla="*/ 1 w 41"/>
                  <a:gd name="T1" fmla="*/ 7 h 21"/>
                  <a:gd name="T2" fmla="*/ 1 w 41"/>
                  <a:gd name="T3" fmla="*/ 8 h 21"/>
                  <a:gd name="T4" fmla="*/ 1 w 41"/>
                  <a:gd name="T5" fmla="*/ 10 h 21"/>
                  <a:gd name="T6" fmla="*/ 1 w 41"/>
                  <a:gd name="T7" fmla="*/ 11 h 21"/>
                  <a:gd name="T8" fmla="*/ 3 w 41"/>
                  <a:gd name="T9" fmla="*/ 13 h 21"/>
                  <a:gd name="T10" fmla="*/ 5 w 41"/>
                  <a:gd name="T11" fmla="*/ 14 h 21"/>
                  <a:gd name="T12" fmla="*/ 6 w 41"/>
                  <a:gd name="T13" fmla="*/ 15 h 21"/>
                  <a:gd name="T14" fmla="*/ 7 w 41"/>
                  <a:gd name="T15" fmla="*/ 14 h 21"/>
                  <a:gd name="T16" fmla="*/ 9 w 41"/>
                  <a:gd name="T17" fmla="*/ 14 h 21"/>
                  <a:gd name="T18" fmla="*/ 10 w 41"/>
                  <a:gd name="T19" fmla="*/ 14 h 21"/>
                  <a:gd name="T20" fmla="*/ 11 w 41"/>
                  <a:gd name="T21" fmla="*/ 15 h 21"/>
                  <a:gd name="T22" fmla="*/ 11 w 41"/>
                  <a:gd name="T23" fmla="*/ 16 h 21"/>
                  <a:gd name="T24" fmla="*/ 11 w 41"/>
                  <a:gd name="T25" fmla="*/ 17 h 21"/>
                  <a:gd name="T26" fmla="*/ 11 w 41"/>
                  <a:gd name="T27" fmla="*/ 17 h 21"/>
                  <a:gd name="T28" fmla="*/ 11 w 41"/>
                  <a:gd name="T29" fmla="*/ 18 h 21"/>
                  <a:gd name="T30" fmla="*/ 11 w 41"/>
                  <a:gd name="T31" fmla="*/ 18 h 21"/>
                  <a:gd name="T32" fmla="*/ 13 w 41"/>
                  <a:gd name="T33" fmla="*/ 19 h 21"/>
                  <a:gd name="T34" fmla="*/ 14 w 41"/>
                  <a:gd name="T35" fmla="*/ 20 h 21"/>
                  <a:gd name="T36" fmla="*/ 16 w 41"/>
                  <a:gd name="T37" fmla="*/ 20 h 21"/>
                  <a:gd name="T38" fmla="*/ 18 w 41"/>
                  <a:gd name="T39" fmla="*/ 19 h 21"/>
                  <a:gd name="T40" fmla="*/ 17 w 41"/>
                  <a:gd name="T41" fmla="*/ 16 h 21"/>
                  <a:gd name="T42" fmla="*/ 20 w 41"/>
                  <a:gd name="T43" fmla="*/ 15 h 21"/>
                  <a:gd name="T44" fmla="*/ 22 w 41"/>
                  <a:gd name="T45" fmla="*/ 13 h 21"/>
                  <a:gd name="T46" fmla="*/ 24 w 41"/>
                  <a:gd name="T47" fmla="*/ 15 h 21"/>
                  <a:gd name="T48" fmla="*/ 26 w 41"/>
                  <a:gd name="T49" fmla="*/ 13 h 21"/>
                  <a:gd name="T50" fmla="*/ 28 w 41"/>
                  <a:gd name="T51" fmla="*/ 12 h 21"/>
                  <a:gd name="T52" fmla="*/ 28 w 41"/>
                  <a:gd name="T53" fmla="*/ 11 h 21"/>
                  <a:gd name="T54" fmla="*/ 29 w 41"/>
                  <a:gd name="T55" fmla="*/ 10 h 21"/>
                  <a:gd name="T56" fmla="*/ 30 w 41"/>
                  <a:gd name="T57" fmla="*/ 8 h 21"/>
                  <a:gd name="T58" fmla="*/ 31 w 41"/>
                  <a:gd name="T59" fmla="*/ 9 h 21"/>
                  <a:gd name="T60" fmla="*/ 33 w 41"/>
                  <a:gd name="T61" fmla="*/ 10 h 21"/>
                  <a:gd name="T62" fmla="*/ 34 w 41"/>
                  <a:gd name="T63" fmla="*/ 9 h 21"/>
                  <a:gd name="T64" fmla="*/ 35 w 41"/>
                  <a:gd name="T65" fmla="*/ 9 h 21"/>
                  <a:gd name="T66" fmla="*/ 36 w 41"/>
                  <a:gd name="T67" fmla="*/ 9 h 21"/>
                  <a:gd name="T68" fmla="*/ 38 w 41"/>
                  <a:gd name="T69" fmla="*/ 8 h 21"/>
                  <a:gd name="T70" fmla="*/ 39 w 41"/>
                  <a:gd name="T71" fmla="*/ 7 h 21"/>
                  <a:gd name="T72" fmla="*/ 41 w 41"/>
                  <a:gd name="T73" fmla="*/ 7 h 21"/>
                  <a:gd name="T74" fmla="*/ 40 w 41"/>
                  <a:gd name="T75" fmla="*/ 6 h 21"/>
                  <a:gd name="T76" fmla="*/ 38 w 41"/>
                  <a:gd name="T77" fmla="*/ 4 h 21"/>
                  <a:gd name="T78" fmla="*/ 38 w 41"/>
                  <a:gd name="T79" fmla="*/ 5 h 21"/>
                  <a:gd name="T80" fmla="*/ 38 w 41"/>
                  <a:gd name="T81" fmla="*/ 5 h 21"/>
                  <a:gd name="T82" fmla="*/ 37 w 41"/>
                  <a:gd name="T83" fmla="*/ 4 h 21"/>
                  <a:gd name="T84" fmla="*/ 36 w 41"/>
                  <a:gd name="T85" fmla="*/ 5 h 21"/>
                  <a:gd name="T86" fmla="*/ 35 w 41"/>
                  <a:gd name="T87" fmla="*/ 4 h 21"/>
                  <a:gd name="T88" fmla="*/ 36 w 41"/>
                  <a:gd name="T89" fmla="*/ 3 h 21"/>
                  <a:gd name="T90" fmla="*/ 34 w 41"/>
                  <a:gd name="T91" fmla="*/ 1 h 21"/>
                  <a:gd name="T92" fmla="*/ 29 w 41"/>
                  <a:gd name="T93" fmla="*/ 0 h 21"/>
                  <a:gd name="T94" fmla="*/ 26 w 41"/>
                  <a:gd name="T95" fmla="*/ 1 h 21"/>
                  <a:gd name="T96" fmla="*/ 23 w 41"/>
                  <a:gd name="T97" fmla="*/ 0 h 21"/>
                  <a:gd name="T98" fmla="*/ 23 w 41"/>
                  <a:gd name="T99" fmla="*/ 0 h 21"/>
                  <a:gd name="T100" fmla="*/ 22 w 41"/>
                  <a:gd name="T101" fmla="*/ 1 h 21"/>
                  <a:gd name="T102" fmla="*/ 19 w 41"/>
                  <a:gd name="T103" fmla="*/ 1 h 21"/>
                  <a:gd name="T104" fmla="*/ 15 w 41"/>
                  <a:gd name="T105" fmla="*/ 1 h 21"/>
                  <a:gd name="T106" fmla="*/ 12 w 41"/>
                  <a:gd name="T107" fmla="*/ 2 h 21"/>
                  <a:gd name="T108" fmla="*/ 12 w 41"/>
                  <a:gd name="T109" fmla="*/ 1 h 21"/>
                  <a:gd name="T110" fmla="*/ 8 w 41"/>
                  <a:gd name="T111" fmla="*/ 2 h 21"/>
                  <a:gd name="T112" fmla="*/ 7 w 41"/>
                  <a:gd name="T113" fmla="*/ 2 h 21"/>
                  <a:gd name="T114" fmla="*/ 1 w 41"/>
                  <a:gd name="T115"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 h="21">
                    <a:moveTo>
                      <a:pt x="1" y="6"/>
                    </a:moveTo>
                    <a:cubicBezTo>
                      <a:pt x="1" y="7"/>
                      <a:pt x="1" y="7"/>
                      <a:pt x="1" y="7"/>
                    </a:cubicBezTo>
                    <a:cubicBezTo>
                      <a:pt x="1" y="7"/>
                      <a:pt x="1" y="7"/>
                      <a:pt x="1" y="7"/>
                    </a:cubicBezTo>
                    <a:cubicBezTo>
                      <a:pt x="1" y="8"/>
                      <a:pt x="1" y="8"/>
                      <a:pt x="1" y="8"/>
                    </a:cubicBezTo>
                    <a:cubicBezTo>
                      <a:pt x="1" y="8"/>
                      <a:pt x="1" y="8"/>
                      <a:pt x="1" y="9"/>
                    </a:cubicBezTo>
                    <a:cubicBezTo>
                      <a:pt x="1" y="9"/>
                      <a:pt x="1" y="10"/>
                      <a:pt x="1" y="10"/>
                    </a:cubicBezTo>
                    <a:cubicBezTo>
                      <a:pt x="0" y="11"/>
                      <a:pt x="0" y="11"/>
                      <a:pt x="0" y="11"/>
                    </a:cubicBezTo>
                    <a:cubicBezTo>
                      <a:pt x="0" y="11"/>
                      <a:pt x="1" y="11"/>
                      <a:pt x="1" y="11"/>
                    </a:cubicBezTo>
                    <a:cubicBezTo>
                      <a:pt x="1" y="11"/>
                      <a:pt x="2" y="11"/>
                      <a:pt x="2" y="11"/>
                    </a:cubicBezTo>
                    <a:cubicBezTo>
                      <a:pt x="3" y="13"/>
                      <a:pt x="3" y="13"/>
                      <a:pt x="3" y="13"/>
                    </a:cubicBezTo>
                    <a:cubicBezTo>
                      <a:pt x="4" y="13"/>
                      <a:pt x="4" y="13"/>
                      <a:pt x="4" y="13"/>
                    </a:cubicBezTo>
                    <a:cubicBezTo>
                      <a:pt x="5" y="14"/>
                      <a:pt x="5" y="14"/>
                      <a:pt x="5" y="14"/>
                    </a:cubicBezTo>
                    <a:cubicBezTo>
                      <a:pt x="5" y="14"/>
                      <a:pt x="6" y="14"/>
                      <a:pt x="6" y="14"/>
                    </a:cubicBezTo>
                    <a:cubicBezTo>
                      <a:pt x="6" y="14"/>
                      <a:pt x="6" y="15"/>
                      <a:pt x="6" y="15"/>
                    </a:cubicBezTo>
                    <a:cubicBezTo>
                      <a:pt x="7" y="14"/>
                      <a:pt x="7" y="14"/>
                      <a:pt x="7" y="14"/>
                    </a:cubicBezTo>
                    <a:cubicBezTo>
                      <a:pt x="7" y="14"/>
                      <a:pt x="7" y="14"/>
                      <a:pt x="7" y="14"/>
                    </a:cubicBezTo>
                    <a:cubicBezTo>
                      <a:pt x="8" y="14"/>
                      <a:pt x="8" y="14"/>
                      <a:pt x="8" y="14"/>
                    </a:cubicBezTo>
                    <a:cubicBezTo>
                      <a:pt x="9" y="14"/>
                      <a:pt x="9" y="14"/>
                      <a:pt x="9" y="14"/>
                    </a:cubicBezTo>
                    <a:cubicBezTo>
                      <a:pt x="9" y="14"/>
                      <a:pt x="9" y="14"/>
                      <a:pt x="9" y="14"/>
                    </a:cubicBezTo>
                    <a:cubicBezTo>
                      <a:pt x="9" y="14"/>
                      <a:pt x="10" y="14"/>
                      <a:pt x="10" y="14"/>
                    </a:cubicBezTo>
                    <a:cubicBezTo>
                      <a:pt x="11" y="14"/>
                      <a:pt x="11" y="14"/>
                      <a:pt x="11" y="14"/>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1" y="17"/>
                      <a:pt x="11" y="17"/>
                    </a:cubicBezTo>
                    <a:cubicBezTo>
                      <a:pt x="11" y="17"/>
                      <a:pt x="10" y="17"/>
                      <a:pt x="10" y="17"/>
                    </a:cubicBezTo>
                    <a:cubicBezTo>
                      <a:pt x="10" y="17"/>
                      <a:pt x="11" y="17"/>
                      <a:pt x="11" y="17"/>
                    </a:cubicBezTo>
                    <a:cubicBezTo>
                      <a:pt x="10" y="18"/>
                      <a:pt x="10" y="18"/>
                      <a:pt x="10" y="18"/>
                    </a:cubicBezTo>
                    <a:cubicBezTo>
                      <a:pt x="11" y="18"/>
                      <a:pt x="11" y="18"/>
                      <a:pt x="11" y="18"/>
                    </a:cubicBezTo>
                    <a:cubicBezTo>
                      <a:pt x="11" y="18"/>
                      <a:pt x="11" y="18"/>
                      <a:pt x="11" y="18"/>
                    </a:cubicBezTo>
                    <a:cubicBezTo>
                      <a:pt x="11" y="18"/>
                      <a:pt x="11" y="18"/>
                      <a:pt x="11" y="18"/>
                    </a:cubicBezTo>
                    <a:cubicBezTo>
                      <a:pt x="11" y="18"/>
                      <a:pt x="12" y="18"/>
                      <a:pt x="12" y="18"/>
                    </a:cubicBezTo>
                    <a:cubicBezTo>
                      <a:pt x="12" y="18"/>
                      <a:pt x="13" y="19"/>
                      <a:pt x="13" y="19"/>
                    </a:cubicBezTo>
                    <a:cubicBezTo>
                      <a:pt x="13" y="19"/>
                      <a:pt x="13" y="19"/>
                      <a:pt x="13" y="20"/>
                    </a:cubicBezTo>
                    <a:cubicBezTo>
                      <a:pt x="13" y="20"/>
                      <a:pt x="13" y="20"/>
                      <a:pt x="14" y="20"/>
                    </a:cubicBezTo>
                    <a:cubicBezTo>
                      <a:pt x="14" y="20"/>
                      <a:pt x="14" y="20"/>
                      <a:pt x="14" y="21"/>
                    </a:cubicBezTo>
                    <a:cubicBezTo>
                      <a:pt x="16" y="20"/>
                      <a:pt x="16" y="20"/>
                      <a:pt x="16" y="20"/>
                    </a:cubicBezTo>
                    <a:cubicBezTo>
                      <a:pt x="16" y="20"/>
                      <a:pt x="16" y="19"/>
                      <a:pt x="16" y="19"/>
                    </a:cubicBezTo>
                    <a:cubicBezTo>
                      <a:pt x="17" y="19"/>
                      <a:pt x="18" y="19"/>
                      <a:pt x="18" y="19"/>
                    </a:cubicBezTo>
                    <a:cubicBezTo>
                      <a:pt x="18" y="19"/>
                      <a:pt x="18" y="18"/>
                      <a:pt x="18" y="17"/>
                    </a:cubicBezTo>
                    <a:cubicBezTo>
                      <a:pt x="18" y="17"/>
                      <a:pt x="17" y="16"/>
                      <a:pt x="17" y="16"/>
                    </a:cubicBezTo>
                    <a:cubicBezTo>
                      <a:pt x="18" y="15"/>
                      <a:pt x="18" y="15"/>
                      <a:pt x="18" y="15"/>
                    </a:cubicBezTo>
                    <a:cubicBezTo>
                      <a:pt x="20" y="15"/>
                      <a:pt x="20" y="15"/>
                      <a:pt x="20" y="15"/>
                    </a:cubicBezTo>
                    <a:cubicBezTo>
                      <a:pt x="22" y="13"/>
                      <a:pt x="22" y="13"/>
                      <a:pt x="22" y="13"/>
                    </a:cubicBezTo>
                    <a:cubicBezTo>
                      <a:pt x="22" y="13"/>
                      <a:pt x="22" y="13"/>
                      <a:pt x="22" y="13"/>
                    </a:cubicBezTo>
                    <a:cubicBezTo>
                      <a:pt x="22" y="14"/>
                      <a:pt x="22" y="14"/>
                      <a:pt x="22" y="14"/>
                    </a:cubicBezTo>
                    <a:cubicBezTo>
                      <a:pt x="24" y="15"/>
                      <a:pt x="24" y="15"/>
                      <a:pt x="24" y="15"/>
                    </a:cubicBezTo>
                    <a:cubicBezTo>
                      <a:pt x="24" y="15"/>
                      <a:pt x="24" y="14"/>
                      <a:pt x="24" y="14"/>
                    </a:cubicBezTo>
                    <a:cubicBezTo>
                      <a:pt x="25" y="14"/>
                      <a:pt x="26" y="13"/>
                      <a:pt x="26" y="13"/>
                    </a:cubicBezTo>
                    <a:cubicBezTo>
                      <a:pt x="27" y="12"/>
                      <a:pt x="27" y="12"/>
                      <a:pt x="27" y="12"/>
                    </a:cubicBezTo>
                    <a:cubicBezTo>
                      <a:pt x="28" y="12"/>
                      <a:pt x="28" y="12"/>
                      <a:pt x="28" y="12"/>
                    </a:cubicBezTo>
                    <a:cubicBezTo>
                      <a:pt x="28" y="12"/>
                      <a:pt x="28" y="11"/>
                      <a:pt x="28" y="11"/>
                    </a:cubicBezTo>
                    <a:cubicBezTo>
                      <a:pt x="28" y="11"/>
                      <a:pt x="28" y="11"/>
                      <a:pt x="28" y="11"/>
                    </a:cubicBezTo>
                    <a:cubicBezTo>
                      <a:pt x="28" y="10"/>
                      <a:pt x="28" y="10"/>
                      <a:pt x="28" y="10"/>
                    </a:cubicBezTo>
                    <a:cubicBezTo>
                      <a:pt x="29" y="10"/>
                      <a:pt x="29" y="10"/>
                      <a:pt x="29" y="10"/>
                    </a:cubicBezTo>
                    <a:cubicBezTo>
                      <a:pt x="29" y="9"/>
                      <a:pt x="29" y="9"/>
                      <a:pt x="29" y="9"/>
                    </a:cubicBezTo>
                    <a:cubicBezTo>
                      <a:pt x="30" y="8"/>
                      <a:pt x="30" y="8"/>
                      <a:pt x="30" y="8"/>
                    </a:cubicBezTo>
                    <a:cubicBezTo>
                      <a:pt x="31" y="8"/>
                      <a:pt x="31" y="8"/>
                      <a:pt x="31" y="8"/>
                    </a:cubicBezTo>
                    <a:cubicBezTo>
                      <a:pt x="31" y="9"/>
                      <a:pt x="31" y="9"/>
                      <a:pt x="31" y="9"/>
                    </a:cubicBezTo>
                    <a:cubicBezTo>
                      <a:pt x="32" y="9"/>
                      <a:pt x="32" y="9"/>
                      <a:pt x="32" y="9"/>
                    </a:cubicBezTo>
                    <a:cubicBezTo>
                      <a:pt x="33" y="10"/>
                      <a:pt x="33" y="10"/>
                      <a:pt x="33" y="10"/>
                    </a:cubicBezTo>
                    <a:cubicBezTo>
                      <a:pt x="34" y="9"/>
                      <a:pt x="34" y="9"/>
                      <a:pt x="34" y="9"/>
                    </a:cubicBezTo>
                    <a:cubicBezTo>
                      <a:pt x="34" y="9"/>
                      <a:pt x="34" y="9"/>
                      <a:pt x="34" y="9"/>
                    </a:cubicBezTo>
                    <a:cubicBezTo>
                      <a:pt x="34" y="9"/>
                      <a:pt x="34" y="9"/>
                      <a:pt x="34" y="9"/>
                    </a:cubicBezTo>
                    <a:cubicBezTo>
                      <a:pt x="35" y="9"/>
                      <a:pt x="35" y="9"/>
                      <a:pt x="35" y="9"/>
                    </a:cubicBezTo>
                    <a:cubicBezTo>
                      <a:pt x="35" y="8"/>
                      <a:pt x="35" y="8"/>
                      <a:pt x="35" y="8"/>
                    </a:cubicBezTo>
                    <a:cubicBezTo>
                      <a:pt x="36" y="9"/>
                      <a:pt x="36" y="9"/>
                      <a:pt x="36" y="9"/>
                    </a:cubicBezTo>
                    <a:cubicBezTo>
                      <a:pt x="36" y="9"/>
                      <a:pt x="37" y="8"/>
                      <a:pt x="37" y="8"/>
                    </a:cubicBezTo>
                    <a:cubicBezTo>
                      <a:pt x="37" y="8"/>
                      <a:pt x="38" y="8"/>
                      <a:pt x="38" y="8"/>
                    </a:cubicBezTo>
                    <a:cubicBezTo>
                      <a:pt x="39" y="8"/>
                      <a:pt x="39" y="8"/>
                      <a:pt x="39" y="8"/>
                    </a:cubicBezTo>
                    <a:cubicBezTo>
                      <a:pt x="39" y="7"/>
                      <a:pt x="39" y="7"/>
                      <a:pt x="39" y="7"/>
                    </a:cubicBezTo>
                    <a:cubicBezTo>
                      <a:pt x="41" y="7"/>
                      <a:pt x="41" y="7"/>
                      <a:pt x="41" y="7"/>
                    </a:cubicBezTo>
                    <a:cubicBezTo>
                      <a:pt x="41" y="7"/>
                      <a:pt x="41" y="7"/>
                      <a:pt x="41" y="7"/>
                    </a:cubicBezTo>
                    <a:cubicBezTo>
                      <a:pt x="41" y="7"/>
                      <a:pt x="41" y="6"/>
                      <a:pt x="41" y="6"/>
                    </a:cubicBezTo>
                    <a:cubicBezTo>
                      <a:pt x="40" y="6"/>
                      <a:pt x="40" y="6"/>
                      <a:pt x="40" y="6"/>
                    </a:cubicBezTo>
                    <a:cubicBezTo>
                      <a:pt x="40" y="5"/>
                      <a:pt x="39" y="5"/>
                      <a:pt x="39" y="4"/>
                    </a:cubicBezTo>
                    <a:cubicBezTo>
                      <a:pt x="38" y="4"/>
                      <a:pt x="38" y="4"/>
                      <a:pt x="38" y="4"/>
                    </a:cubicBezTo>
                    <a:cubicBezTo>
                      <a:pt x="38" y="4"/>
                      <a:pt x="38" y="4"/>
                      <a:pt x="38" y="4"/>
                    </a:cubicBezTo>
                    <a:cubicBezTo>
                      <a:pt x="38" y="4"/>
                      <a:pt x="38" y="4"/>
                      <a:pt x="38" y="5"/>
                    </a:cubicBezTo>
                    <a:cubicBezTo>
                      <a:pt x="38" y="5"/>
                      <a:pt x="38" y="5"/>
                      <a:pt x="38" y="5"/>
                    </a:cubicBezTo>
                    <a:cubicBezTo>
                      <a:pt x="38" y="5"/>
                      <a:pt x="38" y="6"/>
                      <a:pt x="38" y="5"/>
                    </a:cubicBezTo>
                    <a:cubicBezTo>
                      <a:pt x="38" y="5"/>
                      <a:pt x="37" y="5"/>
                      <a:pt x="37" y="5"/>
                    </a:cubicBezTo>
                    <a:cubicBezTo>
                      <a:pt x="37" y="5"/>
                      <a:pt x="37" y="5"/>
                      <a:pt x="37" y="4"/>
                    </a:cubicBezTo>
                    <a:cubicBezTo>
                      <a:pt x="36" y="4"/>
                      <a:pt x="36" y="4"/>
                      <a:pt x="36" y="4"/>
                    </a:cubicBezTo>
                    <a:cubicBezTo>
                      <a:pt x="36" y="4"/>
                      <a:pt x="36" y="4"/>
                      <a:pt x="36" y="5"/>
                    </a:cubicBezTo>
                    <a:cubicBezTo>
                      <a:pt x="35" y="5"/>
                      <a:pt x="35" y="5"/>
                      <a:pt x="35" y="5"/>
                    </a:cubicBezTo>
                    <a:cubicBezTo>
                      <a:pt x="35" y="4"/>
                      <a:pt x="35" y="4"/>
                      <a:pt x="35" y="4"/>
                    </a:cubicBezTo>
                    <a:cubicBezTo>
                      <a:pt x="35" y="4"/>
                      <a:pt x="35" y="4"/>
                      <a:pt x="35" y="4"/>
                    </a:cubicBezTo>
                    <a:cubicBezTo>
                      <a:pt x="35" y="4"/>
                      <a:pt x="36" y="4"/>
                      <a:pt x="36" y="3"/>
                    </a:cubicBezTo>
                    <a:cubicBezTo>
                      <a:pt x="36" y="3"/>
                      <a:pt x="36" y="3"/>
                      <a:pt x="36" y="3"/>
                    </a:cubicBezTo>
                    <a:cubicBezTo>
                      <a:pt x="35" y="2"/>
                      <a:pt x="35" y="1"/>
                      <a:pt x="34" y="1"/>
                    </a:cubicBezTo>
                    <a:cubicBezTo>
                      <a:pt x="33" y="1"/>
                      <a:pt x="32" y="1"/>
                      <a:pt x="31" y="1"/>
                    </a:cubicBezTo>
                    <a:cubicBezTo>
                      <a:pt x="30" y="0"/>
                      <a:pt x="30" y="0"/>
                      <a:pt x="29" y="0"/>
                    </a:cubicBezTo>
                    <a:cubicBezTo>
                      <a:pt x="29" y="0"/>
                      <a:pt x="29" y="0"/>
                      <a:pt x="29" y="0"/>
                    </a:cubicBezTo>
                    <a:cubicBezTo>
                      <a:pt x="28" y="1"/>
                      <a:pt x="27" y="1"/>
                      <a:pt x="26" y="1"/>
                    </a:cubicBezTo>
                    <a:cubicBezTo>
                      <a:pt x="26" y="1"/>
                      <a:pt x="25" y="1"/>
                      <a:pt x="25" y="1"/>
                    </a:cubicBezTo>
                    <a:cubicBezTo>
                      <a:pt x="24" y="0"/>
                      <a:pt x="24" y="0"/>
                      <a:pt x="23" y="0"/>
                    </a:cubicBezTo>
                    <a:cubicBezTo>
                      <a:pt x="23" y="0"/>
                      <a:pt x="23" y="0"/>
                      <a:pt x="23" y="0"/>
                    </a:cubicBezTo>
                    <a:cubicBezTo>
                      <a:pt x="23" y="0"/>
                      <a:pt x="23" y="0"/>
                      <a:pt x="23" y="0"/>
                    </a:cubicBezTo>
                    <a:cubicBezTo>
                      <a:pt x="23" y="0"/>
                      <a:pt x="23" y="1"/>
                      <a:pt x="23" y="1"/>
                    </a:cubicBezTo>
                    <a:cubicBezTo>
                      <a:pt x="22" y="1"/>
                      <a:pt x="22" y="1"/>
                      <a:pt x="22" y="1"/>
                    </a:cubicBezTo>
                    <a:cubicBezTo>
                      <a:pt x="21" y="1"/>
                      <a:pt x="21" y="2"/>
                      <a:pt x="20" y="2"/>
                    </a:cubicBezTo>
                    <a:cubicBezTo>
                      <a:pt x="20" y="2"/>
                      <a:pt x="19" y="1"/>
                      <a:pt x="19" y="1"/>
                    </a:cubicBezTo>
                    <a:cubicBezTo>
                      <a:pt x="18" y="1"/>
                      <a:pt x="18" y="1"/>
                      <a:pt x="18" y="1"/>
                    </a:cubicBezTo>
                    <a:cubicBezTo>
                      <a:pt x="17" y="2"/>
                      <a:pt x="16" y="2"/>
                      <a:pt x="15" y="1"/>
                    </a:cubicBezTo>
                    <a:cubicBezTo>
                      <a:pt x="14" y="1"/>
                      <a:pt x="13" y="1"/>
                      <a:pt x="12" y="2"/>
                    </a:cubicBezTo>
                    <a:cubicBezTo>
                      <a:pt x="12" y="2"/>
                      <a:pt x="12" y="2"/>
                      <a:pt x="12" y="2"/>
                    </a:cubicBezTo>
                    <a:cubicBezTo>
                      <a:pt x="12" y="1"/>
                      <a:pt x="12" y="1"/>
                      <a:pt x="12" y="1"/>
                    </a:cubicBezTo>
                    <a:cubicBezTo>
                      <a:pt x="12" y="1"/>
                      <a:pt x="12" y="1"/>
                      <a:pt x="12" y="1"/>
                    </a:cubicBezTo>
                    <a:cubicBezTo>
                      <a:pt x="10" y="1"/>
                      <a:pt x="9" y="1"/>
                      <a:pt x="9" y="2"/>
                    </a:cubicBezTo>
                    <a:cubicBezTo>
                      <a:pt x="9" y="2"/>
                      <a:pt x="8" y="2"/>
                      <a:pt x="8" y="2"/>
                    </a:cubicBezTo>
                    <a:cubicBezTo>
                      <a:pt x="8" y="2"/>
                      <a:pt x="8" y="2"/>
                      <a:pt x="8" y="2"/>
                    </a:cubicBezTo>
                    <a:cubicBezTo>
                      <a:pt x="8" y="2"/>
                      <a:pt x="8" y="2"/>
                      <a:pt x="7" y="2"/>
                    </a:cubicBezTo>
                    <a:cubicBezTo>
                      <a:pt x="5" y="4"/>
                      <a:pt x="5" y="4"/>
                      <a:pt x="5" y="4"/>
                    </a:cubicBezTo>
                    <a:lnTo>
                      <a:pt x="1"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4" name="Freeform 769">
                <a:extLst>
                  <a:ext uri="{FF2B5EF4-FFF2-40B4-BE49-F238E27FC236}">
                    <a16:creationId xmlns:a16="http://schemas.microsoft.com/office/drawing/2014/main" id="{64DD6416-1783-3C6A-8B91-D46CD0247E16}"/>
                  </a:ext>
                </a:extLst>
              </p:cNvPr>
              <p:cNvSpPr>
                <a:spLocks noEditPoints="1"/>
              </p:cNvSpPr>
              <p:nvPr/>
            </p:nvSpPr>
            <p:spPr bwMode="auto">
              <a:xfrm>
                <a:off x="3252788" y="4283075"/>
                <a:ext cx="79375" cy="63500"/>
              </a:xfrm>
              <a:custGeom>
                <a:avLst/>
                <a:gdLst>
                  <a:gd name="T0" fmla="*/ 10 w 19"/>
                  <a:gd name="T1" fmla="*/ 9 h 15"/>
                  <a:gd name="T2" fmla="*/ 9 w 19"/>
                  <a:gd name="T3" fmla="*/ 9 h 15"/>
                  <a:gd name="T4" fmla="*/ 12 w 19"/>
                  <a:gd name="T5" fmla="*/ 1 h 15"/>
                  <a:gd name="T6" fmla="*/ 19 w 19"/>
                  <a:gd name="T7" fmla="*/ 14 h 15"/>
                  <a:gd name="T8" fmla="*/ 18 w 19"/>
                  <a:gd name="T9" fmla="*/ 14 h 15"/>
                  <a:gd name="T10" fmla="*/ 18 w 19"/>
                  <a:gd name="T11" fmla="*/ 14 h 15"/>
                  <a:gd name="T12" fmla="*/ 18 w 19"/>
                  <a:gd name="T13" fmla="*/ 12 h 15"/>
                  <a:gd name="T14" fmla="*/ 18 w 19"/>
                  <a:gd name="T15" fmla="*/ 12 h 15"/>
                  <a:gd name="T16" fmla="*/ 17 w 19"/>
                  <a:gd name="T17" fmla="*/ 11 h 15"/>
                  <a:gd name="T18" fmla="*/ 18 w 19"/>
                  <a:gd name="T19" fmla="*/ 11 h 15"/>
                  <a:gd name="T20" fmla="*/ 18 w 19"/>
                  <a:gd name="T21" fmla="*/ 10 h 15"/>
                  <a:gd name="T22" fmla="*/ 19 w 19"/>
                  <a:gd name="T23" fmla="*/ 10 h 15"/>
                  <a:gd name="T24" fmla="*/ 19 w 19"/>
                  <a:gd name="T25" fmla="*/ 9 h 15"/>
                  <a:gd name="T26" fmla="*/ 18 w 19"/>
                  <a:gd name="T27" fmla="*/ 8 h 15"/>
                  <a:gd name="T28" fmla="*/ 18 w 19"/>
                  <a:gd name="T29" fmla="*/ 8 h 15"/>
                  <a:gd name="T30" fmla="*/ 18 w 19"/>
                  <a:gd name="T31" fmla="*/ 8 h 15"/>
                  <a:gd name="T32" fmla="*/ 18 w 19"/>
                  <a:gd name="T33" fmla="*/ 8 h 15"/>
                  <a:gd name="T34" fmla="*/ 18 w 19"/>
                  <a:gd name="T35" fmla="*/ 8 h 15"/>
                  <a:gd name="T36" fmla="*/ 18 w 19"/>
                  <a:gd name="T37" fmla="*/ 8 h 15"/>
                  <a:gd name="T38" fmla="*/ 19 w 19"/>
                  <a:gd name="T39" fmla="*/ 8 h 15"/>
                  <a:gd name="T40" fmla="*/ 19 w 19"/>
                  <a:gd name="T41" fmla="*/ 7 h 15"/>
                  <a:gd name="T42" fmla="*/ 19 w 19"/>
                  <a:gd name="T43" fmla="*/ 7 h 15"/>
                  <a:gd name="T44" fmla="*/ 19 w 19"/>
                  <a:gd name="T45" fmla="*/ 7 h 15"/>
                  <a:gd name="T46" fmla="*/ 19 w 19"/>
                  <a:gd name="T47" fmla="*/ 7 h 15"/>
                  <a:gd name="T48" fmla="*/ 19 w 19"/>
                  <a:gd name="T49" fmla="*/ 6 h 15"/>
                  <a:gd name="T50" fmla="*/ 19 w 19"/>
                  <a:gd name="T51" fmla="*/ 6 h 15"/>
                  <a:gd name="T52" fmla="*/ 18 w 19"/>
                  <a:gd name="T53" fmla="*/ 6 h 15"/>
                  <a:gd name="T54" fmla="*/ 19 w 19"/>
                  <a:gd name="T55" fmla="*/ 5 h 15"/>
                  <a:gd name="T56" fmla="*/ 19 w 19"/>
                  <a:gd name="T57" fmla="*/ 5 h 15"/>
                  <a:gd name="T58" fmla="*/ 19 w 19"/>
                  <a:gd name="T59" fmla="*/ 4 h 15"/>
                  <a:gd name="T60" fmla="*/ 19 w 19"/>
                  <a:gd name="T61" fmla="*/ 4 h 15"/>
                  <a:gd name="T62" fmla="*/ 19 w 19"/>
                  <a:gd name="T63" fmla="*/ 3 h 15"/>
                  <a:gd name="T64" fmla="*/ 18 w 19"/>
                  <a:gd name="T65" fmla="*/ 3 h 15"/>
                  <a:gd name="T66" fmla="*/ 15 w 19"/>
                  <a:gd name="T67" fmla="*/ 3 h 15"/>
                  <a:gd name="T68" fmla="*/ 13 w 19"/>
                  <a:gd name="T69" fmla="*/ 2 h 15"/>
                  <a:gd name="T70" fmla="*/ 10 w 19"/>
                  <a:gd name="T71" fmla="*/ 1 h 15"/>
                  <a:gd name="T72" fmla="*/ 8 w 19"/>
                  <a:gd name="T73" fmla="*/ 2 h 15"/>
                  <a:gd name="T74" fmla="*/ 9 w 19"/>
                  <a:gd name="T75" fmla="*/ 3 h 15"/>
                  <a:gd name="T76" fmla="*/ 11 w 19"/>
                  <a:gd name="T77" fmla="*/ 4 h 15"/>
                  <a:gd name="T78" fmla="*/ 12 w 19"/>
                  <a:gd name="T79" fmla="*/ 6 h 15"/>
                  <a:gd name="T80" fmla="*/ 12 w 19"/>
                  <a:gd name="T81" fmla="*/ 7 h 15"/>
                  <a:gd name="T82" fmla="*/ 12 w 19"/>
                  <a:gd name="T83" fmla="*/ 8 h 15"/>
                  <a:gd name="T84" fmla="*/ 13 w 19"/>
                  <a:gd name="T85" fmla="*/ 9 h 15"/>
                  <a:gd name="T86" fmla="*/ 15 w 19"/>
                  <a:gd name="T87" fmla="*/ 11 h 15"/>
                  <a:gd name="T88" fmla="*/ 12 w 19"/>
                  <a:gd name="T89" fmla="*/ 12 h 15"/>
                  <a:gd name="T90" fmla="*/ 10 w 19"/>
                  <a:gd name="T91" fmla="*/ 12 h 15"/>
                  <a:gd name="T92" fmla="*/ 7 w 19"/>
                  <a:gd name="T93" fmla="*/ 11 h 15"/>
                  <a:gd name="T94" fmla="*/ 6 w 19"/>
                  <a:gd name="T95" fmla="*/ 11 h 15"/>
                  <a:gd name="T96" fmla="*/ 4 w 19"/>
                  <a:gd name="T97" fmla="*/ 11 h 15"/>
                  <a:gd name="T98" fmla="*/ 4 w 19"/>
                  <a:gd name="T99" fmla="*/ 11 h 15"/>
                  <a:gd name="T100" fmla="*/ 1 w 19"/>
                  <a:gd name="T101" fmla="*/ 11 h 15"/>
                  <a:gd name="T102" fmla="*/ 1 w 19"/>
                  <a:gd name="T103" fmla="*/ 13 h 15"/>
                  <a:gd name="T104" fmla="*/ 5 w 19"/>
                  <a:gd name="T105" fmla="*/ 15 h 15"/>
                  <a:gd name="T106" fmla="*/ 8 w 19"/>
                  <a:gd name="T107" fmla="*/ 13 h 15"/>
                  <a:gd name="T108" fmla="*/ 13 w 19"/>
                  <a:gd name="T109" fmla="*/ 14 h 15"/>
                  <a:gd name="T110" fmla="*/ 15 w 19"/>
                  <a:gd name="T111" fmla="*/ 14 h 15"/>
                  <a:gd name="T112" fmla="*/ 17 w 19"/>
                  <a:gd name="T113" fmla="*/ 14 h 15"/>
                  <a:gd name="T114" fmla="*/ 19 w 19"/>
                  <a:gd name="T11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5">
                    <a:moveTo>
                      <a:pt x="9" y="9"/>
                    </a:moveTo>
                    <a:cubicBezTo>
                      <a:pt x="8" y="9"/>
                      <a:pt x="8" y="9"/>
                      <a:pt x="8" y="9"/>
                    </a:cubicBezTo>
                    <a:cubicBezTo>
                      <a:pt x="8" y="8"/>
                      <a:pt x="8" y="8"/>
                      <a:pt x="9" y="8"/>
                    </a:cubicBezTo>
                    <a:cubicBezTo>
                      <a:pt x="9" y="9"/>
                      <a:pt x="10" y="9"/>
                      <a:pt x="10" y="9"/>
                    </a:cubicBezTo>
                    <a:cubicBezTo>
                      <a:pt x="11" y="9"/>
                      <a:pt x="11" y="9"/>
                      <a:pt x="11" y="9"/>
                    </a:cubicBezTo>
                    <a:cubicBezTo>
                      <a:pt x="11" y="10"/>
                      <a:pt x="12" y="10"/>
                      <a:pt x="11" y="10"/>
                    </a:cubicBezTo>
                    <a:cubicBezTo>
                      <a:pt x="11" y="10"/>
                      <a:pt x="11" y="10"/>
                      <a:pt x="11" y="10"/>
                    </a:cubicBezTo>
                    <a:cubicBezTo>
                      <a:pt x="10" y="10"/>
                      <a:pt x="10" y="9"/>
                      <a:pt x="9" y="9"/>
                    </a:cubicBezTo>
                    <a:close/>
                    <a:moveTo>
                      <a:pt x="11" y="0"/>
                    </a:moveTo>
                    <a:cubicBezTo>
                      <a:pt x="11" y="0"/>
                      <a:pt x="11" y="0"/>
                      <a:pt x="11" y="0"/>
                    </a:cubicBezTo>
                    <a:cubicBezTo>
                      <a:pt x="11" y="1"/>
                      <a:pt x="11" y="1"/>
                      <a:pt x="11" y="1"/>
                    </a:cubicBezTo>
                    <a:cubicBezTo>
                      <a:pt x="11" y="1"/>
                      <a:pt x="12" y="1"/>
                      <a:pt x="12" y="1"/>
                    </a:cubicBezTo>
                    <a:cubicBezTo>
                      <a:pt x="12" y="0"/>
                      <a:pt x="11" y="0"/>
                      <a:pt x="11" y="0"/>
                    </a:cubicBezTo>
                    <a:close/>
                    <a:moveTo>
                      <a:pt x="19" y="14"/>
                    </a:moveTo>
                    <a:cubicBezTo>
                      <a:pt x="19" y="14"/>
                      <a:pt x="19" y="14"/>
                      <a:pt x="19" y="14"/>
                    </a:cubicBezTo>
                    <a:cubicBezTo>
                      <a:pt x="19" y="14"/>
                      <a:pt x="19" y="14"/>
                      <a:pt x="19" y="14"/>
                    </a:cubicBezTo>
                    <a:cubicBezTo>
                      <a:pt x="19" y="14"/>
                      <a:pt x="19" y="14"/>
                      <a:pt x="19" y="14"/>
                    </a:cubicBezTo>
                    <a:cubicBezTo>
                      <a:pt x="19" y="14"/>
                      <a:pt x="19" y="14"/>
                      <a:pt x="19" y="14"/>
                    </a:cubicBezTo>
                    <a:cubicBezTo>
                      <a:pt x="19" y="14"/>
                      <a:pt x="19" y="14"/>
                      <a:pt x="19"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9" y="13"/>
                      <a:pt x="19" y="13"/>
                      <a:pt x="19" y="13"/>
                    </a:cubicBezTo>
                    <a:cubicBezTo>
                      <a:pt x="18" y="12"/>
                      <a:pt x="18" y="12"/>
                      <a:pt x="18" y="12"/>
                    </a:cubicBezTo>
                    <a:cubicBezTo>
                      <a:pt x="18" y="12"/>
                      <a:pt x="18" y="12"/>
                      <a:pt x="18" y="12"/>
                    </a:cubicBezTo>
                    <a:cubicBezTo>
                      <a:pt x="18" y="12"/>
                      <a:pt x="18" y="12"/>
                      <a:pt x="18" y="12"/>
                    </a:cubicBezTo>
                    <a:cubicBezTo>
                      <a:pt x="18" y="12"/>
                      <a:pt x="18" y="12"/>
                      <a:pt x="18" y="12"/>
                    </a:cubicBezTo>
                    <a:cubicBezTo>
                      <a:pt x="17" y="12"/>
                      <a:pt x="17" y="12"/>
                      <a:pt x="17" y="12"/>
                    </a:cubicBezTo>
                    <a:cubicBezTo>
                      <a:pt x="17" y="12"/>
                      <a:pt x="17" y="12"/>
                      <a:pt x="17" y="12"/>
                    </a:cubicBezTo>
                    <a:cubicBezTo>
                      <a:pt x="18" y="12"/>
                      <a:pt x="18" y="12"/>
                      <a:pt x="18" y="12"/>
                    </a:cubicBezTo>
                    <a:cubicBezTo>
                      <a:pt x="18" y="11"/>
                      <a:pt x="18" y="11"/>
                      <a:pt x="18" y="11"/>
                    </a:cubicBezTo>
                    <a:cubicBezTo>
                      <a:pt x="17" y="11"/>
                      <a:pt x="17" y="11"/>
                      <a:pt x="17" y="11"/>
                    </a:cubicBezTo>
                    <a:cubicBezTo>
                      <a:pt x="17" y="11"/>
                      <a:pt x="17" y="11"/>
                      <a:pt x="17" y="11"/>
                    </a:cubicBezTo>
                    <a:cubicBezTo>
                      <a:pt x="17" y="11"/>
                      <a:pt x="17" y="11"/>
                      <a:pt x="17" y="11"/>
                    </a:cubicBezTo>
                    <a:cubicBezTo>
                      <a:pt x="17" y="10"/>
                      <a:pt x="17" y="10"/>
                      <a:pt x="17" y="10"/>
                    </a:cubicBezTo>
                    <a:cubicBezTo>
                      <a:pt x="17" y="11"/>
                      <a:pt x="17" y="11"/>
                      <a:pt x="17" y="11"/>
                    </a:cubicBezTo>
                    <a:cubicBezTo>
                      <a:pt x="17" y="10"/>
                      <a:pt x="17" y="10"/>
                      <a:pt x="17" y="10"/>
                    </a:cubicBezTo>
                    <a:cubicBezTo>
                      <a:pt x="18" y="11"/>
                      <a:pt x="18" y="11"/>
                      <a:pt x="18" y="11"/>
                    </a:cubicBezTo>
                    <a:cubicBezTo>
                      <a:pt x="18" y="11"/>
                      <a:pt x="18" y="11"/>
                      <a:pt x="18" y="11"/>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8" y="10"/>
                      <a:pt x="18" y="10"/>
                    </a:cubicBezTo>
                    <a:cubicBezTo>
                      <a:pt x="19" y="10"/>
                      <a:pt x="19" y="10"/>
                      <a:pt x="19" y="10"/>
                    </a:cubicBezTo>
                    <a:cubicBezTo>
                      <a:pt x="19" y="9"/>
                      <a:pt x="19" y="9"/>
                      <a:pt x="19" y="9"/>
                    </a:cubicBezTo>
                    <a:cubicBezTo>
                      <a:pt x="19" y="9"/>
                      <a:pt x="19" y="9"/>
                      <a:pt x="19" y="9"/>
                    </a:cubicBezTo>
                    <a:cubicBezTo>
                      <a:pt x="19" y="9"/>
                      <a:pt x="19" y="9"/>
                      <a:pt x="19" y="9"/>
                    </a:cubicBezTo>
                    <a:cubicBezTo>
                      <a:pt x="19" y="9"/>
                      <a:pt x="19" y="9"/>
                      <a:pt x="19" y="9"/>
                    </a:cubicBezTo>
                    <a:cubicBezTo>
                      <a:pt x="19" y="9"/>
                      <a:pt x="18" y="9"/>
                      <a:pt x="18" y="9"/>
                    </a:cubicBezTo>
                    <a:cubicBezTo>
                      <a:pt x="18" y="9"/>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9" y="8"/>
                      <a:pt x="19" y="8"/>
                      <a:pt x="19" y="8"/>
                    </a:cubicBezTo>
                    <a:cubicBezTo>
                      <a:pt x="19" y="8"/>
                      <a:pt x="19" y="8"/>
                      <a:pt x="19" y="8"/>
                    </a:cubicBezTo>
                    <a:cubicBezTo>
                      <a:pt x="19" y="8"/>
                      <a:pt x="19" y="8"/>
                      <a:pt x="19" y="8"/>
                    </a:cubicBezTo>
                    <a:cubicBezTo>
                      <a:pt x="19" y="8"/>
                      <a:pt x="19" y="8"/>
                      <a:pt x="19"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3"/>
                      <a:pt x="19" y="3"/>
                      <a:pt x="19" y="3"/>
                    </a:cubicBezTo>
                    <a:cubicBezTo>
                      <a:pt x="19" y="3"/>
                      <a:pt x="19" y="3"/>
                      <a:pt x="19" y="3"/>
                    </a:cubicBezTo>
                    <a:cubicBezTo>
                      <a:pt x="19" y="3"/>
                      <a:pt x="19" y="3"/>
                      <a:pt x="19" y="3"/>
                    </a:cubicBezTo>
                    <a:cubicBezTo>
                      <a:pt x="18" y="3"/>
                      <a:pt x="18" y="3"/>
                      <a:pt x="18" y="3"/>
                    </a:cubicBezTo>
                    <a:cubicBezTo>
                      <a:pt x="18" y="3"/>
                      <a:pt x="18" y="3"/>
                      <a:pt x="18" y="3"/>
                    </a:cubicBezTo>
                    <a:cubicBezTo>
                      <a:pt x="18" y="3"/>
                      <a:pt x="18" y="3"/>
                      <a:pt x="18" y="3"/>
                    </a:cubicBezTo>
                    <a:cubicBezTo>
                      <a:pt x="18" y="3"/>
                      <a:pt x="17" y="3"/>
                      <a:pt x="17" y="3"/>
                    </a:cubicBezTo>
                    <a:cubicBezTo>
                      <a:pt x="17" y="3"/>
                      <a:pt x="17" y="3"/>
                      <a:pt x="17" y="3"/>
                    </a:cubicBezTo>
                    <a:cubicBezTo>
                      <a:pt x="16" y="3"/>
                      <a:pt x="16" y="3"/>
                      <a:pt x="16" y="3"/>
                    </a:cubicBezTo>
                    <a:cubicBezTo>
                      <a:pt x="15" y="3"/>
                      <a:pt x="15" y="3"/>
                      <a:pt x="15" y="3"/>
                    </a:cubicBezTo>
                    <a:cubicBezTo>
                      <a:pt x="15" y="2"/>
                      <a:pt x="15" y="3"/>
                      <a:pt x="15" y="3"/>
                    </a:cubicBezTo>
                    <a:cubicBezTo>
                      <a:pt x="15" y="2"/>
                      <a:pt x="14" y="2"/>
                      <a:pt x="14" y="2"/>
                    </a:cubicBezTo>
                    <a:cubicBezTo>
                      <a:pt x="14" y="2"/>
                      <a:pt x="14" y="2"/>
                      <a:pt x="13" y="2"/>
                    </a:cubicBezTo>
                    <a:cubicBezTo>
                      <a:pt x="13" y="2"/>
                      <a:pt x="13" y="2"/>
                      <a:pt x="13" y="2"/>
                    </a:cubicBezTo>
                    <a:cubicBezTo>
                      <a:pt x="13" y="2"/>
                      <a:pt x="13" y="2"/>
                      <a:pt x="13" y="2"/>
                    </a:cubicBezTo>
                    <a:cubicBezTo>
                      <a:pt x="13" y="1"/>
                      <a:pt x="12" y="1"/>
                      <a:pt x="12" y="1"/>
                    </a:cubicBezTo>
                    <a:cubicBezTo>
                      <a:pt x="12" y="1"/>
                      <a:pt x="12" y="1"/>
                      <a:pt x="11" y="1"/>
                    </a:cubicBezTo>
                    <a:cubicBezTo>
                      <a:pt x="11" y="1"/>
                      <a:pt x="10" y="1"/>
                      <a:pt x="10" y="1"/>
                    </a:cubicBezTo>
                    <a:cubicBezTo>
                      <a:pt x="10" y="1"/>
                      <a:pt x="9" y="1"/>
                      <a:pt x="9" y="1"/>
                    </a:cubicBezTo>
                    <a:cubicBezTo>
                      <a:pt x="9" y="1"/>
                      <a:pt x="9" y="1"/>
                      <a:pt x="9" y="2"/>
                    </a:cubicBezTo>
                    <a:cubicBezTo>
                      <a:pt x="8" y="2"/>
                      <a:pt x="8" y="2"/>
                      <a:pt x="8" y="2"/>
                    </a:cubicBezTo>
                    <a:cubicBezTo>
                      <a:pt x="8" y="2"/>
                      <a:pt x="8" y="2"/>
                      <a:pt x="8" y="2"/>
                    </a:cubicBezTo>
                    <a:cubicBezTo>
                      <a:pt x="7" y="2"/>
                      <a:pt x="7" y="3"/>
                      <a:pt x="7" y="3"/>
                    </a:cubicBezTo>
                    <a:cubicBezTo>
                      <a:pt x="7" y="3"/>
                      <a:pt x="8" y="4"/>
                      <a:pt x="8" y="4"/>
                    </a:cubicBezTo>
                    <a:cubicBezTo>
                      <a:pt x="8" y="4"/>
                      <a:pt x="9" y="4"/>
                      <a:pt x="9" y="3"/>
                    </a:cubicBezTo>
                    <a:cubicBezTo>
                      <a:pt x="9" y="3"/>
                      <a:pt x="9" y="3"/>
                      <a:pt x="9" y="3"/>
                    </a:cubicBezTo>
                    <a:cubicBezTo>
                      <a:pt x="9" y="4"/>
                      <a:pt x="9" y="4"/>
                      <a:pt x="9" y="4"/>
                    </a:cubicBezTo>
                    <a:cubicBezTo>
                      <a:pt x="9" y="4"/>
                      <a:pt x="9" y="4"/>
                      <a:pt x="9" y="4"/>
                    </a:cubicBezTo>
                    <a:cubicBezTo>
                      <a:pt x="10" y="4"/>
                      <a:pt x="10" y="4"/>
                      <a:pt x="10" y="4"/>
                    </a:cubicBezTo>
                    <a:cubicBezTo>
                      <a:pt x="11" y="4"/>
                      <a:pt x="11" y="4"/>
                      <a:pt x="11" y="4"/>
                    </a:cubicBezTo>
                    <a:cubicBezTo>
                      <a:pt x="11" y="4"/>
                      <a:pt x="11" y="4"/>
                      <a:pt x="11" y="4"/>
                    </a:cubicBezTo>
                    <a:cubicBezTo>
                      <a:pt x="11" y="4"/>
                      <a:pt x="11" y="5"/>
                      <a:pt x="12" y="5"/>
                    </a:cubicBezTo>
                    <a:cubicBezTo>
                      <a:pt x="12" y="5"/>
                      <a:pt x="12" y="5"/>
                      <a:pt x="12" y="5"/>
                    </a:cubicBezTo>
                    <a:cubicBezTo>
                      <a:pt x="12" y="5"/>
                      <a:pt x="12" y="5"/>
                      <a:pt x="12" y="6"/>
                    </a:cubicBezTo>
                    <a:cubicBezTo>
                      <a:pt x="12" y="6"/>
                      <a:pt x="12" y="6"/>
                      <a:pt x="12" y="6"/>
                    </a:cubicBezTo>
                    <a:cubicBezTo>
                      <a:pt x="12" y="6"/>
                      <a:pt x="12" y="7"/>
                      <a:pt x="12" y="7"/>
                    </a:cubicBezTo>
                    <a:cubicBezTo>
                      <a:pt x="12" y="7"/>
                      <a:pt x="12" y="7"/>
                      <a:pt x="12" y="7"/>
                    </a:cubicBezTo>
                    <a:cubicBezTo>
                      <a:pt x="12" y="7"/>
                      <a:pt x="12" y="7"/>
                      <a:pt x="12" y="7"/>
                    </a:cubicBezTo>
                    <a:cubicBezTo>
                      <a:pt x="12" y="7"/>
                      <a:pt x="12" y="7"/>
                      <a:pt x="12" y="7"/>
                    </a:cubicBezTo>
                    <a:cubicBezTo>
                      <a:pt x="12" y="8"/>
                      <a:pt x="11" y="8"/>
                      <a:pt x="11" y="8"/>
                    </a:cubicBezTo>
                    <a:cubicBezTo>
                      <a:pt x="11" y="8"/>
                      <a:pt x="12" y="8"/>
                      <a:pt x="12" y="8"/>
                    </a:cubicBezTo>
                    <a:cubicBezTo>
                      <a:pt x="12" y="8"/>
                      <a:pt x="12" y="8"/>
                      <a:pt x="12" y="8"/>
                    </a:cubicBezTo>
                    <a:cubicBezTo>
                      <a:pt x="12" y="8"/>
                      <a:pt x="12" y="9"/>
                      <a:pt x="12" y="9"/>
                    </a:cubicBezTo>
                    <a:cubicBezTo>
                      <a:pt x="12" y="9"/>
                      <a:pt x="12" y="9"/>
                      <a:pt x="12" y="9"/>
                    </a:cubicBezTo>
                    <a:cubicBezTo>
                      <a:pt x="12" y="9"/>
                      <a:pt x="12" y="9"/>
                      <a:pt x="12" y="9"/>
                    </a:cubicBezTo>
                    <a:cubicBezTo>
                      <a:pt x="13" y="9"/>
                      <a:pt x="13" y="9"/>
                      <a:pt x="13" y="9"/>
                    </a:cubicBezTo>
                    <a:cubicBezTo>
                      <a:pt x="13" y="9"/>
                      <a:pt x="13" y="9"/>
                      <a:pt x="13" y="9"/>
                    </a:cubicBezTo>
                    <a:cubicBezTo>
                      <a:pt x="13" y="9"/>
                      <a:pt x="14" y="10"/>
                      <a:pt x="14" y="10"/>
                    </a:cubicBezTo>
                    <a:cubicBezTo>
                      <a:pt x="14" y="10"/>
                      <a:pt x="15" y="10"/>
                      <a:pt x="15" y="11"/>
                    </a:cubicBezTo>
                    <a:cubicBezTo>
                      <a:pt x="15" y="11"/>
                      <a:pt x="15" y="11"/>
                      <a:pt x="15" y="11"/>
                    </a:cubicBezTo>
                    <a:cubicBezTo>
                      <a:pt x="14" y="11"/>
                      <a:pt x="14" y="11"/>
                      <a:pt x="14" y="11"/>
                    </a:cubicBezTo>
                    <a:cubicBezTo>
                      <a:pt x="14" y="11"/>
                      <a:pt x="13" y="11"/>
                      <a:pt x="13" y="11"/>
                    </a:cubicBezTo>
                    <a:cubicBezTo>
                      <a:pt x="13" y="11"/>
                      <a:pt x="13" y="11"/>
                      <a:pt x="13" y="12"/>
                    </a:cubicBezTo>
                    <a:cubicBezTo>
                      <a:pt x="12" y="12"/>
                      <a:pt x="12" y="12"/>
                      <a:pt x="12" y="12"/>
                    </a:cubicBezTo>
                    <a:cubicBezTo>
                      <a:pt x="12" y="12"/>
                      <a:pt x="12" y="12"/>
                      <a:pt x="12" y="12"/>
                    </a:cubicBezTo>
                    <a:cubicBezTo>
                      <a:pt x="12" y="12"/>
                      <a:pt x="12" y="12"/>
                      <a:pt x="12" y="12"/>
                    </a:cubicBezTo>
                    <a:cubicBezTo>
                      <a:pt x="11" y="12"/>
                      <a:pt x="11" y="12"/>
                      <a:pt x="11" y="12"/>
                    </a:cubicBezTo>
                    <a:cubicBezTo>
                      <a:pt x="10" y="12"/>
                      <a:pt x="10" y="12"/>
                      <a:pt x="10" y="12"/>
                    </a:cubicBezTo>
                    <a:cubicBezTo>
                      <a:pt x="9" y="12"/>
                      <a:pt x="9" y="12"/>
                      <a:pt x="9" y="12"/>
                    </a:cubicBezTo>
                    <a:cubicBezTo>
                      <a:pt x="9" y="11"/>
                      <a:pt x="9" y="12"/>
                      <a:pt x="9" y="12"/>
                    </a:cubicBezTo>
                    <a:cubicBezTo>
                      <a:pt x="9" y="12"/>
                      <a:pt x="8" y="12"/>
                      <a:pt x="8" y="12"/>
                    </a:cubicBezTo>
                    <a:cubicBezTo>
                      <a:pt x="8" y="12"/>
                      <a:pt x="8" y="11"/>
                      <a:pt x="7" y="11"/>
                    </a:cubicBezTo>
                    <a:cubicBezTo>
                      <a:pt x="7" y="11"/>
                      <a:pt x="7" y="11"/>
                      <a:pt x="7" y="11"/>
                    </a:cubicBezTo>
                    <a:cubicBezTo>
                      <a:pt x="7" y="11"/>
                      <a:pt x="7" y="11"/>
                      <a:pt x="7" y="11"/>
                    </a:cubicBezTo>
                    <a:cubicBezTo>
                      <a:pt x="7" y="11"/>
                      <a:pt x="7" y="11"/>
                      <a:pt x="7" y="11"/>
                    </a:cubicBezTo>
                    <a:cubicBezTo>
                      <a:pt x="6" y="12"/>
                      <a:pt x="6" y="11"/>
                      <a:pt x="6" y="11"/>
                    </a:cubicBezTo>
                    <a:cubicBezTo>
                      <a:pt x="6" y="11"/>
                      <a:pt x="6" y="11"/>
                      <a:pt x="6" y="11"/>
                    </a:cubicBezTo>
                    <a:cubicBezTo>
                      <a:pt x="6" y="11"/>
                      <a:pt x="5" y="11"/>
                      <a:pt x="5" y="11"/>
                    </a:cubicBezTo>
                    <a:cubicBezTo>
                      <a:pt x="5"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3" y="11"/>
                      <a:pt x="3" y="11"/>
                      <a:pt x="3" y="11"/>
                    </a:cubicBezTo>
                    <a:cubicBezTo>
                      <a:pt x="3" y="11"/>
                      <a:pt x="3" y="11"/>
                      <a:pt x="3" y="11"/>
                    </a:cubicBezTo>
                    <a:cubicBezTo>
                      <a:pt x="2" y="10"/>
                      <a:pt x="2" y="10"/>
                      <a:pt x="1" y="11"/>
                    </a:cubicBezTo>
                    <a:cubicBezTo>
                      <a:pt x="1" y="11"/>
                      <a:pt x="1" y="11"/>
                      <a:pt x="1" y="11"/>
                    </a:cubicBezTo>
                    <a:cubicBezTo>
                      <a:pt x="0" y="11"/>
                      <a:pt x="0" y="11"/>
                      <a:pt x="0" y="11"/>
                    </a:cubicBezTo>
                    <a:cubicBezTo>
                      <a:pt x="0" y="11"/>
                      <a:pt x="0" y="12"/>
                      <a:pt x="0" y="12"/>
                    </a:cubicBezTo>
                    <a:cubicBezTo>
                      <a:pt x="0" y="12"/>
                      <a:pt x="0" y="12"/>
                      <a:pt x="0" y="12"/>
                    </a:cubicBezTo>
                    <a:cubicBezTo>
                      <a:pt x="0" y="13"/>
                      <a:pt x="1" y="13"/>
                      <a:pt x="1" y="13"/>
                    </a:cubicBezTo>
                    <a:cubicBezTo>
                      <a:pt x="1" y="13"/>
                      <a:pt x="1" y="13"/>
                      <a:pt x="1" y="13"/>
                    </a:cubicBezTo>
                    <a:cubicBezTo>
                      <a:pt x="2" y="13"/>
                      <a:pt x="2" y="13"/>
                      <a:pt x="3" y="13"/>
                    </a:cubicBezTo>
                    <a:cubicBezTo>
                      <a:pt x="3" y="14"/>
                      <a:pt x="4" y="14"/>
                      <a:pt x="4" y="15"/>
                    </a:cubicBezTo>
                    <a:cubicBezTo>
                      <a:pt x="4" y="15"/>
                      <a:pt x="5" y="15"/>
                      <a:pt x="5" y="15"/>
                    </a:cubicBezTo>
                    <a:cubicBezTo>
                      <a:pt x="5" y="15"/>
                      <a:pt x="5" y="15"/>
                      <a:pt x="5" y="14"/>
                    </a:cubicBezTo>
                    <a:cubicBezTo>
                      <a:pt x="5" y="14"/>
                      <a:pt x="5" y="14"/>
                      <a:pt x="5" y="14"/>
                    </a:cubicBezTo>
                    <a:cubicBezTo>
                      <a:pt x="6" y="14"/>
                      <a:pt x="6" y="14"/>
                      <a:pt x="7" y="13"/>
                    </a:cubicBezTo>
                    <a:cubicBezTo>
                      <a:pt x="7" y="13"/>
                      <a:pt x="7" y="13"/>
                      <a:pt x="8" y="13"/>
                    </a:cubicBezTo>
                    <a:cubicBezTo>
                      <a:pt x="8" y="14"/>
                      <a:pt x="9" y="14"/>
                      <a:pt x="9" y="14"/>
                    </a:cubicBezTo>
                    <a:cubicBezTo>
                      <a:pt x="10" y="14"/>
                      <a:pt x="10" y="14"/>
                      <a:pt x="10" y="14"/>
                    </a:cubicBezTo>
                    <a:cubicBezTo>
                      <a:pt x="11" y="14"/>
                      <a:pt x="11" y="14"/>
                      <a:pt x="12" y="14"/>
                    </a:cubicBezTo>
                    <a:cubicBezTo>
                      <a:pt x="12" y="14"/>
                      <a:pt x="13" y="14"/>
                      <a:pt x="13" y="14"/>
                    </a:cubicBezTo>
                    <a:cubicBezTo>
                      <a:pt x="13" y="14"/>
                      <a:pt x="13" y="14"/>
                      <a:pt x="13" y="13"/>
                    </a:cubicBezTo>
                    <a:cubicBezTo>
                      <a:pt x="13" y="13"/>
                      <a:pt x="13" y="13"/>
                      <a:pt x="13" y="13"/>
                    </a:cubicBezTo>
                    <a:cubicBezTo>
                      <a:pt x="14" y="13"/>
                      <a:pt x="14" y="13"/>
                      <a:pt x="14" y="13"/>
                    </a:cubicBezTo>
                    <a:cubicBezTo>
                      <a:pt x="14" y="14"/>
                      <a:pt x="14" y="14"/>
                      <a:pt x="15" y="14"/>
                    </a:cubicBezTo>
                    <a:cubicBezTo>
                      <a:pt x="15" y="14"/>
                      <a:pt x="15" y="14"/>
                      <a:pt x="16" y="14"/>
                    </a:cubicBezTo>
                    <a:cubicBezTo>
                      <a:pt x="16" y="14"/>
                      <a:pt x="16" y="14"/>
                      <a:pt x="16" y="13"/>
                    </a:cubicBezTo>
                    <a:cubicBezTo>
                      <a:pt x="16" y="13"/>
                      <a:pt x="16" y="13"/>
                      <a:pt x="16" y="13"/>
                    </a:cubicBezTo>
                    <a:cubicBezTo>
                      <a:pt x="16" y="14"/>
                      <a:pt x="17" y="13"/>
                      <a:pt x="17" y="14"/>
                    </a:cubicBezTo>
                    <a:cubicBezTo>
                      <a:pt x="17" y="14"/>
                      <a:pt x="18" y="14"/>
                      <a:pt x="18" y="15"/>
                    </a:cubicBezTo>
                    <a:cubicBezTo>
                      <a:pt x="18" y="15"/>
                      <a:pt x="18" y="15"/>
                      <a:pt x="18" y="15"/>
                    </a:cubicBezTo>
                    <a:cubicBezTo>
                      <a:pt x="18" y="15"/>
                      <a:pt x="18" y="15"/>
                      <a:pt x="18" y="15"/>
                    </a:cubicBezTo>
                    <a:lnTo>
                      <a:pt x="19"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5" name="Freeform 770">
                <a:extLst>
                  <a:ext uri="{FF2B5EF4-FFF2-40B4-BE49-F238E27FC236}">
                    <a16:creationId xmlns:a16="http://schemas.microsoft.com/office/drawing/2014/main" id="{B03B29EF-D69E-334F-8FA8-DDC8C61E05F6}"/>
                  </a:ext>
                </a:extLst>
              </p:cNvPr>
              <p:cNvSpPr>
                <a:spLocks/>
              </p:cNvSpPr>
              <p:nvPr/>
            </p:nvSpPr>
            <p:spPr bwMode="auto">
              <a:xfrm>
                <a:off x="2757488" y="4329113"/>
                <a:ext cx="117475" cy="142875"/>
              </a:xfrm>
              <a:custGeom>
                <a:avLst/>
                <a:gdLst>
                  <a:gd name="T0" fmla="*/ 22 w 28"/>
                  <a:gd name="T1" fmla="*/ 5 h 34"/>
                  <a:gd name="T2" fmla="*/ 20 w 28"/>
                  <a:gd name="T3" fmla="*/ 4 h 34"/>
                  <a:gd name="T4" fmla="*/ 8 w 28"/>
                  <a:gd name="T5" fmla="*/ 5 h 34"/>
                  <a:gd name="T6" fmla="*/ 5 w 28"/>
                  <a:gd name="T7" fmla="*/ 9 h 34"/>
                  <a:gd name="T8" fmla="*/ 6 w 28"/>
                  <a:gd name="T9" fmla="*/ 10 h 34"/>
                  <a:gd name="T10" fmla="*/ 8 w 28"/>
                  <a:gd name="T11" fmla="*/ 12 h 34"/>
                  <a:gd name="T12" fmla="*/ 10 w 28"/>
                  <a:gd name="T13" fmla="*/ 14 h 34"/>
                  <a:gd name="T14" fmla="*/ 12 w 28"/>
                  <a:gd name="T15" fmla="*/ 15 h 34"/>
                  <a:gd name="T16" fmla="*/ 12 w 28"/>
                  <a:gd name="T17" fmla="*/ 16 h 34"/>
                  <a:gd name="T18" fmla="*/ 3 w 28"/>
                  <a:gd name="T19" fmla="*/ 17 h 34"/>
                  <a:gd name="T20" fmla="*/ 0 w 28"/>
                  <a:gd name="T21" fmla="*/ 23 h 34"/>
                  <a:gd name="T22" fmla="*/ 0 w 28"/>
                  <a:gd name="T23" fmla="*/ 25 h 34"/>
                  <a:gd name="T24" fmla="*/ 0 w 28"/>
                  <a:gd name="T25" fmla="*/ 28 h 34"/>
                  <a:gd name="T26" fmla="*/ 3 w 28"/>
                  <a:gd name="T27" fmla="*/ 30 h 34"/>
                  <a:gd name="T28" fmla="*/ 8 w 28"/>
                  <a:gd name="T29" fmla="*/ 33 h 34"/>
                  <a:gd name="T30" fmla="*/ 11 w 28"/>
                  <a:gd name="T31" fmla="*/ 33 h 34"/>
                  <a:gd name="T32" fmla="*/ 13 w 28"/>
                  <a:gd name="T33" fmla="*/ 33 h 34"/>
                  <a:gd name="T34" fmla="*/ 14 w 28"/>
                  <a:gd name="T35" fmla="*/ 33 h 34"/>
                  <a:gd name="T36" fmla="*/ 16 w 28"/>
                  <a:gd name="T37" fmla="*/ 32 h 34"/>
                  <a:gd name="T38" fmla="*/ 18 w 28"/>
                  <a:gd name="T39" fmla="*/ 30 h 34"/>
                  <a:gd name="T40" fmla="*/ 18 w 28"/>
                  <a:gd name="T41" fmla="*/ 29 h 34"/>
                  <a:gd name="T42" fmla="*/ 20 w 28"/>
                  <a:gd name="T43" fmla="*/ 28 h 34"/>
                  <a:gd name="T44" fmla="*/ 20 w 28"/>
                  <a:gd name="T45" fmla="*/ 26 h 34"/>
                  <a:gd name="T46" fmla="*/ 20 w 28"/>
                  <a:gd name="T47" fmla="*/ 25 h 34"/>
                  <a:gd name="T48" fmla="*/ 24 w 28"/>
                  <a:gd name="T49" fmla="*/ 22 h 34"/>
                  <a:gd name="T50" fmla="*/ 26 w 28"/>
                  <a:gd name="T51" fmla="*/ 19 h 34"/>
                  <a:gd name="T52" fmla="*/ 24 w 28"/>
                  <a:gd name="T53" fmla="*/ 19 h 34"/>
                  <a:gd name="T54" fmla="*/ 23 w 28"/>
                  <a:gd name="T55" fmla="*/ 19 h 34"/>
                  <a:gd name="T56" fmla="*/ 22 w 28"/>
                  <a:gd name="T57" fmla="*/ 18 h 34"/>
                  <a:gd name="T58" fmla="*/ 23 w 28"/>
                  <a:gd name="T59" fmla="*/ 17 h 34"/>
                  <a:gd name="T60" fmla="*/ 23 w 28"/>
                  <a:gd name="T61" fmla="*/ 17 h 34"/>
                  <a:gd name="T62" fmla="*/ 24 w 28"/>
                  <a:gd name="T63" fmla="*/ 16 h 34"/>
                  <a:gd name="T64" fmla="*/ 26 w 28"/>
                  <a:gd name="T65" fmla="*/ 13 h 34"/>
                  <a:gd name="T66" fmla="*/ 27 w 28"/>
                  <a:gd name="T67" fmla="*/ 11 h 34"/>
                  <a:gd name="T68" fmla="*/ 26 w 28"/>
                  <a:gd name="T69" fmla="*/ 10 h 34"/>
                  <a:gd name="T70" fmla="*/ 26 w 28"/>
                  <a:gd name="T71" fmla="*/ 8 h 34"/>
                  <a:gd name="T72" fmla="*/ 26 w 28"/>
                  <a:gd name="T73" fmla="*/ 8 h 34"/>
                  <a:gd name="T74" fmla="*/ 26 w 28"/>
                  <a:gd name="T75" fmla="*/ 8 h 34"/>
                  <a:gd name="T76" fmla="*/ 27 w 28"/>
                  <a:gd name="T77" fmla="*/ 7 h 34"/>
                  <a:gd name="T78" fmla="*/ 26 w 28"/>
                  <a:gd name="T79" fmla="*/ 7 h 34"/>
                  <a:gd name="T80" fmla="*/ 26 w 28"/>
                  <a:gd name="T81" fmla="*/ 6 h 34"/>
                  <a:gd name="T82" fmla="*/ 27 w 28"/>
                  <a:gd name="T83" fmla="*/ 4 h 34"/>
                  <a:gd name="T84" fmla="*/ 27 w 28"/>
                  <a:gd name="T85" fmla="*/ 2 h 34"/>
                  <a:gd name="T86" fmla="*/ 26 w 28"/>
                  <a:gd name="T87" fmla="*/ 2 h 34"/>
                  <a:gd name="T88" fmla="*/ 26 w 28"/>
                  <a:gd name="T89" fmla="*/ 1 h 34"/>
                  <a:gd name="T90" fmla="*/ 25 w 28"/>
                  <a:gd name="T9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4">
                    <a:moveTo>
                      <a:pt x="25" y="2"/>
                    </a:moveTo>
                    <a:cubicBezTo>
                      <a:pt x="22" y="5"/>
                      <a:pt x="22" y="5"/>
                      <a:pt x="22" y="5"/>
                    </a:cubicBezTo>
                    <a:cubicBezTo>
                      <a:pt x="22" y="5"/>
                      <a:pt x="21" y="4"/>
                      <a:pt x="21" y="4"/>
                    </a:cubicBezTo>
                    <a:cubicBezTo>
                      <a:pt x="21" y="4"/>
                      <a:pt x="20" y="4"/>
                      <a:pt x="20" y="4"/>
                    </a:cubicBezTo>
                    <a:cubicBezTo>
                      <a:pt x="20" y="5"/>
                      <a:pt x="20" y="5"/>
                      <a:pt x="20" y="5"/>
                    </a:cubicBezTo>
                    <a:cubicBezTo>
                      <a:pt x="8" y="5"/>
                      <a:pt x="8" y="5"/>
                      <a:pt x="8" y="5"/>
                    </a:cubicBezTo>
                    <a:cubicBezTo>
                      <a:pt x="8" y="9"/>
                      <a:pt x="8" y="9"/>
                      <a:pt x="8" y="9"/>
                    </a:cubicBezTo>
                    <a:cubicBezTo>
                      <a:pt x="5" y="9"/>
                      <a:pt x="5" y="9"/>
                      <a:pt x="5" y="9"/>
                    </a:cubicBezTo>
                    <a:cubicBezTo>
                      <a:pt x="5" y="10"/>
                      <a:pt x="5" y="10"/>
                      <a:pt x="5" y="10"/>
                    </a:cubicBezTo>
                    <a:cubicBezTo>
                      <a:pt x="6" y="10"/>
                      <a:pt x="6" y="10"/>
                      <a:pt x="6" y="10"/>
                    </a:cubicBezTo>
                    <a:cubicBezTo>
                      <a:pt x="6" y="10"/>
                      <a:pt x="7" y="11"/>
                      <a:pt x="7" y="11"/>
                    </a:cubicBezTo>
                    <a:cubicBezTo>
                      <a:pt x="8" y="11"/>
                      <a:pt x="8" y="12"/>
                      <a:pt x="8" y="12"/>
                    </a:cubicBezTo>
                    <a:cubicBezTo>
                      <a:pt x="10" y="13"/>
                      <a:pt x="10" y="13"/>
                      <a:pt x="10" y="13"/>
                    </a:cubicBezTo>
                    <a:cubicBezTo>
                      <a:pt x="10" y="14"/>
                      <a:pt x="10" y="14"/>
                      <a:pt x="10" y="14"/>
                    </a:cubicBezTo>
                    <a:cubicBezTo>
                      <a:pt x="11" y="15"/>
                      <a:pt x="11" y="15"/>
                      <a:pt x="11" y="15"/>
                    </a:cubicBezTo>
                    <a:cubicBezTo>
                      <a:pt x="12" y="15"/>
                      <a:pt x="12" y="15"/>
                      <a:pt x="12" y="15"/>
                    </a:cubicBezTo>
                    <a:cubicBezTo>
                      <a:pt x="12" y="15"/>
                      <a:pt x="12" y="15"/>
                      <a:pt x="12" y="15"/>
                    </a:cubicBezTo>
                    <a:cubicBezTo>
                      <a:pt x="12" y="16"/>
                      <a:pt x="12" y="16"/>
                      <a:pt x="12" y="16"/>
                    </a:cubicBezTo>
                    <a:cubicBezTo>
                      <a:pt x="12" y="17"/>
                      <a:pt x="12" y="17"/>
                      <a:pt x="12" y="17"/>
                    </a:cubicBezTo>
                    <a:cubicBezTo>
                      <a:pt x="3" y="17"/>
                      <a:pt x="3" y="17"/>
                      <a:pt x="3" y="17"/>
                    </a:cubicBezTo>
                    <a:cubicBezTo>
                      <a:pt x="0" y="23"/>
                      <a:pt x="0" y="23"/>
                      <a:pt x="0" y="23"/>
                    </a:cubicBezTo>
                    <a:cubicBezTo>
                      <a:pt x="0" y="23"/>
                      <a:pt x="0" y="23"/>
                      <a:pt x="0" y="23"/>
                    </a:cubicBezTo>
                    <a:cubicBezTo>
                      <a:pt x="1" y="24"/>
                      <a:pt x="1" y="24"/>
                      <a:pt x="1" y="24"/>
                    </a:cubicBezTo>
                    <a:cubicBezTo>
                      <a:pt x="0" y="25"/>
                      <a:pt x="0" y="25"/>
                      <a:pt x="0" y="25"/>
                    </a:cubicBezTo>
                    <a:cubicBezTo>
                      <a:pt x="0" y="27"/>
                      <a:pt x="0" y="27"/>
                      <a:pt x="0" y="27"/>
                    </a:cubicBezTo>
                    <a:cubicBezTo>
                      <a:pt x="0" y="28"/>
                      <a:pt x="0" y="28"/>
                      <a:pt x="0" y="28"/>
                    </a:cubicBezTo>
                    <a:cubicBezTo>
                      <a:pt x="0" y="28"/>
                      <a:pt x="1" y="29"/>
                      <a:pt x="1" y="29"/>
                    </a:cubicBezTo>
                    <a:cubicBezTo>
                      <a:pt x="1" y="29"/>
                      <a:pt x="2" y="30"/>
                      <a:pt x="3" y="30"/>
                    </a:cubicBezTo>
                    <a:cubicBezTo>
                      <a:pt x="3" y="31"/>
                      <a:pt x="5" y="32"/>
                      <a:pt x="5" y="32"/>
                    </a:cubicBezTo>
                    <a:cubicBezTo>
                      <a:pt x="6" y="32"/>
                      <a:pt x="7" y="33"/>
                      <a:pt x="8" y="33"/>
                    </a:cubicBezTo>
                    <a:cubicBezTo>
                      <a:pt x="9" y="33"/>
                      <a:pt x="9" y="33"/>
                      <a:pt x="10" y="33"/>
                    </a:cubicBezTo>
                    <a:cubicBezTo>
                      <a:pt x="10" y="33"/>
                      <a:pt x="10" y="32"/>
                      <a:pt x="11" y="33"/>
                    </a:cubicBezTo>
                    <a:cubicBezTo>
                      <a:pt x="11" y="33"/>
                      <a:pt x="12" y="33"/>
                      <a:pt x="12" y="33"/>
                    </a:cubicBezTo>
                    <a:cubicBezTo>
                      <a:pt x="12" y="33"/>
                      <a:pt x="13" y="33"/>
                      <a:pt x="13" y="33"/>
                    </a:cubicBezTo>
                    <a:cubicBezTo>
                      <a:pt x="13" y="33"/>
                      <a:pt x="13" y="33"/>
                      <a:pt x="14" y="34"/>
                    </a:cubicBezTo>
                    <a:cubicBezTo>
                      <a:pt x="14" y="33"/>
                      <a:pt x="14" y="33"/>
                      <a:pt x="14" y="33"/>
                    </a:cubicBezTo>
                    <a:cubicBezTo>
                      <a:pt x="14" y="33"/>
                      <a:pt x="15" y="32"/>
                      <a:pt x="15" y="32"/>
                    </a:cubicBezTo>
                    <a:cubicBezTo>
                      <a:pt x="16" y="32"/>
                      <a:pt x="16" y="32"/>
                      <a:pt x="16" y="32"/>
                    </a:cubicBezTo>
                    <a:cubicBezTo>
                      <a:pt x="17" y="31"/>
                      <a:pt x="17" y="31"/>
                      <a:pt x="17" y="31"/>
                    </a:cubicBezTo>
                    <a:cubicBezTo>
                      <a:pt x="18" y="30"/>
                      <a:pt x="18" y="30"/>
                      <a:pt x="18" y="30"/>
                    </a:cubicBezTo>
                    <a:cubicBezTo>
                      <a:pt x="17" y="30"/>
                      <a:pt x="17" y="30"/>
                      <a:pt x="17" y="30"/>
                    </a:cubicBezTo>
                    <a:cubicBezTo>
                      <a:pt x="18" y="29"/>
                      <a:pt x="18" y="29"/>
                      <a:pt x="18" y="29"/>
                    </a:cubicBezTo>
                    <a:cubicBezTo>
                      <a:pt x="19" y="29"/>
                      <a:pt x="19" y="29"/>
                      <a:pt x="19" y="29"/>
                    </a:cubicBezTo>
                    <a:cubicBezTo>
                      <a:pt x="20" y="28"/>
                      <a:pt x="20" y="28"/>
                      <a:pt x="20" y="28"/>
                    </a:cubicBezTo>
                    <a:cubicBezTo>
                      <a:pt x="20" y="28"/>
                      <a:pt x="20" y="27"/>
                      <a:pt x="20" y="27"/>
                    </a:cubicBezTo>
                    <a:cubicBezTo>
                      <a:pt x="20" y="26"/>
                      <a:pt x="20" y="26"/>
                      <a:pt x="20" y="26"/>
                    </a:cubicBezTo>
                    <a:cubicBezTo>
                      <a:pt x="20" y="25"/>
                      <a:pt x="20" y="25"/>
                      <a:pt x="20" y="25"/>
                    </a:cubicBezTo>
                    <a:cubicBezTo>
                      <a:pt x="20" y="25"/>
                      <a:pt x="20" y="25"/>
                      <a:pt x="20" y="25"/>
                    </a:cubicBezTo>
                    <a:cubicBezTo>
                      <a:pt x="20" y="24"/>
                      <a:pt x="20" y="24"/>
                      <a:pt x="20" y="24"/>
                    </a:cubicBezTo>
                    <a:cubicBezTo>
                      <a:pt x="24" y="22"/>
                      <a:pt x="24" y="22"/>
                      <a:pt x="24" y="22"/>
                    </a:cubicBezTo>
                    <a:cubicBezTo>
                      <a:pt x="26" y="20"/>
                      <a:pt x="26" y="20"/>
                      <a:pt x="26" y="20"/>
                    </a:cubicBezTo>
                    <a:cubicBezTo>
                      <a:pt x="26" y="20"/>
                      <a:pt x="26" y="19"/>
                      <a:pt x="26" y="19"/>
                    </a:cubicBezTo>
                    <a:cubicBezTo>
                      <a:pt x="25" y="19"/>
                      <a:pt x="25" y="19"/>
                      <a:pt x="25" y="19"/>
                    </a:cubicBezTo>
                    <a:cubicBezTo>
                      <a:pt x="25" y="19"/>
                      <a:pt x="25" y="19"/>
                      <a:pt x="24" y="19"/>
                    </a:cubicBezTo>
                    <a:cubicBezTo>
                      <a:pt x="24" y="19"/>
                      <a:pt x="24" y="20"/>
                      <a:pt x="24" y="20"/>
                    </a:cubicBezTo>
                    <a:cubicBezTo>
                      <a:pt x="24" y="19"/>
                      <a:pt x="24" y="19"/>
                      <a:pt x="23" y="19"/>
                    </a:cubicBezTo>
                    <a:cubicBezTo>
                      <a:pt x="23" y="19"/>
                      <a:pt x="23" y="19"/>
                      <a:pt x="23" y="19"/>
                    </a:cubicBezTo>
                    <a:cubicBezTo>
                      <a:pt x="22" y="19"/>
                      <a:pt x="22" y="19"/>
                      <a:pt x="22" y="18"/>
                    </a:cubicBezTo>
                    <a:cubicBezTo>
                      <a:pt x="22" y="18"/>
                      <a:pt x="22" y="18"/>
                      <a:pt x="22" y="18"/>
                    </a:cubicBezTo>
                    <a:cubicBezTo>
                      <a:pt x="22" y="18"/>
                      <a:pt x="23" y="17"/>
                      <a:pt x="23" y="17"/>
                    </a:cubicBezTo>
                    <a:cubicBezTo>
                      <a:pt x="23" y="17"/>
                      <a:pt x="23" y="17"/>
                      <a:pt x="23" y="17"/>
                    </a:cubicBezTo>
                    <a:cubicBezTo>
                      <a:pt x="23" y="17"/>
                      <a:pt x="23" y="17"/>
                      <a:pt x="23" y="17"/>
                    </a:cubicBezTo>
                    <a:cubicBezTo>
                      <a:pt x="23" y="16"/>
                      <a:pt x="24" y="16"/>
                      <a:pt x="24" y="16"/>
                    </a:cubicBezTo>
                    <a:cubicBezTo>
                      <a:pt x="24" y="16"/>
                      <a:pt x="24" y="16"/>
                      <a:pt x="24" y="16"/>
                    </a:cubicBezTo>
                    <a:cubicBezTo>
                      <a:pt x="25" y="16"/>
                      <a:pt x="25" y="16"/>
                      <a:pt x="25" y="15"/>
                    </a:cubicBezTo>
                    <a:cubicBezTo>
                      <a:pt x="26" y="15"/>
                      <a:pt x="26" y="14"/>
                      <a:pt x="26" y="13"/>
                    </a:cubicBezTo>
                    <a:cubicBezTo>
                      <a:pt x="27" y="12"/>
                      <a:pt x="27" y="12"/>
                      <a:pt x="27" y="11"/>
                    </a:cubicBezTo>
                    <a:cubicBezTo>
                      <a:pt x="27" y="11"/>
                      <a:pt x="27" y="11"/>
                      <a:pt x="27" y="11"/>
                    </a:cubicBezTo>
                    <a:cubicBezTo>
                      <a:pt x="27" y="11"/>
                      <a:pt x="26" y="10"/>
                      <a:pt x="26" y="10"/>
                    </a:cubicBezTo>
                    <a:cubicBezTo>
                      <a:pt x="26" y="10"/>
                      <a:pt x="26" y="10"/>
                      <a:pt x="26" y="10"/>
                    </a:cubicBezTo>
                    <a:cubicBezTo>
                      <a:pt x="26" y="9"/>
                      <a:pt x="26" y="9"/>
                      <a:pt x="26" y="9"/>
                    </a:cubicBezTo>
                    <a:cubicBezTo>
                      <a:pt x="26" y="9"/>
                      <a:pt x="26" y="8"/>
                      <a:pt x="26" y="8"/>
                    </a:cubicBezTo>
                    <a:cubicBezTo>
                      <a:pt x="25" y="8"/>
                      <a:pt x="26" y="8"/>
                      <a:pt x="26" y="8"/>
                    </a:cubicBezTo>
                    <a:cubicBezTo>
                      <a:pt x="26" y="8"/>
                      <a:pt x="26" y="8"/>
                      <a:pt x="26" y="8"/>
                    </a:cubicBezTo>
                    <a:cubicBezTo>
                      <a:pt x="26" y="8"/>
                      <a:pt x="26" y="8"/>
                      <a:pt x="26" y="8"/>
                    </a:cubicBezTo>
                    <a:cubicBezTo>
                      <a:pt x="26" y="8"/>
                      <a:pt x="26" y="8"/>
                      <a:pt x="26" y="8"/>
                    </a:cubicBezTo>
                    <a:cubicBezTo>
                      <a:pt x="26" y="8"/>
                      <a:pt x="26" y="8"/>
                      <a:pt x="26" y="9"/>
                    </a:cubicBezTo>
                    <a:cubicBezTo>
                      <a:pt x="27" y="8"/>
                      <a:pt x="27" y="8"/>
                      <a:pt x="27" y="7"/>
                    </a:cubicBezTo>
                    <a:cubicBezTo>
                      <a:pt x="27" y="7"/>
                      <a:pt x="27" y="7"/>
                      <a:pt x="27" y="7"/>
                    </a:cubicBezTo>
                    <a:cubicBezTo>
                      <a:pt x="26" y="7"/>
                      <a:pt x="26" y="7"/>
                      <a:pt x="26" y="7"/>
                    </a:cubicBezTo>
                    <a:cubicBezTo>
                      <a:pt x="26" y="7"/>
                      <a:pt x="26" y="7"/>
                      <a:pt x="26" y="7"/>
                    </a:cubicBezTo>
                    <a:cubicBezTo>
                      <a:pt x="26" y="6"/>
                      <a:pt x="26" y="6"/>
                      <a:pt x="26" y="6"/>
                    </a:cubicBezTo>
                    <a:cubicBezTo>
                      <a:pt x="27" y="6"/>
                      <a:pt x="27" y="5"/>
                      <a:pt x="27" y="5"/>
                    </a:cubicBezTo>
                    <a:cubicBezTo>
                      <a:pt x="27" y="5"/>
                      <a:pt x="27" y="4"/>
                      <a:pt x="27" y="4"/>
                    </a:cubicBezTo>
                    <a:cubicBezTo>
                      <a:pt x="28" y="3"/>
                      <a:pt x="28" y="3"/>
                      <a:pt x="28" y="2"/>
                    </a:cubicBezTo>
                    <a:cubicBezTo>
                      <a:pt x="28" y="2"/>
                      <a:pt x="28" y="2"/>
                      <a:pt x="27" y="2"/>
                    </a:cubicBezTo>
                    <a:cubicBezTo>
                      <a:pt x="27" y="2"/>
                      <a:pt x="27" y="2"/>
                      <a:pt x="27" y="2"/>
                    </a:cubicBezTo>
                    <a:cubicBezTo>
                      <a:pt x="27" y="2"/>
                      <a:pt x="26" y="2"/>
                      <a:pt x="26" y="2"/>
                    </a:cubicBezTo>
                    <a:cubicBezTo>
                      <a:pt x="26" y="2"/>
                      <a:pt x="26" y="2"/>
                      <a:pt x="26" y="1"/>
                    </a:cubicBezTo>
                    <a:cubicBezTo>
                      <a:pt x="26" y="1"/>
                      <a:pt x="26" y="1"/>
                      <a:pt x="26" y="1"/>
                    </a:cubicBezTo>
                    <a:cubicBezTo>
                      <a:pt x="26" y="1"/>
                      <a:pt x="26" y="1"/>
                      <a:pt x="26" y="0"/>
                    </a:cubicBezTo>
                    <a:cubicBezTo>
                      <a:pt x="25" y="0"/>
                      <a:pt x="25" y="0"/>
                      <a:pt x="25" y="0"/>
                    </a:cubicBezTo>
                    <a:lnTo>
                      <a:pt x="25"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6" name="Freeform 771">
                <a:extLst>
                  <a:ext uri="{FF2B5EF4-FFF2-40B4-BE49-F238E27FC236}">
                    <a16:creationId xmlns:a16="http://schemas.microsoft.com/office/drawing/2014/main" id="{AEC8FA83-28E9-C8CF-4782-1BF4BC04B6A3}"/>
                  </a:ext>
                </a:extLst>
              </p:cNvPr>
              <p:cNvSpPr>
                <a:spLocks/>
              </p:cNvSpPr>
              <p:nvPr/>
            </p:nvSpPr>
            <p:spPr bwMode="auto">
              <a:xfrm>
                <a:off x="2816226" y="4449763"/>
                <a:ext cx="66675" cy="38100"/>
              </a:xfrm>
              <a:custGeom>
                <a:avLst/>
                <a:gdLst>
                  <a:gd name="T0" fmla="*/ 16 w 16"/>
                  <a:gd name="T1" fmla="*/ 6 h 9"/>
                  <a:gd name="T2" fmla="*/ 15 w 16"/>
                  <a:gd name="T3" fmla="*/ 6 h 9"/>
                  <a:gd name="T4" fmla="*/ 16 w 16"/>
                  <a:gd name="T5" fmla="*/ 6 h 9"/>
                  <a:gd name="T6" fmla="*/ 16 w 16"/>
                  <a:gd name="T7" fmla="*/ 5 h 9"/>
                  <a:gd name="T8" fmla="*/ 16 w 16"/>
                  <a:gd name="T9" fmla="*/ 5 h 9"/>
                  <a:gd name="T10" fmla="*/ 16 w 16"/>
                  <a:gd name="T11" fmla="*/ 4 h 9"/>
                  <a:gd name="T12" fmla="*/ 16 w 16"/>
                  <a:gd name="T13" fmla="*/ 4 h 9"/>
                  <a:gd name="T14" fmla="*/ 16 w 16"/>
                  <a:gd name="T15" fmla="*/ 3 h 9"/>
                  <a:gd name="T16" fmla="*/ 15 w 16"/>
                  <a:gd name="T17" fmla="*/ 3 h 9"/>
                  <a:gd name="T18" fmla="*/ 14 w 16"/>
                  <a:gd name="T19" fmla="*/ 3 h 9"/>
                  <a:gd name="T20" fmla="*/ 14 w 16"/>
                  <a:gd name="T21" fmla="*/ 3 h 9"/>
                  <a:gd name="T22" fmla="*/ 13 w 16"/>
                  <a:gd name="T23" fmla="*/ 3 h 9"/>
                  <a:gd name="T24" fmla="*/ 12 w 16"/>
                  <a:gd name="T25" fmla="*/ 3 h 9"/>
                  <a:gd name="T26" fmla="*/ 12 w 16"/>
                  <a:gd name="T27" fmla="*/ 3 h 9"/>
                  <a:gd name="T28" fmla="*/ 11 w 16"/>
                  <a:gd name="T29" fmla="*/ 4 h 9"/>
                  <a:gd name="T30" fmla="*/ 11 w 16"/>
                  <a:gd name="T31" fmla="*/ 3 h 9"/>
                  <a:gd name="T32" fmla="*/ 10 w 16"/>
                  <a:gd name="T33" fmla="*/ 3 h 9"/>
                  <a:gd name="T34" fmla="*/ 9 w 16"/>
                  <a:gd name="T35" fmla="*/ 2 h 9"/>
                  <a:gd name="T36" fmla="*/ 8 w 16"/>
                  <a:gd name="T37" fmla="*/ 2 h 9"/>
                  <a:gd name="T38" fmla="*/ 7 w 16"/>
                  <a:gd name="T39" fmla="*/ 0 h 9"/>
                  <a:gd name="T40" fmla="*/ 6 w 16"/>
                  <a:gd name="T41" fmla="*/ 0 h 9"/>
                  <a:gd name="T42" fmla="*/ 5 w 16"/>
                  <a:gd name="T43" fmla="*/ 0 h 9"/>
                  <a:gd name="T44" fmla="*/ 4 w 16"/>
                  <a:gd name="T45" fmla="*/ 0 h 9"/>
                  <a:gd name="T46" fmla="*/ 3 w 16"/>
                  <a:gd name="T47" fmla="*/ 1 h 9"/>
                  <a:gd name="T48" fmla="*/ 4 w 16"/>
                  <a:gd name="T49" fmla="*/ 1 h 9"/>
                  <a:gd name="T50" fmla="*/ 3 w 16"/>
                  <a:gd name="T51" fmla="*/ 2 h 9"/>
                  <a:gd name="T52" fmla="*/ 2 w 16"/>
                  <a:gd name="T53" fmla="*/ 3 h 9"/>
                  <a:gd name="T54" fmla="*/ 1 w 16"/>
                  <a:gd name="T55" fmla="*/ 3 h 9"/>
                  <a:gd name="T56" fmla="*/ 0 w 16"/>
                  <a:gd name="T57" fmla="*/ 4 h 9"/>
                  <a:gd name="T58" fmla="*/ 0 w 16"/>
                  <a:gd name="T59" fmla="*/ 5 h 9"/>
                  <a:gd name="T60" fmla="*/ 1 w 16"/>
                  <a:gd name="T61" fmla="*/ 5 h 9"/>
                  <a:gd name="T62" fmla="*/ 2 w 16"/>
                  <a:gd name="T63" fmla="*/ 6 h 9"/>
                  <a:gd name="T64" fmla="*/ 2 w 16"/>
                  <a:gd name="T65" fmla="*/ 6 h 9"/>
                  <a:gd name="T66" fmla="*/ 3 w 16"/>
                  <a:gd name="T67" fmla="*/ 6 h 9"/>
                  <a:gd name="T68" fmla="*/ 4 w 16"/>
                  <a:gd name="T69" fmla="*/ 6 h 9"/>
                  <a:gd name="T70" fmla="*/ 6 w 16"/>
                  <a:gd name="T71" fmla="*/ 7 h 9"/>
                  <a:gd name="T72" fmla="*/ 7 w 16"/>
                  <a:gd name="T73" fmla="*/ 7 h 9"/>
                  <a:gd name="T74" fmla="*/ 9 w 16"/>
                  <a:gd name="T75" fmla="*/ 8 h 9"/>
                  <a:gd name="T76" fmla="*/ 10 w 16"/>
                  <a:gd name="T77" fmla="*/ 8 h 9"/>
                  <a:gd name="T78" fmla="*/ 10 w 16"/>
                  <a:gd name="T79" fmla="*/ 8 h 9"/>
                  <a:gd name="T80" fmla="*/ 11 w 16"/>
                  <a:gd name="T81" fmla="*/ 8 h 9"/>
                  <a:gd name="T82" fmla="*/ 12 w 16"/>
                  <a:gd name="T83" fmla="*/ 9 h 9"/>
                  <a:gd name="T84" fmla="*/ 15 w 16"/>
                  <a:gd name="T85" fmla="*/ 9 h 9"/>
                  <a:gd name="T86" fmla="*/ 15 w 16"/>
                  <a:gd name="T87" fmla="*/ 8 h 9"/>
                  <a:gd name="T88" fmla="*/ 15 w 16"/>
                  <a:gd name="T89" fmla="*/ 7 h 9"/>
                  <a:gd name="T90" fmla="*/ 16 w 16"/>
                  <a:gd name="T91" fmla="*/ 7 h 9"/>
                  <a:gd name="T92" fmla="*/ 15 w 16"/>
                  <a:gd name="T93" fmla="*/ 7 h 9"/>
                  <a:gd name="T94" fmla="*/ 16 w 16"/>
                  <a:gd name="T9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9">
                    <a:moveTo>
                      <a:pt x="16" y="6"/>
                    </a:moveTo>
                    <a:cubicBezTo>
                      <a:pt x="16" y="6"/>
                      <a:pt x="15" y="6"/>
                      <a:pt x="15" y="6"/>
                    </a:cubicBezTo>
                    <a:cubicBezTo>
                      <a:pt x="15" y="6"/>
                      <a:pt x="16" y="6"/>
                      <a:pt x="16" y="6"/>
                    </a:cubicBezTo>
                    <a:cubicBezTo>
                      <a:pt x="16" y="6"/>
                      <a:pt x="16" y="5"/>
                      <a:pt x="16" y="5"/>
                    </a:cubicBezTo>
                    <a:cubicBezTo>
                      <a:pt x="16" y="5"/>
                      <a:pt x="16" y="5"/>
                      <a:pt x="16" y="5"/>
                    </a:cubicBezTo>
                    <a:cubicBezTo>
                      <a:pt x="16" y="4"/>
                      <a:pt x="16" y="4"/>
                      <a:pt x="16" y="4"/>
                    </a:cubicBezTo>
                    <a:cubicBezTo>
                      <a:pt x="16" y="4"/>
                      <a:pt x="16" y="4"/>
                      <a:pt x="16" y="4"/>
                    </a:cubicBezTo>
                    <a:cubicBezTo>
                      <a:pt x="16" y="3"/>
                      <a:pt x="16" y="3"/>
                      <a:pt x="16" y="3"/>
                    </a:cubicBezTo>
                    <a:cubicBezTo>
                      <a:pt x="15" y="3"/>
                      <a:pt x="15" y="3"/>
                      <a:pt x="15" y="3"/>
                    </a:cubicBezTo>
                    <a:cubicBezTo>
                      <a:pt x="15" y="3"/>
                      <a:pt x="14" y="3"/>
                      <a:pt x="14" y="3"/>
                    </a:cubicBezTo>
                    <a:cubicBezTo>
                      <a:pt x="14" y="3"/>
                      <a:pt x="14" y="3"/>
                      <a:pt x="14" y="3"/>
                    </a:cubicBezTo>
                    <a:cubicBezTo>
                      <a:pt x="13" y="3"/>
                      <a:pt x="13" y="3"/>
                      <a:pt x="13" y="3"/>
                    </a:cubicBezTo>
                    <a:cubicBezTo>
                      <a:pt x="12" y="3"/>
                      <a:pt x="12" y="3"/>
                      <a:pt x="12" y="3"/>
                    </a:cubicBezTo>
                    <a:cubicBezTo>
                      <a:pt x="12" y="3"/>
                      <a:pt x="12" y="3"/>
                      <a:pt x="12" y="3"/>
                    </a:cubicBezTo>
                    <a:cubicBezTo>
                      <a:pt x="11" y="4"/>
                      <a:pt x="11" y="4"/>
                      <a:pt x="11" y="4"/>
                    </a:cubicBezTo>
                    <a:cubicBezTo>
                      <a:pt x="11" y="4"/>
                      <a:pt x="11" y="3"/>
                      <a:pt x="11" y="3"/>
                    </a:cubicBezTo>
                    <a:cubicBezTo>
                      <a:pt x="11" y="3"/>
                      <a:pt x="10" y="3"/>
                      <a:pt x="10" y="3"/>
                    </a:cubicBezTo>
                    <a:cubicBezTo>
                      <a:pt x="9" y="2"/>
                      <a:pt x="9" y="2"/>
                      <a:pt x="9" y="2"/>
                    </a:cubicBezTo>
                    <a:cubicBezTo>
                      <a:pt x="8" y="2"/>
                      <a:pt x="8" y="2"/>
                      <a:pt x="8" y="2"/>
                    </a:cubicBezTo>
                    <a:cubicBezTo>
                      <a:pt x="7" y="0"/>
                      <a:pt x="7" y="0"/>
                      <a:pt x="7" y="0"/>
                    </a:cubicBezTo>
                    <a:cubicBezTo>
                      <a:pt x="7" y="0"/>
                      <a:pt x="6" y="0"/>
                      <a:pt x="6" y="0"/>
                    </a:cubicBezTo>
                    <a:cubicBezTo>
                      <a:pt x="6" y="0"/>
                      <a:pt x="5" y="0"/>
                      <a:pt x="5" y="0"/>
                    </a:cubicBezTo>
                    <a:cubicBezTo>
                      <a:pt x="4" y="0"/>
                      <a:pt x="4" y="0"/>
                      <a:pt x="4" y="0"/>
                    </a:cubicBezTo>
                    <a:cubicBezTo>
                      <a:pt x="3" y="1"/>
                      <a:pt x="3" y="1"/>
                      <a:pt x="3" y="1"/>
                    </a:cubicBezTo>
                    <a:cubicBezTo>
                      <a:pt x="4" y="1"/>
                      <a:pt x="4" y="1"/>
                      <a:pt x="4" y="1"/>
                    </a:cubicBezTo>
                    <a:cubicBezTo>
                      <a:pt x="3" y="2"/>
                      <a:pt x="3" y="2"/>
                      <a:pt x="3" y="2"/>
                    </a:cubicBezTo>
                    <a:cubicBezTo>
                      <a:pt x="2" y="3"/>
                      <a:pt x="2" y="3"/>
                      <a:pt x="2" y="3"/>
                    </a:cubicBezTo>
                    <a:cubicBezTo>
                      <a:pt x="1" y="3"/>
                      <a:pt x="1" y="3"/>
                      <a:pt x="1" y="3"/>
                    </a:cubicBezTo>
                    <a:cubicBezTo>
                      <a:pt x="1" y="3"/>
                      <a:pt x="0" y="4"/>
                      <a:pt x="0" y="4"/>
                    </a:cubicBezTo>
                    <a:cubicBezTo>
                      <a:pt x="0" y="4"/>
                      <a:pt x="0" y="4"/>
                      <a:pt x="0" y="5"/>
                    </a:cubicBezTo>
                    <a:cubicBezTo>
                      <a:pt x="0" y="5"/>
                      <a:pt x="0" y="5"/>
                      <a:pt x="1" y="5"/>
                    </a:cubicBezTo>
                    <a:cubicBezTo>
                      <a:pt x="1" y="5"/>
                      <a:pt x="1" y="6"/>
                      <a:pt x="2" y="6"/>
                    </a:cubicBezTo>
                    <a:cubicBezTo>
                      <a:pt x="2" y="6"/>
                      <a:pt x="2" y="6"/>
                      <a:pt x="2" y="6"/>
                    </a:cubicBezTo>
                    <a:cubicBezTo>
                      <a:pt x="2" y="6"/>
                      <a:pt x="3" y="6"/>
                      <a:pt x="3" y="6"/>
                    </a:cubicBezTo>
                    <a:cubicBezTo>
                      <a:pt x="3" y="6"/>
                      <a:pt x="4" y="6"/>
                      <a:pt x="4" y="6"/>
                    </a:cubicBezTo>
                    <a:cubicBezTo>
                      <a:pt x="5" y="6"/>
                      <a:pt x="6" y="7"/>
                      <a:pt x="6" y="7"/>
                    </a:cubicBezTo>
                    <a:cubicBezTo>
                      <a:pt x="7" y="7"/>
                      <a:pt x="7" y="7"/>
                      <a:pt x="7" y="7"/>
                    </a:cubicBezTo>
                    <a:cubicBezTo>
                      <a:pt x="8" y="8"/>
                      <a:pt x="8" y="8"/>
                      <a:pt x="9" y="8"/>
                    </a:cubicBezTo>
                    <a:cubicBezTo>
                      <a:pt x="9" y="8"/>
                      <a:pt x="9" y="8"/>
                      <a:pt x="10" y="8"/>
                    </a:cubicBezTo>
                    <a:cubicBezTo>
                      <a:pt x="10" y="8"/>
                      <a:pt x="10" y="8"/>
                      <a:pt x="10" y="8"/>
                    </a:cubicBezTo>
                    <a:cubicBezTo>
                      <a:pt x="10" y="8"/>
                      <a:pt x="11" y="8"/>
                      <a:pt x="11" y="8"/>
                    </a:cubicBezTo>
                    <a:cubicBezTo>
                      <a:pt x="11" y="8"/>
                      <a:pt x="11" y="8"/>
                      <a:pt x="12" y="9"/>
                    </a:cubicBezTo>
                    <a:cubicBezTo>
                      <a:pt x="12" y="9"/>
                      <a:pt x="14" y="9"/>
                      <a:pt x="15" y="9"/>
                    </a:cubicBezTo>
                    <a:cubicBezTo>
                      <a:pt x="15" y="9"/>
                      <a:pt x="15" y="8"/>
                      <a:pt x="15" y="8"/>
                    </a:cubicBezTo>
                    <a:cubicBezTo>
                      <a:pt x="15" y="8"/>
                      <a:pt x="15" y="8"/>
                      <a:pt x="15" y="7"/>
                    </a:cubicBezTo>
                    <a:cubicBezTo>
                      <a:pt x="15" y="7"/>
                      <a:pt x="15" y="7"/>
                      <a:pt x="16" y="7"/>
                    </a:cubicBezTo>
                    <a:cubicBezTo>
                      <a:pt x="15" y="7"/>
                      <a:pt x="15" y="7"/>
                      <a:pt x="15" y="7"/>
                    </a:cubicBezTo>
                    <a:lnTo>
                      <a:pt x="16"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7" name="Freeform 772">
                <a:extLst>
                  <a:ext uri="{FF2B5EF4-FFF2-40B4-BE49-F238E27FC236}">
                    <a16:creationId xmlns:a16="http://schemas.microsoft.com/office/drawing/2014/main" id="{2AB22770-28C8-986F-175F-1767F3494B20}"/>
                  </a:ext>
                </a:extLst>
              </p:cNvPr>
              <p:cNvSpPr>
                <a:spLocks noEditPoints="1"/>
              </p:cNvSpPr>
              <p:nvPr/>
            </p:nvSpPr>
            <p:spPr bwMode="auto">
              <a:xfrm>
                <a:off x="3324226" y="4287838"/>
                <a:ext cx="112712" cy="71438"/>
              </a:xfrm>
              <a:custGeom>
                <a:avLst/>
                <a:gdLst>
                  <a:gd name="T0" fmla="*/ 26 w 27"/>
                  <a:gd name="T1" fmla="*/ 10 h 17"/>
                  <a:gd name="T2" fmla="*/ 26 w 27"/>
                  <a:gd name="T3" fmla="*/ 10 h 17"/>
                  <a:gd name="T4" fmla="*/ 23 w 27"/>
                  <a:gd name="T5" fmla="*/ 11 h 17"/>
                  <a:gd name="T6" fmla="*/ 22 w 27"/>
                  <a:gd name="T7" fmla="*/ 12 h 17"/>
                  <a:gd name="T8" fmla="*/ 18 w 27"/>
                  <a:gd name="T9" fmla="*/ 11 h 17"/>
                  <a:gd name="T10" fmla="*/ 15 w 27"/>
                  <a:gd name="T11" fmla="*/ 11 h 17"/>
                  <a:gd name="T12" fmla="*/ 12 w 27"/>
                  <a:gd name="T13" fmla="*/ 12 h 17"/>
                  <a:gd name="T14" fmla="*/ 9 w 27"/>
                  <a:gd name="T15" fmla="*/ 12 h 17"/>
                  <a:gd name="T16" fmla="*/ 7 w 27"/>
                  <a:gd name="T17" fmla="*/ 12 h 17"/>
                  <a:gd name="T18" fmla="*/ 6 w 27"/>
                  <a:gd name="T19" fmla="*/ 14 h 17"/>
                  <a:gd name="T20" fmla="*/ 3 w 27"/>
                  <a:gd name="T21" fmla="*/ 16 h 17"/>
                  <a:gd name="T22" fmla="*/ 2 w 27"/>
                  <a:gd name="T23" fmla="*/ 15 h 17"/>
                  <a:gd name="T24" fmla="*/ 1 w 27"/>
                  <a:gd name="T25" fmla="*/ 14 h 17"/>
                  <a:gd name="T26" fmla="*/ 2 w 27"/>
                  <a:gd name="T27" fmla="*/ 13 h 17"/>
                  <a:gd name="T28" fmla="*/ 1 w 27"/>
                  <a:gd name="T29" fmla="*/ 13 h 17"/>
                  <a:gd name="T30" fmla="*/ 1 w 27"/>
                  <a:gd name="T31" fmla="*/ 13 h 17"/>
                  <a:gd name="T32" fmla="*/ 1 w 27"/>
                  <a:gd name="T33" fmla="*/ 11 h 17"/>
                  <a:gd name="T34" fmla="*/ 1 w 27"/>
                  <a:gd name="T35" fmla="*/ 11 h 17"/>
                  <a:gd name="T36" fmla="*/ 0 w 27"/>
                  <a:gd name="T37" fmla="*/ 10 h 17"/>
                  <a:gd name="T38" fmla="*/ 1 w 27"/>
                  <a:gd name="T39" fmla="*/ 10 h 17"/>
                  <a:gd name="T40" fmla="*/ 1 w 27"/>
                  <a:gd name="T41" fmla="*/ 9 h 17"/>
                  <a:gd name="T42" fmla="*/ 2 w 27"/>
                  <a:gd name="T43" fmla="*/ 9 h 17"/>
                  <a:gd name="T44" fmla="*/ 2 w 27"/>
                  <a:gd name="T45" fmla="*/ 8 h 17"/>
                  <a:gd name="T46" fmla="*/ 1 w 27"/>
                  <a:gd name="T47" fmla="*/ 7 h 17"/>
                  <a:gd name="T48" fmla="*/ 1 w 27"/>
                  <a:gd name="T49" fmla="*/ 7 h 17"/>
                  <a:gd name="T50" fmla="*/ 1 w 27"/>
                  <a:gd name="T51" fmla="*/ 7 h 17"/>
                  <a:gd name="T52" fmla="*/ 1 w 27"/>
                  <a:gd name="T53" fmla="*/ 7 h 17"/>
                  <a:gd name="T54" fmla="*/ 1 w 27"/>
                  <a:gd name="T55" fmla="*/ 7 h 17"/>
                  <a:gd name="T56" fmla="*/ 1 w 27"/>
                  <a:gd name="T57" fmla="*/ 7 h 17"/>
                  <a:gd name="T58" fmla="*/ 2 w 27"/>
                  <a:gd name="T59" fmla="*/ 7 h 17"/>
                  <a:gd name="T60" fmla="*/ 2 w 27"/>
                  <a:gd name="T61" fmla="*/ 6 h 17"/>
                  <a:gd name="T62" fmla="*/ 2 w 27"/>
                  <a:gd name="T63" fmla="*/ 6 h 17"/>
                  <a:gd name="T64" fmla="*/ 2 w 27"/>
                  <a:gd name="T65" fmla="*/ 6 h 17"/>
                  <a:gd name="T66" fmla="*/ 2 w 27"/>
                  <a:gd name="T67" fmla="*/ 6 h 17"/>
                  <a:gd name="T68" fmla="*/ 2 w 27"/>
                  <a:gd name="T69" fmla="*/ 5 h 17"/>
                  <a:gd name="T70" fmla="*/ 2 w 27"/>
                  <a:gd name="T71" fmla="*/ 5 h 17"/>
                  <a:gd name="T72" fmla="*/ 1 w 27"/>
                  <a:gd name="T73" fmla="*/ 5 h 17"/>
                  <a:gd name="T74" fmla="*/ 2 w 27"/>
                  <a:gd name="T75" fmla="*/ 4 h 17"/>
                  <a:gd name="T76" fmla="*/ 2 w 27"/>
                  <a:gd name="T77" fmla="*/ 4 h 17"/>
                  <a:gd name="T78" fmla="*/ 2 w 27"/>
                  <a:gd name="T79" fmla="*/ 3 h 17"/>
                  <a:gd name="T80" fmla="*/ 2 w 27"/>
                  <a:gd name="T81" fmla="*/ 3 h 17"/>
                  <a:gd name="T82" fmla="*/ 2 w 27"/>
                  <a:gd name="T83" fmla="*/ 2 h 17"/>
                  <a:gd name="T84" fmla="*/ 2 w 27"/>
                  <a:gd name="T85" fmla="*/ 2 h 17"/>
                  <a:gd name="T86" fmla="*/ 4 w 27"/>
                  <a:gd name="T87" fmla="*/ 1 h 17"/>
                  <a:gd name="T88" fmla="*/ 7 w 27"/>
                  <a:gd name="T89" fmla="*/ 0 h 17"/>
                  <a:gd name="T90" fmla="*/ 10 w 27"/>
                  <a:gd name="T91" fmla="*/ 1 h 17"/>
                  <a:gd name="T92" fmla="*/ 13 w 27"/>
                  <a:gd name="T93" fmla="*/ 2 h 17"/>
                  <a:gd name="T94" fmla="*/ 15 w 27"/>
                  <a:gd name="T95" fmla="*/ 5 h 17"/>
                  <a:gd name="T96" fmla="*/ 18 w 27"/>
                  <a:gd name="T97" fmla="*/ 5 h 17"/>
                  <a:gd name="T98" fmla="*/ 16 w 27"/>
                  <a:gd name="T99" fmla="*/ 5 h 17"/>
                  <a:gd name="T100" fmla="*/ 18 w 27"/>
                  <a:gd name="T101" fmla="*/ 7 h 17"/>
                  <a:gd name="T102" fmla="*/ 22 w 27"/>
                  <a:gd name="T103" fmla="*/ 7 h 17"/>
                  <a:gd name="T104" fmla="*/ 25 w 27"/>
                  <a:gd name="T105" fmla="*/ 10 h 17"/>
                  <a:gd name="T106" fmla="*/ 10 w 27"/>
                  <a:gd name="T10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 h="17">
                    <a:moveTo>
                      <a:pt x="23" y="13"/>
                    </a:moveTo>
                    <a:cubicBezTo>
                      <a:pt x="22" y="13"/>
                      <a:pt x="22" y="13"/>
                      <a:pt x="22" y="13"/>
                    </a:cubicBezTo>
                    <a:cubicBezTo>
                      <a:pt x="22" y="13"/>
                      <a:pt x="22" y="13"/>
                      <a:pt x="23" y="13"/>
                    </a:cubicBezTo>
                    <a:close/>
                    <a:moveTo>
                      <a:pt x="26" y="10"/>
                    </a:moveTo>
                    <a:cubicBezTo>
                      <a:pt x="26" y="10"/>
                      <a:pt x="26" y="10"/>
                      <a:pt x="26" y="10"/>
                    </a:cubicBezTo>
                    <a:cubicBezTo>
                      <a:pt x="26" y="10"/>
                      <a:pt x="26" y="10"/>
                      <a:pt x="26" y="10"/>
                    </a:cubicBezTo>
                    <a:cubicBezTo>
                      <a:pt x="27" y="10"/>
                      <a:pt x="27" y="10"/>
                      <a:pt x="27" y="10"/>
                    </a:cubicBezTo>
                    <a:cubicBezTo>
                      <a:pt x="27" y="10"/>
                      <a:pt x="26" y="10"/>
                      <a:pt x="26" y="10"/>
                    </a:cubicBezTo>
                    <a:close/>
                    <a:moveTo>
                      <a:pt x="24" y="11"/>
                    </a:moveTo>
                    <a:cubicBezTo>
                      <a:pt x="24" y="11"/>
                      <a:pt x="24" y="11"/>
                      <a:pt x="24" y="11"/>
                    </a:cubicBezTo>
                    <a:cubicBezTo>
                      <a:pt x="24" y="12"/>
                      <a:pt x="24" y="12"/>
                      <a:pt x="23" y="11"/>
                    </a:cubicBezTo>
                    <a:cubicBezTo>
                      <a:pt x="23" y="11"/>
                      <a:pt x="23" y="11"/>
                      <a:pt x="23" y="11"/>
                    </a:cubicBezTo>
                    <a:cubicBezTo>
                      <a:pt x="23" y="12"/>
                      <a:pt x="23" y="12"/>
                      <a:pt x="23" y="12"/>
                    </a:cubicBezTo>
                    <a:cubicBezTo>
                      <a:pt x="23" y="12"/>
                      <a:pt x="23" y="12"/>
                      <a:pt x="23" y="12"/>
                    </a:cubicBezTo>
                    <a:cubicBezTo>
                      <a:pt x="23" y="12"/>
                      <a:pt x="23" y="13"/>
                      <a:pt x="22" y="13"/>
                    </a:cubicBezTo>
                    <a:cubicBezTo>
                      <a:pt x="22" y="13"/>
                      <a:pt x="22" y="13"/>
                      <a:pt x="22" y="12"/>
                    </a:cubicBezTo>
                    <a:cubicBezTo>
                      <a:pt x="22" y="12"/>
                      <a:pt x="22" y="12"/>
                      <a:pt x="21" y="12"/>
                    </a:cubicBezTo>
                    <a:cubicBezTo>
                      <a:pt x="21" y="11"/>
                      <a:pt x="21" y="11"/>
                      <a:pt x="20" y="11"/>
                    </a:cubicBezTo>
                    <a:cubicBezTo>
                      <a:pt x="20" y="12"/>
                      <a:pt x="19" y="11"/>
                      <a:pt x="19" y="11"/>
                    </a:cubicBezTo>
                    <a:cubicBezTo>
                      <a:pt x="19" y="11"/>
                      <a:pt x="19" y="11"/>
                      <a:pt x="18" y="11"/>
                    </a:cubicBezTo>
                    <a:cubicBezTo>
                      <a:pt x="18" y="11"/>
                      <a:pt x="18" y="11"/>
                      <a:pt x="18" y="11"/>
                    </a:cubicBezTo>
                    <a:cubicBezTo>
                      <a:pt x="17" y="11"/>
                      <a:pt x="17" y="11"/>
                      <a:pt x="17" y="11"/>
                    </a:cubicBezTo>
                    <a:cubicBezTo>
                      <a:pt x="17" y="11"/>
                      <a:pt x="17" y="11"/>
                      <a:pt x="16" y="11"/>
                    </a:cubicBezTo>
                    <a:cubicBezTo>
                      <a:pt x="16" y="11"/>
                      <a:pt x="16" y="11"/>
                      <a:pt x="15" y="11"/>
                    </a:cubicBezTo>
                    <a:cubicBezTo>
                      <a:pt x="15" y="11"/>
                      <a:pt x="15" y="11"/>
                      <a:pt x="14" y="11"/>
                    </a:cubicBezTo>
                    <a:cubicBezTo>
                      <a:pt x="14" y="11"/>
                      <a:pt x="14" y="11"/>
                      <a:pt x="14" y="11"/>
                    </a:cubicBezTo>
                    <a:cubicBezTo>
                      <a:pt x="13" y="11"/>
                      <a:pt x="13" y="12"/>
                      <a:pt x="13" y="12"/>
                    </a:cubicBezTo>
                    <a:cubicBezTo>
                      <a:pt x="13" y="12"/>
                      <a:pt x="12" y="12"/>
                      <a:pt x="12" y="12"/>
                    </a:cubicBezTo>
                    <a:cubicBezTo>
                      <a:pt x="12" y="12"/>
                      <a:pt x="12" y="12"/>
                      <a:pt x="12" y="12"/>
                    </a:cubicBezTo>
                    <a:cubicBezTo>
                      <a:pt x="12" y="13"/>
                      <a:pt x="11" y="13"/>
                      <a:pt x="11" y="13"/>
                    </a:cubicBezTo>
                    <a:cubicBezTo>
                      <a:pt x="11" y="13"/>
                      <a:pt x="10" y="13"/>
                      <a:pt x="10" y="13"/>
                    </a:cubicBezTo>
                    <a:cubicBezTo>
                      <a:pt x="10" y="13"/>
                      <a:pt x="9" y="12"/>
                      <a:pt x="9" y="12"/>
                    </a:cubicBezTo>
                    <a:cubicBezTo>
                      <a:pt x="9" y="12"/>
                      <a:pt x="9" y="12"/>
                      <a:pt x="9" y="11"/>
                    </a:cubicBezTo>
                    <a:cubicBezTo>
                      <a:pt x="9" y="11"/>
                      <a:pt x="9" y="11"/>
                      <a:pt x="9" y="11"/>
                    </a:cubicBezTo>
                    <a:cubicBezTo>
                      <a:pt x="9" y="11"/>
                      <a:pt x="9" y="11"/>
                      <a:pt x="9" y="11"/>
                    </a:cubicBezTo>
                    <a:cubicBezTo>
                      <a:pt x="8" y="12"/>
                      <a:pt x="8" y="12"/>
                      <a:pt x="7" y="12"/>
                    </a:cubicBezTo>
                    <a:cubicBezTo>
                      <a:pt x="7" y="12"/>
                      <a:pt x="7" y="12"/>
                      <a:pt x="7" y="12"/>
                    </a:cubicBezTo>
                    <a:cubicBezTo>
                      <a:pt x="7" y="12"/>
                      <a:pt x="7" y="12"/>
                      <a:pt x="6" y="12"/>
                    </a:cubicBezTo>
                    <a:cubicBezTo>
                      <a:pt x="6" y="12"/>
                      <a:pt x="6" y="12"/>
                      <a:pt x="6" y="13"/>
                    </a:cubicBezTo>
                    <a:cubicBezTo>
                      <a:pt x="6" y="13"/>
                      <a:pt x="6" y="14"/>
                      <a:pt x="6" y="14"/>
                    </a:cubicBezTo>
                    <a:cubicBezTo>
                      <a:pt x="5" y="14"/>
                      <a:pt x="5" y="15"/>
                      <a:pt x="5" y="15"/>
                    </a:cubicBezTo>
                    <a:cubicBezTo>
                      <a:pt x="5" y="16"/>
                      <a:pt x="5" y="16"/>
                      <a:pt x="4" y="16"/>
                    </a:cubicBezTo>
                    <a:cubicBezTo>
                      <a:pt x="4" y="17"/>
                      <a:pt x="4" y="17"/>
                      <a:pt x="3" y="16"/>
                    </a:cubicBezTo>
                    <a:cubicBezTo>
                      <a:pt x="3" y="16"/>
                      <a:pt x="3" y="16"/>
                      <a:pt x="3" y="16"/>
                    </a:cubicBezTo>
                    <a:cubicBezTo>
                      <a:pt x="3" y="16"/>
                      <a:pt x="3" y="16"/>
                      <a:pt x="2" y="16"/>
                    </a:cubicBezTo>
                    <a:cubicBezTo>
                      <a:pt x="2" y="16"/>
                      <a:pt x="2" y="16"/>
                      <a:pt x="2" y="16"/>
                    </a:cubicBezTo>
                    <a:cubicBezTo>
                      <a:pt x="2" y="16"/>
                      <a:pt x="2" y="15"/>
                      <a:pt x="2" y="15"/>
                    </a:cubicBezTo>
                    <a:cubicBezTo>
                      <a:pt x="2" y="15"/>
                      <a:pt x="2" y="15"/>
                      <a:pt x="2" y="15"/>
                    </a:cubicBezTo>
                    <a:cubicBezTo>
                      <a:pt x="2" y="15"/>
                      <a:pt x="2" y="15"/>
                      <a:pt x="2" y="14"/>
                    </a:cubicBezTo>
                    <a:cubicBezTo>
                      <a:pt x="2" y="14"/>
                      <a:pt x="2" y="14"/>
                      <a:pt x="2" y="14"/>
                    </a:cubicBezTo>
                    <a:cubicBezTo>
                      <a:pt x="2" y="14"/>
                      <a:pt x="2" y="14"/>
                      <a:pt x="2" y="14"/>
                    </a:cubicBezTo>
                    <a:cubicBezTo>
                      <a:pt x="2" y="14"/>
                      <a:pt x="1" y="14"/>
                      <a:pt x="1" y="14"/>
                    </a:cubicBezTo>
                    <a:cubicBezTo>
                      <a:pt x="1" y="14"/>
                      <a:pt x="1" y="14"/>
                      <a:pt x="1" y="14"/>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2" y="12"/>
                      <a:pt x="2" y="12"/>
                      <a:pt x="2" y="12"/>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1" y="11"/>
                      <a:pt x="1" y="11"/>
                      <a:pt x="1" y="11"/>
                    </a:cubicBezTo>
                    <a:cubicBezTo>
                      <a:pt x="1" y="10"/>
                      <a:pt x="1" y="10"/>
                      <a:pt x="1" y="10"/>
                    </a:cubicBezTo>
                    <a:cubicBezTo>
                      <a:pt x="0" y="10"/>
                      <a:pt x="0" y="10"/>
                      <a:pt x="0" y="10"/>
                    </a:cubicBezTo>
                    <a:cubicBezTo>
                      <a:pt x="0" y="10"/>
                      <a:pt x="0" y="10"/>
                      <a:pt x="0" y="10"/>
                    </a:cubicBezTo>
                    <a:cubicBezTo>
                      <a:pt x="0" y="10"/>
                      <a:pt x="0" y="10"/>
                      <a:pt x="0" y="10"/>
                    </a:cubicBezTo>
                    <a:cubicBezTo>
                      <a:pt x="0" y="9"/>
                      <a:pt x="0" y="9"/>
                      <a:pt x="0" y="9"/>
                    </a:cubicBezTo>
                    <a:cubicBezTo>
                      <a:pt x="0" y="10"/>
                      <a:pt x="0" y="10"/>
                      <a:pt x="0" y="10"/>
                    </a:cubicBezTo>
                    <a:cubicBezTo>
                      <a:pt x="0" y="9"/>
                      <a:pt x="0" y="9"/>
                      <a:pt x="0" y="9"/>
                    </a:cubicBezTo>
                    <a:cubicBezTo>
                      <a:pt x="1" y="10"/>
                      <a:pt x="1" y="10"/>
                      <a:pt x="1" y="10"/>
                    </a:cubicBezTo>
                    <a:cubicBezTo>
                      <a:pt x="1" y="10"/>
                      <a:pt x="1" y="10"/>
                      <a:pt x="1" y="10"/>
                    </a:cubicBezTo>
                    <a:cubicBezTo>
                      <a:pt x="1" y="10"/>
                      <a:pt x="1" y="10"/>
                      <a:pt x="1" y="10"/>
                    </a:cubicBezTo>
                    <a:cubicBezTo>
                      <a:pt x="1" y="10"/>
                      <a:pt x="1" y="10"/>
                      <a:pt x="1" y="10"/>
                    </a:cubicBezTo>
                    <a:cubicBezTo>
                      <a:pt x="1" y="9"/>
                      <a:pt x="1" y="9"/>
                      <a:pt x="1" y="9"/>
                    </a:cubicBezTo>
                    <a:cubicBezTo>
                      <a:pt x="1" y="9"/>
                      <a:pt x="1" y="9"/>
                      <a:pt x="1" y="9"/>
                    </a:cubicBezTo>
                    <a:cubicBezTo>
                      <a:pt x="1" y="9"/>
                      <a:pt x="1" y="9"/>
                      <a:pt x="1" y="9"/>
                    </a:cubicBezTo>
                    <a:cubicBezTo>
                      <a:pt x="1" y="9"/>
                      <a:pt x="1" y="9"/>
                      <a:pt x="1" y="9"/>
                    </a:cubicBezTo>
                    <a:cubicBezTo>
                      <a:pt x="2" y="9"/>
                      <a:pt x="2" y="9"/>
                      <a:pt x="2" y="9"/>
                    </a:cubicBezTo>
                    <a:cubicBezTo>
                      <a:pt x="2" y="8"/>
                      <a:pt x="2" y="8"/>
                      <a:pt x="2" y="8"/>
                    </a:cubicBezTo>
                    <a:cubicBezTo>
                      <a:pt x="2" y="8"/>
                      <a:pt x="2" y="8"/>
                      <a:pt x="2" y="8"/>
                    </a:cubicBezTo>
                    <a:cubicBezTo>
                      <a:pt x="2" y="8"/>
                      <a:pt x="2" y="8"/>
                      <a:pt x="2" y="8"/>
                    </a:cubicBezTo>
                    <a:cubicBezTo>
                      <a:pt x="2" y="8"/>
                      <a:pt x="2" y="8"/>
                      <a:pt x="2" y="8"/>
                    </a:cubicBezTo>
                    <a:cubicBezTo>
                      <a:pt x="2" y="8"/>
                      <a:pt x="1" y="8"/>
                      <a:pt x="1" y="8"/>
                    </a:cubicBezTo>
                    <a:cubicBezTo>
                      <a:pt x="1" y="8"/>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1"/>
                      <a:pt x="2" y="1"/>
                      <a:pt x="2" y="1"/>
                    </a:cubicBezTo>
                    <a:cubicBezTo>
                      <a:pt x="2" y="1"/>
                      <a:pt x="2" y="1"/>
                      <a:pt x="2" y="1"/>
                    </a:cubicBezTo>
                    <a:cubicBezTo>
                      <a:pt x="2" y="1"/>
                      <a:pt x="2" y="1"/>
                      <a:pt x="2" y="1"/>
                    </a:cubicBezTo>
                    <a:cubicBezTo>
                      <a:pt x="3" y="0"/>
                      <a:pt x="3" y="1"/>
                      <a:pt x="4" y="1"/>
                    </a:cubicBezTo>
                    <a:cubicBezTo>
                      <a:pt x="4" y="1"/>
                      <a:pt x="4" y="1"/>
                      <a:pt x="4" y="1"/>
                    </a:cubicBezTo>
                    <a:cubicBezTo>
                      <a:pt x="5" y="1"/>
                      <a:pt x="5" y="1"/>
                      <a:pt x="6" y="1"/>
                    </a:cubicBezTo>
                    <a:cubicBezTo>
                      <a:pt x="6" y="1"/>
                      <a:pt x="6" y="1"/>
                      <a:pt x="6" y="1"/>
                    </a:cubicBezTo>
                    <a:cubicBezTo>
                      <a:pt x="6" y="0"/>
                      <a:pt x="7" y="0"/>
                      <a:pt x="7" y="0"/>
                    </a:cubicBezTo>
                    <a:cubicBezTo>
                      <a:pt x="7" y="1"/>
                      <a:pt x="7" y="1"/>
                      <a:pt x="8" y="1"/>
                    </a:cubicBezTo>
                    <a:cubicBezTo>
                      <a:pt x="8" y="1"/>
                      <a:pt x="8" y="1"/>
                      <a:pt x="8" y="1"/>
                    </a:cubicBezTo>
                    <a:cubicBezTo>
                      <a:pt x="9" y="1"/>
                      <a:pt x="9" y="1"/>
                      <a:pt x="9" y="2"/>
                    </a:cubicBezTo>
                    <a:cubicBezTo>
                      <a:pt x="9" y="2"/>
                      <a:pt x="10" y="2"/>
                      <a:pt x="10" y="1"/>
                    </a:cubicBezTo>
                    <a:cubicBezTo>
                      <a:pt x="10" y="1"/>
                      <a:pt x="11" y="1"/>
                      <a:pt x="11" y="2"/>
                    </a:cubicBezTo>
                    <a:cubicBezTo>
                      <a:pt x="11" y="2"/>
                      <a:pt x="11" y="2"/>
                      <a:pt x="11" y="2"/>
                    </a:cubicBezTo>
                    <a:cubicBezTo>
                      <a:pt x="12" y="2"/>
                      <a:pt x="12" y="2"/>
                      <a:pt x="12" y="3"/>
                    </a:cubicBezTo>
                    <a:cubicBezTo>
                      <a:pt x="12" y="3"/>
                      <a:pt x="13" y="3"/>
                      <a:pt x="13" y="2"/>
                    </a:cubicBezTo>
                    <a:cubicBezTo>
                      <a:pt x="13" y="2"/>
                      <a:pt x="13" y="2"/>
                      <a:pt x="14" y="2"/>
                    </a:cubicBezTo>
                    <a:cubicBezTo>
                      <a:pt x="14" y="2"/>
                      <a:pt x="14" y="3"/>
                      <a:pt x="14" y="3"/>
                    </a:cubicBezTo>
                    <a:cubicBezTo>
                      <a:pt x="14" y="3"/>
                      <a:pt x="14" y="3"/>
                      <a:pt x="14" y="4"/>
                    </a:cubicBezTo>
                    <a:cubicBezTo>
                      <a:pt x="14" y="4"/>
                      <a:pt x="14" y="5"/>
                      <a:pt x="15" y="5"/>
                    </a:cubicBezTo>
                    <a:cubicBezTo>
                      <a:pt x="15" y="5"/>
                      <a:pt x="15" y="5"/>
                      <a:pt x="15" y="5"/>
                    </a:cubicBezTo>
                    <a:cubicBezTo>
                      <a:pt x="16" y="5"/>
                      <a:pt x="16" y="5"/>
                      <a:pt x="17" y="5"/>
                    </a:cubicBezTo>
                    <a:cubicBezTo>
                      <a:pt x="17" y="5"/>
                      <a:pt x="17" y="5"/>
                      <a:pt x="17" y="5"/>
                    </a:cubicBezTo>
                    <a:cubicBezTo>
                      <a:pt x="17" y="5"/>
                      <a:pt x="18" y="5"/>
                      <a:pt x="18" y="5"/>
                    </a:cubicBezTo>
                    <a:cubicBezTo>
                      <a:pt x="19" y="5"/>
                      <a:pt x="19" y="5"/>
                      <a:pt x="19" y="5"/>
                    </a:cubicBezTo>
                    <a:cubicBezTo>
                      <a:pt x="19" y="5"/>
                      <a:pt x="19" y="5"/>
                      <a:pt x="19" y="6"/>
                    </a:cubicBezTo>
                    <a:cubicBezTo>
                      <a:pt x="19" y="6"/>
                      <a:pt x="18" y="6"/>
                      <a:pt x="18" y="6"/>
                    </a:cubicBezTo>
                    <a:cubicBezTo>
                      <a:pt x="18" y="6"/>
                      <a:pt x="17" y="6"/>
                      <a:pt x="16" y="5"/>
                    </a:cubicBezTo>
                    <a:cubicBezTo>
                      <a:pt x="16" y="5"/>
                      <a:pt x="16" y="6"/>
                      <a:pt x="16" y="6"/>
                    </a:cubicBezTo>
                    <a:cubicBezTo>
                      <a:pt x="16" y="6"/>
                      <a:pt x="16" y="6"/>
                      <a:pt x="16" y="6"/>
                    </a:cubicBezTo>
                    <a:cubicBezTo>
                      <a:pt x="16" y="6"/>
                      <a:pt x="17" y="6"/>
                      <a:pt x="17" y="6"/>
                    </a:cubicBezTo>
                    <a:cubicBezTo>
                      <a:pt x="18" y="7"/>
                      <a:pt x="18" y="7"/>
                      <a:pt x="18" y="7"/>
                    </a:cubicBezTo>
                    <a:cubicBezTo>
                      <a:pt x="18" y="7"/>
                      <a:pt x="18" y="7"/>
                      <a:pt x="18" y="7"/>
                    </a:cubicBezTo>
                    <a:cubicBezTo>
                      <a:pt x="19" y="7"/>
                      <a:pt x="19" y="7"/>
                      <a:pt x="20" y="7"/>
                    </a:cubicBezTo>
                    <a:cubicBezTo>
                      <a:pt x="20" y="7"/>
                      <a:pt x="21" y="7"/>
                      <a:pt x="22" y="7"/>
                    </a:cubicBezTo>
                    <a:cubicBezTo>
                      <a:pt x="22" y="7"/>
                      <a:pt x="22" y="7"/>
                      <a:pt x="22" y="7"/>
                    </a:cubicBezTo>
                    <a:cubicBezTo>
                      <a:pt x="22" y="8"/>
                      <a:pt x="23" y="8"/>
                      <a:pt x="23" y="9"/>
                    </a:cubicBezTo>
                    <a:cubicBezTo>
                      <a:pt x="23" y="9"/>
                      <a:pt x="23" y="9"/>
                      <a:pt x="23" y="9"/>
                    </a:cubicBezTo>
                    <a:cubicBezTo>
                      <a:pt x="24" y="9"/>
                      <a:pt x="24" y="9"/>
                      <a:pt x="24" y="9"/>
                    </a:cubicBezTo>
                    <a:cubicBezTo>
                      <a:pt x="24" y="9"/>
                      <a:pt x="24" y="9"/>
                      <a:pt x="25" y="10"/>
                    </a:cubicBezTo>
                    <a:cubicBezTo>
                      <a:pt x="25" y="10"/>
                      <a:pt x="24" y="10"/>
                      <a:pt x="24" y="11"/>
                    </a:cubicBezTo>
                    <a:close/>
                    <a:moveTo>
                      <a:pt x="10" y="11"/>
                    </a:moveTo>
                    <a:cubicBezTo>
                      <a:pt x="10" y="11"/>
                      <a:pt x="10" y="11"/>
                      <a:pt x="10" y="11"/>
                    </a:cubicBezTo>
                    <a:cubicBezTo>
                      <a:pt x="10" y="11"/>
                      <a:pt x="10" y="11"/>
                      <a:pt x="10" y="11"/>
                    </a:cubicBezTo>
                    <a:cubicBezTo>
                      <a:pt x="10" y="11"/>
                      <a:pt x="10" y="11"/>
                      <a:pt x="10" y="11"/>
                    </a:cubicBezTo>
                    <a:close/>
                    <a:moveTo>
                      <a:pt x="24" y="9"/>
                    </a:moveTo>
                    <a:cubicBezTo>
                      <a:pt x="24" y="9"/>
                      <a:pt x="24" y="9"/>
                      <a:pt x="24"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8" name="Freeform 773">
                <a:extLst>
                  <a:ext uri="{FF2B5EF4-FFF2-40B4-BE49-F238E27FC236}">
                    <a16:creationId xmlns:a16="http://schemas.microsoft.com/office/drawing/2014/main" id="{EFA63730-57A4-E231-31B4-852A4031B708}"/>
                  </a:ext>
                </a:extLst>
              </p:cNvPr>
              <p:cNvSpPr>
                <a:spLocks noEditPoints="1"/>
              </p:cNvSpPr>
              <p:nvPr/>
            </p:nvSpPr>
            <p:spPr bwMode="auto">
              <a:xfrm>
                <a:off x="2962276" y="4187825"/>
                <a:ext cx="303212" cy="104775"/>
              </a:xfrm>
              <a:custGeom>
                <a:avLst/>
                <a:gdLst>
                  <a:gd name="T0" fmla="*/ 13 w 73"/>
                  <a:gd name="T1" fmla="*/ 13 h 25"/>
                  <a:gd name="T2" fmla="*/ 13 w 73"/>
                  <a:gd name="T3" fmla="*/ 12 h 25"/>
                  <a:gd name="T4" fmla="*/ 15 w 73"/>
                  <a:gd name="T5" fmla="*/ 10 h 25"/>
                  <a:gd name="T6" fmla="*/ 30 w 73"/>
                  <a:gd name="T7" fmla="*/ 1 h 25"/>
                  <a:gd name="T8" fmla="*/ 36 w 73"/>
                  <a:gd name="T9" fmla="*/ 4 h 25"/>
                  <a:gd name="T10" fmla="*/ 44 w 73"/>
                  <a:gd name="T11" fmla="*/ 20 h 25"/>
                  <a:gd name="T12" fmla="*/ 70 w 73"/>
                  <a:gd name="T13" fmla="*/ 24 h 25"/>
                  <a:gd name="T14" fmla="*/ 66 w 73"/>
                  <a:gd name="T15" fmla="*/ 24 h 25"/>
                  <a:gd name="T16" fmla="*/ 64 w 73"/>
                  <a:gd name="T17" fmla="*/ 25 h 25"/>
                  <a:gd name="T18" fmla="*/ 62 w 73"/>
                  <a:gd name="T19" fmla="*/ 24 h 25"/>
                  <a:gd name="T20" fmla="*/ 56 w 73"/>
                  <a:gd name="T21" fmla="*/ 24 h 25"/>
                  <a:gd name="T22" fmla="*/ 52 w 73"/>
                  <a:gd name="T23" fmla="*/ 25 h 25"/>
                  <a:gd name="T24" fmla="*/ 49 w 73"/>
                  <a:gd name="T25" fmla="*/ 25 h 25"/>
                  <a:gd name="T26" fmla="*/ 49 w 73"/>
                  <a:gd name="T27" fmla="*/ 24 h 25"/>
                  <a:gd name="T28" fmla="*/ 51 w 73"/>
                  <a:gd name="T29" fmla="*/ 22 h 25"/>
                  <a:gd name="T30" fmla="*/ 51 w 73"/>
                  <a:gd name="T31" fmla="*/ 19 h 25"/>
                  <a:gd name="T32" fmla="*/ 44 w 73"/>
                  <a:gd name="T33" fmla="*/ 17 h 25"/>
                  <a:gd name="T34" fmla="*/ 42 w 73"/>
                  <a:gd name="T35" fmla="*/ 12 h 25"/>
                  <a:gd name="T36" fmla="*/ 36 w 73"/>
                  <a:gd name="T37" fmla="*/ 12 h 25"/>
                  <a:gd name="T38" fmla="*/ 32 w 73"/>
                  <a:gd name="T39" fmla="*/ 11 h 25"/>
                  <a:gd name="T40" fmla="*/ 30 w 73"/>
                  <a:gd name="T41" fmla="*/ 9 h 25"/>
                  <a:gd name="T42" fmla="*/ 25 w 73"/>
                  <a:gd name="T43" fmla="*/ 8 h 25"/>
                  <a:gd name="T44" fmla="*/ 23 w 73"/>
                  <a:gd name="T45" fmla="*/ 8 h 25"/>
                  <a:gd name="T46" fmla="*/ 19 w 73"/>
                  <a:gd name="T47" fmla="*/ 7 h 25"/>
                  <a:gd name="T48" fmla="*/ 22 w 73"/>
                  <a:gd name="T49" fmla="*/ 6 h 25"/>
                  <a:gd name="T50" fmla="*/ 18 w 73"/>
                  <a:gd name="T51" fmla="*/ 5 h 25"/>
                  <a:gd name="T52" fmla="*/ 13 w 73"/>
                  <a:gd name="T53" fmla="*/ 6 h 25"/>
                  <a:gd name="T54" fmla="*/ 10 w 73"/>
                  <a:gd name="T55" fmla="*/ 8 h 25"/>
                  <a:gd name="T56" fmla="*/ 5 w 73"/>
                  <a:gd name="T57" fmla="*/ 10 h 25"/>
                  <a:gd name="T58" fmla="*/ 3 w 73"/>
                  <a:gd name="T59" fmla="*/ 10 h 25"/>
                  <a:gd name="T60" fmla="*/ 0 w 73"/>
                  <a:gd name="T61" fmla="*/ 10 h 25"/>
                  <a:gd name="T62" fmla="*/ 4 w 73"/>
                  <a:gd name="T63" fmla="*/ 9 h 25"/>
                  <a:gd name="T64" fmla="*/ 5 w 73"/>
                  <a:gd name="T65" fmla="*/ 6 h 25"/>
                  <a:gd name="T66" fmla="*/ 10 w 73"/>
                  <a:gd name="T67" fmla="*/ 3 h 25"/>
                  <a:gd name="T68" fmla="*/ 16 w 73"/>
                  <a:gd name="T69" fmla="*/ 2 h 25"/>
                  <a:gd name="T70" fmla="*/ 23 w 73"/>
                  <a:gd name="T71" fmla="*/ 1 h 25"/>
                  <a:gd name="T72" fmla="*/ 26 w 73"/>
                  <a:gd name="T73" fmla="*/ 2 h 25"/>
                  <a:gd name="T74" fmla="*/ 30 w 73"/>
                  <a:gd name="T75" fmla="*/ 2 h 25"/>
                  <a:gd name="T76" fmla="*/ 31 w 73"/>
                  <a:gd name="T77" fmla="*/ 3 h 25"/>
                  <a:gd name="T78" fmla="*/ 35 w 73"/>
                  <a:gd name="T79" fmla="*/ 4 h 25"/>
                  <a:gd name="T80" fmla="*/ 39 w 73"/>
                  <a:gd name="T81" fmla="*/ 5 h 25"/>
                  <a:gd name="T82" fmla="*/ 41 w 73"/>
                  <a:gd name="T83" fmla="*/ 7 h 25"/>
                  <a:gd name="T84" fmla="*/ 43 w 73"/>
                  <a:gd name="T85" fmla="*/ 7 h 25"/>
                  <a:gd name="T86" fmla="*/ 43 w 73"/>
                  <a:gd name="T87" fmla="*/ 6 h 25"/>
                  <a:gd name="T88" fmla="*/ 44 w 73"/>
                  <a:gd name="T89" fmla="*/ 6 h 25"/>
                  <a:gd name="T90" fmla="*/ 48 w 73"/>
                  <a:gd name="T91" fmla="*/ 9 h 25"/>
                  <a:gd name="T92" fmla="*/ 50 w 73"/>
                  <a:gd name="T93" fmla="*/ 11 h 25"/>
                  <a:gd name="T94" fmla="*/ 48 w 73"/>
                  <a:gd name="T95" fmla="*/ 11 h 25"/>
                  <a:gd name="T96" fmla="*/ 52 w 73"/>
                  <a:gd name="T97" fmla="*/ 13 h 25"/>
                  <a:gd name="T98" fmla="*/ 51 w 73"/>
                  <a:gd name="T99" fmla="*/ 11 h 25"/>
                  <a:gd name="T100" fmla="*/ 54 w 73"/>
                  <a:gd name="T101" fmla="*/ 14 h 25"/>
                  <a:gd name="T102" fmla="*/ 59 w 73"/>
                  <a:gd name="T103" fmla="*/ 16 h 25"/>
                  <a:gd name="T104" fmla="*/ 61 w 73"/>
                  <a:gd name="T105" fmla="*/ 16 h 25"/>
                  <a:gd name="T106" fmla="*/ 63 w 73"/>
                  <a:gd name="T107" fmla="*/ 18 h 25"/>
                  <a:gd name="T108" fmla="*/ 62 w 73"/>
                  <a:gd name="T109" fmla="*/ 18 h 25"/>
                  <a:gd name="T110" fmla="*/ 63 w 73"/>
                  <a:gd name="T111" fmla="*/ 18 h 25"/>
                  <a:gd name="T112" fmla="*/ 68 w 73"/>
                  <a:gd name="T113" fmla="*/ 19 h 25"/>
                  <a:gd name="T114" fmla="*/ 70 w 73"/>
                  <a:gd name="T115" fmla="*/ 21 h 25"/>
                  <a:gd name="T116" fmla="*/ 72 w 73"/>
                  <a:gd name="T117" fmla="*/ 23 h 25"/>
                  <a:gd name="T118" fmla="*/ 60 w 73"/>
                  <a:gd name="T119" fmla="*/ 16 h 25"/>
                  <a:gd name="T120" fmla="*/ 63 w 73"/>
                  <a:gd name="T121" fmla="*/ 18 h 25"/>
                  <a:gd name="T122" fmla="*/ 48 w 73"/>
                  <a:gd name="T123" fmla="*/ 8 h 25"/>
                  <a:gd name="T124" fmla="*/ 20 w 73"/>
                  <a:gd name="T12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25">
                    <a:moveTo>
                      <a:pt x="16" y="12"/>
                    </a:moveTo>
                    <a:cubicBezTo>
                      <a:pt x="16" y="12"/>
                      <a:pt x="16" y="12"/>
                      <a:pt x="16" y="13"/>
                    </a:cubicBezTo>
                    <a:cubicBezTo>
                      <a:pt x="16" y="13"/>
                      <a:pt x="15" y="13"/>
                      <a:pt x="15" y="13"/>
                    </a:cubicBezTo>
                    <a:cubicBezTo>
                      <a:pt x="15" y="13"/>
                      <a:pt x="14" y="13"/>
                      <a:pt x="14" y="13"/>
                    </a:cubicBezTo>
                    <a:cubicBezTo>
                      <a:pt x="14" y="14"/>
                      <a:pt x="13" y="14"/>
                      <a:pt x="13" y="13"/>
                    </a:cubicBezTo>
                    <a:cubicBezTo>
                      <a:pt x="13" y="13"/>
                      <a:pt x="13" y="13"/>
                      <a:pt x="13" y="13"/>
                    </a:cubicBezTo>
                    <a:cubicBezTo>
                      <a:pt x="13" y="13"/>
                      <a:pt x="13" y="13"/>
                      <a:pt x="12" y="13"/>
                    </a:cubicBezTo>
                    <a:cubicBezTo>
                      <a:pt x="12" y="13"/>
                      <a:pt x="12" y="13"/>
                      <a:pt x="12" y="12"/>
                    </a:cubicBezTo>
                    <a:cubicBezTo>
                      <a:pt x="12" y="13"/>
                      <a:pt x="13" y="13"/>
                      <a:pt x="13" y="13"/>
                    </a:cubicBezTo>
                    <a:cubicBezTo>
                      <a:pt x="13" y="13"/>
                      <a:pt x="13" y="12"/>
                      <a:pt x="13" y="12"/>
                    </a:cubicBezTo>
                    <a:cubicBezTo>
                      <a:pt x="13" y="12"/>
                      <a:pt x="13" y="12"/>
                      <a:pt x="13" y="12"/>
                    </a:cubicBezTo>
                    <a:cubicBezTo>
                      <a:pt x="13" y="12"/>
                      <a:pt x="13" y="12"/>
                      <a:pt x="13" y="12"/>
                    </a:cubicBezTo>
                    <a:cubicBezTo>
                      <a:pt x="13" y="12"/>
                      <a:pt x="13" y="12"/>
                      <a:pt x="13" y="12"/>
                    </a:cubicBezTo>
                    <a:cubicBezTo>
                      <a:pt x="12" y="11"/>
                      <a:pt x="13" y="10"/>
                      <a:pt x="13" y="10"/>
                    </a:cubicBezTo>
                    <a:cubicBezTo>
                      <a:pt x="14" y="10"/>
                      <a:pt x="14" y="10"/>
                      <a:pt x="15" y="10"/>
                    </a:cubicBezTo>
                    <a:cubicBezTo>
                      <a:pt x="15" y="10"/>
                      <a:pt x="15" y="10"/>
                      <a:pt x="15" y="11"/>
                    </a:cubicBezTo>
                    <a:cubicBezTo>
                      <a:pt x="15" y="11"/>
                      <a:pt x="15" y="11"/>
                      <a:pt x="15" y="11"/>
                    </a:cubicBezTo>
                    <a:cubicBezTo>
                      <a:pt x="16" y="11"/>
                      <a:pt x="16" y="12"/>
                      <a:pt x="16" y="12"/>
                    </a:cubicBezTo>
                    <a:cubicBezTo>
                      <a:pt x="15" y="12"/>
                      <a:pt x="16" y="12"/>
                      <a:pt x="16" y="12"/>
                    </a:cubicBezTo>
                    <a:close/>
                    <a:moveTo>
                      <a:pt x="30" y="1"/>
                    </a:moveTo>
                    <a:cubicBezTo>
                      <a:pt x="29" y="1"/>
                      <a:pt x="29" y="0"/>
                      <a:pt x="28" y="1"/>
                    </a:cubicBezTo>
                    <a:cubicBezTo>
                      <a:pt x="29" y="1"/>
                      <a:pt x="29" y="1"/>
                      <a:pt x="30" y="1"/>
                    </a:cubicBezTo>
                    <a:close/>
                    <a:moveTo>
                      <a:pt x="37" y="4"/>
                    </a:moveTo>
                    <a:cubicBezTo>
                      <a:pt x="37" y="4"/>
                      <a:pt x="37" y="4"/>
                      <a:pt x="37" y="4"/>
                    </a:cubicBezTo>
                    <a:cubicBezTo>
                      <a:pt x="37" y="4"/>
                      <a:pt x="37" y="4"/>
                      <a:pt x="36" y="4"/>
                    </a:cubicBezTo>
                    <a:cubicBezTo>
                      <a:pt x="36" y="4"/>
                      <a:pt x="36" y="4"/>
                      <a:pt x="36" y="4"/>
                    </a:cubicBezTo>
                    <a:cubicBezTo>
                      <a:pt x="36" y="4"/>
                      <a:pt x="37" y="4"/>
                      <a:pt x="37" y="4"/>
                    </a:cubicBezTo>
                    <a:close/>
                    <a:moveTo>
                      <a:pt x="44" y="19"/>
                    </a:moveTo>
                    <a:cubicBezTo>
                      <a:pt x="44" y="19"/>
                      <a:pt x="44" y="20"/>
                      <a:pt x="44" y="20"/>
                    </a:cubicBezTo>
                    <a:cubicBezTo>
                      <a:pt x="44" y="20"/>
                      <a:pt x="44" y="20"/>
                      <a:pt x="44" y="20"/>
                    </a:cubicBezTo>
                    <a:cubicBezTo>
                      <a:pt x="44" y="20"/>
                      <a:pt x="44" y="20"/>
                      <a:pt x="44" y="20"/>
                    </a:cubicBezTo>
                    <a:cubicBezTo>
                      <a:pt x="44" y="19"/>
                      <a:pt x="44" y="19"/>
                      <a:pt x="44" y="19"/>
                    </a:cubicBezTo>
                    <a:close/>
                    <a:moveTo>
                      <a:pt x="71" y="23"/>
                    </a:moveTo>
                    <a:cubicBezTo>
                      <a:pt x="71" y="23"/>
                      <a:pt x="70" y="23"/>
                      <a:pt x="70" y="23"/>
                    </a:cubicBezTo>
                    <a:cubicBezTo>
                      <a:pt x="70" y="23"/>
                      <a:pt x="70" y="23"/>
                      <a:pt x="70" y="24"/>
                    </a:cubicBezTo>
                    <a:cubicBezTo>
                      <a:pt x="70" y="24"/>
                      <a:pt x="69" y="24"/>
                      <a:pt x="69" y="24"/>
                    </a:cubicBezTo>
                    <a:cubicBezTo>
                      <a:pt x="68" y="24"/>
                      <a:pt x="68" y="24"/>
                      <a:pt x="68" y="24"/>
                    </a:cubicBezTo>
                    <a:cubicBezTo>
                      <a:pt x="67" y="24"/>
                      <a:pt x="67" y="24"/>
                      <a:pt x="67" y="24"/>
                    </a:cubicBezTo>
                    <a:cubicBezTo>
                      <a:pt x="67" y="24"/>
                      <a:pt x="66" y="25"/>
                      <a:pt x="66" y="25"/>
                    </a:cubicBezTo>
                    <a:cubicBezTo>
                      <a:pt x="66" y="25"/>
                      <a:pt x="66" y="24"/>
                      <a:pt x="66" y="24"/>
                    </a:cubicBezTo>
                    <a:cubicBezTo>
                      <a:pt x="66" y="24"/>
                      <a:pt x="66" y="24"/>
                      <a:pt x="66" y="24"/>
                    </a:cubicBezTo>
                    <a:cubicBezTo>
                      <a:pt x="66" y="24"/>
                      <a:pt x="66" y="24"/>
                      <a:pt x="66" y="24"/>
                    </a:cubicBezTo>
                    <a:cubicBezTo>
                      <a:pt x="66" y="24"/>
                      <a:pt x="66" y="24"/>
                      <a:pt x="66" y="24"/>
                    </a:cubicBezTo>
                    <a:cubicBezTo>
                      <a:pt x="66" y="24"/>
                      <a:pt x="65" y="25"/>
                      <a:pt x="65" y="25"/>
                    </a:cubicBezTo>
                    <a:cubicBezTo>
                      <a:pt x="64" y="25"/>
                      <a:pt x="64" y="25"/>
                      <a:pt x="64" y="25"/>
                    </a:cubicBezTo>
                    <a:cubicBezTo>
                      <a:pt x="64" y="25"/>
                      <a:pt x="64" y="25"/>
                      <a:pt x="63" y="25"/>
                    </a:cubicBezTo>
                    <a:cubicBezTo>
                      <a:pt x="63" y="25"/>
                      <a:pt x="63" y="25"/>
                      <a:pt x="63" y="25"/>
                    </a:cubicBezTo>
                    <a:cubicBezTo>
                      <a:pt x="63" y="25"/>
                      <a:pt x="63" y="25"/>
                      <a:pt x="63" y="25"/>
                    </a:cubicBezTo>
                    <a:cubicBezTo>
                      <a:pt x="63" y="25"/>
                      <a:pt x="62" y="25"/>
                      <a:pt x="62" y="24"/>
                    </a:cubicBezTo>
                    <a:cubicBezTo>
                      <a:pt x="62" y="24"/>
                      <a:pt x="62" y="24"/>
                      <a:pt x="62" y="24"/>
                    </a:cubicBezTo>
                    <a:cubicBezTo>
                      <a:pt x="61" y="24"/>
                      <a:pt x="61" y="24"/>
                      <a:pt x="60" y="24"/>
                    </a:cubicBezTo>
                    <a:cubicBezTo>
                      <a:pt x="60" y="24"/>
                      <a:pt x="60" y="24"/>
                      <a:pt x="59" y="24"/>
                    </a:cubicBezTo>
                    <a:cubicBezTo>
                      <a:pt x="58" y="24"/>
                      <a:pt x="58" y="24"/>
                      <a:pt x="57" y="24"/>
                    </a:cubicBezTo>
                    <a:cubicBezTo>
                      <a:pt x="57" y="24"/>
                      <a:pt x="57" y="24"/>
                      <a:pt x="57" y="24"/>
                    </a:cubicBezTo>
                    <a:cubicBezTo>
                      <a:pt x="56" y="24"/>
                      <a:pt x="56" y="24"/>
                      <a:pt x="56" y="24"/>
                    </a:cubicBezTo>
                    <a:cubicBezTo>
                      <a:pt x="56" y="24"/>
                      <a:pt x="56" y="24"/>
                      <a:pt x="56" y="24"/>
                    </a:cubicBezTo>
                    <a:cubicBezTo>
                      <a:pt x="55" y="24"/>
                      <a:pt x="55" y="24"/>
                      <a:pt x="55" y="24"/>
                    </a:cubicBezTo>
                    <a:cubicBezTo>
                      <a:pt x="55" y="24"/>
                      <a:pt x="55" y="24"/>
                      <a:pt x="54" y="24"/>
                    </a:cubicBezTo>
                    <a:cubicBezTo>
                      <a:pt x="54" y="24"/>
                      <a:pt x="54" y="24"/>
                      <a:pt x="54" y="24"/>
                    </a:cubicBezTo>
                    <a:cubicBezTo>
                      <a:pt x="54" y="25"/>
                      <a:pt x="53" y="25"/>
                      <a:pt x="52" y="25"/>
                    </a:cubicBezTo>
                    <a:cubicBezTo>
                      <a:pt x="52" y="25"/>
                      <a:pt x="51" y="25"/>
                      <a:pt x="51" y="25"/>
                    </a:cubicBezTo>
                    <a:cubicBezTo>
                      <a:pt x="51" y="25"/>
                      <a:pt x="51" y="25"/>
                      <a:pt x="51" y="25"/>
                    </a:cubicBezTo>
                    <a:cubicBezTo>
                      <a:pt x="51" y="25"/>
                      <a:pt x="51" y="25"/>
                      <a:pt x="50" y="25"/>
                    </a:cubicBezTo>
                    <a:cubicBezTo>
                      <a:pt x="50" y="25"/>
                      <a:pt x="50" y="25"/>
                      <a:pt x="49" y="25"/>
                    </a:cubicBezTo>
                    <a:cubicBezTo>
                      <a:pt x="49" y="25"/>
                      <a:pt x="49" y="25"/>
                      <a:pt x="49" y="25"/>
                    </a:cubicBezTo>
                    <a:cubicBezTo>
                      <a:pt x="49" y="25"/>
                      <a:pt x="48" y="25"/>
                      <a:pt x="48" y="25"/>
                    </a:cubicBezTo>
                    <a:cubicBezTo>
                      <a:pt x="48" y="25"/>
                      <a:pt x="48" y="24"/>
                      <a:pt x="49" y="24"/>
                    </a:cubicBezTo>
                    <a:cubicBezTo>
                      <a:pt x="49" y="24"/>
                      <a:pt x="49" y="24"/>
                      <a:pt x="49" y="24"/>
                    </a:cubicBezTo>
                    <a:cubicBezTo>
                      <a:pt x="49" y="24"/>
                      <a:pt x="49" y="24"/>
                      <a:pt x="49" y="24"/>
                    </a:cubicBezTo>
                    <a:cubicBezTo>
                      <a:pt x="49" y="24"/>
                      <a:pt x="49" y="24"/>
                      <a:pt x="49" y="24"/>
                    </a:cubicBezTo>
                    <a:cubicBezTo>
                      <a:pt x="50" y="23"/>
                      <a:pt x="50" y="23"/>
                      <a:pt x="50" y="23"/>
                    </a:cubicBezTo>
                    <a:cubicBezTo>
                      <a:pt x="50" y="23"/>
                      <a:pt x="50" y="23"/>
                      <a:pt x="51" y="22"/>
                    </a:cubicBezTo>
                    <a:cubicBezTo>
                      <a:pt x="51" y="22"/>
                      <a:pt x="51" y="22"/>
                      <a:pt x="51" y="22"/>
                    </a:cubicBezTo>
                    <a:cubicBezTo>
                      <a:pt x="51" y="22"/>
                      <a:pt x="51" y="22"/>
                      <a:pt x="51" y="22"/>
                    </a:cubicBezTo>
                    <a:cubicBezTo>
                      <a:pt x="51" y="22"/>
                      <a:pt x="52" y="22"/>
                      <a:pt x="51" y="22"/>
                    </a:cubicBezTo>
                    <a:cubicBezTo>
                      <a:pt x="52" y="22"/>
                      <a:pt x="52" y="22"/>
                      <a:pt x="53" y="21"/>
                    </a:cubicBezTo>
                    <a:cubicBezTo>
                      <a:pt x="53" y="21"/>
                      <a:pt x="53" y="21"/>
                      <a:pt x="53" y="21"/>
                    </a:cubicBezTo>
                    <a:cubicBezTo>
                      <a:pt x="53" y="20"/>
                      <a:pt x="53" y="20"/>
                      <a:pt x="52" y="20"/>
                    </a:cubicBezTo>
                    <a:cubicBezTo>
                      <a:pt x="52" y="20"/>
                      <a:pt x="52" y="20"/>
                      <a:pt x="52" y="20"/>
                    </a:cubicBezTo>
                    <a:cubicBezTo>
                      <a:pt x="52" y="19"/>
                      <a:pt x="51" y="19"/>
                      <a:pt x="51" y="19"/>
                    </a:cubicBezTo>
                    <a:cubicBezTo>
                      <a:pt x="50" y="19"/>
                      <a:pt x="50" y="19"/>
                      <a:pt x="50" y="19"/>
                    </a:cubicBezTo>
                    <a:cubicBezTo>
                      <a:pt x="49" y="19"/>
                      <a:pt x="49" y="19"/>
                      <a:pt x="49" y="19"/>
                    </a:cubicBezTo>
                    <a:cubicBezTo>
                      <a:pt x="48" y="19"/>
                      <a:pt x="47" y="19"/>
                      <a:pt x="47" y="19"/>
                    </a:cubicBezTo>
                    <a:cubicBezTo>
                      <a:pt x="46" y="19"/>
                      <a:pt x="46" y="19"/>
                      <a:pt x="46" y="19"/>
                    </a:cubicBezTo>
                    <a:cubicBezTo>
                      <a:pt x="46" y="18"/>
                      <a:pt x="45" y="18"/>
                      <a:pt x="44" y="17"/>
                    </a:cubicBezTo>
                    <a:cubicBezTo>
                      <a:pt x="44" y="17"/>
                      <a:pt x="44" y="17"/>
                      <a:pt x="44" y="17"/>
                    </a:cubicBezTo>
                    <a:cubicBezTo>
                      <a:pt x="43" y="17"/>
                      <a:pt x="43" y="16"/>
                      <a:pt x="43" y="16"/>
                    </a:cubicBezTo>
                    <a:cubicBezTo>
                      <a:pt x="43" y="15"/>
                      <a:pt x="43" y="15"/>
                      <a:pt x="43" y="14"/>
                    </a:cubicBezTo>
                    <a:cubicBezTo>
                      <a:pt x="43" y="13"/>
                      <a:pt x="42" y="13"/>
                      <a:pt x="42" y="13"/>
                    </a:cubicBezTo>
                    <a:cubicBezTo>
                      <a:pt x="41" y="12"/>
                      <a:pt x="42" y="13"/>
                      <a:pt x="42" y="12"/>
                    </a:cubicBezTo>
                    <a:cubicBezTo>
                      <a:pt x="42" y="12"/>
                      <a:pt x="41" y="12"/>
                      <a:pt x="41" y="12"/>
                    </a:cubicBezTo>
                    <a:cubicBezTo>
                      <a:pt x="41" y="13"/>
                      <a:pt x="40" y="12"/>
                      <a:pt x="40" y="13"/>
                    </a:cubicBezTo>
                    <a:cubicBezTo>
                      <a:pt x="39" y="13"/>
                      <a:pt x="39" y="13"/>
                      <a:pt x="38" y="13"/>
                    </a:cubicBezTo>
                    <a:cubicBezTo>
                      <a:pt x="38" y="13"/>
                      <a:pt x="37" y="13"/>
                      <a:pt x="37" y="12"/>
                    </a:cubicBezTo>
                    <a:cubicBezTo>
                      <a:pt x="37" y="12"/>
                      <a:pt x="36" y="12"/>
                      <a:pt x="36" y="12"/>
                    </a:cubicBezTo>
                    <a:cubicBezTo>
                      <a:pt x="36" y="12"/>
                      <a:pt x="36" y="12"/>
                      <a:pt x="36" y="12"/>
                    </a:cubicBezTo>
                    <a:cubicBezTo>
                      <a:pt x="35" y="12"/>
                      <a:pt x="35" y="12"/>
                      <a:pt x="34" y="12"/>
                    </a:cubicBezTo>
                    <a:cubicBezTo>
                      <a:pt x="34" y="12"/>
                      <a:pt x="33" y="11"/>
                      <a:pt x="33" y="11"/>
                    </a:cubicBezTo>
                    <a:cubicBezTo>
                      <a:pt x="33" y="11"/>
                      <a:pt x="33" y="11"/>
                      <a:pt x="33" y="11"/>
                    </a:cubicBezTo>
                    <a:cubicBezTo>
                      <a:pt x="33" y="11"/>
                      <a:pt x="33" y="11"/>
                      <a:pt x="32" y="11"/>
                    </a:cubicBezTo>
                    <a:cubicBezTo>
                      <a:pt x="32" y="11"/>
                      <a:pt x="32" y="11"/>
                      <a:pt x="32" y="11"/>
                    </a:cubicBezTo>
                    <a:cubicBezTo>
                      <a:pt x="32" y="10"/>
                      <a:pt x="31" y="10"/>
                      <a:pt x="31" y="10"/>
                    </a:cubicBezTo>
                    <a:cubicBezTo>
                      <a:pt x="31" y="10"/>
                      <a:pt x="31" y="10"/>
                      <a:pt x="31" y="10"/>
                    </a:cubicBezTo>
                    <a:cubicBezTo>
                      <a:pt x="31" y="10"/>
                      <a:pt x="31" y="10"/>
                      <a:pt x="30" y="9"/>
                    </a:cubicBezTo>
                    <a:cubicBezTo>
                      <a:pt x="30" y="9"/>
                      <a:pt x="30" y="9"/>
                      <a:pt x="30" y="9"/>
                    </a:cubicBezTo>
                    <a:cubicBezTo>
                      <a:pt x="29" y="9"/>
                      <a:pt x="28" y="9"/>
                      <a:pt x="27" y="9"/>
                    </a:cubicBezTo>
                    <a:cubicBezTo>
                      <a:pt x="26" y="9"/>
                      <a:pt x="26" y="9"/>
                      <a:pt x="26" y="9"/>
                    </a:cubicBezTo>
                    <a:cubicBezTo>
                      <a:pt x="26" y="9"/>
                      <a:pt x="26" y="9"/>
                      <a:pt x="26" y="9"/>
                    </a:cubicBezTo>
                    <a:cubicBezTo>
                      <a:pt x="25" y="9"/>
                      <a:pt x="25" y="8"/>
                      <a:pt x="25" y="8"/>
                    </a:cubicBezTo>
                    <a:cubicBezTo>
                      <a:pt x="25" y="8"/>
                      <a:pt x="25" y="8"/>
                      <a:pt x="25" y="8"/>
                    </a:cubicBezTo>
                    <a:cubicBezTo>
                      <a:pt x="25" y="8"/>
                      <a:pt x="25" y="8"/>
                      <a:pt x="25" y="8"/>
                    </a:cubicBezTo>
                    <a:cubicBezTo>
                      <a:pt x="25" y="8"/>
                      <a:pt x="25" y="8"/>
                      <a:pt x="25" y="9"/>
                    </a:cubicBezTo>
                    <a:cubicBezTo>
                      <a:pt x="25" y="9"/>
                      <a:pt x="24" y="9"/>
                      <a:pt x="24" y="9"/>
                    </a:cubicBezTo>
                    <a:cubicBezTo>
                      <a:pt x="24" y="9"/>
                      <a:pt x="24" y="9"/>
                      <a:pt x="24" y="9"/>
                    </a:cubicBezTo>
                    <a:cubicBezTo>
                      <a:pt x="24" y="8"/>
                      <a:pt x="23" y="8"/>
                      <a:pt x="23" y="8"/>
                    </a:cubicBezTo>
                    <a:cubicBezTo>
                      <a:pt x="22" y="8"/>
                      <a:pt x="22" y="8"/>
                      <a:pt x="22" y="8"/>
                    </a:cubicBezTo>
                    <a:cubicBezTo>
                      <a:pt x="22" y="8"/>
                      <a:pt x="21" y="8"/>
                      <a:pt x="21" y="8"/>
                    </a:cubicBezTo>
                    <a:cubicBezTo>
                      <a:pt x="21" y="8"/>
                      <a:pt x="21" y="8"/>
                      <a:pt x="20" y="8"/>
                    </a:cubicBezTo>
                    <a:cubicBezTo>
                      <a:pt x="20" y="7"/>
                      <a:pt x="20" y="8"/>
                      <a:pt x="20" y="7"/>
                    </a:cubicBezTo>
                    <a:cubicBezTo>
                      <a:pt x="20" y="7"/>
                      <a:pt x="19" y="7"/>
                      <a:pt x="19" y="7"/>
                    </a:cubicBezTo>
                    <a:cubicBezTo>
                      <a:pt x="19" y="7"/>
                      <a:pt x="19" y="7"/>
                      <a:pt x="19" y="7"/>
                    </a:cubicBezTo>
                    <a:cubicBezTo>
                      <a:pt x="19" y="7"/>
                      <a:pt x="19" y="6"/>
                      <a:pt x="19" y="6"/>
                    </a:cubicBezTo>
                    <a:cubicBezTo>
                      <a:pt x="19" y="6"/>
                      <a:pt x="19" y="6"/>
                      <a:pt x="20" y="6"/>
                    </a:cubicBezTo>
                    <a:cubicBezTo>
                      <a:pt x="20" y="7"/>
                      <a:pt x="21" y="6"/>
                      <a:pt x="22" y="6"/>
                    </a:cubicBezTo>
                    <a:cubicBezTo>
                      <a:pt x="22" y="6"/>
                      <a:pt x="22" y="6"/>
                      <a:pt x="22" y="6"/>
                    </a:cubicBezTo>
                    <a:cubicBezTo>
                      <a:pt x="22" y="6"/>
                      <a:pt x="22" y="5"/>
                      <a:pt x="22" y="5"/>
                    </a:cubicBezTo>
                    <a:cubicBezTo>
                      <a:pt x="22" y="5"/>
                      <a:pt x="21" y="5"/>
                      <a:pt x="21" y="5"/>
                    </a:cubicBezTo>
                    <a:cubicBezTo>
                      <a:pt x="20" y="5"/>
                      <a:pt x="20" y="5"/>
                      <a:pt x="19" y="5"/>
                    </a:cubicBezTo>
                    <a:cubicBezTo>
                      <a:pt x="19" y="5"/>
                      <a:pt x="18" y="4"/>
                      <a:pt x="18" y="5"/>
                    </a:cubicBezTo>
                    <a:cubicBezTo>
                      <a:pt x="18" y="5"/>
                      <a:pt x="18" y="5"/>
                      <a:pt x="18" y="5"/>
                    </a:cubicBezTo>
                    <a:cubicBezTo>
                      <a:pt x="18" y="5"/>
                      <a:pt x="18" y="5"/>
                      <a:pt x="18" y="5"/>
                    </a:cubicBezTo>
                    <a:cubicBezTo>
                      <a:pt x="17" y="5"/>
                      <a:pt x="16" y="5"/>
                      <a:pt x="15" y="5"/>
                    </a:cubicBezTo>
                    <a:cubicBezTo>
                      <a:pt x="15" y="5"/>
                      <a:pt x="15" y="5"/>
                      <a:pt x="15" y="4"/>
                    </a:cubicBezTo>
                    <a:cubicBezTo>
                      <a:pt x="15" y="4"/>
                      <a:pt x="14" y="4"/>
                      <a:pt x="14" y="5"/>
                    </a:cubicBezTo>
                    <a:cubicBezTo>
                      <a:pt x="14" y="5"/>
                      <a:pt x="14" y="5"/>
                      <a:pt x="13" y="6"/>
                    </a:cubicBezTo>
                    <a:cubicBezTo>
                      <a:pt x="13" y="6"/>
                      <a:pt x="12" y="6"/>
                      <a:pt x="12" y="7"/>
                    </a:cubicBezTo>
                    <a:cubicBezTo>
                      <a:pt x="12" y="7"/>
                      <a:pt x="12" y="7"/>
                      <a:pt x="12" y="7"/>
                    </a:cubicBezTo>
                    <a:cubicBezTo>
                      <a:pt x="12" y="7"/>
                      <a:pt x="11" y="7"/>
                      <a:pt x="11" y="7"/>
                    </a:cubicBezTo>
                    <a:cubicBezTo>
                      <a:pt x="11" y="8"/>
                      <a:pt x="10" y="8"/>
                      <a:pt x="10" y="8"/>
                    </a:cubicBezTo>
                    <a:cubicBezTo>
                      <a:pt x="10" y="8"/>
                      <a:pt x="10" y="8"/>
                      <a:pt x="10" y="8"/>
                    </a:cubicBezTo>
                    <a:cubicBezTo>
                      <a:pt x="9" y="8"/>
                      <a:pt x="8" y="8"/>
                      <a:pt x="7" y="8"/>
                    </a:cubicBezTo>
                    <a:cubicBezTo>
                      <a:pt x="7" y="8"/>
                      <a:pt x="6" y="9"/>
                      <a:pt x="6" y="9"/>
                    </a:cubicBezTo>
                    <a:cubicBezTo>
                      <a:pt x="6" y="9"/>
                      <a:pt x="6" y="10"/>
                      <a:pt x="6" y="10"/>
                    </a:cubicBezTo>
                    <a:cubicBezTo>
                      <a:pt x="6" y="10"/>
                      <a:pt x="6" y="10"/>
                      <a:pt x="6" y="10"/>
                    </a:cubicBezTo>
                    <a:cubicBezTo>
                      <a:pt x="6" y="10"/>
                      <a:pt x="5" y="10"/>
                      <a:pt x="5" y="10"/>
                    </a:cubicBezTo>
                    <a:cubicBezTo>
                      <a:pt x="5" y="10"/>
                      <a:pt x="4" y="10"/>
                      <a:pt x="4" y="10"/>
                    </a:cubicBezTo>
                    <a:cubicBezTo>
                      <a:pt x="4" y="10"/>
                      <a:pt x="4" y="11"/>
                      <a:pt x="4" y="11"/>
                    </a:cubicBezTo>
                    <a:cubicBezTo>
                      <a:pt x="4" y="11"/>
                      <a:pt x="3" y="11"/>
                      <a:pt x="3" y="11"/>
                    </a:cubicBezTo>
                    <a:cubicBezTo>
                      <a:pt x="3" y="11"/>
                      <a:pt x="3" y="10"/>
                      <a:pt x="3" y="10"/>
                    </a:cubicBezTo>
                    <a:cubicBezTo>
                      <a:pt x="3" y="10"/>
                      <a:pt x="3" y="10"/>
                      <a:pt x="3" y="10"/>
                    </a:cubicBezTo>
                    <a:cubicBezTo>
                      <a:pt x="2" y="10"/>
                      <a:pt x="2" y="10"/>
                      <a:pt x="2" y="10"/>
                    </a:cubicBezTo>
                    <a:cubicBezTo>
                      <a:pt x="2" y="10"/>
                      <a:pt x="2" y="10"/>
                      <a:pt x="2" y="10"/>
                    </a:cubicBezTo>
                    <a:cubicBezTo>
                      <a:pt x="2" y="10"/>
                      <a:pt x="1" y="10"/>
                      <a:pt x="1" y="11"/>
                    </a:cubicBezTo>
                    <a:cubicBezTo>
                      <a:pt x="1" y="11"/>
                      <a:pt x="1" y="11"/>
                      <a:pt x="1" y="11"/>
                    </a:cubicBezTo>
                    <a:cubicBezTo>
                      <a:pt x="0" y="11"/>
                      <a:pt x="0" y="11"/>
                      <a:pt x="0" y="10"/>
                    </a:cubicBezTo>
                    <a:cubicBezTo>
                      <a:pt x="0" y="10"/>
                      <a:pt x="0" y="10"/>
                      <a:pt x="0" y="10"/>
                    </a:cubicBezTo>
                    <a:cubicBezTo>
                      <a:pt x="1" y="10"/>
                      <a:pt x="1" y="10"/>
                      <a:pt x="2" y="10"/>
                    </a:cubicBezTo>
                    <a:cubicBezTo>
                      <a:pt x="2" y="10"/>
                      <a:pt x="3" y="9"/>
                      <a:pt x="3" y="9"/>
                    </a:cubicBezTo>
                    <a:cubicBezTo>
                      <a:pt x="3" y="9"/>
                      <a:pt x="3" y="9"/>
                      <a:pt x="4" y="9"/>
                    </a:cubicBezTo>
                    <a:cubicBezTo>
                      <a:pt x="4" y="9"/>
                      <a:pt x="4" y="9"/>
                      <a:pt x="4" y="9"/>
                    </a:cubicBezTo>
                    <a:cubicBezTo>
                      <a:pt x="4" y="9"/>
                      <a:pt x="4" y="9"/>
                      <a:pt x="4" y="9"/>
                    </a:cubicBezTo>
                    <a:cubicBezTo>
                      <a:pt x="4" y="9"/>
                      <a:pt x="4" y="9"/>
                      <a:pt x="4" y="9"/>
                    </a:cubicBezTo>
                    <a:cubicBezTo>
                      <a:pt x="3" y="8"/>
                      <a:pt x="3" y="8"/>
                      <a:pt x="4" y="7"/>
                    </a:cubicBezTo>
                    <a:cubicBezTo>
                      <a:pt x="4" y="7"/>
                      <a:pt x="4" y="7"/>
                      <a:pt x="4" y="7"/>
                    </a:cubicBezTo>
                    <a:cubicBezTo>
                      <a:pt x="4" y="6"/>
                      <a:pt x="5" y="6"/>
                      <a:pt x="5" y="6"/>
                    </a:cubicBezTo>
                    <a:cubicBezTo>
                      <a:pt x="5" y="5"/>
                      <a:pt x="5" y="5"/>
                      <a:pt x="6" y="5"/>
                    </a:cubicBezTo>
                    <a:cubicBezTo>
                      <a:pt x="6" y="5"/>
                      <a:pt x="6" y="5"/>
                      <a:pt x="7" y="4"/>
                    </a:cubicBezTo>
                    <a:cubicBezTo>
                      <a:pt x="7" y="4"/>
                      <a:pt x="8" y="4"/>
                      <a:pt x="9" y="4"/>
                    </a:cubicBezTo>
                    <a:cubicBezTo>
                      <a:pt x="9" y="4"/>
                      <a:pt x="9" y="3"/>
                      <a:pt x="9" y="3"/>
                    </a:cubicBezTo>
                    <a:cubicBezTo>
                      <a:pt x="10" y="3"/>
                      <a:pt x="10" y="3"/>
                      <a:pt x="10" y="3"/>
                    </a:cubicBezTo>
                    <a:cubicBezTo>
                      <a:pt x="11" y="3"/>
                      <a:pt x="11" y="2"/>
                      <a:pt x="12" y="2"/>
                    </a:cubicBezTo>
                    <a:cubicBezTo>
                      <a:pt x="12" y="2"/>
                      <a:pt x="13" y="2"/>
                      <a:pt x="13" y="2"/>
                    </a:cubicBezTo>
                    <a:cubicBezTo>
                      <a:pt x="14" y="2"/>
                      <a:pt x="14" y="2"/>
                      <a:pt x="14" y="2"/>
                    </a:cubicBezTo>
                    <a:cubicBezTo>
                      <a:pt x="15" y="2"/>
                      <a:pt x="15" y="2"/>
                      <a:pt x="16" y="2"/>
                    </a:cubicBezTo>
                    <a:cubicBezTo>
                      <a:pt x="16" y="2"/>
                      <a:pt x="16" y="2"/>
                      <a:pt x="16" y="2"/>
                    </a:cubicBezTo>
                    <a:cubicBezTo>
                      <a:pt x="16" y="1"/>
                      <a:pt x="17" y="1"/>
                      <a:pt x="17" y="1"/>
                    </a:cubicBezTo>
                    <a:cubicBezTo>
                      <a:pt x="18" y="1"/>
                      <a:pt x="19" y="1"/>
                      <a:pt x="19" y="1"/>
                    </a:cubicBezTo>
                    <a:cubicBezTo>
                      <a:pt x="20" y="1"/>
                      <a:pt x="20" y="1"/>
                      <a:pt x="20" y="1"/>
                    </a:cubicBezTo>
                    <a:cubicBezTo>
                      <a:pt x="21" y="1"/>
                      <a:pt x="21" y="1"/>
                      <a:pt x="22" y="1"/>
                    </a:cubicBezTo>
                    <a:cubicBezTo>
                      <a:pt x="22" y="1"/>
                      <a:pt x="22" y="1"/>
                      <a:pt x="23" y="1"/>
                    </a:cubicBezTo>
                    <a:cubicBezTo>
                      <a:pt x="23" y="1"/>
                      <a:pt x="23" y="2"/>
                      <a:pt x="23" y="2"/>
                    </a:cubicBezTo>
                    <a:cubicBezTo>
                      <a:pt x="23" y="1"/>
                      <a:pt x="24" y="1"/>
                      <a:pt x="24" y="1"/>
                    </a:cubicBezTo>
                    <a:cubicBezTo>
                      <a:pt x="24" y="1"/>
                      <a:pt x="24" y="1"/>
                      <a:pt x="24" y="1"/>
                    </a:cubicBezTo>
                    <a:cubicBezTo>
                      <a:pt x="25" y="2"/>
                      <a:pt x="25" y="2"/>
                      <a:pt x="25" y="2"/>
                    </a:cubicBezTo>
                    <a:cubicBezTo>
                      <a:pt x="25" y="2"/>
                      <a:pt x="26" y="2"/>
                      <a:pt x="26" y="2"/>
                    </a:cubicBezTo>
                    <a:cubicBezTo>
                      <a:pt x="26" y="2"/>
                      <a:pt x="26" y="2"/>
                      <a:pt x="26" y="2"/>
                    </a:cubicBezTo>
                    <a:cubicBezTo>
                      <a:pt x="27" y="2"/>
                      <a:pt x="27" y="2"/>
                      <a:pt x="28" y="2"/>
                    </a:cubicBezTo>
                    <a:cubicBezTo>
                      <a:pt x="28" y="2"/>
                      <a:pt x="28" y="2"/>
                      <a:pt x="29" y="1"/>
                    </a:cubicBezTo>
                    <a:cubicBezTo>
                      <a:pt x="29" y="1"/>
                      <a:pt x="29" y="1"/>
                      <a:pt x="29" y="2"/>
                    </a:cubicBezTo>
                    <a:cubicBezTo>
                      <a:pt x="29" y="2"/>
                      <a:pt x="29" y="2"/>
                      <a:pt x="30" y="2"/>
                    </a:cubicBezTo>
                    <a:cubicBezTo>
                      <a:pt x="30" y="2"/>
                      <a:pt x="30" y="2"/>
                      <a:pt x="30" y="2"/>
                    </a:cubicBezTo>
                    <a:cubicBezTo>
                      <a:pt x="30" y="2"/>
                      <a:pt x="30" y="3"/>
                      <a:pt x="30" y="3"/>
                    </a:cubicBezTo>
                    <a:cubicBezTo>
                      <a:pt x="30" y="3"/>
                      <a:pt x="31" y="3"/>
                      <a:pt x="31" y="2"/>
                    </a:cubicBezTo>
                    <a:cubicBezTo>
                      <a:pt x="31" y="2"/>
                      <a:pt x="31" y="2"/>
                      <a:pt x="31" y="2"/>
                    </a:cubicBezTo>
                    <a:cubicBezTo>
                      <a:pt x="31" y="3"/>
                      <a:pt x="31" y="3"/>
                      <a:pt x="31" y="3"/>
                    </a:cubicBezTo>
                    <a:cubicBezTo>
                      <a:pt x="32" y="3"/>
                      <a:pt x="32" y="3"/>
                      <a:pt x="33" y="3"/>
                    </a:cubicBezTo>
                    <a:cubicBezTo>
                      <a:pt x="33" y="3"/>
                      <a:pt x="33" y="3"/>
                      <a:pt x="33" y="3"/>
                    </a:cubicBezTo>
                    <a:cubicBezTo>
                      <a:pt x="33" y="3"/>
                      <a:pt x="34" y="3"/>
                      <a:pt x="34" y="3"/>
                    </a:cubicBezTo>
                    <a:cubicBezTo>
                      <a:pt x="34" y="3"/>
                      <a:pt x="34" y="3"/>
                      <a:pt x="34" y="3"/>
                    </a:cubicBezTo>
                    <a:cubicBezTo>
                      <a:pt x="34" y="4"/>
                      <a:pt x="35" y="4"/>
                      <a:pt x="35" y="4"/>
                    </a:cubicBezTo>
                    <a:cubicBezTo>
                      <a:pt x="35" y="4"/>
                      <a:pt x="35" y="4"/>
                      <a:pt x="36" y="4"/>
                    </a:cubicBezTo>
                    <a:cubicBezTo>
                      <a:pt x="36" y="5"/>
                      <a:pt x="36" y="5"/>
                      <a:pt x="36" y="6"/>
                    </a:cubicBezTo>
                    <a:cubicBezTo>
                      <a:pt x="37" y="6"/>
                      <a:pt x="37" y="6"/>
                      <a:pt x="37" y="6"/>
                    </a:cubicBezTo>
                    <a:cubicBezTo>
                      <a:pt x="37" y="6"/>
                      <a:pt x="38" y="5"/>
                      <a:pt x="38" y="5"/>
                    </a:cubicBezTo>
                    <a:cubicBezTo>
                      <a:pt x="38" y="5"/>
                      <a:pt x="38" y="5"/>
                      <a:pt x="39" y="5"/>
                    </a:cubicBezTo>
                    <a:cubicBezTo>
                      <a:pt x="38" y="5"/>
                      <a:pt x="38" y="6"/>
                      <a:pt x="38" y="6"/>
                    </a:cubicBezTo>
                    <a:cubicBezTo>
                      <a:pt x="37" y="5"/>
                      <a:pt x="37" y="6"/>
                      <a:pt x="37" y="6"/>
                    </a:cubicBezTo>
                    <a:cubicBezTo>
                      <a:pt x="37" y="6"/>
                      <a:pt x="37" y="6"/>
                      <a:pt x="37" y="6"/>
                    </a:cubicBezTo>
                    <a:cubicBezTo>
                      <a:pt x="37" y="6"/>
                      <a:pt x="38" y="7"/>
                      <a:pt x="38" y="7"/>
                    </a:cubicBezTo>
                    <a:cubicBezTo>
                      <a:pt x="39" y="7"/>
                      <a:pt x="40" y="7"/>
                      <a:pt x="41" y="7"/>
                    </a:cubicBezTo>
                    <a:cubicBezTo>
                      <a:pt x="41" y="7"/>
                      <a:pt x="41" y="7"/>
                      <a:pt x="41" y="7"/>
                    </a:cubicBezTo>
                    <a:cubicBezTo>
                      <a:pt x="42" y="7"/>
                      <a:pt x="42" y="7"/>
                      <a:pt x="42" y="7"/>
                    </a:cubicBezTo>
                    <a:cubicBezTo>
                      <a:pt x="42" y="7"/>
                      <a:pt x="42" y="7"/>
                      <a:pt x="42" y="7"/>
                    </a:cubicBezTo>
                    <a:cubicBezTo>
                      <a:pt x="42" y="7"/>
                      <a:pt x="43" y="7"/>
                      <a:pt x="43" y="7"/>
                    </a:cubicBezTo>
                    <a:cubicBezTo>
                      <a:pt x="43" y="7"/>
                      <a:pt x="43" y="7"/>
                      <a:pt x="43" y="7"/>
                    </a:cubicBezTo>
                    <a:cubicBezTo>
                      <a:pt x="43" y="7"/>
                      <a:pt x="43" y="7"/>
                      <a:pt x="43" y="7"/>
                    </a:cubicBezTo>
                    <a:cubicBezTo>
                      <a:pt x="43" y="7"/>
                      <a:pt x="43" y="7"/>
                      <a:pt x="43" y="7"/>
                    </a:cubicBezTo>
                    <a:cubicBezTo>
                      <a:pt x="43" y="7"/>
                      <a:pt x="43" y="7"/>
                      <a:pt x="43" y="7"/>
                    </a:cubicBezTo>
                    <a:cubicBezTo>
                      <a:pt x="43" y="7"/>
                      <a:pt x="44" y="6"/>
                      <a:pt x="44" y="6"/>
                    </a:cubicBezTo>
                    <a:cubicBezTo>
                      <a:pt x="44" y="6"/>
                      <a:pt x="43" y="6"/>
                      <a:pt x="43" y="6"/>
                    </a:cubicBezTo>
                    <a:cubicBezTo>
                      <a:pt x="43" y="7"/>
                      <a:pt x="43" y="7"/>
                      <a:pt x="43" y="6"/>
                    </a:cubicBezTo>
                    <a:cubicBezTo>
                      <a:pt x="42" y="6"/>
                      <a:pt x="42" y="6"/>
                      <a:pt x="42" y="6"/>
                    </a:cubicBezTo>
                    <a:cubicBezTo>
                      <a:pt x="42" y="6"/>
                      <a:pt x="42" y="5"/>
                      <a:pt x="42" y="6"/>
                    </a:cubicBezTo>
                    <a:cubicBezTo>
                      <a:pt x="43" y="6"/>
                      <a:pt x="43" y="6"/>
                      <a:pt x="43" y="6"/>
                    </a:cubicBezTo>
                    <a:cubicBezTo>
                      <a:pt x="44" y="6"/>
                      <a:pt x="44" y="6"/>
                      <a:pt x="44" y="6"/>
                    </a:cubicBezTo>
                    <a:cubicBezTo>
                      <a:pt x="45" y="6"/>
                      <a:pt x="45" y="6"/>
                      <a:pt x="45" y="6"/>
                    </a:cubicBezTo>
                    <a:cubicBezTo>
                      <a:pt x="45" y="6"/>
                      <a:pt x="45" y="6"/>
                      <a:pt x="45" y="6"/>
                    </a:cubicBezTo>
                    <a:cubicBezTo>
                      <a:pt x="46" y="6"/>
                      <a:pt x="46" y="7"/>
                      <a:pt x="46" y="7"/>
                    </a:cubicBezTo>
                    <a:cubicBezTo>
                      <a:pt x="46" y="7"/>
                      <a:pt x="46" y="7"/>
                      <a:pt x="47" y="7"/>
                    </a:cubicBezTo>
                    <a:cubicBezTo>
                      <a:pt x="47" y="8"/>
                      <a:pt x="48" y="8"/>
                      <a:pt x="48" y="9"/>
                    </a:cubicBezTo>
                    <a:cubicBezTo>
                      <a:pt x="48" y="9"/>
                      <a:pt x="48" y="9"/>
                      <a:pt x="49" y="9"/>
                    </a:cubicBezTo>
                    <a:cubicBezTo>
                      <a:pt x="49" y="9"/>
                      <a:pt x="49" y="9"/>
                      <a:pt x="49" y="9"/>
                    </a:cubicBezTo>
                    <a:cubicBezTo>
                      <a:pt x="49" y="10"/>
                      <a:pt x="50" y="10"/>
                      <a:pt x="50" y="11"/>
                    </a:cubicBezTo>
                    <a:cubicBezTo>
                      <a:pt x="50" y="11"/>
                      <a:pt x="50" y="11"/>
                      <a:pt x="50" y="11"/>
                    </a:cubicBezTo>
                    <a:cubicBezTo>
                      <a:pt x="50" y="11"/>
                      <a:pt x="50" y="11"/>
                      <a:pt x="50" y="11"/>
                    </a:cubicBezTo>
                    <a:cubicBezTo>
                      <a:pt x="49" y="10"/>
                      <a:pt x="49" y="10"/>
                      <a:pt x="48" y="10"/>
                    </a:cubicBezTo>
                    <a:cubicBezTo>
                      <a:pt x="48" y="10"/>
                      <a:pt x="48" y="10"/>
                      <a:pt x="48" y="10"/>
                    </a:cubicBezTo>
                    <a:cubicBezTo>
                      <a:pt x="48" y="10"/>
                      <a:pt x="47" y="9"/>
                      <a:pt x="47" y="9"/>
                    </a:cubicBezTo>
                    <a:cubicBezTo>
                      <a:pt x="47" y="10"/>
                      <a:pt x="47" y="10"/>
                      <a:pt x="47" y="10"/>
                    </a:cubicBezTo>
                    <a:cubicBezTo>
                      <a:pt x="48" y="10"/>
                      <a:pt x="48" y="10"/>
                      <a:pt x="48" y="11"/>
                    </a:cubicBezTo>
                    <a:cubicBezTo>
                      <a:pt x="48" y="11"/>
                      <a:pt x="48" y="11"/>
                      <a:pt x="49" y="11"/>
                    </a:cubicBezTo>
                    <a:cubicBezTo>
                      <a:pt x="49" y="11"/>
                      <a:pt x="49" y="11"/>
                      <a:pt x="50" y="11"/>
                    </a:cubicBezTo>
                    <a:cubicBezTo>
                      <a:pt x="50" y="12"/>
                      <a:pt x="50" y="12"/>
                      <a:pt x="51" y="12"/>
                    </a:cubicBezTo>
                    <a:cubicBezTo>
                      <a:pt x="51" y="12"/>
                      <a:pt x="51" y="12"/>
                      <a:pt x="51" y="13"/>
                    </a:cubicBezTo>
                    <a:cubicBezTo>
                      <a:pt x="51" y="13"/>
                      <a:pt x="52" y="13"/>
                      <a:pt x="52" y="13"/>
                    </a:cubicBezTo>
                    <a:cubicBezTo>
                      <a:pt x="52" y="13"/>
                      <a:pt x="52" y="13"/>
                      <a:pt x="52" y="14"/>
                    </a:cubicBezTo>
                    <a:cubicBezTo>
                      <a:pt x="52" y="14"/>
                      <a:pt x="52" y="14"/>
                      <a:pt x="52" y="14"/>
                    </a:cubicBezTo>
                    <a:cubicBezTo>
                      <a:pt x="52" y="14"/>
                      <a:pt x="52" y="13"/>
                      <a:pt x="53" y="13"/>
                    </a:cubicBezTo>
                    <a:cubicBezTo>
                      <a:pt x="52" y="13"/>
                      <a:pt x="52" y="13"/>
                      <a:pt x="51" y="12"/>
                    </a:cubicBezTo>
                    <a:cubicBezTo>
                      <a:pt x="51" y="12"/>
                      <a:pt x="51" y="12"/>
                      <a:pt x="51" y="11"/>
                    </a:cubicBezTo>
                    <a:cubicBezTo>
                      <a:pt x="52" y="12"/>
                      <a:pt x="52" y="12"/>
                      <a:pt x="53" y="13"/>
                    </a:cubicBezTo>
                    <a:cubicBezTo>
                      <a:pt x="53" y="12"/>
                      <a:pt x="53" y="13"/>
                      <a:pt x="53" y="13"/>
                    </a:cubicBezTo>
                    <a:cubicBezTo>
                      <a:pt x="53" y="13"/>
                      <a:pt x="53" y="13"/>
                      <a:pt x="53" y="13"/>
                    </a:cubicBezTo>
                    <a:cubicBezTo>
                      <a:pt x="53" y="13"/>
                      <a:pt x="53" y="13"/>
                      <a:pt x="53" y="13"/>
                    </a:cubicBezTo>
                    <a:cubicBezTo>
                      <a:pt x="54" y="13"/>
                      <a:pt x="54" y="14"/>
                      <a:pt x="54" y="14"/>
                    </a:cubicBezTo>
                    <a:cubicBezTo>
                      <a:pt x="55" y="14"/>
                      <a:pt x="55" y="14"/>
                      <a:pt x="55" y="14"/>
                    </a:cubicBezTo>
                    <a:cubicBezTo>
                      <a:pt x="55" y="14"/>
                      <a:pt x="55" y="14"/>
                      <a:pt x="55" y="14"/>
                    </a:cubicBezTo>
                    <a:cubicBezTo>
                      <a:pt x="56" y="14"/>
                      <a:pt x="56" y="14"/>
                      <a:pt x="56" y="14"/>
                    </a:cubicBezTo>
                    <a:cubicBezTo>
                      <a:pt x="56" y="15"/>
                      <a:pt x="56" y="15"/>
                      <a:pt x="57" y="15"/>
                    </a:cubicBezTo>
                    <a:cubicBezTo>
                      <a:pt x="58" y="15"/>
                      <a:pt x="58" y="15"/>
                      <a:pt x="59" y="16"/>
                    </a:cubicBezTo>
                    <a:cubicBezTo>
                      <a:pt x="59" y="16"/>
                      <a:pt x="60" y="16"/>
                      <a:pt x="60" y="16"/>
                    </a:cubicBezTo>
                    <a:cubicBezTo>
                      <a:pt x="60" y="16"/>
                      <a:pt x="60" y="16"/>
                      <a:pt x="60" y="16"/>
                    </a:cubicBezTo>
                    <a:cubicBezTo>
                      <a:pt x="60" y="16"/>
                      <a:pt x="61" y="16"/>
                      <a:pt x="61" y="16"/>
                    </a:cubicBezTo>
                    <a:cubicBezTo>
                      <a:pt x="61" y="16"/>
                      <a:pt x="61" y="16"/>
                      <a:pt x="61" y="16"/>
                    </a:cubicBezTo>
                    <a:cubicBezTo>
                      <a:pt x="61" y="16"/>
                      <a:pt x="61" y="16"/>
                      <a:pt x="61" y="16"/>
                    </a:cubicBezTo>
                    <a:cubicBezTo>
                      <a:pt x="61" y="16"/>
                      <a:pt x="61" y="16"/>
                      <a:pt x="61" y="16"/>
                    </a:cubicBezTo>
                    <a:cubicBezTo>
                      <a:pt x="61" y="16"/>
                      <a:pt x="61" y="16"/>
                      <a:pt x="62" y="16"/>
                    </a:cubicBezTo>
                    <a:cubicBezTo>
                      <a:pt x="62" y="16"/>
                      <a:pt x="63" y="16"/>
                      <a:pt x="63" y="17"/>
                    </a:cubicBezTo>
                    <a:cubicBezTo>
                      <a:pt x="63" y="17"/>
                      <a:pt x="63" y="17"/>
                      <a:pt x="63" y="17"/>
                    </a:cubicBezTo>
                    <a:cubicBezTo>
                      <a:pt x="63" y="17"/>
                      <a:pt x="62" y="18"/>
                      <a:pt x="63" y="18"/>
                    </a:cubicBezTo>
                    <a:cubicBezTo>
                      <a:pt x="63" y="18"/>
                      <a:pt x="63" y="18"/>
                      <a:pt x="63" y="18"/>
                    </a:cubicBezTo>
                    <a:cubicBezTo>
                      <a:pt x="63" y="18"/>
                      <a:pt x="62" y="18"/>
                      <a:pt x="62" y="18"/>
                    </a:cubicBezTo>
                    <a:cubicBezTo>
                      <a:pt x="62" y="18"/>
                      <a:pt x="62" y="18"/>
                      <a:pt x="62" y="18"/>
                    </a:cubicBezTo>
                    <a:cubicBezTo>
                      <a:pt x="62" y="18"/>
                      <a:pt x="61" y="19"/>
                      <a:pt x="62" y="19"/>
                    </a:cubicBezTo>
                    <a:cubicBezTo>
                      <a:pt x="62" y="19"/>
                      <a:pt x="62" y="19"/>
                      <a:pt x="62" y="18"/>
                    </a:cubicBezTo>
                    <a:cubicBezTo>
                      <a:pt x="63" y="19"/>
                      <a:pt x="63" y="19"/>
                      <a:pt x="63" y="19"/>
                    </a:cubicBezTo>
                    <a:cubicBezTo>
                      <a:pt x="63" y="19"/>
                      <a:pt x="63" y="19"/>
                      <a:pt x="63" y="19"/>
                    </a:cubicBezTo>
                    <a:cubicBezTo>
                      <a:pt x="63" y="19"/>
                      <a:pt x="63" y="19"/>
                      <a:pt x="63" y="19"/>
                    </a:cubicBezTo>
                    <a:cubicBezTo>
                      <a:pt x="63" y="19"/>
                      <a:pt x="63" y="19"/>
                      <a:pt x="63" y="18"/>
                    </a:cubicBezTo>
                    <a:cubicBezTo>
                      <a:pt x="63" y="18"/>
                      <a:pt x="63" y="18"/>
                      <a:pt x="63" y="18"/>
                    </a:cubicBezTo>
                    <a:cubicBezTo>
                      <a:pt x="64" y="19"/>
                      <a:pt x="65" y="19"/>
                      <a:pt x="65" y="19"/>
                    </a:cubicBezTo>
                    <a:cubicBezTo>
                      <a:pt x="66" y="19"/>
                      <a:pt x="66" y="19"/>
                      <a:pt x="67" y="19"/>
                    </a:cubicBezTo>
                    <a:cubicBezTo>
                      <a:pt x="67" y="19"/>
                      <a:pt x="67" y="19"/>
                      <a:pt x="67" y="19"/>
                    </a:cubicBezTo>
                    <a:cubicBezTo>
                      <a:pt x="67" y="19"/>
                      <a:pt x="67" y="19"/>
                      <a:pt x="67" y="19"/>
                    </a:cubicBezTo>
                    <a:cubicBezTo>
                      <a:pt x="67" y="19"/>
                      <a:pt x="68" y="19"/>
                      <a:pt x="68" y="19"/>
                    </a:cubicBezTo>
                    <a:cubicBezTo>
                      <a:pt x="68" y="19"/>
                      <a:pt x="68" y="19"/>
                      <a:pt x="68" y="19"/>
                    </a:cubicBezTo>
                    <a:cubicBezTo>
                      <a:pt x="68" y="20"/>
                      <a:pt x="68" y="19"/>
                      <a:pt x="68" y="20"/>
                    </a:cubicBezTo>
                    <a:cubicBezTo>
                      <a:pt x="69" y="20"/>
                      <a:pt x="69" y="20"/>
                      <a:pt x="69" y="20"/>
                    </a:cubicBezTo>
                    <a:cubicBezTo>
                      <a:pt x="69" y="20"/>
                      <a:pt x="70" y="21"/>
                      <a:pt x="70" y="21"/>
                    </a:cubicBezTo>
                    <a:cubicBezTo>
                      <a:pt x="70" y="21"/>
                      <a:pt x="70" y="21"/>
                      <a:pt x="70" y="21"/>
                    </a:cubicBezTo>
                    <a:cubicBezTo>
                      <a:pt x="70" y="21"/>
                      <a:pt x="70" y="21"/>
                      <a:pt x="70" y="21"/>
                    </a:cubicBezTo>
                    <a:cubicBezTo>
                      <a:pt x="70" y="22"/>
                      <a:pt x="71" y="22"/>
                      <a:pt x="71" y="22"/>
                    </a:cubicBezTo>
                    <a:cubicBezTo>
                      <a:pt x="71" y="22"/>
                      <a:pt x="71" y="22"/>
                      <a:pt x="71" y="22"/>
                    </a:cubicBezTo>
                    <a:cubicBezTo>
                      <a:pt x="72" y="22"/>
                      <a:pt x="72" y="22"/>
                      <a:pt x="72" y="22"/>
                    </a:cubicBezTo>
                    <a:cubicBezTo>
                      <a:pt x="73" y="22"/>
                      <a:pt x="73" y="23"/>
                      <a:pt x="72" y="23"/>
                    </a:cubicBezTo>
                    <a:cubicBezTo>
                      <a:pt x="72" y="23"/>
                      <a:pt x="72" y="23"/>
                      <a:pt x="72" y="23"/>
                    </a:cubicBezTo>
                    <a:cubicBezTo>
                      <a:pt x="72" y="23"/>
                      <a:pt x="72" y="23"/>
                      <a:pt x="72" y="23"/>
                    </a:cubicBezTo>
                    <a:cubicBezTo>
                      <a:pt x="71" y="23"/>
                      <a:pt x="71" y="23"/>
                      <a:pt x="71" y="23"/>
                    </a:cubicBezTo>
                    <a:close/>
                    <a:moveTo>
                      <a:pt x="60" y="16"/>
                    </a:moveTo>
                    <a:cubicBezTo>
                      <a:pt x="60" y="16"/>
                      <a:pt x="60" y="16"/>
                      <a:pt x="60" y="16"/>
                    </a:cubicBezTo>
                    <a:cubicBezTo>
                      <a:pt x="60" y="16"/>
                      <a:pt x="60" y="16"/>
                      <a:pt x="60" y="16"/>
                    </a:cubicBezTo>
                    <a:close/>
                    <a:moveTo>
                      <a:pt x="39" y="5"/>
                    </a:moveTo>
                    <a:cubicBezTo>
                      <a:pt x="39" y="5"/>
                      <a:pt x="39" y="5"/>
                      <a:pt x="40" y="5"/>
                    </a:cubicBezTo>
                    <a:cubicBezTo>
                      <a:pt x="39" y="5"/>
                      <a:pt x="39" y="5"/>
                      <a:pt x="39" y="5"/>
                    </a:cubicBezTo>
                    <a:close/>
                    <a:moveTo>
                      <a:pt x="63" y="18"/>
                    </a:moveTo>
                    <a:cubicBezTo>
                      <a:pt x="63" y="18"/>
                      <a:pt x="63" y="18"/>
                      <a:pt x="63" y="18"/>
                    </a:cubicBezTo>
                    <a:cubicBezTo>
                      <a:pt x="63" y="18"/>
                      <a:pt x="63" y="18"/>
                      <a:pt x="63" y="18"/>
                    </a:cubicBezTo>
                    <a:close/>
                    <a:moveTo>
                      <a:pt x="48" y="8"/>
                    </a:moveTo>
                    <a:cubicBezTo>
                      <a:pt x="48" y="7"/>
                      <a:pt x="48" y="7"/>
                      <a:pt x="47" y="7"/>
                    </a:cubicBezTo>
                    <a:cubicBezTo>
                      <a:pt x="47" y="7"/>
                      <a:pt x="47" y="7"/>
                      <a:pt x="48" y="8"/>
                    </a:cubicBezTo>
                    <a:close/>
                    <a:moveTo>
                      <a:pt x="19" y="12"/>
                    </a:moveTo>
                    <a:cubicBezTo>
                      <a:pt x="19" y="12"/>
                      <a:pt x="19" y="12"/>
                      <a:pt x="19" y="12"/>
                    </a:cubicBezTo>
                    <a:cubicBezTo>
                      <a:pt x="20" y="13"/>
                      <a:pt x="20" y="12"/>
                      <a:pt x="20" y="12"/>
                    </a:cubicBezTo>
                    <a:cubicBezTo>
                      <a:pt x="19" y="12"/>
                      <a:pt x="19" y="12"/>
                      <a:pt x="19" y="12"/>
                    </a:cubicBezTo>
                    <a:close/>
                    <a:moveTo>
                      <a:pt x="20" y="12"/>
                    </a:moveTo>
                    <a:cubicBezTo>
                      <a:pt x="20" y="12"/>
                      <a:pt x="20" y="12"/>
                      <a:pt x="20" y="12"/>
                    </a:cubicBezTo>
                    <a:cubicBezTo>
                      <a:pt x="20" y="12"/>
                      <a:pt x="20" y="12"/>
                      <a:pt x="20" y="12"/>
                    </a:cubicBezTo>
                    <a:cubicBezTo>
                      <a:pt x="20" y="12"/>
                      <a:pt x="20" y="12"/>
                      <a:pt x="2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9" name="Freeform 774">
                <a:extLst>
                  <a:ext uri="{FF2B5EF4-FFF2-40B4-BE49-F238E27FC236}">
                    <a16:creationId xmlns:a16="http://schemas.microsoft.com/office/drawing/2014/main" id="{E2ECFBEE-0B3D-7957-A452-05CFEBB79BC1}"/>
                  </a:ext>
                </a:extLst>
              </p:cNvPr>
              <p:cNvSpPr>
                <a:spLocks/>
              </p:cNvSpPr>
              <p:nvPr/>
            </p:nvSpPr>
            <p:spPr bwMode="auto">
              <a:xfrm>
                <a:off x="2932113" y="4541838"/>
                <a:ext cx="96837" cy="84138"/>
              </a:xfrm>
              <a:custGeom>
                <a:avLst/>
                <a:gdLst>
                  <a:gd name="T0" fmla="*/ 22 w 23"/>
                  <a:gd name="T1" fmla="*/ 11 h 20"/>
                  <a:gd name="T2" fmla="*/ 18 w 23"/>
                  <a:gd name="T3" fmla="*/ 7 h 20"/>
                  <a:gd name="T4" fmla="*/ 17 w 23"/>
                  <a:gd name="T5" fmla="*/ 6 h 20"/>
                  <a:gd name="T6" fmla="*/ 16 w 23"/>
                  <a:gd name="T7" fmla="*/ 2 h 20"/>
                  <a:gd name="T8" fmla="*/ 15 w 23"/>
                  <a:gd name="T9" fmla="*/ 2 h 20"/>
                  <a:gd name="T10" fmla="*/ 14 w 23"/>
                  <a:gd name="T11" fmla="*/ 3 h 20"/>
                  <a:gd name="T12" fmla="*/ 11 w 23"/>
                  <a:gd name="T13" fmla="*/ 2 h 20"/>
                  <a:gd name="T14" fmla="*/ 10 w 23"/>
                  <a:gd name="T15" fmla="*/ 2 h 20"/>
                  <a:gd name="T16" fmla="*/ 7 w 23"/>
                  <a:gd name="T17" fmla="*/ 2 h 20"/>
                  <a:gd name="T18" fmla="*/ 2 w 23"/>
                  <a:gd name="T19" fmla="*/ 0 h 20"/>
                  <a:gd name="T20" fmla="*/ 1 w 23"/>
                  <a:gd name="T21" fmla="*/ 1 h 20"/>
                  <a:gd name="T22" fmla="*/ 1 w 23"/>
                  <a:gd name="T23" fmla="*/ 2 h 20"/>
                  <a:gd name="T24" fmla="*/ 1 w 23"/>
                  <a:gd name="T25" fmla="*/ 3 h 20"/>
                  <a:gd name="T26" fmla="*/ 2 w 23"/>
                  <a:gd name="T27" fmla="*/ 4 h 20"/>
                  <a:gd name="T28" fmla="*/ 1 w 23"/>
                  <a:gd name="T29" fmla="*/ 6 h 20"/>
                  <a:gd name="T30" fmla="*/ 3 w 23"/>
                  <a:gd name="T31" fmla="*/ 9 h 20"/>
                  <a:gd name="T32" fmla="*/ 5 w 23"/>
                  <a:gd name="T33" fmla="*/ 10 h 20"/>
                  <a:gd name="T34" fmla="*/ 6 w 23"/>
                  <a:gd name="T35" fmla="*/ 10 h 20"/>
                  <a:gd name="T36" fmla="*/ 7 w 23"/>
                  <a:gd name="T37" fmla="*/ 9 h 20"/>
                  <a:gd name="T38" fmla="*/ 5 w 23"/>
                  <a:gd name="T39" fmla="*/ 7 h 20"/>
                  <a:gd name="T40" fmla="*/ 7 w 23"/>
                  <a:gd name="T41" fmla="*/ 8 h 20"/>
                  <a:gd name="T42" fmla="*/ 8 w 23"/>
                  <a:gd name="T43" fmla="*/ 11 h 20"/>
                  <a:gd name="T44" fmla="*/ 11 w 23"/>
                  <a:gd name="T45" fmla="*/ 12 h 20"/>
                  <a:gd name="T46" fmla="*/ 15 w 23"/>
                  <a:gd name="T47" fmla="*/ 14 h 20"/>
                  <a:gd name="T48" fmla="*/ 15 w 23"/>
                  <a:gd name="T49" fmla="*/ 17 h 20"/>
                  <a:gd name="T50" fmla="*/ 15 w 23"/>
                  <a:gd name="T51" fmla="*/ 18 h 20"/>
                  <a:gd name="T52" fmla="*/ 17 w 23"/>
                  <a:gd name="T53" fmla="*/ 19 h 20"/>
                  <a:gd name="T54" fmla="*/ 18 w 23"/>
                  <a:gd name="T55" fmla="*/ 18 h 20"/>
                  <a:gd name="T56" fmla="*/ 16 w 23"/>
                  <a:gd name="T57" fmla="*/ 17 h 20"/>
                  <a:gd name="T58" fmla="*/ 19 w 23"/>
                  <a:gd name="T59" fmla="*/ 18 h 20"/>
                  <a:gd name="T60" fmla="*/ 19 w 23"/>
                  <a:gd name="T61" fmla="*/ 20 h 20"/>
                  <a:gd name="T62" fmla="*/ 21 w 23"/>
                  <a:gd name="T63" fmla="*/ 17 h 20"/>
                  <a:gd name="T64" fmla="*/ 21 w 23"/>
                  <a:gd name="T65" fmla="*/ 16 h 20"/>
                  <a:gd name="T66" fmla="*/ 20 w 23"/>
                  <a:gd name="T67" fmla="*/ 14 h 20"/>
                  <a:gd name="T68" fmla="*/ 21 w 23"/>
                  <a:gd name="T69" fmla="*/ 12 h 20"/>
                  <a:gd name="T70" fmla="*/ 22 w 23"/>
                  <a:gd name="T71" fmla="*/ 12 h 20"/>
                  <a:gd name="T72" fmla="*/ 23 w 23"/>
                  <a:gd name="T7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20">
                    <a:moveTo>
                      <a:pt x="23" y="11"/>
                    </a:moveTo>
                    <a:cubicBezTo>
                      <a:pt x="22" y="11"/>
                      <a:pt x="22" y="11"/>
                      <a:pt x="22" y="11"/>
                    </a:cubicBezTo>
                    <a:cubicBezTo>
                      <a:pt x="21" y="10"/>
                      <a:pt x="21" y="10"/>
                      <a:pt x="20" y="9"/>
                    </a:cubicBezTo>
                    <a:cubicBezTo>
                      <a:pt x="20" y="9"/>
                      <a:pt x="19" y="8"/>
                      <a:pt x="18" y="7"/>
                    </a:cubicBezTo>
                    <a:cubicBezTo>
                      <a:pt x="18" y="7"/>
                      <a:pt x="18" y="7"/>
                      <a:pt x="18" y="7"/>
                    </a:cubicBezTo>
                    <a:cubicBezTo>
                      <a:pt x="18" y="7"/>
                      <a:pt x="17" y="6"/>
                      <a:pt x="17" y="6"/>
                    </a:cubicBezTo>
                    <a:cubicBezTo>
                      <a:pt x="17" y="6"/>
                      <a:pt x="17" y="5"/>
                      <a:pt x="16" y="5"/>
                    </a:cubicBezTo>
                    <a:cubicBezTo>
                      <a:pt x="16" y="4"/>
                      <a:pt x="16" y="3"/>
                      <a:pt x="16" y="2"/>
                    </a:cubicBezTo>
                    <a:cubicBezTo>
                      <a:pt x="16" y="2"/>
                      <a:pt x="16" y="2"/>
                      <a:pt x="15" y="2"/>
                    </a:cubicBezTo>
                    <a:cubicBezTo>
                      <a:pt x="15" y="2"/>
                      <a:pt x="15" y="2"/>
                      <a:pt x="15" y="2"/>
                    </a:cubicBezTo>
                    <a:cubicBezTo>
                      <a:pt x="15" y="3"/>
                      <a:pt x="15" y="3"/>
                      <a:pt x="15" y="3"/>
                    </a:cubicBezTo>
                    <a:cubicBezTo>
                      <a:pt x="14" y="3"/>
                      <a:pt x="14" y="3"/>
                      <a:pt x="14" y="3"/>
                    </a:cubicBezTo>
                    <a:cubicBezTo>
                      <a:pt x="13" y="3"/>
                      <a:pt x="13" y="3"/>
                      <a:pt x="13" y="3"/>
                    </a:cubicBezTo>
                    <a:cubicBezTo>
                      <a:pt x="13" y="3"/>
                      <a:pt x="11" y="2"/>
                      <a:pt x="11" y="2"/>
                    </a:cubicBezTo>
                    <a:cubicBezTo>
                      <a:pt x="11" y="2"/>
                      <a:pt x="11" y="2"/>
                      <a:pt x="11" y="2"/>
                    </a:cubicBezTo>
                    <a:cubicBezTo>
                      <a:pt x="11" y="2"/>
                      <a:pt x="10" y="2"/>
                      <a:pt x="10" y="2"/>
                    </a:cubicBezTo>
                    <a:cubicBezTo>
                      <a:pt x="10" y="2"/>
                      <a:pt x="8" y="1"/>
                      <a:pt x="8" y="1"/>
                    </a:cubicBezTo>
                    <a:cubicBezTo>
                      <a:pt x="8" y="1"/>
                      <a:pt x="7" y="2"/>
                      <a:pt x="7" y="2"/>
                    </a:cubicBezTo>
                    <a:cubicBezTo>
                      <a:pt x="7" y="2"/>
                      <a:pt x="4" y="1"/>
                      <a:pt x="4" y="1"/>
                    </a:cubicBezTo>
                    <a:cubicBezTo>
                      <a:pt x="4" y="1"/>
                      <a:pt x="3" y="0"/>
                      <a:pt x="2" y="0"/>
                    </a:cubicBezTo>
                    <a:cubicBezTo>
                      <a:pt x="2" y="0"/>
                      <a:pt x="2" y="0"/>
                      <a:pt x="2" y="0"/>
                    </a:cubicBezTo>
                    <a:cubicBezTo>
                      <a:pt x="1" y="1"/>
                      <a:pt x="1" y="1"/>
                      <a:pt x="1" y="1"/>
                    </a:cubicBezTo>
                    <a:cubicBezTo>
                      <a:pt x="1" y="1"/>
                      <a:pt x="1" y="1"/>
                      <a:pt x="2" y="1"/>
                    </a:cubicBezTo>
                    <a:cubicBezTo>
                      <a:pt x="2" y="1"/>
                      <a:pt x="1" y="2"/>
                      <a:pt x="1" y="2"/>
                    </a:cubicBezTo>
                    <a:cubicBezTo>
                      <a:pt x="1" y="2"/>
                      <a:pt x="1" y="2"/>
                      <a:pt x="1" y="2"/>
                    </a:cubicBezTo>
                    <a:cubicBezTo>
                      <a:pt x="0" y="2"/>
                      <a:pt x="0" y="2"/>
                      <a:pt x="1" y="3"/>
                    </a:cubicBezTo>
                    <a:cubicBezTo>
                      <a:pt x="1" y="3"/>
                      <a:pt x="2" y="3"/>
                      <a:pt x="2" y="3"/>
                    </a:cubicBezTo>
                    <a:cubicBezTo>
                      <a:pt x="2" y="3"/>
                      <a:pt x="2" y="4"/>
                      <a:pt x="2" y="4"/>
                    </a:cubicBezTo>
                    <a:cubicBezTo>
                      <a:pt x="2" y="4"/>
                      <a:pt x="1" y="5"/>
                      <a:pt x="1" y="5"/>
                    </a:cubicBezTo>
                    <a:cubicBezTo>
                      <a:pt x="1" y="5"/>
                      <a:pt x="1" y="6"/>
                      <a:pt x="1" y="6"/>
                    </a:cubicBezTo>
                    <a:cubicBezTo>
                      <a:pt x="1" y="6"/>
                      <a:pt x="1" y="7"/>
                      <a:pt x="1" y="8"/>
                    </a:cubicBezTo>
                    <a:cubicBezTo>
                      <a:pt x="1" y="8"/>
                      <a:pt x="2" y="9"/>
                      <a:pt x="3" y="9"/>
                    </a:cubicBezTo>
                    <a:cubicBezTo>
                      <a:pt x="3" y="9"/>
                      <a:pt x="4" y="9"/>
                      <a:pt x="4" y="10"/>
                    </a:cubicBezTo>
                    <a:cubicBezTo>
                      <a:pt x="5" y="10"/>
                      <a:pt x="5" y="10"/>
                      <a:pt x="5" y="10"/>
                    </a:cubicBezTo>
                    <a:cubicBezTo>
                      <a:pt x="5" y="11"/>
                      <a:pt x="5" y="11"/>
                      <a:pt x="6" y="11"/>
                    </a:cubicBezTo>
                    <a:cubicBezTo>
                      <a:pt x="6" y="11"/>
                      <a:pt x="6" y="10"/>
                      <a:pt x="6" y="10"/>
                    </a:cubicBezTo>
                    <a:cubicBezTo>
                      <a:pt x="7" y="10"/>
                      <a:pt x="7" y="10"/>
                      <a:pt x="7" y="9"/>
                    </a:cubicBezTo>
                    <a:cubicBezTo>
                      <a:pt x="7" y="9"/>
                      <a:pt x="7" y="9"/>
                      <a:pt x="7" y="9"/>
                    </a:cubicBezTo>
                    <a:cubicBezTo>
                      <a:pt x="6" y="9"/>
                      <a:pt x="6" y="8"/>
                      <a:pt x="5" y="8"/>
                    </a:cubicBezTo>
                    <a:cubicBezTo>
                      <a:pt x="5" y="8"/>
                      <a:pt x="5" y="7"/>
                      <a:pt x="5" y="7"/>
                    </a:cubicBezTo>
                    <a:cubicBezTo>
                      <a:pt x="5" y="7"/>
                      <a:pt x="5" y="7"/>
                      <a:pt x="6" y="7"/>
                    </a:cubicBezTo>
                    <a:cubicBezTo>
                      <a:pt x="6" y="7"/>
                      <a:pt x="7" y="8"/>
                      <a:pt x="7" y="8"/>
                    </a:cubicBezTo>
                    <a:cubicBezTo>
                      <a:pt x="8" y="8"/>
                      <a:pt x="9" y="10"/>
                      <a:pt x="9" y="10"/>
                    </a:cubicBezTo>
                    <a:cubicBezTo>
                      <a:pt x="9" y="10"/>
                      <a:pt x="8" y="10"/>
                      <a:pt x="8" y="11"/>
                    </a:cubicBezTo>
                    <a:cubicBezTo>
                      <a:pt x="9" y="11"/>
                      <a:pt x="9" y="11"/>
                      <a:pt x="9" y="11"/>
                    </a:cubicBezTo>
                    <a:cubicBezTo>
                      <a:pt x="10" y="12"/>
                      <a:pt x="10" y="12"/>
                      <a:pt x="11" y="12"/>
                    </a:cubicBezTo>
                    <a:cubicBezTo>
                      <a:pt x="12" y="12"/>
                      <a:pt x="12" y="12"/>
                      <a:pt x="12" y="13"/>
                    </a:cubicBezTo>
                    <a:cubicBezTo>
                      <a:pt x="13" y="13"/>
                      <a:pt x="15" y="14"/>
                      <a:pt x="15" y="14"/>
                    </a:cubicBezTo>
                    <a:cubicBezTo>
                      <a:pt x="15" y="15"/>
                      <a:pt x="16" y="15"/>
                      <a:pt x="16" y="16"/>
                    </a:cubicBezTo>
                    <a:cubicBezTo>
                      <a:pt x="16" y="16"/>
                      <a:pt x="15" y="16"/>
                      <a:pt x="15" y="17"/>
                    </a:cubicBezTo>
                    <a:cubicBezTo>
                      <a:pt x="15" y="17"/>
                      <a:pt x="15" y="17"/>
                      <a:pt x="15" y="17"/>
                    </a:cubicBezTo>
                    <a:cubicBezTo>
                      <a:pt x="15" y="17"/>
                      <a:pt x="15" y="18"/>
                      <a:pt x="15" y="18"/>
                    </a:cubicBezTo>
                    <a:cubicBezTo>
                      <a:pt x="15" y="18"/>
                      <a:pt x="15" y="19"/>
                      <a:pt x="16" y="19"/>
                    </a:cubicBezTo>
                    <a:cubicBezTo>
                      <a:pt x="16" y="19"/>
                      <a:pt x="16" y="19"/>
                      <a:pt x="17" y="19"/>
                    </a:cubicBezTo>
                    <a:cubicBezTo>
                      <a:pt x="17" y="19"/>
                      <a:pt x="17" y="19"/>
                      <a:pt x="17" y="19"/>
                    </a:cubicBezTo>
                    <a:cubicBezTo>
                      <a:pt x="18" y="19"/>
                      <a:pt x="18" y="19"/>
                      <a:pt x="18" y="18"/>
                    </a:cubicBezTo>
                    <a:cubicBezTo>
                      <a:pt x="18" y="18"/>
                      <a:pt x="17" y="18"/>
                      <a:pt x="17" y="18"/>
                    </a:cubicBezTo>
                    <a:cubicBezTo>
                      <a:pt x="17" y="18"/>
                      <a:pt x="17" y="17"/>
                      <a:pt x="16" y="17"/>
                    </a:cubicBezTo>
                    <a:cubicBezTo>
                      <a:pt x="16" y="17"/>
                      <a:pt x="17" y="17"/>
                      <a:pt x="17" y="17"/>
                    </a:cubicBezTo>
                    <a:cubicBezTo>
                      <a:pt x="18" y="17"/>
                      <a:pt x="18" y="18"/>
                      <a:pt x="19" y="18"/>
                    </a:cubicBezTo>
                    <a:cubicBezTo>
                      <a:pt x="19" y="18"/>
                      <a:pt x="19" y="18"/>
                      <a:pt x="19" y="19"/>
                    </a:cubicBezTo>
                    <a:cubicBezTo>
                      <a:pt x="19" y="19"/>
                      <a:pt x="19" y="19"/>
                      <a:pt x="19" y="20"/>
                    </a:cubicBezTo>
                    <a:cubicBezTo>
                      <a:pt x="21" y="19"/>
                      <a:pt x="21" y="19"/>
                      <a:pt x="21" y="19"/>
                    </a:cubicBezTo>
                    <a:cubicBezTo>
                      <a:pt x="21" y="19"/>
                      <a:pt x="21" y="18"/>
                      <a:pt x="21" y="17"/>
                    </a:cubicBezTo>
                    <a:cubicBezTo>
                      <a:pt x="21" y="17"/>
                      <a:pt x="20" y="17"/>
                      <a:pt x="20" y="17"/>
                    </a:cubicBezTo>
                    <a:cubicBezTo>
                      <a:pt x="20" y="16"/>
                      <a:pt x="21" y="16"/>
                      <a:pt x="21" y="16"/>
                    </a:cubicBezTo>
                    <a:cubicBezTo>
                      <a:pt x="21" y="16"/>
                      <a:pt x="21" y="15"/>
                      <a:pt x="21" y="15"/>
                    </a:cubicBezTo>
                    <a:cubicBezTo>
                      <a:pt x="21" y="15"/>
                      <a:pt x="20" y="14"/>
                      <a:pt x="20" y="14"/>
                    </a:cubicBezTo>
                    <a:cubicBezTo>
                      <a:pt x="20" y="14"/>
                      <a:pt x="20" y="12"/>
                      <a:pt x="20" y="12"/>
                    </a:cubicBezTo>
                    <a:cubicBezTo>
                      <a:pt x="20" y="12"/>
                      <a:pt x="21" y="12"/>
                      <a:pt x="21" y="12"/>
                    </a:cubicBezTo>
                    <a:cubicBezTo>
                      <a:pt x="21" y="12"/>
                      <a:pt x="21" y="11"/>
                      <a:pt x="21" y="11"/>
                    </a:cubicBezTo>
                    <a:cubicBezTo>
                      <a:pt x="21" y="11"/>
                      <a:pt x="22" y="12"/>
                      <a:pt x="22" y="12"/>
                    </a:cubicBezTo>
                    <a:cubicBezTo>
                      <a:pt x="22" y="12"/>
                      <a:pt x="22" y="11"/>
                      <a:pt x="23" y="11"/>
                    </a:cubicBezTo>
                    <a:cubicBezTo>
                      <a:pt x="23" y="11"/>
                      <a:pt x="23" y="11"/>
                      <a:pt x="23"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0" name="Freeform 775">
                <a:extLst>
                  <a:ext uri="{FF2B5EF4-FFF2-40B4-BE49-F238E27FC236}">
                    <a16:creationId xmlns:a16="http://schemas.microsoft.com/office/drawing/2014/main" id="{C1A6C54A-4B43-85EF-0CD3-3F1338D9FE6F}"/>
                  </a:ext>
                </a:extLst>
              </p:cNvPr>
              <p:cNvSpPr>
                <a:spLocks noEditPoints="1"/>
              </p:cNvSpPr>
              <p:nvPr/>
            </p:nvSpPr>
            <p:spPr bwMode="auto">
              <a:xfrm>
                <a:off x="1397001" y="373063"/>
                <a:ext cx="2463800" cy="3201988"/>
              </a:xfrm>
              <a:custGeom>
                <a:avLst/>
                <a:gdLst>
                  <a:gd name="T0" fmla="*/ 509 w 592"/>
                  <a:gd name="T1" fmla="*/ 454 h 769"/>
                  <a:gd name="T2" fmla="*/ 468 w 592"/>
                  <a:gd name="T3" fmla="*/ 404 h 769"/>
                  <a:gd name="T4" fmla="*/ 402 w 592"/>
                  <a:gd name="T5" fmla="*/ 368 h 769"/>
                  <a:gd name="T6" fmla="*/ 370 w 592"/>
                  <a:gd name="T7" fmla="*/ 409 h 769"/>
                  <a:gd name="T8" fmla="*/ 452 w 592"/>
                  <a:gd name="T9" fmla="*/ 509 h 769"/>
                  <a:gd name="T10" fmla="*/ 495 w 592"/>
                  <a:gd name="T11" fmla="*/ 475 h 769"/>
                  <a:gd name="T12" fmla="*/ 379 w 592"/>
                  <a:gd name="T13" fmla="*/ 481 h 769"/>
                  <a:gd name="T14" fmla="*/ 524 w 592"/>
                  <a:gd name="T15" fmla="*/ 466 h 769"/>
                  <a:gd name="T16" fmla="*/ 273 w 592"/>
                  <a:gd name="T17" fmla="*/ 348 h 769"/>
                  <a:gd name="T18" fmla="*/ 244 w 592"/>
                  <a:gd name="T19" fmla="*/ 374 h 769"/>
                  <a:gd name="T20" fmla="*/ 187 w 592"/>
                  <a:gd name="T21" fmla="*/ 439 h 769"/>
                  <a:gd name="T22" fmla="*/ 252 w 592"/>
                  <a:gd name="T23" fmla="*/ 397 h 769"/>
                  <a:gd name="T24" fmla="*/ 311 w 592"/>
                  <a:gd name="T25" fmla="*/ 167 h 769"/>
                  <a:gd name="T26" fmla="*/ 360 w 592"/>
                  <a:gd name="T27" fmla="*/ 140 h 769"/>
                  <a:gd name="T28" fmla="*/ 143 w 592"/>
                  <a:gd name="T29" fmla="*/ 241 h 769"/>
                  <a:gd name="T30" fmla="*/ 499 w 592"/>
                  <a:gd name="T31" fmla="*/ 14 h 769"/>
                  <a:gd name="T32" fmla="*/ 391 w 592"/>
                  <a:gd name="T33" fmla="*/ 37 h 769"/>
                  <a:gd name="T34" fmla="*/ 340 w 592"/>
                  <a:gd name="T35" fmla="*/ 96 h 769"/>
                  <a:gd name="T36" fmla="*/ 399 w 592"/>
                  <a:gd name="T37" fmla="*/ 156 h 769"/>
                  <a:gd name="T38" fmla="*/ 378 w 592"/>
                  <a:gd name="T39" fmla="*/ 235 h 769"/>
                  <a:gd name="T40" fmla="*/ 404 w 592"/>
                  <a:gd name="T41" fmla="*/ 237 h 769"/>
                  <a:gd name="T42" fmla="*/ 453 w 592"/>
                  <a:gd name="T43" fmla="*/ 153 h 769"/>
                  <a:gd name="T44" fmla="*/ 501 w 592"/>
                  <a:gd name="T45" fmla="*/ 89 h 769"/>
                  <a:gd name="T46" fmla="*/ 343 w 592"/>
                  <a:gd name="T47" fmla="*/ 236 h 769"/>
                  <a:gd name="T48" fmla="*/ 218 w 592"/>
                  <a:gd name="T49" fmla="*/ 254 h 769"/>
                  <a:gd name="T50" fmla="*/ 210 w 592"/>
                  <a:gd name="T51" fmla="*/ 302 h 769"/>
                  <a:gd name="T52" fmla="*/ 340 w 592"/>
                  <a:gd name="T53" fmla="*/ 274 h 769"/>
                  <a:gd name="T54" fmla="*/ 376 w 592"/>
                  <a:gd name="T55" fmla="*/ 311 h 769"/>
                  <a:gd name="T56" fmla="*/ 306 w 592"/>
                  <a:gd name="T57" fmla="*/ 239 h 769"/>
                  <a:gd name="T58" fmla="*/ 295 w 592"/>
                  <a:gd name="T59" fmla="*/ 249 h 769"/>
                  <a:gd name="T60" fmla="*/ 584 w 592"/>
                  <a:gd name="T61" fmla="*/ 707 h 769"/>
                  <a:gd name="T62" fmla="*/ 563 w 592"/>
                  <a:gd name="T63" fmla="*/ 679 h 769"/>
                  <a:gd name="T64" fmla="*/ 582 w 592"/>
                  <a:gd name="T65" fmla="*/ 713 h 769"/>
                  <a:gd name="T66" fmla="*/ 411 w 592"/>
                  <a:gd name="T67" fmla="*/ 667 h 769"/>
                  <a:gd name="T68" fmla="*/ 365 w 592"/>
                  <a:gd name="T69" fmla="*/ 443 h 769"/>
                  <a:gd name="T70" fmla="*/ 410 w 592"/>
                  <a:gd name="T71" fmla="*/ 624 h 769"/>
                  <a:gd name="T72" fmla="*/ 65 w 592"/>
                  <a:gd name="T73" fmla="*/ 663 h 769"/>
                  <a:gd name="T74" fmla="*/ 63 w 592"/>
                  <a:gd name="T75" fmla="*/ 660 h 769"/>
                  <a:gd name="T76" fmla="*/ 77 w 592"/>
                  <a:gd name="T77" fmla="*/ 655 h 769"/>
                  <a:gd name="T78" fmla="*/ 111 w 592"/>
                  <a:gd name="T79" fmla="*/ 691 h 769"/>
                  <a:gd name="T80" fmla="*/ 511 w 592"/>
                  <a:gd name="T81" fmla="*/ 722 h 769"/>
                  <a:gd name="T82" fmla="*/ 504 w 592"/>
                  <a:gd name="T83" fmla="*/ 752 h 769"/>
                  <a:gd name="T84" fmla="*/ 330 w 592"/>
                  <a:gd name="T85" fmla="*/ 708 h 769"/>
                  <a:gd name="T86" fmla="*/ 90 w 592"/>
                  <a:gd name="T87" fmla="*/ 675 h 769"/>
                  <a:gd name="T88" fmla="*/ 78 w 592"/>
                  <a:gd name="T89" fmla="*/ 653 h 769"/>
                  <a:gd name="T90" fmla="*/ 21 w 592"/>
                  <a:gd name="T91" fmla="*/ 428 h 769"/>
                  <a:gd name="T92" fmla="*/ 68 w 592"/>
                  <a:gd name="T93" fmla="*/ 421 h 769"/>
                  <a:gd name="T94" fmla="*/ 173 w 592"/>
                  <a:gd name="T95" fmla="*/ 432 h 769"/>
                  <a:gd name="T96" fmla="*/ 225 w 592"/>
                  <a:gd name="T97" fmla="*/ 447 h 769"/>
                  <a:gd name="T98" fmla="*/ 242 w 592"/>
                  <a:gd name="T99" fmla="*/ 443 h 769"/>
                  <a:gd name="T100" fmla="*/ 295 w 592"/>
                  <a:gd name="T101" fmla="*/ 441 h 769"/>
                  <a:gd name="T102" fmla="*/ 299 w 592"/>
                  <a:gd name="T103" fmla="*/ 408 h 769"/>
                  <a:gd name="T104" fmla="*/ 318 w 592"/>
                  <a:gd name="T105" fmla="*/ 362 h 769"/>
                  <a:gd name="T106" fmla="*/ 338 w 592"/>
                  <a:gd name="T107" fmla="*/ 436 h 769"/>
                  <a:gd name="T108" fmla="*/ 385 w 592"/>
                  <a:gd name="T109" fmla="*/ 417 h 769"/>
                  <a:gd name="T110" fmla="*/ 383 w 592"/>
                  <a:gd name="T111" fmla="*/ 468 h 769"/>
                  <a:gd name="T112" fmla="*/ 360 w 592"/>
                  <a:gd name="T113" fmla="*/ 503 h 769"/>
                  <a:gd name="T114" fmla="*/ 319 w 592"/>
                  <a:gd name="T115" fmla="*/ 547 h 769"/>
                  <a:gd name="T116" fmla="*/ 416 w 592"/>
                  <a:gd name="T117" fmla="*/ 650 h 769"/>
                  <a:gd name="T118" fmla="*/ 449 w 592"/>
                  <a:gd name="T119" fmla="*/ 538 h 769"/>
                  <a:gd name="T120" fmla="*/ 487 w 592"/>
                  <a:gd name="T121" fmla="*/ 587 h 769"/>
                  <a:gd name="T122" fmla="*/ 520 w 592"/>
                  <a:gd name="T123" fmla="*/ 582 h 769"/>
                  <a:gd name="T124" fmla="*/ 534 w 592"/>
                  <a:gd name="T125" fmla="*/ 621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769">
                    <a:moveTo>
                      <a:pt x="408" y="518"/>
                    </a:moveTo>
                    <a:cubicBezTo>
                      <a:pt x="408" y="518"/>
                      <a:pt x="408" y="518"/>
                      <a:pt x="407" y="517"/>
                    </a:cubicBezTo>
                    <a:cubicBezTo>
                      <a:pt x="406" y="517"/>
                      <a:pt x="406" y="517"/>
                      <a:pt x="405" y="516"/>
                    </a:cubicBezTo>
                    <a:cubicBezTo>
                      <a:pt x="406" y="516"/>
                      <a:pt x="406" y="515"/>
                      <a:pt x="405" y="515"/>
                    </a:cubicBezTo>
                    <a:cubicBezTo>
                      <a:pt x="404" y="514"/>
                      <a:pt x="404" y="514"/>
                      <a:pt x="404" y="514"/>
                    </a:cubicBezTo>
                    <a:cubicBezTo>
                      <a:pt x="404" y="513"/>
                      <a:pt x="403" y="513"/>
                      <a:pt x="403" y="513"/>
                    </a:cubicBezTo>
                    <a:cubicBezTo>
                      <a:pt x="402" y="513"/>
                      <a:pt x="402" y="514"/>
                      <a:pt x="403" y="515"/>
                    </a:cubicBezTo>
                    <a:cubicBezTo>
                      <a:pt x="403" y="515"/>
                      <a:pt x="403" y="515"/>
                      <a:pt x="403" y="515"/>
                    </a:cubicBezTo>
                    <a:cubicBezTo>
                      <a:pt x="400" y="513"/>
                      <a:pt x="399" y="513"/>
                      <a:pt x="397" y="515"/>
                    </a:cubicBezTo>
                    <a:cubicBezTo>
                      <a:pt x="397" y="514"/>
                      <a:pt x="396" y="515"/>
                      <a:pt x="396" y="515"/>
                    </a:cubicBezTo>
                    <a:cubicBezTo>
                      <a:pt x="396" y="514"/>
                      <a:pt x="396" y="513"/>
                      <a:pt x="397" y="513"/>
                    </a:cubicBezTo>
                    <a:cubicBezTo>
                      <a:pt x="398" y="513"/>
                      <a:pt x="398" y="513"/>
                      <a:pt x="398" y="512"/>
                    </a:cubicBezTo>
                    <a:cubicBezTo>
                      <a:pt x="398" y="512"/>
                      <a:pt x="398" y="512"/>
                      <a:pt x="398" y="512"/>
                    </a:cubicBezTo>
                    <a:cubicBezTo>
                      <a:pt x="398" y="512"/>
                      <a:pt x="398" y="512"/>
                      <a:pt x="398" y="512"/>
                    </a:cubicBezTo>
                    <a:cubicBezTo>
                      <a:pt x="398" y="511"/>
                      <a:pt x="397" y="510"/>
                      <a:pt x="397" y="509"/>
                    </a:cubicBezTo>
                    <a:cubicBezTo>
                      <a:pt x="398" y="506"/>
                      <a:pt x="396" y="505"/>
                      <a:pt x="394" y="503"/>
                    </a:cubicBezTo>
                    <a:cubicBezTo>
                      <a:pt x="394" y="503"/>
                      <a:pt x="393" y="503"/>
                      <a:pt x="393" y="503"/>
                    </a:cubicBezTo>
                    <a:cubicBezTo>
                      <a:pt x="392" y="503"/>
                      <a:pt x="391" y="502"/>
                      <a:pt x="390" y="502"/>
                    </a:cubicBezTo>
                    <a:cubicBezTo>
                      <a:pt x="390" y="501"/>
                      <a:pt x="389" y="501"/>
                      <a:pt x="389" y="501"/>
                    </a:cubicBezTo>
                    <a:cubicBezTo>
                      <a:pt x="388" y="500"/>
                      <a:pt x="387" y="499"/>
                      <a:pt x="387" y="498"/>
                    </a:cubicBezTo>
                    <a:cubicBezTo>
                      <a:pt x="386" y="497"/>
                      <a:pt x="386" y="496"/>
                      <a:pt x="385" y="496"/>
                    </a:cubicBezTo>
                    <a:cubicBezTo>
                      <a:pt x="384" y="496"/>
                      <a:pt x="383" y="496"/>
                      <a:pt x="382" y="496"/>
                    </a:cubicBezTo>
                    <a:cubicBezTo>
                      <a:pt x="381" y="495"/>
                      <a:pt x="381" y="495"/>
                      <a:pt x="381" y="494"/>
                    </a:cubicBezTo>
                    <a:cubicBezTo>
                      <a:pt x="381" y="493"/>
                      <a:pt x="381" y="493"/>
                      <a:pt x="380" y="493"/>
                    </a:cubicBezTo>
                    <a:cubicBezTo>
                      <a:pt x="380" y="493"/>
                      <a:pt x="380" y="493"/>
                      <a:pt x="380" y="492"/>
                    </a:cubicBezTo>
                    <a:cubicBezTo>
                      <a:pt x="379" y="490"/>
                      <a:pt x="378" y="492"/>
                      <a:pt x="378" y="493"/>
                    </a:cubicBezTo>
                    <a:cubicBezTo>
                      <a:pt x="377" y="493"/>
                      <a:pt x="377" y="494"/>
                      <a:pt x="377" y="494"/>
                    </a:cubicBezTo>
                    <a:cubicBezTo>
                      <a:pt x="377" y="495"/>
                      <a:pt x="377" y="495"/>
                      <a:pt x="377" y="495"/>
                    </a:cubicBezTo>
                    <a:cubicBezTo>
                      <a:pt x="376" y="495"/>
                      <a:pt x="376" y="495"/>
                      <a:pt x="376" y="494"/>
                    </a:cubicBezTo>
                    <a:cubicBezTo>
                      <a:pt x="375" y="493"/>
                      <a:pt x="376" y="492"/>
                      <a:pt x="375" y="491"/>
                    </a:cubicBezTo>
                    <a:cubicBezTo>
                      <a:pt x="374" y="491"/>
                      <a:pt x="373" y="490"/>
                      <a:pt x="375" y="490"/>
                    </a:cubicBezTo>
                    <a:cubicBezTo>
                      <a:pt x="375" y="489"/>
                      <a:pt x="375" y="489"/>
                      <a:pt x="375" y="489"/>
                    </a:cubicBezTo>
                    <a:cubicBezTo>
                      <a:pt x="375" y="488"/>
                      <a:pt x="374" y="487"/>
                      <a:pt x="374" y="487"/>
                    </a:cubicBezTo>
                    <a:cubicBezTo>
                      <a:pt x="374" y="486"/>
                      <a:pt x="374" y="485"/>
                      <a:pt x="373" y="486"/>
                    </a:cubicBezTo>
                    <a:cubicBezTo>
                      <a:pt x="372" y="486"/>
                      <a:pt x="372" y="485"/>
                      <a:pt x="372" y="485"/>
                    </a:cubicBezTo>
                    <a:cubicBezTo>
                      <a:pt x="372" y="484"/>
                      <a:pt x="372" y="484"/>
                      <a:pt x="371" y="484"/>
                    </a:cubicBezTo>
                    <a:cubicBezTo>
                      <a:pt x="370" y="485"/>
                      <a:pt x="369" y="486"/>
                      <a:pt x="369" y="488"/>
                    </a:cubicBezTo>
                    <a:cubicBezTo>
                      <a:pt x="368" y="492"/>
                      <a:pt x="368" y="495"/>
                      <a:pt x="367" y="499"/>
                    </a:cubicBezTo>
                    <a:cubicBezTo>
                      <a:pt x="367" y="499"/>
                      <a:pt x="367" y="499"/>
                      <a:pt x="367" y="499"/>
                    </a:cubicBezTo>
                    <a:cubicBezTo>
                      <a:pt x="368" y="501"/>
                      <a:pt x="367" y="502"/>
                      <a:pt x="367" y="503"/>
                    </a:cubicBezTo>
                    <a:cubicBezTo>
                      <a:pt x="366" y="506"/>
                      <a:pt x="366" y="509"/>
                      <a:pt x="367" y="511"/>
                    </a:cubicBezTo>
                    <a:cubicBezTo>
                      <a:pt x="368" y="513"/>
                      <a:pt x="368" y="513"/>
                      <a:pt x="366" y="514"/>
                    </a:cubicBezTo>
                    <a:cubicBezTo>
                      <a:pt x="364" y="515"/>
                      <a:pt x="362" y="516"/>
                      <a:pt x="361" y="518"/>
                    </a:cubicBezTo>
                    <a:cubicBezTo>
                      <a:pt x="360" y="519"/>
                      <a:pt x="360" y="520"/>
                      <a:pt x="361" y="521"/>
                    </a:cubicBezTo>
                    <a:cubicBezTo>
                      <a:pt x="362" y="522"/>
                      <a:pt x="363" y="521"/>
                      <a:pt x="364" y="520"/>
                    </a:cubicBezTo>
                    <a:cubicBezTo>
                      <a:pt x="364" y="520"/>
                      <a:pt x="365" y="519"/>
                      <a:pt x="365" y="520"/>
                    </a:cubicBezTo>
                    <a:cubicBezTo>
                      <a:pt x="367" y="520"/>
                      <a:pt x="368" y="520"/>
                      <a:pt x="369" y="519"/>
                    </a:cubicBezTo>
                    <a:cubicBezTo>
                      <a:pt x="370" y="519"/>
                      <a:pt x="370" y="518"/>
                      <a:pt x="371" y="517"/>
                    </a:cubicBezTo>
                    <a:cubicBezTo>
                      <a:pt x="371" y="518"/>
                      <a:pt x="370" y="519"/>
                      <a:pt x="371" y="519"/>
                    </a:cubicBezTo>
                    <a:cubicBezTo>
                      <a:pt x="371" y="520"/>
                      <a:pt x="371" y="521"/>
                      <a:pt x="371" y="521"/>
                    </a:cubicBezTo>
                    <a:cubicBezTo>
                      <a:pt x="371" y="521"/>
                      <a:pt x="371" y="521"/>
                      <a:pt x="371" y="521"/>
                    </a:cubicBezTo>
                    <a:cubicBezTo>
                      <a:pt x="371" y="521"/>
                      <a:pt x="371" y="521"/>
                      <a:pt x="371" y="521"/>
                    </a:cubicBezTo>
                    <a:cubicBezTo>
                      <a:pt x="371" y="523"/>
                      <a:pt x="371" y="525"/>
                      <a:pt x="371" y="526"/>
                    </a:cubicBezTo>
                    <a:cubicBezTo>
                      <a:pt x="372" y="528"/>
                      <a:pt x="372" y="528"/>
                      <a:pt x="374" y="528"/>
                    </a:cubicBezTo>
                    <a:cubicBezTo>
                      <a:pt x="376" y="527"/>
                      <a:pt x="379" y="526"/>
                      <a:pt x="379" y="522"/>
                    </a:cubicBezTo>
                    <a:cubicBezTo>
                      <a:pt x="379" y="521"/>
                      <a:pt x="380" y="520"/>
                      <a:pt x="381" y="521"/>
                    </a:cubicBezTo>
                    <a:cubicBezTo>
                      <a:pt x="382" y="521"/>
                      <a:pt x="382" y="520"/>
                      <a:pt x="382" y="520"/>
                    </a:cubicBezTo>
                    <a:cubicBezTo>
                      <a:pt x="382" y="520"/>
                      <a:pt x="383" y="519"/>
                      <a:pt x="383" y="519"/>
                    </a:cubicBezTo>
                    <a:cubicBezTo>
                      <a:pt x="385" y="518"/>
                      <a:pt x="385" y="517"/>
                      <a:pt x="385" y="515"/>
                    </a:cubicBezTo>
                    <a:cubicBezTo>
                      <a:pt x="385" y="514"/>
                      <a:pt x="385" y="513"/>
                      <a:pt x="387" y="513"/>
                    </a:cubicBezTo>
                    <a:cubicBezTo>
                      <a:pt x="387" y="513"/>
                      <a:pt x="388" y="513"/>
                      <a:pt x="388" y="512"/>
                    </a:cubicBezTo>
                    <a:cubicBezTo>
                      <a:pt x="388" y="512"/>
                      <a:pt x="389" y="512"/>
                      <a:pt x="389" y="512"/>
                    </a:cubicBezTo>
                    <a:cubicBezTo>
                      <a:pt x="389" y="512"/>
                      <a:pt x="389" y="513"/>
                      <a:pt x="389" y="513"/>
                    </a:cubicBezTo>
                    <a:cubicBezTo>
                      <a:pt x="389" y="513"/>
                      <a:pt x="388" y="514"/>
                      <a:pt x="388" y="514"/>
                    </a:cubicBezTo>
                    <a:cubicBezTo>
                      <a:pt x="388" y="515"/>
                      <a:pt x="388" y="515"/>
                      <a:pt x="388" y="515"/>
                    </a:cubicBezTo>
                    <a:cubicBezTo>
                      <a:pt x="388" y="515"/>
                      <a:pt x="389" y="515"/>
                      <a:pt x="389" y="515"/>
                    </a:cubicBezTo>
                    <a:cubicBezTo>
                      <a:pt x="390" y="515"/>
                      <a:pt x="391" y="515"/>
                      <a:pt x="392" y="515"/>
                    </a:cubicBezTo>
                    <a:cubicBezTo>
                      <a:pt x="393" y="516"/>
                      <a:pt x="393" y="517"/>
                      <a:pt x="392" y="518"/>
                    </a:cubicBezTo>
                    <a:cubicBezTo>
                      <a:pt x="392" y="518"/>
                      <a:pt x="392" y="519"/>
                      <a:pt x="392" y="519"/>
                    </a:cubicBezTo>
                    <a:cubicBezTo>
                      <a:pt x="393" y="520"/>
                      <a:pt x="393" y="520"/>
                      <a:pt x="394" y="520"/>
                    </a:cubicBezTo>
                    <a:cubicBezTo>
                      <a:pt x="394" y="519"/>
                      <a:pt x="395" y="520"/>
                      <a:pt x="396" y="520"/>
                    </a:cubicBezTo>
                    <a:cubicBezTo>
                      <a:pt x="397" y="521"/>
                      <a:pt x="399" y="522"/>
                      <a:pt x="401" y="523"/>
                    </a:cubicBezTo>
                    <a:cubicBezTo>
                      <a:pt x="401" y="523"/>
                      <a:pt x="402" y="523"/>
                      <a:pt x="402" y="523"/>
                    </a:cubicBezTo>
                    <a:cubicBezTo>
                      <a:pt x="403" y="521"/>
                      <a:pt x="405" y="521"/>
                      <a:pt x="406" y="520"/>
                    </a:cubicBezTo>
                    <a:cubicBezTo>
                      <a:pt x="406" y="519"/>
                      <a:pt x="406" y="518"/>
                      <a:pt x="407" y="518"/>
                    </a:cubicBezTo>
                    <a:cubicBezTo>
                      <a:pt x="407" y="518"/>
                      <a:pt x="408" y="518"/>
                      <a:pt x="408" y="518"/>
                    </a:cubicBezTo>
                    <a:close/>
                    <a:moveTo>
                      <a:pt x="371" y="516"/>
                    </a:moveTo>
                    <a:cubicBezTo>
                      <a:pt x="371" y="516"/>
                      <a:pt x="371" y="516"/>
                      <a:pt x="371" y="516"/>
                    </a:cubicBezTo>
                    <a:cubicBezTo>
                      <a:pt x="371" y="516"/>
                      <a:pt x="371" y="516"/>
                      <a:pt x="371" y="516"/>
                    </a:cubicBezTo>
                    <a:cubicBezTo>
                      <a:pt x="371" y="516"/>
                      <a:pt x="371" y="516"/>
                      <a:pt x="371" y="516"/>
                    </a:cubicBezTo>
                    <a:close/>
                    <a:moveTo>
                      <a:pt x="371" y="516"/>
                    </a:moveTo>
                    <a:cubicBezTo>
                      <a:pt x="371" y="516"/>
                      <a:pt x="371" y="516"/>
                      <a:pt x="371" y="516"/>
                    </a:cubicBezTo>
                    <a:cubicBezTo>
                      <a:pt x="371" y="516"/>
                      <a:pt x="371" y="516"/>
                      <a:pt x="371" y="516"/>
                    </a:cubicBezTo>
                    <a:cubicBezTo>
                      <a:pt x="371" y="516"/>
                      <a:pt x="371" y="516"/>
                      <a:pt x="371" y="516"/>
                    </a:cubicBezTo>
                    <a:close/>
                    <a:moveTo>
                      <a:pt x="396" y="532"/>
                    </a:moveTo>
                    <a:cubicBezTo>
                      <a:pt x="396" y="534"/>
                      <a:pt x="395" y="535"/>
                      <a:pt x="394" y="536"/>
                    </a:cubicBezTo>
                    <a:cubicBezTo>
                      <a:pt x="392" y="537"/>
                      <a:pt x="392" y="538"/>
                      <a:pt x="391" y="540"/>
                    </a:cubicBezTo>
                    <a:cubicBezTo>
                      <a:pt x="390" y="541"/>
                      <a:pt x="389" y="541"/>
                      <a:pt x="388" y="542"/>
                    </a:cubicBezTo>
                    <a:cubicBezTo>
                      <a:pt x="388" y="542"/>
                      <a:pt x="388" y="542"/>
                      <a:pt x="388" y="542"/>
                    </a:cubicBezTo>
                    <a:cubicBezTo>
                      <a:pt x="387" y="540"/>
                      <a:pt x="386" y="541"/>
                      <a:pt x="385" y="542"/>
                    </a:cubicBezTo>
                    <a:cubicBezTo>
                      <a:pt x="384" y="542"/>
                      <a:pt x="384" y="542"/>
                      <a:pt x="384" y="541"/>
                    </a:cubicBezTo>
                    <a:cubicBezTo>
                      <a:pt x="384" y="541"/>
                      <a:pt x="384" y="540"/>
                      <a:pt x="383" y="539"/>
                    </a:cubicBezTo>
                    <a:cubicBezTo>
                      <a:pt x="382" y="538"/>
                      <a:pt x="382" y="537"/>
                      <a:pt x="383" y="536"/>
                    </a:cubicBezTo>
                    <a:cubicBezTo>
                      <a:pt x="384" y="536"/>
                      <a:pt x="385" y="534"/>
                      <a:pt x="385" y="533"/>
                    </a:cubicBezTo>
                    <a:cubicBezTo>
                      <a:pt x="385" y="532"/>
                      <a:pt x="386" y="531"/>
                      <a:pt x="386" y="531"/>
                    </a:cubicBezTo>
                    <a:cubicBezTo>
                      <a:pt x="387" y="530"/>
                      <a:pt x="387" y="531"/>
                      <a:pt x="388" y="532"/>
                    </a:cubicBezTo>
                    <a:cubicBezTo>
                      <a:pt x="388" y="532"/>
                      <a:pt x="389" y="532"/>
                      <a:pt x="389" y="531"/>
                    </a:cubicBezTo>
                    <a:cubicBezTo>
                      <a:pt x="390" y="531"/>
                      <a:pt x="391" y="530"/>
                      <a:pt x="392" y="531"/>
                    </a:cubicBezTo>
                    <a:cubicBezTo>
                      <a:pt x="392" y="531"/>
                      <a:pt x="393" y="531"/>
                      <a:pt x="393" y="530"/>
                    </a:cubicBezTo>
                    <a:cubicBezTo>
                      <a:pt x="394" y="529"/>
                      <a:pt x="395" y="530"/>
                      <a:pt x="396" y="531"/>
                    </a:cubicBezTo>
                    <a:cubicBezTo>
                      <a:pt x="396" y="531"/>
                      <a:pt x="396" y="532"/>
                      <a:pt x="396" y="532"/>
                    </a:cubicBezTo>
                    <a:close/>
                    <a:moveTo>
                      <a:pt x="438" y="442"/>
                    </a:moveTo>
                    <a:cubicBezTo>
                      <a:pt x="439" y="443"/>
                      <a:pt x="440" y="443"/>
                      <a:pt x="441" y="443"/>
                    </a:cubicBezTo>
                    <a:cubicBezTo>
                      <a:pt x="442" y="444"/>
                      <a:pt x="443" y="445"/>
                      <a:pt x="443" y="447"/>
                    </a:cubicBezTo>
                    <a:cubicBezTo>
                      <a:pt x="442" y="448"/>
                      <a:pt x="442" y="449"/>
                      <a:pt x="442" y="450"/>
                    </a:cubicBezTo>
                    <a:cubicBezTo>
                      <a:pt x="443" y="452"/>
                      <a:pt x="443" y="454"/>
                      <a:pt x="442" y="456"/>
                    </a:cubicBezTo>
                    <a:cubicBezTo>
                      <a:pt x="442" y="456"/>
                      <a:pt x="442" y="456"/>
                      <a:pt x="442" y="456"/>
                    </a:cubicBezTo>
                    <a:cubicBezTo>
                      <a:pt x="442" y="457"/>
                      <a:pt x="441" y="458"/>
                      <a:pt x="441" y="459"/>
                    </a:cubicBezTo>
                    <a:cubicBezTo>
                      <a:pt x="439" y="460"/>
                      <a:pt x="437" y="462"/>
                      <a:pt x="435" y="461"/>
                    </a:cubicBezTo>
                    <a:cubicBezTo>
                      <a:pt x="434" y="461"/>
                      <a:pt x="434" y="461"/>
                      <a:pt x="433" y="461"/>
                    </a:cubicBezTo>
                    <a:cubicBezTo>
                      <a:pt x="429" y="463"/>
                      <a:pt x="428" y="461"/>
                      <a:pt x="428" y="458"/>
                    </a:cubicBezTo>
                    <a:cubicBezTo>
                      <a:pt x="428" y="457"/>
                      <a:pt x="428" y="457"/>
                      <a:pt x="428" y="456"/>
                    </a:cubicBezTo>
                    <a:cubicBezTo>
                      <a:pt x="428" y="456"/>
                      <a:pt x="428" y="456"/>
                      <a:pt x="428" y="456"/>
                    </a:cubicBezTo>
                    <a:cubicBezTo>
                      <a:pt x="427" y="454"/>
                      <a:pt x="428" y="451"/>
                      <a:pt x="429" y="449"/>
                    </a:cubicBezTo>
                    <a:cubicBezTo>
                      <a:pt x="429" y="449"/>
                      <a:pt x="429" y="448"/>
                      <a:pt x="429" y="448"/>
                    </a:cubicBezTo>
                    <a:cubicBezTo>
                      <a:pt x="429" y="448"/>
                      <a:pt x="429" y="448"/>
                      <a:pt x="429" y="448"/>
                    </a:cubicBezTo>
                    <a:cubicBezTo>
                      <a:pt x="430" y="447"/>
                      <a:pt x="430" y="446"/>
                      <a:pt x="431" y="444"/>
                    </a:cubicBezTo>
                    <a:cubicBezTo>
                      <a:pt x="432" y="443"/>
                      <a:pt x="433" y="442"/>
                      <a:pt x="435" y="443"/>
                    </a:cubicBezTo>
                    <a:cubicBezTo>
                      <a:pt x="435" y="443"/>
                      <a:pt x="436" y="443"/>
                      <a:pt x="436" y="442"/>
                    </a:cubicBezTo>
                    <a:cubicBezTo>
                      <a:pt x="437" y="442"/>
                      <a:pt x="437" y="442"/>
                      <a:pt x="438" y="442"/>
                    </a:cubicBezTo>
                    <a:close/>
                    <a:moveTo>
                      <a:pt x="413" y="539"/>
                    </a:moveTo>
                    <a:cubicBezTo>
                      <a:pt x="414" y="541"/>
                      <a:pt x="414" y="542"/>
                      <a:pt x="413" y="544"/>
                    </a:cubicBezTo>
                    <a:cubicBezTo>
                      <a:pt x="412" y="546"/>
                      <a:pt x="412" y="548"/>
                      <a:pt x="411" y="549"/>
                    </a:cubicBezTo>
                    <a:cubicBezTo>
                      <a:pt x="411" y="550"/>
                      <a:pt x="411" y="550"/>
                      <a:pt x="410" y="550"/>
                    </a:cubicBezTo>
                    <a:cubicBezTo>
                      <a:pt x="410" y="550"/>
                      <a:pt x="410" y="550"/>
                      <a:pt x="410" y="549"/>
                    </a:cubicBezTo>
                    <a:cubicBezTo>
                      <a:pt x="409" y="549"/>
                      <a:pt x="409" y="548"/>
                      <a:pt x="408" y="547"/>
                    </a:cubicBezTo>
                    <a:cubicBezTo>
                      <a:pt x="407" y="547"/>
                      <a:pt x="407" y="546"/>
                      <a:pt x="407" y="545"/>
                    </a:cubicBezTo>
                    <a:cubicBezTo>
                      <a:pt x="407" y="543"/>
                      <a:pt x="408" y="541"/>
                      <a:pt x="409" y="539"/>
                    </a:cubicBezTo>
                    <a:cubicBezTo>
                      <a:pt x="410" y="538"/>
                      <a:pt x="412" y="538"/>
                      <a:pt x="413" y="539"/>
                    </a:cubicBezTo>
                    <a:close/>
                    <a:moveTo>
                      <a:pt x="447" y="445"/>
                    </a:moveTo>
                    <a:cubicBezTo>
                      <a:pt x="447" y="445"/>
                      <a:pt x="448" y="446"/>
                      <a:pt x="448" y="446"/>
                    </a:cubicBezTo>
                    <a:cubicBezTo>
                      <a:pt x="447" y="448"/>
                      <a:pt x="449" y="447"/>
                      <a:pt x="450" y="448"/>
                    </a:cubicBezTo>
                    <a:cubicBezTo>
                      <a:pt x="450" y="448"/>
                      <a:pt x="451" y="448"/>
                      <a:pt x="451" y="448"/>
                    </a:cubicBezTo>
                    <a:cubicBezTo>
                      <a:pt x="452" y="448"/>
                      <a:pt x="453" y="448"/>
                      <a:pt x="453" y="449"/>
                    </a:cubicBezTo>
                    <a:cubicBezTo>
                      <a:pt x="454" y="450"/>
                      <a:pt x="454" y="450"/>
                      <a:pt x="454" y="451"/>
                    </a:cubicBezTo>
                    <a:cubicBezTo>
                      <a:pt x="454" y="452"/>
                      <a:pt x="453" y="453"/>
                      <a:pt x="452" y="452"/>
                    </a:cubicBezTo>
                    <a:cubicBezTo>
                      <a:pt x="451" y="452"/>
                      <a:pt x="450" y="452"/>
                      <a:pt x="448" y="452"/>
                    </a:cubicBezTo>
                    <a:cubicBezTo>
                      <a:pt x="446" y="453"/>
                      <a:pt x="444" y="450"/>
                      <a:pt x="444" y="448"/>
                    </a:cubicBezTo>
                    <a:cubicBezTo>
                      <a:pt x="444" y="447"/>
                      <a:pt x="445" y="447"/>
                      <a:pt x="445" y="447"/>
                    </a:cubicBezTo>
                    <a:cubicBezTo>
                      <a:pt x="446" y="447"/>
                      <a:pt x="447" y="446"/>
                      <a:pt x="447" y="445"/>
                    </a:cubicBezTo>
                    <a:close/>
                    <a:moveTo>
                      <a:pt x="535" y="472"/>
                    </a:moveTo>
                    <a:cubicBezTo>
                      <a:pt x="534" y="471"/>
                      <a:pt x="534" y="470"/>
                      <a:pt x="533" y="469"/>
                    </a:cubicBezTo>
                    <a:cubicBezTo>
                      <a:pt x="533" y="469"/>
                      <a:pt x="533" y="469"/>
                      <a:pt x="533" y="469"/>
                    </a:cubicBezTo>
                    <a:cubicBezTo>
                      <a:pt x="533" y="469"/>
                      <a:pt x="532" y="469"/>
                      <a:pt x="532" y="469"/>
                    </a:cubicBezTo>
                    <a:cubicBezTo>
                      <a:pt x="532" y="469"/>
                      <a:pt x="532" y="469"/>
                      <a:pt x="532" y="469"/>
                    </a:cubicBezTo>
                    <a:cubicBezTo>
                      <a:pt x="532" y="469"/>
                      <a:pt x="532" y="469"/>
                      <a:pt x="532" y="469"/>
                    </a:cubicBezTo>
                    <a:cubicBezTo>
                      <a:pt x="532" y="469"/>
                      <a:pt x="532" y="468"/>
                      <a:pt x="532" y="468"/>
                    </a:cubicBezTo>
                    <a:cubicBezTo>
                      <a:pt x="532" y="468"/>
                      <a:pt x="532" y="467"/>
                      <a:pt x="532" y="467"/>
                    </a:cubicBezTo>
                    <a:cubicBezTo>
                      <a:pt x="531" y="467"/>
                      <a:pt x="531" y="466"/>
                      <a:pt x="530" y="466"/>
                    </a:cubicBezTo>
                    <a:cubicBezTo>
                      <a:pt x="530" y="466"/>
                      <a:pt x="530" y="466"/>
                      <a:pt x="530" y="466"/>
                    </a:cubicBezTo>
                    <a:cubicBezTo>
                      <a:pt x="530" y="466"/>
                      <a:pt x="530" y="465"/>
                      <a:pt x="529" y="465"/>
                    </a:cubicBezTo>
                    <a:cubicBezTo>
                      <a:pt x="529" y="465"/>
                      <a:pt x="529" y="465"/>
                      <a:pt x="529" y="466"/>
                    </a:cubicBezTo>
                    <a:cubicBezTo>
                      <a:pt x="529" y="466"/>
                      <a:pt x="529" y="467"/>
                      <a:pt x="528" y="467"/>
                    </a:cubicBezTo>
                    <a:cubicBezTo>
                      <a:pt x="527" y="466"/>
                      <a:pt x="527" y="467"/>
                      <a:pt x="527" y="467"/>
                    </a:cubicBezTo>
                    <a:cubicBezTo>
                      <a:pt x="527" y="468"/>
                      <a:pt x="527" y="468"/>
                      <a:pt x="527" y="468"/>
                    </a:cubicBezTo>
                    <a:cubicBezTo>
                      <a:pt x="527" y="468"/>
                      <a:pt x="527" y="468"/>
                      <a:pt x="527" y="468"/>
                    </a:cubicBezTo>
                    <a:cubicBezTo>
                      <a:pt x="526" y="468"/>
                      <a:pt x="527" y="467"/>
                      <a:pt x="526" y="467"/>
                    </a:cubicBezTo>
                    <a:cubicBezTo>
                      <a:pt x="526" y="467"/>
                      <a:pt x="526" y="467"/>
                      <a:pt x="526" y="467"/>
                    </a:cubicBezTo>
                    <a:cubicBezTo>
                      <a:pt x="525" y="467"/>
                      <a:pt x="525" y="467"/>
                      <a:pt x="525" y="468"/>
                    </a:cubicBezTo>
                    <a:cubicBezTo>
                      <a:pt x="526" y="469"/>
                      <a:pt x="525" y="470"/>
                      <a:pt x="524" y="471"/>
                    </a:cubicBezTo>
                    <a:cubicBezTo>
                      <a:pt x="524" y="471"/>
                      <a:pt x="524" y="471"/>
                      <a:pt x="524" y="471"/>
                    </a:cubicBezTo>
                    <a:cubicBezTo>
                      <a:pt x="524" y="471"/>
                      <a:pt x="525" y="470"/>
                      <a:pt x="525" y="469"/>
                    </a:cubicBezTo>
                    <a:cubicBezTo>
                      <a:pt x="525" y="468"/>
                      <a:pt x="525" y="467"/>
                      <a:pt x="524" y="466"/>
                    </a:cubicBezTo>
                    <a:cubicBezTo>
                      <a:pt x="524" y="466"/>
                      <a:pt x="524" y="467"/>
                      <a:pt x="523" y="467"/>
                    </a:cubicBezTo>
                    <a:cubicBezTo>
                      <a:pt x="523" y="467"/>
                      <a:pt x="523" y="467"/>
                      <a:pt x="523" y="467"/>
                    </a:cubicBezTo>
                    <a:cubicBezTo>
                      <a:pt x="522" y="467"/>
                      <a:pt x="521" y="467"/>
                      <a:pt x="521" y="468"/>
                    </a:cubicBezTo>
                    <a:cubicBezTo>
                      <a:pt x="521" y="469"/>
                      <a:pt x="521" y="470"/>
                      <a:pt x="521" y="471"/>
                    </a:cubicBezTo>
                    <a:cubicBezTo>
                      <a:pt x="520" y="470"/>
                      <a:pt x="521" y="469"/>
                      <a:pt x="521" y="468"/>
                    </a:cubicBezTo>
                    <a:cubicBezTo>
                      <a:pt x="520" y="468"/>
                      <a:pt x="520" y="469"/>
                      <a:pt x="520" y="469"/>
                    </a:cubicBezTo>
                    <a:cubicBezTo>
                      <a:pt x="520" y="468"/>
                      <a:pt x="520" y="467"/>
                      <a:pt x="521" y="467"/>
                    </a:cubicBezTo>
                    <a:cubicBezTo>
                      <a:pt x="522" y="466"/>
                      <a:pt x="522" y="466"/>
                      <a:pt x="522" y="465"/>
                    </a:cubicBezTo>
                    <a:cubicBezTo>
                      <a:pt x="522" y="464"/>
                      <a:pt x="522" y="463"/>
                      <a:pt x="523" y="463"/>
                    </a:cubicBezTo>
                    <a:cubicBezTo>
                      <a:pt x="524" y="463"/>
                      <a:pt x="523" y="462"/>
                      <a:pt x="524" y="461"/>
                    </a:cubicBezTo>
                    <a:cubicBezTo>
                      <a:pt x="524" y="461"/>
                      <a:pt x="523" y="460"/>
                      <a:pt x="523" y="460"/>
                    </a:cubicBezTo>
                    <a:cubicBezTo>
                      <a:pt x="522" y="460"/>
                      <a:pt x="522" y="461"/>
                      <a:pt x="521" y="461"/>
                    </a:cubicBezTo>
                    <a:cubicBezTo>
                      <a:pt x="521" y="461"/>
                      <a:pt x="521" y="462"/>
                      <a:pt x="521" y="462"/>
                    </a:cubicBezTo>
                    <a:cubicBezTo>
                      <a:pt x="521" y="463"/>
                      <a:pt x="521" y="464"/>
                      <a:pt x="520" y="464"/>
                    </a:cubicBezTo>
                    <a:cubicBezTo>
                      <a:pt x="520" y="462"/>
                      <a:pt x="520" y="462"/>
                      <a:pt x="518" y="462"/>
                    </a:cubicBezTo>
                    <a:cubicBezTo>
                      <a:pt x="518" y="462"/>
                      <a:pt x="517" y="462"/>
                      <a:pt x="517" y="462"/>
                    </a:cubicBezTo>
                    <a:cubicBezTo>
                      <a:pt x="517" y="462"/>
                      <a:pt x="517" y="462"/>
                      <a:pt x="517" y="462"/>
                    </a:cubicBezTo>
                    <a:cubicBezTo>
                      <a:pt x="517" y="462"/>
                      <a:pt x="517" y="460"/>
                      <a:pt x="516" y="461"/>
                    </a:cubicBezTo>
                    <a:cubicBezTo>
                      <a:pt x="516" y="461"/>
                      <a:pt x="516" y="461"/>
                      <a:pt x="516" y="461"/>
                    </a:cubicBezTo>
                    <a:cubicBezTo>
                      <a:pt x="516" y="461"/>
                      <a:pt x="515" y="461"/>
                      <a:pt x="515" y="461"/>
                    </a:cubicBezTo>
                    <a:cubicBezTo>
                      <a:pt x="515" y="460"/>
                      <a:pt x="515" y="461"/>
                      <a:pt x="516" y="461"/>
                    </a:cubicBezTo>
                    <a:cubicBezTo>
                      <a:pt x="516" y="460"/>
                      <a:pt x="516" y="460"/>
                      <a:pt x="516" y="460"/>
                    </a:cubicBezTo>
                    <a:cubicBezTo>
                      <a:pt x="516" y="460"/>
                      <a:pt x="516" y="460"/>
                      <a:pt x="516" y="460"/>
                    </a:cubicBezTo>
                    <a:cubicBezTo>
                      <a:pt x="516" y="460"/>
                      <a:pt x="516" y="460"/>
                      <a:pt x="516" y="460"/>
                    </a:cubicBezTo>
                    <a:cubicBezTo>
                      <a:pt x="517" y="459"/>
                      <a:pt x="517" y="458"/>
                      <a:pt x="516" y="458"/>
                    </a:cubicBezTo>
                    <a:cubicBezTo>
                      <a:pt x="516" y="457"/>
                      <a:pt x="516" y="457"/>
                      <a:pt x="516" y="457"/>
                    </a:cubicBezTo>
                    <a:cubicBezTo>
                      <a:pt x="516" y="456"/>
                      <a:pt x="516" y="455"/>
                      <a:pt x="515" y="455"/>
                    </a:cubicBezTo>
                    <a:cubicBezTo>
                      <a:pt x="516" y="454"/>
                      <a:pt x="515" y="453"/>
                      <a:pt x="514" y="453"/>
                    </a:cubicBezTo>
                    <a:cubicBezTo>
                      <a:pt x="514" y="453"/>
                      <a:pt x="514" y="453"/>
                      <a:pt x="513" y="452"/>
                    </a:cubicBezTo>
                    <a:cubicBezTo>
                      <a:pt x="512" y="451"/>
                      <a:pt x="512" y="451"/>
                      <a:pt x="511" y="452"/>
                    </a:cubicBezTo>
                    <a:cubicBezTo>
                      <a:pt x="511" y="452"/>
                      <a:pt x="511" y="452"/>
                      <a:pt x="511" y="452"/>
                    </a:cubicBezTo>
                    <a:cubicBezTo>
                      <a:pt x="510" y="452"/>
                      <a:pt x="510" y="453"/>
                      <a:pt x="510" y="453"/>
                    </a:cubicBezTo>
                    <a:cubicBezTo>
                      <a:pt x="510" y="453"/>
                      <a:pt x="510" y="453"/>
                      <a:pt x="510" y="453"/>
                    </a:cubicBezTo>
                    <a:cubicBezTo>
                      <a:pt x="510" y="453"/>
                      <a:pt x="510" y="453"/>
                      <a:pt x="509" y="453"/>
                    </a:cubicBezTo>
                    <a:cubicBezTo>
                      <a:pt x="509" y="453"/>
                      <a:pt x="509" y="453"/>
                      <a:pt x="509" y="453"/>
                    </a:cubicBezTo>
                    <a:cubicBezTo>
                      <a:pt x="509" y="453"/>
                      <a:pt x="509" y="453"/>
                      <a:pt x="509" y="453"/>
                    </a:cubicBezTo>
                    <a:cubicBezTo>
                      <a:pt x="509" y="453"/>
                      <a:pt x="509" y="454"/>
                      <a:pt x="509" y="454"/>
                    </a:cubicBezTo>
                    <a:cubicBezTo>
                      <a:pt x="508" y="453"/>
                      <a:pt x="509" y="453"/>
                      <a:pt x="509" y="453"/>
                    </a:cubicBezTo>
                    <a:cubicBezTo>
                      <a:pt x="510" y="452"/>
                      <a:pt x="510" y="452"/>
                      <a:pt x="509" y="451"/>
                    </a:cubicBezTo>
                    <a:cubicBezTo>
                      <a:pt x="510" y="451"/>
                      <a:pt x="510" y="450"/>
                      <a:pt x="511" y="449"/>
                    </a:cubicBezTo>
                    <a:cubicBezTo>
                      <a:pt x="512" y="449"/>
                      <a:pt x="512" y="449"/>
                      <a:pt x="511" y="448"/>
                    </a:cubicBezTo>
                    <a:cubicBezTo>
                      <a:pt x="510" y="447"/>
                      <a:pt x="509" y="447"/>
                      <a:pt x="509" y="448"/>
                    </a:cubicBezTo>
                    <a:cubicBezTo>
                      <a:pt x="509" y="449"/>
                      <a:pt x="509" y="449"/>
                      <a:pt x="508" y="449"/>
                    </a:cubicBezTo>
                    <a:cubicBezTo>
                      <a:pt x="508" y="449"/>
                      <a:pt x="508" y="449"/>
                      <a:pt x="508" y="449"/>
                    </a:cubicBezTo>
                    <a:cubicBezTo>
                      <a:pt x="508" y="449"/>
                      <a:pt x="508" y="449"/>
                      <a:pt x="508" y="449"/>
                    </a:cubicBezTo>
                    <a:cubicBezTo>
                      <a:pt x="508" y="450"/>
                      <a:pt x="507" y="450"/>
                      <a:pt x="507" y="450"/>
                    </a:cubicBezTo>
                    <a:cubicBezTo>
                      <a:pt x="507" y="450"/>
                      <a:pt x="507" y="450"/>
                      <a:pt x="507" y="450"/>
                    </a:cubicBezTo>
                    <a:cubicBezTo>
                      <a:pt x="507" y="450"/>
                      <a:pt x="507" y="450"/>
                      <a:pt x="507" y="450"/>
                    </a:cubicBezTo>
                    <a:cubicBezTo>
                      <a:pt x="507" y="449"/>
                      <a:pt x="507" y="448"/>
                      <a:pt x="506" y="448"/>
                    </a:cubicBezTo>
                    <a:cubicBezTo>
                      <a:pt x="505" y="448"/>
                      <a:pt x="505" y="449"/>
                      <a:pt x="505" y="449"/>
                    </a:cubicBezTo>
                    <a:cubicBezTo>
                      <a:pt x="505" y="450"/>
                      <a:pt x="505" y="450"/>
                      <a:pt x="505" y="450"/>
                    </a:cubicBezTo>
                    <a:cubicBezTo>
                      <a:pt x="505" y="450"/>
                      <a:pt x="505" y="450"/>
                      <a:pt x="505" y="450"/>
                    </a:cubicBezTo>
                    <a:cubicBezTo>
                      <a:pt x="504" y="451"/>
                      <a:pt x="504" y="451"/>
                      <a:pt x="504" y="452"/>
                    </a:cubicBezTo>
                    <a:cubicBezTo>
                      <a:pt x="504" y="452"/>
                      <a:pt x="503" y="452"/>
                      <a:pt x="503" y="452"/>
                    </a:cubicBezTo>
                    <a:cubicBezTo>
                      <a:pt x="503" y="452"/>
                      <a:pt x="503" y="452"/>
                      <a:pt x="503" y="452"/>
                    </a:cubicBezTo>
                    <a:cubicBezTo>
                      <a:pt x="504" y="451"/>
                      <a:pt x="504" y="449"/>
                      <a:pt x="503" y="448"/>
                    </a:cubicBezTo>
                    <a:cubicBezTo>
                      <a:pt x="502" y="449"/>
                      <a:pt x="501" y="449"/>
                      <a:pt x="501" y="450"/>
                    </a:cubicBezTo>
                    <a:cubicBezTo>
                      <a:pt x="501" y="450"/>
                      <a:pt x="501" y="449"/>
                      <a:pt x="501" y="449"/>
                    </a:cubicBezTo>
                    <a:cubicBezTo>
                      <a:pt x="501" y="449"/>
                      <a:pt x="501" y="449"/>
                      <a:pt x="501" y="449"/>
                    </a:cubicBezTo>
                    <a:cubicBezTo>
                      <a:pt x="501" y="449"/>
                      <a:pt x="501" y="449"/>
                      <a:pt x="501" y="449"/>
                    </a:cubicBezTo>
                    <a:cubicBezTo>
                      <a:pt x="501" y="448"/>
                      <a:pt x="502" y="448"/>
                      <a:pt x="501" y="447"/>
                    </a:cubicBezTo>
                    <a:cubicBezTo>
                      <a:pt x="501" y="446"/>
                      <a:pt x="501" y="446"/>
                      <a:pt x="500" y="445"/>
                    </a:cubicBezTo>
                    <a:cubicBezTo>
                      <a:pt x="499" y="445"/>
                      <a:pt x="499" y="446"/>
                      <a:pt x="498" y="446"/>
                    </a:cubicBezTo>
                    <a:cubicBezTo>
                      <a:pt x="498" y="446"/>
                      <a:pt x="498" y="446"/>
                      <a:pt x="498" y="446"/>
                    </a:cubicBezTo>
                    <a:cubicBezTo>
                      <a:pt x="498" y="446"/>
                      <a:pt x="498" y="446"/>
                      <a:pt x="497" y="446"/>
                    </a:cubicBezTo>
                    <a:cubicBezTo>
                      <a:pt x="497" y="446"/>
                      <a:pt x="497" y="446"/>
                      <a:pt x="497" y="446"/>
                    </a:cubicBezTo>
                    <a:cubicBezTo>
                      <a:pt x="497" y="446"/>
                      <a:pt x="497" y="446"/>
                      <a:pt x="497" y="446"/>
                    </a:cubicBezTo>
                    <a:cubicBezTo>
                      <a:pt x="497" y="446"/>
                      <a:pt x="497" y="446"/>
                      <a:pt x="497" y="445"/>
                    </a:cubicBezTo>
                    <a:cubicBezTo>
                      <a:pt x="498" y="445"/>
                      <a:pt x="498" y="444"/>
                      <a:pt x="497" y="444"/>
                    </a:cubicBezTo>
                    <a:cubicBezTo>
                      <a:pt x="496" y="443"/>
                      <a:pt x="495" y="443"/>
                      <a:pt x="495" y="445"/>
                    </a:cubicBezTo>
                    <a:cubicBezTo>
                      <a:pt x="495" y="445"/>
                      <a:pt x="495" y="445"/>
                      <a:pt x="495" y="445"/>
                    </a:cubicBezTo>
                    <a:cubicBezTo>
                      <a:pt x="494" y="444"/>
                      <a:pt x="494" y="444"/>
                      <a:pt x="494" y="444"/>
                    </a:cubicBezTo>
                    <a:cubicBezTo>
                      <a:pt x="494" y="444"/>
                      <a:pt x="494" y="444"/>
                      <a:pt x="494" y="444"/>
                    </a:cubicBezTo>
                    <a:cubicBezTo>
                      <a:pt x="495" y="443"/>
                      <a:pt x="495" y="443"/>
                      <a:pt x="495" y="442"/>
                    </a:cubicBezTo>
                    <a:cubicBezTo>
                      <a:pt x="496" y="442"/>
                      <a:pt x="495" y="442"/>
                      <a:pt x="495" y="442"/>
                    </a:cubicBezTo>
                    <a:cubicBezTo>
                      <a:pt x="495" y="442"/>
                      <a:pt x="495" y="442"/>
                      <a:pt x="495" y="442"/>
                    </a:cubicBezTo>
                    <a:cubicBezTo>
                      <a:pt x="495" y="442"/>
                      <a:pt x="495" y="442"/>
                      <a:pt x="495" y="442"/>
                    </a:cubicBezTo>
                    <a:cubicBezTo>
                      <a:pt x="494" y="441"/>
                      <a:pt x="494" y="442"/>
                      <a:pt x="493" y="442"/>
                    </a:cubicBezTo>
                    <a:cubicBezTo>
                      <a:pt x="493" y="442"/>
                      <a:pt x="493" y="442"/>
                      <a:pt x="493" y="442"/>
                    </a:cubicBezTo>
                    <a:cubicBezTo>
                      <a:pt x="493" y="443"/>
                      <a:pt x="493" y="443"/>
                      <a:pt x="493" y="443"/>
                    </a:cubicBezTo>
                    <a:cubicBezTo>
                      <a:pt x="492" y="442"/>
                      <a:pt x="492" y="442"/>
                      <a:pt x="491" y="443"/>
                    </a:cubicBezTo>
                    <a:cubicBezTo>
                      <a:pt x="491" y="443"/>
                      <a:pt x="491" y="443"/>
                      <a:pt x="491" y="443"/>
                    </a:cubicBezTo>
                    <a:cubicBezTo>
                      <a:pt x="491" y="443"/>
                      <a:pt x="491" y="443"/>
                      <a:pt x="491" y="443"/>
                    </a:cubicBezTo>
                    <a:cubicBezTo>
                      <a:pt x="491" y="443"/>
                      <a:pt x="491" y="443"/>
                      <a:pt x="491" y="443"/>
                    </a:cubicBezTo>
                    <a:cubicBezTo>
                      <a:pt x="491" y="443"/>
                      <a:pt x="491" y="443"/>
                      <a:pt x="491" y="443"/>
                    </a:cubicBezTo>
                    <a:cubicBezTo>
                      <a:pt x="491" y="442"/>
                      <a:pt x="492" y="442"/>
                      <a:pt x="493" y="442"/>
                    </a:cubicBezTo>
                    <a:cubicBezTo>
                      <a:pt x="493" y="441"/>
                      <a:pt x="494" y="441"/>
                      <a:pt x="494" y="441"/>
                    </a:cubicBezTo>
                    <a:cubicBezTo>
                      <a:pt x="495" y="441"/>
                      <a:pt x="496" y="441"/>
                      <a:pt x="497" y="441"/>
                    </a:cubicBezTo>
                    <a:cubicBezTo>
                      <a:pt x="497" y="441"/>
                      <a:pt x="498" y="441"/>
                      <a:pt x="498" y="440"/>
                    </a:cubicBezTo>
                    <a:cubicBezTo>
                      <a:pt x="497" y="440"/>
                      <a:pt x="496" y="439"/>
                      <a:pt x="496" y="440"/>
                    </a:cubicBezTo>
                    <a:cubicBezTo>
                      <a:pt x="494" y="442"/>
                      <a:pt x="495" y="439"/>
                      <a:pt x="494" y="439"/>
                    </a:cubicBezTo>
                    <a:cubicBezTo>
                      <a:pt x="494" y="439"/>
                      <a:pt x="493" y="439"/>
                      <a:pt x="493" y="439"/>
                    </a:cubicBezTo>
                    <a:cubicBezTo>
                      <a:pt x="493" y="440"/>
                      <a:pt x="492" y="440"/>
                      <a:pt x="492" y="440"/>
                    </a:cubicBezTo>
                    <a:cubicBezTo>
                      <a:pt x="492" y="440"/>
                      <a:pt x="492" y="440"/>
                      <a:pt x="492" y="440"/>
                    </a:cubicBezTo>
                    <a:cubicBezTo>
                      <a:pt x="492" y="440"/>
                      <a:pt x="492" y="440"/>
                      <a:pt x="492" y="440"/>
                    </a:cubicBezTo>
                    <a:cubicBezTo>
                      <a:pt x="492" y="439"/>
                      <a:pt x="492" y="439"/>
                      <a:pt x="492" y="439"/>
                    </a:cubicBezTo>
                    <a:cubicBezTo>
                      <a:pt x="493" y="439"/>
                      <a:pt x="493" y="439"/>
                      <a:pt x="493" y="438"/>
                    </a:cubicBezTo>
                    <a:cubicBezTo>
                      <a:pt x="493" y="438"/>
                      <a:pt x="492" y="438"/>
                      <a:pt x="492" y="438"/>
                    </a:cubicBezTo>
                    <a:cubicBezTo>
                      <a:pt x="491" y="438"/>
                      <a:pt x="491" y="439"/>
                      <a:pt x="490" y="438"/>
                    </a:cubicBezTo>
                    <a:cubicBezTo>
                      <a:pt x="490" y="438"/>
                      <a:pt x="489" y="438"/>
                      <a:pt x="489" y="438"/>
                    </a:cubicBezTo>
                    <a:cubicBezTo>
                      <a:pt x="489" y="438"/>
                      <a:pt x="489" y="438"/>
                      <a:pt x="489" y="438"/>
                    </a:cubicBezTo>
                    <a:cubicBezTo>
                      <a:pt x="489" y="438"/>
                      <a:pt x="489" y="438"/>
                      <a:pt x="489" y="438"/>
                    </a:cubicBezTo>
                    <a:cubicBezTo>
                      <a:pt x="489" y="438"/>
                      <a:pt x="488" y="438"/>
                      <a:pt x="488" y="438"/>
                    </a:cubicBezTo>
                    <a:cubicBezTo>
                      <a:pt x="487" y="437"/>
                      <a:pt x="486" y="438"/>
                      <a:pt x="485" y="438"/>
                    </a:cubicBezTo>
                    <a:cubicBezTo>
                      <a:pt x="486" y="437"/>
                      <a:pt x="486" y="438"/>
                      <a:pt x="486" y="437"/>
                    </a:cubicBezTo>
                    <a:cubicBezTo>
                      <a:pt x="486" y="436"/>
                      <a:pt x="485" y="436"/>
                      <a:pt x="485" y="437"/>
                    </a:cubicBezTo>
                    <a:cubicBezTo>
                      <a:pt x="485" y="437"/>
                      <a:pt x="485" y="437"/>
                      <a:pt x="484" y="437"/>
                    </a:cubicBezTo>
                    <a:cubicBezTo>
                      <a:pt x="484" y="437"/>
                      <a:pt x="485" y="436"/>
                      <a:pt x="485" y="436"/>
                    </a:cubicBezTo>
                    <a:cubicBezTo>
                      <a:pt x="485" y="436"/>
                      <a:pt x="486" y="436"/>
                      <a:pt x="486" y="436"/>
                    </a:cubicBezTo>
                    <a:cubicBezTo>
                      <a:pt x="487" y="437"/>
                      <a:pt x="488" y="436"/>
                      <a:pt x="489" y="436"/>
                    </a:cubicBezTo>
                    <a:cubicBezTo>
                      <a:pt x="488" y="434"/>
                      <a:pt x="486" y="435"/>
                      <a:pt x="485" y="435"/>
                    </a:cubicBezTo>
                    <a:cubicBezTo>
                      <a:pt x="485" y="435"/>
                      <a:pt x="485" y="435"/>
                      <a:pt x="485" y="435"/>
                    </a:cubicBezTo>
                    <a:cubicBezTo>
                      <a:pt x="485" y="434"/>
                      <a:pt x="485" y="434"/>
                      <a:pt x="485" y="434"/>
                    </a:cubicBezTo>
                    <a:cubicBezTo>
                      <a:pt x="485" y="434"/>
                      <a:pt x="485" y="434"/>
                      <a:pt x="485" y="434"/>
                    </a:cubicBezTo>
                    <a:cubicBezTo>
                      <a:pt x="485" y="434"/>
                      <a:pt x="484" y="434"/>
                      <a:pt x="484" y="434"/>
                    </a:cubicBezTo>
                    <a:cubicBezTo>
                      <a:pt x="484" y="433"/>
                      <a:pt x="485" y="434"/>
                      <a:pt x="485" y="434"/>
                    </a:cubicBezTo>
                    <a:cubicBezTo>
                      <a:pt x="485" y="434"/>
                      <a:pt x="485" y="434"/>
                      <a:pt x="485" y="434"/>
                    </a:cubicBezTo>
                    <a:cubicBezTo>
                      <a:pt x="485" y="434"/>
                      <a:pt x="485" y="434"/>
                      <a:pt x="485" y="434"/>
                    </a:cubicBezTo>
                    <a:cubicBezTo>
                      <a:pt x="486" y="434"/>
                      <a:pt x="486" y="433"/>
                      <a:pt x="486" y="433"/>
                    </a:cubicBezTo>
                    <a:cubicBezTo>
                      <a:pt x="488" y="433"/>
                      <a:pt x="489" y="433"/>
                      <a:pt x="490" y="434"/>
                    </a:cubicBezTo>
                    <a:cubicBezTo>
                      <a:pt x="490" y="434"/>
                      <a:pt x="491" y="434"/>
                      <a:pt x="491" y="434"/>
                    </a:cubicBezTo>
                    <a:cubicBezTo>
                      <a:pt x="489" y="433"/>
                      <a:pt x="488" y="432"/>
                      <a:pt x="487" y="432"/>
                    </a:cubicBezTo>
                    <a:cubicBezTo>
                      <a:pt x="487" y="431"/>
                      <a:pt x="488" y="432"/>
                      <a:pt x="488" y="432"/>
                    </a:cubicBezTo>
                    <a:cubicBezTo>
                      <a:pt x="489" y="432"/>
                      <a:pt x="489" y="432"/>
                      <a:pt x="490" y="432"/>
                    </a:cubicBezTo>
                    <a:cubicBezTo>
                      <a:pt x="490" y="431"/>
                      <a:pt x="489" y="431"/>
                      <a:pt x="489" y="431"/>
                    </a:cubicBezTo>
                    <a:cubicBezTo>
                      <a:pt x="489" y="430"/>
                      <a:pt x="490" y="430"/>
                      <a:pt x="490" y="430"/>
                    </a:cubicBezTo>
                    <a:cubicBezTo>
                      <a:pt x="490" y="430"/>
                      <a:pt x="490" y="430"/>
                      <a:pt x="490" y="430"/>
                    </a:cubicBezTo>
                    <a:cubicBezTo>
                      <a:pt x="490" y="430"/>
                      <a:pt x="490" y="430"/>
                      <a:pt x="490" y="430"/>
                    </a:cubicBezTo>
                    <a:cubicBezTo>
                      <a:pt x="490" y="430"/>
                      <a:pt x="491" y="430"/>
                      <a:pt x="491" y="429"/>
                    </a:cubicBezTo>
                    <a:cubicBezTo>
                      <a:pt x="490" y="428"/>
                      <a:pt x="489" y="427"/>
                      <a:pt x="488" y="427"/>
                    </a:cubicBezTo>
                    <a:cubicBezTo>
                      <a:pt x="487" y="427"/>
                      <a:pt x="487" y="427"/>
                      <a:pt x="487" y="426"/>
                    </a:cubicBezTo>
                    <a:cubicBezTo>
                      <a:pt x="486" y="426"/>
                      <a:pt x="486" y="426"/>
                      <a:pt x="486" y="426"/>
                    </a:cubicBezTo>
                    <a:cubicBezTo>
                      <a:pt x="486" y="426"/>
                      <a:pt x="486" y="426"/>
                      <a:pt x="486" y="426"/>
                    </a:cubicBezTo>
                    <a:cubicBezTo>
                      <a:pt x="486" y="426"/>
                      <a:pt x="486" y="426"/>
                      <a:pt x="486" y="426"/>
                    </a:cubicBezTo>
                    <a:cubicBezTo>
                      <a:pt x="486" y="426"/>
                      <a:pt x="486" y="426"/>
                      <a:pt x="486" y="426"/>
                    </a:cubicBezTo>
                    <a:cubicBezTo>
                      <a:pt x="486" y="426"/>
                      <a:pt x="487" y="426"/>
                      <a:pt x="487" y="426"/>
                    </a:cubicBezTo>
                    <a:cubicBezTo>
                      <a:pt x="487" y="426"/>
                      <a:pt x="487" y="426"/>
                      <a:pt x="487" y="426"/>
                    </a:cubicBezTo>
                    <a:cubicBezTo>
                      <a:pt x="487" y="426"/>
                      <a:pt x="487" y="426"/>
                      <a:pt x="487" y="426"/>
                    </a:cubicBezTo>
                    <a:cubicBezTo>
                      <a:pt x="488" y="425"/>
                      <a:pt x="489" y="426"/>
                      <a:pt x="489" y="425"/>
                    </a:cubicBezTo>
                    <a:cubicBezTo>
                      <a:pt x="489" y="425"/>
                      <a:pt x="489" y="425"/>
                      <a:pt x="490" y="425"/>
                    </a:cubicBezTo>
                    <a:cubicBezTo>
                      <a:pt x="490" y="425"/>
                      <a:pt x="490" y="425"/>
                      <a:pt x="490" y="425"/>
                    </a:cubicBezTo>
                    <a:cubicBezTo>
                      <a:pt x="490" y="425"/>
                      <a:pt x="490" y="425"/>
                      <a:pt x="490" y="425"/>
                    </a:cubicBezTo>
                    <a:cubicBezTo>
                      <a:pt x="490" y="425"/>
                      <a:pt x="490" y="425"/>
                      <a:pt x="491" y="426"/>
                    </a:cubicBezTo>
                    <a:cubicBezTo>
                      <a:pt x="492" y="426"/>
                      <a:pt x="493" y="427"/>
                      <a:pt x="494" y="426"/>
                    </a:cubicBezTo>
                    <a:cubicBezTo>
                      <a:pt x="495" y="426"/>
                      <a:pt x="496" y="426"/>
                      <a:pt x="497" y="427"/>
                    </a:cubicBezTo>
                    <a:cubicBezTo>
                      <a:pt x="498" y="427"/>
                      <a:pt x="498" y="427"/>
                      <a:pt x="499" y="426"/>
                    </a:cubicBezTo>
                    <a:cubicBezTo>
                      <a:pt x="499" y="425"/>
                      <a:pt x="499" y="425"/>
                      <a:pt x="498" y="424"/>
                    </a:cubicBezTo>
                    <a:cubicBezTo>
                      <a:pt x="497" y="422"/>
                      <a:pt x="495" y="420"/>
                      <a:pt x="492" y="421"/>
                    </a:cubicBezTo>
                    <a:cubicBezTo>
                      <a:pt x="490" y="421"/>
                      <a:pt x="489" y="420"/>
                      <a:pt x="487" y="419"/>
                    </a:cubicBezTo>
                    <a:cubicBezTo>
                      <a:pt x="486" y="418"/>
                      <a:pt x="485" y="418"/>
                      <a:pt x="484" y="419"/>
                    </a:cubicBezTo>
                    <a:cubicBezTo>
                      <a:pt x="482" y="420"/>
                      <a:pt x="481" y="421"/>
                      <a:pt x="479" y="420"/>
                    </a:cubicBezTo>
                    <a:cubicBezTo>
                      <a:pt x="479" y="420"/>
                      <a:pt x="479" y="420"/>
                      <a:pt x="479" y="420"/>
                    </a:cubicBezTo>
                    <a:cubicBezTo>
                      <a:pt x="480" y="419"/>
                      <a:pt x="480" y="419"/>
                      <a:pt x="480" y="419"/>
                    </a:cubicBezTo>
                    <a:cubicBezTo>
                      <a:pt x="480" y="419"/>
                      <a:pt x="480" y="419"/>
                      <a:pt x="480" y="419"/>
                    </a:cubicBezTo>
                    <a:cubicBezTo>
                      <a:pt x="480" y="419"/>
                      <a:pt x="480" y="419"/>
                      <a:pt x="480" y="419"/>
                    </a:cubicBezTo>
                    <a:cubicBezTo>
                      <a:pt x="482" y="420"/>
                      <a:pt x="483" y="419"/>
                      <a:pt x="484" y="418"/>
                    </a:cubicBezTo>
                    <a:cubicBezTo>
                      <a:pt x="484" y="418"/>
                      <a:pt x="485" y="417"/>
                      <a:pt x="486" y="417"/>
                    </a:cubicBezTo>
                    <a:cubicBezTo>
                      <a:pt x="487" y="418"/>
                      <a:pt x="488" y="417"/>
                      <a:pt x="489" y="416"/>
                    </a:cubicBezTo>
                    <a:cubicBezTo>
                      <a:pt x="490" y="415"/>
                      <a:pt x="491" y="414"/>
                      <a:pt x="492" y="415"/>
                    </a:cubicBezTo>
                    <a:cubicBezTo>
                      <a:pt x="493" y="416"/>
                      <a:pt x="494" y="416"/>
                      <a:pt x="495" y="416"/>
                    </a:cubicBezTo>
                    <a:cubicBezTo>
                      <a:pt x="495" y="416"/>
                      <a:pt x="496" y="416"/>
                      <a:pt x="495" y="415"/>
                    </a:cubicBezTo>
                    <a:cubicBezTo>
                      <a:pt x="495" y="414"/>
                      <a:pt x="495" y="412"/>
                      <a:pt x="495" y="411"/>
                    </a:cubicBezTo>
                    <a:cubicBezTo>
                      <a:pt x="494" y="409"/>
                      <a:pt x="492" y="407"/>
                      <a:pt x="491" y="406"/>
                    </a:cubicBezTo>
                    <a:cubicBezTo>
                      <a:pt x="490" y="404"/>
                      <a:pt x="489" y="404"/>
                      <a:pt x="488" y="406"/>
                    </a:cubicBezTo>
                    <a:cubicBezTo>
                      <a:pt x="488" y="406"/>
                      <a:pt x="487" y="407"/>
                      <a:pt x="488" y="408"/>
                    </a:cubicBezTo>
                    <a:cubicBezTo>
                      <a:pt x="489" y="408"/>
                      <a:pt x="488" y="409"/>
                      <a:pt x="488" y="409"/>
                    </a:cubicBezTo>
                    <a:cubicBezTo>
                      <a:pt x="487" y="409"/>
                      <a:pt x="487" y="409"/>
                      <a:pt x="486" y="410"/>
                    </a:cubicBezTo>
                    <a:cubicBezTo>
                      <a:pt x="486" y="411"/>
                      <a:pt x="485" y="412"/>
                      <a:pt x="483" y="412"/>
                    </a:cubicBezTo>
                    <a:cubicBezTo>
                      <a:pt x="483" y="412"/>
                      <a:pt x="483" y="412"/>
                      <a:pt x="483" y="412"/>
                    </a:cubicBezTo>
                    <a:cubicBezTo>
                      <a:pt x="482" y="412"/>
                      <a:pt x="482" y="413"/>
                      <a:pt x="481" y="414"/>
                    </a:cubicBezTo>
                    <a:cubicBezTo>
                      <a:pt x="481" y="415"/>
                      <a:pt x="480" y="415"/>
                      <a:pt x="479" y="414"/>
                    </a:cubicBezTo>
                    <a:cubicBezTo>
                      <a:pt x="479" y="414"/>
                      <a:pt x="478" y="414"/>
                      <a:pt x="478" y="415"/>
                    </a:cubicBezTo>
                    <a:cubicBezTo>
                      <a:pt x="478" y="415"/>
                      <a:pt x="478" y="415"/>
                      <a:pt x="478" y="415"/>
                    </a:cubicBezTo>
                    <a:cubicBezTo>
                      <a:pt x="477" y="416"/>
                      <a:pt x="477" y="417"/>
                      <a:pt x="476" y="418"/>
                    </a:cubicBezTo>
                    <a:cubicBezTo>
                      <a:pt x="476" y="418"/>
                      <a:pt x="476" y="418"/>
                      <a:pt x="476" y="418"/>
                    </a:cubicBezTo>
                    <a:cubicBezTo>
                      <a:pt x="477" y="416"/>
                      <a:pt x="477" y="415"/>
                      <a:pt x="478" y="413"/>
                    </a:cubicBezTo>
                    <a:cubicBezTo>
                      <a:pt x="478" y="413"/>
                      <a:pt x="478" y="413"/>
                      <a:pt x="478" y="413"/>
                    </a:cubicBezTo>
                    <a:cubicBezTo>
                      <a:pt x="479" y="413"/>
                      <a:pt x="479" y="413"/>
                      <a:pt x="479" y="413"/>
                    </a:cubicBezTo>
                    <a:cubicBezTo>
                      <a:pt x="479" y="413"/>
                      <a:pt x="479" y="413"/>
                      <a:pt x="479" y="413"/>
                    </a:cubicBezTo>
                    <a:cubicBezTo>
                      <a:pt x="480" y="414"/>
                      <a:pt x="480" y="414"/>
                      <a:pt x="480" y="413"/>
                    </a:cubicBezTo>
                    <a:cubicBezTo>
                      <a:pt x="481" y="412"/>
                      <a:pt x="482" y="411"/>
                      <a:pt x="484" y="410"/>
                    </a:cubicBezTo>
                    <a:cubicBezTo>
                      <a:pt x="484" y="410"/>
                      <a:pt x="485" y="409"/>
                      <a:pt x="484" y="409"/>
                    </a:cubicBezTo>
                    <a:cubicBezTo>
                      <a:pt x="484" y="409"/>
                      <a:pt x="484" y="409"/>
                      <a:pt x="484" y="409"/>
                    </a:cubicBezTo>
                    <a:cubicBezTo>
                      <a:pt x="484" y="409"/>
                      <a:pt x="484" y="409"/>
                      <a:pt x="484" y="409"/>
                    </a:cubicBezTo>
                    <a:cubicBezTo>
                      <a:pt x="485" y="409"/>
                      <a:pt x="485" y="408"/>
                      <a:pt x="485" y="408"/>
                    </a:cubicBezTo>
                    <a:cubicBezTo>
                      <a:pt x="485" y="408"/>
                      <a:pt x="486" y="407"/>
                      <a:pt x="485" y="407"/>
                    </a:cubicBezTo>
                    <a:cubicBezTo>
                      <a:pt x="485" y="406"/>
                      <a:pt x="484" y="406"/>
                      <a:pt x="484" y="406"/>
                    </a:cubicBezTo>
                    <a:cubicBezTo>
                      <a:pt x="483" y="407"/>
                      <a:pt x="482" y="407"/>
                      <a:pt x="481" y="407"/>
                    </a:cubicBezTo>
                    <a:cubicBezTo>
                      <a:pt x="480" y="407"/>
                      <a:pt x="479" y="407"/>
                      <a:pt x="478" y="408"/>
                    </a:cubicBezTo>
                    <a:cubicBezTo>
                      <a:pt x="478" y="408"/>
                      <a:pt x="478" y="408"/>
                      <a:pt x="478" y="408"/>
                    </a:cubicBezTo>
                    <a:cubicBezTo>
                      <a:pt x="478" y="409"/>
                      <a:pt x="478" y="409"/>
                      <a:pt x="478" y="410"/>
                    </a:cubicBezTo>
                    <a:cubicBezTo>
                      <a:pt x="478" y="411"/>
                      <a:pt x="478" y="411"/>
                      <a:pt x="477" y="411"/>
                    </a:cubicBezTo>
                    <a:cubicBezTo>
                      <a:pt x="476" y="411"/>
                      <a:pt x="476" y="412"/>
                      <a:pt x="475" y="413"/>
                    </a:cubicBezTo>
                    <a:cubicBezTo>
                      <a:pt x="475" y="413"/>
                      <a:pt x="475" y="413"/>
                      <a:pt x="475" y="413"/>
                    </a:cubicBezTo>
                    <a:cubicBezTo>
                      <a:pt x="475" y="413"/>
                      <a:pt x="474" y="413"/>
                      <a:pt x="474" y="414"/>
                    </a:cubicBezTo>
                    <a:cubicBezTo>
                      <a:pt x="474" y="414"/>
                      <a:pt x="474" y="414"/>
                      <a:pt x="474" y="414"/>
                    </a:cubicBezTo>
                    <a:cubicBezTo>
                      <a:pt x="474" y="414"/>
                      <a:pt x="474" y="414"/>
                      <a:pt x="474" y="414"/>
                    </a:cubicBezTo>
                    <a:cubicBezTo>
                      <a:pt x="474" y="413"/>
                      <a:pt x="474" y="413"/>
                      <a:pt x="474" y="413"/>
                    </a:cubicBezTo>
                    <a:cubicBezTo>
                      <a:pt x="475" y="412"/>
                      <a:pt x="475" y="410"/>
                      <a:pt x="477" y="411"/>
                    </a:cubicBezTo>
                    <a:cubicBezTo>
                      <a:pt x="477" y="411"/>
                      <a:pt x="477" y="410"/>
                      <a:pt x="477" y="410"/>
                    </a:cubicBezTo>
                    <a:cubicBezTo>
                      <a:pt x="477" y="410"/>
                      <a:pt x="477" y="409"/>
                      <a:pt x="476" y="409"/>
                    </a:cubicBezTo>
                    <a:cubicBezTo>
                      <a:pt x="476" y="409"/>
                      <a:pt x="478" y="409"/>
                      <a:pt x="477" y="407"/>
                    </a:cubicBezTo>
                    <a:cubicBezTo>
                      <a:pt x="478" y="407"/>
                      <a:pt x="479" y="406"/>
                      <a:pt x="480" y="406"/>
                    </a:cubicBezTo>
                    <a:cubicBezTo>
                      <a:pt x="480" y="406"/>
                      <a:pt x="480" y="406"/>
                      <a:pt x="480" y="406"/>
                    </a:cubicBezTo>
                    <a:cubicBezTo>
                      <a:pt x="481" y="405"/>
                      <a:pt x="482" y="405"/>
                      <a:pt x="482" y="405"/>
                    </a:cubicBezTo>
                    <a:cubicBezTo>
                      <a:pt x="484" y="405"/>
                      <a:pt x="486" y="404"/>
                      <a:pt x="486" y="402"/>
                    </a:cubicBezTo>
                    <a:cubicBezTo>
                      <a:pt x="486" y="402"/>
                      <a:pt x="486" y="402"/>
                      <a:pt x="486" y="402"/>
                    </a:cubicBezTo>
                    <a:cubicBezTo>
                      <a:pt x="486" y="402"/>
                      <a:pt x="486" y="402"/>
                      <a:pt x="486" y="402"/>
                    </a:cubicBezTo>
                    <a:cubicBezTo>
                      <a:pt x="486" y="403"/>
                      <a:pt x="486" y="403"/>
                      <a:pt x="487" y="403"/>
                    </a:cubicBezTo>
                    <a:cubicBezTo>
                      <a:pt x="488" y="401"/>
                      <a:pt x="488" y="399"/>
                      <a:pt x="486" y="398"/>
                    </a:cubicBezTo>
                    <a:cubicBezTo>
                      <a:pt x="484" y="397"/>
                      <a:pt x="483" y="397"/>
                      <a:pt x="482" y="395"/>
                    </a:cubicBezTo>
                    <a:cubicBezTo>
                      <a:pt x="481" y="395"/>
                      <a:pt x="480" y="395"/>
                      <a:pt x="479" y="395"/>
                    </a:cubicBezTo>
                    <a:cubicBezTo>
                      <a:pt x="479" y="397"/>
                      <a:pt x="477" y="397"/>
                      <a:pt x="476" y="398"/>
                    </a:cubicBezTo>
                    <a:cubicBezTo>
                      <a:pt x="476" y="398"/>
                      <a:pt x="476" y="398"/>
                      <a:pt x="476" y="398"/>
                    </a:cubicBezTo>
                    <a:cubicBezTo>
                      <a:pt x="476" y="398"/>
                      <a:pt x="476" y="398"/>
                      <a:pt x="476" y="398"/>
                    </a:cubicBezTo>
                    <a:cubicBezTo>
                      <a:pt x="476" y="398"/>
                      <a:pt x="476" y="398"/>
                      <a:pt x="476" y="398"/>
                    </a:cubicBezTo>
                    <a:cubicBezTo>
                      <a:pt x="476" y="398"/>
                      <a:pt x="476" y="398"/>
                      <a:pt x="476" y="398"/>
                    </a:cubicBezTo>
                    <a:cubicBezTo>
                      <a:pt x="475" y="398"/>
                      <a:pt x="475" y="398"/>
                      <a:pt x="474" y="398"/>
                    </a:cubicBezTo>
                    <a:cubicBezTo>
                      <a:pt x="474" y="398"/>
                      <a:pt x="474" y="398"/>
                      <a:pt x="474" y="398"/>
                    </a:cubicBezTo>
                    <a:cubicBezTo>
                      <a:pt x="474" y="398"/>
                      <a:pt x="474" y="398"/>
                      <a:pt x="474" y="398"/>
                    </a:cubicBezTo>
                    <a:cubicBezTo>
                      <a:pt x="473" y="399"/>
                      <a:pt x="474" y="399"/>
                      <a:pt x="474" y="400"/>
                    </a:cubicBezTo>
                    <a:cubicBezTo>
                      <a:pt x="474" y="400"/>
                      <a:pt x="474" y="400"/>
                      <a:pt x="474" y="400"/>
                    </a:cubicBezTo>
                    <a:cubicBezTo>
                      <a:pt x="474" y="400"/>
                      <a:pt x="474" y="400"/>
                      <a:pt x="474" y="400"/>
                    </a:cubicBezTo>
                    <a:cubicBezTo>
                      <a:pt x="474" y="400"/>
                      <a:pt x="474" y="400"/>
                      <a:pt x="474" y="400"/>
                    </a:cubicBezTo>
                    <a:cubicBezTo>
                      <a:pt x="474" y="401"/>
                      <a:pt x="474" y="401"/>
                      <a:pt x="473" y="401"/>
                    </a:cubicBezTo>
                    <a:cubicBezTo>
                      <a:pt x="473" y="401"/>
                      <a:pt x="473" y="401"/>
                      <a:pt x="473" y="401"/>
                    </a:cubicBezTo>
                    <a:cubicBezTo>
                      <a:pt x="474" y="400"/>
                      <a:pt x="473" y="400"/>
                      <a:pt x="473" y="399"/>
                    </a:cubicBezTo>
                    <a:cubicBezTo>
                      <a:pt x="473" y="399"/>
                      <a:pt x="473" y="398"/>
                      <a:pt x="474" y="398"/>
                    </a:cubicBezTo>
                    <a:cubicBezTo>
                      <a:pt x="476" y="397"/>
                      <a:pt x="477" y="396"/>
                      <a:pt x="477" y="394"/>
                    </a:cubicBezTo>
                    <a:cubicBezTo>
                      <a:pt x="478" y="394"/>
                      <a:pt x="478" y="394"/>
                      <a:pt x="478" y="393"/>
                    </a:cubicBezTo>
                    <a:cubicBezTo>
                      <a:pt x="477" y="393"/>
                      <a:pt x="476" y="393"/>
                      <a:pt x="476" y="394"/>
                    </a:cubicBezTo>
                    <a:cubicBezTo>
                      <a:pt x="476" y="394"/>
                      <a:pt x="476" y="394"/>
                      <a:pt x="476" y="394"/>
                    </a:cubicBezTo>
                    <a:cubicBezTo>
                      <a:pt x="476" y="394"/>
                      <a:pt x="475" y="394"/>
                      <a:pt x="474" y="395"/>
                    </a:cubicBezTo>
                    <a:cubicBezTo>
                      <a:pt x="473" y="395"/>
                      <a:pt x="471" y="397"/>
                      <a:pt x="470" y="398"/>
                    </a:cubicBezTo>
                    <a:cubicBezTo>
                      <a:pt x="469" y="400"/>
                      <a:pt x="468" y="402"/>
                      <a:pt x="469" y="404"/>
                    </a:cubicBezTo>
                    <a:cubicBezTo>
                      <a:pt x="468" y="404"/>
                      <a:pt x="468" y="404"/>
                      <a:pt x="468" y="404"/>
                    </a:cubicBezTo>
                    <a:cubicBezTo>
                      <a:pt x="468" y="404"/>
                      <a:pt x="468" y="404"/>
                      <a:pt x="468" y="404"/>
                    </a:cubicBezTo>
                    <a:cubicBezTo>
                      <a:pt x="468" y="404"/>
                      <a:pt x="468" y="404"/>
                      <a:pt x="468" y="404"/>
                    </a:cubicBezTo>
                    <a:cubicBezTo>
                      <a:pt x="468" y="405"/>
                      <a:pt x="468" y="405"/>
                      <a:pt x="468" y="405"/>
                    </a:cubicBezTo>
                    <a:cubicBezTo>
                      <a:pt x="468" y="405"/>
                      <a:pt x="468" y="405"/>
                      <a:pt x="468" y="405"/>
                    </a:cubicBezTo>
                    <a:cubicBezTo>
                      <a:pt x="468" y="405"/>
                      <a:pt x="468" y="405"/>
                      <a:pt x="468" y="405"/>
                    </a:cubicBezTo>
                    <a:cubicBezTo>
                      <a:pt x="467" y="405"/>
                      <a:pt x="467" y="405"/>
                      <a:pt x="467" y="404"/>
                    </a:cubicBezTo>
                    <a:cubicBezTo>
                      <a:pt x="467" y="404"/>
                      <a:pt x="467" y="404"/>
                      <a:pt x="467" y="404"/>
                    </a:cubicBezTo>
                    <a:cubicBezTo>
                      <a:pt x="468" y="403"/>
                      <a:pt x="468" y="402"/>
                      <a:pt x="468" y="401"/>
                    </a:cubicBezTo>
                    <a:cubicBezTo>
                      <a:pt x="469" y="400"/>
                      <a:pt x="468" y="399"/>
                      <a:pt x="467" y="399"/>
                    </a:cubicBezTo>
                    <a:cubicBezTo>
                      <a:pt x="467" y="399"/>
                      <a:pt x="467" y="399"/>
                      <a:pt x="467" y="399"/>
                    </a:cubicBezTo>
                    <a:cubicBezTo>
                      <a:pt x="466" y="399"/>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399"/>
                      <a:pt x="466" y="399"/>
                      <a:pt x="466" y="398"/>
                    </a:cubicBezTo>
                    <a:cubicBezTo>
                      <a:pt x="466" y="398"/>
                      <a:pt x="466" y="398"/>
                      <a:pt x="466" y="398"/>
                    </a:cubicBezTo>
                    <a:cubicBezTo>
                      <a:pt x="466" y="398"/>
                      <a:pt x="467" y="399"/>
                      <a:pt x="467" y="399"/>
                    </a:cubicBezTo>
                    <a:cubicBezTo>
                      <a:pt x="467" y="399"/>
                      <a:pt x="467" y="399"/>
                      <a:pt x="467" y="399"/>
                    </a:cubicBezTo>
                    <a:cubicBezTo>
                      <a:pt x="467" y="399"/>
                      <a:pt x="467" y="399"/>
                      <a:pt x="467" y="399"/>
                    </a:cubicBezTo>
                    <a:cubicBezTo>
                      <a:pt x="468" y="399"/>
                      <a:pt x="468" y="399"/>
                      <a:pt x="469" y="398"/>
                    </a:cubicBezTo>
                    <a:cubicBezTo>
                      <a:pt x="470" y="396"/>
                      <a:pt x="471" y="395"/>
                      <a:pt x="472" y="393"/>
                    </a:cubicBezTo>
                    <a:cubicBezTo>
                      <a:pt x="473" y="392"/>
                      <a:pt x="473" y="390"/>
                      <a:pt x="472" y="389"/>
                    </a:cubicBezTo>
                    <a:cubicBezTo>
                      <a:pt x="471" y="388"/>
                      <a:pt x="471" y="388"/>
                      <a:pt x="470" y="389"/>
                    </a:cubicBezTo>
                    <a:cubicBezTo>
                      <a:pt x="470" y="389"/>
                      <a:pt x="469" y="389"/>
                      <a:pt x="469" y="390"/>
                    </a:cubicBezTo>
                    <a:cubicBezTo>
                      <a:pt x="468" y="390"/>
                      <a:pt x="468" y="392"/>
                      <a:pt x="469" y="393"/>
                    </a:cubicBezTo>
                    <a:cubicBezTo>
                      <a:pt x="468" y="393"/>
                      <a:pt x="468" y="393"/>
                      <a:pt x="468" y="393"/>
                    </a:cubicBezTo>
                    <a:cubicBezTo>
                      <a:pt x="468" y="393"/>
                      <a:pt x="468" y="393"/>
                      <a:pt x="468" y="393"/>
                    </a:cubicBezTo>
                    <a:cubicBezTo>
                      <a:pt x="468" y="393"/>
                      <a:pt x="468" y="393"/>
                      <a:pt x="468" y="393"/>
                    </a:cubicBezTo>
                    <a:cubicBezTo>
                      <a:pt x="467" y="392"/>
                      <a:pt x="466" y="393"/>
                      <a:pt x="466" y="393"/>
                    </a:cubicBezTo>
                    <a:cubicBezTo>
                      <a:pt x="465" y="393"/>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3"/>
                      <a:pt x="465" y="392"/>
                      <a:pt x="466" y="392"/>
                    </a:cubicBezTo>
                    <a:cubicBezTo>
                      <a:pt x="467" y="392"/>
                      <a:pt x="467" y="391"/>
                      <a:pt x="467" y="391"/>
                    </a:cubicBezTo>
                    <a:cubicBezTo>
                      <a:pt x="467" y="390"/>
                      <a:pt x="467" y="390"/>
                      <a:pt x="466" y="390"/>
                    </a:cubicBezTo>
                    <a:cubicBezTo>
                      <a:pt x="466" y="390"/>
                      <a:pt x="465" y="390"/>
                      <a:pt x="465" y="390"/>
                    </a:cubicBezTo>
                    <a:cubicBezTo>
                      <a:pt x="465" y="390"/>
                      <a:pt x="465" y="390"/>
                      <a:pt x="465" y="390"/>
                    </a:cubicBezTo>
                    <a:cubicBezTo>
                      <a:pt x="463" y="389"/>
                      <a:pt x="462" y="389"/>
                      <a:pt x="463" y="391"/>
                    </a:cubicBezTo>
                    <a:cubicBezTo>
                      <a:pt x="463" y="391"/>
                      <a:pt x="462" y="391"/>
                      <a:pt x="462" y="392"/>
                    </a:cubicBezTo>
                    <a:cubicBezTo>
                      <a:pt x="462" y="392"/>
                      <a:pt x="462" y="392"/>
                      <a:pt x="462" y="392"/>
                    </a:cubicBezTo>
                    <a:cubicBezTo>
                      <a:pt x="462" y="392"/>
                      <a:pt x="462" y="392"/>
                      <a:pt x="462" y="392"/>
                    </a:cubicBezTo>
                    <a:cubicBezTo>
                      <a:pt x="461" y="392"/>
                      <a:pt x="461" y="392"/>
                      <a:pt x="461" y="392"/>
                    </a:cubicBezTo>
                    <a:cubicBezTo>
                      <a:pt x="461" y="393"/>
                      <a:pt x="461" y="393"/>
                      <a:pt x="461" y="393"/>
                    </a:cubicBezTo>
                    <a:cubicBezTo>
                      <a:pt x="461" y="393"/>
                      <a:pt x="461" y="393"/>
                      <a:pt x="461" y="393"/>
                    </a:cubicBezTo>
                    <a:cubicBezTo>
                      <a:pt x="461" y="393"/>
                      <a:pt x="461" y="393"/>
                      <a:pt x="461" y="393"/>
                    </a:cubicBezTo>
                    <a:cubicBezTo>
                      <a:pt x="461" y="392"/>
                      <a:pt x="462" y="391"/>
                      <a:pt x="462" y="390"/>
                    </a:cubicBezTo>
                    <a:cubicBezTo>
                      <a:pt x="463" y="388"/>
                      <a:pt x="463" y="388"/>
                      <a:pt x="465" y="388"/>
                    </a:cubicBezTo>
                    <a:cubicBezTo>
                      <a:pt x="465" y="388"/>
                      <a:pt x="465" y="388"/>
                      <a:pt x="465" y="388"/>
                    </a:cubicBezTo>
                    <a:cubicBezTo>
                      <a:pt x="465" y="388"/>
                      <a:pt x="465" y="388"/>
                      <a:pt x="465" y="388"/>
                    </a:cubicBezTo>
                    <a:cubicBezTo>
                      <a:pt x="466" y="389"/>
                      <a:pt x="466" y="389"/>
                      <a:pt x="467" y="387"/>
                    </a:cubicBezTo>
                    <a:cubicBezTo>
                      <a:pt x="467" y="387"/>
                      <a:pt x="467" y="387"/>
                      <a:pt x="467" y="387"/>
                    </a:cubicBezTo>
                    <a:cubicBezTo>
                      <a:pt x="468" y="386"/>
                      <a:pt x="469" y="386"/>
                      <a:pt x="468" y="385"/>
                    </a:cubicBezTo>
                    <a:cubicBezTo>
                      <a:pt x="468" y="383"/>
                      <a:pt x="467" y="380"/>
                      <a:pt x="464" y="379"/>
                    </a:cubicBezTo>
                    <a:cubicBezTo>
                      <a:pt x="463" y="379"/>
                      <a:pt x="461" y="378"/>
                      <a:pt x="460" y="377"/>
                    </a:cubicBezTo>
                    <a:cubicBezTo>
                      <a:pt x="459" y="376"/>
                      <a:pt x="459" y="377"/>
                      <a:pt x="459" y="378"/>
                    </a:cubicBezTo>
                    <a:cubicBezTo>
                      <a:pt x="459" y="379"/>
                      <a:pt x="458" y="380"/>
                      <a:pt x="457" y="380"/>
                    </a:cubicBezTo>
                    <a:cubicBezTo>
                      <a:pt x="457" y="380"/>
                      <a:pt x="457" y="380"/>
                      <a:pt x="457" y="380"/>
                    </a:cubicBezTo>
                    <a:cubicBezTo>
                      <a:pt x="457" y="380"/>
                      <a:pt x="457" y="380"/>
                      <a:pt x="457" y="380"/>
                    </a:cubicBezTo>
                    <a:cubicBezTo>
                      <a:pt x="457" y="380"/>
                      <a:pt x="457" y="380"/>
                      <a:pt x="457" y="380"/>
                    </a:cubicBezTo>
                    <a:cubicBezTo>
                      <a:pt x="457" y="380"/>
                      <a:pt x="456" y="379"/>
                      <a:pt x="456" y="380"/>
                    </a:cubicBezTo>
                    <a:cubicBezTo>
                      <a:pt x="456" y="380"/>
                      <a:pt x="456" y="381"/>
                      <a:pt x="455" y="381"/>
                    </a:cubicBezTo>
                    <a:cubicBezTo>
                      <a:pt x="455" y="381"/>
                      <a:pt x="455" y="380"/>
                      <a:pt x="455" y="380"/>
                    </a:cubicBezTo>
                    <a:cubicBezTo>
                      <a:pt x="456" y="380"/>
                      <a:pt x="456" y="379"/>
                      <a:pt x="455" y="379"/>
                    </a:cubicBezTo>
                    <a:cubicBezTo>
                      <a:pt x="454" y="379"/>
                      <a:pt x="454" y="379"/>
                      <a:pt x="454" y="380"/>
                    </a:cubicBezTo>
                    <a:cubicBezTo>
                      <a:pt x="454" y="380"/>
                      <a:pt x="454" y="381"/>
                      <a:pt x="454" y="381"/>
                    </a:cubicBezTo>
                    <a:cubicBezTo>
                      <a:pt x="454" y="382"/>
                      <a:pt x="454" y="382"/>
                      <a:pt x="454" y="382"/>
                    </a:cubicBezTo>
                    <a:cubicBezTo>
                      <a:pt x="454" y="383"/>
                      <a:pt x="453" y="383"/>
                      <a:pt x="453" y="384"/>
                    </a:cubicBezTo>
                    <a:cubicBezTo>
                      <a:pt x="452" y="385"/>
                      <a:pt x="452" y="386"/>
                      <a:pt x="452" y="387"/>
                    </a:cubicBezTo>
                    <a:cubicBezTo>
                      <a:pt x="452" y="387"/>
                      <a:pt x="452" y="387"/>
                      <a:pt x="452" y="387"/>
                    </a:cubicBezTo>
                    <a:cubicBezTo>
                      <a:pt x="452" y="388"/>
                      <a:pt x="452" y="388"/>
                      <a:pt x="452" y="389"/>
                    </a:cubicBezTo>
                    <a:cubicBezTo>
                      <a:pt x="452" y="389"/>
                      <a:pt x="452" y="389"/>
                      <a:pt x="452" y="389"/>
                    </a:cubicBezTo>
                    <a:cubicBezTo>
                      <a:pt x="452" y="389"/>
                      <a:pt x="452" y="389"/>
                      <a:pt x="452" y="389"/>
                    </a:cubicBezTo>
                    <a:cubicBezTo>
                      <a:pt x="451" y="389"/>
                      <a:pt x="451" y="389"/>
                      <a:pt x="451" y="389"/>
                    </a:cubicBezTo>
                    <a:cubicBezTo>
                      <a:pt x="451" y="388"/>
                      <a:pt x="451" y="388"/>
                      <a:pt x="451" y="387"/>
                    </a:cubicBezTo>
                    <a:cubicBezTo>
                      <a:pt x="452" y="386"/>
                      <a:pt x="451" y="385"/>
                      <a:pt x="452" y="384"/>
                    </a:cubicBezTo>
                    <a:cubicBezTo>
                      <a:pt x="453" y="383"/>
                      <a:pt x="453" y="383"/>
                      <a:pt x="452" y="382"/>
                    </a:cubicBezTo>
                    <a:cubicBezTo>
                      <a:pt x="452" y="381"/>
                      <a:pt x="452" y="380"/>
                      <a:pt x="452" y="379"/>
                    </a:cubicBezTo>
                    <a:cubicBezTo>
                      <a:pt x="452" y="379"/>
                      <a:pt x="452" y="378"/>
                      <a:pt x="452" y="378"/>
                    </a:cubicBezTo>
                    <a:cubicBezTo>
                      <a:pt x="451" y="378"/>
                      <a:pt x="451" y="378"/>
                      <a:pt x="451" y="379"/>
                    </a:cubicBezTo>
                    <a:cubicBezTo>
                      <a:pt x="450" y="379"/>
                      <a:pt x="450" y="380"/>
                      <a:pt x="450" y="381"/>
                    </a:cubicBezTo>
                    <a:cubicBezTo>
                      <a:pt x="449" y="380"/>
                      <a:pt x="450" y="380"/>
                      <a:pt x="450" y="379"/>
                    </a:cubicBezTo>
                    <a:cubicBezTo>
                      <a:pt x="450" y="379"/>
                      <a:pt x="450" y="379"/>
                      <a:pt x="450" y="379"/>
                    </a:cubicBezTo>
                    <a:cubicBezTo>
                      <a:pt x="450" y="379"/>
                      <a:pt x="450" y="379"/>
                      <a:pt x="450" y="379"/>
                    </a:cubicBezTo>
                    <a:cubicBezTo>
                      <a:pt x="450" y="377"/>
                      <a:pt x="451" y="376"/>
                      <a:pt x="452" y="375"/>
                    </a:cubicBezTo>
                    <a:cubicBezTo>
                      <a:pt x="451" y="374"/>
                      <a:pt x="449" y="374"/>
                      <a:pt x="449" y="376"/>
                    </a:cubicBezTo>
                    <a:cubicBezTo>
                      <a:pt x="448" y="374"/>
                      <a:pt x="448" y="375"/>
                      <a:pt x="447" y="376"/>
                    </a:cubicBezTo>
                    <a:cubicBezTo>
                      <a:pt x="447" y="376"/>
                      <a:pt x="447" y="376"/>
                      <a:pt x="446" y="377"/>
                    </a:cubicBezTo>
                    <a:cubicBezTo>
                      <a:pt x="445" y="377"/>
                      <a:pt x="446" y="378"/>
                      <a:pt x="445" y="379"/>
                    </a:cubicBezTo>
                    <a:cubicBezTo>
                      <a:pt x="444" y="379"/>
                      <a:pt x="444" y="381"/>
                      <a:pt x="445" y="382"/>
                    </a:cubicBezTo>
                    <a:cubicBezTo>
                      <a:pt x="445" y="382"/>
                      <a:pt x="445" y="382"/>
                      <a:pt x="445" y="382"/>
                    </a:cubicBezTo>
                    <a:cubicBezTo>
                      <a:pt x="445" y="382"/>
                      <a:pt x="445" y="382"/>
                      <a:pt x="445" y="383"/>
                    </a:cubicBezTo>
                    <a:cubicBezTo>
                      <a:pt x="445" y="383"/>
                      <a:pt x="445" y="383"/>
                      <a:pt x="445" y="383"/>
                    </a:cubicBezTo>
                    <a:cubicBezTo>
                      <a:pt x="445" y="383"/>
                      <a:pt x="445" y="383"/>
                      <a:pt x="445" y="383"/>
                    </a:cubicBezTo>
                    <a:cubicBezTo>
                      <a:pt x="444" y="384"/>
                      <a:pt x="444" y="385"/>
                      <a:pt x="443" y="386"/>
                    </a:cubicBezTo>
                    <a:cubicBezTo>
                      <a:pt x="443" y="386"/>
                      <a:pt x="442" y="386"/>
                      <a:pt x="443" y="386"/>
                    </a:cubicBezTo>
                    <a:cubicBezTo>
                      <a:pt x="443" y="385"/>
                      <a:pt x="444" y="384"/>
                      <a:pt x="444" y="383"/>
                    </a:cubicBezTo>
                    <a:cubicBezTo>
                      <a:pt x="445" y="382"/>
                      <a:pt x="445" y="382"/>
                      <a:pt x="444" y="381"/>
                    </a:cubicBezTo>
                    <a:cubicBezTo>
                      <a:pt x="444" y="381"/>
                      <a:pt x="444" y="381"/>
                      <a:pt x="444" y="381"/>
                    </a:cubicBezTo>
                    <a:cubicBezTo>
                      <a:pt x="444" y="381"/>
                      <a:pt x="443" y="381"/>
                      <a:pt x="443" y="381"/>
                    </a:cubicBezTo>
                    <a:cubicBezTo>
                      <a:pt x="444" y="380"/>
                      <a:pt x="445" y="379"/>
                      <a:pt x="443" y="379"/>
                    </a:cubicBezTo>
                    <a:cubicBezTo>
                      <a:pt x="443" y="379"/>
                      <a:pt x="443" y="379"/>
                      <a:pt x="444" y="379"/>
                    </a:cubicBezTo>
                    <a:cubicBezTo>
                      <a:pt x="444" y="378"/>
                      <a:pt x="445" y="378"/>
                      <a:pt x="445" y="377"/>
                    </a:cubicBezTo>
                    <a:cubicBezTo>
                      <a:pt x="445" y="377"/>
                      <a:pt x="445" y="376"/>
                      <a:pt x="445" y="376"/>
                    </a:cubicBezTo>
                    <a:cubicBezTo>
                      <a:pt x="444" y="376"/>
                      <a:pt x="444" y="376"/>
                      <a:pt x="444" y="376"/>
                    </a:cubicBezTo>
                    <a:cubicBezTo>
                      <a:pt x="443" y="378"/>
                      <a:pt x="442" y="378"/>
                      <a:pt x="441" y="379"/>
                    </a:cubicBezTo>
                    <a:cubicBezTo>
                      <a:pt x="441" y="379"/>
                      <a:pt x="441" y="379"/>
                      <a:pt x="441" y="379"/>
                    </a:cubicBezTo>
                    <a:cubicBezTo>
                      <a:pt x="441" y="379"/>
                      <a:pt x="441" y="379"/>
                      <a:pt x="440" y="379"/>
                    </a:cubicBezTo>
                    <a:cubicBezTo>
                      <a:pt x="440" y="379"/>
                      <a:pt x="440" y="379"/>
                      <a:pt x="440" y="379"/>
                    </a:cubicBezTo>
                    <a:cubicBezTo>
                      <a:pt x="440" y="379"/>
                      <a:pt x="441" y="379"/>
                      <a:pt x="441" y="378"/>
                    </a:cubicBezTo>
                    <a:cubicBezTo>
                      <a:pt x="441" y="378"/>
                      <a:pt x="441" y="378"/>
                      <a:pt x="441" y="378"/>
                    </a:cubicBezTo>
                    <a:cubicBezTo>
                      <a:pt x="442" y="378"/>
                      <a:pt x="442" y="377"/>
                      <a:pt x="443" y="377"/>
                    </a:cubicBezTo>
                    <a:cubicBezTo>
                      <a:pt x="444" y="376"/>
                      <a:pt x="443" y="376"/>
                      <a:pt x="443" y="376"/>
                    </a:cubicBezTo>
                    <a:cubicBezTo>
                      <a:pt x="442" y="375"/>
                      <a:pt x="441" y="376"/>
                      <a:pt x="441" y="376"/>
                    </a:cubicBezTo>
                    <a:cubicBezTo>
                      <a:pt x="441" y="376"/>
                      <a:pt x="442" y="375"/>
                      <a:pt x="442" y="375"/>
                    </a:cubicBezTo>
                    <a:cubicBezTo>
                      <a:pt x="443" y="375"/>
                      <a:pt x="443" y="376"/>
                      <a:pt x="443" y="375"/>
                    </a:cubicBezTo>
                    <a:cubicBezTo>
                      <a:pt x="445" y="374"/>
                      <a:pt x="446" y="373"/>
                      <a:pt x="448" y="373"/>
                    </a:cubicBezTo>
                    <a:cubicBezTo>
                      <a:pt x="448" y="373"/>
                      <a:pt x="448" y="372"/>
                      <a:pt x="448" y="372"/>
                    </a:cubicBezTo>
                    <a:cubicBezTo>
                      <a:pt x="448" y="371"/>
                      <a:pt x="449" y="370"/>
                      <a:pt x="448" y="369"/>
                    </a:cubicBezTo>
                    <a:cubicBezTo>
                      <a:pt x="448" y="369"/>
                      <a:pt x="448" y="369"/>
                      <a:pt x="448" y="369"/>
                    </a:cubicBezTo>
                    <a:cubicBezTo>
                      <a:pt x="448" y="368"/>
                      <a:pt x="448" y="367"/>
                      <a:pt x="447" y="367"/>
                    </a:cubicBezTo>
                    <a:cubicBezTo>
                      <a:pt x="446" y="367"/>
                      <a:pt x="445" y="367"/>
                      <a:pt x="444" y="367"/>
                    </a:cubicBezTo>
                    <a:cubicBezTo>
                      <a:pt x="443" y="366"/>
                      <a:pt x="442" y="367"/>
                      <a:pt x="442" y="368"/>
                    </a:cubicBezTo>
                    <a:cubicBezTo>
                      <a:pt x="442" y="368"/>
                      <a:pt x="442" y="368"/>
                      <a:pt x="442" y="368"/>
                    </a:cubicBezTo>
                    <a:cubicBezTo>
                      <a:pt x="442" y="368"/>
                      <a:pt x="442" y="368"/>
                      <a:pt x="442" y="368"/>
                    </a:cubicBezTo>
                    <a:cubicBezTo>
                      <a:pt x="441" y="368"/>
                      <a:pt x="441" y="367"/>
                      <a:pt x="441" y="367"/>
                    </a:cubicBezTo>
                    <a:cubicBezTo>
                      <a:pt x="441" y="367"/>
                      <a:pt x="441" y="367"/>
                      <a:pt x="441" y="367"/>
                    </a:cubicBezTo>
                    <a:cubicBezTo>
                      <a:pt x="441" y="367"/>
                      <a:pt x="441" y="367"/>
                      <a:pt x="441" y="367"/>
                    </a:cubicBezTo>
                    <a:cubicBezTo>
                      <a:pt x="441" y="367"/>
                      <a:pt x="441" y="367"/>
                      <a:pt x="440" y="367"/>
                    </a:cubicBezTo>
                    <a:cubicBezTo>
                      <a:pt x="441" y="367"/>
                      <a:pt x="441" y="367"/>
                      <a:pt x="441" y="366"/>
                    </a:cubicBezTo>
                    <a:cubicBezTo>
                      <a:pt x="441" y="366"/>
                      <a:pt x="441" y="366"/>
                      <a:pt x="441" y="366"/>
                    </a:cubicBezTo>
                    <a:cubicBezTo>
                      <a:pt x="441" y="366"/>
                      <a:pt x="441" y="366"/>
                      <a:pt x="441" y="366"/>
                    </a:cubicBezTo>
                    <a:cubicBezTo>
                      <a:pt x="441" y="366"/>
                      <a:pt x="441" y="366"/>
                      <a:pt x="441" y="366"/>
                    </a:cubicBezTo>
                    <a:cubicBezTo>
                      <a:pt x="441" y="366"/>
                      <a:pt x="441" y="366"/>
                      <a:pt x="441" y="366"/>
                    </a:cubicBezTo>
                    <a:cubicBezTo>
                      <a:pt x="442" y="366"/>
                      <a:pt x="442" y="366"/>
                      <a:pt x="442" y="365"/>
                    </a:cubicBezTo>
                    <a:cubicBezTo>
                      <a:pt x="443" y="364"/>
                      <a:pt x="444" y="364"/>
                      <a:pt x="443" y="363"/>
                    </a:cubicBezTo>
                    <a:cubicBezTo>
                      <a:pt x="443" y="363"/>
                      <a:pt x="443" y="363"/>
                      <a:pt x="443" y="363"/>
                    </a:cubicBezTo>
                    <a:cubicBezTo>
                      <a:pt x="442" y="362"/>
                      <a:pt x="442" y="362"/>
                      <a:pt x="442" y="362"/>
                    </a:cubicBezTo>
                    <a:cubicBezTo>
                      <a:pt x="442" y="359"/>
                      <a:pt x="441" y="358"/>
                      <a:pt x="438" y="357"/>
                    </a:cubicBezTo>
                    <a:cubicBezTo>
                      <a:pt x="436" y="356"/>
                      <a:pt x="436" y="356"/>
                      <a:pt x="436" y="358"/>
                    </a:cubicBezTo>
                    <a:cubicBezTo>
                      <a:pt x="436" y="359"/>
                      <a:pt x="436" y="359"/>
                      <a:pt x="436" y="360"/>
                    </a:cubicBezTo>
                    <a:cubicBezTo>
                      <a:pt x="436" y="360"/>
                      <a:pt x="436" y="360"/>
                      <a:pt x="436" y="360"/>
                    </a:cubicBezTo>
                    <a:cubicBezTo>
                      <a:pt x="436" y="360"/>
                      <a:pt x="436" y="360"/>
                      <a:pt x="435" y="360"/>
                    </a:cubicBezTo>
                    <a:cubicBezTo>
                      <a:pt x="435" y="358"/>
                      <a:pt x="434" y="360"/>
                      <a:pt x="433" y="360"/>
                    </a:cubicBezTo>
                    <a:cubicBezTo>
                      <a:pt x="434" y="360"/>
                      <a:pt x="434" y="359"/>
                      <a:pt x="434" y="359"/>
                    </a:cubicBezTo>
                    <a:cubicBezTo>
                      <a:pt x="435" y="359"/>
                      <a:pt x="436" y="359"/>
                      <a:pt x="435" y="358"/>
                    </a:cubicBezTo>
                    <a:cubicBezTo>
                      <a:pt x="435" y="357"/>
                      <a:pt x="435" y="356"/>
                      <a:pt x="434" y="356"/>
                    </a:cubicBezTo>
                    <a:cubicBezTo>
                      <a:pt x="433" y="355"/>
                      <a:pt x="432" y="355"/>
                      <a:pt x="431" y="353"/>
                    </a:cubicBezTo>
                    <a:cubicBezTo>
                      <a:pt x="430" y="353"/>
                      <a:pt x="429" y="352"/>
                      <a:pt x="428" y="352"/>
                    </a:cubicBezTo>
                    <a:cubicBezTo>
                      <a:pt x="428" y="352"/>
                      <a:pt x="427" y="352"/>
                      <a:pt x="427" y="352"/>
                    </a:cubicBezTo>
                    <a:cubicBezTo>
                      <a:pt x="427" y="352"/>
                      <a:pt x="427" y="352"/>
                      <a:pt x="427" y="352"/>
                    </a:cubicBezTo>
                    <a:cubicBezTo>
                      <a:pt x="426" y="352"/>
                      <a:pt x="425" y="353"/>
                      <a:pt x="424" y="353"/>
                    </a:cubicBezTo>
                    <a:cubicBezTo>
                      <a:pt x="422" y="354"/>
                      <a:pt x="421" y="355"/>
                      <a:pt x="420" y="356"/>
                    </a:cubicBezTo>
                    <a:cubicBezTo>
                      <a:pt x="418" y="358"/>
                      <a:pt x="418" y="360"/>
                      <a:pt x="420" y="361"/>
                    </a:cubicBezTo>
                    <a:cubicBezTo>
                      <a:pt x="420" y="361"/>
                      <a:pt x="420" y="361"/>
                      <a:pt x="420" y="361"/>
                    </a:cubicBezTo>
                    <a:cubicBezTo>
                      <a:pt x="422" y="362"/>
                      <a:pt x="424" y="364"/>
                      <a:pt x="427" y="365"/>
                    </a:cubicBezTo>
                    <a:cubicBezTo>
                      <a:pt x="426" y="365"/>
                      <a:pt x="425" y="365"/>
                      <a:pt x="425" y="365"/>
                    </a:cubicBezTo>
                    <a:cubicBezTo>
                      <a:pt x="424" y="364"/>
                      <a:pt x="423" y="363"/>
                      <a:pt x="422" y="363"/>
                    </a:cubicBezTo>
                    <a:cubicBezTo>
                      <a:pt x="421" y="363"/>
                      <a:pt x="421" y="363"/>
                      <a:pt x="420" y="362"/>
                    </a:cubicBezTo>
                    <a:cubicBezTo>
                      <a:pt x="420" y="362"/>
                      <a:pt x="419" y="362"/>
                      <a:pt x="419" y="361"/>
                    </a:cubicBezTo>
                    <a:cubicBezTo>
                      <a:pt x="419" y="361"/>
                      <a:pt x="419" y="361"/>
                      <a:pt x="419" y="361"/>
                    </a:cubicBezTo>
                    <a:cubicBezTo>
                      <a:pt x="419" y="361"/>
                      <a:pt x="419" y="361"/>
                      <a:pt x="419" y="361"/>
                    </a:cubicBezTo>
                    <a:cubicBezTo>
                      <a:pt x="418" y="362"/>
                      <a:pt x="417" y="363"/>
                      <a:pt x="417" y="365"/>
                    </a:cubicBezTo>
                    <a:cubicBezTo>
                      <a:pt x="416" y="366"/>
                      <a:pt x="417" y="367"/>
                      <a:pt x="416" y="368"/>
                    </a:cubicBezTo>
                    <a:cubicBezTo>
                      <a:pt x="416" y="368"/>
                      <a:pt x="416" y="368"/>
                      <a:pt x="416" y="368"/>
                    </a:cubicBezTo>
                    <a:cubicBezTo>
                      <a:pt x="416" y="368"/>
                      <a:pt x="416" y="368"/>
                      <a:pt x="416" y="368"/>
                    </a:cubicBezTo>
                    <a:cubicBezTo>
                      <a:pt x="416" y="369"/>
                      <a:pt x="417" y="370"/>
                      <a:pt x="418" y="370"/>
                    </a:cubicBezTo>
                    <a:cubicBezTo>
                      <a:pt x="419" y="371"/>
                      <a:pt x="419" y="371"/>
                      <a:pt x="418" y="372"/>
                    </a:cubicBezTo>
                    <a:cubicBezTo>
                      <a:pt x="418" y="371"/>
                      <a:pt x="417" y="370"/>
                      <a:pt x="416" y="370"/>
                    </a:cubicBezTo>
                    <a:cubicBezTo>
                      <a:pt x="415" y="370"/>
                      <a:pt x="415" y="369"/>
                      <a:pt x="415" y="368"/>
                    </a:cubicBezTo>
                    <a:cubicBezTo>
                      <a:pt x="416" y="367"/>
                      <a:pt x="416" y="365"/>
                      <a:pt x="416" y="363"/>
                    </a:cubicBezTo>
                    <a:cubicBezTo>
                      <a:pt x="416" y="362"/>
                      <a:pt x="415" y="361"/>
                      <a:pt x="414" y="361"/>
                    </a:cubicBezTo>
                    <a:cubicBezTo>
                      <a:pt x="414" y="361"/>
                      <a:pt x="413" y="362"/>
                      <a:pt x="413" y="362"/>
                    </a:cubicBezTo>
                    <a:cubicBezTo>
                      <a:pt x="413" y="363"/>
                      <a:pt x="412" y="363"/>
                      <a:pt x="411" y="364"/>
                    </a:cubicBezTo>
                    <a:cubicBezTo>
                      <a:pt x="411" y="364"/>
                      <a:pt x="411" y="363"/>
                      <a:pt x="411" y="363"/>
                    </a:cubicBezTo>
                    <a:cubicBezTo>
                      <a:pt x="411" y="363"/>
                      <a:pt x="411" y="363"/>
                      <a:pt x="411" y="363"/>
                    </a:cubicBezTo>
                    <a:cubicBezTo>
                      <a:pt x="412" y="363"/>
                      <a:pt x="412" y="362"/>
                      <a:pt x="411" y="361"/>
                    </a:cubicBezTo>
                    <a:cubicBezTo>
                      <a:pt x="411" y="361"/>
                      <a:pt x="411" y="361"/>
                      <a:pt x="411" y="361"/>
                    </a:cubicBezTo>
                    <a:cubicBezTo>
                      <a:pt x="411" y="361"/>
                      <a:pt x="411" y="361"/>
                      <a:pt x="411" y="361"/>
                    </a:cubicBezTo>
                    <a:cubicBezTo>
                      <a:pt x="411" y="361"/>
                      <a:pt x="411" y="361"/>
                      <a:pt x="411" y="361"/>
                    </a:cubicBezTo>
                    <a:cubicBezTo>
                      <a:pt x="411" y="360"/>
                      <a:pt x="411" y="359"/>
                      <a:pt x="411" y="358"/>
                    </a:cubicBezTo>
                    <a:cubicBezTo>
                      <a:pt x="411" y="358"/>
                      <a:pt x="411" y="358"/>
                      <a:pt x="411" y="358"/>
                    </a:cubicBezTo>
                    <a:cubicBezTo>
                      <a:pt x="411" y="358"/>
                      <a:pt x="411" y="358"/>
                      <a:pt x="411" y="358"/>
                    </a:cubicBezTo>
                    <a:cubicBezTo>
                      <a:pt x="410" y="359"/>
                      <a:pt x="410" y="359"/>
                      <a:pt x="410" y="360"/>
                    </a:cubicBezTo>
                    <a:cubicBezTo>
                      <a:pt x="409" y="360"/>
                      <a:pt x="410" y="359"/>
                      <a:pt x="409" y="359"/>
                    </a:cubicBezTo>
                    <a:cubicBezTo>
                      <a:pt x="409" y="359"/>
                      <a:pt x="409" y="360"/>
                      <a:pt x="409" y="361"/>
                    </a:cubicBezTo>
                    <a:cubicBezTo>
                      <a:pt x="409" y="361"/>
                      <a:pt x="409" y="361"/>
                      <a:pt x="409" y="361"/>
                    </a:cubicBezTo>
                    <a:cubicBezTo>
                      <a:pt x="408" y="361"/>
                      <a:pt x="408" y="362"/>
                      <a:pt x="408" y="362"/>
                    </a:cubicBezTo>
                    <a:cubicBezTo>
                      <a:pt x="409" y="364"/>
                      <a:pt x="409" y="365"/>
                      <a:pt x="411" y="366"/>
                    </a:cubicBezTo>
                    <a:cubicBezTo>
                      <a:pt x="409" y="366"/>
                      <a:pt x="409" y="364"/>
                      <a:pt x="408" y="363"/>
                    </a:cubicBezTo>
                    <a:cubicBezTo>
                      <a:pt x="407" y="363"/>
                      <a:pt x="407" y="364"/>
                      <a:pt x="407" y="364"/>
                    </a:cubicBezTo>
                    <a:cubicBezTo>
                      <a:pt x="407" y="365"/>
                      <a:pt x="407" y="365"/>
                      <a:pt x="407" y="365"/>
                    </a:cubicBezTo>
                    <a:cubicBezTo>
                      <a:pt x="405" y="365"/>
                      <a:pt x="406" y="366"/>
                      <a:pt x="406" y="366"/>
                    </a:cubicBezTo>
                    <a:cubicBezTo>
                      <a:pt x="407" y="367"/>
                      <a:pt x="407" y="368"/>
                      <a:pt x="407" y="368"/>
                    </a:cubicBezTo>
                    <a:cubicBezTo>
                      <a:pt x="406" y="368"/>
                      <a:pt x="405" y="369"/>
                      <a:pt x="405" y="369"/>
                    </a:cubicBezTo>
                    <a:cubicBezTo>
                      <a:pt x="404" y="370"/>
                      <a:pt x="404" y="371"/>
                      <a:pt x="403" y="371"/>
                    </a:cubicBezTo>
                    <a:cubicBezTo>
                      <a:pt x="404" y="368"/>
                      <a:pt x="404" y="368"/>
                      <a:pt x="402" y="368"/>
                    </a:cubicBezTo>
                    <a:cubicBezTo>
                      <a:pt x="403" y="366"/>
                      <a:pt x="404" y="367"/>
                      <a:pt x="405" y="368"/>
                    </a:cubicBezTo>
                    <a:cubicBezTo>
                      <a:pt x="405" y="367"/>
                      <a:pt x="404" y="366"/>
                      <a:pt x="404" y="366"/>
                    </a:cubicBezTo>
                    <a:cubicBezTo>
                      <a:pt x="403" y="366"/>
                      <a:pt x="403" y="365"/>
                      <a:pt x="403" y="365"/>
                    </a:cubicBezTo>
                    <a:cubicBezTo>
                      <a:pt x="404" y="364"/>
                      <a:pt x="404" y="362"/>
                      <a:pt x="405" y="361"/>
                    </a:cubicBezTo>
                    <a:cubicBezTo>
                      <a:pt x="406" y="360"/>
                      <a:pt x="406" y="359"/>
                      <a:pt x="406" y="358"/>
                    </a:cubicBezTo>
                    <a:cubicBezTo>
                      <a:pt x="406" y="358"/>
                      <a:pt x="405" y="358"/>
                      <a:pt x="405" y="358"/>
                    </a:cubicBezTo>
                    <a:cubicBezTo>
                      <a:pt x="404" y="359"/>
                      <a:pt x="403" y="360"/>
                      <a:pt x="403" y="361"/>
                    </a:cubicBezTo>
                    <a:cubicBezTo>
                      <a:pt x="402" y="361"/>
                      <a:pt x="402" y="362"/>
                      <a:pt x="401" y="363"/>
                    </a:cubicBezTo>
                    <a:cubicBezTo>
                      <a:pt x="401" y="364"/>
                      <a:pt x="401" y="364"/>
                      <a:pt x="400" y="363"/>
                    </a:cubicBezTo>
                    <a:cubicBezTo>
                      <a:pt x="401" y="363"/>
                      <a:pt x="401" y="362"/>
                      <a:pt x="401" y="362"/>
                    </a:cubicBezTo>
                    <a:cubicBezTo>
                      <a:pt x="402" y="361"/>
                      <a:pt x="403" y="359"/>
                      <a:pt x="403" y="358"/>
                    </a:cubicBezTo>
                    <a:cubicBezTo>
                      <a:pt x="404" y="358"/>
                      <a:pt x="405" y="357"/>
                      <a:pt x="405" y="356"/>
                    </a:cubicBezTo>
                    <a:cubicBezTo>
                      <a:pt x="406" y="355"/>
                      <a:pt x="406" y="354"/>
                      <a:pt x="407" y="353"/>
                    </a:cubicBezTo>
                    <a:cubicBezTo>
                      <a:pt x="407" y="352"/>
                      <a:pt x="407" y="352"/>
                      <a:pt x="407" y="351"/>
                    </a:cubicBezTo>
                    <a:cubicBezTo>
                      <a:pt x="406" y="351"/>
                      <a:pt x="406" y="350"/>
                      <a:pt x="405" y="349"/>
                    </a:cubicBezTo>
                    <a:cubicBezTo>
                      <a:pt x="405" y="349"/>
                      <a:pt x="405" y="349"/>
                      <a:pt x="405" y="349"/>
                    </a:cubicBezTo>
                    <a:cubicBezTo>
                      <a:pt x="405" y="349"/>
                      <a:pt x="405" y="348"/>
                      <a:pt x="404" y="348"/>
                    </a:cubicBezTo>
                    <a:cubicBezTo>
                      <a:pt x="404" y="347"/>
                      <a:pt x="405" y="347"/>
                      <a:pt x="405" y="347"/>
                    </a:cubicBezTo>
                    <a:cubicBezTo>
                      <a:pt x="406" y="345"/>
                      <a:pt x="406" y="344"/>
                      <a:pt x="404" y="343"/>
                    </a:cubicBezTo>
                    <a:cubicBezTo>
                      <a:pt x="404" y="343"/>
                      <a:pt x="404" y="343"/>
                      <a:pt x="404" y="343"/>
                    </a:cubicBezTo>
                    <a:cubicBezTo>
                      <a:pt x="404" y="343"/>
                      <a:pt x="404" y="343"/>
                      <a:pt x="404" y="343"/>
                    </a:cubicBezTo>
                    <a:cubicBezTo>
                      <a:pt x="403" y="342"/>
                      <a:pt x="401" y="341"/>
                      <a:pt x="400" y="340"/>
                    </a:cubicBezTo>
                    <a:cubicBezTo>
                      <a:pt x="400" y="340"/>
                      <a:pt x="400" y="340"/>
                      <a:pt x="400" y="340"/>
                    </a:cubicBezTo>
                    <a:cubicBezTo>
                      <a:pt x="401" y="340"/>
                      <a:pt x="401" y="340"/>
                      <a:pt x="401" y="339"/>
                    </a:cubicBezTo>
                    <a:cubicBezTo>
                      <a:pt x="401" y="338"/>
                      <a:pt x="401" y="336"/>
                      <a:pt x="401" y="335"/>
                    </a:cubicBezTo>
                    <a:cubicBezTo>
                      <a:pt x="401" y="335"/>
                      <a:pt x="401" y="335"/>
                      <a:pt x="401" y="335"/>
                    </a:cubicBezTo>
                    <a:cubicBezTo>
                      <a:pt x="401" y="334"/>
                      <a:pt x="401" y="334"/>
                      <a:pt x="401" y="334"/>
                    </a:cubicBezTo>
                    <a:cubicBezTo>
                      <a:pt x="400" y="332"/>
                      <a:pt x="400" y="331"/>
                      <a:pt x="398" y="330"/>
                    </a:cubicBezTo>
                    <a:cubicBezTo>
                      <a:pt x="398" y="330"/>
                      <a:pt x="398" y="330"/>
                      <a:pt x="398" y="330"/>
                    </a:cubicBezTo>
                    <a:cubicBezTo>
                      <a:pt x="398" y="330"/>
                      <a:pt x="398" y="330"/>
                      <a:pt x="398" y="330"/>
                    </a:cubicBezTo>
                    <a:cubicBezTo>
                      <a:pt x="396" y="329"/>
                      <a:pt x="394" y="330"/>
                      <a:pt x="392" y="330"/>
                    </a:cubicBezTo>
                    <a:cubicBezTo>
                      <a:pt x="391" y="329"/>
                      <a:pt x="390" y="330"/>
                      <a:pt x="389" y="331"/>
                    </a:cubicBezTo>
                    <a:cubicBezTo>
                      <a:pt x="388" y="331"/>
                      <a:pt x="388" y="331"/>
                      <a:pt x="387" y="332"/>
                    </a:cubicBezTo>
                    <a:cubicBezTo>
                      <a:pt x="387" y="332"/>
                      <a:pt x="387" y="332"/>
                      <a:pt x="387" y="332"/>
                    </a:cubicBezTo>
                    <a:cubicBezTo>
                      <a:pt x="386" y="332"/>
                      <a:pt x="384" y="333"/>
                      <a:pt x="383" y="334"/>
                    </a:cubicBezTo>
                    <a:cubicBezTo>
                      <a:pt x="382" y="335"/>
                      <a:pt x="382" y="335"/>
                      <a:pt x="383" y="335"/>
                    </a:cubicBezTo>
                    <a:cubicBezTo>
                      <a:pt x="384" y="336"/>
                      <a:pt x="385" y="337"/>
                      <a:pt x="385" y="339"/>
                    </a:cubicBezTo>
                    <a:cubicBezTo>
                      <a:pt x="385" y="339"/>
                      <a:pt x="385" y="339"/>
                      <a:pt x="384" y="340"/>
                    </a:cubicBezTo>
                    <a:cubicBezTo>
                      <a:pt x="384" y="339"/>
                      <a:pt x="384" y="339"/>
                      <a:pt x="384" y="338"/>
                    </a:cubicBezTo>
                    <a:cubicBezTo>
                      <a:pt x="384" y="337"/>
                      <a:pt x="382" y="335"/>
                      <a:pt x="380" y="336"/>
                    </a:cubicBezTo>
                    <a:cubicBezTo>
                      <a:pt x="380" y="336"/>
                      <a:pt x="380" y="336"/>
                      <a:pt x="380" y="336"/>
                    </a:cubicBezTo>
                    <a:cubicBezTo>
                      <a:pt x="380" y="337"/>
                      <a:pt x="379" y="337"/>
                      <a:pt x="378" y="337"/>
                    </a:cubicBezTo>
                    <a:cubicBezTo>
                      <a:pt x="378" y="337"/>
                      <a:pt x="378" y="337"/>
                      <a:pt x="378" y="337"/>
                    </a:cubicBezTo>
                    <a:cubicBezTo>
                      <a:pt x="378" y="337"/>
                      <a:pt x="378" y="337"/>
                      <a:pt x="378" y="337"/>
                    </a:cubicBezTo>
                    <a:cubicBezTo>
                      <a:pt x="378" y="339"/>
                      <a:pt x="379" y="340"/>
                      <a:pt x="380" y="341"/>
                    </a:cubicBezTo>
                    <a:cubicBezTo>
                      <a:pt x="380" y="341"/>
                      <a:pt x="380" y="341"/>
                      <a:pt x="380" y="341"/>
                    </a:cubicBezTo>
                    <a:cubicBezTo>
                      <a:pt x="380" y="341"/>
                      <a:pt x="380" y="341"/>
                      <a:pt x="380" y="341"/>
                    </a:cubicBezTo>
                    <a:cubicBezTo>
                      <a:pt x="379" y="341"/>
                      <a:pt x="379" y="341"/>
                      <a:pt x="379" y="341"/>
                    </a:cubicBezTo>
                    <a:cubicBezTo>
                      <a:pt x="379" y="341"/>
                      <a:pt x="379" y="341"/>
                      <a:pt x="379" y="341"/>
                    </a:cubicBezTo>
                    <a:cubicBezTo>
                      <a:pt x="378" y="340"/>
                      <a:pt x="377" y="340"/>
                      <a:pt x="377" y="339"/>
                    </a:cubicBezTo>
                    <a:cubicBezTo>
                      <a:pt x="377" y="338"/>
                      <a:pt x="377" y="338"/>
                      <a:pt x="377" y="338"/>
                    </a:cubicBezTo>
                    <a:cubicBezTo>
                      <a:pt x="376" y="338"/>
                      <a:pt x="375" y="339"/>
                      <a:pt x="375" y="340"/>
                    </a:cubicBezTo>
                    <a:cubicBezTo>
                      <a:pt x="374" y="341"/>
                      <a:pt x="374" y="342"/>
                      <a:pt x="375" y="342"/>
                    </a:cubicBezTo>
                    <a:cubicBezTo>
                      <a:pt x="376" y="343"/>
                      <a:pt x="378" y="344"/>
                      <a:pt x="379" y="344"/>
                    </a:cubicBezTo>
                    <a:cubicBezTo>
                      <a:pt x="380" y="344"/>
                      <a:pt x="381" y="345"/>
                      <a:pt x="381" y="345"/>
                    </a:cubicBezTo>
                    <a:cubicBezTo>
                      <a:pt x="381" y="346"/>
                      <a:pt x="381" y="346"/>
                      <a:pt x="381" y="346"/>
                    </a:cubicBezTo>
                    <a:cubicBezTo>
                      <a:pt x="381" y="346"/>
                      <a:pt x="381" y="346"/>
                      <a:pt x="381" y="346"/>
                    </a:cubicBezTo>
                    <a:cubicBezTo>
                      <a:pt x="381" y="346"/>
                      <a:pt x="381" y="346"/>
                      <a:pt x="381" y="346"/>
                    </a:cubicBezTo>
                    <a:cubicBezTo>
                      <a:pt x="379" y="345"/>
                      <a:pt x="377" y="345"/>
                      <a:pt x="375" y="344"/>
                    </a:cubicBezTo>
                    <a:cubicBezTo>
                      <a:pt x="375" y="344"/>
                      <a:pt x="375" y="343"/>
                      <a:pt x="374" y="344"/>
                    </a:cubicBezTo>
                    <a:cubicBezTo>
                      <a:pt x="374" y="344"/>
                      <a:pt x="374" y="344"/>
                      <a:pt x="374" y="344"/>
                    </a:cubicBezTo>
                    <a:cubicBezTo>
                      <a:pt x="374" y="345"/>
                      <a:pt x="374" y="345"/>
                      <a:pt x="374" y="345"/>
                    </a:cubicBezTo>
                    <a:cubicBezTo>
                      <a:pt x="374" y="346"/>
                      <a:pt x="373" y="345"/>
                      <a:pt x="373" y="344"/>
                    </a:cubicBezTo>
                    <a:cubicBezTo>
                      <a:pt x="373" y="344"/>
                      <a:pt x="373" y="344"/>
                      <a:pt x="373" y="344"/>
                    </a:cubicBezTo>
                    <a:cubicBezTo>
                      <a:pt x="372" y="344"/>
                      <a:pt x="372" y="344"/>
                      <a:pt x="372" y="345"/>
                    </a:cubicBezTo>
                    <a:cubicBezTo>
                      <a:pt x="372" y="345"/>
                      <a:pt x="372" y="346"/>
                      <a:pt x="372" y="346"/>
                    </a:cubicBezTo>
                    <a:cubicBezTo>
                      <a:pt x="373" y="346"/>
                      <a:pt x="374" y="347"/>
                      <a:pt x="375" y="346"/>
                    </a:cubicBezTo>
                    <a:cubicBezTo>
                      <a:pt x="375" y="346"/>
                      <a:pt x="375" y="346"/>
                      <a:pt x="375" y="346"/>
                    </a:cubicBezTo>
                    <a:cubicBezTo>
                      <a:pt x="375" y="348"/>
                      <a:pt x="377" y="348"/>
                      <a:pt x="378" y="349"/>
                    </a:cubicBezTo>
                    <a:cubicBezTo>
                      <a:pt x="378" y="350"/>
                      <a:pt x="378" y="350"/>
                      <a:pt x="377" y="350"/>
                    </a:cubicBezTo>
                    <a:cubicBezTo>
                      <a:pt x="377" y="350"/>
                      <a:pt x="377" y="350"/>
                      <a:pt x="377" y="350"/>
                    </a:cubicBezTo>
                    <a:cubicBezTo>
                      <a:pt x="377" y="350"/>
                      <a:pt x="377" y="350"/>
                      <a:pt x="377" y="350"/>
                    </a:cubicBezTo>
                    <a:cubicBezTo>
                      <a:pt x="376" y="349"/>
                      <a:pt x="375" y="348"/>
                      <a:pt x="374" y="348"/>
                    </a:cubicBezTo>
                    <a:cubicBezTo>
                      <a:pt x="372" y="347"/>
                      <a:pt x="371" y="347"/>
                      <a:pt x="371" y="350"/>
                    </a:cubicBezTo>
                    <a:cubicBezTo>
                      <a:pt x="371" y="351"/>
                      <a:pt x="371" y="352"/>
                      <a:pt x="371" y="353"/>
                    </a:cubicBezTo>
                    <a:cubicBezTo>
                      <a:pt x="371" y="353"/>
                      <a:pt x="371" y="354"/>
                      <a:pt x="371" y="354"/>
                    </a:cubicBezTo>
                    <a:cubicBezTo>
                      <a:pt x="371" y="354"/>
                      <a:pt x="371" y="354"/>
                      <a:pt x="371" y="354"/>
                    </a:cubicBezTo>
                    <a:cubicBezTo>
                      <a:pt x="371" y="355"/>
                      <a:pt x="370" y="356"/>
                      <a:pt x="372" y="356"/>
                    </a:cubicBezTo>
                    <a:cubicBezTo>
                      <a:pt x="372" y="356"/>
                      <a:pt x="372" y="356"/>
                      <a:pt x="372" y="356"/>
                    </a:cubicBezTo>
                    <a:cubicBezTo>
                      <a:pt x="372" y="356"/>
                      <a:pt x="372" y="356"/>
                      <a:pt x="372" y="357"/>
                    </a:cubicBezTo>
                    <a:cubicBezTo>
                      <a:pt x="372" y="357"/>
                      <a:pt x="371" y="357"/>
                      <a:pt x="371" y="358"/>
                    </a:cubicBezTo>
                    <a:cubicBezTo>
                      <a:pt x="372" y="360"/>
                      <a:pt x="373" y="360"/>
                      <a:pt x="375" y="361"/>
                    </a:cubicBezTo>
                    <a:cubicBezTo>
                      <a:pt x="375" y="361"/>
                      <a:pt x="375" y="361"/>
                      <a:pt x="375" y="361"/>
                    </a:cubicBezTo>
                    <a:cubicBezTo>
                      <a:pt x="375" y="361"/>
                      <a:pt x="375" y="361"/>
                      <a:pt x="375" y="361"/>
                    </a:cubicBezTo>
                    <a:cubicBezTo>
                      <a:pt x="375" y="362"/>
                      <a:pt x="376" y="362"/>
                      <a:pt x="376" y="362"/>
                    </a:cubicBezTo>
                    <a:cubicBezTo>
                      <a:pt x="376" y="362"/>
                      <a:pt x="376" y="362"/>
                      <a:pt x="376" y="362"/>
                    </a:cubicBezTo>
                    <a:cubicBezTo>
                      <a:pt x="376" y="362"/>
                      <a:pt x="376" y="362"/>
                      <a:pt x="376" y="362"/>
                    </a:cubicBezTo>
                    <a:cubicBezTo>
                      <a:pt x="377" y="364"/>
                      <a:pt x="378" y="365"/>
                      <a:pt x="379" y="366"/>
                    </a:cubicBezTo>
                    <a:cubicBezTo>
                      <a:pt x="379" y="366"/>
                      <a:pt x="379" y="366"/>
                      <a:pt x="378" y="366"/>
                    </a:cubicBezTo>
                    <a:cubicBezTo>
                      <a:pt x="378" y="366"/>
                      <a:pt x="378" y="366"/>
                      <a:pt x="378" y="366"/>
                    </a:cubicBezTo>
                    <a:cubicBezTo>
                      <a:pt x="378" y="366"/>
                      <a:pt x="377" y="366"/>
                      <a:pt x="377" y="365"/>
                    </a:cubicBezTo>
                    <a:cubicBezTo>
                      <a:pt x="376" y="364"/>
                      <a:pt x="375" y="363"/>
                      <a:pt x="374" y="364"/>
                    </a:cubicBezTo>
                    <a:cubicBezTo>
                      <a:pt x="372" y="364"/>
                      <a:pt x="372" y="364"/>
                      <a:pt x="372" y="365"/>
                    </a:cubicBezTo>
                    <a:cubicBezTo>
                      <a:pt x="372" y="366"/>
                      <a:pt x="372" y="367"/>
                      <a:pt x="371" y="368"/>
                    </a:cubicBezTo>
                    <a:cubicBezTo>
                      <a:pt x="369" y="369"/>
                      <a:pt x="369" y="369"/>
                      <a:pt x="371" y="371"/>
                    </a:cubicBezTo>
                    <a:cubicBezTo>
                      <a:pt x="372" y="372"/>
                      <a:pt x="373" y="372"/>
                      <a:pt x="372" y="374"/>
                    </a:cubicBezTo>
                    <a:cubicBezTo>
                      <a:pt x="372" y="374"/>
                      <a:pt x="372" y="374"/>
                      <a:pt x="372" y="374"/>
                    </a:cubicBezTo>
                    <a:cubicBezTo>
                      <a:pt x="372" y="375"/>
                      <a:pt x="373" y="375"/>
                      <a:pt x="373" y="376"/>
                    </a:cubicBezTo>
                    <a:cubicBezTo>
                      <a:pt x="374" y="376"/>
                      <a:pt x="375" y="376"/>
                      <a:pt x="376" y="377"/>
                    </a:cubicBezTo>
                    <a:cubicBezTo>
                      <a:pt x="376" y="377"/>
                      <a:pt x="376" y="376"/>
                      <a:pt x="377" y="376"/>
                    </a:cubicBezTo>
                    <a:cubicBezTo>
                      <a:pt x="377" y="376"/>
                      <a:pt x="379" y="376"/>
                      <a:pt x="378" y="377"/>
                    </a:cubicBezTo>
                    <a:cubicBezTo>
                      <a:pt x="378" y="378"/>
                      <a:pt x="379" y="379"/>
                      <a:pt x="379" y="380"/>
                    </a:cubicBezTo>
                    <a:cubicBezTo>
                      <a:pt x="379" y="380"/>
                      <a:pt x="379" y="381"/>
                      <a:pt x="378" y="381"/>
                    </a:cubicBezTo>
                    <a:cubicBezTo>
                      <a:pt x="377" y="381"/>
                      <a:pt x="377" y="382"/>
                      <a:pt x="377" y="383"/>
                    </a:cubicBezTo>
                    <a:cubicBezTo>
                      <a:pt x="377" y="383"/>
                      <a:pt x="377" y="383"/>
                      <a:pt x="377" y="383"/>
                    </a:cubicBezTo>
                    <a:cubicBezTo>
                      <a:pt x="377" y="383"/>
                      <a:pt x="377" y="383"/>
                      <a:pt x="377" y="383"/>
                    </a:cubicBezTo>
                    <a:cubicBezTo>
                      <a:pt x="377" y="383"/>
                      <a:pt x="377" y="383"/>
                      <a:pt x="377" y="383"/>
                    </a:cubicBezTo>
                    <a:cubicBezTo>
                      <a:pt x="377" y="383"/>
                      <a:pt x="377" y="383"/>
                      <a:pt x="377" y="383"/>
                    </a:cubicBezTo>
                    <a:cubicBezTo>
                      <a:pt x="376" y="383"/>
                      <a:pt x="376" y="381"/>
                      <a:pt x="375" y="381"/>
                    </a:cubicBezTo>
                    <a:cubicBezTo>
                      <a:pt x="374" y="381"/>
                      <a:pt x="373" y="380"/>
                      <a:pt x="372" y="379"/>
                    </a:cubicBezTo>
                    <a:cubicBezTo>
                      <a:pt x="370" y="376"/>
                      <a:pt x="367" y="373"/>
                      <a:pt x="366" y="370"/>
                    </a:cubicBezTo>
                    <a:cubicBezTo>
                      <a:pt x="366" y="367"/>
                      <a:pt x="365" y="364"/>
                      <a:pt x="367" y="361"/>
                    </a:cubicBezTo>
                    <a:cubicBezTo>
                      <a:pt x="367" y="361"/>
                      <a:pt x="367" y="360"/>
                      <a:pt x="367" y="359"/>
                    </a:cubicBezTo>
                    <a:cubicBezTo>
                      <a:pt x="366" y="358"/>
                      <a:pt x="366" y="357"/>
                      <a:pt x="365" y="356"/>
                    </a:cubicBezTo>
                    <a:cubicBezTo>
                      <a:pt x="364" y="355"/>
                      <a:pt x="364" y="354"/>
                      <a:pt x="364" y="352"/>
                    </a:cubicBezTo>
                    <a:cubicBezTo>
                      <a:pt x="364" y="351"/>
                      <a:pt x="364" y="350"/>
                      <a:pt x="364" y="350"/>
                    </a:cubicBezTo>
                    <a:cubicBezTo>
                      <a:pt x="365" y="348"/>
                      <a:pt x="366" y="347"/>
                      <a:pt x="367" y="345"/>
                    </a:cubicBezTo>
                    <a:cubicBezTo>
                      <a:pt x="367" y="343"/>
                      <a:pt x="368" y="340"/>
                      <a:pt x="369" y="338"/>
                    </a:cubicBezTo>
                    <a:cubicBezTo>
                      <a:pt x="369" y="338"/>
                      <a:pt x="369" y="338"/>
                      <a:pt x="369" y="338"/>
                    </a:cubicBezTo>
                    <a:cubicBezTo>
                      <a:pt x="369" y="338"/>
                      <a:pt x="369" y="338"/>
                      <a:pt x="370" y="337"/>
                    </a:cubicBezTo>
                    <a:cubicBezTo>
                      <a:pt x="371" y="336"/>
                      <a:pt x="373" y="334"/>
                      <a:pt x="375" y="332"/>
                    </a:cubicBezTo>
                    <a:cubicBezTo>
                      <a:pt x="375" y="332"/>
                      <a:pt x="375" y="332"/>
                      <a:pt x="375" y="332"/>
                    </a:cubicBezTo>
                    <a:cubicBezTo>
                      <a:pt x="375" y="332"/>
                      <a:pt x="376" y="331"/>
                      <a:pt x="376" y="331"/>
                    </a:cubicBezTo>
                    <a:cubicBezTo>
                      <a:pt x="377" y="330"/>
                      <a:pt x="377" y="329"/>
                      <a:pt x="376" y="329"/>
                    </a:cubicBezTo>
                    <a:cubicBezTo>
                      <a:pt x="376" y="329"/>
                      <a:pt x="376" y="329"/>
                      <a:pt x="376" y="329"/>
                    </a:cubicBezTo>
                    <a:cubicBezTo>
                      <a:pt x="375" y="327"/>
                      <a:pt x="373" y="327"/>
                      <a:pt x="372" y="327"/>
                    </a:cubicBezTo>
                    <a:cubicBezTo>
                      <a:pt x="371" y="327"/>
                      <a:pt x="370" y="327"/>
                      <a:pt x="369" y="327"/>
                    </a:cubicBezTo>
                    <a:cubicBezTo>
                      <a:pt x="369" y="327"/>
                      <a:pt x="369" y="327"/>
                      <a:pt x="369" y="327"/>
                    </a:cubicBezTo>
                    <a:cubicBezTo>
                      <a:pt x="369" y="327"/>
                      <a:pt x="369" y="327"/>
                      <a:pt x="369" y="327"/>
                    </a:cubicBezTo>
                    <a:cubicBezTo>
                      <a:pt x="366" y="326"/>
                      <a:pt x="364" y="326"/>
                      <a:pt x="362" y="328"/>
                    </a:cubicBezTo>
                    <a:cubicBezTo>
                      <a:pt x="362" y="328"/>
                      <a:pt x="362" y="328"/>
                      <a:pt x="362" y="328"/>
                    </a:cubicBezTo>
                    <a:cubicBezTo>
                      <a:pt x="361" y="328"/>
                      <a:pt x="360" y="328"/>
                      <a:pt x="359" y="329"/>
                    </a:cubicBezTo>
                    <a:cubicBezTo>
                      <a:pt x="357" y="330"/>
                      <a:pt x="355" y="331"/>
                      <a:pt x="354" y="333"/>
                    </a:cubicBezTo>
                    <a:cubicBezTo>
                      <a:pt x="353" y="334"/>
                      <a:pt x="352" y="335"/>
                      <a:pt x="352" y="336"/>
                    </a:cubicBezTo>
                    <a:cubicBezTo>
                      <a:pt x="350" y="338"/>
                      <a:pt x="349" y="339"/>
                      <a:pt x="349" y="342"/>
                    </a:cubicBezTo>
                    <a:cubicBezTo>
                      <a:pt x="349" y="342"/>
                      <a:pt x="349" y="342"/>
                      <a:pt x="348" y="342"/>
                    </a:cubicBezTo>
                    <a:cubicBezTo>
                      <a:pt x="348" y="342"/>
                      <a:pt x="347" y="343"/>
                      <a:pt x="347" y="344"/>
                    </a:cubicBezTo>
                    <a:cubicBezTo>
                      <a:pt x="347" y="345"/>
                      <a:pt x="346" y="347"/>
                      <a:pt x="346" y="349"/>
                    </a:cubicBezTo>
                    <a:cubicBezTo>
                      <a:pt x="347" y="349"/>
                      <a:pt x="346" y="350"/>
                      <a:pt x="346" y="350"/>
                    </a:cubicBezTo>
                    <a:cubicBezTo>
                      <a:pt x="346" y="351"/>
                      <a:pt x="347" y="351"/>
                      <a:pt x="347" y="352"/>
                    </a:cubicBezTo>
                    <a:cubicBezTo>
                      <a:pt x="345" y="352"/>
                      <a:pt x="345" y="352"/>
                      <a:pt x="345" y="354"/>
                    </a:cubicBezTo>
                    <a:cubicBezTo>
                      <a:pt x="345" y="354"/>
                      <a:pt x="345" y="355"/>
                      <a:pt x="344" y="355"/>
                    </a:cubicBezTo>
                    <a:cubicBezTo>
                      <a:pt x="344" y="355"/>
                      <a:pt x="343" y="356"/>
                      <a:pt x="343" y="356"/>
                    </a:cubicBezTo>
                    <a:cubicBezTo>
                      <a:pt x="344" y="358"/>
                      <a:pt x="342" y="360"/>
                      <a:pt x="342" y="362"/>
                    </a:cubicBezTo>
                    <a:cubicBezTo>
                      <a:pt x="342" y="363"/>
                      <a:pt x="342" y="364"/>
                      <a:pt x="343" y="365"/>
                    </a:cubicBezTo>
                    <a:cubicBezTo>
                      <a:pt x="343" y="365"/>
                      <a:pt x="343" y="365"/>
                      <a:pt x="344" y="365"/>
                    </a:cubicBezTo>
                    <a:cubicBezTo>
                      <a:pt x="344" y="365"/>
                      <a:pt x="345" y="365"/>
                      <a:pt x="345" y="366"/>
                    </a:cubicBezTo>
                    <a:cubicBezTo>
                      <a:pt x="345" y="366"/>
                      <a:pt x="344" y="366"/>
                      <a:pt x="344" y="366"/>
                    </a:cubicBezTo>
                    <a:cubicBezTo>
                      <a:pt x="344" y="367"/>
                      <a:pt x="343" y="366"/>
                      <a:pt x="343" y="367"/>
                    </a:cubicBezTo>
                    <a:cubicBezTo>
                      <a:pt x="342" y="367"/>
                      <a:pt x="342" y="368"/>
                      <a:pt x="342" y="369"/>
                    </a:cubicBezTo>
                    <a:cubicBezTo>
                      <a:pt x="342" y="369"/>
                      <a:pt x="342" y="369"/>
                      <a:pt x="342" y="369"/>
                    </a:cubicBezTo>
                    <a:cubicBezTo>
                      <a:pt x="342" y="370"/>
                      <a:pt x="341" y="371"/>
                      <a:pt x="341" y="371"/>
                    </a:cubicBezTo>
                    <a:cubicBezTo>
                      <a:pt x="342" y="372"/>
                      <a:pt x="342" y="373"/>
                      <a:pt x="343" y="373"/>
                    </a:cubicBezTo>
                    <a:cubicBezTo>
                      <a:pt x="344" y="375"/>
                      <a:pt x="343" y="375"/>
                      <a:pt x="342" y="376"/>
                    </a:cubicBezTo>
                    <a:cubicBezTo>
                      <a:pt x="342" y="377"/>
                      <a:pt x="342" y="377"/>
                      <a:pt x="342" y="378"/>
                    </a:cubicBezTo>
                    <a:cubicBezTo>
                      <a:pt x="342" y="379"/>
                      <a:pt x="342" y="380"/>
                      <a:pt x="342" y="381"/>
                    </a:cubicBezTo>
                    <a:cubicBezTo>
                      <a:pt x="342" y="383"/>
                      <a:pt x="343" y="384"/>
                      <a:pt x="345" y="384"/>
                    </a:cubicBezTo>
                    <a:cubicBezTo>
                      <a:pt x="347" y="384"/>
                      <a:pt x="350" y="385"/>
                      <a:pt x="352" y="385"/>
                    </a:cubicBezTo>
                    <a:cubicBezTo>
                      <a:pt x="353" y="385"/>
                      <a:pt x="354" y="386"/>
                      <a:pt x="355" y="385"/>
                    </a:cubicBezTo>
                    <a:cubicBezTo>
                      <a:pt x="356" y="384"/>
                      <a:pt x="356" y="385"/>
                      <a:pt x="356" y="386"/>
                    </a:cubicBezTo>
                    <a:cubicBezTo>
                      <a:pt x="356" y="386"/>
                      <a:pt x="356" y="386"/>
                      <a:pt x="356" y="386"/>
                    </a:cubicBezTo>
                    <a:cubicBezTo>
                      <a:pt x="356" y="387"/>
                      <a:pt x="357" y="388"/>
                      <a:pt x="358" y="388"/>
                    </a:cubicBezTo>
                    <a:cubicBezTo>
                      <a:pt x="359" y="389"/>
                      <a:pt x="360" y="389"/>
                      <a:pt x="360" y="390"/>
                    </a:cubicBezTo>
                    <a:cubicBezTo>
                      <a:pt x="360" y="390"/>
                      <a:pt x="360" y="390"/>
                      <a:pt x="360" y="390"/>
                    </a:cubicBezTo>
                    <a:cubicBezTo>
                      <a:pt x="360" y="391"/>
                      <a:pt x="360" y="391"/>
                      <a:pt x="359" y="391"/>
                    </a:cubicBezTo>
                    <a:cubicBezTo>
                      <a:pt x="357" y="391"/>
                      <a:pt x="355" y="392"/>
                      <a:pt x="353" y="391"/>
                    </a:cubicBezTo>
                    <a:cubicBezTo>
                      <a:pt x="353" y="390"/>
                      <a:pt x="352" y="390"/>
                      <a:pt x="351" y="390"/>
                    </a:cubicBezTo>
                    <a:cubicBezTo>
                      <a:pt x="349" y="390"/>
                      <a:pt x="348" y="390"/>
                      <a:pt x="347" y="389"/>
                    </a:cubicBezTo>
                    <a:cubicBezTo>
                      <a:pt x="346" y="389"/>
                      <a:pt x="346" y="388"/>
                      <a:pt x="346" y="389"/>
                    </a:cubicBezTo>
                    <a:cubicBezTo>
                      <a:pt x="345" y="389"/>
                      <a:pt x="346" y="390"/>
                      <a:pt x="346" y="390"/>
                    </a:cubicBezTo>
                    <a:cubicBezTo>
                      <a:pt x="346" y="391"/>
                      <a:pt x="347" y="391"/>
                      <a:pt x="347" y="392"/>
                    </a:cubicBezTo>
                    <a:cubicBezTo>
                      <a:pt x="347" y="392"/>
                      <a:pt x="346" y="392"/>
                      <a:pt x="346" y="392"/>
                    </a:cubicBezTo>
                    <a:cubicBezTo>
                      <a:pt x="346" y="392"/>
                      <a:pt x="346" y="392"/>
                      <a:pt x="346" y="392"/>
                    </a:cubicBezTo>
                    <a:cubicBezTo>
                      <a:pt x="346" y="392"/>
                      <a:pt x="346" y="392"/>
                      <a:pt x="346" y="392"/>
                    </a:cubicBezTo>
                    <a:cubicBezTo>
                      <a:pt x="346" y="394"/>
                      <a:pt x="346" y="395"/>
                      <a:pt x="347" y="396"/>
                    </a:cubicBezTo>
                    <a:cubicBezTo>
                      <a:pt x="348" y="397"/>
                      <a:pt x="349" y="397"/>
                      <a:pt x="349" y="398"/>
                    </a:cubicBezTo>
                    <a:cubicBezTo>
                      <a:pt x="349" y="400"/>
                      <a:pt x="350" y="401"/>
                      <a:pt x="351" y="401"/>
                    </a:cubicBezTo>
                    <a:cubicBezTo>
                      <a:pt x="353" y="402"/>
                      <a:pt x="354" y="403"/>
                      <a:pt x="356" y="404"/>
                    </a:cubicBezTo>
                    <a:cubicBezTo>
                      <a:pt x="356" y="404"/>
                      <a:pt x="356" y="404"/>
                      <a:pt x="356" y="404"/>
                    </a:cubicBezTo>
                    <a:cubicBezTo>
                      <a:pt x="355" y="405"/>
                      <a:pt x="355" y="404"/>
                      <a:pt x="354" y="404"/>
                    </a:cubicBezTo>
                    <a:cubicBezTo>
                      <a:pt x="354" y="405"/>
                      <a:pt x="355" y="405"/>
                      <a:pt x="355" y="405"/>
                    </a:cubicBezTo>
                    <a:cubicBezTo>
                      <a:pt x="355" y="405"/>
                      <a:pt x="355" y="405"/>
                      <a:pt x="355" y="405"/>
                    </a:cubicBezTo>
                    <a:cubicBezTo>
                      <a:pt x="356" y="406"/>
                      <a:pt x="356" y="406"/>
                      <a:pt x="357" y="405"/>
                    </a:cubicBezTo>
                    <a:cubicBezTo>
                      <a:pt x="357" y="405"/>
                      <a:pt x="358" y="405"/>
                      <a:pt x="357" y="405"/>
                    </a:cubicBezTo>
                    <a:cubicBezTo>
                      <a:pt x="357" y="405"/>
                      <a:pt x="357" y="405"/>
                      <a:pt x="357" y="405"/>
                    </a:cubicBezTo>
                    <a:cubicBezTo>
                      <a:pt x="357" y="405"/>
                      <a:pt x="357" y="405"/>
                      <a:pt x="357" y="405"/>
                    </a:cubicBezTo>
                    <a:cubicBezTo>
                      <a:pt x="357" y="404"/>
                      <a:pt x="358" y="404"/>
                      <a:pt x="358" y="404"/>
                    </a:cubicBezTo>
                    <a:cubicBezTo>
                      <a:pt x="358" y="404"/>
                      <a:pt x="359" y="404"/>
                      <a:pt x="359" y="403"/>
                    </a:cubicBezTo>
                    <a:cubicBezTo>
                      <a:pt x="359" y="403"/>
                      <a:pt x="360" y="403"/>
                      <a:pt x="360" y="403"/>
                    </a:cubicBezTo>
                    <a:cubicBezTo>
                      <a:pt x="360" y="403"/>
                      <a:pt x="360" y="403"/>
                      <a:pt x="360" y="403"/>
                    </a:cubicBezTo>
                    <a:cubicBezTo>
                      <a:pt x="361" y="403"/>
                      <a:pt x="361" y="402"/>
                      <a:pt x="361" y="402"/>
                    </a:cubicBezTo>
                    <a:cubicBezTo>
                      <a:pt x="361" y="402"/>
                      <a:pt x="361" y="401"/>
                      <a:pt x="362" y="402"/>
                    </a:cubicBezTo>
                    <a:cubicBezTo>
                      <a:pt x="363" y="402"/>
                      <a:pt x="363" y="403"/>
                      <a:pt x="363" y="403"/>
                    </a:cubicBezTo>
                    <a:cubicBezTo>
                      <a:pt x="363" y="403"/>
                      <a:pt x="362" y="404"/>
                      <a:pt x="363" y="404"/>
                    </a:cubicBezTo>
                    <a:cubicBezTo>
                      <a:pt x="364" y="404"/>
                      <a:pt x="364" y="404"/>
                      <a:pt x="364" y="403"/>
                    </a:cubicBezTo>
                    <a:cubicBezTo>
                      <a:pt x="364" y="402"/>
                      <a:pt x="365" y="402"/>
                      <a:pt x="366" y="401"/>
                    </a:cubicBezTo>
                    <a:cubicBezTo>
                      <a:pt x="364" y="404"/>
                      <a:pt x="364" y="406"/>
                      <a:pt x="366" y="408"/>
                    </a:cubicBezTo>
                    <a:cubicBezTo>
                      <a:pt x="367" y="409"/>
                      <a:pt x="369" y="409"/>
                      <a:pt x="370" y="410"/>
                    </a:cubicBezTo>
                    <a:cubicBezTo>
                      <a:pt x="371" y="411"/>
                      <a:pt x="372" y="410"/>
                      <a:pt x="373" y="411"/>
                    </a:cubicBezTo>
                    <a:cubicBezTo>
                      <a:pt x="372" y="409"/>
                      <a:pt x="371" y="409"/>
                      <a:pt x="370" y="409"/>
                    </a:cubicBezTo>
                    <a:cubicBezTo>
                      <a:pt x="372" y="408"/>
                      <a:pt x="374" y="410"/>
                      <a:pt x="377" y="409"/>
                    </a:cubicBezTo>
                    <a:cubicBezTo>
                      <a:pt x="376" y="410"/>
                      <a:pt x="377" y="410"/>
                      <a:pt x="378" y="410"/>
                    </a:cubicBezTo>
                    <a:cubicBezTo>
                      <a:pt x="379" y="410"/>
                      <a:pt x="379" y="410"/>
                      <a:pt x="380" y="411"/>
                    </a:cubicBezTo>
                    <a:cubicBezTo>
                      <a:pt x="382" y="411"/>
                      <a:pt x="384" y="412"/>
                      <a:pt x="386" y="411"/>
                    </a:cubicBezTo>
                    <a:cubicBezTo>
                      <a:pt x="388" y="410"/>
                      <a:pt x="390" y="411"/>
                      <a:pt x="391" y="413"/>
                    </a:cubicBezTo>
                    <a:cubicBezTo>
                      <a:pt x="391" y="414"/>
                      <a:pt x="392" y="415"/>
                      <a:pt x="393" y="414"/>
                    </a:cubicBezTo>
                    <a:cubicBezTo>
                      <a:pt x="393" y="413"/>
                      <a:pt x="393" y="413"/>
                      <a:pt x="394" y="414"/>
                    </a:cubicBezTo>
                    <a:cubicBezTo>
                      <a:pt x="394" y="414"/>
                      <a:pt x="394" y="414"/>
                      <a:pt x="394" y="414"/>
                    </a:cubicBezTo>
                    <a:cubicBezTo>
                      <a:pt x="394" y="415"/>
                      <a:pt x="395" y="415"/>
                      <a:pt x="395" y="414"/>
                    </a:cubicBezTo>
                    <a:cubicBezTo>
                      <a:pt x="395" y="413"/>
                      <a:pt x="395" y="413"/>
                      <a:pt x="396" y="413"/>
                    </a:cubicBezTo>
                    <a:cubicBezTo>
                      <a:pt x="397" y="413"/>
                      <a:pt x="397" y="412"/>
                      <a:pt x="397" y="411"/>
                    </a:cubicBezTo>
                    <a:cubicBezTo>
                      <a:pt x="397" y="411"/>
                      <a:pt x="397" y="411"/>
                      <a:pt x="397" y="411"/>
                    </a:cubicBezTo>
                    <a:cubicBezTo>
                      <a:pt x="397" y="411"/>
                      <a:pt x="397" y="411"/>
                      <a:pt x="397" y="411"/>
                    </a:cubicBezTo>
                    <a:cubicBezTo>
                      <a:pt x="397" y="411"/>
                      <a:pt x="398" y="411"/>
                      <a:pt x="398" y="411"/>
                    </a:cubicBezTo>
                    <a:cubicBezTo>
                      <a:pt x="399" y="411"/>
                      <a:pt x="399" y="412"/>
                      <a:pt x="399" y="412"/>
                    </a:cubicBezTo>
                    <a:cubicBezTo>
                      <a:pt x="400" y="413"/>
                      <a:pt x="401" y="413"/>
                      <a:pt x="402" y="415"/>
                    </a:cubicBezTo>
                    <a:cubicBezTo>
                      <a:pt x="402" y="416"/>
                      <a:pt x="403" y="416"/>
                      <a:pt x="404" y="416"/>
                    </a:cubicBezTo>
                    <a:cubicBezTo>
                      <a:pt x="404" y="416"/>
                      <a:pt x="404" y="417"/>
                      <a:pt x="404" y="417"/>
                    </a:cubicBezTo>
                    <a:cubicBezTo>
                      <a:pt x="406" y="417"/>
                      <a:pt x="406" y="417"/>
                      <a:pt x="406" y="418"/>
                    </a:cubicBezTo>
                    <a:cubicBezTo>
                      <a:pt x="407" y="419"/>
                      <a:pt x="408" y="418"/>
                      <a:pt x="408" y="419"/>
                    </a:cubicBezTo>
                    <a:cubicBezTo>
                      <a:pt x="408" y="420"/>
                      <a:pt x="408" y="420"/>
                      <a:pt x="409" y="420"/>
                    </a:cubicBezTo>
                    <a:cubicBezTo>
                      <a:pt x="410" y="420"/>
                      <a:pt x="409" y="419"/>
                      <a:pt x="409" y="419"/>
                    </a:cubicBezTo>
                    <a:cubicBezTo>
                      <a:pt x="409" y="419"/>
                      <a:pt x="409" y="418"/>
                      <a:pt x="409" y="418"/>
                    </a:cubicBezTo>
                    <a:cubicBezTo>
                      <a:pt x="410" y="418"/>
                      <a:pt x="411" y="418"/>
                      <a:pt x="412" y="418"/>
                    </a:cubicBezTo>
                    <a:cubicBezTo>
                      <a:pt x="413" y="417"/>
                      <a:pt x="414" y="416"/>
                      <a:pt x="413" y="415"/>
                    </a:cubicBezTo>
                    <a:cubicBezTo>
                      <a:pt x="412" y="414"/>
                      <a:pt x="412" y="414"/>
                      <a:pt x="411" y="415"/>
                    </a:cubicBezTo>
                    <a:cubicBezTo>
                      <a:pt x="410" y="415"/>
                      <a:pt x="409" y="416"/>
                      <a:pt x="408" y="415"/>
                    </a:cubicBezTo>
                    <a:cubicBezTo>
                      <a:pt x="408" y="414"/>
                      <a:pt x="407" y="414"/>
                      <a:pt x="406" y="415"/>
                    </a:cubicBezTo>
                    <a:cubicBezTo>
                      <a:pt x="405" y="415"/>
                      <a:pt x="406" y="416"/>
                      <a:pt x="406" y="416"/>
                    </a:cubicBezTo>
                    <a:cubicBezTo>
                      <a:pt x="405" y="416"/>
                      <a:pt x="405" y="415"/>
                      <a:pt x="404" y="415"/>
                    </a:cubicBezTo>
                    <a:cubicBezTo>
                      <a:pt x="404" y="415"/>
                      <a:pt x="404" y="415"/>
                      <a:pt x="404" y="415"/>
                    </a:cubicBezTo>
                    <a:cubicBezTo>
                      <a:pt x="404" y="415"/>
                      <a:pt x="404" y="415"/>
                      <a:pt x="404" y="415"/>
                    </a:cubicBezTo>
                    <a:cubicBezTo>
                      <a:pt x="403" y="413"/>
                      <a:pt x="401" y="412"/>
                      <a:pt x="401" y="410"/>
                    </a:cubicBezTo>
                    <a:cubicBezTo>
                      <a:pt x="401" y="410"/>
                      <a:pt x="400" y="410"/>
                      <a:pt x="400" y="410"/>
                    </a:cubicBezTo>
                    <a:cubicBezTo>
                      <a:pt x="399" y="410"/>
                      <a:pt x="399" y="409"/>
                      <a:pt x="398" y="409"/>
                    </a:cubicBezTo>
                    <a:cubicBezTo>
                      <a:pt x="397" y="409"/>
                      <a:pt x="397" y="409"/>
                      <a:pt x="397" y="408"/>
                    </a:cubicBezTo>
                    <a:cubicBezTo>
                      <a:pt x="397" y="408"/>
                      <a:pt x="398" y="408"/>
                      <a:pt x="398" y="408"/>
                    </a:cubicBezTo>
                    <a:cubicBezTo>
                      <a:pt x="399" y="409"/>
                      <a:pt x="401" y="408"/>
                      <a:pt x="402" y="409"/>
                    </a:cubicBezTo>
                    <a:cubicBezTo>
                      <a:pt x="404" y="409"/>
                      <a:pt x="405" y="410"/>
                      <a:pt x="407" y="410"/>
                    </a:cubicBezTo>
                    <a:cubicBezTo>
                      <a:pt x="408" y="411"/>
                      <a:pt x="410" y="411"/>
                      <a:pt x="411" y="413"/>
                    </a:cubicBezTo>
                    <a:cubicBezTo>
                      <a:pt x="411" y="413"/>
                      <a:pt x="411" y="413"/>
                      <a:pt x="412" y="413"/>
                    </a:cubicBezTo>
                    <a:cubicBezTo>
                      <a:pt x="413" y="412"/>
                      <a:pt x="415" y="413"/>
                      <a:pt x="416" y="413"/>
                    </a:cubicBezTo>
                    <a:cubicBezTo>
                      <a:pt x="417" y="413"/>
                      <a:pt x="417" y="412"/>
                      <a:pt x="418" y="412"/>
                    </a:cubicBezTo>
                    <a:cubicBezTo>
                      <a:pt x="418" y="411"/>
                      <a:pt x="418" y="410"/>
                      <a:pt x="418" y="409"/>
                    </a:cubicBezTo>
                    <a:cubicBezTo>
                      <a:pt x="418" y="407"/>
                      <a:pt x="417" y="406"/>
                      <a:pt x="416" y="404"/>
                    </a:cubicBezTo>
                    <a:cubicBezTo>
                      <a:pt x="416" y="403"/>
                      <a:pt x="415" y="404"/>
                      <a:pt x="414" y="404"/>
                    </a:cubicBezTo>
                    <a:cubicBezTo>
                      <a:pt x="414" y="404"/>
                      <a:pt x="414" y="404"/>
                      <a:pt x="414" y="404"/>
                    </a:cubicBezTo>
                    <a:cubicBezTo>
                      <a:pt x="414" y="403"/>
                      <a:pt x="414" y="403"/>
                      <a:pt x="413" y="403"/>
                    </a:cubicBezTo>
                    <a:cubicBezTo>
                      <a:pt x="412" y="403"/>
                      <a:pt x="412" y="403"/>
                      <a:pt x="412" y="402"/>
                    </a:cubicBezTo>
                    <a:cubicBezTo>
                      <a:pt x="412" y="402"/>
                      <a:pt x="412" y="402"/>
                      <a:pt x="413" y="402"/>
                    </a:cubicBezTo>
                    <a:cubicBezTo>
                      <a:pt x="413" y="402"/>
                      <a:pt x="413" y="402"/>
                      <a:pt x="413" y="402"/>
                    </a:cubicBezTo>
                    <a:cubicBezTo>
                      <a:pt x="413" y="402"/>
                      <a:pt x="413" y="402"/>
                      <a:pt x="413" y="402"/>
                    </a:cubicBezTo>
                    <a:cubicBezTo>
                      <a:pt x="413" y="402"/>
                      <a:pt x="413" y="401"/>
                      <a:pt x="414" y="401"/>
                    </a:cubicBezTo>
                    <a:cubicBezTo>
                      <a:pt x="414" y="401"/>
                      <a:pt x="414" y="401"/>
                      <a:pt x="414" y="401"/>
                    </a:cubicBezTo>
                    <a:cubicBezTo>
                      <a:pt x="414" y="401"/>
                      <a:pt x="414" y="401"/>
                      <a:pt x="414" y="401"/>
                    </a:cubicBezTo>
                    <a:cubicBezTo>
                      <a:pt x="414" y="402"/>
                      <a:pt x="414" y="402"/>
                      <a:pt x="414" y="402"/>
                    </a:cubicBezTo>
                    <a:cubicBezTo>
                      <a:pt x="415" y="402"/>
                      <a:pt x="415" y="402"/>
                      <a:pt x="415" y="401"/>
                    </a:cubicBezTo>
                    <a:cubicBezTo>
                      <a:pt x="415" y="401"/>
                      <a:pt x="415" y="400"/>
                      <a:pt x="415" y="400"/>
                    </a:cubicBezTo>
                    <a:cubicBezTo>
                      <a:pt x="416" y="399"/>
                      <a:pt x="416" y="398"/>
                      <a:pt x="415" y="398"/>
                    </a:cubicBezTo>
                    <a:cubicBezTo>
                      <a:pt x="415" y="398"/>
                      <a:pt x="415" y="398"/>
                      <a:pt x="415" y="398"/>
                    </a:cubicBezTo>
                    <a:cubicBezTo>
                      <a:pt x="415" y="398"/>
                      <a:pt x="415" y="397"/>
                      <a:pt x="415" y="397"/>
                    </a:cubicBezTo>
                    <a:cubicBezTo>
                      <a:pt x="415" y="397"/>
                      <a:pt x="415" y="397"/>
                      <a:pt x="415" y="397"/>
                    </a:cubicBezTo>
                    <a:cubicBezTo>
                      <a:pt x="416" y="397"/>
                      <a:pt x="416" y="398"/>
                      <a:pt x="416" y="398"/>
                    </a:cubicBezTo>
                    <a:cubicBezTo>
                      <a:pt x="416" y="398"/>
                      <a:pt x="416" y="398"/>
                      <a:pt x="417" y="398"/>
                    </a:cubicBezTo>
                    <a:cubicBezTo>
                      <a:pt x="417" y="398"/>
                      <a:pt x="417" y="398"/>
                      <a:pt x="417" y="398"/>
                    </a:cubicBezTo>
                    <a:cubicBezTo>
                      <a:pt x="417" y="399"/>
                      <a:pt x="416" y="399"/>
                      <a:pt x="416" y="400"/>
                    </a:cubicBezTo>
                    <a:cubicBezTo>
                      <a:pt x="415" y="401"/>
                      <a:pt x="415" y="402"/>
                      <a:pt x="417" y="402"/>
                    </a:cubicBezTo>
                    <a:cubicBezTo>
                      <a:pt x="417" y="402"/>
                      <a:pt x="418" y="402"/>
                      <a:pt x="418" y="403"/>
                    </a:cubicBezTo>
                    <a:cubicBezTo>
                      <a:pt x="418" y="403"/>
                      <a:pt x="418" y="403"/>
                      <a:pt x="418" y="403"/>
                    </a:cubicBezTo>
                    <a:cubicBezTo>
                      <a:pt x="420" y="403"/>
                      <a:pt x="419" y="404"/>
                      <a:pt x="419" y="405"/>
                    </a:cubicBezTo>
                    <a:cubicBezTo>
                      <a:pt x="419" y="406"/>
                      <a:pt x="420" y="406"/>
                      <a:pt x="422" y="406"/>
                    </a:cubicBezTo>
                    <a:cubicBezTo>
                      <a:pt x="422" y="406"/>
                      <a:pt x="423" y="405"/>
                      <a:pt x="424" y="406"/>
                    </a:cubicBezTo>
                    <a:cubicBezTo>
                      <a:pt x="425" y="407"/>
                      <a:pt x="425" y="408"/>
                      <a:pt x="425" y="409"/>
                    </a:cubicBezTo>
                    <a:cubicBezTo>
                      <a:pt x="425" y="410"/>
                      <a:pt x="425" y="412"/>
                      <a:pt x="425" y="414"/>
                    </a:cubicBezTo>
                    <a:cubicBezTo>
                      <a:pt x="425" y="414"/>
                      <a:pt x="425" y="415"/>
                      <a:pt x="425" y="415"/>
                    </a:cubicBezTo>
                    <a:cubicBezTo>
                      <a:pt x="425" y="415"/>
                      <a:pt x="425" y="415"/>
                      <a:pt x="426" y="415"/>
                    </a:cubicBezTo>
                    <a:cubicBezTo>
                      <a:pt x="426" y="415"/>
                      <a:pt x="426" y="415"/>
                      <a:pt x="426" y="415"/>
                    </a:cubicBezTo>
                    <a:cubicBezTo>
                      <a:pt x="425" y="413"/>
                      <a:pt x="427" y="414"/>
                      <a:pt x="427" y="413"/>
                    </a:cubicBezTo>
                    <a:cubicBezTo>
                      <a:pt x="428" y="413"/>
                      <a:pt x="427" y="414"/>
                      <a:pt x="428" y="414"/>
                    </a:cubicBezTo>
                    <a:cubicBezTo>
                      <a:pt x="429" y="413"/>
                      <a:pt x="430" y="414"/>
                      <a:pt x="431" y="414"/>
                    </a:cubicBezTo>
                    <a:cubicBezTo>
                      <a:pt x="430" y="415"/>
                      <a:pt x="429" y="415"/>
                      <a:pt x="430" y="415"/>
                    </a:cubicBezTo>
                    <a:cubicBezTo>
                      <a:pt x="431" y="416"/>
                      <a:pt x="431" y="416"/>
                      <a:pt x="430" y="416"/>
                    </a:cubicBezTo>
                    <a:cubicBezTo>
                      <a:pt x="430" y="417"/>
                      <a:pt x="430" y="416"/>
                      <a:pt x="430" y="416"/>
                    </a:cubicBezTo>
                    <a:cubicBezTo>
                      <a:pt x="429" y="416"/>
                      <a:pt x="428" y="417"/>
                      <a:pt x="428" y="417"/>
                    </a:cubicBezTo>
                    <a:cubicBezTo>
                      <a:pt x="428" y="418"/>
                      <a:pt x="429" y="418"/>
                      <a:pt x="429" y="418"/>
                    </a:cubicBezTo>
                    <a:cubicBezTo>
                      <a:pt x="430" y="418"/>
                      <a:pt x="430" y="419"/>
                      <a:pt x="431" y="419"/>
                    </a:cubicBezTo>
                    <a:cubicBezTo>
                      <a:pt x="431" y="419"/>
                      <a:pt x="431" y="419"/>
                      <a:pt x="431" y="419"/>
                    </a:cubicBezTo>
                    <a:cubicBezTo>
                      <a:pt x="431" y="419"/>
                      <a:pt x="431" y="419"/>
                      <a:pt x="431" y="419"/>
                    </a:cubicBezTo>
                    <a:cubicBezTo>
                      <a:pt x="431" y="419"/>
                      <a:pt x="431" y="420"/>
                      <a:pt x="432" y="420"/>
                    </a:cubicBezTo>
                    <a:cubicBezTo>
                      <a:pt x="432" y="420"/>
                      <a:pt x="432" y="420"/>
                      <a:pt x="432" y="420"/>
                    </a:cubicBezTo>
                    <a:cubicBezTo>
                      <a:pt x="432" y="420"/>
                      <a:pt x="432" y="420"/>
                      <a:pt x="432" y="420"/>
                    </a:cubicBezTo>
                    <a:cubicBezTo>
                      <a:pt x="432" y="420"/>
                      <a:pt x="433" y="421"/>
                      <a:pt x="434" y="422"/>
                    </a:cubicBezTo>
                    <a:cubicBezTo>
                      <a:pt x="435" y="422"/>
                      <a:pt x="436" y="423"/>
                      <a:pt x="438" y="424"/>
                    </a:cubicBezTo>
                    <a:cubicBezTo>
                      <a:pt x="439" y="425"/>
                      <a:pt x="439" y="427"/>
                      <a:pt x="439" y="428"/>
                    </a:cubicBezTo>
                    <a:cubicBezTo>
                      <a:pt x="438" y="428"/>
                      <a:pt x="437" y="428"/>
                      <a:pt x="437" y="429"/>
                    </a:cubicBezTo>
                    <a:cubicBezTo>
                      <a:pt x="436" y="430"/>
                      <a:pt x="435" y="430"/>
                      <a:pt x="435" y="429"/>
                    </a:cubicBezTo>
                    <a:cubicBezTo>
                      <a:pt x="434" y="428"/>
                      <a:pt x="433" y="429"/>
                      <a:pt x="432" y="429"/>
                    </a:cubicBezTo>
                    <a:cubicBezTo>
                      <a:pt x="432" y="430"/>
                      <a:pt x="431" y="431"/>
                      <a:pt x="432" y="432"/>
                    </a:cubicBezTo>
                    <a:cubicBezTo>
                      <a:pt x="433" y="432"/>
                      <a:pt x="432" y="433"/>
                      <a:pt x="432" y="433"/>
                    </a:cubicBezTo>
                    <a:cubicBezTo>
                      <a:pt x="432" y="433"/>
                      <a:pt x="432" y="433"/>
                      <a:pt x="432" y="433"/>
                    </a:cubicBezTo>
                    <a:cubicBezTo>
                      <a:pt x="432" y="433"/>
                      <a:pt x="432" y="433"/>
                      <a:pt x="432" y="434"/>
                    </a:cubicBezTo>
                    <a:cubicBezTo>
                      <a:pt x="431" y="434"/>
                      <a:pt x="431" y="435"/>
                      <a:pt x="432" y="435"/>
                    </a:cubicBezTo>
                    <a:cubicBezTo>
                      <a:pt x="432" y="436"/>
                      <a:pt x="433" y="436"/>
                      <a:pt x="434" y="435"/>
                    </a:cubicBezTo>
                    <a:cubicBezTo>
                      <a:pt x="434" y="435"/>
                      <a:pt x="434" y="435"/>
                      <a:pt x="434" y="435"/>
                    </a:cubicBezTo>
                    <a:cubicBezTo>
                      <a:pt x="435" y="434"/>
                      <a:pt x="437" y="433"/>
                      <a:pt x="438" y="432"/>
                    </a:cubicBezTo>
                    <a:cubicBezTo>
                      <a:pt x="439" y="432"/>
                      <a:pt x="439" y="431"/>
                      <a:pt x="439" y="431"/>
                    </a:cubicBezTo>
                    <a:cubicBezTo>
                      <a:pt x="439" y="430"/>
                      <a:pt x="438" y="430"/>
                      <a:pt x="439" y="430"/>
                    </a:cubicBezTo>
                    <a:cubicBezTo>
                      <a:pt x="440" y="429"/>
                      <a:pt x="440" y="430"/>
                      <a:pt x="440" y="430"/>
                    </a:cubicBezTo>
                    <a:cubicBezTo>
                      <a:pt x="441" y="431"/>
                      <a:pt x="441" y="432"/>
                      <a:pt x="442" y="432"/>
                    </a:cubicBezTo>
                    <a:cubicBezTo>
                      <a:pt x="442" y="430"/>
                      <a:pt x="444" y="432"/>
                      <a:pt x="444" y="431"/>
                    </a:cubicBezTo>
                    <a:cubicBezTo>
                      <a:pt x="444" y="431"/>
                      <a:pt x="445" y="431"/>
                      <a:pt x="445" y="432"/>
                    </a:cubicBezTo>
                    <a:cubicBezTo>
                      <a:pt x="445" y="433"/>
                      <a:pt x="444" y="433"/>
                      <a:pt x="443" y="433"/>
                    </a:cubicBezTo>
                    <a:cubicBezTo>
                      <a:pt x="444" y="434"/>
                      <a:pt x="444" y="434"/>
                      <a:pt x="445" y="435"/>
                    </a:cubicBezTo>
                    <a:cubicBezTo>
                      <a:pt x="446" y="436"/>
                      <a:pt x="446" y="439"/>
                      <a:pt x="449" y="439"/>
                    </a:cubicBezTo>
                    <a:cubicBezTo>
                      <a:pt x="450" y="439"/>
                      <a:pt x="450" y="439"/>
                      <a:pt x="450" y="439"/>
                    </a:cubicBezTo>
                    <a:cubicBezTo>
                      <a:pt x="450" y="438"/>
                      <a:pt x="450" y="438"/>
                      <a:pt x="450" y="438"/>
                    </a:cubicBezTo>
                    <a:cubicBezTo>
                      <a:pt x="449" y="437"/>
                      <a:pt x="449" y="436"/>
                      <a:pt x="448" y="436"/>
                    </a:cubicBezTo>
                    <a:cubicBezTo>
                      <a:pt x="448" y="435"/>
                      <a:pt x="448" y="435"/>
                      <a:pt x="449" y="435"/>
                    </a:cubicBezTo>
                    <a:cubicBezTo>
                      <a:pt x="450" y="434"/>
                      <a:pt x="451" y="436"/>
                      <a:pt x="451" y="437"/>
                    </a:cubicBezTo>
                    <a:cubicBezTo>
                      <a:pt x="451" y="438"/>
                      <a:pt x="451" y="439"/>
                      <a:pt x="450" y="439"/>
                    </a:cubicBezTo>
                    <a:cubicBezTo>
                      <a:pt x="450" y="440"/>
                      <a:pt x="450" y="440"/>
                      <a:pt x="450" y="441"/>
                    </a:cubicBezTo>
                    <a:cubicBezTo>
                      <a:pt x="451" y="442"/>
                      <a:pt x="452" y="443"/>
                      <a:pt x="454" y="443"/>
                    </a:cubicBezTo>
                    <a:cubicBezTo>
                      <a:pt x="455" y="443"/>
                      <a:pt x="456" y="444"/>
                      <a:pt x="456" y="445"/>
                    </a:cubicBezTo>
                    <a:cubicBezTo>
                      <a:pt x="457" y="446"/>
                      <a:pt x="457" y="447"/>
                      <a:pt x="457" y="448"/>
                    </a:cubicBezTo>
                    <a:cubicBezTo>
                      <a:pt x="457" y="448"/>
                      <a:pt x="457" y="448"/>
                      <a:pt x="457" y="448"/>
                    </a:cubicBezTo>
                    <a:cubicBezTo>
                      <a:pt x="457" y="449"/>
                      <a:pt x="457" y="450"/>
                      <a:pt x="457" y="451"/>
                    </a:cubicBezTo>
                    <a:cubicBezTo>
                      <a:pt x="458" y="451"/>
                      <a:pt x="459" y="452"/>
                      <a:pt x="459" y="454"/>
                    </a:cubicBezTo>
                    <a:cubicBezTo>
                      <a:pt x="458" y="454"/>
                      <a:pt x="459" y="454"/>
                      <a:pt x="459" y="454"/>
                    </a:cubicBezTo>
                    <a:cubicBezTo>
                      <a:pt x="460" y="455"/>
                      <a:pt x="460" y="457"/>
                      <a:pt x="460" y="458"/>
                    </a:cubicBezTo>
                    <a:cubicBezTo>
                      <a:pt x="460" y="459"/>
                      <a:pt x="461" y="460"/>
                      <a:pt x="461" y="461"/>
                    </a:cubicBezTo>
                    <a:cubicBezTo>
                      <a:pt x="462" y="462"/>
                      <a:pt x="461" y="464"/>
                      <a:pt x="459" y="464"/>
                    </a:cubicBezTo>
                    <a:cubicBezTo>
                      <a:pt x="458" y="464"/>
                      <a:pt x="458" y="465"/>
                      <a:pt x="457" y="465"/>
                    </a:cubicBezTo>
                    <a:cubicBezTo>
                      <a:pt x="457" y="467"/>
                      <a:pt x="457" y="468"/>
                      <a:pt x="456" y="469"/>
                    </a:cubicBezTo>
                    <a:cubicBezTo>
                      <a:pt x="456" y="469"/>
                      <a:pt x="456" y="470"/>
                      <a:pt x="456" y="470"/>
                    </a:cubicBezTo>
                    <a:cubicBezTo>
                      <a:pt x="456" y="470"/>
                      <a:pt x="456" y="470"/>
                      <a:pt x="456" y="470"/>
                    </a:cubicBezTo>
                    <a:cubicBezTo>
                      <a:pt x="456" y="470"/>
                      <a:pt x="456" y="470"/>
                      <a:pt x="456" y="471"/>
                    </a:cubicBezTo>
                    <a:cubicBezTo>
                      <a:pt x="456" y="471"/>
                      <a:pt x="456" y="471"/>
                      <a:pt x="456" y="471"/>
                    </a:cubicBezTo>
                    <a:cubicBezTo>
                      <a:pt x="456" y="471"/>
                      <a:pt x="456" y="471"/>
                      <a:pt x="456" y="471"/>
                    </a:cubicBezTo>
                    <a:cubicBezTo>
                      <a:pt x="456" y="471"/>
                      <a:pt x="456" y="471"/>
                      <a:pt x="456" y="471"/>
                    </a:cubicBezTo>
                    <a:cubicBezTo>
                      <a:pt x="456" y="471"/>
                      <a:pt x="456" y="471"/>
                      <a:pt x="456" y="471"/>
                    </a:cubicBezTo>
                    <a:cubicBezTo>
                      <a:pt x="455" y="471"/>
                      <a:pt x="454" y="472"/>
                      <a:pt x="454" y="473"/>
                    </a:cubicBezTo>
                    <a:cubicBezTo>
                      <a:pt x="453" y="473"/>
                      <a:pt x="453" y="473"/>
                      <a:pt x="453" y="474"/>
                    </a:cubicBezTo>
                    <a:cubicBezTo>
                      <a:pt x="451" y="475"/>
                      <a:pt x="450" y="477"/>
                      <a:pt x="447" y="479"/>
                    </a:cubicBezTo>
                    <a:cubicBezTo>
                      <a:pt x="447" y="479"/>
                      <a:pt x="446" y="480"/>
                      <a:pt x="446" y="481"/>
                    </a:cubicBezTo>
                    <a:cubicBezTo>
                      <a:pt x="447" y="483"/>
                      <a:pt x="448" y="484"/>
                      <a:pt x="450" y="485"/>
                    </a:cubicBezTo>
                    <a:cubicBezTo>
                      <a:pt x="452" y="487"/>
                      <a:pt x="452" y="489"/>
                      <a:pt x="453" y="492"/>
                    </a:cubicBezTo>
                    <a:cubicBezTo>
                      <a:pt x="453" y="492"/>
                      <a:pt x="453" y="492"/>
                      <a:pt x="453" y="492"/>
                    </a:cubicBezTo>
                    <a:cubicBezTo>
                      <a:pt x="453" y="492"/>
                      <a:pt x="453" y="492"/>
                      <a:pt x="453" y="492"/>
                    </a:cubicBezTo>
                    <a:cubicBezTo>
                      <a:pt x="452" y="492"/>
                      <a:pt x="451" y="492"/>
                      <a:pt x="451" y="491"/>
                    </a:cubicBezTo>
                    <a:cubicBezTo>
                      <a:pt x="451" y="490"/>
                      <a:pt x="449" y="490"/>
                      <a:pt x="448" y="491"/>
                    </a:cubicBezTo>
                    <a:cubicBezTo>
                      <a:pt x="447" y="491"/>
                      <a:pt x="447" y="492"/>
                      <a:pt x="447" y="493"/>
                    </a:cubicBezTo>
                    <a:cubicBezTo>
                      <a:pt x="446" y="493"/>
                      <a:pt x="445" y="494"/>
                      <a:pt x="445" y="493"/>
                    </a:cubicBezTo>
                    <a:cubicBezTo>
                      <a:pt x="444" y="492"/>
                      <a:pt x="444" y="493"/>
                      <a:pt x="443" y="493"/>
                    </a:cubicBezTo>
                    <a:cubicBezTo>
                      <a:pt x="442" y="493"/>
                      <a:pt x="442" y="493"/>
                      <a:pt x="442" y="493"/>
                    </a:cubicBezTo>
                    <a:cubicBezTo>
                      <a:pt x="442" y="494"/>
                      <a:pt x="442" y="495"/>
                      <a:pt x="441" y="495"/>
                    </a:cubicBezTo>
                    <a:cubicBezTo>
                      <a:pt x="440" y="495"/>
                      <a:pt x="439" y="495"/>
                      <a:pt x="439" y="494"/>
                    </a:cubicBezTo>
                    <a:cubicBezTo>
                      <a:pt x="438" y="494"/>
                      <a:pt x="437" y="494"/>
                      <a:pt x="437" y="494"/>
                    </a:cubicBezTo>
                    <a:cubicBezTo>
                      <a:pt x="436" y="495"/>
                      <a:pt x="436" y="495"/>
                      <a:pt x="436" y="495"/>
                    </a:cubicBezTo>
                    <a:cubicBezTo>
                      <a:pt x="433" y="493"/>
                      <a:pt x="431" y="492"/>
                      <a:pt x="428" y="492"/>
                    </a:cubicBezTo>
                    <a:cubicBezTo>
                      <a:pt x="427" y="492"/>
                      <a:pt x="427" y="491"/>
                      <a:pt x="427" y="492"/>
                    </a:cubicBezTo>
                    <a:cubicBezTo>
                      <a:pt x="427" y="492"/>
                      <a:pt x="427" y="493"/>
                      <a:pt x="426" y="493"/>
                    </a:cubicBezTo>
                    <a:cubicBezTo>
                      <a:pt x="426" y="494"/>
                      <a:pt x="426" y="495"/>
                      <a:pt x="427" y="495"/>
                    </a:cubicBezTo>
                    <a:cubicBezTo>
                      <a:pt x="427" y="496"/>
                      <a:pt x="427" y="496"/>
                      <a:pt x="426" y="496"/>
                    </a:cubicBezTo>
                    <a:cubicBezTo>
                      <a:pt x="425" y="497"/>
                      <a:pt x="424" y="497"/>
                      <a:pt x="423" y="498"/>
                    </a:cubicBezTo>
                    <a:cubicBezTo>
                      <a:pt x="422" y="499"/>
                      <a:pt x="421" y="500"/>
                      <a:pt x="422" y="501"/>
                    </a:cubicBezTo>
                    <a:cubicBezTo>
                      <a:pt x="422" y="502"/>
                      <a:pt x="422" y="502"/>
                      <a:pt x="422" y="502"/>
                    </a:cubicBezTo>
                    <a:cubicBezTo>
                      <a:pt x="421" y="504"/>
                      <a:pt x="421" y="506"/>
                      <a:pt x="423" y="507"/>
                    </a:cubicBezTo>
                    <a:cubicBezTo>
                      <a:pt x="423" y="508"/>
                      <a:pt x="423" y="510"/>
                      <a:pt x="425" y="509"/>
                    </a:cubicBezTo>
                    <a:cubicBezTo>
                      <a:pt x="426" y="509"/>
                      <a:pt x="426" y="509"/>
                      <a:pt x="427" y="510"/>
                    </a:cubicBezTo>
                    <a:cubicBezTo>
                      <a:pt x="427" y="510"/>
                      <a:pt x="427" y="511"/>
                      <a:pt x="428" y="510"/>
                    </a:cubicBezTo>
                    <a:cubicBezTo>
                      <a:pt x="428" y="510"/>
                      <a:pt x="430" y="510"/>
                      <a:pt x="430" y="511"/>
                    </a:cubicBezTo>
                    <a:cubicBezTo>
                      <a:pt x="431" y="512"/>
                      <a:pt x="432" y="511"/>
                      <a:pt x="432" y="511"/>
                    </a:cubicBezTo>
                    <a:cubicBezTo>
                      <a:pt x="432" y="510"/>
                      <a:pt x="431" y="511"/>
                      <a:pt x="431" y="510"/>
                    </a:cubicBezTo>
                    <a:cubicBezTo>
                      <a:pt x="431" y="510"/>
                      <a:pt x="432" y="510"/>
                      <a:pt x="432" y="510"/>
                    </a:cubicBezTo>
                    <a:cubicBezTo>
                      <a:pt x="433" y="510"/>
                      <a:pt x="433" y="510"/>
                      <a:pt x="434" y="510"/>
                    </a:cubicBezTo>
                    <a:cubicBezTo>
                      <a:pt x="434" y="510"/>
                      <a:pt x="434" y="510"/>
                      <a:pt x="434" y="510"/>
                    </a:cubicBezTo>
                    <a:cubicBezTo>
                      <a:pt x="433" y="509"/>
                      <a:pt x="434" y="509"/>
                      <a:pt x="435" y="509"/>
                    </a:cubicBezTo>
                    <a:cubicBezTo>
                      <a:pt x="436" y="508"/>
                      <a:pt x="437" y="508"/>
                      <a:pt x="438" y="509"/>
                    </a:cubicBezTo>
                    <a:cubicBezTo>
                      <a:pt x="437" y="508"/>
                      <a:pt x="437" y="507"/>
                      <a:pt x="438" y="507"/>
                    </a:cubicBezTo>
                    <a:cubicBezTo>
                      <a:pt x="438" y="507"/>
                      <a:pt x="438" y="507"/>
                      <a:pt x="438" y="507"/>
                    </a:cubicBezTo>
                    <a:cubicBezTo>
                      <a:pt x="437" y="506"/>
                      <a:pt x="437" y="506"/>
                      <a:pt x="438" y="506"/>
                    </a:cubicBezTo>
                    <a:cubicBezTo>
                      <a:pt x="438" y="505"/>
                      <a:pt x="438" y="506"/>
                      <a:pt x="438" y="506"/>
                    </a:cubicBezTo>
                    <a:cubicBezTo>
                      <a:pt x="439" y="506"/>
                      <a:pt x="440" y="507"/>
                      <a:pt x="441" y="507"/>
                    </a:cubicBezTo>
                    <a:cubicBezTo>
                      <a:pt x="442" y="508"/>
                      <a:pt x="443" y="508"/>
                      <a:pt x="444" y="508"/>
                    </a:cubicBezTo>
                    <a:cubicBezTo>
                      <a:pt x="445" y="509"/>
                      <a:pt x="445" y="509"/>
                      <a:pt x="446" y="508"/>
                    </a:cubicBezTo>
                    <a:cubicBezTo>
                      <a:pt x="446" y="508"/>
                      <a:pt x="446" y="507"/>
                      <a:pt x="446" y="507"/>
                    </a:cubicBezTo>
                    <a:cubicBezTo>
                      <a:pt x="445" y="506"/>
                      <a:pt x="446" y="506"/>
                      <a:pt x="446" y="506"/>
                    </a:cubicBezTo>
                    <a:cubicBezTo>
                      <a:pt x="448" y="506"/>
                      <a:pt x="447" y="507"/>
                      <a:pt x="447" y="507"/>
                    </a:cubicBezTo>
                    <a:cubicBezTo>
                      <a:pt x="446" y="508"/>
                      <a:pt x="447" y="508"/>
                      <a:pt x="447" y="508"/>
                    </a:cubicBezTo>
                    <a:cubicBezTo>
                      <a:pt x="448" y="508"/>
                      <a:pt x="448" y="508"/>
                      <a:pt x="449" y="508"/>
                    </a:cubicBezTo>
                    <a:cubicBezTo>
                      <a:pt x="449" y="508"/>
                      <a:pt x="449" y="508"/>
                      <a:pt x="449" y="508"/>
                    </a:cubicBezTo>
                    <a:cubicBezTo>
                      <a:pt x="449" y="508"/>
                      <a:pt x="448" y="509"/>
                      <a:pt x="449" y="509"/>
                    </a:cubicBezTo>
                    <a:cubicBezTo>
                      <a:pt x="450" y="509"/>
                      <a:pt x="450" y="508"/>
                      <a:pt x="450" y="508"/>
                    </a:cubicBezTo>
                    <a:cubicBezTo>
                      <a:pt x="450" y="507"/>
                      <a:pt x="450" y="507"/>
                      <a:pt x="450" y="507"/>
                    </a:cubicBezTo>
                    <a:cubicBezTo>
                      <a:pt x="450" y="507"/>
                      <a:pt x="450" y="507"/>
                      <a:pt x="450" y="507"/>
                    </a:cubicBezTo>
                    <a:cubicBezTo>
                      <a:pt x="451" y="507"/>
                      <a:pt x="451" y="508"/>
                      <a:pt x="452" y="509"/>
                    </a:cubicBezTo>
                    <a:cubicBezTo>
                      <a:pt x="451" y="509"/>
                      <a:pt x="451" y="508"/>
                      <a:pt x="451" y="509"/>
                    </a:cubicBezTo>
                    <a:cubicBezTo>
                      <a:pt x="450" y="510"/>
                      <a:pt x="451" y="510"/>
                      <a:pt x="451" y="510"/>
                    </a:cubicBezTo>
                    <a:cubicBezTo>
                      <a:pt x="451" y="510"/>
                      <a:pt x="451" y="510"/>
                      <a:pt x="451" y="510"/>
                    </a:cubicBezTo>
                    <a:cubicBezTo>
                      <a:pt x="452" y="510"/>
                      <a:pt x="452" y="510"/>
                      <a:pt x="452" y="509"/>
                    </a:cubicBezTo>
                    <a:cubicBezTo>
                      <a:pt x="452" y="509"/>
                      <a:pt x="452" y="509"/>
                      <a:pt x="452" y="509"/>
                    </a:cubicBezTo>
                    <a:cubicBezTo>
                      <a:pt x="453" y="509"/>
                      <a:pt x="452" y="507"/>
                      <a:pt x="454" y="506"/>
                    </a:cubicBezTo>
                    <a:cubicBezTo>
                      <a:pt x="453" y="507"/>
                      <a:pt x="453" y="508"/>
                      <a:pt x="453" y="508"/>
                    </a:cubicBezTo>
                    <a:cubicBezTo>
                      <a:pt x="453" y="508"/>
                      <a:pt x="454" y="510"/>
                      <a:pt x="454" y="510"/>
                    </a:cubicBezTo>
                    <a:cubicBezTo>
                      <a:pt x="455" y="509"/>
                      <a:pt x="455" y="510"/>
                      <a:pt x="456" y="511"/>
                    </a:cubicBezTo>
                    <a:cubicBezTo>
                      <a:pt x="456" y="511"/>
                      <a:pt x="457" y="512"/>
                      <a:pt x="457" y="513"/>
                    </a:cubicBezTo>
                    <a:cubicBezTo>
                      <a:pt x="456" y="514"/>
                      <a:pt x="457" y="514"/>
                      <a:pt x="458" y="515"/>
                    </a:cubicBezTo>
                    <a:cubicBezTo>
                      <a:pt x="459" y="515"/>
                      <a:pt x="459" y="515"/>
                      <a:pt x="459" y="516"/>
                    </a:cubicBezTo>
                    <a:cubicBezTo>
                      <a:pt x="459" y="517"/>
                      <a:pt x="459" y="517"/>
                      <a:pt x="460" y="518"/>
                    </a:cubicBezTo>
                    <a:cubicBezTo>
                      <a:pt x="460" y="518"/>
                      <a:pt x="460" y="517"/>
                      <a:pt x="461" y="517"/>
                    </a:cubicBezTo>
                    <a:cubicBezTo>
                      <a:pt x="461" y="517"/>
                      <a:pt x="461" y="516"/>
                      <a:pt x="461" y="517"/>
                    </a:cubicBezTo>
                    <a:cubicBezTo>
                      <a:pt x="462" y="517"/>
                      <a:pt x="462" y="517"/>
                      <a:pt x="461" y="517"/>
                    </a:cubicBezTo>
                    <a:cubicBezTo>
                      <a:pt x="461" y="518"/>
                      <a:pt x="461" y="518"/>
                      <a:pt x="461" y="518"/>
                    </a:cubicBezTo>
                    <a:cubicBezTo>
                      <a:pt x="461" y="520"/>
                      <a:pt x="462" y="519"/>
                      <a:pt x="463" y="519"/>
                    </a:cubicBezTo>
                    <a:cubicBezTo>
                      <a:pt x="464" y="520"/>
                      <a:pt x="464" y="518"/>
                      <a:pt x="464" y="518"/>
                    </a:cubicBezTo>
                    <a:cubicBezTo>
                      <a:pt x="464" y="518"/>
                      <a:pt x="464" y="518"/>
                      <a:pt x="464" y="518"/>
                    </a:cubicBezTo>
                    <a:cubicBezTo>
                      <a:pt x="464" y="518"/>
                      <a:pt x="464" y="518"/>
                      <a:pt x="464" y="518"/>
                    </a:cubicBezTo>
                    <a:cubicBezTo>
                      <a:pt x="465" y="519"/>
                      <a:pt x="465" y="519"/>
                      <a:pt x="466" y="519"/>
                    </a:cubicBezTo>
                    <a:cubicBezTo>
                      <a:pt x="466" y="520"/>
                      <a:pt x="466" y="521"/>
                      <a:pt x="467" y="521"/>
                    </a:cubicBezTo>
                    <a:cubicBezTo>
                      <a:pt x="468" y="521"/>
                      <a:pt x="468" y="521"/>
                      <a:pt x="468" y="522"/>
                    </a:cubicBezTo>
                    <a:cubicBezTo>
                      <a:pt x="466" y="522"/>
                      <a:pt x="466" y="524"/>
                      <a:pt x="464" y="523"/>
                    </a:cubicBezTo>
                    <a:cubicBezTo>
                      <a:pt x="463" y="523"/>
                      <a:pt x="463" y="523"/>
                      <a:pt x="462" y="523"/>
                    </a:cubicBezTo>
                    <a:cubicBezTo>
                      <a:pt x="465" y="523"/>
                      <a:pt x="465" y="525"/>
                      <a:pt x="465" y="527"/>
                    </a:cubicBezTo>
                    <a:cubicBezTo>
                      <a:pt x="465" y="527"/>
                      <a:pt x="465" y="527"/>
                      <a:pt x="466" y="528"/>
                    </a:cubicBezTo>
                    <a:cubicBezTo>
                      <a:pt x="467" y="528"/>
                      <a:pt x="467" y="529"/>
                      <a:pt x="468" y="529"/>
                    </a:cubicBezTo>
                    <a:cubicBezTo>
                      <a:pt x="468" y="530"/>
                      <a:pt x="469" y="530"/>
                      <a:pt x="469" y="530"/>
                    </a:cubicBezTo>
                    <a:cubicBezTo>
                      <a:pt x="469" y="530"/>
                      <a:pt x="469" y="530"/>
                      <a:pt x="469" y="530"/>
                    </a:cubicBezTo>
                    <a:cubicBezTo>
                      <a:pt x="469" y="530"/>
                      <a:pt x="469" y="530"/>
                      <a:pt x="469" y="530"/>
                    </a:cubicBezTo>
                    <a:cubicBezTo>
                      <a:pt x="470" y="530"/>
                      <a:pt x="470" y="530"/>
                      <a:pt x="471" y="531"/>
                    </a:cubicBezTo>
                    <a:cubicBezTo>
                      <a:pt x="471" y="531"/>
                      <a:pt x="471" y="531"/>
                      <a:pt x="472" y="531"/>
                    </a:cubicBezTo>
                    <a:cubicBezTo>
                      <a:pt x="473" y="531"/>
                      <a:pt x="473" y="531"/>
                      <a:pt x="474" y="532"/>
                    </a:cubicBezTo>
                    <a:cubicBezTo>
                      <a:pt x="474" y="533"/>
                      <a:pt x="475" y="534"/>
                      <a:pt x="476" y="532"/>
                    </a:cubicBezTo>
                    <a:cubicBezTo>
                      <a:pt x="477" y="532"/>
                      <a:pt x="477" y="532"/>
                      <a:pt x="477" y="532"/>
                    </a:cubicBezTo>
                    <a:cubicBezTo>
                      <a:pt x="478" y="533"/>
                      <a:pt x="479" y="533"/>
                      <a:pt x="480" y="533"/>
                    </a:cubicBezTo>
                    <a:cubicBezTo>
                      <a:pt x="479" y="535"/>
                      <a:pt x="481" y="536"/>
                      <a:pt x="482" y="538"/>
                    </a:cubicBezTo>
                    <a:cubicBezTo>
                      <a:pt x="482" y="538"/>
                      <a:pt x="483" y="539"/>
                      <a:pt x="483" y="539"/>
                    </a:cubicBezTo>
                    <a:cubicBezTo>
                      <a:pt x="484" y="539"/>
                      <a:pt x="484" y="539"/>
                      <a:pt x="485" y="540"/>
                    </a:cubicBezTo>
                    <a:cubicBezTo>
                      <a:pt x="485" y="540"/>
                      <a:pt x="486" y="540"/>
                      <a:pt x="487" y="541"/>
                    </a:cubicBezTo>
                    <a:cubicBezTo>
                      <a:pt x="489" y="541"/>
                      <a:pt x="492" y="541"/>
                      <a:pt x="494" y="542"/>
                    </a:cubicBezTo>
                    <a:cubicBezTo>
                      <a:pt x="495" y="543"/>
                      <a:pt x="496" y="543"/>
                      <a:pt x="497" y="544"/>
                    </a:cubicBezTo>
                    <a:cubicBezTo>
                      <a:pt x="498" y="544"/>
                      <a:pt x="499" y="544"/>
                      <a:pt x="499" y="545"/>
                    </a:cubicBezTo>
                    <a:cubicBezTo>
                      <a:pt x="500" y="546"/>
                      <a:pt x="501" y="546"/>
                      <a:pt x="503" y="546"/>
                    </a:cubicBezTo>
                    <a:cubicBezTo>
                      <a:pt x="503" y="546"/>
                      <a:pt x="504" y="545"/>
                      <a:pt x="503" y="545"/>
                    </a:cubicBezTo>
                    <a:cubicBezTo>
                      <a:pt x="503" y="544"/>
                      <a:pt x="503" y="543"/>
                      <a:pt x="503" y="542"/>
                    </a:cubicBezTo>
                    <a:cubicBezTo>
                      <a:pt x="503" y="541"/>
                      <a:pt x="504" y="541"/>
                      <a:pt x="503" y="541"/>
                    </a:cubicBezTo>
                    <a:cubicBezTo>
                      <a:pt x="502" y="541"/>
                      <a:pt x="502" y="539"/>
                      <a:pt x="501" y="540"/>
                    </a:cubicBezTo>
                    <a:cubicBezTo>
                      <a:pt x="501" y="540"/>
                      <a:pt x="501" y="539"/>
                      <a:pt x="501" y="539"/>
                    </a:cubicBezTo>
                    <a:cubicBezTo>
                      <a:pt x="501" y="538"/>
                      <a:pt x="500" y="537"/>
                      <a:pt x="500" y="536"/>
                    </a:cubicBezTo>
                    <a:cubicBezTo>
                      <a:pt x="499" y="536"/>
                      <a:pt x="499" y="535"/>
                      <a:pt x="498" y="535"/>
                    </a:cubicBezTo>
                    <a:cubicBezTo>
                      <a:pt x="497" y="535"/>
                      <a:pt x="497" y="534"/>
                      <a:pt x="496" y="533"/>
                    </a:cubicBezTo>
                    <a:cubicBezTo>
                      <a:pt x="496" y="533"/>
                      <a:pt x="495" y="532"/>
                      <a:pt x="494" y="531"/>
                    </a:cubicBezTo>
                    <a:cubicBezTo>
                      <a:pt x="494" y="530"/>
                      <a:pt x="493" y="530"/>
                      <a:pt x="492" y="530"/>
                    </a:cubicBezTo>
                    <a:cubicBezTo>
                      <a:pt x="492" y="530"/>
                      <a:pt x="493" y="530"/>
                      <a:pt x="493" y="529"/>
                    </a:cubicBezTo>
                    <a:cubicBezTo>
                      <a:pt x="492" y="529"/>
                      <a:pt x="492" y="530"/>
                      <a:pt x="491" y="530"/>
                    </a:cubicBezTo>
                    <a:cubicBezTo>
                      <a:pt x="491" y="529"/>
                      <a:pt x="492" y="529"/>
                      <a:pt x="492" y="529"/>
                    </a:cubicBezTo>
                    <a:cubicBezTo>
                      <a:pt x="491" y="527"/>
                      <a:pt x="489" y="528"/>
                      <a:pt x="489" y="526"/>
                    </a:cubicBezTo>
                    <a:cubicBezTo>
                      <a:pt x="488" y="524"/>
                      <a:pt x="486" y="523"/>
                      <a:pt x="485" y="521"/>
                    </a:cubicBezTo>
                    <a:cubicBezTo>
                      <a:pt x="485" y="521"/>
                      <a:pt x="485" y="521"/>
                      <a:pt x="485" y="521"/>
                    </a:cubicBezTo>
                    <a:cubicBezTo>
                      <a:pt x="485" y="521"/>
                      <a:pt x="485" y="521"/>
                      <a:pt x="485" y="521"/>
                    </a:cubicBezTo>
                    <a:cubicBezTo>
                      <a:pt x="485" y="521"/>
                      <a:pt x="485" y="521"/>
                      <a:pt x="485" y="521"/>
                    </a:cubicBezTo>
                    <a:cubicBezTo>
                      <a:pt x="484" y="520"/>
                      <a:pt x="484" y="519"/>
                      <a:pt x="483" y="518"/>
                    </a:cubicBezTo>
                    <a:cubicBezTo>
                      <a:pt x="485" y="519"/>
                      <a:pt x="486" y="518"/>
                      <a:pt x="487" y="519"/>
                    </a:cubicBezTo>
                    <a:cubicBezTo>
                      <a:pt x="487" y="520"/>
                      <a:pt x="488" y="520"/>
                      <a:pt x="489" y="521"/>
                    </a:cubicBezTo>
                    <a:cubicBezTo>
                      <a:pt x="490" y="522"/>
                      <a:pt x="491" y="523"/>
                      <a:pt x="492" y="524"/>
                    </a:cubicBezTo>
                    <a:cubicBezTo>
                      <a:pt x="492" y="523"/>
                      <a:pt x="491" y="522"/>
                      <a:pt x="491" y="522"/>
                    </a:cubicBezTo>
                    <a:cubicBezTo>
                      <a:pt x="492" y="521"/>
                      <a:pt x="491" y="520"/>
                      <a:pt x="491" y="519"/>
                    </a:cubicBezTo>
                    <a:cubicBezTo>
                      <a:pt x="491" y="519"/>
                      <a:pt x="491" y="519"/>
                      <a:pt x="491" y="519"/>
                    </a:cubicBezTo>
                    <a:cubicBezTo>
                      <a:pt x="491" y="519"/>
                      <a:pt x="491" y="519"/>
                      <a:pt x="492" y="520"/>
                    </a:cubicBezTo>
                    <a:cubicBezTo>
                      <a:pt x="493" y="521"/>
                      <a:pt x="494" y="523"/>
                      <a:pt x="495" y="524"/>
                    </a:cubicBezTo>
                    <a:cubicBezTo>
                      <a:pt x="495" y="525"/>
                      <a:pt x="497" y="525"/>
                      <a:pt x="497" y="527"/>
                    </a:cubicBezTo>
                    <a:cubicBezTo>
                      <a:pt x="497" y="527"/>
                      <a:pt x="498" y="527"/>
                      <a:pt x="498" y="527"/>
                    </a:cubicBezTo>
                    <a:cubicBezTo>
                      <a:pt x="498" y="526"/>
                      <a:pt x="498" y="527"/>
                      <a:pt x="498" y="527"/>
                    </a:cubicBezTo>
                    <a:cubicBezTo>
                      <a:pt x="498" y="528"/>
                      <a:pt x="498" y="528"/>
                      <a:pt x="498" y="529"/>
                    </a:cubicBezTo>
                    <a:cubicBezTo>
                      <a:pt x="499" y="529"/>
                      <a:pt x="499" y="529"/>
                      <a:pt x="499" y="529"/>
                    </a:cubicBezTo>
                    <a:cubicBezTo>
                      <a:pt x="499" y="529"/>
                      <a:pt x="499" y="528"/>
                      <a:pt x="499" y="528"/>
                    </a:cubicBezTo>
                    <a:cubicBezTo>
                      <a:pt x="499" y="528"/>
                      <a:pt x="500" y="528"/>
                      <a:pt x="500" y="527"/>
                    </a:cubicBezTo>
                    <a:cubicBezTo>
                      <a:pt x="500" y="527"/>
                      <a:pt x="500" y="527"/>
                      <a:pt x="500" y="527"/>
                    </a:cubicBezTo>
                    <a:cubicBezTo>
                      <a:pt x="500" y="529"/>
                      <a:pt x="501" y="529"/>
                      <a:pt x="502" y="530"/>
                    </a:cubicBezTo>
                    <a:cubicBezTo>
                      <a:pt x="502" y="530"/>
                      <a:pt x="502" y="530"/>
                      <a:pt x="503" y="530"/>
                    </a:cubicBezTo>
                    <a:cubicBezTo>
                      <a:pt x="503" y="530"/>
                      <a:pt x="503" y="530"/>
                      <a:pt x="503" y="530"/>
                    </a:cubicBezTo>
                    <a:cubicBezTo>
                      <a:pt x="502" y="529"/>
                      <a:pt x="502" y="529"/>
                      <a:pt x="502" y="529"/>
                    </a:cubicBezTo>
                    <a:cubicBezTo>
                      <a:pt x="503" y="530"/>
                      <a:pt x="504" y="529"/>
                      <a:pt x="504" y="530"/>
                    </a:cubicBezTo>
                    <a:cubicBezTo>
                      <a:pt x="504" y="531"/>
                      <a:pt x="505" y="531"/>
                      <a:pt x="505" y="530"/>
                    </a:cubicBezTo>
                    <a:cubicBezTo>
                      <a:pt x="505" y="530"/>
                      <a:pt x="505" y="530"/>
                      <a:pt x="505" y="530"/>
                    </a:cubicBezTo>
                    <a:cubicBezTo>
                      <a:pt x="505" y="531"/>
                      <a:pt x="506" y="532"/>
                      <a:pt x="506" y="532"/>
                    </a:cubicBezTo>
                    <a:cubicBezTo>
                      <a:pt x="508" y="532"/>
                      <a:pt x="508" y="533"/>
                      <a:pt x="508" y="534"/>
                    </a:cubicBezTo>
                    <a:cubicBezTo>
                      <a:pt x="508" y="535"/>
                      <a:pt x="508" y="536"/>
                      <a:pt x="510" y="536"/>
                    </a:cubicBezTo>
                    <a:cubicBezTo>
                      <a:pt x="510" y="537"/>
                      <a:pt x="511" y="536"/>
                      <a:pt x="511" y="536"/>
                    </a:cubicBezTo>
                    <a:cubicBezTo>
                      <a:pt x="510" y="535"/>
                      <a:pt x="510" y="533"/>
                      <a:pt x="509" y="532"/>
                    </a:cubicBezTo>
                    <a:cubicBezTo>
                      <a:pt x="508" y="531"/>
                      <a:pt x="509" y="531"/>
                      <a:pt x="509" y="530"/>
                    </a:cubicBezTo>
                    <a:cubicBezTo>
                      <a:pt x="510" y="530"/>
                      <a:pt x="510" y="531"/>
                      <a:pt x="511" y="531"/>
                    </a:cubicBezTo>
                    <a:cubicBezTo>
                      <a:pt x="512" y="531"/>
                      <a:pt x="512" y="531"/>
                      <a:pt x="512" y="531"/>
                    </a:cubicBezTo>
                    <a:cubicBezTo>
                      <a:pt x="513" y="530"/>
                      <a:pt x="512" y="530"/>
                      <a:pt x="512" y="530"/>
                    </a:cubicBezTo>
                    <a:cubicBezTo>
                      <a:pt x="511" y="530"/>
                      <a:pt x="512" y="530"/>
                      <a:pt x="512" y="529"/>
                    </a:cubicBezTo>
                    <a:cubicBezTo>
                      <a:pt x="512" y="529"/>
                      <a:pt x="511" y="528"/>
                      <a:pt x="511" y="527"/>
                    </a:cubicBezTo>
                    <a:cubicBezTo>
                      <a:pt x="510" y="526"/>
                      <a:pt x="510" y="527"/>
                      <a:pt x="511" y="526"/>
                    </a:cubicBezTo>
                    <a:cubicBezTo>
                      <a:pt x="511" y="525"/>
                      <a:pt x="511" y="525"/>
                      <a:pt x="511" y="525"/>
                    </a:cubicBezTo>
                    <a:cubicBezTo>
                      <a:pt x="511" y="525"/>
                      <a:pt x="511" y="525"/>
                      <a:pt x="511" y="525"/>
                    </a:cubicBezTo>
                    <a:cubicBezTo>
                      <a:pt x="511" y="525"/>
                      <a:pt x="511" y="525"/>
                      <a:pt x="511" y="525"/>
                    </a:cubicBezTo>
                    <a:cubicBezTo>
                      <a:pt x="510" y="524"/>
                      <a:pt x="511" y="524"/>
                      <a:pt x="511" y="524"/>
                    </a:cubicBezTo>
                    <a:cubicBezTo>
                      <a:pt x="511" y="524"/>
                      <a:pt x="511" y="524"/>
                      <a:pt x="511" y="524"/>
                    </a:cubicBezTo>
                    <a:cubicBezTo>
                      <a:pt x="511" y="524"/>
                      <a:pt x="511" y="524"/>
                      <a:pt x="511" y="524"/>
                    </a:cubicBezTo>
                    <a:cubicBezTo>
                      <a:pt x="512" y="524"/>
                      <a:pt x="512" y="525"/>
                      <a:pt x="512" y="525"/>
                    </a:cubicBezTo>
                    <a:cubicBezTo>
                      <a:pt x="512" y="526"/>
                      <a:pt x="513" y="526"/>
                      <a:pt x="513" y="526"/>
                    </a:cubicBezTo>
                    <a:cubicBezTo>
                      <a:pt x="513" y="526"/>
                      <a:pt x="513" y="525"/>
                      <a:pt x="513" y="525"/>
                    </a:cubicBezTo>
                    <a:cubicBezTo>
                      <a:pt x="514" y="525"/>
                      <a:pt x="513" y="524"/>
                      <a:pt x="513" y="523"/>
                    </a:cubicBezTo>
                    <a:cubicBezTo>
                      <a:pt x="514" y="523"/>
                      <a:pt x="513" y="522"/>
                      <a:pt x="514" y="521"/>
                    </a:cubicBezTo>
                    <a:cubicBezTo>
                      <a:pt x="514" y="522"/>
                      <a:pt x="514" y="522"/>
                      <a:pt x="514" y="523"/>
                    </a:cubicBezTo>
                    <a:cubicBezTo>
                      <a:pt x="515" y="524"/>
                      <a:pt x="515" y="525"/>
                      <a:pt x="516" y="525"/>
                    </a:cubicBezTo>
                    <a:cubicBezTo>
                      <a:pt x="515" y="524"/>
                      <a:pt x="515" y="522"/>
                      <a:pt x="515" y="521"/>
                    </a:cubicBezTo>
                    <a:cubicBezTo>
                      <a:pt x="515" y="521"/>
                      <a:pt x="515" y="521"/>
                      <a:pt x="515" y="521"/>
                    </a:cubicBezTo>
                    <a:cubicBezTo>
                      <a:pt x="515" y="520"/>
                      <a:pt x="515" y="520"/>
                      <a:pt x="514" y="519"/>
                    </a:cubicBezTo>
                    <a:cubicBezTo>
                      <a:pt x="514" y="519"/>
                      <a:pt x="515" y="519"/>
                      <a:pt x="515" y="518"/>
                    </a:cubicBezTo>
                    <a:cubicBezTo>
                      <a:pt x="515" y="518"/>
                      <a:pt x="516" y="518"/>
                      <a:pt x="515" y="517"/>
                    </a:cubicBezTo>
                    <a:cubicBezTo>
                      <a:pt x="515" y="517"/>
                      <a:pt x="515" y="517"/>
                      <a:pt x="515" y="518"/>
                    </a:cubicBezTo>
                    <a:cubicBezTo>
                      <a:pt x="514" y="518"/>
                      <a:pt x="514" y="518"/>
                      <a:pt x="513" y="518"/>
                    </a:cubicBezTo>
                    <a:cubicBezTo>
                      <a:pt x="513" y="518"/>
                      <a:pt x="513" y="518"/>
                      <a:pt x="513" y="517"/>
                    </a:cubicBezTo>
                    <a:cubicBezTo>
                      <a:pt x="513" y="517"/>
                      <a:pt x="513" y="516"/>
                      <a:pt x="512" y="516"/>
                    </a:cubicBezTo>
                    <a:cubicBezTo>
                      <a:pt x="511" y="516"/>
                      <a:pt x="511" y="516"/>
                      <a:pt x="511" y="516"/>
                    </a:cubicBezTo>
                    <a:cubicBezTo>
                      <a:pt x="511" y="515"/>
                      <a:pt x="512" y="515"/>
                      <a:pt x="512" y="515"/>
                    </a:cubicBezTo>
                    <a:cubicBezTo>
                      <a:pt x="512" y="514"/>
                      <a:pt x="511" y="515"/>
                      <a:pt x="511" y="515"/>
                    </a:cubicBezTo>
                    <a:cubicBezTo>
                      <a:pt x="510" y="514"/>
                      <a:pt x="509" y="515"/>
                      <a:pt x="509" y="514"/>
                    </a:cubicBezTo>
                    <a:cubicBezTo>
                      <a:pt x="509" y="513"/>
                      <a:pt x="508" y="512"/>
                      <a:pt x="508" y="511"/>
                    </a:cubicBezTo>
                    <a:cubicBezTo>
                      <a:pt x="507" y="511"/>
                      <a:pt x="507" y="511"/>
                      <a:pt x="507" y="511"/>
                    </a:cubicBezTo>
                    <a:cubicBezTo>
                      <a:pt x="507" y="511"/>
                      <a:pt x="507" y="510"/>
                      <a:pt x="506" y="510"/>
                    </a:cubicBezTo>
                    <a:cubicBezTo>
                      <a:pt x="506" y="510"/>
                      <a:pt x="507" y="510"/>
                      <a:pt x="507" y="510"/>
                    </a:cubicBezTo>
                    <a:cubicBezTo>
                      <a:pt x="507" y="509"/>
                      <a:pt x="509" y="511"/>
                      <a:pt x="509" y="509"/>
                    </a:cubicBezTo>
                    <a:cubicBezTo>
                      <a:pt x="509" y="508"/>
                      <a:pt x="509" y="508"/>
                      <a:pt x="509" y="508"/>
                    </a:cubicBezTo>
                    <a:cubicBezTo>
                      <a:pt x="509" y="508"/>
                      <a:pt x="510" y="508"/>
                      <a:pt x="509" y="507"/>
                    </a:cubicBezTo>
                    <a:cubicBezTo>
                      <a:pt x="509" y="507"/>
                      <a:pt x="509" y="507"/>
                      <a:pt x="508" y="507"/>
                    </a:cubicBezTo>
                    <a:cubicBezTo>
                      <a:pt x="508" y="507"/>
                      <a:pt x="508" y="507"/>
                      <a:pt x="507" y="507"/>
                    </a:cubicBezTo>
                    <a:cubicBezTo>
                      <a:pt x="507" y="507"/>
                      <a:pt x="506" y="507"/>
                      <a:pt x="506" y="506"/>
                    </a:cubicBezTo>
                    <a:cubicBezTo>
                      <a:pt x="505" y="506"/>
                      <a:pt x="506" y="505"/>
                      <a:pt x="506" y="505"/>
                    </a:cubicBezTo>
                    <a:cubicBezTo>
                      <a:pt x="506" y="504"/>
                      <a:pt x="506" y="504"/>
                      <a:pt x="506" y="504"/>
                    </a:cubicBezTo>
                    <a:cubicBezTo>
                      <a:pt x="506" y="503"/>
                      <a:pt x="506" y="503"/>
                      <a:pt x="506" y="503"/>
                    </a:cubicBezTo>
                    <a:cubicBezTo>
                      <a:pt x="505" y="502"/>
                      <a:pt x="506" y="503"/>
                      <a:pt x="505" y="503"/>
                    </a:cubicBezTo>
                    <a:cubicBezTo>
                      <a:pt x="505" y="502"/>
                      <a:pt x="505" y="502"/>
                      <a:pt x="504" y="501"/>
                    </a:cubicBezTo>
                    <a:cubicBezTo>
                      <a:pt x="504" y="502"/>
                      <a:pt x="505" y="503"/>
                      <a:pt x="504" y="503"/>
                    </a:cubicBezTo>
                    <a:cubicBezTo>
                      <a:pt x="503" y="503"/>
                      <a:pt x="504" y="502"/>
                      <a:pt x="503" y="501"/>
                    </a:cubicBezTo>
                    <a:cubicBezTo>
                      <a:pt x="503" y="502"/>
                      <a:pt x="503" y="503"/>
                      <a:pt x="503" y="503"/>
                    </a:cubicBezTo>
                    <a:cubicBezTo>
                      <a:pt x="502" y="503"/>
                      <a:pt x="502" y="503"/>
                      <a:pt x="502" y="503"/>
                    </a:cubicBezTo>
                    <a:cubicBezTo>
                      <a:pt x="502" y="503"/>
                      <a:pt x="502" y="503"/>
                      <a:pt x="502" y="503"/>
                    </a:cubicBezTo>
                    <a:cubicBezTo>
                      <a:pt x="502" y="503"/>
                      <a:pt x="502" y="503"/>
                      <a:pt x="502" y="503"/>
                    </a:cubicBezTo>
                    <a:cubicBezTo>
                      <a:pt x="502" y="503"/>
                      <a:pt x="502" y="503"/>
                      <a:pt x="502" y="503"/>
                    </a:cubicBezTo>
                    <a:cubicBezTo>
                      <a:pt x="502" y="503"/>
                      <a:pt x="501" y="502"/>
                      <a:pt x="502" y="502"/>
                    </a:cubicBezTo>
                    <a:cubicBezTo>
                      <a:pt x="503" y="502"/>
                      <a:pt x="502" y="501"/>
                      <a:pt x="502" y="501"/>
                    </a:cubicBezTo>
                    <a:cubicBezTo>
                      <a:pt x="501" y="500"/>
                      <a:pt x="501" y="500"/>
                      <a:pt x="500" y="500"/>
                    </a:cubicBezTo>
                    <a:cubicBezTo>
                      <a:pt x="500" y="500"/>
                      <a:pt x="500" y="500"/>
                      <a:pt x="500" y="500"/>
                    </a:cubicBezTo>
                    <a:cubicBezTo>
                      <a:pt x="500" y="500"/>
                      <a:pt x="500" y="499"/>
                      <a:pt x="499" y="499"/>
                    </a:cubicBezTo>
                    <a:cubicBezTo>
                      <a:pt x="499" y="500"/>
                      <a:pt x="499" y="501"/>
                      <a:pt x="499" y="501"/>
                    </a:cubicBezTo>
                    <a:cubicBezTo>
                      <a:pt x="498" y="500"/>
                      <a:pt x="498" y="500"/>
                      <a:pt x="497" y="498"/>
                    </a:cubicBezTo>
                    <a:cubicBezTo>
                      <a:pt x="497" y="498"/>
                      <a:pt x="497" y="497"/>
                      <a:pt x="497" y="497"/>
                    </a:cubicBezTo>
                    <a:cubicBezTo>
                      <a:pt x="497" y="496"/>
                      <a:pt x="497" y="496"/>
                      <a:pt x="497" y="496"/>
                    </a:cubicBezTo>
                    <a:cubicBezTo>
                      <a:pt x="495" y="495"/>
                      <a:pt x="496" y="494"/>
                      <a:pt x="496" y="493"/>
                    </a:cubicBezTo>
                    <a:cubicBezTo>
                      <a:pt x="496" y="493"/>
                      <a:pt x="496" y="493"/>
                      <a:pt x="496" y="493"/>
                    </a:cubicBezTo>
                    <a:cubicBezTo>
                      <a:pt x="496" y="492"/>
                      <a:pt x="496" y="492"/>
                      <a:pt x="497" y="492"/>
                    </a:cubicBezTo>
                    <a:cubicBezTo>
                      <a:pt x="496" y="491"/>
                      <a:pt x="495" y="491"/>
                      <a:pt x="494" y="491"/>
                    </a:cubicBezTo>
                    <a:cubicBezTo>
                      <a:pt x="494" y="491"/>
                      <a:pt x="494" y="491"/>
                      <a:pt x="494" y="491"/>
                    </a:cubicBezTo>
                    <a:cubicBezTo>
                      <a:pt x="494" y="491"/>
                      <a:pt x="494" y="491"/>
                      <a:pt x="494" y="491"/>
                    </a:cubicBezTo>
                    <a:cubicBezTo>
                      <a:pt x="494" y="491"/>
                      <a:pt x="494" y="491"/>
                      <a:pt x="494" y="491"/>
                    </a:cubicBezTo>
                    <a:cubicBezTo>
                      <a:pt x="494" y="491"/>
                      <a:pt x="494" y="490"/>
                      <a:pt x="494" y="490"/>
                    </a:cubicBezTo>
                    <a:cubicBezTo>
                      <a:pt x="494" y="490"/>
                      <a:pt x="494" y="490"/>
                      <a:pt x="494" y="490"/>
                    </a:cubicBezTo>
                    <a:cubicBezTo>
                      <a:pt x="494" y="490"/>
                      <a:pt x="494" y="490"/>
                      <a:pt x="494" y="490"/>
                    </a:cubicBezTo>
                    <a:cubicBezTo>
                      <a:pt x="496" y="490"/>
                      <a:pt x="495" y="489"/>
                      <a:pt x="495" y="489"/>
                    </a:cubicBezTo>
                    <a:cubicBezTo>
                      <a:pt x="495" y="489"/>
                      <a:pt x="495" y="489"/>
                      <a:pt x="495" y="489"/>
                    </a:cubicBezTo>
                    <a:cubicBezTo>
                      <a:pt x="494" y="489"/>
                      <a:pt x="494" y="488"/>
                      <a:pt x="494" y="488"/>
                    </a:cubicBezTo>
                    <a:cubicBezTo>
                      <a:pt x="493" y="488"/>
                      <a:pt x="492" y="488"/>
                      <a:pt x="492" y="489"/>
                    </a:cubicBezTo>
                    <a:cubicBezTo>
                      <a:pt x="492" y="489"/>
                      <a:pt x="492" y="489"/>
                      <a:pt x="492" y="489"/>
                    </a:cubicBezTo>
                    <a:cubicBezTo>
                      <a:pt x="491" y="489"/>
                      <a:pt x="491" y="490"/>
                      <a:pt x="490" y="490"/>
                    </a:cubicBezTo>
                    <a:cubicBezTo>
                      <a:pt x="490" y="490"/>
                      <a:pt x="490" y="490"/>
                      <a:pt x="490" y="489"/>
                    </a:cubicBezTo>
                    <a:cubicBezTo>
                      <a:pt x="490" y="489"/>
                      <a:pt x="490" y="489"/>
                      <a:pt x="490" y="489"/>
                    </a:cubicBezTo>
                    <a:cubicBezTo>
                      <a:pt x="490" y="489"/>
                      <a:pt x="490" y="489"/>
                      <a:pt x="490" y="489"/>
                    </a:cubicBezTo>
                    <a:cubicBezTo>
                      <a:pt x="490" y="489"/>
                      <a:pt x="491" y="488"/>
                      <a:pt x="490" y="488"/>
                    </a:cubicBezTo>
                    <a:cubicBezTo>
                      <a:pt x="490" y="487"/>
                      <a:pt x="490" y="487"/>
                      <a:pt x="490" y="487"/>
                    </a:cubicBezTo>
                    <a:cubicBezTo>
                      <a:pt x="490" y="487"/>
                      <a:pt x="490" y="487"/>
                      <a:pt x="490" y="487"/>
                    </a:cubicBezTo>
                    <a:cubicBezTo>
                      <a:pt x="492" y="486"/>
                      <a:pt x="490" y="485"/>
                      <a:pt x="490" y="485"/>
                    </a:cubicBezTo>
                    <a:cubicBezTo>
                      <a:pt x="490" y="485"/>
                      <a:pt x="490" y="485"/>
                      <a:pt x="490" y="485"/>
                    </a:cubicBezTo>
                    <a:cubicBezTo>
                      <a:pt x="490" y="484"/>
                      <a:pt x="491" y="485"/>
                      <a:pt x="491" y="484"/>
                    </a:cubicBezTo>
                    <a:cubicBezTo>
                      <a:pt x="491" y="484"/>
                      <a:pt x="491" y="484"/>
                      <a:pt x="491" y="484"/>
                    </a:cubicBezTo>
                    <a:cubicBezTo>
                      <a:pt x="491" y="484"/>
                      <a:pt x="491" y="484"/>
                      <a:pt x="491" y="484"/>
                    </a:cubicBezTo>
                    <a:cubicBezTo>
                      <a:pt x="492" y="484"/>
                      <a:pt x="492" y="484"/>
                      <a:pt x="492" y="484"/>
                    </a:cubicBezTo>
                    <a:cubicBezTo>
                      <a:pt x="492" y="484"/>
                      <a:pt x="492" y="484"/>
                      <a:pt x="492" y="484"/>
                    </a:cubicBezTo>
                    <a:cubicBezTo>
                      <a:pt x="493" y="485"/>
                      <a:pt x="494" y="484"/>
                      <a:pt x="495" y="484"/>
                    </a:cubicBezTo>
                    <a:cubicBezTo>
                      <a:pt x="496" y="484"/>
                      <a:pt x="495" y="483"/>
                      <a:pt x="495" y="483"/>
                    </a:cubicBezTo>
                    <a:cubicBezTo>
                      <a:pt x="495" y="483"/>
                      <a:pt x="495" y="482"/>
                      <a:pt x="495" y="482"/>
                    </a:cubicBezTo>
                    <a:cubicBezTo>
                      <a:pt x="495" y="482"/>
                      <a:pt x="495" y="481"/>
                      <a:pt x="495" y="481"/>
                    </a:cubicBezTo>
                    <a:cubicBezTo>
                      <a:pt x="495" y="481"/>
                      <a:pt x="495" y="481"/>
                      <a:pt x="495" y="481"/>
                    </a:cubicBezTo>
                    <a:cubicBezTo>
                      <a:pt x="495" y="481"/>
                      <a:pt x="495" y="481"/>
                      <a:pt x="495" y="481"/>
                    </a:cubicBezTo>
                    <a:cubicBezTo>
                      <a:pt x="495" y="481"/>
                      <a:pt x="495" y="481"/>
                      <a:pt x="495" y="481"/>
                    </a:cubicBezTo>
                    <a:cubicBezTo>
                      <a:pt x="494" y="481"/>
                      <a:pt x="493" y="480"/>
                      <a:pt x="493" y="480"/>
                    </a:cubicBezTo>
                    <a:cubicBezTo>
                      <a:pt x="493" y="480"/>
                      <a:pt x="493" y="480"/>
                      <a:pt x="493" y="480"/>
                    </a:cubicBezTo>
                    <a:cubicBezTo>
                      <a:pt x="493" y="479"/>
                      <a:pt x="491" y="479"/>
                      <a:pt x="492" y="478"/>
                    </a:cubicBezTo>
                    <a:cubicBezTo>
                      <a:pt x="492" y="477"/>
                      <a:pt x="491" y="476"/>
                      <a:pt x="490" y="475"/>
                    </a:cubicBezTo>
                    <a:cubicBezTo>
                      <a:pt x="490" y="475"/>
                      <a:pt x="490" y="475"/>
                      <a:pt x="490" y="475"/>
                    </a:cubicBezTo>
                    <a:cubicBezTo>
                      <a:pt x="490" y="475"/>
                      <a:pt x="490" y="474"/>
                      <a:pt x="490" y="474"/>
                    </a:cubicBezTo>
                    <a:cubicBezTo>
                      <a:pt x="491" y="475"/>
                      <a:pt x="493" y="476"/>
                      <a:pt x="493" y="477"/>
                    </a:cubicBezTo>
                    <a:cubicBezTo>
                      <a:pt x="494" y="478"/>
                      <a:pt x="495" y="478"/>
                      <a:pt x="495" y="478"/>
                    </a:cubicBezTo>
                    <a:cubicBezTo>
                      <a:pt x="496" y="477"/>
                      <a:pt x="495" y="477"/>
                      <a:pt x="495" y="477"/>
                    </a:cubicBezTo>
                    <a:cubicBezTo>
                      <a:pt x="495" y="476"/>
                      <a:pt x="495" y="476"/>
                      <a:pt x="495" y="476"/>
                    </a:cubicBezTo>
                    <a:cubicBezTo>
                      <a:pt x="496" y="477"/>
                      <a:pt x="496" y="476"/>
                      <a:pt x="495" y="475"/>
                    </a:cubicBezTo>
                    <a:cubicBezTo>
                      <a:pt x="496" y="475"/>
                      <a:pt x="497" y="475"/>
                      <a:pt x="498" y="475"/>
                    </a:cubicBezTo>
                    <a:cubicBezTo>
                      <a:pt x="498" y="475"/>
                      <a:pt x="498" y="475"/>
                      <a:pt x="498" y="475"/>
                    </a:cubicBezTo>
                    <a:cubicBezTo>
                      <a:pt x="498" y="475"/>
                      <a:pt x="498" y="475"/>
                      <a:pt x="498" y="475"/>
                    </a:cubicBezTo>
                    <a:cubicBezTo>
                      <a:pt x="498" y="475"/>
                      <a:pt x="498" y="475"/>
                      <a:pt x="498" y="475"/>
                    </a:cubicBezTo>
                    <a:cubicBezTo>
                      <a:pt x="499" y="477"/>
                      <a:pt x="497" y="475"/>
                      <a:pt x="497" y="476"/>
                    </a:cubicBezTo>
                    <a:cubicBezTo>
                      <a:pt x="497" y="476"/>
                      <a:pt x="498" y="476"/>
                      <a:pt x="497" y="477"/>
                    </a:cubicBezTo>
                    <a:cubicBezTo>
                      <a:pt x="497" y="477"/>
                      <a:pt x="497" y="476"/>
                      <a:pt x="496" y="476"/>
                    </a:cubicBezTo>
                    <a:cubicBezTo>
                      <a:pt x="496" y="477"/>
                      <a:pt x="497" y="477"/>
                      <a:pt x="498" y="477"/>
                    </a:cubicBezTo>
                    <a:cubicBezTo>
                      <a:pt x="499" y="478"/>
                      <a:pt x="499" y="477"/>
                      <a:pt x="499" y="476"/>
                    </a:cubicBezTo>
                    <a:cubicBezTo>
                      <a:pt x="499" y="476"/>
                      <a:pt x="500" y="475"/>
                      <a:pt x="500" y="477"/>
                    </a:cubicBezTo>
                    <a:cubicBezTo>
                      <a:pt x="500" y="477"/>
                      <a:pt x="500" y="478"/>
                      <a:pt x="500" y="478"/>
                    </a:cubicBezTo>
                    <a:cubicBezTo>
                      <a:pt x="500" y="479"/>
                      <a:pt x="500" y="479"/>
                      <a:pt x="500" y="479"/>
                    </a:cubicBezTo>
                    <a:cubicBezTo>
                      <a:pt x="501" y="479"/>
                      <a:pt x="501" y="479"/>
                      <a:pt x="502" y="480"/>
                    </a:cubicBezTo>
                    <a:cubicBezTo>
                      <a:pt x="502" y="480"/>
                      <a:pt x="503" y="481"/>
                      <a:pt x="503" y="481"/>
                    </a:cubicBezTo>
                    <a:cubicBezTo>
                      <a:pt x="503" y="481"/>
                      <a:pt x="503" y="481"/>
                      <a:pt x="503" y="481"/>
                    </a:cubicBezTo>
                    <a:cubicBezTo>
                      <a:pt x="503" y="481"/>
                      <a:pt x="503" y="481"/>
                      <a:pt x="503"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3" y="483"/>
                      <a:pt x="504" y="483"/>
                      <a:pt x="505" y="483"/>
                    </a:cubicBezTo>
                    <a:cubicBezTo>
                      <a:pt x="505" y="483"/>
                      <a:pt x="505" y="483"/>
                      <a:pt x="505" y="483"/>
                    </a:cubicBezTo>
                    <a:cubicBezTo>
                      <a:pt x="505" y="483"/>
                      <a:pt x="505" y="483"/>
                      <a:pt x="505" y="483"/>
                    </a:cubicBezTo>
                    <a:cubicBezTo>
                      <a:pt x="507" y="483"/>
                      <a:pt x="508" y="483"/>
                      <a:pt x="510" y="482"/>
                    </a:cubicBezTo>
                    <a:cubicBezTo>
                      <a:pt x="510" y="481"/>
                      <a:pt x="510" y="482"/>
                      <a:pt x="511" y="481"/>
                    </a:cubicBezTo>
                    <a:cubicBezTo>
                      <a:pt x="511" y="481"/>
                      <a:pt x="511" y="481"/>
                      <a:pt x="511" y="481"/>
                    </a:cubicBezTo>
                    <a:cubicBezTo>
                      <a:pt x="511" y="481"/>
                      <a:pt x="511" y="481"/>
                      <a:pt x="511" y="481"/>
                    </a:cubicBezTo>
                    <a:cubicBezTo>
                      <a:pt x="511" y="482"/>
                      <a:pt x="511" y="482"/>
                      <a:pt x="511" y="483"/>
                    </a:cubicBezTo>
                    <a:cubicBezTo>
                      <a:pt x="511" y="483"/>
                      <a:pt x="510" y="483"/>
                      <a:pt x="510" y="483"/>
                    </a:cubicBezTo>
                    <a:cubicBezTo>
                      <a:pt x="510" y="483"/>
                      <a:pt x="510" y="483"/>
                      <a:pt x="510" y="483"/>
                    </a:cubicBezTo>
                    <a:cubicBezTo>
                      <a:pt x="510" y="483"/>
                      <a:pt x="510" y="483"/>
                      <a:pt x="510" y="483"/>
                    </a:cubicBezTo>
                    <a:cubicBezTo>
                      <a:pt x="507" y="484"/>
                      <a:pt x="507" y="485"/>
                      <a:pt x="507" y="487"/>
                    </a:cubicBezTo>
                    <a:cubicBezTo>
                      <a:pt x="507" y="488"/>
                      <a:pt x="507" y="488"/>
                      <a:pt x="507" y="488"/>
                    </a:cubicBezTo>
                    <a:cubicBezTo>
                      <a:pt x="508" y="488"/>
                      <a:pt x="509" y="488"/>
                      <a:pt x="510" y="488"/>
                    </a:cubicBezTo>
                    <a:cubicBezTo>
                      <a:pt x="509" y="488"/>
                      <a:pt x="509" y="489"/>
                      <a:pt x="508" y="489"/>
                    </a:cubicBezTo>
                    <a:cubicBezTo>
                      <a:pt x="508" y="489"/>
                      <a:pt x="508" y="489"/>
                      <a:pt x="508" y="490"/>
                    </a:cubicBezTo>
                    <a:cubicBezTo>
                      <a:pt x="508" y="490"/>
                      <a:pt x="508" y="490"/>
                      <a:pt x="509" y="490"/>
                    </a:cubicBezTo>
                    <a:cubicBezTo>
                      <a:pt x="510" y="490"/>
                      <a:pt x="510" y="489"/>
                      <a:pt x="511" y="489"/>
                    </a:cubicBezTo>
                    <a:cubicBezTo>
                      <a:pt x="511" y="490"/>
                      <a:pt x="510" y="490"/>
                      <a:pt x="510" y="490"/>
                    </a:cubicBezTo>
                    <a:cubicBezTo>
                      <a:pt x="509" y="491"/>
                      <a:pt x="509" y="492"/>
                      <a:pt x="510" y="493"/>
                    </a:cubicBezTo>
                    <a:cubicBezTo>
                      <a:pt x="511" y="493"/>
                      <a:pt x="511" y="494"/>
                      <a:pt x="511" y="494"/>
                    </a:cubicBezTo>
                    <a:cubicBezTo>
                      <a:pt x="511" y="494"/>
                      <a:pt x="511" y="494"/>
                      <a:pt x="511" y="494"/>
                    </a:cubicBezTo>
                    <a:cubicBezTo>
                      <a:pt x="511" y="494"/>
                      <a:pt x="511" y="494"/>
                      <a:pt x="511" y="494"/>
                    </a:cubicBezTo>
                    <a:cubicBezTo>
                      <a:pt x="512" y="495"/>
                      <a:pt x="512" y="496"/>
                      <a:pt x="513" y="497"/>
                    </a:cubicBezTo>
                    <a:cubicBezTo>
                      <a:pt x="513" y="497"/>
                      <a:pt x="514" y="496"/>
                      <a:pt x="514" y="495"/>
                    </a:cubicBezTo>
                    <a:cubicBezTo>
                      <a:pt x="514" y="495"/>
                      <a:pt x="513" y="494"/>
                      <a:pt x="514" y="494"/>
                    </a:cubicBezTo>
                    <a:cubicBezTo>
                      <a:pt x="514" y="494"/>
                      <a:pt x="514" y="494"/>
                      <a:pt x="514" y="495"/>
                    </a:cubicBezTo>
                    <a:cubicBezTo>
                      <a:pt x="514" y="494"/>
                      <a:pt x="514" y="494"/>
                      <a:pt x="514" y="494"/>
                    </a:cubicBezTo>
                    <a:cubicBezTo>
                      <a:pt x="514" y="494"/>
                      <a:pt x="514" y="494"/>
                      <a:pt x="514" y="495"/>
                    </a:cubicBezTo>
                    <a:cubicBezTo>
                      <a:pt x="514" y="495"/>
                      <a:pt x="514" y="496"/>
                      <a:pt x="515" y="496"/>
                    </a:cubicBezTo>
                    <a:cubicBezTo>
                      <a:pt x="515" y="496"/>
                      <a:pt x="515" y="496"/>
                      <a:pt x="515" y="497"/>
                    </a:cubicBezTo>
                    <a:cubicBezTo>
                      <a:pt x="515" y="497"/>
                      <a:pt x="516" y="498"/>
                      <a:pt x="516" y="498"/>
                    </a:cubicBezTo>
                    <a:cubicBezTo>
                      <a:pt x="516" y="497"/>
                      <a:pt x="517" y="497"/>
                      <a:pt x="518" y="497"/>
                    </a:cubicBezTo>
                    <a:cubicBezTo>
                      <a:pt x="517" y="498"/>
                      <a:pt x="518" y="498"/>
                      <a:pt x="518" y="499"/>
                    </a:cubicBezTo>
                    <a:cubicBezTo>
                      <a:pt x="519" y="499"/>
                      <a:pt x="519" y="500"/>
                      <a:pt x="520" y="500"/>
                    </a:cubicBezTo>
                    <a:cubicBezTo>
                      <a:pt x="519" y="499"/>
                      <a:pt x="521" y="499"/>
                      <a:pt x="520" y="498"/>
                    </a:cubicBezTo>
                    <a:cubicBezTo>
                      <a:pt x="520" y="497"/>
                      <a:pt x="521" y="495"/>
                      <a:pt x="521" y="494"/>
                    </a:cubicBezTo>
                    <a:cubicBezTo>
                      <a:pt x="521" y="494"/>
                      <a:pt x="521" y="496"/>
                      <a:pt x="522" y="495"/>
                    </a:cubicBezTo>
                    <a:cubicBezTo>
                      <a:pt x="522" y="494"/>
                      <a:pt x="521" y="494"/>
                      <a:pt x="521" y="493"/>
                    </a:cubicBezTo>
                    <a:cubicBezTo>
                      <a:pt x="521" y="493"/>
                      <a:pt x="521" y="493"/>
                      <a:pt x="521" y="493"/>
                    </a:cubicBezTo>
                    <a:cubicBezTo>
                      <a:pt x="521" y="493"/>
                      <a:pt x="521" y="493"/>
                      <a:pt x="521" y="493"/>
                    </a:cubicBezTo>
                    <a:cubicBezTo>
                      <a:pt x="520" y="493"/>
                      <a:pt x="520" y="492"/>
                      <a:pt x="519" y="492"/>
                    </a:cubicBezTo>
                    <a:cubicBezTo>
                      <a:pt x="520" y="491"/>
                      <a:pt x="520" y="492"/>
                      <a:pt x="521" y="492"/>
                    </a:cubicBezTo>
                    <a:cubicBezTo>
                      <a:pt x="521" y="491"/>
                      <a:pt x="519" y="491"/>
                      <a:pt x="520" y="490"/>
                    </a:cubicBezTo>
                    <a:cubicBezTo>
                      <a:pt x="520" y="490"/>
                      <a:pt x="520" y="491"/>
                      <a:pt x="521" y="490"/>
                    </a:cubicBezTo>
                    <a:cubicBezTo>
                      <a:pt x="521" y="490"/>
                      <a:pt x="521" y="490"/>
                      <a:pt x="521" y="489"/>
                    </a:cubicBezTo>
                    <a:cubicBezTo>
                      <a:pt x="521" y="489"/>
                      <a:pt x="521" y="489"/>
                      <a:pt x="521" y="489"/>
                    </a:cubicBezTo>
                    <a:cubicBezTo>
                      <a:pt x="520" y="489"/>
                      <a:pt x="520" y="489"/>
                      <a:pt x="520" y="489"/>
                    </a:cubicBezTo>
                    <a:cubicBezTo>
                      <a:pt x="520" y="489"/>
                      <a:pt x="520" y="489"/>
                      <a:pt x="520" y="489"/>
                    </a:cubicBezTo>
                    <a:cubicBezTo>
                      <a:pt x="520" y="488"/>
                      <a:pt x="520" y="488"/>
                      <a:pt x="520" y="488"/>
                    </a:cubicBezTo>
                    <a:cubicBezTo>
                      <a:pt x="521" y="488"/>
                      <a:pt x="521" y="488"/>
                      <a:pt x="521" y="488"/>
                    </a:cubicBezTo>
                    <a:cubicBezTo>
                      <a:pt x="521" y="488"/>
                      <a:pt x="521" y="488"/>
                      <a:pt x="521" y="488"/>
                    </a:cubicBezTo>
                    <a:cubicBezTo>
                      <a:pt x="521" y="488"/>
                      <a:pt x="521" y="487"/>
                      <a:pt x="521" y="487"/>
                    </a:cubicBezTo>
                    <a:cubicBezTo>
                      <a:pt x="521" y="487"/>
                      <a:pt x="521" y="487"/>
                      <a:pt x="521" y="487"/>
                    </a:cubicBezTo>
                    <a:cubicBezTo>
                      <a:pt x="521" y="487"/>
                      <a:pt x="521" y="487"/>
                      <a:pt x="521" y="487"/>
                    </a:cubicBezTo>
                    <a:cubicBezTo>
                      <a:pt x="522" y="488"/>
                      <a:pt x="522" y="489"/>
                      <a:pt x="523" y="489"/>
                    </a:cubicBezTo>
                    <a:cubicBezTo>
                      <a:pt x="524" y="489"/>
                      <a:pt x="525" y="490"/>
                      <a:pt x="526" y="489"/>
                    </a:cubicBezTo>
                    <a:cubicBezTo>
                      <a:pt x="526" y="488"/>
                      <a:pt x="527" y="486"/>
                      <a:pt x="525" y="486"/>
                    </a:cubicBezTo>
                    <a:cubicBezTo>
                      <a:pt x="525" y="486"/>
                      <a:pt x="525" y="486"/>
                      <a:pt x="525" y="485"/>
                    </a:cubicBezTo>
                    <a:cubicBezTo>
                      <a:pt x="525" y="485"/>
                      <a:pt x="525" y="485"/>
                      <a:pt x="525" y="485"/>
                    </a:cubicBezTo>
                    <a:cubicBezTo>
                      <a:pt x="526" y="485"/>
                      <a:pt x="527" y="487"/>
                      <a:pt x="528" y="486"/>
                    </a:cubicBezTo>
                    <a:cubicBezTo>
                      <a:pt x="528" y="485"/>
                      <a:pt x="527" y="484"/>
                      <a:pt x="527" y="483"/>
                    </a:cubicBezTo>
                    <a:cubicBezTo>
                      <a:pt x="528" y="483"/>
                      <a:pt x="528" y="483"/>
                      <a:pt x="528" y="483"/>
                    </a:cubicBezTo>
                    <a:cubicBezTo>
                      <a:pt x="528" y="483"/>
                      <a:pt x="528" y="483"/>
                      <a:pt x="528" y="483"/>
                    </a:cubicBezTo>
                    <a:cubicBezTo>
                      <a:pt x="528" y="483"/>
                      <a:pt x="528" y="483"/>
                      <a:pt x="528" y="483"/>
                    </a:cubicBezTo>
                    <a:cubicBezTo>
                      <a:pt x="530" y="482"/>
                      <a:pt x="530" y="482"/>
                      <a:pt x="529" y="481"/>
                    </a:cubicBezTo>
                    <a:cubicBezTo>
                      <a:pt x="528" y="480"/>
                      <a:pt x="527" y="479"/>
                      <a:pt x="526" y="479"/>
                    </a:cubicBezTo>
                    <a:cubicBezTo>
                      <a:pt x="525" y="479"/>
                      <a:pt x="525" y="479"/>
                      <a:pt x="525" y="478"/>
                    </a:cubicBezTo>
                    <a:cubicBezTo>
                      <a:pt x="525" y="480"/>
                      <a:pt x="526" y="479"/>
                      <a:pt x="527" y="478"/>
                    </a:cubicBezTo>
                    <a:cubicBezTo>
                      <a:pt x="528" y="478"/>
                      <a:pt x="528" y="477"/>
                      <a:pt x="527" y="477"/>
                    </a:cubicBezTo>
                    <a:cubicBezTo>
                      <a:pt x="527" y="476"/>
                      <a:pt x="526" y="476"/>
                      <a:pt x="527" y="476"/>
                    </a:cubicBezTo>
                    <a:cubicBezTo>
                      <a:pt x="527" y="475"/>
                      <a:pt x="528" y="476"/>
                      <a:pt x="528" y="476"/>
                    </a:cubicBezTo>
                    <a:cubicBezTo>
                      <a:pt x="529" y="476"/>
                      <a:pt x="529" y="477"/>
                      <a:pt x="529" y="477"/>
                    </a:cubicBezTo>
                    <a:cubicBezTo>
                      <a:pt x="531" y="478"/>
                      <a:pt x="532" y="477"/>
                      <a:pt x="533" y="477"/>
                    </a:cubicBezTo>
                    <a:cubicBezTo>
                      <a:pt x="533" y="477"/>
                      <a:pt x="534" y="477"/>
                      <a:pt x="534" y="477"/>
                    </a:cubicBezTo>
                    <a:cubicBezTo>
                      <a:pt x="534" y="476"/>
                      <a:pt x="533" y="476"/>
                      <a:pt x="533" y="476"/>
                    </a:cubicBezTo>
                    <a:cubicBezTo>
                      <a:pt x="533" y="476"/>
                      <a:pt x="532" y="476"/>
                      <a:pt x="532" y="476"/>
                    </a:cubicBezTo>
                    <a:cubicBezTo>
                      <a:pt x="532" y="475"/>
                      <a:pt x="533" y="475"/>
                      <a:pt x="533" y="474"/>
                    </a:cubicBezTo>
                    <a:cubicBezTo>
                      <a:pt x="533" y="474"/>
                      <a:pt x="534" y="474"/>
                      <a:pt x="534" y="473"/>
                    </a:cubicBezTo>
                    <a:cubicBezTo>
                      <a:pt x="534" y="473"/>
                      <a:pt x="534" y="473"/>
                      <a:pt x="534" y="473"/>
                    </a:cubicBezTo>
                    <a:cubicBezTo>
                      <a:pt x="534" y="473"/>
                      <a:pt x="534" y="473"/>
                      <a:pt x="534" y="473"/>
                    </a:cubicBezTo>
                    <a:cubicBezTo>
                      <a:pt x="534" y="473"/>
                      <a:pt x="535" y="473"/>
                      <a:pt x="535" y="472"/>
                    </a:cubicBezTo>
                    <a:close/>
                    <a:moveTo>
                      <a:pt x="401" y="335"/>
                    </a:moveTo>
                    <a:cubicBezTo>
                      <a:pt x="401" y="335"/>
                      <a:pt x="401" y="335"/>
                      <a:pt x="401" y="335"/>
                    </a:cubicBezTo>
                    <a:cubicBezTo>
                      <a:pt x="401" y="335"/>
                      <a:pt x="401" y="335"/>
                      <a:pt x="401" y="335"/>
                    </a:cubicBezTo>
                    <a:cubicBezTo>
                      <a:pt x="401" y="335"/>
                      <a:pt x="401" y="335"/>
                      <a:pt x="401" y="335"/>
                    </a:cubicBezTo>
                    <a:close/>
                    <a:moveTo>
                      <a:pt x="458" y="471"/>
                    </a:moveTo>
                    <a:cubicBezTo>
                      <a:pt x="458" y="471"/>
                      <a:pt x="458" y="471"/>
                      <a:pt x="458" y="471"/>
                    </a:cubicBezTo>
                    <a:cubicBezTo>
                      <a:pt x="458" y="471"/>
                      <a:pt x="458" y="471"/>
                      <a:pt x="459" y="471"/>
                    </a:cubicBezTo>
                    <a:cubicBezTo>
                      <a:pt x="458" y="471"/>
                      <a:pt x="458" y="471"/>
                      <a:pt x="458" y="471"/>
                    </a:cubicBezTo>
                    <a:close/>
                    <a:moveTo>
                      <a:pt x="466" y="398"/>
                    </a:moveTo>
                    <a:cubicBezTo>
                      <a:pt x="466" y="398"/>
                      <a:pt x="466" y="398"/>
                      <a:pt x="466" y="398"/>
                    </a:cubicBezTo>
                    <a:cubicBezTo>
                      <a:pt x="466" y="398"/>
                      <a:pt x="466" y="398"/>
                      <a:pt x="466" y="398"/>
                    </a:cubicBezTo>
                    <a:close/>
                    <a:moveTo>
                      <a:pt x="477" y="419"/>
                    </a:moveTo>
                    <a:cubicBezTo>
                      <a:pt x="477" y="419"/>
                      <a:pt x="477" y="419"/>
                      <a:pt x="477" y="419"/>
                    </a:cubicBezTo>
                    <a:cubicBezTo>
                      <a:pt x="477" y="419"/>
                      <a:pt x="477" y="419"/>
                      <a:pt x="477" y="419"/>
                    </a:cubicBezTo>
                    <a:close/>
                    <a:moveTo>
                      <a:pt x="515" y="455"/>
                    </a:moveTo>
                    <a:cubicBezTo>
                      <a:pt x="515" y="455"/>
                      <a:pt x="515" y="455"/>
                      <a:pt x="515" y="455"/>
                    </a:cubicBezTo>
                    <a:cubicBezTo>
                      <a:pt x="515" y="455"/>
                      <a:pt x="515" y="455"/>
                      <a:pt x="515" y="455"/>
                    </a:cubicBezTo>
                    <a:close/>
                    <a:moveTo>
                      <a:pt x="414" y="433"/>
                    </a:moveTo>
                    <a:cubicBezTo>
                      <a:pt x="413" y="433"/>
                      <a:pt x="413" y="432"/>
                      <a:pt x="413" y="431"/>
                    </a:cubicBezTo>
                    <a:cubicBezTo>
                      <a:pt x="414" y="430"/>
                      <a:pt x="414" y="428"/>
                      <a:pt x="416" y="427"/>
                    </a:cubicBezTo>
                    <a:cubicBezTo>
                      <a:pt x="416" y="427"/>
                      <a:pt x="417" y="427"/>
                      <a:pt x="417" y="427"/>
                    </a:cubicBezTo>
                    <a:cubicBezTo>
                      <a:pt x="417" y="425"/>
                      <a:pt x="418" y="425"/>
                      <a:pt x="418" y="423"/>
                    </a:cubicBezTo>
                    <a:cubicBezTo>
                      <a:pt x="418" y="423"/>
                      <a:pt x="419" y="422"/>
                      <a:pt x="420" y="422"/>
                    </a:cubicBezTo>
                    <a:cubicBezTo>
                      <a:pt x="421" y="423"/>
                      <a:pt x="421" y="423"/>
                      <a:pt x="421" y="424"/>
                    </a:cubicBezTo>
                    <a:cubicBezTo>
                      <a:pt x="421" y="425"/>
                      <a:pt x="420" y="426"/>
                      <a:pt x="419" y="426"/>
                    </a:cubicBezTo>
                    <a:cubicBezTo>
                      <a:pt x="419" y="427"/>
                      <a:pt x="418" y="428"/>
                      <a:pt x="418" y="430"/>
                    </a:cubicBezTo>
                    <a:cubicBezTo>
                      <a:pt x="417" y="432"/>
                      <a:pt x="415" y="432"/>
                      <a:pt x="414" y="433"/>
                    </a:cubicBezTo>
                    <a:close/>
                    <a:moveTo>
                      <a:pt x="405" y="340"/>
                    </a:moveTo>
                    <a:cubicBezTo>
                      <a:pt x="405" y="341"/>
                      <a:pt x="406" y="341"/>
                      <a:pt x="407" y="341"/>
                    </a:cubicBezTo>
                    <a:cubicBezTo>
                      <a:pt x="408" y="341"/>
                      <a:pt x="408" y="341"/>
                      <a:pt x="408" y="342"/>
                    </a:cubicBezTo>
                    <a:cubicBezTo>
                      <a:pt x="408" y="342"/>
                      <a:pt x="408" y="342"/>
                      <a:pt x="408" y="342"/>
                    </a:cubicBezTo>
                    <a:cubicBezTo>
                      <a:pt x="408" y="342"/>
                      <a:pt x="408" y="342"/>
                      <a:pt x="408" y="342"/>
                    </a:cubicBezTo>
                    <a:cubicBezTo>
                      <a:pt x="408" y="343"/>
                      <a:pt x="409" y="343"/>
                      <a:pt x="408" y="343"/>
                    </a:cubicBezTo>
                    <a:cubicBezTo>
                      <a:pt x="408" y="346"/>
                      <a:pt x="408" y="349"/>
                      <a:pt x="411" y="351"/>
                    </a:cubicBezTo>
                    <a:cubicBezTo>
                      <a:pt x="412" y="353"/>
                      <a:pt x="414" y="353"/>
                      <a:pt x="416" y="352"/>
                    </a:cubicBezTo>
                    <a:cubicBezTo>
                      <a:pt x="418" y="351"/>
                      <a:pt x="419" y="349"/>
                      <a:pt x="421" y="349"/>
                    </a:cubicBezTo>
                    <a:cubicBezTo>
                      <a:pt x="421" y="349"/>
                      <a:pt x="421" y="349"/>
                      <a:pt x="421" y="349"/>
                    </a:cubicBezTo>
                    <a:cubicBezTo>
                      <a:pt x="421" y="349"/>
                      <a:pt x="421" y="349"/>
                      <a:pt x="421" y="349"/>
                    </a:cubicBezTo>
                    <a:cubicBezTo>
                      <a:pt x="421" y="349"/>
                      <a:pt x="422" y="349"/>
                      <a:pt x="422" y="349"/>
                    </a:cubicBezTo>
                    <a:cubicBezTo>
                      <a:pt x="422" y="349"/>
                      <a:pt x="422" y="349"/>
                      <a:pt x="422" y="349"/>
                    </a:cubicBezTo>
                    <a:cubicBezTo>
                      <a:pt x="425" y="349"/>
                      <a:pt x="427" y="350"/>
                      <a:pt x="429" y="350"/>
                    </a:cubicBezTo>
                    <a:cubicBezTo>
                      <a:pt x="429" y="350"/>
                      <a:pt x="429" y="350"/>
                      <a:pt x="429" y="350"/>
                    </a:cubicBezTo>
                    <a:cubicBezTo>
                      <a:pt x="429" y="350"/>
                      <a:pt x="429" y="350"/>
                      <a:pt x="429" y="350"/>
                    </a:cubicBezTo>
                    <a:cubicBezTo>
                      <a:pt x="430" y="350"/>
                      <a:pt x="430" y="350"/>
                      <a:pt x="431" y="350"/>
                    </a:cubicBezTo>
                    <a:cubicBezTo>
                      <a:pt x="431" y="350"/>
                      <a:pt x="431" y="350"/>
                      <a:pt x="431" y="350"/>
                    </a:cubicBezTo>
                    <a:cubicBezTo>
                      <a:pt x="432" y="351"/>
                      <a:pt x="433" y="351"/>
                      <a:pt x="434" y="351"/>
                    </a:cubicBezTo>
                    <a:cubicBezTo>
                      <a:pt x="435" y="351"/>
                      <a:pt x="435" y="350"/>
                      <a:pt x="435" y="349"/>
                    </a:cubicBezTo>
                    <a:cubicBezTo>
                      <a:pt x="436" y="348"/>
                      <a:pt x="435" y="348"/>
                      <a:pt x="435" y="348"/>
                    </a:cubicBezTo>
                    <a:cubicBezTo>
                      <a:pt x="434" y="348"/>
                      <a:pt x="434" y="347"/>
                      <a:pt x="434" y="347"/>
                    </a:cubicBezTo>
                    <a:cubicBezTo>
                      <a:pt x="434" y="344"/>
                      <a:pt x="434" y="344"/>
                      <a:pt x="432" y="344"/>
                    </a:cubicBezTo>
                    <a:cubicBezTo>
                      <a:pt x="432" y="344"/>
                      <a:pt x="432" y="344"/>
                      <a:pt x="432" y="344"/>
                    </a:cubicBezTo>
                    <a:cubicBezTo>
                      <a:pt x="432" y="344"/>
                      <a:pt x="432" y="344"/>
                      <a:pt x="432" y="344"/>
                    </a:cubicBezTo>
                    <a:cubicBezTo>
                      <a:pt x="432" y="344"/>
                      <a:pt x="432" y="344"/>
                      <a:pt x="432" y="344"/>
                    </a:cubicBezTo>
                    <a:cubicBezTo>
                      <a:pt x="431" y="343"/>
                      <a:pt x="432" y="342"/>
                      <a:pt x="432" y="341"/>
                    </a:cubicBezTo>
                    <a:cubicBezTo>
                      <a:pt x="431" y="341"/>
                      <a:pt x="431" y="341"/>
                      <a:pt x="431" y="340"/>
                    </a:cubicBezTo>
                    <a:cubicBezTo>
                      <a:pt x="431" y="340"/>
                      <a:pt x="431" y="340"/>
                      <a:pt x="431" y="340"/>
                    </a:cubicBezTo>
                    <a:cubicBezTo>
                      <a:pt x="431" y="339"/>
                      <a:pt x="431" y="339"/>
                      <a:pt x="430" y="339"/>
                    </a:cubicBezTo>
                    <a:cubicBezTo>
                      <a:pt x="429" y="339"/>
                      <a:pt x="429" y="339"/>
                      <a:pt x="428" y="339"/>
                    </a:cubicBezTo>
                    <a:cubicBezTo>
                      <a:pt x="429" y="338"/>
                      <a:pt x="429" y="337"/>
                      <a:pt x="428" y="335"/>
                    </a:cubicBezTo>
                    <a:cubicBezTo>
                      <a:pt x="428" y="335"/>
                      <a:pt x="428" y="335"/>
                      <a:pt x="427" y="335"/>
                    </a:cubicBezTo>
                    <a:cubicBezTo>
                      <a:pt x="427" y="335"/>
                      <a:pt x="427" y="335"/>
                      <a:pt x="427" y="335"/>
                    </a:cubicBezTo>
                    <a:cubicBezTo>
                      <a:pt x="427" y="334"/>
                      <a:pt x="427" y="335"/>
                      <a:pt x="427" y="335"/>
                    </a:cubicBezTo>
                    <a:cubicBezTo>
                      <a:pt x="426" y="334"/>
                      <a:pt x="426" y="334"/>
                      <a:pt x="425" y="334"/>
                    </a:cubicBezTo>
                    <a:cubicBezTo>
                      <a:pt x="424" y="333"/>
                      <a:pt x="423" y="332"/>
                      <a:pt x="422" y="332"/>
                    </a:cubicBezTo>
                    <a:cubicBezTo>
                      <a:pt x="422" y="331"/>
                      <a:pt x="421" y="331"/>
                      <a:pt x="421" y="331"/>
                    </a:cubicBezTo>
                    <a:cubicBezTo>
                      <a:pt x="419" y="331"/>
                      <a:pt x="418" y="331"/>
                      <a:pt x="417" y="331"/>
                    </a:cubicBezTo>
                    <a:cubicBezTo>
                      <a:pt x="417" y="331"/>
                      <a:pt x="416" y="331"/>
                      <a:pt x="416" y="332"/>
                    </a:cubicBezTo>
                    <a:cubicBezTo>
                      <a:pt x="414" y="332"/>
                      <a:pt x="412" y="331"/>
                      <a:pt x="410" y="330"/>
                    </a:cubicBezTo>
                    <a:cubicBezTo>
                      <a:pt x="409" y="330"/>
                      <a:pt x="407" y="330"/>
                      <a:pt x="406" y="329"/>
                    </a:cubicBezTo>
                    <a:cubicBezTo>
                      <a:pt x="406" y="328"/>
                      <a:pt x="405" y="329"/>
                      <a:pt x="404" y="329"/>
                    </a:cubicBezTo>
                    <a:cubicBezTo>
                      <a:pt x="403" y="329"/>
                      <a:pt x="404" y="330"/>
                      <a:pt x="404" y="330"/>
                    </a:cubicBezTo>
                    <a:cubicBezTo>
                      <a:pt x="404" y="331"/>
                      <a:pt x="404" y="332"/>
                      <a:pt x="403" y="332"/>
                    </a:cubicBezTo>
                    <a:cubicBezTo>
                      <a:pt x="403" y="333"/>
                      <a:pt x="403" y="333"/>
                      <a:pt x="403" y="334"/>
                    </a:cubicBezTo>
                    <a:cubicBezTo>
                      <a:pt x="403" y="334"/>
                      <a:pt x="403" y="334"/>
                      <a:pt x="404" y="335"/>
                    </a:cubicBezTo>
                    <a:cubicBezTo>
                      <a:pt x="404" y="335"/>
                      <a:pt x="404" y="335"/>
                      <a:pt x="404" y="335"/>
                    </a:cubicBezTo>
                    <a:cubicBezTo>
                      <a:pt x="404" y="335"/>
                      <a:pt x="404" y="335"/>
                      <a:pt x="404" y="335"/>
                    </a:cubicBezTo>
                    <a:cubicBezTo>
                      <a:pt x="404" y="335"/>
                      <a:pt x="404" y="335"/>
                      <a:pt x="404" y="335"/>
                    </a:cubicBezTo>
                    <a:cubicBezTo>
                      <a:pt x="404" y="335"/>
                      <a:pt x="404" y="335"/>
                      <a:pt x="404" y="335"/>
                    </a:cubicBezTo>
                    <a:cubicBezTo>
                      <a:pt x="402" y="335"/>
                      <a:pt x="403" y="337"/>
                      <a:pt x="403" y="337"/>
                    </a:cubicBezTo>
                    <a:cubicBezTo>
                      <a:pt x="403" y="339"/>
                      <a:pt x="403" y="340"/>
                      <a:pt x="405" y="340"/>
                    </a:cubicBezTo>
                    <a:close/>
                    <a:moveTo>
                      <a:pt x="425" y="525"/>
                    </a:moveTo>
                    <a:cubicBezTo>
                      <a:pt x="426" y="526"/>
                      <a:pt x="426" y="527"/>
                      <a:pt x="424" y="527"/>
                    </a:cubicBezTo>
                    <a:cubicBezTo>
                      <a:pt x="422" y="528"/>
                      <a:pt x="422" y="528"/>
                      <a:pt x="421" y="527"/>
                    </a:cubicBezTo>
                    <a:cubicBezTo>
                      <a:pt x="421" y="526"/>
                      <a:pt x="420" y="525"/>
                      <a:pt x="420" y="525"/>
                    </a:cubicBezTo>
                    <a:cubicBezTo>
                      <a:pt x="419" y="524"/>
                      <a:pt x="419" y="524"/>
                      <a:pt x="419" y="523"/>
                    </a:cubicBezTo>
                    <a:cubicBezTo>
                      <a:pt x="419" y="522"/>
                      <a:pt x="420" y="523"/>
                      <a:pt x="421" y="522"/>
                    </a:cubicBezTo>
                    <a:cubicBezTo>
                      <a:pt x="423" y="522"/>
                      <a:pt x="425" y="523"/>
                      <a:pt x="425" y="525"/>
                    </a:cubicBezTo>
                    <a:close/>
                    <a:moveTo>
                      <a:pt x="384" y="485"/>
                    </a:moveTo>
                    <a:cubicBezTo>
                      <a:pt x="384" y="486"/>
                      <a:pt x="385" y="487"/>
                      <a:pt x="386" y="487"/>
                    </a:cubicBezTo>
                    <a:cubicBezTo>
                      <a:pt x="387" y="487"/>
                      <a:pt x="387" y="487"/>
                      <a:pt x="387" y="488"/>
                    </a:cubicBezTo>
                    <a:cubicBezTo>
                      <a:pt x="387" y="488"/>
                      <a:pt x="387" y="489"/>
                      <a:pt x="386" y="488"/>
                    </a:cubicBezTo>
                    <a:cubicBezTo>
                      <a:pt x="385" y="488"/>
                      <a:pt x="385" y="488"/>
                      <a:pt x="385" y="488"/>
                    </a:cubicBezTo>
                    <a:cubicBezTo>
                      <a:pt x="384" y="488"/>
                      <a:pt x="383" y="488"/>
                      <a:pt x="384" y="487"/>
                    </a:cubicBezTo>
                    <a:cubicBezTo>
                      <a:pt x="384" y="486"/>
                      <a:pt x="384" y="486"/>
                      <a:pt x="383" y="487"/>
                    </a:cubicBezTo>
                    <a:cubicBezTo>
                      <a:pt x="382" y="487"/>
                      <a:pt x="381" y="487"/>
                      <a:pt x="382" y="486"/>
                    </a:cubicBezTo>
                    <a:cubicBezTo>
                      <a:pt x="382" y="484"/>
                      <a:pt x="381" y="483"/>
                      <a:pt x="380" y="483"/>
                    </a:cubicBezTo>
                    <a:cubicBezTo>
                      <a:pt x="379" y="482"/>
                      <a:pt x="379" y="481"/>
                      <a:pt x="379" y="481"/>
                    </a:cubicBezTo>
                    <a:cubicBezTo>
                      <a:pt x="381" y="481"/>
                      <a:pt x="383" y="482"/>
                      <a:pt x="384" y="484"/>
                    </a:cubicBezTo>
                    <a:cubicBezTo>
                      <a:pt x="384" y="484"/>
                      <a:pt x="385" y="484"/>
                      <a:pt x="384" y="485"/>
                    </a:cubicBezTo>
                    <a:close/>
                    <a:moveTo>
                      <a:pt x="427" y="424"/>
                    </a:moveTo>
                    <a:cubicBezTo>
                      <a:pt x="427" y="424"/>
                      <a:pt x="427" y="423"/>
                      <a:pt x="427" y="423"/>
                    </a:cubicBezTo>
                    <a:cubicBezTo>
                      <a:pt x="427" y="422"/>
                      <a:pt x="427" y="422"/>
                      <a:pt x="427" y="422"/>
                    </a:cubicBezTo>
                    <a:cubicBezTo>
                      <a:pt x="428" y="421"/>
                      <a:pt x="428" y="421"/>
                      <a:pt x="429" y="422"/>
                    </a:cubicBezTo>
                    <a:cubicBezTo>
                      <a:pt x="429" y="422"/>
                      <a:pt x="430" y="422"/>
                      <a:pt x="430" y="422"/>
                    </a:cubicBezTo>
                    <a:cubicBezTo>
                      <a:pt x="431" y="422"/>
                      <a:pt x="431" y="422"/>
                      <a:pt x="431" y="422"/>
                    </a:cubicBezTo>
                    <a:cubicBezTo>
                      <a:pt x="432" y="423"/>
                      <a:pt x="432" y="423"/>
                      <a:pt x="431" y="424"/>
                    </a:cubicBezTo>
                    <a:cubicBezTo>
                      <a:pt x="431" y="425"/>
                      <a:pt x="430" y="425"/>
                      <a:pt x="430" y="427"/>
                    </a:cubicBezTo>
                    <a:cubicBezTo>
                      <a:pt x="430" y="427"/>
                      <a:pt x="429" y="427"/>
                      <a:pt x="429" y="427"/>
                    </a:cubicBezTo>
                    <a:cubicBezTo>
                      <a:pt x="427" y="427"/>
                      <a:pt x="427" y="426"/>
                      <a:pt x="427" y="424"/>
                    </a:cubicBezTo>
                    <a:close/>
                    <a:moveTo>
                      <a:pt x="512" y="551"/>
                    </a:moveTo>
                    <a:cubicBezTo>
                      <a:pt x="513" y="552"/>
                      <a:pt x="511" y="552"/>
                      <a:pt x="511" y="553"/>
                    </a:cubicBezTo>
                    <a:cubicBezTo>
                      <a:pt x="511" y="554"/>
                      <a:pt x="511" y="554"/>
                      <a:pt x="510" y="553"/>
                    </a:cubicBezTo>
                    <a:cubicBezTo>
                      <a:pt x="509" y="552"/>
                      <a:pt x="509" y="551"/>
                      <a:pt x="507" y="550"/>
                    </a:cubicBezTo>
                    <a:cubicBezTo>
                      <a:pt x="507" y="550"/>
                      <a:pt x="507" y="549"/>
                      <a:pt x="507" y="549"/>
                    </a:cubicBezTo>
                    <a:cubicBezTo>
                      <a:pt x="508" y="548"/>
                      <a:pt x="511" y="549"/>
                      <a:pt x="512" y="549"/>
                    </a:cubicBezTo>
                    <a:cubicBezTo>
                      <a:pt x="512" y="550"/>
                      <a:pt x="512" y="550"/>
                      <a:pt x="512" y="551"/>
                    </a:cubicBezTo>
                    <a:close/>
                    <a:moveTo>
                      <a:pt x="443" y="437"/>
                    </a:moveTo>
                    <a:cubicBezTo>
                      <a:pt x="443" y="438"/>
                      <a:pt x="444" y="438"/>
                      <a:pt x="444" y="439"/>
                    </a:cubicBezTo>
                    <a:cubicBezTo>
                      <a:pt x="444" y="440"/>
                      <a:pt x="444" y="441"/>
                      <a:pt x="444" y="442"/>
                    </a:cubicBezTo>
                    <a:cubicBezTo>
                      <a:pt x="444" y="442"/>
                      <a:pt x="443" y="442"/>
                      <a:pt x="443" y="442"/>
                    </a:cubicBezTo>
                    <a:cubicBezTo>
                      <a:pt x="442" y="441"/>
                      <a:pt x="442" y="441"/>
                      <a:pt x="441" y="440"/>
                    </a:cubicBezTo>
                    <a:cubicBezTo>
                      <a:pt x="440" y="439"/>
                      <a:pt x="440" y="436"/>
                      <a:pt x="441" y="435"/>
                    </a:cubicBezTo>
                    <a:cubicBezTo>
                      <a:pt x="441" y="435"/>
                      <a:pt x="441" y="435"/>
                      <a:pt x="441" y="435"/>
                    </a:cubicBezTo>
                    <a:cubicBezTo>
                      <a:pt x="442" y="436"/>
                      <a:pt x="443" y="436"/>
                      <a:pt x="443" y="437"/>
                    </a:cubicBezTo>
                    <a:close/>
                    <a:moveTo>
                      <a:pt x="376" y="483"/>
                    </a:moveTo>
                    <a:cubicBezTo>
                      <a:pt x="377" y="485"/>
                      <a:pt x="378" y="486"/>
                      <a:pt x="378" y="488"/>
                    </a:cubicBezTo>
                    <a:cubicBezTo>
                      <a:pt x="378" y="488"/>
                      <a:pt x="378" y="489"/>
                      <a:pt x="378" y="489"/>
                    </a:cubicBezTo>
                    <a:cubicBezTo>
                      <a:pt x="378" y="490"/>
                      <a:pt x="377" y="490"/>
                      <a:pt x="377" y="490"/>
                    </a:cubicBezTo>
                    <a:cubicBezTo>
                      <a:pt x="377" y="490"/>
                      <a:pt x="377" y="489"/>
                      <a:pt x="377" y="489"/>
                    </a:cubicBezTo>
                    <a:cubicBezTo>
                      <a:pt x="377" y="489"/>
                      <a:pt x="377" y="488"/>
                      <a:pt x="376" y="488"/>
                    </a:cubicBezTo>
                    <a:cubicBezTo>
                      <a:pt x="374" y="487"/>
                      <a:pt x="375" y="485"/>
                      <a:pt x="375" y="483"/>
                    </a:cubicBezTo>
                    <a:cubicBezTo>
                      <a:pt x="374" y="483"/>
                      <a:pt x="374" y="482"/>
                      <a:pt x="375" y="482"/>
                    </a:cubicBezTo>
                    <a:cubicBezTo>
                      <a:pt x="375" y="483"/>
                      <a:pt x="376" y="483"/>
                      <a:pt x="376" y="483"/>
                    </a:cubicBezTo>
                    <a:close/>
                    <a:moveTo>
                      <a:pt x="432" y="523"/>
                    </a:moveTo>
                    <a:cubicBezTo>
                      <a:pt x="432" y="523"/>
                      <a:pt x="432" y="524"/>
                      <a:pt x="431" y="524"/>
                    </a:cubicBezTo>
                    <a:cubicBezTo>
                      <a:pt x="430" y="524"/>
                      <a:pt x="429" y="524"/>
                      <a:pt x="429" y="523"/>
                    </a:cubicBezTo>
                    <a:cubicBezTo>
                      <a:pt x="428" y="522"/>
                      <a:pt x="428" y="522"/>
                      <a:pt x="427" y="521"/>
                    </a:cubicBezTo>
                    <a:cubicBezTo>
                      <a:pt x="426" y="521"/>
                      <a:pt x="426" y="520"/>
                      <a:pt x="427" y="520"/>
                    </a:cubicBezTo>
                    <a:cubicBezTo>
                      <a:pt x="427" y="519"/>
                      <a:pt x="427" y="519"/>
                      <a:pt x="428" y="519"/>
                    </a:cubicBezTo>
                    <a:cubicBezTo>
                      <a:pt x="430" y="519"/>
                      <a:pt x="432" y="521"/>
                      <a:pt x="432" y="523"/>
                    </a:cubicBezTo>
                    <a:close/>
                    <a:moveTo>
                      <a:pt x="475" y="535"/>
                    </a:moveTo>
                    <a:cubicBezTo>
                      <a:pt x="475" y="536"/>
                      <a:pt x="475" y="536"/>
                      <a:pt x="474" y="536"/>
                    </a:cubicBezTo>
                    <a:cubicBezTo>
                      <a:pt x="472" y="537"/>
                      <a:pt x="471" y="536"/>
                      <a:pt x="471" y="534"/>
                    </a:cubicBezTo>
                    <a:cubicBezTo>
                      <a:pt x="471" y="533"/>
                      <a:pt x="470" y="533"/>
                      <a:pt x="470" y="532"/>
                    </a:cubicBezTo>
                    <a:cubicBezTo>
                      <a:pt x="469" y="532"/>
                      <a:pt x="469" y="532"/>
                      <a:pt x="468" y="531"/>
                    </a:cubicBezTo>
                    <a:cubicBezTo>
                      <a:pt x="469" y="531"/>
                      <a:pt x="470" y="531"/>
                      <a:pt x="470" y="532"/>
                    </a:cubicBezTo>
                    <a:cubicBezTo>
                      <a:pt x="471" y="532"/>
                      <a:pt x="471" y="532"/>
                      <a:pt x="472" y="532"/>
                    </a:cubicBezTo>
                    <a:cubicBezTo>
                      <a:pt x="473" y="533"/>
                      <a:pt x="474" y="534"/>
                      <a:pt x="475" y="535"/>
                    </a:cubicBezTo>
                    <a:close/>
                    <a:moveTo>
                      <a:pt x="422" y="416"/>
                    </a:moveTo>
                    <a:cubicBezTo>
                      <a:pt x="422" y="416"/>
                      <a:pt x="423" y="417"/>
                      <a:pt x="423" y="417"/>
                    </a:cubicBezTo>
                    <a:cubicBezTo>
                      <a:pt x="423" y="418"/>
                      <a:pt x="423" y="418"/>
                      <a:pt x="422" y="418"/>
                    </a:cubicBezTo>
                    <a:cubicBezTo>
                      <a:pt x="421" y="419"/>
                      <a:pt x="419" y="420"/>
                      <a:pt x="417" y="421"/>
                    </a:cubicBezTo>
                    <a:cubicBezTo>
                      <a:pt x="417" y="421"/>
                      <a:pt x="417" y="420"/>
                      <a:pt x="417" y="420"/>
                    </a:cubicBezTo>
                    <a:cubicBezTo>
                      <a:pt x="418" y="419"/>
                      <a:pt x="419" y="417"/>
                      <a:pt x="421" y="417"/>
                    </a:cubicBezTo>
                    <a:cubicBezTo>
                      <a:pt x="421" y="417"/>
                      <a:pt x="421" y="417"/>
                      <a:pt x="421" y="417"/>
                    </a:cubicBezTo>
                    <a:cubicBezTo>
                      <a:pt x="421" y="416"/>
                      <a:pt x="421" y="415"/>
                      <a:pt x="422" y="416"/>
                    </a:cubicBezTo>
                    <a:close/>
                    <a:moveTo>
                      <a:pt x="360" y="409"/>
                    </a:moveTo>
                    <a:cubicBezTo>
                      <a:pt x="360" y="409"/>
                      <a:pt x="360" y="408"/>
                      <a:pt x="360" y="408"/>
                    </a:cubicBezTo>
                    <a:cubicBezTo>
                      <a:pt x="361" y="408"/>
                      <a:pt x="361" y="407"/>
                      <a:pt x="362" y="408"/>
                    </a:cubicBezTo>
                    <a:cubicBezTo>
                      <a:pt x="362" y="409"/>
                      <a:pt x="363" y="409"/>
                      <a:pt x="364" y="409"/>
                    </a:cubicBezTo>
                    <a:cubicBezTo>
                      <a:pt x="364" y="408"/>
                      <a:pt x="365" y="408"/>
                      <a:pt x="365" y="409"/>
                    </a:cubicBezTo>
                    <a:cubicBezTo>
                      <a:pt x="366" y="410"/>
                      <a:pt x="366" y="411"/>
                      <a:pt x="363" y="411"/>
                    </a:cubicBezTo>
                    <a:cubicBezTo>
                      <a:pt x="363" y="411"/>
                      <a:pt x="362" y="411"/>
                      <a:pt x="361" y="410"/>
                    </a:cubicBezTo>
                    <a:cubicBezTo>
                      <a:pt x="360" y="410"/>
                      <a:pt x="360" y="409"/>
                      <a:pt x="360" y="409"/>
                    </a:cubicBezTo>
                    <a:close/>
                    <a:moveTo>
                      <a:pt x="500" y="445"/>
                    </a:moveTo>
                    <a:cubicBezTo>
                      <a:pt x="500" y="445"/>
                      <a:pt x="500" y="445"/>
                      <a:pt x="500" y="445"/>
                    </a:cubicBezTo>
                    <a:cubicBezTo>
                      <a:pt x="500" y="445"/>
                      <a:pt x="500" y="445"/>
                      <a:pt x="500" y="445"/>
                    </a:cubicBezTo>
                    <a:close/>
                    <a:moveTo>
                      <a:pt x="514" y="537"/>
                    </a:moveTo>
                    <a:cubicBezTo>
                      <a:pt x="514" y="538"/>
                      <a:pt x="514" y="539"/>
                      <a:pt x="512" y="539"/>
                    </a:cubicBezTo>
                    <a:cubicBezTo>
                      <a:pt x="512" y="539"/>
                      <a:pt x="511" y="539"/>
                      <a:pt x="511" y="538"/>
                    </a:cubicBezTo>
                    <a:cubicBezTo>
                      <a:pt x="511" y="537"/>
                      <a:pt x="512" y="536"/>
                      <a:pt x="513" y="536"/>
                    </a:cubicBezTo>
                    <a:cubicBezTo>
                      <a:pt x="513" y="536"/>
                      <a:pt x="514" y="536"/>
                      <a:pt x="514" y="537"/>
                    </a:cubicBezTo>
                    <a:close/>
                    <a:moveTo>
                      <a:pt x="490" y="416"/>
                    </a:moveTo>
                    <a:cubicBezTo>
                      <a:pt x="491" y="417"/>
                      <a:pt x="491" y="417"/>
                      <a:pt x="491" y="418"/>
                    </a:cubicBezTo>
                    <a:cubicBezTo>
                      <a:pt x="490" y="418"/>
                      <a:pt x="491" y="420"/>
                      <a:pt x="490" y="420"/>
                    </a:cubicBezTo>
                    <a:cubicBezTo>
                      <a:pt x="489" y="420"/>
                      <a:pt x="488" y="419"/>
                      <a:pt x="488" y="418"/>
                    </a:cubicBezTo>
                    <a:cubicBezTo>
                      <a:pt x="488" y="418"/>
                      <a:pt x="490" y="416"/>
                      <a:pt x="490" y="416"/>
                    </a:cubicBezTo>
                    <a:close/>
                    <a:moveTo>
                      <a:pt x="417" y="443"/>
                    </a:moveTo>
                    <a:cubicBezTo>
                      <a:pt x="417" y="444"/>
                      <a:pt x="416" y="445"/>
                      <a:pt x="415" y="445"/>
                    </a:cubicBezTo>
                    <a:cubicBezTo>
                      <a:pt x="414" y="445"/>
                      <a:pt x="415" y="444"/>
                      <a:pt x="415" y="443"/>
                    </a:cubicBezTo>
                    <a:cubicBezTo>
                      <a:pt x="415" y="443"/>
                      <a:pt x="414" y="442"/>
                      <a:pt x="416" y="442"/>
                    </a:cubicBezTo>
                    <a:cubicBezTo>
                      <a:pt x="417" y="442"/>
                      <a:pt x="417" y="443"/>
                      <a:pt x="417" y="443"/>
                    </a:cubicBezTo>
                    <a:close/>
                    <a:moveTo>
                      <a:pt x="456" y="378"/>
                    </a:moveTo>
                    <a:cubicBezTo>
                      <a:pt x="456" y="377"/>
                      <a:pt x="456" y="377"/>
                      <a:pt x="457" y="377"/>
                    </a:cubicBezTo>
                    <a:cubicBezTo>
                      <a:pt x="458" y="376"/>
                      <a:pt x="458" y="377"/>
                      <a:pt x="458" y="378"/>
                    </a:cubicBezTo>
                    <a:cubicBezTo>
                      <a:pt x="458" y="378"/>
                      <a:pt x="458" y="379"/>
                      <a:pt x="457" y="379"/>
                    </a:cubicBezTo>
                    <a:cubicBezTo>
                      <a:pt x="457" y="379"/>
                      <a:pt x="456" y="379"/>
                      <a:pt x="456" y="378"/>
                    </a:cubicBezTo>
                    <a:close/>
                    <a:moveTo>
                      <a:pt x="525" y="465"/>
                    </a:moveTo>
                    <a:cubicBezTo>
                      <a:pt x="525" y="464"/>
                      <a:pt x="526" y="463"/>
                      <a:pt x="526" y="462"/>
                    </a:cubicBezTo>
                    <a:cubicBezTo>
                      <a:pt x="526" y="462"/>
                      <a:pt x="526" y="462"/>
                      <a:pt x="527" y="462"/>
                    </a:cubicBezTo>
                    <a:cubicBezTo>
                      <a:pt x="527" y="462"/>
                      <a:pt x="528" y="463"/>
                      <a:pt x="527" y="463"/>
                    </a:cubicBezTo>
                    <a:cubicBezTo>
                      <a:pt x="527" y="464"/>
                      <a:pt x="526" y="465"/>
                      <a:pt x="525" y="465"/>
                    </a:cubicBezTo>
                    <a:cubicBezTo>
                      <a:pt x="525" y="465"/>
                      <a:pt x="525" y="465"/>
                      <a:pt x="525" y="465"/>
                    </a:cubicBezTo>
                    <a:close/>
                    <a:moveTo>
                      <a:pt x="448" y="443"/>
                    </a:moveTo>
                    <a:cubicBezTo>
                      <a:pt x="447" y="442"/>
                      <a:pt x="447" y="441"/>
                      <a:pt x="447" y="439"/>
                    </a:cubicBezTo>
                    <a:cubicBezTo>
                      <a:pt x="448" y="441"/>
                      <a:pt x="449" y="441"/>
                      <a:pt x="449" y="443"/>
                    </a:cubicBezTo>
                    <a:cubicBezTo>
                      <a:pt x="448" y="443"/>
                      <a:pt x="448" y="443"/>
                      <a:pt x="448" y="443"/>
                    </a:cubicBezTo>
                    <a:close/>
                    <a:moveTo>
                      <a:pt x="509" y="545"/>
                    </a:moveTo>
                    <a:cubicBezTo>
                      <a:pt x="510" y="546"/>
                      <a:pt x="510" y="547"/>
                      <a:pt x="511" y="547"/>
                    </a:cubicBezTo>
                    <a:cubicBezTo>
                      <a:pt x="511" y="547"/>
                      <a:pt x="511" y="547"/>
                      <a:pt x="511" y="548"/>
                    </a:cubicBezTo>
                    <a:cubicBezTo>
                      <a:pt x="511" y="548"/>
                      <a:pt x="510" y="548"/>
                      <a:pt x="510" y="548"/>
                    </a:cubicBezTo>
                    <a:cubicBezTo>
                      <a:pt x="509" y="547"/>
                      <a:pt x="508" y="547"/>
                      <a:pt x="509" y="545"/>
                    </a:cubicBezTo>
                    <a:close/>
                    <a:moveTo>
                      <a:pt x="426" y="515"/>
                    </a:moveTo>
                    <a:cubicBezTo>
                      <a:pt x="426" y="515"/>
                      <a:pt x="425" y="515"/>
                      <a:pt x="424" y="515"/>
                    </a:cubicBezTo>
                    <a:cubicBezTo>
                      <a:pt x="424" y="516"/>
                      <a:pt x="423" y="515"/>
                      <a:pt x="423" y="515"/>
                    </a:cubicBezTo>
                    <a:cubicBezTo>
                      <a:pt x="423" y="514"/>
                      <a:pt x="424" y="514"/>
                      <a:pt x="424" y="514"/>
                    </a:cubicBezTo>
                    <a:cubicBezTo>
                      <a:pt x="425" y="514"/>
                      <a:pt x="426" y="515"/>
                      <a:pt x="426" y="515"/>
                    </a:cubicBezTo>
                    <a:close/>
                    <a:moveTo>
                      <a:pt x="418" y="438"/>
                    </a:moveTo>
                    <a:cubicBezTo>
                      <a:pt x="418" y="438"/>
                      <a:pt x="418" y="438"/>
                      <a:pt x="418" y="438"/>
                    </a:cubicBezTo>
                    <a:cubicBezTo>
                      <a:pt x="418" y="438"/>
                      <a:pt x="418" y="438"/>
                      <a:pt x="418" y="438"/>
                    </a:cubicBezTo>
                    <a:cubicBezTo>
                      <a:pt x="418" y="438"/>
                      <a:pt x="418" y="438"/>
                      <a:pt x="418" y="438"/>
                    </a:cubicBezTo>
                    <a:cubicBezTo>
                      <a:pt x="418" y="438"/>
                      <a:pt x="418" y="438"/>
                      <a:pt x="418" y="438"/>
                    </a:cubicBezTo>
                    <a:close/>
                    <a:moveTo>
                      <a:pt x="418" y="438"/>
                    </a:moveTo>
                    <a:cubicBezTo>
                      <a:pt x="418" y="437"/>
                      <a:pt x="417" y="437"/>
                      <a:pt x="417" y="437"/>
                    </a:cubicBezTo>
                    <a:cubicBezTo>
                      <a:pt x="417" y="436"/>
                      <a:pt x="417" y="436"/>
                      <a:pt x="417" y="436"/>
                    </a:cubicBezTo>
                    <a:cubicBezTo>
                      <a:pt x="417" y="436"/>
                      <a:pt x="417" y="436"/>
                      <a:pt x="418" y="436"/>
                    </a:cubicBezTo>
                    <a:cubicBezTo>
                      <a:pt x="418" y="436"/>
                      <a:pt x="418" y="436"/>
                      <a:pt x="418" y="436"/>
                    </a:cubicBezTo>
                    <a:cubicBezTo>
                      <a:pt x="419" y="436"/>
                      <a:pt x="419" y="437"/>
                      <a:pt x="419" y="437"/>
                    </a:cubicBezTo>
                    <a:cubicBezTo>
                      <a:pt x="419" y="438"/>
                      <a:pt x="418" y="438"/>
                      <a:pt x="418" y="438"/>
                    </a:cubicBezTo>
                    <a:close/>
                    <a:moveTo>
                      <a:pt x="492" y="486"/>
                    </a:moveTo>
                    <a:cubicBezTo>
                      <a:pt x="493" y="487"/>
                      <a:pt x="493" y="488"/>
                      <a:pt x="494" y="486"/>
                    </a:cubicBezTo>
                    <a:cubicBezTo>
                      <a:pt x="494" y="486"/>
                      <a:pt x="494" y="486"/>
                      <a:pt x="494" y="486"/>
                    </a:cubicBezTo>
                    <a:cubicBezTo>
                      <a:pt x="494" y="486"/>
                      <a:pt x="494" y="486"/>
                      <a:pt x="494" y="486"/>
                    </a:cubicBezTo>
                    <a:cubicBezTo>
                      <a:pt x="494" y="487"/>
                      <a:pt x="493" y="488"/>
                      <a:pt x="492" y="488"/>
                    </a:cubicBezTo>
                    <a:cubicBezTo>
                      <a:pt x="491" y="487"/>
                      <a:pt x="492" y="487"/>
                      <a:pt x="492" y="486"/>
                    </a:cubicBezTo>
                    <a:close/>
                    <a:moveTo>
                      <a:pt x="500" y="445"/>
                    </a:moveTo>
                    <a:cubicBezTo>
                      <a:pt x="500" y="445"/>
                      <a:pt x="500" y="445"/>
                      <a:pt x="500" y="445"/>
                    </a:cubicBezTo>
                    <a:cubicBezTo>
                      <a:pt x="500" y="445"/>
                      <a:pt x="500" y="445"/>
                      <a:pt x="500" y="445"/>
                    </a:cubicBezTo>
                    <a:close/>
                    <a:moveTo>
                      <a:pt x="500" y="445"/>
                    </a:moveTo>
                    <a:cubicBezTo>
                      <a:pt x="500" y="445"/>
                      <a:pt x="499" y="445"/>
                      <a:pt x="499" y="445"/>
                    </a:cubicBezTo>
                    <a:cubicBezTo>
                      <a:pt x="500" y="444"/>
                      <a:pt x="500" y="444"/>
                      <a:pt x="502" y="444"/>
                    </a:cubicBezTo>
                    <a:cubicBezTo>
                      <a:pt x="501" y="444"/>
                      <a:pt x="502" y="446"/>
                      <a:pt x="500" y="445"/>
                    </a:cubicBezTo>
                    <a:close/>
                    <a:moveTo>
                      <a:pt x="417" y="440"/>
                    </a:moveTo>
                    <a:cubicBezTo>
                      <a:pt x="417" y="440"/>
                      <a:pt x="417" y="440"/>
                      <a:pt x="416" y="439"/>
                    </a:cubicBezTo>
                    <a:cubicBezTo>
                      <a:pt x="416" y="439"/>
                      <a:pt x="417" y="439"/>
                      <a:pt x="417" y="438"/>
                    </a:cubicBezTo>
                    <a:cubicBezTo>
                      <a:pt x="417" y="438"/>
                      <a:pt x="418" y="438"/>
                      <a:pt x="418" y="438"/>
                    </a:cubicBezTo>
                    <a:cubicBezTo>
                      <a:pt x="418" y="438"/>
                      <a:pt x="418" y="438"/>
                      <a:pt x="418" y="439"/>
                    </a:cubicBezTo>
                    <a:cubicBezTo>
                      <a:pt x="418" y="439"/>
                      <a:pt x="418" y="440"/>
                      <a:pt x="417" y="440"/>
                    </a:cubicBezTo>
                    <a:close/>
                    <a:moveTo>
                      <a:pt x="416" y="360"/>
                    </a:moveTo>
                    <a:cubicBezTo>
                      <a:pt x="416" y="360"/>
                      <a:pt x="417" y="360"/>
                      <a:pt x="417" y="361"/>
                    </a:cubicBezTo>
                    <a:cubicBezTo>
                      <a:pt x="417" y="361"/>
                      <a:pt x="416" y="361"/>
                      <a:pt x="416" y="361"/>
                    </a:cubicBezTo>
                    <a:cubicBezTo>
                      <a:pt x="415" y="362"/>
                      <a:pt x="415" y="361"/>
                      <a:pt x="415" y="360"/>
                    </a:cubicBezTo>
                    <a:cubicBezTo>
                      <a:pt x="415" y="360"/>
                      <a:pt x="415" y="359"/>
                      <a:pt x="416" y="360"/>
                    </a:cubicBezTo>
                    <a:close/>
                    <a:moveTo>
                      <a:pt x="360" y="403"/>
                    </a:moveTo>
                    <a:cubicBezTo>
                      <a:pt x="361" y="403"/>
                      <a:pt x="362" y="403"/>
                      <a:pt x="362" y="404"/>
                    </a:cubicBezTo>
                    <a:cubicBezTo>
                      <a:pt x="362" y="404"/>
                      <a:pt x="362" y="405"/>
                      <a:pt x="362" y="405"/>
                    </a:cubicBezTo>
                    <a:cubicBezTo>
                      <a:pt x="360" y="405"/>
                      <a:pt x="360" y="404"/>
                      <a:pt x="360" y="403"/>
                    </a:cubicBezTo>
                    <a:close/>
                    <a:moveTo>
                      <a:pt x="360" y="403"/>
                    </a:moveTo>
                    <a:cubicBezTo>
                      <a:pt x="360" y="403"/>
                      <a:pt x="360" y="403"/>
                      <a:pt x="360" y="403"/>
                    </a:cubicBezTo>
                    <a:cubicBezTo>
                      <a:pt x="360" y="403"/>
                      <a:pt x="360" y="403"/>
                      <a:pt x="360" y="403"/>
                    </a:cubicBezTo>
                    <a:cubicBezTo>
                      <a:pt x="360" y="403"/>
                      <a:pt x="360" y="403"/>
                      <a:pt x="360" y="403"/>
                    </a:cubicBezTo>
                    <a:cubicBezTo>
                      <a:pt x="360" y="403"/>
                      <a:pt x="360" y="403"/>
                      <a:pt x="360" y="403"/>
                    </a:cubicBezTo>
                    <a:close/>
                    <a:moveTo>
                      <a:pt x="446" y="438"/>
                    </a:moveTo>
                    <a:cubicBezTo>
                      <a:pt x="445" y="438"/>
                      <a:pt x="444" y="438"/>
                      <a:pt x="444" y="437"/>
                    </a:cubicBezTo>
                    <a:cubicBezTo>
                      <a:pt x="443" y="437"/>
                      <a:pt x="444" y="436"/>
                      <a:pt x="444" y="436"/>
                    </a:cubicBezTo>
                    <a:cubicBezTo>
                      <a:pt x="445" y="436"/>
                      <a:pt x="445" y="437"/>
                      <a:pt x="446" y="438"/>
                    </a:cubicBezTo>
                    <a:close/>
                    <a:moveTo>
                      <a:pt x="529" y="488"/>
                    </a:moveTo>
                    <a:cubicBezTo>
                      <a:pt x="529" y="489"/>
                      <a:pt x="529" y="489"/>
                      <a:pt x="528" y="489"/>
                    </a:cubicBezTo>
                    <a:cubicBezTo>
                      <a:pt x="528" y="489"/>
                      <a:pt x="527" y="488"/>
                      <a:pt x="527" y="488"/>
                    </a:cubicBezTo>
                    <a:cubicBezTo>
                      <a:pt x="527" y="487"/>
                      <a:pt x="527" y="487"/>
                      <a:pt x="528" y="487"/>
                    </a:cubicBezTo>
                    <a:cubicBezTo>
                      <a:pt x="528" y="487"/>
                      <a:pt x="529" y="487"/>
                      <a:pt x="529" y="488"/>
                    </a:cubicBezTo>
                    <a:close/>
                    <a:moveTo>
                      <a:pt x="390" y="415"/>
                    </a:moveTo>
                    <a:cubicBezTo>
                      <a:pt x="390" y="415"/>
                      <a:pt x="390" y="414"/>
                      <a:pt x="390" y="414"/>
                    </a:cubicBezTo>
                    <a:cubicBezTo>
                      <a:pt x="391" y="414"/>
                      <a:pt x="392" y="415"/>
                      <a:pt x="392" y="415"/>
                    </a:cubicBezTo>
                    <a:cubicBezTo>
                      <a:pt x="392" y="416"/>
                      <a:pt x="392" y="416"/>
                      <a:pt x="392" y="416"/>
                    </a:cubicBezTo>
                    <a:cubicBezTo>
                      <a:pt x="391" y="416"/>
                      <a:pt x="391" y="415"/>
                      <a:pt x="390" y="415"/>
                    </a:cubicBezTo>
                    <a:close/>
                    <a:moveTo>
                      <a:pt x="519" y="460"/>
                    </a:moveTo>
                    <a:cubicBezTo>
                      <a:pt x="520" y="460"/>
                      <a:pt x="521" y="460"/>
                      <a:pt x="521" y="461"/>
                    </a:cubicBezTo>
                    <a:cubicBezTo>
                      <a:pt x="521" y="461"/>
                      <a:pt x="520" y="461"/>
                      <a:pt x="520" y="461"/>
                    </a:cubicBezTo>
                    <a:cubicBezTo>
                      <a:pt x="519" y="461"/>
                      <a:pt x="519" y="461"/>
                      <a:pt x="518" y="460"/>
                    </a:cubicBezTo>
                    <a:cubicBezTo>
                      <a:pt x="518" y="460"/>
                      <a:pt x="519" y="459"/>
                      <a:pt x="519" y="460"/>
                    </a:cubicBezTo>
                    <a:close/>
                    <a:moveTo>
                      <a:pt x="453" y="378"/>
                    </a:moveTo>
                    <a:cubicBezTo>
                      <a:pt x="453" y="378"/>
                      <a:pt x="453" y="378"/>
                      <a:pt x="453" y="377"/>
                    </a:cubicBezTo>
                    <a:cubicBezTo>
                      <a:pt x="454" y="377"/>
                      <a:pt x="454" y="376"/>
                      <a:pt x="455" y="376"/>
                    </a:cubicBezTo>
                    <a:cubicBezTo>
                      <a:pt x="455" y="376"/>
                      <a:pt x="455" y="376"/>
                      <a:pt x="455" y="376"/>
                    </a:cubicBezTo>
                    <a:cubicBezTo>
                      <a:pt x="454" y="377"/>
                      <a:pt x="455" y="378"/>
                      <a:pt x="454" y="378"/>
                    </a:cubicBezTo>
                    <a:cubicBezTo>
                      <a:pt x="454" y="378"/>
                      <a:pt x="454" y="378"/>
                      <a:pt x="454" y="378"/>
                    </a:cubicBezTo>
                    <a:cubicBezTo>
                      <a:pt x="453" y="378"/>
                      <a:pt x="453" y="378"/>
                      <a:pt x="453" y="378"/>
                    </a:cubicBezTo>
                    <a:close/>
                    <a:moveTo>
                      <a:pt x="487" y="434"/>
                    </a:moveTo>
                    <a:cubicBezTo>
                      <a:pt x="489" y="433"/>
                      <a:pt x="490" y="435"/>
                      <a:pt x="491" y="435"/>
                    </a:cubicBezTo>
                    <a:cubicBezTo>
                      <a:pt x="490" y="435"/>
                      <a:pt x="489" y="434"/>
                      <a:pt x="487" y="434"/>
                    </a:cubicBezTo>
                    <a:close/>
                    <a:moveTo>
                      <a:pt x="413" y="360"/>
                    </a:moveTo>
                    <a:cubicBezTo>
                      <a:pt x="413" y="361"/>
                      <a:pt x="413" y="361"/>
                      <a:pt x="412" y="361"/>
                    </a:cubicBezTo>
                    <a:cubicBezTo>
                      <a:pt x="412" y="361"/>
                      <a:pt x="412" y="361"/>
                      <a:pt x="411" y="360"/>
                    </a:cubicBezTo>
                    <a:cubicBezTo>
                      <a:pt x="411" y="360"/>
                      <a:pt x="411" y="359"/>
                      <a:pt x="412" y="359"/>
                    </a:cubicBezTo>
                    <a:cubicBezTo>
                      <a:pt x="412" y="360"/>
                      <a:pt x="413" y="360"/>
                      <a:pt x="413" y="360"/>
                    </a:cubicBezTo>
                    <a:close/>
                    <a:moveTo>
                      <a:pt x="370" y="364"/>
                    </a:moveTo>
                    <a:cubicBezTo>
                      <a:pt x="370" y="364"/>
                      <a:pt x="370" y="364"/>
                      <a:pt x="369" y="364"/>
                    </a:cubicBezTo>
                    <a:cubicBezTo>
                      <a:pt x="369" y="364"/>
                      <a:pt x="368" y="364"/>
                      <a:pt x="368" y="363"/>
                    </a:cubicBezTo>
                    <a:cubicBezTo>
                      <a:pt x="368" y="363"/>
                      <a:pt x="369" y="363"/>
                      <a:pt x="369" y="363"/>
                    </a:cubicBezTo>
                    <a:cubicBezTo>
                      <a:pt x="369" y="363"/>
                      <a:pt x="370" y="363"/>
                      <a:pt x="370" y="364"/>
                    </a:cubicBezTo>
                    <a:close/>
                    <a:moveTo>
                      <a:pt x="493" y="419"/>
                    </a:moveTo>
                    <a:cubicBezTo>
                      <a:pt x="494" y="419"/>
                      <a:pt x="494" y="419"/>
                      <a:pt x="494" y="419"/>
                    </a:cubicBezTo>
                    <a:cubicBezTo>
                      <a:pt x="493" y="419"/>
                      <a:pt x="493" y="420"/>
                      <a:pt x="492" y="420"/>
                    </a:cubicBezTo>
                    <a:cubicBezTo>
                      <a:pt x="492" y="420"/>
                      <a:pt x="492" y="420"/>
                      <a:pt x="492" y="420"/>
                    </a:cubicBezTo>
                    <a:cubicBezTo>
                      <a:pt x="492" y="419"/>
                      <a:pt x="493" y="419"/>
                      <a:pt x="493" y="419"/>
                    </a:cubicBezTo>
                    <a:close/>
                    <a:moveTo>
                      <a:pt x="524" y="466"/>
                    </a:move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lose/>
                    <a:moveTo>
                      <a:pt x="524" y="466"/>
                    </a:moveTo>
                    <a:cubicBezTo>
                      <a:pt x="524" y="466"/>
                      <a:pt x="524" y="466"/>
                      <a:pt x="524" y="466"/>
                    </a:cubicBezTo>
                    <a:cubicBezTo>
                      <a:pt x="523" y="466"/>
                      <a:pt x="523" y="467"/>
                      <a:pt x="523" y="466"/>
                    </a:cubicBezTo>
                    <a:cubicBezTo>
                      <a:pt x="523" y="465"/>
                      <a:pt x="522" y="465"/>
                      <a:pt x="523" y="465"/>
                    </a:cubicBezTo>
                    <a:cubicBezTo>
                      <a:pt x="524" y="465"/>
                      <a:pt x="524" y="465"/>
                      <a:pt x="524" y="466"/>
                    </a:cubicBezTo>
                    <a:close/>
                    <a:moveTo>
                      <a:pt x="386" y="486"/>
                    </a:moveTo>
                    <a:cubicBezTo>
                      <a:pt x="385" y="486"/>
                      <a:pt x="385" y="486"/>
                      <a:pt x="385" y="485"/>
                    </a:cubicBezTo>
                    <a:cubicBezTo>
                      <a:pt x="385" y="485"/>
                      <a:pt x="386" y="485"/>
                      <a:pt x="386" y="485"/>
                    </a:cubicBezTo>
                    <a:cubicBezTo>
                      <a:pt x="387" y="485"/>
                      <a:pt x="387" y="485"/>
                      <a:pt x="387" y="485"/>
                    </a:cubicBezTo>
                    <a:cubicBezTo>
                      <a:pt x="387" y="486"/>
                      <a:pt x="386" y="486"/>
                      <a:pt x="386" y="486"/>
                    </a:cubicBezTo>
                    <a:close/>
                    <a:moveTo>
                      <a:pt x="443" y="365"/>
                    </a:moveTo>
                    <a:cubicBezTo>
                      <a:pt x="443" y="365"/>
                      <a:pt x="444" y="364"/>
                      <a:pt x="444" y="364"/>
                    </a:cubicBezTo>
                    <a:cubicBezTo>
                      <a:pt x="444" y="364"/>
                      <a:pt x="445" y="364"/>
                      <a:pt x="445" y="365"/>
                    </a:cubicBezTo>
                    <a:cubicBezTo>
                      <a:pt x="444" y="365"/>
                      <a:pt x="444" y="365"/>
                      <a:pt x="444" y="366"/>
                    </a:cubicBezTo>
                    <a:cubicBezTo>
                      <a:pt x="443" y="366"/>
                      <a:pt x="443" y="365"/>
                      <a:pt x="443" y="365"/>
                    </a:cubicBezTo>
                    <a:close/>
                    <a:moveTo>
                      <a:pt x="490" y="437"/>
                    </a:moveTo>
                    <a:cubicBezTo>
                      <a:pt x="490" y="437"/>
                      <a:pt x="491" y="436"/>
                      <a:pt x="492" y="437"/>
                    </a:cubicBezTo>
                    <a:cubicBezTo>
                      <a:pt x="492" y="437"/>
                      <a:pt x="491" y="437"/>
                      <a:pt x="491" y="437"/>
                    </a:cubicBezTo>
                    <a:cubicBezTo>
                      <a:pt x="491" y="438"/>
                      <a:pt x="490" y="437"/>
                      <a:pt x="490" y="437"/>
                    </a:cubicBezTo>
                    <a:close/>
                    <a:moveTo>
                      <a:pt x="459" y="519"/>
                    </a:moveTo>
                    <a:cubicBezTo>
                      <a:pt x="459" y="520"/>
                      <a:pt x="459" y="520"/>
                      <a:pt x="459" y="520"/>
                    </a:cubicBezTo>
                    <a:cubicBezTo>
                      <a:pt x="458" y="520"/>
                      <a:pt x="458" y="519"/>
                      <a:pt x="458" y="519"/>
                    </a:cubicBezTo>
                    <a:cubicBezTo>
                      <a:pt x="458" y="519"/>
                      <a:pt x="458" y="519"/>
                      <a:pt x="458" y="518"/>
                    </a:cubicBezTo>
                    <a:cubicBezTo>
                      <a:pt x="459" y="518"/>
                      <a:pt x="459" y="519"/>
                      <a:pt x="459" y="519"/>
                    </a:cubicBezTo>
                    <a:close/>
                    <a:moveTo>
                      <a:pt x="469" y="387"/>
                    </a:moveTo>
                    <a:cubicBezTo>
                      <a:pt x="469" y="388"/>
                      <a:pt x="469" y="389"/>
                      <a:pt x="468" y="389"/>
                    </a:cubicBezTo>
                    <a:cubicBezTo>
                      <a:pt x="468" y="388"/>
                      <a:pt x="468" y="388"/>
                      <a:pt x="469" y="387"/>
                    </a:cubicBezTo>
                    <a:close/>
                    <a:moveTo>
                      <a:pt x="498" y="496"/>
                    </a:moveTo>
                    <a:cubicBezTo>
                      <a:pt x="498" y="497"/>
                      <a:pt x="498" y="497"/>
                      <a:pt x="497" y="498"/>
                    </a:cubicBezTo>
                    <a:cubicBezTo>
                      <a:pt x="497" y="497"/>
                      <a:pt x="497" y="497"/>
                      <a:pt x="498" y="496"/>
                    </a:cubicBezTo>
                    <a:close/>
                    <a:moveTo>
                      <a:pt x="529" y="485"/>
                    </a:moveTo>
                    <a:cubicBezTo>
                      <a:pt x="529" y="485"/>
                      <a:pt x="529" y="485"/>
                      <a:pt x="529" y="485"/>
                    </a:cubicBezTo>
                    <a:cubicBezTo>
                      <a:pt x="529" y="485"/>
                      <a:pt x="528" y="485"/>
                      <a:pt x="528" y="484"/>
                    </a:cubicBezTo>
                    <a:cubicBezTo>
                      <a:pt x="528" y="484"/>
                      <a:pt x="529" y="484"/>
                      <a:pt x="529" y="484"/>
                    </a:cubicBezTo>
                    <a:cubicBezTo>
                      <a:pt x="529" y="484"/>
                      <a:pt x="529" y="484"/>
                      <a:pt x="529" y="485"/>
                    </a:cubicBezTo>
                    <a:close/>
                    <a:moveTo>
                      <a:pt x="529" y="479"/>
                    </a:moveTo>
                    <a:cubicBezTo>
                      <a:pt x="528" y="479"/>
                      <a:pt x="528" y="479"/>
                      <a:pt x="527" y="479"/>
                    </a:cubicBezTo>
                    <a:cubicBezTo>
                      <a:pt x="528" y="478"/>
                      <a:pt x="528" y="478"/>
                      <a:pt x="529" y="478"/>
                    </a:cubicBezTo>
                    <a:cubicBezTo>
                      <a:pt x="529" y="479"/>
                      <a:pt x="529" y="479"/>
                      <a:pt x="529" y="479"/>
                    </a:cubicBezTo>
                    <a:close/>
                    <a:moveTo>
                      <a:pt x="517" y="457"/>
                    </a:moveTo>
                    <a:cubicBezTo>
                      <a:pt x="517" y="456"/>
                      <a:pt x="517" y="456"/>
                      <a:pt x="517" y="455"/>
                    </a:cubicBezTo>
                    <a:cubicBezTo>
                      <a:pt x="518" y="455"/>
                      <a:pt x="518" y="456"/>
                      <a:pt x="518" y="456"/>
                    </a:cubicBezTo>
                    <a:cubicBezTo>
                      <a:pt x="518" y="456"/>
                      <a:pt x="518" y="456"/>
                      <a:pt x="518" y="456"/>
                    </a:cubicBezTo>
                    <a:cubicBezTo>
                      <a:pt x="519" y="457"/>
                      <a:pt x="518" y="457"/>
                      <a:pt x="518" y="457"/>
                    </a:cubicBezTo>
                    <a:cubicBezTo>
                      <a:pt x="517" y="457"/>
                      <a:pt x="517" y="457"/>
                      <a:pt x="517" y="457"/>
                    </a:cubicBezTo>
                    <a:close/>
                    <a:moveTo>
                      <a:pt x="455" y="512"/>
                    </a:moveTo>
                    <a:cubicBezTo>
                      <a:pt x="454" y="512"/>
                      <a:pt x="454" y="512"/>
                      <a:pt x="454" y="512"/>
                    </a:cubicBezTo>
                    <a:cubicBezTo>
                      <a:pt x="454" y="512"/>
                      <a:pt x="453" y="512"/>
                      <a:pt x="454" y="512"/>
                    </a:cubicBezTo>
                    <a:cubicBezTo>
                      <a:pt x="454" y="512"/>
                      <a:pt x="454" y="511"/>
                      <a:pt x="454" y="511"/>
                    </a:cubicBezTo>
                    <a:cubicBezTo>
                      <a:pt x="454" y="511"/>
                      <a:pt x="455" y="511"/>
                      <a:pt x="455" y="512"/>
                    </a:cubicBezTo>
                    <a:close/>
                    <a:moveTo>
                      <a:pt x="504" y="446"/>
                    </a:moveTo>
                    <a:cubicBezTo>
                      <a:pt x="504" y="447"/>
                      <a:pt x="504" y="447"/>
                      <a:pt x="504" y="447"/>
                    </a:cubicBezTo>
                    <a:cubicBezTo>
                      <a:pt x="503" y="447"/>
                      <a:pt x="503" y="447"/>
                      <a:pt x="504" y="446"/>
                    </a:cubicBezTo>
                    <a:close/>
                    <a:moveTo>
                      <a:pt x="419" y="444"/>
                    </a:moveTo>
                    <a:cubicBezTo>
                      <a:pt x="419" y="444"/>
                      <a:pt x="419" y="444"/>
                      <a:pt x="419" y="444"/>
                    </a:cubicBezTo>
                    <a:cubicBezTo>
                      <a:pt x="418" y="444"/>
                      <a:pt x="418" y="444"/>
                      <a:pt x="418" y="444"/>
                    </a:cubicBezTo>
                    <a:cubicBezTo>
                      <a:pt x="418" y="443"/>
                      <a:pt x="418" y="443"/>
                      <a:pt x="418" y="443"/>
                    </a:cubicBezTo>
                    <a:cubicBezTo>
                      <a:pt x="419" y="443"/>
                      <a:pt x="419" y="444"/>
                      <a:pt x="419" y="444"/>
                    </a:cubicBezTo>
                    <a:close/>
                    <a:moveTo>
                      <a:pt x="505" y="446"/>
                    </a:moveTo>
                    <a:cubicBezTo>
                      <a:pt x="505" y="446"/>
                      <a:pt x="505" y="445"/>
                      <a:pt x="506" y="445"/>
                    </a:cubicBezTo>
                    <a:cubicBezTo>
                      <a:pt x="506" y="445"/>
                      <a:pt x="506" y="446"/>
                      <a:pt x="506" y="446"/>
                    </a:cubicBezTo>
                    <a:cubicBezTo>
                      <a:pt x="506" y="446"/>
                      <a:pt x="506" y="446"/>
                      <a:pt x="506" y="446"/>
                    </a:cubicBezTo>
                    <a:cubicBezTo>
                      <a:pt x="506" y="446"/>
                      <a:pt x="505" y="446"/>
                      <a:pt x="505" y="446"/>
                    </a:cubicBezTo>
                    <a:close/>
                    <a:moveTo>
                      <a:pt x="422" y="414"/>
                    </a:moveTo>
                    <a:cubicBezTo>
                      <a:pt x="421" y="413"/>
                      <a:pt x="421" y="413"/>
                      <a:pt x="422" y="412"/>
                    </a:cubicBezTo>
                    <a:cubicBezTo>
                      <a:pt x="422" y="413"/>
                      <a:pt x="422" y="413"/>
                      <a:pt x="422" y="414"/>
                    </a:cubicBezTo>
                    <a:close/>
                    <a:moveTo>
                      <a:pt x="497" y="441"/>
                    </a:moveTo>
                    <a:cubicBezTo>
                      <a:pt x="497" y="441"/>
                      <a:pt x="498" y="441"/>
                      <a:pt x="498" y="442"/>
                    </a:cubicBezTo>
                    <a:cubicBezTo>
                      <a:pt x="498" y="442"/>
                      <a:pt x="498" y="442"/>
                      <a:pt x="498" y="442"/>
                    </a:cubicBezTo>
                    <a:cubicBezTo>
                      <a:pt x="497" y="442"/>
                      <a:pt x="497" y="442"/>
                      <a:pt x="497" y="441"/>
                    </a:cubicBezTo>
                    <a:close/>
                    <a:moveTo>
                      <a:pt x="497" y="441"/>
                    </a:moveTo>
                    <a:cubicBezTo>
                      <a:pt x="497" y="441"/>
                      <a:pt x="497" y="441"/>
                      <a:pt x="497" y="441"/>
                    </a:cubicBezTo>
                    <a:cubicBezTo>
                      <a:pt x="497" y="441"/>
                      <a:pt x="497" y="441"/>
                      <a:pt x="497" y="441"/>
                    </a:cubicBezTo>
                    <a:cubicBezTo>
                      <a:pt x="497" y="441"/>
                      <a:pt x="497" y="441"/>
                      <a:pt x="497" y="441"/>
                    </a:cubicBezTo>
                    <a:cubicBezTo>
                      <a:pt x="497" y="441"/>
                      <a:pt x="497" y="441"/>
                      <a:pt x="497" y="441"/>
                    </a:cubicBezTo>
                    <a:cubicBezTo>
                      <a:pt x="497" y="441"/>
                      <a:pt x="497" y="441"/>
                      <a:pt x="497" y="441"/>
                    </a:cubicBezTo>
                    <a:close/>
                    <a:moveTo>
                      <a:pt x="506" y="484"/>
                    </a:moveTo>
                    <a:cubicBezTo>
                      <a:pt x="506" y="484"/>
                      <a:pt x="507" y="485"/>
                      <a:pt x="506" y="485"/>
                    </a:cubicBezTo>
                    <a:cubicBezTo>
                      <a:pt x="506" y="485"/>
                      <a:pt x="506" y="485"/>
                      <a:pt x="506" y="485"/>
                    </a:cubicBezTo>
                    <a:cubicBezTo>
                      <a:pt x="506" y="485"/>
                      <a:pt x="506" y="485"/>
                      <a:pt x="506" y="485"/>
                    </a:cubicBezTo>
                    <a:cubicBezTo>
                      <a:pt x="506" y="485"/>
                      <a:pt x="506" y="485"/>
                      <a:pt x="506" y="484"/>
                    </a:cubicBezTo>
                    <a:close/>
                    <a:moveTo>
                      <a:pt x="497" y="493"/>
                    </a:moveTo>
                    <a:cubicBezTo>
                      <a:pt x="497" y="494"/>
                      <a:pt x="497" y="494"/>
                      <a:pt x="497" y="494"/>
                    </a:cubicBezTo>
                    <a:cubicBezTo>
                      <a:pt x="497" y="494"/>
                      <a:pt x="497" y="494"/>
                      <a:pt x="497" y="494"/>
                    </a:cubicBezTo>
                    <a:cubicBezTo>
                      <a:pt x="497" y="494"/>
                      <a:pt x="496" y="494"/>
                      <a:pt x="496" y="494"/>
                    </a:cubicBezTo>
                    <a:cubicBezTo>
                      <a:pt x="496" y="494"/>
                      <a:pt x="497" y="494"/>
                      <a:pt x="497" y="493"/>
                    </a:cubicBezTo>
                    <a:close/>
                    <a:moveTo>
                      <a:pt x="507" y="447"/>
                    </a:moveTo>
                    <a:cubicBezTo>
                      <a:pt x="506" y="447"/>
                      <a:pt x="507" y="447"/>
                      <a:pt x="507" y="447"/>
                    </a:cubicBezTo>
                    <a:cubicBezTo>
                      <a:pt x="507" y="447"/>
                      <a:pt x="507" y="447"/>
                      <a:pt x="507" y="447"/>
                    </a:cubicBezTo>
                    <a:cubicBezTo>
                      <a:pt x="507" y="447"/>
                      <a:pt x="507" y="448"/>
                      <a:pt x="507" y="448"/>
                    </a:cubicBezTo>
                    <a:cubicBezTo>
                      <a:pt x="507" y="448"/>
                      <a:pt x="507" y="447"/>
                      <a:pt x="507" y="447"/>
                    </a:cubicBezTo>
                    <a:close/>
                    <a:moveTo>
                      <a:pt x="370" y="365"/>
                    </a:moveTo>
                    <a:cubicBezTo>
                      <a:pt x="370" y="365"/>
                      <a:pt x="371" y="364"/>
                      <a:pt x="371" y="364"/>
                    </a:cubicBezTo>
                    <a:cubicBezTo>
                      <a:pt x="371" y="364"/>
                      <a:pt x="371" y="364"/>
                      <a:pt x="371" y="364"/>
                    </a:cubicBezTo>
                    <a:cubicBezTo>
                      <a:pt x="371" y="365"/>
                      <a:pt x="371" y="365"/>
                      <a:pt x="371" y="365"/>
                    </a:cubicBezTo>
                    <a:cubicBezTo>
                      <a:pt x="371" y="365"/>
                      <a:pt x="370" y="365"/>
                      <a:pt x="370" y="365"/>
                    </a:cubicBezTo>
                    <a:close/>
                    <a:moveTo>
                      <a:pt x="508" y="449"/>
                    </a:moveTo>
                    <a:cubicBezTo>
                      <a:pt x="508" y="449"/>
                      <a:pt x="508" y="449"/>
                      <a:pt x="508" y="449"/>
                    </a:cubicBezTo>
                    <a:cubicBezTo>
                      <a:pt x="508" y="449"/>
                      <a:pt x="508" y="449"/>
                      <a:pt x="508" y="449"/>
                    </a:cubicBezTo>
                    <a:cubicBezTo>
                      <a:pt x="508" y="449"/>
                      <a:pt x="508" y="449"/>
                      <a:pt x="508" y="449"/>
                    </a:cubicBezTo>
                    <a:cubicBezTo>
                      <a:pt x="508" y="449"/>
                      <a:pt x="508" y="449"/>
                      <a:pt x="508" y="449"/>
                    </a:cubicBezTo>
                    <a:cubicBezTo>
                      <a:pt x="508" y="449"/>
                      <a:pt x="508" y="449"/>
                      <a:pt x="508" y="449"/>
                    </a:cubicBezTo>
                    <a:close/>
                    <a:moveTo>
                      <a:pt x="508" y="449"/>
                    </a:moveTo>
                    <a:cubicBezTo>
                      <a:pt x="508" y="449"/>
                      <a:pt x="507" y="449"/>
                      <a:pt x="508" y="449"/>
                    </a:cubicBezTo>
                    <a:cubicBezTo>
                      <a:pt x="508" y="449"/>
                      <a:pt x="508" y="448"/>
                      <a:pt x="508" y="449"/>
                    </a:cubicBezTo>
                    <a:cubicBezTo>
                      <a:pt x="508" y="449"/>
                      <a:pt x="508" y="449"/>
                      <a:pt x="508" y="449"/>
                    </a:cubicBezTo>
                    <a:close/>
                    <a:moveTo>
                      <a:pt x="504" y="547"/>
                    </a:moveTo>
                    <a:cubicBezTo>
                      <a:pt x="504" y="547"/>
                      <a:pt x="504" y="548"/>
                      <a:pt x="504" y="548"/>
                    </a:cubicBezTo>
                    <a:cubicBezTo>
                      <a:pt x="504" y="547"/>
                      <a:pt x="504" y="547"/>
                      <a:pt x="504" y="547"/>
                    </a:cubicBezTo>
                    <a:cubicBezTo>
                      <a:pt x="504" y="547"/>
                      <a:pt x="504" y="547"/>
                      <a:pt x="504" y="547"/>
                    </a:cubicBezTo>
                    <a:cubicBezTo>
                      <a:pt x="504" y="547"/>
                      <a:pt x="505" y="547"/>
                      <a:pt x="504" y="547"/>
                    </a:cubicBezTo>
                    <a:close/>
                    <a:moveTo>
                      <a:pt x="504" y="543"/>
                    </a:moveTo>
                    <a:cubicBezTo>
                      <a:pt x="504" y="543"/>
                      <a:pt x="504" y="543"/>
                      <a:pt x="504" y="543"/>
                    </a:cubicBezTo>
                    <a:cubicBezTo>
                      <a:pt x="504" y="542"/>
                      <a:pt x="504" y="542"/>
                      <a:pt x="504" y="542"/>
                    </a:cubicBezTo>
                    <a:cubicBezTo>
                      <a:pt x="504" y="542"/>
                      <a:pt x="504" y="542"/>
                      <a:pt x="504" y="543"/>
                    </a:cubicBezTo>
                    <a:cubicBezTo>
                      <a:pt x="504" y="543"/>
                      <a:pt x="504" y="543"/>
                      <a:pt x="504" y="543"/>
                    </a:cubicBezTo>
                    <a:close/>
                    <a:moveTo>
                      <a:pt x="453" y="510"/>
                    </a:moveTo>
                    <a:cubicBezTo>
                      <a:pt x="453" y="510"/>
                      <a:pt x="453" y="510"/>
                      <a:pt x="453" y="510"/>
                    </a:cubicBezTo>
                    <a:cubicBezTo>
                      <a:pt x="453" y="510"/>
                      <a:pt x="453" y="511"/>
                      <a:pt x="453" y="511"/>
                    </a:cubicBezTo>
                    <a:cubicBezTo>
                      <a:pt x="453" y="511"/>
                      <a:pt x="453" y="510"/>
                      <a:pt x="452" y="510"/>
                    </a:cubicBezTo>
                    <a:cubicBezTo>
                      <a:pt x="453" y="510"/>
                      <a:pt x="453" y="510"/>
                      <a:pt x="453" y="510"/>
                    </a:cubicBezTo>
                    <a:close/>
                    <a:moveTo>
                      <a:pt x="517" y="520"/>
                    </a:moveTo>
                    <a:cubicBezTo>
                      <a:pt x="517" y="520"/>
                      <a:pt x="517" y="520"/>
                      <a:pt x="517" y="520"/>
                    </a:cubicBezTo>
                    <a:cubicBezTo>
                      <a:pt x="517" y="520"/>
                      <a:pt x="517" y="521"/>
                      <a:pt x="517" y="521"/>
                    </a:cubicBezTo>
                    <a:cubicBezTo>
                      <a:pt x="516" y="521"/>
                      <a:pt x="516" y="521"/>
                      <a:pt x="516" y="520"/>
                    </a:cubicBezTo>
                    <a:cubicBezTo>
                      <a:pt x="516" y="520"/>
                      <a:pt x="516" y="520"/>
                      <a:pt x="517" y="520"/>
                    </a:cubicBezTo>
                    <a:close/>
                    <a:moveTo>
                      <a:pt x="527" y="489"/>
                    </a:moveTo>
                    <a:cubicBezTo>
                      <a:pt x="527" y="490"/>
                      <a:pt x="527" y="490"/>
                      <a:pt x="527" y="490"/>
                    </a:cubicBezTo>
                    <a:cubicBezTo>
                      <a:pt x="527" y="490"/>
                      <a:pt x="527" y="489"/>
                      <a:pt x="527" y="489"/>
                    </a:cubicBezTo>
                    <a:cubicBezTo>
                      <a:pt x="527" y="489"/>
                      <a:pt x="527" y="489"/>
                      <a:pt x="527" y="489"/>
                    </a:cubicBezTo>
                    <a:cubicBezTo>
                      <a:pt x="527" y="489"/>
                      <a:pt x="527" y="489"/>
                      <a:pt x="527" y="489"/>
                    </a:cubicBezTo>
                    <a:close/>
                    <a:moveTo>
                      <a:pt x="518" y="458"/>
                    </a:moveTo>
                    <a:cubicBezTo>
                      <a:pt x="518" y="458"/>
                      <a:pt x="518" y="458"/>
                      <a:pt x="518" y="458"/>
                    </a:cubicBezTo>
                    <a:cubicBezTo>
                      <a:pt x="518" y="458"/>
                      <a:pt x="518" y="458"/>
                      <a:pt x="518" y="458"/>
                    </a:cubicBezTo>
                    <a:cubicBezTo>
                      <a:pt x="518" y="458"/>
                      <a:pt x="518" y="458"/>
                      <a:pt x="518" y="458"/>
                    </a:cubicBezTo>
                    <a:cubicBezTo>
                      <a:pt x="518" y="458"/>
                      <a:pt x="518" y="458"/>
                      <a:pt x="518" y="458"/>
                    </a:cubicBezTo>
                    <a:close/>
                    <a:moveTo>
                      <a:pt x="300" y="358"/>
                    </a:moveTo>
                    <a:cubicBezTo>
                      <a:pt x="299" y="357"/>
                      <a:pt x="299" y="355"/>
                      <a:pt x="298" y="353"/>
                    </a:cubicBezTo>
                    <a:cubicBezTo>
                      <a:pt x="297" y="354"/>
                      <a:pt x="295" y="354"/>
                      <a:pt x="295" y="355"/>
                    </a:cubicBezTo>
                    <a:cubicBezTo>
                      <a:pt x="295" y="356"/>
                      <a:pt x="294" y="356"/>
                      <a:pt x="294" y="355"/>
                    </a:cubicBezTo>
                    <a:cubicBezTo>
                      <a:pt x="294" y="355"/>
                      <a:pt x="294" y="354"/>
                      <a:pt x="295" y="354"/>
                    </a:cubicBezTo>
                    <a:cubicBezTo>
                      <a:pt x="295" y="354"/>
                      <a:pt x="295" y="353"/>
                      <a:pt x="295" y="353"/>
                    </a:cubicBezTo>
                    <a:cubicBezTo>
                      <a:pt x="294" y="352"/>
                      <a:pt x="294" y="350"/>
                      <a:pt x="292" y="350"/>
                    </a:cubicBezTo>
                    <a:cubicBezTo>
                      <a:pt x="293" y="350"/>
                      <a:pt x="294" y="349"/>
                      <a:pt x="294" y="348"/>
                    </a:cubicBezTo>
                    <a:cubicBezTo>
                      <a:pt x="293" y="347"/>
                      <a:pt x="290" y="346"/>
                      <a:pt x="289" y="346"/>
                    </a:cubicBezTo>
                    <a:cubicBezTo>
                      <a:pt x="287" y="347"/>
                      <a:pt x="287" y="348"/>
                      <a:pt x="286" y="350"/>
                    </a:cubicBezTo>
                    <a:cubicBezTo>
                      <a:pt x="286" y="348"/>
                      <a:pt x="285" y="346"/>
                      <a:pt x="287" y="345"/>
                    </a:cubicBezTo>
                    <a:cubicBezTo>
                      <a:pt x="287" y="345"/>
                      <a:pt x="287" y="344"/>
                      <a:pt x="288" y="344"/>
                    </a:cubicBezTo>
                    <a:cubicBezTo>
                      <a:pt x="289" y="342"/>
                      <a:pt x="290" y="339"/>
                      <a:pt x="294" y="338"/>
                    </a:cubicBezTo>
                    <a:cubicBezTo>
                      <a:pt x="294" y="338"/>
                      <a:pt x="294" y="338"/>
                      <a:pt x="294" y="338"/>
                    </a:cubicBezTo>
                    <a:cubicBezTo>
                      <a:pt x="295" y="336"/>
                      <a:pt x="293" y="335"/>
                      <a:pt x="292" y="336"/>
                    </a:cubicBezTo>
                    <a:cubicBezTo>
                      <a:pt x="291" y="336"/>
                      <a:pt x="291" y="336"/>
                      <a:pt x="291" y="335"/>
                    </a:cubicBezTo>
                    <a:cubicBezTo>
                      <a:pt x="291" y="335"/>
                      <a:pt x="291" y="334"/>
                      <a:pt x="291" y="334"/>
                    </a:cubicBezTo>
                    <a:cubicBezTo>
                      <a:pt x="292" y="334"/>
                      <a:pt x="292" y="335"/>
                      <a:pt x="292" y="335"/>
                    </a:cubicBezTo>
                    <a:cubicBezTo>
                      <a:pt x="292" y="334"/>
                      <a:pt x="292" y="333"/>
                      <a:pt x="293" y="334"/>
                    </a:cubicBezTo>
                    <a:cubicBezTo>
                      <a:pt x="294" y="334"/>
                      <a:pt x="295" y="333"/>
                      <a:pt x="295" y="332"/>
                    </a:cubicBezTo>
                    <a:cubicBezTo>
                      <a:pt x="296" y="331"/>
                      <a:pt x="296" y="330"/>
                      <a:pt x="296" y="330"/>
                    </a:cubicBezTo>
                    <a:cubicBezTo>
                      <a:pt x="294" y="329"/>
                      <a:pt x="294" y="326"/>
                      <a:pt x="292" y="326"/>
                    </a:cubicBezTo>
                    <a:cubicBezTo>
                      <a:pt x="291" y="326"/>
                      <a:pt x="289" y="325"/>
                      <a:pt x="289" y="327"/>
                    </a:cubicBezTo>
                    <a:cubicBezTo>
                      <a:pt x="288" y="327"/>
                      <a:pt x="288" y="327"/>
                      <a:pt x="288" y="328"/>
                    </a:cubicBezTo>
                    <a:cubicBezTo>
                      <a:pt x="286" y="328"/>
                      <a:pt x="284" y="328"/>
                      <a:pt x="283" y="329"/>
                    </a:cubicBezTo>
                    <a:cubicBezTo>
                      <a:pt x="282" y="329"/>
                      <a:pt x="281" y="329"/>
                      <a:pt x="281" y="331"/>
                    </a:cubicBezTo>
                    <a:cubicBezTo>
                      <a:pt x="280" y="329"/>
                      <a:pt x="279" y="328"/>
                      <a:pt x="277" y="327"/>
                    </a:cubicBezTo>
                    <a:cubicBezTo>
                      <a:pt x="277" y="326"/>
                      <a:pt x="276" y="326"/>
                      <a:pt x="276" y="325"/>
                    </a:cubicBezTo>
                    <a:cubicBezTo>
                      <a:pt x="277" y="325"/>
                      <a:pt x="277" y="325"/>
                      <a:pt x="276" y="325"/>
                    </a:cubicBezTo>
                    <a:cubicBezTo>
                      <a:pt x="275" y="324"/>
                      <a:pt x="274" y="325"/>
                      <a:pt x="273" y="326"/>
                    </a:cubicBezTo>
                    <a:cubicBezTo>
                      <a:pt x="273" y="327"/>
                      <a:pt x="273" y="327"/>
                      <a:pt x="274" y="327"/>
                    </a:cubicBezTo>
                    <a:cubicBezTo>
                      <a:pt x="275" y="327"/>
                      <a:pt x="275" y="327"/>
                      <a:pt x="276" y="326"/>
                    </a:cubicBezTo>
                    <a:cubicBezTo>
                      <a:pt x="276" y="327"/>
                      <a:pt x="275" y="328"/>
                      <a:pt x="275" y="328"/>
                    </a:cubicBezTo>
                    <a:cubicBezTo>
                      <a:pt x="274" y="329"/>
                      <a:pt x="274" y="328"/>
                      <a:pt x="274" y="328"/>
                    </a:cubicBezTo>
                    <a:cubicBezTo>
                      <a:pt x="272" y="327"/>
                      <a:pt x="271" y="326"/>
                      <a:pt x="270" y="328"/>
                    </a:cubicBezTo>
                    <a:cubicBezTo>
                      <a:pt x="270" y="328"/>
                      <a:pt x="269" y="328"/>
                      <a:pt x="269" y="328"/>
                    </a:cubicBezTo>
                    <a:cubicBezTo>
                      <a:pt x="268" y="328"/>
                      <a:pt x="269" y="329"/>
                      <a:pt x="268" y="330"/>
                    </a:cubicBezTo>
                    <a:cubicBezTo>
                      <a:pt x="268" y="330"/>
                      <a:pt x="268" y="331"/>
                      <a:pt x="269" y="331"/>
                    </a:cubicBezTo>
                    <a:cubicBezTo>
                      <a:pt x="269" y="332"/>
                      <a:pt x="270" y="333"/>
                      <a:pt x="271" y="333"/>
                    </a:cubicBezTo>
                    <a:cubicBezTo>
                      <a:pt x="272" y="333"/>
                      <a:pt x="271" y="334"/>
                      <a:pt x="271" y="334"/>
                    </a:cubicBezTo>
                    <a:cubicBezTo>
                      <a:pt x="271" y="335"/>
                      <a:pt x="271" y="335"/>
                      <a:pt x="271" y="336"/>
                    </a:cubicBezTo>
                    <a:cubicBezTo>
                      <a:pt x="270" y="337"/>
                      <a:pt x="271" y="336"/>
                      <a:pt x="270" y="335"/>
                    </a:cubicBezTo>
                    <a:cubicBezTo>
                      <a:pt x="270" y="334"/>
                      <a:pt x="270" y="334"/>
                      <a:pt x="269" y="333"/>
                    </a:cubicBezTo>
                    <a:cubicBezTo>
                      <a:pt x="267" y="333"/>
                      <a:pt x="266" y="333"/>
                      <a:pt x="265" y="335"/>
                    </a:cubicBezTo>
                    <a:cubicBezTo>
                      <a:pt x="265" y="336"/>
                      <a:pt x="264" y="337"/>
                      <a:pt x="266" y="337"/>
                    </a:cubicBezTo>
                    <a:cubicBezTo>
                      <a:pt x="266" y="337"/>
                      <a:pt x="266" y="338"/>
                      <a:pt x="267" y="338"/>
                    </a:cubicBezTo>
                    <a:cubicBezTo>
                      <a:pt x="268" y="341"/>
                      <a:pt x="271" y="341"/>
                      <a:pt x="273" y="339"/>
                    </a:cubicBezTo>
                    <a:cubicBezTo>
                      <a:pt x="273" y="338"/>
                      <a:pt x="273" y="338"/>
                      <a:pt x="273" y="338"/>
                    </a:cubicBezTo>
                    <a:cubicBezTo>
                      <a:pt x="273" y="338"/>
                      <a:pt x="273" y="338"/>
                      <a:pt x="273" y="338"/>
                    </a:cubicBezTo>
                    <a:cubicBezTo>
                      <a:pt x="274" y="340"/>
                      <a:pt x="274" y="342"/>
                      <a:pt x="276" y="342"/>
                    </a:cubicBezTo>
                    <a:cubicBezTo>
                      <a:pt x="275" y="343"/>
                      <a:pt x="274" y="341"/>
                      <a:pt x="274" y="341"/>
                    </a:cubicBezTo>
                    <a:cubicBezTo>
                      <a:pt x="273" y="341"/>
                      <a:pt x="273" y="340"/>
                      <a:pt x="272" y="341"/>
                    </a:cubicBezTo>
                    <a:cubicBezTo>
                      <a:pt x="272" y="342"/>
                      <a:pt x="271" y="343"/>
                      <a:pt x="272" y="344"/>
                    </a:cubicBezTo>
                    <a:cubicBezTo>
                      <a:pt x="272" y="344"/>
                      <a:pt x="272" y="345"/>
                      <a:pt x="272" y="345"/>
                    </a:cubicBezTo>
                    <a:cubicBezTo>
                      <a:pt x="273" y="344"/>
                      <a:pt x="273" y="345"/>
                      <a:pt x="274" y="345"/>
                    </a:cubicBezTo>
                    <a:cubicBezTo>
                      <a:pt x="274" y="346"/>
                      <a:pt x="274" y="347"/>
                      <a:pt x="274" y="347"/>
                    </a:cubicBezTo>
                    <a:cubicBezTo>
                      <a:pt x="275" y="349"/>
                      <a:pt x="275" y="349"/>
                      <a:pt x="273" y="350"/>
                    </a:cubicBezTo>
                    <a:cubicBezTo>
                      <a:pt x="273" y="349"/>
                      <a:pt x="274" y="348"/>
                      <a:pt x="273" y="348"/>
                    </a:cubicBezTo>
                    <a:cubicBezTo>
                      <a:pt x="273" y="347"/>
                      <a:pt x="273" y="347"/>
                      <a:pt x="273" y="347"/>
                    </a:cubicBezTo>
                    <a:cubicBezTo>
                      <a:pt x="273" y="347"/>
                      <a:pt x="273" y="346"/>
                      <a:pt x="273" y="346"/>
                    </a:cubicBezTo>
                    <a:cubicBezTo>
                      <a:pt x="272" y="346"/>
                      <a:pt x="272" y="346"/>
                      <a:pt x="272" y="347"/>
                    </a:cubicBezTo>
                    <a:cubicBezTo>
                      <a:pt x="272" y="348"/>
                      <a:pt x="272" y="349"/>
                      <a:pt x="273" y="351"/>
                    </a:cubicBezTo>
                    <a:cubicBezTo>
                      <a:pt x="273" y="351"/>
                      <a:pt x="273" y="352"/>
                      <a:pt x="272" y="352"/>
                    </a:cubicBezTo>
                    <a:cubicBezTo>
                      <a:pt x="272" y="353"/>
                      <a:pt x="271" y="353"/>
                      <a:pt x="271" y="353"/>
                    </a:cubicBezTo>
                    <a:cubicBezTo>
                      <a:pt x="270" y="352"/>
                      <a:pt x="270" y="352"/>
                      <a:pt x="270" y="353"/>
                    </a:cubicBezTo>
                    <a:cubicBezTo>
                      <a:pt x="270" y="354"/>
                      <a:pt x="270" y="354"/>
                      <a:pt x="269" y="354"/>
                    </a:cubicBezTo>
                    <a:cubicBezTo>
                      <a:pt x="268" y="354"/>
                      <a:pt x="267" y="354"/>
                      <a:pt x="266" y="353"/>
                    </a:cubicBezTo>
                    <a:cubicBezTo>
                      <a:pt x="266" y="353"/>
                      <a:pt x="267" y="352"/>
                      <a:pt x="267" y="352"/>
                    </a:cubicBezTo>
                    <a:cubicBezTo>
                      <a:pt x="267" y="352"/>
                      <a:pt x="266" y="352"/>
                      <a:pt x="266" y="351"/>
                    </a:cubicBezTo>
                    <a:cubicBezTo>
                      <a:pt x="266" y="351"/>
                      <a:pt x="265" y="352"/>
                      <a:pt x="265" y="351"/>
                    </a:cubicBezTo>
                    <a:cubicBezTo>
                      <a:pt x="266" y="350"/>
                      <a:pt x="265" y="350"/>
                      <a:pt x="264" y="349"/>
                    </a:cubicBezTo>
                    <a:cubicBezTo>
                      <a:pt x="264" y="349"/>
                      <a:pt x="263" y="348"/>
                      <a:pt x="263" y="347"/>
                    </a:cubicBezTo>
                    <a:cubicBezTo>
                      <a:pt x="263" y="346"/>
                      <a:pt x="262" y="346"/>
                      <a:pt x="261" y="345"/>
                    </a:cubicBezTo>
                    <a:cubicBezTo>
                      <a:pt x="261" y="345"/>
                      <a:pt x="260" y="345"/>
                      <a:pt x="259" y="346"/>
                    </a:cubicBezTo>
                    <a:cubicBezTo>
                      <a:pt x="259" y="346"/>
                      <a:pt x="259" y="347"/>
                      <a:pt x="258" y="347"/>
                    </a:cubicBezTo>
                    <a:cubicBezTo>
                      <a:pt x="258" y="348"/>
                      <a:pt x="258" y="349"/>
                      <a:pt x="258" y="350"/>
                    </a:cubicBezTo>
                    <a:cubicBezTo>
                      <a:pt x="257" y="352"/>
                      <a:pt x="257" y="354"/>
                      <a:pt x="259" y="355"/>
                    </a:cubicBezTo>
                    <a:cubicBezTo>
                      <a:pt x="259" y="356"/>
                      <a:pt x="260" y="357"/>
                      <a:pt x="260" y="357"/>
                    </a:cubicBezTo>
                    <a:cubicBezTo>
                      <a:pt x="260" y="357"/>
                      <a:pt x="260" y="357"/>
                      <a:pt x="260" y="357"/>
                    </a:cubicBezTo>
                    <a:cubicBezTo>
                      <a:pt x="260" y="357"/>
                      <a:pt x="260" y="357"/>
                      <a:pt x="260" y="357"/>
                    </a:cubicBezTo>
                    <a:cubicBezTo>
                      <a:pt x="261" y="357"/>
                      <a:pt x="261" y="358"/>
                      <a:pt x="261" y="358"/>
                    </a:cubicBezTo>
                    <a:cubicBezTo>
                      <a:pt x="262" y="359"/>
                      <a:pt x="263" y="360"/>
                      <a:pt x="263" y="360"/>
                    </a:cubicBezTo>
                    <a:cubicBezTo>
                      <a:pt x="263" y="362"/>
                      <a:pt x="263" y="362"/>
                      <a:pt x="264" y="363"/>
                    </a:cubicBezTo>
                    <a:cubicBezTo>
                      <a:pt x="265" y="363"/>
                      <a:pt x="265" y="363"/>
                      <a:pt x="266" y="363"/>
                    </a:cubicBezTo>
                    <a:cubicBezTo>
                      <a:pt x="266" y="363"/>
                      <a:pt x="266" y="362"/>
                      <a:pt x="267" y="362"/>
                    </a:cubicBezTo>
                    <a:cubicBezTo>
                      <a:pt x="267" y="362"/>
                      <a:pt x="268" y="363"/>
                      <a:pt x="268" y="363"/>
                    </a:cubicBezTo>
                    <a:cubicBezTo>
                      <a:pt x="268" y="365"/>
                      <a:pt x="269" y="365"/>
                      <a:pt x="271" y="365"/>
                    </a:cubicBezTo>
                    <a:cubicBezTo>
                      <a:pt x="271" y="365"/>
                      <a:pt x="271" y="365"/>
                      <a:pt x="271" y="365"/>
                    </a:cubicBezTo>
                    <a:cubicBezTo>
                      <a:pt x="271" y="365"/>
                      <a:pt x="271" y="365"/>
                      <a:pt x="271" y="365"/>
                    </a:cubicBezTo>
                    <a:cubicBezTo>
                      <a:pt x="271" y="366"/>
                      <a:pt x="272" y="367"/>
                      <a:pt x="272" y="368"/>
                    </a:cubicBezTo>
                    <a:cubicBezTo>
                      <a:pt x="273" y="369"/>
                      <a:pt x="274" y="371"/>
                      <a:pt x="275" y="372"/>
                    </a:cubicBezTo>
                    <a:cubicBezTo>
                      <a:pt x="276" y="373"/>
                      <a:pt x="277" y="374"/>
                      <a:pt x="277" y="374"/>
                    </a:cubicBezTo>
                    <a:cubicBezTo>
                      <a:pt x="278" y="377"/>
                      <a:pt x="280" y="379"/>
                      <a:pt x="280" y="381"/>
                    </a:cubicBezTo>
                    <a:cubicBezTo>
                      <a:pt x="280" y="382"/>
                      <a:pt x="280" y="382"/>
                      <a:pt x="280" y="382"/>
                    </a:cubicBezTo>
                    <a:cubicBezTo>
                      <a:pt x="280" y="383"/>
                      <a:pt x="281" y="383"/>
                      <a:pt x="281" y="382"/>
                    </a:cubicBezTo>
                    <a:cubicBezTo>
                      <a:pt x="282" y="382"/>
                      <a:pt x="282" y="382"/>
                      <a:pt x="282" y="382"/>
                    </a:cubicBezTo>
                    <a:cubicBezTo>
                      <a:pt x="282" y="383"/>
                      <a:pt x="282" y="383"/>
                      <a:pt x="282" y="383"/>
                    </a:cubicBezTo>
                    <a:cubicBezTo>
                      <a:pt x="282" y="383"/>
                      <a:pt x="282" y="383"/>
                      <a:pt x="282" y="384"/>
                    </a:cubicBezTo>
                    <a:cubicBezTo>
                      <a:pt x="282" y="384"/>
                      <a:pt x="282" y="384"/>
                      <a:pt x="282" y="384"/>
                    </a:cubicBezTo>
                    <a:cubicBezTo>
                      <a:pt x="283" y="383"/>
                      <a:pt x="283" y="384"/>
                      <a:pt x="283" y="384"/>
                    </a:cubicBezTo>
                    <a:cubicBezTo>
                      <a:pt x="284" y="384"/>
                      <a:pt x="285" y="384"/>
                      <a:pt x="285" y="384"/>
                    </a:cubicBezTo>
                    <a:cubicBezTo>
                      <a:pt x="286" y="382"/>
                      <a:pt x="287" y="381"/>
                      <a:pt x="288" y="380"/>
                    </a:cubicBezTo>
                    <a:cubicBezTo>
                      <a:pt x="288" y="380"/>
                      <a:pt x="288" y="379"/>
                      <a:pt x="288" y="379"/>
                    </a:cubicBezTo>
                    <a:cubicBezTo>
                      <a:pt x="287" y="378"/>
                      <a:pt x="286" y="377"/>
                      <a:pt x="286" y="375"/>
                    </a:cubicBezTo>
                    <a:cubicBezTo>
                      <a:pt x="285" y="374"/>
                      <a:pt x="285" y="373"/>
                      <a:pt x="287" y="372"/>
                    </a:cubicBezTo>
                    <a:cubicBezTo>
                      <a:pt x="287" y="373"/>
                      <a:pt x="286" y="373"/>
                      <a:pt x="286" y="374"/>
                    </a:cubicBezTo>
                    <a:cubicBezTo>
                      <a:pt x="286" y="375"/>
                      <a:pt x="287" y="377"/>
                      <a:pt x="288" y="377"/>
                    </a:cubicBezTo>
                    <a:cubicBezTo>
                      <a:pt x="289" y="376"/>
                      <a:pt x="290" y="376"/>
                      <a:pt x="290" y="377"/>
                    </a:cubicBezTo>
                    <a:cubicBezTo>
                      <a:pt x="291" y="377"/>
                      <a:pt x="292" y="377"/>
                      <a:pt x="293" y="377"/>
                    </a:cubicBezTo>
                    <a:cubicBezTo>
                      <a:pt x="294" y="376"/>
                      <a:pt x="294" y="375"/>
                      <a:pt x="295" y="375"/>
                    </a:cubicBezTo>
                    <a:cubicBezTo>
                      <a:pt x="296" y="375"/>
                      <a:pt x="296" y="375"/>
                      <a:pt x="295" y="374"/>
                    </a:cubicBezTo>
                    <a:cubicBezTo>
                      <a:pt x="295" y="374"/>
                      <a:pt x="295" y="373"/>
                      <a:pt x="296" y="373"/>
                    </a:cubicBezTo>
                    <a:cubicBezTo>
                      <a:pt x="296" y="373"/>
                      <a:pt x="297" y="373"/>
                      <a:pt x="297" y="372"/>
                    </a:cubicBezTo>
                    <a:cubicBezTo>
                      <a:pt x="298" y="373"/>
                      <a:pt x="297" y="373"/>
                      <a:pt x="297" y="373"/>
                    </a:cubicBezTo>
                    <a:cubicBezTo>
                      <a:pt x="298" y="373"/>
                      <a:pt x="298" y="373"/>
                      <a:pt x="298" y="373"/>
                    </a:cubicBezTo>
                    <a:cubicBezTo>
                      <a:pt x="298" y="372"/>
                      <a:pt x="299" y="372"/>
                      <a:pt x="299" y="371"/>
                    </a:cubicBezTo>
                    <a:cubicBezTo>
                      <a:pt x="298" y="370"/>
                      <a:pt x="298" y="371"/>
                      <a:pt x="297" y="371"/>
                    </a:cubicBezTo>
                    <a:cubicBezTo>
                      <a:pt x="297" y="370"/>
                      <a:pt x="298" y="370"/>
                      <a:pt x="298" y="370"/>
                    </a:cubicBezTo>
                    <a:cubicBezTo>
                      <a:pt x="299" y="370"/>
                      <a:pt x="299" y="369"/>
                      <a:pt x="299" y="369"/>
                    </a:cubicBezTo>
                    <a:cubicBezTo>
                      <a:pt x="299" y="368"/>
                      <a:pt x="298" y="368"/>
                      <a:pt x="298" y="369"/>
                    </a:cubicBezTo>
                    <a:cubicBezTo>
                      <a:pt x="297" y="369"/>
                      <a:pt x="297" y="369"/>
                      <a:pt x="296" y="368"/>
                    </a:cubicBezTo>
                    <a:cubicBezTo>
                      <a:pt x="297" y="368"/>
                      <a:pt x="299" y="368"/>
                      <a:pt x="299" y="366"/>
                    </a:cubicBezTo>
                    <a:cubicBezTo>
                      <a:pt x="298" y="364"/>
                      <a:pt x="298" y="363"/>
                      <a:pt x="297" y="362"/>
                    </a:cubicBezTo>
                    <a:cubicBezTo>
                      <a:pt x="299" y="362"/>
                      <a:pt x="300" y="360"/>
                      <a:pt x="300" y="358"/>
                    </a:cubicBezTo>
                    <a:close/>
                    <a:moveTo>
                      <a:pt x="147" y="355"/>
                    </a:moveTo>
                    <a:cubicBezTo>
                      <a:pt x="147" y="355"/>
                      <a:pt x="148" y="355"/>
                      <a:pt x="148" y="355"/>
                    </a:cubicBezTo>
                    <a:cubicBezTo>
                      <a:pt x="149" y="353"/>
                      <a:pt x="151" y="352"/>
                      <a:pt x="153" y="351"/>
                    </a:cubicBezTo>
                    <a:cubicBezTo>
                      <a:pt x="156" y="349"/>
                      <a:pt x="158" y="346"/>
                      <a:pt x="161" y="344"/>
                    </a:cubicBezTo>
                    <a:cubicBezTo>
                      <a:pt x="163" y="343"/>
                      <a:pt x="165" y="341"/>
                      <a:pt x="167" y="340"/>
                    </a:cubicBezTo>
                    <a:cubicBezTo>
                      <a:pt x="170" y="339"/>
                      <a:pt x="171" y="338"/>
                      <a:pt x="172" y="336"/>
                    </a:cubicBezTo>
                    <a:cubicBezTo>
                      <a:pt x="173" y="335"/>
                      <a:pt x="173" y="335"/>
                      <a:pt x="172" y="334"/>
                    </a:cubicBezTo>
                    <a:cubicBezTo>
                      <a:pt x="171" y="332"/>
                      <a:pt x="169" y="330"/>
                      <a:pt x="168" y="329"/>
                    </a:cubicBezTo>
                    <a:cubicBezTo>
                      <a:pt x="167" y="328"/>
                      <a:pt x="167" y="327"/>
                      <a:pt x="166" y="326"/>
                    </a:cubicBezTo>
                    <a:cubicBezTo>
                      <a:pt x="166" y="326"/>
                      <a:pt x="166" y="326"/>
                      <a:pt x="166" y="326"/>
                    </a:cubicBezTo>
                    <a:cubicBezTo>
                      <a:pt x="166" y="326"/>
                      <a:pt x="166" y="326"/>
                      <a:pt x="165" y="325"/>
                    </a:cubicBezTo>
                    <a:cubicBezTo>
                      <a:pt x="165" y="325"/>
                      <a:pt x="165" y="325"/>
                      <a:pt x="165" y="325"/>
                    </a:cubicBezTo>
                    <a:cubicBezTo>
                      <a:pt x="165" y="324"/>
                      <a:pt x="164" y="323"/>
                      <a:pt x="163" y="322"/>
                    </a:cubicBezTo>
                    <a:cubicBezTo>
                      <a:pt x="161" y="320"/>
                      <a:pt x="159" y="317"/>
                      <a:pt x="155" y="317"/>
                    </a:cubicBezTo>
                    <a:cubicBezTo>
                      <a:pt x="155" y="317"/>
                      <a:pt x="155" y="317"/>
                      <a:pt x="155" y="317"/>
                    </a:cubicBezTo>
                    <a:cubicBezTo>
                      <a:pt x="155" y="317"/>
                      <a:pt x="155" y="317"/>
                      <a:pt x="155" y="317"/>
                    </a:cubicBezTo>
                    <a:cubicBezTo>
                      <a:pt x="153" y="317"/>
                      <a:pt x="152" y="318"/>
                      <a:pt x="151" y="318"/>
                    </a:cubicBezTo>
                    <a:cubicBezTo>
                      <a:pt x="150" y="318"/>
                      <a:pt x="150" y="319"/>
                      <a:pt x="150" y="320"/>
                    </a:cubicBezTo>
                    <a:cubicBezTo>
                      <a:pt x="150" y="321"/>
                      <a:pt x="149" y="322"/>
                      <a:pt x="149" y="323"/>
                    </a:cubicBezTo>
                    <a:cubicBezTo>
                      <a:pt x="148" y="324"/>
                      <a:pt x="148" y="324"/>
                      <a:pt x="148" y="324"/>
                    </a:cubicBezTo>
                    <a:cubicBezTo>
                      <a:pt x="147" y="323"/>
                      <a:pt x="147" y="323"/>
                      <a:pt x="147" y="323"/>
                    </a:cubicBezTo>
                    <a:cubicBezTo>
                      <a:pt x="148" y="321"/>
                      <a:pt x="148" y="320"/>
                      <a:pt x="148" y="319"/>
                    </a:cubicBezTo>
                    <a:cubicBezTo>
                      <a:pt x="148" y="319"/>
                      <a:pt x="148" y="318"/>
                      <a:pt x="147" y="318"/>
                    </a:cubicBezTo>
                    <a:cubicBezTo>
                      <a:pt x="146" y="318"/>
                      <a:pt x="145" y="318"/>
                      <a:pt x="145" y="319"/>
                    </a:cubicBezTo>
                    <a:cubicBezTo>
                      <a:pt x="145" y="320"/>
                      <a:pt x="143" y="321"/>
                      <a:pt x="144" y="323"/>
                    </a:cubicBezTo>
                    <a:cubicBezTo>
                      <a:pt x="142" y="322"/>
                      <a:pt x="142" y="321"/>
                      <a:pt x="143" y="319"/>
                    </a:cubicBezTo>
                    <a:cubicBezTo>
                      <a:pt x="144" y="318"/>
                      <a:pt x="144" y="318"/>
                      <a:pt x="143" y="318"/>
                    </a:cubicBezTo>
                    <a:cubicBezTo>
                      <a:pt x="143" y="317"/>
                      <a:pt x="142" y="317"/>
                      <a:pt x="142" y="317"/>
                    </a:cubicBezTo>
                    <a:cubicBezTo>
                      <a:pt x="142" y="317"/>
                      <a:pt x="142" y="317"/>
                      <a:pt x="142" y="317"/>
                    </a:cubicBezTo>
                    <a:cubicBezTo>
                      <a:pt x="142" y="317"/>
                      <a:pt x="142" y="317"/>
                      <a:pt x="142" y="317"/>
                    </a:cubicBezTo>
                    <a:cubicBezTo>
                      <a:pt x="140" y="316"/>
                      <a:pt x="139" y="316"/>
                      <a:pt x="138" y="315"/>
                    </a:cubicBezTo>
                    <a:cubicBezTo>
                      <a:pt x="137" y="314"/>
                      <a:pt x="136" y="313"/>
                      <a:pt x="135" y="312"/>
                    </a:cubicBezTo>
                    <a:cubicBezTo>
                      <a:pt x="135" y="312"/>
                      <a:pt x="135" y="312"/>
                      <a:pt x="135" y="312"/>
                    </a:cubicBezTo>
                    <a:cubicBezTo>
                      <a:pt x="134" y="310"/>
                      <a:pt x="131" y="309"/>
                      <a:pt x="130" y="310"/>
                    </a:cubicBezTo>
                    <a:cubicBezTo>
                      <a:pt x="128" y="311"/>
                      <a:pt x="127" y="312"/>
                      <a:pt x="125" y="312"/>
                    </a:cubicBezTo>
                    <a:cubicBezTo>
                      <a:pt x="124" y="312"/>
                      <a:pt x="123" y="313"/>
                      <a:pt x="121" y="312"/>
                    </a:cubicBezTo>
                    <a:cubicBezTo>
                      <a:pt x="121" y="312"/>
                      <a:pt x="121" y="313"/>
                      <a:pt x="121" y="313"/>
                    </a:cubicBezTo>
                    <a:cubicBezTo>
                      <a:pt x="121" y="314"/>
                      <a:pt x="121" y="315"/>
                      <a:pt x="121" y="316"/>
                    </a:cubicBezTo>
                    <a:cubicBezTo>
                      <a:pt x="121" y="316"/>
                      <a:pt x="121" y="316"/>
                      <a:pt x="121" y="316"/>
                    </a:cubicBezTo>
                    <a:cubicBezTo>
                      <a:pt x="121" y="315"/>
                      <a:pt x="121" y="315"/>
                      <a:pt x="120" y="315"/>
                    </a:cubicBezTo>
                    <a:cubicBezTo>
                      <a:pt x="120" y="315"/>
                      <a:pt x="120" y="315"/>
                      <a:pt x="120" y="315"/>
                    </a:cubicBezTo>
                    <a:cubicBezTo>
                      <a:pt x="120" y="313"/>
                      <a:pt x="120" y="313"/>
                      <a:pt x="118" y="313"/>
                    </a:cubicBezTo>
                    <a:cubicBezTo>
                      <a:pt x="118" y="313"/>
                      <a:pt x="118" y="313"/>
                      <a:pt x="117" y="313"/>
                    </a:cubicBezTo>
                    <a:cubicBezTo>
                      <a:pt x="115" y="313"/>
                      <a:pt x="113" y="314"/>
                      <a:pt x="111" y="315"/>
                    </a:cubicBezTo>
                    <a:cubicBezTo>
                      <a:pt x="110" y="315"/>
                      <a:pt x="110" y="315"/>
                      <a:pt x="111" y="316"/>
                    </a:cubicBezTo>
                    <a:cubicBezTo>
                      <a:pt x="111" y="317"/>
                      <a:pt x="112" y="319"/>
                      <a:pt x="112" y="320"/>
                    </a:cubicBezTo>
                    <a:cubicBezTo>
                      <a:pt x="112" y="321"/>
                      <a:pt x="113" y="321"/>
                      <a:pt x="114" y="321"/>
                    </a:cubicBezTo>
                    <a:cubicBezTo>
                      <a:pt x="113" y="322"/>
                      <a:pt x="112" y="321"/>
                      <a:pt x="113" y="322"/>
                    </a:cubicBezTo>
                    <a:cubicBezTo>
                      <a:pt x="113" y="323"/>
                      <a:pt x="114" y="322"/>
                      <a:pt x="114" y="323"/>
                    </a:cubicBezTo>
                    <a:cubicBezTo>
                      <a:pt x="114" y="323"/>
                      <a:pt x="113" y="323"/>
                      <a:pt x="113" y="323"/>
                    </a:cubicBezTo>
                    <a:cubicBezTo>
                      <a:pt x="113" y="325"/>
                      <a:pt x="114" y="325"/>
                      <a:pt x="114" y="327"/>
                    </a:cubicBezTo>
                    <a:cubicBezTo>
                      <a:pt x="114" y="327"/>
                      <a:pt x="114" y="327"/>
                      <a:pt x="115" y="327"/>
                    </a:cubicBezTo>
                    <a:cubicBezTo>
                      <a:pt x="116" y="327"/>
                      <a:pt x="116" y="328"/>
                      <a:pt x="116" y="329"/>
                    </a:cubicBezTo>
                    <a:cubicBezTo>
                      <a:pt x="116" y="330"/>
                      <a:pt x="116" y="330"/>
                      <a:pt x="115" y="331"/>
                    </a:cubicBezTo>
                    <a:cubicBezTo>
                      <a:pt x="114" y="332"/>
                      <a:pt x="115" y="333"/>
                      <a:pt x="115" y="334"/>
                    </a:cubicBezTo>
                    <a:cubicBezTo>
                      <a:pt x="117" y="335"/>
                      <a:pt x="118" y="334"/>
                      <a:pt x="119" y="335"/>
                    </a:cubicBezTo>
                    <a:cubicBezTo>
                      <a:pt x="119" y="335"/>
                      <a:pt x="119" y="335"/>
                      <a:pt x="119" y="335"/>
                    </a:cubicBezTo>
                    <a:cubicBezTo>
                      <a:pt x="119" y="335"/>
                      <a:pt x="119" y="335"/>
                      <a:pt x="119" y="335"/>
                    </a:cubicBezTo>
                    <a:cubicBezTo>
                      <a:pt x="118" y="335"/>
                      <a:pt x="117" y="335"/>
                      <a:pt x="116" y="335"/>
                    </a:cubicBezTo>
                    <a:cubicBezTo>
                      <a:pt x="115" y="334"/>
                      <a:pt x="115" y="334"/>
                      <a:pt x="114" y="335"/>
                    </a:cubicBezTo>
                    <a:cubicBezTo>
                      <a:pt x="113" y="336"/>
                      <a:pt x="112" y="338"/>
                      <a:pt x="111" y="340"/>
                    </a:cubicBezTo>
                    <a:cubicBezTo>
                      <a:pt x="111" y="341"/>
                      <a:pt x="111" y="342"/>
                      <a:pt x="110" y="343"/>
                    </a:cubicBezTo>
                    <a:cubicBezTo>
                      <a:pt x="109" y="345"/>
                      <a:pt x="109" y="345"/>
                      <a:pt x="111" y="347"/>
                    </a:cubicBezTo>
                    <a:cubicBezTo>
                      <a:pt x="111" y="347"/>
                      <a:pt x="111" y="347"/>
                      <a:pt x="112" y="348"/>
                    </a:cubicBezTo>
                    <a:cubicBezTo>
                      <a:pt x="112" y="349"/>
                      <a:pt x="112" y="349"/>
                      <a:pt x="111" y="349"/>
                    </a:cubicBezTo>
                    <a:cubicBezTo>
                      <a:pt x="110" y="350"/>
                      <a:pt x="109" y="350"/>
                      <a:pt x="108" y="350"/>
                    </a:cubicBezTo>
                    <a:cubicBezTo>
                      <a:pt x="108" y="351"/>
                      <a:pt x="109" y="352"/>
                      <a:pt x="109" y="353"/>
                    </a:cubicBezTo>
                    <a:cubicBezTo>
                      <a:pt x="109" y="354"/>
                      <a:pt x="108" y="355"/>
                      <a:pt x="108" y="357"/>
                    </a:cubicBezTo>
                    <a:cubicBezTo>
                      <a:pt x="109" y="357"/>
                      <a:pt x="108" y="357"/>
                      <a:pt x="108" y="357"/>
                    </a:cubicBezTo>
                    <a:cubicBezTo>
                      <a:pt x="108" y="357"/>
                      <a:pt x="107" y="358"/>
                      <a:pt x="108" y="358"/>
                    </a:cubicBezTo>
                    <a:cubicBezTo>
                      <a:pt x="108" y="358"/>
                      <a:pt x="108" y="358"/>
                      <a:pt x="108" y="358"/>
                    </a:cubicBezTo>
                    <a:cubicBezTo>
                      <a:pt x="108" y="358"/>
                      <a:pt x="108" y="358"/>
                      <a:pt x="108" y="358"/>
                    </a:cubicBezTo>
                    <a:cubicBezTo>
                      <a:pt x="108" y="359"/>
                      <a:pt x="108" y="359"/>
                      <a:pt x="108" y="359"/>
                    </a:cubicBezTo>
                    <a:cubicBezTo>
                      <a:pt x="107" y="359"/>
                      <a:pt x="107" y="358"/>
                      <a:pt x="107" y="359"/>
                    </a:cubicBezTo>
                    <a:cubicBezTo>
                      <a:pt x="106" y="361"/>
                      <a:pt x="105" y="363"/>
                      <a:pt x="104" y="365"/>
                    </a:cubicBezTo>
                    <a:cubicBezTo>
                      <a:pt x="103" y="366"/>
                      <a:pt x="104" y="368"/>
                      <a:pt x="103" y="369"/>
                    </a:cubicBezTo>
                    <a:cubicBezTo>
                      <a:pt x="103" y="370"/>
                      <a:pt x="103" y="370"/>
                      <a:pt x="104" y="370"/>
                    </a:cubicBezTo>
                    <a:cubicBezTo>
                      <a:pt x="104" y="370"/>
                      <a:pt x="105" y="370"/>
                      <a:pt x="105" y="370"/>
                    </a:cubicBezTo>
                    <a:cubicBezTo>
                      <a:pt x="107" y="369"/>
                      <a:pt x="107" y="369"/>
                      <a:pt x="107" y="371"/>
                    </a:cubicBezTo>
                    <a:cubicBezTo>
                      <a:pt x="107" y="371"/>
                      <a:pt x="107" y="371"/>
                      <a:pt x="107" y="371"/>
                    </a:cubicBezTo>
                    <a:cubicBezTo>
                      <a:pt x="107" y="371"/>
                      <a:pt x="107" y="371"/>
                      <a:pt x="107" y="371"/>
                    </a:cubicBezTo>
                    <a:cubicBezTo>
                      <a:pt x="108" y="371"/>
                      <a:pt x="108" y="372"/>
                      <a:pt x="109" y="372"/>
                    </a:cubicBezTo>
                    <a:cubicBezTo>
                      <a:pt x="109" y="373"/>
                      <a:pt x="111" y="372"/>
                      <a:pt x="111" y="374"/>
                    </a:cubicBezTo>
                    <a:cubicBezTo>
                      <a:pt x="113" y="374"/>
                      <a:pt x="114" y="375"/>
                      <a:pt x="115" y="376"/>
                    </a:cubicBezTo>
                    <a:cubicBezTo>
                      <a:pt x="115" y="376"/>
                      <a:pt x="115" y="376"/>
                      <a:pt x="115" y="376"/>
                    </a:cubicBezTo>
                    <a:cubicBezTo>
                      <a:pt x="116" y="377"/>
                      <a:pt x="116" y="379"/>
                      <a:pt x="117" y="379"/>
                    </a:cubicBezTo>
                    <a:cubicBezTo>
                      <a:pt x="118" y="380"/>
                      <a:pt x="118" y="382"/>
                      <a:pt x="118" y="383"/>
                    </a:cubicBezTo>
                    <a:cubicBezTo>
                      <a:pt x="119" y="385"/>
                      <a:pt x="119" y="386"/>
                      <a:pt x="120" y="388"/>
                    </a:cubicBezTo>
                    <a:cubicBezTo>
                      <a:pt x="121" y="389"/>
                      <a:pt x="123" y="389"/>
                      <a:pt x="123" y="388"/>
                    </a:cubicBezTo>
                    <a:cubicBezTo>
                      <a:pt x="124" y="387"/>
                      <a:pt x="124" y="386"/>
                      <a:pt x="125" y="386"/>
                    </a:cubicBezTo>
                    <a:cubicBezTo>
                      <a:pt x="128" y="385"/>
                      <a:pt x="129" y="383"/>
                      <a:pt x="129" y="381"/>
                    </a:cubicBezTo>
                    <a:cubicBezTo>
                      <a:pt x="130" y="380"/>
                      <a:pt x="130" y="380"/>
                      <a:pt x="131" y="380"/>
                    </a:cubicBezTo>
                    <a:cubicBezTo>
                      <a:pt x="131" y="381"/>
                      <a:pt x="131" y="381"/>
                      <a:pt x="132" y="381"/>
                    </a:cubicBezTo>
                    <a:cubicBezTo>
                      <a:pt x="132" y="382"/>
                      <a:pt x="133" y="382"/>
                      <a:pt x="134" y="382"/>
                    </a:cubicBezTo>
                    <a:cubicBezTo>
                      <a:pt x="134" y="382"/>
                      <a:pt x="135" y="381"/>
                      <a:pt x="136" y="381"/>
                    </a:cubicBezTo>
                    <a:cubicBezTo>
                      <a:pt x="137" y="380"/>
                      <a:pt x="139" y="379"/>
                      <a:pt x="139" y="377"/>
                    </a:cubicBezTo>
                    <a:cubicBezTo>
                      <a:pt x="139" y="375"/>
                      <a:pt x="139" y="372"/>
                      <a:pt x="139" y="370"/>
                    </a:cubicBezTo>
                    <a:cubicBezTo>
                      <a:pt x="139" y="370"/>
                      <a:pt x="139" y="370"/>
                      <a:pt x="139" y="369"/>
                    </a:cubicBezTo>
                    <a:cubicBezTo>
                      <a:pt x="140" y="368"/>
                      <a:pt x="141" y="366"/>
                      <a:pt x="140" y="364"/>
                    </a:cubicBezTo>
                    <a:cubicBezTo>
                      <a:pt x="140" y="364"/>
                      <a:pt x="140" y="363"/>
                      <a:pt x="140" y="363"/>
                    </a:cubicBezTo>
                    <a:cubicBezTo>
                      <a:pt x="141" y="363"/>
                      <a:pt x="141" y="364"/>
                      <a:pt x="141" y="364"/>
                    </a:cubicBezTo>
                    <a:cubicBezTo>
                      <a:pt x="141" y="364"/>
                      <a:pt x="141" y="364"/>
                      <a:pt x="142" y="364"/>
                    </a:cubicBezTo>
                    <a:cubicBezTo>
                      <a:pt x="143" y="364"/>
                      <a:pt x="146" y="362"/>
                      <a:pt x="146" y="361"/>
                    </a:cubicBezTo>
                    <a:cubicBezTo>
                      <a:pt x="146" y="361"/>
                      <a:pt x="147" y="361"/>
                      <a:pt x="146" y="361"/>
                    </a:cubicBezTo>
                    <a:cubicBezTo>
                      <a:pt x="146" y="359"/>
                      <a:pt x="148" y="357"/>
                      <a:pt x="147" y="355"/>
                    </a:cubicBezTo>
                    <a:close/>
                    <a:moveTo>
                      <a:pt x="165" y="325"/>
                    </a:moveTo>
                    <a:cubicBezTo>
                      <a:pt x="165" y="326"/>
                      <a:pt x="165" y="326"/>
                      <a:pt x="165" y="326"/>
                    </a:cubicBezTo>
                    <a:cubicBezTo>
                      <a:pt x="165" y="326"/>
                      <a:pt x="165" y="326"/>
                      <a:pt x="165" y="325"/>
                    </a:cubicBezTo>
                    <a:close/>
                    <a:moveTo>
                      <a:pt x="269" y="407"/>
                    </a:moveTo>
                    <a:cubicBezTo>
                      <a:pt x="269" y="407"/>
                      <a:pt x="269" y="407"/>
                      <a:pt x="268" y="406"/>
                    </a:cubicBezTo>
                    <a:cubicBezTo>
                      <a:pt x="268" y="406"/>
                      <a:pt x="268" y="407"/>
                      <a:pt x="268" y="407"/>
                    </a:cubicBezTo>
                    <a:cubicBezTo>
                      <a:pt x="267" y="407"/>
                      <a:pt x="266" y="408"/>
                      <a:pt x="265" y="407"/>
                    </a:cubicBezTo>
                    <a:cubicBezTo>
                      <a:pt x="264" y="407"/>
                      <a:pt x="265" y="406"/>
                      <a:pt x="264" y="405"/>
                    </a:cubicBezTo>
                    <a:cubicBezTo>
                      <a:pt x="264" y="404"/>
                      <a:pt x="264" y="404"/>
                      <a:pt x="263" y="404"/>
                    </a:cubicBezTo>
                    <a:cubicBezTo>
                      <a:pt x="263" y="405"/>
                      <a:pt x="262" y="405"/>
                      <a:pt x="262" y="404"/>
                    </a:cubicBezTo>
                    <a:cubicBezTo>
                      <a:pt x="261" y="404"/>
                      <a:pt x="260" y="403"/>
                      <a:pt x="260" y="402"/>
                    </a:cubicBezTo>
                    <a:cubicBezTo>
                      <a:pt x="258" y="402"/>
                      <a:pt x="258" y="400"/>
                      <a:pt x="257" y="400"/>
                    </a:cubicBezTo>
                    <a:cubicBezTo>
                      <a:pt x="256" y="400"/>
                      <a:pt x="256" y="400"/>
                      <a:pt x="256" y="399"/>
                    </a:cubicBezTo>
                    <a:cubicBezTo>
                      <a:pt x="257" y="398"/>
                      <a:pt x="255" y="398"/>
                      <a:pt x="255" y="396"/>
                    </a:cubicBezTo>
                    <a:cubicBezTo>
                      <a:pt x="254" y="398"/>
                      <a:pt x="255" y="399"/>
                      <a:pt x="256" y="400"/>
                    </a:cubicBezTo>
                    <a:cubicBezTo>
                      <a:pt x="255" y="400"/>
                      <a:pt x="254" y="400"/>
                      <a:pt x="254" y="399"/>
                    </a:cubicBezTo>
                    <a:cubicBezTo>
                      <a:pt x="253" y="399"/>
                      <a:pt x="253" y="398"/>
                      <a:pt x="252" y="398"/>
                    </a:cubicBezTo>
                    <a:cubicBezTo>
                      <a:pt x="251" y="399"/>
                      <a:pt x="251" y="398"/>
                      <a:pt x="251" y="397"/>
                    </a:cubicBezTo>
                    <a:cubicBezTo>
                      <a:pt x="251" y="397"/>
                      <a:pt x="252" y="396"/>
                      <a:pt x="252" y="396"/>
                    </a:cubicBezTo>
                    <a:cubicBezTo>
                      <a:pt x="252" y="396"/>
                      <a:pt x="251" y="395"/>
                      <a:pt x="251" y="395"/>
                    </a:cubicBezTo>
                    <a:cubicBezTo>
                      <a:pt x="251" y="396"/>
                      <a:pt x="251" y="396"/>
                      <a:pt x="251" y="396"/>
                    </a:cubicBezTo>
                    <a:cubicBezTo>
                      <a:pt x="250" y="395"/>
                      <a:pt x="248" y="395"/>
                      <a:pt x="248" y="393"/>
                    </a:cubicBezTo>
                    <a:cubicBezTo>
                      <a:pt x="248" y="392"/>
                      <a:pt x="248" y="391"/>
                      <a:pt x="246" y="391"/>
                    </a:cubicBezTo>
                    <a:cubicBezTo>
                      <a:pt x="245" y="390"/>
                      <a:pt x="244" y="388"/>
                      <a:pt x="245" y="387"/>
                    </a:cubicBezTo>
                    <a:cubicBezTo>
                      <a:pt x="245" y="386"/>
                      <a:pt x="246" y="385"/>
                      <a:pt x="245" y="384"/>
                    </a:cubicBezTo>
                    <a:cubicBezTo>
                      <a:pt x="245" y="384"/>
                      <a:pt x="245" y="383"/>
                      <a:pt x="246" y="383"/>
                    </a:cubicBezTo>
                    <a:cubicBezTo>
                      <a:pt x="247" y="383"/>
                      <a:pt x="246" y="382"/>
                      <a:pt x="246" y="381"/>
                    </a:cubicBezTo>
                    <a:cubicBezTo>
                      <a:pt x="246" y="380"/>
                      <a:pt x="246" y="380"/>
                      <a:pt x="246" y="379"/>
                    </a:cubicBezTo>
                    <a:cubicBezTo>
                      <a:pt x="247" y="377"/>
                      <a:pt x="246" y="376"/>
                      <a:pt x="244" y="374"/>
                    </a:cubicBezTo>
                    <a:cubicBezTo>
                      <a:pt x="243" y="372"/>
                      <a:pt x="243" y="369"/>
                      <a:pt x="242" y="367"/>
                    </a:cubicBezTo>
                    <a:cubicBezTo>
                      <a:pt x="242" y="366"/>
                      <a:pt x="242" y="366"/>
                      <a:pt x="242" y="366"/>
                    </a:cubicBezTo>
                    <a:cubicBezTo>
                      <a:pt x="242" y="364"/>
                      <a:pt x="241" y="363"/>
                      <a:pt x="241" y="361"/>
                    </a:cubicBezTo>
                    <a:cubicBezTo>
                      <a:pt x="241" y="361"/>
                      <a:pt x="240" y="360"/>
                      <a:pt x="240" y="360"/>
                    </a:cubicBezTo>
                    <a:cubicBezTo>
                      <a:pt x="241" y="359"/>
                      <a:pt x="240" y="358"/>
                      <a:pt x="240" y="357"/>
                    </a:cubicBezTo>
                    <a:cubicBezTo>
                      <a:pt x="240" y="356"/>
                      <a:pt x="240" y="354"/>
                      <a:pt x="239" y="353"/>
                    </a:cubicBezTo>
                    <a:cubicBezTo>
                      <a:pt x="239" y="352"/>
                      <a:pt x="240" y="352"/>
                      <a:pt x="240" y="352"/>
                    </a:cubicBezTo>
                    <a:cubicBezTo>
                      <a:pt x="238" y="351"/>
                      <a:pt x="239" y="350"/>
                      <a:pt x="238" y="349"/>
                    </a:cubicBezTo>
                    <a:cubicBezTo>
                      <a:pt x="237" y="349"/>
                      <a:pt x="236" y="348"/>
                      <a:pt x="236" y="348"/>
                    </a:cubicBezTo>
                    <a:cubicBezTo>
                      <a:pt x="237" y="346"/>
                      <a:pt x="236" y="346"/>
                      <a:pt x="235" y="346"/>
                    </a:cubicBezTo>
                    <a:cubicBezTo>
                      <a:pt x="235" y="346"/>
                      <a:pt x="234" y="346"/>
                      <a:pt x="234" y="345"/>
                    </a:cubicBezTo>
                    <a:cubicBezTo>
                      <a:pt x="233" y="344"/>
                      <a:pt x="232" y="342"/>
                      <a:pt x="230" y="341"/>
                    </a:cubicBezTo>
                    <a:cubicBezTo>
                      <a:pt x="230" y="340"/>
                      <a:pt x="230" y="340"/>
                      <a:pt x="229" y="340"/>
                    </a:cubicBezTo>
                    <a:cubicBezTo>
                      <a:pt x="228" y="340"/>
                      <a:pt x="228" y="340"/>
                      <a:pt x="228" y="341"/>
                    </a:cubicBezTo>
                    <a:cubicBezTo>
                      <a:pt x="228" y="341"/>
                      <a:pt x="228" y="342"/>
                      <a:pt x="228" y="342"/>
                    </a:cubicBezTo>
                    <a:cubicBezTo>
                      <a:pt x="228" y="343"/>
                      <a:pt x="228" y="343"/>
                      <a:pt x="228" y="343"/>
                    </a:cubicBezTo>
                    <a:cubicBezTo>
                      <a:pt x="228" y="343"/>
                      <a:pt x="228" y="343"/>
                      <a:pt x="228" y="343"/>
                    </a:cubicBezTo>
                    <a:cubicBezTo>
                      <a:pt x="227" y="343"/>
                      <a:pt x="227" y="342"/>
                      <a:pt x="227" y="342"/>
                    </a:cubicBezTo>
                    <a:cubicBezTo>
                      <a:pt x="226" y="341"/>
                      <a:pt x="225" y="340"/>
                      <a:pt x="223" y="339"/>
                    </a:cubicBezTo>
                    <a:cubicBezTo>
                      <a:pt x="223" y="339"/>
                      <a:pt x="222" y="339"/>
                      <a:pt x="222" y="339"/>
                    </a:cubicBezTo>
                    <a:cubicBezTo>
                      <a:pt x="222" y="340"/>
                      <a:pt x="221" y="340"/>
                      <a:pt x="221" y="341"/>
                    </a:cubicBezTo>
                    <a:cubicBezTo>
                      <a:pt x="222" y="342"/>
                      <a:pt x="222" y="342"/>
                      <a:pt x="223" y="342"/>
                    </a:cubicBezTo>
                    <a:cubicBezTo>
                      <a:pt x="220" y="342"/>
                      <a:pt x="220" y="343"/>
                      <a:pt x="221" y="345"/>
                    </a:cubicBezTo>
                    <a:cubicBezTo>
                      <a:pt x="221" y="346"/>
                      <a:pt x="221" y="347"/>
                      <a:pt x="221" y="348"/>
                    </a:cubicBezTo>
                    <a:cubicBezTo>
                      <a:pt x="221" y="350"/>
                      <a:pt x="222" y="352"/>
                      <a:pt x="222" y="354"/>
                    </a:cubicBezTo>
                    <a:cubicBezTo>
                      <a:pt x="222" y="356"/>
                      <a:pt x="224" y="357"/>
                      <a:pt x="222" y="358"/>
                    </a:cubicBezTo>
                    <a:cubicBezTo>
                      <a:pt x="222" y="358"/>
                      <a:pt x="222" y="359"/>
                      <a:pt x="222" y="359"/>
                    </a:cubicBezTo>
                    <a:cubicBezTo>
                      <a:pt x="224" y="360"/>
                      <a:pt x="223" y="361"/>
                      <a:pt x="223" y="363"/>
                    </a:cubicBezTo>
                    <a:cubicBezTo>
                      <a:pt x="224" y="364"/>
                      <a:pt x="223" y="365"/>
                      <a:pt x="224" y="367"/>
                    </a:cubicBezTo>
                    <a:cubicBezTo>
                      <a:pt x="224" y="367"/>
                      <a:pt x="224" y="367"/>
                      <a:pt x="224" y="367"/>
                    </a:cubicBezTo>
                    <a:cubicBezTo>
                      <a:pt x="224" y="368"/>
                      <a:pt x="225" y="369"/>
                      <a:pt x="226" y="370"/>
                    </a:cubicBezTo>
                    <a:cubicBezTo>
                      <a:pt x="226" y="370"/>
                      <a:pt x="227" y="371"/>
                      <a:pt x="226" y="372"/>
                    </a:cubicBezTo>
                    <a:cubicBezTo>
                      <a:pt x="226" y="372"/>
                      <a:pt x="225" y="372"/>
                      <a:pt x="226" y="373"/>
                    </a:cubicBezTo>
                    <a:cubicBezTo>
                      <a:pt x="226" y="373"/>
                      <a:pt x="227" y="373"/>
                      <a:pt x="227" y="373"/>
                    </a:cubicBezTo>
                    <a:cubicBezTo>
                      <a:pt x="227" y="373"/>
                      <a:pt x="226" y="374"/>
                      <a:pt x="226" y="374"/>
                    </a:cubicBezTo>
                    <a:cubicBezTo>
                      <a:pt x="225" y="373"/>
                      <a:pt x="225" y="374"/>
                      <a:pt x="224" y="375"/>
                    </a:cubicBezTo>
                    <a:cubicBezTo>
                      <a:pt x="224" y="375"/>
                      <a:pt x="224" y="375"/>
                      <a:pt x="224" y="375"/>
                    </a:cubicBezTo>
                    <a:cubicBezTo>
                      <a:pt x="222" y="375"/>
                      <a:pt x="224" y="376"/>
                      <a:pt x="223" y="377"/>
                    </a:cubicBezTo>
                    <a:cubicBezTo>
                      <a:pt x="222" y="377"/>
                      <a:pt x="222" y="376"/>
                      <a:pt x="222" y="376"/>
                    </a:cubicBezTo>
                    <a:cubicBezTo>
                      <a:pt x="222" y="376"/>
                      <a:pt x="222" y="376"/>
                      <a:pt x="222" y="376"/>
                    </a:cubicBezTo>
                    <a:cubicBezTo>
                      <a:pt x="222" y="376"/>
                      <a:pt x="222" y="375"/>
                      <a:pt x="221" y="375"/>
                    </a:cubicBezTo>
                    <a:cubicBezTo>
                      <a:pt x="221" y="375"/>
                      <a:pt x="221" y="375"/>
                      <a:pt x="220" y="374"/>
                    </a:cubicBezTo>
                    <a:cubicBezTo>
                      <a:pt x="219" y="372"/>
                      <a:pt x="221" y="370"/>
                      <a:pt x="219" y="368"/>
                    </a:cubicBezTo>
                    <a:cubicBezTo>
                      <a:pt x="219" y="366"/>
                      <a:pt x="218" y="364"/>
                      <a:pt x="218" y="362"/>
                    </a:cubicBezTo>
                    <a:cubicBezTo>
                      <a:pt x="217" y="361"/>
                      <a:pt x="217" y="360"/>
                      <a:pt x="218" y="360"/>
                    </a:cubicBezTo>
                    <a:cubicBezTo>
                      <a:pt x="218" y="359"/>
                      <a:pt x="218" y="358"/>
                      <a:pt x="217" y="357"/>
                    </a:cubicBezTo>
                    <a:cubicBezTo>
                      <a:pt x="217" y="356"/>
                      <a:pt x="217" y="356"/>
                      <a:pt x="216" y="356"/>
                    </a:cubicBezTo>
                    <a:cubicBezTo>
                      <a:pt x="216" y="357"/>
                      <a:pt x="215" y="357"/>
                      <a:pt x="215" y="356"/>
                    </a:cubicBezTo>
                    <a:cubicBezTo>
                      <a:pt x="215" y="355"/>
                      <a:pt x="216" y="354"/>
                      <a:pt x="215" y="354"/>
                    </a:cubicBezTo>
                    <a:cubicBezTo>
                      <a:pt x="215" y="352"/>
                      <a:pt x="214" y="353"/>
                      <a:pt x="214" y="353"/>
                    </a:cubicBezTo>
                    <a:cubicBezTo>
                      <a:pt x="213" y="353"/>
                      <a:pt x="213" y="352"/>
                      <a:pt x="213" y="352"/>
                    </a:cubicBezTo>
                    <a:cubicBezTo>
                      <a:pt x="212" y="351"/>
                      <a:pt x="212" y="351"/>
                      <a:pt x="211" y="351"/>
                    </a:cubicBezTo>
                    <a:cubicBezTo>
                      <a:pt x="210" y="350"/>
                      <a:pt x="210" y="350"/>
                      <a:pt x="211" y="349"/>
                    </a:cubicBezTo>
                    <a:cubicBezTo>
                      <a:pt x="210" y="348"/>
                      <a:pt x="210" y="349"/>
                      <a:pt x="209" y="349"/>
                    </a:cubicBezTo>
                    <a:cubicBezTo>
                      <a:pt x="209" y="347"/>
                      <a:pt x="207" y="347"/>
                      <a:pt x="205" y="347"/>
                    </a:cubicBezTo>
                    <a:cubicBezTo>
                      <a:pt x="204" y="346"/>
                      <a:pt x="204" y="347"/>
                      <a:pt x="204" y="348"/>
                    </a:cubicBezTo>
                    <a:cubicBezTo>
                      <a:pt x="204" y="349"/>
                      <a:pt x="205" y="350"/>
                      <a:pt x="206" y="351"/>
                    </a:cubicBezTo>
                    <a:cubicBezTo>
                      <a:pt x="207" y="351"/>
                      <a:pt x="207" y="351"/>
                      <a:pt x="207" y="351"/>
                    </a:cubicBezTo>
                    <a:cubicBezTo>
                      <a:pt x="207" y="353"/>
                      <a:pt x="208" y="353"/>
                      <a:pt x="209" y="353"/>
                    </a:cubicBezTo>
                    <a:cubicBezTo>
                      <a:pt x="209" y="353"/>
                      <a:pt x="209" y="353"/>
                      <a:pt x="209" y="353"/>
                    </a:cubicBezTo>
                    <a:cubicBezTo>
                      <a:pt x="210" y="353"/>
                      <a:pt x="210" y="354"/>
                      <a:pt x="209" y="355"/>
                    </a:cubicBezTo>
                    <a:cubicBezTo>
                      <a:pt x="209" y="354"/>
                      <a:pt x="209" y="354"/>
                      <a:pt x="208" y="354"/>
                    </a:cubicBezTo>
                    <a:cubicBezTo>
                      <a:pt x="208" y="354"/>
                      <a:pt x="208" y="353"/>
                      <a:pt x="207" y="353"/>
                    </a:cubicBezTo>
                    <a:cubicBezTo>
                      <a:pt x="207" y="354"/>
                      <a:pt x="207" y="355"/>
                      <a:pt x="208" y="355"/>
                    </a:cubicBezTo>
                    <a:cubicBezTo>
                      <a:pt x="208" y="355"/>
                      <a:pt x="209" y="356"/>
                      <a:pt x="209" y="357"/>
                    </a:cubicBezTo>
                    <a:cubicBezTo>
                      <a:pt x="209" y="357"/>
                      <a:pt x="209" y="357"/>
                      <a:pt x="210" y="357"/>
                    </a:cubicBezTo>
                    <a:cubicBezTo>
                      <a:pt x="210" y="357"/>
                      <a:pt x="210" y="357"/>
                      <a:pt x="210" y="357"/>
                    </a:cubicBezTo>
                    <a:cubicBezTo>
                      <a:pt x="210" y="359"/>
                      <a:pt x="209" y="358"/>
                      <a:pt x="208" y="359"/>
                    </a:cubicBezTo>
                    <a:cubicBezTo>
                      <a:pt x="208" y="359"/>
                      <a:pt x="208" y="359"/>
                      <a:pt x="207" y="358"/>
                    </a:cubicBezTo>
                    <a:cubicBezTo>
                      <a:pt x="207" y="358"/>
                      <a:pt x="207" y="357"/>
                      <a:pt x="205" y="358"/>
                    </a:cubicBezTo>
                    <a:cubicBezTo>
                      <a:pt x="205" y="358"/>
                      <a:pt x="205" y="358"/>
                      <a:pt x="205" y="358"/>
                    </a:cubicBezTo>
                    <a:cubicBezTo>
                      <a:pt x="205" y="358"/>
                      <a:pt x="205" y="358"/>
                      <a:pt x="205" y="358"/>
                    </a:cubicBezTo>
                    <a:cubicBezTo>
                      <a:pt x="205" y="358"/>
                      <a:pt x="205" y="358"/>
                      <a:pt x="205" y="358"/>
                    </a:cubicBezTo>
                    <a:cubicBezTo>
                      <a:pt x="205" y="357"/>
                      <a:pt x="204" y="356"/>
                      <a:pt x="204" y="357"/>
                    </a:cubicBezTo>
                    <a:cubicBezTo>
                      <a:pt x="203" y="358"/>
                      <a:pt x="202" y="359"/>
                      <a:pt x="201" y="361"/>
                    </a:cubicBezTo>
                    <a:cubicBezTo>
                      <a:pt x="201" y="361"/>
                      <a:pt x="201" y="362"/>
                      <a:pt x="200" y="362"/>
                    </a:cubicBezTo>
                    <a:cubicBezTo>
                      <a:pt x="200" y="361"/>
                      <a:pt x="200" y="361"/>
                      <a:pt x="200" y="360"/>
                    </a:cubicBezTo>
                    <a:cubicBezTo>
                      <a:pt x="200" y="360"/>
                      <a:pt x="200" y="360"/>
                      <a:pt x="200" y="359"/>
                    </a:cubicBezTo>
                    <a:cubicBezTo>
                      <a:pt x="200" y="359"/>
                      <a:pt x="199" y="360"/>
                      <a:pt x="199" y="360"/>
                    </a:cubicBezTo>
                    <a:cubicBezTo>
                      <a:pt x="198" y="361"/>
                      <a:pt x="197" y="362"/>
                      <a:pt x="196" y="362"/>
                    </a:cubicBezTo>
                    <a:cubicBezTo>
                      <a:pt x="196" y="362"/>
                      <a:pt x="195" y="362"/>
                      <a:pt x="195" y="362"/>
                    </a:cubicBezTo>
                    <a:cubicBezTo>
                      <a:pt x="195" y="362"/>
                      <a:pt x="195" y="361"/>
                      <a:pt x="196" y="361"/>
                    </a:cubicBezTo>
                    <a:cubicBezTo>
                      <a:pt x="196" y="361"/>
                      <a:pt x="196" y="361"/>
                      <a:pt x="197" y="360"/>
                    </a:cubicBezTo>
                    <a:cubicBezTo>
                      <a:pt x="198" y="360"/>
                      <a:pt x="199" y="360"/>
                      <a:pt x="199" y="358"/>
                    </a:cubicBezTo>
                    <a:cubicBezTo>
                      <a:pt x="199" y="358"/>
                      <a:pt x="199" y="357"/>
                      <a:pt x="200" y="357"/>
                    </a:cubicBezTo>
                    <a:cubicBezTo>
                      <a:pt x="201" y="356"/>
                      <a:pt x="201" y="354"/>
                      <a:pt x="199" y="353"/>
                    </a:cubicBezTo>
                    <a:cubicBezTo>
                      <a:pt x="198" y="352"/>
                      <a:pt x="197" y="352"/>
                      <a:pt x="196" y="351"/>
                    </a:cubicBezTo>
                    <a:cubicBezTo>
                      <a:pt x="195" y="349"/>
                      <a:pt x="192" y="349"/>
                      <a:pt x="190" y="347"/>
                    </a:cubicBezTo>
                    <a:cubicBezTo>
                      <a:pt x="190" y="347"/>
                      <a:pt x="190" y="347"/>
                      <a:pt x="190" y="347"/>
                    </a:cubicBezTo>
                    <a:cubicBezTo>
                      <a:pt x="188" y="346"/>
                      <a:pt x="187" y="347"/>
                      <a:pt x="186" y="348"/>
                    </a:cubicBezTo>
                    <a:cubicBezTo>
                      <a:pt x="186" y="349"/>
                      <a:pt x="186" y="351"/>
                      <a:pt x="185" y="352"/>
                    </a:cubicBezTo>
                    <a:cubicBezTo>
                      <a:pt x="185" y="352"/>
                      <a:pt x="185" y="352"/>
                      <a:pt x="185" y="352"/>
                    </a:cubicBezTo>
                    <a:cubicBezTo>
                      <a:pt x="186" y="354"/>
                      <a:pt x="186" y="354"/>
                      <a:pt x="184" y="355"/>
                    </a:cubicBezTo>
                    <a:cubicBezTo>
                      <a:pt x="184" y="355"/>
                      <a:pt x="184" y="355"/>
                      <a:pt x="184" y="354"/>
                    </a:cubicBezTo>
                    <a:cubicBezTo>
                      <a:pt x="183" y="356"/>
                      <a:pt x="182" y="354"/>
                      <a:pt x="181" y="355"/>
                    </a:cubicBezTo>
                    <a:cubicBezTo>
                      <a:pt x="180" y="356"/>
                      <a:pt x="179" y="357"/>
                      <a:pt x="178" y="357"/>
                    </a:cubicBezTo>
                    <a:cubicBezTo>
                      <a:pt x="178" y="357"/>
                      <a:pt x="178" y="358"/>
                      <a:pt x="177" y="357"/>
                    </a:cubicBezTo>
                    <a:cubicBezTo>
                      <a:pt x="177" y="357"/>
                      <a:pt x="177" y="357"/>
                      <a:pt x="177" y="357"/>
                    </a:cubicBezTo>
                    <a:cubicBezTo>
                      <a:pt x="177" y="357"/>
                      <a:pt x="177" y="356"/>
                      <a:pt x="178" y="356"/>
                    </a:cubicBezTo>
                    <a:cubicBezTo>
                      <a:pt x="178" y="355"/>
                      <a:pt x="179" y="355"/>
                      <a:pt x="180" y="354"/>
                    </a:cubicBezTo>
                    <a:cubicBezTo>
                      <a:pt x="180" y="354"/>
                      <a:pt x="180" y="354"/>
                      <a:pt x="180" y="354"/>
                    </a:cubicBezTo>
                    <a:cubicBezTo>
                      <a:pt x="180" y="352"/>
                      <a:pt x="180" y="352"/>
                      <a:pt x="181" y="351"/>
                    </a:cubicBezTo>
                    <a:cubicBezTo>
                      <a:pt x="182" y="351"/>
                      <a:pt x="182" y="351"/>
                      <a:pt x="182" y="350"/>
                    </a:cubicBezTo>
                    <a:cubicBezTo>
                      <a:pt x="182" y="349"/>
                      <a:pt x="182" y="348"/>
                      <a:pt x="182" y="347"/>
                    </a:cubicBezTo>
                    <a:cubicBezTo>
                      <a:pt x="183" y="345"/>
                      <a:pt x="182" y="343"/>
                      <a:pt x="181" y="341"/>
                    </a:cubicBezTo>
                    <a:cubicBezTo>
                      <a:pt x="181" y="340"/>
                      <a:pt x="180" y="339"/>
                      <a:pt x="179" y="339"/>
                    </a:cubicBezTo>
                    <a:cubicBezTo>
                      <a:pt x="178" y="338"/>
                      <a:pt x="177" y="339"/>
                      <a:pt x="176" y="340"/>
                    </a:cubicBezTo>
                    <a:cubicBezTo>
                      <a:pt x="173" y="342"/>
                      <a:pt x="169" y="343"/>
                      <a:pt x="165" y="346"/>
                    </a:cubicBezTo>
                    <a:cubicBezTo>
                      <a:pt x="163" y="348"/>
                      <a:pt x="159" y="348"/>
                      <a:pt x="158" y="352"/>
                    </a:cubicBezTo>
                    <a:cubicBezTo>
                      <a:pt x="158" y="352"/>
                      <a:pt x="157" y="352"/>
                      <a:pt x="157" y="352"/>
                    </a:cubicBezTo>
                    <a:cubicBezTo>
                      <a:pt x="156" y="354"/>
                      <a:pt x="154" y="355"/>
                      <a:pt x="152" y="357"/>
                    </a:cubicBezTo>
                    <a:cubicBezTo>
                      <a:pt x="152" y="358"/>
                      <a:pt x="151" y="359"/>
                      <a:pt x="151" y="360"/>
                    </a:cubicBezTo>
                    <a:cubicBezTo>
                      <a:pt x="151" y="361"/>
                      <a:pt x="152" y="362"/>
                      <a:pt x="153" y="362"/>
                    </a:cubicBezTo>
                    <a:cubicBezTo>
                      <a:pt x="154" y="361"/>
                      <a:pt x="154" y="362"/>
                      <a:pt x="154" y="363"/>
                    </a:cubicBezTo>
                    <a:cubicBezTo>
                      <a:pt x="154" y="364"/>
                      <a:pt x="154" y="364"/>
                      <a:pt x="153" y="365"/>
                    </a:cubicBezTo>
                    <a:cubicBezTo>
                      <a:pt x="152" y="365"/>
                      <a:pt x="151" y="365"/>
                      <a:pt x="151" y="367"/>
                    </a:cubicBezTo>
                    <a:cubicBezTo>
                      <a:pt x="151" y="368"/>
                      <a:pt x="150" y="368"/>
                      <a:pt x="149" y="369"/>
                    </a:cubicBezTo>
                    <a:cubicBezTo>
                      <a:pt x="148" y="371"/>
                      <a:pt x="147" y="374"/>
                      <a:pt x="148" y="377"/>
                    </a:cubicBezTo>
                    <a:cubicBezTo>
                      <a:pt x="148" y="377"/>
                      <a:pt x="149" y="378"/>
                      <a:pt x="149" y="377"/>
                    </a:cubicBezTo>
                    <a:cubicBezTo>
                      <a:pt x="150" y="376"/>
                      <a:pt x="152" y="376"/>
                      <a:pt x="152" y="377"/>
                    </a:cubicBezTo>
                    <a:cubicBezTo>
                      <a:pt x="153" y="379"/>
                      <a:pt x="154" y="378"/>
                      <a:pt x="154" y="377"/>
                    </a:cubicBezTo>
                    <a:cubicBezTo>
                      <a:pt x="155" y="376"/>
                      <a:pt x="155" y="376"/>
                      <a:pt x="156" y="376"/>
                    </a:cubicBezTo>
                    <a:cubicBezTo>
                      <a:pt x="156" y="377"/>
                      <a:pt x="156" y="377"/>
                      <a:pt x="156" y="378"/>
                    </a:cubicBezTo>
                    <a:cubicBezTo>
                      <a:pt x="157" y="378"/>
                      <a:pt x="157" y="378"/>
                      <a:pt x="157" y="378"/>
                    </a:cubicBezTo>
                    <a:cubicBezTo>
                      <a:pt x="157" y="379"/>
                      <a:pt x="157" y="379"/>
                      <a:pt x="156" y="379"/>
                    </a:cubicBezTo>
                    <a:cubicBezTo>
                      <a:pt x="156" y="379"/>
                      <a:pt x="155" y="379"/>
                      <a:pt x="155" y="379"/>
                    </a:cubicBezTo>
                    <a:cubicBezTo>
                      <a:pt x="154" y="379"/>
                      <a:pt x="153" y="380"/>
                      <a:pt x="153" y="381"/>
                    </a:cubicBezTo>
                    <a:cubicBezTo>
                      <a:pt x="153" y="382"/>
                      <a:pt x="154" y="382"/>
                      <a:pt x="155" y="382"/>
                    </a:cubicBezTo>
                    <a:cubicBezTo>
                      <a:pt x="156" y="382"/>
                      <a:pt x="157" y="382"/>
                      <a:pt x="158" y="382"/>
                    </a:cubicBezTo>
                    <a:cubicBezTo>
                      <a:pt x="159" y="382"/>
                      <a:pt x="158" y="381"/>
                      <a:pt x="159" y="381"/>
                    </a:cubicBezTo>
                    <a:cubicBezTo>
                      <a:pt x="159" y="381"/>
                      <a:pt x="159" y="381"/>
                      <a:pt x="159" y="381"/>
                    </a:cubicBezTo>
                    <a:cubicBezTo>
                      <a:pt x="159" y="381"/>
                      <a:pt x="159" y="381"/>
                      <a:pt x="159" y="381"/>
                    </a:cubicBezTo>
                    <a:cubicBezTo>
                      <a:pt x="159" y="382"/>
                      <a:pt x="160" y="382"/>
                      <a:pt x="161" y="382"/>
                    </a:cubicBezTo>
                    <a:cubicBezTo>
                      <a:pt x="162" y="381"/>
                      <a:pt x="163" y="381"/>
                      <a:pt x="165" y="380"/>
                    </a:cubicBezTo>
                    <a:cubicBezTo>
                      <a:pt x="166" y="380"/>
                      <a:pt x="168" y="380"/>
                      <a:pt x="170" y="379"/>
                    </a:cubicBezTo>
                    <a:cubicBezTo>
                      <a:pt x="170" y="378"/>
                      <a:pt x="171" y="378"/>
                      <a:pt x="171" y="379"/>
                    </a:cubicBezTo>
                    <a:cubicBezTo>
                      <a:pt x="172" y="380"/>
                      <a:pt x="173" y="380"/>
                      <a:pt x="174" y="380"/>
                    </a:cubicBezTo>
                    <a:cubicBezTo>
                      <a:pt x="173" y="381"/>
                      <a:pt x="172" y="381"/>
                      <a:pt x="171" y="380"/>
                    </a:cubicBezTo>
                    <a:cubicBezTo>
                      <a:pt x="171" y="380"/>
                      <a:pt x="170" y="380"/>
                      <a:pt x="170" y="380"/>
                    </a:cubicBezTo>
                    <a:cubicBezTo>
                      <a:pt x="169" y="381"/>
                      <a:pt x="168" y="381"/>
                      <a:pt x="168" y="381"/>
                    </a:cubicBezTo>
                    <a:cubicBezTo>
                      <a:pt x="168" y="382"/>
                      <a:pt x="169" y="382"/>
                      <a:pt x="170" y="382"/>
                    </a:cubicBezTo>
                    <a:cubicBezTo>
                      <a:pt x="170" y="382"/>
                      <a:pt x="170" y="382"/>
                      <a:pt x="170" y="382"/>
                    </a:cubicBezTo>
                    <a:cubicBezTo>
                      <a:pt x="170" y="383"/>
                      <a:pt x="169" y="383"/>
                      <a:pt x="169" y="383"/>
                    </a:cubicBezTo>
                    <a:cubicBezTo>
                      <a:pt x="167" y="382"/>
                      <a:pt x="165" y="383"/>
                      <a:pt x="164" y="384"/>
                    </a:cubicBezTo>
                    <a:cubicBezTo>
                      <a:pt x="162" y="385"/>
                      <a:pt x="161" y="386"/>
                      <a:pt x="159" y="386"/>
                    </a:cubicBezTo>
                    <a:cubicBezTo>
                      <a:pt x="157" y="387"/>
                      <a:pt x="155" y="388"/>
                      <a:pt x="153" y="389"/>
                    </a:cubicBezTo>
                    <a:cubicBezTo>
                      <a:pt x="152" y="390"/>
                      <a:pt x="152" y="390"/>
                      <a:pt x="153" y="391"/>
                    </a:cubicBezTo>
                    <a:cubicBezTo>
                      <a:pt x="153" y="392"/>
                      <a:pt x="153" y="393"/>
                      <a:pt x="154" y="393"/>
                    </a:cubicBezTo>
                    <a:cubicBezTo>
                      <a:pt x="155" y="395"/>
                      <a:pt x="156" y="395"/>
                      <a:pt x="157" y="396"/>
                    </a:cubicBezTo>
                    <a:cubicBezTo>
                      <a:pt x="157" y="396"/>
                      <a:pt x="157" y="396"/>
                      <a:pt x="157" y="396"/>
                    </a:cubicBezTo>
                    <a:cubicBezTo>
                      <a:pt x="157" y="397"/>
                      <a:pt x="157" y="398"/>
                      <a:pt x="158" y="398"/>
                    </a:cubicBezTo>
                    <a:cubicBezTo>
                      <a:pt x="159" y="398"/>
                      <a:pt x="160" y="398"/>
                      <a:pt x="161" y="398"/>
                    </a:cubicBezTo>
                    <a:cubicBezTo>
                      <a:pt x="161" y="398"/>
                      <a:pt x="161" y="398"/>
                      <a:pt x="161" y="398"/>
                    </a:cubicBezTo>
                    <a:cubicBezTo>
                      <a:pt x="163" y="398"/>
                      <a:pt x="164" y="398"/>
                      <a:pt x="165" y="398"/>
                    </a:cubicBezTo>
                    <a:cubicBezTo>
                      <a:pt x="166" y="397"/>
                      <a:pt x="167" y="397"/>
                      <a:pt x="167" y="398"/>
                    </a:cubicBezTo>
                    <a:cubicBezTo>
                      <a:pt x="168" y="399"/>
                      <a:pt x="168" y="400"/>
                      <a:pt x="169" y="399"/>
                    </a:cubicBezTo>
                    <a:cubicBezTo>
                      <a:pt x="170" y="398"/>
                      <a:pt x="171" y="399"/>
                      <a:pt x="171" y="398"/>
                    </a:cubicBezTo>
                    <a:cubicBezTo>
                      <a:pt x="171" y="398"/>
                      <a:pt x="171" y="398"/>
                      <a:pt x="171" y="398"/>
                    </a:cubicBezTo>
                    <a:cubicBezTo>
                      <a:pt x="172" y="398"/>
                      <a:pt x="173" y="398"/>
                      <a:pt x="174" y="398"/>
                    </a:cubicBezTo>
                    <a:cubicBezTo>
                      <a:pt x="175" y="398"/>
                      <a:pt x="177" y="398"/>
                      <a:pt x="178" y="398"/>
                    </a:cubicBezTo>
                    <a:cubicBezTo>
                      <a:pt x="179" y="397"/>
                      <a:pt x="179" y="397"/>
                      <a:pt x="180" y="397"/>
                    </a:cubicBezTo>
                    <a:cubicBezTo>
                      <a:pt x="182" y="396"/>
                      <a:pt x="183" y="395"/>
                      <a:pt x="184" y="397"/>
                    </a:cubicBezTo>
                    <a:cubicBezTo>
                      <a:pt x="186" y="397"/>
                      <a:pt x="187" y="397"/>
                      <a:pt x="188" y="399"/>
                    </a:cubicBezTo>
                    <a:cubicBezTo>
                      <a:pt x="189" y="399"/>
                      <a:pt x="189" y="399"/>
                      <a:pt x="190" y="399"/>
                    </a:cubicBezTo>
                    <a:cubicBezTo>
                      <a:pt x="190" y="399"/>
                      <a:pt x="191" y="399"/>
                      <a:pt x="191" y="400"/>
                    </a:cubicBezTo>
                    <a:cubicBezTo>
                      <a:pt x="193" y="400"/>
                      <a:pt x="195" y="400"/>
                      <a:pt x="195" y="402"/>
                    </a:cubicBezTo>
                    <a:cubicBezTo>
                      <a:pt x="195" y="403"/>
                      <a:pt x="196" y="403"/>
                      <a:pt x="196" y="403"/>
                    </a:cubicBezTo>
                    <a:cubicBezTo>
                      <a:pt x="197" y="403"/>
                      <a:pt x="198" y="403"/>
                      <a:pt x="198" y="403"/>
                    </a:cubicBezTo>
                    <a:cubicBezTo>
                      <a:pt x="199" y="404"/>
                      <a:pt x="198" y="404"/>
                      <a:pt x="198" y="404"/>
                    </a:cubicBezTo>
                    <a:cubicBezTo>
                      <a:pt x="198" y="404"/>
                      <a:pt x="197" y="404"/>
                      <a:pt x="198" y="404"/>
                    </a:cubicBezTo>
                    <a:cubicBezTo>
                      <a:pt x="198" y="404"/>
                      <a:pt x="198" y="404"/>
                      <a:pt x="198" y="404"/>
                    </a:cubicBezTo>
                    <a:cubicBezTo>
                      <a:pt x="198" y="404"/>
                      <a:pt x="198" y="404"/>
                      <a:pt x="198" y="404"/>
                    </a:cubicBezTo>
                    <a:cubicBezTo>
                      <a:pt x="197" y="405"/>
                      <a:pt x="196" y="404"/>
                      <a:pt x="195" y="405"/>
                    </a:cubicBezTo>
                    <a:cubicBezTo>
                      <a:pt x="195" y="405"/>
                      <a:pt x="195" y="405"/>
                      <a:pt x="195" y="405"/>
                    </a:cubicBezTo>
                    <a:cubicBezTo>
                      <a:pt x="194" y="405"/>
                      <a:pt x="194" y="405"/>
                      <a:pt x="193" y="406"/>
                    </a:cubicBezTo>
                    <a:cubicBezTo>
                      <a:pt x="193" y="406"/>
                      <a:pt x="193" y="406"/>
                      <a:pt x="193" y="406"/>
                    </a:cubicBezTo>
                    <a:cubicBezTo>
                      <a:pt x="193" y="406"/>
                      <a:pt x="193" y="406"/>
                      <a:pt x="193" y="406"/>
                    </a:cubicBezTo>
                    <a:cubicBezTo>
                      <a:pt x="193" y="406"/>
                      <a:pt x="193" y="406"/>
                      <a:pt x="193" y="406"/>
                    </a:cubicBezTo>
                    <a:cubicBezTo>
                      <a:pt x="193" y="406"/>
                      <a:pt x="193" y="406"/>
                      <a:pt x="192" y="406"/>
                    </a:cubicBezTo>
                    <a:cubicBezTo>
                      <a:pt x="191" y="406"/>
                      <a:pt x="190" y="406"/>
                      <a:pt x="189" y="405"/>
                    </a:cubicBezTo>
                    <a:cubicBezTo>
                      <a:pt x="187" y="405"/>
                      <a:pt x="186" y="405"/>
                      <a:pt x="184" y="405"/>
                    </a:cubicBezTo>
                    <a:cubicBezTo>
                      <a:pt x="183" y="405"/>
                      <a:pt x="182" y="405"/>
                      <a:pt x="181" y="404"/>
                    </a:cubicBezTo>
                    <a:cubicBezTo>
                      <a:pt x="180" y="404"/>
                      <a:pt x="179" y="404"/>
                      <a:pt x="178" y="404"/>
                    </a:cubicBezTo>
                    <a:cubicBezTo>
                      <a:pt x="175" y="405"/>
                      <a:pt x="173" y="405"/>
                      <a:pt x="170" y="406"/>
                    </a:cubicBezTo>
                    <a:cubicBezTo>
                      <a:pt x="167" y="406"/>
                      <a:pt x="163" y="407"/>
                      <a:pt x="160" y="409"/>
                    </a:cubicBezTo>
                    <a:cubicBezTo>
                      <a:pt x="159" y="409"/>
                      <a:pt x="159" y="410"/>
                      <a:pt x="159" y="411"/>
                    </a:cubicBezTo>
                    <a:cubicBezTo>
                      <a:pt x="160" y="412"/>
                      <a:pt x="160" y="413"/>
                      <a:pt x="160" y="414"/>
                    </a:cubicBezTo>
                    <a:cubicBezTo>
                      <a:pt x="160" y="415"/>
                      <a:pt x="161" y="415"/>
                      <a:pt x="161" y="416"/>
                    </a:cubicBezTo>
                    <a:cubicBezTo>
                      <a:pt x="162" y="416"/>
                      <a:pt x="163" y="417"/>
                      <a:pt x="163" y="418"/>
                    </a:cubicBezTo>
                    <a:cubicBezTo>
                      <a:pt x="163" y="418"/>
                      <a:pt x="163" y="419"/>
                      <a:pt x="163" y="419"/>
                    </a:cubicBezTo>
                    <a:cubicBezTo>
                      <a:pt x="165" y="419"/>
                      <a:pt x="165" y="419"/>
                      <a:pt x="165" y="420"/>
                    </a:cubicBezTo>
                    <a:cubicBezTo>
                      <a:pt x="164" y="421"/>
                      <a:pt x="164" y="421"/>
                      <a:pt x="165" y="421"/>
                    </a:cubicBezTo>
                    <a:cubicBezTo>
                      <a:pt x="166" y="422"/>
                      <a:pt x="167" y="423"/>
                      <a:pt x="169" y="424"/>
                    </a:cubicBezTo>
                    <a:cubicBezTo>
                      <a:pt x="172" y="425"/>
                      <a:pt x="175" y="424"/>
                      <a:pt x="178" y="424"/>
                    </a:cubicBezTo>
                    <a:cubicBezTo>
                      <a:pt x="180" y="424"/>
                      <a:pt x="182" y="425"/>
                      <a:pt x="184" y="425"/>
                    </a:cubicBezTo>
                    <a:cubicBezTo>
                      <a:pt x="184" y="425"/>
                      <a:pt x="184" y="425"/>
                      <a:pt x="184" y="426"/>
                    </a:cubicBezTo>
                    <a:cubicBezTo>
                      <a:pt x="184" y="427"/>
                      <a:pt x="185" y="429"/>
                      <a:pt x="185" y="430"/>
                    </a:cubicBezTo>
                    <a:cubicBezTo>
                      <a:pt x="184" y="432"/>
                      <a:pt x="185" y="436"/>
                      <a:pt x="187" y="437"/>
                    </a:cubicBezTo>
                    <a:cubicBezTo>
                      <a:pt x="187" y="438"/>
                      <a:pt x="188" y="438"/>
                      <a:pt x="188" y="438"/>
                    </a:cubicBezTo>
                    <a:cubicBezTo>
                      <a:pt x="188" y="439"/>
                      <a:pt x="187" y="438"/>
                      <a:pt x="187" y="439"/>
                    </a:cubicBezTo>
                    <a:cubicBezTo>
                      <a:pt x="187" y="439"/>
                      <a:pt x="188" y="439"/>
                      <a:pt x="188" y="439"/>
                    </a:cubicBezTo>
                    <a:cubicBezTo>
                      <a:pt x="188" y="439"/>
                      <a:pt x="188" y="439"/>
                      <a:pt x="188" y="439"/>
                    </a:cubicBezTo>
                    <a:cubicBezTo>
                      <a:pt x="189" y="439"/>
                      <a:pt x="190" y="439"/>
                      <a:pt x="191" y="438"/>
                    </a:cubicBezTo>
                    <a:cubicBezTo>
                      <a:pt x="191" y="438"/>
                      <a:pt x="191" y="438"/>
                      <a:pt x="191" y="438"/>
                    </a:cubicBezTo>
                    <a:cubicBezTo>
                      <a:pt x="194" y="438"/>
                      <a:pt x="197" y="437"/>
                      <a:pt x="200" y="438"/>
                    </a:cubicBezTo>
                    <a:cubicBezTo>
                      <a:pt x="200" y="437"/>
                      <a:pt x="199" y="437"/>
                      <a:pt x="199" y="437"/>
                    </a:cubicBezTo>
                    <a:cubicBezTo>
                      <a:pt x="200" y="437"/>
                      <a:pt x="200" y="437"/>
                      <a:pt x="201" y="437"/>
                    </a:cubicBezTo>
                    <a:cubicBezTo>
                      <a:pt x="201" y="436"/>
                      <a:pt x="201" y="437"/>
                      <a:pt x="202" y="437"/>
                    </a:cubicBezTo>
                    <a:cubicBezTo>
                      <a:pt x="202" y="437"/>
                      <a:pt x="202" y="437"/>
                      <a:pt x="202" y="437"/>
                    </a:cubicBezTo>
                    <a:cubicBezTo>
                      <a:pt x="202" y="437"/>
                      <a:pt x="202" y="437"/>
                      <a:pt x="202" y="437"/>
                    </a:cubicBezTo>
                    <a:cubicBezTo>
                      <a:pt x="201" y="437"/>
                      <a:pt x="201" y="438"/>
                      <a:pt x="202" y="438"/>
                    </a:cubicBezTo>
                    <a:cubicBezTo>
                      <a:pt x="202" y="438"/>
                      <a:pt x="202" y="438"/>
                      <a:pt x="202" y="438"/>
                    </a:cubicBezTo>
                    <a:cubicBezTo>
                      <a:pt x="202" y="438"/>
                      <a:pt x="202" y="438"/>
                      <a:pt x="202" y="438"/>
                    </a:cubicBezTo>
                    <a:cubicBezTo>
                      <a:pt x="201" y="439"/>
                      <a:pt x="201" y="439"/>
                      <a:pt x="202" y="439"/>
                    </a:cubicBezTo>
                    <a:cubicBezTo>
                      <a:pt x="204" y="439"/>
                      <a:pt x="205" y="438"/>
                      <a:pt x="205" y="437"/>
                    </a:cubicBezTo>
                    <a:cubicBezTo>
                      <a:pt x="206" y="437"/>
                      <a:pt x="206" y="437"/>
                      <a:pt x="206" y="437"/>
                    </a:cubicBezTo>
                    <a:cubicBezTo>
                      <a:pt x="207" y="437"/>
                      <a:pt x="208" y="436"/>
                      <a:pt x="209" y="436"/>
                    </a:cubicBezTo>
                    <a:cubicBezTo>
                      <a:pt x="211" y="436"/>
                      <a:pt x="213" y="435"/>
                      <a:pt x="215" y="434"/>
                    </a:cubicBezTo>
                    <a:cubicBezTo>
                      <a:pt x="216" y="434"/>
                      <a:pt x="218" y="433"/>
                      <a:pt x="218" y="431"/>
                    </a:cubicBezTo>
                    <a:cubicBezTo>
                      <a:pt x="219" y="430"/>
                      <a:pt x="219" y="430"/>
                      <a:pt x="220" y="430"/>
                    </a:cubicBezTo>
                    <a:cubicBezTo>
                      <a:pt x="220" y="430"/>
                      <a:pt x="221" y="430"/>
                      <a:pt x="222" y="430"/>
                    </a:cubicBezTo>
                    <a:cubicBezTo>
                      <a:pt x="223" y="430"/>
                      <a:pt x="225" y="430"/>
                      <a:pt x="226" y="429"/>
                    </a:cubicBezTo>
                    <a:cubicBezTo>
                      <a:pt x="227" y="427"/>
                      <a:pt x="229" y="426"/>
                      <a:pt x="229" y="423"/>
                    </a:cubicBezTo>
                    <a:cubicBezTo>
                      <a:pt x="229" y="423"/>
                      <a:pt x="229" y="422"/>
                      <a:pt x="229" y="422"/>
                    </a:cubicBezTo>
                    <a:cubicBezTo>
                      <a:pt x="230" y="422"/>
                      <a:pt x="230" y="421"/>
                      <a:pt x="230" y="421"/>
                    </a:cubicBezTo>
                    <a:cubicBezTo>
                      <a:pt x="231" y="420"/>
                      <a:pt x="231" y="420"/>
                      <a:pt x="232" y="420"/>
                    </a:cubicBezTo>
                    <a:cubicBezTo>
                      <a:pt x="233" y="421"/>
                      <a:pt x="234" y="423"/>
                      <a:pt x="233" y="424"/>
                    </a:cubicBezTo>
                    <a:cubicBezTo>
                      <a:pt x="233" y="425"/>
                      <a:pt x="233" y="425"/>
                      <a:pt x="233" y="426"/>
                    </a:cubicBezTo>
                    <a:cubicBezTo>
                      <a:pt x="234" y="427"/>
                      <a:pt x="235" y="426"/>
                      <a:pt x="236" y="426"/>
                    </a:cubicBezTo>
                    <a:cubicBezTo>
                      <a:pt x="236" y="426"/>
                      <a:pt x="236" y="426"/>
                      <a:pt x="236" y="426"/>
                    </a:cubicBezTo>
                    <a:cubicBezTo>
                      <a:pt x="236" y="426"/>
                      <a:pt x="236" y="426"/>
                      <a:pt x="236" y="426"/>
                    </a:cubicBezTo>
                    <a:cubicBezTo>
                      <a:pt x="237" y="426"/>
                      <a:pt x="237" y="426"/>
                      <a:pt x="238" y="426"/>
                    </a:cubicBezTo>
                    <a:cubicBezTo>
                      <a:pt x="238" y="426"/>
                      <a:pt x="238" y="426"/>
                      <a:pt x="238" y="426"/>
                    </a:cubicBezTo>
                    <a:cubicBezTo>
                      <a:pt x="238" y="426"/>
                      <a:pt x="238" y="426"/>
                      <a:pt x="238" y="426"/>
                    </a:cubicBezTo>
                    <a:cubicBezTo>
                      <a:pt x="239" y="427"/>
                      <a:pt x="240" y="428"/>
                      <a:pt x="241" y="428"/>
                    </a:cubicBezTo>
                    <a:cubicBezTo>
                      <a:pt x="242" y="428"/>
                      <a:pt x="242" y="428"/>
                      <a:pt x="242" y="428"/>
                    </a:cubicBezTo>
                    <a:cubicBezTo>
                      <a:pt x="242" y="428"/>
                      <a:pt x="242" y="429"/>
                      <a:pt x="242" y="429"/>
                    </a:cubicBezTo>
                    <a:cubicBezTo>
                      <a:pt x="242" y="429"/>
                      <a:pt x="241" y="429"/>
                      <a:pt x="241" y="429"/>
                    </a:cubicBezTo>
                    <a:cubicBezTo>
                      <a:pt x="241" y="430"/>
                      <a:pt x="241" y="430"/>
                      <a:pt x="241" y="431"/>
                    </a:cubicBezTo>
                    <a:cubicBezTo>
                      <a:pt x="241" y="431"/>
                      <a:pt x="241" y="431"/>
                      <a:pt x="242" y="431"/>
                    </a:cubicBezTo>
                    <a:cubicBezTo>
                      <a:pt x="242" y="431"/>
                      <a:pt x="242" y="432"/>
                      <a:pt x="243" y="432"/>
                    </a:cubicBezTo>
                    <a:cubicBezTo>
                      <a:pt x="244" y="432"/>
                      <a:pt x="245" y="432"/>
                      <a:pt x="246" y="431"/>
                    </a:cubicBezTo>
                    <a:cubicBezTo>
                      <a:pt x="246" y="430"/>
                      <a:pt x="247" y="431"/>
                      <a:pt x="247" y="430"/>
                    </a:cubicBezTo>
                    <a:cubicBezTo>
                      <a:pt x="247" y="432"/>
                      <a:pt x="248" y="431"/>
                      <a:pt x="249" y="432"/>
                    </a:cubicBezTo>
                    <a:cubicBezTo>
                      <a:pt x="251" y="433"/>
                      <a:pt x="252" y="433"/>
                      <a:pt x="254" y="432"/>
                    </a:cubicBezTo>
                    <a:cubicBezTo>
                      <a:pt x="254" y="432"/>
                      <a:pt x="254" y="432"/>
                      <a:pt x="254" y="432"/>
                    </a:cubicBezTo>
                    <a:cubicBezTo>
                      <a:pt x="255" y="433"/>
                      <a:pt x="255" y="433"/>
                      <a:pt x="255" y="433"/>
                    </a:cubicBezTo>
                    <a:cubicBezTo>
                      <a:pt x="256" y="433"/>
                      <a:pt x="257" y="432"/>
                      <a:pt x="257" y="432"/>
                    </a:cubicBezTo>
                    <a:cubicBezTo>
                      <a:pt x="257" y="431"/>
                      <a:pt x="259" y="432"/>
                      <a:pt x="259" y="431"/>
                    </a:cubicBezTo>
                    <a:cubicBezTo>
                      <a:pt x="259" y="430"/>
                      <a:pt x="260" y="430"/>
                      <a:pt x="260" y="430"/>
                    </a:cubicBezTo>
                    <a:cubicBezTo>
                      <a:pt x="261" y="430"/>
                      <a:pt x="262" y="429"/>
                      <a:pt x="263" y="429"/>
                    </a:cubicBezTo>
                    <a:cubicBezTo>
                      <a:pt x="263" y="430"/>
                      <a:pt x="263" y="429"/>
                      <a:pt x="263" y="429"/>
                    </a:cubicBezTo>
                    <a:cubicBezTo>
                      <a:pt x="263" y="428"/>
                      <a:pt x="263" y="428"/>
                      <a:pt x="263" y="428"/>
                    </a:cubicBezTo>
                    <a:cubicBezTo>
                      <a:pt x="264" y="426"/>
                      <a:pt x="263" y="425"/>
                      <a:pt x="262" y="424"/>
                    </a:cubicBezTo>
                    <a:cubicBezTo>
                      <a:pt x="262" y="424"/>
                      <a:pt x="262" y="423"/>
                      <a:pt x="261" y="423"/>
                    </a:cubicBezTo>
                    <a:cubicBezTo>
                      <a:pt x="261" y="423"/>
                      <a:pt x="261" y="423"/>
                      <a:pt x="261" y="423"/>
                    </a:cubicBezTo>
                    <a:cubicBezTo>
                      <a:pt x="261" y="423"/>
                      <a:pt x="261" y="423"/>
                      <a:pt x="261" y="423"/>
                    </a:cubicBezTo>
                    <a:cubicBezTo>
                      <a:pt x="260" y="423"/>
                      <a:pt x="261" y="423"/>
                      <a:pt x="262" y="422"/>
                    </a:cubicBezTo>
                    <a:cubicBezTo>
                      <a:pt x="262" y="422"/>
                      <a:pt x="262" y="422"/>
                      <a:pt x="262" y="421"/>
                    </a:cubicBezTo>
                    <a:cubicBezTo>
                      <a:pt x="262" y="420"/>
                      <a:pt x="261" y="420"/>
                      <a:pt x="260" y="420"/>
                    </a:cubicBezTo>
                    <a:cubicBezTo>
                      <a:pt x="260" y="420"/>
                      <a:pt x="259" y="420"/>
                      <a:pt x="259" y="420"/>
                    </a:cubicBezTo>
                    <a:cubicBezTo>
                      <a:pt x="259" y="421"/>
                      <a:pt x="258" y="421"/>
                      <a:pt x="257" y="422"/>
                    </a:cubicBezTo>
                    <a:cubicBezTo>
                      <a:pt x="257" y="422"/>
                      <a:pt x="256" y="422"/>
                      <a:pt x="256" y="423"/>
                    </a:cubicBezTo>
                    <a:cubicBezTo>
                      <a:pt x="255" y="424"/>
                      <a:pt x="255" y="426"/>
                      <a:pt x="254" y="426"/>
                    </a:cubicBezTo>
                    <a:cubicBezTo>
                      <a:pt x="254" y="426"/>
                      <a:pt x="254" y="426"/>
                      <a:pt x="254" y="425"/>
                    </a:cubicBezTo>
                    <a:cubicBezTo>
                      <a:pt x="255" y="424"/>
                      <a:pt x="255" y="422"/>
                      <a:pt x="255" y="421"/>
                    </a:cubicBezTo>
                    <a:cubicBezTo>
                      <a:pt x="255" y="420"/>
                      <a:pt x="254" y="420"/>
                      <a:pt x="254" y="419"/>
                    </a:cubicBezTo>
                    <a:cubicBezTo>
                      <a:pt x="254" y="419"/>
                      <a:pt x="254" y="419"/>
                      <a:pt x="254" y="419"/>
                    </a:cubicBezTo>
                    <a:cubicBezTo>
                      <a:pt x="253" y="418"/>
                      <a:pt x="253" y="418"/>
                      <a:pt x="252" y="418"/>
                    </a:cubicBezTo>
                    <a:cubicBezTo>
                      <a:pt x="252" y="418"/>
                      <a:pt x="252" y="418"/>
                      <a:pt x="252" y="418"/>
                    </a:cubicBezTo>
                    <a:cubicBezTo>
                      <a:pt x="252" y="417"/>
                      <a:pt x="252" y="416"/>
                      <a:pt x="252" y="416"/>
                    </a:cubicBezTo>
                    <a:cubicBezTo>
                      <a:pt x="253" y="416"/>
                      <a:pt x="253" y="416"/>
                      <a:pt x="254" y="417"/>
                    </a:cubicBezTo>
                    <a:cubicBezTo>
                      <a:pt x="254" y="418"/>
                      <a:pt x="255" y="418"/>
                      <a:pt x="256" y="419"/>
                    </a:cubicBezTo>
                    <a:cubicBezTo>
                      <a:pt x="256" y="419"/>
                      <a:pt x="258" y="419"/>
                      <a:pt x="258" y="419"/>
                    </a:cubicBezTo>
                    <a:cubicBezTo>
                      <a:pt x="259" y="418"/>
                      <a:pt x="259" y="417"/>
                      <a:pt x="258" y="417"/>
                    </a:cubicBezTo>
                    <a:cubicBezTo>
                      <a:pt x="257" y="415"/>
                      <a:pt x="258" y="415"/>
                      <a:pt x="259" y="414"/>
                    </a:cubicBezTo>
                    <a:cubicBezTo>
                      <a:pt x="259" y="414"/>
                      <a:pt x="259" y="414"/>
                      <a:pt x="259" y="414"/>
                    </a:cubicBezTo>
                    <a:cubicBezTo>
                      <a:pt x="260" y="414"/>
                      <a:pt x="259" y="415"/>
                      <a:pt x="260" y="415"/>
                    </a:cubicBezTo>
                    <a:cubicBezTo>
                      <a:pt x="260" y="414"/>
                      <a:pt x="260" y="414"/>
                      <a:pt x="260" y="413"/>
                    </a:cubicBezTo>
                    <a:cubicBezTo>
                      <a:pt x="260" y="413"/>
                      <a:pt x="260" y="412"/>
                      <a:pt x="261" y="412"/>
                    </a:cubicBezTo>
                    <a:cubicBezTo>
                      <a:pt x="261" y="413"/>
                      <a:pt x="262" y="414"/>
                      <a:pt x="264" y="416"/>
                    </a:cubicBezTo>
                    <a:cubicBezTo>
                      <a:pt x="264" y="416"/>
                      <a:pt x="264" y="417"/>
                      <a:pt x="264" y="417"/>
                    </a:cubicBezTo>
                    <a:cubicBezTo>
                      <a:pt x="265" y="417"/>
                      <a:pt x="264" y="416"/>
                      <a:pt x="264" y="416"/>
                    </a:cubicBezTo>
                    <a:cubicBezTo>
                      <a:pt x="264" y="416"/>
                      <a:pt x="264" y="416"/>
                      <a:pt x="264" y="416"/>
                    </a:cubicBezTo>
                    <a:cubicBezTo>
                      <a:pt x="264" y="416"/>
                      <a:pt x="264" y="416"/>
                      <a:pt x="264" y="416"/>
                    </a:cubicBezTo>
                    <a:cubicBezTo>
                      <a:pt x="265" y="415"/>
                      <a:pt x="265" y="413"/>
                      <a:pt x="266" y="412"/>
                    </a:cubicBezTo>
                    <a:cubicBezTo>
                      <a:pt x="265" y="414"/>
                      <a:pt x="266" y="415"/>
                      <a:pt x="266" y="416"/>
                    </a:cubicBezTo>
                    <a:cubicBezTo>
                      <a:pt x="267" y="417"/>
                      <a:pt x="269" y="417"/>
                      <a:pt x="269" y="416"/>
                    </a:cubicBezTo>
                    <a:cubicBezTo>
                      <a:pt x="269" y="414"/>
                      <a:pt x="270" y="412"/>
                      <a:pt x="269" y="409"/>
                    </a:cubicBezTo>
                    <a:cubicBezTo>
                      <a:pt x="269" y="409"/>
                      <a:pt x="268" y="408"/>
                      <a:pt x="269" y="407"/>
                    </a:cubicBezTo>
                    <a:close/>
                    <a:moveTo>
                      <a:pt x="229" y="334"/>
                    </a:moveTo>
                    <a:cubicBezTo>
                      <a:pt x="230" y="334"/>
                      <a:pt x="230" y="333"/>
                      <a:pt x="231" y="332"/>
                    </a:cubicBezTo>
                    <a:cubicBezTo>
                      <a:pt x="231" y="330"/>
                      <a:pt x="232" y="330"/>
                      <a:pt x="234" y="330"/>
                    </a:cubicBezTo>
                    <a:cubicBezTo>
                      <a:pt x="235" y="330"/>
                      <a:pt x="237" y="330"/>
                      <a:pt x="238" y="329"/>
                    </a:cubicBezTo>
                    <a:cubicBezTo>
                      <a:pt x="239" y="329"/>
                      <a:pt x="240" y="329"/>
                      <a:pt x="241" y="330"/>
                    </a:cubicBezTo>
                    <a:cubicBezTo>
                      <a:pt x="242" y="331"/>
                      <a:pt x="243" y="332"/>
                      <a:pt x="244" y="333"/>
                    </a:cubicBezTo>
                    <a:cubicBezTo>
                      <a:pt x="245" y="333"/>
                      <a:pt x="245" y="334"/>
                      <a:pt x="245" y="335"/>
                    </a:cubicBezTo>
                    <a:cubicBezTo>
                      <a:pt x="245" y="338"/>
                      <a:pt x="245" y="341"/>
                      <a:pt x="243" y="344"/>
                    </a:cubicBezTo>
                    <a:cubicBezTo>
                      <a:pt x="242" y="346"/>
                      <a:pt x="242" y="347"/>
                      <a:pt x="240" y="348"/>
                    </a:cubicBezTo>
                    <a:cubicBezTo>
                      <a:pt x="240" y="348"/>
                      <a:pt x="240" y="349"/>
                      <a:pt x="240" y="349"/>
                    </a:cubicBezTo>
                    <a:cubicBezTo>
                      <a:pt x="240" y="349"/>
                      <a:pt x="241" y="349"/>
                      <a:pt x="240" y="350"/>
                    </a:cubicBezTo>
                    <a:cubicBezTo>
                      <a:pt x="239" y="350"/>
                      <a:pt x="239" y="349"/>
                      <a:pt x="239" y="349"/>
                    </a:cubicBezTo>
                    <a:cubicBezTo>
                      <a:pt x="237" y="347"/>
                      <a:pt x="236" y="345"/>
                      <a:pt x="235" y="343"/>
                    </a:cubicBezTo>
                    <a:cubicBezTo>
                      <a:pt x="234" y="341"/>
                      <a:pt x="234" y="340"/>
                      <a:pt x="232" y="339"/>
                    </a:cubicBezTo>
                    <a:cubicBezTo>
                      <a:pt x="232" y="338"/>
                      <a:pt x="231" y="337"/>
                      <a:pt x="230" y="336"/>
                    </a:cubicBezTo>
                    <a:cubicBezTo>
                      <a:pt x="228" y="336"/>
                      <a:pt x="228" y="335"/>
                      <a:pt x="229" y="334"/>
                    </a:cubicBezTo>
                    <a:close/>
                    <a:moveTo>
                      <a:pt x="279" y="326"/>
                    </a:moveTo>
                    <a:cubicBezTo>
                      <a:pt x="279" y="325"/>
                      <a:pt x="279" y="325"/>
                      <a:pt x="280" y="325"/>
                    </a:cubicBezTo>
                    <a:cubicBezTo>
                      <a:pt x="281" y="325"/>
                      <a:pt x="282" y="324"/>
                      <a:pt x="283" y="323"/>
                    </a:cubicBezTo>
                    <a:cubicBezTo>
                      <a:pt x="284" y="322"/>
                      <a:pt x="285" y="322"/>
                      <a:pt x="286" y="322"/>
                    </a:cubicBezTo>
                    <a:cubicBezTo>
                      <a:pt x="287" y="321"/>
                      <a:pt x="288" y="321"/>
                      <a:pt x="289" y="320"/>
                    </a:cubicBezTo>
                    <a:cubicBezTo>
                      <a:pt x="290" y="320"/>
                      <a:pt x="291" y="321"/>
                      <a:pt x="291" y="322"/>
                    </a:cubicBezTo>
                    <a:cubicBezTo>
                      <a:pt x="291" y="323"/>
                      <a:pt x="287" y="327"/>
                      <a:pt x="285" y="327"/>
                    </a:cubicBezTo>
                    <a:cubicBezTo>
                      <a:pt x="283" y="327"/>
                      <a:pt x="282" y="327"/>
                      <a:pt x="280" y="327"/>
                    </a:cubicBezTo>
                    <a:cubicBezTo>
                      <a:pt x="279" y="327"/>
                      <a:pt x="279" y="326"/>
                      <a:pt x="279" y="326"/>
                    </a:cubicBezTo>
                    <a:close/>
                    <a:moveTo>
                      <a:pt x="296" y="343"/>
                    </a:moveTo>
                    <a:cubicBezTo>
                      <a:pt x="297" y="342"/>
                      <a:pt x="297" y="343"/>
                      <a:pt x="298" y="344"/>
                    </a:cubicBezTo>
                    <a:cubicBezTo>
                      <a:pt x="299" y="346"/>
                      <a:pt x="298" y="348"/>
                      <a:pt x="296" y="348"/>
                    </a:cubicBezTo>
                    <a:cubicBezTo>
                      <a:pt x="296" y="349"/>
                      <a:pt x="295" y="348"/>
                      <a:pt x="295" y="348"/>
                    </a:cubicBezTo>
                    <a:cubicBezTo>
                      <a:pt x="295" y="347"/>
                      <a:pt x="295" y="346"/>
                      <a:pt x="295" y="346"/>
                    </a:cubicBezTo>
                    <a:cubicBezTo>
                      <a:pt x="295" y="345"/>
                      <a:pt x="295" y="345"/>
                      <a:pt x="295" y="345"/>
                    </a:cubicBezTo>
                    <a:cubicBezTo>
                      <a:pt x="295" y="344"/>
                      <a:pt x="295" y="343"/>
                      <a:pt x="296" y="343"/>
                    </a:cubicBezTo>
                    <a:close/>
                    <a:moveTo>
                      <a:pt x="274" y="399"/>
                    </a:moveTo>
                    <a:cubicBezTo>
                      <a:pt x="273" y="399"/>
                      <a:pt x="273" y="399"/>
                      <a:pt x="273" y="401"/>
                    </a:cubicBezTo>
                    <a:cubicBezTo>
                      <a:pt x="271" y="400"/>
                      <a:pt x="271" y="400"/>
                      <a:pt x="271" y="398"/>
                    </a:cubicBezTo>
                    <a:cubicBezTo>
                      <a:pt x="271" y="397"/>
                      <a:pt x="272" y="397"/>
                      <a:pt x="272" y="397"/>
                    </a:cubicBezTo>
                    <a:cubicBezTo>
                      <a:pt x="273" y="398"/>
                      <a:pt x="273" y="398"/>
                      <a:pt x="274" y="399"/>
                    </a:cubicBezTo>
                    <a:close/>
                    <a:moveTo>
                      <a:pt x="268" y="419"/>
                    </a:moveTo>
                    <a:cubicBezTo>
                      <a:pt x="268" y="420"/>
                      <a:pt x="269" y="420"/>
                      <a:pt x="269" y="421"/>
                    </a:cubicBezTo>
                    <a:cubicBezTo>
                      <a:pt x="268" y="421"/>
                      <a:pt x="268" y="421"/>
                      <a:pt x="268" y="421"/>
                    </a:cubicBezTo>
                    <a:cubicBezTo>
                      <a:pt x="268" y="422"/>
                      <a:pt x="267" y="422"/>
                      <a:pt x="267" y="422"/>
                    </a:cubicBezTo>
                    <a:cubicBezTo>
                      <a:pt x="266" y="422"/>
                      <a:pt x="267" y="422"/>
                      <a:pt x="267" y="421"/>
                    </a:cubicBezTo>
                    <a:cubicBezTo>
                      <a:pt x="266" y="421"/>
                      <a:pt x="266" y="420"/>
                      <a:pt x="266" y="420"/>
                    </a:cubicBezTo>
                    <a:cubicBezTo>
                      <a:pt x="266" y="419"/>
                      <a:pt x="266" y="418"/>
                      <a:pt x="267" y="418"/>
                    </a:cubicBezTo>
                    <a:cubicBezTo>
                      <a:pt x="267" y="418"/>
                      <a:pt x="268" y="419"/>
                      <a:pt x="268" y="419"/>
                    </a:cubicBezTo>
                    <a:close/>
                    <a:moveTo>
                      <a:pt x="297" y="350"/>
                    </a:moveTo>
                    <a:cubicBezTo>
                      <a:pt x="297" y="351"/>
                      <a:pt x="298" y="351"/>
                      <a:pt x="298" y="352"/>
                    </a:cubicBezTo>
                    <a:cubicBezTo>
                      <a:pt x="298" y="352"/>
                      <a:pt x="298" y="352"/>
                      <a:pt x="297" y="353"/>
                    </a:cubicBezTo>
                    <a:cubicBezTo>
                      <a:pt x="297" y="353"/>
                      <a:pt x="296" y="353"/>
                      <a:pt x="296" y="352"/>
                    </a:cubicBezTo>
                    <a:cubicBezTo>
                      <a:pt x="295" y="352"/>
                      <a:pt x="296" y="352"/>
                      <a:pt x="296" y="351"/>
                    </a:cubicBezTo>
                    <a:cubicBezTo>
                      <a:pt x="296" y="351"/>
                      <a:pt x="296" y="351"/>
                      <a:pt x="296" y="350"/>
                    </a:cubicBezTo>
                    <a:cubicBezTo>
                      <a:pt x="296" y="350"/>
                      <a:pt x="297" y="349"/>
                      <a:pt x="297" y="349"/>
                    </a:cubicBezTo>
                    <a:cubicBezTo>
                      <a:pt x="298" y="349"/>
                      <a:pt x="297" y="350"/>
                      <a:pt x="297" y="350"/>
                    </a:cubicBezTo>
                    <a:close/>
                    <a:moveTo>
                      <a:pt x="222" y="333"/>
                    </a:moveTo>
                    <a:cubicBezTo>
                      <a:pt x="222" y="333"/>
                      <a:pt x="222" y="332"/>
                      <a:pt x="223" y="333"/>
                    </a:cubicBezTo>
                    <a:cubicBezTo>
                      <a:pt x="224" y="333"/>
                      <a:pt x="225" y="333"/>
                      <a:pt x="225" y="333"/>
                    </a:cubicBezTo>
                    <a:cubicBezTo>
                      <a:pt x="225" y="334"/>
                      <a:pt x="223" y="334"/>
                      <a:pt x="223" y="334"/>
                    </a:cubicBezTo>
                    <a:cubicBezTo>
                      <a:pt x="222" y="334"/>
                      <a:pt x="222" y="334"/>
                      <a:pt x="222" y="333"/>
                    </a:cubicBezTo>
                    <a:close/>
                    <a:moveTo>
                      <a:pt x="163" y="400"/>
                    </a:moveTo>
                    <a:cubicBezTo>
                      <a:pt x="165" y="399"/>
                      <a:pt x="166" y="400"/>
                      <a:pt x="167" y="400"/>
                    </a:cubicBezTo>
                    <a:cubicBezTo>
                      <a:pt x="166" y="401"/>
                      <a:pt x="165" y="399"/>
                      <a:pt x="163" y="400"/>
                    </a:cubicBezTo>
                    <a:close/>
                    <a:moveTo>
                      <a:pt x="265" y="425"/>
                    </a:moveTo>
                    <a:cubicBezTo>
                      <a:pt x="265" y="426"/>
                      <a:pt x="265" y="427"/>
                      <a:pt x="265" y="427"/>
                    </a:cubicBezTo>
                    <a:cubicBezTo>
                      <a:pt x="265" y="427"/>
                      <a:pt x="265" y="427"/>
                      <a:pt x="264" y="428"/>
                    </a:cubicBezTo>
                    <a:cubicBezTo>
                      <a:pt x="264" y="427"/>
                      <a:pt x="264" y="427"/>
                      <a:pt x="264" y="427"/>
                    </a:cubicBezTo>
                    <a:cubicBezTo>
                      <a:pt x="264" y="426"/>
                      <a:pt x="264" y="426"/>
                      <a:pt x="264" y="425"/>
                    </a:cubicBezTo>
                    <a:cubicBezTo>
                      <a:pt x="265" y="425"/>
                      <a:pt x="265" y="425"/>
                      <a:pt x="265" y="425"/>
                    </a:cubicBezTo>
                    <a:close/>
                    <a:moveTo>
                      <a:pt x="198" y="442"/>
                    </a:moveTo>
                    <a:cubicBezTo>
                      <a:pt x="198" y="442"/>
                      <a:pt x="198" y="443"/>
                      <a:pt x="197" y="444"/>
                    </a:cubicBezTo>
                    <a:cubicBezTo>
                      <a:pt x="197" y="443"/>
                      <a:pt x="197" y="442"/>
                      <a:pt x="198" y="442"/>
                    </a:cubicBezTo>
                    <a:close/>
                    <a:moveTo>
                      <a:pt x="260" y="415"/>
                    </a:moveTo>
                    <a:cubicBezTo>
                      <a:pt x="261" y="415"/>
                      <a:pt x="261" y="416"/>
                      <a:pt x="261" y="416"/>
                    </a:cubicBezTo>
                    <a:cubicBezTo>
                      <a:pt x="261" y="416"/>
                      <a:pt x="261" y="417"/>
                      <a:pt x="261" y="417"/>
                    </a:cubicBezTo>
                    <a:cubicBezTo>
                      <a:pt x="260" y="417"/>
                      <a:pt x="260" y="416"/>
                      <a:pt x="260" y="416"/>
                    </a:cubicBezTo>
                    <a:cubicBezTo>
                      <a:pt x="260" y="416"/>
                      <a:pt x="260" y="415"/>
                      <a:pt x="260" y="415"/>
                    </a:cubicBezTo>
                    <a:close/>
                    <a:moveTo>
                      <a:pt x="113" y="333"/>
                    </a:moveTo>
                    <a:cubicBezTo>
                      <a:pt x="113" y="333"/>
                      <a:pt x="113" y="333"/>
                      <a:pt x="113" y="333"/>
                    </a:cubicBezTo>
                    <a:cubicBezTo>
                      <a:pt x="114" y="333"/>
                      <a:pt x="114" y="333"/>
                      <a:pt x="114" y="333"/>
                    </a:cubicBezTo>
                    <a:cubicBezTo>
                      <a:pt x="114" y="334"/>
                      <a:pt x="114" y="334"/>
                      <a:pt x="113" y="334"/>
                    </a:cubicBezTo>
                    <a:cubicBezTo>
                      <a:pt x="113" y="334"/>
                      <a:pt x="113" y="334"/>
                      <a:pt x="113" y="333"/>
                    </a:cubicBezTo>
                    <a:close/>
                    <a:moveTo>
                      <a:pt x="270" y="404"/>
                    </a:moveTo>
                    <a:cubicBezTo>
                      <a:pt x="270" y="405"/>
                      <a:pt x="270" y="405"/>
                      <a:pt x="270" y="405"/>
                    </a:cubicBezTo>
                    <a:cubicBezTo>
                      <a:pt x="269" y="405"/>
                      <a:pt x="269" y="405"/>
                      <a:pt x="269" y="404"/>
                    </a:cubicBezTo>
                    <a:cubicBezTo>
                      <a:pt x="269" y="404"/>
                      <a:pt x="269" y="404"/>
                      <a:pt x="270" y="404"/>
                    </a:cubicBezTo>
                    <a:cubicBezTo>
                      <a:pt x="270" y="404"/>
                      <a:pt x="270" y="404"/>
                      <a:pt x="270" y="404"/>
                    </a:cubicBezTo>
                    <a:close/>
                    <a:moveTo>
                      <a:pt x="218" y="355"/>
                    </a:moveTo>
                    <a:cubicBezTo>
                      <a:pt x="219" y="355"/>
                      <a:pt x="219" y="356"/>
                      <a:pt x="219" y="357"/>
                    </a:cubicBezTo>
                    <a:cubicBezTo>
                      <a:pt x="218" y="356"/>
                      <a:pt x="218" y="356"/>
                      <a:pt x="218" y="355"/>
                    </a:cubicBezTo>
                    <a:close/>
                    <a:moveTo>
                      <a:pt x="295" y="342"/>
                    </a:moveTo>
                    <a:cubicBezTo>
                      <a:pt x="295" y="342"/>
                      <a:pt x="295" y="341"/>
                      <a:pt x="295" y="341"/>
                    </a:cubicBezTo>
                    <a:cubicBezTo>
                      <a:pt x="295" y="341"/>
                      <a:pt x="295" y="341"/>
                      <a:pt x="295" y="341"/>
                    </a:cubicBezTo>
                    <a:cubicBezTo>
                      <a:pt x="296" y="341"/>
                      <a:pt x="296" y="341"/>
                      <a:pt x="296" y="341"/>
                    </a:cubicBezTo>
                    <a:cubicBezTo>
                      <a:pt x="296" y="342"/>
                      <a:pt x="295" y="342"/>
                      <a:pt x="295" y="342"/>
                    </a:cubicBezTo>
                    <a:close/>
                    <a:moveTo>
                      <a:pt x="207" y="357"/>
                    </a:moveTo>
                    <a:cubicBezTo>
                      <a:pt x="208" y="357"/>
                      <a:pt x="208" y="357"/>
                      <a:pt x="208" y="358"/>
                    </a:cubicBezTo>
                    <a:cubicBezTo>
                      <a:pt x="208" y="358"/>
                      <a:pt x="208" y="358"/>
                      <a:pt x="208" y="358"/>
                    </a:cubicBezTo>
                    <a:cubicBezTo>
                      <a:pt x="207" y="358"/>
                      <a:pt x="207" y="358"/>
                      <a:pt x="207" y="357"/>
                    </a:cubicBezTo>
                    <a:close/>
                    <a:moveTo>
                      <a:pt x="221" y="369"/>
                    </a:moveTo>
                    <a:cubicBezTo>
                      <a:pt x="221" y="369"/>
                      <a:pt x="221" y="368"/>
                      <a:pt x="221" y="368"/>
                    </a:cubicBezTo>
                    <a:cubicBezTo>
                      <a:pt x="221" y="368"/>
                      <a:pt x="222" y="368"/>
                      <a:pt x="221" y="369"/>
                    </a:cubicBezTo>
                    <a:cubicBezTo>
                      <a:pt x="221" y="369"/>
                      <a:pt x="221" y="369"/>
                      <a:pt x="221" y="369"/>
                    </a:cubicBezTo>
                    <a:close/>
                    <a:moveTo>
                      <a:pt x="187" y="404"/>
                    </a:moveTo>
                    <a:cubicBezTo>
                      <a:pt x="187" y="404"/>
                      <a:pt x="187" y="404"/>
                      <a:pt x="188" y="404"/>
                    </a:cubicBezTo>
                    <a:cubicBezTo>
                      <a:pt x="188" y="404"/>
                      <a:pt x="188" y="404"/>
                      <a:pt x="188" y="404"/>
                    </a:cubicBezTo>
                    <a:cubicBezTo>
                      <a:pt x="188" y="405"/>
                      <a:pt x="188" y="405"/>
                      <a:pt x="188" y="405"/>
                    </a:cubicBezTo>
                    <a:cubicBezTo>
                      <a:pt x="188" y="405"/>
                      <a:pt x="187" y="404"/>
                      <a:pt x="187" y="404"/>
                    </a:cubicBezTo>
                    <a:close/>
                    <a:moveTo>
                      <a:pt x="252" y="397"/>
                    </a:moveTo>
                    <a:cubicBezTo>
                      <a:pt x="252" y="397"/>
                      <a:pt x="252" y="397"/>
                      <a:pt x="252" y="397"/>
                    </a:cubicBezTo>
                    <a:cubicBezTo>
                      <a:pt x="252" y="398"/>
                      <a:pt x="252" y="398"/>
                      <a:pt x="252" y="398"/>
                    </a:cubicBezTo>
                    <a:cubicBezTo>
                      <a:pt x="252" y="398"/>
                      <a:pt x="252" y="397"/>
                      <a:pt x="252" y="397"/>
                    </a:cubicBezTo>
                    <a:cubicBezTo>
                      <a:pt x="252" y="397"/>
                      <a:pt x="252" y="397"/>
                      <a:pt x="252" y="397"/>
                    </a:cubicBezTo>
                    <a:close/>
                    <a:moveTo>
                      <a:pt x="183" y="437"/>
                    </a:moveTo>
                    <a:cubicBezTo>
                      <a:pt x="183" y="437"/>
                      <a:pt x="182" y="437"/>
                      <a:pt x="182" y="437"/>
                    </a:cubicBezTo>
                    <a:cubicBezTo>
                      <a:pt x="182" y="437"/>
                      <a:pt x="182" y="436"/>
                      <a:pt x="182" y="436"/>
                    </a:cubicBezTo>
                    <a:cubicBezTo>
                      <a:pt x="183" y="436"/>
                      <a:pt x="183" y="437"/>
                      <a:pt x="183" y="437"/>
                    </a:cubicBezTo>
                    <a:close/>
                    <a:moveTo>
                      <a:pt x="111" y="331"/>
                    </a:moveTo>
                    <a:cubicBezTo>
                      <a:pt x="111" y="331"/>
                      <a:pt x="111" y="331"/>
                      <a:pt x="111" y="331"/>
                    </a:cubicBezTo>
                    <a:cubicBezTo>
                      <a:pt x="111" y="331"/>
                      <a:pt x="111" y="331"/>
                      <a:pt x="111" y="331"/>
                    </a:cubicBezTo>
                    <a:cubicBezTo>
                      <a:pt x="111" y="331"/>
                      <a:pt x="111" y="331"/>
                      <a:pt x="111" y="331"/>
                    </a:cubicBezTo>
                    <a:cubicBezTo>
                      <a:pt x="111" y="331"/>
                      <a:pt x="111" y="331"/>
                      <a:pt x="111" y="331"/>
                    </a:cubicBezTo>
                    <a:close/>
                    <a:moveTo>
                      <a:pt x="213" y="351"/>
                    </a:moveTo>
                    <a:cubicBezTo>
                      <a:pt x="213" y="351"/>
                      <a:pt x="213" y="351"/>
                      <a:pt x="213" y="351"/>
                    </a:cubicBezTo>
                    <a:cubicBezTo>
                      <a:pt x="213" y="351"/>
                      <a:pt x="213" y="351"/>
                      <a:pt x="213" y="351"/>
                    </a:cubicBezTo>
                    <a:cubicBezTo>
                      <a:pt x="214" y="351"/>
                      <a:pt x="213" y="352"/>
                      <a:pt x="213" y="351"/>
                    </a:cubicBezTo>
                    <a:cubicBezTo>
                      <a:pt x="213" y="351"/>
                      <a:pt x="213" y="351"/>
                      <a:pt x="213" y="351"/>
                    </a:cubicBezTo>
                    <a:close/>
                    <a:moveTo>
                      <a:pt x="253" y="396"/>
                    </a:moveTo>
                    <a:cubicBezTo>
                      <a:pt x="252" y="396"/>
                      <a:pt x="252" y="396"/>
                      <a:pt x="252" y="396"/>
                    </a:cubicBezTo>
                    <a:cubicBezTo>
                      <a:pt x="252" y="396"/>
                      <a:pt x="253" y="396"/>
                      <a:pt x="253" y="396"/>
                    </a:cubicBezTo>
                    <a:cubicBezTo>
                      <a:pt x="253" y="396"/>
                      <a:pt x="253" y="396"/>
                      <a:pt x="253" y="396"/>
                    </a:cubicBezTo>
                    <a:cubicBezTo>
                      <a:pt x="253" y="396"/>
                      <a:pt x="253" y="396"/>
                      <a:pt x="253" y="396"/>
                    </a:cubicBezTo>
                    <a:close/>
                    <a:moveTo>
                      <a:pt x="307" y="433"/>
                    </a:moveTo>
                    <a:cubicBezTo>
                      <a:pt x="307" y="434"/>
                      <a:pt x="306" y="433"/>
                      <a:pt x="306" y="434"/>
                    </a:cubicBezTo>
                    <a:cubicBezTo>
                      <a:pt x="305" y="435"/>
                      <a:pt x="305" y="434"/>
                      <a:pt x="305" y="434"/>
                    </a:cubicBezTo>
                    <a:cubicBezTo>
                      <a:pt x="304" y="434"/>
                      <a:pt x="304" y="434"/>
                      <a:pt x="303" y="435"/>
                    </a:cubicBezTo>
                    <a:cubicBezTo>
                      <a:pt x="303" y="436"/>
                      <a:pt x="303" y="437"/>
                      <a:pt x="302" y="437"/>
                    </a:cubicBezTo>
                    <a:cubicBezTo>
                      <a:pt x="301" y="437"/>
                      <a:pt x="301" y="438"/>
                      <a:pt x="301" y="438"/>
                    </a:cubicBezTo>
                    <a:cubicBezTo>
                      <a:pt x="300" y="440"/>
                      <a:pt x="298" y="440"/>
                      <a:pt x="297" y="439"/>
                    </a:cubicBezTo>
                    <a:cubicBezTo>
                      <a:pt x="296" y="438"/>
                      <a:pt x="295" y="438"/>
                      <a:pt x="295" y="437"/>
                    </a:cubicBezTo>
                    <a:cubicBezTo>
                      <a:pt x="295" y="438"/>
                      <a:pt x="294" y="438"/>
                      <a:pt x="293" y="438"/>
                    </a:cubicBezTo>
                    <a:cubicBezTo>
                      <a:pt x="291" y="438"/>
                      <a:pt x="291" y="436"/>
                      <a:pt x="289" y="435"/>
                    </a:cubicBezTo>
                    <a:cubicBezTo>
                      <a:pt x="289" y="435"/>
                      <a:pt x="289" y="435"/>
                      <a:pt x="288" y="435"/>
                    </a:cubicBezTo>
                    <a:cubicBezTo>
                      <a:pt x="287" y="435"/>
                      <a:pt x="287" y="434"/>
                      <a:pt x="287" y="434"/>
                    </a:cubicBezTo>
                    <a:cubicBezTo>
                      <a:pt x="287" y="433"/>
                      <a:pt x="287" y="432"/>
                      <a:pt x="286" y="432"/>
                    </a:cubicBezTo>
                    <a:cubicBezTo>
                      <a:pt x="285" y="432"/>
                      <a:pt x="286" y="433"/>
                      <a:pt x="286" y="433"/>
                    </a:cubicBezTo>
                    <a:cubicBezTo>
                      <a:pt x="286" y="434"/>
                      <a:pt x="286" y="434"/>
                      <a:pt x="285" y="434"/>
                    </a:cubicBezTo>
                    <a:cubicBezTo>
                      <a:pt x="285" y="434"/>
                      <a:pt x="283" y="432"/>
                      <a:pt x="283" y="432"/>
                    </a:cubicBezTo>
                    <a:cubicBezTo>
                      <a:pt x="283" y="431"/>
                      <a:pt x="283" y="430"/>
                      <a:pt x="282" y="430"/>
                    </a:cubicBezTo>
                    <a:cubicBezTo>
                      <a:pt x="282" y="430"/>
                      <a:pt x="282" y="431"/>
                      <a:pt x="282" y="431"/>
                    </a:cubicBezTo>
                    <a:cubicBezTo>
                      <a:pt x="281" y="432"/>
                      <a:pt x="281" y="433"/>
                      <a:pt x="281" y="432"/>
                    </a:cubicBezTo>
                    <a:cubicBezTo>
                      <a:pt x="280" y="432"/>
                      <a:pt x="279" y="432"/>
                      <a:pt x="279" y="431"/>
                    </a:cubicBezTo>
                    <a:cubicBezTo>
                      <a:pt x="279" y="430"/>
                      <a:pt x="278" y="430"/>
                      <a:pt x="278" y="429"/>
                    </a:cubicBezTo>
                    <a:cubicBezTo>
                      <a:pt x="278" y="428"/>
                      <a:pt x="279" y="427"/>
                      <a:pt x="280" y="427"/>
                    </a:cubicBezTo>
                    <a:cubicBezTo>
                      <a:pt x="282" y="427"/>
                      <a:pt x="282" y="426"/>
                      <a:pt x="284" y="426"/>
                    </a:cubicBezTo>
                    <a:cubicBezTo>
                      <a:pt x="284" y="426"/>
                      <a:pt x="284" y="426"/>
                      <a:pt x="284" y="426"/>
                    </a:cubicBezTo>
                    <a:cubicBezTo>
                      <a:pt x="284" y="424"/>
                      <a:pt x="285" y="424"/>
                      <a:pt x="286" y="424"/>
                    </a:cubicBezTo>
                    <a:cubicBezTo>
                      <a:pt x="286" y="423"/>
                      <a:pt x="286" y="423"/>
                      <a:pt x="285" y="422"/>
                    </a:cubicBezTo>
                    <a:cubicBezTo>
                      <a:pt x="285" y="422"/>
                      <a:pt x="284" y="421"/>
                      <a:pt x="285" y="420"/>
                    </a:cubicBezTo>
                    <a:cubicBezTo>
                      <a:pt x="286" y="420"/>
                      <a:pt x="285" y="420"/>
                      <a:pt x="285" y="420"/>
                    </a:cubicBezTo>
                    <a:cubicBezTo>
                      <a:pt x="285" y="419"/>
                      <a:pt x="285" y="419"/>
                      <a:pt x="285" y="419"/>
                    </a:cubicBezTo>
                    <a:cubicBezTo>
                      <a:pt x="285" y="418"/>
                      <a:pt x="286" y="419"/>
                      <a:pt x="286" y="419"/>
                    </a:cubicBezTo>
                    <a:cubicBezTo>
                      <a:pt x="287" y="419"/>
                      <a:pt x="287" y="421"/>
                      <a:pt x="288" y="421"/>
                    </a:cubicBezTo>
                    <a:cubicBezTo>
                      <a:pt x="288" y="420"/>
                      <a:pt x="287" y="419"/>
                      <a:pt x="287" y="419"/>
                    </a:cubicBezTo>
                    <a:cubicBezTo>
                      <a:pt x="286" y="417"/>
                      <a:pt x="287" y="416"/>
                      <a:pt x="287" y="415"/>
                    </a:cubicBezTo>
                    <a:cubicBezTo>
                      <a:pt x="288" y="414"/>
                      <a:pt x="288" y="414"/>
                      <a:pt x="288" y="413"/>
                    </a:cubicBezTo>
                    <a:cubicBezTo>
                      <a:pt x="288" y="412"/>
                      <a:pt x="289" y="412"/>
                      <a:pt x="289" y="412"/>
                    </a:cubicBezTo>
                    <a:cubicBezTo>
                      <a:pt x="291" y="413"/>
                      <a:pt x="291" y="415"/>
                      <a:pt x="292" y="415"/>
                    </a:cubicBezTo>
                    <a:cubicBezTo>
                      <a:pt x="293" y="415"/>
                      <a:pt x="293" y="416"/>
                      <a:pt x="293" y="416"/>
                    </a:cubicBezTo>
                    <a:cubicBezTo>
                      <a:pt x="292" y="417"/>
                      <a:pt x="292" y="417"/>
                      <a:pt x="293" y="418"/>
                    </a:cubicBezTo>
                    <a:cubicBezTo>
                      <a:pt x="293" y="418"/>
                      <a:pt x="293" y="418"/>
                      <a:pt x="293" y="418"/>
                    </a:cubicBezTo>
                    <a:cubicBezTo>
                      <a:pt x="293" y="418"/>
                      <a:pt x="293" y="417"/>
                      <a:pt x="294" y="417"/>
                    </a:cubicBezTo>
                    <a:cubicBezTo>
                      <a:pt x="294" y="417"/>
                      <a:pt x="294" y="417"/>
                      <a:pt x="295" y="418"/>
                    </a:cubicBezTo>
                    <a:cubicBezTo>
                      <a:pt x="295" y="419"/>
                      <a:pt x="295" y="419"/>
                      <a:pt x="296" y="420"/>
                    </a:cubicBezTo>
                    <a:cubicBezTo>
                      <a:pt x="297" y="420"/>
                      <a:pt x="298" y="422"/>
                      <a:pt x="300" y="423"/>
                    </a:cubicBezTo>
                    <a:cubicBezTo>
                      <a:pt x="301" y="423"/>
                      <a:pt x="301" y="424"/>
                      <a:pt x="301" y="425"/>
                    </a:cubicBezTo>
                    <a:cubicBezTo>
                      <a:pt x="301" y="426"/>
                      <a:pt x="301" y="427"/>
                      <a:pt x="301" y="428"/>
                    </a:cubicBezTo>
                    <a:cubicBezTo>
                      <a:pt x="302" y="428"/>
                      <a:pt x="301" y="426"/>
                      <a:pt x="302" y="426"/>
                    </a:cubicBezTo>
                    <a:cubicBezTo>
                      <a:pt x="302" y="426"/>
                      <a:pt x="302" y="427"/>
                      <a:pt x="302" y="428"/>
                    </a:cubicBezTo>
                    <a:cubicBezTo>
                      <a:pt x="303" y="430"/>
                      <a:pt x="303" y="431"/>
                      <a:pt x="304" y="432"/>
                    </a:cubicBezTo>
                    <a:cubicBezTo>
                      <a:pt x="305" y="433"/>
                      <a:pt x="305" y="432"/>
                      <a:pt x="306" y="432"/>
                    </a:cubicBezTo>
                    <a:cubicBezTo>
                      <a:pt x="306" y="431"/>
                      <a:pt x="306" y="431"/>
                      <a:pt x="307" y="431"/>
                    </a:cubicBezTo>
                    <a:cubicBezTo>
                      <a:pt x="308" y="432"/>
                      <a:pt x="307" y="432"/>
                      <a:pt x="307" y="433"/>
                    </a:cubicBezTo>
                    <a:close/>
                    <a:moveTo>
                      <a:pt x="276" y="428"/>
                    </a:moveTo>
                    <a:cubicBezTo>
                      <a:pt x="276" y="429"/>
                      <a:pt x="275" y="430"/>
                      <a:pt x="276" y="430"/>
                    </a:cubicBezTo>
                    <a:cubicBezTo>
                      <a:pt x="276" y="431"/>
                      <a:pt x="275" y="431"/>
                      <a:pt x="275" y="431"/>
                    </a:cubicBezTo>
                    <a:cubicBezTo>
                      <a:pt x="275" y="432"/>
                      <a:pt x="274" y="432"/>
                      <a:pt x="274" y="433"/>
                    </a:cubicBezTo>
                    <a:cubicBezTo>
                      <a:pt x="274" y="434"/>
                      <a:pt x="273" y="436"/>
                      <a:pt x="272" y="436"/>
                    </a:cubicBezTo>
                    <a:cubicBezTo>
                      <a:pt x="272" y="436"/>
                      <a:pt x="271" y="436"/>
                      <a:pt x="271" y="435"/>
                    </a:cubicBezTo>
                    <a:cubicBezTo>
                      <a:pt x="271" y="435"/>
                      <a:pt x="270" y="434"/>
                      <a:pt x="270" y="434"/>
                    </a:cubicBezTo>
                    <a:cubicBezTo>
                      <a:pt x="270" y="433"/>
                      <a:pt x="270" y="432"/>
                      <a:pt x="270" y="432"/>
                    </a:cubicBezTo>
                    <a:cubicBezTo>
                      <a:pt x="271" y="432"/>
                      <a:pt x="271" y="431"/>
                      <a:pt x="271" y="431"/>
                    </a:cubicBezTo>
                    <a:cubicBezTo>
                      <a:pt x="271" y="429"/>
                      <a:pt x="272" y="428"/>
                      <a:pt x="273" y="427"/>
                    </a:cubicBezTo>
                    <a:cubicBezTo>
                      <a:pt x="274" y="427"/>
                      <a:pt x="275" y="426"/>
                      <a:pt x="276" y="427"/>
                    </a:cubicBezTo>
                    <a:cubicBezTo>
                      <a:pt x="277" y="427"/>
                      <a:pt x="277" y="428"/>
                      <a:pt x="276" y="428"/>
                    </a:cubicBezTo>
                    <a:close/>
                    <a:moveTo>
                      <a:pt x="302" y="421"/>
                    </a:moveTo>
                    <a:cubicBezTo>
                      <a:pt x="302" y="421"/>
                      <a:pt x="303" y="420"/>
                      <a:pt x="303" y="419"/>
                    </a:cubicBezTo>
                    <a:cubicBezTo>
                      <a:pt x="302" y="418"/>
                      <a:pt x="303" y="418"/>
                      <a:pt x="304" y="418"/>
                    </a:cubicBezTo>
                    <a:cubicBezTo>
                      <a:pt x="305" y="418"/>
                      <a:pt x="306" y="419"/>
                      <a:pt x="306" y="420"/>
                    </a:cubicBezTo>
                    <a:cubicBezTo>
                      <a:pt x="306" y="421"/>
                      <a:pt x="306" y="422"/>
                      <a:pt x="305" y="423"/>
                    </a:cubicBezTo>
                    <a:cubicBezTo>
                      <a:pt x="305" y="423"/>
                      <a:pt x="305" y="423"/>
                      <a:pt x="304" y="423"/>
                    </a:cubicBezTo>
                    <a:cubicBezTo>
                      <a:pt x="304" y="423"/>
                      <a:pt x="304" y="423"/>
                      <a:pt x="304" y="422"/>
                    </a:cubicBezTo>
                    <a:cubicBezTo>
                      <a:pt x="304" y="421"/>
                      <a:pt x="305" y="420"/>
                      <a:pt x="303" y="418"/>
                    </a:cubicBezTo>
                    <a:cubicBezTo>
                      <a:pt x="303" y="420"/>
                      <a:pt x="304" y="421"/>
                      <a:pt x="303" y="422"/>
                    </a:cubicBezTo>
                    <a:cubicBezTo>
                      <a:pt x="303" y="422"/>
                      <a:pt x="303" y="422"/>
                      <a:pt x="303" y="422"/>
                    </a:cubicBezTo>
                    <a:cubicBezTo>
                      <a:pt x="302" y="422"/>
                      <a:pt x="302" y="422"/>
                      <a:pt x="302" y="421"/>
                    </a:cubicBezTo>
                    <a:close/>
                    <a:moveTo>
                      <a:pt x="264" y="435"/>
                    </a:moveTo>
                    <a:cubicBezTo>
                      <a:pt x="264" y="436"/>
                      <a:pt x="263" y="437"/>
                      <a:pt x="262" y="437"/>
                    </a:cubicBezTo>
                    <a:cubicBezTo>
                      <a:pt x="261" y="437"/>
                      <a:pt x="261" y="436"/>
                      <a:pt x="261" y="436"/>
                    </a:cubicBezTo>
                    <a:cubicBezTo>
                      <a:pt x="259" y="435"/>
                      <a:pt x="259" y="435"/>
                      <a:pt x="261" y="434"/>
                    </a:cubicBezTo>
                    <a:cubicBezTo>
                      <a:pt x="261" y="434"/>
                      <a:pt x="261" y="434"/>
                      <a:pt x="261" y="434"/>
                    </a:cubicBezTo>
                    <a:cubicBezTo>
                      <a:pt x="262" y="433"/>
                      <a:pt x="262" y="432"/>
                      <a:pt x="263" y="433"/>
                    </a:cubicBezTo>
                    <a:cubicBezTo>
                      <a:pt x="264" y="433"/>
                      <a:pt x="264" y="434"/>
                      <a:pt x="264" y="435"/>
                    </a:cubicBezTo>
                    <a:close/>
                    <a:moveTo>
                      <a:pt x="297" y="419"/>
                    </a:moveTo>
                    <a:cubicBezTo>
                      <a:pt x="299" y="418"/>
                      <a:pt x="300" y="420"/>
                      <a:pt x="301" y="419"/>
                    </a:cubicBezTo>
                    <a:cubicBezTo>
                      <a:pt x="301" y="419"/>
                      <a:pt x="301" y="419"/>
                      <a:pt x="301" y="419"/>
                    </a:cubicBezTo>
                    <a:cubicBezTo>
                      <a:pt x="302" y="420"/>
                      <a:pt x="301" y="421"/>
                      <a:pt x="301" y="422"/>
                    </a:cubicBezTo>
                    <a:cubicBezTo>
                      <a:pt x="301" y="423"/>
                      <a:pt x="301" y="423"/>
                      <a:pt x="300" y="422"/>
                    </a:cubicBezTo>
                    <a:cubicBezTo>
                      <a:pt x="299" y="421"/>
                      <a:pt x="298" y="420"/>
                      <a:pt x="297" y="419"/>
                    </a:cubicBezTo>
                    <a:close/>
                    <a:moveTo>
                      <a:pt x="276" y="443"/>
                    </a:moveTo>
                    <a:cubicBezTo>
                      <a:pt x="276" y="443"/>
                      <a:pt x="275" y="443"/>
                      <a:pt x="275" y="443"/>
                    </a:cubicBezTo>
                    <a:cubicBezTo>
                      <a:pt x="274" y="443"/>
                      <a:pt x="273" y="443"/>
                      <a:pt x="273" y="442"/>
                    </a:cubicBezTo>
                    <a:cubicBezTo>
                      <a:pt x="274" y="441"/>
                      <a:pt x="274" y="441"/>
                      <a:pt x="275" y="441"/>
                    </a:cubicBezTo>
                    <a:cubicBezTo>
                      <a:pt x="276" y="441"/>
                      <a:pt x="276" y="442"/>
                      <a:pt x="276" y="443"/>
                    </a:cubicBezTo>
                    <a:close/>
                    <a:moveTo>
                      <a:pt x="271" y="440"/>
                    </a:moveTo>
                    <a:cubicBezTo>
                      <a:pt x="271" y="441"/>
                      <a:pt x="271" y="441"/>
                      <a:pt x="270" y="441"/>
                    </a:cubicBezTo>
                    <a:cubicBezTo>
                      <a:pt x="270" y="441"/>
                      <a:pt x="270" y="440"/>
                      <a:pt x="269" y="440"/>
                    </a:cubicBezTo>
                    <a:cubicBezTo>
                      <a:pt x="269" y="440"/>
                      <a:pt x="269" y="439"/>
                      <a:pt x="270" y="439"/>
                    </a:cubicBezTo>
                    <a:cubicBezTo>
                      <a:pt x="270" y="439"/>
                      <a:pt x="271" y="440"/>
                      <a:pt x="271" y="440"/>
                    </a:cubicBezTo>
                    <a:close/>
                    <a:moveTo>
                      <a:pt x="292" y="412"/>
                    </a:moveTo>
                    <a:cubicBezTo>
                      <a:pt x="292" y="412"/>
                      <a:pt x="292" y="411"/>
                      <a:pt x="293" y="411"/>
                    </a:cubicBezTo>
                    <a:cubicBezTo>
                      <a:pt x="293" y="411"/>
                      <a:pt x="293" y="412"/>
                      <a:pt x="293" y="412"/>
                    </a:cubicBezTo>
                    <a:cubicBezTo>
                      <a:pt x="293" y="412"/>
                      <a:pt x="293" y="412"/>
                      <a:pt x="293" y="412"/>
                    </a:cubicBezTo>
                    <a:cubicBezTo>
                      <a:pt x="292" y="412"/>
                      <a:pt x="292" y="412"/>
                      <a:pt x="292" y="412"/>
                    </a:cubicBezTo>
                    <a:close/>
                    <a:moveTo>
                      <a:pt x="269" y="436"/>
                    </a:moveTo>
                    <a:cubicBezTo>
                      <a:pt x="269" y="436"/>
                      <a:pt x="270" y="436"/>
                      <a:pt x="270" y="436"/>
                    </a:cubicBezTo>
                    <a:cubicBezTo>
                      <a:pt x="270" y="436"/>
                      <a:pt x="270" y="436"/>
                      <a:pt x="270" y="437"/>
                    </a:cubicBezTo>
                    <a:cubicBezTo>
                      <a:pt x="270" y="437"/>
                      <a:pt x="270" y="437"/>
                      <a:pt x="270" y="437"/>
                    </a:cubicBezTo>
                    <a:cubicBezTo>
                      <a:pt x="270" y="437"/>
                      <a:pt x="269" y="437"/>
                      <a:pt x="269" y="436"/>
                    </a:cubicBezTo>
                    <a:close/>
                    <a:moveTo>
                      <a:pt x="297" y="129"/>
                    </a:moveTo>
                    <a:cubicBezTo>
                      <a:pt x="298" y="129"/>
                      <a:pt x="298" y="130"/>
                      <a:pt x="298" y="130"/>
                    </a:cubicBezTo>
                    <a:cubicBezTo>
                      <a:pt x="297" y="131"/>
                      <a:pt x="297" y="131"/>
                      <a:pt x="298" y="131"/>
                    </a:cubicBezTo>
                    <a:cubicBezTo>
                      <a:pt x="299" y="132"/>
                      <a:pt x="299" y="133"/>
                      <a:pt x="300" y="133"/>
                    </a:cubicBezTo>
                    <a:cubicBezTo>
                      <a:pt x="300" y="133"/>
                      <a:pt x="301" y="134"/>
                      <a:pt x="301" y="134"/>
                    </a:cubicBezTo>
                    <a:cubicBezTo>
                      <a:pt x="302" y="135"/>
                      <a:pt x="302" y="134"/>
                      <a:pt x="303" y="134"/>
                    </a:cubicBezTo>
                    <a:cubicBezTo>
                      <a:pt x="303" y="133"/>
                      <a:pt x="303" y="133"/>
                      <a:pt x="304" y="133"/>
                    </a:cubicBezTo>
                    <a:cubicBezTo>
                      <a:pt x="304" y="134"/>
                      <a:pt x="305" y="133"/>
                      <a:pt x="306" y="133"/>
                    </a:cubicBezTo>
                    <a:cubicBezTo>
                      <a:pt x="306" y="134"/>
                      <a:pt x="305" y="134"/>
                      <a:pt x="304" y="135"/>
                    </a:cubicBezTo>
                    <a:cubicBezTo>
                      <a:pt x="304" y="135"/>
                      <a:pt x="303" y="135"/>
                      <a:pt x="303" y="135"/>
                    </a:cubicBezTo>
                    <a:cubicBezTo>
                      <a:pt x="303" y="136"/>
                      <a:pt x="304" y="136"/>
                      <a:pt x="304" y="136"/>
                    </a:cubicBezTo>
                    <a:cubicBezTo>
                      <a:pt x="304" y="137"/>
                      <a:pt x="304" y="137"/>
                      <a:pt x="305" y="137"/>
                    </a:cubicBezTo>
                    <a:cubicBezTo>
                      <a:pt x="305" y="138"/>
                      <a:pt x="306" y="138"/>
                      <a:pt x="307" y="137"/>
                    </a:cubicBezTo>
                    <a:cubicBezTo>
                      <a:pt x="309" y="137"/>
                      <a:pt x="309" y="136"/>
                      <a:pt x="310" y="135"/>
                    </a:cubicBezTo>
                    <a:cubicBezTo>
                      <a:pt x="310" y="134"/>
                      <a:pt x="310" y="134"/>
                      <a:pt x="311" y="133"/>
                    </a:cubicBezTo>
                    <a:cubicBezTo>
                      <a:pt x="311" y="133"/>
                      <a:pt x="311" y="133"/>
                      <a:pt x="311" y="134"/>
                    </a:cubicBezTo>
                    <a:cubicBezTo>
                      <a:pt x="311" y="134"/>
                      <a:pt x="311" y="135"/>
                      <a:pt x="312" y="135"/>
                    </a:cubicBezTo>
                    <a:cubicBezTo>
                      <a:pt x="313" y="135"/>
                      <a:pt x="313" y="135"/>
                      <a:pt x="314" y="136"/>
                    </a:cubicBezTo>
                    <a:cubicBezTo>
                      <a:pt x="313" y="136"/>
                      <a:pt x="313" y="136"/>
                      <a:pt x="312" y="136"/>
                    </a:cubicBezTo>
                    <a:cubicBezTo>
                      <a:pt x="311" y="136"/>
                      <a:pt x="310" y="137"/>
                      <a:pt x="309" y="138"/>
                    </a:cubicBezTo>
                    <a:cubicBezTo>
                      <a:pt x="309" y="138"/>
                      <a:pt x="309" y="139"/>
                      <a:pt x="309" y="139"/>
                    </a:cubicBezTo>
                    <a:cubicBezTo>
                      <a:pt x="310" y="140"/>
                      <a:pt x="310" y="141"/>
                      <a:pt x="311" y="141"/>
                    </a:cubicBezTo>
                    <a:cubicBezTo>
                      <a:pt x="311" y="142"/>
                      <a:pt x="312" y="142"/>
                      <a:pt x="312" y="142"/>
                    </a:cubicBezTo>
                    <a:cubicBezTo>
                      <a:pt x="312" y="143"/>
                      <a:pt x="312" y="143"/>
                      <a:pt x="312" y="143"/>
                    </a:cubicBezTo>
                    <a:cubicBezTo>
                      <a:pt x="311" y="143"/>
                      <a:pt x="311" y="142"/>
                      <a:pt x="310" y="142"/>
                    </a:cubicBezTo>
                    <a:cubicBezTo>
                      <a:pt x="310" y="142"/>
                      <a:pt x="310" y="142"/>
                      <a:pt x="310" y="142"/>
                    </a:cubicBezTo>
                    <a:cubicBezTo>
                      <a:pt x="309" y="141"/>
                      <a:pt x="309" y="141"/>
                      <a:pt x="308" y="141"/>
                    </a:cubicBezTo>
                    <a:cubicBezTo>
                      <a:pt x="308" y="142"/>
                      <a:pt x="307" y="142"/>
                      <a:pt x="307" y="142"/>
                    </a:cubicBezTo>
                    <a:cubicBezTo>
                      <a:pt x="306" y="141"/>
                      <a:pt x="306" y="141"/>
                      <a:pt x="305" y="141"/>
                    </a:cubicBezTo>
                    <a:cubicBezTo>
                      <a:pt x="305" y="141"/>
                      <a:pt x="305" y="141"/>
                      <a:pt x="305" y="141"/>
                    </a:cubicBezTo>
                    <a:cubicBezTo>
                      <a:pt x="303" y="141"/>
                      <a:pt x="301" y="140"/>
                      <a:pt x="300" y="138"/>
                    </a:cubicBezTo>
                    <a:cubicBezTo>
                      <a:pt x="300" y="138"/>
                      <a:pt x="298" y="137"/>
                      <a:pt x="297" y="137"/>
                    </a:cubicBezTo>
                    <a:cubicBezTo>
                      <a:pt x="296" y="137"/>
                      <a:pt x="297" y="138"/>
                      <a:pt x="297" y="139"/>
                    </a:cubicBezTo>
                    <a:cubicBezTo>
                      <a:pt x="297" y="139"/>
                      <a:pt x="297" y="139"/>
                      <a:pt x="297" y="139"/>
                    </a:cubicBezTo>
                    <a:cubicBezTo>
                      <a:pt x="297" y="141"/>
                      <a:pt x="297" y="141"/>
                      <a:pt x="299" y="140"/>
                    </a:cubicBezTo>
                    <a:cubicBezTo>
                      <a:pt x="299" y="140"/>
                      <a:pt x="299" y="140"/>
                      <a:pt x="299" y="140"/>
                    </a:cubicBezTo>
                    <a:cubicBezTo>
                      <a:pt x="299" y="141"/>
                      <a:pt x="299" y="141"/>
                      <a:pt x="299" y="141"/>
                    </a:cubicBezTo>
                    <a:cubicBezTo>
                      <a:pt x="299" y="141"/>
                      <a:pt x="299" y="141"/>
                      <a:pt x="299" y="141"/>
                    </a:cubicBezTo>
                    <a:cubicBezTo>
                      <a:pt x="297" y="141"/>
                      <a:pt x="297" y="143"/>
                      <a:pt x="298" y="144"/>
                    </a:cubicBezTo>
                    <a:cubicBezTo>
                      <a:pt x="298" y="145"/>
                      <a:pt x="299" y="145"/>
                      <a:pt x="300" y="145"/>
                    </a:cubicBezTo>
                    <a:cubicBezTo>
                      <a:pt x="300" y="145"/>
                      <a:pt x="301" y="146"/>
                      <a:pt x="300" y="146"/>
                    </a:cubicBezTo>
                    <a:cubicBezTo>
                      <a:pt x="300" y="146"/>
                      <a:pt x="300" y="146"/>
                      <a:pt x="299" y="146"/>
                    </a:cubicBezTo>
                    <a:cubicBezTo>
                      <a:pt x="299" y="146"/>
                      <a:pt x="299" y="146"/>
                      <a:pt x="299" y="146"/>
                    </a:cubicBezTo>
                    <a:cubicBezTo>
                      <a:pt x="298" y="146"/>
                      <a:pt x="298" y="147"/>
                      <a:pt x="297" y="147"/>
                    </a:cubicBezTo>
                    <a:cubicBezTo>
                      <a:pt x="297" y="147"/>
                      <a:pt x="297" y="147"/>
                      <a:pt x="297" y="147"/>
                    </a:cubicBezTo>
                    <a:cubicBezTo>
                      <a:pt x="298" y="148"/>
                      <a:pt x="299" y="148"/>
                      <a:pt x="299" y="149"/>
                    </a:cubicBezTo>
                    <a:cubicBezTo>
                      <a:pt x="299" y="149"/>
                      <a:pt x="300" y="150"/>
                      <a:pt x="300" y="150"/>
                    </a:cubicBezTo>
                    <a:cubicBezTo>
                      <a:pt x="300" y="152"/>
                      <a:pt x="301" y="153"/>
                      <a:pt x="302" y="155"/>
                    </a:cubicBezTo>
                    <a:cubicBezTo>
                      <a:pt x="302" y="155"/>
                      <a:pt x="302" y="156"/>
                      <a:pt x="303" y="156"/>
                    </a:cubicBezTo>
                    <a:cubicBezTo>
                      <a:pt x="303" y="156"/>
                      <a:pt x="303" y="156"/>
                      <a:pt x="303" y="156"/>
                    </a:cubicBezTo>
                    <a:cubicBezTo>
                      <a:pt x="303" y="156"/>
                      <a:pt x="303" y="156"/>
                      <a:pt x="303" y="156"/>
                    </a:cubicBezTo>
                    <a:cubicBezTo>
                      <a:pt x="304" y="156"/>
                      <a:pt x="304" y="157"/>
                      <a:pt x="305" y="156"/>
                    </a:cubicBezTo>
                    <a:cubicBezTo>
                      <a:pt x="305" y="156"/>
                      <a:pt x="305" y="156"/>
                      <a:pt x="305" y="156"/>
                    </a:cubicBezTo>
                    <a:cubicBezTo>
                      <a:pt x="306" y="156"/>
                      <a:pt x="307" y="156"/>
                      <a:pt x="308" y="155"/>
                    </a:cubicBezTo>
                    <a:cubicBezTo>
                      <a:pt x="308" y="155"/>
                      <a:pt x="308" y="155"/>
                      <a:pt x="308" y="155"/>
                    </a:cubicBezTo>
                    <a:cubicBezTo>
                      <a:pt x="309" y="155"/>
                      <a:pt x="309" y="155"/>
                      <a:pt x="309" y="155"/>
                    </a:cubicBezTo>
                    <a:cubicBezTo>
                      <a:pt x="310" y="154"/>
                      <a:pt x="311" y="154"/>
                      <a:pt x="311" y="153"/>
                    </a:cubicBezTo>
                    <a:cubicBezTo>
                      <a:pt x="311" y="152"/>
                      <a:pt x="312" y="152"/>
                      <a:pt x="313" y="152"/>
                    </a:cubicBezTo>
                    <a:cubicBezTo>
                      <a:pt x="313" y="152"/>
                      <a:pt x="312" y="153"/>
                      <a:pt x="313" y="154"/>
                    </a:cubicBezTo>
                    <a:cubicBezTo>
                      <a:pt x="313" y="154"/>
                      <a:pt x="312" y="155"/>
                      <a:pt x="312" y="155"/>
                    </a:cubicBezTo>
                    <a:cubicBezTo>
                      <a:pt x="311" y="156"/>
                      <a:pt x="310" y="158"/>
                      <a:pt x="308" y="158"/>
                    </a:cubicBezTo>
                    <a:cubicBezTo>
                      <a:pt x="307" y="158"/>
                      <a:pt x="306" y="159"/>
                      <a:pt x="305" y="159"/>
                    </a:cubicBezTo>
                    <a:cubicBezTo>
                      <a:pt x="304" y="160"/>
                      <a:pt x="303" y="160"/>
                      <a:pt x="303" y="161"/>
                    </a:cubicBezTo>
                    <a:cubicBezTo>
                      <a:pt x="303" y="162"/>
                      <a:pt x="304" y="163"/>
                      <a:pt x="303" y="164"/>
                    </a:cubicBezTo>
                    <a:cubicBezTo>
                      <a:pt x="303" y="164"/>
                      <a:pt x="303" y="164"/>
                      <a:pt x="303" y="164"/>
                    </a:cubicBezTo>
                    <a:cubicBezTo>
                      <a:pt x="304" y="165"/>
                      <a:pt x="305" y="166"/>
                      <a:pt x="306" y="165"/>
                    </a:cubicBezTo>
                    <a:cubicBezTo>
                      <a:pt x="306" y="165"/>
                      <a:pt x="306" y="165"/>
                      <a:pt x="306" y="165"/>
                    </a:cubicBezTo>
                    <a:cubicBezTo>
                      <a:pt x="306" y="166"/>
                      <a:pt x="308" y="167"/>
                      <a:pt x="307" y="168"/>
                    </a:cubicBezTo>
                    <a:cubicBezTo>
                      <a:pt x="306" y="168"/>
                      <a:pt x="307" y="169"/>
                      <a:pt x="307" y="169"/>
                    </a:cubicBezTo>
                    <a:cubicBezTo>
                      <a:pt x="308" y="170"/>
                      <a:pt x="308" y="169"/>
                      <a:pt x="308" y="169"/>
                    </a:cubicBezTo>
                    <a:cubicBezTo>
                      <a:pt x="308" y="169"/>
                      <a:pt x="309" y="168"/>
                      <a:pt x="309" y="169"/>
                    </a:cubicBezTo>
                    <a:cubicBezTo>
                      <a:pt x="309" y="169"/>
                      <a:pt x="310" y="168"/>
                      <a:pt x="310" y="168"/>
                    </a:cubicBezTo>
                    <a:cubicBezTo>
                      <a:pt x="310" y="167"/>
                      <a:pt x="310" y="167"/>
                      <a:pt x="311" y="167"/>
                    </a:cubicBezTo>
                    <a:cubicBezTo>
                      <a:pt x="311" y="167"/>
                      <a:pt x="312" y="166"/>
                      <a:pt x="312" y="166"/>
                    </a:cubicBezTo>
                    <a:cubicBezTo>
                      <a:pt x="312" y="165"/>
                      <a:pt x="312" y="166"/>
                      <a:pt x="311" y="165"/>
                    </a:cubicBezTo>
                    <a:cubicBezTo>
                      <a:pt x="311" y="165"/>
                      <a:pt x="311" y="165"/>
                      <a:pt x="311" y="165"/>
                    </a:cubicBezTo>
                    <a:cubicBezTo>
                      <a:pt x="311" y="164"/>
                      <a:pt x="312" y="164"/>
                      <a:pt x="312" y="164"/>
                    </a:cubicBezTo>
                    <a:cubicBezTo>
                      <a:pt x="313" y="164"/>
                      <a:pt x="313" y="164"/>
                      <a:pt x="314" y="165"/>
                    </a:cubicBezTo>
                    <a:cubicBezTo>
                      <a:pt x="314" y="165"/>
                      <a:pt x="315" y="165"/>
                      <a:pt x="316" y="165"/>
                    </a:cubicBezTo>
                    <a:cubicBezTo>
                      <a:pt x="315" y="166"/>
                      <a:pt x="315" y="166"/>
                      <a:pt x="314" y="167"/>
                    </a:cubicBezTo>
                    <a:cubicBezTo>
                      <a:pt x="314" y="167"/>
                      <a:pt x="314" y="169"/>
                      <a:pt x="314" y="169"/>
                    </a:cubicBezTo>
                    <a:cubicBezTo>
                      <a:pt x="314" y="170"/>
                      <a:pt x="315" y="170"/>
                      <a:pt x="316" y="170"/>
                    </a:cubicBezTo>
                    <a:cubicBezTo>
                      <a:pt x="316" y="169"/>
                      <a:pt x="318" y="169"/>
                      <a:pt x="317" y="167"/>
                    </a:cubicBezTo>
                    <a:cubicBezTo>
                      <a:pt x="317" y="167"/>
                      <a:pt x="317" y="166"/>
                      <a:pt x="317" y="166"/>
                    </a:cubicBezTo>
                    <a:cubicBezTo>
                      <a:pt x="319" y="166"/>
                      <a:pt x="319" y="165"/>
                      <a:pt x="319" y="165"/>
                    </a:cubicBezTo>
                    <a:cubicBezTo>
                      <a:pt x="319" y="164"/>
                      <a:pt x="319" y="164"/>
                      <a:pt x="319" y="163"/>
                    </a:cubicBezTo>
                    <a:cubicBezTo>
                      <a:pt x="320" y="163"/>
                      <a:pt x="320" y="163"/>
                      <a:pt x="320" y="164"/>
                    </a:cubicBezTo>
                    <a:cubicBezTo>
                      <a:pt x="320" y="165"/>
                      <a:pt x="320" y="166"/>
                      <a:pt x="319" y="167"/>
                    </a:cubicBezTo>
                    <a:cubicBezTo>
                      <a:pt x="320" y="167"/>
                      <a:pt x="320" y="166"/>
                      <a:pt x="320" y="166"/>
                    </a:cubicBezTo>
                    <a:cubicBezTo>
                      <a:pt x="322" y="166"/>
                      <a:pt x="322" y="165"/>
                      <a:pt x="321" y="164"/>
                    </a:cubicBezTo>
                    <a:cubicBezTo>
                      <a:pt x="321" y="164"/>
                      <a:pt x="321" y="163"/>
                      <a:pt x="321" y="163"/>
                    </a:cubicBezTo>
                    <a:cubicBezTo>
                      <a:pt x="321" y="162"/>
                      <a:pt x="321" y="162"/>
                      <a:pt x="321" y="162"/>
                    </a:cubicBezTo>
                    <a:cubicBezTo>
                      <a:pt x="322" y="162"/>
                      <a:pt x="321" y="162"/>
                      <a:pt x="322" y="163"/>
                    </a:cubicBezTo>
                    <a:cubicBezTo>
                      <a:pt x="322" y="163"/>
                      <a:pt x="322" y="163"/>
                      <a:pt x="322" y="164"/>
                    </a:cubicBezTo>
                    <a:cubicBezTo>
                      <a:pt x="322" y="164"/>
                      <a:pt x="323" y="164"/>
                      <a:pt x="323" y="164"/>
                    </a:cubicBezTo>
                    <a:cubicBezTo>
                      <a:pt x="323" y="163"/>
                      <a:pt x="324" y="163"/>
                      <a:pt x="324" y="163"/>
                    </a:cubicBezTo>
                    <a:cubicBezTo>
                      <a:pt x="325" y="163"/>
                      <a:pt x="325" y="163"/>
                      <a:pt x="326" y="163"/>
                    </a:cubicBezTo>
                    <a:cubicBezTo>
                      <a:pt x="326" y="163"/>
                      <a:pt x="327" y="162"/>
                      <a:pt x="327" y="163"/>
                    </a:cubicBezTo>
                    <a:cubicBezTo>
                      <a:pt x="327" y="163"/>
                      <a:pt x="327" y="163"/>
                      <a:pt x="327" y="163"/>
                    </a:cubicBezTo>
                    <a:cubicBezTo>
                      <a:pt x="326" y="164"/>
                      <a:pt x="325" y="165"/>
                      <a:pt x="324" y="166"/>
                    </a:cubicBezTo>
                    <a:cubicBezTo>
                      <a:pt x="326" y="166"/>
                      <a:pt x="327" y="167"/>
                      <a:pt x="329" y="167"/>
                    </a:cubicBezTo>
                    <a:cubicBezTo>
                      <a:pt x="330" y="167"/>
                      <a:pt x="331" y="166"/>
                      <a:pt x="333" y="166"/>
                    </a:cubicBezTo>
                    <a:cubicBezTo>
                      <a:pt x="333" y="166"/>
                      <a:pt x="333" y="165"/>
                      <a:pt x="333" y="165"/>
                    </a:cubicBezTo>
                    <a:cubicBezTo>
                      <a:pt x="333" y="165"/>
                      <a:pt x="334" y="165"/>
                      <a:pt x="334" y="165"/>
                    </a:cubicBezTo>
                    <a:cubicBezTo>
                      <a:pt x="334" y="165"/>
                      <a:pt x="334" y="166"/>
                      <a:pt x="334" y="166"/>
                    </a:cubicBezTo>
                    <a:cubicBezTo>
                      <a:pt x="334" y="166"/>
                      <a:pt x="333" y="167"/>
                      <a:pt x="333" y="167"/>
                    </a:cubicBezTo>
                    <a:cubicBezTo>
                      <a:pt x="332" y="167"/>
                      <a:pt x="331" y="167"/>
                      <a:pt x="330" y="168"/>
                    </a:cubicBezTo>
                    <a:cubicBezTo>
                      <a:pt x="329" y="169"/>
                      <a:pt x="327" y="168"/>
                      <a:pt x="326" y="168"/>
                    </a:cubicBezTo>
                    <a:cubicBezTo>
                      <a:pt x="325" y="168"/>
                      <a:pt x="324" y="169"/>
                      <a:pt x="324" y="170"/>
                    </a:cubicBezTo>
                    <a:cubicBezTo>
                      <a:pt x="323" y="171"/>
                      <a:pt x="325" y="170"/>
                      <a:pt x="325" y="171"/>
                    </a:cubicBezTo>
                    <a:cubicBezTo>
                      <a:pt x="325" y="171"/>
                      <a:pt x="326" y="171"/>
                      <a:pt x="326" y="171"/>
                    </a:cubicBezTo>
                    <a:cubicBezTo>
                      <a:pt x="328" y="172"/>
                      <a:pt x="329" y="172"/>
                      <a:pt x="331" y="171"/>
                    </a:cubicBezTo>
                    <a:cubicBezTo>
                      <a:pt x="332" y="171"/>
                      <a:pt x="333" y="171"/>
                      <a:pt x="334" y="170"/>
                    </a:cubicBezTo>
                    <a:cubicBezTo>
                      <a:pt x="335" y="170"/>
                      <a:pt x="336" y="170"/>
                      <a:pt x="337" y="171"/>
                    </a:cubicBezTo>
                    <a:cubicBezTo>
                      <a:pt x="337" y="171"/>
                      <a:pt x="338" y="171"/>
                      <a:pt x="338" y="170"/>
                    </a:cubicBezTo>
                    <a:cubicBezTo>
                      <a:pt x="339" y="170"/>
                      <a:pt x="339" y="170"/>
                      <a:pt x="339" y="170"/>
                    </a:cubicBezTo>
                    <a:cubicBezTo>
                      <a:pt x="339" y="171"/>
                      <a:pt x="339" y="171"/>
                      <a:pt x="339" y="171"/>
                    </a:cubicBezTo>
                    <a:cubicBezTo>
                      <a:pt x="339" y="172"/>
                      <a:pt x="338" y="172"/>
                      <a:pt x="338" y="172"/>
                    </a:cubicBezTo>
                    <a:cubicBezTo>
                      <a:pt x="338" y="172"/>
                      <a:pt x="338" y="172"/>
                      <a:pt x="338" y="172"/>
                    </a:cubicBezTo>
                    <a:cubicBezTo>
                      <a:pt x="337" y="172"/>
                      <a:pt x="336" y="172"/>
                      <a:pt x="335" y="172"/>
                    </a:cubicBezTo>
                    <a:cubicBezTo>
                      <a:pt x="335" y="172"/>
                      <a:pt x="335" y="172"/>
                      <a:pt x="335" y="172"/>
                    </a:cubicBezTo>
                    <a:cubicBezTo>
                      <a:pt x="333" y="173"/>
                      <a:pt x="332" y="173"/>
                      <a:pt x="330" y="173"/>
                    </a:cubicBezTo>
                    <a:cubicBezTo>
                      <a:pt x="330" y="173"/>
                      <a:pt x="330" y="173"/>
                      <a:pt x="330" y="173"/>
                    </a:cubicBezTo>
                    <a:cubicBezTo>
                      <a:pt x="328" y="174"/>
                      <a:pt x="326" y="174"/>
                      <a:pt x="325" y="174"/>
                    </a:cubicBezTo>
                    <a:cubicBezTo>
                      <a:pt x="324" y="174"/>
                      <a:pt x="323" y="173"/>
                      <a:pt x="323" y="174"/>
                    </a:cubicBezTo>
                    <a:cubicBezTo>
                      <a:pt x="322" y="175"/>
                      <a:pt x="322" y="174"/>
                      <a:pt x="321" y="174"/>
                    </a:cubicBezTo>
                    <a:cubicBezTo>
                      <a:pt x="320" y="173"/>
                      <a:pt x="319" y="173"/>
                      <a:pt x="319" y="174"/>
                    </a:cubicBezTo>
                    <a:cubicBezTo>
                      <a:pt x="319" y="175"/>
                      <a:pt x="318" y="176"/>
                      <a:pt x="317" y="177"/>
                    </a:cubicBezTo>
                    <a:cubicBezTo>
                      <a:pt x="317" y="177"/>
                      <a:pt x="317" y="178"/>
                      <a:pt x="317" y="178"/>
                    </a:cubicBezTo>
                    <a:cubicBezTo>
                      <a:pt x="316" y="177"/>
                      <a:pt x="316" y="178"/>
                      <a:pt x="315" y="178"/>
                    </a:cubicBezTo>
                    <a:cubicBezTo>
                      <a:pt x="314" y="178"/>
                      <a:pt x="314" y="179"/>
                      <a:pt x="313" y="180"/>
                    </a:cubicBezTo>
                    <a:cubicBezTo>
                      <a:pt x="313" y="180"/>
                      <a:pt x="314" y="180"/>
                      <a:pt x="314" y="181"/>
                    </a:cubicBezTo>
                    <a:cubicBezTo>
                      <a:pt x="314" y="183"/>
                      <a:pt x="315" y="183"/>
                      <a:pt x="316" y="185"/>
                    </a:cubicBezTo>
                    <a:cubicBezTo>
                      <a:pt x="316" y="185"/>
                      <a:pt x="316" y="185"/>
                      <a:pt x="316" y="185"/>
                    </a:cubicBezTo>
                    <a:cubicBezTo>
                      <a:pt x="318" y="185"/>
                      <a:pt x="319" y="185"/>
                      <a:pt x="320" y="186"/>
                    </a:cubicBezTo>
                    <a:cubicBezTo>
                      <a:pt x="320" y="187"/>
                      <a:pt x="321" y="187"/>
                      <a:pt x="321" y="187"/>
                    </a:cubicBezTo>
                    <a:cubicBezTo>
                      <a:pt x="321" y="187"/>
                      <a:pt x="321" y="187"/>
                      <a:pt x="321" y="187"/>
                    </a:cubicBezTo>
                    <a:cubicBezTo>
                      <a:pt x="321" y="188"/>
                      <a:pt x="322" y="188"/>
                      <a:pt x="321" y="188"/>
                    </a:cubicBezTo>
                    <a:cubicBezTo>
                      <a:pt x="321" y="188"/>
                      <a:pt x="320" y="188"/>
                      <a:pt x="319" y="188"/>
                    </a:cubicBezTo>
                    <a:cubicBezTo>
                      <a:pt x="319" y="187"/>
                      <a:pt x="318" y="187"/>
                      <a:pt x="318" y="187"/>
                    </a:cubicBezTo>
                    <a:cubicBezTo>
                      <a:pt x="317" y="187"/>
                      <a:pt x="317" y="187"/>
                      <a:pt x="316" y="187"/>
                    </a:cubicBezTo>
                    <a:cubicBezTo>
                      <a:pt x="316" y="187"/>
                      <a:pt x="316" y="188"/>
                      <a:pt x="317" y="188"/>
                    </a:cubicBezTo>
                    <a:cubicBezTo>
                      <a:pt x="317" y="189"/>
                      <a:pt x="317" y="191"/>
                      <a:pt x="318" y="191"/>
                    </a:cubicBezTo>
                    <a:cubicBezTo>
                      <a:pt x="319" y="191"/>
                      <a:pt x="319" y="191"/>
                      <a:pt x="319" y="191"/>
                    </a:cubicBezTo>
                    <a:cubicBezTo>
                      <a:pt x="319" y="193"/>
                      <a:pt x="319" y="194"/>
                      <a:pt x="322" y="193"/>
                    </a:cubicBezTo>
                    <a:cubicBezTo>
                      <a:pt x="322" y="193"/>
                      <a:pt x="324" y="193"/>
                      <a:pt x="325" y="193"/>
                    </a:cubicBezTo>
                    <a:cubicBezTo>
                      <a:pt x="325" y="193"/>
                      <a:pt x="325" y="193"/>
                      <a:pt x="325" y="193"/>
                    </a:cubicBezTo>
                    <a:cubicBezTo>
                      <a:pt x="325" y="193"/>
                      <a:pt x="325" y="193"/>
                      <a:pt x="325" y="193"/>
                    </a:cubicBezTo>
                    <a:cubicBezTo>
                      <a:pt x="326" y="194"/>
                      <a:pt x="327" y="194"/>
                      <a:pt x="328" y="194"/>
                    </a:cubicBezTo>
                    <a:cubicBezTo>
                      <a:pt x="329" y="194"/>
                      <a:pt x="330" y="194"/>
                      <a:pt x="330" y="194"/>
                    </a:cubicBezTo>
                    <a:cubicBezTo>
                      <a:pt x="330" y="195"/>
                      <a:pt x="331" y="195"/>
                      <a:pt x="331" y="195"/>
                    </a:cubicBezTo>
                    <a:cubicBezTo>
                      <a:pt x="331" y="195"/>
                      <a:pt x="330" y="195"/>
                      <a:pt x="330" y="195"/>
                    </a:cubicBezTo>
                    <a:cubicBezTo>
                      <a:pt x="329" y="195"/>
                      <a:pt x="329" y="195"/>
                      <a:pt x="328" y="195"/>
                    </a:cubicBezTo>
                    <a:cubicBezTo>
                      <a:pt x="328" y="196"/>
                      <a:pt x="327" y="196"/>
                      <a:pt x="326" y="196"/>
                    </a:cubicBezTo>
                    <a:cubicBezTo>
                      <a:pt x="326" y="196"/>
                      <a:pt x="324" y="195"/>
                      <a:pt x="325" y="197"/>
                    </a:cubicBezTo>
                    <a:cubicBezTo>
                      <a:pt x="325" y="197"/>
                      <a:pt x="325" y="197"/>
                      <a:pt x="324" y="197"/>
                    </a:cubicBezTo>
                    <a:cubicBezTo>
                      <a:pt x="324" y="197"/>
                      <a:pt x="324" y="197"/>
                      <a:pt x="324" y="197"/>
                    </a:cubicBezTo>
                    <a:cubicBezTo>
                      <a:pt x="324" y="197"/>
                      <a:pt x="324" y="197"/>
                      <a:pt x="324" y="197"/>
                    </a:cubicBezTo>
                    <a:cubicBezTo>
                      <a:pt x="324" y="197"/>
                      <a:pt x="324" y="197"/>
                      <a:pt x="323" y="197"/>
                    </a:cubicBezTo>
                    <a:cubicBezTo>
                      <a:pt x="322" y="196"/>
                      <a:pt x="322" y="197"/>
                      <a:pt x="322" y="198"/>
                    </a:cubicBezTo>
                    <a:cubicBezTo>
                      <a:pt x="322" y="199"/>
                      <a:pt x="322" y="200"/>
                      <a:pt x="323" y="201"/>
                    </a:cubicBezTo>
                    <a:cubicBezTo>
                      <a:pt x="324" y="202"/>
                      <a:pt x="324" y="204"/>
                      <a:pt x="327" y="203"/>
                    </a:cubicBezTo>
                    <a:cubicBezTo>
                      <a:pt x="326" y="203"/>
                      <a:pt x="326" y="204"/>
                      <a:pt x="326" y="204"/>
                    </a:cubicBezTo>
                    <a:cubicBezTo>
                      <a:pt x="327" y="204"/>
                      <a:pt x="327" y="205"/>
                      <a:pt x="327" y="205"/>
                    </a:cubicBezTo>
                    <a:cubicBezTo>
                      <a:pt x="328" y="206"/>
                      <a:pt x="328" y="206"/>
                      <a:pt x="328" y="206"/>
                    </a:cubicBezTo>
                    <a:cubicBezTo>
                      <a:pt x="329" y="205"/>
                      <a:pt x="329" y="205"/>
                      <a:pt x="330" y="206"/>
                    </a:cubicBezTo>
                    <a:cubicBezTo>
                      <a:pt x="330" y="206"/>
                      <a:pt x="331" y="207"/>
                      <a:pt x="332" y="207"/>
                    </a:cubicBezTo>
                    <a:cubicBezTo>
                      <a:pt x="334" y="207"/>
                      <a:pt x="336" y="209"/>
                      <a:pt x="338" y="209"/>
                    </a:cubicBezTo>
                    <a:cubicBezTo>
                      <a:pt x="338" y="209"/>
                      <a:pt x="339" y="209"/>
                      <a:pt x="340" y="208"/>
                    </a:cubicBezTo>
                    <a:cubicBezTo>
                      <a:pt x="340" y="207"/>
                      <a:pt x="340" y="207"/>
                      <a:pt x="340" y="206"/>
                    </a:cubicBezTo>
                    <a:cubicBezTo>
                      <a:pt x="339" y="205"/>
                      <a:pt x="339" y="205"/>
                      <a:pt x="339" y="204"/>
                    </a:cubicBezTo>
                    <a:cubicBezTo>
                      <a:pt x="338" y="204"/>
                      <a:pt x="338" y="203"/>
                      <a:pt x="337" y="202"/>
                    </a:cubicBezTo>
                    <a:cubicBezTo>
                      <a:pt x="337" y="202"/>
                      <a:pt x="338" y="202"/>
                      <a:pt x="338" y="202"/>
                    </a:cubicBezTo>
                    <a:cubicBezTo>
                      <a:pt x="339" y="202"/>
                      <a:pt x="339" y="202"/>
                      <a:pt x="340" y="202"/>
                    </a:cubicBezTo>
                    <a:cubicBezTo>
                      <a:pt x="341" y="202"/>
                      <a:pt x="342" y="203"/>
                      <a:pt x="342" y="204"/>
                    </a:cubicBezTo>
                    <a:cubicBezTo>
                      <a:pt x="342" y="205"/>
                      <a:pt x="342" y="206"/>
                      <a:pt x="344" y="206"/>
                    </a:cubicBezTo>
                    <a:cubicBezTo>
                      <a:pt x="344" y="206"/>
                      <a:pt x="344" y="206"/>
                      <a:pt x="344" y="206"/>
                    </a:cubicBezTo>
                    <a:cubicBezTo>
                      <a:pt x="344" y="207"/>
                      <a:pt x="344" y="207"/>
                      <a:pt x="344" y="207"/>
                    </a:cubicBezTo>
                    <a:cubicBezTo>
                      <a:pt x="345" y="208"/>
                      <a:pt x="345" y="208"/>
                      <a:pt x="345" y="208"/>
                    </a:cubicBezTo>
                    <a:cubicBezTo>
                      <a:pt x="345" y="208"/>
                      <a:pt x="345" y="207"/>
                      <a:pt x="345" y="207"/>
                    </a:cubicBezTo>
                    <a:cubicBezTo>
                      <a:pt x="345" y="206"/>
                      <a:pt x="344" y="204"/>
                      <a:pt x="344" y="203"/>
                    </a:cubicBezTo>
                    <a:cubicBezTo>
                      <a:pt x="344" y="203"/>
                      <a:pt x="344" y="203"/>
                      <a:pt x="344" y="202"/>
                    </a:cubicBezTo>
                    <a:cubicBezTo>
                      <a:pt x="344" y="201"/>
                      <a:pt x="344" y="200"/>
                      <a:pt x="342" y="199"/>
                    </a:cubicBezTo>
                    <a:cubicBezTo>
                      <a:pt x="342" y="199"/>
                      <a:pt x="342" y="198"/>
                      <a:pt x="342" y="198"/>
                    </a:cubicBezTo>
                    <a:cubicBezTo>
                      <a:pt x="341" y="197"/>
                      <a:pt x="342" y="196"/>
                      <a:pt x="341" y="195"/>
                    </a:cubicBezTo>
                    <a:cubicBezTo>
                      <a:pt x="341" y="195"/>
                      <a:pt x="341" y="195"/>
                      <a:pt x="341" y="194"/>
                    </a:cubicBezTo>
                    <a:cubicBezTo>
                      <a:pt x="341" y="194"/>
                      <a:pt x="341" y="194"/>
                      <a:pt x="341" y="194"/>
                    </a:cubicBezTo>
                    <a:cubicBezTo>
                      <a:pt x="341" y="193"/>
                      <a:pt x="341" y="193"/>
                      <a:pt x="342" y="193"/>
                    </a:cubicBezTo>
                    <a:cubicBezTo>
                      <a:pt x="342" y="193"/>
                      <a:pt x="342" y="193"/>
                      <a:pt x="342" y="194"/>
                    </a:cubicBezTo>
                    <a:cubicBezTo>
                      <a:pt x="342" y="194"/>
                      <a:pt x="342" y="194"/>
                      <a:pt x="342" y="195"/>
                    </a:cubicBezTo>
                    <a:cubicBezTo>
                      <a:pt x="343" y="196"/>
                      <a:pt x="343" y="197"/>
                      <a:pt x="344" y="199"/>
                    </a:cubicBezTo>
                    <a:cubicBezTo>
                      <a:pt x="345" y="200"/>
                      <a:pt x="346" y="202"/>
                      <a:pt x="347" y="204"/>
                    </a:cubicBezTo>
                    <a:cubicBezTo>
                      <a:pt x="347" y="205"/>
                      <a:pt x="348" y="207"/>
                      <a:pt x="349" y="208"/>
                    </a:cubicBezTo>
                    <a:cubicBezTo>
                      <a:pt x="349" y="208"/>
                      <a:pt x="350" y="208"/>
                      <a:pt x="350" y="207"/>
                    </a:cubicBezTo>
                    <a:cubicBezTo>
                      <a:pt x="350" y="206"/>
                      <a:pt x="351" y="204"/>
                      <a:pt x="351" y="202"/>
                    </a:cubicBezTo>
                    <a:cubicBezTo>
                      <a:pt x="351" y="201"/>
                      <a:pt x="352" y="199"/>
                      <a:pt x="351" y="197"/>
                    </a:cubicBezTo>
                    <a:cubicBezTo>
                      <a:pt x="350" y="196"/>
                      <a:pt x="350" y="195"/>
                      <a:pt x="350" y="194"/>
                    </a:cubicBezTo>
                    <a:cubicBezTo>
                      <a:pt x="350" y="193"/>
                      <a:pt x="350" y="193"/>
                      <a:pt x="350" y="193"/>
                    </a:cubicBezTo>
                    <a:cubicBezTo>
                      <a:pt x="351" y="193"/>
                      <a:pt x="351" y="193"/>
                      <a:pt x="351" y="193"/>
                    </a:cubicBezTo>
                    <a:cubicBezTo>
                      <a:pt x="351" y="195"/>
                      <a:pt x="352" y="196"/>
                      <a:pt x="353" y="197"/>
                    </a:cubicBezTo>
                    <a:cubicBezTo>
                      <a:pt x="353" y="198"/>
                      <a:pt x="353" y="198"/>
                      <a:pt x="355" y="197"/>
                    </a:cubicBezTo>
                    <a:cubicBezTo>
                      <a:pt x="355" y="197"/>
                      <a:pt x="356" y="196"/>
                      <a:pt x="356" y="195"/>
                    </a:cubicBezTo>
                    <a:cubicBezTo>
                      <a:pt x="356" y="193"/>
                      <a:pt x="356" y="192"/>
                      <a:pt x="355" y="191"/>
                    </a:cubicBezTo>
                    <a:cubicBezTo>
                      <a:pt x="355" y="190"/>
                      <a:pt x="354" y="190"/>
                      <a:pt x="354" y="190"/>
                    </a:cubicBezTo>
                    <a:cubicBezTo>
                      <a:pt x="354" y="189"/>
                      <a:pt x="354" y="187"/>
                      <a:pt x="353" y="186"/>
                    </a:cubicBezTo>
                    <a:cubicBezTo>
                      <a:pt x="353" y="186"/>
                      <a:pt x="353" y="186"/>
                      <a:pt x="353" y="186"/>
                    </a:cubicBezTo>
                    <a:cubicBezTo>
                      <a:pt x="353" y="184"/>
                      <a:pt x="354" y="183"/>
                      <a:pt x="353" y="181"/>
                    </a:cubicBezTo>
                    <a:cubicBezTo>
                      <a:pt x="353" y="181"/>
                      <a:pt x="354" y="181"/>
                      <a:pt x="354" y="180"/>
                    </a:cubicBezTo>
                    <a:cubicBezTo>
                      <a:pt x="354" y="180"/>
                      <a:pt x="354" y="180"/>
                      <a:pt x="354" y="179"/>
                    </a:cubicBezTo>
                    <a:cubicBezTo>
                      <a:pt x="354" y="179"/>
                      <a:pt x="354" y="179"/>
                      <a:pt x="354" y="179"/>
                    </a:cubicBezTo>
                    <a:cubicBezTo>
                      <a:pt x="356" y="179"/>
                      <a:pt x="356" y="179"/>
                      <a:pt x="356" y="177"/>
                    </a:cubicBezTo>
                    <a:cubicBezTo>
                      <a:pt x="356" y="176"/>
                      <a:pt x="356" y="176"/>
                      <a:pt x="357" y="176"/>
                    </a:cubicBezTo>
                    <a:cubicBezTo>
                      <a:pt x="357" y="176"/>
                      <a:pt x="357" y="177"/>
                      <a:pt x="357" y="177"/>
                    </a:cubicBezTo>
                    <a:cubicBezTo>
                      <a:pt x="357" y="177"/>
                      <a:pt x="357" y="177"/>
                      <a:pt x="357" y="178"/>
                    </a:cubicBezTo>
                    <a:cubicBezTo>
                      <a:pt x="356" y="178"/>
                      <a:pt x="356" y="178"/>
                      <a:pt x="356" y="179"/>
                    </a:cubicBezTo>
                    <a:cubicBezTo>
                      <a:pt x="356" y="180"/>
                      <a:pt x="354" y="180"/>
                      <a:pt x="355" y="181"/>
                    </a:cubicBezTo>
                    <a:cubicBezTo>
                      <a:pt x="355" y="182"/>
                      <a:pt x="355" y="183"/>
                      <a:pt x="355" y="183"/>
                    </a:cubicBezTo>
                    <a:cubicBezTo>
                      <a:pt x="354" y="185"/>
                      <a:pt x="355" y="187"/>
                      <a:pt x="356" y="189"/>
                    </a:cubicBezTo>
                    <a:cubicBezTo>
                      <a:pt x="356" y="190"/>
                      <a:pt x="357" y="190"/>
                      <a:pt x="357" y="191"/>
                    </a:cubicBezTo>
                    <a:cubicBezTo>
                      <a:pt x="357" y="191"/>
                      <a:pt x="357" y="192"/>
                      <a:pt x="357" y="192"/>
                    </a:cubicBezTo>
                    <a:cubicBezTo>
                      <a:pt x="358" y="191"/>
                      <a:pt x="358" y="191"/>
                      <a:pt x="358" y="191"/>
                    </a:cubicBezTo>
                    <a:cubicBezTo>
                      <a:pt x="358" y="190"/>
                      <a:pt x="359" y="189"/>
                      <a:pt x="359" y="188"/>
                    </a:cubicBezTo>
                    <a:cubicBezTo>
                      <a:pt x="359" y="187"/>
                      <a:pt x="360" y="186"/>
                      <a:pt x="360" y="185"/>
                    </a:cubicBezTo>
                    <a:cubicBezTo>
                      <a:pt x="360" y="184"/>
                      <a:pt x="362" y="184"/>
                      <a:pt x="362" y="182"/>
                    </a:cubicBezTo>
                    <a:cubicBezTo>
                      <a:pt x="362" y="181"/>
                      <a:pt x="362" y="179"/>
                      <a:pt x="362" y="178"/>
                    </a:cubicBezTo>
                    <a:cubicBezTo>
                      <a:pt x="362" y="178"/>
                      <a:pt x="362" y="177"/>
                      <a:pt x="362" y="178"/>
                    </a:cubicBezTo>
                    <a:cubicBezTo>
                      <a:pt x="362" y="178"/>
                      <a:pt x="362" y="179"/>
                      <a:pt x="363" y="179"/>
                    </a:cubicBezTo>
                    <a:cubicBezTo>
                      <a:pt x="363" y="180"/>
                      <a:pt x="363" y="181"/>
                      <a:pt x="364" y="181"/>
                    </a:cubicBezTo>
                    <a:cubicBezTo>
                      <a:pt x="364" y="181"/>
                      <a:pt x="364" y="180"/>
                      <a:pt x="364" y="180"/>
                    </a:cubicBezTo>
                    <a:cubicBezTo>
                      <a:pt x="364" y="179"/>
                      <a:pt x="364" y="179"/>
                      <a:pt x="364" y="179"/>
                    </a:cubicBezTo>
                    <a:cubicBezTo>
                      <a:pt x="364" y="179"/>
                      <a:pt x="365" y="179"/>
                      <a:pt x="365" y="178"/>
                    </a:cubicBezTo>
                    <a:cubicBezTo>
                      <a:pt x="365" y="177"/>
                      <a:pt x="366" y="176"/>
                      <a:pt x="367" y="176"/>
                    </a:cubicBezTo>
                    <a:cubicBezTo>
                      <a:pt x="369" y="175"/>
                      <a:pt x="370" y="174"/>
                      <a:pt x="372" y="173"/>
                    </a:cubicBezTo>
                    <a:cubicBezTo>
                      <a:pt x="372" y="172"/>
                      <a:pt x="372" y="172"/>
                      <a:pt x="372" y="172"/>
                    </a:cubicBezTo>
                    <a:cubicBezTo>
                      <a:pt x="374" y="171"/>
                      <a:pt x="374" y="170"/>
                      <a:pt x="376" y="169"/>
                    </a:cubicBezTo>
                    <a:cubicBezTo>
                      <a:pt x="376" y="169"/>
                      <a:pt x="376" y="169"/>
                      <a:pt x="376" y="169"/>
                    </a:cubicBezTo>
                    <a:cubicBezTo>
                      <a:pt x="375" y="168"/>
                      <a:pt x="375" y="166"/>
                      <a:pt x="374" y="166"/>
                    </a:cubicBezTo>
                    <a:cubicBezTo>
                      <a:pt x="373" y="165"/>
                      <a:pt x="373" y="164"/>
                      <a:pt x="372" y="163"/>
                    </a:cubicBezTo>
                    <a:cubicBezTo>
                      <a:pt x="372" y="162"/>
                      <a:pt x="372" y="161"/>
                      <a:pt x="372" y="160"/>
                    </a:cubicBezTo>
                    <a:cubicBezTo>
                      <a:pt x="371" y="159"/>
                      <a:pt x="372" y="158"/>
                      <a:pt x="371" y="157"/>
                    </a:cubicBezTo>
                    <a:cubicBezTo>
                      <a:pt x="370" y="157"/>
                      <a:pt x="370" y="157"/>
                      <a:pt x="370" y="157"/>
                    </a:cubicBezTo>
                    <a:cubicBezTo>
                      <a:pt x="369" y="157"/>
                      <a:pt x="369" y="157"/>
                      <a:pt x="369" y="158"/>
                    </a:cubicBezTo>
                    <a:cubicBezTo>
                      <a:pt x="369" y="158"/>
                      <a:pt x="369" y="159"/>
                      <a:pt x="369" y="159"/>
                    </a:cubicBezTo>
                    <a:cubicBezTo>
                      <a:pt x="369" y="160"/>
                      <a:pt x="370" y="161"/>
                      <a:pt x="368" y="162"/>
                    </a:cubicBezTo>
                    <a:cubicBezTo>
                      <a:pt x="368" y="161"/>
                      <a:pt x="367" y="161"/>
                      <a:pt x="368" y="160"/>
                    </a:cubicBezTo>
                    <a:cubicBezTo>
                      <a:pt x="368" y="159"/>
                      <a:pt x="368" y="159"/>
                      <a:pt x="368" y="158"/>
                    </a:cubicBezTo>
                    <a:cubicBezTo>
                      <a:pt x="367" y="157"/>
                      <a:pt x="366" y="156"/>
                      <a:pt x="364" y="155"/>
                    </a:cubicBezTo>
                    <a:cubicBezTo>
                      <a:pt x="364" y="155"/>
                      <a:pt x="364" y="155"/>
                      <a:pt x="364" y="155"/>
                    </a:cubicBezTo>
                    <a:cubicBezTo>
                      <a:pt x="363" y="156"/>
                      <a:pt x="363" y="157"/>
                      <a:pt x="363" y="158"/>
                    </a:cubicBezTo>
                    <a:cubicBezTo>
                      <a:pt x="364" y="158"/>
                      <a:pt x="364" y="158"/>
                      <a:pt x="364" y="159"/>
                    </a:cubicBezTo>
                    <a:cubicBezTo>
                      <a:pt x="363" y="159"/>
                      <a:pt x="363" y="159"/>
                      <a:pt x="363" y="158"/>
                    </a:cubicBezTo>
                    <a:cubicBezTo>
                      <a:pt x="362" y="157"/>
                      <a:pt x="362" y="157"/>
                      <a:pt x="361" y="158"/>
                    </a:cubicBezTo>
                    <a:cubicBezTo>
                      <a:pt x="360" y="159"/>
                      <a:pt x="360" y="159"/>
                      <a:pt x="360" y="160"/>
                    </a:cubicBezTo>
                    <a:cubicBezTo>
                      <a:pt x="360" y="161"/>
                      <a:pt x="360" y="161"/>
                      <a:pt x="359" y="160"/>
                    </a:cubicBezTo>
                    <a:cubicBezTo>
                      <a:pt x="359" y="160"/>
                      <a:pt x="358" y="160"/>
                      <a:pt x="359" y="159"/>
                    </a:cubicBezTo>
                    <a:cubicBezTo>
                      <a:pt x="359" y="159"/>
                      <a:pt x="359" y="159"/>
                      <a:pt x="359" y="159"/>
                    </a:cubicBezTo>
                    <a:cubicBezTo>
                      <a:pt x="359" y="158"/>
                      <a:pt x="360" y="157"/>
                      <a:pt x="360" y="156"/>
                    </a:cubicBezTo>
                    <a:cubicBezTo>
                      <a:pt x="361" y="155"/>
                      <a:pt x="361" y="155"/>
                      <a:pt x="361" y="155"/>
                    </a:cubicBezTo>
                    <a:cubicBezTo>
                      <a:pt x="361" y="154"/>
                      <a:pt x="361" y="154"/>
                      <a:pt x="361" y="154"/>
                    </a:cubicBezTo>
                    <a:cubicBezTo>
                      <a:pt x="361" y="154"/>
                      <a:pt x="361" y="153"/>
                      <a:pt x="361" y="153"/>
                    </a:cubicBezTo>
                    <a:cubicBezTo>
                      <a:pt x="361" y="153"/>
                      <a:pt x="361" y="153"/>
                      <a:pt x="361" y="153"/>
                    </a:cubicBezTo>
                    <a:cubicBezTo>
                      <a:pt x="362" y="152"/>
                      <a:pt x="362" y="152"/>
                      <a:pt x="361" y="152"/>
                    </a:cubicBezTo>
                    <a:cubicBezTo>
                      <a:pt x="361" y="151"/>
                      <a:pt x="361" y="151"/>
                      <a:pt x="361" y="150"/>
                    </a:cubicBezTo>
                    <a:cubicBezTo>
                      <a:pt x="361" y="149"/>
                      <a:pt x="362" y="148"/>
                      <a:pt x="362" y="146"/>
                    </a:cubicBezTo>
                    <a:cubicBezTo>
                      <a:pt x="362" y="145"/>
                      <a:pt x="362" y="146"/>
                      <a:pt x="361" y="146"/>
                    </a:cubicBezTo>
                    <a:cubicBezTo>
                      <a:pt x="360" y="147"/>
                      <a:pt x="360" y="148"/>
                      <a:pt x="360" y="148"/>
                    </a:cubicBezTo>
                    <a:cubicBezTo>
                      <a:pt x="359" y="148"/>
                      <a:pt x="359" y="148"/>
                      <a:pt x="359" y="149"/>
                    </a:cubicBezTo>
                    <a:cubicBezTo>
                      <a:pt x="359" y="149"/>
                      <a:pt x="359" y="149"/>
                      <a:pt x="359" y="149"/>
                    </a:cubicBezTo>
                    <a:cubicBezTo>
                      <a:pt x="358" y="148"/>
                      <a:pt x="358" y="148"/>
                      <a:pt x="359" y="148"/>
                    </a:cubicBezTo>
                    <a:cubicBezTo>
                      <a:pt x="359" y="148"/>
                      <a:pt x="360" y="147"/>
                      <a:pt x="360" y="147"/>
                    </a:cubicBezTo>
                    <a:cubicBezTo>
                      <a:pt x="360" y="146"/>
                      <a:pt x="360" y="146"/>
                      <a:pt x="360" y="146"/>
                    </a:cubicBezTo>
                    <a:cubicBezTo>
                      <a:pt x="362" y="145"/>
                      <a:pt x="361" y="144"/>
                      <a:pt x="361" y="143"/>
                    </a:cubicBezTo>
                    <a:cubicBezTo>
                      <a:pt x="360" y="142"/>
                      <a:pt x="361" y="140"/>
                      <a:pt x="360" y="140"/>
                    </a:cubicBezTo>
                    <a:cubicBezTo>
                      <a:pt x="359" y="140"/>
                      <a:pt x="358" y="140"/>
                      <a:pt x="358" y="139"/>
                    </a:cubicBezTo>
                    <a:cubicBezTo>
                      <a:pt x="357" y="139"/>
                      <a:pt x="357" y="139"/>
                      <a:pt x="357" y="140"/>
                    </a:cubicBezTo>
                    <a:cubicBezTo>
                      <a:pt x="357" y="140"/>
                      <a:pt x="356" y="140"/>
                      <a:pt x="356" y="140"/>
                    </a:cubicBezTo>
                    <a:cubicBezTo>
                      <a:pt x="355" y="140"/>
                      <a:pt x="355" y="140"/>
                      <a:pt x="355" y="139"/>
                    </a:cubicBezTo>
                    <a:cubicBezTo>
                      <a:pt x="355" y="139"/>
                      <a:pt x="355" y="138"/>
                      <a:pt x="355" y="138"/>
                    </a:cubicBezTo>
                    <a:cubicBezTo>
                      <a:pt x="354" y="138"/>
                      <a:pt x="354" y="137"/>
                      <a:pt x="355" y="137"/>
                    </a:cubicBezTo>
                    <a:cubicBezTo>
                      <a:pt x="355" y="137"/>
                      <a:pt x="355" y="137"/>
                      <a:pt x="356" y="137"/>
                    </a:cubicBezTo>
                    <a:cubicBezTo>
                      <a:pt x="356" y="137"/>
                      <a:pt x="357" y="137"/>
                      <a:pt x="357" y="136"/>
                    </a:cubicBezTo>
                    <a:cubicBezTo>
                      <a:pt x="358" y="135"/>
                      <a:pt x="358" y="134"/>
                      <a:pt x="358" y="133"/>
                    </a:cubicBezTo>
                    <a:cubicBezTo>
                      <a:pt x="358" y="131"/>
                      <a:pt x="358" y="129"/>
                      <a:pt x="358" y="128"/>
                    </a:cubicBezTo>
                    <a:cubicBezTo>
                      <a:pt x="357" y="127"/>
                      <a:pt x="357" y="127"/>
                      <a:pt x="357" y="127"/>
                    </a:cubicBezTo>
                    <a:cubicBezTo>
                      <a:pt x="356" y="127"/>
                      <a:pt x="356" y="127"/>
                      <a:pt x="356" y="127"/>
                    </a:cubicBezTo>
                    <a:cubicBezTo>
                      <a:pt x="354" y="125"/>
                      <a:pt x="352" y="125"/>
                      <a:pt x="351" y="127"/>
                    </a:cubicBezTo>
                    <a:cubicBezTo>
                      <a:pt x="351" y="128"/>
                      <a:pt x="351" y="128"/>
                      <a:pt x="350" y="128"/>
                    </a:cubicBezTo>
                    <a:cubicBezTo>
                      <a:pt x="350" y="128"/>
                      <a:pt x="350" y="129"/>
                      <a:pt x="350" y="129"/>
                    </a:cubicBezTo>
                    <a:cubicBezTo>
                      <a:pt x="351" y="130"/>
                      <a:pt x="351" y="131"/>
                      <a:pt x="350" y="131"/>
                    </a:cubicBezTo>
                    <a:cubicBezTo>
                      <a:pt x="350" y="132"/>
                      <a:pt x="350" y="133"/>
                      <a:pt x="350" y="133"/>
                    </a:cubicBezTo>
                    <a:cubicBezTo>
                      <a:pt x="351" y="134"/>
                      <a:pt x="351" y="135"/>
                      <a:pt x="352" y="135"/>
                    </a:cubicBezTo>
                    <a:cubicBezTo>
                      <a:pt x="352" y="135"/>
                      <a:pt x="353" y="135"/>
                      <a:pt x="353" y="136"/>
                    </a:cubicBezTo>
                    <a:cubicBezTo>
                      <a:pt x="353" y="136"/>
                      <a:pt x="353" y="136"/>
                      <a:pt x="352" y="136"/>
                    </a:cubicBezTo>
                    <a:cubicBezTo>
                      <a:pt x="352" y="136"/>
                      <a:pt x="352" y="136"/>
                      <a:pt x="352" y="137"/>
                    </a:cubicBezTo>
                    <a:cubicBezTo>
                      <a:pt x="353" y="137"/>
                      <a:pt x="352" y="138"/>
                      <a:pt x="353" y="139"/>
                    </a:cubicBezTo>
                    <a:cubicBezTo>
                      <a:pt x="353" y="139"/>
                      <a:pt x="353" y="139"/>
                      <a:pt x="353" y="139"/>
                    </a:cubicBezTo>
                    <a:cubicBezTo>
                      <a:pt x="353" y="139"/>
                      <a:pt x="353" y="139"/>
                      <a:pt x="353" y="139"/>
                    </a:cubicBezTo>
                    <a:cubicBezTo>
                      <a:pt x="352" y="139"/>
                      <a:pt x="352" y="138"/>
                      <a:pt x="351" y="138"/>
                    </a:cubicBezTo>
                    <a:cubicBezTo>
                      <a:pt x="351" y="138"/>
                      <a:pt x="352" y="139"/>
                      <a:pt x="352" y="139"/>
                    </a:cubicBezTo>
                    <a:cubicBezTo>
                      <a:pt x="350" y="139"/>
                      <a:pt x="349" y="137"/>
                      <a:pt x="348" y="136"/>
                    </a:cubicBezTo>
                    <a:cubicBezTo>
                      <a:pt x="347" y="134"/>
                      <a:pt x="346" y="132"/>
                      <a:pt x="347" y="130"/>
                    </a:cubicBezTo>
                    <a:cubicBezTo>
                      <a:pt x="347" y="130"/>
                      <a:pt x="347" y="129"/>
                      <a:pt x="348" y="129"/>
                    </a:cubicBezTo>
                    <a:cubicBezTo>
                      <a:pt x="348" y="128"/>
                      <a:pt x="348" y="128"/>
                      <a:pt x="347" y="128"/>
                    </a:cubicBezTo>
                    <a:cubicBezTo>
                      <a:pt x="346" y="127"/>
                      <a:pt x="347" y="127"/>
                      <a:pt x="347" y="127"/>
                    </a:cubicBezTo>
                    <a:cubicBezTo>
                      <a:pt x="348" y="126"/>
                      <a:pt x="348" y="125"/>
                      <a:pt x="348" y="124"/>
                    </a:cubicBezTo>
                    <a:cubicBezTo>
                      <a:pt x="347" y="124"/>
                      <a:pt x="347" y="123"/>
                      <a:pt x="347" y="123"/>
                    </a:cubicBezTo>
                    <a:cubicBezTo>
                      <a:pt x="346" y="122"/>
                      <a:pt x="345" y="121"/>
                      <a:pt x="344" y="122"/>
                    </a:cubicBezTo>
                    <a:cubicBezTo>
                      <a:pt x="343" y="122"/>
                      <a:pt x="342" y="122"/>
                      <a:pt x="343" y="124"/>
                    </a:cubicBezTo>
                    <a:cubicBezTo>
                      <a:pt x="343" y="124"/>
                      <a:pt x="343" y="124"/>
                      <a:pt x="343" y="124"/>
                    </a:cubicBezTo>
                    <a:cubicBezTo>
                      <a:pt x="343" y="124"/>
                      <a:pt x="343" y="124"/>
                      <a:pt x="343" y="123"/>
                    </a:cubicBezTo>
                    <a:cubicBezTo>
                      <a:pt x="342" y="123"/>
                      <a:pt x="341" y="123"/>
                      <a:pt x="341" y="122"/>
                    </a:cubicBezTo>
                    <a:cubicBezTo>
                      <a:pt x="341" y="122"/>
                      <a:pt x="341" y="122"/>
                      <a:pt x="341" y="121"/>
                    </a:cubicBezTo>
                    <a:cubicBezTo>
                      <a:pt x="340" y="121"/>
                      <a:pt x="338" y="120"/>
                      <a:pt x="337" y="120"/>
                    </a:cubicBezTo>
                    <a:cubicBezTo>
                      <a:pt x="336" y="121"/>
                      <a:pt x="336" y="120"/>
                      <a:pt x="337" y="120"/>
                    </a:cubicBezTo>
                    <a:cubicBezTo>
                      <a:pt x="338" y="117"/>
                      <a:pt x="338" y="116"/>
                      <a:pt x="336" y="114"/>
                    </a:cubicBezTo>
                    <a:cubicBezTo>
                      <a:pt x="335" y="113"/>
                      <a:pt x="334" y="113"/>
                      <a:pt x="334" y="112"/>
                    </a:cubicBezTo>
                    <a:cubicBezTo>
                      <a:pt x="334" y="111"/>
                      <a:pt x="334" y="110"/>
                      <a:pt x="333" y="109"/>
                    </a:cubicBezTo>
                    <a:cubicBezTo>
                      <a:pt x="332" y="107"/>
                      <a:pt x="332" y="105"/>
                      <a:pt x="331" y="103"/>
                    </a:cubicBezTo>
                    <a:cubicBezTo>
                      <a:pt x="331" y="102"/>
                      <a:pt x="331" y="102"/>
                      <a:pt x="330" y="101"/>
                    </a:cubicBezTo>
                    <a:cubicBezTo>
                      <a:pt x="330" y="100"/>
                      <a:pt x="328" y="100"/>
                      <a:pt x="330" y="99"/>
                    </a:cubicBezTo>
                    <a:cubicBezTo>
                      <a:pt x="330" y="99"/>
                      <a:pt x="330" y="99"/>
                      <a:pt x="330" y="98"/>
                    </a:cubicBezTo>
                    <a:cubicBezTo>
                      <a:pt x="330" y="97"/>
                      <a:pt x="329" y="95"/>
                      <a:pt x="328" y="94"/>
                    </a:cubicBezTo>
                    <a:cubicBezTo>
                      <a:pt x="327" y="92"/>
                      <a:pt x="326" y="91"/>
                      <a:pt x="325" y="91"/>
                    </a:cubicBezTo>
                    <a:cubicBezTo>
                      <a:pt x="325" y="90"/>
                      <a:pt x="324" y="90"/>
                      <a:pt x="324" y="90"/>
                    </a:cubicBezTo>
                    <a:cubicBezTo>
                      <a:pt x="323" y="89"/>
                      <a:pt x="322" y="88"/>
                      <a:pt x="320" y="87"/>
                    </a:cubicBezTo>
                    <a:cubicBezTo>
                      <a:pt x="320" y="86"/>
                      <a:pt x="319" y="86"/>
                      <a:pt x="319" y="86"/>
                    </a:cubicBezTo>
                    <a:cubicBezTo>
                      <a:pt x="318" y="86"/>
                      <a:pt x="319" y="87"/>
                      <a:pt x="319" y="88"/>
                    </a:cubicBezTo>
                    <a:cubicBezTo>
                      <a:pt x="319" y="88"/>
                      <a:pt x="319" y="88"/>
                      <a:pt x="319" y="88"/>
                    </a:cubicBezTo>
                    <a:cubicBezTo>
                      <a:pt x="318" y="88"/>
                      <a:pt x="318" y="88"/>
                      <a:pt x="318" y="88"/>
                    </a:cubicBezTo>
                    <a:cubicBezTo>
                      <a:pt x="317" y="88"/>
                      <a:pt x="317" y="87"/>
                      <a:pt x="316" y="87"/>
                    </a:cubicBezTo>
                    <a:cubicBezTo>
                      <a:pt x="315" y="86"/>
                      <a:pt x="315" y="87"/>
                      <a:pt x="314" y="87"/>
                    </a:cubicBezTo>
                    <a:cubicBezTo>
                      <a:pt x="314" y="88"/>
                      <a:pt x="313" y="89"/>
                      <a:pt x="313" y="90"/>
                    </a:cubicBezTo>
                    <a:cubicBezTo>
                      <a:pt x="312" y="91"/>
                      <a:pt x="313" y="92"/>
                      <a:pt x="314" y="93"/>
                    </a:cubicBezTo>
                    <a:cubicBezTo>
                      <a:pt x="315" y="93"/>
                      <a:pt x="316" y="94"/>
                      <a:pt x="318" y="93"/>
                    </a:cubicBezTo>
                    <a:cubicBezTo>
                      <a:pt x="318" y="93"/>
                      <a:pt x="319" y="93"/>
                      <a:pt x="319" y="93"/>
                    </a:cubicBezTo>
                    <a:cubicBezTo>
                      <a:pt x="320" y="93"/>
                      <a:pt x="320" y="94"/>
                      <a:pt x="321" y="95"/>
                    </a:cubicBezTo>
                    <a:cubicBezTo>
                      <a:pt x="321" y="95"/>
                      <a:pt x="322" y="95"/>
                      <a:pt x="321" y="95"/>
                    </a:cubicBezTo>
                    <a:cubicBezTo>
                      <a:pt x="321" y="96"/>
                      <a:pt x="321" y="96"/>
                      <a:pt x="321" y="96"/>
                    </a:cubicBezTo>
                    <a:cubicBezTo>
                      <a:pt x="321" y="98"/>
                      <a:pt x="321" y="99"/>
                      <a:pt x="319" y="99"/>
                    </a:cubicBezTo>
                    <a:cubicBezTo>
                      <a:pt x="318" y="99"/>
                      <a:pt x="318" y="99"/>
                      <a:pt x="317" y="98"/>
                    </a:cubicBezTo>
                    <a:cubicBezTo>
                      <a:pt x="316" y="98"/>
                      <a:pt x="316" y="98"/>
                      <a:pt x="316" y="98"/>
                    </a:cubicBezTo>
                    <a:cubicBezTo>
                      <a:pt x="315" y="98"/>
                      <a:pt x="314" y="98"/>
                      <a:pt x="314" y="98"/>
                    </a:cubicBezTo>
                    <a:cubicBezTo>
                      <a:pt x="314" y="98"/>
                      <a:pt x="313" y="97"/>
                      <a:pt x="313" y="98"/>
                    </a:cubicBezTo>
                    <a:cubicBezTo>
                      <a:pt x="313" y="98"/>
                      <a:pt x="313" y="98"/>
                      <a:pt x="313" y="99"/>
                    </a:cubicBezTo>
                    <a:cubicBezTo>
                      <a:pt x="314" y="99"/>
                      <a:pt x="314" y="100"/>
                      <a:pt x="315" y="100"/>
                    </a:cubicBezTo>
                    <a:cubicBezTo>
                      <a:pt x="315" y="100"/>
                      <a:pt x="315" y="101"/>
                      <a:pt x="315" y="101"/>
                    </a:cubicBezTo>
                    <a:cubicBezTo>
                      <a:pt x="315" y="101"/>
                      <a:pt x="314" y="102"/>
                      <a:pt x="314" y="102"/>
                    </a:cubicBezTo>
                    <a:cubicBezTo>
                      <a:pt x="313" y="102"/>
                      <a:pt x="313" y="102"/>
                      <a:pt x="313" y="102"/>
                    </a:cubicBezTo>
                    <a:cubicBezTo>
                      <a:pt x="313" y="103"/>
                      <a:pt x="313" y="103"/>
                      <a:pt x="312" y="103"/>
                    </a:cubicBezTo>
                    <a:cubicBezTo>
                      <a:pt x="312" y="103"/>
                      <a:pt x="312" y="103"/>
                      <a:pt x="312" y="102"/>
                    </a:cubicBezTo>
                    <a:cubicBezTo>
                      <a:pt x="312" y="101"/>
                      <a:pt x="311" y="101"/>
                      <a:pt x="311" y="100"/>
                    </a:cubicBezTo>
                    <a:cubicBezTo>
                      <a:pt x="310" y="100"/>
                      <a:pt x="310" y="99"/>
                      <a:pt x="309" y="100"/>
                    </a:cubicBezTo>
                    <a:cubicBezTo>
                      <a:pt x="307" y="101"/>
                      <a:pt x="306" y="102"/>
                      <a:pt x="306" y="104"/>
                    </a:cubicBezTo>
                    <a:cubicBezTo>
                      <a:pt x="306" y="104"/>
                      <a:pt x="306" y="105"/>
                      <a:pt x="306" y="105"/>
                    </a:cubicBezTo>
                    <a:cubicBezTo>
                      <a:pt x="305" y="106"/>
                      <a:pt x="305" y="106"/>
                      <a:pt x="306" y="107"/>
                    </a:cubicBezTo>
                    <a:cubicBezTo>
                      <a:pt x="307" y="107"/>
                      <a:pt x="307" y="107"/>
                      <a:pt x="307" y="107"/>
                    </a:cubicBezTo>
                    <a:cubicBezTo>
                      <a:pt x="307" y="108"/>
                      <a:pt x="307" y="108"/>
                      <a:pt x="306" y="108"/>
                    </a:cubicBezTo>
                    <a:cubicBezTo>
                      <a:pt x="306" y="108"/>
                      <a:pt x="305" y="108"/>
                      <a:pt x="305" y="109"/>
                    </a:cubicBezTo>
                    <a:cubicBezTo>
                      <a:pt x="305" y="109"/>
                      <a:pt x="305" y="110"/>
                      <a:pt x="305" y="110"/>
                    </a:cubicBezTo>
                    <a:cubicBezTo>
                      <a:pt x="306" y="111"/>
                      <a:pt x="307" y="111"/>
                      <a:pt x="307" y="110"/>
                    </a:cubicBezTo>
                    <a:cubicBezTo>
                      <a:pt x="308" y="111"/>
                      <a:pt x="309" y="110"/>
                      <a:pt x="309" y="110"/>
                    </a:cubicBezTo>
                    <a:cubicBezTo>
                      <a:pt x="309" y="110"/>
                      <a:pt x="309" y="110"/>
                      <a:pt x="309" y="110"/>
                    </a:cubicBezTo>
                    <a:cubicBezTo>
                      <a:pt x="308" y="111"/>
                      <a:pt x="308" y="111"/>
                      <a:pt x="309" y="113"/>
                    </a:cubicBezTo>
                    <a:cubicBezTo>
                      <a:pt x="310" y="113"/>
                      <a:pt x="310" y="113"/>
                      <a:pt x="310" y="113"/>
                    </a:cubicBezTo>
                    <a:cubicBezTo>
                      <a:pt x="311" y="113"/>
                      <a:pt x="312" y="114"/>
                      <a:pt x="312" y="113"/>
                    </a:cubicBezTo>
                    <a:cubicBezTo>
                      <a:pt x="313" y="113"/>
                      <a:pt x="313" y="113"/>
                      <a:pt x="313" y="113"/>
                    </a:cubicBezTo>
                    <a:cubicBezTo>
                      <a:pt x="313" y="114"/>
                      <a:pt x="314" y="114"/>
                      <a:pt x="314" y="114"/>
                    </a:cubicBezTo>
                    <a:cubicBezTo>
                      <a:pt x="314" y="115"/>
                      <a:pt x="314" y="115"/>
                      <a:pt x="313" y="115"/>
                    </a:cubicBezTo>
                    <a:cubicBezTo>
                      <a:pt x="312" y="114"/>
                      <a:pt x="311" y="114"/>
                      <a:pt x="311" y="115"/>
                    </a:cubicBezTo>
                    <a:cubicBezTo>
                      <a:pt x="310" y="116"/>
                      <a:pt x="311" y="117"/>
                      <a:pt x="311" y="118"/>
                    </a:cubicBezTo>
                    <a:cubicBezTo>
                      <a:pt x="311" y="118"/>
                      <a:pt x="311" y="118"/>
                      <a:pt x="311" y="118"/>
                    </a:cubicBezTo>
                    <a:cubicBezTo>
                      <a:pt x="312" y="118"/>
                      <a:pt x="313" y="119"/>
                      <a:pt x="314" y="119"/>
                    </a:cubicBezTo>
                    <a:cubicBezTo>
                      <a:pt x="314" y="119"/>
                      <a:pt x="315" y="119"/>
                      <a:pt x="315" y="119"/>
                    </a:cubicBezTo>
                    <a:cubicBezTo>
                      <a:pt x="315" y="119"/>
                      <a:pt x="315" y="120"/>
                      <a:pt x="316" y="120"/>
                    </a:cubicBezTo>
                    <a:cubicBezTo>
                      <a:pt x="316" y="120"/>
                      <a:pt x="316" y="121"/>
                      <a:pt x="316" y="121"/>
                    </a:cubicBezTo>
                    <a:cubicBezTo>
                      <a:pt x="316" y="121"/>
                      <a:pt x="316" y="122"/>
                      <a:pt x="315" y="122"/>
                    </a:cubicBezTo>
                    <a:cubicBezTo>
                      <a:pt x="315" y="121"/>
                      <a:pt x="315" y="121"/>
                      <a:pt x="315" y="121"/>
                    </a:cubicBezTo>
                    <a:cubicBezTo>
                      <a:pt x="314" y="120"/>
                      <a:pt x="313" y="121"/>
                      <a:pt x="313" y="120"/>
                    </a:cubicBezTo>
                    <a:cubicBezTo>
                      <a:pt x="311" y="120"/>
                      <a:pt x="310" y="121"/>
                      <a:pt x="309" y="120"/>
                    </a:cubicBezTo>
                    <a:cubicBezTo>
                      <a:pt x="308" y="119"/>
                      <a:pt x="307" y="119"/>
                      <a:pt x="306" y="119"/>
                    </a:cubicBezTo>
                    <a:cubicBezTo>
                      <a:pt x="305" y="119"/>
                      <a:pt x="303" y="119"/>
                      <a:pt x="301" y="119"/>
                    </a:cubicBezTo>
                    <a:cubicBezTo>
                      <a:pt x="301" y="120"/>
                      <a:pt x="301" y="120"/>
                      <a:pt x="302" y="120"/>
                    </a:cubicBezTo>
                    <a:cubicBezTo>
                      <a:pt x="303" y="121"/>
                      <a:pt x="302" y="122"/>
                      <a:pt x="301" y="122"/>
                    </a:cubicBezTo>
                    <a:cubicBezTo>
                      <a:pt x="301" y="122"/>
                      <a:pt x="301" y="122"/>
                      <a:pt x="301" y="123"/>
                    </a:cubicBezTo>
                    <a:cubicBezTo>
                      <a:pt x="301" y="123"/>
                      <a:pt x="301" y="123"/>
                      <a:pt x="302" y="124"/>
                    </a:cubicBezTo>
                    <a:cubicBezTo>
                      <a:pt x="302" y="124"/>
                      <a:pt x="303" y="124"/>
                      <a:pt x="303" y="125"/>
                    </a:cubicBezTo>
                    <a:cubicBezTo>
                      <a:pt x="303" y="126"/>
                      <a:pt x="303" y="127"/>
                      <a:pt x="304" y="127"/>
                    </a:cubicBezTo>
                    <a:cubicBezTo>
                      <a:pt x="305" y="127"/>
                      <a:pt x="305" y="127"/>
                      <a:pt x="306" y="127"/>
                    </a:cubicBezTo>
                    <a:cubicBezTo>
                      <a:pt x="305" y="128"/>
                      <a:pt x="305" y="128"/>
                      <a:pt x="305" y="128"/>
                    </a:cubicBezTo>
                    <a:cubicBezTo>
                      <a:pt x="305" y="129"/>
                      <a:pt x="304" y="129"/>
                      <a:pt x="304" y="128"/>
                    </a:cubicBezTo>
                    <a:cubicBezTo>
                      <a:pt x="303" y="128"/>
                      <a:pt x="303" y="127"/>
                      <a:pt x="302" y="127"/>
                    </a:cubicBezTo>
                    <a:cubicBezTo>
                      <a:pt x="301" y="127"/>
                      <a:pt x="300" y="127"/>
                      <a:pt x="300" y="128"/>
                    </a:cubicBezTo>
                    <a:cubicBezTo>
                      <a:pt x="299" y="129"/>
                      <a:pt x="298" y="128"/>
                      <a:pt x="298" y="128"/>
                    </a:cubicBezTo>
                    <a:cubicBezTo>
                      <a:pt x="297" y="128"/>
                      <a:pt x="297" y="128"/>
                      <a:pt x="297" y="128"/>
                    </a:cubicBezTo>
                    <a:cubicBezTo>
                      <a:pt x="297" y="128"/>
                      <a:pt x="296" y="129"/>
                      <a:pt x="297" y="129"/>
                    </a:cubicBezTo>
                    <a:close/>
                    <a:moveTo>
                      <a:pt x="146" y="269"/>
                    </a:moveTo>
                    <a:cubicBezTo>
                      <a:pt x="146" y="269"/>
                      <a:pt x="147" y="269"/>
                      <a:pt x="147" y="269"/>
                    </a:cubicBezTo>
                    <a:cubicBezTo>
                      <a:pt x="148" y="269"/>
                      <a:pt x="149" y="267"/>
                      <a:pt x="148" y="266"/>
                    </a:cubicBezTo>
                    <a:cubicBezTo>
                      <a:pt x="148" y="266"/>
                      <a:pt x="148" y="265"/>
                      <a:pt x="148" y="265"/>
                    </a:cubicBezTo>
                    <a:cubicBezTo>
                      <a:pt x="151" y="264"/>
                      <a:pt x="151" y="264"/>
                      <a:pt x="151" y="262"/>
                    </a:cubicBezTo>
                    <a:cubicBezTo>
                      <a:pt x="150" y="261"/>
                      <a:pt x="151" y="259"/>
                      <a:pt x="149" y="259"/>
                    </a:cubicBezTo>
                    <a:cubicBezTo>
                      <a:pt x="149" y="259"/>
                      <a:pt x="148" y="259"/>
                      <a:pt x="148" y="258"/>
                    </a:cubicBezTo>
                    <a:cubicBezTo>
                      <a:pt x="148" y="258"/>
                      <a:pt x="148" y="258"/>
                      <a:pt x="148" y="257"/>
                    </a:cubicBezTo>
                    <a:cubicBezTo>
                      <a:pt x="149" y="257"/>
                      <a:pt x="149" y="257"/>
                      <a:pt x="150" y="257"/>
                    </a:cubicBezTo>
                    <a:cubicBezTo>
                      <a:pt x="150" y="258"/>
                      <a:pt x="151" y="259"/>
                      <a:pt x="151" y="257"/>
                    </a:cubicBezTo>
                    <a:cubicBezTo>
                      <a:pt x="151" y="257"/>
                      <a:pt x="152" y="257"/>
                      <a:pt x="152" y="257"/>
                    </a:cubicBezTo>
                    <a:cubicBezTo>
                      <a:pt x="152" y="256"/>
                      <a:pt x="153" y="254"/>
                      <a:pt x="152" y="254"/>
                    </a:cubicBezTo>
                    <a:cubicBezTo>
                      <a:pt x="151" y="253"/>
                      <a:pt x="151" y="252"/>
                      <a:pt x="151" y="252"/>
                    </a:cubicBezTo>
                    <a:cubicBezTo>
                      <a:pt x="152" y="251"/>
                      <a:pt x="152" y="252"/>
                      <a:pt x="153" y="252"/>
                    </a:cubicBezTo>
                    <a:cubicBezTo>
                      <a:pt x="153" y="252"/>
                      <a:pt x="153" y="251"/>
                      <a:pt x="153" y="251"/>
                    </a:cubicBezTo>
                    <a:cubicBezTo>
                      <a:pt x="152" y="251"/>
                      <a:pt x="152" y="250"/>
                      <a:pt x="153" y="250"/>
                    </a:cubicBezTo>
                    <a:cubicBezTo>
                      <a:pt x="153" y="250"/>
                      <a:pt x="153" y="250"/>
                      <a:pt x="153" y="250"/>
                    </a:cubicBezTo>
                    <a:cubicBezTo>
                      <a:pt x="154" y="251"/>
                      <a:pt x="155" y="250"/>
                      <a:pt x="155" y="250"/>
                    </a:cubicBezTo>
                    <a:cubicBezTo>
                      <a:pt x="155" y="249"/>
                      <a:pt x="155" y="249"/>
                      <a:pt x="156" y="249"/>
                    </a:cubicBezTo>
                    <a:cubicBezTo>
                      <a:pt x="156" y="249"/>
                      <a:pt x="156" y="249"/>
                      <a:pt x="156" y="250"/>
                    </a:cubicBezTo>
                    <a:cubicBezTo>
                      <a:pt x="156" y="250"/>
                      <a:pt x="156" y="251"/>
                      <a:pt x="156" y="252"/>
                    </a:cubicBezTo>
                    <a:cubicBezTo>
                      <a:pt x="155" y="252"/>
                      <a:pt x="155" y="253"/>
                      <a:pt x="155" y="255"/>
                    </a:cubicBezTo>
                    <a:cubicBezTo>
                      <a:pt x="155" y="256"/>
                      <a:pt x="156" y="257"/>
                      <a:pt x="154" y="259"/>
                    </a:cubicBezTo>
                    <a:cubicBezTo>
                      <a:pt x="154" y="259"/>
                      <a:pt x="154" y="259"/>
                      <a:pt x="154" y="259"/>
                    </a:cubicBezTo>
                    <a:cubicBezTo>
                      <a:pt x="154" y="261"/>
                      <a:pt x="156" y="261"/>
                      <a:pt x="156" y="263"/>
                    </a:cubicBezTo>
                    <a:cubicBezTo>
                      <a:pt x="156" y="263"/>
                      <a:pt x="156" y="263"/>
                      <a:pt x="157" y="263"/>
                    </a:cubicBezTo>
                    <a:cubicBezTo>
                      <a:pt x="157" y="263"/>
                      <a:pt x="157" y="263"/>
                      <a:pt x="157" y="264"/>
                    </a:cubicBezTo>
                    <a:cubicBezTo>
                      <a:pt x="157" y="265"/>
                      <a:pt x="158" y="265"/>
                      <a:pt x="159" y="265"/>
                    </a:cubicBezTo>
                    <a:cubicBezTo>
                      <a:pt x="160" y="264"/>
                      <a:pt x="160" y="264"/>
                      <a:pt x="161" y="263"/>
                    </a:cubicBezTo>
                    <a:cubicBezTo>
                      <a:pt x="162" y="262"/>
                      <a:pt x="161" y="260"/>
                      <a:pt x="161" y="259"/>
                    </a:cubicBezTo>
                    <a:cubicBezTo>
                      <a:pt x="161" y="258"/>
                      <a:pt x="160" y="257"/>
                      <a:pt x="161" y="257"/>
                    </a:cubicBezTo>
                    <a:cubicBezTo>
                      <a:pt x="162" y="257"/>
                      <a:pt x="163" y="256"/>
                      <a:pt x="164" y="256"/>
                    </a:cubicBezTo>
                    <a:cubicBezTo>
                      <a:pt x="165" y="256"/>
                      <a:pt x="166" y="256"/>
                      <a:pt x="167" y="255"/>
                    </a:cubicBezTo>
                    <a:cubicBezTo>
                      <a:pt x="168" y="254"/>
                      <a:pt x="167" y="253"/>
                      <a:pt x="168" y="252"/>
                    </a:cubicBezTo>
                    <a:cubicBezTo>
                      <a:pt x="168" y="251"/>
                      <a:pt x="168" y="249"/>
                      <a:pt x="167" y="248"/>
                    </a:cubicBezTo>
                    <a:cubicBezTo>
                      <a:pt x="166" y="248"/>
                      <a:pt x="166" y="247"/>
                      <a:pt x="165" y="246"/>
                    </a:cubicBezTo>
                    <a:cubicBezTo>
                      <a:pt x="165" y="246"/>
                      <a:pt x="165" y="245"/>
                      <a:pt x="166" y="245"/>
                    </a:cubicBezTo>
                    <a:cubicBezTo>
                      <a:pt x="166" y="245"/>
                      <a:pt x="166" y="245"/>
                      <a:pt x="166" y="245"/>
                    </a:cubicBezTo>
                    <a:cubicBezTo>
                      <a:pt x="167" y="246"/>
                      <a:pt x="167" y="246"/>
                      <a:pt x="168" y="246"/>
                    </a:cubicBezTo>
                    <a:cubicBezTo>
                      <a:pt x="168" y="246"/>
                      <a:pt x="169" y="247"/>
                      <a:pt x="169" y="246"/>
                    </a:cubicBezTo>
                    <a:cubicBezTo>
                      <a:pt x="170" y="245"/>
                      <a:pt x="169" y="245"/>
                      <a:pt x="169" y="244"/>
                    </a:cubicBezTo>
                    <a:cubicBezTo>
                      <a:pt x="168" y="243"/>
                      <a:pt x="166" y="243"/>
                      <a:pt x="166" y="241"/>
                    </a:cubicBezTo>
                    <a:cubicBezTo>
                      <a:pt x="166" y="241"/>
                      <a:pt x="166" y="240"/>
                      <a:pt x="165" y="240"/>
                    </a:cubicBezTo>
                    <a:cubicBezTo>
                      <a:pt x="165" y="240"/>
                      <a:pt x="166" y="238"/>
                      <a:pt x="166" y="238"/>
                    </a:cubicBezTo>
                    <a:cubicBezTo>
                      <a:pt x="167" y="238"/>
                      <a:pt x="168" y="237"/>
                      <a:pt x="168" y="237"/>
                    </a:cubicBezTo>
                    <a:cubicBezTo>
                      <a:pt x="169" y="236"/>
                      <a:pt x="169" y="236"/>
                      <a:pt x="170" y="236"/>
                    </a:cubicBezTo>
                    <a:cubicBezTo>
                      <a:pt x="171" y="235"/>
                      <a:pt x="171" y="235"/>
                      <a:pt x="171" y="234"/>
                    </a:cubicBezTo>
                    <a:cubicBezTo>
                      <a:pt x="171" y="232"/>
                      <a:pt x="169" y="230"/>
                      <a:pt x="168" y="230"/>
                    </a:cubicBezTo>
                    <a:cubicBezTo>
                      <a:pt x="167" y="230"/>
                      <a:pt x="166" y="230"/>
                      <a:pt x="167" y="229"/>
                    </a:cubicBezTo>
                    <a:cubicBezTo>
                      <a:pt x="167" y="228"/>
                      <a:pt x="167" y="228"/>
                      <a:pt x="166" y="228"/>
                    </a:cubicBezTo>
                    <a:cubicBezTo>
                      <a:pt x="166" y="228"/>
                      <a:pt x="166" y="228"/>
                      <a:pt x="165" y="227"/>
                    </a:cubicBezTo>
                    <a:cubicBezTo>
                      <a:pt x="165" y="227"/>
                      <a:pt x="164" y="227"/>
                      <a:pt x="163" y="227"/>
                    </a:cubicBezTo>
                    <a:cubicBezTo>
                      <a:pt x="162" y="227"/>
                      <a:pt x="163" y="228"/>
                      <a:pt x="163" y="228"/>
                    </a:cubicBezTo>
                    <a:cubicBezTo>
                      <a:pt x="162" y="229"/>
                      <a:pt x="162" y="229"/>
                      <a:pt x="162" y="229"/>
                    </a:cubicBezTo>
                    <a:cubicBezTo>
                      <a:pt x="161" y="229"/>
                      <a:pt x="161" y="229"/>
                      <a:pt x="161" y="230"/>
                    </a:cubicBezTo>
                    <a:cubicBezTo>
                      <a:pt x="160" y="230"/>
                      <a:pt x="161" y="230"/>
                      <a:pt x="161" y="230"/>
                    </a:cubicBezTo>
                    <a:cubicBezTo>
                      <a:pt x="161" y="231"/>
                      <a:pt x="161" y="231"/>
                      <a:pt x="161" y="231"/>
                    </a:cubicBezTo>
                    <a:cubicBezTo>
                      <a:pt x="162" y="231"/>
                      <a:pt x="162" y="232"/>
                      <a:pt x="162" y="232"/>
                    </a:cubicBezTo>
                    <a:cubicBezTo>
                      <a:pt x="163" y="232"/>
                      <a:pt x="163" y="231"/>
                      <a:pt x="163" y="232"/>
                    </a:cubicBezTo>
                    <a:cubicBezTo>
                      <a:pt x="164" y="232"/>
                      <a:pt x="163" y="233"/>
                      <a:pt x="163" y="233"/>
                    </a:cubicBezTo>
                    <a:cubicBezTo>
                      <a:pt x="163" y="233"/>
                      <a:pt x="163" y="233"/>
                      <a:pt x="163" y="234"/>
                    </a:cubicBezTo>
                    <a:cubicBezTo>
                      <a:pt x="163" y="234"/>
                      <a:pt x="162" y="234"/>
                      <a:pt x="162" y="234"/>
                    </a:cubicBezTo>
                    <a:cubicBezTo>
                      <a:pt x="161" y="233"/>
                      <a:pt x="161" y="233"/>
                      <a:pt x="160" y="233"/>
                    </a:cubicBezTo>
                    <a:cubicBezTo>
                      <a:pt x="160" y="233"/>
                      <a:pt x="160" y="233"/>
                      <a:pt x="161" y="234"/>
                    </a:cubicBezTo>
                    <a:cubicBezTo>
                      <a:pt x="161" y="234"/>
                      <a:pt x="161" y="234"/>
                      <a:pt x="161" y="235"/>
                    </a:cubicBezTo>
                    <a:cubicBezTo>
                      <a:pt x="161" y="235"/>
                      <a:pt x="160" y="235"/>
                      <a:pt x="160" y="235"/>
                    </a:cubicBezTo>
                    <a:cubicBezTo>
                      <a:pt x="160" y="235"/>
                      <a:pt x="159" y="235"/>
                      <a:pt x="159" y="234"/>
                    </a:cubicBezTo>
                    <a:cubicBezTo>
                      <a:pt x="158" y="234"/>
                      <a:pt x="157" y="233"/>
                      <a:pt x="155" y="233"/>
                    </a:cubicBezTo>
                    <a:cubicBezTo>
                      <a:pt x="154" y="232"/>
                      <a:pt x="153" y="233"/>
                      <a:pt x="152" y="233"/>
                    </a:cubicBezTo>
                    <a:cubicBezTo>
                      <a:pt x="151" y="233"/>
                      <a:pt x="151" y="233"/>
                      <a:pt x="151" y="233"/>
                    </a:cubicBezTo>
                    <a:cubicBezTo>
                      <a:pt x="150" y="232"/>
                      <a:pt x="150" y="233"/>
                      <a:pt x="149" y="233"/>
                    </a:cubicBezTo>
                    <a:cubicBezTo>
                      <a:pt x="149" y="233"/>
                      <a:pt x="148" y="233"/>
                      <a:pt x="149" y="234"/>
                    </a:cubicBezTo>
                    <a:cubicBezTo>
                      <a:pt x="149" y="234"/>
                      <a:pt x="149" y="235"/>
                      <a:pt x="148" y="235"/>
                    </a:cubicBezTo>
                    <a:cubicBezTo>
                      <a:pt x="148" y="235"/>
                      <a:pt x="148" y="235"/>
                      <a:pt x="148" y="235"/>
                    </a:cubicBezTo>
                    <a:cubicBezTo>
                      <a:pt x="147" y="234"/>
                      <a:pt x="147" y="234"/>
                      <a:pt x="146" y="234"/>
                    </a:cubicBezTo>
                    <a:cubicBezTo>
                      <a:pt x="146" y="235"/>
                      <a:pt x="146" y="236"/>
                      <a:pt x="146" y="237"/>
                    </a:cubicBezTo>
                    <a:cubicBezTo>
                      <a:pt x="146" y="238"/>
                      <a:pt x="145" y="238"/>
                      <a:pt x="145" y="239"/>
                    </a:cubicBezTo>
                    <a:cubicBezTo>
                      <a:pt x="144" y="239"/>
                      <a:pt x="143" y="240"/>
                      <a:pt x="143" y="241"/>
                    </a:cubicBezTo>
                    <a:cubicBezTo>
                      <a:pt x="143" y="241"/>
                      <a:pt x="142" y="241"/>
                      <a:pt x="142" y="241"/>
                    </a:cubicBezTo>
                    <a:cubicBezTo>
                      <a:pt x="142" y="242"/>
                      <a:pt x="141" y="243"/>
                      <a:pt x="141" y="244"/>
                    </a:cubicBezTo>
                    <a:cubicBezTo>
                      <a:pt x="141" y="245"/>
                      <a:pt x="140" y="246"/>
                      <a:pt x="140" y="246"/>
                    </a:cubicBezTo>
                    <a:cubicBezTo>
                      <a:pt x="139" y="247"/>
                      <a:pt x="139" y="248"/>
                      <a:pt x="139" y="248"/>
                    </a:cubicBezTo>
                    <a:cubicBezTo>
                      <a:pt x="138" y="250"/>
                      <a:pt x="136" y="251"/>
                      <a:pt x="137" y="253"/>
                    </a:cubicBezTo>
                    <a:cubicBezTo>
                      <a:pt x="136" y="253"/>
                      <a:pt x="136" y="251"/>
                      <a:pt x="135" y="252"/>
                    </a:cubicBezTo>
                    <a:cubicBezTo>
                      <a:pt x="135" y="252"/>
                      <a:pt x="134" y="253"/>
                      <a:pt x="134" y="254"/>
                    </a:cubicBezTo>
                    <a:cubicBezTo>
                      <a:pt x="134" y="254"/>
                      <a:pt x="134" y="253"/>
                      <a:pt x="134" y="253"/>
                    </a:cubicBezTo>
                    <a:cubicBezTo>
                      <a:pt x="133" y="253"/>
                      <a:pt x="133" y="254"/>
                      <a:pt x="133" y="254"/>
                    </a:cubicBezTo>
                    <a:cubicBezTo>
                      <a:pt x="133" y="255"/>
                      <a:pt x="133" y="255"/>
                      <a:pt x="133" y="255"/>
                    </a:cubicBezTo>
                    <a:cubicBezTo>
                      <a:pt x="132" y="256"/>
                      <a:pt x="132" y="257"/>
                      <a:pt x="132" y="258"/>
                    </a:cubicBezTo>
                    <a:cubicBezTo>
                      <a:pt x="132" y="259"/>
                      <a:pt x="130" y="260"/>
                      <a:pt x="129" y="260"/>
                    </a:cubicBezTo>
                    <a:cubicBezTo>
                      <a:pt x="128" y="260"/>
                      <a:pt x="127" y="260"/>
                      <a:pt x="126" y="261"/>
                    </a:cubicBezTo>
                    <a:cubicBezTo>
                      <a:pt x="125" y="261"/>
                      <a:pt x="123" y="263"/>
                      <a:pt x="123" y="264"/>
                    </a:cubicBezTo>
                    <a:cubicBezTo>
                      <a:pt x="123" y="265"/>
                      <a:pt x="123" y="265"/>
                      <a:pt x="123" y="266"/>
                    </a:cubicBezTo>
                    <a:cubicBezTo>
                      <a:pt x="122" y="267"/>
                      <a:pt x="121" y="268"/>
                      <a:pt x="121" y="269"/>
                    </a:cubicBezTo>
                    <a:cubicBezTo>
                      <a:pt x="122" y="269"/>
                      <a:pt x="122" y="268"/>
                      <a:pt x="123" y="267"/>
                    </a:cubicBezTo>
                    <a:cubicBezTo>
                      <a:pt x="124" y="267"/>
                      <a:pt x="124" y="267"/>
                      <a:pt x="124" y="268"/>
                    </a:cubicBezTo>
                    <a:cubicBezTo>
                      <a:pt x="124" y="268"/>
                      <a:pt x="125" y="268"/>
                      <a:pt x="124" y="268"/>
                    </a:cubicBezTo>
                    <a:cubicBezTo>
                      <a:pt x="124" y="269"/>
                      <a:pt x="124" y="269"/>
                      <a:pt x="124" y="269"/>
                    </a:cubicBezTo>
                    <a:cubicBezTo>
                      <a:pt x="125" y="269"/>
                      <a:pt x="125" y="269"/>
                      <a:pt x="124" y="270"/>
                    </a:cubicBezTo>
                    <a:cubicBezTo>
                      <a:pt x="124" y="271"/>
                      <a:pt x="124" y="272"/>
                      <a:pt x="123" y="272"/>
                    </a:cubicBezTo>
                    <a:cubicBezTo>
                      <a:pt x="123" y="273"/>
                      <a:pt x="123" y="273"/>
                      <a:pt x="123" y="273"/>
                    </a:cubicBezTo>
                    <a:cubicBezTo>
                      <a:pt x="124" y="274"/>
                      <a:pt x="125" y="274"/>
                      <a:pt x="126" y="273"/>
                    </a:cubicBezTo>
                    <a:cubicBezTo>
                      <a:pt x="127" y="272"/>
                      <a:pt x="127" y="271"/>
                      <a:pt x="129" y="270"/>
                    </a:cubicBezTo>
                    <a:cubicBezTo>
                      <a:pt x="130" y="271"/>
                      <a:pt x="131" y="273"/>
                      <a:pt x="133" y="274"/>
                    </a:cubicBezTo>
                    <a:cubicBezTo>
                      <a:pt x="133" y="273"/>
                      <a:pt x="133" y="273"/>
                      <a:pt x="134" y="272"/>
                    </a:cubicBezTo>
                    <a:cubicBezTo>
                      <a:pt x="134" y="272"/>
                      <a:pt x="134" y="272"/>
                      <a:pt x="134" y="272"/>
                    </a:cubicBezTo>
                    <a:cubicBezTo>
                      <a:pt x="134" y="273"/>
                      <a:pt x="134" y="273"/>
                      <a:pt x="135" y="273"/>
                    </a:cubicBezTo>
                    <a:cubicBezTo>
                      <a:pt x="135" y="273"/>
                      <a:pt x="135" y="273"/>
                      <a:pt x="135" y="272"/>
                    </a:cubicBezTo>
                    <a:cubicBezTo>
                      <a:pt x="135" y="272"/>
                      <a:pt x="134" y="271"/>
                      <a:pt x="134" y="271"/>
                    </a:cubicBezTo>
                    <a:cubicBezTo>
                      <a:pt x="134" y="269"/>
                      <a:pt x="134" y="268"/>
                      <a:pt x="135" y="266"/>
                    </a:cubicBezTo>
                    <a:cubicBezTo>
                      <a:pt x="137" y="267"/>
                      <a:pt x="137" y="268"/>
                      <a:pt x="137" y="269"/>
                    </a:cubicBezTo>
                    <a:cubicBezTo>
                      <a:pt x="137" y="270"/>
                      <a:pt x="136" y="271"/>
                      <a:pt x="137" y="271"/>
                    </a:cubicBezTo>
                    <a:cubicBezTo>
                      <a:pt x="137" y="272"/>
                      <a:pt x="137" y="273"/>
                      <a:pt x="137" y="272"/>
                    </a:cubicBezTo>
                    <a:cubicBezTo>
                      <a:pt x="138" y="271"/>
                      <a:pt x="138" y="272"/>
                      <a:pt x="138" y="272"/>
                    </a:cubicBezTo>
                    <a:cubicBezTo>
                      <a:pt x="138" y="273"/>
                      <a:pt x="138" y="273"/>
                      <a:pt x="138" y="274"/>
                    </a:cubicBezTo>
                    <a:cubicBezTo>
                      <a:pt x="138" y="275"/>
                      <a:pt x="138" y="275"/>
                      <a:pt x="138" y="276"/>
                    </a:cubicBezTo>
                    <a:cubicBezTo>
                      <a:pt x="138" y="277"/>
                      <a:pt x="138" y="277"/>
                      <a:pt x="139" y="277"/>
                    </a:cubicBezTo>
                    <a:cubicBezTo>
                      <a:pt x="139" y="277"/>
                      <a:pt x="140" y="277"/>
                      <a:pt x="140" y="276"/>
                    </a:cubicBezTo>
                    <a:cubicBezTo>
                      <a:pt x="140" y="276"/>
                      <a:pt x="140" y="275"/>
                      <a:pt x="140" y="275"/>
                    </a:cubicBezTo>
                    <a:cubicBezTo>
                      <a:pt x="140" y="275"/>
                      <a:pt x="140" y="276"/>
                      <a:pt x="141" y="276"/>
                    </a:cubicBezTo>
                    <a:cubicBezTo>
                      <a:pt x="141" y="276"/>
                      <a:pt x="142" y="276"/>
                      <a:pt x="142" y="275"/>
                    </a:cubicBezTo>
                    <a:cubicBezTo>
                      <a:pt x="143" y="275"/>
                      <a:pt x="143" y="274"/>
                      <a:pt x="143" y="273"/>
                    </a:cubicBezTo>
                    <a:cubicBezTo>
                      <a:pt x="143" y="273"/>
                      <a:pt x="143" y="273"/>
                      <a:pt x="144" y="272"/>
                    </a:cubicBezTo>
                    <a:cubicBezTo>
                      <a:pt x="144" y="272"/>
                      <a:pt x="144" y="273"/>
                      <a:pt x="144" y="273"/>
                    </a:cubicBezTo>
                    <a:cubicBezTo>
                      <a:pt x="145" y="271"/>
                      <a:pt x="144" y="270"/>
                      <a:pt x="142" y="269"/>
                    </a:cubicBezTo>
                    <a:cubicBezTo>
                      <a:pt x="143" y="268"/>
                      <a:pt x="143" y="269"/>
                      <a:pt x="144" y="269"/>
                    </a:cubicBezTo>
                    <a:cubicBezTo>
                      <a:pt x="143" y="268"/>
                      <a:pt x="143" y="268"/>
                      <a:pt x="144" y="267"/>
                    </a:cubicBezTo>
                    <a:cubicBezTo>
                      <a:pt x="144" y="267"/>
                      <a:pt x="144" y="267"/>
                      <a:pt x="144" y="266"/>
                    </a:cubicBezTo>
                    <a:cubicBezTo>
                      <a:pt x="143" y="265"/>
                      <a:pt x="144" y="264"/>
                      <a:pt x="143" y="262"/>
                    </a:cubicBezTo>
                    <a:cubicBezTo>
                      <a:pt x="144" y="262"/>
                      <a:pt x="144" y="263"/>
                      <a:pt x="144" y="263"/>
                    </a:cubicBezTo>
                    <a:cubicBezTo>
                      <a:pt x="144" y="263"/>
                      <a:pt x="144" y="262"/>
                      <a:pt x="145" y="262"/>
                    </a:cubicBezTo>
                    <a:cubicBezTo>
                      <a:pt x="144" y="264"/>
                      <a:pt x="146" y="266"/>
                      <a:pt x="146" y="269"/>
                    </a:cubicBezTo>
                    <a:close/>
                    <a:moveTo>
                      <a:pt x="286" y="196"/>
                    </a:moveTo>
                    <a:cubicBezTo>
                      <a:pt x="286" y="196"/>
                      <a:pt x="286" y="195"/>
                      <a:pt x="287" y="195"/>
                    </a:cubicBezTo>
                    <a:cubicBezTo>
                      <a:pt x="287" y="195"/>
                      <a:pt x="288" y="196"/>
                      <a:pt x="288" y="195"/>
                    </a:cubicBezTo>
                    <a:cubicBezTo>
                      <a:pt x="288" y="194"/>
                      <a:pt x="288" y="194"/>
                      <a:pt x="287" y="194"/>
                    </a:cubicBezTo>
                    <a:cubicBezTo>
                      <a:pt x="286" y="193"/>
                      <a:pt x="286" y="192"/>
                      <a:pt x="286" y="190"/>
                    </a:cubicBezTo>
                    <a:cubicBezTo>
                      <a:pt x="286" y="190"/>
                      <a:pt x="286" y="190"/>
                      <a:pt x="286" y="189"/>
                    </a:cubicBezTo>
                    <a:cubicBezTo>
                      <a:pt x="285" y="187"/>
                      <a:pt x="287" y="185"/>
                      <a:pt x="289" y="186"/>
                    </a:cubicBezTo>
                    <a:cubicBezTo>
                      <a:pt x="292" y="186"/>
                      <a:pt x="294" y="187"/>
                      <a:pt x="296" y="190"/>
                    </a:cubicBezTo>
                    <a:cubicBezTo>
                      <a:pt x="298" y="190"/>
                      <a:pt x="299" y="191"/>
                      <a:pt x="299" y="192"/>
                    </a:cubicBezTo>
                    <a:cubicBezTo>
                      <a:pt x="300" y="192"/>
                      <a:pt x="300" y="192"/>
                      <a:pt x="300" y="193"/>
                    </a:cubicBezTo>
                    <a:cubicBezTo>
                      <a:pt x="300" y="193"/>
                      <a:pt x="300" y="193"/>
                      <a:pt x="300" y="194"/>
                    </a:cubicBezTo>
                    <a:cubicBezTo>
                      <a:pt x="300" y="195"/>
                      <a:pt x="300" y="195"/>
                      <a:pt x="301" y="196"/>
                    </a:cubicBezTo>
                    <a:cubicBezTo>
                      <a:pt x="301" y="197"/>
                      <a:pt x="302" y="197"/>
                      <a:pt x="303" y="196"/>
                    </a:cubicBezTo>
                    <a:cubicBezTo>
                      <a:pt x="304" y="195"/>
                      <a:pt x="305" y="196"/>
                      <a:pt x="305" y="196"/>
                    </a:cubicBezTo>
                    <a:cubicBezTo>
                      <a:pt x="306" y="197"/>
                      <a:pt x="306" y="198"/>
                      <a:pt x="307" y="198"/>
                    </a:cubicBezTo>
                    <a:cubicBezTo>
                      <a:pt x="309" y="199"/>
                      <a:pt x="310" y="202"/>
                      <a:pt x="309" y="202"/>
                    </a:cubicBezTo>
                    <a:cubicBezTo>
                      <a:pt x="307" y="203"/>
                      <a:pt x="307" y="204"/>
                      <a:pt x="306" y="205"/>
                    </a:cubicBezTo>
                    <a:cubicBezTo>
                      <a:pt x="306" y="205"/>
                      <a:pt x="305" y="205"/>
                      <a:pt x="305" y="206"/>
                    </a:cubicBezTo>
                    <a:cubicBezTo>
                      <a:pt x="305" y="206"/>
                      <a:pt x="306" y="206"/>
                      <a:pt x="306" y="206"/>
                    </a:cubicBezTo>
                    <a:cubicBezTo>
                      <a:pt x="307" y="206"/>
                      <a:pt x="307" y="206"/>
                      <a:pt x="307" y="207"/>
                    </a:cubicBezTo>
                    <a:cubicBezTo>
                      <a:pt x="308" y="208"/>
                      <a:pt x="308" y="209"/>
                      <a:pt x="309" y="210"/>
                    </a:cubicBezTo>
                    <a:cubicBezTo>
                      <a:pt x="309" y="210"/>
                      <a:pt x="309" y="211"/>
                      <a:pt x="309" y="211"/>
                    </a:cubicBezTo>
                    <a:cubicBezTo>
                      <a:pt x="308" y="212"/>
                      <a:pt x="308" y="213"/>
                      <a:pt x="308" y="213"/>
                    </a:cubicBezTo>
                    <a:cubicBezTo>
                      <a:pt x="308" y="214"/>
                      <a:pt x="307" y="214"/>
                      <a:pt x="307" y="214"/>
                    </a:cubicBezTo>
                    <a:cubicBezTo>
                      <a:pt x="306" y="213"/>
                      <a:pt x="305" y="214"/>
                      <a:pt x="304" y="215"/>
                    </a:cubicBezTo>
                    <a:cubicBezTo>
                      <a:pt x="304" y="215"/>
                      <a:pt x="304" y="215"/>
                      <a:pt x="304" y="215"/>
                    </a:cubicBezTo>
                    <a:cubicBezTo>
                      <a:pt x="303" y="215"/>
                      <a:pt x="303" y="216"/>
                      <a:pt x="302" y="216"/>
                    </a:cubicBezTo>
                    <a:cubicBezTo>
                      <a:pt x="302" y="216"/>
                      <a:pt x="301" y="217"/>
                      <a:pt x="300" y="217"/>
                    </a:cubicBezTo>
                    <a:cubicBezTo>
                      <a:pt x="300" y="217"/>
                      <a:pt x="299" y="217"/>
                      <a:pt x="299" y="216"/>
                    </a:cubicBezTo>
                    <a:cubicBezTo>
                      <a:pt x="298" y="216"/>
                      <a:pt x="298" y="216"/>
                      <a:pt x="298" y="216"/>
                    </a:cubicBezTo>
                    <a:cubicBezTo>
                      <a:pt x="297" y="216"/>
                      <a:pt x="297" y="217"/>
                      <a:pt x="297" y="217"/>
                    </a:cubicBezTo>
                    <a:cubicBezTo>
                      <a:pt x="298" y="218"/>
                      <a:pt x="298" y="218"/>
                      <a:pt x="297" y="218"/>
                    </a:cubicBezTo>
                    <a:cubicBezTo>
                      <a:pt x="297" y="218"/>
                      <a:pt x="297" y="218"/>
                      <a:pt x="296" y="218"/>
                    </a:cubicBezTo>
                    <a:cubicBezTo>
                      <a:pt x="296" y="219"/>
                      <a:pt x="296" y="220"/>
                      <a:pt x="295" y="219"/>
                    </a:cubicBezTo>
                    <a:cubicBezTo>
                      <a:pt x="294" y="219"/>
                      <a:pt x="294" y="219"/>
                      <a:pt x="294" y="218"/>
                    </a:cubicBezTo>
                    <a:cubicBezTo>
                      <a:pt x="294" y="218"/>
                      <a:pt x="294" y="217"/>
                      <a:pt x="294" y="217"/>
                    </a:cubicBezTo>
                    <a:cubicBezTo>
                      <a:pt x="295" y="216"/>
                      <a:pt x="294" y="215"/>
                      <a:pt x="293" y="214"/>
                    </a:cubicBezTo>
                    <a:cubicBezTo>
                      <a:pt x="292" y="214"/>
                      <a:pt x="291" y="213"/>
                      <a:pt x="290" y="212"/>
                    </a:cubicBezTo>
                    <a:cubicBezTo>
                      <a:pt x="290" y="212"/>
                      <a:pt x="290" y="211"/>
                      <a:pt x="291" y="210"/>
                    </a:cubicBezTo>
                    <a:cubicBezTo>
                      <a:pt x="292" y="210"/>
                      <a:pt x="294" y="211"/>
                      <a:pt x="295" y="211"/>
                    </a:cubicBezTo>
                    <a:cubicBezTo>
                      <a:pt x="296" y="210"/>
                      <a:pt x="296" y="209"/>
                      <a:pt x="295" y="208"/>
                    </a:cubicBezTo>
                    <a:cubicBezTo>
                      <a:pt x="294" y="208"/>
                      <a:pt x="293" y="207"/>
                      <a:pt x="293" y="206"/>
                    </a:cubicBezTo>
                    <a:cubicBezTo>
                      <a:pt x="292" y="206"/>
                      <a:pt x="292" y="206"/>
                      <a:pt x="292" y="206"/>
                    </a:cubicBezTo>
                    <a:cubicBezTo>
                      <a:pt x="291" y="207"/>
                      <a:pt x="290" y="206"/>
                      <a:pt x="289" y="206"/>
                    </a:cubicBezTo>
                    <a:cubicBezTo>
                      <a:pt x="289" y="206"/>
                      <a:pt x="289" y="206"/>
                      <a:pt x="289" y="206"/>
                    </a:cubicBezTo>
                    <a:cubicBezTo>
                      <a:pt x="289" y="205"/>
                      <a:pt x="289" y="205"/>
                      <a:pt x="289" y="205"/>
                    </a:cubicBezTo>
                    <a:cubicBezTo>
                      <a:pt x="290" y="205"/>
                      <a:pt x="289" y="204"/>
                      <a:pt x="289" y="204"/>
                    </a:cubicBezTo>
                    <a:cubicBezTo>
                      <a:pt x="287" y="203"/>
                      <a:pt x="288" y="202"/>
                      <a:pt x="287" y="201"/>
                    </a:cubicBezTo>
                    <a:cubicBezTo>
                      <a:pt x="287" y="200"/>
                      <a:pt x="287" y="199"/>
                      <a:pt x="287" y="199"/>
                    </a:cubicBezTo>
                    <a:cubicBezTo>
                      <a:pt x="286" y="198"/>
                      <a:pt x="285" y="198"/>
                      <a:pt x="286" y="196"/>
                    </a:cubicBezTo>
                    <a:close/>
                    <a:moveTo>
                      <a:pt x="318" y="305"/>
                    </a:moveTo>
                    <a:cubicBezTo>
                      <a:pt x="318" y="306"/>
                      <a:pt x="318" y="306"/>
                      <a:pt x="318" y="306"/>
                    </a:cubicBezTo>
                    <a:cubicBezTo>
                      <a:pt x="318" y="307"/>
                      <a:pt x="318" y="308"/>
                      <a:pt x="316" y="308"/>
                    </a:cubicBezTo>
                    <a:cubicBezTo>
                      <a:pt x="315" y="308"/>
                      <a:pt x="313" y="308"/>
                      <a:pt x="311" y="308"/>
                    </a:cubicBezTo>
                    <a:cubicBezTo>
                      <a:pt x="311" y="308"/>
                      <a:pt x="310" y="308"/>
                      <a:pt x="310" y="308"/>
                    </a:cubicBezTo>
                    <a:cubicBezTo>
                      <a:pt x="310" y="307"/>
                      <a:pt x="309" y="307"/>
                      <a:pt x="308" y="307"/>
                    </a:cubicBezTo>
                    <a:cubicBezTo>
                      <a:pt x="308" y="307"/>
                      <a:pt x="308" y="307"/>
                      <a:pt x="308" y="306"/>
                    </a:cubicBezTo>
                    <a:cubicBezTo>
                      <a:pt x="308" y="306"/>
                      <a:pt x="307" y="304"/>
                      <a:pt x="306" y="304"/>
                    </a:cubicBezTo>
                    <a:cubicBezTo>
                      <a:pt x="305" y="304"/>
                      <a:pt x="305" y="304"/>
                      <a:pt x="304" y="304"/>
                    </a:cubicBezTo>
                    <a:cubicBezTo>
                      <a:pt x="302" y="303"/>
                      <a:pt x="302" y="302"/>
                      <a:pt x="301" y="301"/>
                    </a:cubicBezTo>
                    <a:cubicBezTo>
                      <a:pt x="301" y="301"/>
                      <a:pt x="300" y="301"/>
                      <a:pt x="300" y="301"/>
                    </a:cubicBezTo>
                    <a:cubicBezTo>
                      <a:pt x="299" y="301"/>
                      <a:pt x="299" y="301"/>
                      <a:pt x="299" y="300"/>
                    </a:cubicBezTo>
                    <a:cubicBezTo>
                      <a:pt x="299" y="299"/>
                      <a:pt x="299" y="298"/>
                      <a:pt x="298" y="299"/>
                    </a:cubicBezTo>
                    <a:cubicBezTo>
                      <a:pt x="297" y="299"/>
                      <a:pt x="297" y="299"/>
                      <a:pt x="297" y="299"/>
                    </a:cubicBezTo>
                    <a:cubicBezTo>
                      <a:pt x="297" y="298"/>
                      <a:pt x="297" y="297"/>
                      <a:pt x="298" y="296"/>
                    </a:cubicBezTo>
                    <a:cubicBezTo>
                      <a:pt x="298" y="295"/>
                      <a:pt x="298" y="294"/>
                      <a:pt x="299" y="293"/>
                    </a:cubicBezTo>
                    <a:cubicBezTo>
                      <a:pt x="300" y="293"/>
                      <a:pt x="300" y="293"/>
                      <a:pt x="300" y="293"/>
                    </a:cubicBezTo>
                    <a:cubicBezTo>
                      <a:pt x="301" y="293"/>
                      <a:pt x="301" y="292"/>
                      <a:pt x="301" y="292"/>
                    </a:cubicBezTo>
                    <a:cubicBezTo>
                      <a:pt x="300" y="291"/>
                      <a:pt x="300" y="291"/>
                      <a:pt x="301" y="291"/>
                    </a:cubicBezTo>
                    <a:cubicBezTo>
                      <a:pt x="301" y="290"/>
                      <a:pt x="302" y="289"/>
                      <a:pt x="303" y="288"/>
                    </a:cubicBezTo>
                    <a:cubicBezTo>
                      <a:pt x="303" y="288"/>
                      <a:pt x="303" y="288"/>
                      <a:pt x="303" y="288"/>
                    </a:cubicBezTo>
                    <a:cubicBezTo>
                      <a:pt x="302" y="286"/>
                      <a:pt x="303" y="284"/>
                      <a:pt x="305" y="284"/>
                    </a:cubicBezTo>
                    <a:cubicBezTo>
                      <a:pt x="306" y="284"/>
                      <a:pt x="307" y="283"/>
                      <a:pt x="307" y="283"/>
                    </a:cubicBezTo>
                    <a:cubicBezTo>
                      <a:pt x="308" y="282"/>
                      <a:pt x="309" y="282"/>
                      <a:pt x="310" y="282"/>
                    </a:cubicBezTo>
                    <a:cubicBezTo>
                      <a:pt x="310" y="283"/>
                      <a:pt x="311" y="282"/>
                      <a:pt x="312" y="283"/>
                    </a:cubicBezTo>
                    <a:cubicBezTo>
                      <a:pt x="313" y="284"/>
                      <a:pt x="313" y="284"/>
                      <a:pt x="314" y="285"/>
                    </a:cubicBezTo>
                    <a:cubicBezTo>
                      <a:pt x="314" y="286"/>
                      <a:pt x="315" y="288"/>
                      <a:pt x="317" y="289"/>
                    </a:cubicBezTo>
                    <a:cubicBezTo>
                      <a:pt x="317" y="290"/>
                      <a:pt x="318" y="290"/>
                      <a:pt x="317" y="291"/>
                    </a:cubicBezTo>
                    <a:cubicBezTo>
                      <a:pt x="317" y="291"/>
                      <a:pt x="317" y="291"/>
                      <a:pt x="317" y="291"/>
                    </a:cubicBezTo>
                    <a:cubicBezTo>
                      <a:pt x="318" y="292"/>
                      <a:pt x="319" y="292"/>
                      <a:pt x="318" y="293"/>
                    </a:cubicBezTo>
                    <a:cubicBezTo>
                      <a:pt x="318" y="294"/>
                      <a:pt x="318" y="294"/>
                      <a:pt x="318" y="294"/>
                    </a:cubicBezTo>
                    <a:cubicBezTo>
                      <a:pt x="319" y="295"/>
                      <a:pt x="319" y="296"/>
                      <a:pt x="318" y="297"/>
                    </a:cubicBezTo>
                    <a:cubicBezTo>
                      <a:pt x="318" y="297"/>
                      <a:pt x="318" y="298"/>
                      <a:pt x="318" y="298"/>
                    </a:cubicBezTo>
                    <a:cubicBezTo>
                      <a:pt x="319" y="300"/>
                      <a:pt x="319" y="303"/>
                      <a:pt x="318" y="305"/>
                    </a:cubicBezTo>
                    <a:close/>
                    <a:moveTo>
                      <a:pt x="533" y="38"/>
                    </a:moveTo>
                    <a:cubicBezTo>
                      <a:pt x="533" y="37"/>
                      <a:pt x="533" y="36"/>
                      <a:pt x="532" y="35"/>
                    </a:cubicBezTo>
                    <a:cubicBezTo>
                      <a:pt x="532" y="35"/>
                      <a:pt x="531" y="35"/>
                      <a:pt x="531" y="34"/>
                    </a:cubicBezTo>
                    <a:cubicBezTo>
                      <a:pt x="532" y="34"/>
                      <a:pt x="532" y="33"/>
                      <a:pt x="531" y="33"/>
                    </a:cubicBezTo>
                    <a:cubicBezTo>
                      <a:pt x="530" y="33"/>
                      <a:pt x="530" y="32"/>
                      <a:pt x="529" y="32"/>
                    </a:cubicBezTo>
                    <a:cubicBezTo>
                      <a:pt x="528" y="32"/>
                      <a:pt x="527" y="32"/>
                      <a:pt x="527" y="31"/>
                    </a:cubicBezTo>
                    <a:cubicBezTo>
                      <a:pt x="527" y="31"/>
                      <a:pt x="527" y="31"/>
                      <a:pt x="527" y="30"/>
                    </a:cubicBezTo>
                    <a:cubicBezTo>
                      <a:pt x="526" y="30"/>
                      <a:pt x="524" y="31"/>
                      <a:pt x="523" y="32"/>
                    </a:cubicBezTo>
                    <a:cubicBezTo>
                      <a:pt x="523" y="32"/>
                      <a:pt x="523" y="31"/>
                      <a:pt x="522" y="32"/>
                    </a:cubicBezTo>
                    <a:cubicBezTo>
                      <a:pt x="522" y="33"/>
                      <a:pt x="522" y="34"/>
                      <a:pt x="522" y="35"/>
                    </a:cubicBezTo>
                    <a:cubicBezTo>
                      <a:pt x="522" y="35"/>
                      <a:pt x="521" y="35"/>
                      <a:pt x="520" y="36"/>
                    </a:cubicBezTo>
                    <a:cubicBezTo>
                      <a:pt x="520" y="36"/>
                      <a:pt x="520" y="36"/>
                      <a:pt x="519" y="36"/>
                    </a:cubicBezTo>
                    <a:cubicBezTo>
                      <a:pt x="519" y="36"/>
                      <a:pt x="520" y="35"/>
                      <a:pt x="520" y="35"/>
                    </a:cubicBezTo>
                    <a:cubicBezTo>
                      <a:pt x="520" y="35"/>
                      <a:pt x="520" y="35"/>
                      <a:pt x="520" y="35"/>
                    </a:cubicBezTo>
                    <a:cubicBezTo>
                      <a:pt x="521" y="34"/>
                      <a:pt x="521" y="33"/>
                      <a:pt x="521" y="32"/>
                    </a:cubicBezTo>
                    <a:cubicBezTo>
                      <a:pt x="521" y="32"/>
                      <a:pt x="521" y="31"/>
                      <a:pt x="521" y="31"/>
                    </a:cubicBezTo>
                    <a:cubicBezTo>
                      <a:pt x="522" y="31"/>
                      <a:pt x="521" y="30"/>
                      <a:pt x="521" y="30"/>
                    </a:cubicBezTo>
                    <a:cubicBezTo>
                      <a:pt x="522" y="29"/>
                      <a:pt x="522" y="29"/>
                      <a:pt x="521" y="29"/>
                    </a:cubicBezTo>
                    <a:cubicBezTo>
                      <a:pt x="521" y="28"/>
                      <a:pt x="520" y="28"/>
                      <a:pt x="520" y="28"/>
                    </a:cubicBezTo>
                    <a:cubicBezTo>
                      <a:pt x="519" y="27"/>
                      <a:pt x="519" y="27"/>
                      <a:pt x="519" y="27"/>
                    </a:cubicBezTo>
                    <a:cubicBezTo>
                      <a:pt x="520" y="26"/>
                      <a:pt x="520" y="25"/>
                      <a:pt x="519" y="25"/>
                    </a:cubicBezTo>
                    <a:cubicBezTo>
                      <a:pt x="519" y="25"/>
                      <a:pt x="518" y="24"/>
                      <a:pt x="518" y="24"/>
                    </a:cubicBezTo>
                    <a:cubicBezTo>
                      <a:pt x="517" y="24"/>
                      <a:pt x="518" y="24"/>
                      <a:pt x="518" y="24"/>
                    </a:cubicBezTo>
                    <a:cubicBezTo>
                      <a:pt x="518" y="23"/>
                      <a:pt x="517" y="22"/>
                      <a:pt x="516" y="22"/>
                    </a:cubicBezTo>
                    <a:cubicBezTo>
                      <a:pt x="516" y="22"/>
                      <a:pt x="515" y="23"/>
                      <a:pt x="515" y="22"/>
                    </a:cubicBezTo>
                    <a:cubicBezTo>
                      <a:pt x="515" y="22"/>
                      <a:pt x="516" y="22"/>
                      <a:pt x="516" y="21"/>
                    </a:cubicBezTo>
                    <a:cubicBezTo>
                      <a:pt x="517" y="21"/>
                      <a:pt x="517" y="21"/>
                      <a:pt x="517" y="21"/>
                    </a:cubicBezTo>
                    <a:cubicBezTo>
                      <a:pt x="519" y="22"/>
                      <a:pt x="518" y="20"/>
                      <a:pt x="519" y="20"/>
                    </a:cubicBezTo>
                    <a:cubicBezTo>
                      <a:pt x="519" y="19"/>
                      <a:pt x="519" y="19"/>
                      <a:pt x="519" y="18"/>
                    </a:cubicBezTo>
                    <a:cubicBezTo>
                      <a:pt x="519" y="17"/>
                      <a:pt x="518" y="16"/>
                      <a:pt x="517" y="16"/>
                    </a:cubicBezTo>
                    <a:cubicBezTo>
                      <a:pt x="516" y="16"/>
                      <a:pt x="515" y="15"/>
                      <a:pt x="514" y="17"/>
                    </a:cubicBezTo>
                    <a:cubicBezTo>
                      <a:pt x="513" y="17"/>
                      <a:pt x="513" y="18"/>
                      <a:pt x="512" y="19"/>
                    </a:cubicBezTo>
                    <a:cubicBezTo>
                      <a:pt x="512" y="19"/>
                      <a:pt x="511" y="20"/>
                      <a:pt x="511" y="19"/>
                    </a:cubicBezTo>
                    <a:cubicBezTo>
                      <a:pt x="511" y="18"/>
                      <a:pt x="510" y="17"/>
                      <a:pt x="510" y="15"/>
                    </a:cubicBezTo>
                    <a:cubicBezTo>
                      <a:pt x="510" y="15"/>
                      <a:pt x="510" y="14"/>
                      <a:pt x="509" y="15"/>
                    </a:cubicBezTo>
                    <a:cubicBezTo>
                      <a:pt x="509" y="15"/>
                      <a:pt x="509" y="15"/>
                      <a:pt x="509" y="15"/>
                    </a:cubicBezTo>
                    <a:cubicBezTo>
                      <a:pt x="509" y="14"/>
                      <a:pt x="509" y="14"/>
                      <a:pt x="510" y="14"/>
                    </a:cubicBezTo>
                    <a:cubicBezTo>
                      <a:pt x="510" y="14"/>
                      <a:pt x="510" y="13"/>
                      <a:pt x="510" y="13"/>
                    </a:cubicBezTo>
                    <a:cubicBezTo>
                      <a:pt x="510" y="12"/>
                      <a:pt x="509" y="12"/>
                      <a:pt x="509" y="12"/>
                    </a:cubicBezTo>
                    <a:cubicBezTo>
                      <a:pt x="508" y="12"/>
                      <a:pt x="507" y="13"/>
                      <a:pt x="507" y="14"/>
                    </a:cubicBezTo>
                    <a:cubicBezTo>
                      <a:pt x="506" y="14"/>
                      <a:pt x="507" y="15"/>
                      <a:pt x="508" y="15"/>
                    </a:cubicBezTo>
                    <a:cubicBezTo>
                      <a:pt x="508" y="15"/>
                      <a:pt x="508" y="15"/>
                      <a:pt x="508" y="15"/>
                    </a:cubicBezTo>
                    <a:cubicBezTo>
                      <a:pt x="507" y="15"/>
                      <a:pt x="506" y="16"/>
                      <a:pt x="506" y="17"/>
                    </a:cubicBezTo>
                    <a:cubicBezTo>
                      <a:pt x="506" y="17"/>
                      <a:pt x="505" y="18"/>
                      <a:pt x="506" y="18"/>
                    </a:cubicBezTo>
                    <a:cubicBezTo>
                      <a:pt x="506" y="19"/>
                      <a:pt x="506" y="19"/>
                      <a:pt x="507" y="19"/>
                    </a:cubicBezTo>
                    <a:cubicBezTo>
                      <a:pt x="507" y="19"/>
                      <a:pt x="507" y="20"/>
                      <a:pt x="506" y="19"/>
                    </a:cubicBezTo>
                    <a:cubicBezTo>
                      <a:pt x="506" y="19"/>
                      <a:pt x="504" y="18"/>
                      <a:pt x="505" y="17"/>
                    </a:cubicBezTo>
                    <a:cubicBezTo>
                      <a:pt x="505" y="16"/>
                      <a:pt x="505" y="15"/>
                      <a:pt x="503" y="15"/>
                    </a:cubicBezTo>
                    <a:cubicBezTo>
                      <a:pt x="503" y="15"/>
                      <a:pt x="503" y="15"/>
                      <a:pt x="502" y="16"/>
                    </a:cubicBezTo>
                    <a:cubicBezTo>
                      <a:pt x="501" y="17"/>
                      <a:pt x="499" y="19"/>
                      <a:pt x="497" y="20"/>
                    </a:cubicBezTo>
                    <a:cubicBezTo>
                      <a:pt x="497" y="20"/>
                      <a:pt x="497" y="21"/>
                      <a:pt x="497" y="22"/>
                    </a:cubicBezTo>
                    <a:cubicBezTo>
                      <a:pt x="495" y="22"/>
                      <a:pt x="494" y="23"/>
                      <a:pt x="493" y="24"/>
                    </a:cubicBezTo>
                    <a:cubicBezTo>
                      <a:pt x="493" y="24"/>
                      <a:pt x="493" y="24"/>
                      <a:pt x="493" y="24"/>
                    </a:cubicBezTo>
                    <a:cubicBezTo>
                      <a:pt x="492" y="25"/>
                      <a:pt x="492" y="25"/>
                      <a:pt x="492" y="26"/>
                    </a:cubicBezTo>
                    <a:cubicBezTo>
                      <a:pt x="491" y="26"/>
                      <a:pt x="490" y="25"/>
                      <a:pt x="489" y="25"/>
                    </a:cubicBezTo>
                    <a:cubicBezTo>
                      <a:pt x="489" y="25"/>
                      <a:pt x="489" y="25"/>
                      <a:pt x="489" y="25"/>
                    </a:cubicBezTo>
                    <a:cubicBezTo>
                      <a:pt x="489" y="25"/>
                      <a:pt x="488" y="25"/>
                      <a:pt x="488" y="26"/>
                    </a:cubicBezTo>
                    <a:cubicBezTo>
                      <a:pt x="487" y="26"/>
                      <a:pt x="486" y="25"/>
                      <a:pt x="485" y="26"/>
                    </a:cubicBezTo>
                    <a:cubicBezTo>
                      <a:pt x="484" y="26"/>
                      <a:pt x="484" y="26"/>
                      <a:pt x="484" y="26"/>
                    </a:cubicBezTo>
                    <a:cubicBezTo>
                      <a:pt x="485" y="25"/>
                      <a:pt x="485" y="24"/>
                      <a:pt x="486" y="24"/>
                    </a:cubicBezTo>
                    <a:cubicBezTo>
                      <a:pt x="487" y="24"/>
                      <a:pt x="488" y="23"/>
                      <a:pt x="488" y="22"/>
                    </a:cubicBezTo>
                    <a:cubicBezTo>
                      <a:pt x="493" y="21"/>
                      <a:pt x="496" y="17"/>
                      <a:pt x="499" y="14"/>
                    </a:cubicBezTo>
                    <a:cubicBezTo>
                      <a:pt x="499" y="13"/>
                      <a:pt x="499" y="13"/>
                      <a:pt x="499" y="12"/>
                    </a:cubicBezTo>
                    <a:cubicBezTo>
                      <a:pt x="499" y="12"/>
                      <a:pt x="499" y="12"/>
                      <a:pt x="499" y="11"/>
                    </a:cubicBezTo>
                    <a:cubicBezTo>
                      <a:pt x="498" y="11"/>
                      <a:pt x="497" y="10"/>
                      <a:pt x="496" y="11"/>
                    </a:cubicBezTo>
                    <a:cubicBezTo>
                      <a:pt x="496" y="11"/>
                      <a:pt x="496" y="12"/>
                      <a:pt x="495" y="11"/>
                    </a:cubicBezTo>
                    <a:cubicBezTo>
                      <a:pt x="495" y="11"/>
                      <a:pt x="495" y="11"/>
                      <a:pt x="495" y="11"/>
                    </a:cubicBezTo>
                    <a:cubicBezTo>
                      <a:pt x="495" y="10"/>
                      <a:pt x="495" y="10"/>
                      <a:pt x="495" y="10"/>
                    </a:cubicBezTo>
                    <a:cubicBezTo>
                      <a:pt x="494" y="10"/>
                      <a:pt x="494" y="10"/>
                      <a:pt x="494" y="10"/>
                    </a:cubicBezTo>
                    <a:cubicBezTo>
                      <a:pt x="494" y="11"/>
                      <a:pt x="494" y="11"/>
                      <a:pt x="493" y="11"/>
                    </a:cubicBezTo>
                    <a:cubicBezTo>
                      <a:pt x="493" y="10"/>
                      <a:pt x="492" y="10"/>
                      <a:pt x="492" y="10"/>
                    </a:cubicBezTo>
                    <a:cubicBezTo>
                      <a:pt x="492" y="10"/>
                      <a:pt x="491" y="10"/>
                      <a:pt x="491" y="10"/>
                    </a:cubicBezTo>
                    <a:cubicBezTo>
                      <a:pt x="491" y="10"/>
                      <a:pt x="491" y="10"/>
                      <a:pt x="490" y="10"/>
                    </a:cubicBezTo>
                    <a:cubicBezTo>
                      <a:pt x="490" y="9"/>
                      <a:pt x="489" y="9"/>
                      <a:pt x="488" y="9"/>
                    </a:cubicBezTo>
                    <a:cubicBezTo>
                      <a:pt x="488" y="9"/>
                      <a:pt x="487" y="10"/>
                      <a:pt x="487" y="10"/>
                    </a:cubicBezTo>
                    <a:cubicBezTo>
                      <a:pt x="487" y="10"/>
                      <a:pt x="487" y="10"/>
                      <a:pt x="487" y="10"/>
                    </a:cubicBezTo>
                    <a:cubicBezTo>
                      <a:pt x="487" y="10"/>
                      <a:pt x="487" y="10"/>
                      <a:pt x="487" y="10"/>
                    </a:cubicBezTo>
                    <a:cubicBezTo>
                      <a:pt x="487" y="9"/>
                      <a:pt x="487" y="7"/>
                      <a:pt x="486" y="7"/>
                    </a:cubicBezTo>
                    <a:cubicBezTo>
                      <a:pt x="485" y="7"/>
                      <a:pt x="485" y="7"/>
                      <a:pt x="484" y="7"/>
                    </a:cubicBezTo>
                    <a:cubicBezTo>
                      <a:pt x="484" y="8"/>
                      <a:pt x="483" y="8"/>
                      <a:pt x="483" y="8"/>
                    </a:cubicBezTo>
                    <a:cubicBezTo>
                      <a:pt x="483" y="9"/>
                      <a:pt x="483" y="10"/>
                      <a:pt x="483" y="10"/>
                    </a:cubicBezTo>
                    <a:cubicBezTo>
                      <a:pt x="483" y="10"/>
                      <a:pt x="483" y="10"/>
                      <a:pt x="483" y="11"/>
                    </a:cubicBezTo>
                    <a:cubicBezTo>
                      <a:pt x="483" y="11"/>
                      <a:pt x="482" y="11"/>
                      <a:pt x="482" y="11"/>
                    </a:cubicBezTo>
                    <a:cubicBezTo>
                      <a:pt x="482" y="9"/>
                      <a:pt x="481" y="8"/>
                      <a:pt x="482" y="6"/>
                    </a:cubicBezTo>
                    <a:cubicBezTo>
                      <a:pt x="481" y="6"/>
                      <a:pt x="481" y="6"/>
                      <a:pt x="480" y="7"/>
                    </a:cubicBezTo>
                    <a:cubicBezTo>
                      <a:pt x="480" y="7"/>
                      <a:pt x="480" y="7"/>
                      <a:pt x="479" y="7"/>
                    </a:cubicBezTo>
                    <a:cubicBezTo>
                      <a:pt x="479" y="7"/>
                      <a:pt x="478" y="7"/>
                      <a:pt x="478" y="8"/>
                    </a:cubicBezTo>
                    <a:cubicBezTo>
                      <a:pt x="478" y="8"/>
                      <a:pt x="477" y="8"/>
                      <a:pt x="477" y="8"/>
                    </a:cubicBezTo>
                    <a:cubicBezTo>
                      <a:pt x="477" y="8"/>
                      <a:pt x="478" y="7"/>
                      <a:pt x="478" y="7"/>
                    </a:cubicBezTo>
                    <a:cubicBezTo>
                      <a:pt x="478" y="7"/>
                      <a:pt x="478" y="7"/>
                      <a:pt x="478" y="7"/>
                    </a:cubicBezTo>
                    <a:cubicBezTo>
                      <a:pt x="479" y="6"/>
                      <a:pt x="479" y="5"/>
                      <a:pt x="478" y="5"/>
                    </a:cubicBezTo>
                    <a:cubicBezTo>
                      <a:pt x="477" y="5"/>
                      <a:pt x="477" y="5"/>
                      <a:pt x="477" y="5"/>
                    </a:cubicBezTo>
                    <a:cubicBezTo>
                      <a:pt x="477" y="4"/>
                      <a:pt x="478" y="3"/>
                      <a:pt x="477" y="2"/>
                    </a:cubicBezTo>
                    <a:cubicBezTo>
                      <a:pt x="477" y="2"/>
                      <a:pt x="477" y="2"/>
                      <a:pt x="478" y="2"/>
                    </a:cubicBezTo>
                    <a:cubicBezTo>
                      <a:pt x="478" y="2"/>
                      <a:pt x="478" y="2"/>
                      <a:pt x="478" y="2"/>
                    </a:cubicBezTo>
                    <a:cubicBezTo>
                      <a:pt x="478" y="2"/>
                      <a:pt x="478" y="1"/>
                      <a:pt x="478" y="1"/>
                    </a:cubicBezTo>
                    <a:cubicBezTo>
                      <a:pt x="476" y="2"/>
                      <a:pt x="474" y="1"/>
                      <a:pt x="473" y="1"/>
                    </a:cubicBezTo>
                    <a:cubicBezTo>
                      <a:pt x="471" y="2"/>
                      <a:pt x="470" y="2"/>
                      <a:pt x="469" y="3"/>
                    </a:cubicBezTo>
                    <a:cubicBezTo>
                      <a:pt x="469" y="3"/>
                      <a:pt x="469" y="3"/>
                      <a:pt x="469" y="3"/>
                    </a:cubicBezTo>
                    <a:cubicBezTo>
                      <a:pt x="469" y="2"/>
                      <a:pt x="468" y="2"/>
                      <a:pt x="468" y="2"/>
                    </a:cubicBezTo>
                    <a:cubicBezTo>
                      <a:pt x="468" y="2"/>
                      <a:pt x="467" y="2"/>
                      <a:pt x="467" y="3"/>
                    </a:cubicBezTo>
                    <a:cubicBezTo>
                      <a:pt x="468" y="3"/>
                      <a:pt x="467" y="4"/>
                      <a:pt x="467" y="4"/>
                    </a:cubicBezTo>
                    <a:cubicBezTo>
                      <a:pt x="466" y="4"/>
                      <a:pt x="466" y="4"/>
                      <a:pt x="466" y="5"/>
                    </a:cubicBezTo>
                    <a:cubicBezTo>
                      <a:pt x="465" y="6"/>
                      <a:pt x="466" y="7"/>
                      <a:pt x="466" y="9"/>
                    </a:cubicBezTo>
                    <a:cubicBezTo>
                      <a:pt x="467" y="10"/>
                      <a:pt x="468" y="11"/>
                      <a:pt x="469" y="12"/>
                    </a:cubicBezTo>
                    <a:cubicBezTo>
                      <a:pt x="469" y="12"/>
                      <a:pt x="469" y="13"/>
                      <a:pt x="469" y="13"/>
                    </a:cubicBezTo>
                    <a:cubicBezTo>
                      <a:pt x="469" y="13"/>
                      <a:pt x="469" y="13"/>
                      <a:pt x="468" y="13"/>
                    </a:cubicBezTo>
                    <a:cubicBezTo>
                      <a:pt x="468" y="13"/>
                      <a:pt x="467" y="12"/>
                      <a:pt x="467" y="12"/>
                    </a:cubicBezTo>
                    <a:cubicBezTo>
                      <a:pt x="467" y="12"/>
                      <a:pt x="466" y="12"/>
                      <a:pt x="466" y="12"/>
                    </a:cubicBezTo>
                    <a:cubicBezTo>
                      <a:pt x="466" y="11"/>
                      <a:pt x="465" y="11"/>
                      <a:pt x="465" y="10"/>
                    </a:cubicBezTo>
                    <a:cubicBezTo>
                      <a:pt x="465" y="9"/>
                      <a:pt x="464" y="9"/>
                      <a:pt x="464" y="8"/>
                    </a:cubicBezTo>
                    <a:cubicBezTo>
                      <a:pt x="464" y="8"/>
                      <a:pt x="463" y="7"/>
                      <a:pt x="463" y="7"/>
                    </a:cubicBezTo>
                    <a:cubicBezTo>
                      <a:pt x="463" y="7"/>
                      <a:pt x="463" y="6"/>
                      <a:pt x="463" y="6"/>
                    </a:cubicBezTo>
                    <a:cubicBezTo>
                      <a:pt x="463" y="6"/>
                      <a:pt x="463" y="5"/>
                      <a:pt x="463" y="5"/>
                    </a:cubicBezTo>
                    <a:cubicBezTo>
                      <a:pt x="464" y="4"/>
                      <a:pt x="464" y="4"/>
                      <a:pt x="464" y="3"/>
                    </a:cubicBezTo>
                    <a:cubicBezTo>
                      <a:pt x="464" y="2"/>
                      <a:pt x="464" y="2"/>
                      <a:pt x="464" y="2"/>
                    </a:cubicBezTo>
                    <a:cubicBezTo>
                      <a:pt x="462" y="2"/>
                      <a:pt x="461" y="2"/>
                      <a:pt x="459" y="2"/>
                    </a:cubicBezTo>
                    <a:cubicBezTo>
                      <a:pt x="459" y="2"/>
                      <a:pt x="458" y="2"/>
                      <a:pt x="457" y="3"/>
                    </a:cubicBezTo>
                    <a:cubicBezTo>
                      <a:pt x="457" y="3"/>
                      <a:pt x="456" y="3"/>
                      <a:pt x="456" y="4"/>
                    </a:cubicBezTo>
                    <a:cubicBezTo>
                      <a:pt x="455" y="4"/>
                      <a:pt x="455" y="5"/>
                      <a:pt x="455" y="5"/>
                    </a:cubicBezTo>
                    <a:cubicBezTo>
                      <a:pt x="454" y="6"/>
                      <a:pt x="453" y="7"/>
                      <a:pt x="453" y="8"/>
                    </a:cubicBezTo>
                    <a:cubicBezTo>
                      <a:pt x="453" y="8"/>
                      <a:pt x="452" y="9"/>
                      <a:pt x="452" y="9"/>
                    </a:cubicBezTo>
                    <a:cubicBezTo>
                      <a:pt x="452" y="10"/>
                      <a:pt x="452" y="10"/>
                      <a:pt x="451" y="10"/>
                    </a:cubicBezTo>
                    <a:cubicBezTo>
                      <a:pt x="450" y="11"/>
                      <a:pt x="451" y="12"/>
                      <a:pt x="451" y="12"/>
                    </a:cubicBezTo>
                    <a:cubicBezTo>
                      <a:pt x="452" y="13"/>
                      <a:pt x="452" y="13"/>
                      <a:pt x="452" y="14"/>
                    </a:cubicBezTo>
                    <a:cubicBezTo>
                      <a:pt x="452" y="16"/>
                      <a:pt x="454" y="17"/>
                      <a:pt x="455" y="18"/>
                    </a:cubicBezTo>
                    <a:cubicBezTo>
                      <a:pt x="456" y="19"/>
                      <a:pt x="457" y="20"/>
                      <a:pt x="458" y="21"/>
                    </a:cubicBezTo>
                    <a:cubicBezTo>
                      <a:pt x="458" y="21"/>
                      <a:pt x="459" y="22"/>
                      <a:pt x="458" y="22"/>
                    </a:cubicBezTo>
                    <a:cubicBezTo>
                      <a:pt x="457" y="22"/>
                      <a:pt x="458" y="23"/>
                      <a:pt x="458" y="24"/>
                    </a:cubicBezTo>
                    <a:cubicBezTo>
                      <a:pt x="457" y="23"/>
                      <a:pt x="457" y="23"/>
                      <a:pt x="457" y="23"/>
                    </a:cubicBezTo>
                    <a:cubicBezTo>
                      <a:pt x="456" y="22"/>
                      <a:pt x="455" y="21"/>
                      <a:pt x="454" y="20"/>
                    </a:cubicBezTo>
                    <a:cubicBezTo>
                      <a:pt x="454" y="20"/>
                      <a:pt x="454" y="20"/>
                      <a:pt x="453" y="19"/>
                    </a:cubicBezTo>
                    <a:cubicBezTo>
                      <a:pt x="453" y="19"/>
                      <a:pt x="452" y="17"/>
                      <a:pt x="451" y="17"/>
                    </a:cubicBezTo>
                    <a:cubicBezTo>
                      <a:pt x="450" y="16"/>
                      <a:pt x="450" y="15"/>
                      <a:pt x="449" y="14"/>
                    </a:cubicBezTo>
                    <a:cubicBezTo>
                      <a:pt x="449" y="12"/>
                      <a:pt x="449" y="11"/>
                      <a:pt x="448" y="9"/>
                    </a:cubicBezTo>
                    <a:cubicBezTo>
                      <a:pt x="448" y="9"/>
                      <a:pt x="448" y="8"/>
                      <a:pt x="447" y="7"/>
                    </a:cubicBezTo>
                    <a:cubicBezTo>
                      <a:pt x="446" y="6"/>
                      <a:pt x="445" y="6"/>
                      <a:pt x="444" y="5"/>
                    </a:cubicBezTo>
                    <a:cubicBezTo>
                      <a:pt x="443" y="5"/>
                      <a:pt x="442" y="5"/>
                      <a:pt x="441" y="5"/>
                    </a:cubicBezTo>
                    <a:cubicBezTo>
                      <a:pt x="441" y="6"/>
                      <a:pt x="440" y="6"/>
                      <a:pt x="440" y="6"/>
                    </a:cubicBezTo>
                    <a:cubicBezTo>
                      <a:pt x="439" y="5"/>
                      <a:pt x="437" y="5"/>
                      <a:pt x="436" y="3"/>
                    </a:cubicBezTo>
                    <a:cubicBezTo>
                      <a:pt x="436" y="3"/>
                      <a:pt x="436" y="3"/>
                      <a:pt x="435" y="3"/>
                    </a:cubicBezTo>
                    <a:cubicBezTo>
                      <a:pt x="435" y="3"/>
                      <a:pt x="434" y="3"/>
                      <a:pt x="434" y="3"/>
                    </a:cubicBezTo>
                    <a:cubicBezTo>
                      <a:pt x="433" y="3"/>
                      <a:pt x="433" y="3"/>
                      <a:pt x="433" y="3"/>
                    </a:cubicBezTo>
                    <a:cubicBezTo>
                      <a:pt x="431" y="3"/>
                      <a:pt x="430" y="3"/>
                      <a:pt x="428" y="3"/>
                    </a:cubicBezTo>
                    <a:cubicBezTo>
                      <a:pt x="428" y="3"/>
                      <a:pt x="428" y="3"/>
                      <a:pt x="428" y="3"/>
                    </a:cubicBezTo>
                    <a:cubicBezTo>
                      <a:pt x="427" y="3"/>
                      <a:pt x="427" y="4"/>
                      <a:pt x="426" y="4"/>
                    </a:cubicBezTo>
                    <a:cubicBezTo>
                      <a:pt x="425" y="5"/>
                      <a:pt x="425" y="5"/>
                      <a:pt x="426" y="6"/>
                    </a:cubicBezTo>
                    <a:cubicBezTo>
                      <a:pt x="427" y="6"/>
                      <a:pt x="426" y="6"/>
                      <a:pt x="426" y="7"/>
                    </a:cubicBezTo>
                    <a:cubicBezTo>
                      <a:pt x="425" y="8"/>
                      <a:pt x="426" y="8"/>
                      <a:pt x="426" y="9"/>
                    </a:cubicBezTo>
                    <a:cubicBezTo>
                      <a:pt x="426" y="10"/>
                      <a:pt x="427" y="11"/>
                      <a:pt x="428" y="12"/>
                    </a:cubicBezTo>
                    <a:cubicBezTo>
                      <a:pt x="429" y="13"/>
                      <a:pt x="431" y="14"/>
                      <a:pt x="431" y="16"/>
                    </a:cubicBezTo>
                    <a:cubicBezTo>
                      <a:pt x="431" y="16"/>
                      <a:pt x="432" y="17"/>
                      <a:pt x="432" y="18"/>
                    </a:cubicBezTo>
                    <a:cubicBezTo>
                      <a:pt x="432" y="19"/>
                      <a:pt x="432" y="19"/>
                      <a:pt x="433" y="19"/>
                    </a:cubicBezTo>
                    <a:cubicBezTo>
                      <a:pt x="433" y="19"/>
                      <a:pt x="434" y="19"/>
                      <a:pt x="434" y="19"/>
                    </a:cubicBezTo>
                    <a:cubicBezTo>
                      <a:pt x="434" y="19"/>
                      <a:pt x="435" y="19"/>
                      <a:pt x="435" y="19"/>
                    </a:cubicBezTo>
                    <a:cubicBezTo>
                      <a:pt x="435" y="19"/>
                      <a:pt x="434" y="19"/>
                      <a:pt x="434" y="20"/>
                    </a:cubicBezTo>
                    <a:cubicBezTo>
                      <a:pt x="433" y="20"/>
                      <a:pt x="433" y="20"/>
                      <a:pt x="433" y="21"/>
                    </a:cubicBezTo>
                    <a:cubicBezTo>
                      <a:pt x="433" y="21"/>
                      <a:pt x="433" y="21"/>
                      <a:pt x="433" y="21"/>
                    </a:cubicBezTo>
                    <a:cubicBezTo>
                      <a:pt x="433" y="22"/>
                      <a:pt x="433" y="24"/>
                      <a:pt x="434" y="24"/>
                    </a:cubicBezTo>
                    <a:cubicBezTo>
                      <a:pt x="435" y="25"/>
                      <a:pt x="436" y="26"/>
                      <a:pt x="438" y="27"/>
                    </a:cubicBezTo>
                    <a:cubicBezTo>
                      <a:pt x="438" y="27"/>
                      <a:pt x="439" y="28"/>
                      <a:pt x="439" y="28"/>
                    </a:cubicBezTo>
                    <a:cubicBezTo>
                      <a:pt x="439" y="28"/>
                      <a:pt x="439" y="28"/>
                      <a:pt x="439" y="28"/>
                    </a:cubicBezTo>
                    <a:cubicBezTo>
                      <a:pt x="439" y="28"/>
                      <a:pt x="439" y="28"/>
                      <a:pt x="439" y="28"/>
                    </a:cubicBezTo>
                    <a:cubicBezTo>
                      <a:pt x="439" y="28"/>
                      <a:pt x="439" y="28"/>
                      <a:pt x="439" y="28"/>
                    </a:cubicBezTo>
                    <a:cubicBezTo>
                      <a:pt x="438" y="29"/>
                      <a:pt x="438" y="29"/>
                      <a:pt x="437" y="29"/>
                    </a:cubicBezTo>
                    <a:cubicBezTo>
                      <a:pt x="437" y="29"/>
                      <a:pt x="437" y="30"/>
                      <a:pt x="437" y="30"/>
                    </a:cubicBezTo>
                    <a:cubicBezTo>
                      <a:pt x="437" y="30"/>
                      <a:pt x="437" y="30"/>
                      <a:pt x="437" y="30"/>
                    </a:cubicBezTo>
                    <a:cubicBezTo>
                      <a:pt x="436" y="30"/>
                      <a:pt x="436" y="31"/>
                      <a:pt x="435" y="31"/>
                    </a:cubicBezTo>
                    <a:cubicBezTo>
                      <a:pt x="435" y="31"/>
                      <a:pt x="435" y="32"/>
                      <a:pt x="435" y="31"/>
                    </a:cubicBezTo>
                    <a:cubicBezTo>
                      <a:pt x="435" y="31"/>
                      <a:pt x="435" y="31"/>
                      <a:pt x="435" y="31"/>
                    </a:cubicBezTo>
                    <a:cubicBezTo>
                      <a:pt x="435" y="31"/>
                      <a:pt x="435" y="30"/>
                      <a:pt x="435" y="30"/>
                    </a:cubicBezTo>
                    <a:cubicBezTo>
                      <a:pt x="435" y="29"/>
                      <a:pt x="436" y="28"/>
                      <a:pt x="434" y="27"/>
                    </a:cubicBezTo>
                    <a:cubicBezTo>
                      <a:pt x="434" y="27"/>
                      <a:pt x="434" y="27"/>
                      <a:pt x="434" y="27"/>
                    </a:cubicBezTo>
                    <a:cubicBezTo>
                      <a:pt x="433" y="27"/>
                      <a:pt x="433" y="27"/>
                      <a:pt x="433" y="26"/>
                    </a:cubicBezTo>
                    <a:cubicBezTo>
                      <a:pt x="432" y="26"/>
                      <a:pt x="432" y="25"/>
                      <a:pt x="431" y="25"/>
                    </a:cubicBezTo>
                    <a:cubicBezTo>
                      <a:pt x="431" y="25"/>
                      <a:pt x="431" y="24"/>
                      <a:pt x="431" y="24"/>
                    </a:cubicBezTo>
                    <a:cubicBezTo>
                      <a:pt x="431" y="24"/>
                      <a:pt x="431" y="23"/>
                      <a:pt x="430" y="23"/>
                    </a:cubicBezTo>
                    <a:cubicBezTo>
                      <a:pt x="430" y="22"/>
                      <a:pt x="430" y="21"/>
                      <a:pt x="430" y="20"/>
                    </a:cubicBezTo>
                    <a:cubicBezTo>
                      <a:pt x="429" y="20"/>
                      <a:pt x="429" y="19"/>
                      <a:pt x="429" y="18"/>
                    </a:cubicBezTo>
                    <a:cubicBezTo>
                      <a:pt x="429" y="18"/>
                      <a:pt x="429" y="17"/>
                      <a:pt x="428" y="17"/>
                    </a:cubicBezTo>
                    <a:cubicBezTo>
                      <a:pt x="428" y="17"/>
                      <a:pt x="428" y="17"/>
                      <a:pt x="428" y="16"/>
                    </a:cubicBezTo>
                    <a:cubicBezTo>
                      <a:pt x="428" y="16"/>
                      <a:pt x="428" y="15"/>
                      <a:pt x="427" y="15"/>
                    </a:cubicBezTo>
                    <a:cubicBezTo>
                      <a:pt x="426" y="14"/>
                      <a:pt x="425" y="13"/>
                      <a:pt x="424" y="13"/>
                    </a:cubicBezTo>
                    <a:cubicBezTo>
                      <a:pt x="423" y="12"/>
                      <a:pt x="423" y="12"/>
                      <a:pt x="422" y="13"/>
                    </a:cubicBezTo>
                    <a:cubicBezTo>
                      <a:pt x="421" y="13"/>
                      <a:pt x="422" y="14"/>
                      <a:pt x="422" y="15"/>
                    </a:cubicBezTo>
                    <a:cubicBezTo>
                      <a:pt x="421" y="15"/>
                      <a:pt x="421" y="14"/>
                      <a:pt x="421" y="15"/>
                    </a:cubicBezTo>
                    <a:cubicBezTo>
                      <a:pt x="420" y="15"/>
                      <a:pt x="420" y="15"/>
                      <a:pt x="420" y="15"/>
                    </a:cubicBezTo>
                    <a:cubicBezTo>
                      <a:pt x="421" y="16"/>
                      <a:pt x="421" y="16"/>
                      <a:pt x="421" y="16"/>
                    </a:cubicBezTo>
                    <a:cubicBezTo>
                      <a:pt x="422" y="17"/>
                      <a:pt x="422" y="17"/>
                      <a:pt x="421" y="17"/>
                    </a:cubicBezTo>
                    <a:cubicBezTo>
                      <a:pt x="421" y="17"/>
                      <a:pt x="421" y="16"/>
                      <a:pt x="420" y="16"/>
                    </a:cubicBezTo>
                    <a:cubicBezTo>
                      <a:pt x="420" y="16"/>
                      <a:pt x="420" y="15"/>
                      <a:pt x="419" y="14"/>
                    </a:cubicBezTo>
                    <a:cubicBezTo>
                      <a:pt x="419" y="14"/>
                      <a:pt x="419" y="14"/>
                      <a:pt x="419" y="15"/>
                    </a:cubicBezTo>
                    <a:cubicBezTo>
                      <a:pt x="419" y="15"/>
                      <a:pt x="419" y="16"/>
                      <a:pt x="419" y="16"/>
                    </a:cubicBezTo>
                    <a:cubicBezTo>
                      <a:pt x="418" y="16"/>
                      <a:pt x="418" y="15"/>
                      <a:pt x="418" y="15"/>
                    </a:cubicBezTo>
                    <a:cubicBezTo>
                      <a:pt x="418" y="13"/>
                      <a:pt x="419" y="12"/>
                      <a:pt x="418" y="11"/>
                    </a:cubicBezTo>
                    <a:cubicBezTo>
                      <a:pt x="417" y="10"/>
                      <a:pt x="417" y="11"/>
                      <a:pt x="417" y="11"/>
                    </a:cubicBezTo>
                    <a:cubicBezTo>
                      <a:pt x="416" y="13"/>
                      <a:pt x="416" y="14"/>
                      <a:pt x="415" y="15"/>
                    </a:cubicBezTo>
                    <a:cubicBezTo>
                      <a:pt x="415" y="13"/>
                      <a:pt x="415" y="12"/>
                      <a:pt x="415" y="10"/>
                    </a:cubicBezTo>
                    <a:cubicBezTo>
                      <a:pt x="414" y="10"/>
                      <a:pt x="414" y="10"/>
                      <a:pt x="414" y="10"/>
                    </a:cubicBezTo>
                    <a:cubicBezTo>
                      <a:pt x="414" y="10"/>
                      <a:pt x="414" y="10"/>
                      <a:pt x="413" y="9"/>
                    </a:cubicBezTo>
                    <a:cubicBezTo>
                      <a:pt x="413" y="9"/>
                      <a:pt x="413" y="9"/>
                      <a:pt x="413" y="9"/>
                    </a:cubicBezTo>
                    <a:cubicBezTo>
                      <a:pt x="411" y="10"/>
                      <a:pt x="410" y="10"/>
                      <a:pt x="408" y="11"/>
                    </a:cubicBezTo>
                    <a:cubicBezTo>
                      <a:pt x="405" y="12"/>
                      <a:pt x="405" y="14"/>
                      <a:pt x="407" y="16"/>
                    </a:cubicBezTo>
                    <a:cubicBezTo>
                      <a:pt x="408" y="16"/>
                      <a:pt x="408" y="16"/>
                      <a:pt x="408" y="16"/>
                    </a:cubicBezTo>
                    <a:cubicBezTo>
                      <a:pt x="409" y="16"/>
                      <a:pt x="409" y="16"/>
                      <a:pt x="409" y="16"/>
                    </a:cubicBezTo>
                    <a:cubicBezTo>
                      <a:pt x="410" y="16"/>
                      <a:pt x="410" y="16"/>
                      <a:pt x="410" y="16"/>
                    </a:cubicBezTo>
                    <a:cubicBezTo>
                      <a:pt x="410" y="16"/>
                      <a:pt x="410" y="16"/>
                      <a:pt x="410" y="17"/>
                    </a:cubicBezTo>
                    <a:cubicBezTo>
                      <a:pt x="410" y="17"/>
                      <a:pt x="410" y="17"/>
                      <a:pt x="410" y="17"/>
                    </a:cubicBezTo>
                    <a:cubicBezTo>
                      <a:pt x="410" y="17"/>
                      <a:pt x="409" y="17"/>
                      <a:pt x="409" y="18"/>
                    </a:cubicBezTo>
                    <a:cubicBezTo>
                      <a:pt x="409" y="18"/>
                      <a:pt x="408" y="18"/>
                      <a:pt x="408" y="18"/>
                    </a:cubicBezTo>
                    <a:cubicBezTo>
                      <a:pt x="409" y="19"/>
                      <a:pt x="409" y="20"/>
                      <a:pt x="410" y="21"/>
                    </a:cubicBezTo>
                    <a:cubicBezTo>
                      <a:pt x="412" y="22"/>
                      <a:pt x="414" y="23"/>
                      <a:pt x="416" y="24"/>
                    </a:cubicBezTo>
                    <a:cubicBezTo>
                      <a:pt x="416" y="24"/>
                      <a:pt x="417" y="25"/>
                      <a:pt x="417" y="24"/>
                    </a:cubicBezTo>
                    <a:cubicBezTo>
                      <a:pt x="418" y="24"/>
                      <a:pt x="418" y="24"/>
                      <a:pt x="418" y="24"/>
                    </a:cubicBezTo>
                    <a:cubicBezTo>
                      <a:pt x="418" y="24"/>
                      <a:pt x="418" y="24"/>
                      <a:pt x="418" y="24"/>
                    </a:cubicBezTo>
                    <a:cubicBezTo>
                      <a:pt x="418" y="24"/>
                      <a:pt x="418" y="24"/>
                      <a:pt x="418" y="24"/>
                    </a:cubicBezTo>
                    <a:cubicBezTo>
                      <a:pt x="418" y="24"/>
                      <a:pt x="419" y="24"/>
                      <a:pt x="419" y="24"/>
                    </a:cubicBezTo>
                    <a:cubicBezTo>
                      <a:pt x="418" y="25"/>
                      <a:pt x="418" y="24"/>
                      <a:pt x="418" y="25"/>
                    </a:cubicBezTo>
                    <a:cubicBezTo>
                      <a:pt x="417" y="25"/>
                      <a:pt x="417" y="25"/>
                      <a:pt x="417" y="25"/>
                    </a:cubicBezTo>
                    <a:cubicBezTo>
                      <a:pt x="417" y="25"/>
                      <a:pt x="417" y="25"/>
                      <a:pt x="416" y="25"/>
                    </a:cubicBezTo>
                    <a:cubicBezTo>
                      <a:pt x="417" y="25"/>
                      <a:pt x="417" y="25"/>
                      <a:pt x="417" y="25"/>
                    </a:cubicBezTo>
                    <a:cubicBezTo>
                      <a:pt x="416" y="25"/>
                      <a:pt x="415" y="25"/>
                      <a:pt x="415" y="25"/>
                    </a:cubicBezTo>
                    <a:cubicBezTo>
                      <a:pt x="415" y="25"/>
                      <a:pt x="415" y="25"/>
                      <a:pt x="415" y="25"/>
                    </a:cubicBezTo>
                    <a:cubicBezTo>
                      <a:pt x="414" y="25"/>
                      <a:pt x="413" y="25"/>
                      <a:pt x="413" y="24"/>
                    </a:cubicBezTo>
                    <a:cubicBezTo>
                      <a:pt x="412" y="24"/>
                      <a:pt x="411" y="23"/>
                      <a:pt x="410" y="23"/>
                    </a:cubicBezTo>
                    <a:cubicBezTo>
                      <a:pt x="410" y="23"/>
                      <a:pt x="409" y="22"/>
                      <a:pt x="409" y="23"/>
                    </a:cubicBezTo>
                    <a:cubicBezTo>
                      <a:pt x="409" y="23"/>
                      <a:pt x="408" y="24"/>
                      <a:pt x="409" y="24"/>
                    </a:cubicBezTo>
                    <a:cubicBezTo>
                      <a:pt x="409" y="25"/>
                      <a:pt x="409" y="25"/>
                      <a:pt x="409" y="26"/>
                    </a:cubicBezTo>
                    <a:cubicBezTo>
                      <a:pt x="408" y="26"/>
                      <a:pt x="409" y="25"/>
                      <a:pt x="408" y="24"/>
                    </a:cubicBezTo>
                    <a:cubicBezTo>
                      <a:pt x="407" y="24"/>
                      <a:pt x="407" y="23"/>
                      <a:pt x="407" y="23"/>
                    </a:cubicBezTo>
                    <a:cubicBezTo>
                      <a:pt x="407" y="22"/>
                      <a:pt x="408" y="22"/>
                      <a:pt x="407" y="21"/>
                    </a:cubicBezTo>
                    <a:cubicBezTo>
                      <a:pt x="407" y="20"/>
                      <a:pt x="407" y="19"/>
                      <a:pt x="406" y="19"/>
                    </a:cubicBezTo>
                    <a:cubicBezTo>
                      <a:pt x="406" y="19"/>
                      <a:pt x="406" y="19"/>
                      <a:pt x="406" y="18"/>
                    </a:cubicBezTo>
                    <a:cubicBezTo>
                      <a:pt x="406" y="18"/>
                      <a:pt x="406" y="18"/>
                      <a:pt x="406" y="18"/>
                    </a:cubicBezTo>
                    <a:cubicBezTo>
                      <a:pt x="405" y="18"/>
                      <a:pt x="405" y="18"/>
                      <a:pt x="404" y="17"/>
                    </a:cubicBezTo>
                    <a:cubicBezTo>
                      <a:pt x="404" y="17"/>
                      <a:pt x="404" y="17"/>
                      <a:pt x="403" y="17"/>
                    </a:cubicBezTo>
                    <a:cubicBezTo>
                      <a:pt x="402" y="17"/>
                      <a:pt x="401" y="17"/>
                      <a:pt x="399" y="17"/>
                    </a:cubicBezTo>
                    <a:cubicBezTo>
                      <a:pt x="398" y="17"/>
                      <a:pt x="398" y="18"/>
                      <a:pt x="398" y="19"/>
                    </a:cubicBezTo>
                    <a:cubicBezTo>
                      <a:pt x="399" y="20"/>
                      <a:pt x="399" y="21"/>
                      <a:pt x="400" y="21"/>
                    </a:cubicBezTo>
                    <a:cubicBezTo>
                      <a:pt x="401" y="22"/>
                      <a:pt x="401" y="22"/>
                      <a:pt x="401" y="23"/>
                    </a:cubicBezTo>
                    <a:cubicBezTo>
                      <a:pt x="401" y="24"/>
                      <a:pt x="402" y="25"/>
                      <a:pt x="402" y="26"/>
                    </a:cubicBezTo>
                    <a:cubicBezTo>
                      <a:pt x="403" y="26"/>
                      <a:pt x="403" y="26"/>
                      <a:pt x="403" y="27"/>
                    </a:cubicBezTo>
                    <a:cubicBezTo>
                      <a:pt x="403" y="27"/>
                      <a:pt x="403" y="27"/>
                      <a:pt x="403" y="27"/>
                    </a:cubicBezTo>
                    <a:cubicBezTo>
                      <a:pt x="404" y="28"/>
                      <a:pt x="404" y="28"/>
                      <a:pt x="404" y="28"/>
                    </a:cubicBezTo>
                    <a:cubicBezTo>
                      <a:pt x="404" y="29"/>
                      <a:pt x="405" y="30"/>
                      <a:pt x="405" y="31"/>
                    </a:cubicBezTo>
                    <a:cubicBezTo>
                      <a:pt x="404" y="31"/>
                      <a:pt x="403" y="31"/>
                      <a:pt x="403" y="32"/>
                    </a:cubicBezTo>
                    <a:cubicBezTo>
                      <a:pt x="402" y="31"/>
                      <a:pt x="402" y="30"/>
                      <a:pt x="401" y="29"/>
                    </a:cubicBezTo>
                    <a:cubicBezTo>
                      <a:pt x="401" y="29"/>
                      <a:pt x="401" y="28"/>
                      <a:pt x="401" y="28"/>
                    </a:cubicBezTo>
                    <a:cubicBezTo>
                      <a:pt x="401" y="28"/>
                      <a:pt x="400" y="28"/>
                      <a:pt x="400" y="28"/>
                    </a:cubicBezTo>
                    <a:cubicBezTo>
                      <a:pt x="400" y="27"/>
                      <a:pt x="400" y="27"/>
                      <a:pt x="400" y="27"/>
                    </a:cubicBezTo>
                    <a:cubicBezTo>
                      <a:pt x="399" y="27"/>
                      <a:pt x="399" y="27"/>
                      <a:pt x="399" y="27"/>
                    </a:cubicBezTo>
                    <a:cubicBezTo>
                      <a:pt x="398" y="25"/>
                      <a:pt x="396" y="25"/>
                      <a:pt x="395" y="24"/>
                    </a:cubicBezTo>
                    <a:cubicBezTo>
                      <a:pt x="394" y="24"/>
                      <a:pt x="394" y="25"/>
                      <a:pt x="393" y="25"/>
                    </a:cubicBezTo>
                    <a:cubicBezTo>
                      <a:pt x="393" y="27"/>
                      <a:pt x="393" y="29"/>
                      <a:pt x="394" y="30"/>
                    </a:cubicBezTo>
                    <a:cubicBezTo>
                      <a:pt x="395" y="32"/>
                      <a:pt x="397" y="32"/>
                      <a:pt x="398" y="33"/>
                    </a:cubicBezTo>
                    <a:cubicBezTo>
                      <a:pt x="398" y="33"/>
                      <a:pt x="398" y="33"/>
                      <a:pt x="398" y="34"/>
                    </a:cubicBezTo>
                    <a:cubicBezTo>
                      <a:pt x="398" y="34"/>
                      <a:pt x="397" y="34"/>
                      <a:pt x="397" y="34"/>
                    </a:cubicBezTo>
                    <a:cubicBezTo>
                      <a:pt x="397" y="34"/>
                      <a:pt x="397" y="34"/>
                      <a:pt x="396" y="34"/>
                    </a:cubicBezTo>
                    <a:cubicBezTo>
                      <a:pt x="396" y="33"/>
                      <a:pt x="395" y="33"/>
                      <a:pt x="395" y="33"/>
                    </a:cubicBezTo>
                    <a:cubicBezTo>
                      <a:pt x="395" y="33"/>
                      <a:pt x="395" y="33"/>
                      <a:pt x="395" y="33"/>
                    </a:cubicBezTo>
                    <a:cubicBezTo>
                      <a:pt x="393" y="32"/>
                      <a:pt x="392" y="33"/>
                      <a:pt x="392" y="34"/>
                    </a:cubicBezTo>
                    <a:cubicBezTo>
                      <a:pt x="391" y="35"/>
                      <a:pt x="391" y="36"/>
                      <a:pt x="391" y="37"/>
                    </a:cubicBezTo>
                    <a:cubicBezTo>
                      <a:pt x="390" y="38"/>
                      <a:pt x="390" y="38"/>
                      <a:pt x="391" y="39"/>
                    </a:cubicBezTo>
                    <a:cubicBezTo>
                      <a:pt x="391" y="39"/>
                      <a:pt x="391" y="39"/>
                      <a:pt x="391" y="39"/>
                    </a:cubicBezTo>
                    <a:cubicBezTo>
                      <a:pt x="391" y="41"/>
                      <a:pt x="393" y="42"/>
                      <a:pt x="394" y="43"/>
                    </a:cubicBezTo>
                    <a:cubicBezTo>
                      <a:pt x="395" y="44"/>
                      <a:pt x="395" y="44"/>
                      <a:pt x="395" y="44"/>
                    </a:cubicBezTo>
                    <a:cubicBezTo>
                      <a:pt x="395" y="44"/>
                      <a:pt x="395" y="44"/>
                      <a:pt x="395" y="44"/>
                    </a:cubicBezTo>
                    <a:cubicBezTo>
                      <a:pt x="395" y="45"/>
                      <a:pt x="395" y="47"/>
                      <a:pt x="397" y="47"/>
                    </a:cubicBezTo>
                    <a:cubicBezTo>
                      <a:pt x="397" y="47"/>
                      <a:pt x="397" y="47"/>
                      <a:pt x="398" y="47"/>
                    </a:cubicBezTo>
                    <a:cubicBezTo>
                      <a:pt x="399" y="48"/>
                      <a:pt x="400" y="50"/>
                      <a:pt x="403" y="50"/>
                    </a:cubicBezTo>
                    <a:cubicBezTo>
                      <a:pt x="402" y="51"/>
                      <a:pt x="402" y="53"/>
                      <a:pt x="403" y="54"/>
                    </a:cubicBezTo>
                    <a:cubicBezTo>
                      <a:pt x="404" y="54"/>
                      <a:pt x="404" y="54"/>
                      <a:pt x="404" y="55"/>
                    </a:cubicBezTo>
                    <a:cubicBezTo>
                      <a:pt x="404" y="56"/>
                      <a:pt x="404" y="55"/>
                      <a:pt x="403" y="56"/>
                    </a:cubicBezTo>
                    <a:cubicBezTo>
                      <a:pt x="403" y="56"/>
                      <a:pt x="402" y="55"/>
                      <a:pt x="401" y="55"/>
                    </a:cubicBezTo>
                    <a:cubicBezTo>
                      <a:pt x="401" y="55"/>
                      <a:pt x="401" y="55"/>
                      <a:pt x="401" y="55"/>
                    </a:cubicBezTo>
                    <a:cubicBezTo>
                      <a:pt x="401" y="54"/>
                      <a:pt x="401" y="54"/>
                      <a:pt x="400" y="54"/>
                    </a:cubicBezTo>
                    <a:cubicBezTo>
                      <a:pt x="400" y="53"/>
                      <a:pt x="399" y="52"/>
                      <a:pt x="398" y="52"/>
                    </a:cubicBezTo>
                    <a:cubicBezTo>
                      <a:pt x="398" y="52"/>
                      <a:pt x="398" y="52"/>
                      <a:pt x="397" y="52"/>
                    </a:cubicBezTo>
                    <a:cubicBezTo>
                      <a:pt x="397" y="51"/>
                      <a:pt x="396" y="50"/>
                      <a:pt x="395" y="49"/>
                    </a:cubicBezTo>
                    <a:cubicBezTo>
                      <a:pt x="395" y="49"/>
                      <a:pt x="395" y="49"/>
                      <a:pt x="395" y="49"/>
                    </a:cubicBezTo>
                    <a:cubicBezTo>
                      <a:pt x="395" y="49"/>
                      <a:pt x="395" y="49"/>
                      <a:pt x="395" y="49"/>
                    </a:cubicBezTo>
                    <a:cubicBezTo>
                      <a:pt x="395" y="49"/>
                      <a:pt x="395" y="49"/>
                      <a:pt x="395" y="49"/>
                    </a:cubicBezTo>
                    <a:cubicBezTo>
                      <a:pt x="394" y="48"/>
                      <a:pt x="394" y="48"/>
                      <a:pt x="393" y="47"/>
                    </a:cubicBezTo>
                    <a:cubicBezTo>
                      <a:pt x="393" y="47"/>
                      <a:pt x="393" y="47"/>
                      <a:pt x="393" y="47"/>
                    </a:cubicBezTo>
                    <a:cubicBezTo>
                      <a:pt x="393" y="46"/>
                      <a:pt x="393" y="45"/>
                      <a:pt x="392" y="45"/>
                    </a:cubicBezTo>
                    <a:cubicBezTo>
                      <a:pt x="392" y="45"/>
                      <a:pt x="392" y="45"/>
                      <a:pt x="392" y="44"/>
                    </a:cubicBezTo>
                    <a:cubicBezTo>
                      <a:pt x="391" y="44"/>
                      <a:pt x="391" y="44"/>
                      <a:pt x="390" y="44"/>
                    </a:cubicBezTo>
                    <a:cubicBezTo>
                      <a:pt x="389" y="44"/>
                      <a:pt x="389" y="44"/>
                      <a:pt x="389" y="45"/>
                    </a:cubicBezTo>
                    <a:cubicBezTo>
                      <a:pt x="388" y="46"/>
                      <a:pt x="388" y="47"/>
                      <a:pt x="389" y="47"/>
                    </a:cubicBezTo>
                    <a:cubicBezTo>
                      <a:pt x="390" y="48"/>
                      <a:pt x="390" y="49"/>
                      <a:pt x="390" y="51"/>
                    </a:cubicBezTo>
                    <a:cubicBezTo>
                      <a:pt x="390" y="51"/>
                      <a:pt x="390" y="51"/>
                      <a:pt x="390" y="51"/>
                    </a:cubicBezTo>
                    <a:cubicBezTo>
                      <a:pt x="390" y="51"/>
                      <a:pt x="390" y="51"/>
                      <a:pt x="390" y="51"/>
                    </a:cubicBezTo>
                    <a:cubicBezTo>
                      <a:pt x="391" y="51"/>
                      <a:pt x="390" y="52"/>
                      <a:pt x="391" y="52"/>
                    </a:cubicBezTo>
                    <a:cubicBezTo>
                      <a:pt x="392" y="53"/>
                      <a:pt x="393" y="53"/>
                      <a:pt x="394" y="53"/>
                    </a:cubicBezTo>
                    <a:cubicBezTo>
                      <a:pt x="395" y="53"/>
                      <a:pt x="396" y="54"/>
                      <a:pt x="396" y="55"/>
                    </a:cubicBezTo>
                    <a:cubicBezTo>
                      <a:pt x="396" y="55"/>
                      <a:pt x="396" y="55"/>
                      <a:pt x="395" y="55"/>
                    </a:cubicBezTo>
                    <a:cubicBezTo>
                      <a:pt x="395" y="55"/>
                      <a:pt x="394" y="54"/>
                      <a:pt x="394" y="54"/>
                    </a:cubicBezTo>
                    <a:cubicBezTo>
                      <a:pt x="392" y="54"/>
                      <a:pt x="391" y="53"/>
                      <a:pt x="389" y="54"/>
                    </a:cubicBezTo>
                    <a:cubicBezTo>
                      <a:pt x="389" y="54"/>
                      <a:pt x="388" y="55"/>
                      <a:pt x="388" y="54"/>
                    </a:cubicBezTo>
                    <a:cubicBezTo>
                      <a:pt x="388" y="54"/>
                      <a:pt x="388" y="54"/>
                      <a:pt x="388" y="54"/>
                    </a:cubicBezTo>
                    <a:cubicBezTo>
                      <a:pt x="389" y="53"/>
                      <a:pt x="390" y="52"/>
                      <a:pt x="389" y="51"/>
                    </a:cubicBezTo>
                    <a:cubicBezTo>
                      <a:pt x="389" y="50"/>
                      <a:pt x="389" y="49"/>
                      <a:pt x="388" y="49"/>
                    </a:cubicBezTo>
                    <a:cubicBezTo>
                      <a:pt x="387" y="48"/>
                      <a:pt x="387" y="46"/>
                      <a:pt x="386" y="45"/>
                    </a:cubicBezTo>
                    <a:cubicBezTo>
                      <a:pt x="386" y="44"/>
                      <a:pt x="387" y="44"/>
                      <a:pt x="386" y="43"/>
                    </a:cubicBezTo>
                    <a:cubicBezTo>
                      <a:pt x="386" y="43"/>
                      <a:pt x="385" y="43"/>
                      <a:pt x="385" y="42"/>
                    </a:cubicBezTo>
                    <a:cubicBezTo>
                      <a:pt x="385" y="42"/>
                      <a:pt x="385" y="41"/>
                      <a:pt x="384" y="41"/>
                    </a:cubicBezTo>
                    <a:cubicBezTo>
                      <a:pt x="384" y="40"/>
                      <a:pt x="383" y="40"/>
                      <a:pt x="383" y="40"/>
                    </a:cubicBezTo>
                    <a:cubicBezTo>
                      <a:pt x="383" y="40"/>
                      <a:pt x="383" y="40"/>
                      <a:pt x="382" y="40"/>
                    </a:cubicBezTo>
                    <a:cubicBezTo>
                      <a:pt x="382" y="39"/>
                      <a:pt x="381" y="39"/>
                      <a:pt x="380" y="40"/>
                    </a:cubicBezTo>
                    <a:cubicBezTo>
                      <a:pt x="380" y="40"/>
                      <a:pt x="379" y="40"/>
                      <a:pt x="379" y="39"/>
                    </a:cubicBezTo>
                    <a:cubicBezTo>
                      <a:pt x="379" y="39"/>
                      <a:pt x="378" y="38"/>
                      <a:pt x="378" y="38"/>
                    </a:cubicBezTo>
                    <a:cubicBezTo>
                      <a:pt x="377" y="38"/>
                      <a:pt x="376" y="37"/>
                      <a:pt x="375" y="36"/>
                    </a:cubicBezTo>
                    <a:cubicBezTo>
                      <a:pt x="376" y="37"/>
                      <a:pt x="377" y="36"/>
                      <a:pt x="377" y="35"/>
                    </a:cubicBezTo>
                    <a:cubicBezTo>
                      <a:pt x="378" y="35"/>
                      <a:pt x="378" y="35"/>
                      <a:pt x="378" y="35"/>
                    </a:cubicBezTo>
                    <a:cubicBezTo>
                      <a:pt x="378" y="35"/>
                      <a:pt x="378" y="35"/>
                      <a:pt x="377" y="35"/>
                    </a:cubicBezTo>
                    <a:cubicBezTo>
                      <a:pt x="375" y="34"/>
                      <a:pt x="373" y="34"/>
                      <a:pt x="371" y="34"/>
                    </a:cubicBezTo>
                    <a:cubicBezTo>
                      <a:pt x="370" y="35"/>
                      <a:pt x="370" y="35"/>
                      <a:pt x="370" y="36"/>
                    </a:cubicBezTo>
                    <a:cubicBezTo>
                      <a:pt x="370" y="37"/>
                      <a:pt x="370" y="37"/>
                      <a:pt x="371" y="37"/>
                    </a:cubicBezTo>
                    <a:cubicBezTo>
                      <a:pt x="371" y="37"/>
                      <a:pt x="371" y="37"/>
                      <a:pt x="371" y="38"/>
                    </a:cubicBezTo>
                    <a:cubicBezTo>
                      <a:pt x="372" y="39"/>
                      <a:pt x="371" y="40"/>
                      <a:pt x="372" y="40"/>
                    </a:cubicBezTo>
                    <a:cubicBezTo>
                      <a:pt x="372" y="40"/>
                      <a:pt x="372" y="41"/>
                      <a:pt x="372" y="41"/>
                    </a:cubicBezTo>
                    <a:cubicBezTo>
                      <a:pt x="372" y="41"/>
                      <a:pt x="372" y="42"/>
                      <a:pt x="372" y="42"/>
                    </a:cubicBezTo>
                    <a:cubicBezTo>
                      <a:pt x="373" y="43"/>
                      <a:pt x="373" y="44"/>
                      <a:pt x="372" y="44"/>
                    </a:cubicBezTo>
                    <a:cubicBezTo>
                      <a:pt x="371" y="44"/>
                      <a:pt x="371" y="45"/>
                      <a:pt x="371" y="45"/>
                    </a:cubicBezTo>
                    <a:cubicBezTo>
                      <a:pt x="370" y="46"/>
                      <a:pt x="369" y="46"/>
                      <a:pt x="369" y="46"/>
                    </a:cubicBezTo>
                    <a:cubicBezTo>
                      <a:pt x="367" y="46"/>
                      <a:pt x="366" y="46"/>
                      <a:pt x="365" y="46"/>
                    </a:cubicBezTo>
                    <a:cubicBezTo>
                      <a:pt x="362" y="47"/>
                      <a:pt x="362" y="48"/>
                      <a:pt x="363" y="50"/>
                    </a:cubicBezTo>
                    <a:cubicBezTo>
                      <a:pt x="363" y="50"/>
                      <a:pt x="364" y="51"/>
                      <a:pt x="364" y="51"/>
                    </a:cubicBezTo>
                    <a:cubicBezTo>
                      <a:pt x="365" y="52"/>
                      <a:pt x="365" y="52"/>
                      <a:pt x="366" y="52"/>
                    </a:cubicBezTo>
                    <a:cubicBezTo>
                      <a:pt x="367" y="52"/>
                      <a:pt x="368" y="52"/>
                      <a:pt x="369" y="53"/>
                    </a:cubicBezTo>
                    <a:cubicBezTo>
                      <a:pt x="369" y="54"/>
                      <a:pt x="369" y="54"/>
                      <a:pt x="369" y="54"/>
                    </a:cubicBezTo>
                    <a:cubicBezTo>
                      <a:pt x="370" y="54"/>
                      <a:pt x="370" y="54"/>
                      <a:pt x="370" y="54"/>
                    </a:cubicBezTo>
                    <a:cubicBezTo>
                      <a:pt x="370" y="54"/>
                      <a:pt x="370" y="54"/>
                      <a:pt x="371" y="55"/>
                    </a:cubicBezTo>
                    <a:cubicBezTo>
                      <a:pt x="372" y="56"/>
                      <a:pt x="374" y="56"/>
                      <a:pt x="376" y="56"/>
                    </a:cubicBezTo>
                    <a:cubicBezTo>
                      <a:pt x="376" y="57"/>
                      <a:pt x="376" y="56"/>
                      <a:pt x="377" y="57"/>
                    </a:cubicBezTo>
                    <a:cubicBezTo>
                      <a:pt x="377" y="57"/>
                      <a:pt x="377" y="57"/>
                      <a:pt x="377" y="57"/>
                    </a:cubicBezTo>
                    <a:cubicBezTo>
                      <a:pt x="378" y="58"/>
                      <a:pt x="377" y="60"/>
                      <a:pt x="377" y="61"/>
                    </a:cubicBezTo>
                    <a:cubicBezTo>
                      <a:pt x="377" y="61"/>
                      <a:pt x="377" y="61"/>
                      <a:pt x="378" y="61"/>
                    </a:cubicBezTo>
                    <a:cubicBezTo>
                      <a:pt x="377" y="62"/>
                      <a:pt x="378" y="62"/>
                      <a:pt x="377" y="62"/>
                    </a:cubicBezTo>
                    <a:cubicBezTo>
                      <a:pt x="377" y="61"/>
                      <a:pt x="376" y="60"/>
                      <a:pt x="376" y="58"/>
                    </a:cubicBezTo>
                    <a:cubicBezTo>
                      <a:pt x="376" y="57"/>
                      <a:pt x="376" y="57"/>
                      <a:pt x="375" y="57"/>
                    </a:cubicBezTo>
                    <a:cubicBezTo>
                      <a:pt x="374" y="58"/>
                      <a:pt x="375" y="58"/>
                      <a:pt x="375" y="58"/>
                    </a:cubicBezTo>
                    <a:cubicBezTo>
                      <a:pt x="375" y="59"/>
                      <a:pt x="376" y="60"/>
                      <a:pt x="376" y="61"/>
                    </a:cubicBezTo>
                    <a:cubicBezTo>
                      <a:pt x="376" y="61"/>
                      <a:pt x="377" y="62"/>
                      <a:pt x="376" y="62"/>
                    </a:cubicBezTo>
                    <a:cubicBezTo>
                      <a:pt x="375" y="62"/>
                      <a:pt x="375" y="61"/>
                      <a:pt x="375" y="59"/>
                    </a:cubicBezTo>
                    <a:cubicBezTo>
                      <a:pt x="375" y="59"/>
                      <a:pt x="374" y="59"/>
                      <a:pt x="374" y="59"/>
                    </a:cubicBezTo>
                    <a:cubicBezTo>
                      <a:pt x="374" y="57"/>
                      <a:pt x="374" y="57"/>
                      <a:pt x="372" y="57"/>
                    </a:cubicBezTo>
                    <a:cubicBezTo>
                      <a:pt x="372" y="57"/>
                      <a:pt x="371" y="57"/>
                      <a:pt x="371" y="57"/>
                    </a:cubicBezTo>
                    <a:cubicBezTo>
                      <a:pt x="371" y="57"/>
                      <a:pt x="371" y="57"/>
                      <a:pt x="370" y="57"/>
                    </a:cubicBezTo>
                    <a:cubicBezTo>
                      <a:pt x="370" y="57"/>
                      <a:pt x="370" y="58"/>
                      <a:pt x="370" y="58"/>
                    </a:cubicBezTo>
                    <a:cubicBezTo>
                      <a:pt x="371" y="58"/>
                      <a:pt x="371" y="59"/>
                      <a:pt x="371" y="59"/>
                    </a:cubicBezTo>
                    <a:cubicBezTo>
                      <a:pt x="371" y="60"/>
                      <a:pt x="371" y="60"/>
                      <a:pt x="372" y="61"/>
                    </a:cubicBezTo>
                    <a:cubicBezTo>
                      <a:pt x="372" y="61"/>
                      <a:pt x="372" y="61"/>
                      <a:pt x="372" y="61"/>
                    </a:cubicBezTo>
                    <a:cubicBezTo>
                      <a:pt x="372" y="62"/>
                      <a:pt x="373" y="62"/>
                      <a:pt x="373" y="63"/>
                    </a:cubicBezTo>
                    <a:cubicBezTo>
                      <a:pt x="372" y="62"/>
                      <a:pt x="371" y="62"/>
                      <a:pt x="371" y="61"/>
                    </a:cubicBezTo>
                    <a:cubicBezTo>
                      <a:pt x="371" y="59"/>
                      <a:pt x="370" y="58"/>
                      <a:pt x="369" y="57"/>
                    </a:cubicBezTo>
                    <a:cubicBezTo>
                      <a:pt x="368" y="57"/>
                      <a:pt x="368" y="56"/>
                      <a:pt x="367" y="55"/>
                    </a:cubicBezTo>
                    <a:cubicBezTo>
                      <a:pt x="367" y="55"/>
                      <a:pt x="366" y="55"/>
                      <a:pt x="365" y="55"/>
                    </a:cubicBezTo>
                    <a:cubicBezTo>
                      <a:pt x="365" y="55"/>
                      <a:pt x="365" y="55"/>
                      <a:pt x="365" y="55"/>
                    </a:cubicBezTo>
                    <a:cubicBezTo>
                      <a:pt x="365" y="55"/>
                      <a:pt x="365" y="55"/>
                      <a:pt x="365" y="55"/>
                    </a:cubicBezTo>
                    <a:cubicBezTo>
                      <a:pt x="365" y="55"/>
                      <a:pt x="365" y="55"/>
                      <a:pt x="364" y="55"/>
                    </a:cubicBezTo>
                    <a:cubicBezTo>
                      <a:pt x="364" y="54"/>
                      <a:pt x="364" y="54"/>
                      <a:pt x="364" y="54"/>
                    </a:cubicBezTo>
                    <a:cubicBezTo>
                      <a:pt x="363" y="54"/>
                      <a:pt x="362" y="55"/>
                      <a:pt x="362" y="56"/>
                    </a:cubicBezTo>
                    <a:cubicBezTo>
                      <a:pt x="362" y="56"/>
                      <a:pt x="362" y="56"/>
                      <a:pt x="362" y="57"/>
                    </a:cubicBezTo>
                    <a:cubicBezTo>
                      <a:pt x="362" y="57"/>
                      <a:pt x="362" y="57"/>
                      <a:pt x="362" y="57"/>
                    </a:cubicBezTo>
                    <a:cubicBezTo>
                      <a:pt x="361" y="58"/>
                      <a:pt x="361" y="59"/>
                      <a:pt x="362" y="59"/>
                    </a:cubicBezTo>
                    <a:cubicBezTo>
                      <a:pt x="362" y="60"/>
                      <a:pt x="363" y="60"/>
                      <a:pt x="363" y="61"/>
                    </a:cubicBezTo>
                    <a:cubicBezTo>
                      <a:pt x="363" y="61"/>
                      <a:pt x="364" y="62"/>
                      <a:pt x="363" y="62"/>
                    </a:cubicBezTo>
                    <a:cubicBezTo>
                      <a:pt x="363" y="62"/>
                      <a:pt x="363" y="62"/>
                      <a:pt x="363" y="61"/>
                    </a:cubicBezTo>
                    <a:cubicBezTo>
                      <a:pt x="363" y="61"/>
                      <a:pt x="363" y="61"/>
                      <a:pt x="363" y="61"/>
                    </a:cubicBezTo>
                    <a:cubicBezTo>
                      <a:pt x="363" y="60"/>
                      <a:pt x="362" y="60"/>
                      <a:pt x="361" y="60"/>
                    </a:cubicBezTo>
                    <a:cubicBezTo>
                      <a:pt x="360" y="59"/>
                      <a:pt x="360" y="58"/>
                      <a:pt x="360" y="57"/>
                    </a:cubicBezTo>
                    <a:cubicBezTo>
                      <a:pt x="361" y="57"/>
                      <a:pt x="361" y="56"/>
                      <a:pt x="360" y="55"/>
                    </a:cubicBezTo>
                    <a:cubicBezTo>
                      <a:pt x="360" y="55"/>
                      <a:pt x="360" y="54"/>
                      <a:pt x="359" y="54"/>
                    </a:cubicBezTo>
                    <a:cubicBezTo>
                      <a:pt x="359" y="53"/>
                      <a:pt x="358" y="52"/>
                      <a:pt x="357" y="53"/>
                    </a:cubicBezTo>
                    <a:cubicBezTo>
                      <a:pt x="357" y="53"/>
                      <a:pt x="357" y="54"/>
                      <a:pt x="357" y="53"/>
                    </a:cubicBezTo>
                    <a:cubicBezTo>
                      <a:pt x="357" y="53"/>
                      <a:pt x="356" y="54"/>
                      <a:pt x="356" y="53"/>
                    </a:cubicBezTo>
                    <a:cubicBezTo>
                      <a:pt x="356" y="52"/>
                      <a:pt x="355" y="52"/>
                      <a:pt x="355" y="52"/>
                    </a:cubicBezTo>
                    <a:cubicBezTo>
                      <a:pt x="353" y="53"/>
                      <a:pt x="352" y="54"/>
                      <a:pt x="350" y="54"/>
                    </a:cubicBezTo>
                    <a:cubicBezTo>
                      <a:pt x="348" y="55"/>
                      <a:pt x="348" y="57"/>
                      <a:pt x="348" y="59"/>
                    </a:cubicBezTo>
                    <a:cubicBezTo>
                      <a:pt x="348" y="59"/>
                      <a:pt x="348" y="59"/>
                      <a:pt x="348" y="60"/>
                    </a:cubicBezTo>
                    <a:cubicBezTo>
                      <a:pt x="348" y="61"/>
                      <a:pt x="348" y="62"/>
                      <a:pt x="349" y="63"/>
                    </a:cubicBezTo>
                    <a:cubicBezTo>
                      <a:pt x="349" y="63"/>
                      <a:pt x="349" y="64"/>
                      <a:pt x="349" y="65"/>
                    </a:cubicBezTo>
                    <a:cubicBezTo>
                      <a:pt x="349" y="65"/>
                      <a:pt x="349" y="66"/>
                      <a:pt x="348" y="65"/>
                    </a:cubicBezTo>
                    <a:cubicBezTo>
                      <a:pt x="349" y="63"/>
                      <a:pt x="348" y="62"/>
                      <a:pt x="347" y="61"/>
                    </a:cubicBezTo>
                    <a:cubicBezTo>
                      <a:pt x="347" y="60"/>
                      <a:pt x="347" y="60"/>
                      <a:pt x="346" y="60"/>
                    </a:cubicBezTo>
                    <a:cubicBezTo>
                      <a:pt x="346" y="60"/>
                      <a:pt x="346" y="60"/>
                      <a:pt x="346" y="61"/>
                    </a:cubicBezTo>
                    <a:cubicBezTo>
                      <a:pt x="346" y="61"/>
                      <a:pt x="346" y="61"/>
                      <a:pt x="346" y="62"/>
                    </a:cubicBezTo>
                    <a:cubicBezTo>
                      <a:pt x="347" y="62"/>
                      <a:pt x="347" y="63"/>
                      <a:pt x="347" y="64"/>
                    </a:cubicBezTo>
                    <a:cubicBezTo>
                      <a:pt x="346" y="64"/>
                      <a:pt x="346" y="65"/>
                      <a:pt x="346" y="66"/>
                    </a:cubicBezTo>
                    <a:cubicBezTo>
                      <a:pt x="345" y="66"/>
                      <a:pt x="346" y="65"/>
                      <a:pt x="345" y="65"/>
                    </a:cubicBezTo>
                    <a:cubicBezTo>
                      <a:pt x="344" y="64"/>
                      <a:pt x="344" y="63"/>
                      <a:pt x="343" y="62"/>
                    </a:cubicBezTo>
                    <a:cubicBezTo>
                      <a:pt x="343" y="62"/>
                      <a:pt x="343" y="61"/>
                      <a:pt x="343" y="61"/>
                    </a:cubicBezTo>
                    <a:cubicBezTo>
                      <a:pt x="342" y="61"/>
                      <a:pt x="342" y="61"/>
                      <a:pt x="341" y="61"/>
                    </a:cubicBezTo>
                    <a:cubicBezTo>
                      <a:pt x="340" y="62"/>
                      <a:pt x="337" y="62"/>
                      <a:pt x="337" y="64"/>
                    </a:cubicBezTo>
                    <a:cubicBezTo>
                      <a:pt x="337" y="64"/>
                      <a:pt x="336" y="64"/>
                      <a:pt x="336" y="65"/>
                    </a:cubicBezTo>
                    <a:cubicBezTo>
                      <a:pt x="335" y="65"/>
                      <a:pt x="334" y="66"/>
                      <a:pt x="334" y="67"/>
                    </a:cubicBezTo>
                    <a:cubicBezTo>
                      <a:pt x="334" y="68"/>
                      <a:pt x="334" y="68"/>
                      <a:pt x="333" y="68"/>
                    </a:cubicBezTo>
                    <a:cubicBezTo>
                      <a:pt x="332" y="67"/>
                      <a:pt x="332" y="68"/>
                      <a:pt x="331" y="69"/>
                    </a:cubicBezTo>
                    <a:cubicBezTo>
                      <a:pt x="330" y="70"/>
                      <a:pt x="330" y="71"/>
                      <a:pt x="330" y="72"/>
                    </a:cubicBezTo>
                    <a:cubicBezTo>
                      <a:pt x="330" y="73"/>
                      <a:pt x="329" y="73"/>
                      <a:pt x="329" y="74"/>
                    </a:cubicBezTo>
                    <a:cubicBezTo>
                      <a:pt x="329" y="75"/>
                      <a:pt x="330" y="74"/>
                      <a:pt x="330" y="75"/>
                    </a:cubicBezTo>
                    <a:cubicBezTo>
                      <a:pt x="330" y="75"/>
                      <a:pt x="330" y="75"/>
                      <a:pt x="330" y="75"/>
                    </a:cubicBezTo>
                    <a:cubicBezTo>
                      <a:pt x="330" y="75"/>
                      <a:pt x="330" y="75"/>
                      <a:pt x="330" y="75"/>
                    </a:cubicBezTo>
                    <a:cubicBezTo>
                      <a:pt x="331" y="75"/>
                      <a:pt x="331" y="76"/>
                      <a:pt x="332" y="76"/>
                    </a:cubicBezTo>
                    <a:cubicBezTo>
                      <a:pt x="332" y="76"/>
                      <a:pt x="332" y="76"/>
                      <a:pt x="332" y="76"/>
                    </a:cubicBezTo>
                    <a:cubicBezTo>
                      <a:pt x="332" y="76"/>
                      <a:pt x="332" y="76"/>
                      <a:pt x="332" y="76"/>
                    </a:cubicBezTo>
                    <a:cubicBezTo>
                      <a:pt x="332" y="76"/>
                      <a:pt x="332" y="77"/>
                      <a:pt x="332" y="77"/>
                    </a:cubicBezTo>
                    <a:cubicBezTo>
                      <a:pt x="332" y="77"/>
                      <a:pt x="332" y="77"/>
                      <a:pt x="332" y="77"/>
                    </a:cubicBezTo>
                    <a:cubicBezTo>
                      <a:pt x="333" y="78"/>
                      <a:pt x="332" y="78"/>
                      <a:pt x="333" y="79"/>
                    </a:cubicBezTo>
                    <a:cubicBezTo>
                      <a:pt x="333" y="79"/>
                      <a:pt x="333" y="77"/>
                      <a:pt x="334" y="78"/>
                    </a:cubicBezTo>
                    <a:cubicBezTo>
                      <a:pt x="334" y="78"/>
                      <a:pt x="335" y="78"/>
                      <a:pt x="335" y="78"/>
                    </a:cubicBezTo>
                    <a:cubicBezTo>
                      <a:pt x="335" y="77"/>
                      <a:pt x="335" y="77"/>
                      <a:pt x="335" y="76"/>
                    </a:cubicBezTo>
                    <a:cubicBezTo>
                      <a:pt x="335" y="75"/>
                      <a:pt x="335" y="74"/>
                      <a:pt x="336" y="73"/>
                    </a:cubicBezTo>
                    <a:cubicBezTo>
                      <a:pt x="337" y="73"/>
                      <a:pt x="337" y="73"/>
                      <a:pt x="337" y="73"/>
                    </a:cubicBezTo>
                    <a:cubicBezTo>
                      <a:pt x="337" y="73"/>
                      <a:pt x="337" y="72"/>
                      <a:pt x="337" y="72"/>
                    </a:cubicBezTo>
                    <a:cubicBezTo>
                      <a:pt x="338" y="72"/>
                      <a:pt x="338" y="72"/>
                      <a:pt x="338" y="73"/>
                    </a:cubicBezTo>
                    <a:cubicBezTo>
                      <a:pt x="338" y="73"/>
                      <a:pt x="338" y="73"/>
                      <a:pt x="339" y="73"/>
                    </a:cubicBezTo>
                    <a:cubicBezTo>
                      <a:pt x="339" y="73"/>
                      <a:pt x="339" y="73"/>
                      <a:pt x="339" y="73"/>
                    </a:cubicBezTo>
                    <a:cubicBezTo>
                      <a:pt x="339" y="72"/>
                      <a:pt x="339" y="71"/>
                      <a:pt x="340" y="71"/>
                    </a:cubicBezTo>
                    <a:cubicBezTo>
                      <a:pt x="341" y="71"/>
                      <a:pt x="341" y="72"/>
                      <a:pt x="340" y="72"/>
                    </a:cubicBezTo>
                    <a:cubicBezTo>
                      <a:pt x="340" y="73"/>
                      <a:pt x="341" y="73"/>
                      <a:pt x="342" y="74"/>
                    </a:cubicBezTo>
                    <a:cubicBezTo>
                      <a:pt x="342" y="73"/>
                      <a:pt x="343" y="74"/>
                      <a:pt x="344" y="74"/>
                    </a:cubicBezTo>
                    <a:cubicBezTo>
                      <a:pt x="344" y="74"/>
                      <a:pt x="344" y="75"/>
                      <a:pt x="344" y="75"/>
                    </a:cubicBezTo>
                    <a:cubicBezTo>
                      <a:pt x="342" y="75"/>
                      <a:pt x="342" y="77"/>
                      <a:pt x="340" y="78"/>
                    </a:cubicBezTo>
                    <a:cubicBezTo>
                      <a:pt x="340" y="78"/>
                      <a:pt x="340" y="78"/>
                      <a:pt x="340" y="78"/>
                    </a:cubicBezTo>
                    <a:cubicBezTo>
                      <a:pt x="339" y="79"/>
                      <a:pt x="338" y="80"/>
                      <a:pt x="337" y="81"/>
                    </a:cubicBezTo>
                    <a:cubicBezTo>
                      <a:pt x="336" y="81"/>
                      <a:pt x="336" y="83"/>
                      <a:pt x="337" y="84"/>
                    </a:cubicBezTo>
                    <a:cubicBezTo>
                      <a:pt x="338" y="84"/>
                      <a:pt x="338" y="84"/>
                      <a:pt x="339" y="84"/>
                    </a:cubicBezTo>
                    <a:cubicBezTo>
                      <a:pt x="338" y="85"/>
                      <a:pt x="338" y="84"/>
                      <a:pt x="338" y="85"/>
                    </a:cubicBezTo>
                    <a:cubicBezTo>
                      <a:pt x="338" y="85"/>
                      <a:pt x="339" y="86"/>
                      <a:pt x="339" y="85"/>
                    </a:cubicBezTo>
                    <a:cubicBezTo>
                      <a:pt x="340" y="84"/>
                      <a:pt x="341" y="84"/>
                      <a:pt x="342" y="83"/>
                    </a:cubicBezTo>
                    <a:cubicBezTo>
                      <a:pt x="342" y="83"/>
                      <a:pt x="343" y="83"/>
                      <a:pt x="343" y="83"/>
                    </a:cubicBezTo>
                    <a:cubicBezTo>
                      <a:pt x="343" y="82"/>
                      <a:pt x="344" y="82"/>
                      <a:pt x="345" y="81"/>
                    </a:cubicBezTo>
                    <a:cubicBezTo>
                      <a:pt x="345" y="81"/>
                      <a:pt x="346" y="81"/>
                      <a:pt x="346" y="80"/>
                    </a:cubicBezTo>
                    <a:cubicBezTo>
                      <a:pt x="347" y="79"/>
                      <a:pt x="349" y="77"/>
                      <a:pt x="351" y="77"/>
                    </a:cubicBezTo>
                    <a:cubicBezTo>
                      <a:pt x="352" y="77"/>
                      <a:pt x="353" y="77"/>
                      <a:pt x="353" y="76"/>
                    </a:cubicBezTo>
                    <a:cubicBezTo>
                      <a:pt x="354" y="76"/>
                      <a:pt x="353" y="77"/>
                      <a:pt x="353" y="77"/>
                    </a:cubicBezTo>
                    <a:cubicBezTo>
                      <a:pt x="353" y="77"/>
                      <a:pt x="354" y="78"/>
                      <a:pt x="354" y="78"/>
                    </a:cubicBezTo>
                    <a:cubicBezTo>
                      <a:pt x="355" y="77"/>
                      <a:pt x="356" y="78"/>
                      <a:pt x="358" y="78"/>
                    </a:cubicBezTo>
                    <a:cubicBezTo>
                      <a:pt x="358" y="79"/>
                      <a:pt x="359" y="79"/>
                      <a:pt x="359" y="79"/>
                    </a:cubicBezTo>
                    <a:cubicBezTo>
                      <a:pt x="359" y="79"/>
                      <a:pt x="360" y="80"/>
                      <a:pt x="360" y="80"/>
                    </a:cubicBezTo>
                    <a:cubicBezTo>
                      <a:pt x="359" y="81"/>
                      <a:pt x="359" y="80"/>
                      <a:pt x="358" y="80"/>
                    </a:cubicBezTo>
                    <a:cubicBezTo>
                      <a:pt x="357" y="79"/>
                      <a:pt x="357" y="79"/>
                      <a:pt x="356" y="79"/>
                    </a:cubicBezTo>
                    <a:cubicBezTo>
                      <a:pt x="356" y="79"/>
                      <a:pt x="355" y="79"/>
                      <a:pt x="355" y="79"/>
                    </a:cubicBezTo>
                    <a:cubicBezTo>
                      <a:pt x="355" y="78"/>
                      <a:pt x="355" y="78"/>
                      <a:pt x="354" y="79"/>
                    </a:cubicBezTo>
                    <a:cubicBezTo>
                      <a:pt x="352" y="79"/>
                      <a:pt x="351" y="79"/>
                      <a:pt x="349" y="80"/>
                    </a:cubicBezTo>
                    <a:cubicBezTo>
                      <a:pt x="348" y="81"/>
                      <a:pt x="348" y="81"/>
                      <a:pt x="349" y="81"/>
                    </a:cubicBezTo>
                    <a:cubicBezTo>
                      <a:pt x="349" y="81"/>
                      <a:pt x="350" y="81"/>
                      <a:pt x="349" y="82"/>
                    </a:cubicBezTo>
                    <a:cubicBezTo>
                      <a:pt x="349" y="82"/>
                      <a:pt x="348" y="81"/>
                      <a:pt x="348" y="82"/>
                    </a:cubicBezTo>
                    <a:cubicBezTo>
                      <a:pt x="347" y="83"/>
                      <a:pt x="346" y="83"/>
                      <a:pt x="346" y="84"/>
                    </a:cubicBezTo>
                    <a:cubicBezTo>
                      <a:pt x="345" y="85"/>
                      <a:pt x="344" y="86"/>
                      <a:pt x="343" y="87"/>
                    </a:cubicBezTo>
                    <a:cubicBezTo>
                      <a:pt x="342" y="87"/>
                      <a:pt x="342" y="87"/>
                      <a:pt x="342" y="88"/>
                    </a:cubicBezTo>
                    <a:cubicBezTo>
                      <a:pt x="342" y="88"/>
                      <a:pt x="342" y="89"/>
                      <a:pt x="343" y="89"/>
                    </a:cubicBezTo>
                    <a:cubicBezTo>
                      <a:pt x="343" y="89"/>
                      <a:pt x="344" y="89"/>
                      <a:pt x="345" y="90"/>
                    </a:cubicBezTo>
                    <a:cubicBezTo>
                      <a:pt x="345" y="91"/>
                      <a:pt x="346" y="91"/>
                      <a:pt x="347" y="91"/>
                    </a:cubicBezTo>
                    <a:cubicBezTo>
                      <a:pt x="348" y="91"/>
                      <a:pt x="348" y="91"/>
                      <a:pt x="348" y="91"/>
                    </a:cubicBezTo>
                    <a:cubicBezTo>
                      <a:pt x="348" y="91"/>
                      <a:pt x="349" y="91"/>
                      <a:pt x="348" y="91"/>
                    </a:cubicBezTo>
                    <a:cubicBezTo>
                      <a:pt x="347" y="91"/>
                      <a:pt x="347" y="92"/>
                      <a:pt x="346" y="92"/>
                    </a:cubicBezTo>
                    <a:cubicBezTo>
                      <a:pt x="345" y="93"/>
                      <a:pt x="344" y="93"/>
                      <a:pt x="343" y="91"/>
                    </a:cubicBezTo>
                    <a:cubicBezTo>
                      <a:pt x="343" y="91"/>
                      <a:pt x="342" y="91"/>
                      <a:pt x="342" y="91"/>
                    </a:cubicBezTo>
                    <a:cubicBezTo>
                      <a:pt x="340" y="92"/>
                      <a:pt x="339" y="94"/>
                      <a:pt x="340" y="96"/>
                    </a:cubicBezTo>
                    <a:cubicBezTo>
                      <a:pt x="340" y="96"/>
                      <a:pt x="339" y="97"/>
                      <a:pt x="340" y="97"/>
                    </a:cubicBezTo>
                    <a:cubicBezTo>
                      <a:pt x="340" y="99"/>
                      <a:pt x="341" y="101"/>
                      <a:pt x="342" y="101"/>
                    </a:cubicBezTo>
                    <a:cubicBezTo>
                      <a:pt x="343" y="101"/>
                      <a:pt x="344" y="101"/>
                      <a:pt x="344" y="101"/>
                    </a:cubicBezTo>
                    <a:cubicBezTo>
                      <a:pt x="345" y="101"/>
                      <a:pt x="346" y="101"/>
                      <a:pt x="347" y="101"/>
                    </a:cubicBezTo>
                    <a:cubicBezTo>
                      <a:pt x="348" y="100"/>
                      <a:pt x="349" y="100"/>
                      <a:pt x="350" y="99"/>
                    </a:cubicBezTo>
                    <a:cubicBezTo>
                      <a:pt x="350" y="99"/>
                      <a:pt x="351" y="100"/>
                      <a:pt x="351" y="99"/>
                    </a:cubicBezTo>
                    <a:cubicBezTo>
                      <a:pt x="352" y="99"/>
                      <a:pt x="353" y="99"/>
                      <a:pt x="354" y="98"/>
                    </a:cubicBezTo>
                    <a:cubicBezTo>
                      <a:pt x="354" y="99"/>
                      <a:pt x="355" y="99"/>
                      <a:pt x="355" y="99"/>
                    </a:cubicBezTo>
                    <a:cubicBezTo>
                      <a:pt x="355" y="99"/>
                      <a:pt x="355" y="99"/>
                      <a:pt x="356" y="99"/>
                    </a:cubicBezTo>
                    <a:cubicBezTo>
                      <a:pt x="356" y="99"/>
                      <a:pt x="356" y="99"/>
                      <a:pt x="356" y="99"/>
                    </a:cubicBezTo>
                    <a:cubicBezTo>
                      <a:pt x="356" y="99"/>
                      <a:pt x="356" y="99"/>
                      <a:pt x="356" y="99"/>
                    </a:cubicBezTo>
                    <a:cubicBezTo>
                      <a:pt x="356" y="99"/>
                      <a:pt x="357" y="99"/>
                      <a:pt x="357" y="99"/>
                    </a:cubicBezTo>
                    <a:cubicBezTo>
                      <a:pt x="357" y="99"/>
                      <a:pt x="357" y="99"/>
                      <a:pt x="357" y="99"/>
                    </a:cubicBezTo>
                    <a:cubicBezTo>
                      <a:pt x="357" y="99"/>
                      <a:pt x="357" y="99"/>
                      <a:pt x="357" y="99"/>
                    </a:cubicBezTo>
                    <a:cubicBezTo>
                      <a:pt x="358" y="99"/>
                      <a:pt x="358" y="99"/>
                      <a:pt x="359" y="99"/>
                    </a:cubicBezTo>
                    <a:cubicBezTo>
                      <a:pt x="360" y="98"/>
                      <a:pt x="361" y="98"/>
                      <a:pt x="362" y="97"/>
                    </a:cubicBezTo>
                    <a:cubicBezTo>
                      <a:pt x="363" y="97"/>
                      <a:pt x="364" y="97"/>
                      <a:pt x="364" y="96"/>
                    </a:cubicBezTo>
                    <a:cubicBezTo>
                      <a:pt x="366" y="96"/>
                      <a:pt x="366" y="95"/>
                      <a:pt x="367" y="95"/>
                    </a:cubicBezTo>
                    <a:cubicBezTo>
                      <a:pt x="367" y="94"/>
                      <a:pt x="368" y="93"/>
                      <a:pt x="368" y="92"/>
                    </a:cubicBezTo>
                    <a:cubicBezTo>
                      <a:pt x="369" y="91"/>
                      <a:pt x="371" y="91"/>
                      <a:pt x="372" y="90"/>
                    </a:cubicBezTo>
                    <a:cubicBezTo>
                      <a:pt x="373" y="89"/>
                      <a:pt x="374" y="89"/>
                      <a:pt x="376" y="88"/>
                    </a:cubicBezTo>
                    <a:cubicBezTo>
                      <a:pt x="375" y="89"/>
                      <a:pt x="376" y="89"/>
                      <a:pt x="377" y="89"/>
                    </a:cubicBezTo>
                    <a:cubicBezTo>
                      <a:pt x="375" y="91"/>
                      <a:pt x="374" y="91"/>
                      <a:pt x="372" y="93"/>
                    </a:cubicBezTo>
                    <a:cubicBezTo>
                      <a:pt x="371" y="94"/>
                      <a:pt x="370" y="94"/>
                      <a:pt x="369" y="96"/>
                    </a:cubicBezTo>
                    <a:cubicBezTo>
                      <a:pt x="369" y="96"/>
                      <a:pt x="369" y="96"/>
                      <a:pt x="369" y="97"/>
                    </a:cubicBezTo>
                    <a:cubicBezTo>
                      <a:pt x="369" y="97"/>
                      <a:pt x="369" y="98"/>
                      <a:pt x="369" y="98"/>
                    </a:cubicBezTo>
                    <a:cubicBezTo>
                      <a:pt x="367" y="98"/>
                      <a:pt x="365" y="100"/>
                      <a:pt x="364" y="101"/>
                    </a:cubicBezTo>
                    <a:cubicBezTo>
                      <a:pt x="364" y="101"/>
                      <a:pt x="363" y="101"/>
                      <a:pt x="363" y="101"/>
                    </a:cubicBezTo>
                    <a:cubicBezTo>
                      <a:pt x="362" y="101"/>
                      <a:pt x="361" y="101"/>
                      <a:pt x="361" y="102"/>
                    </a:cubicBezTo>
                    <a:cubicBezTo>
                      <a:pt x="359" y="102"/>
                      <a:pt x="357" y="102"/>
                      <a:pt x="356" y="101"/>
                    </a:cubicBezTo>
                    <a:cubicBezTo>
                      <a:pt x="355" y="101"/>
                      <a:pt x="354" y="101"/>
                      <a:pt x="353" y="101"/>
                    </a:cubicBezTo>
                    <a:cubicBezTo>
                      <a:pt x="353" y="101"/>
                      <a:pt x="353" y="101"/>
                      <a:pt x="353" y="101"/>
                    </a:cubicBezTo>
                    <a:cubicBezTo>
                      <a:pt x="352" y="101"/>
                      <a:pt x="352" y="102"/>
                      <a:pt x="351" y="102"/>
                    </a:cubicBezTo>
                    <a:cubicBezTo>
                      <a:pt x="349" y="102"/>
                      <a:pt x="348" y="103"/>
                      <a:pt x="346" y="104"/>
                    </a:cubicBezTo>
                    <a:cubicBezTo>
                      <a:pt x="345" y="105"/>
                      <a:pt x="345" y="106"/>
                      <a:pt x="346" y="107"/>
                    </a:cubicBezTo>
                    <a:cubicBezTo>
                      <a:pt x="346" y="108"/>
                      <a:pt x="347" y="109"/>
                      <a:pt x="348" y="109"/>
                    </a:cubicBezTo>
                    <a:cubicBezTo>
                      <a:pt x="349" y="110"/>
                      <a:pt x="350" y="111"/>
                      <a:pt x="351" y="112"/>
                    </a:cubicBezTo>
                    <a:cubicBezTo>
                      <a:pt x="352" y="113"/>
                      <a:pt x="352" y="115"/>
                      <a:pt x="354" y="115"/>
                    </a:cubicBezTo>
                    <a:cubicBezTo>
                      <a:pt x="355" y="115"/>
                      <a:pt x="355" y="115"/>
                      <a:pt x="355" y="115"/>
                    </a:cubicBezTo>
                    <a:cubicBezTo>
                      <a:pt x="355" y="115"/>
                      <a:pt x="356" y="116"/>
                      <a:pt x="356" y="116"/>
                    </a:cubicBezTo>
                    <a:cubicBezTo>
                      <a:pt x="356" y="116"/>
                      <a:pt x="356" y="116"/>
                      <a:pt x="357" y="116"/>
                    </a:cubicBezTo>
                    <a:cubicBezTo>
                      <a:pt x="357" y="117"/>
                      <a:pt x="359" y="117"/>
                      <a:pt x="360" y="117"/>
                    </a:cubicBezTo>
                    <a:cubicBezTo>
                      <a:pt x="361" y="116"/>
                      <a:pt x="361" y="114"/>
                      <a:pt x="361" y="113"/>
                    </a:cubicBezTo>
                    <a:cubicBezTo>
                      <a:pt x="361" y="112"/>
                      <a:pt x="362" y="112"/>
                      <a:pt x="362" y="111"/>
                    </a:cubicBezTo>
                    <a:cubicBezTo>
                      <a:pt x="363" y="111"/>
                      <a:pt x="363" y="110"/>
                      <a:pt x="363" y="109"/>
                    </a:cubicBezTo>
                    <a:cubicBezTo>
                      <a:pt x="364" y="109"/>
                      <a:pt x="364" y="109"/>
                      <a:pt x="364" y="108"/>
                    </a:cubicBezTo>
                    <a:cubicBezTo>
                      <a:pt x="365" y="107"/>
                      <a:pt x="365" y="107"/>
                      <a:pt x="365" y="106"/>
                    </a:cubicBezTo>
                    <a:cubicBezTo>
                      <a:pt x="365" y="106"/>
                      <a:pt x="365" y="106"/>
                      <a:pt x="365" y="106"/>
                    </a:cubicBezTo>
                    <a:cubicBezTo>
                      <a:pt x="367" y="104"/>
                      <a:pt x="368" y="101"/>
                      <a:pt x="370" y="100"/>
                    </a:cubicBezTo>
                    <a:cubicBezTo>
                      <a:pt x="370" y="100"/>
                      <a:pt x="371" y="99"/>
                      <a:pt x="371" y="99"/>
                    </a:cubicBezTo>
                    <a:cubicBezTo>
                      <a:pt x="372" y="99"/>
                      <a:pt x="372" y="99"/>
                      <a:pt x="372" y="99"/>
                    </a:cubicBezTo>
                    <a:cubicBezTo>
                      <a:pt x="373" y="100"/>
                      <a:pt x="374" y="99"/>
                      <a:pt x="376" y="99"/>
                    </a:cubicBezTo>
                    <a:cubicBezTo>
                      <a:pt x="376" y="99"/>
                      <a:pt x="376" y="98"/>
                      <a:pt x="377" y="98"/>
                    </a:cubicBezTo>
                    <a:cubicBezTo>
                      <a:pt x="378" y="98"/>
                      <a:pt x="379" y="97"/>
                      <a:pt x="380" y="98"/>
                    </a:cubicBezTo>
                    <a:cubicBezTo>
                      <a:pt x="380" y="98"/>
                      <a:pt x="380" y="98"/>
                      <a:pt x="381" y="98"/>
                    </a:cubicBezTo>
                    <a:cubicBezTo>
                      <a:pt x="381" y="97"/>
                      <a:pt x="381" y="97"/>
                      <a:pt x="382" y="97"/>
                    </a:cubicBezTo>
                    <a:cubicBezTo>
                      <a:pt x="383" y="97"/>
                      <a:pt x="384" y="97"/>
                      <a:pt x="385" y="96"/>
                    </a:cubicBezTo>
                    <a:cubicBezTo>
                      <a:pt x="386" y="96"/>
                      <a:pt x="387" y="96"/>
                      <a:pt x="387" y="96"/>
                    </a:cubicBezTo>
                    <a:cubicBezTo>
                      <a:pt x="388" y="95"/>
                      <a:pt x="389" y="94"/>
                      <a:pt x="391" y="94"/>
                    </a:cubicBezTo>
                    <a:cubicBezTo>
                      <a:pt x="392" y="94"/>
                      <a:pt x="392" y="94"/>
                      <a:pt x="392" y="94"/>
                    </a:cubicBezTo>
                    <a:cubicBezTo>
                      <a:pt x="393" y="94"/>
                      <a:pt x="392" y="95"/>
                      <a:pt x="392" y="95"/>
                    </a:cubicBezTo>
                    <a:cubicBezTo>
                      <a:pt x="392" y="95"/>
                      <a:pt x="392" y="95"/>
                      <a:pt x="392" y="96"/>
                    </a:cubicBezTo>
                    <a:cubicBezTo>
                      <a:pt x="391" y="95"/>
                      <a:pt x="390" y="95"/>
                      <a:pt x="390" y="96"/>
                    </a:cubicBezTo>
                    <a:cubicBezTo>
                      <a:pt x="390" y="96"/>
                      <a:pt x="389" y="96"/>
                      <a:pt x="389" y="96"/>
                    </a:cubicBezTo>
                    <a:cubicBezTo>
                      <a:pt x="387" y="96"/>
                      <a:pt x="386" y="97"/>
                      <a:pt x="385" y="98"/>
                    </a:cubicBezTo>
                    <a:cubicBezTo>
                      <a:pt x="383" y="99"/>
                      <a:pt x="380" y="99"/>
                      <a:pt x="378" y="100"/>
                    </a:cubicBezTo>
                    <a:cubicBezTo>
                      <a:pt x="377" y="100"/>
                      <a:pt x="376" y="101"/>
                      <a:pt x="375" y="100"/>
                    </a:cubicBezTo>
                    <a:cubicBezTo>
                      <a:pt x="375" y="100"/>
                      <a:pt x="375" y="100"/>
                      <a:pt x="375" y="100"/>
                    </a:cubicBezTo>
                    <a:cubicBezTo>
                      <a:pt x="374" y="101"/>
                      <a:pt x="374" y="101"/>
                      <a:pt x="373" y="101"/>
                    </a:cubicBezTo>
                    <a:cubicBezTo>
                      <a:pt x="371" y="102"/>
                      <a:pt x="370" y="103"/>
                      <a:pt x="369" y="104"/>
                    </a:cubicBezTo>
                    <a:cubicBezTo>
                      <a:pt x="368" y="106"/>
                      <a:pt x="367" y="109"/>
                      <a:pt x="366" y="111"/>
                    </a:cubicBezTo>
                    <a:cubicBezTo>
                      <a:pt x="365" y="112"/>
                      <a:pt x="364" y="114"/>
                      <a:pt x="364" y="116"/>
                    </a:cubicBezTo>
                    <a:cubicBezTo>
                      <a:pt x="364" y="116"/>
                      <a:pt x="363" y="117"/>
                      <a:pt x="363" y="118"/>
                    </a:cubicBezTo>
                    <a:cubicBezTo>
                      <a:pt x="363" y="118"/>
                      <a:pt x="363" y="118"/>
                      <a:pt x="364" y="119"/>
                    </a:cubicBezTo>
                    <a:cubicBezTo>
                      <a:pt x="365" y="119"/>
                      <a:pt x="366" y="120"/>
                      <a:pt x="367" y="120"/>
                    </a:cubicBezTo>
                    <a:cubicBezTo>
                      <a:pt x="368" y="121"/>
                      <a:pt x="369" y="121"/>
                      <a:pt x="369" y="119"/>
                    </a:cubicBezTo>
                    <a:cubicBezTo>
                      <a:pt x="369" y="118"/>
                      <a:pt x="370" y="118"/>
                      <a:pt x="371" y="117"/>
                    </a:cubicBezTo>
                    <a:cubicBezTo>
                      <a:pt x="370" y="118"/>
                      <a:pt x="370" y="119"/>
                      <a:pt x="370" y="119"/>
                    </a:cubicBezTo>
                    <a:cubicBezTo>
                      <a:pt x="369" y="120"/>
                      <a:pt x="369" y="120"/>
                      <a:pt x="369" y="121"/>
                    </a:cubicBezTo>
                    <a:cubicBezTo>
                      <a:pt x="369" y="121"/>
                      <a:pt x="370" y="121"/>
                      <a:pt x="370" y="121"/>
                    </a:cubicBezTo>
                    <a:cubicBezTo>
                      <a:pt x="371" y="121"/>
                      <a:pt x="372" y="121"/>
                      <a:pt x="372" y="121"/>
                    </a:cubicBezTo>
                    <a:cubicBezTo>
                      <a:pt x="374" y="122"/>
                      <a:pt x="375" y="121"/>
                      <a:pt x="377" y="121"/>
                    </a:cubicBezTo>
                    <a:cubicBezTo>
                      <a:pt x="378" y="122"/>
                      <a:pt x="380" y="122"/>
                      <a:pt x="381" y="121"/>
                    </a:cubicBezTo>
                    <a:cubicBezTo>
                      <a:pt x="381" y="121"/>
                      <a:pt x="381" y="121"/>
                      <a:pt x="381" y="121"/>
                    </a:cubicBezTo>
                    <a:cubicBezTo>
                      <a:pt x="383" y="121"/>
                      <a:pt x="382" y="120"/>
                      <a:pt x="383" y="119"/>
                    </a:cubicBezTo>
                    <a:cubicBezTo>
                      <a:pt x="383" y="118"/>
                      <a:pt x="384" y="117"/>
                      <a:pt x="383" y="116"/>
                    </a:cubicBezTo>
                    <a:cubicBezTo>
                      <a:pt x="383" y="115"/>
                      <a:pt x="383" y="115"/>
                      <a:pt x="383" y="114"/>
                    </a:cubicBezTo>
                    <a:cubicBezTo>
                      <a:pt x="383" y="113"/>
                      <a:pt x="383" y="112"/>
                      <a:pt x="384" y="112"/>
                    </a:cubicBezTo>
                    <a:cubicBezTo>
                      <a:pt x="385" y="111"/>
                      <a:pt x="386" y="110"/>
                      <a:pt x="386" y="108"/>
                    </a:cubicBezTo>
                    <a:cubicBezTo>
                      <a:pt x="388" y="109"/>
                      <a:pt x="387" y="110"/>
                      <a:pt x="387" y="111"/>
                    </a:cubicBezTo>
                    <a:cubicBezTo>
                      <a:pt x="386" y="111"/>
                      <a:pt x="386" y="112"/>
                      <a:pt x="385" y="112"/>
                    </a:cubicBezTo>
                    <a:cubicBezTo>
                      <a:pt x="385" y="112"/>
                      <a:pt x="384" y="113"/>
                      <a:pt x="385" y="114"/>
                    </a:cubicBezTo>
                    <a:cubicBezTo>
                      <a:pt x="385" y="114"/>
                      <a:pt x="385" y="115"/>
                      <a:pt x="386" y="114"/>
                    </a:cubicBezTo>
                    <a:cubicBezTo>
                      <a:pt x="388" y="114"/>
                      <a:pt x="389" y="113"/>
                      <a:pt x="390" y="113"/>
                    </a:cubicBezTo>
                    <a:cubicBezTo>
                      <a:pt x="391" y="112"/>
                      <a:pt x="391" y="112"/>
                      <a:pt x="391" y="111"/>
                    </a:cubicBezTo>
                    <a:cubicBezTo>
                      <a:pt x="391" y="111"/>
                      <a:pt x="392" y="111"/>
                      <a:pt x="392" y="111"/>
                    </a:cubicBezTo>
                    <a:cubicBezTo>
                      <a:pt x="393" y="111"/>
                      <a:pt x="394" y="109"/>
                      <a:pt x="395" y="109"/>
                    </a:cubicBezTo>
                    <a:cubicBezTo>
                      <a:pt x="396" y="109"/>
                      <a:pt x="396" y="110"/>
                      <a:pt x="396" y="111"/>
                    </a:cubicBezTo>
                    <a:cubicBezTo>
                      <a:pt x="395" y="111"/>
                      <a:pt x="395" y="111"/>
                      <a:pt x="395" y="112"/>
                    </a:cubicBezTo>
                    <a:cubicBezTo>
                      <a:pt x="395" y="112"/>
                      <a:pt x="395" y="112"/>
                      <a:pt x="395" y="112"/>
                    </a:cubicBezTo>
                    <a:cubicBezTo>
                      <a:pt x="393" y="113"/>
                      <a:pt x="392" y="114"/>
                      <a:pt x="390" y="114"/>
                    </a:cubicBezTo>
                    <a:cubicBezTo>
                      <a:pt x="389" y="115"/>
                      <a:pt x="388" y="116"/>
                      <a:pt x="387" y="117"/>
                    </a:cubicBezTo>
                    <a:cubicBezTo>
                      <a:pt x="386" y="121"/>
                      <a:pt x="387" y="121"/>
                      <a:pt x="390" y="120"/>
                    </a:cubicBezTo>
                    <a:cubicBezTo>
                      <a:pt x="390" y="120"/>
                      <a:pt x="390" y="120"/>
                      <a:pt x="391" y="120"/>
                    </a:cubicBezTo>
                    <a:cubicBezTo>
                      <a:pt x="391" y="120"/>
                      <a:pt x="391" y="120"/>
                      <a:pt x="391" y="120"/>
                    </a:cubicBezTo>
                    <a:cubicBezTo>
                      <a:pt x="391" y="120"/>
                      <a:pt x="392" y="120"/>
                      <a:pt x="393" y="120"/>
                    </a:cubicBezTo>
                    <a:cubicBezTo>
                      <a:pt x="396" y="119"/>
                      <a:pt x="399" y="118"/>
                      <a:pt x="402" y="116"/>
                    </a:cubicBezTo>
                    <a:cubicBezTo>
                      <a:pt x="403" y="115"/>
                      <a:pt x="404" y="115"/>
                      <a:pt x="404" y="114"/>
                    </a:cubicBezTo>
                    <a:cubicBezTo>
                      <a:pt x="407" y="113"/>
                      <a:pt x="409" y="111"/>
                      <a:pt x="410" y="109"/>
                    </a:cubicBezTo>
                    <a:cubicBezTo>
                      <a:pt x="411" y="108"/>
                      <a:pt x="412" y="107"/>
                      <a:pt x="412" y="106"/>
                    </a:cubicBezTo>
                    <a:cubicBezTo>
                      <a:pt x="412" y="106"/>
                      <a:pt x="412" y="105"/>
                      <a:pt x="412" y="105"/>
                    </a:cubicBezTo>
                    <a:cubicBezTo>
                      <a:pt x="413" y="105"/>
                      <a:pt x="414" y="103"/>
                      <a:pt x="414" y="103"/>
                    </a:cubicBezTo>
                    <a:cubicBezTo>
                      <a:pt x="413" y="102"/>
                      <a:pt x="413" y="102"/>
                      <a:pt x="413" y="102"/>
                    </a:cubicBezTo>
                    <a:cubicBezTo>
                      <a:pt x="413" y="102"/>
                      <a:pt x="412" y="102"/>
                      <a:pt x="412" y="102"/>
                    </a:cubicBezTo>
                    <a:cubicBezTo>
                      <a:pt x="412" y="102"/>
                      <a:pt x="412" y="101"/>
                      <a:pt x="413" y="101"/>
                    </a:cubicBezTo>
                    <a:cubicBezTo>
                      <a:pt x="413" y="100"/>
                      <a:pt x="414" y="99"/>
                      <a:pt x="414" y="98"/>
                    </a:cubicBezTo>
                    <a:cubicBezTo>
                      <a:pt x="414" y="98"/>
                      <a:pt x="414" y="97"/>
                      <a:pt x="413" y="96"/>
                    </a:cubicBezTo>
                    <a:cubicBezTo>
                      <a:pt x="413" y="96"/>
                      <a:pt x="412" y="95"/>
                      <a:pt x="412" y="94"/>
                    </a:cubicBezTo>
                    <a:cubicBezTo>
                      <a:pt x="412" y="93"/>
                      <a:pt x="412" y="94"/>
                      <a:pt x="413" y="94"/>
                    </a:cubicBezTo>
                    <a:cubicBezTo>
                      <a:pt x="413" y="94"/>
                      <a:pt x="413" y="94"/>
                      <a:pt x="413" y="94"/>
                    </a:cubicBezTo>
                    <a:cubicBezTo>
                      <a:pt x="413" y="95"/>
                      <a:pt x="413" y="95"/>
                      <a:pt x="414" y="96"/>
                    </a:cubicBezTo>
                    <a:cubicBezTo>
                      <a:pt x="414" y="96"/>
                      <a:pt x="414" y="97"/>
                      <a:pt x="415" y="97"/>
                    </a:cubicBezTo>
                    <a:cubicBezTo>
                      <a:pt x="416" y="98"/>
                      <a:pt x="417" y="97"/>
                      <a:pt x="417" y="97"/>
                    </a:cubicBezTo>
                    <a:cubicBezTo>
                      <a:pt x="418" y="96"/>
                      <a:pt x="417" y="96"/>
                      <a:pt x="417" y="96"/>
                    </a:cubicBezTo>
                    <a:cubicBezTo>
                      <a:pt x="417" y="96"/>
                      <a:pt x="417" y="96"/>
                      <a:pt x="417" y="95"/>
                    </a:cubicBezTo>
                    <a:cubicBezTo>
                      <a:pt x="417" y="95"/>
                      <a:pt x="417" y="94"/>
                      <a:pt x="418" y="93"/>
                    </a:cubicBezTo>
                    <a:cubicBezTo>
                      <a:pt x="418" y="93"/>
                      <a:pt x="418" y="93"/>
                      <a:pt x="418" y="93"/>
                    </a:cubicBezTo>
                    <a:cubicBezTo>
                      <a:pt x="419" y="92"/>
                      <a:pt x="420" y="91"/>
                      <a:pt x="420" y="89"/>
                    </a:cubicBezTo>
                    <a:cubicBezTo>
                      <a:pt x="420" y="89"/>
                      <a:pt x="421" y="89"/>
                      <a:pt x="421" y="88"/>
                    </a:cubicBezTo>
                    <a:cubicBezTo>
                      <a:pt x="423" y="87"/>
                      <a:pt x="425" y="86"/>
                      <a:pt x="426" y="85"/>
                    </a:cubicBezTo>
                    <a:cubicBezTo>
                      <a:pt x="427" y="84"/>
                      <a:pt x="427" y="83"/>
                      <a:pt x="428" y="83"/>
                    </a:cubicBezTo>
                    <a:cubicBezTo>
                      <a:pt x="429" y="83"/>
                      <a:pt x="429" y="82"/>
                      <a:pt x="429" y="83"/>
                    </a:cubicBezTo>
                    <a:cubicBezTo>
                      <a:pt x="430" y="83"/>
                      <a:pt x="429" y="83"/>
                      <a:pt x="429" y="84"/>
                    </a:cubicBezTo>
                    <a:cubicBezTo>
                      <a:pt x="429" y="84"/>
                      <a:pt x="429" y="84"/>
                      <a:pt x="429" y="85"/>
                    </a:cubicBezTo>
                    <a:cubicBezTo>
                      <a:pt x="428" y="86"/>
                      <a:pt x="426" y="87"/>
                      <a:pt x="425" y="88"/>
                    </a:cubicBezTo>
                    <a:cubicBezTo>
                      <a:pt x="424" y="88"/>
                      <a:pt x="424" y="88"/>
                      <a:pt x="424" y="88"/>
                    </a:cubicBezTo>
                    <a:cubicBezTo>
                      <a:pt x="424" y="89"/>
                      <a:pt x="424" y="89"/>
                      <a:pt x="423" y="89"/>
                    </a:cubicBezTo>
                    <a:cubicBezTo>
                      <a:pt x="422" y="90"/>
                      <a:pt x="421" y="92"/>
                      <a:pt x="421" y="93"/>
                    </a:cubicBezTo>
                    <a:cubicBezTo>
                      <a:pt x="421" y="93"/>
                      <a:pt x="421" y="93"/>
                      <a:pt x="421" y="93"/>
                    </a:cubicBezTo>
                    <a:cubicBezTo>
                      <a:pt x="420" y="94"/>
                      <a:pt x="420" y="94"/>
                      <a:pt x="420" y="94"/>
                    </a:cubicBezTo>
                    <a:cubicBezTo>
                      <a:pt x="419" y="95"/>
                      <a:pt x="419" y="95"/>
                      <a:pt x="419" y="96"/>
                    </a:cubicBezTo>
                    <a:cubicBezTo>
                      <a:pt x="419" y="96"/>
                      <a:pt x="419" y="97"/>
                      <a:pt x="419" y="97"/>
                    </a:cubicBezTo>
                    <a:cubicBezTo>
                      <a:pt x="418" y="99"/>
                      <a:pt x="417" y="101"/>
                      <a:pt x="415" y="102"/>
                    </a:cubicBezTo>
                    <a:cubicBezTo>
                      <a:pt x="415" y="103"/>
                      <a:pt x="415" y="103"/>
                      <a:pt x="415" y="103"/>
                    </a:cubicBezTo>
                    <a:cubicBezTo>
                      <a:pt x="416" y="105"/>
                      <a:pt x="416" y="106"/>
                      <a:pt x="415" y="107"/>
                    </a:cubicBezTo>
                    <a:cubicBezTo>
                      <a:pt x="415" y="107"/>
                      <a:pt x="415" y="107"/>
                      <a:pt x="415" y="108"/>
                    </a:cubicBezTo>
                    <a:cubicBezTo>
                      <a:pt x="415" y="108"/>
                      <a:pt x="416" y="108"/>
                      <a:pt x="416" y="108"/>
                    </a:cubicBezTo>
                    <a:cubicBezTo>
                      <a:pt x="417" y="107"/>
                      <a:pt x="419" y="107"/>
                      <a:pt x="420" y="106"/>
                    </a:cubicBezTo>
                    <a:cubicBezTo>
                      <a:pt x="421" y="106"/>
                      <a:pt x="422" y="106"/>
                      <a:pt x="423" y="106"/>
                    </a:cubicBezTo>
                    <a:cubicBezTo>
                      <a:pt x="424" y="106"/>
                      <a:pt x="425" y="106"/>
                      <a:pt x="426" y="106"/>
                    </a:cubicBezTo>
                    <a:cubicBezTo>
                      <a:pt x="426" y="106"/>
                      <a:pt x="426" y="106"/>
                      <a:pt x="427" y="106"/>
                    </a:cubicBezTo>
                    <a:cubicBezTo>
                      <a:pt x="428" y="107"/>
                      <a:pt x="430" y="107"/>
                      <a:pt x="431" y="106"/>
                    </a:cubicBezTo>
                    <a:cubicBezTo>
                      <a:pt x="431" y="107"/>
                      <a:pt x="432" y="108"/>
                      <a:pt x="431" y="108"/>
                    </a:cubicBezTo>
                    <a:cubicBezTo>
                      <a:pt x="430" y="109"/>
                      <a:pt x="429" y="108"/>
                      <a:pt x="428" y="109"/>
                    </a:cubicBezTo>
                    <a:cubicBezTo>
                      <a:pt x="428" y="109"/>
                      <a:pt x="428" y="109"/>
                      <a:pt x="428" y="109"/>
                    </a:cubicBezTo>
                    <a:cubicBezTo>
                      <a:pt x="427" y="109"/>
                      <a:pt x="426" y="109"/>
                      <a:pt x="425" y="109"/>
                    </a:cubicBezTo>
                    <a:cubicBezTo>
                      <a:pt x="425" y="109"/>
                      <a:pt x="425" y="109"/>
                      <a:pt x="425" y="109"/>
                    </a:cubicBezTo>
                    <a:cubicBezTo>
                      <a:pt x="424" y="109"/>
                      <a:pt x="423" y="109"/>
                      <a:pt x="422" y="109"/>
                    </a:cubicBezTo>
                    <a:cubicBezTo>
                      <a:pt x="420" y="110"/>
                      <a:pt x="418" y="111"/>
                      <a:pt x="417" y="112"/>
                    </a:cubicBezTo>
                    <a:cubicBezTo>
                      <a:pt x="416" y="112"/>
                      <a:pt x="416" y="112"/>
                      <a:pt x="416" y="112"/>
                    </a:cubicBezTo>
                    <a:cubicBezTo>
                      <a:pt x="413" y="114"/>
                      <a:pt x="411" y="116"/>
                      <a:pt x="408" y="118"/>
                    </a:cubicBezTo>
                    <a:cubicBezTo>
                      <a:pt x="408" y="118"/>
                      <a:pt x="409" y="118"/>
                      <a:pt x="409" y="118"/>
                    </a:cubicBezTo>
                    <a:cubicBezTo>
                      <a:pt x="410" y="118"/>
                      <a:pt x="410" y="119"/>
                      <a:pt x="411" y="118"/>
                    </a:cubicBezTo>
                    <a:cubicBezTo>
                      <a:pt x="413" y="118"/>
                      <a:pt x="415" y="118"/>
                      <a:pt x="417" y="118"/>
                    </a:cubicBezTo>
                    <a:cubicBezTo>
                      <a:pt x="418" y="118"/>
                      <a:pt x="419" y="119"/>
                      <a:pt x="419" y="118"/>
                    </a:cubicBezTo>
                    <a:cubicBezTo>
                      <a:pt x="420" y="119"/>
                      <a:pt x="421" y="119"/>
                      <a:pt x="421" y="119"/>
                    </a:cubicBezTo>
                    <a:cubicBezTo>
                      <a:pt x="421" y="119"/>
                      <a:pt x="421" y="120"/>
                      <a:pt x="420" y="120"/>
                    </a:cubicBezTo>
                    <a:cubicBezTo>
                      <a:pt x="419" y="119"/>
                      <a:pt x="418" y="120"/>
                      <a:pt x="416" y="120"/>
                    </a:cubicBezTo>
                    <a:cubicBezTo>
                      <a:pt x="413" y="120"/>
                      <a:pt x="410" y="121"/>
                      <a:pt x="407" y="121"/>
                    </a:cubicBezTo>
                    <a:cubicBezTo>
                      <a:pt x="407" y="121"/>
                      <a:pt x="405" y="121"/>
                      <a:pt x="406" y="123"/>
                    </a:cubicBezTo>
                    <a:cubicBezTo>
                      <a:pt x="406" y="123"/>
                      <a:pt x="406" y="124"/>
                      <a:pt x="405" y="124"/>
                    </a:cubicBezTo>
                    <a:cubicBezTo>
                      <a:pt x="403" y="124"/>
                      <a:pt x="401" y="124"/>
                      <a:pt x="399" y="125"/>
                    </a:cubicBezTo>
                    <a:cubicBezTo>
                      <a:pt x="398" y="125"/>
                      <a:pt x="397" y="126"/>
                      <a:pt x="396" y="126"/>
                    </a:cubicBezTo>
                    <a:cubicBezTo>
                      <a:pt x="396" y="127"/>
                      <a:pt x="395" y="127"/>
                      <a:pt x="395" y="127"/>
                    </a:cubicBezTo>
                    <a:cubicBezTo>
                      <a:pt x="394" y="126"/>
                      <a:pt x="394" y="126"/>
                      <a:pt x="393" y="127"/>
                    </a:cubicBezTo>
                    <a:cubicBezTo>
                      <a:pt x="393" y="127"/>
                      <a:pt x="392" y="128"/>
                      <a:pt x="391" y="128"/>
                    </a:cubicBezTo>
                    <a:cubicBezTo>
                      <a:pt x="390" y="128"/>
                      <a:pt x="389" y="128"/>
                      <a:pt x="388" y="128"/>
                    </a:cubicBezTo>
                    <a:cubicBezTo>
                      <a:pt x="387" y="129"/>
                      <a:pt x="387" y="129"/>
                      <a:pt x="387" y="129"/>
                    </a:cubicBezTo>
                    <a:cubicBezTo>
                      <a:pt x="387" y="130"/>
                      <a:pt x="387" y="130"/>
                      <a:pt x="387" y="131"/>
                    </a:cubicBezTo>
                    <a:cubicBezTo>
                      <a:pt x="388" y="131"/>
                      <a:pt x="388" y="131"/>
                      <a:pt x="388" y="132"/>
                    </a:cubicBezTo>
                    <a:cubicBezTo>
                      <a:pt x="389" y="135"/>
                      <a:pt x="391" y="137"/>
                      <a:pt x="393" y="140"/>
                    </a:cubicBezTo>
                    <a:cubicBezTo>
                      <a:pt x="394" y="141"/>
                      <a:pt x="394" y="143"/>
                      <a:pt x="396" y="143"/>
                    </a:cubicBezTo>
                    <a:cubicBezTo>
                      <a:pt x="397" y="144"/>
                      <a:pt x="398" y="144"/>
                      <a:pt x="399" y="144"/>
                    </a:cubicBezTo>
                    <a:cubicBezTo>
                      <a:pt x="399" y="145"/>
                      <a:pt x="398" y="145"/>
                      <a:pt x="398" y="145"/>
                    </a:cubicBezTo>
                    <a:cubicBezTo>
                      <a:pt x="397" y="145"/>
                      <a:pt x="397" y="146"/>
                      <a:pt x="397" y="146"/>
                    </a:cubicBezTo>
                    <a:cubicBezTo>
                      <a:pt x="397" y="147"/>
                      <a:pt x="397" y="148"/>
                      <a:pt x="398" y="149"/>
                    </a:cubicBezTo>
                    <a:cubicBezTo>
                      <a:pt x="398" y="149"/>
                      <a:pt x="398" y="150"/>
                      <a:pt x="397" y="150"/>
                    </a:cubicBezTo>
                    <a:cubicBezTo>
                      <a:pt x="397" y="151"/>
                      <a:pt x="398" y="152"/>
                      <a:pt x="398" y="153"/>
                    </a:cubicBezTo>
                    <a:cubicBezTo>
                      <a:pt x="398" y="153"/>
                      <a:pt x="398" y="153"/>
                      <a:pt x="399" y="153"/>
                    </a:cubicBezTo>
                    <a:cubicBezTo>
                      <a:pt x="400" y="153"/>
                      <a:pt x="400" y="154"/>
                      <a:pt x="401" y="154"/>
                    </a:cubicBezTo>
                    <a:cubicBezTo>
                      <a:pt x="401" y="154"/>
                      <a:pt x="401" y="154"/>
                      <a:pt x="401" y="154"/>
                    </a:cubicBezTo>
                    <a:cubicBezTo>
                      <a:pt x="401" y="154"/>
                      <a:pt x="401" y="154"/>
                      <a:pt x="401" y="154"/>
                    </a:cubicBezTo>
                    <a:cubicBezTo>
                      <a:pt x="401" y="154"/>
                      <a:pt x="401" y="154"/>
                      <a:pt x="401" y="154"/>
                    </a:cubicBezTo>
                    <a:cubicBezTo>
                      <a:pt x="401" y="155"/>
                      <a:pt x="402" y="155"/>
                      <a:pt x="402" y="156"/>
                    </a:cubicBezTo>
                    <a:cubicBezTo>
                      <a:pt x="403" y="156"/>
                      <a:pt x="403" y="156"/>
                      <a:pt x="404" y="156"/>
                    </a:cubicBezTo>
                    <a:cubicBezTo>
                      <a:pt x="405" y="155"/>
                      <a:pt x="407" y="154"/>
                      <a:pt x="409" y="154"/>
                    </a:cubicBezTo>
                    <a:cubicBezTo>
                      <a:pt x="409" y="153"/>
                      <a:pt x="410" y="153"/>
                      <a:pt x="410" y="154"/>
                    </a:cubicBezTo>
                    <a:cubicBezTo>
                      <a:pt x="409" y="155"/>
                      <a:pt x="408" y="156"/>
                      <a:pt x="407" y="156"/>
                    </a:cubicBezTo>
                    <a:cubicBezTo>
                      <a:pt x="405" y="156"/>
                      <a:pt x="404" y="157"/>
                      <a:pt x="404" y="159"/>
                    </a:cubicBezTo>
                    <a:cubicBezTo>
                      <a:pt x="402" y="158"/>
                      <a:pt x="401" y="156"/>
                      <a:pt x="399" y="156"/>
                    </a:cubicBezTo>
                    <a:cubicBezTo>
                      <a:pt x="398" y="156"/>
                      <a:pt x="398" y="156"/>
                      <a:pt x="398" y="157"/>
                    </a:cubicBezTo>
                    <a:cubicBezTo>
                      <a:pt x="398" y="157"/>
                      <a:pt x="398" y="158"/>
                      <a:pt x="397" y="158"/>
                    </a:cubicBezTo>
                    <a:cubicBezTo>
                      <a:pt x="397" y="158"/>
                      <a:pt x="397" y="158"/>
                      <a:pt x="397" y="158"/>
                    </a:cubicBezTo>
                    <a:cubicBezTo>
                      <a:pt x="396" y="158"/>
                      <a:pt x="396" y="157"/>
                      <a:pt x="396" y="157"/>
                    </a:cubicBezTo>
                    <a:cubicBezTo>
                      <a:pt x="396" y="156"/>
                      <a:pt x="397" y="157"/>
                      <a:pt x="397" y="157"/>
                    </a:cubicBezTo>
                    <a:cubicBezTo>
                      <a:pt x="397" y="157"/>
                      <a:pt x="397" y="157"/>
                      <a:pt x="397" y="157"/>
                    </a:cubicBezTo>
                    <a:cubicBezTo>
                      <a:pt x="397" y="156"/>
                      <a:pt x="397" y="155"/>
                      <a:pt x="397" y="155"/>
                    </a:cubicBezTo>
                    <a:cubicBezTo>
                      <a:pt x="397" y="155"/>
                      <a:pt x="397" y="154"/>
                      <a:pt x="397" y="154"/>
                    </a:cubicBezTo>
                    <a:cubicBezTo>
                      <a:pt x="395" y="154"/>
                      <a:pt x="395" y="153"/>
                      <a:pt x="395" y="151"/>
                    </a:cubicBezTo>
                    <a:cubicBezTo>
                      <a:pt x="395" y="151"/>
                      <a:pt x="394" y="150"/>
                      <a:pt x="394" y="149"/>
                    </a:cubicBezTo>
                    <a:cubicBezTo>
                      <a:pt x="394" y="148"/>
                      <a:pt x="393" y="146"/>
                      <a:pt x="392" y="146"/>
                    </a:cubicBezTo>
                    <a:cubicBezTo>
                      <a:pt x="391" y="145"/>
                      <a:pt x="390" y="144"/>
                      <a:pt x="390" y="143"/>
                    </a:cubicBezTo>
                    <a:cubicBezTo>
                      <a:pt x="390" y="141"/>
                      <a:pt x="388" y="140"/>
                      <a:pt x="387" y="138"/>
                    </a:cubicBezTo>
                    <a:cubicBezTo>
                      <a:pt x="386" y="138"/>
                      <a:pt x="386" y="136"/>
                      <a:pt x="385" y="135"/>
                    </a:cubicBezTo>
                    <a:cubicBezTo>
                      <a:pt x="384" y="134"/>
                      <a:pt x="383" y="132"/>
                      <a:pt x="381" y="132"/>
                    </a:cubicBezTo>
                    <a:cubicBezTo>
                      <a:pt x="379" y="131"/>
                      <a:pt x="377" y="131"/>
                      <a:pt x="375" y="132"/>
                    </a:cubicBezTo>
                    <a:cubicBezTo>
                      <a:pt x="373" y="132"/>
                      <a:pt x="372" y="132"/>
                      <a:pt x="371" y="131"/>
                    </a:cubicBezTo>
                    <a:cubicBezTo>
                      <a:pt x="370" y="129"/>
                      <a:pt x="368" y="129"/>
                      <a:pt x="366" y="130"/>
                    </a:cubicBezTo>
                    <a:cubicBezTo>
                      <a:pt x="366" y="130"/>
                      <a:pt x="365" y="130"/>
                      <a:pt x="365" y="130"/>
                    </a:cubicBezTo>
                    <a:cubicBezTo>
                      <a:pt x="365" y="132"/>
                      <a:pt x="365" y="134"/>
                      <a:pt x="364" y="136"/>
                    </a:cubicBezTo>
                    <a:cubicBezTo>
                      <a:pt x="364" y="138"/>
                      <a:pt x="364" y="140"/>
                      <a:pt x="365" y="141"/>
                    </a:cubicBezTo>
                    <a:cubicBezTo>
                      <a:pt x="365" y="142"/>
                      <a:pt x="365" y="142"/>
                      <a:pt x="366" y="142"/>
                    </a:cubicBezTo>
                    <a:cubicBezTo>
                      <a:pt x="367" y="142"/>
                      <a:pt x="368" y="143"/>
                      <a:pt x="369" y="143"/>
                    </a:cubicBezTo>
                    <a:cubicBezTo>
                      <a:pt x="370" y="143"/>
                      <a:pt x="371" y="144"/>
                      <a:pt x="372" y="144"/>
                    </a:cubicBezTo>
                    <a:cubicBezTo>
                      <a:pt x="372" y="144"/>
                      <a:pt x="372" y="144"/>
                      <a:pt x="372" y="144"/>
                    </a:cubicBezTo>
                    <a:cubicBezTo>
                      <a:pt x="372" y="145"/>
                      <a:pt x="372" y="145"/>
                      <a:pt x="373" y="145"/>
                    </a:cubicBezTo>
                    <a:cubicBezTo>
                      <a:pt x="373" y="145"/>
                      <a:pt x="373" y="146"/>
                      <a:pt x="373" y="146"/>
                    </a:cubicBezTo>
                    <a:cubicBezTo>
                      <a:pt x="372" y="147"/>
                      <a:pt x="372" y="146"/>
                      <a:pt x="372" y="146"/>
                    </a:cubicBezTo>
                    <a:cubicBezTo>
                      <a:pt x="372" y="145"/>
                      <a:pt x="371" y="145"/>
                      <a:pt x="371" y="145"/>
                    </a:cubicBezTo>
                    <a:cubicBezTo>
                      <a:pt x="369" y="145"/>
                      <a:pt x="368" y="144"/>
                      <a:pt x="367" y="144"/>
                    </a:cubicBezTo>
                    <a:cubicBezTo>
                      <a:pt x="366" y="143"/>
                      <a:pt x="365" y="144"/>
                      <a:pt x="365" y="144"/>
                    </a:cubicBezTo>
                    <a:cubicBezTo>
                      <a:pt x="365" y="146"/>
                      <a:pt x="366" y="147"/>
                      <a:pt x="365" y="148"/>
                    </a:cubicBezTo>
                    <a:cubicBezTo>
                      <a:pt x="365" y="151"/>
                      <a:pt x="366" y="152"/>
                      <a:pt x="368" y="153"/>
                    </a:cubicBezTo>
                    <a:cubicBezTo>
                      <a:pt x="369" y="153"/>
                      <a:pt x="369" y="154"/>
                      <a:pt x="370" y="154"/>
                    </a:cubicBezTo>
                    <a:cubicBezTo>
                      <a:pt x="372" y="153"/>
                      <a:pt x="373" y="155"/>
                      <a:pt x="374" y="156"/>
                    </a:cubicBezTo>
                    <a:cubicBezTo>
                      <a:pt x="374" y="156"/>
                      <a:pt x="375" y="157"/>
                      <a:pt x="375" y="157"/>
                    </a:cubicBezTo>
                    <a:cubicBezTo>
                      <a:pt x="375" y="158"/>
                      <a:pt x="375" y="159"/>
                      <a:pt x="375" y="160"/>
                    </a:cubicBezTo>
                    <a:cubicBezTo>
                      <a:pt x="375" y="161"/>
                      <a:pt x="376" y="162"/>
                      <a:pt x="377" y="162"/>
                    </a:cubicBezTo>
                    <a:cubicBezTo>
                      <a:pt x="378" y="162"/>
                      <a:pt x="378" y="163"/>
                      <a:pt x="379" y="163"/>
                    </a:cubicBezTo>
                    <a:cubicBezTo>
                      <a:pt x="379" y="164"/>
                      <a:pt x="379" y="164"/>
                      <a:pt x="379" y="165"/>
                    </a:cubicBezTo>
                    <a:cubicBezTo>
                      <a:pt x="379" y="167"/>
                      <a:pt x="379" y="169"/>
                      <a:pt x="379" y="172"/>
                    </a:cubicBezTo>
                    <a:cubicBezTo>
                      <a:pt x="379" y="172"/>
                      <a:pt x="379" y="172"/>
                      <a:pt x="380" y="172"/>
                    </a:cubicBezTo>
                    <a:cubicBezTo>
                      <a:pt x="380" y="173"/>
                      <a:pt x="381" y="173"/>
                      <a:pt x="381" y="172"/>
                    </a:cubicBezTo>
                    <a:cubicBezTo>
                      <a:pt x="381" y="172"/>
                      <a:pt x="382" y="172"/>
                      <a:pt x="382" y="171"/>
                    </a:cubicBezTo>
                    <a:cubicBezTo>
                      <a:pt x="382" y="172"/>
                      <a:pt x="382" y="172"/>
                      <a:pt x="382" y="173"/>
                    </a:cubicBezTo>
                    <a:cubicBezTo>
                      <a:pt x="382" y="173"/>
                      <a:pt x="382" y="174"/>
                      <a:pt x="382" y="174"/>
                    </a:cubicBezTo>
                    <a:cubicBezTo>
                      <a:pt x="383" y="175"/>
                      <a:pt x="384" y="176"/>
                      <a:pt x="384" y="177"/>
                    </a:cubicBezTo>
                    <a:cubicBezTo>
                      <a:pt x="385" y="178"/>
                      <a:pt x="385" y="177"/>
                      <a:pt x="386" y="177"/>
                    </a:cubicBezTo>
                    <a:cubicBezTo>
                      <a:pt x="385" y="179"/>
                      <a:pt x="383" y="178"/>
                      <a:pt x="382" y="177"/>
                    </a:cubicBezTo>
                    <a:cubicBezTo>
                      <a:pt x="381" y="176"/>
                      <a:pt x="381" y="175"/>
                      <a:pt x="380" y="175"/>
                    </a:cubicBezTo>
                    <a:cubicBezTo>
                      <a:pt x="380" y="175"/>
                      <a:pt x="379" y="175"/>
                      <a:pt x="379" y="175"/>
                    </a:cubicBezTo>
                    <a:cubicBezTo>
                      <a:pt x="379" y="174"/>
                      <a:pt x="379" y="174"/>
                      <a:pt x="379" y="174"/>
                    </a:cubicBezTo>
                    <a:cubicBezTo>
                      <a:pt x="379" y="174"/>
                      <a:pt x="378" y="174"/>
                      <a:pt x="378" y="174"/>
                    </a:cubicBezTo>
                    <a:cubicBezTo>
                      <a:pt x="377" y="175"/>
                      <a:pt x="376" y="177"/>
                      <a:pt x="377" y="178"/>
                    </a:cubicBezTo>
                    <a:cubicBezTo>
                      <a:pt x="377" y="179"/>
                      <a:pt x="377" y="179"/>
                      <a:pt x="378" y="179"/>
                    </a:cubicBezTo>
                    <a:cubicBezTo>
                      <a:pt x="378" y="179"/>
                      <a:pt x="379" y="179"/>
                      <a:pt x="379" y="180"/>
                    </a:cubicBezTo>
                    <a:cubicBezTo>
                      <a:pt x="379" y="180"/>
                      <a:pt x="380" y="180"/>
                      <a:pt x="380" y="180"/>
                    </a:cubicBezTo>
                    <a:cubicBezTo>
                      <a:pt x="381" y="181"/>
                      <a:pt x="382" y="180"/>
                      <a:pt x="383" y="181"/>
                    </a:cubicBezTo>
                    <a:cubicBezTo>
                      <a:pt x="384" y="182"/>
                      <a:pt x="385" y="182"/>
                      <a:pt x="386" y="181"/>
                    </a:cubicBezTo>
                    <a:cubicBezTo>
                      <a:pt x="387" y="181"/>
                      <a:pt x="388" y="181"/>
                      <a:pt x="388" y="181"/>
                    </a:cubicBezTo>
                    <a:cubicBezTo>
                      <a:pt x="389" y="182"/>
                      <a:pt x="390" y="182"/>
                      <a:pt x="391" y="182"/>
                    </a:cubicBezTo>
                    <a:cubicBezTo>
                      <a:pt x="391" y="183"/>
                      <a:pt x="392" y="183"/>
                      <a:pt x="392" y="183"/>
                    </a:cubicBezTo>
                    <a:cubicBezTo>
                      <a:pt x="393" y="183"/>
                      <a:pt x="393" y="182"/>
                      <a:pt x="394" y="182"/>
                    </a:cubicBezTo>
                    <a:cubicBezTo>
                      <a:pt x="395" y="182"/>
                      <a:pt x="395" y="182"/>
                      <a:pt x="395" y="182"/>
                    </a:cubicBezTo>
                    <a:cubicBezTo>
                      <a:pt x="395" y="180"/>
                      <a:pt x="396" y="178"/>
                      <a:pt x="398" y="177"/>
                    </a:cubicBezTo>
                    <a:cubicBezTo>
                      <a:pt x="398" y="178"/>
                      <a:pt x="397" y="179"/>
                      <a:pt x="397" y="180"/>
                    </a:cubicBezTo>
                    <a:cubicBezTo>
                      <a:pt x="397" y="181"/>
                      <a:pt x="396" y="182"/>
                      <a:pt x="397" y="182"/>
                    </a:cubicBezTo>
                    <a:cubicBezTo>
                      <a:pt x="397" y="183"/>
                      <a:pt x="397" y="183"/>
                      <a:pt x="397" y="184"/>
                    </a:cubicBezTo>
                    <a:cubicBezTo>
                      <a:pt x="397" y="184"/>
                      <a:pt x="397" y="184"/>
                      <a:pt x="397" y="184"/>
                    </a:cubicBezTo>
                    <a:cubicBezTo>
                      <a:pt x="395" y="184"/>
                      <a:pt x="394" y="184"/>
                      <a:pt x="392" y="185"/>
                    </a:cubicBezTo>
                    <a:cubicBezTo>
                      <a:pt x="392" y="185"/>
                      <a:pt x="392" y="185"/>
                      <a:pt x="391" y="185"/>
                    </a:cubicBezTo>
                    <a:cubicBezTo>
                      <a:pt x="391" y="184"/>
                      <a:pt x="390" y="184"/>
                      <a:pt x="389" y="184"/>
                    </a:cubicBezTo>
                    <a:cubicBezTo>
                      <a:pt x="388" y="184"/>
                      <a:pt x="387" y="184"/>
                      <a:pt x="387" y="185"/>
                    </a:cubicBezTo>
                    <a:cubicBezTo>
                      <a:pt x="386" y="186"/>
                      <a:pt x="387" y="186"/>
                      <a:pt x="388" y="186"/>
                    </a:cubicBezTo>
                    <a:cubicBezTo>
                      <a:pt x="388" y="186"/>
                      <a:pt x="388" y="186"/>
                      <a:pt x="388" y="186"/>
                    </a:cubicBezTo>
                    <a:cubicBezTo>
                      <a:pt x="389" y="188"/>
                      <a:pt x="390" y="190"/>
                      <a:pt x="392" y="188"/>
                    </a:cubicBezTo>
                    <a:cubicBezTo>
                      <a:pt x="393" y="188"/>
                      <a:pt x="393" y="188"/>
                      <a:pt x="393" y="188"/>
                    </a:cubicBezTo>
                    <a:cubicBezTo>
                      <a:pt x="393" y="188"/>
                      <a:pt x="394" y="188"/>
                      <a:pt x="393" y="189"/>
                    </a:cubicBezTo>
                    <a:cubicBezTo>
                      <a:pt x="393" y="189"/>
                      <a:pt x="393" y="189"/>
                      <a:pt x="393" y="189"/>
                    </a:cubicBezTo>
                    <a:cubicBezTo>
                      <a:pt x="392" y="188"/>
                      <a:pt x="391" y="189"/>
                      <a:pt x="391" y="190"/>
                    </a:cubicBezTo>
                    <a:cubicBezTo>
                      <a:pt x="391" y="191"/>
                      <a:pt x="392" y="191"/>
                      <a:pt x="392" y="192"/>
                    </a:cubicBezTo>
                    <a:cubicBezTo>
                      <a:pt x="393" y="192"/>
                      <a:pt x="393" y="193"/>
                      <a:pt x="393" y="193"/>
                    </a:cubicBezTo>
                    <a:cubicBezTo>
                      <a:pt x="394" y="193"/>
                      <a:pt x="393" y="193"/>
                      <a:pt x="393" y="194"/>
                    </a:cubicBezTo>
                    <a:cubicBezTo>
                      <a:pt x="393" y="194"/>
                      <a:pt x="393" y="194"/>
                      <a:pt x="393" y="194"/>
                    </a:cubicBezTo>
                    <a:cubicBezTo>
                      <a:pt x="392" y="193"/>
                      <a:pt x="391" y="193"/>
                      <a:pt x="391" y="192"/>
                    </a:cubicBezTo>
                    <a:cubicBezTo>
                      <a:pt x="391" y="191"/>
                      <a:pt x="390" y="190"/>
                      <a:pt x="389" y="190"/>
                    </a:cubicBezTo>
                    <a:cubicBezTo>
                      <a:pt x="388" y="190"/>
                      <a:pt x="388" y="189"/>
                      <a:pt x="387" y="188"/>
                    </a:cubicBezTo>
                    <a:cubicBezTo>
                      <a:pt x="386" y="188"/>
                      <a:pt x="386" y="187"/>
                      <a:pt x="385" y="187"/>
                    </a:cubicBezTo>
                    <a:cubicBezTo>
                      <a:pt x="385" y="187"/>
                      <a:pt x="385" y="187"/>
                      <a:pt x="385" y="186"/>
                    </a:cubicBezTo>
                    <a:cubicBezTo>
                      <a:pt x="384" y="184"/>
                      <a:pt x="382" y="184"/>
                      <a:pt x="380" y="184"/>
                    </a:cubicBezTo>
                    <a:cubicBezTo>
                      <a:pt x="378" y="184"/>
                      <a:pt x="376" y="184"/>
                      <a:pt x="375" y="183"/>
                    </a:cubicBezTo>
                    <a:cubicBezTo>
                      <a:pt x="375" y="182"/>
                      <a:pt x="374" y="182"/>
                      <a:pt x="373" y="183"/>
                    </a:cubicBezTo>
                    <a:cubicBezTo>
                      <a:pt x="371" y="185"/>
                      <a:pt x="368" y="185"/>
                      <a:pt x="366" y="186"/>
                    </a:cubicBezTo>
                    <a:cubicBezTo>
                      <a:pt x="365" y="186"/>
                      <a:pt x="364" y="186"/>
                      <a:pt x="364" y="187"/>
                    </a:cubicBezTo>
                    <a:cubicBezTo>
                      <a:pt x="363" y="188"/>
                      <a:pt x="362" y="188"/>
                      <a:pt x="362" y="189"/>
                    </a:cubicBezTo>
                    <a:cubicBezTo>
                      <a:pt x="362" y="190"/>
                      <a:pt x="362" y="191"/>
                      <a:pt x="361" y="193"/>
                    </a:cubicBezTo>
                    <a:cubicBezTo>
                      <a:pt x="361" y="193"/>
                      <a:pt x="361" y="193"/>
                      <a:pt x="361" y="194"/>
                    </a:cubicBezTo>
                    <a:cubicBezTo>
                      <a:pt x="361" y="194"/>
                      <a:pt x="362" y="194"/>
                      <a:pt x="362" y="194"/>
                    </a:cubicBezTo>
                    <a:cubicBezTo>
                      <a:pt x="362" y="194"/>
                      <a:pt x="363" y="194"/>
                      <a:pt x="363" y="194"/>
                    </a:cubicBezTo>
                    <a:cubicBezTo>
                      <a:pt x="363" y="195"/>
                      <a:pt x="362" y="195"/>
                      <a:pt x="362" y="195"/>
                    </a:cubicBezTo>
                    <a:cubicBezTo>
                      <a:pt x="361" y="195"/>
                      <a:pt x="361" y="195"/>
                      <a:pt x="360" y="195"/>
                    </a:cubicBezTo>
                    <a:cubicBezTo>
                      <a:pt x="359" y="197"/>
                      <a:pt x="357" y="198"/>
                      <a:pt x="358" y="201"/>
                    </a:cubicBezTo>
                    <a:cubicBezTo>
                      <a:pt x="359" y="201"/>
                      <a:pt x="359" y="201"/>
                      <a:pt x="359" y="202"/>
                    </a:cubicBezTo>
                    <a:cubicBezTo>
                      <a:pt x="359" y="203"/>
                      <a:pt x="359" y="204"/>
                      <a:pt x="359" y="205"/>
                    </a:cubicBezTo>
                    <a:cubicBezTo>
                      <a:pt x="358" y="206"/>
                      <a:pt x="359" y="206"/>
                      <a:pt x="359" y="206"/>
                    </a:cubicBezTo>
                    <a:cubicBezTo>
                      <a:pt x="360" y="206"/>
                      <a:pt x="360" y="205"/>
                      <a:pt x="361" y="206"/>
                    </a:cubicBezTo>
                    <a:cubicBezTo>
                      <a:pt x="361" y="207"/>
                      <a:pt x="360" y="206"/>
                      <a:pt x="360" y="206"/>
                    </a:cubicBezTo>
                    <a:cubicBezTo>
                      <a:pt x="359" y="207"/>
                      <a:pt x="358" y="208"/>
                      <a:pt x="359" y="209"/>
                    </a:cubicBezTo>
                    <a:cubicBezTo>
                      <a:pt x="360" y="209"/>
                      <a:pt x="363" y="209"/>
                      <a:pt x="364" y="209"/>
                    </a:cubicBezTo>
                    <a:cubicBezTo>
                      <a:pt x="364" y="208"/>
                      <a:pt x="365" y="207"/>
                      <a:pt x="365" y="206"/>
                    </a:cubicBezTo>
                    <a:cubicBezTo>
                      <a:pt x="365" y="206"/>
                      <a:pt x="366" y="206"/>
                      <a:pt x="366" y="206"/>
                    </a:cubicBezTo>
                    <a:cubicBezTo>
                      <a:pt x="368" y="205"/>
                      <a:pt x="367" y="203"/>
                      <a:pt x="369" y="201"/>
                    </a:cubicBezTo>
                    <a:cubicBezTo>
                      <a:pt x="369" y="201"/>
                      <a:pt x="369" y="201"/>
                      <a:pt x="369" y="200"/>
                    </a:cubicBezTo>
                    <a:cubicBezTo>
                      <a:pt x="369" y="200"/>
                      <a:pt x="369" y="200"/>
                      <a:pt x="369" y="201"/>
                    </a:cubicBezTo>
                    <a:cubicBezTo>
                      <a:pt x="369" y="201"/>
                      <a:pt x="369" y="201"/>
                      <a:pt x="369" y="202"/>
                    </a:cubicBezTo>
                    <a:cubicBezTo>
                      <a:pt x="369" y="203"/>
                      <a:pt x="369" y="204"/>
                      <a:pt x="368" y="205"/>
                    </a:cubicBezTo>
                    <a:cubicBezTo>
                      <a:pt x="368" y="206"/>
                      <a:pt x="368" y="207"/>
                      <a:pt x="367" y="207"/>
                    </a:cubicBezTo>
                    <a:cubicBezTo>
                      <a:pt x="366" y="208"/>
                      <a:pt x="367" y="209"/>
                      <a:pt x="366" y="209"/>
                    </a:cubicBezTo>
                    <a:cubicBezTo>
                      <a:pt x="366" y="209"/>
                      <a:pt x="366" y="210"/>
                      <a:pt x="367" y="210"/>
                    </a:cubicBezTo>
                    <a:cubicBezTo>
                      <a:pt x="367" y="210"/>
                      <a:pt x="367" y="211"/>
                      <a:pt x="367" y="211"/>
                    </a:cubicBezTo>
                    <a:cubicBezTo>
                      <a:pt x="369" y="211"/>
                      <a:pt x="370" y="210"/>
                      <a:pt x="370" y="210"/>
                    </a:cubicBezTo>
                    <a:cubicBezTo>
                      <a:pt x="371" y="209"/>
                      <a:pt x="371" y="209"/>
                      <a:pt x="371" y="209"/>
                    </a:cubicBezTo>
                    <a:cubicBezTo>
                      <a:pt x="372" y="210"/>
                      <a:pt x="372" y="209"/>
                      <a:pt x="372" y="209"/>
                    </a:cubicBezTo>
                    <a:cubicBezTo>
                      <a:pt x="372" y="208"/>
                      <a:pt x="373" y="207"/>
                      <a:pt x="373" y="206"/>
                    </a:cubicBezTo>
                    <a:cubicBezTo>
                      <a:pt x="374" y="204"/>
                      <a:pt x="375" y="202"/>
                      <a:pt x="375" y="200"/>
                    </a:cubicBezTo>
                    <a:cubicBezTo>
                      <a:pt x="375" y="200"/>
                      <a:pt x="375" y="199"/>
                      <a:pt x="375" y="199"/>
                    </a:cubicBezTo>
                    <a:cubicBezTo>
                      <a:pt x="376" y="198"/>
                      <a:pt x="376" y="198"/>
                      <a:pt x="376" y="197"/>
                    </a:cubicBezTo>
                    <a:cubicBezTo>
                      <a:pt x="376" y="196"/>
                      <a:pt x="376" y="196"/>
                      <a:pt x="376" y="195"/>
                    </a:cubicBezTo>
                    <a:cubicBezTo>
                      <a:pt x="377" y="195"/>
                      <a:pt x="377" y="194"/>
                      <a:pt x="377" y="194"/>
                    </a:cubicBezTo>
                    <a:cubicBezTo>
                      <a:pt x="378" y="194"/>
                      <a:pt x="377" y="195"/>
                      <a:pt x="377" y="196"/>
                    </a:cubicBezTo>
                    <a:cubicBezTo>
                      <a:pt x="377" y="196"/>
                      <a:pt x="376" y="196"/>
                      <a:pt x="376" y="196"/>
                    </a:cubicBezTo>
                    <a:cubicBezTo>
                      <a:pt x="376" y="198"/>
                      <a:pt x="376" y="199"/>
                      <a:pt x="376" y="200"/>
                    </a:cubicBezTo>
                    <a:cubicBezTo>
                      <a:pt x="376" y="201"/>
                      <a:pt x="376" y="202"/>
                      <a:pt x="377" y="202"/>
                    </a:cubicBezTo>
                    <a:cubicBezTo>
                      <a:pt x="377" y="202"/>
                      <a:pt x="376" y="202"/>
                      <a:pt x="376" y="203"/>
                    </a:cubicBezTo>
                    <a:cubicBezTo>
                      <a:pt x="376" y="203"/>
                      <a:pt x="376" y="204"/>
                      <a:pt x="375" y="205"/>
                    </a:cubicBezTo>
                    <a:cubicBezTo>
                      <a:pt x="375" y="205"/>
                      <a:pt x="375" y="206"/>
                      <a:pt x="376" y="206"/>
                    </a:cubicBezTo>
                    <a:cubicBezTo>
                      <a:pt x="376" y="206"/>
                      <a:pt x="377" y="206"/>
                      <a:pt x="377" y="206"/>
                    </a:cubicBezTo>
                    <a:cubicBezTo>
                      <a:pt x="378" y="206"/>
                      <a:pt x="379" y="206"/>
                      <a:pt x="379" y="206"/>
                    </a:cubicBezTo>
                    <a:cubicBezTo>
                      <a:pt x="379" y="206"/>
                      <a:pt x="379" y="206"/>
                      <a:pt x="380" y="206"/>
                    </a:cubicBezTo>
                    <a:cubicBezTo>
                      <a:pt x="380" y="206"/>
                      <a:pt x="380" y="206"/>
                      <a:pt x="380" y="206"/>
                    </a:cubicBezTo>
                    <a:cubicBezTo>
                      <a:pt x="380" y="207"/>
                      <a:pt x="381" y="207"/>
                      <a:pt x="381" y="207"/>
                    </a:cubicBezTo>
                    <a:cubicBezTo>
                      <a:pt x="381" y="207"/>
                      <a:pt x="381" y="207"/>
                      <a:pt x="381" y="208"/>
                    </a:cubicBezTo>
                    <a:cubicBezTo>
                      <a:pt x="381" y="208"/>
                      <a:pt x="380" y="208"/>
                      <a:pt x="380" y="208"/>
                    </a:cubicBezTo>
                    <a:cubicBezTo>
                      <a:pt x="379" y="207"/>
                      <a:pt x="378" y="205"/>
                      <a:pt x="376" y="207"/>
                    </a:cubicBezTo>
                    <a:cubicBezTo>
                      <a:pt x="376" y="207"/>
                      <a:pt x="376" y="207"/>
                      <a:pt x="376" y="207"/>
                    </a:cubicBezTo>
                    <a:cubicBezTo>
                      <a:pt x="375" y="207"/>
                      <a:pt x="375" y="207"/>
                      <a:pt x="375" y="208"/>
                    </a:cubicBezTo>
                    <a:cubicBezTo>
                      <a:pt x="375" y="209"/>
                      <a:pt x="374" y="210"/>
                      <a:pt x="375" y="210"/>
                    </a:cubicBezTo>
                    <a:cubicBezTo>
                      <a:pt x="376" y="210"/>
                      <a:pt x="376" y="211"/>
                      <a:pt x="376" y="211"/>
                    </a:cubicBezTo>
                    <a:cubicBezTo>
                      <a:pt x="377" y="211"/>
                      <a:pt x="378" y="210"/>
                      <a:pt x="379" y="210"/>
                    </a:cubicBezTo>
                    <a:cubicBezTo>
                      <a:pt x="379" y="210"/>
                      <a:pt x="379" y="210"/>
                      <a:pt x="379" y="210"/>
                    </a:cubicBezTo>
                    <a:cubicBezTo>
                      <a:pt x="378" y="210"/>
                      <a:pt x="378" y="211"/>
                      <a:pt x="377" y="211"/>
                    </a:cubicBezTo>
                    <a:cubicBezTo>
                      <a:pt x="377" y="212"/>
                      <a:pt x="376" y="212"/>
                      <a:pt x="375" y="211"/>
                    </a:cubicBezTo>
                    <a:cubicBezTo>
                      <a:pt x="375" y="211"/>
                      <a:pt x="374" y="211"/>
                      <a:pt x="373" y="212"/>
                    </a:cubicBezTo>
                    <a:cubicBezTo>
                      <a:pt x="373" y="212"/>
                      <a:pt x="372" y="213"/>
                      <a:pt x="371" y="214"/>
                    </a:cubicBezTo>
                    <a:cubicBezTo>
                      <a:pt x="371" y="214"/>
                      <a:pt x="370" y="215"/>
                      <a:pt x="371" y="215"/>
                    </a:cubicBezTo>
                    <a:cubicBezTo>
                      <a:pt x="372" y="215"/>
                      <a:pt x="371" y="216"/>
                      <a:pt x="371" y="216"/>
                    </a:cubicBezTo>
                    <a:cubicBezTo>
                      <a:pt x="371" y="217"/>
                      <a:pt x="372" y="217"/>
                      <a:pt x="372" y="217"/>
                    </a:cubicBezTo>
                    <a:cubicBezTo>
                      <a:pt x="373" y="216"/>
                      <a:pt x="374" y="215"/>
                      <a:pt x="375" y="216"/>
                    </a:cubicBezTo>
                    <a:cubicBezTo>
                      <a:pt x="376" y="216"/>
                      <a:pt x="376" y="215"/>
                      <a:pt x="376" y="215"/>
                    </a:cubicBezTo>
                    <a:cubicBezTo>
                      <a:pt x="376" y="215"/>
                      <a:pt x="377" y="215"/>
                      <a:pt x="377" y="215"/>
                    </a:cubicBezTo>
                    <a:cubicBezTo>
                      <a:pt x="377" y="215"/>
                      <a:pt x="377" y="215"/>
                      <a:pt x="378" y="215"/>
                    </a:cubicBezTo>
                    <a:cubicBezTo>
                      <a:pt x="378" y="215"/>
                      <a:pt x="379" y="215"/>
                      <a:pt x="379" y="216"/>
                    </a:cubicBezTo>
                    <a:cubicBezTo>
                      <a:pt x="379" y="217"/>
                      <a:pt x="379" y="216"/>
                      <a:pt x="379" y="216"/>
                    </a:cubicBezTo>
                    <a:cubicBezTo>
                      <a:pt x="378" y="216"/>
                      <a:pt x="377" y="216"/>
                      <a:pt x="377" y="217"/>
                    </a:cubicBezTo>
                    <a:cubicBezTo>
                      <a:pt x="376" y="217"/>
                      <a:pt x="375" y="216"/>
                      <a:pt x="374" y="217"/>
                    </a:cubicBezTo>
                    <a:cubicBezTo>
                      <a:pt x="373" y="217"/>
                      <a:pt x="372" y="217"/>
                      <a:pt x="373" y="219"/>
                    </a:cubicBezTo>
                    <a:cubicBezTo>
                      <a:pt x="373" y="219"/>
                      <a:pt x="373" y="219"/>
                      <a:pt x="374" y="219"/>
                    </a:cubicBezTo>
                    <a:cubicBezTo>
                      <a:pt x="374" y="218"/>
                      <a:pt x="375" y="218"/>
                      <a:pt x="375" y="218"/>
                    </a:cubicBezTo>
                    <a:cubicBezTo>
                      <a:pt x="376" y="219"/>
                      <a:pt x="375" y="219"/>
                      <a:pt x="374" y="220"/>
                    </a:cubicBezTo>
                    <a:cubicBezTo>
                      <a:pt x="373" y="221"/>
                      <a:pt x="373" y="223"/>
                      <a:pt x="374" y="224"/>
                    </a:cubicBezTo>
                    <a:cubicBezTo>
                      <a:pt x="374" y="224"/>
                      <a:pt x="375" y="225"/>
                      <a:pt x="375" y="225"/>
                    </a:cubicBezTo>
                    <a:cubicBezTo>
                      <a:pt x="375" y="225"/>
                      <a:pt x="375" y="225"/>
                      <a:pt x="376" y="225"/>
                    </a:cubicBezTo>
                    <a:cubicBezTo>
                      <a:pt x="377" y="224"/>
                      <a:pt x="378" y="223"/>
                      <a:pt x="378" y="221"/>
                    </a:cubicBezTo>
                    <a:cubicBezTo>
                      <a:pt x="378" y="221"/>
                      <a:pt x="378" y="221"/>
                      <a:pt x="379" y="221"/>
                    </a:cubicBezTo>
                    <a:cubicBezTo>
                      <a:pt x="379" y="221"/>
                      <a:pt x="379" y="222"/>
                      <a:pt x="378" y="223"/>
                    </a:cubicBezTo>
                    <a:cubicBezTo>
                      <a:pt x="378" y="224"/>
                      <a:pt x="377" y="225"/>
                      <a:pt x="376" y="226"/>
                    </a:cubicBezTo>
                    <a:cubicBezTo>
                      <a:pt x="376" y="226"/>
                      <a:pt x="376" y="227"/>
                      <a:pt x="376" y="227"/>
                    </a:cubicBezTo>
                    <a:cubicBezTo>
                      <a:pt x="377" y="228"/>
                      <a:pt x="377" y="228"/>
                      <a:pt x="378" y="228"/>
                    </a:cubicBezTo>
                    <a:cubicBezTo>
                      <a:pt x="379" y="228"/>
                      <a:pt x="380" y="228"/>
                      <a:pt x="381" y="228"/>
                    </a:cubicBezTo>
                    <a:cubicBezTo>
                      <a:pt x="381" y="228"/>
                      <a:pt x="381" y="228"/>
                      <a:pt x="381" y="228"/>
                    </a:cubicBezTo>
                    <a:cubicBezTo>
                      <a:pt x="382" y="229"/>
                      <a:pt x="382" y="229"/>
                      <a:pt x="383" y="228"/>
                    </a:cubicBezTo>
                    <a:cubicBezTo>
                      <a:pt x="385" y="227"/>
                      <a:pt x="387" y="224"/>
                      <a:pt x="387" y="221"/>
                    </a:cubicBezTo>
                    <a:cubicBezTo>
                      <a:pt x="388" y="219"/>
                      <a:pt x="388" y="217"/>
                      <a:pt x="389" y="216"/>
                    </a:cubicBezTo>
                    <a:cubicBezTo>
                      <a:pt x="390" y="215"/>
                      <a:pt x="390" y="215"/>
                      <a:pt x="390" y="214"/>
                    </a:cubicBezTo>
                    <a:cubicBezTo>
                      <a:pt x="389" y="212"/>
                      <a:pt x="390" y="211"/>
                      <a:pt x="392" y="210"/>
                    </a:cubicBezTo>
                    <a:cubicBezTo>
                      <a:pt x="393" y="211"/>
                      <a:pt x="393" y="211"/>
                      <a:pt x="392" y="212"/>
                    </a:cubicBezTo>
                    <a:cubicBezTo>
                      <a:pt x="391" y="212"/>
                      <a:pt x="391" y="212"/>
                      <a:pt x="391" y="213"/>
                    </a:cubicBezTo>
                    <a:cubicBezTo>
                      <a:pt x="391" y="213"/>
                      <a:pt x="391" y="214"/>
                      <a:pt x="391" y="214"/>
                    </a:cubicBezTo>
                    <a:cubicBezTo>
                      <a:pt x="391" y="215"/>
                      <a:pt x="391" y="215"/>
                      <a:pt x="391" y="215"/>
                    </a:cubicBezTo>
                    <a:cubicBezTo>
                      <a:pt x="390" y="218"/>
                      <a:pt x="389" y="221"/>
                      <a:pt x="388" y="225"/>
                    </a:cubicBezTo>
                    <a:cubicBezTo>
                      <a:pt x="387" y="226"/>
                      <a:pt x="386" y="227"/>
                      <a:pt x="385" y="228"/>
                    </a:cubicBezTo>
                    <a:cubicBezTo>
                      <a:pt x="385" y="229"/>
                      <a:pt x="385" y="229"/>
                      <a:pt x="384" y="229"/>
                    </a:cubicBezTo>
                    <a:cubicBezTo>
                      <a:pt x="382" y="230"/>
                      <a:pt x="382" y="230"/>
                      <a:pt x="383" y="232"/>
                    </a:cubicBezTo>
                    <a:cubicBezTo>
                      <a:pt x="384" y="232"/>
                      <a:pt x="384" y="232"/>
                      <a:pt x="385" y="232"/>
                    </a:cubicBezTo>
                    <a:cubicBezTo>
                      <a:pt x="385" y="232"/>
                      <a:pt x="385" y="232"/>
                      <a:pt x="385" y="233"/>
                    </a:cubicBezTo>
                    <a:cubicBezTo>
                      <a:pt x="385" y="233"/>
                      <a:pt x="385" y="233"/>
                      <a:pt x="384" y="233"/>
                    </a:cubicBezTo>
                    <a:cubicBezTo>
                      <a:pt x="383" y="233"/>
                      <a:pt x="381" y="231"/>
                      <a:pt x="379" y="232"/>
                    </a:cubicBezTo>
                    <a:cubicBezTo>
                      <a:pt x="379" y="232"/>
                      <a:pt x="378" y="231"/>
                      <a:pt x="378" y="232"/>
                    </a:cubicBezTo>
                    <a:cubicBezTo>
                      <a:pt x="377" y="232"/>
                      <a:pt x="378" y="233"/>
                      <a:pt x="378" y="234"/>
                    </a:cubicBezTo>
                    <a:cubicBezTo>
                      <a:pt x="378" y="234"/>
                      <a:pt x="378" y="234"/>
                      <a:pt x="378" y="235"/>
                    </a:cubicBezTo>
                    <a:cubicBezTo>
                      <a:pt x="378" y="234"/>
                      <a:pt x="377" y="234"/>
                      <a:pt x="376" y="234"/>
                    </a:cubicBezTo>
                    <a:cubicBezTo>
                      <a:pt x="376" y="233"/>
                      <a:pt x="376" y="233"/>
                      <a:pt x="375" y="232"/>
                    </a:cubicBezTo>
                    <a:cubicBezTo>
                      <a:pt x="375" y="232"/>
                      <a:pt x="374" y="232"/>
                      <a:pt x="374" y="232"/>
                    </a:cubicBezTo>
                    <a:cubicBezTo>
                      <a:pt x="372" y="232"/>
                      <a:pt x="372" y="232"/>
                      <a:pt x="371" y="230"/>
                    </a:cubicBezTo>
                    <a:cubicBezTo>
                      <a:pt x="371" y="230"/>
                      <a:pt x="371" y="230"/>
                      <a:pt x="370" y="230"/>
                    </a:cubicBezTo>
                    <a:cubicBezTo>
                      <a:pt x="370" y="230"/>
                      <a:pt x="370" y="231"/>
                      <a:pt x="370" y="231"/>
                    </a:cubicBezTo>
                    <a:cubicBezTo>
                      <a:pt x="370" y="228"/>
                      <a:pt x="369" y="226"/>
                      <a:pt x="369" y="224"/>
                    </a:cubicBezTo>
                    <a:cubicBezTo>
                      <a:pt x="368" y="222"/>
                      <a:pt x="367" y="221"/>
                      <a:pt x="366" y="219"/>
                    </a:cubicBezTo>
                    <a:cubicBezTo>
                      <a:pt x="365" y="217"/>
                      <a:pt x="362" y="217"/>
                      <a:pt x="360" y="216"/>
                    </a:cubicBezTo>
                    <a:cubicBezTo>
                      <a:pt x="359" y="216"/>
                      <a:pt x="359" y="216"/>
                      <a:pt x="359" y="216"/>
                    </a:cubicBezTo>
                    <a:cubicBezTo>
                      <a:pt x="358" y="217"/>
                      <a:pt x="357" y="217"/>
                      <a:pt x="356" y="218"/>
                    </a:cubicBezTo>
                    <a:cubicBezTo>
                      <a:pt x="356" y="218"/>
                      <a:pt x="355" y="219"/>
                      <a:pt x="354" y="218"/>
                    </a:cubicBezTo>
                    <a:cubicBezTo>
                      <a:pt x="354" y="219"/>
                      <a:pt x="355" y="219"/>
                      <a:pt x="354" y="220"/>
                    </a:cubicBezTo>
                    <a:cubicBezTo>
                      <a:pt x="354" y="220"/>
                      <a:pt x="354" y="220"/>
                      <a:pt x="354" y="220"/>
                    </a:cubicBezTo>
                    <a:cubicBezTo>
                      <a:pt x="355" y="221"/>
                      <a:pt x="354" y="222"/>
                      <a:pt x="354" y="223"/>
                    </a:cubicBezTo>
                    <a:cubicBezTo>
                      <a:pt x="354" y="224"/>
                      <a:pt x="354" y="224"/>
                      <a:pt x="354" y="225"/>
                    </a:cubicBezTo>
                    <a:cubicBezTo>
                      <a:pt x="356" y="226"/>
                      <a:pt x="356" y="227"/>
                      <a:pt x="357" y="228"/>
                    </a:cubicBezTo>
                    <a:cubicBezTo>
                      <a:pt x="357" y="229"/>
                      <a:pt x="357" y="229"/>
                      <a:pt x="357" y="229"/>
                    </a:cubicBezTo>
                    <a:cubicBezTo>
                      <a:pt x="356" y="231"/>
                      <a:pt x="357" y="233"/>
                      <a:pt x="359" y="234"/>
                    </a:cubicBezTo>
                    <a:cubicBezTo>
                      <a:pt x="359" y="234"/>
                      <a:pt x="359" y="234"/>
                      <a:pt x="359" y="233"/>
                    </a:cubicBezTo>
                    <a:cubicBezTo>
                      <a:pt x="360" y="232"/>
                      <a:pt x="361" y="232"/>
                      <a:pt x="362" y="232"/>
                    </a:cubicBezTo>
                    <a:cubicBezTo>
                      <a:pt x="362" y="232"/>
                      <a:pt x="362" y="232"/>
                      <a:pt x="362" y="233"/>
                    </a:cubicBezTo>
                    <a:cubicBezTo>
                      <a:pt x="362" y="233"/>
                      <a:pt x="362" y="233"/>
                      <a:pt x="362" y="233"/>
                    </a:cubicBezTo>
                    <a:cubicBezTo>
                      <a:pt x="361" y="233"/>
                      <a:pt x="360" y="234"/>
                      <a:pt x="360" y="235"/>
                    </a:cubicBezTo>
                    <a:cubicBezTo>
                      <a:pt x="361" y="236"/>
                      <a:pt x="361" y="235"/>
                      <a:pt x="362" y="236"/>
                    </a:cubicBezTo>
                    <a:cubicBezTo>
                      <a:pt x="361" y="236"/>
                      <a:pt x="360" y="237"/>
                      <a:pt x="360" y="238"/>
                    </a:cubicBezTo>
                    <a:cubicBezTo>
                      <a:pt x="361" y="238"/>
                      <a:pt x="361" y="238"/>
                      <a:pt x="361" y="238"/>
                    </a:cubicBezTo>
                    <a:cubicBezTo>
                      <a:pt x="362" y="238"/>
                      <a:pt x="363" y="238"/>
                      <a:pt x="363" y="238"/>
                    </a:cubicBezTo>
                    <a:cubicBezTo>
                      <a:pt x="363" y="239"/>
                      <a:pt x="363" y="238"/>
                      <a:pt x="362" y="239"/>
                    </a:cubicBezTo>
                    <a:cubicBezTo>
                      <a:pt x="362" y="239"/>
                      <a:pt x="363" y="239"/>
                      <a:pt x="363" y="239"/>
                    </a:cubicBezTo>
                    <a:cubicBezTo>
                      <a:pt x="363" y="239"/>
                      <a:pt x="363" y="240"/>
                      <a:pt x="363" y="240"/>
                    </a:cubicBezTo>
                    <a:cubicBezTo>
                      <a:pt x="362" y="240"/>
                      <a:pt x="361" y="239"/>
                      <a:pt x="360" y="239"/>
                    </a:cubicBezTo>
                    <a:cubicBezTo>
                      <a:pt x="359" y="239"/>
                      <a:pt x="359" y="239"/>
                      <a:pt x="359" y="239"/>
                    </a:cubicBezTo>
                    <a:cubicBezTo>
                      <a:pt x="358" y="240"/>
                      <a:pt x="359" y="240"/>
                      <a:pt x="359" y="240"/>
                    </a:cubicBezTo>
                    <a:cubicBezTo>
                      <a:pt x="358" y="241"/>
                      <a:pt x="357" y="239"/>
                      <a:pt x="355" y="240"/>
                    </a:cubicBezTo>
                    <a:cubicBezTo>
                      <a:pt x="354" y="240"/>
                      <a:pt x="353" y="240"/>
                      <a:pt x="352" y="241"/>
                    </a:cubicBezTo>
                    <a:cubicBezTo>
                      <a:pt x="352" y="241"/>
                      <a:pt x="352" y="241"/>
                      <a:pt x="352" y="242"/>
                    </a:cubicBezTo>
                    <a:cubicBezTo>
                      <a:pt x="352" y="242"/>
                      <a:pt x="351" y="242"/>
                      <a:pt x="351" y="242"/>
                    </a:cubicBezTo>
                    <a:cubicBezTo>
                      <a:pt x="350" y="243"/>
                      <a:pt x="350" y="244"/>
                      <a:pt x="348" y="244"/>
                    </a:cubicBezTo>
                    <a:cubicBezTo>
                      <a:pt x="348" y="244"/>
                      <a:pt x="348" y="244"/>
                      <a:pt x="348" y="244"/>
                    </a:cubicBezTo>
                    <a:cubicBezTo>
                      <a:pt x="348" y="245"/>
                      <a:pt x="347" y="246"/>
                      <a:pt x="346" y="246"/>
                    </a:cubicBezTo>
                    <a:cubicBezTo>
                      <a:pt x="345" y="248"/>
                      <a:pt x="344" y="249"/>
                      <a:pt x="345" y="251"/>
                    </a:cubicBezTo>
                    <a:cubicBezTo>
                      <a:pt x="345" y="252"/>
                      <a:pt x="345" y="252"/>
                      <a:pt x="345" y="252"/>
                    </a:cubicBezTo>
                    <a:cubicBezTo>
                      <a:pt x="345" y="253"/>
                      <a:pt x="345" y="254"/>
                      <a:pt x="344" y="255"/>
                    </a:cubicBezTo>
                    <a:cubicBezTo>
                      <a:pt x="344" y="256"/>
                      <a:pt x="344" y="256"/>
                      <a:pt x="344" y="257"/>
                    </a:cubicBezTo>
                    <a:cubicBezTo>
                      <a:pt x="344" y="257"/>
                      <a:pt x="345" y="257"/>
                      <a:pt x="345" y="257"/>
                    </a:cubicBezTo>
                    <a:cubicBezTo>
                      <a:pt x="345" y="256"/>
                      <a:pt x="345" y="257"/>
                      <a:pt x="345" y="257"/>
                    </a:cubicBezTo>
                    <a:cubicBezTo>
                      <a:pt x="346" y="259"/>
                      <a:pt x="346" y="260"/>
                      <a:pt x="348" y="260"/>
                    </a:cubicBezTo>
                    <a:cubicBezTo>
                      <a:pt x="349" y="261"/>
                      <a:pt x="350" y="260"/>
                      <a:pt x="350" y="259"/>
                    </a:cubicBezTo>
                    <a:cubicBezTo>
                      <a:pt x="350" y="258"/>
                      <a:pt x="350" y="257"/>
                      <a:pt x="350" y="256"/>
                    </a:cubicBezTo>
                    <a:cubicBezTo>
                      <a:pt x="350" y="256"/>
                      <a:pt x="350" y="256"/>
                      <a:pt x="351" y="256"/>
                    </a:cubicBezTo>
                    <a:cubicBezTo>
                      <a:pt x="351" y="256"/>
                      <a:pt x="351" y="256"/>
                      <a:pt x="351" y="256"/>
                    </a:cubicBezTo>
                    <a:cubicBezTo>
                      <a:pt x="351" y="257"/>
                      <a:pt x="351" y="258"/>
                      <a:pt x="351" y="259"/>
                    </a:cubicBezTo>
                    <a:cubicBezTo>
                      <a:pt x="351" y="259"/>
                      <a:pt x="350" y="260"/>
                      <a:pt x="350" y="260"/>
                    </a:cubicBezTo>
                    <a:cubicBezTo>
                      <a:pt x="350" y="261"/>
                      <a:pt x="350" y="261"/>
                      <a:pt x="351" y="261"/>
                    </a:cubicBezTo>
                    <a:cubicBezTo>
                      <a:pt x="351" y="261"/>
                      <a:pt x="351" y="261"/>
                      <a:pt x="351" y="261"/>
                    </a:cubicBezTo>
                    <a:cubicBezTo>
                      <a:pt x="351" y="261"/>
                      <a:pt x="351" y="261"/>
                      <a:pt x="351" y="260"/>
                    </a:cubicBezTo>
                    <a:cubicBezTo>
                      <a:pt x="351" y="260"/>
                      <a:pt x="351" y="259"/>
                      <a:pt x="351" y="259"/>
                    </a:cubicBezTo>
                    <a:cubicBezTo>
                      <a:pt x="352" y="258"/>
                      <a:pt x="352" y="258"/>
                      <a:pt x="352" y="257"/>
                    </a:cubicBezTo>
                    <a:cubicBezTo>
                      <a:pt x="351" y="256"/>
                      <a:pt x="351" y="255"/>
                      <a:pt x="351" y="254"/>
                    </a:cubicBezTo>
                    <a:cubicBezTo>
                      <a:pt x="350" y="252"/>
                      <a:pt x="351" y="251"/>
                      <a:pt x="352" y="249"/>
                    </a:cubicBezTo>
                    <a:cubicBezTo>
                      <a:pt x="352" y="250"/>
                      <a:pt x="352" y="250"/>
                      <a:pt x="352" y="251"/>
                    </a:cubicBezTo>
                    <a:cubicBezTo>
                      <a:pt x="351" y="252"/>
                      <a:pt x="352" y="254"/>
                      <a:pt x="352" y="255"/>
                    </a:cubicBezTo>
                    <a:cubicBezTo>
                      <a:pt x="353" y="257"/>
                      <a:pt x="353" y="258"/>
                      <a:pt x="352" y="260"/>
                    </a:cubicBezTo>
                    <a:cubicBezTo>
                      <a:pt x="352" y="261"/>
                      <a:pt x="352" y="262"/>
                      <a:pt x="353" y="262"/>
                    </a:cubicBezTo>
                    <a:cubicBezTo>
                      <a:pt x="354" y="262"/>
                      <a:pt x="355" y="263"/>
                      <a:pt x="356" y="261"/>
                    </a:cubicBezTo>
                    <a:cubicBezTo>
                      <a:pt x="356" y="262"/>
                      <a:pt x="356" y="263"/>
                      <a:pt x="357" y="263"/>
                    </a:cubicBezTo>
                    <a:cubicBezTo>
                      <a:pt x="357" y="263"/>
                      <a:pt x="357" y="263"/>
                      <a:pt x="358" y="263"/>
                    </a:cubicBezTo>
                    <a:cubicBezTo>
                      <a:pt x="359" y="262"/>
                      <a:pt x="359" y="261"/>
                      <a:pt x="358" y="260"/>
                    </a:cubicBezTo>
                    <a:cubicBezTo>
                      <a:pt x="358" y="260"/>
                      <a:pt x="358" y="260"/>
                      <a:pt x="358" y="259"/>
                    </a:cubicBezTo>
                    <a:cubicBezTo>
                      <a:pt x="358" y="259"/>
                      <a:pt x="358" y="258"/>
                      <a:pt x="358" y="258"/>
                    </a:cubicBezTo>
                    <a:cubicBezTo>
                      <a:pt x="357" y="257"/>
                      <a:pt x="358" y="256"/>
                      <a:pt x="358" y="255"/>
                    </a:cubicBezTo>
                    <a:cubicBezTo>
                      <a:pt x="358" y="256"/>
                      <a:pt x="358" y="256"/>
                      <a:pt x="358" y="256"/>
                    </a:cubicBezTo>
                    <a:cubicBezTo>
                      <a:pt x="358" y="257"/>
                      <a:pt x="359" y="258"/>
                      <a:pt x="359" y="259"/>
                    </a:cubicBezTo>
                    <a:cubicBezTo>
                      <a:pt x="359" y="260"/>
                      <a:pt x="359" y="260"/>
                      <a:pt x="360" y="260"/>
                    </a:cubicBezTo>
                    <a:cubicBezTo>
                      <a:pt x="360" y="260"/>
                      <a:pt x="361" y="260"/>
                      <a:pt x="361" y="261"/>
                    </a:cubicBezTo>
                    <a:cubicBezTo>
                      <a:pt x="360" y="262"/>
                      <a:pt x="361" y="262"/>
                      <a:pt x="361" y="262"/>
                    </a:cubicBezTo>
                    <a:cubicBezTo>
                      <a:pt x="362" y="262"/>
                      <a:pt x="362" y="262"/>
                      <a:pt x="363" y="263"/>
                    </a:cubicBezTo>
                    <a:cubicBezTo>
                      <a:pt x="363" y="263"/>
                      <a:pt x="364" y="263"/>
                      <a:pt x="364" y="263"/>
                    </a:cubicBezTo>
                    <a:cubicBezTo>
                      <a:pt x="364" y="261"/>
                      <a:pt x="365" y="260"/>
                      <a:pt x="364" y="259"/>
                    </a:cubicBezTo>
                    <a:cubicBezTo>
                      <a:pt x="365" y="259"/>
                      <a:pt x="366" y="258"/>
                      <a:pt x="366" y="257"/>
                    </a:cubicBezTo>
                    <a:cubicBezTo>
                      <a:pt x="366" y="257"/>
                      <a:pt x="367" y="257"/>
                      <a:pt x="367" y="258"/>
                    </a:cubicBezTo>
                    <a:cubicBezTo>
                      <a:pt x="367" y="258"/>
                      <a:pt x="367" y="258"/>
                      <a:pt x="367" y="258"/>
                    </a:cubicBezTo>
                    <a:cubicBezTo>
                      <a:pt x="367" y="258"/>
                      <a:pt x="366" y="259"/>
                      <a:pt x="366" y="259"/>
                    </a:cubicBezTo>
                    <a:cubicBezTo>
                      <a:pt x="365" y="260"/>
                      <a:pt x="365" y="260"/>
                      <a:pt x="366" y="261"/>
                    </a:cubicBezTo>
                    <a:cubicBezTo>
                      <a:pt x="366" y="262"/>
                      <a:pt x="367" y="262"/>
                      <a:pt x="368" y="262"/>
                    </a:cubicBezTo>
                    <a:cubicBezTo>
                      <a:pt x="368" y="262"/>
                      <a:pt x="368" y="262"/>
                      <a:pt x="368" y="262"/>
                    </a:cubicBezTo>
                    <a:cubicBezTo>
                      <a:pt x="369" y="263"/>
                      <a:pt x="371" y="263"/>
                      <a:pt x="372" y="264"/>
                    </a:cubicBezTo>
                    <a:cubicBezTo>
                      <a:pt x="373" y="264"/>
                      <a:pt x="374" y="265"/>
                      <a:pt x="375" y="265"/>
                    </a:cubicBezTo>
                    <a:cubicBezTo>
                      <a:pt x="376" y="264"/>
                      <a:pt x="377" y="264"/>
                      <a:pt x="378" y="264"/>
                    </a:cubicBezTo>
                    <a:cubicBezTo>
                      <a:pt x="378" y="265"/>
                      <a:pt x="379" y="264"/>
                      <a:pt x="379" y="264"/>
                    </a:cubicBezTo>
                    <a:cubicBezTo>
                      <a:pt x="379" y="263"/>
                      <a:pt x="379" y="263"/>
                      <a:pt x="378" y="263"/>
                    </a:cubicBezTo>
                    <a:cubicBezTo>
                      <a:pt x="377" y="262"/>
                      <a:pt x="376" y="262"/>
                      <a:pt x="375" y="261"/>
                    </a:cubicBezTo>
                    <a:cubicBezTo>
                      <a:pt x="375" y="260"/>
                      <a:pt x="375" y="260"/>
                      <a:pt x="375" y="260"/>
                    </a:cubicBezTo>
                    <a:cubicBezTo>
                      <a:pt x="375" y="259"/>
                      <a:pt x="374" y="258"/>
                      <a:pt x="375" y="256"/>
                    </a:cubicBezTo>
                    <a:cubicBezTo>
                      <a:pt x="375" y="256"/>
                      <a:pt x="375" y="256"/>
                      <a:pt x="375" y="256"/>
                    </a:cubicBezTo>
                    <a:cubicBezTo>
                      <a:pt x="375" y="257"/>
                      <a:pt x="376" y="257"/>
                      <a:pt x="376" y="258"/>
                    </a:cubicBezTo>
                    <a:cubicBezTo>
                      <a:pt x="376" y="259"/>
                      <a:pt x="377" y="260"/>
                      <a:pt x="377" y="260"/>
                    </a:cubicBezTo>
                    <a:cubicBezTo>
                      <a:pt x="378" y="261"/>
                      <a:pt x="379" y="260"/>
                      <a:pt x="379" y="260"/>
                    </a:cubicBezTo>
                    <a:cubicBezTo>
                      <a:pt x="381" y="259"/>
                      <a:pt x="380" y="258"/>
                      <a:pt x="380" y="257"/>
                    </a:cubicBezTo>
                    <a:cubicBezTo>
                      <a:pt x="380" y="257"/>
                      <a:pt x="381" y="256"/>
                      <a:pt x="380" y="255"/>
                    </a:cubicBezTo>
                    <a:cubicBezTo>
                      <a:pt x="380" y="255"/>
                      <a:pt x="380" y="255"/>
                      <a:pt x="380" y="255"/>
                    </a:cubicBezTo>
                    <a:cubicBezTo>
                      <a:pt x="379" y="254"/>
                      <a:pt x="379" y="254"/>
                      <a:pt x="379" y="254"/>
                    </a:cubicBezTo>
                    <a:cubicBezTo>
                      <a:pt x="380" y="254"/>
                      <a:pt x="380" y="254"/>
                      <a:pt x="380" y="254"/>
                    </a:cubicBezTo>
                    <a:cubicBezTo>
                      <a:pt x="381" y="254"/>
                      <a:pt x="381" y="255"/>
                      <a:pt x="381" y="256"/>
                    </a:cubicBezTo>
                    <a:cubicBezTo>
                      <a:pt x="381" y="256"/>
                      <a:pt x="381" y="257"/>
                      <a:pt x="382" y="258"/>
                    </a:cubicBezTo>
                    <a:cubicBezTo>
                      <a:pt x="382" y="258"/>
                      <a:pt x="383" y="259"/>
                      <a:pt x="383" y="260"/>
                    </a:cubicBezTo>
                    <a:cubicBezTo>
                      <a:pt x="384" y="261"/>
                      <a:pt x="386" y="261"/>
                      <a:pt x="386" y="261"/>
                    </a:cubicBezTo>
                    <a:cubicBezTo>
                      <a:pt x="387" y="260"/>
                      <a:pt x="386" y="260"/>
                      <a:pt x="387" y="260"/>
                    </a:cubicBezTo>
                    <a:cubicBezTo>
                      <a:pt x="387" y="259"/>
                      <a:pt x="387" y="259"/>
                      <a:pt x="387" y="259"/>
                    </a:cubicBezTo>
                    <a:cubicBezTo>
                      <a:pt x="387" y="258"/>
                      <a:pt x="387" y="257"/>
                      <a:pt x="387" y="257"/>
                    </a:cubicBezTo>
                    <a:cubicBezTo>
                      <a:pt x="386" y="256"/>
                      <a:pt x="386" y="255"/>
                      <a:pt x="385" y="254"/>
                    </a:cubicBezTo>
                    <a:cubicBezTo>
                      <a:pt x="385" y="252"/>
                      <a:pt x="385" y="252"/>
                      <a:pt x="386" y="251"/>
                    </a:cubicBezTo>
                    <a:cubicBezTo>
                      <a:pt x="385" y="252"/>
                      <a:pt x="386" y="253"/>
                      <a:pt x="387" y="254"/>
                    </a:cubicBezTo>
                    <a:cubicBezTo>
                      <a:pt x="387" y="255"/>
                      <a:pt x="387" y="255"/>
                      <a:pt x="387" y="255"/>
                    </a:cubicBezTo>
                    <a:cubicBezTo>
                      <a:pt x="387" y="256"/>
                      <a:pt x="387" y="256"/>
                      <a:pt x="388" y="256"/>
                    </a:cubicBezTo>
                    <a:cubicBezTo>
                      <a:pt x="388" y="257"/>
                      <a:pt x="388" y="258"/>
                      <a:pt x="388" y="258"/>
                    </a:cubicBezTo>
                    <a:cubicBezTo>
                      <a:pt x="388" y="259"/>
                      <a:pt x="388" y="259"/>
                      <a:pt x="388" y="259"/>
                    </a:cubicBezTo>
                    <a:cubicBezTo>
                      <a:pt x="387" y="259"/>
                      <a:pt x="388" y="260"/>
                      <a:pt x="388" y="260"/>
                    </a:cubicBezTo>
                    <a:cubicBezTo>
                      <a:pt x="389" y="260"/>
                      <a:pt x="389" y="261"/>
                      <a:pt x="390" y="262"/>
                    </a:cubicBezTo>
                    <a:cubicBezTo>
                      <a:pt x="390" y="262"/>
                      <a:pt x="390" y="262"/>
                      <a:pt x="390" y="262"/>
                    </a:cubicBezTo>
                    <a:cubicBezTo>
                      <a:pt x="391" y="261"/>
                      <a:pt x="392" y="262"/>
                      <a:pt x="393" y="261"/>
                    </a:cubicBezTo>
                    <a:cubicBezTo>
                      <a:pt x="394" y="261"/>
                      <a:pt x="395" y="260"/>
                      <a:pt x="394" y="259"/>
                    </a:cubicBezTo>
                    <a:cubicBezTo>
                      <a:pt x="394" y="258"/>
                      <a:pt x="394" y="258"/>
                      <a:pt x="394" y="257"/>
                    </a:cubicBezTo>
                    <a:cubicBezTo>
                      <a:pt x="395" y="256"/>
                      <a:pt x="394" y="256"/>
                      <a:pt x="394" y="256"/>
                    </a:cubicBezTo>
                    <a:cubicBezTo>
                      <a:pt x="393" y="255"/>
                      <a:pt x="392" y="255"/>
                      <a:pt x="392" y="254"/>
                    </a:cubicBezTo>
                    <a:cubicBezTo>
                      <a:pt x="391" y="253"/>
                      <a:pt x="391" y="252"/>
                      <a:pt x="390" y="251"/>
                    </a:cubicBezTo>
                    <a:cubicBezTo>
                      <a:pt x="390" y="250"/>
                      <a:pt x="390" y="250"/>
                      <a:pt x="390" y="249"/>
                    </a:cubicBezTo>
                    <a:cubicBezTo>
                      <a:pt x="391" y="250"/>
                      <a:pt x="391" y="250"/>
                      <a:pt x="392" y="251"/>
                    </a:cubicBezTo>
                    <a:cubicBezTo>
                      <a:pt x="392" y="252"/>
                      <a:pt x="392" y="253"/>
                      <a:pt x="392" y="253"/>
                    </a:cubicBezTo>
                    <a:cubicBezTo>
                      <a:pt x="393" y="253"/>
                      <a:pt x="393" y="253"/>
                      <a:pt x="393" y="254"/>
                    </a:cubicBezTo>
                    <a:cubicBezTo>
                      <a:pt x="393" y="254"/>
                      <a:pt x="393" y="254"/>
                      <a:pt x="393" y="255"/>
                    </a:cubicBezTo>
                    <a:cubicBezTo>
                      <a:pt x="394" y="255"/>
                      <a:pt x="394" y="255"/>
                      <a:pt x="394" y="255"/>
                    </a:cubicBezTo>
                    <a:cubicBezTo>
                      <a:pt x="394" y="255"/>
                      <a:pt x="395" y="256"/>
                      <a:pt x="395" y="256"/>
                    </a:cubicBezTo>
                    <a:cubicBezTo>
                      <a:pt x="395" y="256"/>
                      <a:pt x="395" y="256"/>
                      <a:pt x="395" y="257"/>
                    </a:cubicBezTo>
                    <a:cubicBezTo>
                      <a:pt x="394" y="258"/>
                      <a:pt x="394" y="258"/>
                      <a:pt x="396" y="259"/>
                    </a:cubicBezTo>
                    <a:cubicBezTo>
                      <a:pt x="397" y="260"/>
                      <a:pt x="398" y="259"/>
                      <a:pt x="399" y="258"/>
                    </a:cubicBezTo>
                    <a:cubicBezTo>
                      <a:pt x="399" y="258"/>
                      <a:pt x="400" y="258"/>
                      <a:pt x="400" y="257"/>
                    </a:cubicBezTo>
                    <a:cubicBezTo>
                      <a:pt x="400" y="257"/>
                      <a:pt x="400" y="257"/>
                      <a:pt x="400" y="257"/>
                    </a:cubicBezTo>
                    <a:cubicBezTo>
                      <a:pt x="401" y="257"/>
                      <a:pt x="400" y="258"/>
                      <a:pt x="400" y="258"/>
                    </a:cubicBezTo>
                    <a:cubicBezTo>
                      <a:pt x="400" y="258"/>
                      <a:pt x="400" y="258"/>
                      <a:pt x="401" y="258"/>
                    </a:cubicBezTo>
                    <a:cubicBezTo>
                      <a:pt x="402" y="259"/>
                      <a:pt x="402" y="260"/>
                      <a:pt x="403" y="261"/>
                    </a:cubicBezTo>
                    <a:cubicBezTo>
                      <a:pt x="403" y="261"/>
                      <a:pt x="403" y="261"/>
                      <a:pt x="403" y="261"/>
                    </a:cubicBezTo>
                    <a:cubicBezTo>
                      <a:pt x="403" y="261"/>
                      <a:pt x="403" y="262"/>
                      <a:pt x="403" y="262"/>
                    </a:cubicBezTo>
                    <a:cubicBezTo>
                      <a:pt x="402" y="263"/>
                      <a:pt x="403" y="264"/>
                      <a:pt x="402" y="265"/>
                    </a:cubicBezTo>
                    <a:cubicBezTo>
                      <a:pt x="401" y="266"/>
                      <a:pt x="401" y="267"/>
                      <a:pt x="402" y="267"/>
                    </a:cubicBezTo>
                    <a:cubicBezTo>
                      <a:pt x="402" y="267"/>
                      <a:pt x="402" y="267"/>
                      <a:pt x="402" y="268"/>
                    </a:cubicBezTo>
                    <a:cubicBezTo>
                      <a:pt x="401" y="268"/>
                      <a:pt x="401" y="268"/>
                      <a:pt x="401" y="268"/>
                    </a:cubicBezTo>
                    <a:cubicBezTo>
                      <a:pt x="402" y="269"/>
                      <a:pt x="402" y="268"/>
                      <a:pt x="402" y="268"/>
                    </a:cubicBezTo>
                    <a:cubicBezTo>
                      <a:pt x="402" y="268"/>
                      <a:pt x="402" y="268"/>
                      <a:pt x="402" y="268"/>
                    </a:cubicBezTo>
                    <a:cubicBezTo>
                      <a:pt x="403" y="268"/>
                      <a:pt x="404" y="268"/>
                      <a:pt x="404" y="267"/>
                    </a:cubicBezTo>
                    <a:cubicBezTo>
                      <a:pt x="405" y="267"/>
                      <a:pt x="406" y="266"/>
                      <a:pt x="407" y="266"/>
                    </a:cubicBezTo>
                    <a:cubicBezTo>
                      <a:pt x="409" y="267"/>
                      <a:pt x="409" y="265"/>
                      <a:pt x="410" y="264"/>
                    </a:cubicBezTo>
                    <a:cubicBezTo>
                      <a:pt x="411" y="264"/>
                      <a:pt x="411" y="264"/>
                      <a:pt x="411" y="264"/>
                    </a:cubicBezTo>
                    <a:cubicBezTo>
                      <a:pt x="414" y="264"/>
                      <a:pt x="414" y="264"/>
                      <a:pt x="413" y="262"/>
                    </a:cubicBezTo>
                    <a:cubicBezTo>
                      <a:pt x="414" y="262"/>
                      <a:pt x="414" y="261"/>
                      <a:pt x="414" y="261"/>
                    </a:cubicBezTo>
                    <a:cubicBezTo>
                      <a:pt x="415" y="261"/>
                      <a:pt x="415" y="260"/>
                      <a:pt x="416" y="260"/>
                    </a:cubicBezTo>
                    <a:cubicBezTo>
                      <a:pt x="416" y="259"/>
                      <a:pt x="416" y="259"/>
                      <a:pt x="416" y="259"/>
                    </a:cubicBezTo>
                    <a:cubicBezTo>
                      <a:pt x="416" y="259"/>
                      <a:pt x="416" y="258"/>
                      <a:pt x="416" y="258"/>
                    </a:cubicBezTo>
                    <a:cubicBezTo>
                      <a:pt x="416" y="257"/>
                      <a:pt x="416" y="257"/>
                      <a:pt x="417" y="256"/>
                    </a:cubicBezTo>
                    <a:cubicBezTo>
                      <a:pt x="417" y="256"/>
                      <a:pt x="418" y="256"/>
                      <a:pt x="418" y="257"/>
                    </a:cubicBezTo>
                    <a:cubicBezTo>
                      <a:pt x="418" y="258"/>
                      <a:pt x="418" y="258"/>
                      <a:pt x="418" y="259"/>
                    </a:cubicBezTo>
                    <a:cubicBezTo>
                      <a:pt x="418" y="259"/>
                      <a:pt x="418" y="260"/>
                      <a:pt x="419" y="260"/>
                    </a:cubicBezTo>
                    <a:cubicBezTo>
                      <a:pt x="419" y="260"/>
                      <a:pt x="419" y="259"/>
                      <a:pt x="419" y="258"/>
                    </a:cubicBezTo>
                    <a:cubicBezTo>
                      <a:pt x="419" y="258"/>
                      <a:pt x="419" y="258"/>
                      <a:pt x="420" y="258"/>
                    </a:cubicBezTo>
                    <a:cubicBezTo>
                      <a:pt x="420" y="258"/>
                      <a:pt x="421" y="257"/>
                      <a:pt x="421" y="256"/>
                    </a:cubicBezTo>
                    <a:cubicBezTo>
                      <a:pt x="421" y="255"/>
                      <a:pt x="421" y="254"/>
                      <a:pt x="422" y="254"/>
                    </a:cubicBezTo>
                    <a:cubicBezTo>
                      <a:pt x="423" y="254"/>
                      <a:pt x="423" y="254"/>
                      <a:pt x="423" y="253"/>
                    </a:cubicBezTo>
                    <a:cubicBezTo>
                      <a:pt x="423" y="252"/>
                      <a:pt x="423" y="250"/>
                      <a:pt x="424" y="249"/>
                    </a:cubicBezTo>
                    <a:cubicBezTo>
                      <a:pt x="424" y="249"/>
                      <a:pt x="424" y="249"/>
                      <a:pt x="423" y="248"/>
                    </a:cubicBezTo>
                    <a:cubicBezTo>
                      <a:pt x="422" y="248"/>
                      <a:pt x="423" y="247"/>
                      <a:pt x="422" y="246"/>
                    </a:cubicBezTo>
                    <a:cubicBezTo>
                      <a:pt x="422" y="245"/>
                      <a:pt x="422" y="244"/>
                      <a:pt x="421" y="245"/>
                    </a:cubicBezTo>
                    <a:cubicBezTo>
                      <a:pt x="421" y="245"/>
                      <a:pt x="421" y="245"/>
                      <a:pt x="421" y="244"/>
                    </a:cubicBezTo>
                    <a:cubicBezTo>
                      <a:pt x="421" y="244"/>
                      <a:pt x="421" y="244"/>
                      <a:pt x="421" y="244"/>
                    </a:cubicBezTo>
                    <a:cubicBezTo>
                      <a:pt x="420" y="244"/>
                      <a:pt x="419" y="243"/>
                      <a:pt x="419" y="244"/>
                    </a:cubicBezTo>
                    <a:cubicBezTo>
                      <a:pt x="418" y="245"/>
                      <a:pt x="418" y="246"/>
                      <a:pt x="417" y="247"/>
                    </a:cubicBezTo>
                    <a:cubicBezTo>
                      <a:pt x="417" y="248"/>
                      <a:pt x="417" y="248"/>
                      <a:pt x="417" y="249"/>
                    </a:cubicBezTo>
                    <a:cubicBezTo>
                      <a:pt x="417" y="249"/>
                      <a:pt x="416" y="249"/>
                      <a:pt x="416" y="249"/>
                    </a:cubicBezTo>
                    <a:cubicBezTo>
                      <a:pt x="416" y="248"/>
                      <a:pt x="416" y="248"/>
                      <a:pt x="415" y="248"/>
                    </a:cubicBezTo>
                    <a:cubicBezTo>
                      <a:pt x="415" y="248"/>
                      <a:pt x="415" y="247"/>
                      <a:pt x="416" y="247"/>
                    </a:cubicBezTo>
                    <a:cubicBezTo>
                      <a:pt x="416" y="246"/>
                      <a:pt x="416" y="246"/>
                      <a:pt x="416" y="246"/>
                    </a:cubicBezTo>
                    <a:cubicBezTo>
                      <a:pt x="415" y="245"/>
                      <a:pt x="415" y="245"/>
                      <a:pt x="415" y="245"/>
                    </a:cubicBezTo>
                    <a:cubicBezTo>
                      <a:pt x="415" y="246"/>
                      <a:pt x="414" y="245"/>
                      <a:pt x="413" y="246"/>
                    </a:cubicBezTo>
                    <a:cubicBezTo>
                      <a:pt x="413" y="246"/>
                      <a:pt x="413" y="246"/>
                      <a:pt x="412" y="246"/>
                    </a:cubicBezTo>
                    <a:cubicBezTo>
                      <a:pt x="412" y="245"/>
                      <a:pt x="413" y="245"/>
                      <a:pt x="413" y="245"/>
                    </a:cubicBezTo>
                    <a:cubicBezTo>
                      <a:pt x="413" y="244"/>
                      <a:pt x="413" y="244"/>
                      <a:pt x="413" y="243"/>
                    </a:cubicBezTo>
                    <a:cubicBezTo>
                      <a:pt x="414" y="242"/>
                      <a:pt x="415" y="241"/>
                      <a:pt x="415" y="239"/>
                    </a:cubicBezTo>
                    <a:cubicBezTo>
                      <a:pt x="414" y="238"/>
                      <a:pt x="414" y="237"/>
                      <a:pt x="413" y="237"/>
                    </a:cubicBezTo>
                    <a:cubicBezTo>
                      <a:pt x="412" y="237"/>
                      <a:pt x="412" y="237"/>
                      <a:pt x="411" y="237"/>
                    </a:cubicBezTo>
                    <a:cubicBezTo>
                      <a:pt x="411" y="236"/>
                      <a:pt x="411" y="236"/>
                      <a:pt x="411" y="236"/>
                    </a:cubicBezTo>
                    <a:cubicBezTo>
                      <a:pt x="410" y="237"/>
                      <a:pt x="410" y="237"/>
                      <a:pt x="410" y="237"/>
                    </a:cubicBezTo>
                    <a:cubicBezTo>
                      <a:pt x="409" y="237"/>
                      <a:pt x="409" y="237"/>
                      <a:pt x="409" y="237"/>
                    </a:cubicBezTo>
                    <a:cubicBezTo>
                      <a:pt x="409" y="237"/>
                      <a:pt x="408" y="237"/>
                      <a:pt x="408" y="238"/>
                    </a:cubicBezTo>
                    <a:cubicBezTo>
                      <a:pt x="408" y="239"/>
                      <a:pt x="407" y="240"/>
                      <a:pt x="407" y="241"/>
                    </a:cubicBezTo>
                    <a:cubicBezTo>
                      <a:pt x="407" y="241"/>
                      <a:pt x="406" y="241"/>
                      <a:pt x="406" y="241"/>
                    </a:cubicBezTo>
                    <a:cubicBezTo>
                      <a:pt x="406" y="241"/>
                      <a:pt x="406" y="240"/>
                      <a:pt x="406" y="240"/>
                    </a:cubicBezTo>
                    <a:cubicBezTo>
                      <a:pt x="407" y="240"/>
                      <a:pt x="407" y="238"/>
                      <a:pt x="408" y="238"/>
                    </a:cubicBezTo>
                    <a:cubicBezTo>
                      <a:pt x="407" y="237"/>
                      <a:pt x="406" y="237"/>
                      <a:pt x="406" y="237"/>
                    </a:cubicBezTo>
                    <a:cubicBezTo>
                      <a:pt x="405" y="237"/>
                      <a:pt x="405" y="237"/>
                      <a:pt x="405" y="237"/>
                    </a:cubicBezTo>
                    <a:cubicBezTo>
                      <a:pt x="405" y="237"/>
                      <a:pt x="405" y="237"/>
                      <a:pt x="404" y="237"/>
                    </a:cubicBezTo>
                    <a:cubicBezTo>
                      <a:pt x="404" y="236"/>
                      <a:pt x="404" y="236"/>
                      <a:pt x="404" y="236"/>
                    </a:cubicBezTo>
                    <a:cubicBezTo>
                      <a:pt x="403" y="236"/>
                      <a:pt x="403" y="236"/>
                      <a:pt x="402" y="236"/>
                    </a:cubicBezTo>
                    <a:cubicBezTo>
                      <a:pt x="402" y="235"/>
                      <a:pt x="401" y="235"/>
                      <a:pt x="401" y="235"/>
                    </a:cubicBezTo>
                    <a:cubicBezTo>
                      <a:pt x="400" y="235"/>
                      <a:pt x="400" y="236"/>
                      <a:pt x="400" y="236"/>
                    </a:cubicBezTo>
                    <a:cubicBezTo>
                      <a:pt x="398" y="237"/>
                      <a:pt x="398" y="238"/>
                      <a:pt x="396" y="239"/>
                    </a:cubicBezTo>
                    <a:cubicBezTo>
                      <a:pt x="396" y="239"/>
                      <a:pt x="396" y="238"/>
                      <a:pt x="396" y="238"/>
                    </a:cubicBezTo>
                    <a:cubicBezTo>
                      <a:pt x="396" y="237"/>
                      <a:pt x="395" y="236"/>
                      <a:pt x="394" y="235"/>
                    </a:cubicBezTo>
                    <a:cubicBezTo>
                      <a:pt x="393" y="234"/>
                      <a:pt x="394" y="234"/>
                      <a:pt x="395" y="234"/>
                    </a:cubicBezTo>
                    <a:cubicBezTo>
                      <a:pt x="395" y="234"/>
                      <a:pt x="396" y="234"/>
                      <a:pt x="396" y="235"/>
                    </a:cubicBezTo>
                    <a:cubicBezTo>
                      <a:pt x="396" y="235"/>
                      <a:pt x="396" y="235"/>
                      <a:pt x="397" y="235"/>
                    </a:cubicBezTo>
                    <a:cubicBezTo>
                      <a:pt x="397" y="234"/>
                      <a:pt x="399" y="235"/>
                      <a:pt x="400" y="234"/>
                    </a:cubicBezTo>
                    <a:cubicBezTo>
                      <a:pt x="401" y="234"/>
                      <a:pt x="400" y="233"/>
                      <a:pt x="400" y="232"/>
                    </a:cubicBezTo>
                    <a:cubicBezTo>
                      <a:pt x="397" y="232"/>
                      <a:pt x="396" y="231"/>
                      <a:pt x="397" y="229"/>
                    </a:cubicBezTo>
                    <a:cubicBezTo>
                      <a:pt x="397" y="228"/>
                      <a:pt x="397" y="227"/>
                      <a:pt x="396" y="226"/>
                    </a:cubicBezTo>
                    <a:cubicBezTo>
                      <a:pt x="396" y="226"/>
                      <a:pt x="396" y="225"/>
                      <a:pt x="396" y="225"/>
                    </a:cubicBezTo>
                    <a:cubicBezTo>
                      <a:pt x="396" y="225"/>
                      <a:pt x="396" y="225"/>
                      <a:pt x="396" y="225"/>
                    </a:cubicBezTo>
                    <a:cubicBezTo>
                      <a:pt x="396" y="225"/>
                      <a:pt x="396" y="225"/>
                      <a:pt x="396" y="224"/>
                    </a:cubicBezTo>
                    <a:cubicBezTo>
                      <a:pt x="396" y="225"/>
                      <a:pt x="396" y="225"/>
                      <a:pt x="396" y="225"/>
                    </a:cubicBezTo>
                    <a:cubicBezTo>
                      <a:pt x="397" y="225"/>
                      <a:pt x="397" y="226"/>
                      <a:pt x="398" y="227"/>
                    </a:cubicBezTo>
                    <a:cubicBezTo>
                      <a:pt x="398" y="227"/>
                      <a:pt x="397" y="228"/>
                      <a:pt x="398" y="228"/>
                    </a:cubicBezTo>
                    <a:cubicBezTo>
                      <a:pt x="399" y="229"/>
                      <a:pt x="399" y="230"/>
                      <a:pt x="400" y="231"/>
                    </a:cubicBezTo>
                    <a:cubicBezTo>
                      <a:pt x="400" y="231"/>
                      <a:pt x="400" y="232"/>
                      <a:pt x="401" y="231"/>
                    </a:cubicBezTo>
                    <a:cubicBezTo>
                      <a:pt x="401" y="231"/>
                      <a:pt x="401" y="231"/>
                      <a:pt x="401" y="231"/>
                    </a:cubicBezTo>
                    <a:cubicBezTo>
                      <a:pt x="401" y="232"/>
                      <a:pt x="402" y="232"/>
                      <a:pt x="402" y="233"/>
                    </a:cubicBezTo>
                    <a:cubicBezTo>
                      <a:pt x="403" y="234"/>
                      <a:pt x="403" y="234"/>
                      <a:pt x="403" y="234"/>
                    </a:cubicBezTo>
                    <a:cubicBezTo>
                      <a:pt x="404" y="234"/>
                      <a:pt x="404" y="234"/>
                      <a:pt x="404" y="234"/>
                    </a:cubicBezTo>
                    <a:cubicBezTo>
                      <a:pt x="405" y="235"/>
                      <a:pt x="406" y="235"/>
                      <a:pt x="407" y="235"/>
                    </a:cubicBezTo>
                    <a:cubicBezTo>
                      <a:pt x="408" y="235"/>
                      <a:pt x="408" y="235"/>
                      <a:pt x="409" y="235"/>
                    </a:cubicBezTo>
                    <a:cubicBezTo>
                      <a:pt x="410" y="235"/>
                      <a:pt x="410" y="234"/>
                      <a:pt x="412" y="234"/>
                    </a:cubicBezTo>
                    <a:cubicBezTo>
                      <a:pt x="412" y="234"/>
                      <a:pt x="412" y="234"/>
                      <a:pt x="412" y="234"/>
                    </a:cubicBezTo>
                    <a:cubicBezTo>
                      <a:pt x="413" y="235"/>
                      <a:pt x="414" y="235"/>
                      <a:pt x="415" y="234"/>
                    </a:cubicBezTo>
                    <a:cubicBezTo>
                      <a:pt x="416" y="233"/>
                      <a:pt x="416" y="232"/>
                      <a:pt x="417" y="232"/>
                    </a:cubicBezTo>
                    <a:cubicBezTo>
                      <a:pt x="417" y="233"/>
                      <a:pt x="416" y="233"/>
                      <a:pt x="416" y="234"/>
                    </a:cubicBezTo>
                    <a:cubicBezTo>
                      <a:pt x="416" y="234"/>
                      <a:pt x="416" y="235"/>
                      <a:pt x="417" y="234"/>
                    </a:cubicBezTo>
                    <a:cubicBezTo>
                      <a:pt x="418" y="233"/>
                      <a:pt x="419" y="233"/>
                      <a:pt x="420" y="232"/>
                    </a:cubicBezTo>
                    <a:cubicBezTo>
                      <a:pt x="420" y="232"/>
                      <a:pt x="420" y="231"/>
                      <a:pt x="420" y="231"/>
                    </a:cubicBezTo>
                    <a:cubicBezTo>
                      <a:pt x="420" y="230"/>
                      <a:pt x="420" y="230"/>
                      <a:pt x="421" y="230"/>
                    </a:cubicBezTo>
                    <a:cubicBezTo>
                      <a:pt x="421" y="229"/>
                      <a:pt x="422" y="229"/>
                      <a:pt x="422" y="227"/>
                    </a:cubicBezTo>
                    <a:cubicBezTo>
                      <a:pt x="422" y="227"/>
                      <a:pt x="422" y="227"/>
                      <a:pt x="423" y="226"/>
                    </a:cubicBezTo>
                    <a:cubicBezTo>
                      <a:pt x="423" y="226"/>
                      <a:pt x="424" y="225"/>
                      <a:pt x="423" y="225"/>
                    </a:cubicBezTo>
                    <a:cubicBezTo>
                      <a:pt x="423" y="224"/>
                      <a:pt x="423" y="223"/>
                      <a:pt x="422" y="223"/>
                    </a:cubicBezTo>
                    <a:cubicBezTo>
                      <a:pt x="421" y="223"/>
                      <a:pt x="421" y="223"/>
                      <a:pt x="421" y="223"/>
                    </a:cubicBezTo>
                    <a:cubicBezTo>
                      <a:pt x="422" y="222"/>
                      <a:pt x="421" y="221"/>
                      <a:pt x="422" y="220"/>
                    </a:cubicBezTo>
                    <a:cubicBezTo>
                      <a:pt x="422" y="220"/>
                      <a:pt x="422" y="220"/>
                      <a:pt x="422" y="219"/>
                    </a:cubicBezTo>
                    <a:cubicBezTo>
                      <a:pt x="421" y="219"/>
                      <a:pt x="421" y="218"/>
                      <a:pt x="420" y="217"/>
                    </a:cubicBezTo>
                    <a:cubicBezTo>
                      <a:pt x="419" y="217"/>
                      <a:pt x="419" y="215"/>
                      <a:pt x="419" y="215"/>
                    </a:cubicBezTo>
                    <a:cubicBezTo>
                      <a:pt x="420" y="214"/>
                      <a:pt x="421" y="213"/>
                      <a:pt x="422" y="214"/>
                    </a:cubicBezTo>
                    <a:cubicBezTo>
                      <a:pt x="422" y="214"/>
                      <a:pt x="422" y="214"/>
                      <a:pt x="423" y="214"/>
                    </a:cubicBezTo>
                    <a:cubicBezTo>
                      <a:pt x="423" y="215"/>
                      <a:pt x="424" y="214"/>
                      <a:pt x="425" y="215"/>
                    </a:cubicBezTo>
                    <a:cubicBezTo>
                      <a:pt x="426" y="215"/>
                      <a:pt x="427" y="215"/>
                      <a:pt x="427" y="215"/>
                    </a:cubicBezTo>
                    <a:cubicBezTo>
                      <a:pt x="429" y="216"/>
                      <a:pt x="429" y="216"/>
                      <a:pt x="430" y="215"/>
                    </a:cubicBezTo>
                    <a:cubicBezTo>
                      <a:pt x="430" y="215"/>
                      <a:pt x="430" y="215"/>
                      <a:pt x="431" y="215"/>
                    </a:cubicBezTo>
                    <a:cubicBezTo>
                      <a:pt x="431" y="215"/>
                      <a:pt x="432" y="214"/>
                      <a:pt x="432" y="214"/>
                    </a:cubicBezTo>
                    <a:cubicBezTo>
                      <a:pt x="432" y="213"/>
                      <a:pt x="433" y="212"/>
                      <a:pt x="434" y="213"/>
                    </a:cubicBezTo>
                    <a:cubicBezTo>
                      <a:pt x="435" y="213"/>
                      <a:pt x="435" y="213"/>
                      <a:pt x="435" y="214"/>
                    </a:cubicBezTo>
                    <a:cubicBezTo>
                      <a:pt x="436" y="214"/>
                      <a:pt x="436" y="214"/>
                      <a:pt x="436" y="213"/>
                    </a:cubicBezTo>
                    <a:cubicBezTo>
                      <a:pt x="436" y="213"/>
                      <a:pt x="437" y="212"/>
                      <a:pt x="437" y="211"/>
                    </a:cubicBezTo>
                    <a:cubicBezTo>
                      <a:pt x="438" y="210"/>
                      <a:pt x="438" y="209"/>
                      <a:pt x="437" y="209"/>
                    </a:cubicBezTo>
                    <a:cubicBezTo>
                      <a:pt x="436" y="209"/>
                      <a:pt x="435" y="207"/>
                      <a:pt x="434" y="208"/>
                    </a:cubicBezTo>
                    <a:cubicBezTo>
                      <a:pt x="434" y="209"/>
                      <a:pt x="434" y="209"/>
                      <a:pt x="434" y="208"/>
                    </a:cubicBezTo>
                    <a:cubicBezTo>
                      <a:pt x="433" y="207"/>
                      <a:pt x="432" y="208"/>
                      <a:pt x="431" y="207"/>
                    </a:cubicBezTo>
                    <a:cubicBezTo>
                      <a:pt x="430" y="207"/>
                      <a:pt x="429" y="207"/>
                      <a:pt x="429" y="206"/>
                    </a:cubicBezTo>
                    <a:cubicBezTo>
                      <a:pt x="429" y="205"/>
                      <a:pt x="430" y="205"/>
                      <a:pt x="431" y="205"/>
                    </a:cubicBezTo>
                    <a:cubicBezTo>
                      <a:pt x="431" y="205"/>
                      <a:pt x="431" y="205"/>
                      <a:pt x="431" y="205"/>
                    </a:cubicBezTo>
                    <a:cubicBezTo>
                      <a:pt x="432" y="205"/>
                      <a:pt x="432" y="205"/>
                      <a:pt x="432" y="205"/>
                    </a:cubicBezTo>
                    <a:cubicBezTo>
                      <a:pt x="432" y="205"/>
                      <a:pt x="433" y="205"/>
                      <a:pt x="434" y="205"/>
                    </a:cubicBezTo>
                    <a:cubicBezTo>
                      <a:pt x="434" y="205"/>
                      <a:pt x="435" y="205"/>
                      <a:pt x="436" y="205"/>
                    </a:cubicBezTo>
                    <a:cubicBezTo>
                      <a:pt x="436" y="205"/>
                      <a:pt x="436" y="205"/>
                      <a:pt x="436" y="205"/>
                    </a:cubicBezTo>
                    <a:cubicBezTo>
                      <a:pt x="436" y="205"/>
                      <a:pt x="436" y="206"/>
                      <a:pt x="437" y="206"/>
                    </a:cubicBezTo>
                    <a:cubicBezTo>
                      <a:pt x="437" y="206"/>
                      <a:pt x="438" y="206"/>
                      <a:pt x="439" y="205"/>
                    </a:cubicBezTo>
                    <a:cubicBezTo>
                      <a:pt x="439" y="205"/>
                      <a:pt x="439" y="204"/>
                      <a:pt x="439" y="203"/>
                    </a:cubicBezTo>
                    <a:cubicBezTo>
                      <a:pt x="440" y="203"/>
                      <a:pt x="440" y="203"/>
                      <a:pt x="440" y="203"/>
                    </a:cubicBezTo>
                    <a:cubicBezTo>
                      <a:pt x="441" y="202"/>
                      <a:pt x="441" y="202"/>
                      <a:pt x="441" y="202"/>
                    </a:cubicBezTo>
                    <a:cubicBezTo>
                      <a:pt x="441" y="201"/>
                      <a:pt x="441" y="201"/>
                      <a:pt x="441" y="200"/>
                    </a:cubicBezTo>
                    <a:cubicBezTo>
                      <a:pt x="440" y="200"/>
                      <a:pt x="440" y="200"/>
                      <a:pt x="440" y="199"/>
                    </a:cubicBezTo>
                    <a:cubicBezTo>
                      <a:pt x="439" y="199"/>
                      <a:pt x="438" y="198"/>
                      <a:pt x="437" y="198"/>
                    </a:cubicBezTo>
                    <a:cubicBezTo>
                      <a:pt x="437" y="198"/>
                      <a:pt x="436" y="198"/>
                      <a:pt x="436" y="198"/>
                    </a:cubicBezTo>
                    <a:cubicBezTo>
                      <a:pt x="435" y="197"/>
                      <a:pt x="435" y="197"/>
                      <a:pt x="435" y="197"/>
                    </a:cubicBezTo>
                    <a:cubicBezTo>
                      <a:pt x="434" y="197"/>
                      <a:pt x="434" y="196"/>
                      <a:pt x="434" y="196"/>
                    </a:cubicBezTo>
                    <a:cubicBezTo>
                      <a:pt x="433" y="196"/>
                      <a:pt x="433" y="196"/>
                      <a:pt x="432" y="196"/>
                    </a:cubicBezTo>
                    <a:cubicBezTo>
                      <a:pt x="431" y="196"/>
                      <a:pt x="431" y="196"/>
                      <a:pt x="431" y="195"/>
                    </a:cubicBezTo>
                    <a:cubicBezTo>
                      <a:pt x="431" y="195"/>
                      <a:pt x="431" y="195"/>
                      <a:pt x="432" y="195"/>
                    </a:cubicBezTo>
                    <a:cubicBezTo>
                      <a:pt x="433" y="195"/>
                      <a:pt x="434" y="195"/>
                      <a:pt x="435" y="196"/>
                    </a:cubicBezTo>
                    <a:cubicBezTo>
                      <a:pt x="437" y="197"/>
                      <a:pt x="438" y="197"/>
                      <a:pt x="439" y="196"/>
                    </a:cubicBezTo>
                    <a:cubicBezTo>
                      <a:pt x="440" y="195"/>
                      <a:pt x="440" y="195"/>
                      <a:pt x="441" y="195"/>
                    </a:cubicBezTo>
                    <a:cubicBezTo>
                      <a:pt x="441" y="195"/>
                      <a:pt x="442" y="195"/>
                      <a:pt x="442" y="195"/>
                    </a:cubicBezTo>
                    <a:cubicBezTo>
                      <a:pt x="442" y="194"/>
                      <a:pt x="443" y="193"/>
                      <a:pt x="444" y="193"/>
                    </a:cubicBezTo>
                    <a:cubicBezTo>
                      <a:pt x="444" y="193"/>
                      <a:pt x="444" y="192"/>
                      <a:pt x="444" y="192"/>
                    </a:cubicBezTo>
                    <a:cubicBezTo>
                      <a:pt x="443" y="192"/>
                      <a:pt x="443" y="191"/>
                      <a:pt x="443" y="191"/>
                    </a:cubicBezTo>
                    <a:cubicBezTo>
                      <a:pt x="443" y="190"/>
                      <a:pt x="444" y="190"/>
                      <a:pt x="444" y="189"/>
                    </a:cubicBezTo>
                    <a:cubicBezTo>
                      <a:pt x="443" y="188"/>
                      <a:pt x="443" y="187"/>
                      <a:pt x="443" y="186"/>
                    </a:cubicBezTo>
                    <a:cubicBezTo>
                      <a:pt x="443" y="185"/>
                      <a:pt x="443" y="184"/>
                      <a:pt x="442" y="184"/>
                    </a:cubicBezTo>
                    <a:cubicBezTo>
                      <a:pt x="440" y="183"/>
                      <a:pt x="439" y="182"/>
                      <a:pt x="437" y="183"/>
                    </a:cubicBezTo>
                    <a:cubicBezTo>
                      <a:pt x="436" y="183"/>
                      <a:pt x="435" y="183"/>
                      <a:pt x="434" y="183"/>
                    </a:cubicBezTo>
                    <a:cubicBezTo>
                      <a:pt x="433" y="183"/>
                      <a:pt x="433" y="183"/>
                      <a:pt x="433" y="183"/>
                    </a:cubicBezTo>
                    <a:cubicBezTo>
                      <a:pt x="433" y="184"/>
                      <a:pt x="433" y="184"/>
                      <a:pt x="433" y="184"/>
                    </a:cubicBezTo>
                    <a:cubicBezTo>
                      <a:pt x="433" y="184"/>
                      <a:pt x="432" y="185"/>
                      <a:pt x="432" y="184"/>
                    </a:cubicBezTo>
                    <a:cubicBezTo>
                      <a:pt x="432" y="184"/>
                      <a:pt x="432" y="184"/>
                      <a:pt x="432" y="184"/>
                    </a:cubicBezTo>
                    <a:cubicBezTo>
                      <a:pt x="433" y="182"/>
                      <a:pt x="434" y="182"/>
                      <a:pt x="435" y="182"/>
                    </a:cubicBezTo>
                    <a:cubicBezTo>
                      <a:pt x="436" y="182"/>
                      <a:pt x="437" y="181"/>
                      <a:pt x="437" y="180"/>
                    </a:cubicBezTo>
                    <a:cubicBezTo>
                      <a:pt x="436" y="180"/>
                      <a:pt x="436" y="180"/>
                      <a:pt x="435" y="179"/>
                    </a:cubicBezTo>
                    <a:cubicBezTo>
                      <a:pt x="433" y="178"/>
                      <a:pt x="431" y="178"/>
                      <a:pt x="429" y="179"/>
                    </a:cubicBezTo>
                    <a:cubicBezTo>
                      <a:pt x="428" y="179"/>
                      <a:pt x="428" y="179"/>
                      <a:pt x="427" y="179"/>
                    </a:cubicBezTo>
                    <a:cubicBezTo>
                      <a:pt x="427" y="179"/>
                      <a:pt x="426" y="179"/>
                      <a:pt x="426" y="180"/>
                    </a:cubicBezTo>
                    <a:cubicBezTo>
                      <a:pt x="425" y="180"/>
                      <a:pt x="425" y="180"/>
                      <a:pt x="425" y="180"/>
                    </a:cubicBezTo>
                    <a:cubicBezTo>
                      <a:pt x="425" y="179"/>
                      <a:pt x="424" y="180"/>
                      <a:pt x="424" y="180"/>
                    </a:cubicBezTo>
                    <a:cubicBezTo>
                      <a:pt x="423" y="181"/>
                      <a:pt x="422" y="183"/>
                      <a:pt x="421" y="185"/>
                    </a:cubicBezTo>
                    <a:cubicBezTo>
                      <a:pt x="421" y="185"/>
                      <a:pt x="421" y="186"/>
                      <a:pt x="421" y="186"/>
                    </a:cubicBezTo>
                    <a:cubicBezTo>
                      <a:pt x="421" y="186"/>
                      <a:pt x="421" y="187"/>
                      <a:pt x="420" y="187"/>
                    </a:cubicBezTo>
                    <a:cubicBezTo>
                      <a:pt x="420" y="187"/>
                      <a:pt x="420" y="187"/>
                      <a:pt x="420" y="187"/>
                    </a:cubicBezTo>
                    <a:cubicBezTo>
                      <a:pt x="420" y="185"/>
                      <a:pt x="421" y="184"/>
                      <a:pt x="422" y="182"/>
                    </a:cubicBezTo>
                    <a:cubicBezTo>
                      <a:pt x="422" y="181"/>
                      <a:pt x="422" y="181"/>
                      <a:pt x="423" y="180"/>
                    </a:cubicBezTo>
                    <a:cubicBezTo>
                      <a:pt x="424" y="179"/>
                      <a:pt x="424" y="178"/>
                      <a:pt x="423" y="177"/>
                    </a:cubicBezTo>
                    <a:cubicBezTo>
                      <a:pt x="423" y="177"/>
                      <a:pt x="423" y="177"/>
                      <a:pt x="423" y="177"/>
                    </a:cubicBezTo>
                    <a:cubicBezTo>
                      <a:pt x="423" y="177"/>
                      <a:pt x="423" y="177"/>
                      <a:pt x="423" y="177"/>
                    </a:cubicBezTo>
                    <a:cubicBezTo>
                      <a:pt x="423" y="177"/>
                      <a:pt x="423" y="177"/>
                      <a:pt x="423" y="177"/>
                    </a:cubicBezTo>
                    <a:cubicBezTo>
                      <a:pt x="423" y="177"/>
                      <a:pt x="424" y="177"/>
                      <a:pt x="424" y="177"/>
                    </a:cubicBezTo>
                    <a:cubicBezTo>
                      <a:pt x="424" y="178"/>
                      <a:pt x="424" y="178"/>
                      <a:pt x="425" y="178"/>
                    </a:cubicBezTo>
                    <a:cubicBezTo>
                      <a:pt x="426" y="178"/>
                      <a:pt x="427" y="177"/>
                      <a:pt x="428" y="177"/>
                    </a:cubicBezTo>
                    <a:cubicBezTo>
                      <a:pt x="429" y="176"/>
                      <a:pt x="431" y="176"/>
                      <a:pt x="433" y="176"/>
                    </a:cubicBezTo>
                    <a:cubicBezTo>
                      <a:pt x="433" y="177"/>
                      <a:pt x="434" y="177"/>
                      <a:pt x="434" y="176"/>
                    </a:cubicBezTo>
                    <a:cubicBezTo>
                      <a:pt x="434" y="176"/>
                      <a:pt x="434" y="175"/>
                      <a:pt x="434" y="175"/>
                    </a:cubicBezTo>
                    <a:cubicBezTo>
                      <a:pt x="434" y="174"/>
                      <a:pt x="433" y="175"/>
                      <a:pt x="433" y="175"/>
                    </a:cubicBezTo>
                    <a:cubicBezTo>
                      <a:pt x="432" y="175"/>
                      <a:pt x="432" y="174"/>
                      <a:pt x="431" y="174"/>
                    </a:cubicBezTo>
                    <a:cubicBezTo>
                      <a:pt x="430" y="174"/>
                      <a:pt x="429" y="174"/>
                      <a:pt x="428" y="174"/>
                    </a:cubicBezTo>
                    <a:cubicBezTo>
                      <a:pt x="428" y="174"/>
                      <a:pt x="428" y="174"/>
                      <a:pt x="428" y="174"/>
                    </a:cubicBezTo>
                    <a:cubicBezTo>
                      <a:pt x="427" y="174"/>
                      <a:pt x="426" y="173"/>
                      <a:pt x="425" y="173"/>
                    </a:cubicBezTo>
                    <a:cubicBezTo>
                      <a:pt x="423" y="173"/>
                      <a:pt x="422" y="173"/>
                      <a:pt x="420" y="174"/>
                    </a:cubicBezTo>
                    <a:cubicBezTo>
                      <a:pt x="420" y="173"/>
                      <a:pt x="421" y="173"/>
                      <a:pt x="421" y="172"/>
                    </a:cubicBezTo>
                    <a:cubicBezTo>
                      <a:pt x="421" y="172"/>
                      <a:pt x="422" y="172"/>
                      <a:pt x="422" y="172"/>
                    </a:cubicBezTo>
                    <a:cubicBezTo>
                      <a:pt x="423" y="172"/>
                      <a:pt x="423" y="172"/>
                      <a:pt x="424" y="172"/>
                    </a:cubicBezTo>
                    <a:cubicBezTo>
                      <a:pt x="424" y="172"/>
                      <a:pt x="424" y="172"/>
                      <a:pt x="424" y="172"/>
                    </a:cubicBezTo>
                    <a:cubicBezTo>
                      <a:pt x="425" y="172"/>
                      <a:pt x="426" y="172"/>
                      <a:pt x="427" y="173"/>
                    </a:cubicBezTo>
                    <a:cubicBezTo>
                      <a:pt x="428" y="173"/>
                      <a:pt x="428" y="173"/>
                      <a:pt x="429" y="173"/>
                    </a:cubicBezTo>
                    <a:cubicBezTo>
                      <a:pt x="431" y="172"/>
                      <a:pt x="433" y="172"/>
                      <a:pt x="434" y="172"/>
                    </a:cubicBezTo>
                    <a:cubicBezTo>
                      <a:pt x="435" y="173"/>
                      <a:pt x="437" y="173"/>
                      <a:pt x="436" y="175"/>
                    </a:cubicBezTo>
                    <a:cubicBezTo>
                      <a:pt x="436" y="176"/>
                      <a:pt x="437" y="176"/>
                      <a:pt x="437" y="177"/>
                    </a:cubicBezTo>
                    <a:cubicBezTo>
                      <a:pt x="439" y="178"/>
                      <a:pt x="441" y="178"/>
                      <a:pt x="443" y="178"/>
                    </a:cubicBezTo>
                    <a:cubicBezTo>
                      <a:pt x="444" y="179"/>
                      <a:pt x="445" y="179"/>
                      <a:pt x="446" y="178"/>
                    </a:cubicBezTo>
                    <a:cubicBezTo>
                      <a:pt x="446" y="177"/>
                      <a:pt x="445" y="177"/>
                      <a:pt x="445" y="176"/>
                    </a:cubicBezTo>
                    <a:cubicBezTo>
                      <a:pt x="445" y="176"/>
                      <a:pt x="445" y="175"/>
                      <a:pt x="444" y="175"/>
                    </a:cubicBezTo>
                    <a:cubicBezTo>
                      <a:pt x="444" y="175"/>
                      <a:pt x="445" y="174"/>
                      <a:pt x="444" y="174"/>
                    </a:cubicBezTo>
                    <a:cubicBezTo>
                      <a:pt x="444" y="173"/>
                      <a:pt x="443" y="173"/>
                      <a:pt x="443" y="173"/>
                    </a:cubicBezTo>
                    <a:cubicBezTo>
                      <a:pt x="444" y="173"/>
                      <a:pt x="444" y="172"/>
                      <a:pt x="445" y="172"/>
                    </a:cubicBezTo>
                    <a:cubicBezTo>
                      <a:pt x="445" y="172"/>
                      <a:pt x="445" y="171"/>
                      <a:pt x="445" y="171"/>
                    </a:cubicBezTo>
                    <a:cubicBezTo>
                      <a:pt x="444" y="171"/>
                      <a:pt x="443" y="171"/>
                      <a:pt x="442" y="171"/>
                    </a:cubicBezTo>
                    <a:cubicBezTo>
                      <a:pt x="442" y="171"/>
                      <a:pt x="442" y="171"/>
                      <a:pt x="442" y="170"/>
                    </a:cubicBezTo>
                    <a:cubicBezTo>
                      <a:pt x="440" y="170"/>
                      <a:pt x="439" y="170"/>
                      <a:pt x="437" y="170"/>
                    </a:cubicBezTo>
                    <a:cubicBezTo>
                      <a:pt x="437" y="170"/>
                      <a:pt x="436" y="171"/>
                      <a:pt x="435" y="170"/>
                    </a:cubicBezTo>
                    <a:cubicBezTo>
                      <a:pt x="435" y="170"/>
                      <a:pt x="435" y="169"/>
                      <a:pt x="434" y="169"/>
                    </a:cubicBezTo>
                    <a:cubicBezTo>
                      <a:pt x="431" y="169"/>
                      <a:pt x="428" y="168"/>
                      <a:pt x="425" y="170"/>
                    </a:cubicBezTo>
                    <a:cubicBezTo>
                      <a:pt x="425" y="170"/>
                      <a:pt x="425" y="170"/>
                      <a:pt x="425" y="170"/>
                    </a:cubicBezTo>
                    <a:cubicBezTo>
                      <a:pt x="425" y="170"/>
                      <a:pt x="425" y="170"/>
                      <a:pt x="426" y="170"/>
                    </a:cubicBezTo>
                    <a:cubicBezTo>
                      <a:pt x="426" y="169"/>
                      <a:pt x="426" y="169"/>
                      <a:pt x="426" y="169"/>
                    </a:cubicBezTo>
                    <a:cubicBezTo>
                      <a:pt x="426" y="169"/>
                      <a:pt x="426" y="169"/>
                      <a:pt x="425" y="169"/>
                    </a:cubicBezTo>
                    <a:cubicBezTo>
                      <a:pt x="425" y="168"/>
                      <a:pt x="424" y="168"/>
                      <a:pt x="424" y="168"/>
                    </a:cubicBezTo>
                    <a:cubicBezTo>
                      <a:pt x="423" y="168"/>
                      <a:pt x="422" y="167"/>
                      <a:pt x="422" y="167"/>
                    </a:cubicBezTo>
                    <a:cubicBezTo>
                      <a:pt x="422" y="166"/>
                      <a:pt x="422" y="166"/>
                      <a:pt x="422" y="166"/>
                    </a:cubicBezTo>
                    <a:cubicBezTo>
                      <a:pt x="424" y="167"/>
                      <a:pt x="425" y="167"/>
                      <a:pt x="427" y="167"/>
                    </a:cubicBezTo>
                    <a:cubicBezTo>
                      <a:pt x="427" y="167"/>
                      <a:pt x="427" y="167"/>
                      <a:pt x="427" y="166"/>
                    </a:cubicBezTo>
                    <a:cubicBezTo>
                      <a:pt x="427" y="165"/>
                      <a:pt x="426" y="164"/>
                      <a:pt x="426" y="163"/>
                    </a:cubicBezTo>
                    <a:cubicBezTo>
                      <a:pt x="426" y="163"/>
                      <a:pt x="426" y="163"/>
                      <a:pt x="426" y="163"/>
                    </a:cubicBezTo>
                    <a:cubicBezTo>
                      <a:pt x="427" y="163"/>
                      <a:pt x="427" y="163"/>
                      <a:pt x="427" y="162"/>
                    </a:cubicBezTo>
                    <a:cubicBezTo>
                      <a:pt x="428" y="164"/>
                      <a:pt x="428" y="165"/>
                      <a:pt x="429" y="166"/>
                    </a:cubicBezTo>
                    <a:cubicBezTo>
                      <a:pt x="429" y="166"/>
                      <a:pt x="430" y="167"/>
                      <a:pt x="431" y="167"/>
                    </a:cubicBezTo>
                    <a:cubicBezTo>
                      <a:pt x="431" y="167"/>
                      <a:pt x="432" y="167"/>
                      <a:pt x="432" y="167"/>
                    </a:cubicBezTo>
                    <a:cubicBezTo>
                      <a:pt x="433" y="167"/>
                      <a:pt x="435" y="167"/>
                      <a:pt x="436" y="166"/>
                    </a:cubicBezTo>
                    <a:cubicBezTo>
                      <a:pt x="435" y="166"/>
                      <a:pt x="434" y="165"/>
                      <a:pt x="434" y="164"/>
                    </a:cubicBezTo>
                    <a:cubicBezTo>
                      <a:pt x="434" y="164"/>
                      <a:pt x="434" y="163"/>
                      <a:pt x="434" y="163"/>
                    </a:cubicBezTo>
                    <a:cubicBezTo>
                      <a:pt x="433" y="162"/>
                      <a:pt x="431" y="162"/>
                      <a:pt x="430" y="162"/>
                    </a:cubicBezTo>
                    <a:cubicBezTo>
                      <a:pt x="429" y="161"/>
                      <a:pt x="428" y="161"/>
                      <a:pt x="427" y="161"/>
                    </a:cubicBezTo>
                    <a:cubicBezTo>
                      <a:pt x="427" y="161"/>
                      <a:pt x="427" y="160"/>
                      <a:pt x="427" y="160"/>
                    </a:cubicBezTo>
                    <a:cubicBezTo>
                      <a:pt x="427" y="160"/>
                      <a:pt x="428" y="159"/>
                      <a:pt x="428" y="159"/>
                    </a:cubicBezTo>
                    <a:cubicBezTo>
                      <a:pt x="428" y="160"/>
                      <a:pt x="428" y="160"/>
                      <a:pt x="429" y="160"/>
                    </a:cubicBezTo>
                    <a:cubicBezTo>
                      <a:pt x="429" y="161"/>
                      <a:pt x="429" y="161"/>
                      <a:pt x="429" y="161"/>
                    </a:cubicBezTo>
                    <a:cubicBezTo>
                      <a:pt x="429" y="161"/>
                      <a:pt x="430" y="160"/>
                      <a:pt x="431" y="160"/>
                    </a:cubicBezTo>
                    <a:cubicBezTo>
                      <a:pt x="431" y="161"/>
                      <a:pt x="432" y="161"/>
                      <a:pt x="433" y="161"/>
                    </a:cubicBezTo>
                    <a:cubicBezTo>
                      <a:pt x="433" y="161"/>
                      <a:pt x="433" y="161"/>
                      <a:pt x="433" y="161"/>
                    </a:cubicBezTo>
                    <a:cubicBezTo>
                      <a:pt x="434" y="161"/>
                      <a:pt x="434" y="161"/>
                      <a:pt x="434" y="161"/>
                    </a:cubicBezTo>
                    <a:cubicBezTo>
                      <a:pt x="434" y="161"/>
                      <a:pt x="434" y="162"/>
                      <a:pt x="435" y="162"/>
                    </a:cubicBezTo>
                    <a:cubicBezTo>
                      <a:pt x="435" y="162"/>
                      <a:pt x="435" y="163"/>
                      <a:pt x="435" y="163"/>
                    </a:cubicBezTo>
                    <a:cubicBezTo>
                      <a:pt x="435" y="164"/>
                      <a:pt x="436" y="163"/>
                      <a:pt x="437" y="163"/>
                    </a:cubicBezTo>
                    <a:cubicBezTo>
                      <a:pt x="437" y="163"/>
                      <a:pt x="436" y="164"/>
                      <a:pt x="437" y="164"/>
                    </a:cubicBezTo>
                    <a:cubicBezTo>
                      <a:pt x="438" y="164"/>
                      <a:pt x="438" y="164"/>
                      <a:pt x="438" y="164"/>
                    </a:cubicBezTo>
                    <a:cubicBezTo>
                      <a:pt x="439" y="165"/>
                      <a:pt x="439" y="166"/>
                      <a:pt x="440" y="165"/>
                    </a:cubicBezTo>
                    <a:cubicBezTo>
                      <a:pt x="440" y="166"/>
                      <a:pt x="441" y="166"/>
                      <a:pt x="442" y="166"/>
                    </a:cubicBezTo>
                    <a:cubicBezTo>
                      <a:pt x="442" y="166"/>
                      <a:pt x="443" y="165"/>
                      <a:pt x="443" y="165"/>
                    </a:cubicBezTo>
                    <a:cubicBezTo>
                      <a:pt x="443" y="164"/>
                      <a:pt x="443" y="163"/>
                      <a:pt x="442" y="163"/>
                    </a:cubicBezTo>
                    <a:cubicBezTo>
                      <a:pt x="442" y="162"/>
                      <a:pt x="442" y="162"/>
                      <a:pt x="442" y="161"/>
                    </a:cubicBezTo>
                    <a:cubicBezTo>
                      <a:pt x="442" y="160"/>
                      <a:pt x="443" y="162"/>
                      <a:pt x="443" y="162"/>
                    </a:cubicBezTo>
                    <a:cubicBezTo>
                      <a:pt x="444" y="162"/>
                      <a:pt x="444" y="163"/>
                      <a:pt x="445" y="163"/>
                    </a:cubicBezTo>
                    <a:cubicBezTo>
                      <a:pt x="445" y="163"/>
                      <a:pt x="446" y="163"/>
                      <a:pt x="447" y="163"/>
                    </a:cubicBezTo>
                    <a:cubicBezTo>
                      <a:pt x="448" y="164"/>
                      <a:pt x="449" y="163"/>
                      <a:pt x="449" y="161"/>
                    </a:cubicBezTo>
                    <a:cubicBezTo>
                      <a:pt x="449" y="160"/>
                      <a:pt x="449" y="160"/>
                      <a:pt x="449" y="159"/>
                    </a:cubicBezTo>
                    <a:cubicBezTo>
                      <a:pt x="449" y="159"/>
                      <a:pt x="449" y="159"/>
                      <a:pt x="449" y="159"/>
                    </a:cubicBezTo>
                    <a:cubicBezTo>
                      <a:pt x="450" y="160"/>
                      <a:pt x="449" y="161"/>
                      <a:pt x="450" y="161"/>
                    </a:cubicBezTo>
                    <a:cubicBezTo>
                      <a:pt x="450" y="161"/>
                      <a:pt x="451" y="161"/>
                      <a:pt x="451" y="161"/>
                    </a:cubicBezTo>
                    <a:cubicBezTo>
                      <a:pt x="451" y="161"/>
                      <a:pt x="451" y="161"/>
                      <a:pt x="452" y="161"/>
                    </a:cubicBezTo>
                    <a:cubicBezTo>
                      <a:pt x="452" y="161"/>
                      <a:pt x="454" y="161"/>
                      <a:pt x="454" y="160"/>
                    </a:cubicBezTo>
                    <a:cubicBezTo>
                      <a:pt x="454" y="157"/>
                      <a:pt x="454" y="155"/>
                      <a:pt x="453" y="153"/>
                    </a:cubicBezTo>
                    <a:cubicBezTo>
                      <a:pt x="453" y="153"/>
                      <a:pt x="453" y="152"/>
                      <a:pt x="453" y="152"/>
                    </a:cubicBezTo>
                    <a:cubicBezTo>
                      <a:pt x="453" y="151"/>
                      <a:pt x="453" y="151"/>
                      <a:pt x="452" y="151"/>
                    </a:cubicBezTo>
                    <a:cubicBezTo>
                      <a:pt x="452" y="151"/>
                      <a:pt x="451" y="152"/>
                      <a:pt x="450" y="151"/>
                    </a:cubicBezTo>
                    <a:cubicBezTo>
                      <a:pt x="449" y="150"/>
                      <a:pt x="448" y="150"/>
                      <a:pt x="446" y="150"/>
                    </a:cubicBezTo>
                    <a:cubicBezTo>
                      <a:pt x="444" y="150"/>
                      <a:pt x="444" y="150"/>
                      <a:pt x="443" y="148"/>
                    </a:cubicBezTo>
                    <a:cubicBezTo>
                      <a:pt x="444" y="148"/>
                      <a:pt x="445" y="148"/>
                      <a:pt x="446" y="147"/>
                    </a:cubicBezTo>
                    <a:cubicBezTo>
                      <a:pt x="447" y="146"/>
                      <a:pt x="448" y="147"/>
                      <a:pt x="449" y="147"/>
                    </a:cubicBezTo>
                    <a:cubicBezTo>
                      <a:pt x="449" y="148"/>
                      <a:pt x="450" y="148"/>
                      <a:pt x="450" y="148"/>
                    </a:cubicBezTo>
                    <a:cubicBezTo>
                      <a:pt x="450" y="148"/>
                      <a:pt x="449" y="148"/>
                      <a:pt x="449" y="149"/>
                    </a:cubicBezTo>
                    <a:cubicBezTo>
                      <a:pt x="450" y="150"/>
                      <a:pt x="450" y="149"/>
                      <a:pt x="451" y="149"/>
                    </a:cubicBezTo>
                    <a:cubicBezTo>
                      <a:pt x="452" y="149"/>
                      <a:pt x="454" y="149"/>
                      <a:pt x="455" y="150"/>
                    </a:cubicBezTo>
                    <a:cubicBezTo>
                      <a:pt x="455" y="150"/>
                      <a:pt x="455" y="150"/>
                      <a:pt x="455" y="151"/>
                    </a:cubicBezTo>
                    <a:cubicBezTo>
                      <a:pt x="455" y="151"/>
                      <a:pt x="455" y="152"/>
                      <a:pt x="455" y="152"/>
                    </a:cubicBezTo>
                    <a:cubicBezTo>
                      <a:pt x="455" y="153"/>
                      <a:pt x="456" y="154"/>
                      <a:pt x="457" y="154"/>
                    </a:cubicBezTo>
                    <a:cubicBezTo>
                      <a:pt x="457" y="154"/>
                      <a:pt x="457" y="154"/>
                      <a:pt x="457" y="154"/>
                    </a:cubicBezTo>
                    <a:cubicBezTo>
                      <a:pt x="457" y="155"/>
                      <a:pt x="457" y="155"/>
                      <a:pt x="458" y="155"/>
                    </a:cubicBezTo>
                    <a:cubicBezTo>
                      <a:pt x="459" y="154"/>
                      <a:pt x="459" y="155"/>
                      <a:pt x="460" y="155"/>
                    </a:cubicBezTo>
                    <a:cubicBezTo>
                      <a:pt x="461" y="154"/>
                      <a:pt x="463" y="154"/>
                      <a:pt x="464" y="153"/>
                    </a:cubicBezTo>
                    <a:cubicBezTo>
                      <a:pt x="466" y="152"/>
                      <a:pt x="467" y="151"/>
                      <a:pt x="468" y="150"/>
                    </a:cubicBezTo>
                    <a:cubicBezTo>
                      <a:pt x="468" y="149"/>
                      <a:pt x="468" y="148"/>
                      <a:pt x="469" y="148"/>
                    </a:cubicBezTo>
                    <a:cubicBezTo>
                      <a:pt x="469" y="148"/>
                      <a:pt x="469" y="147"/>
                      <a:pt x="469" y="147"/>
                    </a:cubicBezTo>
                    <a:cubicBezTo>
                      <a:pt x="469" y="146"/>
                      <a:pt x="468" y="146"/>
                      <a:pt x="468" y="146"/>
                    </a:cubicBezTo>
                    <a:cubicBezTo>
                      <a:pt x="467" y="146"/>
                      <a:pt x="467" y="146"/>
                      <a:pt x="466" y="146"/>
                    </a:cubicBezTo>
                    <a:cubicBezTo>
                      <a:pt x="466" y="146"/>
                      <a:pt x="466" y="147"/>
                      <a:pt x="466" y="146"/>
                    </a:cubicBezTo>
                    <a:cubicBezTo>
                      <a:pt x="466" y="145"/>
                      <a:pt x="466" y="144"/>
                      <a:pt x="468" y="144"/>
                    </a:cubicBezTo>
                    <a:cubicBezTo>
                      <a:pt x="469" y="144"/>
                      <a:pt x="470" y="143"/>
                      <a:pt x="470" y="142"/>
                    </a:cubicBezTo>
                    <a:cubicBezTo>
                      <a:pt x="470" y="142"/>
                      <a:pt x="470" y="141"/>
                      <a:pt x="471" y="141"/>
                    </a:cubicBezTo>
                    <a:cubicBezTo>
                      <a:pt x="472" y="140"/>
                      <a:pt x="471" y="138"/>
                      <a:pt x="470" y="138"/>
                    </a:cubicBezTo>
                    <a:cubicBezTo>
                      <a:pt x="469" y="138"/>
                      <a:pt x="467" y="139"/>
                      <a:pt x="466" y="139"/>
                    </a:cubicBezTo>
                    <a:cubicBezTo>
                      <a:pt x="465" y="139"/>
                      <a:pt x="465" y="140"/>
                      <a:pt x="464" y="140"/>
                    </a:cubicBezTo>
                    <a:cubicBezTo>
                      <a:pt x="463" y="140"/>
                      <a:pt x="461" y="140"/>
                      <a:pt x="460" y="140"/>
                    </a:cubicBezTo>
                    <a:cubicBezTo>
                      <a:pt x="459" y="140"/>
                      <a:pt x="459" y="140"/>
                      <a:pt x="460" y="139"/>
                    </a:cubicBezTo>
                    <a:cubicBezTo>
                      <a:pt x="460" y="139"/>
                      <a:pt x="460" y="139"/>
                      <a:pt x="460" y="139"/>
                    </a:cubicBezTo>
                    <a:cubicBezTo>
                      <a:pt x="461" y="139"/>
                      <a:pt x="462" y="139"/>
                      <a:pt x="462" y="138"/>
                    </a:cubicBezTo>
                    <a:cubicBezTo>
                      <a:pt x="462" y="138"/>
                      <a:pt x="462" y="137"/>
                      <a:pt x="461" y="137"/>
                    </a:cubicBezTo>
                    <a:cubicBezTo>
                      <a:pt x="460" y="136"/>
                      <a:pt x="460" y="135"/>
                      <a:pt x="459" y="135"/>
                    </a:cubicBezTo>
                    <a:cubicBezTo>
                      <a:pt x="459" y="134"/>
                      <a:pt x="459" y="134"/>
                      <a:pt x="460" y="134"/>
                    </a:cubicBezTo>
                    <a:cubicBezTo>
                      <a:pt x="460" y="135"/>
                      <a:pt x="461" y="135"/>
                      <a:pt x="462" y="136"/>
                    </a:cubicBezTo>
                    <a:cubicBezTo>
                      <a:pt x="462" y="136"/>
                      <a:pt x="462" y="136"/>
                      <a:pt x="462" y="136"/>
                    </a:cubicBezTo>
                    <a:cubicBezTo>
                      <a:pt x="462" y="137"/>
                      <a:pt x="463" y="138"/>
                      <a:pt x="463" y="138"/>
                    </a:cubicBezTo>
                    <a:cubicBezTo>
                      <a:pt x="465" y="139"/>
                      <a:pt x="465" y="137"/>
                      <a:pt x="465" y="137"/>
                    </a:cubicBezTo>
                    <a:cubicBezTo>
                      <a:pt x="466" y="137"/>
                      <a:pt x="466" y="137"/>
                      <a:pt x="466" y="137"/>
                    </a:cubicBezTo>
                    <a:cubicBezTo>
                      <a:pt x="467" y="136"/>
                      <a:pt x="467" y="136"/>
                      <a:pt x="467" y="136"/>
                    </a:cubicBezTo>
                    <a:cubicBezTo>
                      <a:pt x="467" y="136"/>
                      <a:pt x="468" y="136"/>
                      <a:pt x="468" y="136"/>
                    </a:cubicBezTo>
                    <a:cubicBezTo>
                      <a:pt x="469" y="136"/>
                      <a:pt x="469" y="135"/>
                      <a:pt x="470" y="135"/>
                    </a:cubicBezTo>
                    <a:cubicBezTo>
                      <a:pt x="470" y="135"/>
                      <a:pt x="470" y="135"/>
                      <a:pt x="471" y="135"/>
                    </a:cubicBezTo>
                    <a:cubicBezTo>
                      <a:pt x="471" y="135"/>
                      <a:pt x="472" y="135"/>
                      <a:pt x="472" y="135"/>
                    </a:cubicBezTo>
                    <a:cubicBezTo>
                      <a:pt x="473" y="136"/>
                      <a:pt x="474" y="136"/>
                      <a:pt x="474" y="134"/>
                    </a:cubicBezTo>
                    <a:cubicBezTo>
                      <a:pt x="474" y="134"/>
                      <a:pt x="474" y="134"/>
                      <a:pt x="475" y="134"/>
                    </a:cubicBezTo>
                    <a:cubicBezTo>
                      <a:pt x="475" y="133"/>
                      <a:pt x="475" y="133"/>
                      <a:pt x="475" y="132"/>
                    </a:cubicBezTo>
                    <a:cubicBezTo>
                      <a:pt x="474" y="131"/>
                      <a:pt x="474" y="131"/>
                      <a:pt x="473" y="131"/>
                    </a:cubicBezTo>
                    <a:cubicBezTo>
                      <a:pt x="473" y="130"/>
                      <a:pt x="472" y="130"/>
                      <a:pt x="472" y="130"/>
                    </a:cubicBezTo>
                    <a:cubicBezTo>
                      <a:pt x="472" y="130"/>
                      <a:pt x="471" y="129"/>
                      <a:pt x="471" y="129"/>
                    </a:cubicBezTo>
                    <a:cubicBezTo>
                      <a:pt x="472" y="127"/>
                      <a:pt x="472" y="126"/>
                      <a:pt x="471" y="124"/>
                    </a:cubicBezTo>
                    <a:cubicBezTo>
                      <a:pt x="471" y="123"/>
                      <a:pt x="471" y="122"/>
                      <a:pt x="469" y="121"/>
                    </a:cubicBezTo>
                    <a:cubicBezTo>
                      <a:pt x="469" y="121"/>
                      <a:pt x="470" y="120"/>
                      <a:pt x="470" y="121"/>
                    </a:cubicBezTo>
                    <a:cubicBezTo>
                      <a:pt x="471" y="122"/>
                      <a:pt x="472" y="123"/>
                      <a:pt x="472" y="125"/>
                    </a:cubicBezTo>
                    <a:cubicBezTo>
                      <a:pt x="473" y="125"/>
                      <a:pt x="474" y="126"/>
                      <a:pt x="473" y="127"/>
                    </a:cubicBezTo>
                    <a:cubicBezTo>
                      <a:pt x="473" y="127"/>
                      <a:pt x="473" y="128"/>
                      <a:pt x="473" y="128"/>
                    </a:cubicBezTo>
                    <a:cubicBezTo>
                      <a:pt x="472" y="129"/>
                      <a:pt x="473" y="129"/>
                      <a:pt x="473" y="129"/>
                    </a:cubicBezTo>
                    <a:cubicBezTo>
                      <a:pt x="475" y="130"/>
                      <a:pt x="477" y="129"/>
                      <a:pt x="478" y="128"/>
                    </a:cubicBezTo>
                    <a:cubicBezTo>
                      <a:pt x="479" y="127"/>
                      <a:pt x="480" y="126"/>
                      <a:pt x="480" y="124"/>
                    </a:cubicBezTo>
                    <a:cubicBezTo>
                      <a:pt x="480" y="123"/>
                      <a:pt x="481" y="121"/>
                      <a:pt x="482" y="119"/>
                    </a:cubicBezTo>
                    <a:cubicBezTo>
                      <a:pt x="482" y="119"/>
                      <a:pt x="482" y="119"/>
                      <a:pt x="482" y="118"/>
                    </a:cubicBezTo>
                    <a:cubicBezTo>
                      <a:pt x="482" y="118"/>
                      <a:pt x="482" y="118"/>
                      <a:pt x="483" y="118"/>
                    </a:cubicBezTo>
                    <a:cubicBezTo>
                      <a:pt x="485" y="116"/>
                      <a:pt x="486" y="112"/>
                      <a:pt x="489" y="111"/>
                    </a:cubicBezTo>
                    <a:cubicBezTo>
                      <a:pt x="489" y="110"/>
                      <a:pt x="489" y="110"/>
                      <a:pt x="489" y="109"/>
                    </a:cubicBezTo>
                    <a:cubicBezTo>
                      <a:pt x="489" y="109"/>
                      <a:pt x="489" y="108"/>
                      <a:pt x="490" y="108"/>
                    </a:cubicBezTo>
                    <a:cubicBezTo>
                      <a:pt x="491" y="108"/>
                      <a:pt x="491" y="107"/>
                      <a:pt x="491" y="106"/>
                    </a:cubicBezTo>
                    <a:cubicBezTo>
                      <a:pt x="491" y="105"/>
                      <a:pt x="492" y="105"/>
                      <a:pt x="492" y="105"/>
                    </a:cubicBezTo>
                    <a:cubicBezTo>
                      <a:pt x="493" y="105"/>
                      <a:pt x="493" y="105"/>
                      <a:pt x="493" y="104"/>
                    </a:cubicBezTo>
                    <a:cubicBezTo>
                      <a:pt x="494" y="104"/>
                      <a:pt x="495" y="103"/>
                      <a:pt x="496" y="102"/>
                    </a:cubicBezTo>
                    <a:cubicBezTo>
                      <a:pt x="497" y="101"/>
                      <a:pt x="498" y="99"/>
                      <a:pt x="499" y="97"/>
                    </a:cubicBezTo>
                    <a:cubicBezTo>
                      <a:pt x="499" y="97"/>
                      <a:pt x="500" y="96"/>
                      <a:pt x="500" y="96"/>
                    </a:cubicBezTo>
                    <a:cubicBezTo>
                      <a:pt x="500" y="94"/>
                      <a:pt x="501" y="93"/>
                      <a:pt x="502" y="92"/>
                    </a:cubicBezTo>
                    <a:cubicBezTo>
                      <a:pt x="503" y="93"/>
                      <a:pt x="504" y="92"/>
                      <a:pt x="504" y="92"/>
                    </a:cubicBezTo>
                    <a:cubicBezTo>
                      <a:pt x="506" y="91"/>
                      <a:pt x="507" y="89"/>
                      <a:pt x="508" y="88"/>
                    </a:cubicBezTo>
                    <a:cubicBezTo>
                      <a:pt x="509" y="87"/>
                      <a:pt x="509" y="87"/>
                      <a:pt x="509" y="87"/>
                    </a:cubicBezTo>
                    <a:cubicBezTo>
                      <a:pt x="510" y="86"/>
                      <a:pt x="510" y="86"/>
                      <a:pt x="510" y="86"/>
                    </a:cubicBezTo>
                    <a:cubicBezTo>
                      <a:pt x="511" y="85"/>
                      <a:pt x="511" y="84"/>
                      <a:pt x="511" y="83"/>
                    </a:cubicBezTo>
                    <a:cubicBezTo>
                      <a:pt x="512" y="82"/>
                      <a:pt x="512" y="81"/>
                      <a:pt x="512" y="80"/>
                    </a:cubicBezTo>
                    <a:cubicBezTo>
                      <a:pt x="512" y="80"/>
                      <a:pt x="512" y="80"/>
                      <a:pt x="512" y="80"/>
                    </a:cubicBezTo>
                    <a:cubicBezTo>
                      <a:pt x="511" y="80"/>
                      <a:pt x="512" y="79"/>
                      <a:pt x="511" y="79"/>
                    </a:cubicBezTo>
                    <a:cubicBezTo>
                      <a:pt x="510" y="79"/>
                      <a:pt x="509" y="79"/>
                      <a:pt x="508" y="79"/>
                    </a:cubicBezTo>
                    <a:cubicBezTo>
                      <a:pt x="508" y="79"/>
                      <a:pt x="507" y="80"/>
                      <a:pt x="506" y="80"/>
                    </a:cubicBezTo>
                    <a:cubicBezTo>
                      <a:pt x="505" y="80"/>
                      <a:pt x="504" y="81"/>
                      <a:pt x="503" y="81"/>
                    </a:cubicBezTo>
                    <a:cubicBezTo>
                      <a:pt x="503" y="81"/>
                      <a:pt x="503" y="81"/>
                      <a:pt x="503" y="82"/>
                    </a:cubicBezTo>
                    <a:cubicBezTo>
                      <a:pt x="502" y="82"/>
                      <a:pt x="502" y="82"/>
                      <a:pt x="501" y="83"/>
                    </a:cubicBezTo>
                    <a:cubicBezTo>
                      <a:pt x="499" y="84"/>
                      <a:pt x="498" y="85"/>
                      <a:pt x="496" y="85"/>
                    </a:cubicBezTo>
                    <a:cubicBezTo>
                      <a:pt x="496" y="86"/>
                      <a:pt x="495" y="86"/>
                      <a:pt x="495" y="86"/>
                    </a:cubicBezTo>
                    <a:cubicBezTo>
                      <a:pt x="494" y="86"/>
                      <a:pt x="494" y="87"/>
                      <a:pt x="494" y="87"/>
                    </a:cubicBezTo>
                    <a:cubicBezTo>
                      <a:pt x="494" y="87"/>
                      <a:pt x="493" y="87"/>
                      <a:pt x="493" y="87"/>
                    </a:cubicBezTo>
                    <a:cubicBezTo>
                      <a:pt x="492" y="87"/>
                      <a:pt x="491" y="87"/>
                      <a:pt x="491" y="88"/>
                    </a:cubicBezTo>
                    <a:cubicBezTo>
                      <a:pt x="490" y="88"/>
                      <a:pt x="490" y="88"/>
                      <a:pt x="489" y="89"/>
                    </a:cubicBezTo>
                    <a:cubicBezTo>
                      <a:pt x="488" y="89"/>
                      <a:pt x="487" y="90"/>
                      <a:pt x="486" y="91"/>
                    </a:cubicBezTo>
                    <a:cubicBezTo>
                      <a:pt x="486" y="91"/>
                      <a:pt x="486" y="91"/>
                      <a:pt x="485" y="91"/>
                    </a:cubicBezTo>
                    <a:cubicBezTo>
                      <a:pt x="484" y="91"/>
                      <a:pt x="482" y="92"/>
                      <a:pt x="481" y="93"/>
                    </a:cubicBezTo>
                    <a:cubicBezTo>
                      <a:pt x="480" y="93"/>
                      <a:pt x="479" y="94"/>
                      <a:pt x="478" y="95"/>
                    </a:cubicBezTo>
                    <a:cubicBezTo>
                      <a:pt x="478" y="95"/>
                      <a:pt x="477" y="96"/>
                      <a:pt x="477" y="97"/>
                    </a:cubicBezTo>
                    <a:cubicBezTo>
                      <a:pt x="476" y="97"/>
                      <a:pt x="476" y="98"/>
                      <a:pt x="475" y="98"/>
                    </a:cubicBezTo>
                    <a:cubicBezTo>
                      <a:pt x="475" y="98"/>
                      <a:pt x="475" y="98"/>
                      <a:pt x="475" y="98"/>
                    </a:cubicBezTo>
                    <a:cubicBezTo>
                      <a:pt x="475" y="97"/>
                      <a:pt x="475" y="97"/>
                      <a:pt x="476" y="96"/>
                    </a:cubicBezTo>
                    <a:cubicBezTo>
                      <a:pt x="476" y="96"/>
                      <a:pt x="477" y="95"/>
                      <a:pt x="477" y="95"/>
                    </a:cubicBezTo>
                    <a:cubicBezTo>
                      <a:pt x="476" y="95"/>
                      <a:pt x="476" y="95"/>
                      <a:pt x="476" y="95"/>
                    </a:cubicBezTo>
                    <a:cubicBezTo>
                      <a:pt x="475" y="95"/>
                      <a:pt x="474" y="95"/>
                      <a:pt x="473" y="95"/>
                    </a:cubicBezTo>
                    <a:cubicBezTo>
                      <a:pt x="474" y="94"/>
                      <a:pt x="474" y="94"/>
                      <a:pt x="474" y="94"/>
                    </a:cubicBezTo>
                    <a:cubicBezTo>
                      <a:pt x="474" y="95"/>
                      <a:pt x="475" y="95"/>
                      <a:pt x="475" y="94"/>
                    </a:cubicBezTo>
                    <a:cubicBezTo>
                      <a:pt x="476" y="94"/>
                      <a:pt x="477" y="94"/>
                      <a:pt x="477" y="93"/>
                    </a:cubicBezTo>
                    <a:cubicBezTo>
                      <a:pt x="478" y="93"/>
                      <a:pt x="479" y="92"/>
                      <a:pt x="479" y="91"/>
                    </a:cubicBezTo>
                    <a:cubicBezTo>
                      <a:pt x="479" y="91"/>
                      <a:pt x="479" y="91"/>
                      <a:pt x="479" y="91"/>
                    </a:cubicBezTo>
                    <a:cubicBezTo>
                      <a:pt x="480" y="91"/>
                      <a:pt x="481" y="91"/>
                      <a:pt x="482" y="91"/>
                    </a:cubicBezTo>
                    <a:cubicBezTo>
                      <a:pt x="482" y="90"/>
                      <a:pt x="482" y="90"/>
                      <a:pt x="482" y="90"/>
                    </a:cubicBezTo>
                    <a:cubicBezTo>
                      <a:pt x="483" y="90"/>
                      <a:pt x="483" y="90"/>
                      <a:pt x="484" y="90"/>
                    </a:cubicBezTo>
                    <a:cubicBezTo>
                      <a:pt x="484" y="89"/>
                      <a:pt x="485" y="89"/>
                      <a:pt x="486" y="88"/>
                    </a:cubicBezTo>
                    <a:cubicBezTo>
                      <a:pt x="487" y="87"/>
                      <a:pt x="488" y="86"/>
                      <a:pt x="490" y="85"/>
                    </a:cubicBezTo>
                    <a:cubicBezTo>
                      <a:pt x="491" y="85"/>
                      <a:pt x="492" y="84"/>
                      <a:pt x="492" y="83"/>
                    </a:cubicBezTo>
                    <a:cubicBezTo>
                      <a:pt x="493" y="83"/>
                      <a:pt x="493" y="83"/>
                      <a:pt x="493" y="83"/>
                    </a:cubicBezTo>
                    <a:cubicBezTo>
                      <a:pt x="495" y="83"/>
                      <a:pt x="496" y="82"/>
                      <a:pt x="497" y="80"/>
                    </a:cubicBezTo>
                    <a:cubicBezTo>
                      <a:pt x="497" y="80"/>
                      <a:pt x="497" y="80"/>
                      <a:pt x="497" y="80"/>
                    </a:cubicBezTo>
                    <a:cubicBezTo>
                      <a:pt x="497" y="80"/>
                      <a:pt x="496" y="79"/>
                      <a:pt x="496" y="79"/>
                    </a:cubicBezTo>
                    <a:cubicBezTo>
                      <a:pt x="496" y="79"/>
                      <a:pt x="496" y="78"/>
                      <a:pt x="496" y="79"/>
                    </a:cubicBezTo>
                    <a:cubicBezTo>
                      <a:pt x="495" y="78"/>
                      <a:pt x="495" y="78"/>
                      <a:pt x="495" y="78"/>
                    </a:cubicBezTo>
                    <a:cubicBezTo>
                      <a:pt x="494" y="78"/>
                      <a:pt x="493" y="78"/>
                      <a:pt x="493" y="78"/>
                    </a:cubicBezTo>
                    <a:cubicBezTo>
                      <a:pt x="492" y="78"/>
                      <a:pt x="492" y="78"/>
                      <a:pt x="491" y="78"/>
                    </a:cubicBezTo>
                    <a:cubicBezTo>
                      <a:pt x="491" y="78"/>
                      <a:pt x="490" y="78"/>
                      <a:pt x="490" y="78"/>
                    </a:cubicBezTo>
                    <a:cubicBezTo>
                      <a:pt x="489" y="79"/>
                      <a:pt x="488" y="79"/>
                      <a:pt x="487" y="79"/>
                    </a:cubicBezTo>
                    <a:cubicBezTo>
                      <a:pt x="486" y="79"/>
                      <a:pt x="486" y="80"/>
                      <a:pt x="485" y="80"/>
                    </a:cubicBezTo>
                    <a:cubicBezTo>
                      <a:pt x="485" y="80"/>
                      <a:pt x="485" y="80"/>
                      <a:pt x="485" y="80"/>
                    </a:cubicBezTo>
                    <a:cubicBezTo>
                      <a:pt x="485" y="80"/>
                      <a:pt x="484" y="80"/>
                      <a:pt x="484" y="80"/>
                    </a:cubicBezTo>
                    <a:cubicBezTo>
                      <a:pt x="484" y="80"/>
                      <a:pt x="484" y="80"/>
                      <a:pt x="484" y="79"/>
                    </a:cubicBezTo>
                    <a:cubicBezTo>
                      <a:pt x="484" y="79"/>
                      <a:pt x="484" y="79"/>
                      <a:pt x="484" y="79"/>
                    </a:cubicBezTo>
                    <a:cubicBezTo>
                      <a:pt x="484" y="79"/>
                      <a:pt x="485" y="79"/>
                      <a:pt x="485" y="79"/>
                    </a:cubicBezTo>
                    <a:cubicBezTo>
                      <a:pt x="485" y="78"/>
                      <a:pt x="485" y="78"/>
                      <a:pt x="485" y="78"/>
                    </a:cubicBezTo>
                    <a:cubicBezTo>
                      <a:pt x="484" y="77"/>
                      <a:pt x="484" y="75"/>
                      <a:pt x="482" y="75"/>
                    </a:cubicBezTo>
                    <a:cubicBezTo>
                      <a:pt x="482" y="74"/>
                      <a:pt x="482" y="74"/>
                      <a:pt x="482" y="74"/>
                    </a:cubicBezTo>
                    <a:cubicBezTo>
                      <a:pt x="482" y="73"/>
                      <a:pt x="481" y="72"/>
                      <a:pt x="480" y="71"/>
                    </a:cubicBezTo>
                    <a:cubicBezTo>
                      <a:pt x="481" y="72"/>
                      <a:pt x="482" y="73"/>
                      <a:pt x="483" y="74"/>
                    </a:cubicBezTo>
                    <a:cubicBezTo>
                      <a:pt x="484" y="75"/>
                      <a:pt x="485" y="76"/>
                      <a:pt x="486" y="77"/>
                    </a:cubicBezTo>
                    <a:cubicBezTo>
                      <a:pt x="486" y="77"/>
                      <a:pt x="487" y="78"/>
                      <a:pt x="487" y="77"/>
                    </a:cubicBezTo>
                    <a:cubicBezTo>
                      <a:pt x="488" y="77"/>
                      <a:pt x="489" y="77"/>
                      <a:pt x="489" y="76"/>
                    </a:cubicBezTo>
                    <a:cubicBezTo>
                      <a:pt x="491" y="77"/>
                      <a:pt x="492" y="76"/>
                      <a:pt x="493" y="76"/>
                    </a:cubicBezTo>
                    <a:cubicBezTo>
                      <a:pt x="495" y="76"/>
                      <a:pt x="498" y="75"/>
                      <a:pt x="500" y="75"/>
                    </a:cubicBezTo>
                    <a:cubicBezTo>
                      <a:pt x="500" y="75"/>
                      <a:pt x="500" y="75"/>
                      <a:pt x="500" y="75"/>
                    </a:cubicBezTo>
                    <a:cubicBezTo>
                      <a:pt x="501" y="74"/>
                      <a:pt x="501" y="74"/>
                      <a:pt x="501" y="74"/>
                    </a:cubicBezTo>
                    <a:cubicBezTo>
                      <a:pt x="502" y="74"/>
                      <a:pt x="502" y="75"/>
                      <a:pt x="503" y="74"/>
                    </a:cubicBezTo>
                    <a:cubicBezTo>
                      <a:pt x="503" y="74"/>
                      <a:pt x="504" y="74"/>
                      <a:pt x="505" y="74"/>
                    </a:cubicBezTo>
                    <a:cubicBezTo>
                      <a:pt x="505" y="73"/>
                      <a:pt x="505" y="73"/>
                      <a:pt x="506" y="72"/>
                    </a:cubicBezTo>
                    <a:cubicBezTo>
                      <a:pt x="506" y="72"/>
                      <a:pt x="506" y="72"/>
                      <a:pt x="505" y="72"/>
                    </a:cubicBezTo>
                    <a:cubicBezTo>
                      <a:pt x="505" y="72"/>
                      <a:pt x="505" y="72"/>
                      <a:pt x="505" y="72"/>
                    </a:cubicBezTo>
                    <a:cubicBezTo>
                      <a:pt x="504" y="73"/>
                      <a:pt x="503" y="72"/>
                      <a:pt x="501" y="72"/>
                    </a:cubicBezTo>
                    <a:cubicBezTo>
                      <a:pt x="502" y="71"/>
                      <a:pt x="503" y="71"/>
                      <a:pt x="504" y="71"/>
                    </a:cubicBezTo>
                    <a:cubicBezTo>
                      <a:pt x="505" y="71"/>
                      <a:pt x="505" y="71"/>
                      <a:pt x="505" y="70"/>
                    </a:cubicBezTo>
                    <a:cubicBezTo>
                      <a:pt x="506" y="70"/>
                      <a:pt x="506" y="69"/>
                      <a:pt x="506" y="69"/>
                    </a:cubicBezTo>
                    <a:cubicBezTo>
                      <a:pt x="507" y="70"/>
                      <a:pt x="507" y="69"/>
                      <a:pt x="508" y="69"/>
                    </a:cubicBezTo>
                    <a:cubicBezTo>
                      <a:pt x="508" y="69"/>
                      <a:pt x="509" y="69"/>
                      <a:pt x="510" y="70"/>
                    </a:cubicBezTo>
                    <a:cubicBezTo>
                      <a:pt x="510" y="71"/>
                      <a:pt x="510" y="71"/>
                      <a:pt x="511" y="71"/>
                    </a:cubicBezTo>
                    <a:cubicBezTo>
                      <a:pt x="512" y="71"/>
                      <a:pt x="512" y="71"/>
                      <a:pt x="512" y="70"/>
                    </a:cubicBezTo>
                    <a:cubicBezTo>
                      <a:pt x="514" y="69"/>
                      <a:pt x="514" y="68"/>
                      <a:pt x="513" y="67"/>
                    </a:cubicBezTo>
                    <a:cubicBezTo>
                      <a:pt x="513" y="67"/>
                      <a:pt x="513" y="66"/>
                      <a:pt x="513" y="66"/>
                    </a:cubicBezTo>
                    <a:cubicBezTo>
                      <a:pt x="513" y="66"/>
                      <a:pt x="513" y="67"/>
                      <a:pt x="514" y="67"/>
                    </a:cubicBezTo>
                    <a:cubicBezTo>
                      <a:pt x="515" y="68"/>
                      <a:pt x="515" y="68"/>
                      <a:pt x="516" y="67"/>
                    </a:cubicBezTo>
                    <a:cubicBezTo>
                      <a:pt x="517" y="66"/>
                      <a:pt x="517" y="65"/>
                      <a:pt x="518" y="64"/>
                    </a:cubicBezTo>
                    <a:cubicBezTo>
                      <a:pt x="518" y="64"/>
                      <a:pt x="518" y="64"/>
                      <a:pt x="519" y="64"/>
                    </a:cubicBezTo>
                    <a:cubicBezTo>
                      <a:pt x="520" y="63"/>
                      <a:pt x="521" y="62"/>
                      <a:pt x="522" y="61"/>
                    </a:cubicBezTo>
                    <a:cubicBezTo>
                      <a:pt x="523" y="60"/>
                      <a:pt x="525" y="59"/>
                      <a:pt x="525" y="57"/>
                    </a:cubicBezTo>
                    <a:cubicBezTo>
                      <a:pt x="526" y="57"/>
                      <a:pt x="527" y="57"/>
                      <a:pt x="527" y="56"/>
                    </a:cubicBezTo>
                    <a:cubicBezTo>
                      <a:pt x="527" y="55"/>
                      <a:pt x="527" y="55"/>
                      <a:pt x="527" y="55"/>
                    </a:cubicBezTo>
                    <a:cubicBezTo>
                      <a:pt x="528" y="54"/>
                      <a:pt x="530" y="53"/>
                      <a:pt x="528" y="51"/>
                    </a:cubicBezTo>
                    <a:cubicBezTo>
                      <a:pt x="529" y="51"/>
                      <a:pt x="530" y="50"/>
                      <a:pt x="530" y="50"/>
                    </a:cubicBezTo>
                    <a:cubicBezTo>
                      <a:pt x="531" y="49"/>
                      <a:pt x="532" y="49"/>
                      <a:pt x="532" y="48"/>
                    </a:cubicBezTo>
                    <a:cubicBezTo>
                      <a:pt x="533" y="47"/>
                      <a:pt x="534" y="46"/>
                      <a:pt x="534" y="45"/>
                    </a:cubicBezTo>
                    <a:cubicBezTo>
                      <a:pt x="534" y="43"/>
                      <a:pt x="534" y="40"/>
                      <a:pt x="533" y="38"/>
                    </a:cubicBezTo>
                    <a:close/>
                    <a:moveTo>
                      <a:pt x="393" y="95"/>
                    </a:moveTo>
                    <a:cubicBezTo>
                      <a:pt x="393" y="95"/>
                      <a:pt x="393" y="95"/>
                      <a:pt x="393" y="95"/>
                    </a:cubicBezTo>
                    <a:cubicBezTo>
                      <a:pt x="393" y="95"/>
                      <a:pt x="393" y="95"/>
                      <a:pt x="393" y="95"/>
                    </a:cubicBezTo>
                    <a:close/>
                    <a:moveTo>
                      <a:pt x="377" y="221"/>
                    </a:moveTo>
                    <a:cubicBezTo>
                      <a:pt x="377" y="221"/>
                      <a:pt x="377" y="221"/>
                      <a:pt x="377" y="221"/>
                    </a:cubicBezTo>
                    <a:cubicBezTo>
                      <a:pt x="377" y="221"/>
                      <a:pt x="377" y="221"/>
                      <a:pt x="377" y="221"/>
                    </a:cubicBezTo>
                    <a:close/>
                    <a:moveTo>
                      <a:pt x="361" y="248"/>
                    </a:moveTo>
                    <a:cubicBezTo>
                      <a:pt x="361" y="248"/>
                      <a:pt x="361" y="248"/>
                      <a:pt x="361" y="248"/>
                    </a:cubicBezTo>
                    <a:cubicBezTo>
                      <a:pt x="361" y="248"/>
                      <a:pt x="361" y="248"/>
                      <a:pt x="361" y="248"/>
                    </a:cubicBezTo>
                    <a:cubicBezTo>
                      <a:pt x="361" y="248"/>
                      <a:pt x="361" y="248"/>
                      <a:pt x="361" y="248"/>
                    </a:cubicBezTo>
                    <a:close/>
                    <a:moveTo>
                      <a:pt x="365" y="257"/>
                    </a:moveTo>
                    <a:cubicBezTo>
                      <a:pt x="365" y="256"/>
                      <a:pt x="365" y="256"/>
                      <a:pt x="365" y="256"/>
                    </a:cubicBezTo>
                    <a:cubicBezTo>
                      <a:pt x="365" y="256"/>
                      <a:pt x="365" y="256"/>
                      <a:pt x="365" y="256"/>
                    </a:cubicBezTo>
                    <a:cubicBezTo>
                      <a:pt x="366" y="256"/>
                      <a:pt x="366" y="257"/>
                      <a:pt x="366" y="257"/>
                    </a:cubicBezTo>
                    <a:cubicBezTo>
                      <a:pt x="366" y="257"/>
                      <a:pt x="366" y="257"/>
                      <a:pt x="365" y="257"/>
                    </a:cubicBezTo>
                    <a:close/>
                    <a:moveTo>
                      <a:pt x="413" y="243"/>
                    </a:moveTo>
                    <a:cubicBezTo>
                      <a:pt x="413" y="243"/>
                      <a:pt x="413" y="243"/>
                      <a:pt x="413" y="243"/>
                    </a:cubicBezTo>
                    <a:cubicBezTo>
                      <a:pt x="413" y="243"/>
                      <a:pt x="413" y="243"/>
                      <a:pt x="413" y="243"/>
                    </a:cubicBezTo>
                    <a:cubicBezTo>
                      <a:pt x="413" y="243"/>
                      <a:pt x="413" y="243"/>
                      <a:pt x="413" y="243"/>
                    </a:cubicBezTo>
                    <a:close/>
                    <a:moveTo>
                      <a:pt x="423" y="186"/>
                    </a:moveTo>
                    <a:cubicBezTo>
                      <a:pt x="423" y="186"/>
                      <a:pt x="423" y="186"/>
                      <a:pt x="423" y="186"/>
                    </a:cubicBezTo>
                    <a:cubicBezTo>
                      <a:pt x="423" y="186"/>
                      <a:pt x="423" y="186"/>
                      <a:pt x="423" y="186"/>
                    </a:cubicBezTo>
                    <a:cubicBezTo>
                      <a:pt x="423" y="186"/>
                      <a:pt x="423" y="186"/>
                      <a:pt x="423" y="186"/>
                    </a:cubicBezTo>
                    <a:close/>
                    <a:moveTo>
                      <a:pt x="460" y="142"/>
                    </a:moveTo>
                    <a:cubicBezTo>
                      <a:pt x="460" y="142"/>
                      <a:pt x="460" y="142"/>
                      <a:pt x="460" y="142"/>
                    </a:cubicBezTo>
                    <a:cubicBezTo>
                      <a:pt x="460" y="142"/>
                      <a:pt x="460" y="142"/>
                      <a:pt x="460" y="142"/>
                    </a:cubicBezTo>
                    <a:cubicBezTo>
                      <a:pt x="460" y="142"/>
                      <a:pt x="460" y="142"/>
                      <a:pt x="460" y="142"/>
                    </a:cubicBezTo>
                    <a:close/>
                    <a:moveTo>
                      <a:pt x="501" y="89"/>
                    </a:moveTo>
                    <a:cubicBezTo>
                      <a:pt x="501" y="89"/>
                      <a:pt x="501" y="89"/>
                      <a:pt x="501" y="89"/>
                    </a:cubicBezTo>
                    <a:cubicBezTo>
                      <a:pt x="501" y="89"/>
                      <a:pt x="501" y="89"/>
                      <a:pt x="501" y="89"/>
                    </a:cubicBezTo>
                    <a:cubicBezTo>
                      <a:pt x="501" y="89"/>
                      <a:pt x="501" y="89"/>
                      <a:pt x="501" y="89"/>
                    </a:cubicBezTo>
                    <a:close/>
                    <a:moveTo>
                      <a:pt x="480" y="95"/>
                    </a:moveTo>
                    <a:cubicBezTo>
                      <a:pt x="480" y="95"/>
                      <a:pt x="480" y="95"/>
                      <a:pt x="480" y="95"/>
                    </a:cubicBezTo>
                    <a:cubicBezTo>
                      <a:pt x="480" y="95"/>
                      <a:pt x="480" y="95"/>
                      <a:pt x="480" y="95"/>
                    </a:cubicBezTo>
                    <a:close/>
                    <a:moveTo>
                      <a:pt x="289" y="296"/>
                    </a:moveTo>
                    <a:cubicBezTo>
                      <a:pt x="289" y="295"/>
                      <a:pt x="288" y="294"/>
                      <a:pt x="288" y="293"/>
                    </a:cubicBezTo>
                    <a:cubicBezTo>
                      <a:pt x="287" y="294"/>
                      <a:pt x="287" y="295"/>
                      <a:pt x="288" y="296"/>
                    </a:cubicBezTo>
                    <a:cubicBezTo>
                      <a:pt x="289" y="296"/>
                      <a:pt x="289" y="297"/>
                      <a:pt x="289" y="297"/>
                    </a:cubicBezTo>
                    <a:cubicBezTo>
                      <a:pt x="288" y="298"/>
                      <a:pt x="288" y="299"/>
                      <a:pt x="287" y="298"/>
                    </a:cubicBezTo>
                    <a:cubicBezTo>
                      <a:pt x="286" y="298"/>
                      <a:pt x="285" y="299"/>
                      <a:pt x="285" y="299"/>
                    </a:cubicBezTo>
                    <a:cubicBezTo>
                      <a:pt x="283" y="299"/>
                      <a:pt x="282" y="299"/>
                      <a:pt x="282" y="298"/>
                    </a:cubicBezTo>
                    <a:cubicBezTo>
                      <a:pt x="281" y="298"/>
                      <a:pt x="282" y="299"/>
                      <a:pt x="281" y="299"/>
                    </a:cubicBezTo>
                    <a:cubicBezTo>
                      <a:pt x="280" y="299"/>
                      <a:pt x="280" y="299"/>
                      <a:pt x="279" y="299"/>
                    </a:cubicBezTo>
                    <a:cubicBezTo>
                      <a:pt x="278" y="298"/>
                      <a:pt x="279" y="298"/>
                      <a:pt x="279" y="297"/>
                    </a:cubicBezTo>
                    <a:cubicBezTo>
                      <a:pt x="279" y="297"/>
                      <a:pt x="280" y="296"/>
                      <a:pt x="279" y="296"/>
                    </a:cubicBezTo>
                    <a:cubicBezTo>
                      <a:pt x="279" y="297"/>
                      <a:pt x="278" y="297"/>
                      <a:pt x="278" y="299"/>
                    </a:cubicBezTo>
                    <a:cubicBezTo>
                      <a:pt x="278" y="299"/>
                      <a:pt x="278" y="299"/>
                      <a:pt x="277" y="299"/>
                    </a:cubicBezTo>
                    <a:cubicBezTo>
                      <a:pt x="276" y="300"/>
                      <a:pt x="275" y="299"/>
                      <a:pt x="273" y="299"/>
                    </a:cubicBezTo>
                    <a:cubicBezTo>
                      <a:pt x="272" y="298"/>
                      <a:pt x="272" y="297"/>
                      <a:pt x="272" y="296"/>
                    </a:cubicBezTo>
                    <a:cubicBezTo>
                      <a:pt x="272" y="295"/>
                      <a:pt x="272" y="294"/>
                      <a:pt x="272" y="294"/>
                    </a:cubicBezTo>
                    <a:cubicBezTo>
                      <a:pt x="271" y="293"/>
                      <a:pt x="272" y="293"/>
                      <a:pt x="272" y="293"/>
                    </a:cubicBezTo>
                    <a:cubicBezTo>
                      <a:pt x="273" y="293"/>
                      <a:pt x="274" y="293"/>
                      <a:pt x="275" y="293"/>
                    </a:cubicBezTo>
                    <a:cubicBezTo>
                      <a:pt x="274" y="292"/>
                      <a:pt x="273" y="292"/>
                      <a:pt x="273" y="292"/>
                    </a:cubicBezTo>
                    <a:cubicBezTo>
                      <a:pt x="273" y="292"/>
                      <a:pt x="273" y="292"/>
                      <a:pt x="273" y="292"/>
                    </a:cubicBezTo>
                    <a:cubicBezTo>
                      <a:pt x="273" y="292"/>
                      <a:pt x="273" y="291"/>
                      <a:pt x="273" y="291"/>
                    </a:cubicBezTo>
                    <a:cubicBezTo>
                      <a:pt x="273" y="291"/>
                      <a:pt x="273" y="291"/>
                      <a:pt x="272" y="291"/>
                    </a:cubicBezTo>
                    <a:cubicBezTo>
                      <a:pt x="272" y="291"/>
                      <a:pt x="271" y="292"/>
                      <a:pt x="271" y="291"/>
                    </a:cubicBezTo>
                    <a:cubicBezTo>
                      <a:pt x="271" y="290"/>
                      <a:pt x="271" y="290"/>
                      <a:pt x="270" y="290"/>
                    </a:cubicBezTo>
                    <a:cubicBezTo>
                      <a:pt x="271" y="290"/>
                      <a:pt x="271" y="289"/>
                      <a:pt x="271" y="289"/>
                    </a:cubicBezTo>
                    <a:cubicBezTo>
                      <a:pt x="272" y="288"/>
                      <a:pt x="271" y="288"/>
                      <a:pt x="270" y="288"/>
                    </a:cubicBezTo>
                    <a:cubicBezTo>
                      <a:pt x="272" y="287"/>
                      <a:pt x="273" y="287"/>
                      <a:pt x="275" y="287"/>
                    </a:cubicBezTo>
                    <a:cubicBezTo>
                      <a:pt x="274" y="286"/>
                      <a:pt x="273" y="287"/>
                      <a:pt x="273" y="286"/>
                    </a:cubicBezTo>
                    <a:cubicBezTo>
                      <a:pt x="274" y="286"/>
                      <a:pt x="275" y="286"/>
                      <a:pt x="276" y="286"/>
                    </a:cubicBezTo>
                    <a:cubicBezTo>
                      <a:pt x="276" y="286"/>
                      <a:pt x="277" y="286"/>
                      <a:pt x="277" y="285"/>
                    </a:cubicBezTo>
                    <a:cubicBezTo>
                      <a:pt x="277" y="285"/>
                      <a:pt x="276" y="285"/>
                      <a:pt x="276" y="285"/>
                    </a:cubicBezTo>
                    <a:cubicBezTo>
                      <a:pt x="275" y="285"/>
                      <a:pt x="274" y="286"/>
                      <a:pt x="273" y="285"/>
                    </a:cubicBezTo>
                    <a:cubicBezTo>
                      <a:pt x="274" y="285"/>
                      <a:pt x="275" y="285"/>
                      <a:pt x="275" y="285"/>
                    </a:cubicBezTo>
                    <a:cubicBezTo>
                      <a:pt x="275" y="285"/>
                      <a:pt x="275" y="285"/>
                      <a:pt x="275" y="285"/>
                    </a:cubicBezTo>
                    <a:cubicBezTo>
                      <a:pt x="274" y="284"/>
                      <a:pt x="275" y="284"/>
                      <a:pt x="275" y="284"/>
                    </a:cubicBezTo>
                    <a:cubicBezTo>
                      <a:pt x="276" y="284"/>
                      <a:pt x="276" y="284"/>
                      <a:pt x="277" y="283"/>
                    </a:cubicBezTo>
                    <a:cubicBezTo>
                      <a:pt x="277" y="282"/>
                      <a:pt x="275" y="283"/>
                      <a:pt x="276" y="282"/>
                    </a:cubicBezTo>
                    <a:cubicBezTo>
                      <a:pt x="277" y="281"/>
                      <a:pt x="277" y="281"/>
                      <a:pt x="277" y="281"/>
                    </a:cubicBezTo>
                    <a:cubicBezTo>
                      <a:pt x="274" y="281"/>
                      <a:pt x="270" y="283"/>
                      <a:pt x="267" y="283"/>
                    </a:cubicBezTo>
                    <a:cubicBezTo>
                      <a:pt x="267" y="283"/>
                      <a:pt x="266" y="284"/>
                      <a:pt x="266" y="283"/>
                    </a:cubicBezTo>
                    <a:cubicBezTo>
                      <a:pt x="265" y="283"/>
                      <a:pt x="264" y="283"/>
                      <a:pt x="263" y="284"/>
                    </a:cubicBezTo>
                    <a:cubicBezTo>
                      <a:pt x="262" y="284"/>
                      <a:pt x="262" y="285"/>
                      <a:pt x="260" y="284"/>
                    </a:cubicBezTo>
                    <a:cubicBezTo>
                      <a:pt x="260" y="284"/>
                      <a:pt x="259" y="284"/>
                      <a:pt x="258" y="285"/>
                    </a:cubicBezTo>
                    <a:cubicBezTo>
                      <a:pt x="258" y="285"/>
                      <a:pt x="257" y="286"/>
                      <a:pt x="257" y="286"/>
                    </a:cubicBezTo>
                    <a:cubicBezTo>
                      <a:pt x="257" y="285"/>
                      <a:pt x="256" y="285"/>
                      <a:pt x="256" y="284"/>
                    </a:cubicBezTo>
                    <a:cubicBezTo>
                      <a:pt x="256" y="284"/>
                      <a:pt x="256" y="284"/>
                      <a:pt x="256" y="283"/>
                    </a:cubicBezTo>
                    <a:cubicBezTo>
                      <a:pt x="256" y="283"/>
                      <a:pt x="256" y="283"/>
                      <a:pt x="256" y="282"/>
                    </a:cubicBezTo>
                    <a:cubicBezTo>
                      <a:pt x="256" y="282"/>
                      <a:pt x="257" y="283"/>
                      <a:pt x="257" y="282"/>
                    </a:cubicBezTo>
                    <a:cubicBezTo>
                      <a:pt x="256" y="281"/>
                      <a:pt x="258" y="281"/>
                      <a:pt x="258" y="280"/>
                    </a:cubicBezTo>
                    <a:cubicBezTo>
                      <a:pt x="259" y="279"/>
                      <a:pt x="260" y="280"/>
                      <a:pt x="261" y="281"/>
                    </a:cubicBezTo>
                    <a:cubicBezTo>
                      <a:pt x="261" y="280"/>
                      <a:pt x="261" y="280"/>
                      <a:pt x="261" y="280"/>
                    </a:cubicBezTo>
                    <a:cubicBezTo>
                      <a:pt x="260" y="279"/>
                      <a:pt x="260" y="279"/>
                      <a:pt x="261" y="278"/>
                    </a:cubicBezTo>
                    <a:cubicBezTo>
                      <a:pt x="261" y="278"/>
                      <a:pt x="261" y="278"/>
                      <a:pt x="260" y="278"/>
                    </a:cubicBezTo>
                    <a:cubicBezTo>
                      <a:pt x="260" y="278"/>
                      <a:pt x="259" y="279"/>
                      <a:pt x="259" y="278"/>
                    </a:cubicBezTo>
                    <a:cubicBezTo>
                      <a:pt x="259" y="277"/>
                      <a:pt x="259" y="276"/>
                      <a:pt x="260" y="276"/>
                    </a:cubicBezTo>
                    <a:cubicBezTo>
                      <a:pt x="260" y="276"/>
                      <a:pt x="261" y="276"/>
                      <a:pt x="261" y="276"/>
                    </a:cubicBezTo>
                    <a:cubicBezTo>
                      <a:pt x="262" y="275"/>
                      <a:pt x="263" y="275"/>
                      <a:pt x="263" y="276"/>
                    </a:cubicBezTo>
                    <a:cubicBezTo>
                      <a:pt x="263" y="277"/>
                      <a:pt x="264" y="277"/>
                      <a:pt x="264" y="277"/>
                    </a:cubicBezTo>
                    <a:cubicBezTo>
                      <a:pt x="265" y="277"/>
                      <a:pt x="265" y="277"/>
                      <a:pt x="265" y="278"/>
                    </a:cubicBezTo>
                    <a:cubicBezTo>
                      <a:pt x="265" y="279"/>
                      <a:pt x="266" y="279"/>
                      <a:pt x="267" y="279"/>
                    </a:cubicBezTo>
                    <a:cubicBezTo>
                      <a:pt x="267" y="278"/>
                      <a:pt x="267" y="279"/>
                      <a:pt x="268" y="279"/>
                    </a:cubicBezTo>
                    <a:cubicBezTo>
                      <a:pt x="268" y="278"/>
                      <a:pt x="268" y="278"/>
                      <a:pt x="268" y="277"/>
                    </a:cubicBezTo>
                    <a:cubicBezTo>
                      <a:pt x="267" y="278"/>
                      <a:pt x="267" y="278"/>
                      <a:pt x="266" y="278"/>
                    </a:cubicBezTo>
                    <a:cubicBezTo>
                      <a:pt x="266" y="278"/>
                      <a:pt x="265" y="278"/>
                      <a:pt x="266" y="278"/>
                    </a:cubicBezTo>
                    <a:cubicBezTo>
                      <a:pt x="266" y="277"/>
                      <a:pt x="266" y="276"/>
                      <a:pt x="265" y="276"/>
                    </a:cubicBezTo>
                    <a:cubicBezTo>
                      <a:pt x="264" y="276"/>
                      <a:pt x="264" y="275"/>
                      <a:pt x="264" y="275"/>
                    </a:cubicBezTo>
                    <a:cubicBezTo>
                      <a:pt x="264" y="274"/>
                      <a:pt x="264" y="273"/>
                      <a:pt x="265" y="273"/>
                    </a:cubicBezTo>
                    <a:cubicBezTo>
                      <a:pt x="266" y="273"/>
                      <a:pt x="266" y="273"/>
                      <a:pt x="266" y="272"/>
                    </a:cubicBezTo>
                    <a:cubicBezTo>
                      <a:pt x="265" y="272"/>
                      <a:pt x="265" y="273"/>
                      <a:pt x="264" y="273"/>
                    </a:cubicBezTo>
                    <a:cubicBezTo>
                      <a:pt x="263" y="273"/>
                      <a:pt x="263" y="273"/>
                      <a:pt x="262" y="272"/>
                    </a:cubicBezTo>
                    <a:cubicBezTo>
                      <a:pt x="262" y="271"/>
                      <a:pt x="262" y="271"/>
                      <a:pt x="262" y="270"/>
                    </a:cubicBezTo>
                    <a:cubicBezTo>
                      <a:pt x="262" y="270"/>
                      <a:pt x="262" y="270"/>
                      <a:pt x="262" y="270"/>
                    </a:cubicBezTo>
                    <a:cubicBezTo>
                      <a:pt x="263" y="269"/>
                      <a:pt x="263" y="267"/>
                      <a:pt x="265" y="267"/>
                    </a:cubicBezTo>
                    <a:cubicBezTo>
                      <a:pt x="265" y="267"/>
                      <a:pt x="266" y="266"/>
                      <a:pt x="266" y="266"/>
                    </a:cubicBezTo>
                    <a:cubicBezTo>
                      <a:pt x="265" y="266"/>
                      <a:pt x="264" y="266"/>
                      <a:pt x="264" y="266"/>
                    </a:cubicBezTo>
                    <a:cubicBezTo>
                      <a:pt x="263" y="267"/>
                      <a:pt x="262" y="266"/>
                      <a:pt x="261" y="267"/>
                    </a:cubicBezTo>
                    <a:cubicBezTo>
                      <a:pt x="261" y="267"/>
                      <a:pt x="260" y="266"/>
                      <a:pt x="260" y="266"/>
                    </a:cubicBezTo>
                    <a:cubicBezTo>
                      <a:pt x="262" y="265"/>
                      <a:pt x="261" y="264"/>
                      <a:pt x="261" y="263"/>
                    </a:cubicBezTo>
                    <a:cubicBezTo>
                      <a:pt x="261" y="263"/>
                      <a:pt x="261" y="263"/>
                      <a:pt x="261" y="263"/>
                    </a:cubicBezTo>
                    <a:cubicBezTo>
                      <a:pt x="262" y="263"/>
                      <a:pt x="262" y="262"/>
                      <a:pt x="262" y="262"/>
                    </a:cubicBezTo>
                    <a:cubicBezTo>
                      <a:pt x="261" y="262"/>
                      <a:pt x="261" y="262"/>
                      <a:pt x="261" y="261"/>
                    </a:cubicBezTo>
                    <a:cubicBezTo>
                      <a:pt x="262" y="261"/>
                      <a:pt x="262" y="260"/>
                      <a:pt x="263" y="260"/>
                    </a:cubicBezTo>
                    <a:cubicBezTo>
                      <a:pt x="264" y="260"/>
                      <a:pt x="265" y="260"/>
                      <a:pt x="265" y="261"/>
                    </a:cubicBezTo>
                    <a:cubicBezTo>
                      <a:pt x="266" y="261"/>
                      <a:pt x="266" y="262"/>
                      <a:pt x="266" y="262"/>
                    </a:cubicBezTo>
                    <a:cubicBezTo>
                      <a:pt x="267" y="263"/>
                      <a:pt x="268" y="263"/>
                      <a:pt x="267" y="264"/>
                    </a:cubicBezTo>
                    <a:cubicBezTo>
                      <a:pt x="267" y="265"/>
                      <a:pt x="267" y="266"/>
                      <a:pt x="268" y="266"/>
                    </a:cubicBezTo>
                    <a:cubicBezTo>
                      <a:pt x="269" y="266"/>
                      <a:pt x="270" y="267"/>
                      <a:pt x="270" y="268"/>
                    </a:cubicBezTo>
                    <a:cubicBezTo>
                      <a:pt x="270" y="268"/>
                      <a:pt x="271" y="269"/>
                      <a:pt x="271" y="270"/>
                    </a:cubicBezTo>
                    <a:cubicBezTo>
                      <a:pt x="271" y="270"/>
                      <a:pt x="271" y="271"/>
                      <a:pt x="271" y="271"/>
                    </a:cubicBezTo>
                    <a:cubicBezTo>
                      <a:pt x="273" y="271"/>
                      <a:pt x="273" y="272"/>
                      <a:pt x="274" y="273"/>
                    </a:cubicBezTo>
                    <a:cubicBezTo>
                      <a:pt x="274" y="274"/>
                      <a:pt x="275" y="274"/>
                      <a:pt x="275" y="275"/>
                    </a:cubicBezTo>
                    <a:cubicBezTo>
                      <a:pt x="276" y="275"/>
                      <a:pt x="276" y="275"/>
                      <a:pt x="276" y="275"/>
                    </a:cubicBezTo>
                    <a:cubicBezTo>
                      <a:pt x="277" y="274"/>
                      <a:pt x="278" y="274"/>
                      <a:pt x="278" y="273"/>
                    </a:cubicBezTo>
                    <a:cubicBezTo>
                      <a:pt x="278" y="273"/>
                      <a:pt x="278" y="273"/>
                      <a:pt x="277" y="273"/>
                    </a:cubicBezTo>
                    <a:cubicBezTo>
                      <a:pt x="276" y="274"/>
                      <a:pt x="275" y="274"/>
                      <a:pt x="275" y="272"/>
                    </a:cubicBezTo>
                    <a:cubicBezTo>
                      <a:pt x="274" y="271"/>
                      <a:pt x="274" y="270"/>
                      <a:pt x="273" y="269"/>
                    </a:cubicBezTo>
                    <a:cubicBezTo>
                      <a:pt x="273" y="268"/>
                      <a:pt x="275" y="268"/>
                      <a:pt x="275" y="268"/>
                    </a:cubicBezTo>
                    <a:cubicBezTo>
                      <a:pt x="277" y="270"/>
                      <a:pt x="277" y="269"/>
                      <a:pt x="279" y="268"/>
                    </a:cubicBezTo>
                    <a:cubicBezTo>
                      <a:pt x="278" y="268"/>
                      <a:pt x="277" y="269"/>
                      <a:pt x="276" y="268"/>
                    </a:cubicBezTo>
                    <a:cubicBezTo>
                      <a:pt x="275" y="267"/>
                      <a:pt x="274" y="267"/>
                      <a:pt x="273" y="267"/>
                    </a:cubicBezTo>
                    <a:cubicBezTo>
                      <a:pt x="272" y="267"/>
                      <a:pt x="271" y="266"/>
                      <a:pt x="272" y="265"/>
                    </a:cubicBezTo>
                    <a:cubicBezTo>
                      <a:pt x="272" y="264"/>
                      <a:pt x="272" y="264"/>
                      <a:pt x="273" y="265"/>
                    </a:cubicBezTo>
                    <a:cubicBezTo>
                      <a:pt x="273" y="265"/>
                      <a:pt x="274" y="265"/>
                      <a:pt x="274" y="264"/>
                    </a:cubicBezTo>
                    <a:cubicBezTo>
                      <a:pt x="274" y="265"/>
                      <a:pt x="275" y="265"/>
                      <a:pt x="275" y="265"/>
                    </a:cubicBezTo>
                    <a:cubicBezTo>
                      <a:pt x="275" y="263"/>
                      <a:pt x="273" y="263"/>
                      <a:pt x="274" y="262"/>
                    </a:cubicBezTo>
                    <a:cubicBezTo>
                      <a:pt x="273" y="262"/>
                      <a:pt x="272" y="262"/>
                      <a:pt x="270" y="262"/>
                    </a:cubicBezTo>
                    <a:cubicBezTo>
                      <a:pt x="270" y="262"/>
                      <a:pt x="270" y="262"/>
                      <a:pt x="270" y="262"/>
                    </a:cubicBezTo>
                    <a:cubicBezTo>
                      <a:pt x="269" y="261"/>
                      <a:pt x="269" y="260"/>
                      <a:pt x="269" y="260"/>
                    </a:cubicBezTo>
                    <a:cubicBezTo>
                      <a:pt x="268" y="259"/>
                      <a:pt x="268" y="258"/>
                      <a:pt x="269" y="258"/>
                    </a:cubicBezTo>
                    <a:cubicBezTo>
                      <a:pt x="270" y="258"/>
                      <a:pt x="270" y="258"/>
                      <a:pt x="270" y="257"/>
                    </a:cubicBezTo>
                    <a:cubicBezTo>
                      <a:pt x="270" y="256"/>
                      <a:pt x="270" y="256"/>
                      <a:pt x="271" y="256"/>
                    </a:cubicBezTo>
                    <a:cubicBezTo>
                      <a:pt x="271" y="256"/>
                      <a:pt x="271" y="256"/>
                      <a:pt x="272" y="255"/>
                    </a:cubicBezTo>
                    <a:cubicBezTo>
                      <a:pt x="273" y="254"/>
                      <a:pt x="274" y="254"/>
                      <a:pt x="275" y="255"/>
                    </a:cubicBezTo>
                    <a:cubicBezTo>
                      <a:pt x="275" y="255"/>
                      <a:pt x="276" y="255"/>
                      <a:pt x="276" y="255"/>
                    </a:cubicBezTo>
                    <a:cubicBezTo>
                      <a:pt x="276" y="255"/>
                      <a:pt x="276" y="255"/>
                      <a:pt x="276" y="255"/>
                    </a:cubicBezTo>
                    <a:cubicBezTo>
                      <a:pt x="277" y="254"/>
                      <a:pt x="277" y="254"/>
                      <a:pt x="277" y="255"/>
                    </a:cubicBezTo>
                    <a:cubicBezTo>
                      <a:pt x="278" y="255"/>
                      <a:pt x="277" y="255"/>
                      <a:pt x="277" y="256"/>
                    </a:cubicBezTo>
                    <a:cubicBezTo>
                      <a:pt x="278" y="256"/>
                      <a:pt x="278" y="256"/>
                      <a:pt x="278" y="257"/>
                    </a:cubicBezTo>
                    <a:cubicBezTo>
                      <a:pt x="278" y="257"/>
                      <a:pt x="279" y="257"/>
                      <a:pt x="279" y="258"/>
                    </a:cubicBezTo>
                    <a:cubicBezTo>
                      <a:pt x="280" y="258"/>
                      <a:pt x="280" y="259"/>
                      <a:pt x="280" y="260"/>
                    </a:cubicBezTo>
                    <a:cubicBezTo>
                      <a:pt x="280" y="260"/>
                      <a:pt x="280" y="261"/>
                      <a:pt x="280" y="261"/>
                    </a:cubicBezTo>
                    <a:cubicBezTo>
                      <a:pt x="280" y="261"/>
                      <a:pt x="280" y="261"/>
                      <a:pt x="281" y="261"/>
                    </a:cubicBezTo>
                    <a:cubicBezTo>
                      <a:pt x="281" y="261"/>
                      <a:pt x="281" y="261"/>
                      <a:pt x="281" y="261"/>
                    </a:cubicBezTo>
                    <a:cubicBezTo>
                      <a:pt x="281" y="260"/>
                      <a:pt x="280" y="260"/>
                      <a:pt x="281" y="259"/>
                    </a:cubicBezTo>
                    <a:cubicBezTo>
                      <a:pt x="282" y="259"/>
                      <a:pt x="282" y="260"/>
                      <a:pt x="282" y="260"/>
                    </a:cubicBezTo>
                    <a:cubicBezTo>
                      <a:pt x="282" y="260"/>
                      <a:pt x="282" y="259"/>
                      <a:pt x="282" y="259"/>
                    </a:cubicBezTo>
                    <a:cubicBezTo>
                      <a:pt x="281" y="258"/>
                      <a:pt x="281" y="257"/>
                      <a:pt x="281" y="257"/>
                    </a:cubicBezTo>
                    <a:cubicBezTo>
                      <a:pt x="281" y="256"/>
                      <a:pt x="281" y="255"/>
                      <a:pt x="282" y="255"/>
                    </a:cubicBezTo>
                    <a:cubicBezTo>
                      <a:pt x="282" y="255"/>
                      <a:pt x="283" y="255"/>
                      <a:pt x="284" y="255"/>
                    </a:cubicBezTo>
                    <a:cubicBezTo>
                      <a:pt x="284" y="255"/>
                      <a:pt x="284" y="255"/>
                      <a:pt x="285" y="255"/>
                    </a:cubicBezTo>
                    <a:cubicBezTo>
                      <a:pt x="285" y="255"/>
                      <a:pt x="285" y="255"/>
                      <a:pt x="285" y="254"/>
                    </a:cubicBezTo>
                    <a:cubicBezTo>
                      <a:pt x="285" y="254"/>
                      <a:pt x="284" y="254"/>
                      <a:pt x="284" y="254"/>
                    </a:cubicBezTo>
                    <a:cubicBezTo>
                      <a:pt x="284" y="254"/>
                      <a:pt x="284" y="254"/>
                      <a:pt x="283" y="254"/>
                    </a:cubicBezTo>
                    <a:cubicBezTo>
                      <a:pt x="283" y="254"/>
                      <a:pt x="283" y="254"/>
                      <a:pt x="283" y="254"/>
                    </a:cubicBezTo>
                    <a:cubicBezTo>
                      <a:pt x="283" y="253"/>
                      <a:pt x="283" y="253"/>
                      <a:pt x="283" y="253"/>
                    </a:cubicBezTo>
                    <a:cubicBezTo>
                      <a:pt x="284" y="252"/>
                      <a:pt x="285" y="253"/>
                      <a:pt x="285" y="254"/>
                    </a:cubicBezTo>
                    <a:cubicBezTo>
                      <a:pt x="285" y="255"/>
                      <a:pt x="286" y="255"/>
                      <a:pt x="287" y="256"/>
                    </a:cubicBezTo>
                    <a:cubicBezTo>
                      <a:pt x="286" y="256"/>
                      <a:pt x="286" y="256"/>
                      <a:pt x="286" y="256"/>
                    </a:cubicBezTo>
                    <a:cubicBezTo>
                      <a:pt x="286" y="257"/>
                      <a:pt x="286" y="257"/>
                      <a:pt x="286" y="257"/>
                    </a:cubicBezTo>
                    <a:cubicBezTo>
                      <a:pt x="287" y="257"/>
                      <a:pt x="287" y="257"/>
                      <a:pt x="287" y="257"/>
                    </a:cubicBezTo>
                    <a:cubicBezTo>
                      <a:pt x="287" y="258"/>
                      <a:pt x="289" y="258"/>
                      <a:pt x="289" y="258"/>
                    </a:cubicBezTo>
                    <a:cubicBezTo>
                      <a:pt x="290" y="258"/>
                      <a:pt x="290" y="259"/>
                      <a:pt x="290" y="259"/>
                    </a:cubicBezTo>
                    <a:cubicBezTo>
                      <a:pt x="290" y="261"/>
                      <a:pt x="290" y="262"/>
                      <a:pt x="290" y="263"/>
                    </a:cubicBezTo>
                    <a:cubicBezTo>
                      <a:pt x="289" y="264"/>
                      <a:pt x="290" y="265"/>
                      <a:pt x="291" y="266"/>
                    </a:cubicBezTo>
                    <a:cubicBezTo>
                      <a:pt x="291" y="267"/>
                      <a:pt x="292" y="268"/>
                      <a:pt x="291" y="269"/>
                    </a:cubicBezTo>
                    <a:cubicBezTo>
                      <a:pt x="291" y="269"/>
                      <a:pt x="291" y="270"/>
                      <a:pt x="291" y="270"/>
                    </a:cubicBezTo>
                    <a:cubicBezTo>
                      <a:pt x="291" y="272"/>
                      <a:pt x="290" y="273"/>
                      <a:pt x="291" y="275"/>
                    </a:cubicBezTo>
                    <a:cubicBezTo>
                      <a:pt x="291" y="275"/>
                      <a:pt x="291" y="275"/>
                      <a:pt x="291" y="276"/>
                    </a:cubicBezTo>
                    <a:cubicBezTo>
                      <a:pt x="291" y="277"/>
                      <a:pt x="290" y="278"/>
                      <a:pt x="288" y="279"/>
                    </a:cubicBezTo>
                    <a:cubicBezTo>
                      <a:pt x="290" y="279"/>
                      <a:pt x="291" y="281"/>
                      <a:pt x="292" y="281"/>
                    </a:cubicBezTo>
                    <a:cubicBezTo>
                      <a:pt x="293" y="281"/>
                      <a:pt x="292" y="281"/>
                      <a:pt x="292" y="282"/>
                    </a:cubicBezTo>
                    <a:cubicBezTo>
                      <a:pt x="292" y="284"/>
                      <a:pt x="292" y="286"/>
                      <a:pt x="293" y="288"/>
                    </a:cubicBezTo>
                    <a:cubicBezTo>
                      <a:pt x="292" y="288"/>
                      <a:pt x="292" y="288"/>
                      <a:pt x="292" y="287"/>
                    </a:cubicBezTo>
                    <a:cubicBezTo>
                      <a:pt x="292" y="286"/>
                      <a:pt x="291" y="285"/>
                      <a:pt x="290" y="284"/>
                    </a:cubicBezTo>
                    <a:cubicBezTo>
                      <a:pt x="290" y="284"/>
                      <a:pt x="290" y="284"/>
                      <a:pt x="290" y="284"/>
                    </a:cubicBezTo>
                    <a:cubicBezTo>
                      <a:pt x="290" y="284"/>
                      <a:pt x="289" y="284"/>
                      <a:pt x="289" y="285"/>
                    </a:cubicBezTo>
                    <a:cubicBezTo>
                      <a:pt x="290" y="285"/>
                      <a:pt x="290" y="286"/>
                      <a:pt x="290" y="287"/>
                    </a:cubicBezTo>
                    <a:cubicBezTo>
                      <a:pt x="290" y="287"/>
                      <a:pt x="289" y="287"/>
                      <a:pt x="289" y="287"/>
                    </a:cubicBezTo>
                    <a:cubicBezTo>
                      <a:pt x="289" y="285"/>
                      <a:pt x="288" y="285"/>
                      <a:pt x="288" y="286"/>
                    </a:cubicBezTo>
                    <a:cubicBezTo>
                      <a:pt x="288" y="287"/>
                      <a:pt x="289" y="287"/>
                      <a:pt x="289" y="288"/>
                    </a:cubicBezTo>
                    <a:cubicBezTo>
                      <a:pt x="289" y="288"/>
                      <a:pt x="288" y="288"/>
                      <a:pt x="288" y="288"/>
                    </a:cubicBezTo>
                    <a:cubicBezTo>
                      <a:pt x="288" y="289"/>
                      <a:pt x="289" y="289"/>
                      <a:pt x="289" y="289"/>
                    </a:cubicBezTo>
                    <a:cubicBezTo>
                      <a:pt x="288" y="290"/>
                      <a:pt x="288" y="289"/>
                      <a:pt x="287" y="289"/>
                    </a:cubicBezTo>
                    <a:cubicBezTo>
                      <a:pt x="287" y="290"/>
                      <a:pt x="287" y="290"/>
                      <a:pt x="287" y="290"/>
                    </a:cubicBezTo>
                    <a:cubicBezTo>
                      <a:pt x="287" y="290"/>
                      <a:pt x="287" y="291"/>
                      <a:pt x="287" y="291"/>
                    </a:cubicBezTo>
                    <a:cubicBezTo>
                      <a:pt x="287" y="291"/>
                      <a:pt x="287" y="291"/>
                      <a:pt x="288" y="291"/>
                    </a:cubicBezTo>
                    <a:cubicBezTo>
                      <a:pt x="288" y="291"/>
                      <a:pt x="288" y="291"/>
                      <a:pt x="288" y="291"/>
                    </a:cubicBezTo>
                    <a:cubicBezTo>
                      <a:pt x="288" y="291"/>
                      <a:pt x="288" y="292"/>
                      <a:pt x="288" y="291"/>
                    </a:cubicBezTo>
                    <a:cubicBezTo>
                      <a:pt x="289" y="291"/>
                      <a:pt x="289" y="292"/>
                      <a:pt x="289" y="293"/>
                    </a:cubicBezTo>
                    <a:cubicBezTo>
                      <a:pt x="290" y="293"/>
                      <a:pt x="290" y="294"/>
                      <a:pt x="291" y="295"/>
                    </a:cubicBezTo>
                    <a:cubicBezTo>
                      <a:pt x="291" y="295"/>
                      <a:pt x="291" y="295"/>
                      <a:pt x="291" y="296"/>
                    </a:cubicBezTo>
                    <a:cubicBezTo>
                      <a:pt x="290" y="296"/>
                      <a:pt x="290" y="296"/>
                      <a:pt x="289" y="296"/>
                    </a:cubicBezTo>
                    <a:close/>
                    <a:moveTo>
                      <a:pt x="309" y="229"/>
                    </a:moveTo>
                    <a:cubicBezTo>
                      <a:pt x="308" y="229"/>
                      <a:pt x="307" y="230"/>
                      <a:pt x="306" y="230"/>
                    </a:cubicBezTo>
                    <a:cubicBezTo>
                      <a:pt x="304" y="230"/>
                      <a:pt x="303" y="230"/>
                      <a:pt x="302" y="229"/>
                    </a:cubicBezTo>
                    <a:cubicBezTo>
                      <a:pt x="301" y="228"/>
                      <a:pt x="300" y="227"/>
                      <a:pt x="300" y="225"/>
                    </a:cubicBezTo>
                    <a:cubicBezTo>
                      <a:pt x="299" y="222"/>
                      <a:pt x="301" y="220"/>
                      <a:pt x="304" y="220"/>
                    </a:cubicBezTo>
                    <a:cubicBezTo>
                      <a:pt x="305" y="220"/>
                      <a:pt x="304" y="219"/>
                      <a:pt x="305" y="219"/>
                    </a:cubicBezTo>
                    <a:cubicBezTo>
                      <a:pt x="305" y="219"/>
                      <a:pt x="305" y="220"/>
                      <a:pt x="305" y="220"/>
                    </a:cubicBezTo>
                    <a:cubicBezTo>
                      <a:pt x="305" y="221"/>
                      <a:pt x="305" y="221"/>
                      <a:pt x="306" y="221"/>
                    </a:cubicBezTo>
                    <a:cubicBezTo>
                      <a:pt x="308" y="221"/>
                      <a:pt x="308" y="219"/>
                      <a:pt x="310" y="220"/>
                    </a:cubicBezTo>
                    <a:cubicBezTo>
                      <a:pt x="310" y="220"/>
                      <a:pt x="311" y="219"/>
                      <a:pt x="311" y="220"/>
                    </a:cubicBezTo>
                    <a:cubicBezTo>
                      <a:pt x="312" y="221"/>
                      <a:pt x="313" y="220"/>
                      <a:pt x="314" y="221"/>
                    </a:cubicBezTo>
                    <a:cubicBezTo>
                      <a:pt x="315" y="221"/>
                      <a:pt x="316" y="221"/>
                      <a:pt x="317" y="220"/>
                    </a:cubicBezTo>
                    <a:cubicBezTo>
                      <a:pt x="317" y="220"/>
                      <a:pt x="317" y="220"/>
                      <a:pt x="318" y="220"/>
                    </a:cubicBezTo>
                    <a:cubicBezTo>
                      <a:pt x="318" y="221"/>
                      <a:pt x="319" y="221"/>
                      <a:pt x="319" y="221"/>
                    </a:cubicBezTo>
                    <a:cubicBezTo>
                      <a:pt x="320" y="222"/>
                      <a:pt x="321" y="223"/>
                      <a:pt x="321" y="224"/>
                    </a:cubicBezTo>
                    <a:cubicBezTo>
                      <a:pt x="321" y="224"/>
                      <a:pt x="321" y="224"/>
                      <a:pt x="320" y="224"/>
                    </a:cubicBezTo>
                    <a:cubicBezTo>
                      <a:pt x="319" y="224"/>
                      <a:pt x="319" y="225"/>
                      <a:pt x="319" y="225"/>
                    </a:cubicBezTo>
                    <a:cubicBezTo>
                      <a:pt x="318" y="227"/>
                      <a:pt x="319" y="228"/>
                      <a:pt x="318" y="229"/>
                    </a:cubicBezTo>
                    <a:cubicBezTo>
                      <a:pt x="318" y="230"/>
                      <a:pt x="318" y="231"/>
                      <a:pt x="317" y="230"/>
                    </a:cubicBezTo>
                    <a:cubicBezTo>
                      <a:pt x="316" y="230"/>
                      <a:pt x="316" y="230"/>
                      <a:pt x="315" y="230"/>
                    </a:cubicBezTo>
                    <a:cubicBezTo>
                      <a:pt x="313" y="230"/>
                      <a:pt x="311" y="229"/>
                      <a:pt x="309" y="229"/>
                    </a:cubicBezTo>
                    <a:close/>
                    <a:moveTo>
                      <a:pt x="343" y="236"/>
                    </a:moveTo>
                    <a:cubicBezTo>
                      <a:pt x="342" y="237"/>
                      <a:pt x="341" y="238"/>
                      <a:pt x="340" y="238"/>
                    </a:cubicBezTo>
                    <a:cubicBezTo>
                      <a:pt x="340" y="238"/>
                      <a:pt x="339" y="237"/>
                      <a:pt x="339" y="237"/>
                    </a:cubicBezTo>
                    <a:cubicBezTo>
                      <a:pt x="337" y="236"/>
                      <a:pt x="335" y="234"/>
                      <a:pt x="334" y="233"/>
                    </a:cubicBezTo>
                    <a:cubicBezTo>
                      <a:pt x="334" y="232"/>
                      <a:pt x="334" y="232"/>
                      <a:pt x="334" y="231"/>
                    </a:cubicBezTo>
                    <a:cubicBezTo>
                      <a:pt x="333" y="230"/>
                      <a:pt x="333" y="229"/>
                      <a:pt x="333" y="228"/>
                    </a:cubicBezTo>
                    <a:cubicBezTo>
                      <a:pt x="333" y="227"/>
                      <a:pt x="334" y="226"/>
                      <a:pt x="334" y="225"/>
                    </a:cubicBezTo>
                    <a:cubicBezTo>
                      <a:pt x="334" y="225"/>
                      <a:pt x="334" y="225"/>
                      <a:pt x="335" y="225"/>
                    </a:cubicBezTo>
                    <a:cubicBezTo>
                      <a:pt x="335" y="224"/>
                      <a:pt x="337" y="224"/>
                      <a:pt x="338" y="224"/>
                    </a:cubicBezTo>
                    <a:cubicBezTo>
                      <a:pt x="338" y="224"/>
                      <a:pt x="338" y="224"/>
                      <a:pt x="339" y="224"/>
                    </a:cubicBezTo>
                    <a:cubicBezTo>
                      <a:pt x="339" y="224"/>
                      <a:pt x="340" y="224"/>
                      <a:pt x="340" y="225"/>
                    </a:cubicBezTo>
                    <a:cubicBezTo>
                      <a:pt x="340" y="226"/>
                      <a:pt x="341" y="226"/>
                      <a:pt x="342" y="227"/>
                    </a:cubicBezTo>
                    <a:cubicBezTo>
                      <a:pt x="343" y="228"/>
                      <a:pt x="344" y="230"/>
                      <a:pt x="343" y="232"/>
                    </a:cubicBezTo>
                    <a:cubicBezTo>
                      <a:pt x="343" y="232"/>
                      <a:pt x="343" y="232"/>
                      <a:pt x="344" y="232"/>
                    </a:cubicBezTo>
                    <a:cubicBezTo>
                      <a:pt x="345" y="234"/>
                      <a:pt x="343" y="235"/>
                      <a:pt x="343" y="236"/>
                    </a:cubicBezTo>
                    <a:close/>
                    <a:moveTo>
                      <a:pt x="274" y="146"/>
                    </a:moveTo>
                    <a:cubicBezTo>
                      <a:pt x="274" y="144"/>
                      <a:pt x="273" y="142"/>
                      <a:pt x="274" y="141"/>
                    </a:cubicBezTo>
                    <a:cubicBezTo>
                      <a:pt x="274" y="140"/>
                      <a:pt x="275" y="139"/>
                      <a:pt x="276" y="138"/>
                    </a:cubicBezTo>
                    <a:cubicBezTo>
                      <a:pt x="276" y="137"/>
                      <a:pt x="277" y="137"/>
                      <a:pt x="278" y="138"/>
                    </a:cubicBezTo>
                    <a:cubicBezTo>
                      <a:pt x="278" y="139"/>
                      <a:pt x="279" y="139"/>
                      <a:pt x="280" y="138"/>
                    </a:cubicBezTo>
                    <a:cubicBezTo>
                      <a:pt x="280" y="138"/>
                      <a:pt x="281" y="138"/>
                      <a:pt x="281" y="138"/>
                    </a:cubicBezTo>
                    <a:cubicBezTo>
                      <a:pt x="281" y="139"/>
                      <a:pt x="282" y="139"/>
                      <a:pt x="283" y="140"/>
                    </a:cubicBezTo>
                    <a:cubicBezTo>
                      <a:pt x="283" y="143"/>
                      <a:pt x="283" y="146"/>
                      <a:pt x="284" y="148"/>
                    </a:cubicBezTo>
                    <a:cubicBezTo>
                      <a:pt x="284" y="150"/>
                      <a:pt x="284" y="152"/>
                      <a:pt x="283" y="153"/>
                    </a:cubicBezTo>
                    <a:cubicBezTo>
                      <a:pt x="283" y="154"/>
                      <a:pt x="283" y="155"/>
                      <a:pt x="282" y="155"/>
                    </a:cubicBezTo>
                    <a:cubicBezTo>
                      <a:pt x="282" y="155"/>
                      <a:pt x="282" y="154"/>
                      <a:pt x="282" y="153"/>
                    </a:cubicBezTo>
                    <a:cubicBezTo>
                      <a:pt x="281" y="153"/>
                      <a:pt x="281" y="152"/>
                      <a:pt x="280" y="152"/>
                    </a:cubicBezTo>
                    <a:cubicBezTo>
                      <a:pt x="279" y="152"/>
                      <a:pt x="279" y="151"/>
                      <a:pt x="279" y="150"/>
                    </a:cubicBezTo>
                    <a:cubicBezTo>
                      <a:pt x="280" y="150"/>
                      <a:pt x="279" y="149"/>
                      <a:pt x="280" y="149"/>
                    </a:cubicBezTo>
                    <a:cubicBezTo>
                      <a:pt x="279" y="148"/>
                      <a:pt x="278" y="147"/>
                      <a:pt x="278" y="147"/>
                    </a:cubicBezTo>
                    <a:cubicBezTo>
                      <a:pt x="277" y="147"/>
                      <a:pt x="276" y="147"/>
                      <a:pt x="276" y="147"/>
                    </a:cubicBezTo>
                    <a:cubicBezTo>
                      <a:pt x="274" y="148"/>
                      <a:pt x="273" y="147"/>
                      <a:pt x="274" y="146"/>
                    </a:cubicBezTo>
                    <a:close/>
                    <a:moveTo>
                      <a:pt x="158" y="270"/>
                    </a:moveTo>
                    <a:cubicBezTo>
                      <a:pt x="158" y="272"/>
                      <a:pt x="156" y="274"/>
                      <a:pt x="156" y="276"/>
                    </a:cubicBezTo>
                    <a:cubicBezTo>
                      <a:pt x="155" y="278"/>
                      <a:pt x="154" y="280"/>
                      <a:pt x="153" y="282"/>
                    </a:cubicBezTo>
                    <a:cubicBezTo>
                      <a:pt x="152" y="283"/>
                      <a:pt x="152" y="284"/>
                      <a:pt x="151" y="285"/>
                    </a:cubicBezTo>
                    <a:cubicBezTo>
                      <a:pt x="151" y="286"/>
                      <a:pt x="150" y="285"/>
                      <a:pt x="149" y="285"/>
                    </a:cubicBezTo>
                    <a:cubicBezTo>
                      <a:pt x="149" y="284"/>
                      <a:pt x="148" y="284"/>
                      <a:pt x="147" y="284"/>
                    </a:cubicBezTo>
                    <a:cubicBezTo>
                      <a:pt x="146" y="284"/>
                      <a:pt x="146" y="284"/>
                      <a:pt x="146" y="283"/>
                    </a:cubicBezTo>
                    <a:cubicBezTo>
                      <a:pt x="145" y="283"/>
                      <a:pt x="145" y="283"/>
                      <a:pt x="145" y="282"/>
                    </a:cubicBezTo>
                    <a:cubicBezTo>
                      <a:pt x="146" y="280"/>
                      <a:pt x="148" y="279"/>
                      <a:pt x="148" y="278"/>
                    </a:cubicBezTo>
                    <a:cubicBezTo>
                      <a:pt x="149" y="277"/>
                      <a:pt x="149" y="277"/>
                      <a:pt x="149" y="276"/>
                    </a:cubicBezTo>
                    <a:cubicBezTo>
                      <a:pt x="150" y="275"/>
                      <a:pt x="151" y="274"/>
                      <a:pt x="152" y="273"/>
                    </a:cubicBezTo>
                    <a:cubicBezTo>
                      <a:pt x="152" y="273"/>
                      <a:pt x="153" y="273"/>
                      <a:pt x="153" y="273"/>
                    </a:cubicBezTo>
                    <a:cubicBezTo>
                      <a:pt x="154" y="273"/>
                      <a:pt x="154" y="273"/>
                      <a:pt x="154" y="272"/>
                    </a:cubicBezTo>
                    <a:cubicBezTo>
                      <a:pt x="154" y="272"/>
                      <a:pt x="154" y="271"/>
                      <a:pt x="155" y="271"/>
                    </a:cubicBezTo>
                    <a:cubicBezTo>
                      <a:pt x="155" y="271"/>
                      <a:pt x="155" y="271"/>
                      <a:pt x="155" y="270"/>
                    </a:cubicBezTo>
                    <a:cubicBezTo>
                      <a:pt x="155" y="270"/>
                      <a:pt x="156" y="269"/>
                      <a:pt x="156" y="269"/>
                    </a:cubicBezTo>
                    <a:cubicBezTo>
                      <a:pt x="157" y="269"/>
                      <a:pt x="157" y="269"/>
                      <a:pt x="157" y="269"/>
                    </a:cubicBezTo>
                    <a:cubicBezTo>
                      <a:pt x="158" y="269"/>
                      <a:pt x="158" y="270"/>
                      <a:pt x="158" y="270"/>
                    </a:cubicBezTo>
                    <a:close/>
                    <a:moveTo>
                      <a:pt x="246" y="270"/>
                    </a:moveTo>
                    <a:cubicBezTo>
                      <a:pt x="245" y="269"/>
                      <a:pt x="245" y="268"/>
                      <a:pt x="246" y="268"/>
                    </a:cubicBezTo>
                    <a:cubicBezTo>
                      <a:pt x="246" y="267"/>
                      <a:pt x="247" y="267"/>
                      <a:pt x="248" y="266"/>
                    </a:cubicBezTo>
                    <a:cubicBezTo>
                      <a:pt x="250" y="265"/>
                      <a:pt x="253" y="265"/>
                      <a:pt x="255" y="264"/>
                    </a:cubicBezTo>
                    <a:cubicBezTo>
                      <a:pt x="256" y="263"/>
                      <a:pt x="257" y="263"/>
                      <a:pt x="258" y="265"/>
                    </a:cubicBezTo>
                    <a:cubicBezTo>
                      <a:pt x="259" y="267"/>
                      <a:pt x="258" y="269"/>
                      <a:pt x="256" y="270"/>
                    </a:cubicBezTo>
                    <a:cubicBezTo>
                      <a:pt x="254" y="271"/>
                      <a:pt x="253" y="271"/>
                      <a:pt x="251" y="271"/>
                    </a:cubicBezTo>
                    <a:cubicBezTo>
                      <a:pt x="250" y="271"/>
                      <a:pt x="250" y="272"/>
                      <a:pt x="249" y="272"/>
                    </a:cubicBezTo>
                    <a:cubicBezTo>
                      <a:pt x="248" y="271"/>
                      <a:pt x="247" y="271"/>
                      <a:pt x="246" y="270"/>
                    </a:cubicBezTo>
                    <a:close/>
                    <a:moveTo>
                      <a:pt x="244" y="258"/>
                    </a:moveTo>
                    <a:cubicBezTo>
                      <a:pt x="244" y="258"/>
                      <a:pt x="244" y="258"/>
                      <a:pt x="244" y="258"/>
                    </a:cubicBezTo>
                    <a:cubicBezTo>
                      <a:pt x="244" y="257"/>
                      <a:pt x="243" y="257"/>
                      <a:pt x="244" y="256"/>
                    </a:cubicBezTo>
                    <a:cubicBezTo>
                      <a:pt x="245" y="255"/>
                      <a:pt x="245" y="254"/>
                      <a:pt x="246" y="254"/>
                    </a:cubicBezTo>
                    <a:cubicBezTo>
                      <a:pt x="247" y="253"/>
                      <a:pt x="248" y="253"/>
                      <a:pt x="248" y="254"/>
                    </a:cubicBezTo>
                    <a:cubicBezTo>
                      <a:pt x="249" y="255"/>
                      <a:pt x="248" y="255"/>
                      <a:pt x="248" y="256"/>
                    </a:cubicBezTo>
                    <a:cubicBezTo>
                      <a:pt x="248" y="256"/>
                      <a:pt x="248" y="256"/>
                      <a:pt x="248" y="256"/>
                    </a:cubicBezTo>
                    <a:cubicBezTo>
                      <a:pt x="248" y="256"/>
                      <a:pt x="249" y="256"/>
                      <a:pt x="249" y="256"/>
                    </a:cubicBezTo>
                    <a:cubicBezTo>
                      <a:pt x="249" y="255"/>
                      <a:pt x="249" y="255"/>
                      <a:pt x="249" y="255"/>
                    </a:cubicBezTo>
                    <a:cubicBezTo>
                      <a:pt x="250" y="255"/>
                      <a:pt x="251" y="257"/>
                      <a:pt x="251" y="257"/>
                    </a:cubicBezTo>
                    <a:cubicBezTo>
                      <a:pt x="251" y="258"/>
                      <a:pt x="251" y="259"/>
                      <a:pt x="252" y="258"/>
                    </a:cubicBezTo>
                    <a:cubicBezTo>
                      <a:pt x="253" y="258"/>
                      <a:pt x="253" y="258"/>
                      <a:pt x="253" y="259"/>
                    </a:cubicBezTo>
                    <a:cubicBezTo>
                      <a:pt x="253" y="259"/>
                      <a:pt x="253" y="259"/>
                      <a:pt x="253" y="259"/>
                    </a:cubicBezTo>
                    <a:cubicBezTo>
                      <a:pt x="254" y="260"/>
                      <a:pt x="255" y="260"/>
                      <a:pt x="254" y="261"/>
                    </a:cubicBezTo>
                    <a:cubicBezTo>
                      <a:pt x="254" y="262"/>
                      <a:pt x="253" y="263"/>
                      <a:pt x="252" y="263"/>
                    </a:cubicBezTo>
                    <a:cubicBezTo>
                      <a:pt x="252" y="263"/>
                      <a:pt x="251" y="264"/>
                      <a:pt x="251" y="264"/>
                    </a:cubicBezTo>
                    <a:cubicBezTo>
                      <a:pt x="249" y="264"/>
                      <a:pt x="248" y="263"/>
                      <a:pt x="246" y="263"/>
                    </a:cubicBezTo>
                    <a:cubicBezTo>
                      <a:pt x="246" y="263"/>
                      <a:pt x="247" y="263"/>
                      <a:pt x="248" y="263"/>
                    </a:cubicBezTo>
                    <a:cubicBezTo>
                      <a:pt x="247" y="263"/>
                      <a:pt x="247" y="262"/>
                      <a:pt x="246" y="262"/>
                    </a:cubicBezTo>
                    <a:cubicBezTo>
                      <a:pt x="246" y="262"/>
                      <a:pt x="245" y="261"/>
                      <a:pt x="245" y="261"/>
                    </a:cubicBezTo>
                    <a:cubicBezTo>
                      <a:pt x="246" y="260"/>
                      <a:pt x="246" y="259"/>
                      <a:pt x="245" y="259"/>
                    </a:cubicBezTo>
                    <a:cubicBezTo>
                      <a:pt x="244" y="259"/>
                      <a:pt x="244" y="259"/>
                      <a:pt x="244" y="258"/>
                    </a:cubicBezTo>
                    <a:close/>
                    <a:moveTo>
                      <a:pt x="250" y="290"/>
                    </a:moveTo>
                    <a:cubicBezTo>
                      <a:pt x="250" y="291"/>
                      <a:pt x="250" y="293"/>
                      <a:pt x="251" y="294"/>
                    </a:cubicBezTo>
                    <a:cubicBezTo>
                      <a:pt x="251" y="295"/>
                      <a:pt x="249" y="297"/>
                      <a:pt x="248" y="298"/>
                    </a:cubicBezTo>
                    <a:cubicBezTo>
                      <a:pt x="247" y="298"/>
                      <a:pt x="247" y="298"/>
                      <a:pt x="246" y="298"/>
                    </a:cubicBezTo>
                    <a:cubicBezTo>
                      <a:pt x="244" y="298"/>
                      <a:pt x="244" y="297"/>
                      <a:pt x="243" y="296"/>
                    </a:cubicBezTo>
                    <a:cubicBezTo>
                      <a:pt x="242" y="296"/>
                      <a:pt x="242" y="295"/>
                      <a:pt x="243" y="295"/>
                    </a:cubicBezTo>
                    <a:cubicBezTo>
                      <a:pt x="243" y="293"/>
                      <a:pt x="244" y="290"/>
                      <a:pt x="245" y="288"/>
                    </a:cubicBezTo>
                    <a:cubicBezTo>
                      <a:pt x="246" y="287"/>
                      <a:pt x="247" y="287"/>
                      <a:pt x="247" y="287"/>
                    </a:cubicBezTo>
                    <a:cubicBezTo>
                      <a:pt x="249" y="288"/>
                      <a:pt x="249" y="289"/>
                      <a:pt x="250" y="290"/>
                    </a:cubicBezTo>
                    <a:close/>
                    <a:moveTo>
                      <a:pt x="174" y="215"/>
                    </a:moveTo>
                    <a:cubicBezTo>
                      <a:pt x="174" y="214"/>
                      <a:pt x="174" y="214"/>
                      <a:pt x="174" y="214"/>
                    </a:cubicBezTo>
                    <a:cubicBezTo>
                      <a:pt x="175" y="214"/>
                      <a:pt x="174" y="214"/>
                      <a:pt x="175" y="214"/>
                    </a:cubicBezTo>
                    <a:cubicBezTo>
                      <a:pt x="175" y="214"/>
                      <a:pt x="175" y="213"/>
                      <a:pt x="176" y="213"/>
                    </a:cubicBezTo>
                    <a:cubicBezTo>
                      <a:pt x="176" y="212"/>
                      <a:pt x="177" y="211"/>
                      <a:pt x="178" y="210"/>
                    </a:cubicBezTo>
                    <a:cubicBezTo>
                      <a:pt x="178" y="210"/>
                      <a:pt x="179" y="210"/>
                      <a:pt x="179" y="210"/>
                    </a:cubicBezTo>
                    <a:cubicBezTo>
                      <a:pt x="179" y="210"/>
                      <a:pt x="179" y="211"/>
                      <a:pt x="179" y="211"/>
                    </a:cubicBezTo>
                    <a:cubicBezTo>
                      <a:pt x="179" y="211"/>
                      <a:pt x="179" y="212"/>
                      <a:pt x="179" y="213"/>
                    </a:cubicBezTo>
                    <a:cubicBezTo>
                      <a:pt x="180" y="213"/>
                      <a:pt x="180" y="213"/>
                      <a:pt x="181" y="213"/>
                    </a:cubicBezTo>
                    <a:cubicBezTo>
                      <a:pt x="181" y="214"/>
                      <a:pt x="181" y="214"/>
                      <a:pt x="181" y="215"/>
                    </a:cubicBezTo>
                    <a:cubicBezTo>
                      <a:pt x="181" y="215"/>
                      <a:pt x="182" y="215"/>
                      <a:pt x="182" y="215"/>
                    </a:cubicBezTo>
                    <a:cubicBezTo>
                      <a:pt x="183" y="216"/>
                      <a:pt x="183" y="217"/>
                      <a:pt x="184" y="218"/>
                    </a:cubicBezTo>
                    <a:cubicBezTo>
                      <a:pt x="184" y="219"/>
                      <a:pt x="183" y="221"/>
                      <a:pt x="182" y="222"/>
                    </a:cubicBezTo>
                    <a:cubicBezTo>
                      <a:pt x="180" y="222"/>
                      <a:pt x="179" y="222"/>
                      <a:pt x="178" y="220"/>
                    </a:cubicBezTo>
                    <a:cubicBezTo>
                      <a:pt x="178" y="220"/>
                      <a:pt x="177" y="219"/>
                      <a:pt x="177" y="219"/>
                    </a:cubicBezTo>
                    <a:cubicBezTo>
                      <a:pt x="176" y="218"/>
                      <a:pt x="175" y="216"/>
                      <a:pt x="174" y="215"/>
                    </a:cubicBezTo>
                    <a:close/>
                    <a:moveTo>
                      <a:pt x="259" y="221"/>
                    </a:moveTo>
                    <a:cubicBezTo>
                      <a:pt x="259" y="221"/>
                      <a:pt x="258" y="221"/>
                      <a:pt x="259" y="220"/>
                    </a:cubicBezTo>
                    <a:cubicBezTo>
                      <a:pt x="259" y="220"/>
                      <a:pt x="259" y="220"/>
                      <a:pt x="259" y="220"/>
                    </a:cubicBezTo>
                    <a:cubicBezTo>
                      <a:pt x="257" y="219"/>
                      <a:pt x="259" y="218"/>
                      <a:pt x="258" y="217"/>
                    </a:cubicBezTo>
                    <a:cubicBezTo>
                      <a:pt x="258" y="217"/>
                      <a:pt x="259" y="217"/>
                      <a:pt x="259" y="217"/>
                    </a:cubicBezTo>
                    <a:cubicBezTo>
                      <a:pt x="260" y="216"/>
                      <a:pt x="261" y="215"/>
                      <a:pt x="262" y="216"/>
                    </a:cubicBezTo>
                    <a:cubicBezTo>
                      <a:pt x="264" y="216"/>
                      <a:pt x="265" y="217"/>
                      <a:pt x="266" y="218"/>
                    </a:cubicBezTo>
                    <a:cubicBezTo>
                      <a:pt x="267" y="218"/>
                      <a:pt x="268" y="219"/>
                      <a:pt x="269" y="220"/>
                    </a:cubicBezTo>
                    <a:cubicBezTo>
                      <a:pt x="269" y="221"/>
                      <a:pt x="268" y="222"/>
                      <a:pt x="267" y="222"/>
                    </a:cubicBezTo>
                    <a:cubicBezTo>
                      <a:pt x="266" y="221"/>
                      <a:pt x="265" y="221"/>
                      <a:pt x="264" y="222"/>
                    </a:cubicBezTo>
                    <a:cubicBezTo>
                      <a:pt x="263" y="223"/>
                      <a:pt x="261" y="223"/>
                      <a:pt x="260" y="222"/>
                    </a:cubicBezTo>
                    <a:cubicBezTo>
                      <a:pt x="260" y="222"/>
                      <a:pt x="260" y="221"/>
                      <a:pt x="259" y="221"/>
                    </a:cubicBezTo>
                    <a:close/>
                    <a:moveTo>
                      <a:pt x="202" y="218"/>
                    </a:moveTo>
                    <a:cubicBezTo>
                      <a:pt x="202" y="218"/>
                      <a:pt x="203" y="218"/>
                      <a:pt x="203" y="219"/>
                    </a:cubicBezTo>
                    <a:cubicBezTo>
                      <a:pt x="204" y="221"/>
                      <a:pt x="205" y="220"/>
                      <a:pt x="206" y="220"/>
                    </a:cubicBezTo>
                    <a:cubicBezTo>
                      <a:pt x="207" y="220"/>
                      <a:pt x="208" y="220"/>
                      <a:pt x="207" y="221"/>
                    </a:cubicBezTo>
                    <a:cubicBezTo>
                      <a:pt x="207" y="222"/>
                      <a:pt x="208" y="224"/>
                      <a:pt x="207" y="225"/>
                    </a:cubicBezTo>
                    <a:cubicBezTo>
                      <a:pt x="207" y="225"/>
                      <a:pt x="207" y="225"/>
                      <a:pt x="207" y="225"/>
                    </a:cubicBezTo>
                    <a:cubicBezTo>
                      <a:pt x="207" y="227"/>
                      <a:pt x="207" y="228"/>
                      <a:pt x="206" y="229"/>
                    </a:cubicBezTo>
                    <a:cubicBezTo>
                      <a:pt x="205" y="229"/>
                      <a:pt x="204" y="229"/>
                      <a:pt x="203" y="230"/>
                    </a:cubicBezTo>
                    <a:cubicBezTo>
                      <a:pt x="202" y="231"/>
                      <a:pt x="201" y="231"/>
                      <a:pt x="200" y="231"/>
                    </a:cubicBezTo>
                    <a:cubicBezTo>
                      <a:pt x="200" y="231"/>
                      <a:pt x="199" y="231"/>
                      <a:pt x="199" y="231"/>
                    </a:cubicBezTo>
                    <a:cubicBezTo>
                      <a:pt x="198" y="232"/>
                      <a:pt x="197" y="232"/>
                      <a:pt x="196" y="233"/>
                    </a:cubicBezTo>
                    <a:cubicBezTo>
                      <a:pt x="196" y="233"/>
                      <a:pt x="196" y="233"/>
                      <a:pt x="196" y="233"/>
                    </a:cubicBezTo>
                    <a:cubicBezTo>
                      <a:pt x="194" y="234"/>
                      <a:pt x="192" y="233"/>
                      <a:pt x="191" y="231"/>
                    </a:cubicBezTo>
                    <a:cubicBezTo>
                      <a:pt x="191" y="231"/>
                      <a:pt x="191" y="230"/>
                      <a:pt x="191" y="230"/>
                    </a:cubicBezTo>
                    <a:cubicBezTo>
                      <a:pt x="190" y="230"/>
                      <a:pt x="190" y="229"/>
                      <a:pt x="190" y="230"/>
                    </a:cubicBezTo>
                    <a:cubicBezTo>
                      <a:pt x="189" y="230"/>
                      <a:pt x="188" y="230"/>
                      <a:pt x="188" y="229"/>
                    </a:cubicBezTo>
                    <a:cubicBezTo>
                      <a:pt x="188" y="228"/>
                      <a:pt x="188" y="228"/>
                      <a:pt x="187" y="228"/>
                    </a:cubicBezTo>
                    <a:cubicBezTo>
                      <a:pt x="187" y="228"/>
                      <a:pt x="187" y="227"/>
                      <a:pt x="187" y="227"/>
                    </a:cubicBezTo>
                    <a:cubicBezTo>
                      <a:pt x="187" y="225"/>
                      <a:pt x="187" y="224"/>
                      <a:pt x="187" y="223"/>
                    </a:cubicBezTo>
                    <a:cubicBezTo>
                      <a:pt x="186" y="221"/>
                      <a:pt x="186" y="218"/>
                      <a:pt x="187" y="216"/>
                    </a:cubicBezTo>
                    <a:cubicBezTo>
                      <a:pt x="187" y="215"/>
                      <a:pt x="187" y="215"/>
                      <a:pt x="187" y="216"/>
                    </a:cubicBezTo>
                    <a:cubicBezTo>
                      <a:pt x="188" y="216"/>
                      <a:pt x="188" y="216"/>
                      <a:pt x="188" y="216"/>
                    </a:cubicBezTo>
                    <a:cubicBezTo>
                      <a:pt x="189" y="215"/>
                      <a:pt x="189" y="214"/>
                      <a:pt x="190" y="214"/>
                    </a:cubicBezTo>
                    <a:cubicBezTo>
                      <a:pt x="190" y="214"/>
                      <a:pt x="191" y="213"/>
                      <a:pt x="191" y="213"/>
                    </a:cubicBezTo>
                    <a:cubicBezTo>
                      <a:pt x="192" y="212"/>
                      <a:pt x="192" y="212"/>
                      <a:pt x="192" y="213"/>
                    </a:cubicBezTo>
                    <a:cubicBezTo>
                      <a:pt x="193" y="213"/>
                      <a:pt x="193" y="213"/>
                      <a:pt x="194" y="212"/>
                    </a:cubicBezTo>
                    <a:cubicBezTo>
                      <a:pt x="194" y="212"/>
                      <a:pt x="195" y="211"/>
                      <a:pt x="196" y="212"/>
                    </a:cubicBezTo>
                    <a:cubicBezTo>
                      <a:pt x="197" y="212"/>
                      <a:pt x="197" y="212"/>
                      <a:pt x="197" y="212"/>
                    </a:cubicBezTo>
                    <a:cubicBezTo>
                      <a:pt x="198" y="210"/>
                      <a:pt x="199" y="210"/>
                      <a:pt x="201" y="210"/>
                    </a:cubicBezTo>
                    <a:cubicBezTo>
                      <a:pt x="201" y="209"/>
                      <a:pt x="201" y="210"/>
                      <a:pt x="202" y="211"/>
                    </a:cubicBezTo>
                    <a:cubicBezTo>
                      <a:pt x="202" y="211"/>
                      <a:pt x="203" y="211"/>
                      <a:pt x="203" y="210"/>
                    </a:cubicBezTo>
                    <a:cubicBezTo>
                      <a:pt x="203" y="209"/>
                      <a:pt x="204" y="209"/>
                      <a:pt x="205" y="209"/>
                    </a:cubicBezTo>
                    <a:cubicBezTo>
                      <a:pt x="206" y="209"/>
                      <a:pt x="207" y="209"/>
                      <a:pt x="208" y="209"/>
                    </a:cubicBezTo>
                    <a:cubicBezTo>
                      <a:pt x="211" y="209"/>
                      <a:pt x="211" y="211"/>
                      <a:pt x="210" y="213"/>
                    </a:cubicBezTo>
                    <a:cubicBezTo>
                      <a:pt x="210" y="214"/>
                      <a:pt x="209" y="215"/>
                      <a:pt x="209" y="215"/>
                    </a:cubicBezTo>
                    <a:cubicBezTo>
                      <a:pt x="207" y="215"/>
                      <a:pt x="206" y="216"/>
                      <a:pt x="205" y="216"/>
                    </a:cubicBezTo>
                    <a:cubicBezTo>
                      <a:pt x="204" y="217"/>
                      <a:pt x="203" y="217"/>
                      <a:pt x="203" y="217"/>
                    </a:cubicBezTo>
                    <a:cubicBezTo>
                      <a:pt x="202" y="217"/>
                      <a:pt x="202" y="218"/>
                      <a:pt x="202" y="218"/>
                    </a:cubicBezTo>
                    <a:close/>
                    <a:moveTo>
                      <a:pt x="185" y="249"/>
                    </a:moveTo>
                    <a:cubicBezTo>
                      <a:pt x="185" y="250"/>
                      <a:pt x="184" y="251"/>
                      <a:pt x="184" y="252"/>
                    </a:cubicBezTo>
                    <a:cubicBezTo>
                      <a:pt x="184" y="252"/>
                      <a:pt x="183" y="252"/>
                      <a:pt x="183" y="252"/>
                    </a:cubicBezTo>
                    <a:cubicBezTo>
                      <a:pt x="182" y="251"/>
                      <a:pt x="181" y="252"/>
                      <a:pt x="180" y="252"/>
                    </a:cubicBezTo>
                    <a:cubicBezTo>
                      <a:pt x="179" y="252"/>
                      <a:pt x="178" y="251"/>
                      <a:pt x="177" y="251"/>
                    </a:cubicBezTo>
                    <a:cubicBezTo>
                      <a:pt x="176" y="251"/>
                      <a:pt x="176" y="251"/>
                      <a:pt x="176" y="250"/>
                    </a:cubicBezTo>
                    <a:cubicBezTo>
                      <a:pt x="176" y="249"/>
                      <a:pt x="176" y="248"/>
                      <a:pt x="177" y="248"/>
                    </a:cubicBezTo>
                    <a:cubicBezTo>
                      <a:pt x="177" y="247"/>
                      <a:pt x="178" y="247"/>
                      <a:pt x="179" y="247"/>
                    </a:cubicBezTo>
                    <a:cubicBezTo>
                      <a:pt x="180" y="247"/>
                      <a:pt x="181" y="247"/>
                      <a:pt x="182" y="247"/>
                    </a:cubicBezTo>
                    <a:cubicBezTo>
                      <a:pt x="182" y="247"/>
                      <a:pt x="183" y="247"/>
                      <a:pt x="183" y="247"/>
                    </a:cubicBezTo>
                    <a:cubicBezTo>
                      <a:pt x="184" y="248"/>
                      <a:pt x="184" y="248"/>
                      <a:pt x="185" y="249"/>
                    </a:cubicBezTo>
                    <a:close/>
                    <a:moveTo>
                      <a:pt x="239" y="281"/>
                    </a:moveTo>
                    <a:cubicBezTo>
                      <a:pt x="239" y="279"/>
                      <a:pt x="239" y="277"/>
                      <a:pt x="238" y="276"/>
                    </a:cubicBezTo>
                    <a:cubicBezTo>
                      <a:pt x="238" y="275"/>
                      <a:pt x="238" y="275"/>
                      <a:pt x="238" y="275"/>
                    </a:cubicBezTo>
                    <a:cubicBezTo>
                      <a:pt x="238" y="275"/>
                      <a:pt x="237" y="274"/>
                      <a:pt x="237" y="274"/>
                    </a:cubicBezTo>
                    <a:cubicBezTo>
                      <a:pt x="236" y="273"/>
                      <a:pt x="235" y="272"/>
                      <a:pt x="235" y="272"/>
                    </a:cubicBezTo>
                    <a:cubicBezTo>
                      <a:pt x="233" y="271"/>
                      <a:pt x="232" y="271"/>
                      <a:pt x="231" y="271"/>
                    </a:cubicBezTo>
                    <a:cubicBezTo>
                      <a:pt x="230" y="271"/>
                      <a:pt x="230" y="272"/>
                      <a:pt x="230" y="273"/>
                    </a:cubicBezTo>
                    <a:cubicBezTo>
                      <a:pt x="229" y="273"/>
                      <a:pt x="229" y="273"/>
                      <a:pt x="229" y="273"/>
                    </a:cubicBezTo>
                    <a:cubicBezTo>
                      <a:pt x="229" y="274"/>
                      <a:pt x="229" y="275"/>
                      <a:pt x="229" y="276"/>
                    </a:cubicBezTo>
                    <a:cubicBezTo>
                      <a:pt x="229" y="277"/>
                      <a:pt x="229" y="277"/>
                      <a:pt x="230" y="278"/>
                    </a:cubicBezTo>
                    <a:cubicBezTo>
                      <a:pt x="229" y="278"/>
                      <a:pt x="229" y="278"/>
                      <a:pt x="229" y="279"/>
                    </a:cubicBezTo>
                    <a:cubicBezTo>
                      <a:pt x="229" y="280"/>
                      <a:pt x="229" y="280"/>
                      <a:pt x="229" y="281"/>
                    </a:cubicBezTo>
                    <a:cubicBezTo>
                      <a:pt x="229" y="282"/>
                      <a:pt x="229" y="282"/>
                      <a:pt x="228" y="281"/>
                    </a:cubicBezTo>
                    <a:cubicBezTo>
                      <a:pt x="228" y="280"/>
                      <a:pt x="228" y="279"/>
                      <a:pt x="228" y="278"/>
                    </a:cubicBezTo>
                    <a:cubicBezTo>
                      <a:pt x="227" y="278"/>
                      <a:pt x="227" y="277"/>
                      <a:pt x="227" y="276"/>
                    </a:cubicBezTo>
                    <a:cubicBezTo>
                      <a:pt x="227" y="275"/>
                      <a:pt x="226" y="274"/>
                      <a:pt x="225" y="275"/>
                    </a:cubicBezTo>
                    <a:cubicBezTo>
                      <a:pt x="224" y="275"/>
                      <a:pt x="223" y="275"/>
                      <a:pt x="223" y="276"/>
                    </a:cubicBezTo>
                    <a:cubicBezTo>
                      <a:pt x="223" y="277"/>
                      <a:pt x="222" y="278"/>
                      <a:pt x="221" y="279"/>
                    </a:cubicBezTo>
                    <a:cubicBezTo>
                      <a:pt x="221" y="278"/>
                      <a:pt x="221" y="277"/>
                      <a:pt x="221" y="277"/>
                    </a:cubicBezTo>
                    <a:cubicBezTo>
                      <a:pt x="222" y="276"/>
                      <a:pt x="222" y="275"/>
                      <a:pt x="223" y="274"/>
                    </a:cubicBezTo>
                    <a:cubicBezTo>
                      <a:pt x="224" y="273"/>
                      <a:pt x="224" y="272"/>
                      <a:pt x="223" y="271"/>
                    </a:cubicBezTo>
                    <a:cubicBezTo>
                      <a:pt x="222" y="271"/>
                      <a:pt x="222" y="270"/>
                      <a:pt x="221" y="271"/>
                    </a:cubicBezTo>
                    <a:cubicBezTo>
                      <a:pt x="220" y="271"/>
                      <a:pt x="219" y="271"/>
                      <a:pt x="218" y="271"/>
                    </a:cubicBezTo>
                    <a:cubicBezTo>
                      <a:pt x="218" y="271"/>
                      <a:pt x="218" y="270"/>
                      <a:pt x="218" y="270"/>
                    </a:cubicBezTo>
                    <a:cubicBezTo>
                      <a:pt x="219" y="269"/>
                      <a:pt x="219" y="267"/>
                      <a:pt x="220" y="266"/>
                    </a:cubicBezTo>
                    <a:cubicBezTo>
                      <a:pt x="221" y="266"/>
                      <a:pt x="221" y="266"/>
                      <a:pt x="220" y="266"/>
                    </a:cubicBezTo>
                    <a:cubicBezTo>
                      <a:pt x="219" y="265"/>
                      <a:pt x="220" y="265"/>
                      <a:pt x="221" y="265"/>
                    </a:cubicBezTo>
                    <a:cubicBezTo>
                      <a:pt x="221" y="264"/>
                      <a:pt x="220" y="264"/>
                      <a:pt x="220" y="263"/>
                    </a:cubicBezTo>
                    <a:cubicBezTo>
                      <a:pt x="220" y="262"/>
                      <a:pt x="219" y="261"/>
                      <a:pt x="218" y="261"/>
                    </a:cubicBezTo>
                    <a:cubicBezTo>
                      <a:pt x="218" y="261"/>
                      <a:pt x="217" y="260"/>
                      <a:pt x="218" y="260"/>
                    </a:cubicBezTo>
                    <a:cubicBezTo>
                      <a:pt x="218" y="260"/>
                      <a:pt x="218" y="259"/>
                      <a:pt x="218" y="259"/>
                    </a:cubicBezTo>
                    <a:cubicBezTo>
                      <a:pt x="218" y="258"/>
                      <a:pt x="217" y="257"/>
                      <a:pt x="218" y="257"/>
                    </a:cubicBezTo>
                    <a:cubicBezTo>
                      <a:pt x="218" y="257"/>
                      <a:pt x="217" y="256"/>
                      <a:pt x="217" y="256"/>
                    </a:cubicBezTo>
                    <a:cubicBezTo>
                      <a:pt x="217" y="255"/>
                      <a:pt x="216" y="254"/>
                      <a:pt x="218" y="254"/>
                    </a:cubicBezTo>
                    <a:cubicBezTo>
                      <a:pt x="218" y="254"/>
                      <a:pt x="218" y="253"/>
                      <a:pt x="218" y="253"/>
                    </a:cubicBezTo>
                    <a:cubicBezTo>
                      <a:pt x="218" y="253"/>
                      <a:pt x="218" y="253"/>
                      <a:pt x="218" y="252"/>
                    </a:cubicBezTo>
                    <a:cubicBezTo>
                      <a:pt x="219" y="252"/>
                      <a:pt x="219" y="252"/>
                      <a:pt x="218" y="251"/>
                    </a:cubicBezTo>
                    <a:cubicBezTo>
                      <a:pt x="218" y="251"/>
                      <a:pt x="218" y="250"/>
                      <a:pt x="217" y="251"/>
                    </a:cubicBezTo>
                    <a:cubicBezTo>
                      <a:pt x="217" y="251"/>
                      <a:pt x="217" y="251"/>
                      <a:pt x="217" y="251"/>
                    </a:cubicBezTo>
                    <a:cubicBezTo>
                      <a:pt x="217" y="250"/>
                      <a:pt x="216" y="250"/>
                      <a:pt x="217" y="250"/>
                    </a:cubicBezTo>
                    <a:cubicBezTo>
                      <a:pt x="217" y="249"/>
                      <a:pt x="217" y="249"/>
                      <a:pt x="217" y="249"/>
                    </a:cubicBezTo>
                    <a:cubicBezTo>
                      <a:pt x="217" y="249"/>
                      <a:pt x="216" y="249"/>
                      <a:pt x="216" y="249"/>
                    </a:cubicBezTo>
                    <a:cubicBezTo>
                      <a:pt x="216" y="249"/>
                      <a:pt x="215" y="249"/>
                      <a:pt x="215" y="249"/>
                    </a:cubicBezTo>
                    <a:cubicBezTo>
                      <a:pt x="215" y="249"/>
                      <a:pt x="215" y="249"/>
                      <a:pt x="215" y="249"/>
                    </a:cubicBezTo>
                    <a:cubicBezTo>
                      <a:pt x="213" y="249"/>
                      <a:pt x="213" y="249"/>
                      <a:pt x="213" y="251"/>
                    </a:cubicBezTo>
                    <a:cubicBezTo>
                      <a:pt x="212" y="251"/>
                      <a:pt x="212" y="252"/>
                      <a:pt x="211" y="253"/>
                    </a:cubicBezTo>
                    <a:cubicBezTo>
                      <a:pt x="211" y="254"/>
                      <a:pt x="211" y="255"/>
                      <a:pt x="210" y="256"/>
                    </a:cubicBezTo>
                    <a:cubicBezTo>
                      <a:pt x="210" y="256"/>
                      <a:pt x="209" y="257"/>
                      <a:pt x="210" y="257"/>
                    </a:cubicBezTo>
                    <a:cubicBezTo>
                      <a:pt x="210" y="258"/>
                      <a:pt x="210" y="258"/>
                      <a:pt x="209" y="258"/>
                    </a:cubicBezTo>
                    <a:cubicBezTo>
                      <a:pt x="209" y="258"/>
                      <a:pt x="209" y="259"/>
                      <a:pt x="209" y="259"/>
                    </a:cubicBezTo>
                    <a:cubicBezTo>
                      <a:pt x="208" y="259"/>
                      <a:pt x="207" y="260"/>
                      <a:pt x="207" y="260"/>
                    </a:cubicBezTo>
                    <a:cubicBezTo>
                      <a:pt x="205" y="260"/>
                      <a:pt x="205" y="261"/>
                      <a:pt x="205" y="262"/>
                    </a:cubicBezTo>
                    <a:cubicBezTo>
                      <a:pt x="205" y="262"/>
                      <a:pt x="205" y="264"/>
                      <a:pt x="206" y="264"/>
                    </a:cubicBezTo>
                    <a:cubicBezTo>
                      <a:pt x="207" y="264"/>
                      <a:pt x="208" y="266"/>
                      <a:pt x="209" y="266"/>
                    </a:cubicBezTo>
                    <a:cubicBezTo>
                      <a:pt x="209" y="266"/>
                      <a:pt x="209" y="266"/>
                      <a:pt x="209" y="266"/>
                    </a:cubicBezTo>
                    <a:cubicBezTo>
                      <a:pt x="209" y="265"/>
                      <a:pt x="210" y="266"/>
                      <a:pt x="210" y="266"/>
                    </a:cubicBezTo>
                    <a:cubicBezTo>
                      <a:pt x="210" y="266"/>
                      <a:pt x="211" y="267"/>
                      <a:pt x="211" y="267"/>
                    </a:cubicBezTo>
                    <a:cubicBezTo>
                      <a:pt x="211" y="268"/>
                      <a:pt x="213" y="268"/>
                      <a:pt x="212" y="270"/>
                    </a:cubicBezTo>
                    <a:cubicBezTo>
                      <a:pt x="212" y="270"/>
                      <a:pt x="212" y="270"/>
                      <a:pt x="212" y="270"/>
                    </a:cubicBezTo>
                    <a:cubicBezTo>
                      <a:pt x="213" y="271"/>
                      <a:pt x="212" y="272"/>
                      <a:pt x="212" y="272"/>
                    </a:cubicBezTo>
                    <a:cubicBezTo>
                      <a:pt x="211" y="272"/>
                      <a:pt x="211" y="273"/>
                      <a:pt x="211" y="273"/>
                    </a:cubicBezTo>
                    <a:cubicBezTo>
                      <a:pt x="210" y="274"/>
                      <a:pt x="210" y="274"/>
                      <a:pt x="209" y="274"/>
                    </a:cubicBezTo>
                    <a:cubicBezTo>
                      <a:pt x="209" y="274"/>
                      <a:pt x="209" y="274"/>
                      <a:pt x="209" y="274"/>
                    </a:cubicBezTo>
                    <a:cubicBezTo>
                      <a:pt x="209" y="275"/>
                      <a:pt x="208" y="275"/>
                      <a:pt x="208" y="276"/>
                    </a:cubicBezTo>
                    <a:cubicBezTo>
                      <a:pt x="209" y="276"/>
                      <a:pt x="209" y="276"/>
                      <a:pt x="210" y="276"/>
                    </a:cubicBezTo>
                    <a:cubicBezTo>
                      <a:pt x="210" y="276"/>
                      <a:pt x="210" y="276"/>
                      <a:pt x="210" y="276"/>
                    </a:cubicBezTo>
                    <a:cubicBezTo>
                      <a:pt x="210" y="277"/>
                      <a:pt x="210" y="278"/>
                      <a:pt x="211" y="278"/>
                    </a:cubicBezTo>
                    <a:cubicBezTo>
                      <a:pt x="212" y="278"/>
                      <a:pt x="212" y="279"/>
                      <a:pt x="213" y="279"/>
                    </a:cubicBezTo>
                    <a:cubicBezTo>
                      <a:pt x="215" y="279"/>
                      <a:pt x="215" y="280"/>
                      <a:pt x="216" y="282"/>
                    </a:cubicBezTo>
                    <a:cubicBezTo>
                      <a:pt x="216" y="283"/>
                      <a:pt x="216" y="284"/>
                      <a:pt x="215" y="284"/>
                    </a:cubicBezTo>
                    <a:cubicBezTo>
                      <a:pt x="215" y="285"/>
                      <a:pt x="215" y="285"/>
                      <a:pt x="215" y="285"/>
                    </a:cubicBezTo>
                    <a:cubicBezTo>
                      <a:pt x="216" y="285"/>
                      <a:pt x="216" y="286"/>
                      <a:pt x="215" y="286"/>
                    </a:cubicBezTo>
                    <a:cubicBezTo>
                      <a:pt x="215" y="286"/>
                      <a:pt x="215" y="286"/>
                      <a:pt x="215" y="286"/>
                    </a:cubicBezTo>
                    <a:cubicBezTo>
                      <a:pt x="214" y="286"/>
                      <a:pt x="213" y="286"/>
                      <a:pt x="213" y="286"/>
                    </a:cubicBezTo>
                    <a:cubicBezTo>
                      <a:pt x="210" y="285"/>
                      <a:pt x="208" y="285"/>
                      <a:pt x="206" y="285"/>
                    </a:cubicBezTo>
                    <a:cubicBezTo>
                      <a:pt x="206" y="285"/>
                      <a:pt x="205" y="285"/>
                      <a:pt x="205" y="284"/>
                    </a:cubicBezTo>
                    <a:cubicBezTo>
                      <a:pt x="205" y="284"/>
                      <a:pt x="205" y="284"/>
                      <a:pt x="205" y="284"/>
                    </a:cubicBezTo>
                    <a:cubicBezTo>
                      <a:pt x="204" y="284"/>
                      <a:pt x="203" y="284"/>
                      <a:pt x="202" y="285"/>
                    </a:cubicBezTo>
                    <a:cubicBezTo>
                      <a:pt x="201" y="285"/>
                      <a:pt x="200" y="285"/>
                      <a:pt x="199" y="284"/>
                    </a:cubicBezTo>
                    <a:cubicBezTo>
                      <a:pt x="199" y="283"/>
                      <a:pt x="199" y="282"/>
                      <a:pt x="199" y="281"/>
                    </a:cubicBezTo>
                    <a:cubicBezTo>
                      <a:pt x="199" y="279"/>
                      <a:pt x="199" y="278"/>
                      <a:pt x="197" y="277"/>
                    </a:cubicBezTo>
                    <a:cubicBezTo>
                      <a:pt x="198" y="277"/>
                      <a:pt x="199" y="277"/>
                      <a:pt x="198" y="277"/>
                    </a:cubicBezTo>
                    <a:cubicBezTo>
                      <a:pt x="198" y="276"/>
                      <a:pt x="198" y="277"/>
                      <a:pt x="197" y="277"/>
                    </a:cubicBezTo>
                    <a:cubicBezTo>
                      <a:pt x="197" y="277"/>
                      <a:pt x="196" y="277"/>
                      <a:pt x="195" y="277"/>
                    </a:cubicBezTo>
                    <a:cubicBezTo>
                      <a:pt x="195" y="278"/>
                      <a:pt x="194" y="277"/>
                      <a:pt x="194" y="277"/>
                    </a:cubicBezTo>
                    <a:cubicBezTo>
                      <a:pt x="195" y="277"/>
                      <a:pt x="194" y="277"/>
                      <a:pt x="194" y="277"/>
                    </a:cubicBezTo>
                    <a:cubicBezTo>
                      <a:pt x="194" y="277"/>
                      <a:pt x="194" y="278"/>
                      <a:pt x="193" y="277"/>
                    </a:cubicBezTo>
                    <a:cubicBezTo>
                      <a:pt x="193" y="277"/>
                      <a:pt x="193" y="277"/>
                      <a:pt x="194" y="276"/>
                    </a:cubicBezTo>
                    <a:cubicBezTo>
                      <a:pt x="194" y="276"/>
                      <a:pt x="195" y="275"/>
                      <a:pt x="196" y="275"/>
                    </a:cubicBezTo>
                    <a:cubicBezTo>
                      <a:pt x="196" y="275"/>
                      <a:pt x="197" y="275"/>
                      <a:pt x="196" y="274"/>
                    </a:cubicBezTo>
                    <a:cubicBezTo>
                      <a:pt x="195" y="273"/>
                      <a:pt x="195" y="273"/>
                      <a:pt x="194" y="272"/>
                    </a:cubicBezTo>
                    <a:cubicBezTo>
                      <a:pt x="191" y="271"/>
                      <a:pt x="191" y="271"/>
                      <a:pt x="192" y="267"/>
                    </a:cubicBezTo>
                    <a:cubicBezTo>
                      <a:pt x="192" y="267"/>
                      <a:pt x="191" y="267"/>
                      <a:pt x="191" y="267"/>
                    </a:cubicBezTo>
                    <a:cubicBezTo>
                      <a:pt x="190" y="267"/>
                      <a:pt x="189" y="267"/>
                      <a:pt x="189" y="265"/>
                    </a:cubicBezTo>
                    <a:cubicBezTo>
                      <a:pt x="189" y="265"/>
                      <a:pt x="188" y="265"/>
                      <a:pt x="187" y="265"/>
                    </a:cubicBezTo>
                    <a:cubicBezTo>
                      <a:pt x="186" y="265"/>
                      <a:pt x="185" y="265"/>
                      <a:pt x="185" y="266"/>
                    </a:cubicBezTo>
                    <a:cubicBezTo>
                      <a:pt x="184" y="266"/>
                      <a:pt x="183" y="267"/>
                      <a:pt x="182" y="267"/>
                    </a:cubicBezTo>
                    <a:cubicBezTo>
                      <a:pt x="181" y="267"/>
                      <a:pt x="181" y="266"/>
                      <a:pt x="181" y="266"/>
                    </a:cubicBezTo>
                    <a:cubicBezTo>
                      <a:pt x="181" y="265"/>
                      <a:pt x="181" y="265"/>
                      <a:pt x="181" y="265"/>
                    </a:cubicBezTo>
                    <a:cubicBezTo>
                      <a:pt x="181" y="264"/>
                      <a:pt x="180" y="263"/>
                      <a:pt x="181" y="261"/>
                    </a:cubicBezTo>
                    <a:cubicBezTo>
                      <a:pt x="181" y="261"/>
                      <a:pt x="181" y="261"/>
                      <a:pt x="181" y="260"/>
                    </a:cubicBezTo>
                    <a:cubicBezTo>
                      <a:pt x="180" y="258"/>
                      <a:pt x="178" y="259"/>
                      <a:pt x="176" y="258"/>
                    </a:cubicBezTo>
                    <a:cubicBezTo>
                      <a:pt x="176" y="258"/>
                      <a:pt x="175" y="258"/>
                      <a:pt x="175" y="258"/>
                    </a:cubicBezTo>
                    <a:cubicBezTo>
                      <a:pt x="175" y="259"/>
                      <a:pt x="174" y="259"/>
                      <a:pt x="174" y="259"/>
                    </a:cubicBezTo>
                    <a:cubicBezTo>
                      <a:pt x="173" y="259"/>
                      <a:pt x="171" y="260"/>
                      <a:pt x="170" y="261"/>
                    </a:cubicBezTo>
                    <a:cubicBezTo>
                      <a:pt x="169" y="262"/>
                      <a:pt x="169" y="263"/>
                      <a:pt x="169" y="263"/>
                    </a:cubicBezTo>
                    <a:cubicBezTo>
                      <a:pt x="169" y="265"/>
                      <a:pt x="169" y="265"/>
                      <a:pt x="170" y="265"/>
                    </a:cubicBezTo>
                    <a:cubicBezTo>
                      <a:pt x="172" y="265"/>
                      <a:pt x="174" y="266"/>
                      <a:pt x="175" y="267"/>
                    </a:cubicBezTo>
                    <a:cubicBezTo>
                      <a:pt x="175" y="267"/>
                      <a:pt x="176" y="267"/>
                      <a:pt x="176" y="267"/>
                    </a:cubicBezTo>
                    <a:cubicBezTo>
                      <a:pt x="176" y="267"/>
                      <a:pt x="177" y="267"/>
                      <a:pt x="177" y="268"/>
                    </a:cubicBezTo>
                    <a:cubicBezTo>
                      <a:pt x="176" y="268"/>
                      <a:pt x="175" y="268"/>
                      <a:pt x="174" y="267"/>
                    </a:cubicBezTo>
                    <a:cubicBezTo>
                      <a:pt x="173" y="267"/>
                      <a:pt x="172" y="267"/>
                      <a:pt x="172" y="267"/>
                    </a:cubicBezTo>
                    <a:cubicBezTo>
                      <a:pt x="171" y="267"/>
                      <a:pt x="170" y="267"/>
                      <a:pt x="169" y="267"/>
                    </a:cubicBezTo>
                    <a:cubicBezTo>
                      <a:pt x="166" y="266"/>
                      <a:pt x="165" y="268"/>
                      <a:pt x="164" y="270"/>
                    </a:cubicBezTo>
                    <a:cubicBezTo>
                      <a:pt x="163" y="270"/>
                      <a:pt x="163" y="271"/>
                      <a:pt x="164" y="271"/>
                    </a:cubicBezTo>
                    <a:cubicBezTo>
                      <a:pt x="165" y="271"/>
                      <a:pt x="165" y="272"/>
                      <a:pt x="165" y="273"/>
                    </a:cubicBezTo>
                    <a:cubicBezTo>
                      <a:pt x="165" y="273"/>
                      <a:pt x="165" y="273"/>
                      <a:pt x="164" y="273"/>
                    </a:cubicBezTo>
                    <a:cubicBezTo>
                      <a:pt x="164" y="273"/>
                      <a:pt x="163" y="273"/>
                      <a:pt x="163" y="273"/>
                    </a:cubicBezTo>
                    <a:cubicBezTo>
                      <a:pt x="163" y="274"/>
                      <a:pt x="163" y="275"/>
                      <a:pt x="164" y="275"/>
                    </a:cubicBezTo>
                    <a:cubicBezTo>
                      <a:pt x="165" y="276"/>
                      <a:pt x="167" y="276"/>
                      <a:pt x="168" y="275"/>
                    </a:cubicBezTo>
                    <a:cubicBezTo>
                      <a:pt x="170" y="275"/>
                      <a:pt x="173" y="276"/>
                      <a:pt x="175" y="275"/>
                    </a:cubicBezTo>
                    <a:cubicBezTo>
                      <a:pt x="175" y="274"/>
                      <a:pt x="176" y="275"/>
                      <a:pt x="176" y="275"/>
                    </a:cubicBezTo>
                    <a:cubicBezTo>
                      <a:pt x="176" y="275"/>
                      <a:pt x="176" y="276"/>
                      <a:pt x="175" y="276"/>
                    </a:cubicBezTo>
                    <a:cubicBezTo>
                      <a:pt x="175" y="276"/>
                      <a:pt x="175" y="276"/>
                      <a:pt x="175" y="276"/>
                    </a:cubicBezTo>
                    <a:cubicBezTo>
                      <a:pt x="173" y="276"/>
                      <a:pt x="172" y="277"/>
                      <a:pt x="170" y="277"/>
                    </a:cubicBezTo>
                    <a:cubicBezTo>
                      <a:pt x="170" y="276"/>
                      <a:pt x="169" y="277"/>
                      <a:pt x="169" y="277"/>
                    </a:cubicBezTo>
                    <a:cubicBezTo>
                      <a:pt x="167" y="278"/>
                      <a:pt x="165" y="278"/>
                      <a:pt x="164" y="278"/>
                    </a:cubicBezTo>
                    <a:cubicBezTo>
                      <a:pt x="163" y="278"/>
                      <a:pt x="162" y="278"/>
                      <a:pt x="162" y="278"/>
                    </a:cubicBezTo>
                    <a:cubicBezTo>
                      <a:pt x="161" y="279"/>
                      <a:pt x="160" y="281"/>
                      <a:pt x="160" y="282"/>
                    </a:cubicBezTo>
                    <a:cubicBezTo>
                      <a:pt x="160" y="283"/>
                      <a:pt x="160" y="283"/>
                      <a:pt x="160" y="283"/>
                    </a:cubicBezTo>
                    <a:cubicBezTo>
                      <a:pt x="162" y="284"/>
                      <a:pt x="165" y="284"/>
                      <a:pt x="167" y="283"/>
                    </a:cubicBezTo>
                    <a:cubicBezTo>
                      <a:pt x="169" y="282"/>
                      <a:pt x="171" y="282"/>
                      <a:pt x="173" y="280"/>
                    </a:cubicBezTo>
                    <a:cubicBezTo>
                      <a:pt x="174" y="280"/>
                      <a:pt x="174" y="280"/>
                      <a:pt x="174" y="281"/>
                    </a:cubicBezTo>
                    <a:cubicBezTo>
                      <a:pt x="174" y="281"/>
                      <a:pt x="174" y="281"/>
                      <a:pt x="174" y="281"/>
                    </a:cubicBezTo>
                    <a:cubicBezTo>
                      <a:pt x="174" y="281"/>
                      <a:pt x="173" y="281"/>
                      <a:pt x="173" y="282"/>
                    </a:cubicBezTo>
                    <a:cubicBezTo>
                      <a:pt x="173" y="282"/>
                      <a:pt x="173" y="283"/>
                      <a:pt x="172" y="283"/>
                    </a:cubicBezTo>
                    <a:cubicBezTo>
                      <a:pt x="171" y="283"/>
                      <a:pt x="170" y="284"/>
                      <a:pt x="169" y="285"/>
                    </a:cubicBezTo>
                    <a:cubicBezTo>
                      <a:pt x="168" y="286"/>
                      <a:pt x="168" y="286"/>
                      <a:pt x="168" y="286"/>
                    </a:cubicBezTo>
                    <a:cubicBezTo>
                      <a:pt x="166" y="286"/>
                      <a:pt x="164" y="286"/>
                      <a:pt x="163" y="286"/>
                    </a:cubicBezTo>
                    <a:cubicBezTo>
                      <a:pt x="163" y="286"/>
                      <a:pt x="162" y="286"/>
                      <a:pt x="162" y="286"/>
                    </a:cubicBezTo>
                    <a:cubicBezTo>
                      <a:pt x="160" y="286"/>
                      <a:pt x="159" y="286"/>
                      <a:pt x="159" y="288"/>
                    </a:cubicBezTo>
                    <a:cubicBezTo>
                      <a:pt x="158" y="289"/>
                      <a:pt x="158" y="290"/>
                      <a:pt x="157" y="291"/>
                    </a:cubicBezTo>
                    <a:cubicBezTo>
                      <a:pt x="157" y="292"/>
                      <a:pt x="157" y="293"/>
                      <a:pt x="158" y="294"/>
                    </a:cubicBezTo>
                    <a:cubicBezTo>
                      <a:pt x="159" y="294"/>
                      <a:pt x="159" y="294"/>
                      <a:pt x="160" y="294"/>
                    </a:cubicBezTo>
                    <a:cubicBezTo>
                      <a:pt x="161" y="295"/>
                      <a:pt x="162" y="295"/>
                      <a:pt x="162" y="295"/>
                    </a:cubicBezTo>
                    <a:cubicBezTo>
                      <a:pt x="163" y="296"/>
                      <a:pt x="163" y="296"/>
                      <a:pt x="164" y="295"/>
                    </a:cubicBezTo>
                    <a:cubicBezTo>
                      <a:pt x="164" y="295"/>
                      <a:pt x="164" y="294"/>
                      <a:pt x="164" y="294"/>
                    </a:cubicBezTo>
                    <a:cubicBezTo>
                      <a:pt x="165" y="294"/>
                      <a:pt x="165" y="294"/>
                      <a:pt x="166" y="293"/>
                    </a:cubicBezTo>
                    <a:cubicBezTo>
                      <a:pt x="167" y="293"/>
                      <a:pt x="166" y="294"/>
                      <a:pt x="166" y="295"/>
                    </a:cubicBezTo>
                    <a:cubicBezTo>
                      <a:pt x="166" y="296"/>
                      <a:pt x="166" y="296"/>
                      <a:pt x="167" y="296"/>
                    </a:cubicBezTo>
                    <a:cubicBezTo>
                      <a:pt x="168" y="297"/>
                      <a:pt x="166" y="297"/>
                      <a:pt x="167" y="297"/>
                    </a:cubicBezTo>
                    <a:cubicBezTo>
                      <a:pt x="167" y="298"/>
                      <a:pt x="168" y="298"/>
                      <a:pt x="168" y="299"/>
                    </a:cubicBezTo>
                    <a:cubicBezTo>
                      <a:pt x="168" y="299"/>
                      <a:pt x="168" y="299"/>
                      <a:pt x="169" y="299"/>
                    </a:cubicBezTo>
                    <a:cubicBezTo>
                      <a:pt x="169" y="299"/>
                      <a:pt x="170" y="300"/>
                      <a:pt x="170" y="299"/>
                    </a:cubicBezTo>
                    <a:cubicBezTo>
                      <a:pt x="171" y="299"/>
                      <a:pt x="171" y="298"/>
                      <a:pt x="171" y="298"/>
                    </a:cubicBezTo>
                    <a:cubicBezTo>
                      <a:pt x="171" y="297"/>
                      <a:pt x="171" y="297"/>
                      <a:pt x="171" y="296"/>
                    </a:cubicBezTo>
                    <a:cubicBezTo>
                      <a:pt x="170" y="296"/>
                      <a:pt x="170" y="296"/>
                      <a:pt x="170" y="295"/>
                    </a:cubicBezTo>
                    <a:cubicBezTo>
                      <a:pt x="171" y="295"/>
                      <a:pt x="171" y="295"/>
                      <a:pt x="171" y="296"/>
                    </a:cubicBezTo>
                    <a:cubicBezTo>
                      <a:pt x="171" y="296"/>
                      <a:pt x="171" y="296"/>
                      <a:pt x="172" y="296"/>
                    </a:cubicBezTo>
                    <a:cubicBezTo>
                      <a:pt x="172" y="296"/>
                      <a:pt x="172" y="295"/>
                      <a:pt x="173" y="295"/>
                    </a:cubicBezTo>
                    <a:cubicBezTo>
                      <a:pt x="173" y="294"/>
                      <a:pt x="173" y="295"/>
                      <a:pt x="173" y="295"/>
                    </a:cubicBezTo>
                    <a:cubicBezTo>
                      <a:pt x="173" y="295"/>
                      <a:pt x="173" y="296"/>
                      <a:pt x="173" y="297"/>
                    </a:cubicBezTo>
                    <a:cubicBezTo>
                      <a:pt x="173" y="297"/>
                      <a:pt x="173" y="298"/>
                      <a:pt x="173" y="298"/>
                    </a:cubicBezTo>
                    <a:cubicBezTo>
                      <a:pt x="173" y="300"/>
                      <a:pt x="174" y="300"/>
                      <a:pt x="175" y="299"/>
                    </a:cubicBezTo>
                    <a:cubicBezTo>
                      <a:pt x="176" y="299"/>
                      <a:pt x="177" y="298"/>
                      <a:pt x="177" y="298"/>
                    </a:cubicBezTo>
                    <a:cubicBezTo>
                      <a:pt x="178" y="297"/>
                      <a:pt x="179" y="296"/>
                      <a:pt x="179" y="294"/>
                    </a:cubicBezTo>
                    <a:cubicBezTo>
                      <a:pt x="179" y="293"/>
                      <a:pt x="178" y="292"/>
                      <a:pt x="177" y="292"/>
                    </a:cubicBezTo>
                    <a:cubicBezTo>
                      <a:pt x="177" y="292"/>
                      <a:pt x="177" y="291"/>
                      <a:pt x="177" y="291"/>
                    </a:cubicBezTo>
                    <a:cubicBezTo>
                      <a:pt x="177" y="291"/>
                      <a:pt x="177" y="291"/>
                      <a:pt x="177" y="291"/>
                    </a:cubicBezTo>
                    <a:cubicBezTo>
                      <a:pt x="177" y="291"/>
                      <a:pt x="178" y="291"/>
                      <a:pt x="178" y="291"/>
                    </a:cubicBezTo>
                    <a:cubicBezTo>
                      <a:pt x="178" y="291"/>
                      <a:pt x="178" y="291"/>
                      <a:pt x="179" y="292"/>
                    </a:cubicBezTo>
                    <a:cubicBezTo>
                      <a:pt x="179" y="292"/>
                      <a:pt x="179" y="293"/>
                      <a:pt x="180" y="293"/>
                    </a:cubicBezTo>
                    <a:cubicBezTo>
                      <a:pt x="180" y="293"/>
                      <a:pt x="180" y="292"/>
                      <a:pt x="180" y="292"/>
                    </a:cubicBezTo>
                    <a:cubicBezTo>
                      <a:pt x="180" y="291"/>
                      <a:pt x="181" y="291"/>
                      <a:pt x="181" y="290"/>
                    </a:cubicBezTo>
                    <a:cubicBezTo>
                      <a:pt x="180" y="289"/>
                      <a:pt x="181" y="288"/>
                      <a:pt x="181" y="287"/>
                    </a:cubicBezTo>
                    <a:cubicBezTo>
                      <a:pt x="181" y="286"/>
                      <a:pt x="180" y="287"/>
                      <a:pt x="180" y="286"/>
                    </a:cubicBezTo>
                    <a:cubicBezTo>
                      <a:pt x="180" y="286"/>
                      <a:pt x="181" y="286"/>
                      <a:pt x="181" y="287"/>
                    </a:cubicBezTo>
                    <a:cubicBezTo>
                      <a:pt x="182" y="287"/>
                      <a:pt x="181" y="288"/>
                      <a:pt x="182" y="289"/>
                    </a:cubicBezTo>
                    <a:cubicBezTo>
                      <a:pt x="182" y="289"/>
                      <a:pt x="182" y="289"/>
                      <a:pt x="183" y="289"/>
                    </a:cubicBezTo>
                    <a:cubicBezTo>
                      <a:pt x="183" y="289"/>
                      <a:pt x="184" y="288"/>
                      <a:pt x="184" y="288"/>
                    </a:cubicBezTo>
                    <a:cubicBezTo>
                      <a:pt x="185" y="288"/>
                      <a:pt x="185" y="288"/>
                      <a:pt x="186" y="288"/>
                    </a:cubicBezTo>
                    <a:cubicBezTo>
                      <a:pt x="185" y="288"/>
                      <a:pt x="185" y="289"/>
                      <a:pt x="184" y="289"/>
                    </a:cubicBezTo>
                    <a:cubicBezTo>
                      <a:pt x="183" y="290"/>
                      <a:pt x="182" y="291"/>
                      <a:pt x="182" y="293"/>
                    </a:cubicBezTo>
                    <a:cubicBezTo>
                      <a:pt x="182" y="294"/>
                      <a:pt x="182" y="294"/>
                      <a:pt x="184" y="294"/>
                    </a:cubicBezTo>
                    <a:cubicBezTo>
                      <a:pt x="183" y="294"/>
                      <a:pt x="183" y="295"/>
                      <a:pt x="182" y="295"/>
                    </a:cubicBezTo>
                    <a:cubicBezTo>
                      <a:pt x="182" y="295"/>
                      <a:pt x="182" y="296"/>
                      <a:pt x="182" y="297"/>
                    </a:cubicBezTo>
                    <a:cubicBezTo>
                      <a:pt x="182" y="298"/>
                      <a:pt x="183" y="298"/>
                      <a:pt x="183" y="297"/>
                    </a:cubicBezTo>
                    <a:cubicBezTo>
                      <a:pt x="184" y="297"/>
                      <a:pt x="184" y="297"/>
                      <a:pt x="185" y="297"/>
                    </a:cubicBezTo>
                    <a:cubicBezTo>
                      <a:pt x="186" y="297"/>
                      <a:pt x="186" y="297"/>
                      <a:pt x="187" y="296"/>
                    </a:cubicBezTo>
                    <a:cubicBezTo>
                      <a:pt x="187" y="296"/>
                      <a:pt x="188" y="297"/>
                      <a:pt x="188" y="296"/>
                    </a:cubicBezTo>
                    <a:cubicBezTo>
                      <a:pt x="189" y="296"/>
                      <a:pt x="190" y="295"/>
                      <a:pt x="190" y="295"/>
                    </a:cubicBezTo>
                    <a:cubicBezTo>
                      <a:pt x="190" y="294"/>
                      <a:pt x="190" y="293"/>
                      <a:pt x="190" y="292"/>
                    </a:cubicBezTo>
                    <a:cubicBezTo>
                      <a:pt x="191" y="292"/>
                      <a:pt x="191" y="292"/>
                      <a:pt x="191" y="293"/>
                    </a:cubicBezTo>
                    <a:cubicBezTo>
                      <a:pt x="190" y="294"/>
                      <a:pt x="190" y="294"/>
                      <a:pt x="191" y="294"/>
                    </a:cubicBezTo>
                    <a:cubicBezTo>
                      <a:pt x="192" y="294"/>
                      <a:pt x="191" y="294"/>
                      <a:pt x="191" y="293"/>
                    </a:cubicBezTo>
                    <a:cubicBezTo>
                      <a:pt x="191" y="293"/>
                      <a:pt x="192" y="293"/>
                      <a:pt x="192" y="293"/>
                    </a:cubicBezTo>
                    <a:cubicBezTo>
                      <a:pt x="192" y="293"/>
                      <a:pt x="192" y="293"/>
                      <a:pt x="192" y="293"/>
                    </a:cubicBezTo>
                    <a:cubicBezTo>
                      <a:pt x="193" y="293"/>
                      <a:pt x="193" y="294"/>
                      <a:pt x="192" y="294"/>
                    </a:cubicBezTo>
                    <a:cubicBezTo>
                      <a:pt x="192" y="294"/>
                      <a:pt x="192" y="294"/>
                      <a:pt x="192" y="294"/>
                    </a:cubicBezTo>
                    <a:cubicBezTo>
                      <a:pt x="192" y="295"/>
                      <a:pt x="192" y="295"/>
                      <a:pt x="192" y="295"/>
                    </a:cubicBezTo>
                    <a:cubicBezTo>
                      <a:pt x="192" y="296"/>
                      <a:pt x="192" y="296"/>
                      <a:pt x="192" y="296"/>
                    </a:cubicBezTo>
                    <a:cubicBezTo>
                      <a:pt x="193" y="296"/>
                      <a:pt x="193" y="295"/>
                      <a:pt x="194" y="295"/>
                    </a:cubicBezTo>
                    <a:cubicBezTo>
                      <a:pt x="195" y="296"/>
                      <a:pt x="196" y="294"/>
                      <a:pt x="197" y="295"/>
                    </a:cubicBezTo>
                    <a:cubicBezTo>
                      <a:pt x="197" y="295"/>
                      <a:pt x="197" y="295"/>
                      <a:pt x="197" y="295"/>
                    </a:cubicBezTo>
                    <a:cubicBezTo>
                      <a:pt x="198" y="295"/>
                      <a:pt x="200" y="294"/>
                      <a:pt x="199" y="292"/>
                    </a:cubicBezTo>
                    <a:cubicBezTo>
                      <a:pt x="200" y="292"/>
                      <a:pt x="200" y="292"/>
                      <a:pt x="200" y="292"/>
                    </a:cubicBezTo>
                    <a:cubicBezTo>
                      <a:pt x="200" y="292"/>
                      <a:pt x="201" y="292"/>
                      <a:pt x="201" y="292"/>
                    </a:cubicBezTo>
                    <a:cubicBezTo>
                      <a:pt x="201" y="292"/>
                      <a:pt x="202" y="293"/>
                      <a:pt x="202" y="293"/>
                    </a:cubicBezTo>
                    <a:cubicBezTo>
                      <a:pt x="201" y="293"/>
                      <a:pt x="201" y="294"/>
                      <a:pt x="200" y="295"/>
                    </a:cubicBezTo>
                    <a:cubicBezTo>
                      <a:pt x="200" y="295"/>
                      <a:pt x="200" y="295"/>
                      <a:pt x="200" y="295"/>
                    </a:cubicBezTo>
                    <a:cubicBezTo>
                      <a:pt x="200" y="295"/>
                      <a:pt x="199" y="296"/>
                      <a:pt x="199" y="297"/>
                    </a:cubicBezTo>
                    <a:cubicBezTo>
                      <a:pt x="199" y="297"/>
                      <a:pt x="198" y="297"/>
                      <a:pt x="198" y="297"/>
                    </a:cubicBezTo>
                    <a:cubicBezTo>
                      <a:pt x="198" y="298"/>
                      <a:pt x="198" y="299"/>
                      <a:pt x="197" y="299"/>
                    </a:cubicBezTo>
                    <a:cubicBezTo>
                      <a:pt x="197" y="299"/>
                      <a:pt x="196" y="299"/>
                      <a:pt x="196" y="299"/>
                    </a:cubicBezTo>
                    <a:cubicBezTo>
                      <a:pt x="194" y="299"/>
                      <a:pt x="192" y="299"/>
                      <a:pt x="190" y="299"/>
                    </a:cubicBezTo>
                    <a:cubicBezTo>
                      <a:pt x="189" y="299"/>
                      <a:pt x="188" y="300"/>
                      <a:pt x="187" y="301"/>
                    </a:cubicBezTo>
                    <a:cubicBezTo>
                      <a:pt x="187" y="301"/>
                      <a:pt x="186" y="302"/>
                      <a:pt x="186" y="302"/>
                    </a:cubicBezTo>
                    <a:cubicBezTo>
                      <a:pt x="187" y="303"/>
                      <a:pt x="186" y="303"/>
                      <a:pt x="185" y="303"/>
                    </a:cubicBezTo>
                    <a:cubicBezTo>
                      <a:pt x="185" y="303"/>
                      <a:pt x="185" y="303"/>
                      <a:pt x="185" y="303"/>
                    </a:cubicBezTo>
                    <a:cubicBezTo>
                      <a:pt x="183" y="304"/>
                      <a:pt x="182" y="304"/>
                      <a:pt x="180" y="305"/>
                    </a:cubicBezTo>
                    <a:cubicBezTo>
                      <a:pt x="178" y="306"/>
                      <a:pt x="178" y="307"/>
                      <a:pt x="179" y="309"/>
                    </a:cubicBezTo>
                    <a:cubicBezTo>
                      <a:pt x="180" y="310"/>
                      <a:pt x="181" y="311"/>
                      <a:pt x="181" y="311"/>
                    </a:cubicBezTo>
                    <a:cubicBezTo>
                      <a:pt x="183" y="313"/>
                      <a:pt x="186" y="314"/>
                      <a:pt x="188" y="314"/>
                    </a:cubicBezTo>
                    <a:cubicBezTo>
                      <a:pt x="191" y="314"/>
                      <a:pt x="193" y="313"/>
                      <a:pt x="195" y="312"/>
                    </a:cubicBezTo>
                    <a:cubicBezTo>
                      <a:pt x="196" y="312"/>
                      <a:pt x="197" y="312"/>
                      <a:pt x="197" y="311"/>
                    </a:cubicBezTo>
                    <a:cubicBezTo>
                      <a:pt x="199" y="310"/>
                      <a:pt x="201" y="309"/>
                      <a:pt x="202" y="308"/>
                    </a:cubicBezTo>
                    <a:cubicBezTo>
                      <a:pt x="203" y="307"/>
                      <a:pt x="203" y="307"/>
                      <a:pt x="204" y="306"/>
                    </a:cubicBezTo>
                    <a:cubicBezTo>
                      <a:pt x="204" y="306"/>
                      <a:pt x="203" y="305"/>
                      <a:pt x="204" y="305"/>
                    </a:cubicBezTo>
                    <a:cubicBezTo>
                      <a:pt x="204" y="305"/>
                      <a:pt x="204" y="305"/>
                      <a:pt x="204" y="305"/>
                    </a:cubicBezTo>
                    <a:cubicBezTo>
                      <a:pt x="204" y="304"/>
                      <a:pt x="204" y="304"/>
                      <a:pt x="204" y="304"/>
                    </a:cubicBezTo>
                    <a:cubicBezTo>
                      <a:pt x="205" y="305"/>
                      <a:pt x="205" y="303"/>
                      <a:pt x="206" y="303"/>
                    </a:cubicBezTo>
                    <a:cubicBezTo>
                      <a:pt x="207" y="303"/>
                      <a:pt x="208" y="303"/>
                      <a:pt x="209" y="302"/>
                    </a:cubicBezTo>
                    <a:cubicBezTo>
                      <a:pt x="209" y="302"/>
                      <a:pt x="209" y="302"/>
                      <a:pt x="209" y="302"/>
                    </a:cubicBezTo>
                    <a:cubicBezTo>
                      <a:pt x="209" y="302"/>
                      <a:pt x="210" y="302"/>
                      <a:pt x="210" y="302"/>
                    </a:cubicBezTo>
                    <a:cubicBezTo>
                      <a:pt x="211" y="303"/>
                      <a:pt x="212" y="302"/>
                      <a:pt x="212" y="301"/>
                    </a:cubicBezTo>
                    <a:cubicBezTo>
                      <a:pt x="212" y="301"/>
                      <a:pt x="212" y="300"/>
                      <a:pt x="213" y="300"/>
                    </a:cubicBezTo>
                    <a:cubicBezTo>
                      <a:pt x="214" y="300"/>
                      <a:pt x="215" y="299"/>
                      <a:pt x="215" y="298"/>
                    </a:cubicBezTo>
                    <a:cubicBezTo>
                      <a:pt x="215" y="298"/>
                      <a:pt x="216" y="297"/>
                      <a:pt x="217" y="297"/>
                    </a:cubicBezTo>
                    <a:cubicBezTo>
                      <a:pt x="217" y="297"/>
                      <a:pt x="218" y="299"/>
                      <a:pt x="218" y="299"/>
                    </a:cubicBezTo>
                    <a:cubicBezTo>
                      <a:pt x="218" y="301"/>
                      <a:pt x="218" y="301"/>
                      <a:pt x="219" y="301"/>
                    </a:cubicBezTo>
                    <a:cubicBezTo>
                      <a:pt x="220" y="301"/>
                      <a:pt x="220" y="301"/>
                      <a:pt x="220" y="301"/>
                    </a:cubicBezTo>
                    <a:cubicBezTo>
                      <a:pt x="221" y="301"/>
                      <a:pt x="221" y="300"/>
                      <a:pt x="221" y="300"/>
                    </a:cubicBezTo>
                    <a:cubicBezTo>
                      <a:pt x="221" y="299"/>
                      <a:pt x="222" y="299"/>
                      <a:pt x="222" y="299"/>
                    </a:cubicBezTo>
                    <a:cubicBezTo>
                      <a:pt x="223" y="298"/>
                      <a:pt x="223" y="299"/>
                      <a:pt x="223" y="299"/>
                    </a:cubicBezTo>
                    <a:cubicBezTo>
                      <a:pt x="224" y="299"/>
                      <a:pt x="224" y="299"/>
                      <a:pt x="224" y="299"/>
                    </a:cubicBezTo>
                    <a:cubicBezTo>
                      <a:pt x="223" y="300"/>
                      <a:pt x="224" y="300"/>
                      <a:pt x="225" y="300"/>
                    </a:cubicBezTo>
                    <a:cubicBezTo>
                      <a:pt x="227" y="302"/>
                      <a:pt x="229" y="301"/>
                      <a:pt x="230" y="299"/>
                    </a:cubicBezTo>
                    <a:cubicBezTo>
                      <a:pt x="230" y="299"/>
                      <a:pt x="230" y="299"/>
                      <a:pt x="230" y="299"/>
                    </a:cubicBezTo>
                    <a:cubicBezTo>
                      <a:pt x="230" y="299"/>
                      <a:pt x="230" y="299"/>
                      <a:pt x="230" y="299"/>
                    </a:cubicBezTo>
                    <a:cubicBezTo>
                      <a:pt x="232" y="299"/>
                      <a:pt x="233" y="298"/>
                      <a:pt x="234" y="298"/>
                    </a:cubicBezTo>
                    <a:cubicBezTo>
                      <a:pt x="235" y="297"/>
                      <a:pt x="234" y="297"/>
                      <a:pt x="234" y="296"/>
                    </a:cubicBezTo>
                    <a:cubicBezTo>
                      <a:pt x="234" y="296"/>
                      <a:pt x="234" y="296"/>
                      <a:pt x="235" y="296"/>
                    </a:cubicBezTo>
                    <a:cubicBezTo>
                      <a:pt x="236" y="295"/>
                      <a:pt x="235" y="293"/>
                      <a:pt x="236" y="292"/>
                    </a:cubicBezTo>
                    <a:cubicBezTo>
                      <a:pt x="236" y="291"/>
                      <a:pt x="237" y="290"/>
                      <a:pt x="237" y="289"/>
                    </a:cubicBezTo>
                    <a:cubicBezTo>
                      <a:pt x="237" y="289"/>
                      <a:pt x="237" y="288"/>
                      <a:pt x="237" y="288"/>
                    </a:cubicBezTo>
                    <a:cubicBezTo>
                      <a:pt x="238" y="287"/>
                      <a:pt x="237" y="287"/>
                      <a:pt x="237" y="286"/>
                    </a:cubicBezTo>
                    <a:cubicBezTo>
                      <a:pt x="236" y="286"/>
                      <a:pt x="237" y="285"/>
                      <a:pt x="237" y="285"/>
                    </a:cubicBezTo>
                    <a:cubicBezTo>
                      <a:pt x="238" y="284"/>
                      <a:pt x="238" y="283"/>
                      <a:pt x="239" y="282"/>
                    </a:cubicBezTo>
                    <a:cubicBezTo>
                      <a:pt x="239" y="281"/>
                      <a:pt x="239" y="281"/>
                      <a:pt x="239" y="281"/>
                    </a:cubicBezTo>
                    <a:close/>
                    <a:moveTo>
                      <a:pt x="238" y="276"/>
                    </a:moveTo>
                    <a:cubicBezTo>
                      <a:pt x="238" y="276"/>
                      <a:pt x="238" y="276"/>
                      <a:pt x="238" y="276"/>
                    </a:cubicBezTo>
                    <a:cubicBezTo>
                      <a:pt x="238" y="276"/>
                      <a:pt x="238" y="276"/>
                      <a:pt x="238" y="276"/>
                    </a:cubicBezTo>
                    <a:close/>
                    <a:moveTo>
                      <a:pt x="343" y="257"/>
                    </a:moveTo>
                    <a:cubicBezTo>
                      <a:pt x="343" y="257"/>
                      <a:pt x="343" y="257"/>
                      <a:pt x="343" y="257"/>
                    </a:cubicBezTo>
                    <a:cubicBezTo>
                      <a:pt x="343" y="258"/>
                      <a:pt x="344" y="258"/>
                      <a:pt x="343" y="259"/>
                    </a:cubicBezTo>
                    <a:cubicBezTo>
                      <a:pt x="342" y="259"/>
                      <a:pt x="343" y="258"/>
                      <a:pt x="342" y="258"/>
                    </a:cubicBezTo>
                    <a:cubicBezTo>
                      <a:pt x="342" y="258"/>
                      <a:pt x="342" y="258"/>
                      <a:pt x="342" y="258"/>
                    </a:cubicBezTo>
                    <a:cubicBezTo>
                      <a:pt x="342" y="258"/>
                      <a:pt x="342" y="259"/>
                      <a:pt x="342" y="259"/>
                    </a:cubicBezTo>
                    <a:cubicBezTo>
                      <a:pt x="341" y="259"/>
                      <a:pt x="341" y="258"/>
                      <a:pt x="340" y="258"/>
                    </a:cubicBezTo>
                    <a:cubicBezTo>
                      <a:pt x="340" y="256"/>
                      <a:pt x="339" y="254"/>
                      <a:pt x="338" y="252"/>
                    </a:cubicBezTo>
                    <a:cubicBezTo>
                      <a:pt x="338" y="252"/>
                      <a:pt x="338" y="252"/>
                      <a:pt x="338" y="251"/>
                    </a:cubicBezTo>
                    <a:cubicBezTo>
                      <a:pt x="337" y="249"/>
                      <a:pt x="339" y="249"/>
                      <a:pt x="340" y="249"/>
                    </a:cubicBezTo>
                    <a:cubicBezTo>
                      <a:pt x="341" y="248"/>
                      <a:pt x="342" y="248"/>
                      <a:pt x="342" y="249"/>
                    </a:cubicBezTo>
                    <a:cubicBezTo>
                      <a:pt x="343" y="250"/>
                      <a:pt x="344" y="250"/>
                      <a:pt x="344" y="251"/>
                    </a:cubicBezTo>
                    <a:cubicBezTo>
                      <a:pt x="344" y="252"/>
                      <a:pt x="344" y="253"/>
                      <a:pt x="343" y="254"/>
                    </a:cubicBezTo>
                    <a:cubicBezTo>
                      <a:pt x="342" y="254"/>
                      <a:pt x="342" y="256"/>
                      <a:pt x="343" y="257"/>
                    </a:cubicBezTo>
                    <a:close/>
                    <a:moveTo>
                      <a:pt x="186" y="201"/>
                    </a:moveTo>
                    <a:cubicBezTo>
                      <a:pt x="187" y="201"/>
                      <a:pt x="186" y="200"/>
                      <a:pt x="187" y="199"/>
                    </a:cubicBezTo>
                    <a:cubicBezTo>
                      <a:pt x="188" y="198"/>
                      <a:pt x="189" y="198"/>
                      <a:pt x="190" y="197"/>
                    </a:cubicBezTo>
                    <a:cubicBezTo>
                      <a:pt x="191" y="195"/>
                      <a:pt x="192" y="195"/>
                      <a:pt x="194" y="195"/>
                    </a:cubicBezTo>
                    <a:cubicBezTo>
                      <a:pt x="195" y="194"/>
                      <a:pt x="196" y="195"/>
                      <a:pt x="197" y="194"/>
                    </a:cubicBezTo>
                    <a:cubicBezTo>
                      <a:pt x="198" y="193"/>
                      <a:pt x="198" y="192"/>
                      <a:pt x="199" y="192"/>
                    </a:cubicBezTo>
                    <a:cubicBezTo>
                      <a:pt x="200" y="191"/>
                      <a:pt x="200" y="189"/>
                      <a:pt x="202" y="189"/>
                    </a:cubicBezTo>
                    <a:cubicBezTo>
                      <a:pt x="202" y="189"/>
                      <a:pt x="202" y="189"/>
                      <a:pt x="203" y="189"/>
                    </a:cubicBezTo>
                    <a:cubicBezTo>
                      <a:pt x="204" y="187"/>
                      <a:pt x="206" y="187"/>
                      <a:pt x="207" y="189"/>
                    </a:cubicBezTo>
                    <a:cubicBezTo>
                      <a:pt x="207" y="190"/>
                      <a:pt x="208" y="190"/>
                      <a:pt x="209" y="190"/>
                    </a:cubicBezTo>
                    <a:cubicBezTo>
                      <a:pt x="209" y="190"/>
                      <a:pt x="209" y="190"/>
                      <a:pt x="209" y="190"/>
                    </a:cubicBezTo>
                    <a:cubicBezTo>
                      <a:pt x="209" y="191"/>
                      <a:pt x="209" y="192"/>
                      <a:pt x="210" y="192"/>
                    </a:cubicBezTo>
                    <a:cubicBezTo>
                      <a:pt x="210" y="192"/>
                      <a:pt x="210" y="192"/>
                      <a:pt x="210" y="193"/>
                    </a:cubicBezTo>
                    <a:cubicBezTo>
                      <a:pt x="210" y="193"/>
                      <a:pt x="210" y="193"/>
                      <a:pt x="210" y="193"/>
                    </a:cubicBezTo>
                    <a:cubicBezTo>
                      <a:pt x="212" y="193"/>
                      <a:pt x="212" y="194"/>
                      <a:pt x="212" y="194"/>
                    </a:cubicBezTo>
                    <a:cubicBezTo>
                      <a:pt x="213" y="195"/>
                      <a:pt x="212" y="195"/>
                      <a:pt x="213" y="196"/>
                    </a:cubicBezTo>
                    <a:cubicBezTo>
                      <a:pt x="213" y="197"/>
                      <a:pt x="213" y="197"/>
                      <a:pt x="213" y="198"/>
                    </a:cubicBezTo>
                    <a:cubicBezTo>
                      <a:pt x="213" y="198"/>
                      <a:pt x="212" y="198"/>
                      <a:pt x="213" y="199"/>
                    </a:cubicBezTo>
                    <a:cubicBezTo>
                      <a:pt x="213" y="201"/>
                      <a:pt x="212" y="203"/>
                      <a:pt x="209" y="203"/>
                    </a:cubicBezTo>
                    <a:cubicBezTo>
                      <a:pt x="209" y="203"/>
                      <a:pt x="209" y="203"/>
                      <a:pt x="209" y="202"/>
                    </a:cubicBezTo>
                    <a:cubicBezTo>
                      <a:pt x="209" y="202"/>
                      <a:pt x="209" y="202"/>
                      <a:pt x="209" y="202"/>
                    </a:cubicBezTo>
                    <a:cubicBezTo>
                      <a:pt x="208" y="202"/>
                      <a:pt x="207" y="203"/>
                      <a:pt x="206" y="203"/>
                    </a:cubicBezTo>
                    <a:cubicBezTo>
                      <a:pt x="206" y="204"/>
                      <a:pt x="205" y="204"/>
                      <a:pt x="205" y="204"/>
                    </a:cubicBezTo>
                    <a:cubicBezTo>
                      <a:pt x="203" y="203"/>
                      <a:pt x="202" y="202"/>
                      <a:pt x="202" y="201"/>
                    </a:cubicBezTo>
                    <a:cubicBezTo>
                      <a:pt x="201" y="200"/>
                      <a:pt x="201" y="200"/>
                      <a:pt x="200" y="200"/>
                    </a:cubicBezTo>
                    <a:cubicBezTo>
                      <a:pt x="200" y="200"/>
                      <a:pt x="199" y="200"/>
                      <a:pt x="199" y="201"/>
                    </a:cubicBezTo>
                    <a:cubicBezTo>
                      <a:pt x="200" y="202"/>
                      <a:pt x="199" y="202"/>
                      <a:pt x="198" y="203"/>
                    </a:cubicBezTo>
                    <a:cubicBezTo>
                      <a:pt x="199" y="204"/>
                      <a:pt x="198" y="204"/>
                      <a:pt x="198" y="204"/>
                    </a:cubicBezTo>
                    <a:cubicBezTo>
                      <a:pt x="196" y="204"/>
                      <a:pt x="196" y="204"/>
                      <a:pt x="196" y="202"/>
                    </a:cubicBezTo>
                    <a:cubicBezTo>
                      <a:pt x="195" y="202"/>
                      <a:pt x="196" y="201"/>
                      <a:pt x="195" y="201"/>
                    </a:cubicBezTo>
                    <a:cubicBezTo>
                      <a:pt x="194" y="201"/>
                      <a:pt x="193" y="201"/>
                      <a:pt x="192" y="201"/>
                    </a:cubicBezTo>
                    <a:cubicBezTo>
                      <a:pt x="190" y="201"/>
                      <a:pt x="189" y="202"/>
                      <a:pt x="188" y="203"/>
                    </a:cubicBezTo>
                    <a:cubicBezTo>
                      <a:pt x="188" y="204"/>
                      <a:pt x="187" y="204"/>
                      <a:pt x="187" y="204"/>
                    </a:cubicBezTo>
                    <a:cubicBezTo>
                      <a:pt x="186" y="204"/>
                      <a:pt x="186" y="201"/>
                      <a:pt x="186" y="201"/>
                    </a:cubicBezTo>
                    <a:close/>
                    <a:moveTo>
                      <a:pt x="257" y="279"/>
                    </a:moveTo>
                    <a:cubicBezTo>
                      <a:pt x="255" y="279"/>
                      <a:pt x="254" y="280"/>
                      <a:pt x="253" y="279"/>
                    </a:cubicBezTo>
                    <a:cubicBezTo>
                      <a:pt x="253" y="279"/>
                      <a:pt x="252" y="279"/>
                      <a:pt x="252" y="279"/>
                    </a:cubicBezTo>
                    <a:cubicBezTo>
                      <a:pt x="253" y="278"/>
                      <a:pt x="253" y="278"/>
                      <a:pt x="253" y="277"/>
                    </a:cubicBezTo>
                    <a:cubicBezTo>
                      <a:pt x="254" y="277"/>
                      <a:pt x="254" y="276"/>
                      <a:pt x="254" y="276"/>
                    </a:cubicBezTo>
                    <a:cubicBezTo>
                      <a:pt x="255" y="275"/>
                      <a:pt x="255" y="275"/>
                      <a:pt x="256" y="274"/>
                    </a:cubicBezTo>
                    <a:cubicBezTo>
                      <a:pt x="257" y="274"/>
                      <a:pt x="259" y="273"/>
                      <a:pt x="260" y="273"/>
                    </a:cubicBezTo>
                    <a:cubicBezTo>
                      <a:pt x="260" y="272"/>
                      <a:pt x="261" y="272"/>
                      <a:pt x="261" y="273"/>
                    </a:cubicBezTo>
                    <a:cubicBezTo>
                      <a:pt x="262" y="273"/>
                      <a:pt x="262" y="274"/>
                      <a:pt x="261" y="274"/>
                    </a:cubicBezTo>
                    <a:cubicBezTo>
                      <a:pt x="261" y="275"/>
                      <a:pt x="261" y="275"/>
                      <a:pt x="260" y="275"/>
                    </a:cubicBezTo>
                    <a:cubicBezTo>
                      <a:pt x="259" y="275"/>
                      <a:pt x="258" y="276"/>
                      <a:pt x="258" y="278"/>
                    </a:cubicBezTo>
                    <a:cubicBezTo>
                      <a:pt x="258" y="278"/>
                      <a:pt x="257" y="278"/>
                      <a:pt x="257" y="279"/>
                    </a:cubicBezTo>
                    <a:close/>
                    <a:moveTo>
                      <a:pt x="297" y="289"/>
                    </a:moveTo>
                    <a:cubicBezTo>
                      <a:pt x="297" y="289"/>
                      <a:pt x="297" y="289"/>
                      <a:pt x="296" y="289"/>
                    </a:cubicBezTo>
                    <a:cubicBezTo>
                      <a:pt x="296" y="290"/>
                      <a:pt x="296" y="289"/>
                      <a:pt x="296" y="289"/>
                    </a:cubicBezTo>
                    <a:cubicBezTo>
                      <a:pt x="295" y="288"/>
                      <a:pt x="295" y="288"/>
                      <a:pt x="295" y="287"/>
                    </a:cubicBezTo>
                    <a:cubicBezTo>
                      <a:pt x="295" y="286"/>
                      <a:pt x="295" y="284"/>
                      <a:pt x="297" y="284"/>
                    </a:cubicBezTo>
                    <a:cubicBezTo>
                      <a:pt x="298" y="284"/>
                      <a:pt x="299" y="284"/>
                      <a:pt x="299" y="282"/>
                    </a:cubicBezTo>
                    <a:cubicBezTo>
                      <a:pt x="299" y="282"/>
                      <a:pt x="299" y="282"/>
                      <a:pt x="300" y="282"/>
                    </a:cubicBezTo>
                    <a:cubicBezTo>
                      <a:pt x="300" y="282"/>
                      <a:pt x="301" y="283"/>
                      <a:pt x="302" y="283"/>
                    </a:cubicBezTo>
                    <a:cubicBezTo>
                      <a:pt x="302" y="283"/>
                      <a:pt x="302" y="284"/>
                      <a:pt x="302" y="284"/>
                    </a:cubicBezTo>
                    <a:cubicBezTo>
                      <a:pt x="302" y="285"/>
                      <a:pt x="301" y="286"/>
                      <a:pt x="300" y="287"/>
                    </a:cubicBezTo>
                    <a:cubicBezTo>
                      <a:pt x="300" y="287"/>
                      <a:pt x="300" y="287"/>
                      <a:pt x="300" y="287"/>
                    </a:cubicBezTo>
                    <a:cubicBezTo>
                      <a:pt x="300" y="286"/>
                      <a:pt x="299" y="286"/>
                      <a:pt x="299" y="285"/>
                    </a:cubicBezTo>
                    <a:cubicBezTo>
                      <a:pt x="298" y="285"/>
                      <a:pt x="298" y="286"/>
                      <a:pt x="298" y="286"/>
                    </a:cubicBezTo>
                    <a:cubicBezTo>
                      <a:pt x="298" y="287"/>
                      <a:pt x="298" y="287"/>
                      <a:pt x="298" y="287"/>
                    </a:cubicBezTo>
                    <a:cubicBezTo>
                      <a:pt x="297" y="288"/>
                      <a:pt x="297" y="288"/>
                      <a:pt x="297" y="289"/>
                    </a:cubicBezTo>
                    <a:close/>
                    <a:moveTo>
                      <a:pt x="249" y="274"/>
                    </a:moveTo>
                    <a:cubicBezTo>
                      <a:pt x="249" y="274"/>
                      <a:pt x="249" y="274"/>
                      <a:pt x="250" y="274"/>
                    </a:cubicBezTo>
                    <a:cubicBezTo>
                      <a:pt x="252" y="273"/>
                      <a:pt x="255" y="271"/>
                      <a:pt x="258" y="270"/>
                    </a:cubicBezTo>
                    <a:cubicBezTo>
                      <a:pt x="258" y="270"/>
                      <a:pt x="260" y="270"/>
                      <a:pt x="260" y="271"/>
                    </a:cubicBezTo>
                    <a:cubicBezTo>
                      <a:pt x="260" y="272"/>
                      <a:pt x="260" y="272"/>
                      <a:pt x="259" y="272"/>
                    </a:cubicBezTo>
                    <a:cubicBezTo>
                      <a:pt x="257" y="273"/>
                      <a:pt x="255" y="274"/>
                      <a:pt x="253" y="275"/>
                    </a:cubicBezTo>
                    <a:cubicBezTo>
                      <a:pt x="252" y="275"/>
                      <a:pt x="251" y="275"/>
                      <a:pt x="251" y="275"/>
                    </a:cubicBezTo>
                    <a:cubicBezTo>
                      <a:pt x="251" y="275"/>
                      <a:pt x="250" y="275"/>
                      <a:pt x="250" y="275"/>
                    </a:cubicBezTo>
                    <a:cubicBezTo>
                      <a:pt x="249" y="275"/>
                      <a:pt x="249" y="275"/>
                      <a:pt x="249" y="274"/>
                    </a:cubicBezTo>
                    <a:close/>
                    <a:moveTo>
                      <a:pt x="412" y="301"/>
                    </a:moveTo>
                    <a:cubicBezTo>
                      <a:pt x="412" y="301"/>
                      <a:pt x="411" y="300"/>
                      <a:pt x="412" y="299"/>
                    </a:cubicBezTo>
                    <a:cubicBezTo>
                      <a:pt x="412" y="299"/>
                      <a:pt x="411" y="299"/>
                      <a:pt x="411" y="299"/>
                    </a:cubicBezTo>
                    <a:cubicBezTo>
                      <a:pt x="410" y="298"/>
                      <a:pt x="409" y="298"/>
                      <a:pt x="408" y="299"/>
                    </a:cubicBezTo>
                    <a:cubicBezTo>
                      <a:pt x="408" y="300"/>
                      <a:pt x="407" y="300"/>
                      <a:pt x="407" y="300"/>
                    </a:cubicBezTo>
                    <a:cubicBezTo>
                      <a:pt x="406" y="299"/>
                      <a:pt x="406" y="298"/>
                      <a:pt x="406" y="297"/>
                    </a:cubicBezTo>
                    <a:cubicBezTo>
                      <a:pt x="408" y="297"/>
                      <a:pt x="409" y="297"/>
                      <a:pt x="409" y="295"/>
                    </a:cubicBezTo>
                    <a:cubicBezTo>
                      <a:pt x="409" y="295"/>
                      <a:pt x="409" y="295"/>
                      <a:pt x="409" y="295"/>
                    </a:cubicBezTo>
                    <a:cubicBezTo>
                      <a:pt x="410" y="295"/>
                      <a:pt x="410" y="294"/>
                      <a:pt x="410" y="294"/>
                    </a:cubicBezTo>
                    <a:cubicBezTo>
                      <a:pt x="411" y="294"/>
                      <a:pt x="412" y="293"/>
                      <a:pt x="412" y="292"/>
                    </a:cubicBezTo>
                    <a:cubicBezTo>
                      <a:pt x="412" y="292"/>
                      <a:pt x="412" y="291"/>
                      <a:pt x="411" y="291"/>
                    </a:cubicBezTo>
                    <a:cubicBezTo>
                      <a:pt x="411" y="291"/>
                      <a:pt x="411" y="291"/>
                      <a:pt x="411" y="291"/>
                    </a:cubicBezTo>
                    <a:cubicBezTo>
                      <a:pt x="412" y="290"/>
                      <a:pt x="412" y="289"/>
                      <a:pt x="411" y="288"/>
                    </a:cubicBezTo>
                    <a:cubicBezTo>
                      <a:pt x="411" y="288"/>
                      <a:pt x="410" y="288"/>
                      <a:pt x="411" y="287"/>
                    </a:cubicBezTo>
                    <a:cubicBezTo>
                      <a:pt x="411" y="287"/>
                      <a:pt x="410" y="286"/>
                      <a:pt x="410" y="287"/>
                    </a:cubicBezTo>
                    <a:cubicBezTo>
                      <a:pt x="409" y="287"/>
                      <a:pt x="408" y="286"/>
                      <a:pt x="407" y="287"/>
                    </a:cubicBezTo>
                    <a:cubicBezTo>
                      <a:pt x="407" y="287"/>
                      <a:pt x="406" y="287"/>
                      <a:pt x="406" y="286"/>
                    </a:cubicBezTo>
                    <a:cubicBezTo>
                      <a:pt x="407" y="286"/>
                      <a:pt x="408" y="286"/>
                      <a:pt x="408" y="285"/>
                    </a:cubicBezTo>
                    <a:cubicBezTo>
                      <a:pt x="407" y="282"/>
                      <a:pt x="406" y="281"/>
                      <a:pt x="403" y="282"/>
                    </a:cubicBezTo>
                    <a:cubicBezTo>
                      <a:pt x="402" y="282"/>
                      <a:pt x="402" y="282"/>
                      <a:pt x="402" y="282"/>
                    </a:cubicBezTo>
                    <a:cubicBezTo>
                      <a:pt x="402" y="282"/>
                      <a:pt x="402" y="282"/>
                      <a:pt x="401" y="282"/>
                    </a:cubicBezTo>
                    <a:cubicBezTo>
                      <a:pt x="401" y="282"/>
                      <a:pt x="401" y="282"/>
                      <a:pt x="400" y="282"/>
                    </a:cubicBezTo>
                    <a:cubicBezTo>
                      <a:pt x="399" y="281"/>
                      <a:pt x="400" y="281"/>
                      <a:pt x="400" y="280"/>
                    </a:cubicBezTo>
                    <a:cubicBezTo>
                      <a:pt x="401" y="280"/>
                      <a:pt x="401" y="279"/>
                      <a:pt x="401" y="278"/>
                    </a:cubicBezTo>
                    <a:cubicBezTo>
                      <a:pt x="398" y="277"/>
                      <a:pt x="395" y="277"/>
                      <a:pt x="392" y="277"/>
                    </a:cubicBezTo>
                    <a:cubicBezTo>
                      <a:pt x="392" y="277"/>
                      <a:pt x="392" y="277"/>
                      <a:pt x="392" y="277"/>
                    </a:cubicBezTo>
                    <a:cubicBezTo>
                      <a:pt x="390" y="277"/>
                      <a:pt x="388" y="279"/>
                      <a:pt x="386" y="279"/>
                    </a:cubicBezTo>
                    <a:cubicBezTo>
                      <a:pt x="386" y="279"/>
                      <a:pt x="386" y="279"/>
                      <a:pt x="386" y="279"/>
                    </a:cubicBezTo>
                    <a:cubicBezTo>
                      <a:pt x="385" y="278"/>
                      <a:pt x="384" y="278"/>
                      <a:pt x="383" y="277"/>
                    </a:cubicBezTo>
                    <a:cubicBezTo>
                      <a:pt x="383" y="277"/>
                      <a:pt x="382" y="277"/>
                      <a:pt x="382" y="278"/>
                    </a:cubicBezTo>
                    <a:cubicBezTo>
                      <a:pt x="381" y="278"/>
                      <a:pt x="381" y="278"/>
                      <a:pt x="380" y="279"/>
                    </a:cubicBezTo>
                    <a:cubicBezTo>
                      <a:pt x="380" y="279"/>
                      <a:pt x="380" y="279"/>
                      <a:pt x="380" y="279"/>
                    </a:cubicBezTo>
                    <a:cubicBezTo>
                      <a:pt x="380" y="280"/>
                      <a:pt x="379" y="280"/>
                      <a:pt x="379" y="280"/>
                    </a:cubicBezTo>
                    <a:cubicBezTo>
                      <a:pt x="378" y="280"/>
                      <a:pt x="378" y="280"/>
                      <a:pt x="377" y="281"/>
                    </a:cubicBezTo>
                    <a:cubicBezTo>
                      <a:pt x="377" y="281"/>
                      <a:pt x="377" y="281"/>
                      <a:pt x="377" y="282"/>
                    </a:cubicBezTo>
                    <a:cubicBezTo>
                      <a:pt x="377" y="282"/>
                      <a:pt x="376" y="282"/>
                      <a:pt x="375" y="281"/>
                    </a:cubicBezTo>
                    <a:cubicBezTo>
                      <a:pt x="375" y="281"/>
                      <a:pt x="375" y="281"/>
                      <a:pt x="375" y="281"/>
                    </a:cubicBezTo>
                    <a:cubicBezTo>
                      <a:pt x="374" y="282"/>
                      <a:pt x="373" y="282"/>
                      <a:pt x="373" y="283"/>
                    </a:cubicBezTo>
                    <a:cubicBezTo>
                      <a:pt x="373" y="284"/>
                      <a:pt x="372" y="284"/>
                      <a:pt x="371" y="284"/>
                    </a:cubicBezTo>
                    <a:cubicBezTo>
                      <a:pt x="371" y="283"/>
                      <a:pt x="371" y="283"/>
                      <a:pt x="370" y="284"/>
                    </a:cubicBezTo>
                    <a:cubicBezTo>
                      <a:pt x="370" y="284"/>
                      <a:pt x="369" y="284"/>
                      <a:pt x="369" y="285"/>
                    </a:cubicBezTo>
                    <a:cubicBezTo>
                      <a:pt x="368" y="285"/>
                      <a:pt x="368" y="285"/>
                      <a:pt x="368" y="286"/>
                    </a:cubicBezTo>
                    <a:cubicBezTo>
                      <a:pt x="368" y="287"/>
                      <a:pt x="369" y="288"/>
                      <a:pt x="370" y="288"/>
                    </a:cubicBezTo>
                    <a:cubicBezTo>
                      <a:pt x="370" y="288"/>
                      <a:pt x="369" y="288"/>
                      <a:pt x="369" y="288"/>
                    </a:cubicBezTo>
                    <a:cubicBezTo>
                      <a:pt x="369" y="288"/>
                      <a:pt x="368" y="288"/>
                      <a:pt x="368" y="288"/>
                    </a:cubicBezTo>
                    <a:cubicBezTo>
                      <a:pt x="367" y="288"/>
                      <a:pt x="367" y="288"/>
                      <a:pt x="366" y="289"/>
                    </a:cubicBezTo>
                    <a:cubicBezTo>
                      <a:pt x="366" y="289"/>
                      <a:pt x="366" y="289"/>
                      <a:pt x="366" y="289"/>
                    </a:cubicBezTo>
                    <a:cubicBezTo>
                      <a:pt x="365" y="289"/>
                      <a:pt x="365" y="290"/>
                      <a:pt x="364" y="289"/>
                    </a:cubicBezTo>
                    <a:cubicBezTo>
                      <a:pt x="364" y="289"/>
                      <a:pt x="365" y="289"/>
                      <a:pt x="365" y="289"/>
                    </a:cubicBezTo>
                    <a:cubicBezTo>
                      <a:pt x="365" y="288"/>
                      <a:pt x="366" y="288"/>
                      <a:pt x="365" y="288"/>
                    </a:cubicBezTo>
                    <a:cubicBezTo>
                      <a:pt x="365" y="287"/>
                      <a:pt x="365" y="286"/>
                      <a:pt x="364" y="286"/>
                    </a:cubicBezTo>
                    <a:cubicBezTo>
                      <a:pt x="362" y="286"/>
                      <a:pt x="361" y="285"/>
                      <a:pt x="361" y="284"/>
                    </a:cubicBezTo>
                    <a:cubicBezTo>
                      <a:pt x="360" y="283"/>
                      <a:pt x="360" y="283"/>
                      <a:pt x="359" y="283"/>
                    </a:cubicBezTo>
                    <a:cubicBezTo>
                      <a:pt x="358" y="283"/>
                      <a:pt x="358" y="285"/>
                      <a:pt x="358" y="286"/>
                    </a:cubicBezTo>
                    <a:cubicBezTo>
                      <a:pt x="359" y="286"/>
                      <a:pt x="358" y="287"/>
                      <a:pt x="358" y="287"/>
                    </a:cubicBezTo>
                    <a:cubicBezTo>
                      <a:pt x="359" y="286"/>
                      <a:pt x="357" y="286"/>
                      <a:pt x="357" y="285"/>
                    </a:cubicBezTo>
                    <a:cubicBezTo>
                      <a:pt x="357" y="284"/>
                      <a:pt x="356" y="284"/>
                      <a:pt x="355" y="284"/>
                    </a:cubicBezTo>
                    <a:cubicBezTo>
                      <a:pt x="354" y="285"/>
                      <a:pt x="354" y="286"/>
                      <a:pt x="353" y="286"/>
                    </a:cubicBezTo>
                    <a:cubicBezTo>
                      <a:pt x="353" y="286"/>
                      <a:pt x="354" y="285"/>
                      <a:pt x="353" y="285"/>
                    </a:cubicBezTo>
                    <a:cubicBezTo>
                      <a:pt x="352" y="284"/>
                      <a:pt x="351" y="283"/>
                      <a:pt x="351" y="281"/>
                    </a:cubicBezTo>
                    <a:cubicBezTo>
                      <a:pt x="351" y="281"/>
                      <a:pt x="350" y="281"/>
                      <a:pt x="350" y="281"/>
                    </a:cubicBezTo>
                    <a:cubicBezTo>
                      <a:pt x="349" y="281"/>
                      <a:pt x="350" y="281"/>
                      <a:pt x="350" y="282"/>
                    </a:cubicBezTo>
                    <a:cubicBezTo>
                      <a:pt x="350" y="282"/>
                      <a:pt x="349" y="282"/>
                      <a:pt x="349" y="282"/>
                    </a:cubicBezTo>
                    <a:cubicBezTo>
                      <a:pt x="349" y="283"/>
                      <a:pt x="349" y="283"/>
                      <a:pt x="349" y="283"/>
                    </a:cubicBezTo>
                    <a:cubicBezTo>
                      <a:pt x="349" y="284"/>
                      <a:pt x="350" y="286"/>
                      <a:pt x="350" y="287"/>
                    </a:cubicBezTo>
                    <a:cubicBezTo>
                      <a:pt x="350" y="287"/>
                      <a:pt x="350" y="287"/>
                      <a:pt x="350" y="288"/>
                    </a:cubicBezTo>
                    <a:cubicBezTo>
                      <a:pt x="349" y="288"/>
                      <a:pt x="349" y="288"/>
                      <a:pt x="349" y="288"/>
                    </a:cubicBezTo>
                    <a:cubicBezTo>
                      <a:pt x="348" y="287"/>
                      <a:pt x="347" y="286"/>
                      <a:pt x="347" y="285"/>
                    </a:cubicBezTo>
                    <a:cubicBezTo>
                      <a:pt x="347" y="283"/>
                      <a:pt x="346" y="283"/>
                      <a:pt x="345" y="284"/>
                    </a:cubicBezTo>
                    <a:cubicBezTo>
                      <a:pt x="345" y="284"/>
                      <a:pt x="345" y="284"/>
                      <a:pt x="345" y="284"/>
                    </a:cubicBezTo>
                    <a:cubicBezTo>
                      <a:pt x="344" y="283"/>
                      <a:pt x="344" y="284"/>
                      <a:pt x="343" y="284"/>
                    </a:cubicBezTo>
                    <a:cubicBezTo>
                      <a:pt x="343" y="283"/>
                      <a:pt x="344" y="283"/>
                      <a:pt x="344" y="283"/>
                    </a:cubicBezTo>
                    <a:cubicBezTo>
                      <a:pt x="344" y="283"/>
                      <a:pt x="344" y="283"/>
                      <a:pt x="345" y="283"/>
                    </a:cubicBezTo>
                    <a:cubicBezTo>
                      <a:pt x="345" y="283"/>
                      <a:pt x="347" y="283"/>
                      <a:pt x="347" y="282"/>
                    </a:cubicBezTo>
                    <a:cubicBezTo>
                      <a:pt x="347" y="281"/>
                      <a:pt x="347" y="280"/>
                      <a:pt x="347" y="279"/>
                    </a:cubicBezTo>
                    <a:cubicBezTo>
                      <a:pt x="347" y="279"/>
                      <a:pt x="347" y="279"/>
                      <a:pt x="347" y="279"/>
                    </a:cubicBezTo>
                    <a:cubicBezTo>
                      <a:pt x="347" y="279"/>
                      <a:pt x="347" y="279"/>
                      <a:pt x="347" y="279"/>
                    </a:cubicBezTo>
                    <a:cubicBezTo>
                      <a:pt x="347" y="278"/>
                      <a:pt x="346" y="278"/>
                      <a:pt x="345" y="277"/>
                    </a:cubicBezTo>
                    <a:cubicBezTo>
                      <a:pt x="345" y="277"/>
                      <a:pt x="345" y="277"/>
                      <a:pt x="345" y="277"/>
                    </a:cubicBezTo>
                    <a:cubicBezTo>
                      <a:pt x="345" y="277"/>
                      <a:pt x="345" y="277"/>
                      <a:pt x="345" y="277"/>
                    </a:cubicBezTo>
                    <a:cubicBezTo>
                      <a:pt x="345" y="276"/>
                      <a:pt x="345" y="276"/>
                      <a:pt x="345" y="276"/>
                    </a:cubicBezTo>
                    <a:cubicBezTo>
                      <a:pt x="344" y="276"/>
                      <a:pt x="344" y="277"/>
                      <a:pt x="344" y="277"/>
                    </a:cubicBezTo>
                    <a:cubicBezTo>
                      <a:pt x="343" y="277"/>
                      <a:pt x="344" y="278"/>
                      <a:pt x="343" y="278"/>
                    </a:cubicBezTo>
                    <a:cubicBezTo>
                      <a:pt x="343" y="277"/>
                      <a:pt x="344" y="276"/>
                      <a:pt x="343" y="275"/>
                    </a:cubicBezTo>
                    <a:cubicBezTo>
                      <a:pt x="343" y="274"/>
                      <a:pt x="342" y="273"/>
                      <a:pt x="342" y="272"/>
                    </a:cubicBezTo>
                    <a:cubicBezTo>
                      <a:pt x="342" y="272"/>
                      <a:pt x="341" y="272"/>
                      <a:pt x="341" y="272"/>
                    </a:cubicBezTo>
                    <a:cubicBezTo>
                      <a:pt x="341" y="272"/>
                      <a:pt x="341" y="272"/>
                      <a:pt x="341" y="273"/>
                    </a:cubicBezTo>
                    <a:cubicBezTo>
                      <a:pt x="340" y="273"/>
                      <a:pt x="341" y="274"/>
                      <a:pt x="340" y="274"/>
                    </a:cubicBezTo>
                    <a:cubicBezTo>
                      <a:pt x="340" y="272"/>
                      <a:pt x="340" y="272"/>
                      <a:pt x="338" y="274"/>
                    </a:cubicBezTo>
                    <a:cubicBezTo>
                      <a:pt x="338" y="274"/>
                      <a:pt x="338" y="274"/>
                      <a:pt x="338" y="274"/>
                    </a:cubicBezTo>
                    <a:cubicBezTo>
                      <a:pt x="338" y="273"/>
                      <a:pt x="339" y="273"/>
                      <a:pt x="338" y="273"/>
                    </a:cubicBezTo>
                    <a:cubicBezTo>
                      <a:pt x="338" y="272"/>
                      <a:pt x="337" y="273"/>
                      <a:pt x="337" y="273"/>
                    </a:cubicBezTo>
                    <a:cubicBezTo>
                      <a:pt x="337" y="274"/>
                      <a:pt x="337" y="274"/>
                      <a:pt x="337" y="273"/>
                    </a:cubicBezTo>
                    <a:cubicBezTo>
                      <a:pt x="337" y="273"/>
                      <a:pt x="336" y="273"/>
                      <a:pt x="336" y="273"/>
                    </a:cubicBezTo>
                    <a:cubicBezTo>
                      <a:pt x="336" y="273"/>
                      <a:pt x="337" y="273"/>
                      <a:pt x="336" y="273"/>
                    </a:cubicBezTo>
                    <a:cubicBezTo>
                      <a:pt x="336" y="273"/>
                      <a:pt x="336" y="273"/>
                      <a:pt x="336" y="273"/>
                    </a:cubicBezTo>
                    <a:cubicBezTo>
                      <a:pt x="336" y="274"/>
                      <a:pt x="336" y="274"/>
                      <a:pt x="335" y="274"/>
                    </a:cubicBezTo>
                    <a:cubicBezTo>
                      <a:pt x="334" y="275"/>
                      <a:pt x="334" y="275"/>
                      <a:pt x="334" y="276"/>
                    </a:cubicBezTo>
                    <a:cubicBezTo>
                      <a:pt x="334" y="277"/>
                      <a:pt x="334" y="277"/>
                      <a:pt x="333" y="277"/>
                    </a:cubicBezTo>
                    <a:cubicBezTo>
                      <a:pt x="333" y="276"/>
                      <a:pt x="334" y="276"/>
                      <a:pt x="334" y="275"/>
                    </a:cubicBezTo>
                    <a:cubicBezTo>
                      <a:pt x="334" y="275"/>
                      <a:pt x="334" y="275"/>
                      <a:pt x="334" y="274"/>
                    </a:cubicBezTo>
                    <a:cubicBezTo>
                      <a:pt x="335" y="274"/>
                      <a:pt x="335" y="273"/>
                      <a:pt x="334" y="273"/>
                    </a:cubicBezTo>
                    <a:cubicBezTo>
                      <a:pt x="335" y="272"/>
                      <a:pt x="337" y="272"/>
                      <a:pt x="338" y="271"/>
                    </a:cubicBezTo>
                    <a:cubicBezTo>
                      <a:pt x="338" y="271"/>
                      <a:pt x="339" y="271"/>
                      <a:pt x="340" y="271"/>
                    </a:cubicBezTo>
                    <a:cubicBezTo>
                      <a:pt x="340" y="271"/>
                      <a:pt x="340" y="271"/>
                      <a:pt x="340" y="271"/>
                    </a:cubicBezTo>
                    <a:cubicBezTo>
                      <a:pt x="340" y="271"/>
                      <a:pt x="340" y="271"/>
                      <a:pt x="340" y="271"/>
                    </a:cubicBezTo>
                    <a:cubicBezTo>
                      <a:pt x="339" y="271"/>
                      <a:pt x="338" y="269"/>
                      <a:pt x="337" y="270"/>
                    </a:cubicBezTo>
                    <a:cubicBezTo>
                      <a:pt x="337" y="271"/>
                      <a:pt x="336" y="271"/>
                      <a:pt x="336" y="270"/>
                    </a:cubicBezTo>
                    <a:cubicBezTo>
                      <a:pt x="336" y="270"/>
                      <a:pt x="337" y="270"/>
                      <a:pt x="337" y="269"/>
                    </a:cubicBezTo>
                    <a:cubicBezTo>
                      <a:pt x="335" y="268"/>
                      <a:pt x="334" y="267"/>
                      <a:pt x="332" y="268"/>
                    </a:cubicBezTo>
                    <a:cubicBezTo>
                      <a:pt x="333" y="267"/>
                      <a:pt x="333" y="267"/>
                      <a:pt x="332" y="266"/>
                    </a:cubicBezTo>
                    <a:cubicBezTo>
                      <a:pt x="332" y="266"/>
                      <a:pt x="331" y="266"/>
                      <a:pt x="331" y="265"/>
                    </a:cubicBezTo>
                    <a:cubicBezTo>
                      <a:pt x="332" y="265"/>
                      <a:pt x="332" y="265"/>
                      <a:pt x="333" y="266"/>
                    </a:cubicBezTo>
                    <a:cubicBezTo>
                      <a:pt x="334" y="267"/>
                      <a:pt x="336" y="267"/>
                      <a:pt x="337" y="268"/>
                    </a:cubicBezTo>
                    <a:cubicBezTo>
                      <a:pt x="339" y="268"/>
                      <a:pt x="340" y="268"/>
                      <a:pt x="342" y="268"/>
                    </a:cubicBezTo>
                    <a:cubicBezTo>
                      <a:pt x="343" y="268"/>
                      <a:pt x="344" y="268"/>
                      <a:pt x="346" y="267"/>
                    </a:cubicBezTo>
                    <a:cubicBezTo>
                      <a:pt x="347" y="267"/>
                      <a:pt x="347" y="266"/>
                      <a:pt x="347" y="265"/>
                    </a:cubicBezTo>
                    <a:cubicBezTo>
                      <a:pt x="346" y="264"/>
                      <a:pt x="346" y="264"/>
                      <a:pt x="344" y="263"/>
                    </a:cubicBezTo>
                    <a:cubicBezTo>
                      <a:pt x="344" y="263"/>
                      <a:pt x="343" y="263"/>
                      <a:pt x="343" y="263"/>
                    </a:cubicBezTo>
                    <a:cubicBezTo>
                      <a:pt x="341" y="262"/>
                      <a:pt x="340" y="261"/>
                      <a:pt x="338" y="261"/>
                    </a:cubicBezTo>
                    <a:cubicBezTo>
                      <a:pt x="338" y="261"/>
                      <a:pt x="338" y="261"/>
                      <a:pt x="338" y="261"/>
                    </a:cubicBezTo>
                    <a:cubicBezTo>
                      <a:pt x="337" y="260"/>
                      <a:pt x="335" y="260"/>
                      <a:pt x="334" y="260"/>
                    </a:cubicBezTo>
                    <a:cubicBezTo>
                      <a:pt x="334" y="260"/>
                      <a:pt x="334" y="260"/>
                      <a:pt x="334" y="260"/>
                    </a:cubicBezTo>
                    <a:cubicBezTo>
                      <a:pt x="333" y="259"/>
                      <a:pt x="332" y="259"/>
                      <a:pt x="331" y="258"/>
                    </a:cubicBezTo>
                    <a:cubicBezTo>
                      <a:pt x="331" y="258"/>
                      <a:pt x="332" y="258"/>
                      <a:pt x="332" y="258"/>
                    </a:cubicBezTo>
                    <a:cubicBezTo>
                      <a:pt x="333" y="258"/>
                      <a:pt x="334" y="259"/>
                      <a:pt x="335" y="258"/>
                    </a:cubicBezTo>
                    <a:cubicBezTo>
                      <a:pt x="335" y="258"/>
                      <a:pt x="335" y="259"/>
                      <a:pt x="336" y="259"/>
                    </a:cubicBezTo>
                    <a:cubicBezTo>
                      <a:pt x="336" y="260"/>
                      <a:pt x="337" y="259"/>
                      <a:pt x="338" y="260"/>
                    </a:cubicBezTo>
                    <a:cubicBezTo>
                      <a:pt x="338" y="260"/>
                      <a:pt x="338" y="259"/>
                      <a:pt x="338" y="259"/>
                    </a:cubicBezTo>
                    <a:cubicBezTo>
                      <a:pt x="338" y="258"/>
                      <a:pt x="338" y="258"/>
                      <a:pt x="338" y="257"/>
                    </a:cubicBezTo>
                    <a:cubicBezTo>
                      <a:pt x="338" y="256"/>
                      <a:pt x="337" y="256"/>
                      <a:pt x="336" y="256"/>
                    </a:cubicBezTo>
                    <a:cubicBezTo>
                      <a:pt x="336" y="255"/>
                      <a:pt x="335" y="254"/>
                      <a:pt x="334" y="254"/>
                    </a:cubicBezTo>
                    <a:cubicBezTo>
                      <a:pt x="332" y="252"/>
                      <a:pt x="329" y="253"/>
                      <a:pt x="327" y="255"/>
                    </a:cubicBezTo>
                    <a:cubicBezTo>
                      <a:pt x="327" y="255"/>
                      <a:pt x="326" y="256"/>
                      <a:pt x="325" y="255"/>
                    </a:cubicBezTo>
                    <a:cubicBezTo>
                      <a:pt x="325" y="255"/>
                      <a:pt x="325" y="255"/>
                      <a:pt x="325" y="255"/>
                    </a:cubicBezTo>
                    <a:cubicBezTo>
                      <a:pt x="324" y="256"/>
                      <a:pt x="323" y="255"/>
                      <a:pt x="323" y="255"/>
                    </a:cubicBezTo>
                    <a:cubicBezTo>
                      <a:pt x="322" y="255"/>
                      <a:pt x="321" y="255"/>
                      <a:pt x="320" y="256"/>
                    </a:cubicBezTo>
                    <a:cubicBezTo>
                      <a:pt x="320" y="257"/>
                      <a:pt x="320" y="258"/>
                      <a:pt x="319" y="259"/>
                    </a:cubicBezTo>
                    <a:cubicBezTo>
                      <a:pt x="318" y="262"/>
                      <a:pt x="318" y="262"/>
                      <a:pt x="318" y="262"/>
                    </a:cubicBezTo>
                    <a:cubicBezTo>
                      <a:pt x="317" y="261"/>
                      <a:pt x="317" y="260"/>
                      <a:pt x="318" y="259"/>
                    </a:cubicBezTo>
                    <a:cubicBezTo>
                      <a:pt x="319" y="258"/>
                      <a:pt x="319" y="257"/>
                      <a:pt x="320" y="256"/>
                    </a:cubicBezTo>
                    <a:cubicBezTo>
                      <a:pt x="320" y="255"/>
                      <a:pt x="321" y="254"/>
                      <a:pt x="320" y="253"/>
                    </a:cubicBezTo>
                    <a:cubicBezTo>
                      <a:pt x="320" y="251"/>
                      <a:pt x="319" y="250"/>
                      <a:pt x="318" y="248"/>
                    </a:cubicBezTo>
                    <a:cubicBezTo>
                      <a:pt x="318" y="247"/>
                      <a:pt x="317" y="246"/>
                      <a:pt x="316" y="246"/>
                    </a:cubicBezTo>
                    <a:cubicBezTo>
                      <a:pt x="315" y="245"/>
                      <a:pt x="315" y="246"/>
                      <a:pt x="314" y="247"/>
                    </a:cubicBezTo>
                    <a:cubicBezTo>
                      <a:pt x="314" y="247"/>
                      <a:pt x="313" y="248"/>
                      <a:pt x="313" y="247"/>
                    </a:cubicBezTo>
                    <a:cubicBezTo>
                      <a:pt x="313" y="246"/>
                      <a:pt x="311" y="246"/>
                      <a:pt x="311" y="245"/>
                    </a:cubicBezTo>
                    <a:cubicBezTo>
                      <a:pt x="311" y="244"/>
                      <a:pt x="311" y="244"/>
                      <a:pt x="310" y="244"/>
                    </a:cubicBezTo>
                    <a:cubicBezTo>
                      <a:pt x="310" y="245"/>
                      <a:pt x="309" y="244"/>
                      <a:pt x="308" y="244"/>
                    </a:cubicBezTo>
                    <a:cubicBezTo>
                      <a:pt x="307" y="244"/>
                      <a:pt x="306" y="243"/>
                      <a:pt x="305" y="242"/>
                    </a:cubicBezTo>
                    <a:cubicBezTo>
                      <a:pt x="305" y="242"/>
                      <a:pt x="305" y="242"/>
                      <a:pt x="305" y="242"/>
                    </a:cubicBezTo>
                    <a:cubicBezTo>
                      <a:pt x="303" y="241"/>
                      <a:pt x="301" y="242"/>
                      <a:pt x="299" y="243"/>
                    </a:cubicBezTo>
                    <a:cubicBezTo>
                      <a:pt x="299" y="243"/>
                      <a:pt x="300" y="243"/>
                      <a:pt x="299" y="244"/>
                    </a:cubicBezTo>
                    <a:cubicBezTo>
                      <a:pt x="299" y="244"/>
                      <a:pt x="299" y="245"/>
                      <a:pt x="298" y="244"/>
                    </a:cubicBezTo>
                    <a:cubicBezTo>
                      <a:pt x="297" y="244"/>
                      <a:pt x="297" y="244"/>
                      <a:pt x="296" y="245"/>
                    </a:cubicBezTo>
                    <a:cubicBezTo>
                      <a:pt x="296" y="245"/>
                      <a:pt x="297" y="245"/>
                      <a:pt x="297" y="245"/>
                    </a:cubicBezTo>
                    <a:cubicBezTo>
                      <a:pt x="297" y="245"/>
                      <a:pt x="296" y="246"/>
                      <a:pt x="296" y="246"/>
                    </a:cubicBezTo>
                    <a:cubicBezTo>
                      <a:pt x="295" y="247"/>
                      <a:pt x="296" y="247"/>
                      <a:pt x="296" y="248"/>
                    </a:cubicBezTo>
                    <a:cubicBezTo>
                      <a:pt x="296" y="248"/>
                      <a:pt x="296" y="248"/>
                      <a:pt x="296" y="248"/>
                    </a:cubicBezTo>
                    <a:cubicBezTo>
                      <a:pt x="297" y="247"/>
                      <a:pt x="297" y="248"/>
                      <a:pt x="297" y="248"/>
                    </a:cubicBezTo>
                    <a:cubicBezTo>
                      <a:pt x="298" y="249"/>
                      <a:pt x="298" y="249"/>
                      <a:pt x="299" y="249"/>
                    </a:cubicBezTo>
                    <a:cubicBezTo>
                      <a:pt x="299" y="249"/>
                      <a:pt x="299" y="249"/>
                      <a:pt x="299" y="250"/>
                    </a:cubicBezTo>
                    <a:cubicBezTo>
                      <a:pt x="299" y="250"/>
                      <a:pt x="298" y="249"/>
                      <a:pt x="298" y="250"/>
                    </a:cubicBezTo>
                    <a:cubicBezTo>
                      <a:pt x="297" y="250"/>
                      <a:pt x="298" y="250"/>
                      <a:pt x="298" y="251"/>
                    </a:cubicBezTo>
                    <a:cubicBezTo>
                      <a:pt x="298" y="251"/>
                      <a:pt x="297" y="251"/>
                      <a:pt x="297" y="250"/>
                    </a:cubicBezTo>
                    <a:cubicBezTo>
                      <a:pt x="297" y="250"/>
                      <a:pt x="296" y="250"/>
                      <a:pt x="296" y="250"/>
                    </a:cubicBezTo>
                    <a:cubicBezTo>
                      <a:pt x="296" y="250"/>
                      <a:pt x="296" y="249"/>
                      <a:pt x="295" y="249"/>
                    </a:cubicBezTo>
                    <a:cubicBezTo>
                      <a:pt x="295" y="250"/>
                      <a:pt x="295" y="250"/>
                      <a:pt x="295" y="250"/>
                    </a:cubicBezTo>
                    <a:cubicBezTo>
                      <a:pt x="296" y="251"/>
                      <a:pt x="296" y="251"/>
                      <a:pt x="296" y="251"/>
                    </a:cubicBezTo>
                    <a:cubicBezTo>
                      <a:pt x="295" y="251"/>
                      <a:pt x="295" y="252"/>
                      <a:pt x="295" y="252"/>
                    </a:cubicBezTo>
                    <a:cubicBezTo>
                      <a:pt x="296" y="253"/>
                      <a:pt x="296" y="253"/>
                      <a:pt x="297" y="252"/>
                    </a:cubicBezTo>
                    <a:cubicBezTo>
                      <a:pt x="298" y="253"/>
                      <a:pt x="298" y="254"/>
                      <a:pt x="299" y="254"/>
                    </a:cubicBezTo>
                    <a:cubicBezTo>
                      <a:pt x="299" y="255"/>
                      <a:pt x="300" y="255"/>
                      <a:pt x="300" y="255"/>
                    </a:cubicBezTo>
                    <a:cubicBezTo>
                      <a:pt x="300" y="256"/>
                      <a:pt x="301" y="256"/>
                      <a:pt x="301" y="257"/>
                    </a:cubicBezTo>
                    <a:cubicBezTo>
                      <a:pt x="301" y="257"/>
                      <a:pt x="302" y="256"/>
                      <a:pt x="303" y="257"/>
                    </a:cubicBezTo>
                    <a:cubicBezTo>
                      <a:pt x="303" y="257"/>
                      <a:pt x="303" y="257"/>
                      <a:pt x="303" y="256"/>
                    </a:cubicBezTo>
                    <a:cubicBezTo>
                      <a:pt x="303" y="256"/>
                      <a:pt x="303" y="256"/>
                      <a:pt x="303" y="256"/>
                    </a:cubicBezTo>
                    <a:cubicBezTo>
                      <a:pt x="303" y="255"/>
                      <a:pt x="304" y="255"/>
                      <a:pt x="304" y="255"/>
                    </a:cubicBezTo>
                    <a:cubicBezTo>
                      <a:pt x="304" y="256"/>
                      <a:pt x="304" y="256"/>
                      <a:pt x="304" y="257"/>
                    </a:cubicBezTo>
                    <a:cubicBezTo>
                      <a:pt x="303" y="257"/>
                      <a:pt x="303" y="258"/>
                      <a:pt x="301" y="258"/>
                    </a:cubicBezTo>
                    <a:cubicBezTo>
                      <a:pt x="301" y="257"/>
                      <a:pt x="300" y="258"/>
                      <a:pt x="301" y="258"/>
                    </a:cubicBezTo>
                    <a:cubicBezTo>
                      <a:pt x="301" y="259"/>
                      <a:pt x="301" y="259"/>
                      <a:pt x="301" y="260"/>
                    </a:cubicBezTo>
                    <a:cubicBezTo>
                      <a:pt x="302" y="261"/>
                      <a:pt x="302" y="261"/>
                      <a:pt x="303" y="261"/>
                    </a:cubicBezTo>
                    <a:cubicBezTo>
                      <a:pt x="304" y="262"/>
                      <a:pt x="305" y="262"/>
                      <a:pt x="305" y="261"/>
                    </a:cubicBezTo>
                    <a:cubicBezTo>
                      <a:pt x="306" y="262"/>
                      <a:pt x="305" y="262"/>
                      <a:pt x="305" y="262"/>
                    </a:cubicBezTo>
                    <a:cubicBezTo>
                      <a:pt x="306" y="263"/>
                      <a:pt x="306" y="262"/>
                      <a:pt x="306" y="262"/>
                    </a:cubicBezTo>
                    <a:cubicBezTo>
                      <a:pt x="306" y="262"/>
                      <a:pt x="306" y="262"/>
                      <a:pt x="306" y="262"/>
                    </a:cubicBezTo>
                    <a:cubicBezTo>
                      <a:pt x="307" y="263"/>
                      <a:pt x="307" y="262"/>
                      <a:pt x="308" y="263"/>
                    </a:cubicBezTo>
                    <a:cubicBezTo>
                      <a:pt x="309" y="263"/>
                      <a:pt x="309" y="263"/>
                      <a:pt x="309" y="264"/>
                    </a:cubicBezTo>
                    <a:cubicBezTo>
                      <a:pt x="308" y="263"/>
                      <a:pt x="307" y="263"/>
                      <a:pt x="307" y="264"/>
                    </a:cubicBezTo>
                    <a:cubicBezTo>
                      <a:pt x="307" y="264"/>
                      <a:pt x="306" y="265"/>
                      <a:pt x="306" y="264"/>
                    </a:cubicBezTo>
                    <a:cubicBezTo>
                      <a:pt x="306" y="264"/>
                      <a:pt x="306" y="266"/>
                      <a:pt x="306" y="266"/>
                    </a:cubicBezTo>
                    <a:cubicBezTo>
                      <a:pt x="307" y="266"/>
                      <a:pt x="308" y="267"/>
                      <a:pt x="308" y="266"/>
                    </a:cubicBezTo>
                    <a:cubicBezTo>
                      <a:pt x="309" y="265"/>
                      <a:pt x="310" y="265"/>
                      <a:pt x="310" y="264"/>
                    </a:cubicBezTo>
                    <a:cubicBezTo>
                      <a:pt x="310" y="265"/>
                      <a:pt x="311" y="265"/>
                      <a:pt x="311" y="265"/>
                    </a:cubicBezTo>
                    <a:cubicBezTo>
                      <a:pt x="312" y="265"/>
                      <a:pt x="313" y="265"/>
                      <a:pt x="314" y="265"/>
                    </a:cubicBezTo>
                    <a:cubicBezTo>
                      <a:pt x="314" y="265"/>
                      <a:pt x="315" y="265"/>
                      <a:pt x="316" y="265"/>
                    </a:cubicBezTo>
                    <a:cubicBezTo>
                      <a:pt x="317" y="265"/>
                      <a:pt x="316" y="264"/>
                      <a:pt x="317" y="263"/>
                    </a:cubicBezTo>
                    <a:cubicBezTo>
                      <a:pt x="317" y="264"/>
                      <a:pt x="317" y="265"/>
                      <a:pt x="318" y="264"/>
                    </a:cubicBezTo>
                    <a:cubicBezTo>
                      <a:pt x="318" y="263"/>
                      <a:pt x="319" y="263"/>
                      <a:pt x="319" y="263"/>
                    </a:cubicBezTo>
                    <a:cubicBezTo>
                      <a:pt x="319" y="262"/>
                      <a:pt x="320" y="262"/>
                      <a:pt x="321" y="262"/>
                    </a:cubicBezTo>
                    <a:cubicBezTo>
                      <a:pt x="321" y="262"/>
                      <a:pt x="321" y="263"/>
                      <a:pt x="321" y="263"/>
                    </a:cubicBezTo>
                    <a:cubicBezTo>
                      <a:pt x="321" y="265"/>
                      <a:pt x="323" y="267"/>
                      <a:pt x="324" y="269"/>
                    </a:cubicBezTo>
                    <a:cubicBezTo>
                      <a:pt x="324" y="269"/>
                      <a:pt x="324" y="270"/>
                      <a:pt x="324" y="270"/>
                    </a:cubicBezTo>
                    <a:cubicBezTo>
                      <a:pt x="324" y="271"/>
                      <a:pt x="324" y="272"/>
                      <a:pt x="324" y="272"/>
                    </a:cubicBezTo>
                    <a:cubicBezTo>
                      <a:pt x="325" y="274"/>
                      <a:pt x="326" y="275"/>
                      <a:pt x="327" y="275"/>
                    </a:cubicBezTo>
                    <a:cubicBezTo>
                      <a:pt x="327" y="276"/>
                      <a:pt x="328" y="277"/>
                      <a:pt x="327" y="278"/>
                    </a:cubicBezTo>
                    <a:cubicBezTo>
                      <a:pt x="327" y="279"/>
                      <a:pt x="327" y="280"/>
                      <a:pt x="327" y="280"/>
                    </a:cubicBezTo>
                    <a:cubicBezTo>
                      <a:pt x="328" y="281"/>
                      <a:pt x="328" y="283"/>
                      <a:pt x="327" y="284"/>
                    </a:cubicBezTo>
                    <a:cubicBezTo>
                      <a:pt x="326" y="285"/>
                      <a:pt x="326" y="287"/>
                      <a:pt x="325" y="288"/>
                    </a:cubicBezTo>
                    <a:cubicBezTo>
                      <a:pt x="325" y="289"/>
                      <a:pt x="326" y="289"/>
                      <a:pt x="325" y="290"/>
                    </a:cubicBezTo>
                    <a:cubicBezTo>
                      <a:pt x="325" y="291"/>
                      <a:pt x="324" y="293"/>
                      <a:pt x="326" y="295"/>
                    </a:cubicBezTo>
                    <a:cubicBezTo>
                      <a:pt x="326" y="295"/>
                      <a:pt x="326" y="295"/>
                      <a:pt x="327" y="295"/>
                    </a:cubicBezTo>
                    <a:cubicBezTo>
                      <a:pt x="328" y="295"/>
                      <a:pt x="328" y="296"/>
                      <a:pt x="328" y="296"/>
                    </a:cubicBezTo>
                    <a:cubicBezTo>
                      <a:pt x="328" y="297"/>
                      <a:pt x="328" y="297"/>
                      <a:pt x="327" y="297"/>
                    </a:cubicBezTo>
                    <a:cubicBezTo>
                      <a:pt x="326" y="297"/>
                      <a:pt x="326" y="297"/>
                      <a:pt x="327" y="298"/>
                    </a:cubicBezTo>
                    <a:cubicBezTo>
                      <a:pt x="327" y="298"/>
                      <a:pt x="327" y="299"/>
                      <a:pt x="327" y="299"/>
                    </a:cubicBezTo>
                    <a:cubicBezTo>
                      <a:pt x="328" y="300"/>
                      <a:pt x="328" y="301"/>
                      <a:pt x="328" y="302"/>
                    </a:cubicBezTo>
                    <a:cubicBezTo>
                      <a:pt x="327" y="304"/>
                      <a:pt x="328" y="305"/>
                      <a:pt x="330" y="306"/>
                    </a:cubicBezTo>
                    <a:cubicBezTo>
                      <a:pt x="331" y="306"/>
                      <a:pt x="331" y="306"/>
                      <a:pt x="330" y="307"/>
                    </a:cubicBezTo>
                    <a:cubicBezTo>
                      <a:pt x="330" y="307"/>
                      <a:pt x="330" y="307"/>
                      <a:pt x="331" y="308"/>
                    </a:cubicBezTo>
                    <a:cubicBezTo>
                      <a:pt x="332" y="308"/>
                      <a:pt x="333" y="308"/>
                      <a:pt x="333" y="306"/>
                    </a:cubicBezTo>
                    <a:cubicBezTo>
                      <a:pt x="333" y="307"/>
                      <a:pt x="333" y="307"/>
                      <a:pt x="333" y="307"/>
                    </a:cubicBezTo>
                    <a:cubicBezTo>
                      <a:pt x="333" y="307"/>
                      <a:pt x="332" y="308"/>
                      <a:pt x="333" y="308"/>
                    </a:cubicBezTo>
                    <a:cubicBezTo>
                      <a:pt x="334" y="308"/>
                      <a:pt x="334" y="307"/>
                      <a:pt x="333" y="306"/>
                    </a:cubicBezTo>
                    <a:cubicBezTo>
                      <a:pt x="333" y="306"/>
                      <a:pt x="333" y="305"/>
                      <a:pt x="334" y="305"/>
                    </a:cubicBezTo>
                    <a:cubicBezTo>
                      <a:pt x="335" y="304"/>
                      <a:pt x="336" y="304"/>
                      <a:pt x="336" y="302"/>
                    </a:cubicBezTo>
                    <a:cubicBezTo>
                      <a:pt x="337" y="303"/>
                      <a:pt x="336" y="303"/>
                      <a:pt x="336" y="304"/>
                    </a:cubicBezTo>
                    <a:cubicBezTo>
                      <a:pt x="336" y="305"/>
                      <a:pt x="335" y="305"/>
                      <a:pt x="335" y="306"/>
                    </a:cubicBezTo>
                    <a:cubicBezTo>
                      <a:pt x="335" y="306"/>
                      <a:pt x="335" y="306"/>
                      <a:pt x="335" y="307"/>
                    </a:cubicBezTo>
                    <a:cubicBezTo>
                      <a:pt x="336" y="307"/>
                      <a:pt x="336" y="306"/>
                      <a:pt x="336" y="306"/>
                    </a:cubicBezTo>
                    <a:cubicBezTo>
                      <a:pt x="336" y="306"/>
                      <a:pt x="336" y="306"/>
                      <a:pt x="336" y="306"/>
                    </a:cubicBezTo>
                    <a:cubicBezTo>
                      <a:pt x="337" y="307"/>
                      <a:pt x="337" y="307"/>
                      <a:pt x="337" y="307"/>
                    </a:cubicBezTo>
                    <a:cubicBezTo>
                      <a:pt x="337" y="308"/>
                      <a:pt x="338" y="309"/>
                      <a:pt x="338" y="309"/>
                    </a:cubicBezTo>
                    <a:cubicBezTo>
                      <a:pt x="339" y="309"/>
                      <a:pt x="339" y="309"/>
                      <a:pt x="339" y="309"/>
                    </a:cubicBezTo>
                    <a:cubicBezTo>
                      <a:pt x="340" y="309"/>
                      <a:pt x="340" y="310"/>
                      <a:pt x="341" y="310"/>
                    </a:cubicBezTo>
                    <a:cubicBezTo>
                      <a:pt x="342" y="310"/>
                      <a:pt x="342" y="310"/>
                      <a:pt x="343" y="310"/>
                    </a:cubicBezTo>
                    <a:cubicBezTo>
                      <a:pt x="344" y="311"/>
                      <a:pt x="345" y="309"/>
                      <a:pt x="347" y="309"/>
                    </a:cubicBezTo>
                    <a:cubicBezTo>
                      <a:pt x="347" y="309"/>
                      <a:pt x="347" y="309"/>
                      <a:pt x="347" y="308"/>
                    </a:cubicBezTo>
                    <a:cubicBezTo>
                      <a:pt x="347" y="308"/>
                      <a:pt x="347" y="307"/>
                      <a:pt x="347" y="306"/>
                    </a:cubicBezTo>
                    <a:cubicBezTo>
                      <a:pt x="347" y="306"/>
                      <a:pt x="347" y="306"/>
                      <a:pt x="347" y="305"/>
                    </a:cubicBezTo>
                    <a:cubicBezTo>
                      <a:pt x="348" y="306"/>
                      <a:pt x="348" y="306"/>
                      <a:pt x="348" y="304"/>
                    </a:cubicBezTo>
                    <a:cubicBezTo>
                      <a:pt x="348" y="304"/>
                      <a:pt x="347" y="304"/>
                      <a:pt x="348" y="303"/>
                    </a:cubicBezTo>
                    <a:cubicBezTo>
                      <a:pt x="349" y="304"/>
                      <a:pt x="349" y="306"/>
                      <a:pt x="349" y="307"/>
                    </a:cubicBezTo>
                    <a:cubicBezTo>
                      <a:pt x="349" y="307"/>
                      <a:pt x="349" y="308"/>
                      <a:pt x="349" y="307"/>
                    </a:cubicBezTo>
                    <a:cubicBezTo>
                      <a:pt x="349" y="307"/>
                      <a:pt x="350" y="307"/>
                      <a:pt x="349" y="307"/>
                    </a:cubicBezTo>
                    <a:cubicBezTo>
                      <a:pt x="349" y="306"/>
                      <a:pt x="350" y="304"/>
                      <a:pt x="350" y="303"/>
                    </a:cubicBezTo>
                    <a:cubicBezTo>
                      <a:pt x="350" y="303"/>
                      <a:pt x="350" y="303"/>
                      <a:pt x="350" y="303"/>
                    </a:cubicBezTo>
                    <a:cubicBezTo>
                      <a:pt x="351" y="303"/>
                      <a:pt x="351" y="303"/>
                      <a:pt x="351" y="302"/>
                    </a:cubicBezTo>
                    <a:cubicBezTo>
                      <a:pt x="351" y="302"/>
                      <a:pt x="351" y="302"/>
                      <a:pt x="351" y="302"/>
                    </a:cubicBezTo>
                    <a:cubicBezTo>
                      <a:pt x="351" y="302"/>
                      <a:pt x="351" y="302"/>
                      <a:pt x="351" y="302"/>
                    </a:cubicBezTo>
                    <a:cubicBezTo>
                      <a:pt x="352" y="303"/>
                      <a:pt x="351" y="304"/>
                      <a:pt x="351" y="304"/>
                    </a:cubicBezTo>
                    <a:cubicBezTo>
                      <a:pt x="352" y="304"/>
                      <a:pt x="352" y="305"/>
                      <a:pt x="352" y="306"/>
                    </a:cubicBezTo>
                    <a:cubicBezTo>
                      <a:pt x="351" y="307"/>
                      <a:pt x="352" y="308"/>
                      <a:pt x="351" y="309"/>
                    </a:cubicBezTo>
                    <a:cubicBezTo>
                      <a:pt x="351" y="311"/>
                      <a:pt x="351" y="312"/>
                      <a:pt x="352" y="312"/>
                    </a:cubicBezTo>
                    <a:cubicBezTo>
                      <a:pt x="353" y="312"/>
                      <a:pt x="353" y="311"/>
                      <a:pt x="354" y="311"/>
                    </a:cubicBezTo>
                    <a:cubicBezTo>
                      <a:pt x="354" y="312"/>
                      <a:pt x="354" y="312"/>
                      <a:pt x="354" y="312"/>
                    </a:cubicBezTo>
                    <a:cubicBezTo>
                      <a:pt x="355" y="312"/>
                      <a:pt x="355" y="313"/>
                      <a:pt x="356" y="312"/>
                    </a:cubicBezTo>
                    <a:cubicBezTo>
                      <a:pt x="356" y="312"/>
                      <a:pt x="356" y="311"/>
                      <a:pt x="356" y="311"/>
                    </a:cubicBezTo>
                    <a:cubicBezTo>
                      <a:pt x="356" y="312"/>
                      <a:pt x="356" y="312"/>
                      <a:pt x="357" y="313"/>
                    </a:cubicBezTo>
                    <a:cubicBezTo>
                      <a:pt x="358" y="313"/>
                      <a:pt x="358" y="312"/>
                      <a:pt x="359" y="311"/>
                    </a:cubicBezTo>
                    <a:cubicBezTo>
                      <a:pt x="359" y="312"/>
                      <a:pt x="360" y="313"/>
                      <a:pt x="361" y="312"/>
                    </a:cubicBezTo>
                    <a:cubicBezTo>
                      <a:pt x="361" y="312"/>
                      <a:pt x="361" y="312"/>
                      <a:pt x="362" y="312"/>
                    </a:cubicBezTo>
                    <a:cubicBezTo>
                      <a:pt x="362" y="313"/>
                      <a:pt x="363" y="313"/>
                      <a:pt x="364" y="312"/>
                    </a:cubicBezTo>
                    <a:cubicBezTo>
                      <a:pt x="364" y="312"/>
                      <a:pt x="364" y="311"/>
                      <a:pt x="363" y="311"/>
                    </a:cubicBezTo>
                    <a:cubicBezTo>
                      <a:pt x="363" y="311"/>
                      <a:pt x="363" y="311"/>
                      <a:pt x="363" y="311"/>
                    </a:cubicBezTo>
                    <a:cubicBezTo>
                      <a:pt x="363" y="310"/>
                      <a:pt x="363" y="309"/>
                      <a:pt x="363" y="309"/>
                    </a:cubicBezTo>
                    <a:cubicBezTo>
                      <a:pt x="363" y="309"/>
                      <a:pt x="363" y="309"/>
                      <a:pt x="363" y="309"/>
                    </a:cubicBezTo>
                    <a:cubicBezTo>
                      <a:pt x="363" y="311"/>
                      <a:pt x="364" y="312"/>
                      <a:pt x="365" y="312"/>
                    </a:cubicBezTo>
                    <a:cubicBezTo>
                      <a:pt x="366" y="312"/>
                      <a:pt x="366" y="311"/>
                      <a:pt x="367" y="311"/>
                    </a:cubicBezTo>
                    <a:cubicBezTo>
                      <a:pt x="367" y="310"/>
                      <a:pt x="366" y="310"/>
                      <a:pt x="367" y="309"/>
                    </a:cubicBezTo>
                    <a:cubicBezTo>
                      <a:pt x="367" y="309"/>
                      <a:pt x="367" y="309"/>
                      <a:pt x="367" y="309"/>
                    </a:cubicBezTo>
                    <a:cubicBezTo>
                      <a:pt x="367" y="310"/>
                      <a:pt x="367" y="310"/>
                      <a:pt x="368" y="310"/>
                    </a:cubicBezTo>
                    <a:cubicBezTo>
                      <a:pt x="368" y="311"/>
                      <a:pt x="368" y="311"/>
                      <a:pt x="367" y="311"/>
                    </a:cubicBezTo>
                    <a:cubicBezTo>
                      <a:pt x="367" y="312"/>
                      <a:pt x="367" y="312"/>
                      <a:pt x="367" y="312"/>
                    </a:cubicBezTo>
                    <a:cubicBezTo>
                      <a:pt x="368" y="312"/>
                      <a:pt x="368" y="312"/>
                      <a:pt x="368" y="312"/>
                    </a:cubicBezTo>
                    <a:cubicBezTo>
                      <a:pt x="369" y="312"/>
                      <a:pt x="370" y="312"/>
                      <a:pt x="370" y="312"/>
                    </a:cubicBezTo>
                    <a:cubicBezTo>
                      <a:pt x="371" y="312"/>
                      <a:pt x="371" y="311"/>
                      <a:pt x="371" y="311"/>
                    </a:cubicBezTo>
                    <a:cubicBezTo>
                      <a:pt x="372" y="310"/>
                      <a:pt x="371" y="309"/>
                      <a:pt x="371" y="308"/>
                    </a:cubicBezTo>
                    <a:cubicBezTo>
                      <a:pt x="371" y="307"/>
                      <a:pt x="371" y="307"/>
                      <a:pt x="372" y="308"/>
                    </a:cubicBezTo>
                    <a:cubicBezTo>
                      <a:pt x="372" y="309"/>
                      <a:pt x="373" y="310"/>
                      <a:pt x="373" y="312"/>
                    </a:cubicBezTo>
                    <a:cubicBezTo>
                      <a:pt x="374" y="312"/>
                      <a:pt x="375" y="312"/>
                      <a:pt x="375" y="310"/>
                    </a:cubicBezTo>
                    <a:cubicBezTo>
                      <a:pt x="375" y="310"/>
                      <a:pt x="375" y="310"/>
                      <a:pt x="375" y="309"/>
                    </a:cubicBezTo>
                    <a:cubicBezTo>
                      <a:pt x="375" y="309"/>
                      <a:pt x="375" y="308"/>
                      <a:pt x="375" y="307"/>
                    </a:cubicBezTo>
                    <a:cubicBezTo>
                      <a:pt x="375" y="307"/>
                      <a:pt x="375" y="307"/>
                      <a:pt x="375" y="307"/>
                    </a:cubicBezTo>
                    <a:cubicBezTo>
                      <a:pt x="375" y="307"/>
                      <a:pt x="375" y="307"/>
                      <a:pt x="375" y="307"/>
                    </a:cubicBezTo>
                    <a:cubicBezTo>
                      <a:pt x="375" y="309"/>
                      <a:pt x="375" y="310"/>
                      <a:pt x="375" y="311"/>
                    </a:cubicBezTo>
                    <a:cubicBezTo>
                      <a:pt x="375" y="311"/>
                      <a:pt x="376" y="312"/>
                      <a:pt x="376" y="311"/>
                    </a:cubicBezTo>
                    <a:cubicBezTo>
                      <a:pt x="377" y="311"/>
                      <a:pt x="377" y="311"/>
                      <a:pt x="378" y="311"/>
                    </a:cubicBezTo>
                    <a:cubicBezTo>
                      <a:pt x="379" y="311"/>
                      <a:pt x="380" y="311"/>
                      <a:pt x="381" y="311"/>
                    </a:cubicBezTo>
                    <a:cubicBezTo>
                      <a:pt x="382" y="310"/>
                      <a:pt x="383" y="310"/>
                      <a:pt x="384" y="310"/>
                    </a:cubicBezTo>
                    <a:cubicBezTo>
                      <a:pt x="385" y="311"/>
                      <a:pt x="385" y="310"/>
                      <a:pt x="385" y="309"/>
                    </a:cubicBezTo>
                    <a:cubicBezTo>
                      <a:pt x="385" y="308"/>
                      <a:pt x="386" y="307"/>
                      <a:pt x="386" y="306"/>
                    </a:cubicBezTo>
                    <a:cubicBezTo>
                      <a:pt x="386" y="305"/>
                      <a:pt x="387" y="304"/>
                      <a:pt x="385" y="304"/>
                    </a:cubicBezTo>
                    <a:cubicBezTo>
                      <a:pt x="385" y="303"/>
                      <a:pt x="385" y="303"/>
                      <a:pt x="384" y="302"/>
                    </a:cubicBezTo>
                    <a:cubicBezTo>
                      <a:pt x="384" y="302"/>
                      <a:pt x="384" y="302"/>
                      <a:pt x="384" y="302"/>
                    </a:cubicBezTo>
                    <a:cubicBezTo>
                      <a:pt x="385" y="302"/>
                      <a:pt x="385" y="302"/>
                      <a:pt x="385" y="302"/>
                    </a:cubicBezTo>
                    <a:cubicBezTo>
                      <a:pt x="385" y="301"/>
                      <a:pt x="385" y="302"/>
                      <a:pt x="386" y="302"/>
                    </a:cubicBezTo>
                    <a:cubicBezTo>
                      <a:pt x="386" y="303"/>
                      <a:pt x="386" y="303"/>
                      <a:pt x="387" y="303"/>
                    </a:cubicBezTo>
                    <a:cubicBezTo>
                      <a:pt x="387" y="303"/>
                      <a:pt x="387" y="303"/>
                      <a:pt x="387" y="303"/>
                    </a:cubicBezTo>
                    <a:cubicBezTo>
                      <a:pt x="388" y="304"/>
                      <a:pt x="388" y="304"/>
                      <a:pt x="387" y="305"/>
                    </a:cubicBezTo>
                    <a:cubicBezTo>
                      <a:pt x="387" y="307"/>
                      <a:pt x="387" y="308"/>
                      <a:pt x="388" y="310"/>
                    </a:cubicBezTo>
                    <a:cubicBezTo>
                      <a:pt x="389" y="311"/>
                      <a:pt x="390" y="311"/>
                      <a:pt x="391" y="311"/>
                    </a:cubicBezTo>
                    <a:cubicBezTo>
                      <a:pt x="392" y="311"/>
                      <a:pt x="392" y="310"/>
                      <a:pt x="392" y="309"/>
                    </a:cubicBezTo>
                    <a:cubicBezTo>
                      <a:pt x="392" y="311"/>
                      <a:pt x="392" y="311"/>
                      <a:pt x="393" y="311"/>
                    </a:cubicBezTo>
                    <a:cubicBezTo>
                      <a:pt x="394" y="311"/>
                      <a:pt x="394" y="312"/>
                      <a:pt x="395" y="312"/>
                    </a:cubicBezTo>
                    <a:cubicBezTo>
                      <a:pt x="395" y="312"/>
                      <a:pt x="395" y="312"/>
                      <a:pt x="395" y="312"/>
                    </a:cubicBezTo>
                    <a:cubicBezTo>
                      <a:pt x="396" y="312"/>
                      <a:pt x="396" y="312"/>
                      <a:pt x="397" y="312"/>
                    </a:cubicBezTo>
                    <a:cubicBezTo>
                      <a:pt x="397" y="312"/>
                      <a:pt x="398" y="311"/>
                      <a:pt x="398" y="311"/>
                    </a:cubicBezTo>
                    <a:cubicBezTo>
                      <a:pt x="399" y="310"/>
                      <a:pt x="400" y="310"/>
                      <a:pt x="401" y="310"/>
                    </a:cubicBezTo>
                    <a:cubicBezTo>
                      <a:pt x="402" y="310"/>
                      <a:pt x="402" y="310"/>
                      <a:pt x="402" y="310"/>
                    </a:cubicBezTo>
                    <a:cubicBezTo>
                      <a:pt x="404" y="310"/>
                      <a:pt x="405" y="309"/>
                      <a:pt x="406" y="309"/>
                    </a:cubicBezTo>
                    <a:cubicBezTo>
                      <a:pt x="407" y="309"/>
                      <a:pt x="407" y="308"/>
                      <a:pt x="407" y="307"/>
                    </a:cubicBezTo>
                    <a:cubicBezTo>
                      <a:pt x="407" y="307"/>
                      <a:pt x="407" y="307"/>
                      <a:pt x="407" y="307"/>
                    </a:cubicBezTo>
                    <a:cubicBezTo>
                      <a:pt x="407" y="306"/>
                      <a:pt x="407" y="305"/>
                      <a:pt x="407" y="305"/>
                    </a:cubicBezTo>
                    <a:cubicBezTo>
                      <a:pt x="407" y="304"/>
                      <a:pt x="408" y="303"/>
                      <a:pt x="407" y="303"/>
                    </a:cubicBezTo>
                    <a:cubicBezTo>
                      <a:pt x="406" y="302"/>
                      <a:pt x="406" y="301"/>
                      <a:pt x="406" y="301"/>
                    </a:cubicBezTo>
                    <a:cubicBezTo>
                      <a:pt x="406" y="302"/>
                      <a:pt x="407" y="302"/>
                      <a:pt x="408" y="303"/>
                    </a:cubicBezTo>
                    <a:cubicBezTo>
                      <a:pt x="409" y="304"/>
                      <a:pt x="409" y="304"/>
                      <a:pt x="410" y="303"/>
                    </a:cubicBezTo>
                    <a:cubicBezTo>
                      <a:pt x="411" y="303"/>
                      <a:pt x="411" y="302"/>
                      <a:pt x="412" y="302"/>
                    </a:cubicBezTo>
                    <a:cubicBezTo>
                      <a:pt x="413" y="302"/>
                      <a:pt x="413" y="302"/>
                      <a:pt x="412" y="301"/>
                    </a:cubicBezTo>
                    <a:close/>
                    <a:moveTo>
                      <a:pt x="313" y="249"/>
                    </a:moveTo>
                    <a:cubicBezTo>
                      <a:pt x="313" y="249"/>
                      <a:pt x="313" y="249"/>
                      <a:pt x="313" y="249"/>
                    </a:cubicBezTo>
                    <a:cubicBezTo>
                      <a:pt x="313" y="249"/>
                      <a:pt x="313" y="249"/>
                      <a:pt x="313" y="249"/>
                    </a:cubicBezTo>
                    <a:cubicBezTo>
                      <a:pt x="313" y="249"/>
                      <a:pt x="313" y="249"/>
                      <a:pt x="313" y="249"/>
                    </a:cubicBezTo>
                    <a:close/>
                    <a:moveTo>
                      <a:pt x="365" y="309"/>
                    </a:moveTo>
                    <a:cubicBezTo>
                      <a:pt x="365" y="309"/>
                      <a:pt x="365" y="309"/>
                      <a:pt x="365" y="309"/>
                    </a:cubicBezTo>
                    <a:cubicBezTo>
                      <a:pt x="365" y="309"/>
                      <a:pt x="365" y="309"/>
                      <a:pt x="365" y="309"/>
                    </a:cubicBezTo>
                    <a:cubicBezTo>
                      <a:pt x="365" y="309"/>
                      <a:pt x="365" y="309"/>
                      <a:pt x="365" y="309"/>
                    </a:cubicBezTo>
                    <a:close/>
                    <a:moveTo>
                      <a:pt x="365" y="309"/>
                    </a:moveTo>
                    <a:cubicBezTo>
                      <a:pt x="365" y="309"/>
                      <a:pt x="365" y="309"/>
                      <a:pt x="365" y="309"/>
                    </a:cubicBezTo>
                    <a:cubicBezTo>
                      <a:pt x="365" y="309"/>
                      <a:pt x="365" y="309"/>
                      <a:pt x="365" y="309"/>
                    </a:cubicBezTo>
                    <a:cubicBezTo>
                      <a:pt x="365" y="309"/>
                      <a:pt x="365" y="309"/>
                      <a:pt x="365" y="309"/>
                    </a:cubicBezTo>
                    <a:close/>
                    <a:moveTo>
                      <a:pt x="369" y="307"/>
                    </a:moveTo>
                    <a:cubicBezTo>
                      <a:pt x="369" y="307"/>
                      <a:pt x="369" y="307"/>
                      <a:pt x="369" y="307"/>
                    </a:cubicBezTo>
                    <a:cubicBezTo>
                      <a:pt x="369" y="307"/>
                      <a:pt x="369" y="307"/>
                      <a:pt x="369" y="307"/>
                    </a:cubicBezTo>
                    <a:cubicBezTo>
                      <a:pt x="369" y="307"/>
                      <a:pt x="369" y="307"/>
                      <a:pt x="369" y="307"/>
                    </a:cubicBezTo>
                    <a:close/>
                    <a:moveTo>
                      <a:pt x="400" y="283"/>
                    </a:moveTo>
                    <a:cubicBezTo>
                      <a:pt x="400" y="283"/>
                      <a:pt x="400" y="283"/>
                      <a:pt x="400" y="282"/>
                    </a:cubicBezTo>
                    <a:cubicBezTo>
                      <a:pt x="400" y="283"/>
                      <a:pt x="400" y="283"/>
                      <a:pt x="400" y="283"/>
                    </a:cubicBezTo>
                    <a:close/>
                    <a:moveTo>
                      <a:pt x="416" y="272"/>
                    </a:moveTo>
                    <a:cubicBezTo>
                      <a:pt x="415" y="272"/>
                      <a:pt x="415" y="272"/>
                      <a:pt x="414" y="273"/>
                    </a:cubicBezTo>
                    <a:cubicBezTo>
                      <a:pt x="413" y="274"/>
                      <a:pt x="414" y="274"/>
                      <a:pt x="415" y="275"/>
                    </a:cubicBezTo>
                    <a:cubicBezTo>
                      <a:pt x="415" y="275"/>
                      <a:pt x="415" y="276"/>
                      <a:pt x="416" y="276"/>
                    </a:cubicBezTo>
                    <a:cubicBezTo>
                      <a:pt x="416" y="276"/>
                      <a:pt x="416" y="276"/>
                      <a:pt x="416" y="277"/>
                    </a:cubicBezTo>
                    <a:cubicBezTo>
                      <a:pt x="415" y="277"/>
                      <a:pt x="415" y="277"/>
                      <a:pt x="415" y="277"/>
                    </a:cubicBezTo>
                    <a:cubicBezTo>
                      <a:pt x="415" y="275"/>
                      <a:pt x="414" y="276"/>
                      <a:pt x="413" y="276"/>
                    </a:cubicBezTo>
                    <a:cubicBezTo>
                      <a:pt x="412" y="276"/>
                      <a:pt x="412" y="277"/>
                      <a:pt x="412" y="278"/>
                    </a:cubicBezTo>
                    <a:cubicBezTo>
                      <a:pt x="412" y="277"/>
                      <a:pt x="411" y="277"/>
                      <a:pt x="411" y="277"/>
                    </a:cubicBezTo>
                    <a:cubicBezTo>
                      <a:pt x="411" y="276"/>
                      <a:pt x="410" y="276"/>
                      <a:pt x="410" y="276"/>
                    </a:cubicBezTo>
                    <a:cubicBezTo>
                      <a:pt x="411" y="275"/>
                      <a:pt x="412" y="274"/>
                      <a:pt x="412" y="273"/>
                    </a:cubicBezTo>
                    <a:cubicBezTo>
                      <a:pt x="413" y="272"/>
                      <a:pt x="414" y="271"/>
                      <a:pt x="414" y="269"/>
                    </a:cubicBezTo>
                    <a:cubicBezTo>
                      <a:pt x="414" y="269"/>
                      <a:pt x="414" y="269"/>
                      <a:pt x="414" y="269"/>
                    </a:cubicBezTo>
                    <a:cubicBezTo>
                      <a:pt x="415" y="269"/>
                      <a:pt x="415" y="269"/>
                      <a:pt x="416" y="269"/>
                    </a:cubicBezTo>
                    <a:cubicBezTo>
                      <a:pt x="417" y="270"/>
                      <a:pt x="417" y="271"/>
                      <a:pt x="416" y="272"/>
                    </a:cubicBezTo>
                    <a:close/>
                    <a:moveTo>
                      <a:pt x="264" y="256"/>
                    </a:moveTo>
                    <a:cubicBezTo>
                      <a:pt x="264" y="255"/>
                      <a:pt x="264" y="255"/>
                      <a:pt x="265" y="255"/>
                    </a:cubicBezTo>
                    <a:cubicBezTo>
                      <a:pt x="265" y="254"/>
                      <a:pt x="266" y="254"/>
                      <a:pt x="266" y="254"/>
                    </a:cubicBezTo>
                    <a:cubicBezTo>
                      <a:pt x="267" y="254"/>
                      <a:pt x="268" y="253"/>
                      <a:pt x="268" y="252"/>
                    </a:cubicBezTo>
                    <a:cubicBezTo>
                      <a:pt x="268" y="251"/>
                      <a:pt x="271" y="250"/>
                      <a:pt x="272" y="251"/>
                    </a:cubicBezTo>
                    <a:cubicBezTo>
                      <a:pt x="273" y="251"/>
                      <a:pt x="273" y="252"/>
                      <a:pt x="272" y="252"/>
                    </a:cubicBezTo>
                    <a:cubicBezTo>
                      <a:pt x="272" y="252"/>
                      <a:pt x="271" y="253"/>
                      <a:pt x="270" y="254"/>
                    </a:cubicBezTo>
                    <a:cubicBezTo>
                      <a:pt x="269" y="255"/>
                      <a:pt x="268" y="256"/>
                      <a:pt x="266" y="257"/>
                    </a:cubicBezTo>
                    <a:cubicBezTo>
                      <a:pt x="266" y="257"/>
                      <a:pt x="265" y="257"/>
                      <a:pt x="265" y="257"/>
                    </a:cubicBezTo>
                    <a:cubicBezTo>
                      <a:pt x="264" y="257"/>
                      <a:pt x="264" y="256"/>
                      <a:pt x="264" y="256"/>
                    </a:cubicBezTo>
                    <a:close/>
                    <a:moveTo>
                      <a:pt x="301" y="115"/>
                    </a:moveTo>
                    <a:cubicBezTo>
                      <a:pt x="301" y="115"/>
                      <a:pt x="301" y="115"/>
                      <a:pt x="302" y="115"/>
                    </a:cubicBezTo>
                    <a:cubicBezTo>
                      <a:pt x="304" y="115"/>
                      <a:pt x="305" y="114"/>
                      <a:pt x="307" y="114"/>
                    </a:cubicBezTo>
                    <a:cubicBezTo>
                      <a:pt x="308" y="115"/>
                      <a:pt x="308" y="116"/>
                      <a:pt x="308" y="117"/>
                    </a:cubicBezTo>
                    <a:cubicBezTo>
                      <a:pt x="309" y="117"/>
                      <a:pt x="307" y="118"/>
                      <a:pt x="306" y="118"/>
                    </a:cubicBezTo>
                    <a:cubicBezTo>
                      <a:pt x="306" y="118"/>
                      <a:pt x="306" y="117"/>
                      <a:pt x="306" y="117"/>
                    </a:cubicBezTo>
                    <a:cubicBezTo>
                      <a:pt x="304" y="117"/>
                      <a:pt x="303" y="116"/>
                      <a:pt x="302" y="116"/>
                    </a:cubicBezTo>
                    <a:cubicBezTo>
                      <a:pt x="301" y="116"/>
                      <a:pt x="301" y="116"/>
                      <a:pt x="301" y="115"/>
                    </a:cubicBezTo>
                    <a:close/>
                    <a:moveTo>
                      <a:pt x="309" y="274"/>
                    </a:moveTo>
                    <a:cubicBezTo>
                      <a:pt x="310" y="274"/>
                      <a:pt x="311" y="273"/>
                      <a:pt x="311" y="273"/>
                    </a:cubicBezTo>
                    <a:cubicBezTo>
                      <a:pt x="312" y="273"/>
                      <a:pt x="312" y="274"/>
                      <a:pt x="312" y="274"/>
                    </a:cubicBezTo>
                    <a:cubicBezTo>
                      <a:pt x="312" y="275"/>
                      <a:pt x="312" y="275"/>
                      <a:pt x="312" y="276"/>
                    </a:cubicBezTo>
                    <a:cubicBezTo>
                      <a:pt x="312" y="276"/>
                      <a:pt x="312" y="276"/>
                      <a:pt x="312" y="276"/>
                    </a:cubicBezTo>
                    <a:cubicBezTo>
                      <a:pt x="312" y="276"/>
                      <a:pt x="312" y="277"/>
                      <a:pt x="313" y="277"/>
                    </a:cubicBezTo>
                    <a:cubicBezTo>
                      <a:pt x="313" y="278"/>
                      <a:pt x="313" y="278"/>
                      <a:pt x="313" y="279"/>
                    </a:cubicBezTo>
                    <a:cubicBezTo>
                      <a:pt x="312" y="279"/>
                      <a:pt x="311" y="279"/>
                      <a:pt x="310" y="279"/>
                    </a:cubicBezTo>
                    <a:cubicBezTo>
                      <a:pt x="310" y="279"/>
                      <a:pt x="310" y="279"/>
                      <a:pt x="310" y="279"/>
                    </a:cubicBezTo>
                    <a:cubicBezTo>
                      <a:pt x="309" y="278"/>
                      <a:pt x="309" y="277"/>
                      <a:pt x="309" y="277"/>
                    </a:cubicBezTo>
                    <a:cubicBezTo>
                      <a:pt x="309" y="276"/>
                      <a:pt x="309" y="275"/>
                      <a:pt x="309" y="275"/>
                    </a:cubicBezTo>
                    <a:cubicBezTo>
                      <a:pt x="309" y="274"/>
                      <a:pt x="309" y="274"/>
                      <a:pt x="309" y="274"/>
                    </a:cubicBezTo>
                    <a:close/>
                    <a:moveTo>
                      <a:pt x="253" y="208"/>
                    </a:moveTo>
                    <a:cubicBezTo>
                      <a:pt x="253" y="207"/>
                      <a:pt x="253" y="206"/>
                      <a:pt x="254" y="206"/>
                    </a:cubicBezTo>
                    <a:cubicBezTo>
                      <a:pt x="254" y="205"/>
                      <a:pt x="255" y="205"/>
                      <a:pt x="255" y="204"/>
                    </a:cubicBezTo>
                    <a:cubicBezTo>
                      <a:pt x="255" y="204"/>
                      <a:pt x="256" y="204"/>
                      <a:pt x="256" y="204"/>
                    </a:cubicBezTo>
                    <a:cubicBezTo>
                      <a:pt x="257" y="206"/>
                      <a:pt x="255" y="207"/>
                      <a:pt x="255" y="209"/>
                    </a:cubicBezTo>
                    <a:cubicBezTo>
                      <a:pt x="255" y="209"/>
                      <a:pt x="254" y="209"/>
                      <a:pt x="254" y="209"/>
                    </a:cubicBezTo>
                    <a:cubicBezTo>
                      <a:pt x="253" y="209"/>
                      <a:pt x="253" y="208"/>
                      <a:pt x="253" y="208"/>
                    </a:cubicBezTo>
                    <a:close/>
                    <a:moveTo>
                      <a:pt x="337" y="238"/>
                    </a:moveTo>
                    <a:cubicBezTo>
                      <a:pt x="337" y="238"/>
                      <a:pt x="337" y="239"/>
                      <a:pt x="336" y="239"/>
                    </a:cubicBezTo>
                    <a:cubicBezTo>
                      <a:pt x="336" y="239"/>
                      <a:pt x="335" y="240"/>
                      <a:pt x="335" y="239"/>
                    </a:cubicBezTo>
                    <a:cubicBezTo>
                      <a:pt x="334" y="239"/>
                      <a:pt x="334" y="239"/>
                      <a:pt x="334" y="238"/>
                    </a:cubicBezTo>
                    <a:cubicBezTo>
                      <a:pt x="333" y="238"/>
                      <a:pt x="333" y="238"/>
                      <a:pt x="333" y="237"/>
                    </a:cubicBezTo>
                    <a:cubicBezTo>
                      <a:pt x="333" y="236"/>
                      <a:pt x="334" y="236"/>
                      <a:pt x="335" y="236"/>
                    </a:cubicBezTo>
                    <a:cubicBezTo>
                      <a:pt x="336" y="236"/>
                      <a:pt x="336" y="237"/>
                      <a:pt x="337" y="238"/>
                    </a:cubicBezTo>
                    <a:close/>
                    <a:moveTo>
                      <a:pt x="372" y="227"/>
                    </a:moveTo>
                    <a:cubicBezTo>
                      <a:pt x="372" y="227"/>
                      <a:pt x="372" y="227"/>
                      <a:pt x="371" y="227"/>
                    </a:cubicBezTo>
                    <a:cubicBezTo>
                      <a:pt x="373" y="225"/>
                      <a:pt x="374" y="225"/>
                      <a:pt x="375" y="227"/>
                    </a:cubicBezTo>
                    <a:cubicBezTo>
                      <a:pt x="375" y="228"/>
                      <a:pt x="376" y="228"/>
                      <a:pt x="376" y="228"/>
                    </a:cubicBezTo>
                    <a:cubicBezTo>
                      <a:pt x="377" y="228"/>
                      <a:pt x="376" y="229"/>
                      <a:pt x="376" y="229"/>
                    </a:cubicBezTo>
                    <a:cubicBezTo>
                      <a:pt x="376" y="229"/>
                      <a:pt x="375" y="230"/>
                      <a:pt x="375" y="230"/>
                    </a:cubicBezTo>
                    <a:cubicBezTo>
                      <a:pt x="374" y="230"/>
                      <a:pt x="374" y="230"/>
                      <a:pt x="374" y="229"/>
                    </a:cubicBezTo>
                    <a:cubicBezTo>
                      <a:pt x="374" y="228"/>
                      <a:pt x="373" y="228"/>
                      <a:pt x="372" y="227"/>
                    </a:cubicBezTo>
                    <a:close/>
                    <a:moveTo>
                      <a:pt x="306" y="311"/>
                    </a:moveTo>
                    <a:cubicBezTo>
                      <a:pt x="306" y="312"/>
                      <a:pt x="306" y="312"/>
                      <a:pt x="305" y="312"/>
                    </a:cubicBezTo>
                    <a:cubicBezTo>
                      <a:pt x="304" y="311"/>
                      <a:pt x="303" y="311"/>
                      <a:pt x="303" y="310"/>
                    </a:cubicBezTo>
                    <a:cubicBezTo>
                      <a:pt x="303" y="310"/>
                      <a:pt x="303" y="309"/>
                      <a:pt x="303" y="309"/>
                    </a:cubicBezTo>
                    <a:cubicBezTo>
                      <a:pt x="303" y="308"/>
                      <a:pt x="304" y="308"/>
                      <a:pt x="305" y="308"/>
                    </a:cubicBezTo>
                    <a:cubicBezTo>
                      <a:pt x="306" y="309"/>
                      <a:pt x="306" y="310"/>
                      <a:pt x="306" y="311"/>
                    </a:cubicBezTo>
                    <a:close/>
                    <a:moveTo>
                      <a:pt x="447" y="189"/>
                    </a:moveTo>
                    <a:cubicBezTo>
                      <a:pt x="447" y="189"/>
                      <a:pt x="447" y="190"/>
                      <a:pt x="446" y="190"/>
                    </a:cubicBezTo>
                    <a:cubicBezTo>
                      <a:pt x="445" y="190"/>
                      <a:pt x="444" y="189"/>
                      <a:pt x="444" y="188"/>
                    </a:cubicBezTo>
                    <a:cubicBezTo>
                      <a:pt x="444" y="187"/>
                      <a:pt x="445" y="187"/>
                      <a:pt x="446" y="187"/>
                    </a:cubicBezTo>
                    <a:cubicBezTo>
                      <a:pt x="446" y="188"/>
                      <a:pt x="447" y="188"/>
                      <a:pt x="447" y="189"/>
                    </a:cubicBezTo>
                    <a:cubicBezTo>
                      <a:pt x="448" y="189"/>
                      <a:pt x="448" y="189"/>
                      <a:pt x="447" y="189"/>
                    </a:cubicBezTo>
                    <a:close/>
                    <a:moveTo>
                      <a:pt x="293" y="309"/>
                    </a:moveTo>
                    <a:cubicBezTo>
                      <a:pt x="293" y="311"/>
                      <a:pt x="292" y="311"/>
                      <a:pt x="291" y="312"/>
                    </a:cubicBezTo>
                    <a:cubicBezTo>
                      <a:pt x="291" y="312"/>
                      <a:pt x="291" y="313"/>
                      <a:pt x="290" y="312"/>
                    </a:cubicBezTo>
                    <a:cubicBezTo>
                      <a:pt x="289" y="312"/>
                      <a:pt x="289" y="311"/>
                      <a:pt x="290" y="311"/>
                    </a:cubicBezTo>
                    <a:cubicBezTo>
                      <a:pt x="291" y="310"/>
                      <a:pt x="291" y="310"/>
                      <a:pt x="292" y="309"/>
                    </a:cubicBezTo>
                    <a:cubicBezTo>
                      <a:pt x="292" y="309"/>
                      <a:pt x="292" y="308"/>
                      <a:pt x="292" y="308"/>
                    </a:cubicBezTo>
                    <a:cubicBezTo>
                      <a:pt x="293" y="309"/>
                      <a:pt x="293" y="309"/>
                      <a:pt x="293" y="309"/>
                    </a:cubicBezTo>
                    <a:close/>
                    <a:moveTo>
                      <a:pt x="135" y="275"/>
                    </a:moveTo>
                    <a:cubicBezTo>
                      <a:pt x="135" y="277"/>
                      <a:pt x="135" y="278"/>
                      <a:pt x="134" y="279"/>
                    </a:cubicBezTo>
                    <a:cubicBezTo>
                      <a:pt x="134" y="279"/>
                      <a:pt x="133" y="279"/>
                      <a:pt x="133" y="279"/>
                    </a:cubicBezTo>
                    <a:cubicBezTo>
                      <a:pt x="132" y="279"/>
                      <a:pt x="133" y="278"/>
                      <a:pt x="133" y="278"/>
                    </a:cubicBezTo>
                    <a:cubicBezTo>
                      <a:pt x="134" y="277"/>
                      <a:pt x="134" y="276"/>
                      <a:pt x="134" y="275"/>
                    </a:cubicBezTo>
                    <a:cubicBezTo>
                      <a:pt x="134" y="275"/>
                      <a:pt x="134" y="274"/>
                      <a:pt x="135" y="274"/>
                    </a:cubicBezTo>
                    <a:cubicBezTo>
                      <a:pt x="136" y="274"/>
                      <a:pt x="135" y="275"/>
                      <a:pt x="135" y="275"/>
                    </a:cubicBezTo>
                    <a:close/>
                    <a:moveTo>
                      <a:pt x="246" y="241"/>
                    </a:moveTo>
                    <a:cubicBezTo>
                      <a:pt x="246" y="241"/>
                      <a:pt x="246" y="241"/>
                      <a:pt x="246" y="240"/>
                    </a:cubicBezTo>
                    <a:cubicBezTo>
                      <a:pt x="246" y="240"/>
                      <a:pt x="247" y="239"/>
                      <a:pt x="247" y="239"/>
                    </a:cubicBezTo>
                    <a:cubicBezTo>
                      <a:pt x="248" y="239"/>
                      <a:pt x="248" y="239"/>
                      <a:pt x="248" y="239"/>
                    </a:cubicBezTo>
                    <a:cubicBezTo>
                      <a:pt x="248" y="240"/>
                      <a:pt x="247" y="241"/>
                      <a:pt x="246" y="241"/>
                    </a:cubicBezTo>
                    <a:close/>
                    <a:moveTo>
                      <a:pt x="243" y="240"/>
                    </a:moveTo>
                    <a:cubicBezTo>
                      <a:pt x="242" y="240"/>
                      <a:pt x="242" y="239"/>
                      <a:pt x="241" y="239"/>
                    </a:cubicBezTo>
                    <a:cubicBezTo>
                      <a:pt x="241" y="238"/>
                      <a:pt x="241" y="238"/>
                      <a:pt x="240" y="239"/>
                    </a:cubicBezTo>
                    <a:cubicBezTo>
                      <a:pt x="240" y="239"/>
                      <a:pt x="240" y="239"/>
                      <a:pt x="240" y="238"/>
                    </a:cubicBezTo>
                    <a:cubicBezTo>
                      <a:pt x="239" y="236"/>
                      <a:pt x="237" y="235"/>
                      <a:pt x="238" y="232"/>
                    </a:cubicBezTo>
                    <a:cubicBezTo>
                      <a:pt x="238" y="232"/>
                      <a:pt x="237" y="231"/>
                      <a:pt x="237" y="230"/>
                    </a:cubicBezTo>
                    <a:cubicBezTo>
                      <a:pt x="236" y="230"/>
                      <a:pt x="236" y="229"/>
                      <a:pt x="237" y="228"/>
                    </a:cubicBezTo>
                    <a:cubicBezTo>
                      <a:pt x="237" y="228"/>
                      <a:pt x="237" y="228"/>
                      <a:pt x="237" y="228"/>
                    </a:cubicBezTo>
                    <a:cubicBezTo>
                      <a:pt x="236" y="228"/>
                      <a:pt x="236" y="227"/>
                      <a:pt x="236" y="227"/>
                    </a:cubicBezTo>
                    <a:cubicBezTo>
                      <a:pt x="236" y="227"/>
                      <a:pt x="236" y="226"/>
                      <a:pt x="236" y="226"/>
                    </a:cubicBezTo>
                    <a:cubicBezTo>
                      <a:pt x="236" y="225"/>
                      <a:pt x="235" y="223"/>
                      <a:pt x="235" y="222"/>
                    </a:cubicBezTo>
                    <a:cubicBezTo>
                      <a:pt x="234" y="222"/>
                      <a:pt x="234" y="222"/>
                      <a:pt x="234" y="221"/>
                    </a:cubicBezTo>
                    <a:cubicBezTo>
                      <a:pt x="235" y="221"/>
                      <a:pt x="235" y="220"/>
                      <a:pt x="236" y="221"/>
                    </a:cubicBezTo>
                    <a:cubicBezTo>
                      <a:pt x="238" y="221"/>
                      <a:pt x="239" y="222"/>
                      <a:pt x="239" y="224"/>
                    </a:cubicBezTo>
                    <a:cubicBezTo>
                      <a:pt x="240" y="225"/>
                      <a:pt x="241" y="225"/>
                      <a:pt x="241" y="226"/>
                    </a:cubicBezTo>
                    <a:cubicBezTo>
                      <a:pt x="241" y="228"/>
                      <a:pt x="242" y="229"/>
                      <a:pt x="241" y="230"/>
                    </a:cubicBezTo>
                    <a:cubicBezTo>
                      <a:pt x="241" y="231"/>
                      <a:pt x="241" y="231"/>
                      <a:pt x="242" y="231"/>
                    </a:cubicBezTo>
                    <a:cubicBezTo>
                      <a:pt x="242" y="232"/>
                      <a:pt x="242" y="231"/>
                      <a:pt x="243" y="231"/>
                    </a:cubicBezTo>
                    <a:cubicBezTo>
                      <a:pt x="244" y="231"/>
                      <a:pt x="244" y="232"/>
                      <a:pt x="244" y="233"/>
                    </a:cubicBezTo>
                    <a:cubicBezTo>
                      <a:pt x="245" y="234"/>
                      <a:pt x="246" y="236"/>
                      <a:pt x="246" y="238"/>
                    </a:cubicBezTo>
                    <a:cubicBezTo>
                      <a:pt x="246" y="239"/>
                      <a:pt x="244" y="240"/>
                      <a:pt x="243" y="240"/>
                    </a:cubicBezTo>
                    <a:close/>
                    <a:moveTo>
                      <a:pt x="312" y="207"/>
                    </a:moveTo>
                    <a:cubicBezTo>
                      <a:pt x="311" y="206"/>
                      <a:pt x="311" y="206"/>
                      <a:pt x="310" y="205"/>
                    </a:cubicBezTo>
                    <a:cubicBezTo>
                      <a:pt x="310" y="205"/>
                      <a:pt x="310" y="204"/>
                      <a:pt x="311" y="204"/>
                    </a:cubicBezTo>
                    <a:cubicBezTo>
                      <a:pt x="311" y="204"/>
                      <a:pt x="311" y="204"/>
                      <a:pt x="311" y="204"/>
                    </a:cubicBezTo>
                    <a:cubicBezTo>
                      <a:pt x="312" y="205"/>
                      <a:pt x="312" y="206"/>
                      <a:pt x="313" y="206"/>
                    </a:cubicBezTo>
                    <a:cubicBezTo>
                      <a:pt x="313" y="207"/>
                      <a:pt x="313" y="207"/>
                      <a:pt x="312" y="207"/>
                    </a:cubicBezTo>
                    <a:cubicBezTo>
                      <a:pt x="312" y="208"/>
                      <a:pt x="312" y="207"/>
                      <a:pt x="312" y="207"/>
                    </a:cubicBezTo>
                    <a:close/>
                    <a:moveTo>
                      <a:pt x="329" y="77"/>
                    </a:moveTo>
                    <a:cubicBezTo>
                      <a:pt x="329" y="76"/>
                      <a:pt x="329" y="76"/>
                      <a:pt x="329" y="75"/>
                    </a:cubicBezTo>
                    <a:cubicBezTo>
                      <a:pt x="329" y="75"/>
                      <a:pt x="330" y="75"/>
                      <a:pt x="330" y="75"/>
                    </a:cubicBezTo>
                    <a:cubicBezTo>
                      <a:pt x="331" y="76"/>
                      <a:pt x="331" y="76"/>
                      <a:pt x="331" y="76"/>
                    </a:cubicBezTo>
                    <a:cubicBezTo>
                      <a:pt x="331" y="77"/>
                      <a:pt x="331" y="78"/>
                      <a:pt x="330" y="78"/>
                    </a:cubicBezTo>
                    <a:cubicBezTo>
                      <a:pt x="329" y="78"/>
                      <a:pt x="329" y="77"/>
                      <a:pt x="329" y="77"/>
                    </a:cubicBezTo>
                    <a:close/>
                    <a:moveTo>
                      <a:pt x="278" y="253"/>
                    </a:moveTo>
                    <a:cubicBezTo>
                      <a:pt x="277" y="253"/>
                      <a:pt x="276" y="253"/>
                      <a:pt x="276" y="252"/>
                    </a:cubicBezTo>
                    <a:cubicBezTo>
                      <a:pt x="275" y="252"/>
                      <a:pt x="275" y="252"/>
                      <a:pt x="275" y="252"/>
                    </a:cubicBezTo>
                    <a:cubicBezTo>
                      <a:pt x="275" y="251"/>
                      <a:pt x="275" y="251"/>
                      <a:pt x="276" y="251"/>
                    </a:cubicBezTo>
                    <a:cubicBezTo>
                      <a:pt x="276" y="252"/>
                      <a:pt x="277" y="250"/>
                      <a:pt x="277" y="251"/>
                    </a:cubicBezTo>
                    <a:cubicBezTo>
                      <a:pt x="278" y="252"/>
                      <a:pt x="278" y="252"/>
                      <a:pt x="278" y="252"/>
                    </a:cubicBezTo>
                    <a:cubicBezTo>
                      <a:pt x="279" y="252"/>
                      <a:pt x="279" y="253"/>
                      <a:pt x="278" y="253"/>
                    </a:cubicBezTo>
                    <a:cubicBezTo>
                      <a:pt x="278" y="253"/>
                      <a:pt x="278" y="254"/>
                      <a:pt x="277" y="253"/>
                    </a:cubicBezTo>
                    <a:cubicBezTo>
                      <a:pt x="277" y="253"/>
                      <a:pt x="278" y="253"/>
                      <a:pt x="278" y="253"/>
                    </a:cubicBezTo>
                    <a:close/>
                    <a:moveTo>
                      <a:pt x="424" y="218"/>
                    </a:moveTo>
                    <a:cubicBezTo>
                      <a:pt x="424" y="219"/>
                      <a:pt x="424" y="220"/>
                      <a:pt x="423" y="220"/>
                    </a:cubicBezTo>
                    <a:cubicBezTo>
                      <a:pt x="422" y="220"/>
                      <a:pt x="422" y="219"/>
                      <a:pt x="422" y="218"/>
                    </a:cubicBezTo>
                    <a:cubicBezTo>
                      <a:pt x="422" y="218"/>
                      <a:pt x="423" y="217"/>
                      <a:pt x="423" y="217"/>
                    </a:cubicBezTo>
                    <a:cubicBezTo>
                      <a:pt x="424" y="217"/>
                      <a:pt x="424" y="218"/>
                      <a:pt x="424" y="218"/>
                    </a:cubicBezTo>
                    <a:close/>
                    <a:moveTo>
                      <a:pt x="307" y="238"/>
                    </a:moveTo>
                    <a:cubicBezTo>
                      <a:pt x="307" y="238"/>
                      <a:pt x="307" y="239"/>
                      <a:pt x="306" y="239"/>
                    </a:cubicBezTo>
                    <a:cubicBezTo>
                      <a:pt x="305" y="239"/>
                      <a:pt x="305" y="238"/>
                      <a:pt x="304" y="237"/>
                    </a:cubicBezTo>
                    <a:cubicBezTo>
                      <a:pt x="304" y="236"/>
                      <a:pt x="305" y="237"/>
                      <a:pt x="305" y="237"/>
                    </a:cubicBezTo>
                    <a:cubicBezTo>
                      <a:pt x="306" y="237"/>
                      <a:pt x="307" y="237"/>
                      <a:pt x="307" y="238"/>
                    </a:cubicBezTo>
                    <a:close/>
                    <a:moveTo>
                      <a:pt x="419" y="11"/>
                    </a:moveTo>
                    <a:cubicBezTo>
                      <a:pt x="419" y="11"/>
                      <a:pt x="419" y="10"/>
                      <a:pt x="420" y="10"/>
                    </a:cubicBezTo>
                    <a:cubicBezTo>
                      <a:pt x="420" y="10"/>
                      <a:pt x="420" y="10"/>
                      <a:pt x="420" y="10"/>
                    </a:cubicBezTo>
                    <a:cubicBezTo>
                      <a:pt x="421" y="10"/>
                      <a:pt x="421" y="11"/>
                      <a:pt x="421" y="11"/>
                    </a:cubicBezTo>
                    <a:cubicBezTo>
                      <a:pt x="421" y="12"/>
                      <a:pt x="420" y="13"/>
                      <a:pt x="420" y="13"/>
                    </a:cubicBezTo>
                    <a:cubicBezTo>
                      <a:pt x="419" y="12"/>
                      <a:pt x="420" y="12"/>
                      <a:pt x="419" y="11"/>
                    </a:cubicBezTo>
                    <a:close/>
                    <a:moveTo>
                      <a:pt x="500" y="77"/>
                    </a:moveTo>
                    <a:cubicBezTo>
                      <a:pt x="498" y="78"/>
                      <a:pt x="497" y="78"/>
                      <a:pt x="496" y="77"/>
                    </a:cubicBezTo>
                    <a:cubicBezTo>
                      <a:pt x="497" y="77"/>
                      <a:pt x="498" y="77"/>
                      <a:pt x="500" y="77"/>
                    </a:cubicBezTo>
                    <a:close/>
                    <a:moveTo>
                      <a:pt x="365" y="182"/>
                    </a:moveTo>
                    <a:cubicBezTo>
                      <a:pt x="366" y="181"/>
                      <a:pt x="367" y="180"/>
                      <a:pt x="366" y="179"/>
                    </a:cubicBezTo>
                    <a:cubicBezTo>
                      <a:pt x="366" y="179"/>
                      <a:pt x="366" y="179"/>
                      <a:pt x="367" y="179"/>
                    </a:cubicBezTo>
                    <a:cubicBezTo>
                      <a:pt x="368" y="179"/>
                      <a:pt x="368" y="177"/>
                      <a:pt x="369" y="177"/>
                    </a:cubicBezTo>
                    <a:cubicBezTo>
                      <a:pt x="370" y="177"/>
                      <a:pt x="372" y="177"/>
                      <a:pt x="373" y="177"/>
                    </a:cubicBezTo>
                    <a:cubicBezTo>
                      <a:pt x="374" y="178"/>
                      <a:pt x="374" y="179"/>
                      <a:pt x="373" y="180"/>
                    </a:cubicBezTo>
                    <a:cubicBezTo>
                      <a:pt x="372" y="181"/>
                      <a:pt x="370" y="181"/>
                      <a:pt x="369" y="182"/>
                    </a:cubicBezTo>
                    <a:cubicBezTo>
                      <a:pt x="368" y="182"/>
                      <a:pt x="367" y="182"/>
                      <a:pt x="366" y="183"/>
                    </a:cubicBezTo>
                    <a:cubicBezTo>
                      <a:pt x="366" y="183"/>
                      <a:pt x="365" y="183"/>
                      <a:pt x="365" y="182"/>
                    </a:cubicBezTo>
                    <a:close/>
                    <a:moveTo>
                      <a:pt x="252" y="276"/>
                    </a:moveTo>
                    <a:cubicBezTo>
                      <a:pt x="252" y="276"/>
                      <a:pt x="251" y="277"/>
                      <a:pt x="251" y="277"/>
                    </a:cubicBezTo>
                    <a:cubicBezTo>
                      <a:pt x="250" y="277"/>
                      <a:pt x="250" y="277"/>
                      <a:pt x="250" y="277"/>
                    </a:cubicBezTo>
                    <a:cubicBezTo>
                      <a:pt x="250" y="276"/>
                      <a:pt x="249" y="276"/>
                      <a:pt x="249" y="276"/>
                    </a:cubicBezTo>
                    <a:cubicBezTo>
                      <a:pt x="250" y="276"/>
                      <a:pt x="250" y="276"/>
                      <a:pt x="250" y="276"/>
                    </a:cubicBezTo>
                    <a:cubicBezTo>
                      <a:pt x="251" y="276"/>
                      <a:pt x="251" y="276"/>
                      <a:pt x="252" y="275"/>
                    </a:cubicBezTo>
                    <a:cubicBezTo>
                      <a:pt x="252" y="275"/>
                      <a:pt x="253" y="275"/>
                      <a:pt x="253" y="276"/>
                    </a:cubicBezTo>
                    <a:cubicBezTo>
                      <a:pt x="253" y="276"/>
                      <a:pt x="253" y="276"/>
                      <a:pt x="252" y="276"/>
                    </a:cubicBezTo>
                    <a:close/>
                    <a:moveTo>
                      <a:pt x="263" y="207"/>
                    </a:moveTo>
                    <a:cubicBezTo>
                      <a:pt x="263" y="206"/>
                      <a:pt x="262" y="205"/>
                      <a:pt x="263" y="205"/>
                    </a:cubicBezTo>
                    <a:cubicBezTo>
                      <a:pt x="264" y="205"/>
                      <a:pt x="264" y="206"/>
                      <a:pt x="264" y="207"/>
                    </a:cubicBezTo>
                    <a:cubicBezTo>
                      <a:pt x="264" y="207"/>
                      <a:pt x="264" y="208"/>
                      <a:pt x="264" y="208"/>
                    </a:cubicBezTo>
                    <a:cubicBezTo>
                      <a:pt x="263" y="208"/>
                      <a:pt x="262" y="208"/>
                      <a:pt x="263" y="207"/>
                    </a:cubicBezTo>
                    <a:close/>
                    <a:moveTo>
                      <a:pt x="446" y="0"/>
                    </a:moveTo>
                    <a:cubicBezTo>
                      <a:pt x="446" y="0"/>
                      <a:pt x="446" y="0"/>
                      <a:pt x="446" y="0"/>
                    </a:cubicBezTo>
                    <a:cubicBezTo>
                      <a:pt x="447" y="0"/>
                      <a:pt x="448" y="0"/>
                      <a:pt x="449" y="1"/>
                    </a:cubicBezTo>
                    <a:cubicBezTo>
                      <a:pt x="449" y="1"/>
                      <a:pt x="449" y="1"/>
                      <a:pt x="449" y="1"/>
                    </a:cubicBezTo>
                    <a:cubicBezTo>
                      <a:pt x="448" y="2"/>
                      <a:pt x="448" y="2"/>
                      <a:pt x="448" y="2"/>
                    </a:cubicBezTo>
                    <a:cubicBezTo>
                      <a:pt x="447" y="1"/>
                      <a:pt x="447" y="1"/>
                      <a:pt x="446" y="1"/>
                    </a:cubicBezTo>
                    <a:cubicBezTo>
                      <a:pt x="446" y="1"/>
                      <a:pt x="446" y="1"/>
                      <a:pt x="446" y="0"/>
                    </a:cubicBezTo>
                    <a:close/>
                    <a:moveTo>
                      <a:pt x="508" y="71"/>
                    </a:moveTo>
                    <a:cubicBezTo>
                      <a:pt x="508" y="71"/>
                      <a:pt x="509" y="71"/>
                      <a:pt x="509" y="71"/>
                    </a:cubicBezTo>
                    <a:cubicBezTo>
                      <a:pt x="509" y="72"/>
                      <a:pt x="508" y="72"/>
                      <a:pt x="508" y="72"/>
                    </a:cubicBezTo>
                    <a:cubicBezTo>
                      <a:pt x="507" y="72"/>
                      <a:pt x="507" y="72"/>
                      <a:pt x="507" y="72"/>
                    </a:cubicBezTo>
                    <a:cubicBezTo>
                      <a:pt x="507" y="71"/>
                      <a:pt x="507" y="71"/>
                      <a:pt x="508" y="71"/>
                    </a:cubicBezTo>
                    <a:close/>
                    <a:moveTo>
                      <a:pt x="292" y="245"/>
                    </a:moveTo>
                    <a:cubicBezTo>
                      <a:pt x="292" y="244"/>
                      <a:pt x="291" y="242"/>
                      <a:pt x="293" y="243"/>
                    </a:cubicBezTo>
                    <a:cubicBezTo>
                      <a:pt x="294" y="243"/>
                      <a:pt x="294" y="243"/>
                      <a:pt x="294" y="243"/>
                    </a:cubicBezTo>
                    <a:cubicBezTo>
                      <a:pt x="294" y="244"/>
                      <a:pt x="293" y="245"/>
                      <a:pt x="292" y="245"/>
                    </a:cubicBezTo>
                    <a:close/>
                    <a:moveTo>
                      <a:pt x="309" y="269"/>
                    </a:moveTo>
                    <a:cubicBezTo>
                      <a:pt x="309" y="270"/>
                      <a:pt x="309" y="271"/>
                      <a:pt x="308" y="271"/>
                    </a:cubicBezTo>
                    <a:cubicBezTo>
                      <a:pt x="307" y="271"/>
                      <a:pt x="307" y="270"/>
                      <a:pt x="307" y="269"/>
                    </a:cubicBezTo>
                    <a:cubicBezTo>
                      <a:pt x="308" y="269"/>
                      <a:pt x="308" y="269"/>
                      <a:pt x="309" y="269"/>
                    </a:cubicBezTo>
                    <a:cubicBezTo>
                      <a:pt x="309" y="269"/>
                      <a:pt x="309" y="269"/>
                      <a:pt x="309" y="269"/>
                    </a:cubicBezTo>
                    <a:close/>
                    <a:moveTo>
                      <a:pt x="272" y="283"/>
                    </a:moveTo>
                    <a:cubicBezTo>
                      <a:pt x="271" y="284"/>
                      <a:pt x="270" y="284"/>
                      <a:pt x="269" y="284"/>
                    </a:cubicBezTo>
                    <a:cubicBezTo>
                      <a:pt x="269" y="285"/>
                      <a:pt x="268" y="285"/>
                      <a:pt x="268" y="284"/>
                    </a:cubicBezTo>
                    <a:cubicBezTo>
                      <a:pt x="268" y="284"/>
                      <a:pt x="268" y="284"/>
                      <a:pt x="269" y="284"/>
                    </a:cubicBezTo>
                    <a:cubicBezTo>
                      <a:pt x="270" y="284"/>
                      <a:pt x="271" y="283"/>
                      <a:pt x="272" y="283"/>
                    </a:cubicBezTo>
                    <a:close/>
                    <a:moveTo>
                      <a:pt x="381" y="259"/>
                    </a:moveTo>
                    <a:cubicBezTo>
                      <a:pt x="381" y="259"/>
                      <a:pt x="381" y="258"/>
                      <a:pt x="381" y="258"/>
                    </a:cubicBezTo>
                    <a:cubicBezTo>
                      <a:pt x="381" y="258"/>
                      <a:pt x="382" y="259"/>
                      <a:pt x="382" y="259"/>
                    </a:cubicBezTo>
                    <a:cubicBezTo>
                      <a:pt x="382" y="259"/>
                      <a:pt x="382" y="260"/>
                      <a:pt x="382" y="261"/>
                    </a:cubicBezTo>
                    <a:cubicBezTo>
                      <a:pt x="382" y="260"/>
                      <a:pt x="380" y="260"/>
                      <a:pt x="381" y="259"/>
                    </a:cubicBezTo>
                    <a:close/>
                    <a:moveTo>
                      <a:pt x="272" y="283"/>
                    </a:moveTo>
                    <a:cubicBezTo>
                      <a:pt x="272" y="283"/>
                      <a:pt x="272" y="283"/>
                      <a:pt x="272" y="283"/>
                    </a:cubicBezTo>
                    <a:cubicBezTo>
                      <a:pt x="272" y="283"/>
                      <a:pt x="272" y="282"/>
                      <a:pt x="273" y="282"/>
                    </a:cubicBezTo>
                    <a:cubicBezTo>
                      <a:pt x="273" y="282"/>
                      <a:pt x="273" y="282"/>
                      <a:pt x="273" y="283"/>
                    </a:cubicBezTo>
                    <a:cubicBezTo>
                      <a:pt x="274" y="283"/>
                      <a:pt x="274" y="283"/>
                      <a:pt x="273" y="284"/>
                    </a:cubicBezTo>
                    <a:cubicBezTo>
                      <a:pt x="273" y="284"/>
                      <a:pt x="273" y="284"/>
                      <a:pt x="272" y="283"/>
                    </a:cubicBezTo>
                    <a:close/>
                    <a:moveTo>
                      <a:pt x="182" y="240"/>
                    </a:moveTo>
                    <a:cubicBezTo>
                      <a:pt x="182" y="240"/>
                      <a:pt x="182" y="240"/>
                      <a:pt x="182" y="240"/>
                    </a:cubicBezTo>
                    <a:cubicBezTo>
                      <a:pt x="182" y="239"/>
                      <a:pt x="182" y="239"/>
                      <a:pt x="183" y="239"/>
                    </a:cubicBezTo>
                    <a:cubicBezTo>
                      <a:pt x="183" y="239"/>
                      <a:pt x="184" y="239"/>
                      <a:pt x="184" y="240"/>
                    </a:cubicBezTo>
                    <a:cubicBezTo>
                      <a:pt x="183" y="240"/>
                      <a:pt x="183" y="240"/>
                      <a:pt x="182" y="240"/>
                    </a:cubicBezTo>
                    <a:close/>
                    <a:moveTo>
                      <a:pt x="297" y="279"/>
                    </a:moveTo>
                    <a:cubicBezTo>
                      <a:pt x="297" y="278"/>
                      <a:pt x="297" y="277"/>
                      <a:pt x="298" y="277"/>
                    </a:cubicBezTo>
                    <a:cubicBezTo>
                      <a:pt x="299" y="278"/>
                      <a:pt x="298" y="279"/>
                      <a:pt x="297" y="279"/>
                    </a:cubicBezTo>
                    <a:close/>
                    <a:moveTo>
                      <a:pt x="126" y="275"/>
                    </a:moveTo>
                    <a:cubicBezTo>
                      <a:pt x="125" y="276"/>
                      <a:pt x="125" y="276"/>
                      <a:pt x="125" y="275"/>
                    </a:cubicBezTo>
                    <a:cubicBezTo>
                      <a:pt x="124" y="275"/>
                      <a:pt x="124" y="275"/>
                      <a:pt x="123" y="275"/>
                    </a:cubicBezTo>
                    <a:cubicBezTo>
                      <a:pt x="124" y="274"/>
                      <a:pt x="125" y="274"/>
                      <a:pt x="125" y="275"/>
                    </a:cubicBezTo>
                    <a:cubicBezTo>
                      <a:pt x="126" y="275"/>
                      <a:pt x="126" y="275"/>
                      <a:pt x="126" y="275"/>
                    </a:cubicBezTo>
                    <a:close/>
                    <a:moveTo>
                      <a:pt x="237" y="175"/>
                    </a:moveTo>
                    <a:cubicBezTo>
                      <a:pt x="237" y="176"/>
                      <a:pt x="238" y="176"/>
                      <a:pt x="237" y="177"/>
                    </a:cubicBezTo>
                    <a:cubicBezTo>
                      <a:pt x="238" y="177"/>
                      <a:pt x="238" y="177"/>
                      <a:pt x="238" y="177"/>
                    </a:cubicBezTo>
                    <a:cubicBezTo>
                      <a:pt x="238" y="177"/>
                      <a:pt x="237" y="177"/>
                      <a:pt x="237" y="177"/>
                    </a:cubicBezTo>
                    <a:cubicBezTo>
                      <a:pt x="237" y="177"/>
                      <a:pt x="237" y="178"/>
                      <a:pt x="238" y="178"/>
                    </a:cubicBezTo>
                    <a:cubicBezTo>
                      <a:pt x="238" y="179"/>
                      <a:pt x="238" y="179"/>
                      <a:pt x="239" y="179"/>
                    </a:cubicBezTo>
                    <a:cubicBezTo>
                      <a:pt x="240" y="178"/>
                      <a:pt x="241" y="178"/>
                      <a:pt x="242" y="178"/>
                    </a:cubicBezTo>
                    <a:cubicBezTo>
                      <a:pt x="242" y="178"/>
                      <a:pt x="242" y="178"/>
                      <a:pt x="242" y="178"/>
                    </a:cubicBezTo>
                    <a:cubicBezTo>
                      <a:pt x="243" y="178"/>
                      <a:pt x="243" y="178"/>
                      <a:pt x="244" y="178"/>
                    </a:cubicBezTo>
                    <a:cubicBezTo>
                      <a:pt x="244" y="179"/>
                      <a:pt x="244" y="179"/>
                      <a:pt x="243" y="180"/>
                    </a:cubicBezTo>
                    <a:cubicBezTo>
                      <a:pt x="243" y="182"/>
                      <a:pt x="243" y="183"/>
                      <a:pt x="242" y="185"/>
                    </a:cubicBezTo>
                    <a:cubicBezTo>
                      <a:pt x="242" y="185"/>
                      <a:pt x="242" y="186"/>
                      <a:pt x="242" y="186"/>
                    </a:cubicBezTo>
                    <a:cubicBezTo>
                      <a:pt x="242" y="186"/>
                      <a:pt x="242" y="186"/>
                      <a:pt x="242" y="186"/>
                    </a:cubicBezTo>
                    <a:cubicBezTo>
                      <a:pt x="243" y="186"/>
                      <a:pt x="244" y="186"/>
                      <a:pt x="244" y="185"/>
                    </a:cubicBezTo>
                    <a:cubicBezTo>
                      <a:pt x="244" y="184"/>
                      <a:pt x="245" y="183"/>
                      <a:pt x="245" y="181"/>
                    </a:cubicBezTo>
                    <a:cubicBezTo>
                      <a:pt x="245" y="181"/>
                      <a:pt x="245" y="181"/>
                      <a:pt x="246" y="181"/>
                    </a:cubicBezTo>
                    <a:cubicBezTo>
                      <a:pt x="247" y="181"/>
                      <a:pt x="247" y="180"/>
                      <a:pt x="247" y="180"/>
                    </a:cubicBezTo>
                    <a:cubicBezTo>
                      <a:pt x="247" y="180"/>
                      <a:pt x="248" y="180"/>
                      <a:pt x="248" y="180"/>
                    </a:cubicBezTo>
                    <a:cubicBezTo>
                      <a:pt x="248" y="181"/>
                      <a:pt x="248" y="181"/>
                      <a:pt x="249" y="182"/>
                    </a:cubicBezTo>
                    <a:cubicBezTo>
                      <a:pt x="250" y="182"/>
                      <a:pt x="250" y="183"/>
                      <a:pt x="249" y="184"/>
                    </a:cubicBezTo>
                    <a:cubicBezTo>
                      <a:pt x="248" y="184"/>
                      <a:pt x="248" y="185"/>
                      <a:pt x="247" y="186"/>
                    </a:cubicBezTo>
                    <a:cubicBezTo>
                      <a:pt x="246" y="187"/>
                      <a:pt x="247" y="187"/>
                      <a:pt x="248" y="187"/>
                    </a:cubicBezTo>
                    <a:cubicBezTo>
                      <a:pt x="248" y="188"/>
                      <a:pt x="249" y="187"/>
                      <a:pt x="249" y="187"/>
                    </a:cubicBezTo>
                    <a:cubicBezTo>
                      <a:pt x="249" y="187"/>
                      <a:pt x="249" y="186"/>
                      <a:pt x="249" y="186"/>
                    </a:cubicBezTo>
                    <a:cubicBezTo>
                      <a:pt x="251" y="186"/>
                      <a:pt x="249" y="187"/>
                      <a:pt x="250" y="188"/>
                    </a:cubicBezTo>
                    <a:cubicBezTo>
                      <a:pt x="251" y="187"/>
                      <a:pt x="252" y="188"/>
                      <a:pt x="252" y="187"/>
                    </a:cubicBezTo>
                    <a:cubicBezTo>
                      <a:pt x="253" y="188"/>
                      <a:pt x="253" y="188"/>
                      <a:pt x="252" y="189"/>
                    </a:cubicBezTo>
                    <a:cubicBezTo>
                      <a:pt x="252" y="189"/>
                      <a:pt x="252" y="189"/>
                      <a:pt x="252" y="189"/>
                    </a:cubicBezTo>
                    <a:cubicBezTo>
                      <a:pt x="252" y="191"/>
                      <a:pt x="251" y="191"/>
                      <a:pt x="250" y="191"/>
                    </a:cubicBezTo>
                    <a:cubicBezTo>
                      <a:pt x="250" y="191"/>
                      <a:pt x="250" y="191"/>
                      <a:pt x="250" y="191"/>
                    </a:cubicBezTo>
                    <a:cubicBezTo>
                      <a:pt x="249" y="191"/>
                      <a:pt x="249" y="191"/>
                      <a:pt x="248" y="192"/>
                    </a:cubicBezTo>
                    <a:cubicBezTo>
                      <a:pt x="248" y="193"/>
                      <a:pt x="249" y="192"/>
                      <a:pt x="250" y="192"/>
                    </a:cubicBezTo>
                    <a:cubicBezTo>
                      <a:pt x="250" y="192"/>
                      <a:pt x="251" y="192"/>
                      <a:pt x="251" y="192"/>
                    </a:cubicBezTo>
                    <a:cubicBezTo>
                      <a:pt x="252" y="192"/>
                      <a:pt x="253" y="193"/>
                      <a:pt x="252" y="194"/>
                    </a:cubicBezTo>
                    <a:cubicBezTo>
                      <a:pt x="252" y="194"/>
                      <a:pt x="252" y="194"/>
                      <a:pt x="252" y="195"/>
                    </a:cubicBezTo>
                    <a:cubicBezTo>
                      <a:pt x="252" y="195"/>
                      <a:pt x="252" y="196"/>
                      <a:pt x="252" y="196"/>
                    </a:cubicBezTo>
                    <a:cubicBezTo>
                      <a:pt x="252" y="196"/>
                      <a:pt x="251" y="196"/>
                      <a:pt x="251" y="196"/>
                    </a:cubicBezTo>
                    <a:cubicBezTo>
                      <a:pt x="250" y="196"/>
                      <a:pt x="250" y="195"/>
                      <a:pt x="249" y="196"/>
                    </a:cubicBezTo>
                    <a:cubicBezTo>
                      <a:pt x="248" y="196"/>
                      <a:pt x="247" y="195"/>
                      <a:pt x="247" y="195"/>
                    </a:cubicBezTo>
                    <a:cubicBezTo>
                      <a:pt x="246" y="194"/>
                      <a:pt x="246" y="194"/>
                      <a:pt x="246" y="194"/>
                    </a:cubicBezTo>
                    <a:cubicBezTo>
                      <a:pt x="244" y="193"/>
                      <a:pt x="243" y="193"/>
                      <a:pt x="242" y="195"/>
                    </a:cubicBezTo>
                    <a:cubicBezTo>
                      <a:pt x="242" y="197"/>
                      <a:pt x="242" y="199"/>
                      <a:pt x="243" y="200"/>
                    </a:cubicBezTo>
                    <a:cubicBezTo>
                      <a:pt x="243" y="201"/>
                      <a:pt x="242" y="201"/>
                      <a:pt x="243" y="201"/>
                    </a:cubicBezTo>
                    <a:cubicBezTo>
                      <a:pt x="244" y="204"/>
                      <a:pt x="246" y="204"/>
                      <a:pt x="248" y="205"/>
                    </a:cubicBezTo>
                    <a:cubicBezTo>
                      <a:pt x="248" y="205"/>
                      <a:pt x="249" y="205"/>
                      <a:pt x="249" y="204"/>
                    </a:cubicBezTo>
                    <a:cubicBezTo>
                      <a:pt x="249" y="203"/>
                      <a:pt x="250" y="203"/>
                      <a:pt x="252" y="202"/>
                    </a:cubicBezTo>
                    <a:cubicBezTo>
                      <a:pt x="252" y="202"/>
                      <a:pt x="252" y="202"/>
                      <a:pt x="253" y="202"/>
                    </a:cubicBezTo>
                    <a:cubicBezTo>
                      <a:pt x="253" y="201"/>
                      <a:pt x="254" y="201"/>
                      <a:pt x="255" y="201"/>
                    </a:cubicBezTo>
                    <a:cubicBezTo>
                      <a:pt x="255" y="201"/>
                      <a:pt x="256" y="201"/>
                      <a:pt x="256" y="200"/>
                    </a:cubicBezTo>
                    <a:cubicBezTo>
                      <a:pt x="256" y="200"/>
                      <a:pt x="257" y="200"/>
                      <a:pt x="257" y="200"/>
                    </a:cubicBezTo>
                    <a:cubicBezTo>
                      <a:pt x="257" y="201"/>
                      <a:pt x="257" y="201"/>
                      <a:pt x="257" y="201"/>
                    </a:cubicBezTo>
                    <a:cubicBezTo>
                      <a:pt x="256" y="202"/>
                      <a:pt x="256" y="203"/>
                      <a:pt x="256" y="204"/>
                    </a:cubicBezTo>
                    <a:cubicBezTo>
                      <a:pt x="258" y="205"/>
                      <a:pt x="259" y="204"/>
                      <a:pt x="260" y="204"/>
                    </a:cubicBezTo>
                    <a:cubicBezTo>
                      <a:pt x="261" y="203"/>
                      <a:pt x="261" y="203"/>
                      <a:pt x="261" y="204"/>
                    </a:cubicBezTo>
                    <a:cubicBezTo>
                      <a:pt x="261" y="204"/>
                      <a:pt x="262" y="204"/>
                      <a:pt x="263" y="204"/>
                    </a:cubicBezTo>
                    <a:cubicBezTo>
                      <a:pt x="264" y="205"/>
                      <a:pt x="265" y="205"/>
                      <a:pt x="266" y="207"/>
                    </a:cubicBezTo>
                    <a:cubicBezTo>
                      <a:pt x="266" y="207"/>
                      <a:pt x="266" y="207"/>
                      <a:pt x="266" y="207"/>
                    </a:cubicBezTo>
                    <a:cubicBezTo>
                      <a:pt x="268" y="206"/>
                      <a:pt x="268" y="207"/>
                      <a:pt x="268" y="208"/>
                    </a:cubicBezTo>
                    <a:cubicBezTo>
                      <a:pt x="269" y="209"/>
                      <a:pt x="269" y="210"/>
                      <a:pt x="269" y="212"/>
                    </a:cubicBezTo>
                    <a:cubicBezTo>
                      <a:pt x="269" y="214"/>
                      <a:pt x="270" y="215"/>
                      <a:pt x="271" y="217"/>
                    </a:cubicBezTo>
                    <a:cubicBezTo>
                      <a:pt x="272" y="219"/>
                      <a:pt x="274" y="219"/>
                      <a:pt x="275" y="220"/>
                    </a:cubicBezTo>
                    <a:cubicBezTo>
                      <a:pt x="275" y="220"/>
                      <a:pt x="276" y="220"/>
                      <a:pt x="276" y="219"/>
                    </a:cubicBezTo>
                    <a:cubicBezTo>
                      <a:pt x="276" y="218"/>
                      <a:pt x="277" y="219"/>
                      <a:pt x="278" y="219"/>
                    </a:cubicBezTo>
                    <a:cubicBezTo>
                      <a:pt x="279" y="219"/>
                      <a:pt x="279" y="218"/>
                      <a:pt x="280" y="218"/>
                    </a:cubicBezTo>
                    <a:cubicBezTo>
                      <a:pt x="281" y="218"/>
                      <a:pt x="282" y="216"/>
                      <a:pt x="281" y="216"/>
                    </a:cubicBezTo>
                    <a:cubicBezTo>
                      <a:pt x="281" y="215"/>
                      <a:pt x="281" y="214"/>
                      <a:pt x="281" y="213"/>
                    </a:cubicBezTo>
                    <a:cubicBezTo>
                      <a:pt x="282" y="212"/>
                      <a:pt x="282" y="212"/>
                      <a:pt x="282" y="211"/>
                    </a:cubicBezTo>
                    <a:cubicBezTo>
                      <a:pt x="281" y="209"/>
                      <a:pt x="280" y="208"/>
                      <a:pt x="279" y="206"/>
                    </a:cubicBezTo>
                    <a:cubicBezTo>
                      <a:pt x="279" y="206"/>
                      <a:pt x="279" y="205"/>
                      <a:pt x="278" y="205"/>
                    </a:cubicBezTo>
                    <a:cubicBezTo>
                      <a:pt x="278" y="204"/>
                      <a:pt x="278" y="203"/>
                      <a:pt x="278" y="203"/>
                    </a:cubicBezTo>
                    <a:cubicBezTo>
                      <a:pt x="276" y="203"/>
                      <a:pt x="276" y="203"/>
                      <a:pt x="276" y="201"/>
                    </a:cubicBezTo>
                    <a:cubicBezTo>
                      <a:pt x="277" y="200"/>
                      <a:pt x="277" y="200"/>
                      <a:pt x="276" y="199"/>
                    </a:cubicBezTo>
                    <a:cubicBezTo>
                      <a:pt x="276" y="199"/>
                      <a:pt x="276" y="198"/>
                      <a:pt x="276" y="198"/>
                    </a:cubicBezTo>
                    <a:cubicBezTo>
                      <a:pt x="277" y="197"/>
                      <a:pt x="277" y="197"/>
                      <a:pt x="277" y="196"/>
                    </a:cubicBezTo>
                    <a:cubicBezTo>
                      <a:pt x="277" y="195"/>
                      <a:pt x="277" y="195"/>
                      <a:pt x="278" y="194"/>
                    </a:cubicBezTo>
                    <a:cubicBezTo>
                      <a:pt x="279" y="194"/>
                      <a:pt x="278" y="193"/>
                      <a:pt x="278" y="193"/>
                    </a:cubicBezTo>
                    <a:cubicBezTo>
                      <a:pt x="277" y="193"/>
                      <a:pt x="277" y="193"/>
                      <a:pt x="276" y="192"/>
                    </a:cubicBezTo>
                    <a:cubicBezTo>
                      <a:pt x="276" y="192"/>
                      <a:pt x="276" y="192"/>
                      <a:pt x="275" y="192"/>
                    </a:cubicBezTo>
                    <a:cubicBezTo>
                      <a:pt x="274" y="192"/>
                      <a:pt x="274" y="192"/>
                      <a:pt x="275" y="191"/>
                    </a:cubicBezTo>
                    <a:cubicBezTo>
                      <a:pt x="276" y="190"/>
                      <a:pt x="275" y="189"/>
                      <a:pt x="274" y="188"/>
                    </a:cubicBezTo>
                    <a:cubicBezTo>
                      <a:pt x="273" y="187"/>
                      <a:pt x="273" y="187"/>
                      <a:pt x="273" y="186"/>
                    </a:cubicBezTo>
                    <a:cubicBezTo>
                      <a:pt x="272" y="185"/>
                      <a:pt x="272" y="185"/>
                      <a:pt x="271" y="186"/>
                    </a:cubicBezTo>
                    <a:cubicBezTo>
                      <a:pt x="270" y="186"/>
                      <a:pt x="269" y="186"/>
                      <a:pt x="269" y="187"/>
                    </a:cubicBezTo>
                    <a:cubicBezTo>
                      <a:pt x="268" y="187"/>
                      <a:pt x="268" y="187"/>
                      <a:pt x="268" y="187"/>
                    </a:cubicBezTo>
                    <a:cubicBezTo>
                      <a:pt x="268" y="186"/>
                      <a:pt x="268" y="186"/>
                      <a:pt x="268" y="186"/>
                    </a:cubicBezTo>
                    <a:cubicBezTo>
                      <a:pt x="266" y="186"/>
                      <a:pt x="267" y="185"/>
                      <a:pt x="267" y="185"/>
                    </a:cubicBezTo>
                    <a:cubicBezTo>
                      <a:pt x="267" y="184"/>
                      <a:pt x="268" y="183"/>
                      <a:pt x="268" y="182"/>
                    </a:cubicBezTo>
                    <a:cubicBezTo>
                      <a:pt x="268" y="181"/>
                      <a:pt x="268" y="180"/>
                      <a:pt x="267" y="180"/>
                    </a:cubicBezTo>
                    <a:cubicBezTo>
                      <a:pt x="266" y="180"/>
                      <a:pt x="265" y="179"/>
                      <a:pt x="265" y="178"/>
                    </a:cubicBezTo>
                    <a:cubicBezTo>
                      <a:pt x="264" y="177"/>
                      <a:pt x="263" y="177"/>
                      <a:pt x="262" y="176"/>
                    </a:cubicBezTo>
                    <a:cubicBezTo>
                      <a:pt x="262" y="176"/>
                      <a:pt x="261" y="176"/>
                      <a:pt x="261" y="177"/>
                    </a:cubicBezTo>
                    <a:cubicBezTo>
                      <a:pt x="261" y="178"/>
                      <a:pt x="261" y="178"/>
                      <a:pt x="260" y="178"/>
                    </a:cubicBezTo>
                    <a:cubicBezTo>
                      <a:pt x="259" y="179"/>
                      <a:pt x="259" y="179"/>
                      <a:pt x="259" y="180"/>
                    </a:cubicBezTo>
                    <a:cubicBezTo>
                      <a:pt x="260" y="181"/>
                      <a:pt x="259" y="182"/>
                      <a:pt x="259" y="183"/>
                    </a:cubicBezTo>
                    <a:cubicBezTo>
                      <a:pt x="258" y="183"/>
                      <a:pt x="258" y="184"/>
                      <a:pt x="258" y="184"/>
                    </a:cubicBezTo>
                    <a:cubicBezTo>
                      <a:pt x="258" y="183"/>
                      <a:pt x="257" y="183"/>
                      <a:pt x="258" y="183"/>
                    </a:cubicBezTo>
                    <a:cubicBezTo>
                      <a:pt x="258" y="182"/>
                      <a:pt x="258" y="182"/>
                      <a:pt x="258" y="182"/>
                    </a:cubicBezTo>
                    <a:cubicBezTo>
                      <a:pt x="258" y="181"/>
                      <a:pt x="258" y="180"/>
                      <a:pt x="257" y="181"/>
                    </a:cubicBezTo>
                    <a:cubicBezTo>
                      <a:pt x="257" y="179"/>
                      <a:pt x="257" y="176"/>
                      <a:pt x="257" y="174"/>
                    </a:cubicBezTo>
                    <a:cubicBezTo>
                      <a:pt x="256" y="174"/>
                      <a:pt x="255" y="173"/>
                      <a:pt x="256" y="173"/>
                    </a:cubicBezTo>
                    <a:cubicBezTo>
                      <a:pt x="255" y="172"/>
                      <a:pt x="256" y="171"/>
                      <a:pt x="255" y="171"/>
                    </a:cubicBezTo>
                    <a:cubicBezTo>
                      <a:pt x="254" y="170"/>
                      <a:pt x="254" y="168"/>
                      <a:pt x="252" y="168"/>
                    </a:cubicBezTo>
                    <a:cubicBezTo>
                      <a:pt x="251" y="168"/>
                      <a:pt x="251" y="168"/>
                      <a:pt x="251" y="168"/>
                    </a:cubicBezTo>
                    <a:cubicBezTo>
                      <a:pt x="249" y="165"/>
                      <a:pt x="248" y="166"/>
                      <a:pt x="245" y="167"/>
                    </a:cubicBezTo>
                    <a:cubicBezTo>
                      <a:pt x="244" y="168"/>
                      <a:pt x="243" y="168"/>
                      <a:pt x="242" y="168"/>
                    </a:cubicBezTo>
                    <a:cubicBezTo>
                      <a:pt x="241" y="169"/>
                      <a:pt x="240" y="169"/>
                      <a:pt x="239" y="168"/>
                    </a:cubicBezTo>
                    <a:cubicBezTo>
                      <a:pt x="239" y="168"/>
                      <a:pt x="238" y="167"/>
                      <a:pt x="238" y="168"/>
                    </a:cubicBezTo>
                    <a:cubicBezTo>
                      <a:pt x="238" y="168"/>
                      <a:pt x="238" y="168"/>
                      <a:pt x="238" y="168"/>
                    </a:cubicBezTo>
                    <a:cubicBezTo>
                      <a:pt x="239" y="169"/>
                      <a:pt x="239" y="170"/>
                      <a:pt x="238" y="170"/>
                    </a:cubicBezTo>
                    <a:cubicBezTo>
                      <a:pt x="237" y="170"/>
                      <a:pt x="238" y="171"/>
                      <a:pt x="238" y="171"/>
                    </a:cubicBezTo>
                    <a:cubicBezTo>
                      <a:pt x="237" y="173"/>
                      <a:pt x="237" y="174"/>
                      <a:pt x="237" y="175"/>
                    </a:cubicBezTo>
                    <a:close/>
                    <a:moveTo>
                      <a:pt x="295" y="249"/>
                    </a:moveTo>
                    <a:cubicBezTo>
                      <a:pt x="295" y="249"/>
                      <a:pt x="294" y="250"/>
                      <a:pt x="294" y="250"/>
                    </a:cubicBezTo>
                    <a:cubicBezTo>
                      <a:pt x="294" y="250"/>
                      <a:pt x="293" y="249"/>
                      <a:pt x="293" y="248"/>
                    </a:cubicBezTo>
                    <a:cubicBezTo>
                      <a:pt x="293" y="248"/>
                      <a:pt x="293" y="248"/>
                      <a:pt x="294" y="248"/>
                    </a:cubicBezTo>
                    <a:cubicBezTo>
                      <a:pt x="294" y="248"/>
                      <a:pt x="294" y="249"/>
                      <a:pt x="295" y="249"/>
                    </a:cubicBezTo>
                    <a:close/>
                    <a:moveTo>
                      <a:pt x="302" y="288"/>
                    </a:moveTo>
                    <a:cubicBezTo>
                      <a:pt x="302" y="288"/>
                      <a:pt x="301" y="288"/>
                      <a:pt x="301" y="289"/>
                    </a:cubicBezTo>
                    <a:cubicBezTo>
                      <a:pt x="301" y="289"/>
                      <a:pt x="300" y="289"/>
                      <a:pt x="300" y="289"/>
                    </a:cubicBezTo>
                    <a:cubicBezTo>
                      <a:pt x="300" y="288"/>
                      <a:pt x="301" y="288"/>
                      <a:pt x="301" y="288"/>
                    </a:cubicBezTo>
                    <a:cubicBezTo>
                      <a:pt x="301" y="288"/>
                      <a:pt x="302" y="288"/>
                      <a:pt x="302" y="288"/>
                    </a:cubicBezTo>
                    <a:close/>
                    <a:moveTo>
                      <a:pt x="279" y="137"/>
                    </a:moveTo>
                    <a:cubicBezTo>
                      <a:pt x="279" y="136"/>
                      <a:pt x="279" y="136"/>
                      <a:pt x="280" y="135"/>
                    </a:cubicBezTo>
                    <a:cubicBezTo>
                      <a:pt x="280" y="135"/>
                      <a:pt x="280" y="135"/>
                      <a:pt x="281" y="136"/>
                    </a:cubicBezTo>
                    <a:cubicBezTo>
                      <a:pt x="280" y="136"/>
                      <a:pt x="279" y="136"/>
                      <a:pt x="279" y="137"/>
                    </a:cubicBezTo>
                    <a:close/>
                    <a:moveTo>
                      <a:pt x="290" y="257"/>
                    </a:moveTo>
                    <a:cubicBezTo>
                      <a:pt x="289" y="257"/>
                      <a:pt x="288" y="257"/>
                      <a:pt x="287" y="257"/>
                    </a:cubicBezTo>
                    <a:cubicBezTo>
                      <a:pt x="288" y="256"/>
                      <a:pt x="288" y="256"/>
                      <a:pt x="290" y="257"/>
                    </a:cubicBezTo>
                    <a:close/>
                    <a:moveTo>
                      <a:pt x="185" y="241"/>
                    </a:moveTo>
                    <a:cubicBezTo>
                      <a:pt x="185" y="240"/>
                      <a:pt x="185" y="240"/>
                      <a:pt x="186" y="240"/>
                    </a:cubicBezTo>
                    <a:cubicBezTo>
                      <a:pt x="186" y="240"/>
                      <a:pt x="186" y="240"/>
                      <a:pt x="186" y="240"/>
                    </a:cubicBezTo>
                    <a:cubicBezTo>
                      <a:pt x="186" y="241"/>
                      <a:pt x="186" y="241"/>
                      <a:pt x="185" y="241"/>
                    </a:cubicBezTo>
                    <a:cubicBezTo>
                      <a:pt x="185" y="241"/>
                      <a:pt x="185" y="241"/>
                      <a:pt x="185" y="241"/>
                    </a:cubicBezTo>
                    <a:close/>
                    <a:moveTo>
                      <a:pt x="354" y="200"/>
                    </a:moveTo>
                    <a:cubicBezTo>
                      <a:pt x="354" y="202"/>
                      <a:pt x="353" y="203"/>
                      <a:pt x="353" y="204"/>
                    </a:cubicBezTo>
                    <a:cubicBezTo>
                      <a:pt x="353" y="204"/>
                      <a:pt x="353" y="205"/>
                      <a:pt x="353" y="205"/>
                    </a:cubicBezTo>
                    <a:cubicBezTo>
                      <a:pt x="352" y="205"/>
                      <a:pt x="352" y="204"/>
                      <a:pt x="352" y="204"/>
                    </a:cubicBezTo>
                    <a:cubicBezTo>
                      <a:pt x="353" y="203"/>
                      <a:pt x="352" y="202"/>
                      <a:pt x="353" y="201"/>
                    </a:cubicBezTo>
                    <a:cubicBezTo>
                      <a:pt x="354" y="201"/>
                      <a:pt x="353" y="200"/>
                      <a:pt x="353" y="200"/>
                    </a:cubicBezTo>
                    <a:cubicBezTo>
                      <a:pt x="353" y="199"/>
                      <a:pt x="353" y="199"/>
                      <a:pt x="354" y="198"/>
                    </a:cubicBezTo>
                    <a:cubicBezTo>
                      <a:pt x="354" y="198"/>
                      <a:pt x="355" y="198"/>
                      <a:pt x="355" y="199"/>
                    </a:cubicBezTo>
                    <a:cubicBezTo>
                      <a:pt x="355" y="199"/>
                      <a:pt x="355" y="200"/>
                      <a:pt x="354" y="200"/>
                    </a:cubicBezTo>
                    <a:close/>
                    <a:moveTo>
                      <a:pt x="302" y="275"/>
                    </a:moveTo>
                    <a:cubicBezTo>
                      <a:pt x="303" y="274"/>
                      <a:pt x="302" y="274"/>
                      <a:pt x="303" y="273"/>
                    </a:cubicBezTo>
                    <a:cubicBezTo>
                      <a:pt x="303" y="273"/>
                      <a:pt x="303" y="273"/>
                      <a:pt x="303" y="273"/>
                    </a:cubicBezTo>
                    <a:cubicBezTo>
                      <a:pt x="303" y="274"/>
                      <a:pt x="303" y="274"/>
                      <a:pt x="303" y="275"/>
                    </a:cubicBezTo>
                    <a:cubicBezTo>
                      <a:pt x="303" y="275"/>
                      <a:pt x="302" y="275"/>
                      <a:pt x="302" y="275"/>
                    </a:cubicBezTo>
                    <a:close/>
                    <a:moveTo>
                      <a:pt x="297" y="282"/>
                    </a:moveTo>
                    <a:cubicBezTo>
                      <a:pt x="296" y="282"/>
                      <a:pt x="296" y="283"/>
                      <a:pt x="295" y="283"/>
                    </a:cubicBezTo>
                    <a:cubicBezTo>
                      <a:pt x="295" y="282"/>
                      <a:pt x="295" y="282"/>
                      <a:pt x="297" y="282"/>
                    </a:cubicBezTo>
                    <a:close/>
                    <a:moveTo>
                      <a:pt x="399" y="268"/>
                    </a:moveTo>
                    <a:cubicBezTo>
                      <a:pt x="399" y="268"/>
                      <a:pt x="399" y="268"/>
                      <a:pt x="399" y="268"/>
                    </a:cubicBezTo>
                    <a:cubicBezTo>
                      <a:pt x="399" y="267"/>
                      <a:pt x="399" y="267"/>
                      <a:pt x="400" y="267"/>
                    </a:cubicBezTo>
                    <a:cubicBezTo>
                      <a:pt x="400" y="267"/>
                      <a:pt x="400" y="267"/>
                      <a:pt x="400" y="267"/>
                    </a:cubicBezTo>
                    <a:cubicBezTo>
                      <a:pt x="400" y="268"/>
                      <a:pt x="400" y="268"/>
                      <a:pt x="399" y="268"/>
                    </a:cubicBezTo>
                    <a:close/>
                    <a:moveTo>
                      <a:pt x="285" y="316"/>
                    </a:moveTo>
                    <a:cubicBezTo>
                      <a:pt x="284" y="316"/>
                      <a:pt x="284" y="317"/>
                      <a:pt x="283" y="316"/>
                    </a:cubicBezTo>
                    <a:cubicBezTo>
                      <a:pt x="283" y="316"/>
                      <a:pt x="283" y="316"/>
                      <a:pt x="283" y="316"/>
                    </a:cubicBezTo>
                    <a:cubicBezTo>
                      <a:pt x="284" y="315"/>
                      <a:pt x="284" y="316"/>
                      <a:pt x="285" y="316"/>
                    </a:cubicBezTo>
                    <a:close/>
                    <a:moveTo>
                      <a:pt x="266" y="285"/>
                    </a:moveTo>
                    <a:cubicBezTo>
                      <a:pt x="266" y="285"/>
                      <a:pt x="265" y="285"/>
                      <a:pt x="265" y="285"/>
                    </a:cubicBezTo>
                    <a:cubicBezTo>
                      <a:pt x="265" y="284"/>
                      <a:pt x="266" y="284"/>
                      <a:pt x="266" y="284"/>
                    </a:cubicBezTo>
                    <a:cubicBezTo>
                      <a:pt x="266" y="285"/>
                      <a:pt x="266" y="285"/>
                      <a:pt x="266" y="285"/>
                    </a:cubicBezTo>
                    <a:close/>
                    <a:moveTo>
                      <a:pt x="294" y="290"/>
                    </a:moveTo>
                    <a:cubicBezTo>
                      <a:pt x="294" y="291"/>
                      <a:pt x="294" y="292"/>
                      <a:pt x="294" y="292"/>
                    </a:cubicBezTo>
                    <a:cubicBezTo>
                      <a:pt x="293" y="292"/>
                      <a:pt x="293" y="291"/>
                      <a:pt x="294" y="290"/>
                    </a:cubicBezTo>
                    <a:close/>
                    <a:moveTo>
                      <a:pt x="197" y="276"/>
                    </a:moveTo>
                    <a:cubicBezTo>
                      <a:pt x="197" y="276"/>
                      <a:pt x="197" y="276"/>
                      <a:pt x="197" y="276"/>
                    </a:cubicBezTo>
                    <a:cubicBezTo>
                      <a:pt x="196" y="276"/>
                      <a:pt x="196" y="276"/>
                      <a:pt x="195" y="276"/>
                    </a:cubicBezTo>
                    <a:cubicBezTo>
                      <a:pt x="196" y="276"/>
                      <a:pt x="196" y="275"/>
                      <a:pt x="197" y="276"/>
                    </a:cubicBezTo>
                    <a:close/>
                    <a:moveTo>
                      <a:pt x="299" y="256"/>
                    </a:moveTo>
                    <a:cubicBezTo>
                      <a:pt x="298" y="256"/>
                      <a:pt x="299" y="256"/>
                      <a:pt x="299" y="255"/>
                    </a:cubicBezTo>
                    <a:cubicBezTo>
                      <a:pt x="299" y="256"/>
                      <a:pt x="299" y="256"/>
                      <a:pt x="299" y="256"/>
                    </a:cubicBezTo>
                    <a:cubicBezTo>
                      <a:pt x="299" y="256"/>
                      <a:pt x="299" y="256"/>
                      <a:pt x="299" y="256"/>
                    </a:cubicBezTo>
                    <a:close/>
                    <a:moveTo>
                      <a:pt x="340" y="269"/>
                    </a:moveTo>
                    <a:cubicBezTo>
                      <a:pt x="340" y="269"/>
                      <a:pt x="339" y="269"/>
                      <a:pt x="339" y="268"/>
                    </a:cubicBezTo>
                    <a:cubicBezTo>
                      <a:pt x="340" y="268"/>
                      <a:pt x="340" y="268"/>
                      <a:pt x="340" y="269"/>
                    </a:cubicBezTo>
                    <a:close/>
                    <a:moveTo>
                      <a:pt x="134" y="251"/>
                    </a:moveTo>
                    <a:cubicBezTo>
                      <a:pt x="135" y="251"/>
                      <a:pt x="135" y="251"/>
                      <a:pt x="135" y="251"/>
                    </a:cubicBezTo>
                    <a:cubicBezTo>
                      <a:pt x="135" y="251"/>
                      <a:pt x="135" y="251"/>
                      <a:pt x="135" y="251"/>
                    </a:cubicBezTo>
                    <a:cubicBezTo>
                      <a:pt x="134" y="251"/>
                      <a:pt x="134" y="251"/>
                      <a:pt x="134" y="251"/>
                    </a:cubicBezTo>
                    <a:close/>
                    <a:moveTo>
                      <a:pt x="123" y="271"/>
                    </a:moveTo>
                    <a:cubicBezTo>
                      <a:pt x="122" y="271"/>
                      <a:pt x="122" y="271"/>
                      <a:pt x="121" y="271"/>
                    </a:cubicBezTo>
                    <a:cubicBezTo>
                      <a:pt x="122" y="271"/>
                      <a:pt x="122" y="271"/>
                      <a:pt x="123" y="271"/>
                    </a:cubicBezTo>
                    <a:close/>
                    <a:moveTo>
                      <a:pt x="305" y="305"/>
                    </a:moveTo>
                    <a:cubicBezTo>
                      <a:pt x="305" y="305"/>
                      <a:pt x="304" y="305"/>
                      <a:pt x="305" y="304"/>
                    </a:cubicBezTo>
                    <a:cubicBezTo>
                      <a:pt x="305" y="305"/>
                      <a:pt x="305" y="305"/>
                      <a:pt x="305" y="305"/>
                    </a:cubicBezTo>
                    <a:cubicBezTo>
                      <a:pt x="305" y="305"/>
                      <a:pt x="305" y="305"/>
                      <a:pt x="305" y="305"/>
                    </a:cubicBezTo>
                    <a:close/>
                    <a:moveTo>
                      <a:pt x="294" y="258"/>
                    </a:moveTo>
                    <a:cubicBezTo>
                      <a:pt x="294" y="258"/>
                      <a:pt x="294" y="259"/>
                      <a:pt x="294" y="259"/>
                    </a:cubicBezTo>
                    <a:cubicBezTo>
                      <a:pt x="293" y="259"/>
                      <a:pt x="293" y="258"/>
                      <a:pt x="294" y="258"/>
                    </a:cubicBezTo>
                    <a:close/>
                    <a:moveTo>
                      <a:pt x="287" y="305"/>
                    </a:moveTo>
                    <a:cubicBezTo>
                      <a:pt x="287" y="305"/>
                      <a:pt x="286" y="306"/>
                      <a:pt x="286" y="306"/>
                    </a:cubicBezTo>
                    <a:cubicBezTo>
                      <a:pt x="286" y="306"/>
                      <a:pt x="286" y="306"/>
                      <a:pt x="286" y="305"/>
                    </a:cubicBezTo>
                    <a:cubicBezTo>
                      <a:pt x="286" y="305"/>
                      <a:pt x="286" y="305"/>
                      <a:pt x="286" y="305"/>
                    </a:cubicBezTo>
                    <a:cubicBezTo>
                      <a:pt x="287" y="305"/>
                      <a:pt x="287" y="305"/>
                      <a:pt x="287" y="305"/>
                    </a:cubicBezTo>
                    <a:close/>
                    <a:moveTo>
                      <a:pt x="301" y="306"/>
                    </a:moveTo>
                    <a:cubicBezTo>
                      <a:pt x="301" y="306"/>
                      <a:pt x="300" y="306"/>
                      <a:pt x="300" y="306"/>
                    </a:cubicBezTo>
                    <a:cubicBezTo>
                      <a:pt x="300" y="306"/>
                      <a:pt x="300" y="306"/>
                      <a:pt x="300" y="306"/>
                    </a:cubicBezTo>
                    <a:cubicBezTo>
                      <a:pt x="300" y="306"/>
                      <a:pt x="300" y="306"/>
                      <a:pt x="300" y="306"/>
                    </a:cubicBezTo>
                    <a:cubicBezTo>
                      <a:pt x="301" y="306"/>
                      <a:pt x="301" y="306"/>
                      <a:pt x="301" y="306"/>
                    </a:cubicBezTo>
                    <a:close/>
                    <a:moveTo>
                      <a:pt x="270" y="290"/>
                    </a:moveTo>
                    <a:cubicBezTo>
                      <a:pt x="270" y="290"/>
                      <a:pt x="270" y="290"/>
                      <a:pt x="270" y="290"/>
                    </a:cubicBezTo>
                    <a:cubicBezTo>
                      <a:pt x="270" y="290"/>
                      <a:pt x="270" y="290"/>
                      <a:pt x="270" y="290"/>
                    </a:cubicBezTo>
                    <a:close/>
                    <a:moveTo>
                      <a:pt x="270" y="290"/>
                    </a:moveTo>
                    <a:cubicBezTo>
                      <a:pt x="270" y="290"/>
                      <a:pt x="270" y="290"/>
                      <a:pt x="269" y="290"/>
                    </a:cubicBezTo>
                    <a:cubicBezTo>
                      <a:pt x="270" y="289"/>
                      <a:pt x="270" y="289"/>
                      <a:pt x="270" y="290"/>
                    </a:cubicBezTo>
                    <a:close/>
                    <a:moveTo>
                      <a:pt x="295" y="245"/>
                    </a:moveTo>
                    <a:cubicBezTo>
                      <a:pt x="295" y="245"/>
                      <a:pt x="295" y="245"/>
                      <a:pt x="295" y="245"/>
                    </a:cubicBezTo>
                    <a:cubicBezTo>
                      <a:pt x="295" y="245"/>
                      <a:pt x="295" y="245"/>
                      <a:pt x="295" y="245"/>
                    </a:cubicBezTo>
                    <a:cubicBezTo>
                      <a:pt x="295" y="245"/>
                      <a:pt x="295" y="245"/>
                      <a:pt x="295" y="245"/>
                    </a:cubicBezTo>
                    <a:cubicBezTo>
                      <a:pt x="295" y="245"/>
                      <a:pt x="295" y="245"/>
                      <a:pt x="295" y="245"/>
                    </a:cubicBezTo>
                    <a:close/>
                    <a:moveTo>
                      <a:pt x="310" y="271"/>
                    </a:moveTo>
                    <a:cubicBezTo>
                      <a:pt x="309" y="271"/>
                      <a:pt x="309" y="271"/>
                      <a:pt x="309" y="271"/>
                    </a:cubicBezTo>
                    <a:cubicBezTo>
                      <a:pt x="309" y="270"/>
                      <a:pt x="310" y="270"/>
                      <a:pt x="310" y="270"/>
                    </a:cubicBezTo>
                    <a:cubicBezTo>
                      <a:pt x="310" y="270"/>
                      <a:pt x="310" y="271"/>
                      <a:pt x="310" y="271"/>
                    </a:cubicBezTo>
                    <a:cubicBezTo>
                      <a:pt x="310" y="271"/>
                      <a:pt x="310" y="271"/>
                      <a:pt x="310" y="271"/>
                    </a:cubicBezTo>
                    <a:close/>
                    <a:moveTo>
                      <a:pt x="121" y="271"/>
                    </a:moveTo>
                    <a:cubicBezTo>
                      <a:pt x="121" y="272"/>
                      <a:pt x="121" y="272"/>
                      <a:pt x="121" y="272"/>
                    </a:cubicBezTo>
                    <a:cubicBezTo>
                      <a:pt x="121" y="272"/>
                      <a:pt x="121" y="272"/>
                      <a:pt x="121" y="272"/>
                    </a:cubicBezTo>
                    <a:cubicBezTo>
                      <a:pt x="121" y="271"/>
                      <a:pt x="121" y="271"/>
                      <a:pt x="121" y="271"/>
                    </a:cubicBezTo>
                    <a:close/>
                    <a:moveTo>
                      <a:pt x="274" y="264"/>
                    </a:moveTo>
                    <a:cubicBezTo>
                      <a:pt x="274" y="264"/>
                      <a:pt x="274" y="264"/>
                      <a:pt x="274" y="264"/>
                    </a:cubicBezTo>
                    <a:cubicBezTo>
                      <a:pt x="274" y="264"/>
                      <a:pt x="274" y="264"/>
                      <a:pt x="274" y="264"/>
                    </a:cubicBezTo>
                    <a:cubicBezTo>
                      <a:pt x="274" y="264"/>
                      <a:pt x="274" y="264"/>
                      <a:pt x="274" y="264"/>
                    </a:cubicBezTo>
                    <a:close/>
                    <a:moveTo>
                      <a:pt x="274" y="264"/>
                    </a:moveTo>
                    <a:cubicBezTo>
                      <a:pt x="274" y="264"/>
                      <a:pt x="274" y="264"/>
                      <a:pt x="274" y="264"/>
                    </a:cubicBezTo>
                    <a:cubicBezTo>
                      <a:pt x="274" y="264"/>
                      <a:pt x="274" y="264"/>
                      <a:pt x="274" y="264"/>
                    </a:cubicBezTo>
                    <a:cubicBezTo>
                      <a:pt x="274" y="264"/>
                      <a:pt x="274" y="264"/>
                      <a:pt x="274" y="264"/>
                    </a:cubicBezTo>
                    <a:close/>
                    <a:moveTo>
                      <a:pt x="548" y="704"/>
                    </a:moveTo>
                    <a:cubicBezTo>
                      <a:pt x="548" y="704"/>
                      <a:pt x="548" y="704"/>
                      <a:pt x="548" y="704"/>
                    </a:cubicBezTo>
                    <a:cubicBezTo>
                      <a:pt x="548" y="703"/>
                      <a:pt x="549" y="702"/>
                      <a:pt x="550" y="702"/>
                    </a:cubicBezTo>
                    <a:cubicBezTo>
                      <a:pt x="549" y="702"/>
                      <a:pt x="550" y="703"/>
                      <a:pt x="550" y="703"/>
                    </a:cubicBezTo>
                    <a:cubicBezTo>
                      <a:pt x="550" y="703"/>
                      <a:pt x="550" y="703"/>
                      <a:pt x="551" y="703"/>
                    </a:cubicBezTo>
                    <a:cubicBezTo>
                      <a:pt x="551" y="703"/>
                      <a:pt x="551" y="703"/>
                      <a:pt x="551" y="703"/>
                    </a:cubicBezTo>
                    <a:cubicBezTo>
                      <a:pt x="550" y="704"/>
                      <a:pt x="550" y="704"/>
                      <a:pt x="549" y="704"/>
                    </a:cubicBezTo>
                    <a:cubicBezTo>
                      <a:pt x="549" y="704"/>
                      <a:pt x="549" y="704"/>
                      <a:pt x="548" y="704"/>
                    </a:cubicBezTo>
                    <a:cubicBezTo>
                      <a:pt x="548" y="704"/>
                      <a:pt x="548" y="704"/>
                      <a:pt x="548" y="704"/>
                    </a:cubicBezTo>
                    <a:close/>
                    <a:moveTo>
                      <a:pt x="581" y="692"/>
                    </a:moveTo>
                    <a:cubicBezTo>
                      <a:pt x="581" y="692"/>
                      <a:pt x="581" y="692"/>
                      <a:pt x="581" y="691"/>
                    </a:cubicBezTo>
                    <a:cubicBezTo>
                      <a:pt x="581" y="691"/>
                      <a:pt x="581" y="691"/>
                      <a:pt x="582" y="691"/>
                    </a:cubicBezTo>
                    <a:cubicBezTo>
                      <a:pt x="582" y="691"/>
                      <a:pt x="582" y="691"/>
                      <a:pt x="582" y="691"/>
                    </a:cubicBezTo>
                    <a:cubicBezTo>
                      <a:pt x="583" y="691"/>
                      <a:pt x="583" y="691"/>
                      <a:pt x="583" y="692"/>
                    </a:cubicBezTo>
                    <a:cubicBezTo>
                      <a:pt x="583" y="692"/>
                      <a:pt x="583" y="692"/>
                      <a:pt x="582" y="692"/>
                    </a:cubicBezTo>
                    <a:cubicBezTo>
                      <a:pt x="582" y="693"/>
                      <a:pt x="582" y="693"/>
                      <a:pt x="581" y="693"/>
                    </a:cubicBezTo>
                    <a:cubicBezTo>
                      <a:pt x="581" y="693"/>
                      <a:pt x="581" y="693"/>
                      <a:pt x="581" y="692"/>
                    </a:cubicBezTo>
                    <a:close/>
                    <a:moveTo>
                      <a:pt x="577" y="693"/>
                    </a:moveTo>
                    <a:cubicBezTo>
                      <a:pt x="577" y="693"/>
                      <a:pt x="577" y="693"/>
                      <a:pt x="578" y="693"/>
                    </a:cubicBezTo>
                    <a:cubicBezTo>
                      <a:pt x="578" y="693"/>
                      <a:pt x="578" y="693"/>
                      <a:pt x="578" y="693"/>
                    </a:cubicBezTo>
                    <a:cubicBezTo>
                      <a:pt x="578" y="693"/>
                      <a:pt x="579" y="692"/>
                      <a:pt x="579" y="692"/>
                    </a:cubicBezTo>
                    <a:cubicBezTo>
                      <a:pt x="579" y="692"/>
                      <a:pt x="579" y="692"/>
                      <a:pt x="579" y="692"/>
                    </a:cubicBezTo>
                    <a:cubicBezTo>
                      <a:pt x="579" y="692"/>
                      <a:pt x="579" y="692"/>
                      <a:pt x="579" y="692"/>
                    </a:cubicBezTo>
                    <a:cubicBezTo>
                      <a:pt x="579" y="692"/>
                      <a:pt x="579" y="692"/>
                      <a:pt x="579" y="692"/>
                    </a:cubicBezTo>
                    <a:cubicBezTo>
                      <a:pt x="579" y="693"/>
                      <a:pt x="579" y="693"/>
                      <a:pt x="579" y="693"/>
                    </a:cubicBezTo>
                    <a:cubicBezTo>
                      <a:pt x="579" y="693"/>
                      <a:pt x="578" y="693"/>
                      <a:pt x="578" y="694"/>
                    </a:cubicBezTo>
                    <a:cubicBezTo>
                      <a:pt x="578" y="694"/>
                      <a:pt x="578" y="694"/>
                      <a:pt x="578" y="694"/>
                    </a:cubicBezTo>
                    <a:cubicBezTo>
                      <a:pt x="577" y="693"/>
                      <a:pt x="577" y="693"/>
                      <a:pt x="577" y="693"/>
                    </a:cubicBezTo>
                    <a:close/>
                    <a:moveTo>
                      <a:pt x="592" y="714"/>
                    </a:moveTo>
                    <a:cubicBezTo>
                      <a:pt x="592" y="714"/>
                      <a:pt x="592" y="713"/>
                      <a:pt x="592" y="712"/>
                    </a:cubicBezTo>
                    <a:cubicBezTo>
                      <a:pt x="592" y="712"/>
                      <a:pt x="592" y="712"/>
                      <a:pt x="592" y="712"/>
                    </a:cubicBezTo>
                    <a:cubicBezTo>
                      <a:pt x="592" y="712"/>
                      <a:pt x="592" y="712"/>
                      <a:pt x="592" y="711"/>
                    </a:cubicBezTo>
                    <a:cubicBezTo>
                      <a:pt x="592" y="711"/>
                      <a:pt x="592" y="711"/>
                      <a:pt x="591" y="711"/>
                    </a:cubicBezTo>
                    <a:cubicBezTo>
                      <a:pt x="591" y="711"/>
                      <a:pt x="591" y="712"/>
                      <a:pt x="591" y="712"/>
                    </a:cubicBezTo>
                    <a:cubicBezTo>
                      <a:pt x="591" y="712"/>
                      <a:pt x="591" y="712"/>
                      <a:pt x="591" y="712"/>
                    </a:cubicBezTo>
                    <a:cubicBezTo>
                      <a:pt x="591" y="712"/>
                      <a:pt x="591" y="712"/>
                      <a:pt x="591" y="713"/>
                    </a:cubicBezTo>
                    <a:cubicBezTo>
                      <a:pt x="591" y="713"/>
                      <a:pt x="590" y="713"/>
                      <a:pt x="590" y="714"/>
                    </a:cubicBezTo>
                    <a:cubicBezTo>
                      <a:pt x="590" y="714"/>
                      <a:pt x="590" y="714"/>
                      <a:pt x="590" y="714"/>
                    </a:cubicBezTo>
                    <a:cubicBezTo>
                      <a:pt x="590" y="714"/>
                      <a:pt x="590" y="714"/>
                      <a:pt x="590" y="714"/>
                    </a:cubicBezTo>
                    <a:cubicBezTo>
                      <a:pt x="589" y="714"/>
                      <a:pt x="589" y="714"/>
                      <a:pt x="589" y="715"/>
                    </a:cubicBezTo>
                    <a:cubicBezTo>
                      <a:pt x="589" y="715"/>
                      <a:pt x="589" y="715"/>
                      <a:pt x="589" y="715"/>
                    </a:cubicBezTo>
                    <a:cubicBezTo>
                      <a:pt x="589" y="715"/>
                      <a:pt x="589" y="714"/>
                      <a:pt x="589" y="714"/>
                    </a:cubicBezTo>
                    <a:cubicBezTo>
                      <a:pt x="589" y="714"/>
                      <a:pt x="589" y="714"/>
                      <a:pt x="589" y="714"/>
                    </a:cubicBezTo>
                    <a:cubicBezTo>
                      <a:pt x="589" y="714"/>
                      <a:pt x="589" y="713"/>
                      <a:pt x="588" y="713"/>
                    </a:cubicBezTo>
                    <a:cubicBezTo>
                      <a:pt x="588" y="713"/>
                      <a:pt x="588" y="713"/>
                      <a:pt x="589" y="712"/>
                    </a:cubicBezTo>
                    <a:cubicBezTo>
                      <a:pt x="589" y="712"/>
                      <a:pt x="589" y="712"/>
                      <a:pt x="589" y="712"/>
                    </a:cubicBezTo>
                    <a:cubicBezTo>
                      <a:pt x="589" y="711"/>
                      <a:pt x="589" y="711"/>
                      <a:pt x="589" y="711"/>
                    </a:cubicBezTo>
                    <a:cubicBezTo>
                      <a:pt x="589" y="711"/>
                      <a:pt x="589" y="710"/>
                      <a:pt x="589" y="710"/>
                    </a:cubicBezTo>
                    <a:cubicBezTo>
                      <a:pt x="590" y="710"/>
                      <a:pt x="590" y="710"/>
                      <a:pt x="589" y="710"/>
                    </a:cubicBezTo>
                    <a:cubicBezTo>
                      <a:pt x="589" y="710"/>
                      <a:pt x="589" y="709"/>
                      <a:pt x="590" y="709"/>
                    </a:cubicBezTo>
                    <a:cubicBezTo>
                      <a:pt x="590" y="709"/>
                      <a:pt x="590" y="709"/>
                      <a:pt x="590" y="709"/>
                    </a:cubicBezTo>
                    <a:cubicBezTo>
                      <a:pt x="590" y="709"/>
                      <a:pt x="590" y="709"/>
                      <a:pt x="590" y="709"/>
                    </a:cubicBezTo>
                    <a:cubicBezTo>
                      <a:pt x="590" y="708"/>
                      <a:pt x="590" y="708"/>
                      <a:pt x="591" y="708"/>
                    </a:cubicBezTo>
                    <a:cubicBezTo>
                      <a:pt x="591" y="708"/>
                      <a:pt x="591" y="708"/>
                      <a:pt x="591" y="708"/>
                    </a:cubicBezTo>
                    <a:cubicBezTo>
                      <a:pt x="591" y="708"/>
                      <a:pt x="591" y="707"/>
                      <a:pt x="590" y="707"/>
                    </a:cubicBezTo>
                    <a:cubicBezTo>
                      <a:pt x="590" y="707"/>
                      <a:pt x="590" y="707"/>
                      <a:pt x="590" y="708"/>
                    </a:cubicBezTo>
                    <a:cubicBezTo>
                      <a:pt x="590" y="708"/>
                      <a:pt x="590" y="708"/>
                      <a:pt x="589" y="708"/>
                    </a:cubicBezTo>
                    <a:cubicBezTo>
                      <a:pt x="589" y="708"/>
                      <a:pt x="588" y="709"/>
                      <a:pt x="588" y="709"/>
                    </a:cubicBezTo>
                    <a:cubicBezTo>
                      <a:pt x="588" y="709"/>
                      <a:pt x="587" y="710"/>
                      <a:pt x="587" y="710"/>
                    </a:cubicBezTo>
                    <a:cubicBezTo>
                      <a:pt x="587" y="711"/>
                      <a:pt x="586" y="711"/>
                      <a:pt x="587" y="712"/>
                    </a:cubicBezTo>
                    <a:cubicBezTo>
                      <a:pt x="587" y="712"/>
                      <a:pt x="587" y="712"/>
                      <a:pt x="587" y="712"/>
                    </a:cubicBezTo>
                    <a:cubicBezTo>
                      <a:pt x="586" y="712"/>
                      <a:pt x="586" y="713"/>
                      <a:pt x="586" y="713"/>
                    </a:cubicBezTo>
                    <a:cubicBezTo>
                      <a:pt x="586" y="713"/>
                      <a:pt x="586" y="713"/>
                      <a:pt x="586" y="713"/>
                    </a:cubicBezTo>
                    <a:cubicBezTo>
                      <a:pt x="585" y="713"/>
                      <a:pt x="585" y="713"/>
                      <a:pt x="585" y="713"/>
                    </a:cubicBezTo>
                    <a:cubicBezTo>
                      <a:pt x="585" y="713"/>
                      <a:pt x="585" y="712"/>
                      <a:pt x="585" y="712"/>
                    </a:cubicBezTo>
                    <a:cubicBezTo>
                      <a:pt x="585" y="713"/>
                      <a:pt x="585" y="713"/>
                      <a:pt x="585" y="712"/>
                    </a:cubicBezTo>
                    <a:cubicBezTo>
                      <a:pt x="584" y="712"/>
                      <a:pt x="584" y="712"/>
                      <a:pt x="584" y="711"/>
                    </a:cubicBezTo>
                    <a:cubicBezTo>
                      <a:pt x="584" y="711"/>
                      <a:pt x="584" y="711"/>
                      <a:pt x="584" y="710"/>
                    </a:cubicBezTo>
                    <a:cubicBezTo>
                      <a:pt x="584" y="711"/>
                      <a:pt x="584" y="711"/>
                      <a:pt x="584" y="711"/>
                    </a:cubicBezTo>
                    <a:cubicBezTo>
                      <a:pt x="585" y="711"/>
                      <a:pt x="585" y="710"/>
                      <a:pt x="585" y="709"/>
                    </a:cubicBezTo>
                    <a:cubicBezTo>
                      <a:pt x="586" y="709"/>
                      <a:pt x="586" y="709"/>
                      <a:pt x="586" y="709"/>
                    </a:cubicBezTo>
                    <a:cubicBezTo>
                      <a:pt x="586" y="709"/>
                      <a:pt x="586" y="709"/>
                      <a:pt x="586" y="709"/>
                    </a:cubicBezTo>
                    <a:cubicBezTo>
                      <a:pt x="586" y="708"/>
                      <a:pt x="585" y="709"/>
                      <a:pt x="585" y="709"/>
                    </a:cubicBezTo>
                    <a:cubicBezTo>
                      <a:pt x="585" y="709"/>
                      <a:pt x="585" y="709"/>
                      <a:pt x="585" y="709"/>
                    </a:cubicBezTo>
                    <a:cubicBezTo>
                      <a:pt x="585" y="709"/>
                      <a:pt x="584" y="709"/>
                      <a:pt x="584" y="709"/>
                    </a:cubicBezTo>
                    <a:cubicBezTo>
                      <a:pt x="584" y="709"/>
                      <a:pt x="584" y="709"/>
                      <a:pt x="585" y="709"/>
                    </a:cubicBezTo>
                    <a:cubicBezTo>
                      <a:pt x="585" y="709"/>
                      <a:pt x="585" y="709"/>
                      <a:pt x="585" y="708"/>
                    </a:cubicBezTo>
                    <a:cubicBezTo>
                      <a:pt x="585" y="708"/>
                      <a:pt x="585" y="708"/>
                      <a:pt x="585" y="708"/>
                    </a:cubicBezTo>
                    <a:cubicBezTo>
                      <a:pt x="585" y="708"/>
                      <a:pt x="585" y="708"/>
                      <a:pt x="585" y="708"/>
                    </a:cubicBezTo>
                    <a:cubicBezTo>
                      <a:pt x="584" y="708"/>
                      <a:pt x="584" y="708"/>
                      <a:pt x="584" y="708"/>
                    </a:cubicBezTo>
                    <a:cubicBezTo>
                      <a:pt x="584" y="708"/>
                      <a:pt x="584" y="708"/>
                      <a:pt x="584" y="708"/>
                    </a:cubicBezTo>
                    <a:cubicBezTo>
                      <a:pt x="584" y="708"/>
                      <a:pt x="584" y="708"/>
                      <a:pt x="584" y="708"/>
                    </a:cubicBezTo>
                    <a:cubicBezTo>
                      <a:pt x="584" y="708"/>
                      <a:pt x="584" y="708"/>
                      <a:pt x="584" y="708"/>
                    </a:cubicBezTo>
                    <a:cubicBezTo>
                      <a:pt x="584" y="708"/>
                      <a:pt x="584" y="707"/>
                      <a:pt x="583" y="707"/>
                    </a:cubicBezTo>
                    <a:cubicBezTo>
                      <a:pt x="583" y="707"/>
                      <a:pt x="583" y="707"/>
                      <a:pt x="583" y="707"/>
                    </a:cubicBezTo>
                    <a:cubicBezTo>
                      <a:pt x="583" y="707"/>
                      <a:pt x="583" y="707"/>
                      <a:pt x="583" y="707"/>
                    </a:cubicBezTo>
                    <a:cubicBezTo>
                      <a:pt x="583" y="707"/>
                      <a:pt x="583" y="707"/>
                      <a:pt x="584" y="707"/>
                    </a:cubicBezTo>
                    <a:cubicBezTo>
                      <a:pt x="584" y="707"/>
                      <a:pt x="584" y="707"/>
                      <a:pt x="584" y="707"/>
                    </a:cubicBezTo>
                    <a:cubicBezTo>
                      <a:pt x="584" y="708"/>
                      <a:pt x="584" y="707"/>
                      <a:pt x="584" y="707"/>
                    </a:cubicBezTo>
                    <a:cubicBezTo>
                      <a:pt x="584" y="708"/>
                      <a:pt x="584" y="708"/>
                      <a:pt x="585" y="708"/>
                    </a:cubicBezTo>
                    <a:cubicBezTo>
                      <a:pt x="585" y="708"/>
                      <a:pt x="585" y="708"/>
                      <a:pt x="586" y="708"/>
                    </a:cubicBezTo>
                    <a:cubicBezTo>
                      <a:pt x="586" y="708"/>
                      <a:pt x="586" y="708"/>
                      <a:pt x="586" y="707"/>
                    </a:cubicBezTo>
                    <a:cubicBezTo>
                      <a:pt x="586" y="707"/>
                      <a:pt x="586" y="707"/>
                      <a:pt x="586" y="707"/>
                    </a:cubicBezTo>
                    <a:cubicBezTo>
                      <a:pt x="586" y="707"/>
                      <a:pt x="586" y="707"/>
                      <a:pt x="585" y="707"/>
                    </a:cubicBezTo>
                    <a:cubicBezTo>
                      <a:pt x="586" y="707"/>
                      <a:pt x="586" y="706"/>
                      <a:pt x="587" y="706"/>
                    </a:cubicBezTo>
                    <a:cubicBezTo>
                      <a:pt x="587" y="706"/>
                      <a:pt x="587" y="706"/>
                      <a:pt x="588" y="705"/>
                    </a:cubicBezTo>
                    <a:cubicBezTo>
                      <a:pt x="588" y="705"/>
                      <a:pt x="588" y="705"/>
                      <a:pt x="588" y="705"/>
                    </a:cubicBezTo>
                    <a:cubicBezTo>
                      <a:pt x="588" y="705"/>
                      <a:pt x="588" y="706"/>
                      <a:pt x="589" y="705"/>
                    </a:cubicBezTo>
                    <a:cubicBezTo>
                      <a:pt x="589" y="705"/>
                      <a:pt x="589" y="705"/>
                      <a:pt x="589" y="704"/>
                    </a:cubicBezTo>
                    <a:cubicBezTo>
                      <a:pt x="589" y="704"/>
                      <a:pt x="590" y="704"/>
                      <a:pt x="590" y="704"/>
                    </a:cubicBezTo>
                    <a:cubicBezTo>
                      <a:pt x="590" y="703"/>
                      <a:pt x="590" y="703"/>
                      <a:pt x="590" y="703"/>
                    </a:cubicBezTo>
                    <a:cubicBezTo>
                      <a:pt x="590" y="703"/>
                      <a:pt x="590" y="702"/>
                      <a:pt x="590" y="702"/>
                    </a:cubicBezTo>
                    <a:cubicBezTo>
                      <a:pt x="590" y="702"/>
                      <a:pt x="589" y="702"/>
                      <a:pt x="589" y="702"/>
                    </a:cubicBezTo>
                    <a:cubicBezTo>
                      <a:pt x="589" y="702"/>
                      <a:pt x="589" y="703"/>
                      <a:pt x="589" y="703"/>
                    </a:cubicBezTo>
                    <a:cubicBezTo>
                      <a:pt x="588" y="704"/>
                      <a:pt x="588" y="704"/>
                      <a:pt x="588" y="703"/>
                    </a:cubicBezTo>
                    <a:cubicBezTo>
                      <a:pt x="588" y="703"/>
                      <a:pt x="588" y="703"/>
                      <a:pt x="588" y="703"/>
                    </a:cubicBezTo>
                    <a:cubicBezTo>
                      <a:pt x="588" y="703"/>
                      <a:pt x="587" y="703"/>
                      <a:pt x="587" y="703"/>
                    </a:cubicBezTo>
                    <a:cubicBezTo>
                      <a:pt x="587" y="703"/>
                      <a:pt x="587" y="703"/>
                      <a:pt x="587" y="703"/>
                    </a:cubicBezTo>
                    <a:cubicBezTo>
                      <a:pt x="586" y="703"/>
                      <a:pt x="586" y="704"/>
                      <a:pt x="586" y="704"/>
                    </a:cubicBezTo>
                    <a:cubicBezTo>
                      <a:pt x="586" y="704"/>
                      <a:pt x="586" y="704"/>
                      <a:pt x="586" y="704"/>
                    </a:cubicBezTo>
                    <a:cubicBezTo>
                      <a:pt x="586" y="704"/>
                      <a:pt x="586" y="704"/>
                      <a:pt x="586" y="704"/>
                    </a:cubicBezTo>
                    <a:cubicBezTo>
                      <a:pt x="586" y="704"/>
                      <a:pt x="586" y="704"/>
                      <a:pt x="585" y="704"/>
                    </a:cubicBezTo>
                    <a:cubicBezTo>
                      <a:pt x="585" y="704"/>
                      <a:pt x="585" y="704"/>
                      <a:pt x="585" y="704"/>
                    </a:cubicBezTo>
                    <a:cubicBezTo>
                      <a:pt x="585" y="704"/>
                      <a:pt x="586" y="704"/>
                      <a:pt x="585" y="704"/>
                    </a:cubicBezTo>
                    <a:cubicBezTo>
                      <a:pt x="585" y="703"/>
                      <a:pt x="585" y="704"/>
                      <a:pt x="585" y="704"/>
                    </a:cubicBezTo>
                    <a:cubicBezTo>
                      <a:pt x="585" y="704"/>
                      <a:pt x="584" y="704"/>
                      <a:pt x="584" y="705"/>
                    </a:cubicBezTo>
                    <a:cubicBezTo>
                      <a:pt x="584" y="705"/>
                      <a:pt x="584" y="705"/>
                      <a:pt x="584" y="705"/>
                    </a:cubicBezTo>
                    <a:cubicBezTo>
                      <a:pt x="584" y="704"/>
                      <a:pt x="584" y="704"/>
                      <a:pt x="584" y="704"/>
                    </a:cubicBezTo>
                    <a:cubicBezTo>
                      <a:pt x="584" y="704"/>
                      <a:pt x="584" y="704"/>
                      <a:pt x="584" y="704"/>
                    </a:cubicBezTo>
                    <a:cubicBezTo>
                      <a:pt x="584" y="704"/>
                      <a:pt x="584" y="704"/>
                      <a:pt x="584" y="704"/>
                    </a:cubicBezTo>
                    <a:cubicBezTo>
                      <a:pt x="584" y="704"/>
                      <a:pt x="584" y="704"/>
                      <a:pt x="584" y="704"/>
                    </a:cubicBezTo>
                    <a:cubicBezTo>
                      <a:pt x="584" y="704"/>
                      <a:pt x="584" y="704"/>
                      <a:pt x="585" y="704"/>
                    </a:cubicBezTo>
                    <a:cubicBezTo>
                      <a:pt x="585" y="704"/>
                      <a:pt x="585" y="703"/>
                      <a:pt x="585" y="703"/>
                    </a:cubicBezTo>
                    <a:cubicBezTo>
                      <a:pt x="585" y="703"/>
                      <a:pt x="585" y="703"/>
                      <a:pt x="584" y="703"/>
                    </a:cubicBezTo>
                    <a:cubicBezTo>
                      <a:pt x="584" y="703"/>
                      <a:pt x="584" y="703"/>
                      <a:pt x="584" y="703"/>
                    </a:cubicBezTo>
                    <a:cubicBezTo>
                      <a:pt x="584" y="703"/>
                      <a:pt x="585" y="703"/>
                      <a:pt x="585" y="702"/>
                    </a:cubicBezTo>
                    <a:cubicBezTo>
                      <a:pt x="585" y="702"/>
                      <a:pt x="585" y="702"/>
                      <a:pt x="586" y="702"/>
                    </a:cubicBezTo>
                    <a:cubicBezTo>
                      <a:pt x="586" y="702"/>
                      <a:pt x="586" y="702"/>
                      <a:pt x="586" y="702"/>
                    </a:cubicBezTo>
                    <a:cubicBezTo>
                      <a:pt x="585" y="702"/>
                      <a:pt x="585" y="702"/>
                      <a:pt x="585" y="702"/>
                    </a:cubicBezTo>
                    <a:cubicBezTo>
                      <a:pt x="585" y="702"/>
                      <a:pt x="585" y="702"/>
                      <a:pt x="585" y="702"/>
                    </a:cubicBezTo>
                    <a:cubicBezTo>
                      <a:pt x="584" y="701"/>
                      <a:pt x="584" y="701"/>
                      <a:pt x="584" y="702"/>
                    </a:cubicBezTo>
                    <a:cubicBezTo>
                      <a:pt x="583" y="702"/>
                      <a:pt x="583" y="702"/>
                      <a:pt x="583" y="702"/>
                    </a:cubicBezTo>
                    <a:cubicBezTo>
                      <a:pt x="583" y="702"/>
                      <a:pt x="583" y="702"/>
                      <a:pt x="583" y="701"/>
                    </a:cubicBezTo>
                    <a:cubicBezTo>
                      <a:pt x="583" y="701"/>
                      <a:pt x="584" y="701"/>
                      <a:pt x="584" y="701"/>
                    </a:cubicBezTo>
                    <a:cubicBezTo>
                      <a:pt x="584" y="701"/>
                      <a:pt x="584" y="701"/>
                      <a:pt x="584" y="701"/>
                    </a:cubicBezTo>
                    <a:cubicBezTo>
                      <a:pt x="584" y="701"/>
                      <a:pt x="584" y="701"/>
                      <a:pt x="584" y="701"/>
                    </a:cubicBezTo>
                    <a:cubicBezTo>
                      <a:pt x="584" y="701"/>
                      <a:pt x="584" y="701"/>
                      <a:pt x="584" y="701"/>
                    </a:cubicBezTo>
                    <a:cubicBezTo>
                      <a:pt x="584" y="700"/>
                      <a:pt x="584" y="700"/>
                      <a:pt x="584" y="700"/>
                    </a:cubicBezTo>
                    <a:cubicBezTo>
                      <a:pt x="584" y="701"/>
                      <a:pt x="583" y="701"/>
                      <a:pt x="583" y="701"/>
                    </a:cubicBezTo>
                    <a:cubicBezTo>
                      <a:pt x="583" y="701"/>
                      <a:pt x="582" y="701"/>
                      <a:pt x="582" y="701"/>
                    </a:cubicBezTo>
                    <a:cubicBezTo>
                      <a:pt x="582" y="701"/>
                      <a:pt x="582" y="701"/>
                      <a:pt x="582" y="701"/>
                    </a:cubicBezTo>
                    <a:cubicBezTo>
                      <a:pt x="582" y="701"/>
                      <a:pt x="582" y="701"/>
                      <a:pt x="582" y="701"/>
                    </a:cubicBezTo>
                    <a:cubicBezTo>
                      <a:pt x="583" y="701"/>
                      <a:pt x="583" y="700"/>
                      <a:pt x="583" y="700"/>
                    </a:cubicBezTo>
                    <a:cubicBezTo>
                      <a:pt x="583" y="700"/>
                      <a:pt x="584" y="700"/>
                      <a:pt x="584" y="699"/>
                    </a:cubicBezTo>
                    <a:cubicBezTo>
                      <a:pt x="584" y="699"/>
                      <a:pt x="584" y="699"/>
                      <a:pt x="585" y="699"/>
                    </a:cubicBezTo>
                    <a:cubicBezTo>
                      <a:pt x="585" y="699"/>
                      <a:pt x="584" y="699"/>
                      <a:pt x="584" y="699"/>
                    </a:cubicBezTo>
                    <a:cubicBezTo>
                      <a:pt x="584" y="699"/>
                      <a:pt x="584" y="698"/>
                      <a:pt x="584" y="698"/>
                    </a:cubicBezTo>
                    <a:cubicBezTo>
                      <a:pt x="584" y="698"/>
                      <a:pt x="584" y="698"/>
                      <a:pt x="584" y="698"/>
                    </a:cubicBezTo>
                    <a:cubicBezTo>
                      <a:pt x="585" y="698"/>
                      <a:pt x="585" y="698"/>
                      <a:pt x="585" y="698"/>
                    </a:cubicBezTo>
                    <a:cubicBezTo>
                      <a:pt x="586" y="698"/>
                      <a:pt x="586" y="698"/>
                      <a:pt x="586" y="698"/>
                    </a:cubicBezTo>
                    <a:cubicBezTo>
                      <a:pt x="586" y="698"/>
                      <a:pt x="586" y="697"/>
                      <a:pt x="586" y="697"/>
                    </a:cubicBezTo>
                    <a:cubicBezTo>
                      <a:pt x="587" y="696"/>
                      <a:pt x="587" y="696"/>
                      <a:pt x="586" y="696"/>
                    </a:cubicBezTo>
                    <a:cubicBezTo>
                      <a:pt x="586" y="696"/>
                      <a:pt x="586" y="695"/>
                      <a:pt x="586" y="695"/>
                    </a:cubicBezTo>
                    <a:cubicBezTo>
                      <a:pt x="585" y="695"/>
                      <a:pt x="585" y="695"/>
                      <a:pt x="585" y="695"/>
                    </a:cubicBezTo>
                    <a:cubicBezTo>
                      <a:pt x="584" y="695"/>
                      <a:pt x="584" y="695"/>
                      <a:pt x="584" y="694"/>
                    </a:cubicBezTo>
                    <a:cubicBezTo>
                      <a:pt x="584" y="694"/>
                      <a:pt x="583" y="694"/>
                      <a:pt x="583" y="694"/>
                    </a:cubicBezTo>
                    <a:cubicBezTo>
                      <a:pt x="583" y="694"/>
                      <a:pt x="583" y="694"/>
                      <a:pt x="583" y="694"/>
                    </a:cubicBezTo>
                    <a:cubicBezTo>
                      <a:pt x="583" y="694"/>
                      <a:pt x="582" y="694"/>
                      <a:pt x="582" y="694"/>
                    </a:cubicBezTo>
                    <a:cubicBezTo>
                      <a:pt x="582" y="694"/>
                      <a:pt x="582" y="694"/>
                      <a:pt x="582" y="694"/>
                    </a:cubicBezTo>
                    <a:cubicBezTo>
                      <a:pt x="582" y="695"/>
                      <a:pt x="582" y="695"/>
                      <a:pt x="582" y="695"/>
                    </a:cubicBezTo>
                    <a:cubicBezTo>
                      <a:pt x="582" y="694"/>
                      <a:pt x="581" y="694"/>
                      <a:pt x="581" y="694"/>
                    </a:cubicBezTo>
                    <a:cubicBezTo>
                      <a:pt x="581" y="694"/>
                      <a:pt x="581" y="694"/>
                      <a:pt x="581" y="694"/>
                    </a:cubicBezTo>
                    <a:cubicBezTo>
                      <a:pt x="580" y="694"/>
                      <a:pt x="580" y="695"/>
                      <a:pt x="580" y="695"/>
                    </a:cubicBezTo>
                    <a:cubicBezTo>
                      <a:pt x="580" y="696"/>
                      <a:pt x="580" y="696"/>
                      <a:pt x="580" y="696"/>
                    </a:cubicBezTo>
                    <a:cubicBezTo>
                      <a:pt x="580" y="695"/>
                      <a:pt x="580" y="694"/>
                      <a:pt x="580" y="693"/>
                    </a:cubicBezTo>
                    <a:cubicBezTo>
                      <a:pt x="579" y="693"/>
                      <a:pt x="579" y="694"/>
                      <a:pt x="578" y="694"/>
                    </a:cubicBezTo>
                    <a:cubicBezTo>
                      <a:pt x="578" y="694"/>
                      <a:pt x="578" y="694"/>
                      <a:pt x="579" y="694"/>
                    </a:cubicBezTo>
                    <a:cubicBezTo>
                      <a:pt x="579" y="694"/>
                      <a:pt x="579" y="694"/>
                      <a:pt x="579" y="694"/>
                    </a:cubicBezTo>
                    <a:cubicBezTo>
                      <a:pt x="578" y="694"/>
                      <a:pt x="578" y="694"/>
                      <a:pt x="578" y="694"/>
                    </a:cubicBezTo>
                    <a:cubicBezTo>
                      <a:pt x="578" y="694"/>
                      <a:pt x="578" y="694"/>
                      <a:pt x="578" y="694"/>
                    </a:cubicBezTo>
                    <a:cubicBezTo>
                      <a:pt x="578" y="695"/>
                      <a:pt x="578" y="694"/>
                      <a:pt x="578" y="695"/>
                    </a:cubicBezTo>
                    <a:cubicBezTo>
                      <a:pt x="578" y="695"/>
                      <a:pt x="578" y="695"/>
                      <a:pt x="578" y="695"/>
                    </a:cubicBezTo>
                    <a:cubicBezTo>
                      <a:pt x="577" y="696"/>
                      <a:pt x="577" y="695"/>
                      <a:pt x="577" y="695"/>
                    </a:cubicBezTo>
                    <a:cubicBezTo>
                      <a:pt x="577" y="695"/>
                      <a:pt x="577" y="695"/>
                      <a:pt x="577" y="694"/>
                    </a:cubicBezTo>
                    <a:cubicBezTo>
                      <a:pt x="577" y="695"/>
                      <a:pt x="577" y="695"/>
                      <a:pt x="577" y="695"/>
                    </a:cubicBezTo>
                    <a:cubicBezTo>
                      <a:pt x="577" y="696"/>
                      <a:pt x="577" y="696"/>
                      <a:pt x="577" y="696"/>
                    </a:cubicBezTo>
                    <a:cubicBezTo>
                      <a:pt x="577" y="696"/>
                      <a:pt x="576" y="696"/>
                      <a:pt x="576" y="696"/>
                    </a:cubicBezTo>
                    <a:cubicBezTo>
                      <a:pt x="575" y="696"/>
                      <a:pt x="575" y="696"/>
                      <a:pt x="575" y="697"/>
                    </a:cubicBezTo>
                    <a:cubicBezTo>
                      <a:pt x="574" y="697"/>
                      <a:pt x="574" y="697"/>
                      <a:pt x="574" y="697"/>
                    </a:cubicBezTo>
                    <a:cubicBezTo>
                      <a:pt x="574" y="697"/>
                      <a:pt x="574" y="698"/>
                      <a:pt x="574" y="698"/>
                    </a:cubicBezTo>
                    <a:cubicBezTo>
                      <a:pt x="574" y="698"/>
                      <a:pt x="574" y="698"/>
                      <a:pt x="574" y="698"/>
                    </a:cubicBezTo>
                    <a:cubicBezTo>
                      <a:pt x="574" y="698"/>
                      <a:pt x="574" y="698"/>
                      <a:pt x="574" y="698"/>
                    </a:cubicBezTo>
                    <a:cubicBezTo>
                      <a:pt x="574" y="697"/>
                      <a:pt x="574" y="697"/>
                      <a:pt x="574" y="697"/>
                    </a:cubicBezTo>
                    <a:cubicBezTo>
                      <a:pt x="574" y="697"/>
                      <a:pt x="574" y="697"/>
                      <a:pt x="574" y="697"/>
                    </a:cubicBezTo>
                    <a:cubicBezTo>
                      <a:pt x="574" y="697"/>
                      <a:pt x="574" y="696"/>
                      <a:pt x="575" y="696"/>
                    </a:cubicBezTo>
                    <a:cubicBezTo>
                      <a:pt x="575" y="696"/>
                      <a:pt x="575" y="696"/>
                      <a:pt x="575" y="696"/>
                    </a:cubicBezTo>
                    <a:cubicBezTo>
                      <a:pt x="575" y="695"/>
                      <a:pt x="575" y="695"/>
                      <a:pt x="575" y="694"/>
                    </a:cubicBezTo>
                    <a:cubicBezTo>
                      <a:pt x="575" y="694"/>
                      <a:pt x="575" y="694"/>
                      <a:pt x="575" y="694"/>
                    </a:cubicBezTo>
                    <a:cubicBezTo>
                      <a:pt x="575" y="693"/>
                      <a:pt x="575" y="693"/>
                      <a:pt x="575" y="693"/>
                    </a:cubicBezTo>
                    <a:cubicBezTo>
                      <a:pt x="575" y="693"/>
                      <a:pt x="574" y="693"/>
                      <a:pt x="574" y="693"/>
                    </a:cubicBezTo>
                    <a:cubicBezTo>
                      <a:pt x="574" y="693"/>
                      <a:pt x="574" y="694"/>
                      <a:pt x="574" y="694"/>
                    </a:cubicBezTo>
                    <a:cubicBezTo>
                      <a:pt x="575" y="694"/>
                      <a:pt x="575" y="695"/>
                      <a:pt x="574" y="695"/>
                    </a:cubicBezTo>
                    <a:cubicBezTo>
                      <a:pt x="574" y="695"/>
                      <a:pt x="574" y="696"/>
                      <a:pt x="574" y="695"/>
                    </a:cubicBezTo>
                    <a:cubicBezTo>
                      <a:pt x="574" y="695"/>
                      <a:pt x="574" y="695"/>
                      <a:pt x="574" y="695"/>
                    </a:cubicBezTo>
                    <a:cubicBezTo>
                      <a:pt x="573" y="695"/>
                      <a:pt x="574" y="695"/>
                      <a:pt x="574" y="695"/>
                    </a:cubicBezTo>
                    <a:cubicBezTo>
                      <a:pt x="574" y="694"/>
                      <a:pt x="574" y="694"/>
                      <a:pt x="574" y="694"/>
                    </a:cubicBezTo>
                    <a:cubicBezTo>
                      <a:pt x="574" y="694"/>
                      <a:pt x="574" y="694"/>
                      <a:pt x="574" y="694"/>
                    </a:cubicBezTo>
                    <a:cubicBezTo>
                      <a:pt x="574" y="694"/>
                      <a:pt x="574" y="694"/>
                      <a:pt x="574" y="694"/>
                    </a:cubicBezTo>
                    <a:cubicBezTo>
                      <a:pt x="574" y="694"/>
                      <a:pt x="574" y="694"/>
                      <a:pt x="574" y="694"/>
                    </a:cubicBezTo>
                    <a:cubicBezTo>
                      <a:pt x="574" y="693"/>
                      <a:pt x="574" y="693"/>
                      <a:pt x="574" y="693"/>
                    </a:cubicBezTo>
                    <a:cubicBezTo>
                      <a:pt x="573" y="693"/>
                      <a:pt x="573" y="694"/>
                      <a:pt x="573" y="694"/>
                    </a:cubicBezTo>
                    <a:cubicBezTo>
                      <a:pt x="573" y="694"/>
                      <a:pt x="573" y="694"/>
                      <a:pt x="573" y="695"/>
                    </a:cubicBezTo>
                    <a:cubicBezTo>
                      <a:pt x="572" y="694"/>
                      <a:pt x="573" y="694"/>
                      <a:pt x="572" y="694"/>
                    </a:cubicBezTo>
                    <a:cubicBezTo>
                      <a:pt x="572" y="694"/>
                      <a:pt x="572" y="694"/>
                      <a:pt x="572" y="695"/>
                    </a:cubicBezTo>
                    <a:cubicBezTo>
                      <a:pt x="572" y="695"/>
                      <a:pt x="572" y="695"/>
                      <a:pt x="572" y="695"/>
                    </a:cubicBezTo>
                    <a:cubicBezTo>
                      <a:pt x="572" y="694"/>
                      <a:pt x="572" y="694"/>
                      <a:pt x="571" y="694"/>
                    </a:cubicBezTo>
                    <a:cubicBezTo>
                      <a:pt x="570" y="693"/>
                      <a:pt x="570" y="693"/>
                      <a:pt x="569" y="694"/>
                    </a:cubicBezTo>
                    <a:cubicBezTo>
                      <a:pt x="569" y="694"/>
                      <a:pt x="569" y="694"/>
                      <a:pt x="569" y="694"/>
                    </a:cubicBezTo>
                    <a:cubicBezTo>
                      <a:pt x="569" y="694"/>
                      <a:pt x="569" y="694"/>
                      <a:pt x="569" y="694"/>
                    </a:cubicBezTo>
                    <a:cubicBezTo>
                      <a:pt x="569" y="694"/>
                      <a:pt x="569" y="694"/>
                      <a:pt x="569" y="693"/>
                    </a:cubicBezTo>
                    <a:cubicBezTo>
                      <a:pt x="570" y="693"/>
                      <a:pt x="571" y="693"/>
                      <a:pt x="571" y="692"/>
                    </a:cubicBezTo>
                    <a:cubicBezTo>
                      <a:pt x="570" y="692"/>
                      <a:pt x="570" y="693"/>
                      <a:pt x="570" y="692"/>
                    </a:cubicBezTo>
                    <a:cubicBezTo>
                      <a:pt x="570" y="692"/>
                      <a:pt x="570" y="692"/>
                      <a:pt x="570" y="692"/>
                    </a:cubicBezTo>
                    <a:cubicBezTo>
                      <a:pt x="570" y="692"/>
                      <a:pt x="570" y="692"/>
                      <a:pt x="570" y="692"/>
                    </a:cubicBezTo>
                    <a:cubicBezTo>
                      <a:pt x="570" y="691"/>
                      <a:pt x="569" y="692"/>
                      <a:pt x="569" y="692"/>
                    </a:cubicBezTo>
                    <a:cubicBezTo>
                      <a:pt x="569" y="691"/>
                      <a:pt x="569" y="692"/>
                      <a:pt x="569" y="691"/>
                    </a:cubicBezTo>
                    <a:cubicBezTo>
                      <a:pt x="569" y="691"/>
                      <a:pt x="569" y="691"/>
                      <a:pt x="569" y="691"/>
                    </a:cubicBezTo>
                    <a:cubicBezTo>
                      <a:pt x="570" y="691"/>
                      <a:pt x="570" y="691"/>
                      <a:pt x="571" y="690"/>
                    </a:cubicBezTo>
                    <a:cubicBezTo>
                      <a:pt x="572" y="690"/>
                      <a:pt x="572" y="689"/>
                      <a:pt x="573" y="689"/>
                    </a:cubicBezTo>
                    <a:cubicBezTo>
                      <a:pt x="573" y="689"/>
                      <a:pt x="573" y="689"/>
                      <a:pt x="573" y="688"/>
                    </a:cubicBezTo>
                    <a:cubicBezTo>
                      <a:pt x="573" y="688"/>
                      <a:pt x="573" y="688"/>
                      <a:pt x="573" y="688"/>
                    </a:cubicBezTo>
                    <a:cubicBezTo>
                      <a:pt x="572" y="689"/>
                      <a:pt x="572" y="689"/>
                      <a:pt x="572" y="689"/>
                    </a:cubicBezTo>
                    <a:cubicBezTo>
                      <a:pt x="572" y="689"/>
                      <a:pt x="572" y="689"/>
                      <a:pt x="571" y="689"/>
                    </a:cubicBezTo>
                    <a:cubicBezTo>
                      <a:pt x="571" y="689"/>
                      <a:pt x="571" y="689"/>
                      <a:pt x="571" y="689"/>
                    </a:cubicBezTo>
                    <a:cubicBezTo>
                      <a:pt x="571" y="689"/>
                      <a:pt x="571" y="689"/>
                      <a:pt x="571" y="688"/>
                    </a:cubicBezTo>
                    <a:cubicBezTo>
                      <a:pt x="570" y="688"/>
                      <a:pt x="570" y="688"/>
                      <a:pt x="570" y="688"/>
                    </a:cubicBezTo>
                    <a:cubicBezTo>
                      <a:pt x="569" y="688"/>
                      <a:pt x="569" y="688"/>
                      <a:pt x="569" y="689"/>
                    </a:cubicBezTo>
                    <a:cubicBezTo>
                      <a:pt x="569" y="688"/>
                      <a:pt x="569" y="688"/>
                      <a:pt x="569" y="688"/>
                    </a:cubicBezTo>
                    <a:cubicBezTo>
                      <a:pt x="569" y="688"/>
                      <a:pt x="569" y="687"/>
                      <a:pt x="569" y="687"/>
                    </a:cubicBezTo>
                    <a:cubicBezTo>
                      <a:pt x="569" y="687"/>
                      <a:pt x="569" y="687"/>
                      <a:pt x="568" y="687"/>
                    </a:cubicBezTo>
                    <a:cubicBezTo>
                      <a:pt x="568" y="687"/>
                      <a:pt x="568" y="687"/>
                      <a:pt x="568" y="688"/>
                    </a:cubicBezTo>
                    <a:cubicBezTo>
                      <a:pt x="567" y="688"/>
                      <a:pt x="567" y="689"/>
                      <a:pt x="566" y="690"/>
                    </a:cubicBezTo>
                    <a:cubicBezTo>
                      <a:pt x="565" y="690"/>
                      <a:pt x="565" y="691"/>
                      <a:pt x="564" y="692"/>
                    </a:cubicBezTo>
                    <a:cubicBezTo>
                      <a:pt x="564" y="692"/>
                      <a:pt x="564" y="692"/>
                      <a:pt x="564" y="693"/>
                    </a:cubicBezTo>
                    <a:cubicBezTo>
                      <a:pt x="564" y="692"/>
                      <a:pt x="564" y="692"/>
                      <a:pt x="564" y="692"/>
                    </a:cubicBezTo>
                    <a:cubicBezTo>
                      <a:pt x="564" y="691"/>
                      <a:pt x="564" y="691"/>
                      <a:pt x="564" y="691"/>
                    </a:cubicBezTo>
                    <a:cubicBezTo>
                      <a:pt x="564" y="691"/>
                      <a:pt x="564" y="691"/>
                      <a:pt x="564" y="691"/>
                    </a:cubicBezTo>
                    <a:cubicBezTo>
                      <a:pt x="564" y="691"/>
                      <a:pt x="564" y="690"/>
                      <a:pt x="565" y="689"/>
                    </a:cubicBezTo>
                    <a:cubicBezTo>
                      <a:pt x="565" y="689"/>
                      <a:pt x="565" y="689"/>
                      <a:pt x="564" y="689"/>
                    </a:cubicBezTo>
                    <a:cubicBezTo>
                      <a:pt x="564" y="688"/>
                      <a:pt x="564" y="688"/>
                      <a:pt x="565" y="688"/>
                    </a:cubicBezTo>
                    <a:cubicBezTo>
                      <a:pt x="565" y="687"/>
                      <a:pt x="565" y="687"/>
                      <a:pt x="565" y="687"/>
                    </a:cubicBezTo>
                    <a:cubicBezTo>
                      <a:pt x="565" y="687"/>
                      <a:pt x="566" y="687"/>
                      <a:pt x="566" y="687"/>
                    </a:cubicBezTo>
                    <a:cubicBezTo>
                      <a:pt x="566" y="687"/>
                      <a:pt x="566" y="687"/>
                      <a:pt x="566" y="687"/>
                    </a:cubicBezTo>
                    <a:cubicBezTo>
                      <a:pt x="566" y="686"/>
                      <a:pt x="566" y="685"/>
                      <a:pt x="567" y="685"/>
                    </a:cubicBezTo>
                    <a:cubicBezTo>
                      <a:pt x="567" y="685"/>
                      <a:pt x="567" y="684"/>
                      <a:pt x="566" y="684"/>
                    </a:cubicBezTo>
                    <a:cubicBezTo>
                      <a:pt x="567" y="684"/>
                      <a:pt x="567" y="684"/>
                      <a:pt x="567" y="684"/>
                    </a:cubicBezTo>
                    <a:cubicBezTo>
                      <a:pt x="567" y="684"/>
                      <a:pt x="568" y="684"/>
                      <a:pt x="568" y="683"/>
                    </a:cubicBezTo>
                    <a:cubicBezTo>
                      <a:pt x="568" y="683"/>
                      <a:pt x="568" y="683"/>
                      <a:pt x="568" y="682"/>
                    </a:cubicBezTo>
                    <a:cubicBezTo>
                      <a:pt x="568" y="682"/>
                      <a:pt x="568" y="682"/>
                      <a:pt x="568" y="682"/>
                    </a:cubicBezTo>
                    <a:cubicBezTo>
                      <a:pt x="569" y="682"/>
                      <a:pt x="569" y="682"/>
                      <a:pt x="569" y="681"/>
                    </a:cubicBezTo>
                    <a:cubicBezTo>
                      <a:pt x="569" y="681"/>
                      <a:pt x="569" y="681"/>
                      <a:pt x="569" y="681"/>
                    </a:cubicBezTo>
                    <a:cubicBezTo>
                      <a:pt x="568" y="681"/>
                      <a:pt x="568" y="680"/>
                      <a:pt x="569" y="680"/>
                    </a:cubicBezTo>
                    <a:cubicBezTo>
                      <a:pt x="569" y="680"/>
                      <a:pt x="569" y="680"/>
                      <a:pt x="569" y="680"/>
                    </a:cubicBezTo>
                    <a:cubicBezTo>
                      <a:pt x="569" y="681"/>
                      <a:pt x="569" y="680"/>
                      <a:pt x="569" y="680"/>
                    </a:cubicBezTo>
                    <a:cubicBezTo>
                      <a:pt x="569" y="680"/>
                      <a:pt x="569" y="680"/>
                      <a:pt x="569" y="680"/>
                    </a:cubicBezTo>
                    <a:cubicBezTo>
                      <a:pt x="570" y="680"/>
                      <a:pt x="570" y="679"/>
                      <a:pt x="570" y="679"/>
                    </a:cubicBezTo>
                    <a:cubicBezTo>
                      <a:pt x="570" y="679"/>
                      <a:pt x="571" y="679"/>
                      <a:pt x="571" y="678"/>
                    </a:cubicBezTo>
                    <a:cubicBezTo>
                      <a:pt x="571" y="678"/>
                      <a:pt x="571" y="677"/>
                      <a:pt x="571" y="677"/>
                    </a:cubicBezTo>
                    <a:cubicBezTo>
                      <a:pt x="571" y="677"/>
                      <a:pt x="572" y="677"/>
                      <a:pt x="571" y="676"/>
                    </a:cubicBezTo>
                    <a:cubicBezTo>
                      <a:pt x="571" y="676"/>
                      <a:pt x="571" y="676"/>
                      <a:pt x="571" y="675"/>
                    </a:cubicBezTo>
                    <a:cubicBezTo>
                      <a:pt x="571" y="675"/>
                      <a:pt x="570" y="675"/>
                      <a:pt x="570" y="676"/>
                    </a:cubicBezTo>
                    <a:cubicBezTo>
                      <a:pt x="570" y="676"/>
                      <a:pt x="569" y="676"/>
                      <a:pt x="569" y="675"/>
                    </a:cubicBezTo>
                    <a:cubicBezTo>
                      <a:pt x="569" y="675"/>
                      <a:pt x="569" y="675"/>
                      <a:pt x="569" y="675"/>
                    </a:cubicBezTo>
                    <a:cubicBezTo>
                      <a:pt x="569" y="674"/>
                      <a:pt x="569" y="674"/>
                      <a:pt x="570" y="674"/>
                    </a:cubicBezTo>
                    <a:cubicBezTo>
                      <a:pt x="571" y="674"/>
                      <a:pt x="571" y="674"/>
                      <a:pt x="572" y="674"/>
                    </a:cubicBezTo>
                    <a:cubicBezTo>
                      <a:pt x="572" y="674"/>
                      <a:pt x="572" y="674"/>
                      <a:pt x="572" y="674"/>
                    </a:cubicBezTo>
                    <a:cubicBezTo>
                      <a:pt x="572" y="674"/>
                      <a:pt x="573" y="674"/>
                      <a:pt x="573" y="674"/>
                    </a:cubicBezTo>
                    <a:cubicBezTo>
                      <a:pt x="573" y="674"/>
                      <a:pt x="573" y="674"/>
                      <a:pt x="573" y="674"/>
                    </a:cubicBezTo>
                    <a:cubicBezTo>
                      <a:pt x="573" y="673"/>
                      <a:pt x="573" y="673"/>
                      <a:pt x="573" y="673"/>
                    </a:cubicBezTo>
                    <a:cubicBezTo>
                      <a:pt x="573" y="672"/>
                      <a:pt x="573" y="672"/>
                      <a:pt x="573" y="672"/>
                    </a:cubicBezTo>
                    <a:cubicBezTo>
                      <a:pt x="574" y="671"/>
                      <a:pt x="573" y="671"/>
                      <a:pt x="573" y="671"/>
                    </a:cubicBezTo>
                    <a:cubicBezTo>
                      <a:pt x="572" y="671"/>
                      <a:pt x="572" y="671"/>
                      <a:pt x="572" y="672"/>
                    </a:cubicBezTo>
                    <a:cubicBezTo>
                      <a:pt x="572" y="672"/>
                      <a:pt x="571" y="672"/>
                      <a:pt x="571" y="672"/>
                    </a:cubicBezTo>
                    <a:cubicBezTo>
                      <a:pt x="571" y="672"/>
                      <a:pt x="571" y="672"/>
                      <a:pt x="571" y="672"/>
                    </a:cubicBezTo>
                    <a:cubicBezTo>
                      <a:pt x="570" y="672"/>
                      <a:pt x="570" y="672"/>
                      <a:pt x="570" y="672"/>
                    </a:cubicBezTo>
                    <a:cubicBezTo>
                      <a:pt x="570" y="671"/>
                      <a:pt x="570" y="671"/>
                      <a:pt x="570" y="671"/>
                    </a:cubicBezTo>
                    <a:cubicBezTo>
                      <a:pt x="570" y="671"/>
                      <a:pt x="570" y="671"/>
                      <a:pt x="570" y="671"/>
                    </a:cubicBezTo>
                    <a:cubicBezTo>
                      <a:pt x="569" y="671"/>
                      <a:pt x="569" y="672"/>
                      <a:pt x="568" y="672"/>
                    </a:cubicBezTo>
                    <a:cubicBezTo>
                      <a:pt x="568" y="672"/>
                      <a:pt x="568" y="672"/>
                      <a:pt x="568" y="672"/>
                    </a:cubicBezTo>
                    <a:cubicBezTo>
                      <a:pt x="567" y="673"/>
                      <a:pt x="567" y="673"/>
                      <a:pt x="566" y="673"/>
                    </a:cubicBezTo>
                    <a:cubicBezTo>
                      <a:pt x="565" y="674"/>
                      <a:pt x="565" y="674"/>
                      <a:pt x="565" y="675"/>
                    </a:cubicBezTo>
                    <a:cubicBezTo>
                      <a:pt x="564" y="675"/>
                      <a:pt x="564" y="675"/>
                      <a:pt x="564" y="675"/>
                    </a:cubicBezTo>
                    <a:cubicBezTo>
                      <a:pt x="565" y="676"/>
                      <a:pt x="564" y="676"/>
                      <a:pt x="564" y="676"/>
                    </a:cubicBezTo>
                    <a:cubicBezTo>
                      <a:pt x="564" y="676"/>
                      <a:pt x="564" y="676"/>
                      <a:pt x="564" y="677"/>
                    </a:cubicBezTo>
                    <a:cubicBezTo>
                      <a:pt x="563" y="677"/>
                      <a:pt x="563" y="678"/>
                      <a:pt x="563" y="678"/>
                    </a:cubicBezTo>
                    <a:cubicBezTo>
                      <a:pt x="563" y="678"/>
                      <a:pt x="563" y="678"/>
                      <a:pt x="563" y="678"/>
                    </a:cubicBezTo>
                    <a:cubicBezTo>
                      <a:pt x="563" y="679"/>
                      <a:pt x="563" y="679"/>
                      <a:pt x="563" y="679"/>
                    </a:cubicBezTo>
                    <a:cubicBezTo>
                      <a:pt x="563" y="679"/>
                      <a:pt x="563" y="679"/>
                      <a:pt x="563" y="679"/>
                    </a:cubicBezTo>
                    <a:cubicBezTo>
                      <a:pt x="562" y="680"/>
                      <a:pt x="562" y="680"/>
                      <a:pt x="561" y="681"/>
                    </a:cubicBezTo>
                    <a:cubicBezTo>
                      <a:pt x="561" y="681"/>
                      <a:pt x="560" y="681"/>
                      <a:pt x="561" y="681"/>
                    </a:cubicBezTo>
                    <a:cubicBezTo>
                      <a:pt x="561" y="681"/>
                      <a:pt x="561" y="682"/>
                      <a:pt x="560" y="682"/>
                    </a:cubicBezTo>
                    <a:cubicBezTo>
                      <a:pt x="560" y="682"/>
                      <a:pt x="560" y="682"/>
                      <a:pt x="560" y="682"/>
                    </a:cubicBezTo>
                    <a:cubicBezTo>
                      <a:pt x="560" y="683"/>
                      <a:pt x="560" y="683"/>
                      <a:pt x="560" y="683"/>
                    </a:cubicBezTo>
                    <a:cubicBezTo>
                      <a:pt x="560" y="683"/>
                      <a:pt x="560" y="683"/>
                      <a:pt x="560" y="683"/>
                    </a:cubicBezTo>
                    <a:cubicBezTo>
                      <a:pt x="559" y="684"/>
                      <a:pt x="559" y="685"/>
                      <a:pt x="559" y="685"/>
                    </a:cubicBezTo>
                    <a:cubicBezTo>
                      <a:pt x="559" y="686"/>
                      <a:pt x="559" y="687"/>
                      <a:pt x="558" y="687"/>
                    </a:cubicBezTo>
                    <a:cubicBezTo>
                      <a:pt x="558" y="688"/>
                      <a:pt x="558" y="688"/>
                      <a:pt x="558" y="689"/>
                    </a:cubicBezTo>
                    <a:cubicBezTo>
                      <a:pt x="558" y="689"/>
                      <a:pt x="558" y="689"/>
                      <a:pt x="558" y="689"/>
                    </a:cubicBezTo>
                    <a:cubicBezTo>
                      <a:pt x="557" y="689"/>
                      <a:pt x="557" y="689"/>
                      <a:pt x="557" y="690"/>
                    </a:cubicBezTo>
                    <a:cubicBezTo>
                      <a:pt x="557" y="690"/>
                      <a:pt x="557" y="690"/>
                      <a:pt x="557" y="690"/>
                    </a:cubicBezTo>
                    <a:cubicBezTo>
                      <a:pt x="557" y="690"/>
                      <a:pt x="557" y="690"/>
                      <a:pt x="557" y="690"/>
                    </a:cubicBezTo>
                    <a:cubicBezTo>
                      <a:pt x="557" y="691"/>
                      <a:pt x="557" y="691"/>
                      <a:pt x="557" y="691"/>
                    </a:cubicBezTo>
                    <a:cubicBezTo>
                      <a:pt x="556" y="692"/>
                      <a:pt x="556" y="692"/>
                      <a:pt x="556" y="692"/>
                    </a:cubicBezTo>
                    <a:cubicBezTo>
                      <a:pt x="556" y="693"/>
                      <a:pt x="557" y="693"/>
                      <a:pt x="557" y="693"/>
                    </a:cubicBezTo>
                    <a:cubicBezTo>
                      <a:pt x="557" y="693"/>
                      <a:pt x="557" y="693"/>
                      <a:pt x="557" y="693"/>
                    </a:cubicBezTo>
                    <a:cubicBezTo>
                      <a:pt x="557" y="693"/>
                      <a:pt x="558" y="694"/>
                      <a:pt x="558" y="694"/>
                    </a:cubicBezTo>
                    <a:cubicBezTo>
                      <a:pt x="557" y="694"/>
                      <a:pt x="557" y="693"/>
                      <a:pt x="557" y="694"/>
                    </a:cubicBezTo>
                    <a:cubicBezTo>
                      <a:pt x="557" y="694"/>
                      <a:pt x="557" y="694"/>
                      <a:pt x="557" y="694"/>
                    </a:cubicBezTo>
                    <a:cubicBezTo>
                      <a:pt x="557" y="693"/>
                      <a:pt x="557" y="693"/>
                      <a:pt x="556" y="693"/>
                    </a:cubicBezTo>
                    <a:cubicBezTo>
                      <a:pt x="556" y="693"/>
                      <a:pt x="556" y="693"/>
                      <a:pt x="556" y="693"/>
                    </a:cubicBezTo>
                    <a:cubicBezTo>
                      <a:pt x="556" y="693"/>
                      <a:pt x="555" y="693"/>
                      <a:pt x="555" y="694"/>
                    </a:cubicBezTo>
                    <a:cubicBezTo>
                      <a:pt x="555" y="694"/>
                      <a:pt x="555" y="694"/>
                      <a:pt x="555" y="695"/>
                    </a:cubicBezTo>
                    <a:cubicBezTo>
                      <a:pt x="554" y="695"/>
                      <a:pt x="554" y="695"/>
                      <a:pt x="554" y="696"/>
                    </a:cubicBezTo>
                    <a:cubicBezTo>
                      <a:pt x="554" y="696"/>
                      <a:pt x="554" y="696"/>
                      <a:pt x="554" y="696"/>
                    </a:cubicBezTo>
                    <a:cubicBezTo>
                      <a:pt x="555" y="696"/>
                      <a:pt x="555" y="696"/>
                      <a:pt x="555" y="696"/>
                    </a:cubicBezTo>
                    <a:cubicBezTo>
                      <a:pt x="556" y="696"/>
                      <a:pt x="556" y="696"/>
                      <a:pt x="556" y="697"/>
                    </a:cubicBezTo>
                    <a:cubicBezTo>
                      <a:pt x="556" y="697"/>
                      <a:pt x="556" y="697"/>
                      <a:pt x="556" y="697"/>
                    </a:cubicBezTo>
                    <a:cubicBezTo>
                      <a:pt x="555" y="697"/>
                      <a:pt x="555" y="697"/>
                      <a:pt x="556" y="697"/>
                    </a:cubicBezTo>
                    <a:cubicBezTo>
                      <a:pt x="556" y="697"/>
                      <a:pt x="556" y="697"/>
                      <a:pt x="557" y="697"/>
                    </a:cubicBezTo>
                    <a:cubicBezTo>
                      <a:pt x="556" y="698"/>
                      <a:pt x="556" y="698"/>
                      <a:pt x="556" y="697"/>
                    </a:cubicBezTo>
                    <a:cubicBezTo>
                      <a:pt x="555" y="697"/>
                      <a:pt x="555" y="697"/>
                      <a:pt x="555" y="698"/>
                    </a:cubicBezTo>
                    <a:cubicBezTo>
                      <a:pt x="555" y="698"/>
                      <a:pt x="555" y="698"/>
                      <a:pt x="555" y="698"/>
                    </a:cubicBezTo>
                    <a:cubicBezTo>
                      <a:pt x="555" y="698"/>
                      <a:pt x="554" y="698"/>
                      <a:pt x="554" y="698"/>
                    </a:cubicBezTo>
                    <a:cubicBezTo>
                      <a:pt x="554" y="698"/>
                      <a:pt x="554" y="698"/>
                      <a:pt x="554" y="698"/>
                    </a:cubicBezTo>
                    <a:cubicBezTo>
                      <a:pt x="554" y="697"/>
                      <a:pt x="554" y="697"/>
                      <a:pt x="554" y="697"/>
                    </a:cubicBezTo>
                    <a:cubicBezTo>
                      <a:pt x="553" y="697"/>
                      <a:pt x="553" y="697"/>
                      <a:pt x="553" y="697"/>
                    </a:cubicBezTo>
                    <a:cubicBezTo>
                      <a:pt x="553" y="698"/>
                      <a:pt x="553" y="698"/>
                      <a:pt x="553" y="698"/>
                    </a:cubicBezTo>
                    <a:cubicBezTo>
                      <a:pt x="553" y="698"/>
                      <a:pt x="553" y="699"/>
                      <a:pt x="553" y="699"/>
                    </a:cubicBezTo>
                    <a:cubicBezTo>
                      <a:pt x="553" y="700"/>
                      <a:pt x="553" y="700"/>
                      <a:pt x="552" y="700"/>
                    </a:cubicBezTo>
                    <a:cubicBezTo>
                      <a:pt x="552" y="700"/>
                      <a:pt x="552" y="700"/>
                      <a:pt x="552" y="701"/>
                    </a:cubicBezTo>
                    <a:cubicBezTo>
                      <a:pt x="552" y="701"/>
                      <a:pt x="551" y="702"/>
                      <a:pt x="551" y="703"/>
                    </a:cubicBezTo>
                    <a:cubicBezTo>
                      <a:pt x="552" y="703"/>
                      <a:pt x="552" y="703"/>
                      <a:pt x="553" y="704"/>
                    </a:cubicBezTo>
                    <a:cubicBezTo>
                      <a:pt x="553" y="704"/>
                      <a:pt x="553" y="704"/>
                      <a:pt x="553" y="704"/>
                    </a:cubicBezTo>
                    <a:cubicBezTo>
                      <a:pt x="553" y="704"/>
                      <a:pt x="553" y="704"/>
                      <a:pt x="553" y="705"/>
                    </a:cubicBezTo>
                    <a:cubicBezTo>
                      <a:pt x="552" y="705"/>
                      <a:pt x="552" y="705"/>
                      <a:pt x="552" y="705"/>
                    </a:cubicBezTo>
                    <a:cubicBezTo>
                      <a:pt x="552" y="705"/>
                      <a:pt x="552" y="705"/>
                      <a:pt x="552" y="705"/>
                    </a:cubicBezTo>
                    <a:cubicBezTo>
                      <a:pt x="552" y="705"/>
                      <a:pt x="551" y="706"/>
                      <a:pt x="551" y="706"/>
                    </a:cubicBezTo>
                    <a:cubicBezTo>
                      <a:pt x="550" y="707"/>
                      <a:pt x="550" y="708"/>
                      <a:pt x="548" y="708"/>
                    </a:cubicBezTo>
                    <a:cubicBezTo>
                      <a:pt x="548" y="708"/>
                      <a:pt x="548" y="709"/>
                      <a:pt x="548" y="709"/>
                    </a:cubicBezTo>
                    <a:cubicBezTo>
                      <a:pt x="547" y="709"/>
                      <a:pt x="547" y="709"/>
                      <a:pt x="547" y="710"/>
                    </a:cubicBezTo>
                    <a:cubicBezTo>
                      <a:pt x="547" y="710"/>
                      <a:pt x="547" y="710"/>
                      <a:pt x="547" y="710"/>
                    </a:cubicBezTo>
                    <a:cubicBezTo>
                      <a:pt x="547" y="710"/>
                      <a:pt x="547" y="711"/>
                      <a:pt x="547" y="711"/>
                    </a:cubicBezTo>
                    <a:cubicBezTo>
                      <a:pt x="547" y="711"/>
                      <a:pt x="547" y="711"/>
                      <a:pt x="547" y="711"/>
                    </a:cubicBezTo>
                    <a:cubicBezTo>
                      <a:pt x="547" y="712"/>
                      <a:pt x="547" y="712"/>
                      <a:pt x="547" y="712"/>
                    </a:cubicBezTo>
                    <a:cubicBezTo>
                      <a:pt x="547" y="712"/>
                      <a:pt x="547" y="712"/>
                      <a:pt x="547" y="712"/>
                    </a:cubicBezTo>
                    <a:cubicBezTo>
                      <a:pt x="547" y="712"/>
                      <a:pt x="547" y="713"/>
                      <a:pt x="547" y="713"/>
                    </a:cubicBezTo>
                    <a:cubicBezTo>
                      <a:pt x="548" y="713"/>
                      <a:pt x="548" y="713"/>
                      <a:pt x="548" y="713"/>
                    </a:cubicBezTo>
                    <a:cubicBezTo>
                      <a:pt x="548" y="713"/>
                      <a:pt x="548" y="713"/>
                      <a:pt x="548" y="713"/>
                    </a:cubicBezTo>
                    <a:cubicBezTo>
                      <a:pt x="549" y="713"/>
                      <a:pt x="549" y="713"/>
                      <a:pt x="549" y="713"/>
                    </a:cubicBezTo>
                    <a:cubicBezTo>
                      <a:pt x="550" y="713"/>
                      <a:pt x="550" y="713"/>
                      <a:pt x="551" y="713"/>
                    </a:cubicBezTo>
                    <a:cubicBezTo>
                      <a:pt x="552" y="713"/>
                      <a:pt x="552" y="713"/>
                      <a:pt x="553" y="713"/>
                    </a:cubicBezTo>
                    <a:cubicBezTo>
                      <a:pt x="553" y="713"/>
                      <a:pt x="553" y="712"/>
                      <a:pt x="553" y="712"/>
                    </a:cubicBezTo>
                    <a:cubicBezTo>
                      <a:pt x="554" y="712"/>
                      <a:pt x="554" y="712"/>
                      <a:pt x="554" y="711"/>
                    </a:cubicBezTo>
                    <a:cubicBezTo>
                      <a:pt x="554" y="712"/>
                      <a:pt x="554" y="712"/>
                      <a:pt x="554" y="712"/>
                    </a:cubicBezTo>
                    <a:cubicBezTo>
                      <a:pt x="554" y="712"/>
                      <a:pt x="554" y="712"/>
                      <a:pt x="554" y="712"/>
                    </a:cubicBezTo>
                    <a:cubicBezTo>
                      <a:pt x="555" y="712"/>
                      <a:pt x="555" y="712"/>
                      <a:pt x="556" y="712"/>
                    </a:cubicBezTo>
                    <a:cubicBezTo>
                      <a:pt x="556" y="712"/>
                      <a:pt x="557" y="712"/>
                      <a:pt x="557" y="712"/>
                    </a:cubicBezTo>
                    <a:cubicBezTo>
                      <a:pt x="557" y="712"/>
                      <a:pt x="557" y="712"/>
                      <a:pt x="557" y="713"/>
                    </a:cubicBezTo>
                    <a:cubicBezTo>
                      <a:pt x="558" y="713"/>
                      <a:pt x="559" y="713"/>
                      <a:pt x="560" y="713"/>
                    </a:cubicBezTo>
                    <a:cubicBezTo>
                      <a:pt x="560" y="713"/>
                      <a:pt x="560" y="713"/>
                      <a:pt x="560" y="713"/>
                    </a:cubicBezTo>
                    <a:cubicBezTo>
                      <a:pt x="560" y="713"/>
                      <a:pt x="561" y="712"/>
                      <a:pt x="561" y="712"/>
                    </a:cubicBezTo>
                    <a:cubicBezTo>
                      <a:pt x="561" y="712"/>
                      <a:pt x="561" y="712"/>
                      <a:pt x="561" y="712"/>
                    </a:cubicBezTo>
                    <a:cubicBezTo>
                      <a:pt x="561" y="712"/>
                      <a:pt x="561" y="712"/>
                      <a:pt x="561" y="713"/>
                    </a:cubicBezTo>
                    <a:cubicBezTo>
                      <a:pt x="561" y="713"/>
                      <a:pt x="560" y="713"/>
                      <a:pt x="561" y="713"/>
                    </a:cubicBezTo>
                    <a:cubicBezTo>
                      <a:pt x="561" y="713"/>
                      <a:pt x="561" y="713"/>
                      <a:pt x="561" y="713"/>
                    </a:cubicBezTo>
                    <a:cubicBezTo>
                      <a:pt x="561" y="713"/>
                      <a:pt x="561" y="713"/>
                      <a:pt x="561" y="713"/>
                    </a:cubicBezTo>
                    <a:cubicBezTo>
                      <a:pt x="562" y="713"/>
                      <a:pt x="562" y="713"/>
                      <a:pt x="562" y="713"/>
                    </a:cubicBezTo>
                    <a:cubicBezTo>
                      <a:pt x="562" y="713"/>
                      <a:pt x="562" y="713"/>
                      <a:pt x="562" y="713"/>
                    </a:cubicBezTo>
                    <a:cubicBezTo>
                      <a:pt x="563" y="713"/>
                      <a:pt x="563" y="713"/>
                      <a:pt x="564" y="713"/>
                    </a:cubicBezTo>
                    <a:cubicBezTo>
                      <a:pt x="564" y="714"/>
                      <a:pt x="564" y="714"/>
                      <a:pt x="565" y="713"/>
                    </a:cubicBezTo>
                    <a:cubicBezTo>
                      <a:pt x="565" y="713"/>
                      <a:pt x="565" y="713"/>
                      <a:pt x="565" y="713"/>
                    </a:cubicBezTo>
                    <a:cubicBezTo>
                      <a:pt x="565" y="713"/>
                      <a:pt x="565" y="713"/>
                      <a:pt x="565" y="713"/>
                    </a:cubicBezTo>
                    <a:cubicBezTo>
                      <a:pt x="566" y="713"/>
                      <a:pt x="566" y="713"/>
                      <a:pt x="566" y="713"/>
                    </a:cubicBezTo>
                    <a:cubicBezTo>
                      <a:pt x="567" y="713"/>
                      <a:pt x="567" y="713"/>
                      <a:pt x="567" y="713"/>
                    </a:cubicBezTo>
                    <a:cubicBezTo>
                      <a:pt x="567" y="713"/>
                      <a:pt x="568" y="713"/>
                      <a:pt x="568" y="713"/>
                    </a:cubicBezTo>
                    <a:cubicBezTo>
                      <a:pt x="568" y="713"/>
                      <a:pt x="569" y="713"/>
                      <a:pt x="568" y="712"/>
                    </a:cubicBezTo>
                    <a:cubicBezTo>
                      <a:pt x="568" y="712"/>
                      <a:pt x="569" y="712"/>
                      <a:pt x="569" y="712"/>
                    </a:cubicBezTo>
                    <a:cubicBezTo>
                      <a:pt x="569" y="711"/>
                      <a:pt x="569" y="712"/>
                      <a:pt x="569" y="712"/>
                    </a:cubicBezTo>
                    <a:cubicBezTo>
                      <a:pt x="569" y="712"/>
                      <a:pt x="569" y="711"/>
                      <a:pt x="570" y="711"/>
                    </a:cubicBezTo>
                    <a:cubicBezTo>
                      <a:pt x="570" y="711"/>
                      <a:pt x="570" y="711"/>
                      <a:pt x="571" y="711"/>
                    </a:cubicBezTo>
                    <a:cubicBezTo>
                      <a:pt x="571" y="711"/>
                      <a:pt x="571" y="711"/>
                      <a:pt x="571" y="711"/>
                    </a:cubicBezTo>
                    <a:cubicBezTo>
                      <a:pt x="571" y="712"/>
                      <a:pt x="570" y="712"/>
                      <a:pt x="570" y="712"/>
                    </a:cubicBezTo>
                    <a:cubicBezTo>
                      <a:pt x="570" y="712"/>
                      <a:pt x="569" y="712"/>
                      <a:pt x="569" y="712"/>
                    </a:cubicBezTo>
                    <a:cubicBezTo>
                      <a:pt x="569" y="712"/>
                      <a:pt x="569" y="713"/>
                      <a:pt x="569" y="713"/>
                    </a:cubicBezTo>
                    <a:cubicBezTo>
                      <a:pt x="569" y="713"/>
                      <a:pt x="570" y="713"/>
                      <a:pt x="570" y="713"/>
                    </a:cubicBezTo>
                    <a:cubicBezTo>
                      <a:pt x="570" y="713"/>
                      <a:pt x="571" y="713"/>
                      <a:pt x="571" y="713"/>
                    </a:cubicBezTo>
                    <a:cubicBezTo>
                      <a:pt x="571" y="713"/>
                      <a:pt x="571" y="713"/>
                      <a:pt x="570" y="713"/>
                    </a:cubicBezTo>
                    <a:cubicBezTo>
                      <a:pt x="570" y="713"/>
                      <a:pt x="569" y="714"/>
                      <a:pt x="569" y="714"/>
                    </a:cubicBezTo>
                    <a:cubicBezTo>
                      <a:pt x="569" y="714"/>
                      <a:pt x="569" y="714"/>
                      <a:pt x="569" y="714"/>
                    </a:cubicBezTo>
                    <a:cubicBezTo>
                      <a:pt x="569" y="714"/>
                      <a:pt x="569" y="714"/>
                      <a:pt x="569" y="714"/>
                    </a:cubicBezTo>
                    <a:cubicBezTo>
                      <a:pt x="570" y="714"/>
                      <a:pt x="570" y="714"/>
                      <a:pt x="571" y="713"/>
                    </a:cubicBezTo>
                    <a:cubicBezTo>
                      <a:pt x="571" y="713"/>
                      <a:pt x="571" y="713"/>
                      <a:pt x="571" y="713"/>
                    </a:cubicBezTo>
                    <a:cubicBezTo>
                      <a:pt x="571" y="713"/>
                      <a:pt x="571" y="713"/>
                      <a:pt x="571" y="713"/>
                    </a:cubicBezTo>
                    <a:cubicBezTo>
                      <a:pt x="571" y="714"/>
                      <a:pt x="571" y="714"/>
                      <a:pt x="570" y="714"/>
                    </a:cubicBezTo>
                    <a:cubicBezTo>
                      <a:pt x="571" y="714"/>
                      <a:pt x="571" y="714"/>
                      <a:pt x="571" y="714"/>
                    </a:cubicBezTo>
                    <a:cubicBezTo>
                      <a:pt x="571" y="714"/>
                      <a:pt x="571" y="714"/>
                      <a:pt x="571" y="714"/>
                    </a:cubicBezTo>
                    <a:cubicBezTo>
                      <a:pt x="572" y="714"/>
                      <a:pt x="572" y="714"/>
                      <a:pt x="572" y="714"/>
                    </a:cubicBezTo>
                    <a:cubicBezTo>
                      <a:pt x="572" y="714"/>
                      <a:pt x="572" y="714"/>
                      <a:pt x="572" y="715"/>
                    </a:cubicBezTo>
                    <a:cubicBezTo>
                      <a:pt x="572" y="715"/>
                      <a:pt x="572" y="715"/>
                      <a:pt x="572" y="715"/>
                    </a:cubicBezTo>
                    <a:cubicBezTo>
                      <a:pt x="572" y="715"/>
                      <a:pt x="572" y="715"/>
                      <a:pt x="572" y="715"/>
                    </a:cubicBezTo>
                    <a:cubicBezTo>
                      <a:pt x="573" y="714"/>
                      <a:pt x="573" y="714"/>
                      <a:pt x="573" y="714"/>
                    </a:cubicBezTo>
                    <a:cubicBezTo>
                      <a:pt x="573" y="714"/>
                      <a:pt x="573" y="714"/>
                      <a:pt x="573" y="714"/>
                    </a:cubicBezTo>
                    <a:cubicBezTo>
                      <a:pt x="573" y="714"/>
                      <a:pt x="573" y="713"/>
                      <a:pt x="574" y="713"/>
                    </a:cubicBezTo>
                    <a:cubicBezTo>
                      <a:pt x="574" y="713"/>
                      <a:pt x="574" y="713"/>
                      <a:pt x="573" y="713"/>
                    </a:cubicBezTo>
                    <a:cubicBezTo>
                      <a:pt x="573" y="713"/>
                      <a:pt x="573" y="712"/>
                      <a:pt x="573" y="712"/>
                    </a:cubicBezTo>
                    <a:cubicBezTo>
                      <a:pt x="573" y="712"/>
                      <a:pt x="573" y="712"/>
                      <a:pt x="574" y="712"/>
                    </a:cubicBezTo>
                    <a:cubicBezTo>
                      <a:pt x="574" y="712"/>
                      <a:pt x="574" y="712"/>
                      <a:pt x="574" y="712"/>
                    </a:cubicBezTo>
                    <a:cubicBezTo>
                      <a:pt x="575" y="712"/>
                      <a:pt x="575" y="713"/>
                      <a:pt x="575" y="713"/>
                    </a:cubicBezTo>
                    <a:cubicBezTo>
                      <a:pt x="575" y="713"/>
                      <a:pt x="576" y="713"/>
                      <a:pt x="576" y="713"/>
                    </a:cubicBezTo>
                    <a:cubicBezTo>
                      <a:pt x="576" y="713"/>
                      <a:pt x="576" y="713"/>
                      <a:pt x="577" y="713"/>
                    </a:cubicBezTo>
                    <a:cubicBezTo>
                      <a:pt x="577" y="713"/>
                      <a:pt x="577" y="713"/>
                      <a:pt x="578" y="712"/>
                    </a:cubicBezTo>
                    <a:cubicBezTo>
                      <a:pt x="578" y="713"/>
                      <a:pt x="577" y="713"/>
                      <a:pt x="577" y="713"/>
                    </a:cubicBezTo>
                    <a:cubicBezTo>
                      <a:pt x="577" y="714"/>
                      <a:pt x="577" y="714"/>
                      <a:pt x="577" y="714"/>
                    </a:cubicBezTo>
                    <a:cubicBezTo>
                      <a:pt x="577" y="714"/>
                      <a:pt x="576" y="714"/>
                      <a:pt x="576" y="714"/>
                    </a:cubicBezTo>
                    <a:cubicBezTo>
                      <a:pt x="575" y="714"/>
                      <a:pt x="575" y="715"/>
                      <a:pt x="575" y="715"/>
                    </a:cubicBezTo>
                    <a:cubicBezTo>
                      <a:pt x="574" y="715"/>
                      <a:pt x="575" y="715"/>
                      <a:pt x="574" y="716"/>
                    </a:cubicBezTo>
                    <a:cubicBezTo>
                      <a:pt x="574" y="716"/>
                      <a:pt x="574" y="716"/>
                      <a:pt x="574" y="716"/>
                    </a:cubicBezTo>
                    <a:cubicBezTo>
                      <a:pt x="574" y="717"/>
                      <a:pt x="573" y="717"/>
                      <a:pt x="573" y="717"/>
                    </a:cubicBezTo>
                    <a:cubicBezTo>
                      <a:pt x="573" y="718"/>
                      <a:pt x="573" y="718"/>
                      <a:pt x="572" y="718"/>
                    </a:cubicBezTo>
                    <a:cubicBezTo>
                      <a:pt x="572" y="718"/>
                      <a:pt x="572" y="718"/>
                      <a:pt x="571" y="718"/>
                    </a:cubicBezTo>
                    <a:cubicBezTo>
                      <a:pt x="571" y="718"/>
                      <a:pt x="571" y="718"/>
                      <a:pt x="571" y="718"/>
                    </a:cubicBezTo>
                    <a:cubicBezTo>
                      <a:pt x="571" y="718"/>
                      <a:pt x="570" y="719"/>
                      <a:pt x="570" y="719"/>
                    </a:cubicBezTo>
                    <a:cubicBezTo>
                      <a:pt x="570" y="719"/>
                      <a:pt x="570" y="719"/>
                      <a:pt x="570" y="720"/>
                    </a:cubicBezTo>
                    <a:cubicBezTo>
                      <a:pt x="570" y="720"/>
                      <a:pt x="570" y="720"/>
                      <a:pt x="570" y="720"/>
                    </a:cubicBezTo>
                    <a:cubicBezTo>
                      <a:pt x="571" y="720"/>
                      <a:pt x="572" y="720"/>
                      <a:pt x="572" y="720"/>
                    </a:cubicBezTo>
                    <a:cubicBezTo>
                      <a:pt x="572" y="720"/>
                      <a:pt x="573" y="720"/>
                      <a:pt x="573" y="720"/>
                    </a:cubicBezTo>
                    <a:cubicBezTo>
                      <a:pt x="574" y="720"/>
                      <a:pt x="575" y="720"/>
                      <a:pt x="575" y="719"/>
                    </a:cubicBezTo>
                    <a:cubicBezTo>
                      <a:pt x="575" y="719"/>
                      <a:pt x="575" y="719"/>
                      <a:pt x="575" y="718"/>
                    </a:cubicBezTo>
                    <a:cubicBezTo>
                      <a:pt x="576" y="718"/>
                      <a:pt x="576" y="718"/>
                      <a:pt x="575" y="717"/>
                    </a:cubicBezTo>
                    <a:cubicBezTo>
                      <a:pt x="576" y="717"/>
                      <a:pt x="576" y="717"/>
                      <a:pt x="576" y="717"/>
                    </a:cubicBezTo>
                    <a:cubicBezTo>
                      <a:pt x="576" y="717"/>
                      <a:pt x="576" y="717"/>
                      <a:pt x="576" y="716"/>
                    </a:cubicBezTo>
                    <a:cubicBezTo>
                      <a:pt x="577" y="716"/>
                      <a:pt x="577" y="715"/>
                      <a:pt x="578" y="715"/>
                    </a:cubicBezTo>
                    <a:cubicBezTo>
                      <a:pt x="578" y="715"/>
                      <a:pt x="578" y="715"/>
                      <a:pt x="578" y="715"/>
                    </a:cubicBezTo>
                    <a:cubicBezTo>
                      <a:pt x="578" y="715"/>
                      <a:pt x="578" y="715"/>
                      <a:pt x="578" y="715"/>
                    </a:cubicBezTo>
                    <a:cubicBezTo>
                      <a:pt x="578" y="715"/>
                      <a:pt x="579" y="715"/>
                      <a:pt x="580" y="714"/>
                    </a:cubicBezTo>
                    <a:cubicBezTo>
                      <a:pt x="580" y="714"/>
                      <a:pt x="580" y="714"/>
                      <a:pt x="580" y="715"/>
                    </a:cubicBezTo>
                    <a:cubicBezTo>
                      <a:pt x="579" y="715"/>
                      <a:pt x="579" y="715"/>
                      <a:pt x="579" y="715"/>
                    </a:cubicBezTo>
                    <a:cubicBezTo>
                      <a:pt x="580" y="715"/>
                      <a:pt x="580" y="715"/>
                      <a:pt x="580" y="714"/>
                    </a:cubicBezTo>
                    <a:cubicBezTo>
                      <a:pt x="580" y="714"/>
                      <a:pt x="581" y="713"/>
                      <a:pt x="581" y="713"/>
                    </a:cubicBezTo>
                    <a:cubicBezTo>
                      <a:pt x="581" y="712"/>
                      <a:pt x="582" y="711"/>
                      <a:pt x="582" y="710"/>
                    </a:cubicBezTo>
                    <a:cubicBezTo>
                      <a:pt x="582" y="710"/>
                      <a:pt x="582" y="710"/>
                      <a:pt x="582" y="710"/>
                    </a:cubicBezTo>
                    <a:cubicBezTo>
                      <a:pt x="582" y="710"/>
                      <a:pt x="582" y="710"/>
                      <a:pt x="582" y="710"/>
                    </a:cubicBezTo>
                    <a:cubicBezTo>
                      <a:pt x="582" y="710"/>
                      <a:pt x="582" y="711"/>
                      <a:pt x="582" y="711"/>
                    </a:cubicBezTo>
                    <a:cubicBezTo>
                      <a:pt x="583" y="710"/>
                      <a:pt x="583" y="711"/>
                      <a:pt x="583" y="711"/>
                    </a:cubicBezTo>
                    <a:cubicBezTo>
                      <a:pt x="583" y="711"/>
                      <a:pt x="583" y="711"/>
                      <a:pt x="583" y="711"/>
                    </a:cubicBezTo>
                    <a:cubicBezTo>
                      <a:pt x="583" y="711"/>
                      <a:pt x="583" y="711"/>
                      <a:pt x="583" y="711"/>
                    </a:cubicBezTo>
                    <a:cubicBezTo>
                      <a:pt x="583" y="712"/>
                      <a:pt x="583" y="712"/>
                      <a:pt x="584" y="712"/>
                    </a:cubicBezTo>
                    <a:cubicBezTo>
                      <a:pt x="584" y="713"/>
                      <a:pt x="584" y="714"/>
                      <a:pt x="584" y="714"/>
                    </a:cubicBezTo>
                    <a:cubicBezTo>
                      <a:pt x="584" y="715"/>
                      <a:pt x="584" y="715"/>
                      <a:pt x="584" y="715"/>
                    </a:cubicBezTo>
                    <a:cubicBezTo>
                      <a:pt x="584" y="715"/>
                      <a:pt x="584" y="715"/>
                      <a:pt x="584" y="716"/>
                    </a:cubicBezTo>
                    <a:cubicBezTo>
                      <a:pt x="584" y="716"/>
                      <a:pt x="584" y="716"/>
                      <a:pt x="584" y="716"/>
                    </a:cubicBezTo>
                    <a:cubicBezTo>
                      <a:pt x="583" y="716"/>
                      <a:pt x="583" y="717"/>
                      <a:pt x="583" y="718"/>
                    </a:cubicBezTo>
                    <a:cubicBezTo>
                      <a:pt x="583" y="718"/>
                      <a:pt x="582" y="719"/>
                      <a:pt x="582" y="720"/>
                    </a:cubicBezTo>
                    <a:cubicBezTo>
                      <a:pt x="582" y="720"/>
                      <a:pt x="582" y="720"/>
                      <a:pt x="582" y="720"/>
                    </a:cubicBezTo>
                    <a:cubicBezTo>
                      <a:pt x="582" y="721"/>
                      <a:pt x="582" y="721"/>
                      <a:pt x="582" y="721"/>
                    </a:cubicBezTo>
                    <a:cubicBezTo>
                      <a:pt x="583" y="721"/>
                      <a:pt x="583" y="721"/>
                      <a:pt x="583" y="721"/>
                    </a:cubicBezTo>
                    <a:cubicBezTo>
                      <a:pt x="584" y="720"/>
                      <a:pt x="585" y="719"/>
                      <a:pt x="586" y="717"/>
                    </a:cubicBezTo>
                    <a:cubicBezTo>
                      <a:pt x="586" y="717"/>
                      <a:pt x="586" y="717"/>
                      <a:pt x="586" y="717"/>
                    </a:cubicBezTo>
                    <a:cubicBezTo>
                      <a:pt x="586" y="717"/>
                      <a:pt x="586" y="717"/>
                      <a:pt x="586" y="717"/>
                    </a:cubicBezTo>
                    <a:cubicBezTo>
                      <a:pt x="586" y="718"/>
                      <a:pt x="586" y="718"/>
                      <a:pt x="586" y="719"/>
                    </a:cubicBezTo>
                    <a:cubicBezTo>
                      <a:pt x="586" y="719"/>
                      <a:pt x="586" y="719"/>
                      <a:pt x="586" y="719"/>
                    </a:cubicBezTo>
                    <a:cubicBezTo>
                      <a:pt x="586" y="720"/>
                      <a:pt x="586" y="720"/>
                      <a:pt x="586" y="720"/>
                    </a:cubicBezTo>
                    <a:cubicBezTo>
                      <a:pt x="586" y="720"/>
                      <a:pt x="585" y="720"/>
                      <a:pt x="586" y="721"/>
                    </a:cubicBezTo>
                    <a:cubicBezTo>
                      <a:pt x="586" y="721"/>
                      <a:pt x="586" y="721"/>
                      <a:pt x="586" y="722"/>
                    </a:cubicBezTo>
                    <a:cubicBezTo>
                      <a:pt x="586" y="722"/>
                      <a:pt x="586" y="722"/>
                      <a:pt x="586" y="723"/>
                    </a:cubicBezTo>
                    <a:cubicBezTo>
                      <a:pt x="586" y="723"/>
                      <a:pt x="586" y="723"/>
                      <a:pt x="586" y="723"/>
                    </a:cubicBezTo>
                    <a:cubicBezTo>
                      <a:pt x="587" y="722"/>
                      <a:pt x="587" y="722"/>
                      <a:pt x="587" y="722"/>
                    </a:cubicBezTo>
                    <a:cubicBezTo>
                      <a:pt x="587" y="722"/>
                      <a:pt x="588" y="722"/>
                      <a:pt x="588" y="721"/>
                    </a:cubicBezTo>
                    <a:cubicBezTo>
                      <a:pt x="588" y="721"/>
                      <a:pt x="588" y="722"/>
                      <a:pt x="588" y="722"/>
                    </a:cubicBezTo>
                    <a:cubicBezTo>
                      <a:pt x="588" y="722"/>
                      <a:pt x="588" y="722"/>
                      <a:pt x="588" y="722"/>
                    </a:cubicBezTo>
                    <a:cubicBezTo>
                      <a:pt x="588" y="722"/>
                      <a:pt x="588" y="723"/>
                      <a:pt x="589" y="723"/>
                    </a:cubicBezTo>
                    <a:cubicBezTo>
                      <a:pt x="589" y="722"/>
                      <a:pt x="589" y="723"/>
                      <a:pt x="590" y="722"/>
                    </a:cubicBezTo>
                    <a:cubicBezTo>
                      <a:pt x="590" y="722"/>
                      <a:pt x="590" y="721"/>
                      <a:pt x="590" y="721"/>
                    </a:cubicBezTo>
                    <a:cubicBezTo>
                      <a:pt x="590" y="721"/>
                      <a:pt x="590" y="720"/>
                      <a:pt x="590" y="720"/>
                    </a:cubicBezTo>
                    <a:cubicBezTo>
                      <a:pt x="590" y="720"/>
                      <a:pt x="591" y="719"/>
                      <a:pt x="591" y="719"/>
                    </a:cubicBezTo>
                    <a:cubicBezTo>
                      <a:pt x="591" y="719"/>
                      <a:pt x="591" y="718"/>
                      <a:pt x="590" y="718"/>
                    </a:cubicBezTo>
                    <a:cubicBezTo>
                      <a:pt x="591" y="718"/>
                      <a:pt x="591" y="718"/>
                      <a:pt x="591" y="718"/>
                    </a:cubicBezTo>
                    <a:cubicBezTo>
                      <a:pt x="591" y="717"/>
                      <a:pt x="591" y="717"/>
                      <a:pt x="591" y="717"/>
                    </a:cubicBezTo>
                    <a:cubicBezTo>
                      <a:pt x="591" y="717"/>
                      <a:pt x="591" y="716"/>
                      <a:pt x="592" y="716"/>
                    </a:cubicBezTo>
                    <a:cubicBezTo>
                      <a:pt x="592" y="715"/>
                      <a:pt x="592" y="715"/>
                      <a:pt x="592" y="715"/>
                    </a:cubicBezTo>
                    <a:cubicBezTo>
                      <a:pt x="592" y="715"/>
                      <a:pt x="592" y="715"/>
                      <a:pt x="592" y="714"/>
                    </a:cubicBezTo>
                    <a:close/>
                    <a:moveTo>
                      <a:pt x="573" y="680"/>
                    </a:moveTo>
                    <a:cubicBezTo>
                      <a:pt x="573" y="680"/>
                      <a:pt x="573" y="680"/>
                      <a:pt x="573" y="680"/>
                    </a:cubicBezTo>
                    <a:cubicBezTo>
                      <a:pt x="573" y="680"/>
                      <a:pt x="573" y="681"/>
                      <a:pt x="572" y="681"/>
                    </a:cubicBezTo>
                    <a:cubicBezTo>
                      <a:pt x="572" y="681"/>
                      <a:pt x="572" y="681"/>
                      <a:pt x="572" y="680"/>
                    </a:cubicBezTo>
                    <a:cubicBezTo>
                      <a:pt x="572" y="680"/>
                      <a:pt x="572" y="680"/>
                      <a:pt x="573" y="680"/>
                    </a:cubicBezTo>
                    <a:close/>
                    <a:moveTo>
                      <a:pt x="582" y="713"/>
                    </a:moveTo>
                    <a:cubicBezTo>
                      <a:pt x="582" y="714"/>
                      <a:pt x="582" y="714"/>
                      <a:pt x="582" y="715"/>
                    </a:cubicBezTo>
                    <a:cubicBezTo>
                      <a:pt x="582" y="715"/>
                      <a:pt x="581" y="715"/>
                      <a:pt x="581" y="715"/>
                    </a:cubicBezTo>
                    <a:cubicBezTo>
                      <a:pt x="581" y="714"/>
                      <a:pt x="582" y="714"/>
                      <a:pt x="582" y="713"/>
                    </a:cubicBezTo>
                    <a:cubicBezTo>
                      <a:pt x="582" y="713"/>
                      <a:pt x="582" y="713"/>
                      <a:pt x="582" y="713"/>
                    </a:cubicBezTo>
                    <a:cubicBezTo>
                      <a:pt x="582" y="713"/>
                      <a:pt x="582" y="713"/>
                      <a:pt x="582" y="713"/>
                    </a:cubicBezTo>
                    <a:close/>
                    <a:moveTo>
                      <a:pt x="572" y="679"/>
                    </a:moveTo>
                    <a:cubicBezTo>
                      <a:pt x="572" y="679"/>
                      <a:pt x="572" y="678"/>
                      <a:pt x="572" y="678"/>
                    </a:cubicBezTo>
                    <a:cubicBezTo>
                      <a:pt x="572" y="678"/>
                      <a:pt x="572" y="678"/>
                      <a:pt x="572" y="678"/>
                    </a:cubicBezTo>
                    <a:cubicBezTo>
                      <a:pt x="572" y="678"/>
                      <a:pt x="573" y="678"/>
                      <a:pt x="573" y="678"/>
                    </a:cubicBezTo>
                    <a:cubicBezTo>
                      <a:pt x="573" y="678"/>
                      <a:pt x="573" y="678"/>
                      <a:pt x="573" y="678"/>
                    </a:cubicBezTo>
                    <a:cubicBezTo>
                      <a:pt x="573" y="678"/>
                      <a:pt x="573" y="679"/>
                      <a:pt x="572" y="679"/>
                    </a:cubicBezTo>
                    <a:close/>
                    <a:moveTo>
                      <a:pt x="572" y="693"/>
                    </a:moveTo>
                    <a:cubicBezTo>
                      <a:pt x="572" y="694"/>
                      <a:pt x="572" y="694"/>
                      <a:pt x="571" y="694"/>
                    </a:cubicBezTo>
                    <a:cubicBezTo>
                      <a:pt x="571" y="693"/>
                      <a:pt x="571" y="693"/>
                      <a:pt x="571" y="693"/>
                    </a:cubicBezTo>
                    <a:cubicBezTo>
                      <a:pt x="571" y="693"/>
                      <a:pt x="571" y="693"/>
                      <a:pt x="572" y="693"/>
                    </a:cubicBezTo>
                    <a:cubicBezTo>
                      <a:pt x="572" y="693"/>
                      <a:pt x="572" y="693"/>
                      <a:pt x="572" y="693"/>
                    </a:cubicBezTo>
                    <a:close/>
                    <a:moveTo>
                      <a:pt x="572" y="692"/>
                    </a:moveTo>
                    <a:cubicBezTo>
                      <a:pt x="572" y="693"/>
                      <a:pt x="572" y="693"/>
                      <a:pt x="572" y="693"/>
                    </a:cubicBezTo>
                    <a:cubicBezTo>
                      <a:pt x="572" y="693"/>
                      <a:pt x="571" y="693"/>
                      <a:pt x="571" y="693"/>
                    </a:cubicBezTo>
                    <a:cubicBezTo>
                      <a:pt x="572" y="692"/>
                      <a:pt x="572" y="692"/>
                      <a:pt x="572" y="692"/>
                    </a:cubicBezTo>
                    <a:cubicBezTo>
                      <a:pt x="572" y="692"/>
                      <a:pt x="572" y="692"/>
                      <a:pt x="572" y="692"/>
                    </a:cubicBezTo>
                    <a:close/>
                    <a:moveTo>
                      <a:pt x="570" y="712"/>
                    </a:moveTo>
                    <a:cubicBezTo>
                      <a:pt x="570" y="712"/>
                      <a:pt x="570" y="711"/>
                      <a:pt x="570" y="711"/>
                    </a:cubicBezTo>
                    <a:cubicBezTo>
                      <a:pt x="570" y="711"/>
                      <a:pt x="570" y="711"/>
                      <a:pt x="570" y="711"/>
                    </a:cubicBezTo>
                    <a:cubicBezTo>
                      <a:pt x="570" y="712"/>
                      <a:pt x="570" y="712"/>
                      <a:pt x="570" y="712"/>
                    </a:cubicBezTo>
                    <a:close/>
                    <a:moveTo>
                      <a:pt x="583" y="713"/>
                    </a:moveTo>
                    <a:cubicBezTo>
                      <a:pt x="583" y="713"/>
                      <a:pt x="583" y="713"/>
                      <a:pt x="583" y="713"/>
                    </a:cubicBezTo>
                    <a:cubicBezTo>
                      <a:pt x="583" y="713"/>
                      <a:pt x="583" y="713"/>
                      <a:pt x="583" y="713"/>
                    </a:cubicBezTo>
                    <a:close/>
                    <a:moveTo>
                      <a:pt x="578" y="692"/>
                    </a:moveTo>
                    <a:cubicBezTo>
                      <a:pt x="578" y="692"/>
                      <a:pt x="578" y="692"/>
                      <a:pt x="578" y="692"/>
                    </a:cubicBezTo>
                    <a:cubicBezTo>
                      <a:pt x="578" y="692"/>
                      <a:pt x="578" y="692"/>
                      <a:pt x="578" y="692"/>
                    </a:cubicBezTo>
                    <a:cubicBezTo>
                      <a:pt x="578" y="692"/>
                      <a:pt x="578" y="692"/>
                      <a:pt x="578" y="692"/>
                    </a:cubicBezTo>
                    <a:cubicBezTo>
                      <a:pt x="578" y="692"/>
                      <a:pt x="578" y="692"/>
                      <a:pt x="578" y="692"/>
                    </a:cubicBezTo>
                    <a:close/>
                    <a:moveTo>
                      <a:pt x="572" y="686"/>
                    </a:moveTo>
                    <a:cubicBezTo>
                      <a:pt x="572" y="686"/>
                      <a:pt x="571" y="686"/>
                      <a:pt x="571" y="686"/>
                    </a:cubicBezTo>
                    <a:cubicBezTo>
                      <a:pt x="571" y="686"/>
                      <a:pt x="571" y="686"/>
                      <a:pt x="571" y="686"/>
                    </a:cubicBezTo>
                    <a:cubicBezTo>
                      <a:pt x="571" y="686"/>
                      <a:pt x="571" y="686"/>
                      <a:pt x="572" y="686"/>
                    </a:cubicBezTo>
                    <a:close/>
                    <a:moveTo>
                      <a:pt x="572" y="693"/>
                    </a:moveTo>
                    <a:cubicBezTo>
                      <a:pt x="572" y="693"/>
                      <a:pt x="572" y="693"/>
                      <a:pt x="572" y="693"/>
                    </a:cubicBezTo>
                    <a:cubicBezTo>
                      <a:pt x="572" y="693"/>
                      <a:pt x="572" y="693"/>
                      <a:pt x="572" y="693"/>
                    </a:cubicBezTo>
                    <a:cubicBezTo>
                      <a:pt x="572" y="693"/>
                      <a:pt x="572" y="693"/>
                      <a:pt x="572" y="693"/>
                    </a:cubicBezTo>
                    <a:cubicBezTo>
                      <a:pt x="572" y="693"/>
                      <a:pt x="572" y="693"/>
                      <a:pt x="572" y="693"/>
                    </a:cubicBezTo>
                    <a:close/>
                    <a:moveTo>
                      <a:pt x="531" y="698"/>
                    </a:moveTo>
                    <a:cubicBezTo>
                      <a:pt x="531" y="698"/>
                      <a:pt x="531" y="698"/>
                      <a:pt x="531" y="698"/>
                    </a:cubicBezTo>
                    <a:cubicBezTo>
                      <a:pt x="530" y="698"/>
                      <a:pt x="529" y="698"/>
                      <a:pt x="528" y="698"/>
                    </a:cubicBezTo>
                    <a:cubicBezTo>
                      <a:pt x="528" y="698"/>
                      <a:pt x="528" y="698"/>
                      <a:pt x="527" y="698"/>
                    </a:cubicBezTo>
                    <a:cubicBezTo>
                      <a:pt x="527" y="698"/>
                      <a:pt x="526" y="697"/>
                      <a:pt x="525" y="697"/>
                    </a:cubicBezTo>
                    <a:cubicBezTo>
                      <a:pt x="524" y="697"/>
                      <a:pt x="523" y="697"/>
                      <a:pt x="522" y="696"/>
                    </a:cubicBezTo>
                    <a:cubicBezTo>
                      <a:pt x="521" y="696"/>
                      <a:pt x="520" y="695"/>
                      <a:pt x="519" y="695"/>
                    </a:cubicBezTo>
                    <a:cubicBezTo>
                      <a:pt x="519" y="695"/>
                      <a:pt x="519" y="695"/>
                      <a:pt x="519" y="695"/>
                    </a:cubicBezTo>
                    <a:cubicBezTo>
                      <a:pt x="519" y="694"/>
                      <a:pt x="519" y="694"/>
                      <a:pt x="518" y="693"/>
                    </a:cubicBezTo>
                    <a:cubicBezTo>
                      <a:pt x="518" y="693"/>
                      <a:pt x="517" y="692"/>
                      <a:pt x="516" y="692"/>
                    </a:cubicBezTo>
                    <a:cubicBezTo>
                      <a:pt x="515" y="691"/>
                      <a:pt x="514" y="691"/>
                      <a:pt x="514" y="691"/>
                    </a:cubicBezTo>
                    <a:cubicBezTo>
                      <a:pt x="514" y="691"/>
                      <a:pt x="514" y="690"/>
                      <a:pt x="513" y="691"/>
                    </a:cubicBezTo>
                    <a:cubicBezTo>
                      <a:pt x="513" y="691"/>
                      <a:pt x="513" y="690"/>
                      <a:pt x="513" y="690"/>
                    </a:cubicBezTo>
                    <a:cubicBezTo>
                      <a:pt x="513" y="690"/>
                      <a:pt x="513" y="690"/>
                      <a:pt x="513" y="690"/>
                    </a:cubicBezTo>
                    <a:cubicBezTo>
                      <a:pt x="513" y="690"/>
                      <a:pt x="513" y="689"/>
                      <a:pt x="513" y="689"/>
                    </a:cubicBezTo>
                    <a:cubicBezTo>
                      <a:pt x="515" y="689"/>
                      <a:pt x="516" y="689"/>
                      <a:pt x="517" y="690"/>
                    </a:cubicBezTo>
                    <a:cubicBezTo>
                      <a:pt x="517" y="690"/>
                      <a:pt x="517" y="690"/>
                      <a:pt x="517" y="690"/>
                    </a:cubicBezTo>
                    <a:cubicBezTo>
                      <a:pt x="518" y="690"/>
                      <a:pt x="518" y="690"/>
                      <a:pt x="519" y="690"/>
                    </a:cubicBezTo>
                    <a:cubicBezTo>
                      <a:pt x="520" y="690"/>
                      <a:pt x="521" y="690"/>
                      <a:pt x="521" y="691"/>
                    </a:cubicBezTo>
                    <a:cubicBezTo>
                      <a:pt x="522" y="691"/>
                      <a:pt x="523" y="691"/>
                      <a:pt x="524" y="692"/>
                    </a:cubicBezTo>
                    <a:cubicBezTo>
                      <a:pt x="524" y="692"/>
                      <a:pt x="525" y="692"/>
                      <a:pt x="525" y="692"/>
                    </a:cubicBezTo>
                    <a:cubicBezTo>
                      <a:pt x="525" y="693"/>
                      <a:pt x="525" y="693"/>
                      <a:pt x="525" y="693"/>
                    </a:cubicBezTo>
                    <a:cubicBezTo>
                      <a:pt x="526" y="693"/>
                      <a:pt x="526" y="693"/>
                      <a:pt x="526" y="693"/>
                    </a:cubicBezTo>
                    <a:cubicBezTo>
                      <a:pt x="527" y="694"/>
                      <a:pt x="527" y="694"/>
                      <a:pt x="527" y="694"/>
                    </a:cubicBezTo>
                    <a:cubicBezTo>
                      <a:pt x="528" y="694"/>
                      <a:pt x="528" y="694"/>
                      <a:pt x="528" y="694"/>
                    </a:cubicBezTo>
                    <a:cubicBezTo>
                      <a:pt x="528" y="695"/>
                      <a:pt x="528" y="695"/>
                      <a:pt x="529" y="695"/>
                    </a:cubicBezTo>
                    <a:cubicBezTo>
                      <a:pt x="529" y="695"/>
                      <a:pt x="529" y="695"/>
                      <a:pt x="529" y="695"/>
                    </a:cubicBezTo>
                    <a:cubicBezTo>
                      <a:pt x="529" y="695"/>
                      <a:pt x="530" y="695"/>
                      <a:pt x="530" y="695"/>
                    </a:cubicBezTo>
                    <a:cubicBezTo>
                      <a:pt x="530" y="695"/>
                      <a:pt x="530" y="696"/>
                      <a:pt x="531" y="696"/>
                    </a:cubicBezTo>
                    <a:cubicBezTo>
                      <a:pt x="531" y="696"/>
                      <a:pt x="531" y="697"/>
                      <a:pt x="531" y="697"/>
                    </a:cubicBezTo>
                    <a:cubicBezTo>
                      <a:pt x="532" y="698"/>
                      <a:pt x="532" y="698"/>
                      <a:pt x="531" y="698"/>
                    </a:cubicBezTo>
                    <a:close/>
                    <a:moveTo>
                      <a:pt x="529" y="724"/>
                    </a:moveTo>
                    <a:cubicBezTo>
                      <a:pt x="529" y="724"/>
                      <a:pt x="529" y="724"/>
                      <a:pt x="529" y="724"/>
                    </a:cubicBezTo>
                    <a:cubicBezTo>
                      <a:pt x="528" y="724"/>
                      <a:pt x="528" y="724"/>
                      <a:pt x="527" y="724"/>
                    </a:cubicBezTo>
                    <a:cubicBezTo>
                      <a:pt x="526" y="724"/>
                      <a:pt x="525" y="724"/>
                      <a:pt x="524" y="724"/>
                    </a:cubicBezTo>
                    <a:cubicBezTo>
                      <a:pt x="524" y="725"/>
                      <a:pt x="524" y="725"/>
                      <a:pt x="524" y="725"/>
                    </a:cubicBezTo>
                    <a:cubicBezTo>
                      <a:pt x="523" y="725"/>
                      <a:pt x="522" y="725"/>
                      <a:pt x="521" y="725"/>
                    </a:cubicBezTo>
                    <a:cubicBezTo>
                      <a:pt x="521" y="725"/>
                      <a:pt x="521" y="725"/>
                      <a:pt x="521" y="724"/>
                    </a:cubicBezTo>
                    <a:cubicBezTo>
                      <a:pt x="520" y="724"/>
                      <a:pt x="520" y="724"/>
                      <a:pt x="520" y="724"/>
                    </a:cubicBezTo>
                    <a:cubicBezTo>
                      <a:pt x="520" y="724"/>
                      <a:pt x="520" y="724"/>
                      <a:pt x="520" y="724"/>
                    </a:cubicBezTo>
                    <a:cubicBezTo>
                      <a:pt x="519" y="724"/>
                      <a:pt x="519" y="724"/>
                      <a:pt x="518" y="723"/>
                    </a:cubicBezTo>
                    <a:cubicBezTo>
                      <a:pt x="518" y="723"/>
                      <a:pt x="518" y="723"/>
                      <a:pt x="518" y="723"/>
                    </a:cubicBezTo>
                    <a:cubicBezTo>
                      <a:pt x="518" y="724"/>
                      <a:pt x="518" y="724"/>
                      <a:pt x="518" y="724"/>
                    </a:cubicBezTo>
                    <a:cubicBezTo>
                      <a:pt x="518" y="724"/>
                      <a:pt x="518" y="724"/>
                      <a:pt x="518" y="724"/>
                    </a:cubicBezTo>
                    <a:cubicBezTo>
                      <a:pt x="517" y="724"/>
                      <a:pt x="517" y="724"/>
                      <a:pt x="517" y="724"/>
                    </a:cubicBezTo>
                    <a:cubicBezTo>
                      <a:pt x="517" y="724"/>
                      <a:pt x="517" y="724"/>
                      <a:pt x="517" y="723"/>
                    </a:cubicBezTo>
                    <a:cubicBezTo>
                      <a:pt x="517" y="723"/>
                      <a:pt x="517" y="722"/>
                      <a:pt x="516" y="722"/>
                    </a:cubicBezTo>
                    <a:cubicBezTo>
                      <a:pt x="516" y="722"/>
                      <a:pt x="516" y="722"/>
                      <a:pt x="516" y="722"/>
                    </a:cubicBezTo>
                    <a:cubicBezTo>
                      <a:pt x="515" y="721"/>
                      <a:pt x="515" y="721"/>
                      <a:pt x="516" y="721"/>
                    </a:cubicBezTo>
                    <a:cubicBezTo>
                      <a:pt x="516" y="721"/>
                      <a:pt x="516" y="721"/>
                      <a:pt x="516" y="720"/>
                    </a:cubicBezTo>
                    <a:cubicBezTo>
                      <a:pt x="516" y="720"/>
                      <a:pt x="516" y="719"/>
                      <a:pt x="516" y="719"/>
                    </a:cubicBezTo>
                    <a:cubicBezTo>
                      <a:pt x="516" y="719"/>
                      <a:pt x="516" y="719"/>
                      <a:pt x="516" y="719"/>
                    </a:cubicBezTo>
                    <a:cubicBezTo>
                      <a:pt x="516" y="719"/>
                      <a:pt x="515" y="719"/>
                      <a:pt x="515" y="720"/>
                    </a:cubicBezTo>
                    <a:cubicBezTo>
                      <a:pt x="515" y="720"/>
                      <a:pt x="514" y="721"/>
                      <a:pt x="514" y="721"/>
                    </a:cubicBezTo>
                    <a:cubicBezTo>
                      <a:pt x="513" y="721"/>
                      <a:pt x="513" y="722"/>
                      <a:pt x="513" y="722"/>
                    </a:cubicBezTo>
                    <a:cubicBezTo>
                      <a:pt x="513" y="723"/>
                      <a:pt x="513" y="723"/>
                      <a:pt x="514" y="723"/>
                    </a:cubicBezTo>
                    <a:cubicBezTo>
                      <a:pt x="514" y="723"/>
                      <a:pt x="515" y="723"/>
                      <a:pt x="515" y="723"/>
                    </a:cubicBezTo>
                    <a:cubicBezTo>
                      <a:pt x="515" y="723"/>
                      <a:pt x="515" y="723"/>
                      <a:pt x="515" y="723"/>
                    </a:cubicBezTo>
                    <a:cubicBezTo>
                      <a:pt x="515" y="723"/>
                      <a:pt x="516" y="723"/>
                      <a:pt x="515" y="723"/>
                    </a:cubicBezTo>
                    <a:cubicBezTo>
                      <a:pt x="515" y="724"/>
                      <a:pt x="515" y="724"/>
                      <a:pt x="515" y="724"/>
                    </a:cubicBezTo>
                    <a:cubicBezTo>
                      <a:pt x="515" y="725"/>
                      <a:pt x="515" y="725"/>
                      <a:pt x="516" y="725"/>
                    </a:cubicBezTo>
                    <a:cubicBezTo>
                      <a:pt x="516" y="725"/>
                      <a:pt x="517" y="725"/>
                      <a:pt x="518" y="725"/>
                    </a:cubicBezTo>
                    <a:cubicBezTo>
                      <a:pt x="518" y="725"/>
                      <a:pt x="518" y="725"/>
                      <a:pt x="518" y="725"/>
                    </a:cubicBezTo>
                    <a:cubicBezTo>
                      <a:pt x="518" y="725"/>
                      <a:pt x="518" y="725"/>
                      <a:pt x="518" y="725"/>
                    </a:cubicBezTo>
                    <a:cubicBezTo>
                      <a:pt x="517" y="726"/>
                      <a:pt x="517" y="726"/>
                      <a:pt x="518" y="726"/>
                    </a:cubicBezTo>
                    <a:cubicBezTo>
                      <a:pt x="518" y="726"/>
                      <a:pt x="518" y="726"/>
                      <a:pt x="518" y="726"/>
                    </a:cubicBezTo>
                    <a:cubicBezTo>
                      <a:pt x="518" y="726"/>
                      <a:pt x="518" y="726"/>
                      <a:pt x="518" y="726"/>
                    </a:cubicBezTo>
                    <a:cubicBezTo>
                      <a:pt x="518" y="726"/>
                      <a:pt x="518" y="727"/>
                      <a:pt x="518" y="727"/>
                    </a:cubicBezTo>
                    <a:cubicBezTo>
                      <a:pt x="519" y="727"/>
                      <a:pt x="520" y="727"/>
                      <a:pt x="521" y="727"/>
                    </a:cubicBezTo>
                    <a:cubicBezTo>
                      <a:pt x="521" y="727"/>
                      <a:pt x="521" y="728"/>
                      <a:pt x="521" y="727"/>
                    </a:cubicBezTo>
                    <a:cubicBezTo>
                      <a:pt x="521" y="727"/>
                      <a:pt x="521" y="727"/>
                      <a:pt x="522" y="727"/>
                    </a:cubicBezTo>
                    <a:cubicBezTo>
                      <a:pt x="522" y="727"/>
                      <a:pt x="521" y="727"/>
                      <a:pt x="521" y="727"/>
                    </a:cubicBezTo>
                    <a:cubicBezTo>
                      <a:pt x="521" y="727"/>
                      <a:pt x="521" y="727"/>
                      <a:pt x="521" y="727"/>
                    </a:cubicBezTo>
                    <a:cubicBezTo>
                      <a:pt x="522" y="726"/>
                      <a:pt x="522" y="727"/>
                      <a:pt x="522" y="727"/>
                    </a:cubicBezTo>
                    <a:cubicBezTo>
                      <a:pt x="522" y="727"/>
                      <a:pt x="522" y="727"/>
                      <a:pt x="522" y="727"/>
                    </a:cubicBezTo>
                    <a:cubicBezTo>
                      <a:pt x="522" y="727"/>
                      <a:pt x="523" y="727"/>
                      <a:pt x="523" y="727"/>
                    </a:cubicBezTo>
                    <a:cubicBezTo>
                      <a:pt x="523" y="727"/>
                      <a:pt x="523" y="728"/>
                      <a:pt x="523" y="728"/>
                    </a:cubicBezTo>
                    <a:cubicBezTo>
                      <a:pt x="523" y="728"/>
                      <a:pt x="523" y="728"/>
                      <a:pt x="523" y="728"/>
                    </a:cubicBezTo>
                    <a:cubicBezTo>
                      <a:pt x="523" y="728"/>
                      <a:pt x="523" y="728"/>
                      <a:pt x="522" y="728"/>
                    </a:cubicBezTo>
                    <a:cubicBezTo>
                      <a:pt x="523" y="728"/>
                      <a:pt x="523" y="728"/>
                      <a:pt x="523" y="728"/>
                    </a:cubicBezTo>
                    <a:cubicBezTo>
                      <a:pt x="523" y="729"/>
                      <a:pt x="524" y="729"/>
                      <a:pt x="524" y="729"/>
                    </a:cubicBezTo>
                    <a:cubicBezTo>
                      <a:pt x="525" y="729"/>
                      <a:pt x="526" y="729"/>
                      <a:pt x="526" y="729"/>
                    </a:cubicBezTo>
                    <a:cubicBezTo>
                      <a:pt x="526" y="729"/>
                      <a:pt x="526" y="729"/>
                      <a:pt x="526" y="729"/>
                    </a:cubicBezTo>
                    <a:cubicBezTo>
                      <a:pt x="526" y="728"/>
                      <a:pt x="526" y="728"/>
                      <a:pt x="526" y="728"/>
                    </a:cubicBezTo>
                    <a:cubicBezTo>
                      <a:pt x="526" y="727"/>
                      <a:pt x="526" y="728"/>
                      <a:pt x="526" y="727"/>
                    </a:cubicBezTo>
                    <a:cubicBezTo>
                      <a:pt x="526" y="727"/>
                      <a:pt x="526" y="727"/>
                      <a:pt x="526" y="727"/>
                    </a:cubicBezTo>
                    <a:cubicBezTo>
                      <a:pt x="526" y="727"/>
                      <a:pt x="526" y="727"/>
                      <a:pt x="526" y="727"/>
                    </a:cubicBezTo>
                    <a:cubicBezTo>
                      <a:pt x="527" y="727"/>
                      <a:pt x="527" y="726"/>
                      <a:pt x="527" y="726"/>
                    </a:cubicBezTo>
                    <a:cubicBezTo>
                      <a:pt x="527" y="725"/>
                      <a:pt x="527" y="725"/>
                      <a:pt x="528" y="725"/>
                    </a:cubicBezTo>
                    <a:cubicBezTo>
                      <a:pt x="528" y="725"/>
                      <a:pt x="528" y="725"/>
                      <a:pt x="529" y="725"/>
                    </a:cubicBezTo>
                    <a:cubicBezTo>
                      <a:pt x="529" y="725"/>
                      <a:pt x="529" y="725"/>
                      <a:pt x="529" y="725"/>
                    </a:cubicBezTo>
                    <a:cubicBezTo>
                      <a:pt x="529" y="725"/>
                      <a:pt x="529" y="725"/>
                      <a:pt x="529" y="724"/>
                    </a:cubicBezTo>
                    <a:close/>
                    <a:moveTo>
                      <a:pt x="487" y="564"/>
                    </a:moveTo>
                    <a:cubicBezTo>
                      <a:pt x="487" y="564"/>
                      <a:pt x="487" y="564"/>
                      <a:pt x="487" y="563"/>
                    </a:cubicBezTo>
                    <a:cubicBezTo>
                      <a:pt x="488" y="563"/>
                      <a:pt x="488" y="563"/>
                      <a:pt x="488" y="563"/>
                    </a:cubicBezTo>
                    <a:cubicBezTo>
                      <a:pt x="489" y="563"/>
                      <a:pt x="489" y="563"/>
                      <a:pt x="489" y="563"/>
                    </a:cubicBezTo>
                    <a:cubicBezTo>
                      <a:pt x="489" y="563"/>
                      <a:pt x="489" y="563"/>
                      <a:pt x="489" y="563"/>
                    </a:cubicBezTo>
                    <a:cubicBezTo>
                      <a:pt x="489" y="564"/>
                      <a:pt x="490" y="564"/>
                      <a:pt x="490" y="565"/>
                    </a:cubicBezTo>
                    <a:cubicBezTo>
                      <a:pt x="490" y="565"/>
                      <a:pt x="490" y="565"/>
                      <a:pt x="490" y="565"/>
                    </a:cubicBezTo>
                    <a:cubicBezTo>
                      <a:pt x="490" y="565"/>
                      <a:pt x="490" y="565"/>
                      <a:pt x="490" y="565"/>
                    </a:cubicBezTo>
                    <a:cubicBezTo>
                      <a:pt x="490" y="566"/>
                      <a:pt x="490" y="566"/>
                      <a:pt x="490" y="566"/>
                    </a:cubicBezTo>
                    <a:cubicBezTo>
                      <a:pt x="490" y="566"/>
                      <a:pt x="489" y="567"/>
                      <a:pt x="489" y="567"/>
                    </a:cubicBezTo>
                    <a:cubicBezTo>
                      <a:pt x="490" y="567"/>
                      <a:pt x="490" y="567"/>
                      <a:pt x="490" y="567"/>
                    </a:cubicBezTo>
                    <a:cubicBezTo>
                      <a:pt x="489" y="567"/>
                      <a:pt x="489" y="567"/>
                      <a:pt x="489" y="567"/>
                    </a:cubicBezTo>
                    <a:cubicBezTo>
                      <a:pt x="489" y="567"/>
                      <a:pt x="489" y="567"/>
                      <a:pt x="489" y="567"/>
                    </a:cubicBezTo>
                    <a:cubicBezTo>
                      <a:pt x="489" y="567"/>
                      <a:pt x="488" y="567"/>
                      <a:pt x="488" y="568"/>
                    </a:cubicBezTo>
                    <a:cubicBezTo>
                      <a:pt x="488" y="568"/>
                      <a:pt x="488" y="568"/>
                      <a:pt x="488" y="568"/>
                    </a:cubicBezTo>
                    <a:cubicBezTo>
                      <a:pt x="487" y="568"/>
                      <a:pt x="487" y="568"/>
                      <a:pt x="487" y="569"/>
                    </a:cubicBezTo>
                    <a:cubicBezTo>
                      <a:pt x="487" y="569"/>
                      <a:pt x="487" y="568"/>
                      <a:pt x="486" y="568"/>
                    </a:cubicBezTo>
                    <a:cubicBezTo>
                      <a:pt x="486" y="568"/>
                      <a:pt x="486" y="568"/>
                      <a:pt x="486" y="567"/>
                    </a:cubicBezTo>
                    <a:cubicBezTo>
                      <a:pt x="486" y="567"/>
                      <a:pt x="486" y="567"/>
                      <a:pt x="486" y="567"/>
                    </a:cubicBezTo>
                    <a:cubicBezTo>
                      <a:pt x="486" y="566"/>
                      <a:pt x="487" y="566"/>
                      <a:pt x="487" y="566"/>
                    </a:cubicBezTo>
                    <a:cubicBezTo>
                      <a:pt x="487" y="566"/>
                      <a:pt x="487" y="565"/>
                      <a:pt x="487" y="565"/>
                    </a:cubicBezTo>
                    <a:cubicBezTo>
                      <a:pt x="487" y="564"/>
                      <a:pt x="487" y="564"/>
                      <a:pt x="487" y="564"/>
                    </a:cubicBezTo>
                    <a:close/>
                    <a:moveTo>
                      <a:pt x="512" y="565"/>
                    </a:moveTo>
                    <a:cubicBezTo>
                      <a:pt x="512" y="565"/>
                      <a:pt x="512" y="565"/>
                      <a:pt x="512" y="565"/>
                    </a:cubicBezTo>
                    <a:cubicBezTo>
                      <a:pt x="512" y="565"/>
                      <a:pt x="512" y="566"/>
                      <a:pt x="513" y="566"/>
                    </a:cubicBezTo>
                    <a:cubicBezTo>
                      <a:pt x="513" y="566"/>
                      <a:pt x="513" y="567"/>
                      <a:pt x="513" y="567"/>
                    </a:cubicBezTo>
                    <a:cubicBezTo>
                      <a:pt x="513" y="567"/>
                      <a:pt x="512" y="567"/>
                      <a:pt x="512" y="567"/>
                    </a:cubicBezTo>
                    <a:cubicBezTo>
                      <a:pt x="512" y="567"/>
                      <a:pt x="512" y="567"/>
                      <a:pt x="512" y="567"/>
                    </a:cubicBezTo>
                    <a:cubicBezTo>
                      <a:pt x="512" y="567"/>
                      <a:pt x="511" y="566"/>
                      <a:pt x="511" y="566"/>
                    </a:cubicBezTo>
                    <a:cubicBezTo>
                      <a:pt x="511" y="566"/>
                      <a:pt x="511" y="566"/>
                      <a:pt x="510" y="566"/>
                    </a:cubicBezTo>
                    <a:cubicBezTo>
                      <a:pt x="510" y="565"/>
                      <a:pt x="510" y="565"/>
                      <a:pt x="510" y="565"/>
                    </a:cubicBezTo>
                    <a:cubicBezTo>
                      <a:pt x="510" y="565"/>
                      <a:pt x="510" y="565"/>
                      <a:pt x="510" y="565"/>
                    </a:cubicBezTo>
                    <a:cubicBezTo>
                      <a:pt x="510" y="565"/>
                      <a:pt x="510" y="565"/>
                      <a:pt x="510" y="565"/>
                    </a:cubicBezTo>
                    <a:cubicBezTo>
                      <a:pt x="510" y="565"/>
                      <a:pt x="510" y="565"/>
                      <a:pt x="510" y="565"/>
                    </a:cubicBezTo>
                    <a:cubicBezTo>
                      <a:pt x="510" y="564"/>
                      <a:pt x="510" y="564"/>
                      <a:pt x="511" y="564"/>
                    </a:cubicBezTo>
                    <a:cubicBezTo>
                      <a:pt x="511" y="564"/>
                      <a:pt x="511" y="564"/>
                      <a:pt x="511" y="565"/>
                    </a:cubicBezTo>
                    <a:cubicBezTo>
                      <a:pt x="511" y="565"/>
                      <a:pt x="512" y="565"/>
                      <a:pt x="512" y="565"/>
                    </a:cubicBezTo>
                    <a:close/>
                    <a:moveTo>
                      <a:pt x="395" y="657"/>
                    </a:moveTo>
                    <a:cubicBezTo>
                      <a:pt x="395" y="656"/>
                      <a:pt x="395" y="656"/>
                      <a:pt x="395" y="656"/>
                    </a:cubicBezTo>
                    <a:cubicBezTo>
                      <a:pt x="395" y="656"/>
                      <a:pt x="395" y="656"/>
                      <a:pt x="395" y="656"/>
                    </a:cubicBezTo>
                    <a:cubicBezTo>
                      <a:pt x="395" y="656"/>
                      <a:pt x="396" y="655"/>
                      <a:pt x="396" y="655"/>
                    </a:cubicBezTo>
                    <a:cubicBezTo>
                      <a:pt x="397" y="654"/>
                      <a:pt x="398" y="654"/>
                      <a:pt x="399" y="654"/>
                    </a:cubicBezTo>
                    <a:cubicBezTo>
                      <a:pt x="400" y="654"/>
                      <a:pt x="400" y="654"/>
                      <a:pt x="401" y="654"/>
                    </a:cubicBezTo>
                    <a:cubicBezTo>
                      <a:pt x="402" y="654"/>
                      <a:pt x="402" y="655"/>
                      <a:pt x="403" y="655"/>
                    </a:cubicBezTo>
                    <a:cubicBezTo>
                      <a:pt x="403" y="656"/>
                      <a:pt x="403" y="656"/>
                      <a:pt x="404" y="657"/>
                    </a:cubicBezTo>
                    <a:cubicBezTo>
                      <a:pt x="404" y="658"/>
                      <a:pt x="405" y="659"/>
                      <a:pt x="404" y="660"/>
                    </a:cubicBezTo>
                    <a:cubicBezTo>
                      <a:pt x="404" y="660"/>
                      <a:pt x="404" y="660"/>
                      <a:pt x="404" y="660"/>
                    </a:cubicBezTo>
                    <a:cubicBezTo>
                      <a:pt x="404" y="660"/>
                      <a:pt x="404" y="660"/>
                      <a:pt x="404" y="660"/>
                    </a:cubicBezTo>
                    <a:cubicBezTo>
                      <a:pt x="404" y="660"/>
                      <a:pt x="403" y="660"/>
                      <a:pt x="403" y="660"/>
                    </a:cubicBezTo>
                    <a:cubicBezTo>
                      <a:pt x="402" y="659"/>
                      <a:pt x="401" y="659"/>
                      <a:pt x="401" y="659"/>
                    </a:cubicBezTo>
                    <a:cubicBezTo>
                      <a:pt x="400" y="659"/>
                      <a:pt x="400" y="658"/>
                      <a:pt x="399" y="658"/>
                    </a:cubicBezTo>
                    <a:cubicBezTo>
                      <a:pt x="399" y="658"/>
                      <a:pt x="398" y="658"/>
                      <a:pt x="398" y="658"/>
                    </a:cubicBezTo>
                    <a:cubicBezTo>
                      <a:pt x="397" y="658"/>
                      <a:pt x="397" y="657"/>
                      <a:pt x="396" y="657"/>
                    </a:cubicBezTo>
                    <a:cubicBezTo>
                      <a:pt x="396" y="657"/>
                      <a:pt x="395" y="657"/>
                      <a:pt x="395" y="657"/>
                    </a:cubicBezTo>
                    <a:close/>
                    <a:moveTo>
                      <a:pt x="414" y="667"/>
                    </a:moveTo>
                    <a:cubicBezTo>
                      <a:pt x="414" y="667"/>
                      <a:pt x="413" y="667"/>
                      <a:pt x="413" y="667"/>
                    </a:cubicBezTo>
                    <a:cubicBezTo>
                      <a:pt x="413" y="667"/>
                      <a:pt x="413" y="667"/>
                      <a:pt x="413" y="668"/>
                    </a:cubicBezTo>
                    <a:cubicBezTo>
                      <a:pt x="413" y="668"/>
                      <a:pt x="413" y="668"/>
                      <a:pt x="413" y="668"/>
                    </a:cubicBezTo>
                    <a:cubicBezTo>
                      <a:pt x="413" y="668"/>
                      <a:pt x="413" y="668"/>
                      <a:pt x="413" y="668"/>
                    </a:cubicBezTo>
                    <a:cubicBezTo>
                      <a:pt x="413" y="668"/>
                      <a:pt x="413" y="668"/>
                      <a:pt x="413" y="668"/>
                    </a:cubicBezTo>
                    <a:cubicBezTo>
                      <a:pt x="412" y="668"/>
                      <a:pt x="412" y="668"/>
                      <a:pt x="411" y="668"/>
                    </a:cubicBezTo>
                    <a:cubicBezTo>
                      <a:pt x="411" y="668"/>
                      <a:pt x="411" y="668"/>
                      <a:pt x="411" y="668"/>
                    </a:cubicBezTo>
                    <a:cubicBezTo>
                      <a:pt x="411" y="668"/>
                      <a:pt x="411" y="668"/>
                      <a:pt x="411" y="668"/>
                    </a:cubicBezTo>
                    <a:cubicBezTo>
                      <a:pt x="411" y="668"/>
                      <a:pt x="411" y="668"/>
                      <a:pt x="411" y="668"/>
                    </a:cubicBezTo>
                    <a:cubicBezTo>
                      <a:pt x="411" y="668"/>
                      <a:pt x="411" y="668"/>
                      <a:pt x="411" y="668"/>
                    </a:cubicBezTo>
                    <a:cubicBezTo>
                      <a:pt x="411" y="668"/>
                      <a:pt x="411" y="667"/>
                      <a:pt x="411" y="667"/>
                    </a:cubicBezTo>
                    <a:cubicBezTo>
                      <a:pt x="411" y="667"/>
                      <a:pt x="411" y="667"/>
                      <a:pt x="411" y="667"/>
                    </a:cubicBezTo>
                    <a:cubicBezTo>
                      <a:pt x="411" y="667"/>
                      <a:pt x="412" y="667"/>
                      <a:pt x="412" y="667"/>
                    </a:cubicBezTo>
                    <a:cubicBezTo>
                      <a:pt x="412" y="667"/>
                      <a:pt x="412" y="667"/>
                      <a:pt x="412" y="667"/>
                    </a:cubicBezTo>
                    <a:cubicBezTo>
                      <a:pt x="413" y="667"/>
                      <a:pt x="413" y="666"/>
                      <a:pt x="413" y="666"/>
                    </a:cubicBezTo>
                    <a:cubicBezTo>
                      <a:pt x="413" y="666"/>
                      <a:pt x="413" y="666"/>
                      <a:pt x="413" y="666"/>
                    </a:cubicBezTo>
                    <a:cubicBezTo>
                      <a:pt x="413" y="666"/>
                      <a:pt x="413" y="666"/>
                      <a:pt x="413" y="667"/>
                    </a:cubicBezTo>
                    <a:cubicBezTo>
                      <a:pt x="414" y="667"/>
                      <a:pt x="414" y="667"/>
                      <a:pt x="414" y="667"/>
                    </a:cubicBezTo>
                    <a:close/>
                    <a:moveTo>
                      <a:pt x="241" y="438"/>
                    </a:moveTo>
                    <a:cubicBezTo>
                      <a:pt x="241" y="438"/>
                      <a:pt x="241" y="438"/>
                      <a:pt x="241" y="438"/>
                    </a:cubicBezTo>
                    <a:cubicBezTo>
                      <a:pt x="242" y="438"/>
                      <a:pt x="242" y="437"/>
                      <a:pt x="242" y="437"/>
                    </a:cubicBezTo>
                    <a:cubicBezTo>
                      <a:pt x="243" y="437"/>
                      <a:pt x="243" y="437"/>
                      <a:pt x="243" y="437"/>
                    </a:cubicBezTo>
                    <a:cubicBezTo>
                      <a:pt x="244" y="437"/>
                      <a:pt x="244" y="437"/>
                      <a:pt x="244" y="438"/>
                    </a:cubicBezTo>
                    <a:cubicBezTo>
                      <a:pt x="244" y="438"/>
                      <a:pt x="244" y="438"/>
                      <a:pt x="244" y="438"/>
                    </a:cubicBezTo>
                    <a:cubicBezTo>
                      <a:pt x="245" y="438"/>
                      <a:pt x="245" y="438"/>
                      <a:pt x="245" y="439"/>
                    </a:cubicBezTo>
                    <a:cubicBezTo>
                      <a:pt x="245" y="439"/>
                      <a:pt x="245" y="439"/>
                      <a:pt x="245" y="439"/>
                    </a:cubicBezTo>
                    <a:cubicBezTo>
                      <a:pt x="245" y="439"/>
                      <a:pt x="245" y="439"/>
                      <a:pt x="245" y="439"/>
                    </a:cubicBezTo>
                    <a:cubicBezTo>
                      <a:pt x="246" y="439"/>
                      <a:pt x="246" y="439"/>
                      <a:pt x="246" y="439"/>
                    </a:cubicBezTo>
                    <a:cubicBezTo>
                      <a:pt x="246" y="439"/>
                      <a:pt x="246" y="440"/>
                      <a:pt x="246" y="440"/>
                    </a:cubicBezTo>
                    <a:cubicBezTo>
                      <a:pt x="245" y="440"/>
                      <a:pt x="245" y="440"/>
                      <a:pt x="245" y="440"/>
                    </a:cubicBezTo>
                    <a:cubicBezTo>
                      <a:pt x="245" y="440"/>
                      <a:pt x="245" y="441"/>
                      <a:pt x="245" y="441"/>
                    </a:cubicBezTo>
                    <a:cubicBezTo>
                      <a:pt x="245" y="441"/>
                      <a:pt x="245" y="441"/>
                      <a:pt x="245" y="441"/>
                    </a:cubicBezTo>
                    <a:cubicBezTo>
                      <a:pt x="244" y="441"/>
                      <a:pt x="244" y="441"/>
                      <a:pt x="244" y="441"/>
                    </a:cubicBezTo>
                    <a:cubicBezTo>
                      <a:pt x="244" y="441"/>
                      <a:pt x="243" y="441"/>
                      <a:pt x="243" y="441"/>
                    </a:cubicBezTo>
                    <a:cubicBezTo>
                      <a:pt x="243" y="440"/>
                      <a:pt x="243" y="440"/>
                      <a:pt x="243" y="440"/>
                    </a:cubicBezTo>
                    <a:cubicBezTo>
                      <a:pt x="243" y="440"/>
                      <a:pt x="242" y="440"/>
                      <a:pt x="242" y="439"/>
                    </a:cubicBezTo>
                    <a:cubicBezTo>
                      <a:pt x="241" y="439"/>
                      <a:pt x="241" y="439"/>
                      <a:pt x="241" y="439"/>
                    </a:cubicBezTo>
                    <a:cubicBezTo>
                      <a:pt x="241" y="439"/>
                      <a:pt x="241" y="439"/>
                      <a:pt x="241" y="438"/>
                    </a:cubicBezTo>
                    <a:cubicBezTo>
                      <a:pt x="241" y="438"/>
                      <a:pt x="241" y="438"/>
                      <a:pt x="241" y="439"/>
                    </a:cubicBezTo>
                    <a:cubicBezTo>
                      <a:pt x="241" y="438"/>
                      <a:pt x="241" y="438"/>
                      <a:pt x="241" y="438"/>
                    </a:cubicBezTo>
                    <a:close/>
                    <a:moveTo>
                      <a:pt x="222" y="465"/>
                    </a:moveTo>
                    <a:cubicBezTo>
                      <a:pt x="222" y="465"/>
                      <a:pt x="223" y="465"/>
                      <a:pt x="223" y="465"/>
                    </a:cubicBezTo>
                    <a:cubicBezTo>
                      <a:pt x="223" y="465"/>
                      <a:pt x="223" y="465"/>
                      <a:pt x="223" y="466"/>
                    </a:cubicBezTo>
                    <a:cubicBezTo>
                      <a:pt x="223" y="466"/>
                      <a:pt x="223" y="466"/>
                      <a:pt x="223" y="466"/>
                    </a:cubicBezTo>
                    <a:cubicBezTo>
                      <a:pt x="223" y="466"/>
                      <a:pt x="223" y="466"/>
                      <a:pt x="223" y="466"/>
                    </a:cubicBezTo>
                    <a:cubicBezTo>
                      <a:pt x="224" y="466"/>
                      <a:pt x="224" y="466"/>
                      <a:pt x="224" y="466"/>
                    </a:cubicBezTo>
                    <a:cubicBezTo>
                      <a:pt x="224" y="466"/>
                      <a:pt x="224" y="466"/>
                      <a:pt x="224" y="466"/>
                    </a:cubicBezTo>
                    <a:cubicBezTo>
                      <a:pt x="224" y="466"/>
                      <a:pt x="224" y="465"/>
                      <a:pt x="224" y="465"/>
                    </a:cubicBezTo>
                    <a:cubicBezTo>
                      <a:pt x="224" y="465"/>
                      <a:pt x="224" y="465"/>
                      <a:pt x="224" y="465"/>
                    </a:cubicBezTo>
                    <a:cubicBezTo>
                      <a:pt x="224" y="465"/>
                      <a:pt x="224" y="465"/>
                      <a:pt x="224" y="465"/>
                    </a:cubicBezTo>
                    <a:cubicBezTo>
                      <a:pt x="224" y="465"/>
                      <a:pt x="224" y="465"/>
                      <a:pt x="224" y="465"/>
                    </a:cubicBezTo>
                    <a:cubicBezTo>
                      <a:pt x="224" y="465"/>
                      <a:pt x="224" y="464"/>
                      <a:pt x="224" y="464"/>
                    </a:cubicBezTo>
                    <a:cubicBezTo>
                      <a:pt x="224" y="464"/>
                      <a:pt x="224" y="464"/>
                      <a:pt x="224" y="464"/>
                    </a:cubicBezTo>
                    <a:cubicBezTo>
                      <a:pt x="224" y="464"/>
                      <a:pt x="224" y="464"/>
                      <a:pt x="224" y="464"/>
                    </a:cubicBezTo>
                    <a:cubicBezTo>
                      <a:pt x="224" y="465"/>
                      <a:pt x="224" y="465"/>
                      <a:pt x="225" y="465"/>
                    </a:cubicBezTo>
                    <a:cubicBezTo>
                      <a:pt x="225" y="465"/>
                      <a:pt x="225" y="465"/>
                      <a:pt x="225" y="465"/>
                    </a:cubicBezTo>
                    <a:cubicBezTo>
                      <a:pt x="225" y="465"/>
                      <a:pt x="225" y="465"/>
                      <a:pt x="225" y="465"/>
                    </a:cubicBezTo>
                    <a:cubicBezTo>
                      <a:pt x="225" y="466"/>
                      <a:pt x="225" y="466"/>
                      <a:pt x="225" y="466"/>
                    </a:cubicBezTo>
                    <a:cubicBezTo>
                      <a:pt x="224" y="466"/>
                      <a:pt x="224" y="467"/>
                      <a:pt x="224" y="467"/>
                    </a:cubicBezTo>
                    <a:cubicBezTo>
                      <a:pt x="224" y="467"/>
                      <a:pt x="224" y="467"/>
                      <a:pt x="224" y="467"/>
                    </a:cubicBezTo>
                    <a:cubicBezTo>
                      <a:pt x="224" y="467"/>
                      <a:pt x="224" y="467"/>
                      <a:pt x="224" y="467"/>
                    </a:cubicBezTo>
                    <a:cubicBezTo>
                      <a:pt x="224" y="467"/>
                      <a:pt x="224" y="467"/>
                      <a:pt x="224" y="467"/>
                    </a:cubicBezTo>
                    <a:cubicBezTo>
                      <a:pt x="224" y="467"/>
                      <a:pt x="224" y="467"/>
                      <a:pt x="223" y="467"/>
                    </a:cubicBezTo>
                    <a:cubicBezTo>
                      <a:pt x="223" y="467"/>
                      <a:pt x="223" y="467"/>
                      <a:pt x="223" y="467"/>
                    </a:cubicBezTo>
                    <a:cubicBezTo>
                      <a:pt x="223" y="467"/>
                      <a:pt x="223" y="466"/>
                      <a:pt x="223" y="466"/>
                    </a:cubicBezTo>
                    <a:cubicBezTo>
                      <a:pt x="223" y="466"/>
                      <a:pt x="223" y="466"/>
                      <a:pt x="223" y="466"/>
                    </a:cubicBezTo>
                    <a:cubicBezTo>
                      <a:pt x="223" y="466"/>
                      <a:pt x="223" y="466"/>
                      <a:pt x="223" y="466"/>
                    </a:cubicBezTo>
                    <a:cubicBezTo>
                      <a:pt x="223" y="466"/>
                      <a:pt x="223" y="466"/>
                      <a:pt x="223" y="466"/>
                    </a:cubicBezTo>
                    <a:cubicBezTo>
                      <a:pt x="223" y="467"/>
                      <a:pt x="223" y="467"/>
                      <a:pt x="223" y="467"/>
                    </a:cubicBezTo>
                    <a:cubicBezTo>
                      <a:pt x="223" y="467"/>
                      <a:pt x="223" y="467"/>
                      <a:pt x="223" y="467"/>
                    </a:cubicBezTo>
                    <a:cubicBezTo>
                      <a:pt x="222" y="467"/>
                      <a:pt x="222" y="467"/>
                      <a:pt x="222" y="467"/>
                    </a:cubicBezTo>
                    <a:cubicBezTo>
                      <a:pt x="222" y="467"/>
                      <a:pt x="222" y="467"/>
                      <a:pt x="222" y="467"/>
                    </a:cubicBezTo>
                    <a:cubicBezTo>
                      <a:pt x="222" y="467"/>
                      <a:pt x="222" y="467"/>
                      <a:pt x="222" y="467"/>
                    </a:cubicBezTo>
                    <a:cubicBezTo>
                      <a:pt x="222" y="466"/>
                      <a:pt x="222" y="466"/>
                      <a:pt x="222" y="466"/>
                    </a:cubicBezTo>
                    <a:cubicBezTo>
                      <a:pt x="222" y="466"/>
                      <a:pt x="222" y="465"/>
                      <a:pt x="222" y="465"/>
                    </a:cubicBezTo>
                    <a:cubicBezTo>
                      <a:pt x="222" y="465"/>
                      <a:pt x="222" y="465"/>
                      <a:pt x="222" y="465"/>
                    </a:cubicBezTo>
                    <a:close/>
                    <a:moveTo>
                      <a:pt x="222" y="459"/>
                    </a:moveTo>
                    <a:cubicBezTo>
                      <a:pt x="222" y="459"/>
                      <a:pt x="222" y="459"/>
                      <a:pt x="222" y="459"/>
                    </a:cubicBezTo>
                    <a:cubicBezTo>
                      <a:pt x="222" y="459"/>
                      <a:pt x="222" y="459"/>
                      <a:pt x="222" y="459"/>
                    </a:cubicBezTo>
                    <a:cubicBezTo>
                      <a:pt x="222" y="459"/>
                      <a:pt x="222" y="460"/>
                      <a:pt x="222" y="460"/>
                    </a:cubicBezTo>
                    <a:cubicBezTo>
                      <a:pt x="222" y="460"/>
                      <a:pt x="222" y="460"/>
                      <a:pt x="222" y="460"/>
                    </a:cubicBezTo>
                    <a:cubicBezTo>
                      <a:pt x="222" y="460"/>
                      <a:pt x="222" y="460"/>
                      <a:pt x="222" y="460"/>
                    </a:cubicBezTo>
                    <a:cubicBezTo>
                      <a:pt x="221" y="460"/>
                      <a:pt x="222" y="459"/>
                      <a:pt x="221" y="459"/>
                    </a:cubicBezTo>
                    <a:cubicBezTo>
                      <a:pt x="221" y="459"/>
                      <a:pt x="221" y="459"/>
                      <a:pt x="221" y="459"/>
                    </a:cubicBezTo>
                    <a:cubicBezTo>
                      <a:pt x="221" y="459"/>
                      <a:pt x="221" y="459"/>
                      <a:pt x="221" y="459"/>
                    </a:cubicBezTo>
                    <a:cubicBezTo>
                      <a:pt x="221" y="459"/>
                      <a:pt x="221" y="459"/>
                      <a:pt x="221" y="459"/>
                    </a:cubicBezTo>
                    <a:cubicBezTo>
                      <a:pt x="221" y="459"/>
                      <a:pt x="221" y="458"/>
                      <a:pt x="221" y="458"/>
                    </a:cubicBezTo>
                    <a:cubicBezTo>
                      <a:pt x="221" y="458"/>
                      <a:pt x="221" y="458"/>
                      <a:pt x="221" y="458"/>
                    </a:cubicBezTo>
                    <a:cubicBezTo>
                      <a:pt x="221" y="458"/>
                      <a:pt x="221" y="458"/>
                      <a:pt x="221" y="458"/>
                    </a:cubicBezTo>
                    <a:cubicBezTo>
                      <a:pt x="221" y="458"/>
                      <a:pt x="221" y="458"/>
                      <a:pt x="221" y="458"/>
                    </a:cubicBezTo>
                    <a:cubicBezTo>
                      <a:pt x="221" y="458"/>
                      <a:pt x="222" y="458"/>
                      <a:pt x="222" y="458"/>
                    </a:cubicBezTo>
                    <a:cubicBezTo>
                      <a:pt x="222" y="458"/>
                      <a:pt x="222" y="458"/>
                      <a:pt x="222" y="457"/>
                    </a:cubicBezTo>
                    <a:cubicBezTo>
                      <a:pt x="222" y="457"/>
                      <a:pt x="222" y="457"/>
                      <a:pt x="222" y="457"/>
                    </a:cubicBezTo>
                    <a:cubicBezTo>
                      <a:pt x="222" y="457"/>
                      <a:pt x="222" y="457"/>
                      <a:pt x="222" y="457"/>
                    </a:cubicBezTo>
                    <a:cubicBezTo>
                      <a:pt x="222" y="457"/>
                      <a:pt x="222" y="458"/>
                      <a:pt x="222" y="458"/>
                    </a:cubicBezTo>
                    <a:cubicBezTo>
                      <a:pt x="222" y="458"/>
                      <a:pt x="222" y="458"/>
                      <a:pt x="222" y="458"/>
                    </a:cubicBezTo>
                    <a:cubicBezTo>
                      <a:pt x="222" y="458"/>
                      <a:pt x="222" y="459"/>
                      <a:pt x="222" y="459"/>
                    </a:cubicBezTo>
                    <a:close/>
                    <a:moveTo>
                      <a:pt x="222" y="454"/>
                    </a:moveTo>
                    <a:cubicBezTo>
                      <a:pt x="222" y="454"/>
                      <a:pt x="222" y="455"/>
                      <a:pt x="222" y="455"/>
                    </a:cubicBezTo>
                    <a:cubicBezTo>
                      <a:pt x="222" y="455"/>
                      <a:pt x="222" y="455"/>
                      <a:pt x="222" y="455"/>
                    </a:cubicBezTo>
                    <a:cubicBezTo>
                      <a:pt x="222" y="455"/>
                      <a:pt x="222" y="455"/>
                      <a:pt x="222" y="455"/>
                    </a:cubicBezTo>
                    <a:cubicBezTo>
                      <a:pt x="222" y="455"/>
                      <a:pt x="222" y="456"/>
                      <a:pt x="222" y="456"/>
                    </a:cubicBezTo>
                    <a:cubicBezTo>
                      <a:pt x="222" y="456"/>
                      <a:pt x="222" y="456"/>
                      <a:pt x="222" y="456"/>
                    </a:cubicBezTo>
                    <a:cubicBezTo>
                      <a:pt x="221" y="456"/>
                      <a:pt x="221" y="456"/>
                      <a:pt x="221" y="456"/>
                    </a:cubicBezTo>
                    <a:cubicBezTo>
                      <a:pt x="221" y="456"/>
                      <a:pt x="221" y="456"/>
                      <a:pt x="221" y="456"/>
                    </a:cubicBezTo>
                    <a:cubicBezTo>
                      <a:pt x="221" y="456"/>
                      <a:pt x="221" y="456"/>
                      <a:pt x="221" y="456"/>
                    </a:cubicBezTo>
                    <a:cubicBezTo>
                      <a:pt x="221" y="456"/>
                      <a:pt x="221" y="456"/>
                      <a:pt x="221" y="456"/>
                    </a:cubicBezTo>
                    <a:cubicBezTo>
                      <a:pt x="221" y="457"/>
                      <a:pt x="221" y="457"/>
                      <a:pt x="221" y="457"/>
                    </a:cubicBezTo>
                    <a:cubicBezTo>
                      <a:pt x="221" y="457"/>
                      <a:pt x="221" y="457"/>
                      <a:pt x="221" y="457"/>
                    </a:cubicBezTo>
                    <a:cubicBezTo>
                      <a:pt x="221" y="457"/>
                      <a:pt x="221" y="457"/>
                      <a:pt x="221" y="457"/>
                    </a:cubicBezTo>
                    <a:cubicBezTo>
                      <a:pt x="221" y="457"/>
                      <a:pt x="221" y="458"/>
                      <a:pt x="221" y="458"/>
                    </a:cubicBezTo>
                    <a:cubicBezTo>
                      <a:pt x="221" y="458"/>
                      <a:pt x="220" y="458"/>
                      <a:pt x="220" y="458"/>
                    </a:cubicBezTo>
                    <a:cubicBezTo>
                      <a:pt x="220" y="458"/>
                      <a:pt x="220" y="457"/>
                      <a:pt x="220" y="457"/>
                    </a:cubicBezTo>
                    <a:cubicBezTo>
                      <a:pt x="220" y="457"/>
                      <a:pt x="220" y="457"/>
                      <a:pt x="220" y="457"/>
                    </a:cubicBezTo>
                    <a:cubicBezTo>
                      <a:pt x="220" y="457"/>
                      <a:pt x="220" y="457"/>
                      <a:pt x="220" y="457"/>
                    </a:cubicBezTo>
                    <a:cubicBezTo>
                      <a:pt x="220" y="457"/>
                      <a:pt x="220" y="457"/>
                      <a:pt x="220" y="457"/>
                    </a:cubicBezTo>
                    <a:cubicBezTo>
                      <a:pt x="220" y="457"/>
                      <a:pt x="220" y="457"/>
                      <a:pt x="220" y="457"/>
                    </a:cubicBezTo>
                    <a:cubicBezTo>
                      <a:pt x="220" y="456"/>
                      <a:pt x="220" y="456"/>
                      <a:pt x="220" y="456"/>
                    </a:cubicBezTo>
                    <a:cubicBezTo>
                      <a:pt x="220" y="456"/>
                      <a:pt x="220" y="456"/>
                      <a:pt x="220" y="456"/>
                    </a:cubicBezTo>
                    <a:cubicBezTo>
                      <a:pt x="220" y="456"/>
                      <a:pt x="220" y="456"/>
                      <a:pt x="220" y="456"/>
                    </a:cubicBezTo>
                    <a:cubicBezTo>
                      <a:pt x="221" y="456"/>
                      <a:pt x="221" y="456"/>
                      <a:pt x="221" y="456"/>
                    </a:cubicBezTo>
                    <a:cubicBezTo>
                      <a:pt x="221" y="456"/>
                      <a:pt x="221" y="455"/>
                      <a:pt x="221" y="455"/>
                    </a:cubicBezTo>
                    <a:cubicBezTo>
                      <a:pt x="221" y="455"/>
                      <a:pt x="221" y="455"/>
                      <a:pt x="221" y="454"/>
                    </a:cubicBezTo>
                    <a:cubicBezTo>
                      <a:pt x="221" y="454"/>
                      <a:pt x="221" y="454"/>
                      <a:pt x="221" y="454"/>
                    </a:cubicBezTo>
                    <a:cubicBezTo>
                      <a:pt x="221" y="454"/>
                      <a:pt x="221" y="454"/>
                      <a:pt x="221" y="454"/>
                    </a:cubicBezTo>
                    <a:cubicBezTo>
                      <a:pt x="221" y="454"/>
                      <a:pt x="222" y="454"/>
                      <a:pt x="222" y="454"/>
                    </a:cubicBezTo>
                    <a:close/>
                    <a:moveTo>
                      <a:pt x="219" y="457"/>
                    </a:moveTo>
                    <a:cubicBezTo>
                      <a:pt x="218" y="457"/>
                      <a:pt x="218" y="457"/>
                      <a:pt x="218" y="457"/>
                    </a:cubicBezTo>
                    <a:cubicBezTo>
                      <a:pt x="218" y="456"/>
                      <a:pt x="218" y="456"/>
                      <a:pt x="218" y="456"/>
                    </a:cubicBezTo>
                    <a:cubicBezTo>
                      <a:pt x="218" y="456"/>
                      <a:pt x="218" y="456"/>
                      <a:pt x="218" y="456"/>
                    </a:cubicBezTo>
                    <a:cubicBezTo>
                      <a:pt x="218" y="456"/>
                      <a:pt x="218"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20" y="456"/>
                      <a:pt x="220" y="456"/>
                    </a:cubicBezTo>
                    <a:cubicBezTo>
                      <a:pt x="220" y="456"/>
                      <a:pt x="219" y="456"/>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lose/>
                    <a:moveTo>
                      <a:pt x="221" y="448"/>
                    </a:moveTo>
                    <a:cubicBezTo>
                      <a:pt x="221" y="448"/>
                      <a:pt x="221" y="449"/>
                      <a:pt x="221" y="449"/>
                    </a:cubicBezTo>
                    <a:cubicBezTo>
                      <a:pt x="221" y="449"/>
                      <a:pt x="221" y="449"/>
                      <a:pt x="221" y="449"/>
                    </a:cubicBezTo>
                    <a:cubicBezTo>
                      <a:pt x="221" y="449"/>
                      <a:pt x="221" y="449"/>
                      <a:pt x="221" y="449"/>
                    </a:cubicBezTo>
                    <a:cubicBezTo>
                      <a:pt x="221" y="449"/>
                      <a:pt x="221" y="450"/>
                      <a:pt x="221" y="450"/>
                    </a:cubicBezTo>
                    <a:cubicBezTo>
                      <a:pt x="221" y="450"/>
                      <a:pt x="221" y="450"/>
                      <a:pt x="221" y="450"/>
                    </a:cubicBezTo>
                    <a:cubicBezTo>
                      <a:pt x="221" y="450"/>
                      <a:pt x="221" y="450"/>
                      <a:pt x="221" y="450"/>
                    </a:cubicBezTo>
                    <a:cubicBezTo>
                      <a:pt x="221" y="450"/>
                      <a:pt x="220" y="450"/>
                      <a:pt x="220" y="450"/>
                    </a:cubicBezTo>
                    <a:cubicBezTo>
                      <a:pt x="220" y="450"/>
                      <a:pt x="220" y="450"/>
                      <a:pt x="220" y="450"/>
                    </a:cubicBezTo>
                    <a:cubicBezTo>
                      <a:pt x="220" y="450"/>
                      <a:pt x="220" y="450"/>
                      <a:pt x="220" y="449"/>
                    </a:cubicBezTo>
                    <a:cubicBezTo>
                      <a:pt x="220" y="449"/>
                      <a:pt x="220" y="449"/>
                      <a:pt x="220" y="449"/>
                    </a:cubicBezTo>
                    <a:cubicBezTo>
                      <a:pt x="220" y="449"/>
                      <a:pt x="220" y="449"/>
                      <a:pt x="220" y="449"/>
                    </a:cubicBezTo>
                    <a:cubicBezTo>
                      <a:pt x="220" y="449"/>
                      <a:pt x="220" y="448"/>
                      <a:pt x="221" y="448"/>
                    </a:cubicBezTo>
                    <a:cubicBezTo>
                      <a:pt x="221" y="448"/>
                      <a:pt x="221" y="448"/>
                      <a:pt x="221" y="448"/>
                    </a:cubicBezTo>
                    <a:close/>
                    <a:moveTo>
                      <a:pt x="210" y="445"/>
                    </a:moveTo>
                    <a:cubicBezTo>
                      <a:pt x="210" y="445"/>
                      <a:pt x="210" y="445"/>
                      <a:pt x="209" y="445"/>
                    </a:cubicBezTo>
                    <a:cubicBezTo>
                      <a:pt x="209" y="445"/>
                      <a:pt x="209" y="446"/>
                      <a:pt x="209" y="446"/>
                    </a:cubicBezTo>
                    <a:cubicBezTo>
                      <a:pt x="209" y="446"/>
                      <a:pt x="209" y="446"/>
                      <a:pt x="208" y="446"/>
                    </a:cubicBezTo>
                    <a:cubicBezTo>
                      <a:pt x="208" y="446"/>
                      <a:pt x="208" y="446"/>
                      <a:pt x="208" y="446"/>
                    </a:cubicBezTo>
                    <a:cubicBezTo>
                      <a:pt x="209" y="445"/>
                      <a:pt x="209" y="445"/>
                      <a:pt x="210" y="444"/>
                    </a:cubicBezTo>
                    <a:cubicBezTo>
                      <a:pt x="210" y="444"/>
                      <a:pt x="210" y="444"/>
                      <a:pt x="210" y="444"/>
                    </a:cubicBezTo>
                    <a:cubicBezTo>
                      <a:pt x="210" y="444"/>
                      <a:pt x="211" y="444"/>
                      <a:pt x="211" y="444"/>
                    </a:cubicBezTo>
                    <a:cubicBezTo>
                      <a:pt x="211" y="444"/>
                      <a:pt x="211" y="444"/>
                      <a:pt x="211" y="444"/>
                    </a:cubicBezTo>
                    <a:cubicBezTo>
                      <a:pt x="211" y="444"/>
                      <a:pt x="211" y="444"/>
                      <a:pt x="211" y="444"/>
                    </a:cubicBezTo>
                    <a:cubicBezTo>
                      <a:pt x="211" y="444"/>
                      <a:pt x="210" y="444"/>
                      <a:pt x="210" y="445"/>
                    </a:cubicBezTo>
                    <a:cubicBezTo>
                      <a:pt x="210" y="445"/>
                      <a:pt x="210" y="445"/>
                      <a:pt x="210" y="445"/>
                    </a:cubicBezTo>
                    <a:close/>
                    <a:moveTo>
                      <a:pt x="213" y="447"/>
                    </a:moveTo>
                    <a:cubicBezTo>
                      <a:pt x="213" y="447"/>
                      <a:pt x="213" y="447"/>
                      <a:pt x="213" y="447"/>
                    </a:cubicBezTo>
                    <a:cubicBezTo>
                      <a:pt x="213" y="448"/>
                      <a:pt x="213" y="448"/>
                      <a:pt x="213" y="448"/>
                    </a:cubicBezTo>
                    <a:cubicBezTo>
                      <a:pt x="213" y="448"/>
                      <a:pt x="212" y="448"/>
                      <a:pt x="212" y="448"/>
                    </a:cubicBezTo>
                    <a:cubicBezTo>
                      <a:pt x="212" y="448"/>
                      <a:pt x="212" y="448"/>
                      <a:pt x="212" y="448"/>
                    </a:cubicBezTo>
                    <a:cubicBezTo>
                      <a:pt x="212" y="448"/>
                      <a:pt x="212" y="448"/>
                      <a:pt x="212" y="448"/>
                    </a:cubicBezTo>
                    <a:cubicBezTo>
                      <a:pt x="212" y="448"/>
                      <a:pt x="212" y="448"/>
                      <a:pt x="212" y="448"/>
                    </a:cubicBezTo>
                    <a:cubicBezTo>
                      <a:pt x="212" y="448"/>
                      <a:pt x="212" y="448"/>
                      <a:pt x="212" y="448"/>
                    </a:cubicBezTo>
                    <a:cubicBezTo>
                      <a:pt x="212" y="447"/>
                      <a:pt x="212" y="447"/>
                      <a:pt x="212" y="447"/>
                    </a:cubicBezTo>
                    <a:cubicBezTo>
                      <a:pt x="212" y="447"/>
                      <a:pt x="212" y="447"/>
                      <a:pt x="212" y="447"/>
                    </a:cubicBezTo>
                    <a:cubicBezTo>
                      <a:pt x="212" y="447"/>
                      <a:pt x="212" y="447"/>
                      <a:pt x="212" y="447"/>
                    </a:cubicBezTo>
                    <a:cubicBezTo>
                      <a:pt x="212" y="447"/>
                      <a:pt x="212" y="447"/>
                      <a:pt x="212" y="447"/>
                    </a:cubicBezTo>
                    <a:cubicBezTo>
                      <a:pt x="212" y="447"/>
                      <a:pt x="212" y="447"/>
                      <a:pt x="213" y="447"/>
                    </a:cubicBezTo>
                    <a:cubicBezTo>
                      <a:pt x="213" y="447"/>
                      <a:pt x="213" y="447"/>
                      <a:pt x="213" y="447"/>
                    </a:cubicBezTo>
                    <a:cubicBezTo>
                      <a:pt x="213" y="447"/>
                      <a:pt x="213" y="447"/>
                      <a:pt x="213" y="447"/>
                    </a:cubicBezTo>
                    <a:cubicBezTo>
                      <a:pt x="213" y="447"/>
                      <a:pt x="213" y="447"/>
                      <a:pt x="213" y="447"/>
                    </a:cubicBezTo>
                    <a:cubicBezTo>
                      <a:pt x="213" y="447"/>
                      <a:pt x="213" y="447"/>
                      <a:pt x="213" y="447"/>
                    </a:cubicBezTo>
                    <a:close/>
                    <a:moveTo>
                      <a:pt x="215" y="450"/>
                    </a:moveTo>
                    <a:cubicBezTo>
                      <a:pt x="215" y="450"/>
                      <a:pt x="215" y="450"/>
                      <a:pt x="215" y="450"/>
                    </a:cubicBezTo>
                    <a:cubicBezTo>
                      <a:pt x="215" y="450"/>
                      <a:pt x="215" y="450"/>
                      <a:pt x="215" y="449"/>
                    </a:cubicBezTo>
                    <a:cubicBezTo>
                      <a:pt x="214" y="449"/>
                      <a:pt x="214" y="449"/>
                      <a:pt x="214" y="449"/>
                    </a:cubicBezTo>
                    <a:cubicBezTo>
                      <a:pt x="214" y="449"/>
                      <a:pt x="214" y="449"/>
                      <a:pt x="214" y="449"/>
                    </a:cubicBezTo>
                    <a:cubicBezTo>
                      <a:pt x="214" y="449"/>
                      <a:pt x="214" y="449"/>
                      <a:pt x="215" y="449"/>
                    </a:cubicBezTo>
                    <a:cubicBezTo>
                      <a:pt x="215" y="449"/>
                      <a:pt x="215" y="449"/>
                      <a:pt x="215" y="449"/>
                    </a:cubicBezTo>
                    <a:cubicBezTo>
                      <a:pt x="215" y="449"/>
                      <a:pt x="215" y="449"/>
                      <a:pt x="215" y="449"/>
                    </a:cubicBezTo>
                    <a:cubicBezTo>
                      <a:pt x="215" y="449"/>
                      <a:pt x="215" y="449"/>
                      <a:pt x="215" y="449"/>
                    </a:cubicBezTo>
                    <a:cubicBezTo>
                      <a:pt x="215" y="449"/>
                      <a:pt x="215" y="449"/>
                      <a:pt x="215" y="449"/>
                    </a:cubicBezTo>
                    <a:cubicBezTo>
                      <a:pt x="216" y="449"/>
                      <a:pt x="216" y="449"/>
                      <a:pt x="216" y="449"/>
                    </a:cubicBezTo>
                    <a:cubicBezTo>
                      <a:pt x="216" y="449"/>
                      <a:pt x="216" y="449"/>
                      <a:pt x="216" y="449"/>
                    </a:cubicBezTo>
                    <a:cubicBezTo>
                      <a:pt x="215" y="449"/>
                      <a:pt x="215" y="450"/>
                      <a:pt x="215" y="450"/>
                    </a:cubicBezTo>
                    <a:cubicBezTo>
                      <a:pt x="215" y="450"/>
                      <a:pt x="216" y="450"/>
                      <a:pt x="215" y="450"/>
                    </a:cubicBezTo>
                    <a:close/>
                    <a:moveTo>
                      <a:pt x="362" y="446"/>
                    </a:moveTo>
                    <a:cubicBezTo>
                      <a:pt x="362" y="446"/>
                      <a:pt x="363" y="446"/>
                      <a:pt x="363" y="446"/>
                    </a:cubicBezTo>
                    <a:cubicBezTo>
                      <a:pt x="363" y="445"/>
                      <a:pt x="363" y="445"/>
                      <a:pt x="363" y="445"/>
                    </a:cubicBezTo>
                    <a:cubicBezTo>
                      <a:pt x="363" y="444"/>
                      <a:pt x="364" y="443"/>
                      <a:pt x="364" y="443"/>
                    </a:cubicBezTo>
                    <a:cubicBezTo>
                      <a:pt x="364" y="443"/>
                      <a:pt x="364" y="443"/>
                      <a:pt x="365" y="443"/>
                    </a:cubicBezTo>
                    <a:cubicBezTo>
                      <a:pt x="365" y="443"/>
                      <a:pt x="365" y="443"/>
                      <a:pt x="365" y="443"/>
                    </a:cubicBezTo>
                    <a:cubicBezTo>
                      <a:pt x="365" y="443"/>
                      <a:pt x="365" y="443"/>
                      <a:pt x="365" y="443"/>
                    </a:cubicBezTo>
                    <a:cubicBezTo>
                      <a:pt x="366" y="443"/>
                      <a:pt x="366" y="444"/>
                      <a:pt x="366" y="444"/>
                    </a:cubicBezTo>
                    <a:cubicBezTo>
                      <a:pt x="366" y="444"/>
                      <a:pt x="366" y="445"/>
                      <a:pt x="366" y="445"/>
                    </a:cubicBezTo>
                    <a:cubicBezTo>
                      <a:pt x="366" y="446"/>
                      <a:pt x="366" y="448"/>
                      <a:pt x="366" y="449"/>
                    </a:cubicBezTo>
                    <a:cubicBezTo>
                      <a:pt x="366" y="450"/>
                      <a:pt x="366" y="450"/>
                      <a:pt x="366" y="450"/>
                    </a:cubicBezTo>
                    <a:cubicBezTo>
                      <a:pt x="366" y="451"/>
                      <a:pt x="366" y="452"/>
                      <a:pt x="365" y="452"/>
                    </a:cubicBezTo>
                    <a:cubicBezTo>
                      <a:pt x="365" y="453"/>
                      <a:pt x="365" y="453"/>
                      <a:pt x="365" y="453"/>
                    </a:cubicBezTo>
                    <a:cubicBezTo>
                      <a:pt x="365" y="453"/>
                      <a:pt x="364" y="453"/>
                      <a:pt x="364" y="453"/>
                    </a:cubicBezTo>
                    <a:cubicBezTo>
                      <a:pt x="364" y="452"/>
                      <a:pt x="364" y="452"/>
                      <a:pt x="364" y="452"/>
                    </a:cubicBezTo>
                    <a:cubicBezTo>
                      <a:pt x="364" y="452"/>
                      <a:pt x="364" y="452"/>
                      <a:pt x="363" y="452"/>
                    </a:cubicBezTo>
                    <a:cubicBezTo>
                      <a:pt x="363" y="452"/>
                      <a:pt x="363" y="452"/>
                      <a:pt x="363" y="452"/>
                    </a:cubicBezTo>
                    <a:cubicBezTo>
                      <a:pt x="363" y="452"/>
                      <a:pt x="363" y="451"/>
                      <a:pt x="363" y="451"/>
                    </a:cubicBezTo>
                    <a:cubicBezTo>
                      <a:pt x="363" y="451"/>
                      <a:pt x="363" y="451"/>
                      <a:pt x="363" y="451"/>
                    </a:cubicBezTo>
                    <a:cubicBezTo>
                      <a:pt x="363" y="450"/>
                      <a:pt x="363" y="450"/>
                      <a:pt x="363" y="450"/>
                    </a:cubicBezTo>
                    <a:cubicBezTo>
                      <a:pt x="362" y="450"/>
                      <a:pt x="362" y="450"/>
                      <a:pt x="362" y="449"/>
                    </a:cubicBezTo>
                    <a:cubicBezTo>
                      <a:pt x="363" y="449"/>
                      <a:pt x="363" y="448"/>
                      <a:pt x="363" y="448"/>
                    </a:cubicBezTo>
                    <a:cubicBezTo>
                      <a:pt x="363" y="448"/>
                      <a:pt x="363" y="447"/>
                      <a:pt x="363" y="447"/>
                    </a:cubicBezTo>
                    <a:cubicBezTo>
                      <a:pt x="362" y="447"/>
                      <a:pt x="362" y="447"/>
                      <a:pt x="362" y="446"/>
                    </a:cubicBezTo>
                    <a:close/>
                    <a:moveTo>
                      <a:pt x="399" y="422"/>
                    </a:moveTo>
                    <a:cubicBezTo>
                      <a:pt x="399" y="422"/>
                      <a:pt x="399" y="422"/>
                      <a:pt x="399" y="422"/>
                    </a:cubicBezTo>
                    <a:cubicBezTo>
                      <a:pt x="399" y="422"/>
                      <a:pt x="399" y="422"/>
                      <a:pt x="399" y="422"/>
                    </a:cubicBezTo>
                    <a:cubicBezTo>
                      <a:pt x="399" y="421"/>
                      <a:pt x="399" y="421"/>
                      <a:pt x="399" y="421"/>
                    </a:cubicBezTo>
                    <a:cubicBezTo>
                      <a:pt x="398" y="421"/>
                      <a:pt x="398" y="421"/>
                      <a:pt x="398" y="421"/>
                    </a:cubicBezTo>
                    <a:cubicBezTo>
                      <a:pt x="398" y="421"/>
                      <a:pt x="398" y="421"/>
                      <a:pt x="398" y="421"/>
                    </a:cubicBezTo>
                    <a:cubicBezTo>
                      <a:pt x="398" y="421"/>
                      <a:pt x="398" y="420"/>
                      <a:pt x="397" y="420"/>
                    </a:cubicBezTo>
                    <a:cubicBezTo>
                      <a:pt x="397" y="420"/>
                      <a:pt x="397" y="420"/>
                      <a:pt x="398" y="420"/>
                    </a:cubicBezTo>
                    <a:cubicBezTo>
                      <a:pt x="398" y="420"/>
                      <a:pt x="398" y="420"/>
                      <a:pt x="398" y="420"/>
                    </a:cubicBezTo>
                    <a:cubicBezTo>
                      <a:pt x="398" y="420"/>
                      <a:pt x="398" y="420"/>
                      <a:pt x="398" y="420"/>
                    </a:cubicBezTo>
                    <a:cubicBezTo>
                      <a:pt x="398" y="421"/>
                      <a:pt x="399" y="421"/>
                      <a:pt x="399" y="421"/>
                    </a:cubicBezTo>
                    <a:cubicBezTo>
                      <a:pt x="399" y="421"/>
                      <a:pt x="399" y="421"/>
                      <a:pt x="399" y="421"/>
                    </a:cubicBezTo>
                    <a:cubicBezTo>
                      <a:pt x="399" y="421"/>
                      <a:pt x="399" y="421"/>
                      <a:pt x="399" y="421"/>
                    </a:cubicBezTo>
                    <a:cubicBezTo>
                      <a:pt x="399" y="421"/>
                      <a:pt x="399" y="421"/>
                      <a:pt x="399" y="421"/>
                    </a:cubicBezTo>
                    <a:cubicBezTo>
                      <a:pt x="399" y="422"/>
                      <a:pt x="399" y="422"/>
                      <a:pt x="399" y="422"/>
                    </a:cubicBezTo>
                    <a:cubicBezTo>
                      <a:pt x="399" y="422"/>
                      <a:pt x="399" y="423"/>
                      <a:pt x="399" y="423"/>
                    </a:cubicBezTo>
                    <a:cubicBezTo>
                      <a:pt x="399" y="423"/>
                      <a:pt x="399" y="423"/>
                      <a:pt x="399" y="423"/>
                    </a:cubicBezTo>
                    <a:cubicBezTo>
                      <a:pt x="399" y="423"/>
                      <a:pt x="399" y="423"/>
                      <a:pt x="399" y="423"/>
                    </a:cubicBezTo>
                    <a:cubicBezTo>
                      <a:pt x="399" y="423"/>
                      <a:pt x="399" y="423"/>
                      <a:pt x="398" y="423"/>
                    </a:cubicBezTo>
                    <a:cubicBezTo>
                      <a:pt x="398" y="423"/>
                      <a:pt x="398" y="423"/>
                      <a:pt x="398" y="423"/>
                    </a:cubicBezTo>
                    <a:cubicBezTo>
                      <a:pt x="398" y="423"/>
                      <a:pt x="398" y="423"/>
                      <a:pt x="398" y="423"/>
                    </a:cubicBezTo>
                    <a:cubicBezTo>
                      <a:pt x="397" y="422"/>
                      <a:pt x="397" y="423"/>
                      <a:pt x="397" y="423"/>
                    </a:cubicBezTo>
                    <a:cubicBezTo>
                      <a:pt x="397" y="423"/>
                      <a:pt x="397" y="423"/>
                      <a:pt x="397" y="423"/>
                    </a:cubicBezTo>
                    <a:cubicBezTo>
                      <a:pt x="397" y="423"/>
                      <a:pt x="397" y="423"/>
                      <a:pt x="397" y="423"/>
                    </a:cubicBezTo>
                    <a:cubicBezTo>
                      <a:pt x="396" y="423"/>
                      <a:pt x="396" y="423"/>
                      <a:pt x="396" y="422"/>
                    </a:cubicBezTo>
                    <a:cubicBezTo>
                      <a:pt x="396" y="422"/>
                      <a:pt x="396" y="422"/>
                      <a:pt x="396" y="422"/>
                    </a:cubicBezTo>
                    <a:cubicBezTo>
                      <a:pt x="396" y="422"/>
                      <a:pt x="397" y="422"/>
                      <a:pt x="397" y="422"/>
                    </a:cubicBezTo>
                    <a:cubicBezTo>
                      <a:pt x="397" y="422"/>
                      <a:pt x="397" y="422"/>
                      <a:pt x="397" y="422"/>
                    </a:cubicBezTo>
                    <a:cubicBezTo>
                      <a:pt x="397" y="422"/>
                      <a:pt x="398" y="422"/>
                      <a:pt x="398" y="422"/>
                    </a:cubicBezTo>
                    <a:cubicBezTo>
                      <a:pt x="398" y="422"/>
                      <a:pt x="398" y="422"/>
                      <a:pt x="398" y="422"/>
                    </a:cubicBezTo>
                    <a:cubicBezTo>
                      <a:pt x="398" y="422"/>
                      <a:pt x="398" y="422"/>
                      <a:pt x="399" y="422"/>
                    </a:cubicBezTo>
                    <a:close/>
                    <a:moveTo>
                      <a:pt x="340" y="422"/>
                    </a:moveTo>
                    <a:cubicBezTo>
                      <a:pt x="340" y="422"/>
                      <a:pt x="340" y="421"/>
                      <a:pt x="341" y="421"/>
                    </a:cubicBezTo>
                    <a:cubicBezTo>
                      <a:pt x="341" y="421"/>
                      <a:pt x="341" y="421"/>
                      <a:pt x="341" y="422"/>
                    </a:cubicBezTo>
                    <a:cubicBezTo>
                      <a:pt x="341" y="422"/>
                      <a:pt x="341" y="422"/>
                      <a:pt x="341" y="422"/>
                    </a:cubicBezTo>
                    <a:cubicBezTo>
                      <a:pt x="341" y="422"/>
                      <a:pt x="341" y="422"/>
                      <a:pt x="341" y="422"/>
                    </a:cubicBezTo>
                    <a:cubicBezTo>
                      <a:pt x="341" y="422"/>
                      <a:pt x="341" y="422"/>
                      <a:pt x="341" y="423"/>
                    </a:cubicBezTo>
                    <a:cubicBezTo>
                      <a:pt x="341" y="423"/>
                      <a:pt x="341" y="423"/>
                      <a:pt x="341" y="423"/>
                    </a:cubicBezTo>
                    <a:cubicBezTo>
                      <a:pt x="341" y="423"/>
                      <a:pt x="341" y="423"/>
                      <a:pt x="341" y="423"/>
                    </a:cubicBezTo>
                    <a:cubicBezTo>
                      <a:pt x="341" y="424"/>
                      <a:pt x="341" y="424"/>
                      <a:pt x="341" y="424"/>
                    </a:cubicBezTo>
                    <a:cubicBezTo>
                      <a:pt x="340" y="424"/>
                      <a:pt x="340" y="424"/>
                      <a:pt x="340" y="424"/>
                    </a:cubicBezTo>
                    <a:cubicBezTo>
                      <a:pt x="340" y="425"/>
                      <a:pt x="340" y="424"/>
                      <a:pt x="340" y="425"/>
                    </a:cubicBezTo>
                    <a:cubicBezTo>
                      <a:pt x="340" y="424"/>
                      <a:pt x="340" y="424"/>
                      <a:pt x="339" y="424"/>
                    </a:cubicBezTo>
                    <a:cubicBezTo>
                      <a:pt x="339" y="424"/>
                      <a:pt x="339" y="424"/>
                      <a:pt x="339" y="424"/>
                    </a:cubicBezTo>
                    <a:cubicBezTo>
                      <a:pt x="339" y="424"/>
                      <a:pt x="339" y="423"/>
                      <a:pt x="339" y="423"/>
                    </a:cubicBezTo>
                    <a:cubicBezTo>
                      <a:pt x="339" y="423"/>
                      <a:pt x="339" y="423"/>
                      <a:pt x="339" y="422"/>
                    </a:cubicBezTo>
                    <a:cubicBezTo>
                      <a:pt x="339" y="422"/>
                      <a:pt x="339" y="422"/>
                      <a:pt x="339" y="422"/>
                    </a:cubicBezTo>
                    <a:cubicBezTo>
                      <a:pt x="339" y="422"/>
                      <a:pt x="340" y="422"/>
                      <a:pt x="340" y="422"/>
                    </a:cubicBezTo>
                    <a:close/>
                    <a:moveTo>
                      <a:pt x="331" y="413"/>
                    </a:moveTo>
                    <a:cubicBezTo>
                      <a:pt x="331" y="413"/>
                      <a:pt x="331" y="413"/>
                      <a:pt x="331" y="413"/>
                    </a:cubicBezTo>
                    <a:cubicBezTo>
                      <a:pt x="331" y="413"/>
                      <a:pt x="331" y="413"/>
                      <a:pt x="331" y="413"/>
                    </a:cubicBezTo>
                    <a:cubicBezTo>
                      <a:pt x="331" y="413"/>
                      <a:pt x="331" y="413"/>
                      <a:pt x="331" y="413"/>
                    </a:cubicBezTo>
                    <a:cubicBezTo>
                      <a:pt x="331" y="413"/>
                      <a:pt x="331" y="413"/>
                      <a:pt x="331" y="413"/>
                    </a:cubicBezTo>
                    <a:cubicBezTo>
                      <a:pt x="331" y="413"/>
                      <a:pt x="331" y="414"/>
                      <a:pt x="331" y="414"/>
                    </a:cubicBezTo>
                    <a:cubicBezTo>
                      <a:pt x="331" y="414"/>
                      <a:pt x="330" y="414"/>
                      <a:pt x="330" y="414"/>
                    </a:cubicBezTo>
                    <a:cubicBezTo>
                      <a:pt x="330" y="414"/>
                      <a:pt x="330" y="414"/>
                      <a:pt x="330" y="414"/>
                    </a:cubicBezTo>
                    <a:cubicBezTo>
                      <a:pt x="330" y="414"/>
                      <a:pt x="330" y="414"/>
                      <a:pt x="330" y="414"/>
                    </a:cubicBezTo>
                    <a:cubicBezTo>
                      <a:pt x="330" y="414"/>
                      <a:pt x="330" y="414"/>
                      <a:pt x="330" y="413"/>
                    </a:cubicBezTo>
                    <a:cubicBezTo>
                      <a:pt x="330" y="413"/>
                      <a:pt x="330" y="413"/>
                      <a:pt x="330" y="413"/>
                    </a:cubicBezTo>
                    <a:cubicBezTo>
                      <a:pt x="330" y="413"/>
                      <a:pt x="330" y="413"/>
                      <a:pt x="330" y="413"/>
                    </a:cubicBezTo>
                    <a:cubicBezTo>
                      <a:pt x="330" y="413"/>
                      <a:pt x="331" y="413"/>
                      <a:pt x="331" y="413"/>
                    </a:cubicBezTo>
                    <a:cubicBezTo>
                      <a:pt x="331" y="413"/>
                      <a:pt x="331" y="413"/>
                      <a:pt x="331" y="413"/>
                    </a:cubicBezTo>
                    <a:close/>
                    <a:moveTo>
                      <a:pt x="332" y="414"/>
                    </a:moveTo>
                    <a:cubicBezTo>
                      <a:pt x="332" y="414"/>
                      <a:pt x="332" y="414"/>
                      <a:pt x="333" y="414"/>
                    </a:cubicBezTo>
                    <a:cubicBezTo>
                      <a:pt x="333" y="414"/>
                      <a:pt x="333" y="414"/>
                      <a:pt x="333" y="414"/>
                    </a:cubicBezTo>
                    <a:cubicBezTo>
                      <a:pt x="333" y="414"/>
                      <a:pt x="333" y="414"/>
                      <a:pt x="333" y="415"/>
                    </a:cubicBezTo>
                    <a:cubicBezTo>
                      <a:pt x="333" y="415"/>
                      <a:pt x="332" y="415"/>
                      <a:pt x="332" y="415"/>
                    </a:cubicBezTo>
                    <a:cubicBezTo>
                      <a:pt x="332" y="415"/>
                      <a:pt x="332" y="415"/>
                      <a:pt x="332" y="415"/>
                    </a:cubicBezTo>
                    <a:cubicBezTo>
                      <a:pt x="332" y="415"/>
                      <a:pt x="332" y="415"/>
                      <a:pt x="332" y="415"/>
                    </a:cubicBezTo>
                    <a:cubicBezTo>
                      <a:pt x="332" y="416"/>
                      <a:pt x="332" y="416"/>
                      <a:pt x="332" y="416"/>
                    </a:cubicBezTo>
                    <a:cubicBezTo>
                      <a:pt x="332" y="416"/>
                      <a:pt x="332" y="416"/>
                      <a:pt x="331" y="416"/>
                    </a:cubicBezTo>
                    <a:cubicBezTo>
                      <a:pt x="331" y="416"/>
                      <a:pt x="331" y="416"/>
                      <a:pt x="331" y="415"/>
                    </a:cubicBezTo>
                    <a:cubicBezTo>
                      <a:pt x="332" y="415"/>
                      <a:pt x="332" y="415"/>
                      <a:pt x="332" y="415"/>
                    </a:cubicBezTo>
                    <a:cubicBezTo>
                      <a:pt x="332" y="415"/>
                      <a:pt x="331" y="415"/>
                      <a:pt x="331" y="415"/>
                    </a:cubicBezTo>
                    <a:cubicBezTo>
                      <a:pt x="331" y="415"/>
                      <a:pt x="331" y="415"/>
                      <a:pt x="331" y="415"/>
                    </a:cubicBezTo>
                    <a:cubicBezTo>
                      <a:pt x="331" y="415"/>
                      <a:pt x="331" y="415"/>
                      <a:pt x="331" y="415"/>
                    </a:cubicBezTo>
                    <a:cubicBezTo>
                      <a:pt x="331" y="415"/>
                      <a:pt x="331" y="415"/>
                      <a:pt x="331" y="415"/>
                    </a:cubicBezTo>
                    <a:cubicBezTo>
                      <a:pt x="331" y="415"/>
                      <a:pt x="331" y="414"/>
                      <a:pt x="331" y="414"/>
                    </a:cubicBezTo>
                    <a:cubicBezTo>
                      <a:pt x="332" y="414"/>
                      <a:pt x="332" y="414"/>
                      <a:pt x="332" y="414"/>
                    </a:cubicBezTo>
                    <a:cubicBezTo>
                      <a:pt x="332" y="414"/>
                      <a:pt x="332" y="414"/>
                      <a:pt x="332" y="414"/>
                    </a:cubicBezTo>
                    <a:close/>
                    <a:moveTo>
                      <a:pt x="343" y="435"/>
                    </a:moveTo>
                    <a:cubicBezTo>
                      <a:pt x="343" y="435"/>
                      <a:pt x="343" y="435"/>
                      <a:pt x="343" y="435"/>
                    </a:cubicBezTo>
                    <a:cubicBezTo>
                      <a:pt x="343" y="435"/>
                      <a:pt x="342" y="436"/>
                      <a:pt x="342" y="436"/>
                    </a:cubicBezTo>
                    <a:cubicBezTo>
                      <a:pt x="342" y="436"/>
                      <a:pt x="342" y="436"/>
                      <a:pt x="342" y="435"/>
                    </a:cubicBezTo>
                    <a:cubicBezTo>
                      <a:pt x="342" y="435"/>
                      <a:pt x="342" y="435"/>
                      <a:pt x="342" y="435"/>
                    </a:cubicBezTo>
                    <a:cubicBezTo>
                      <a:pt x="342" y="435"/>
                      <a:pt x="342" y="435"/>
                      <a:pt x="342" y="435"/>
                    </a:cubicBezTo>
                    <a:cubicBezTo>
                      <a:pt x="342" y="435"/>
                      <a:pt x="342" y="435"/>
                      <a:pt x="342" y="434"/>
                    </a:cubicBezTo>
                    <a:cubicBezTo>
                      <a:pt x="342" y="434"/>
                      <a:pt x="342" y="434"/>
                      <a:pt x="342" y="434"/>
                    </a:cubicBezTo>
                    <a:cubicBezTo>
                      <a:pt x="342" y="433"/>
                      <a:pt x="342" y="433"/>
                      <a:pt x="342" y="433"/>
                    </a:cubicBezTo>
                    <a:cubicBezTo>
                      <a:pt x="342" y="433"/>
                      <a:pt x="342" y="433"/>
                      <a:pt x="342" y="433"/>
                    </a:cubicBezTo>
                    <a:cubicBezTo>
                      <a:pt x="343" y="433"/>
                      <a:pt x="343" y="433"/>
                      <a:pt x="343" y="433"/>
                    </a:cubicBezTo>
                    <a:cubicBezTo>
                      <a:pt x="343" y="433"/>
                      <a:pt x="343" y="433"/>
                      <a:pt x="343" y="434"/>
                    </a:cubicBezTo>
                    <a:cubicBezTo>
                      <a:pt x="343" y="434"/>
                      <a:pt x="343" y="434"/>
                      <a:pt x="343" y="434"/>
                    </a:cubicBezTo>
                    <a:cubicBezTo>
                      <a:pt x="343" y="435"/>
                      <a:pt x="343" y="435"/>
                      <a:pt x="343" y="435"/>
                    </a:cubicBezTo>
                    <a:close/>
                    <a:moveTo>
                      <a:pt x="418" y="619"/>
                    </a:moveTo>
                    <a:cubicBezTo>
                      <a:pt x="418" y="619"/>
                      <a:pt x="418" y="619"/>
                      <a:pt x="418" y="619"/>
                    </a:cubicBezTo>
                    <a:cubicBezTo>
                      <a:pt x="418" y="619"/>
                      <a:pt x="418" y="619"/>
                      <a:pt x="418" y="619"/>
                    </a:cubicBezTo>
                    <a:cubicBezTo>
                      <a:pt x="418" y="619"/>
                      <a:pt x="418" y="619"/>
                      <a:pt x="418" y="619"/>
                    </a:cubicBezTo>
                    <a:cubicBezTo>
                      <a:pt x="418" y="620"/>
                      <a:pt x="418" y="620"/>
                      <a:pt x="417" y="620"/>
                    </a:cubicBezTo>
                    <a:cubicBezTo>
                      <a:pt x="417" y="620"/>
                      <a:pt x="417" y="620"/>
                      <a:pt x="417" y="620"/>
                    </a:cubicBezTo>
                    <a:cubicBezTo>
                      <a:pt x="417" y="620"/>
                      <a:pt x="417" y="620"/>
                      <a:pt x="417" y="620"/>
                    </a:cubicBezTo>
                    <a:cubicBezTo>
                      <a:pt x="417" y="620"/>
                      <a:pt x="416" y="621"/>
                      <a:pt x="416" y="621"/>
                    </a:cubicBezTo>
                    <a:cubicBezTo>
                      <a:pt x="416" y="621"/>
                      <a:pt x="416" y="621"/>
                      <a:pt x="416" y="620"/>
                    </a:cubicBezTo>
                    <a:cubicBezTo>
                      <a:pt x="416" y="620"/>
                      <a:pt x="416" y="619"/>
                      <a:pt x="417" y="619"/>
                    </a:cubicBezTo>
                    <a:cubicBezTo>
                      <a:pt x="417" y="619"/>
                      <a:pt x="417" y="619"/>
                      <a:pt x="417" y="619"/>
                    </a:cubicBezTo>
                    <a:cubicBezTo>
                      <a:pt x="417" y="619"/>
                      <a:pt x="417" y="618"/>
                      <a:pt x="417" y="618"/>
                    </a:cubicBezTo>
                    <a:cubicBezTo>
                      <a:pt x="417" y="618"/>
                      <a:pt x="417" y="618"/>
                      <a:pt x="417" y="618"/>
                    </a:cubicBezTo>
                    <a:cubicBezTo>
                      <a:pt x="417" y="618"/>
                      <a:pt x="417" y="618"/>
                      <a:pt x="417" y="618"/>
                    </a:cubicBezTo>
                    <a:cubicBezTo>
                      <a:pt x="417" y="617"/>
                      <a:pt x="417" y="617"/>
                      <a:pt x="417" y="617"/>
                    </a:cubicBezTo>
                    <a:cubicBezTo>
                      <a:pt x="417" y="617"/>
                      <a:pt x="417" y="617"/>
                      <a:pt x="418" y="617"/>
                    </a:cubicBezTo>
                    <a:cubicBezTo>
                      <a:pt x="418" y="617"/>
                      <a:pt x="418" y="617"/>
                      <a:pt x="418" y="617"/>
                    </a:cubicBezTo>
                    <a:cubicBezTo>
                      <a:pt x="418" y="617"/>
                      <a:pt x="418" y="618"/>
                      <a:pt x="418" y="618"/>
                    </a:cubicBezTo>
                    <a:cubicBezTo>
                      <a:pt x="418" y="618"/>
                      <a:pt x="418" y="619"/>
                      <a:pt x="418" y="619"/>
                    </a:cubicBezTo>
                    <a:close/>
                    <a:moveTo>
                      <a:pt x="410" y="613"/>
                    </a:moveTo>
                    <a:cubicBezTo>
                      <a:pt x="409" y="613"/>
                      <a:pt x="409" y="612"/>
                      <a:pt x="409" y="612"/>
                    </a:cubicBezTo>
                    <a:cubicBezTo>
                      <a:pt x="409" y="612"/>
                      <a:pt x="409" y="612"/>
                      <a:pt x="409" y="612"/>
                    </a:cubicBezTo>
                    <a:cubicBezTo>
                      <a:pt x="409" y="612"/>
                      <a:pt x="409" y="612"/>
                      <a:pt x="409" y="611"/>
                    </a:cubicBezTo>
                    <a:cubicBezTo>
                      <a:pt x="409" y="611"/>
                      <a:pt x="409" y="611"/>
                      <a:pt x="410" y="611"/>
                    </a:cubicBezTo>
                    <a:cubicBezTo>
                      <a:pt x="410" y="611"/>
                      <a:pt x="410" y="611"/>
                      <a:pt x="410" y="610"/>
                    </a:cubicBezTo>
                    <a:cubicBezTo>
                      <a:pt x="410" y="611"/>
                      <a:pt x="410" y="611"/>
                      <a:pt x="410" y="611"/>
                    </a:cubicBezTo>
                    <a:cubicBezTo>
                      <a:pt x="410" y="611"/>
                      <a:pt x="410" y="611"/>
                      <a:pt x="410" y="610"/>
                    </a:cubicBezTo>
                    <a:cubicBezTo>
                      <a:pt x="410" y="610"/>
                      <a:pt x="410" y="610"/>
                      <a:pt x="410" y="610"/>
                    </a:cubicBezTo>
                    <a:cubicBezTo>
                      <a:pt x="410" y="610"/>
                      <a:pt x="410" y="610"/>
                      <a:pt x="410" y="610"/>
                    </a:cubicBezTo>
                    <a:cubicBezTo>
                      <a:pt x="410" y="611"/>
                      <a:pt x="411" y="611"/>
                      <a:pt x="411" y="611"/>
                    </a:cubicBezTo>
                    <a:cubicBezTo>
                      <a:pt x="410" y="612"/>
                      <a:pt x="411" y="612"/>
                      <a:pt x="411" y="612"/>
                    </a:cubicBezTo>
                    <a:cubicBezTo>
                      <a:pt x="411" y="612"/>
                      <a:pt x="411" y="612"/>
                      <a:pt x="411" y="612"/>
                    </a:cubicBezTo>
                    <a:cubicBezTo>
                      <a:pt x="411" y="612"/>
                      <a:pt x="411" y="612"/>
                      <a:pt x="411" y="612"/>
                    </a:cubicBezTo>
                    <a:cubicBezTo>
                      <a:pt x="410" y="612"/>
                      <a:pt x="410" y="612"/>
                      <a:pt x="410" y="612"/>
                    </a:cubicBezTo>
                    <a:cubicBezTo>
                      <a:pt x="410" y="612"/>
                      <a:pt x="410" y="612"/>
                      <a:pt x="410" y="612"/>
                    </a:cubicBezTo>
                    <a:cubicBezTo>
                      <a:pt x="410" y="612"/>
                      <a:pt x="410" y="613"/>
                      <a:pt x="410" y="613"/>
                    </a:cubicBezTo>
                    <a:close/>
                    <a:moveTo>
                      <a:pt x="417" y="621"/>
                    </a:moveTo>
                    <a:cubicBezTo>
                      <a:pt x="417" y="621"/>
                      <a:pt x="417" y="621"/>
                      <a:pt x="417" y="621"/>
                    </a:cubicBezTo>
                    <a:cubicBezTo>
                      <a:pt x="416" y="621"/>
                      <a:pt x="416" y="621"/>
                      <a:pt x="416" y="621"/>
                    </a:cubicBezTo>
                    <a:cubicBezTo>
                      <a:pt x="416" y="621"/>
                      <a:pt x="416" y="621"/>
                      <a:pt x="416" y="621"/>
                    </a:cubicBezTo>
                    <a:cubicBezTo>
                      <a:pt x="416" y="621"/>
                      <a:pt x="416" y="621"/>
                      <a:pt x="416" y="622"/>
                    </a:cubicBezTo>
                    <a:cubicBezTo>
                      <a:pt x="416" y="622"/>
                      <a:pt x="416" y="622"/>
                      <a:pt x="416" y="622"/>
                    </a:cubicBezTo>
                    <a:cubicBezTo>
                      <a:pt x="416" y="622"/>
                      <a:pt x="415" y="622"/>
                      <a:pt x="415" y="623"/>
                    </a:cubicBezTo>
                    <a:cubicBezTo>
                      <a:pt x="415" y="623"/>
                      <a:pt x="415" y="624"/>
                      <a:pt x="415" y="624"/>
                    </a:cubicBezTo>
                    <a:cubicBezTo>
                      <a:pt x="415" y="624"/>
                      <a:pt x="415" y="624"/>
                      <a:pt x="415" y="624"/>
                    </a:cubicBezTo>
                    <a:cubicBezTo>
                      <a:pt x="415" y="624"/>
                      <a:pt x="415" y="624"/>
                      <a:pt x="415" y="624"/>
                    </a:cubicBezTo>
                    <a:cubicBezTo>
                      <a:pt x="415" y="624"/>
                      <a:pt x="415" y="624"/>
                      <a:pt x="415" y="624"/>
                    </a:cubicBezTo>
                    <a:cubicBezTo>
                      <a:pt x="415" y="624"/>
                      <a:pt x="415" y="623"/>
                      <a:pt x="415" y="623"/>
                    </a:cubicBezTo>
                    <a:cubicBezTo>
                      <a:pt x="415" y="622"/>
                      <a:pt x="415" y="622"/>
                      <a:pt x="416" y="621"/>
                    </a:cubicBezTo>
                    <a:cubicBezTo>
                      <a:pt x="416" y="621"/>
                      <a:pt x="416" y="621"/>
                      <a:pt x="416" y="621"/>
                    </a:cubicBezTo>
                    <a:cubicBezTo>
                      <a:pt x="416" y="621"/>
                      <a:pt x="416" y="621"/>
                      <a:pt x="416" y="621"/>
                    </a:cubicBezTo>
                    <a:cubicBezTo>
                      <a:pt x="416" y="621"/>
                      <a:pt x="416" y="621"/>
                      <a:pt x="416" y="621"/>
                    </a:cubicBezTo>
                    <a:cubicBezTo>
                      <a:pt x="416" y="621"/>
                      <a:pt x="416" y="621"/>
                      <a:pt x="416" y="621"/>
                    </a:cubicBezTo>
                    <a:cubicBezTo>
                      <a:pt x="417" y="621"/>
                      <a:pt x="417" y="621"/>
                      <a:pt x="417" y="621"/>
                    </a:cubicBezTo>
                    <a:close/>
                    <a:moveTo>
                      <a:pt x="412" y="613"/>
                    </a:moveTo>
                    <a:cubicBezTo>
                      <a:pt x="412" y="612"/>
                      <a:pt x="412" y="612"/>
                      <a:pt x="412" y="612"/>
                    </a:cubicBezTo>
                    <a:cubicBezTo>
                      <a:pt x="412" y="612"/>
                      <a:pt x="412" y="612"/>
                      <a:pt x="412" y="612"/>
                    </a:cubicBezTo>
                    <a:cubicBezTo>
                      <a:pt x="412" y="612"/>
                      <a:pt x="412" y="613"/>
                      <a:pt x="412" y="613"/>
                    </a:cubicBezTo>
                    <a:cubicBezTo>
                      <a:pt x="412" y="613"/>
                      <a:pt x="412" y="613"/>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3"/>
                      <a:pt x="412" y="613"/>
                      <a:pt x="412" y="613"/>
                    </a:cubicBezTo>
                    <a:cubicBezTo>
                      <a:pt x="412" y="613"/>
                      <a:pt x="412" y="613"/>
                      <a:pt x="412" y="613"/>
                    </a:cubicBezTo>
                    <a:close/>
                    <a:moveTo>
                      <a:pt x="412" y="617"/>
                    </a:moveTo>
                    <a:cubicBezTo>
                      <a:pt x="412" y="617"/>
                      <a:pt x="412" y="617"/>
                      <a:pt x="412" y="617"/>
                    </a:cubicBezTo>
                    <a:cubicBezTo>
                      <a:pt x="412" y="617"/>
                      <a:pt x="412" y="618"/>
                      <a:pt x="412" y="618"/>
                    </a:cubicBezTo>
                    <a:cubicBezTo>
                      <a:pt x="412" y="618"/>
                      <a:pt x="412" y="618"/>
                      <a:pt x="412" y="618"/>
                    </a:cubicBezTo>
                    <a:cubicBezTo>
                      <a:pt x="412" y="618"/>
                      <a:pt x="412" y="619"/>
                      <a:pt x="412" y="618"/>
                    </a:cubicBezTo>
                    <a:cubicBezTo>
                      <a:pt x="411" y="618"/>
                      <a:pt x="412" y="618"/>
                      <a:pt x="412" y="618"/>
                    </a:cubicBezTo>
                    <a:cubicBezTo>
                      <a:pt x="412" y="618"/>
                      <a:pt x="412" y="617"/>
                      <a:pt x="412" y="617"/>
                    </a:cubicBezTo>
                    <a:cubicBezTo>
                      <a:pt x="412" y="617"/>
                      <a:pt x="412" y="617"/>
                      <a:pt x="412" y="617"/>
                    </a:cubicBezTo>
                    <a:close/>
                    <a:moveTo>
                      <a:pt x="414" y="620"/>
                    </a:moveTo>
                    <a:cubicBezTo>
                      <a:pt x="414" y="621"/>
                      <a:pt x="413" y="623"/>
                      <a:pt x="412" y="623"/>
                    </a:cubicBezTo>
                    <a:cubicBezTo>
                      <a:pt x="412" y="624"/>
                      <a:pt x="412" y="623"/>
                      <a:pt x="412" y="623"/>
                    </a:cubicBezTo>
                    <a:cubicBezTo>
                      <a:pt x="412" y="623"/>
                      <a:pt x="411" y="623"/>
                      <a:pt x="411" y="623"/>
                    </a:cubicBezTo>
                    <a:cubicBezTo>
                      <a:pt x="411" y="624"/>
                      <a:pt x="411" y="624"/>
                      <a:pt x="411" y="624"/>
                    </a:cubicBezTo>
                    <a:cubicBezTo>
                      <a:pt x="411" y="624"/>
                      <a:pt x="411" y="624"/>
                      <a:pt x="411" y="624"/>
                    </a:cubicBezTo>
                    <a:cubicBezTo>
                      <a:pt x="411" y="623"/>
                      <a:pt x="411" y="622"/>
                      <a:pt x="412" y="622"/>
                    </a:cubicBezTo>
                    <a:cubicBezTo>
                      <a:pt x="412" y="621"/>
                      <a:pt x="412" y="621"/>
                      <a:pt x="412" y="621"/>
                    </a:cubicBezTo>
                    <a:cubicBezTo>
                      <a:pt x="412" y="621"/>
                      <a:pt x="412" y="621"/>
                      <a:pt x="412" y="621"/>
                    </a:cubicBezTo>
                    <a:cubicBezTo>
                      <a:pt x="412" y="621"/>
                      <a:pt x="412" y="620"/>
                      <a:pt x="412" y="620"/>
                    </a:cubicBezTo>
                    <a:cubicBezTo>
                      <a:pt x="412" y="620"/>
                      <a:pt x="412" y="620"/>
                      <a:pt x="412" y="620"/>
                    </a:cubicBezTo>
                    <a:cubicBezTo>
                      <a:pt x="412" y="621"/>
                      <a:pt x="411" y="621"/>
                      <a:pt x="411" y="622"/>
                    </a:cubicBezTo>
                    <a:cubicBezTo>
                      <a:pt x="411" y="622"/>
                      <a:pt x="411" y="623"/>
                      <a:pt x="410" y="623"/>
                    </a:cubicBezTo>
                    <a:cubicBezTo>
                      <a:pt x="410" y="623"/>
                      <a:pt x="410" y="623"/>
                      <a:pt x="410" y="623"/>
                    </a:cubicBezTo>
                    <a:cubicBezTo>
                      <a:pt x="410" y="624"/>
                      <a:pt x="410" y="624"/>
                      <a:pt x="410" y="624"/>
                    </a:cubicBezTo>
                    <a:cubicBezTo>
                      <a:pt x="410" y="624"/>
                      <a:pt x="410" y="624"/>
                      <a:pt x="410" y="624"/>
                    </a:cubicBezTo>
                    <a:cubicBezTo>
                      <a:pt x="410" y="624"/>
                      <a:pt x="410" y="624"/>
                      <a:pt x="409" y="624"/>
                    </a:cubicBezTo>
                    <a:cubicBezTo>
                      <a:pt x="409" y="624"/>
                      <a:pt x="409" y="624"/>
                      <a:pt x="409" y="624"/>
                    </a:cubicBezTo>
                    <a:cubicBezTo>
                      <a:pt x="410" y="624"/>
                      <a:pt x="410" y="624"/>
                      <a:pt x="410" y="624"/>
                    </a:cubicBezTo>
                    <a:cubicBezTo>
                      <a:pt x="410" y="623"/>
                      <a:pt x="409" y="623"/>
                      <a:pt x="409" y="623"/>
                    </a:cubicBezTo>
                    <a:cubicBezTo>
                      <a:pt x="409" y="623"/>
                      <a:pt x="409" y="623"/>
                      <a:pt x="409" y="623"/>
                    </a:cubicBezTo>
                    <a:cubicBezTo>
                      <a:pt x="409" y="623"/>
                      <a:pt x="409" y="623"/>
                      <a:pt x="409" y="623"/>
                    </a:cubicBezTo>
                    <a:cubicBezTo>
                      <a:pt x="409" y="622"/>
                      <a:pt x="409" y="622"/>
                      <a:pt x="410" y="622"/>
                    </a:cubicBezTo>
                    <a:cubicBezTo>
                      <a:pt x="410" y="622"/>
                      <a:pt x="410" y="621"/>
                      <a:pt x="410" y="621"/>
                    </a:cubicBezTo>
                    <a:cubicBezTo>
                      <a:pt x="410" y="621"/>
                      <a:pt x="411" y="620"/>
                      <a:pt x="411" y="620"/>
                    </a:cubicBezTo>
                    <a:cubicBezTo>
                      <a:pt x="411" y="620"/>
                      <a:pt x="411" y="620"/>
                      <a:pt x="411" y="619"/>
                    </a:cubicBezTo>
                    <a:cubicBezTo>
                      <a:pt x="412" y="619"/>
                      <a:pt x="412" y="618"/>
                      <a:pt x="412" y="618"/>
                    </a:cubicBezTo>
                    <a:cubicBezTo>
                      <a:pt x="412" y="617"/>
                      <a:pt x="413" y="617"/>
                      <a:pt x="413" y="616"/>
                    </a:cubicBezTo>
                    <a:cubicBezTo>
                      <a:pt x="412" y="616"/>
                      <a:pt x="412" y="616"/>
                      <a:pt x="412" y="615"/>
                    </a:cubicBezTo>
                    <a:cubicBezTo>
                      <a:pt x="412" y="615"/>
                      <a:pt x="412" y="615"/>
                      <a:pt x="413" y="615"/>
                    </a:cubicBezTo>
                    <a:cubicBezTo>
                      <a:pt x="413" y="615"/>
                      <a:pt x="413" y="615"/>
                      <a:pt x="413" y="615"/>
                    </a:cubicBezTo>
                    <a:cubicBezTo>
                      <a:pt x="413" y="616"/>
                      <a:pt x="413" y="616"/>
                      <a:pt x="413" y="616"/>
                    </a:cubicBezTo>
                    <a:cubicBezTo>
                      <a:pt x="413" y="617"/>
                      <a:pt x="413" y="617"/>
                      <a:pt x="413" y="617"/>
                    </a:cubicBezTo>
                    <a:cubicBezTo>
                      <a:pt x="412" y="618"/>
                      <a:pt x="412" y="618"/>
                      <a:pt x="412" y="618"/>
                    </a:cubicBezTo>
                    <a:cubicBezTo>
                      <a:pt x="412" y="618"/>
                      <a:pt x="412" y="619"/>
                      <a:pt x="412" y="619"/>
                    </a:cubicBezTo>
                    <a:cubicBezTo>
                      <a:pt x="412" y="619"/>
                      <a:pt x="412" y="619"/>
                      <a:pt x="412" y="620"/>
                    </a:cubicBezTo>
                    <a:cubicBezTo>
                      <a:pt x="412" y="620"/>
                      <a:pt x="411" y="620"/>
                      <a:pt x="412" y="621"/>
                    </a:cubicBezTo>
                    <a:cubicBezTo>
                      <a:pt x="412" y="620"/>
                      <a:pt x="412" y="620"/>
                      <a:pt x="412" y="620"/>
                    </a:cubicBezTo>
                    <a:cubicBezTo>
                      <a:pt x="412" y="620"/>
                      <a:pt x="412" y="620"/>
                      <a:pt x="412" y="620"/>
                    </a:cubicBezTo>
                    <a:cubicBezTo>
                      <a:pt x="413" y="620"/>
                      <a:pt x="413" y="619"/>
                      <a:pt x="413" y="619"/>
                    </a:cubicBezTo>
                    <a:cubicBezTo>
                      <a:pt x="413" y="618"/>
                      <a:pt x="413" y="618"/>
                      <a:pt x="413" y="618"/>
                    </a:cubicBezTo>
                    <a:cubicBezTo>
                      <a:pt x="413" y="617"/>
                      <a:pt x="414" y="616"/>
                      <a:pt x="414" y="615"/>
                    </a:cubicBezTo>
                    <a:cubicBezTo>
                      <a:pt x="414" y="615"/>
                      <a:pt x="414" y="615"/>
                      <a:pt x="414" y="615"/>
                    </a:cubicBezTo>
                    <a:cubicBezTo>
                      <a:pt x="414" y="615"/>
                      <a:pt x="414" y="614"/>
                      <a:pt x="414" y="614"/>
                    </a:cubicBezTo>
                    <a:cubicBezTo>
                      <a:pt x="414" y="614"/>
                      <a:pt x="414" y="614"/>
                      <a:pt x="414" y="614"/>
                    </a:cubicBezTo>
                    <a:cubicBezTo>
                      <a:pt x="414" y="614"/>
                      <a:pt x="414" y="614"/>
                      <a:pt x="414" y="614"/>
                    </a:cubicBezTo>
                    <a:cubicBezTo>
                      <a:pt x="415" y="614"/>
                      <a:pt x="415" y="614"/>
                      <a:pt x="415" y="614"/>
                    </a:cubicBezTo>
                    <a:cubicBezTo>
                      <a:pt x="414" y="614"/>
                      <a:pt x="414" y="614"/>
                      <a:pt x="414" y="614"/>
                    </a:cubicBezTo>
                    <a:cubicBezTo>
                      <a:pt x="414" y="615"/>
                      <a:pt x="414" y="615"/>
                      <a:pt x="414" y="615"/>
                    </a:cubicBezTo>
                    <a:cubicBezTo>
                      <a:pt x="414" y="615"/>
                      <a:pt x="414" y="615"/>
                      <a:pt x="414" y="615"/>
                    </a:cubicBezTo>
                    <a:cubicBezTo>
                      <a:pt x="414" y="615"/>
                      <a:pt x="414" y="615"/>
                      <a:pt x="414" y="615"/>
                    </a:cubicBezTo>
                    <a:cubicBezTo>
                      <a:pt x="414" y="615"/>
                      <a:pt x="415" y="615"/>
                      <a:pt x="415" y="615"/>
                    </a:cubicBezTo>
                    <a:cubicBezTo>
                      <a:pt x="415" y="615"/>
                      <a:pt x="415" y="616"/>
                      <a:pt x="415" y="616"/>
                    </a:cubicBezTo>
                    <a:cubicBezTo>
                      <a:pt x="415" y="616"/>
                      <a:pt x="415" y="617"/>
                      <a:pt x="416" y="617"/>
                    </a:cubicBezTo>
                    <a:cubicBezTo>
                      <a:pt x="416" y="617"/>
                      <a:pt x="416" y="617"/>
                      <a:pt x="416" y="617"/>
                    </a:cubicBezTo>
                    <a:cubicBezTo>
                      <a:pt x="416" y="617"/>
                      <a:pt x="416" y="617"/>
                      <a:pt x="416" y="617"/>
                    </a:cubicBezTo>
                    <a:cubicBezTo>
                      <a:pt x="416" y="617"/>
                      <a:pt x="416" y="617"/>
                      <a:pt x="416" y="618"/>
                    </a:cubicBezTo>
                    <a:cubicBezTo>
                      <a:pt x="416" y="618"/>
                      <a:pt x="416" y="618"/>
                      <a:pt x="416" y="618"/>
                    </a:cubicBezTo>
                    <a:cubicBezTo>
                      <a:pt x="416" y="618"/>
                      <a:pt x="416" y="618"/>
                      <a:pt x="416" y="618"/>
                    </a:cubicBezTo>
                    <a:cubicBezTo>
                      <a:pt x="416" y="618"/>
                      <a:pt x="416" y="618"/>
                      <a:pt x="416" y="619"/>
                    </a:cubicBezTo>
                    <a:cubicBezTo>
                      <a:pt x="416" y="619"/>
                      <a:pt x="416" y="619"/>
                      <a:pt x="416" y="619"/>
                    </a:cubicBezTo>
                    <a:cubicBezTo>
                      <a:pt x="416" y="619"/>
                      <a:pt x="416" y="619"/>
                      <a:pt x="416" y="619"/>
                    </a:cubicBezTo>
                    <a:cubicBezTo>
                      <a:pt x="416" y="618"/>
                      <a:pt x="416" y="618"/>
                      <a:pt x="416" y="618"/>
                    </a:cubicBezTo>
                    <a:cubicBezTo>
                      <a:pt x="416" y="617"/>
                      <a:pt x="416" y="617"/>
                      <a:pt x="416" y="617"/>
                    </a:cubicBezTo>
                    <a:cubicBezTo>
                      <a:pt x="416" y="617"/>
                      <a:pt x="416" y="617"/>
                      <a:pt x="416" y="617"/>
                    </a:cubicBezTo>
                    <a:cubicBezTo>
                      <a:pt x="416" y="617"/>
                      <a:pt x="416" y="618"/>
                      <a:pt x="415" y="618"/>
                    </a:cubicBezTo>
                    <a:cubicBezTo>
                      <a:pt x="415" y="618"/>
                      <a:pt x="415" y="618"/>
                      <a:pt x="415" y="618"/>
                    </a:cubicBezTo>
                    <a:cubicBezTo>
                      <a:pt x="415" y="618"/>
                      <a:pt x="415" y="619"/>
                      <a:pt x="415" y="619"/>
                    </a:cubicBezTo>
                    <a:cubicBezTo>
                      <a:pt x="415" y="619"/>
                      <a:pt x="415" y="619"/>
                      <a:pt x="415" y="619"/>
                    </a:cubicBezTo>
                    <a:cubicBezTo>
                      <a:pt x="415" y="620"/>
                      <a:pt x="415" y="620"/>
                      <a:pt x="415" y="620"/>
                    </a:cubicBezTo>
                    <a:cubicBezTo>
                      <a:pt x="415" y="620"/>
                      <a:pt x="415" y="620"/>
                      <a:pt x="415" y="620"/>
                    </a:cubicBezTo>
                    <a:cubicBezTo>
                      <a:pt x="415" y="620"/>
                      <a:pt x="415" y="620"/>
                      <a:pt x="415" y="619"/>
                    </a:cubicBezTo>
                    <a:cubicBezTo>
                      <a:pt x="415" y="619"/>
                      <a:pt x="415" y="619"/>
                      <a:pt x="415" y="619"/>
                    </a:cubicBezTo>
                    <a:cubicBezTo>
                      <a:pt x="415" y="619"/>
                      <a:pt x="414" y="619"/>
                      <a:pt x="414" y="619"/>
                    </a:cubicBezTo>
                    <a:cubicBezTo>
                      <a:pt x="414" y="619"/>
                      <a:pt x="414" y="620"/>
                      <a:pt x="414" y="620"/>
                    </a:cubicBezTo>
                    <a:cubicBezTo>
                      <a:pt x="414" y="619"/>
                      <a:pt x="414" y="619"/>
                      <a:pt x="414" y="619"/>
                    </a:cubicBezTo>
                    <a:cubicBezTo>
                      <a:pt x="414" y="619"/>
                      <a:pt x="415" y="618"/>
                      <a:pt x="415" y="618"/>
                    </a:cubicBezTo>
                    <a:cubicBezTo>
                      <a:pt x="415" y="618"/>
                      <a:pt x="415" y="618"/>
                      <a:pt x="415" y="618"/>
                    </a:cubicBezTo>
                    <a:cubicBezTo>
                      <a:pt x="415" y="618"/>
                      <a:pt x="415" y="618"/>
                      <a:pt x="415" y="618"/>
                    </a:cubicBezTo>
                    <a:cubicBezTo>
                      <a:pt x="415" y="618"/>
                      <a:pt x="415" y="617"/>
                      <a:pt x="415" y="617"/>
                    </a:cubicBezTo>
                    <a:cubicBezTo>
                      <a:pt x="415" y="617"/>
                      <a:pt x="415" y="617"/>
                      <a:pt x="415" y="617"/>
                    </a:cubicBezTo>
                    <a:cubicBezTo>
                      <a:pt x="414" y="617"/>
                      <a:pt x="415" y="617"/>
                      <a:pt x="414" y="617"/>
                    </a:cubicBezTo>
                    <a:cubicBezTo>
                      <a:pt x="414" y="618"/>
                      <a:pt x="414" y="618"/>
                      <a:pt x="414" y="618"/>
                    </a:cubicBezTo>
                    <a:cubicBezTo>
                      <a:pt x="414" y="619"/>
                      <a:pt x="414" y="620"/>
                      <a:pt x="414" y="621"/>
                    </a:cubicBezTo>
                    <a:cubicBezTo>
                      <a:pt x="414" y="621"/>
                      <a:pt x="413" y="621"/>
                      <a:pt x="413" y="621"/>
                    </a:cubicBezTo>
                    <a:cubicBezTo>
                      <a:pt x="413" y="621"/>
                      <a:pt x="413" y="621"/>
                      <a:pt x="413" y="621"/>
                    </a:cubicBezTo>
                    <a:cubicBezTo>
                      <a:pt x="413" y="621"/>
                      <a:pt x="413" y="621"/>
                      <a:pt x="413" y="622"/>
                    </a:cubicBezTo>
                    <a:cubicBezTo>
                      <a:pt x="413" y="621"/>
                      <a:pt x="413" y="620"/>
                      <a:pt x="413" y="620"/>
                    </a:cubicBezTo>
                    <a:cubicBezTo>
                      <a:pt x="413" y="620"/>
                      <a:pt x="413" y="620"/>
                      <a:pt x="413" y="620"/>
                    </a:cubicBezTo>
                    <a:cubicBezTo>
                      <a:pt x="413" y="619"/>
                      <a:pt x="413" y="619"/>
                      <a:pt x="413" y="619"/>
                    </a:cubicBezTo>
                    <a:cubicBezTo>
                      <a:pt x="413" y="619"/>
                      <a:pt x="413" y="618"/>
                      <a:pt x="413" y="619"/>
                    </a:cubicBezTo>
                    <a:cubicBezTo>
                      <a:pt x="413" y="619"/>
                      <a:pt x="413" y="619"/>
                      <a:pt x="413" y="619"/>
                    </a:cubicBezTo>
                    <a:cubicBezTo>
                      <a:pt x="413" y="619"/>
                      <a:pt x="413" y="620"/>
                      <a:pt x="413" y="620"/>
                    </a:cubicBezTo>
                    <a:cubicBezTo>
                      <a:pt x="413" y="621"/>
                      <a:pt x="413" y="621"/>
                      <a:pt x="413" y="621"/>
                    </a:cubicBezTo>
                    <a:cubicBezTo>
                      <a:pt x="413" y="621"/>
                      <a:pt x="412" y="622"/>
                      <a:pt x="412" y="622"/>
                    </a:cubicBezTo>
                    <a:cubicBezTo>
                      <a:pt x="412" y="622"/>
                      <a:pt x="412" y="622"/>
                      <a:pt x="412" y="622"/>
                    </a:cubicBezTo>
                    <a:cubicBezTo>
                      <a:pt x="412" y="622"/>
                      <a:pt x="412" y="623"/>
                      <a:pt x="412" y="623"/>
                    </a:cubicBezTo>
                    <a:cubicBezTo>
                      <a:pt x="412" y="623"/>
                      <a:pt x="413" y="623"/>
                      <a:pt x="413" y="623"/>
                    </a:cubicBezTo>
                    <a:cubicBezTo>
                      <a:pt x="413" y="622"/>
                      <a:pt x="413" y="622"/>
                      <a:pt x="414" y="621"/>
                    </a:cubicBezTo>
                    <a:cubicBezTo>
                      <a:pt x="414" y="621"/>
                      <a:pt x="414" y="621"/>
                      <a:pt x="414" y="620"/>
                    </a:cubicBezTo>
                    <a:close/>
                    <a:moveTo>
                      <a:pt x="409" y="620"/>
                    </a:moveTo>
                    <a:cubicBezTo>
                      <a:pt x="408" y="620"/>
                      <a:pt x="408" y="620"/>
                      <a:pt x="408" y="619"/>
                    </a:cubicBezTo>
                    <a:cubicBezTo>
                      <a:pt x="408" y="619"/>
                      <a:pt x="408" y="619"/>
                      <a:pt x="408" y="619"/>
                    </a:cubicBezTo>
                    <a:cubicBezTo>
                      <a:pt x="409" y="619"/>
                      <a:pt x="409" y="619"/>
                      <a:pt x="409" y="619"/>
                    </a:cubicBezTo>
                    <a:cubicBezTo>
                      <a:pt x="409" y="619"/>
                      <a:pt x="409" y="618"/>
                      <a:pt x="409" y="618"/>
                    </a:cubicBezTo>
                    <a:cubicBezTo>
                      <a:pt x="409" y="618"/>
                      <a:pt x="409" y="618"/>
                      <a:pt x="409" y="618"/>
                    </a:cubicBezTo>
                    <a:cubicBezTo>
                      <a:pt x="409" y="618"/>
                      <a:pt x="409" y="618"/>
                      <a:pt x="409" y="618"/>
                    </a:cubicBezTo>
                    <a:cubicBezTo>
                      <a:pt x="409" y="618"/>
                      <a:pt x="409" y="618"/>
                      <a:pt x="410" y="618"/>
                    </a:cubicBezTo>
                    <a:cubicBezTo>
                      <a:pt x="410" y="618"/>
                      <a:pt x="410" y="618"/>
                      <a:pt x="410" y="618"/>
                    </a:cubicBezTo>
                    <a:cubicBezTo>
                      <a:pt x="410" y="618"/>
                      <a:pt x="410" y="617"/>
                      <a:pt x="410" y="617"/>
                    </a:cubicBezTo>
                    <a:cubicBezTo>
                      <a:pt x="410" y="617"/>
                      <a:pt x="410" y="617"/>
                      <a:pt x="410" y="617"/>
                    </a:cubicBezTo>
                    <a:cubicBezTo>
                      <a:pt x="411" y="618"/>
                      <a:pt x="411" y="618"/>
                      <a:pt x="411" y="617"/>
                    </a:cubicBezTo>
                    <a:cubicBezTo>
                      <a:pt x="412" y="617"/>
                      <a:pt x="412" y="617"/>
                      <a:pt x="412" y="616"/>
                    </a:cubicBezTo>
                    <a:cubicBezTo>
                      <a:pt x="412" y="616"/>
                      <a:pt x="412" y="616"/>
                      <a:pt x="412" y="616"/>
                    </a:cubicBezTo>
                    <a:cubicBezTo>
                      <a:pt x="412" y="616"/>
                      <a:pt x="412" y="616"/>
                      <a:pt x="412" y="616"/>
                    </a:cubicBezTo>
                    <a:cubicBezTo>
                      <a:pt x="412" y="616"/>
                      <a:pt x="412" y="616"/>
                      <a:pt x="412" y="616"/>
                    </a:cubicBezTo>
                    <a:cubicBezTo>
                      <a:pt x="412" y="616"/>
                      <a:pt x="412" y="616"/>
                      <a:pt x="412" y="616"/>
                    </a:cubicBezTo>
                    <a:cubicBezTo>
                      <a:pt x="412" y="617"/>
                      <a:pt x="412" y="617"/>
                      <a:pt x="412" y="618"/>
                    </a:cubicBezTo>
                    <a:cubicBezTo>
                      <a:pt x="411" y="618"/>
                      <a:pt x="411" y="618"/>
                      <a:pt x="411" y="618"/>
                    </a:cubicBezTo>
                    <a:cubicBezTo>
                      <a:pt x="411" y="618"/>
                      <a:pt x="411" y="618"/>
                      <a:pt x="411" y="618"/>
                    </a:cubicBezTo>
                    <a:cubicBezTo>
                      <a:pt x="410" y="619"/>
                      <a:pt x="410" y="619"/>
                      <a:pt x="410" y="619"/>
                    </a:cubicBezTo>
                    <a:cubicBezTo>
                      <a:pt x="410" y="619"/>
                      <a:pt x="409" y="619"/>
                      <a:pt x="409" y="619"/>
                    </a:cubicBezTo>
                    <a:cubicBezTo>
                      <a:pt x="409" y="619"/>
                      <a:pt x="409" y="620"/>
                      <a:pt x="409" y="620"/>
                    </a:cubicBezTo>
                    <a:cubicBezTo>
                      <a:pt x="409" y="620"/>
                      <a:pt x="409" y="620"/>
                      <a:pt x="409" y="620"/>
                    </a:cubicBezTo>
                    <a:close/>
                    <a:moveTo>
                      <a:pt x="416" y="618"/>
                    </a:moveTo>
                    <a:cubicBezTo>
                      <a:pt x="416" y="618"/>
                      <a:pt x="415" y="619"/>
                      <a:pt x="415" y="619"/>
                    </a:cubicBezTo>
                    <a:cubicBezTo>
                      <a:pt x="415" y="619"/>
                      <a:pt x="415" y="619"/>
                      <a:pt x="415" y="619"/>
                    </a:cubicBezTo>
                    <a:cubicBezTo>
                      <a:pt x="415" y="619"/>
                      <a:pt x="415" y="619"/>
                      <a:pt x="415" y="619"/>
                    </a:cubicBezTo>
                    <a:cubicBezTo>
                      <a:pt x="415" y="618"/>
                      <a:pt x="415" y="618"/>
                      <a:pt x="416" y="618"/>
                    </a:cubicBezTo>
                    <a:cubicBezTo>
                      <a:pt x="416" y="618"/>
                      <a:pt x="416" y="618"/>
                      <a:pt x="416" y="618"/>
                    </a:cubicBezTo>
                    <a:cubicBezTo>
                      <a:pt x="416" y="618"/>
                      <a:pt x="416" y="618"/>
                      <a:pt x="416" y="618"/>
                    </a:cubicBezTo>
                    <a:close/>
                    <a:moveTo>
                      <a:pt x="411" y="612"/>
                    </a:moveTo>
                    <a:cubicBezTo>
                      <a:pt x="411" y="611"/>
                      <a:pt x="411" y="611"/>
                      <a:pt x="411" y="611"/>
                    </a:cubicBezTo>
                    <a:cubicBezTo>
                      <a:pt x="411" y="611"/>
                      <a:pt x="411" y="611"/>
                      <a:pt x="411" y="612"/>
                    </a:cubicBezTo>
                    <a:close/>
                    <a:moveTo>
                      <a:pt x="414" y="625"/>
                    </a:moveTo>
                    <a:cubicBezTo>
                      <a:pt x="414" y="626"/>
                      <a:pt x="414" y="626"/>
                      <a:pt x="413" y="626"/>
                    </a:cubicBezTo>
                    <a:cubicBezTo>
                      <a:pt x="413" y="626"/>
                      <a:pt x="413" y="626"/>
                      <a:pt x="413" y="626"/>
                    </a:cubicBezTo>
                    <a:cubicBezTo>
                      <a:pt x="413" y="625"/>
                      <a:pt x="413" y="625"/>
                      <a:pt x="413" y="625"/>
                    </a:cubicBezTo>
                    <a:cubicBezTo>
                      <a:pt x="413" y="625"/>
                      <a:pt x="413" y="625"/>
                      <a:pt x="414" y="625"/>
                    </a:cubicBezTo>
                    <a:close/>
                    <a:moveTo>
                      <a:pt x="415" y="621"/>
                    </a:moveTo>
                    <a:cubicBezTo>
                      <a:pt x="415" y="621"/>
                      <a:pt x="415" y="621"/>
                      <a:pt x="415" y="622"/>
                    </a:cubicBezTo>
                    <a:cubicBezTo>
                      <a:pt x="415" y="622"/>
                      <a:pt x="415" y="622"/>
                      <a:pt x="415" y="622"/>
                    </a:cubicBezTo>
                    <a:cubicBezTo>
                      <a:pt x="415" y="622"/>
                      <a:pt x="415" y="621"/>
                      <a:pt x="415" y="621"/>
                    </a:cubicBezTo>
                    <a:close/>
                    <a:moveTo>
                      <a:pt x="414" y="625"/>
                    </a:moveTo>
                    <a:cubicBezTo>
                      <a:pt x="415" y="625"/>
                      <a:pt x="414" y="625"/>
                      <a:pt x="414" y="625"/>
                    </a:cubicBezTo>
                    <a:cubicBezTo>
                      <a:pt x="414" y="625"/>
                      <a:pt x="414" y="625"/>
                      <a:pt x="414" y="625"/>
                    </a:cubicBezTo>
                    <a:close/>
                    <a:moveTo>
                      <a:pt x="415" y="615"/>
                    </a:moveTo>
                    <a:cubicBezTo>
                      <a:pt x="415" y="615"/>
                      <a:pt x="415" y="615"/>
                      <a:pt x="415" y="615"/>
                    </a:cubicBezTo>
                    <a:cubicBezTo>
                      <a:pt x="415" y="615"/>
                      <a:pt x="415" y="615"/>
                      <a:pt x="415" y="615"/>
                    </a:cubicBezTo>
                    <a:cubicBezTo>
                      <a:pt x="415" y="615"/>
                      <a:pt x="415" y="615"/>
                      <a:pt x="415" y="615"/>
                    </a:cubicBezTo>
                    <a:cubicBezTo>
                      <a:pt x="415" y="615"/>
                      <a:pt x="414" y="615"/>
                      <a:pt x="415" y="615"/>
                    </a:cubicBezTo>
                    <a:close/>
                    <a:moveTo>
                      <a:pt x="415" y="621"/>
                    </a:moveTo>
                    <a:cubicBezTo>
                      <a:pt x="415" y="621"/>
                      <a:pt x="415" y="620"/>
                      <a:pt x="415" y="620"/>
                    </a:cubicBezTo>
                    <a:cubicBezTo>
                      <a:pt x="415" y="620"/>
                      <a:pt x="415" y="621"/>
                      <a:pt x="415" y="621"/>
                    </a:cubicBezTo>
                    <a:close/>
                    <a:moveTo>
                      <a:pt x="415" y="620"/>
                    </a:moveTo>
                    <a:cubicBezTo>
                      <a:pt x="415" y="620"/>
                      <a:pt x="415" y="620"/>
                      <a:pt x="416" y="619"/>
                    </a:cubicBezTo>
                    <a:cubicBezTo>
                      <a:pt x="415" y="620"/>
                      <a:pt x="415" y="620"/>
                      <a:pt x="415" y="620"/>
                    </a:cubicBezTo>
                    <a:close/>
                    <a:moveTo>
                      <a:pt x="415" y="621"/>
                    </a:moveTo>
                    <a:cubicBezTo>
                      <a:pt x="415" y="620"/>
                      <a:pt x="415" y="620"/>
                      <a:pt x="415" y="620"/>
                    </a:cubicBezTo>
                    <a:cubicBezTo>
                      <a:pt x="415" y="620"/>
                      <a:pt x="415" y="621"/>
                      <a:pt x="415" y="621"/>
                    </a:cubicBezTo>
                    <a:close/>
                    <a:moveTo>
                      <a:pt x="413" y="622"/>
                    </a:moveTo>
                    <a:cubicBezTo>
                      <a:pt x="413" y="622"/>
                      <a:pt x="413" y="622"/>
                      <a:pt x="413" y="622"/>
                    </a:cubicBezTo>
                    <a:cubicBezTo>
                      <a:pt x="413" y="622"/>
                      <a:pt x="413" y="622"/>
                      <a:pt x="413" y="622"/>
                    </a:cubicBezTo>
                    <a:close/>
                    <a:moveTo>
                      <a:pt x="412" y="612"/>
                    </a:moveTo>
                    <a:cubicBezTo>
                      <a:pt x="412" y="612"/>
                      <a:pt x="412" y="612"/>
                      <a:pt x="412" y="612"/>
                    </a:cubicBezTo>
                    <a:cubicBezTo>
                      <a:pt x="412" y="612"/>
                      <a:pt x="412" y="612"/>
                      <a:pt x="412" y="612"/>
                    </a:cubicBezTo>
                    <a:cubicBezTo>
                      <a:pt x="412" y="612"/>
                      <a:pt x="412" y="612"/>
                      <a:pt x="412" y="612"/>
                    </a:cubicBezTo>
                    <a:close/>
                    <a:moveTo>
                      <a:pt x="415" y="623"/>
                    </a:moveTo>
                    <a:cubicBezTo>
                      <a:pt x="415" y="623"/>
                      <a:pt x="415" y="623"/>
                      <a:pt x="414" y="623"/>
                    </a:cubicBezTo>
                    <a:cubicBezTo>
                      <a:pt x="414" y="623"/>
                      <a:pt x="414" y="623"/>
                      <a:pt x="415" y="623"/>
                    </a:cubicBezTo>
                    <a:close/>
                    <a:moveTo>
                      <a:pt x="416" y="619"/>
                    </a:moveTo>
                    <a:cubicBezTo>
                      <a:pt x="416" y="619"/>
                      <a:pt x="416" y="619"/>
                      <a:pt x="416" y="619"/>
                    </a:cubicBezTo>
                    <a:cubicBezTo>
                      <a:pt x="416" y="619"/>
                      <a:pt x="416" y="619"/>
                      <a:pt x="416" y="619"/>
                    </a:cubicBezTo>
                    <a:cubicBezTo>
                      <a:pt x="417" y="619"/>
                      <a:pt x="416" y="619"/>
                      <a:pt x="416" y="619"/>
                    </a:cubicBezTo>
                    <a:close/>
                    <a:moveTo>
                      <a:pt x="414" y="622"/>
                    </a:moveTo>
                    <a:cubicBezTo>
                      <a:pt x="414" y="622"/>
                      <a:pt x="414" y="623"/>
                      <a:pt x="414" y="623"/>
                    </a:cubicBezTo>
                    <a:cubicBezTo>
                      <a:pt x="414" y="623"/>
                      <a:pt x="414" y="622"/>
                      <a:pt x="414" y="622"/>
                    </a:cubicBezTo>
                    <a:cubicBezTo>
                      <a:pt x="414" y="622"/>
                      <a:pt x="414" y="622"/>
                      <a:pt x="414" y="621"/>
                    </a:cubicBezTo>
                    <a:cubicBezTo>
                      <a:pt x="415" y="622"/>
                      <a:pt x="414" y="622"/>
                      <a:pt x="414" y="622"/>
                    </a:cubicBezTo>
                    <a:close/>
                    <a:moveTo>
                      <a:pt x="411" y="619"/>
                    </a:moveTo>
                    <a:cubicBezTo>
                      <a:pt x="411" y="619"/>
                      <a:pt x="411" y="619"/>
                      <a:pt x="411" y="619"/>
                    </a:cubicBezTo>
                    <a:cubicBezTo>
                      <a:pt x="411" y="619"/>
                      <a:pt x="411" y="619"/>
                      <a:pt x="411" y="619"/>
                    </a:cubicBezTo>
                    <a:cubicBezTo>
                      <a:pt x="411" y="619"/>
                      <a:pt x="411" y="619"/>
                      <a:pt x="411" y="619"/>
                    </a:cubicBezTo>
                    <a:close/>
                    <a:moveTo>
                      <a:pt x="415" y="622"/>
                    </a:moveTo>
                    <a:cubicBezTo>
                      <a:pt x="415" y="622"/>
                      <a:pt x="415" y="622"/>
                      <a:pt x="415" y="622"/>
                    </a:cubicBezTo>
                    <a:cubicBezTo>
                      <a:pt x="415" y="622"/>
                      <a:pt x="415" y="622"/>
                      <a:pt x="415" y="622"/>
                    </a:cubicBezTo>
                    <a:close/>
                    <a:moveTo>
                      <a:pt x="413" y="622"/>
                    </a:moveTo>
                    <a:cubicBezTo>
                      <a:pt x="413" y="622"/>
                      <a:pt x="413" y="622"/>
                      <a:pt x="413" y="622"/>
                    </a:cubicBezTo>
                    <a:cubicBezTo>
                      <a:pt x="413" y="622"/>
                      <a:pt x="413" y="622"/>
                      <a:pt x="413" y="622"/>
                    </a:cubicBezTo>
                    <a:cubicBezTo>
                      <a:pt x="413" y="622"/>
                      <a:pt x="413" y="622"/>
                      <a:pt x="413" y="622"/>
                    </a:cubicBezTo>
                    <a:cubicBezTo>
                      <a:pt x="413" y="622"/>
                      <a:pt x="413" y="622"/>
                      <a:pt x="413" y="622"/>
                    </a:cubicBezTo>
                    <a:close/>
                    <a:moveTo>
                      <a:pt x="415" y="623"/>
                    </a:moveTo>
                    <a:cubicBezTo>
                      <a:pt x="415" y="622"/>
                      <a:pt x="414" y="622"/>
                      <a:pt x="415" y="622"/>
                    </a:cubicBezTo>
                    <a:cubicBezTo>
                      <a:pt x="415" y="622"/>
                      <a:pt x="415" y="622"/>
                      <a:pt x="415" y="623"/>
                    </a:cubicBezTo>
                    <a:close/>
                    <a:moveTo>
                      <a:pt x="67" y="666"/>
                    </a:moveTo>
                    <a:cubicBezTo>
                      <a:pt x="67" y="666"/>
                      <a:pt x="67" y="666"/>
                      <a:pt x="67" y="666"/>
                    </a:cubicBezTo>
                    <a:cubicBezTo>
                      <a:pt x="67" y="666"/>
                      <a:pt x="67" y="666"/>
                      <a:pt x="67" y="666"/>
                    </a:cubicBezTo>
                    <a:cubicBezTo>
                      <a:pt x="68" y="666"/>
                      <a:pt x="68" y="665"/>
                      <a:pt x="67" y="665"/>
                    </a:cubicBezTo>
                    <a:cubicBezTo>
                      <a:pt x="67" y="665"/>
                      <a:pt x="67" y="665"/>
                      <a:pt x="67" y="665"/>
                    </a:cubicBezTo>
                    <a:cubicBezTo>
                      <a:pt x="67" y="665"/>
                      <a:pt x="66" y="665"/>
                      <a:pt x="66" y="665"/>
                    </a:cubicBezTo>
                    <a:cubicBezTo>
                      <a:pt x="66" y="665"/>
                      <a:pt x="67" y="665"/>
                      <a:pt x="67" y="665"/>
                    </a:cubicBezTo>
                    <a:cubicBezTo>
                      <a:pt x="67" y="665"/>
                      <a:pt x="67" y="665"/>
                      <a:pt x="67" y="665"/>
                    </a:cubicBezTo>
                    <a:cubicBezTo>
                      <a:pt x="67" y="665"/>
                      <a:pt x="67" y="665"/>
                      <a:pt x="67" y="665"/>
                    </a:cubicBezTo>
                    <a:cubicBezTo>
                      <a:pt x="67" y="665"/>
                      <a:pt x="67" y="665"/>
                      <a:pt x="67" y="665"/>
                    </a:cubicBezTo>
                    <a:cubicBezTo>
                      <a:pt x="67" y="665"/>
                      <a:pt x="67" y="665"/>
                      <a:pt x="67" y="664"/>
                    </a:cubicBezTo>
                    <a:cubicBezTo>
                      <a:pt x="67" y="664"/>
                      <a:pt x="67" y="664"/>
                      <a:pt x="66" y="664"/>
                    </a:cubicBezTo>
                    <a:cubicBezTo>
                      <a:pt x="66" y="664"/>
                      <a:pt x="66" y="664"/>
                      <a:pt x="66" y="664"/>
                    </a:cubicBezTo>
                    <a:cubicBezTo>
                      <a:pt x="66" y="665"/>
                      <a:pt x="66" y="665"/>
                      <a:pt x="66" y="665"/>
                    </a:cubicBezTo>
                    <a:cubicBezTo>
                      <a:pt x="66" y="665"/>
                      <a:pt x="66" y="665"/>
                      <a:pt x="66" y="665"/>
                    </a:cubicBezTo>
                    <a:cubicBezTo>
                      <a:pt x="66" y="665"/>
                      <a:pt x="66" y="665"/>
                      <a:pt x="66" y="665"/>
                    </a:cubicBezTo>
                    <a:cubicBezTo>
                      <a:pt x="66" y="665"/>
                      <a:pt x="65" y="665"/>
                      <a:pt x="65" y="665"/>
                    </a:cubicBezTo>
                    <a:cubicBezTo>
                      <a:pt x="65" y="664"/>
                      <a:pt x="65" y="664"/>
                      <a:pt x="65" y="664"/>
                    </a:cubicBezTo>
                    <a:cubicBezTo>
                      <a:pt x="65" y="664"/>
                      <a:pt x="65" y="664"/>
                      <a:pt x="65" y="664"/>
                    </a:cubicBezTo>
                    <a:cubicBezTo>
                      <a:pt x="65" y="664"/>
                      <a:pt x="65" y="663"/>
                      <a:pt x="65" y="663"/>
                    </a:cubicBezTo>
                    <a:cubicBezTo>
                      <a:pt x="65" y="663"/>
                      <a:pt x="65" y="663"/>
                      <a:pt x="65" y="663"/>
                    </a:cubicBezTo>
                    <a:cubicBezTo>
                      <a:pt x="65" y="663"/>
                      <a:pt x="65" y="663"/>
                      <a:pt x="64" y="663"/>
                    </a:cubicBezTo>
                    <a:cubicBezTo>
                      <a:pt x="64" y="663"/>
                      <a:pt x="64" y="663"/>
                      <a:pt x="64" y="663"/>
                    </a:cubicBezTo>
                    <a:cubicBezTo>
                      <a:pt x="64" y="662"/>
                      <a:pt x="64" y="662"/>
                      <a:pt x="64" y="662"/>
                    </a:cubicBezTo>
                    <a:cubicBezTo>
                      <a:pt x="64" y="662"/>
                      <a:pt x="64" y="662"/>
                      <a:pt x="64" y="662"/>
                    </a:cubicBezTo>
                    <a:cubicBezTo>
                      <a:pt x="64" y="662"/>
                      <a:pt x="64" y="662"/>
                      <a:pt x="64" y="662"/>
                    </a:cubicBezTo>
                    <a:cubicBezTo>
                      <a:pt x="64" y="662"/>
                      <a:pt x="64" y="662"/>
                      <a:pt x="63" y="662"/>
                    </a:cubicBezTo>
                    <a:cubicBezTo>
                      <a:pt x="63" y="662"/>
                      <a:pt x="63" y="662"/>
                      <a:pt x="63" y="662"/>
                    </a:cubicBezTo>
                    <a:cubicBezTo>
                      <a:pt x="63" y="662"/>
                      <a:pt x="63" y="662"/>
                      <a:pt x="63" y="661"/>
                    </a:cubicBezTo>
                    <a:cubicBezTo>
                      <a:pt x="63" y="661"/>
                      <a:pt x="63" y="661"/>
                      <a:pt x="63" y="661"/>
                    </a:cubicBezTo>
                    <a:cubicBezTo>
                      <a:pt x="63" y="661"/>
                      <a:pt x="63" y="661"/>
                      <a:pt x="63" y="661"/>
                    </a:cubicBezTo>
                    <a:cubicBezTo>
                      <a:pt x="63" y="661"/>
                      <a:pt x="63" y="661"/>
                      <a:pt x="63" y="661"/>
                    </a:cubicBezTo>
                    <a:cubicBezTo>
                      <a:pt x="63" y="661"/>
                      <a:pt x="63" y="660"/>
                      <a:pt x="62" y="660"/>
                    </a:cubicBezTo>
                    <a:cubicBezTo>
                      <a:pt x="62" y="660"/>
                      <a:pt x="62" y="660"/>
                      <a:pt x="62" y="659"/>
                    </a:cubicBezTo>
                    <a:cubicBezTo>
                      <a:pt x="62" y="659"/>
                      <a:pt x="62" y="659"/>
                      <a:pt x="62" y="659"/>
                    </a:cubicBezTo>
                    <a:cubicBezTo>
                      <a:pt x="62" y="659"/>
                      <a:pt x="62" y="659"/>
                      <a:pt x="62" y="659"/>
                    </a:cubicBezTo>
                    <a:cubicBezTo>
                      <a:pt x="62" y="659"/>
                      <a:pt x="63" y="659"/>
                      <a:pt x="63" y="659"/>
                    </a:cubicBezTo>
                    <a:cubicBezTo>
                      <a:pt x="63" y="659"/>
                      <a:pt x="62" y="659"/>
                      <a:pt x="62" y="659"/>
                    </a:cubicBezTo>
                    <a:cubicBezTo>
                      <a:pt x="62" y="659"/>
                      <a:pt x="62" y="659"/>
                      <a:pt x="62" y="658"/>
                    </a:cubicBezTo>
                    <a:cubicBezTo>
                      <a:pt x="62" y="658"/>
                      <a:pt x="62" y="658"/>
                      <a:pt x="62" y="658"/>
                    </a:cubicBezTo>
                    <a:cubicBezTo>
                      <a:pt x="61" y="658"/>
                      <a:pt x="61" y="658"/>
                      <a:pt x="61" y="658"/>
                    </a:cubicBezTo>
                    <a:cubicBezTo>
                      <a:pt x="61" y="658"/>
                      <a:pt x="61" y="658"/>
                      <a:pt x="61" y="658"/>
                    </a:cubicBezTo>
                    <a:cubicBezTo>
                      <a:pt x="61" y="658"/>
                      <a:pt x="61" y="658"/>
                      <a:pt x="62" y="658"/>
                    </a:cubicBezTo>
                    <a:cubicBezTo>
                      <a:pt x="61" y="658"/>
                      <a:pt x="61" y="658"/>
                      <a:pt x="61" y="658"/>
                    </a:cubicBezTo>
                    <a:cubicBezTo>
                      <a:pt x="61" y="657"/>
                      <a:pt x="61" y="657"/>
                      <a:pt x="61" y="657"/>
                    </a:cubicBezTo>
                    <a:cubicBezTo>
                      <a:pt x="61" y="657"/>
                      <a:pt x="61" y="657"/>
                      <a:pt x="61" y="657"/>
                    </a:cubicBezTo>
                    <a:cubicBezTo>
                      <a:pt x="62" y="658"/>
                      <a:pt x="62" y="658"/>
                      <a:pt x="62" y="658"/>
                    </a:cubicBezTo>
                    <a:cubicBezTo>
                      <a:pt x="62" y="658"/>
                      <a:pt x="62" y="658"/>
                      <a:pt x="62" y="658"/>
                    </a:cubicBezTo>
                    <a:cubicBezTo>
                      <a:pt x="62" y="658"/>
                      <a:pt x="62" y="658"/>
                      <a:pt x="62" y="658"/>
                    </a:cubicBezTo>
                    <a:cubicBezTo>
                      <a:pt x="63" y="658"/>
                      <a:pt x="63" y="658"/>
                      <a:pt x="63" y="658"/>
                    </a:cubicBezTo>
                    <a:cubicBezTo>
                      <a:pt x="63" y="658"/>
                      <a:pt x="63" y="658"/>
                      <a:pt x="63" y="658"/>
                    </a:cubicBezTo>
                    <a:cubicBezTo>
                      <a:pt x="64" y="658"/>
                      <a:pt x="63" y="657"/>
                      <a:pt x="63" y="657"/>
                    </a:cubicBezTo>
                    <a:cubicBezTo>
                      <a:pt x="63" y="657"/>
                      <a:pt x="63" y="657"/>
                      <a:pt x="63" y="657"/>
                    </a:cubicBezTo>
                    <a:cubicBezTo>
                      <a:pt x="63" y="657"/>
                      <a:pt x="63" y="657"/>
                      <a:pt x="63" y="657"/>
                    </a:cubicBezTo>
                    <a:cubicBezTo>
                      <a:pt x="63" y="657"/>
                      <a:pt x="62" y="656"/>
                      <a:pt x="62" y="656"/>
                    </a:cubicBezTo>
                    <a:cubicBezTo>
                      <a:pt x="62" y="656"/>
                      <a:pt x="62" y="656"/>
                      <a:pt x="62" y="656"/>
                    </a:cubicBezTo>
                    <a:cubicBezTo>
                      <a:pt x="61" y="656"/>
                      <a:pt x="61" y="656"/>
                      <a:pt x="61" y="657"/>
                    </a:cubicBezTo>
                    <a:cubicBezTo>
                      <a:pt x="61" y="657"/>
                      <a:pt x="61" y="657"/>
                      <a:pt x="61" y="657"/>
                    </a:cubicBezTo>
                    <a:cubicBezTo>
                      <a:pt x="61" y="656"/>
                      <a:pt x="61" y="656"/>
                      <a:pt x="61" y="656"/>
                    </a:cubicBezTo>
                    <a:cubicBezTo>
                      <a:pt x="61" y="656"/>
                      <a:pt x="61" y="656"/>
                      <a:pt x="61" y="656"/>
                    </a:cubicBezTo>
                    <a:cubicBezTo>
                      <a:pt x="62" y="656"/>
                      <a:pt x="62" y="656"/>
                      <a:pt x="63" y="656"/>
                    </a:cubicBezTo>
                    <a:cubicBezTo>
                      <a:pt x="63" y="656"/>
                      <a:pt x="63" y="656"/>
                      <a:pt x="63" y="656"/>
                    </a:cubicBezTo>
                    <a:cubicBezTo>
                      <a:pt x="63" y="656"/>
                      <a:pt x="63" y="656"/>
                      <a:pt x="63" y="656"/>
                    </a:cubicBezTo>
                    <a:cubicBezTo>
                      <a:pt x="63" y="656"/>
                      <a:pt x="63" y="656"/>
                      <a:pt x="63" y="655"/>
                    </a:cubicBezTo>
                    <a:cubicBezTo>
                      <a:pt x="63" y="655"/>
                      <a:pt x="63" y="655"/>
                      <a:pt x="63" y="655"/>
                    </a:cubicBezTo>
                    <a:cubicBezTo>
                      <a:pt x="63" y="655"/>
                      <a:pt x="63" y="655"/>
                      <a:pt x="62" y="655"/>
                    </a:cubicBezTo>
                    <a:cubicBezTo>
                      <a:pt x="62" y="655"/>
                      <a:pt x="62" y="655"/>
                      <a:pt x="62" y="655"/>
                    </a:cubicBezTo>
                    <a:cubicBezTo>
                      <a:pt x="62" y="654"/>
                      <a:pt x="62" y="654"/>
                      <a:pt x="62" y="654"/>
                    </a:cubicBezTo>
                    <a:cubicBezTo>
                      <a:pt x="62" y="654"/>
                      <a:pt x="62" y="654"/>
                      <a:pt x="62" y="654"/>
                    </a:cubicBezTo>
                    <a:cubicBezTo>
                      <a:pt x="61" y="654"/>
                      <a:pt x="61" y="654"/>
                      <a:pt x="61" y="654"/>
                    </a:cubicBezTo>
                    <a:cubicBezTo>
                      <a:pt x="61" y="655"/>
                      <a:pt x="61" y="655"/>
                      <a:pt x="60" y="655"/>
                    </a:cubicBezTo>
                    <a:cubicBezTo>
                      <a:pt x="60" y="655"/>
                      <a:pt x="60" y="655"/>
                      <a:pt x="59" y="655"/>
                    </a:cubicBezTo>
                    <a:cubicBezTo>
                      <a:pt x="60" y="655"/>
                      <a:pt x="60" y="655"/>
                      <a:pt x="60" y="655"/>
                    </a:cubicBezTo>
                    <a:cubicBezTo>
                      <a:pt x="60" y="655"/>
                      <a:pt x="60" y="655"/>
                      <a:pt x="60" y="655"/>
                    </a:cubicBezTo>
                    <a:cubicBezTo>
                      <a:pt x="60" y="654"/>
                      <a:pt x="60" y="654"/>
                      <a:pt x="60" y="654"/>
                    </a:cubicBezTo>
                    <a:cubicBezTo>
                      <a:pt x="60" y="654"/>
                      <a:pt x="59" y="654"/>
                      <a:pt x="59" y="654"/>
                    </a:cubicBezTo>
                    <a:cubicBezTo>
                      <a:pt x="59" y="655"/>
                      <a:pt x="59" y="655"/>
                      <a:pt x="59" y="654"/>
                    </a:cubicBezTo>
                    <a:cubicBezTo>
                      <a:pt x="59" y="654"/>
                      <a:pt x="59" y="654"/>
                      <a:pt x="59" y="654"/>
                    </a:cubicBezTo>
                    <a:cubicBezTo>
                      <a:pt x="59" y="654"/>
                      <a:pt x="59" y="654"/>
                      <a:pt x="59" y="654"/>
                    </a:cubicBezTo>
                    <a:cubicBezTo>
                      <a:pt x="59" y="654"/>
                      <a:pt x="59" y="654"/>
                      <a:pt x="59" y="654"/>
                    </a:cubicBezTo>
                    <a:cubicBezTo>
                      <a:pt x="59" y="654"/>
                      <a:pt x="60" y="654"/>
                      <a:pt x="60" y="654"/>
                    </a:cubicBezTo>
                    <a:cubicBezTo>
                      <a:pt x="60" y="654"/>
                      <a:pt x="60" y="654"/>
                      <a:pt x="60" y="654"/>
                    </a:cubicBezTo>
                    <a:cubicBezTo>
                      <a:pt x="60" y="654"/>
                      <a:pt x="60" y="654"/>
                      <a:pt x="61" y="654"/>
                    </a:cubicBezTo>
                    <a:cubicBezTo>
                      <a:pt x="61" y="654"/>
                      <a:pt x="61" y="654"/>
                      <a:pt x="61" y="654"/>
                    </a:cubicBezTo>
                    <a:cubicBezTo>
                      <a:pt x="61" y="653"/>
                      <a:pt x="61" y="653"/>
                      <a:pt x="61" y="652"/>
                    </a:cubicBezTo>
                    <a:cubicBezTo>
                      <a:pt x="62" y="652"/>
                      <a:pt x="61" y="651"/>
                      <a:pt x="61" y="650"/>
                    </a:cubicBezTo>
                    <a:cubicBezTo>
                      <a:pt x="61" y="650"/>
                      <a:pt x="61" y="650"/>
                      <a:pt x="61" y="650"/>
                    </a:cubicBezTo>
                    <a:cubicBezTo>
                      <a:pt x="61" y="649"/>
                      <a:pt x="62" y="649"/>
                      <a:pt x="62" y="648"/>
                    </a:cubicBezTo>
                    <a:cubicBezTo>
                      <a:pt x="62" y="648"/>
                      <a:pt x="62" y="648"/>
                      <a:pt x="62" y="648"/>
                    </a:cubicBezTo>
                    <a:cubicBezTo>
                      <a:pt x="62" y="647"/>
                      <a:pt x="62" y="646"/>
                      <a:pt x="63" y="646"/>
                    </a:cubicBezTo>
                    <a:cubicBezTo>
                      <a:pt x="63" y="646"/>
                      <a:pt x="63" y="646"/>
                      <a:pt x="63" y="646"/>
                    </a:cubicBezTo>
                    <a:cubicBezTo>
                      <a:pt x="63" y="645"/>
                      <a:pt x="63" y="645"/>
                      <a:pt x="63" y="645"/>
                    </a:cubicBezTo>
                    <a:cubicBezTo>
                      <a:pt x="63" y="645"/>
                      <a:pt x="63" y="645"/>
                      <a:pt x="63" y="644"/>
                    </a:cubicBezTo>
                    <a:cubicBezTo>
                      <a:pt x="63" y="644"/>
                      <a:pt x="63" y="644"/>
                      <a:pt x="63" y="644"/>
                    </a:cubicBezTo>
                    <a:cubicBezTo>
                      <a:pt x="63" y="644"/>
                      <a:pt x="63" y="644"/>
                      <a:pt x="63" y="644"/>
                    </a:cubicBezTo>
                    <a:cubicBezTo>
                      <a:pt x="63" y="644"/>
                      <a:pt x="63" y="644"/>
                      <a:pt x="63" y="643"/>
                    </a:cubicBezTo>
                    <a:cubicBezTo>
                      <a:pt x="63" y="643"/>
                      <a:pt x="63" y="643"/>
                      <a:pt x="63" y="644"/>
                    </a:cubicBezTo>
                    <a:cubicBezTo>
                      <a:pt x="63" y="644"/>
                      <a:pt x="63" y="644"/>
                      <a:pt x="63" y="644"/>
                    </a:cubicBezTo>
                    <a:cubicBezTo>
                      <a:pt x="62" y="644"/>
                      <a:pt x="61" y="645"/>
                      <a:pt x="61" y="645"/>
                    </a:cubicBezTo>
                    <a:cubicBezTo>
                      <a:pt x="60" y="645"/>
                      <a:pt x="60" y="645"/>
                      <a:pt x="60" y="645"/>
                    </a:cubicBezTo>
                    <a:cubicBezTo>
                      <a:pt x="60" y="645"/>
                      <a:pt x="60" y="645"/>
                      <a:pt x="60" y="645"/>
                    </a:cubicBezTo>
                    <a:cubicBezTo>
                      <a:pt x="60" y="645"/>
                      <a:pt x="60" y="645"/>
                      <a:pt x="60" y="645"/>
                    </a:cubicBezTo>
                    <a:cubicBezTo>
                      <a:pt x="60" y="645"/>
                      <a:pt x="60" y="645"/>
                      <a:pt x="59" y="645"/>
                    </a:cubicBezTo>
                    <a:cubicBezTo>
                      <a:pt x="59" y="645"/>
                      <a:pt x="59" y="645"/>
                      <a:pt x="59" y="644"/>
                    </a:cubicBezTo>
                    <a:cubicBezTo>
                      <a:pt x="59" y="644"/>
                      <a:pt x="59" y="644"/>
                      <a:pt x="58" y="644"/>
                    </a:cubicBezTo>
                    <a:cubicBezTo>
                      <a:pt x="58" y="644"/>
                      <a:pt x="58" y="644"/>
                      <a:pt x="58" y="644"/>
                    </a:cubicBezTo>
                    <a:cubicBezTo>
                      <a:pt x="58" y="645"/>
                      <a:pt x="57" y="645"/>
                      <a:pt x="57" y="645"/>
                    </a:cubicBezTo>
                    <a:cubicBezTo>
                      <a:pt x="57" y="645"/>
                      <a:pt x="57" y="644"/>
                      <a:pt x="57" y="644"/>
                    </a:cubicBezTo>
                    <a:cubicBezTo>
                      <a:pt x="57" y="644"/>
                      <a:pt x="57" y="643"/>
                      <a:pt x="56" y="644"/>
                    </a:cubicBezTo>
                    <a:cubicBezTo>
                      <a:pt x="56" y="644"/>
                      <a:pt x="55" y="644"/>
                      <a:pt x="55" y="644"/>
                    </a:cubicBezTo>
                    <a:cubicBezTo>
                      <a:pt x="55" y="643"/>
                      <a:pt x="54" y="643"/>
                      <a:pt x="54" y="643"/>
                    </a:cubicBezTo>
                    <a:cubicBezTo>
                      <a:pt x="54" y="643"/>
                      <a:pt x="54" y="643"/>
                      <a:pt x="54" y="643"/>
                    </a:cubicBezTo>
                    <a:cubicBezTo>
                      <a:pt x="54" y="643"/>
                      <a:pt x="53" y="644"/>
                      <a:pt x="54" y="644"/>
                    </a:cubicBezTo>
                    <a:cubicBezTo>
                      <a:pt x="54" y="644"/>
                      <a:pt x="54" y="645"/>
                      <a:pt x="54" y="645"/>
                    </a:cubicBezTo>
                    <a:cubicBezTo>
                      <a:pt x="53" y="645"/>
                      <a:pt x="53" y="646"/>
                      <a:pt x="53" y="646"/>
                    </a:cubicBezTo>
                    <a:cubicBezTo>
                      <a:pt x="53" y="646"/>
                      <a:pt x="53" y="647"/>
                      <a:pt x="53" y="647"/>
                    </a:cubicBezTo>
                    <a:cubicBezTo>
                      <a:pt x="53" y="647"/>
                      <a:pt x="53" y="647"/>
                      <a:pt x="53" y="647"/>
                    </a:cubicBezTo>
                    <a:cubicBezTo>
                      <a:pt x="53" y="648"/>
                      <a:pt x="53" y="648"/>
                      <a:pt x="53" y="648"/>
                    </a:cubicBezTo>
                    <a:cubicBezTo>
                      <a:pt x="54" y="648"/>
                      <a:pt x="54" y="648"/>
                      <a:pt x="54" y="648"/>
                    </a:cubicBezTo>
                    <a:cubicBezTo>
                      <a:pt x="54" y="648"/>
                      <a:pt x="54" y="649"/>
                      <a:pt x="54" y="649"/>
                    </a:cubicBezTo>
                    <a:cubicBezTo>
                      <a:pt x="54" y="649"/>
                      <a:pt x="54" y="649"/>
                      <a:pt x="54" y="649"/>
                    </a:cubicBezTo>
                    <a:cubicBezTo>
                      <a:pt x="54" y="649"/>
                      <a:pt x="54" y="649"/>
                      <a:pt x="55" y="650"/>
                    </a:cubicBezTo>
                    <a:cubicBezTo>
                      <a:pt x="55" y="650"/>
                      <a:pt x="55" y="650"/>
                      <a:pt x="55" y="650"/>
                    </a:cubicBezTo>
                    <a:cubicBezTo>
                      <a:pt x="55" y="650"/>
                      <a:pt x="55" y="650"/>
                      <a:pt x="54" y="650"/>
                    </a:cubicBezTo>
                    <a:cubicBezTo>
                      <a:pt x="54" y="650"/>
                      <a:pt x="54" y="650"/>
                      <a:pt x="54" y="650"/>
                    </a:cubicBezTo>
                    <a:cubicBezTo>
                      <a:pt x="54" y="650"/>
                      <a:pt x="54" y="650"/>
                      <a:pt x="54" y="650"/>
                    </a:cubicBezTo>
                    <a:cubicBezTo>
                      <a:pt x="54" y="650"/>
                      <a:pt x="54" y="650"/>
                      <a:pt x="54" y="650"/>
                    </a:cubicBezTo>
                    <a:cubicBezTo>
                      <a:pt x="54" y="650"/>
                      <a:pt x="54" y="650"/>
                      <a:pt x="54" y="650"/>
                    </a:cubicBezTo>
                    <a:cubicBezTo>
                      <a:pt x="54" y="651"/>
                      <a:pt x="55" y="651"/>
                      <a:pt x="55" y="651"/>
                    </a:cubicBezTo>
                    <a:cubicBezTo>
                      <a:pt x="55" y="651"/>
                      <a:pt x="55" y="651"/>
                      <a:pt x="55" y="651"/>
                    </a:cubicBezTo>
                    <a:cubicBezTo>
                      <a:pt x="55" y="651"/>
                      <a:pt x="55" y="651"/>
                      <a:pt x="55" y="651"/>
                    </a:cubicBezTo>
                    <a:cubicBezTo>
                      <a:pt x="55" y="651"/>
                      <a:pt x="55" y="651"/>
                      <a:pt x="55" y="651"/>
                    </a:cubicBezTo>
                    <a:cubicBezTo>
                      <a:pt x="55" y="651"/>
                      <a:pt x="56" y="651"/>
                      <a:pt x="56" y="651"/>
                    </a:cubicBezTo>
                    <a:cubicBezTo>
                      <a:pt x="56" y="651"/>
                      <a:pt x="56" y="651"/>
                      <a:pt x="56" y="651"/>
                    </a:cubicBezTo>
                    <a:cubicBezTo>
                      <a:pt x="56" y="651"/>
                      <a:pt x="56" y="652"/>
                      <a:pt x="56" y="652"/>
                    </a:cubicBezTo>
                    <a:cubicBezTo>
                      <a:pt x="56" y="652"/>
                      <a:pt x="56" y="651"/>
                      <a:pt x="56" y="652"/>
                    </a:cubicBezTo>
                    <a:cubicBezTo>
                      <a:pt x="56" y="652"/>
                      <a:pt x="57" y="652"/>
                      <a:pt x="57" y="652"/>
                    </a:cubicBezTo>
                    <a:cubicBezTo>
                      <a:pt x="57" y="652"/>
                      <a:pt x="57" y="652"/>
                      <a:pt x="57" y="652"/>
                    </a:cubicBezTo>
                    <a:cubicBezTo>
                      <a:pt x="57" y="652"/>
                      <a:pt x="57" y="652"/>
                      <a:pt x="58" y="652"/>
                    </a:cubicBezTo>
                    <a:cubicBezTo>
                      <a:pt x="58" y="653"/>
                      <a:pt x="58" y="653"/>
                      <a:pt x="58" y="653"/>
                    </a:cubicBezTo>
                    <a:cubicBezTo>
                      <a:pt x="58" y="653"/>
                      <a:pt x="58" y="653"/>
                      <a:pt x="58" y="653"/>
                    </a:cubicBezTo>
                    <a:cubicBezTo>
                      <a:pt x="58" y="653"/>
                      <a:pt x="58" y="653"/>
                      <a:pt x="58" y="653"/>
                    </a:cubicBezTo>
                    <a:cubicBezTo>
                      <a:pt x="58" y="653"/>
                      <a:pt x="58" y="653"/>
                      <a:pt x="57" y="653"/>
                    </a:cubicBezTo>
                    <a:cubicBezTo>
                      <a:pt x="57" y="653"/>
                      <a:pt x="57" y="653"/>
                      <a:pt x="57" y="653"/>
                    </a:cubicBezTo>
                    <a:cubicBezTo>
                      <a:pt x="57" y="653"/>
                      <a:pt x="57" y="652"/>
                      <a:pt x="57" y="652"/>
                    </a:cubicBezTo>
                    <a:cubicBezTo>
                      <a:pt x="57" y="652"/>
                      <a:pt x="56" y="653"/>
                      <a:pt x="56" y="652"/>
                    </a:cubicBezTo>
                    <a:cubicBezTo>
                      <a:pt x="56" y="652"/>
                      <a:pt x="56" y="653"/>
                      <a:pt x="56" y="653"/>
                    </a:cubicBezTo>
                    <a:cubicBezTo>
                      <a:pt x="56" y="653"/>
                      <a:pt x="56" y="653"/>
                      <a:pt x="56" y="653"/>
                    </a:cubicBezTo>
                    <a:cubicBezTo>
                      <a:pt x="56" y="653"/>
                      <a:pt x="56" y="653"/>
                      <a:pt x="56" y="653"/>
                    </a:cubicBezTo>
                    <a:cubicBezTo>
                      <a:pt x="56" y="653"/>
                      <a:pt x="56" y="653"/>
                      <a:pt x="57" y="653"/>
                    </a:cubicBezTo>
                    <a:cubicBezTo>
                      <a:pt x="57" y="653"/>
                      <a:pt x="57" y="653"/>
                      <a:pt x="57" y="653"/>
                    </a:cubicBezTo>
                    <a:cubicBezTo>
                      <a:pt x="57" y="653"/>
                      <a:pt x="56" y="654"/>
                      <a:pt x="56" y="653"/>
                    </a:cubicBezTo>
                    <a:cubicBezTo>
                      <a:pt x="56" y="653"/>
                      <a:pt x="56" y="654"/>
                      <a:pt x="56" y="654"/>
                    </a:cubicBezTo>
                    <a:cubicBezTo>
                      <a:pt x="56" y="654"/>
                      <a:pt x="56" y="654"/>
                      <a:pt x="56" y="654"/>
                    </a:cubicBezTo>
                    <a:cubicBezTo>
                      <a:pt x="56" y="654"/>
                      <a:pt x="56" y="654"/>
                      <a:pt x="56" y="654"/>
                    </a:cubicBezTo>
                    <a:cubicBezTo>
                      <a:pt x="57" y="654"/>
                      <a:pt x="57" y="654"/>
                      <a:pt x="57" y="654"/>
                    </a:cubicBezTo>
                    <a:cubicBezTo>
                      <a:pt x="57" y="655"/>
                      <a:pt x="57" y="654"/>
                      <a:pt x="57" y="654"/>
                    </a:cubicBezTo>
                    <a:cubicBezTo>
                      <a:pt x="57" y="655"/>
                      <a:pt x="57" y="655"/>
                      <a:pt x="58" y="655"/>
                    </a:cubicBezTo>
                    <a:cubicBezTo>
                      <a:pt x="58" y="655"/>
                      <a:pt x="58" y="655"/>
                      <a:pt x="58" y="655"/>
                    </a:cubicBezTo>
                    <a:cubicBezTo>
                      <a:pt x="58" y="655"/>
                      <a:pt x="58" y="655"/>
                      <a:pt x="58" y="655"/>
                    </a:cubicBezTo>
                    <a:cubicBezTo>
                      <a:pt x="58" y="655"/>
                      <a:pt x="58" y="655"/>
                      <a:pt x="58" y="655"/>
                    </a:cubicBezTo>
                    <a:cubicBezTo>
                      <a:pt x="58" y="655"/>
                      <a:pt x="59" y="655"/>
                      <a:pt x="58" y="655"/>
                    </a:cubicBezTo>
                    <a:cubicBezTo>
                      <a:pt x="58" y="655"/>
                      <a:pt x="58" y="655"/>
                      <a:pt x="58" y="655"/>
                    </a:cubicBezTo>
                    <a:cubicBezTo>
                      <a:pt x="58" y="655"/>
                      <a:pt x="57" y="655"/>
                      <a:pt x="57" y="655"/>
                    </a:cubicBezTo>
                    <a:cubicBezTo>
                      <a:pt x="57" y="655"/>
                      <a:pt x="57" y="655"/>
                      <a:pt x="57" y="655"/>
                    </a:cubicBezTo>
                    <a:cubicBezTo>
                      <a:pt x="57" y="655"/>
                      <a:pt x="57" y="655"/>
                      <a:pt x="57" y="655"/>
                    </a:cubicBezTo>
                    <a:cubicBezTo>
                      <a:pt x="57" y="655"/>
                      <a:pt x="57" y="655"/>
                      <a:pt x="57" y="655"/>
                    </a:cubicBezTo>
                    <a:cubicBezTo>
                      <a:pt x="57" y="655"/>
                      <a:pt x="57" y="656"/>
                      <a:pt x="57" y="656"/>
                    </a:cubicBezTo>
                    <a:cubicBezTo>
                      <a:pt x="57" y="656"/>
                      <a:pt x="57" y="656"/>
                      <a:pt x="57" y="656"/>
                    </a:cubicBezTo>
                    <a:cubicBezTo>
                      <a:pt x="57" y="656"/>
                      <a:pt x="57" y="656"/>
                      <a:pt x="58" y="656"/>
                    </a:cubicBezTo>
                    <a:cubicBezTo>
                      <a:pt x="58" y="656"/>
                      <a:pt x="58" y="656"/>
                      <a:pt x="58" y="656"/>
                    </a:cubicBezTo>
                    <a:cubicBezTo>
                      <a:pt x="58" y="656"/>
                      <a:pt x="58" y="656"/>
                      <a:pt x="58" y="656"/>
                    </a:cubicBezTo>
                    <a:cubicBezTo>
                      <a:pt x="58" y="656"/>
                      <a:pt x="59" y="656"/>
                      <a:pt x="59" y="656"/>
                    </a:cubicBezTo>
                    <a:cubicBezTo>
                      <a:pt x="59" y="656"/>
                      <a:pt x="59" y="656"/>
                      <a:pt x="59" y="656"/>
                    </a:cubicBezTo>
                    <a:cubicBezTo>
                      <a:pt x="59" y="656"/>
                      <a:pt x="59" y="656"/>
                      <a:pt x="59" y="657"/>
                    </a:cubicBezTo>
                    <a:cubicBezTo>
                      <a:pt x="59" y="657"/>
                      <a:pt x="59" y="657"/>
                      <a:pt x="59" y="657"/>
                    </a:cubicBezTo>
                    <a:cubicBezTo>
                      <a:pt x="58" y="657"/>
                      <a:pt x="58" y="657"/>
                      <a:pt x="58" y="657"/>
                    </a:cubicBezTo>
                    <a:cubicBezTo>
                      <a:pt x="59" y="657"/>
                      <a:pt x="59" y="657"/>
                      <a:pt x="59" y="657"/>
                    </a:cubicBezTo>
                    <a:cubicBezTo>
                      <a:pt x="59" y="657"/>
                      <a:pt x="59" y="657"/>
                      <a:pt x="59" y="657"/>
                    </a:cubicBezTo>
                    <a:cubicBezTo>
                      <a:pt x="59" y="657"/>
                      <a:pt x="59" y="657"/>
                      <a:pt x="59" y="657"/>
                    </a:cubicBezTo>
                    <a:cubicBezTo>
                      <a:pt x="59" y="657"/>
                      <a:pt x="58" y="657"/>
                      <a:pt x="58" y="657"/>
                    </a:cubicBezTo>
                    <a:cubicBezTo>
                      <a:pt x="59" y="658"/>
                      <a:pt x="59" y="658"/>
                      <a:pt x="59" y="658"/>
                    </a:cubicBezTo>
                    <a:cubicBezTo>
                      <a:pt x="59" y="659"/>
                      <a:pt x="59" y="659"/>
                      <a:pt x="60" y="659"/>
                    </a:cubicBezTo>
                    <a:cubicBezTo>
                      <a:pt x="60" y="659"/>
                      <a:pt x="60" y="659"/>
                      <a:pt x="60" y="659"/>
                    </a:cubicBezTo>
                    <a:cubicBezTo>
                      <a:pt x="60" y="659"/>
                      <a:pt x="60" y="660"/>
                      <a:pt x="60" y="659"/>
                    </a:cubicBezTo>
                    <a:cubicBezTo>
                      <a:pt x="60" y="659"/>
                      <a:pt x="60" y="659"/>
                      <a:pt x="60" y="658"/>
                    </a:cubicBezTo>
                    <a:cubicBezTo>
                      <a:pt x="60" y="659"/>
                      <a:pt x="60" y="659"/>
                      <a:pt x="61" y="659"/>
                    </a:cubicBezTo>
                    <a:cubicBezTo>
                      <a:pt x="61" y="659"/>
                      <a:pt x="61" y="659"/>
                      <a:pt x="61" y="660"/>
                    </a:cubicBezTo>
                    <a:cubicBezTo>
                      <a:pt x="61" y="660"/>
                      <a:pt x="61" y="659"/>
                      <a:pt x="61" y="659"/>
                    </a:cubicBezTo>
                    <a:cubicBezTo>
                      <a:pt x="61" y="659"/>
                      <a:pt x="61" y="659"/>
                      <a:pt x="61" y="660"/>
                    </a:cubicBezTo>
                    <a:cubicBezTo>
                      <a:pt x="61" y="660"/>
                      <a:pt x="61" y="660"/>
                      <a:pt x="61" y="659"/>
                    </a:cubicBezTo>
                    <a:cubicBezTo>
                      <a:pt x="60" y="659"/>
                      <a:pt x="60" y="659"/>
                      <a:pt x="60" y="659"/>
                    </a:cubicBezTo>
                    <a:cubicBezTo>
                      <a:pt x="60" y="660"/>
                      <a:pt x="60" y="660"/>
                      <a:pt x="60" y="660"/>
                    </a:cubicBezTo>
                    <a:cubicBezTo>
                      <a:pt x="60" y="660"/>
                      <a:pt x="61" y="660"/>
                      <a:pt x="61" y="661"/>
                    </a:cubicBezTo>
                    <a:cubicBezTo>
                      <a:pt x="62" y="661"/>
                      <a:pt x="62" y="661"/>
                      <a:pt x="62" y="661"/>
                    </a:cubicBezTo>
                    <a:cubicBezTo>
                      <a:pt x="62" y="661"/>
                      <a:pt x="62" y="661"/>
                      <a:pt x="62" y="661"/>
                    </a:cubicBezTo>
                    <a:cubicBezTo>
                      <a:pt x="62" y="661"/>
                      <a:pt x="62" y="661"/>
                      <a:pt x="62" y="661"/>
                    </a:cubicBezTo>
                    <a:cubicBezTo>
                      <a:pt x="62" y="662"/>
                      <a:pt x="62" y="662"/>
                      <a:pt x="62" y="662"/>
                    </a:cubicBezTo>
                    <a:cubicBezTo>
                      <a:pt x="63" y="662"/>
                      <a:pt x="63" y="662"/>
                      <a:pt x="63" y="662"/>
                    </a:cubicBezTo>
                    <a:cubicBezTo>
                      <a:pt x="63" y="663"/>
                      <a:pt x="63" y="663"/>
                      <a:pt x="63" y="663"/>
                    </a:cubicBezTo>
                    <a:cubicBezTo>
                      <a:pt x="63" y="663"/>
                      <a:pt x="64" y="663"/>
                      <a:pt x="64" y="663"/>
                    </a:cubicBezTo>
                    <a:cubicBezTo>
                      <a:pt x="64" y="663"/>
                      <a:pt x="64" y="663"/>
                      <a:pt x="64" y="663"/>
                    </a:cubicBezTo>
                    <a:cubicBezTo>
                      <a:pt x="64" y="663"/>
                      <a:pt x="64" y="663"/>
                      <a:pt x="64" y="663"/>
                    </a:cubicBezTo>
                    <a:cubicBezTo>
                      <a:pt x="64" y="663"/>
                      <a:pt x="64" y="663"/>
                      <a:pt x="64" y="663"/>
                    </a:cubicBezTo>
                    <a:cubicBezTo>
                      <a:pt x="64" y="664"/>
                      <a:pt x="64" y="664"/>
                      <a:pt x="64" y="664"/>
                    </a:cubicBezTo>
                    <a:cubicBezTo>
                      <a:pt x="64" y="664"/>
                      <a:pt x="64" y="664"/>
                      <a:pt x="64" y="664"/>
                    </a:cubicBezTo>
                    <a:cubicBezTo>
                      <a:pt x="64" y="665"/>
                      <a:pt x="65" y="665"/>
                      <a:pt x="65" y="665"/>
                    </a:cubicBezTo>
                    <a:cubicBezTo>
                      <a:pt x="65" y="665"/>
                      <a:pt x="65" y="666"/>
                      <a:pt x="65" y="665"/>
                    </a:cubicBezTo>
                    <a:cubicBezTo>
                      <a:pt x="65" y="665"/>
                      <a:pt x="65" y="665"/>
                      <a:pt x="65" y="666"/>
                    </a:cubicBezTo>
                    <a:cubicBezTo>
                      <a:pt x="66" y="666"/>
                      <a:pt x="66" y="666"/>
                      <a:pt x="66" y="666"/>
                    </a:cubicBezTo>
                    <a:cubicBezTo>
                      <a:pt x="66" y="666"/>
                      <a:pt x="66" y="666"/>
                      <a:pt x="66" y="666"/>
                    </a:cubicBezTo>
                    <a:cubicBezTo>
                      <a:pt x="66" y="666"/>
                      <a:pt x="66" y="666"/>
                      <a:pt x="66" y="666"/>
                    </a:cubicBezTo>
                    <a:cubicBezTo>
                      <a:pt x="67" y="666"/>
                      <a:pt x="67" y="666"/>
                      <a:pt x="67" y="666"/>
                    </a:cubicBezTo>
                    <a:cubicBezTo>
                      <a:pt x="67" y="666"/>
                      <a:pt x="67" y="666"/>
                      <a:pt x="67" y="666"/>
                    </a:cubicBezTo>
                    <a:cubicBezTo>
                      <a:pt x="67" y="666"/>
                      <a:pt x="67" y="666"/>
                      <a:pt x="67" y="666"/>
                    </a:cubicBezTo>
                    <a:close/>
                    <a:moveTo>
                      <a:pt x="57" y="654"/>
                    </a:moveTo>
                    <a:cubicBezTo>
                      <a:pt x="57" y="654"/>
                      <a:pt x="57" y="654"/>
                      <a:pt x="57" y="654"/>
                    </a:cubicBezTo>
                    <a:cubicBezTo>
                      <a:pt x="57" y="654"/>
                      <a:pt x="57" y="654"/>
                      <a:pt x="57" y="654"/>
                    </a:cubicBezTo>
                    <a:close/>
                    <a:moveTo>
                      <a:pt x="63" y="660"/>
                    </a:moveTo>
                    <a:cubicBezTo>
                      <a:pt x="63" y="660"/>
                      <a:pt x="64" y="660"/>
                      <a:pt x="63" y="660"/>
                    </a:cubicBezTo>
                    <a:cubicBezTo>
                      <a:pt x="63" y="660"/>
                      <a:pt x="63" y="660"/>
                      <a:pt x="63" y="660"/>
                    </a:cubicBezTo>
                    <a:cubicBezTo>
                      <a:pt x="63" y="660"/>
                      <a:pt x="63" y="660"/>
                      <a:pt x="64" y="660"/>
                    </a:cubicBezTo>
                    <a:cubicBezTo>
                      <a:pt x="64" y="660"/>
                      <a:pt x="64" y="660"/>
                      <a:pt x="64" y="660"/>
                    </a:cubicBezTo>
                    <a:cubicBezTo>
                      <a:pt x="64" y="660"/>
                      <a:pt x="64" y="660"/>
                      <a:pt x="64" y="660"/>
                    </a:cubicBezTo>
                    <a:cubicBezTo>
                      <a:pt x="65" y="660"/>
                      <a:pt x="65" y="660"/>
                      <a:pt x="65" y="660"/>
                    </a:cubicBezTo>
                    <a:cubicBezTo>
                      <a:pt x="64" y="660"/>
                      <a:pt x="65" y="661"/>
                      <a:pt x="64" y="661"/>
                    </a:cubicBezTo>
                    <a:cubicBezTo>
                      <a:pt x="64" y="661"/>
                      <a:pt x="64" y="661"/>
                      <a:pt x="64" y="661"/>
                    </a:cubicBezTo>
                    <a:cubicBezTo>
                      <a:pt x="64" y="661"/>
                      <a:pt x="64" y="661"/>
                      <a:pt x="64" y="661"/>
                    </a:cubicBezTo>
                    <a:cubicBezTo>
                      <a:pt x="63" y="661"/>
                      <a:pt x="64" y="661"/>
                      <a:pt x="64" y="661"/>
                    </a:cubicBezTo>
                    <a:cubicBezTo>
                      <a:pt x="64" y="661"/>
                      <a:pt x="64" y="661"/>
                      <a:pt x="64" y="661"/>
                    </a:cubicBezTo>
                    <a:cubicBezTo>
                      <a:pt x="64" y="661"/>
                      <a:pt x="64" y="661"/>
                      <a:pt x="64" y="661"/>
                    </a:cubicBezTo>
                    <a:cubicBezTo>
                      <a:pt x="63" y="661"/>
                      <a:pt x="63" y="661"/>
                      <a:pt x="63" y="661"/>
                    </a:cubicBezTo>
                    <a:cubicBezTo>
                      <a:pt x="63" y="660"/>
                      <a:pt x="63" y="660"/>
                      <a:pt x="63" y="660"/>
                    </a:cubicBezTo>
                    <a:cubicBezTo>
                      <a:pt x="63" y="660"/>
                      <a:pt x="63" y="660"/>
                      <a:pt x="63" y="660"/>
                    </a:cubicBezTo>
                    <a:cubicBezTo>
                      <a:pt x="63" y="660"/>
                      <a:pt x="63" y="660"/>
                      <a:pt x="63" y="660"/>
                    </a:cubicBezTo>
                    <a:close/>
                    <a:moveTo>
                      <a:pt x="68" y="667"/>
                    </a:moveTo>
                    <a:cubicBezTo>
                      <a:pt x="68" y="667"/>
                      <a:pt x="68" y="667"/>
                      <a:pt x="68" y="667"/>
                    </a:cubicBezTo>
                    <a:cubicBezTo>
                      <a:pt x="67" y="667"/>
                      <a:pt x="67" y="667"/>
                      <a:pt x="67" y="667"/>
                    </a:cubicBezTo>
                    <a:cubicBezTo>
                      <a:pt x="67" y="667"/>
                      <a:pt x="67" y="667"/>
                      <a:pt x="67" y="667"/>
                    </a:cubicBezTo>
                    <a:cubicBezTo>
                      <a:pt x="67" y="667"/>
                      <a:pt x="67" y="667"/>
                      <a:pt x="67" y="667"/>
                    </a:cubicBezTo>
                    <a:cubicBezTo>
                      <a:pt x="67" y="667"/>
                      <a:pt x="68" y="667"/>
                      <a:pt x="68" y="668"/>
                    </a:cubicBezTo>
                    <a:cubicBezTo>
                      <a:pt x="68" y="668"/>
                      <a:pt x="67" y="668"/>
                      <a:pt x="67" y="668"/>
                    </a:cubicBezTo>
                    <a:cubicBezTo>
                      <a:pt x="67" y="668"/>
                      <a:pt x="67" y="668"/>
                      <a:pt x="68" y="668"/>
                    </a:cubicBezTo>
                    <a:cubicBezTo>
                      <a:pt x="67" y="668"/>
                      <a:pt x="67" y="668"/>
                      <a:pt x="67" y="668"/>
                    </a:cubicBezTo>
                    <a:cubicBezTo>
                      <a:pt x="67" y="668"/>
                      <a:pt x="67" y="668"/>
                      <a:pt x="67" y="668"/>
                    </a:cubicBezTo>
                    <a:cubicBezTo>
                      <a:pt x="67" y="667"/>
                      <a:pt x="67" y="667"/>
                      <a:pt x="67" y="667"/>
                    </a:cubicBezTo>
                    <a:cubicBezTo>
                      <a:pt x="67" y="667"/>
                      <a:pt x="67" y="667"/>
                      <a:pt x="67" y="667"/>
                    </a:cubicBezTo>
                    <a:cubicBezTo>
                      <a:pt x="67" y="666"/>
                      <a:pt x="67" y="666"/>
                      <a:pt x="67" y="666"/>
                    </a:cubicBezTo>
                    <a:cubicBezTo>
                      <a:pt x="67" y="666"/>
                      <a:pt x="67" y="666"/>
                      <a:pt x="67" y="666"/>
                    </a:cubicBezTo>
                    <a:cubicBezTo>
                      <a:pt x="67" y="667"/>
                      <a:pt x="68" y="667"/>
                      <a:pt x="68" y="667"/>
                    </a:cubicBezTo>
                    <a:cubicBezTo>
                      <a:pt x="68" y="667"/>
                      <a:pt x="68" y="667"/>
                      <a:pt x="68" y="667"/>
                    </a:cubicBezTo>
                    <a:cubicBezTo>
                      <a:pt x="68" y="667"/>
                      <a:pt x="68" y="667"/>
                      <a:pt x="68" y="667"/>
                    </a:cubicBezTo>
                    <a:close/>
                    <a:moveTo>
                      <a:pt x="65" y="663"/>
                    </a:moveTo>
                    <a:cubicBezTo>
                      <a:pt x="65" y="663"/>
                      <a:pt x="66" y="663"/>
                      <a:pt x="66" y="663"/>
                    </a:cubicBezTo>
                    <a:cubicBezTo>
                      <a:pt x="66" y="663"/>
                      <a:pt x="66" y="663"/>
                      <a:pt x="66" y="663"/>
                    </a:cubicBezTo>
                    <a:cubicBezTo>
                      <a:pt x="66" y="663"/>
                      <a:pt x="66" y="663"/>
                      <a:pt x="65" y="664"/>
                    </a:cubicBezTo>
                    <a:cubicBezTo>
                      <a:pt x="65" y="664"/>
                      <a:pt x="66" y="664"/>
                      <a:pt x="66" y="664"/>
                    </a:cubicBezTo>
                    <a:cubicBezTo>
                      <a:pt x="66" y="664"/>
                      <a:pt x="66" y="664"/>
                      <a:pt x="66" y="664"/>
                    </a:cubicBezTo>
                    <a:cubicBezTo>
                      <a:pt x="66" y="664"/>
                      <a:pt x="66" y="664"/>
                      <a:pt x="66" y="664"/>
                    </a:cubicBezTo>
                    <a:cubicBezTo>
                      <a:pt x="66" y="664"/>
                      <a:pt x="65" y="664"/>
                      <a:pt x="65" y="664"/>
                    </a:cubicBezTo>
                    <a:cubicBezTo>
                      <a:pt x="65" y="664"/>
                      <a:pt x="65" y="663"/>
                      <a:pt x="65" y="663"/>
                    </a:cubicBezTo>
                    <a:close/>
                    <a:moveTo>
                      <a:pt x="63" y="659"/>
                    </a:moveTo>
                    <a:cubicBezTo>
                      <a:pt x="63" y="659"/>
                      <a:pt x="62" y="659"/>
                      <a:pt x="62" y="658"/>
                    </a:cubicBezTo>
                    <a:cubicBezTo>
                      <a:pt x="62" y="658"/>
                      <a:pt x="63" y="658"/>
                      <a:pt x="63" y="659"/>
                    </a:cubicBezTo>
                    <a:close/>
                    <a:moveTo>
                      <a:pt x="54" y="643"/>
                    </a:moveTo>
                    <a:cubicBezTo>
                      <a:pt x="54" y="642"/>
                      <a:pt x="54" y="642"/>
                      <a:pt x="54" y="642"/>
                    </a:cubicBezTo>
                    <a:cubicBezTo>
                      <a:pt x="54" y="642"/>
                      <a:pt x="54" y="642"/>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lose/>
                    <a:moveTo>
                      <a:pt x="63" y="659"/>
                    </a:moveTo>
                    <a:cubicBezTo>
                      <a:pt x="63" y="659"/>
                      <a:pt x="63" y="659"/>
                      <a:pt x="63" y="659"/>
                    </a:cubicBezTo>
                    <a:cubicBezTo>
                      <a:pt x="63" y="659"/>
                      <a:pt x="63" y="659"/>
                      <a:pt x="63" y="659"/>
                    </a:cubicBezTo>
                    <a:cubicBezTo>
                      <a:pt x="63" y="659"/>
                      <a:pt x="63" y="659"/>
                      <a:pt x="63" y="659"/>
                    </a:cubicBezTo>
                    <a:cubicBezTo>
                      <a:pt x="63" y="659"/>
                      <a:pt x="64" y="660"/>
                      <a:pt x="63" y="660"/>
                    </a:cubicBezTo>
                    <a:cubicBezTo>
                      <a:pt x="63" y="659"/>
                      <a:pt x="63" y="660"/>
                      <a:pt x="63" y="659"/>
                    </a:cubicBezTo>
                    <a:close/>
                    <a:moveTo>
                      <a:pt x="65" y="662"/>
                    </a:moveTo>
                    <a:cubicBezTo>
                      <a:pt x="65" y="661"/>
                      <a:pt x="65" y="661"/>
                      <a:pt x="65" y="661"/>
                    </a:cubicBezTo>
                    <a:cubicBezTo>
                      <a:pt x="65" y="661"/>
                      <a:pt x="65" y="661"/>
                      <a:pt x="65" y="661"/>
                    </a:cubicBezTo>
                    <a:cubicBezTo>
                      <a:pt x="65" y="662"/>
                      <a:pt x="65" y="662"/>
                      <a:pt x="65" y="662"/>
                    </a:cubicBezTo>
                    <a:cubicBezTo>
                      <a:pt x="65" y="662"/>
                      <a:pt x="65" y="662"/>
                      <a:pt x="65" y="662"/>
                    </a:cubicBezTo>
                    <a:close/>
                    <a:moveTo>
                      <a:pt x="61" y="654"/>
                    </a:moveTo>
                    <a:cubicBezTo>
                      <a:pt x="61" y="654"/>
                      <a:pt x="60" y="654"/>
                      <a:pt x="60" y="654"/>
                    </a:cubicBezTo>
                    <a:cubicBezTo>
                      <a:pt x="60" y="655"/>
                      <a:pt x="60" y="654"/>
                      <a:pt x="60" y="654"/>
                    </a:cubicBezTo>
                    <a:cubicBezTo>
                      <a:pt x="60" y="654"/>
                      <a:pt x="60" y="654"/>
                      <a:pt x="60" y="654"/>
                    </a:cubicBezTo>
                    <a:cubicBezTo>
                      <a:pt x="60" y="654"/>
                      <a:pt x="61" y="654"/>
                      <a:pt x="61" y="654"/>
                    </a:cubicBezTo>
                    <a:close/>
                    <a:moveTo>
                      <a:pt x="63" y="659"/>
                    </a:moveTo>
                    <a:cubicBezTo>
                      <a:pt x="63" y="660"/>
                      <a:pt x="63" y="660"/>
                      <a:pt x="63" y="660"/>
                    </a:cubicBezTo>
                    <a:cubicBezTo>
                      <a:pt x="62" y="660"/>
                      <a:pt x="62" y="660"/>
                      <a:pt x="62" y="660"/>
                    </a:cubicBezTo>
                    <a:cubicBezTo>
                      <a:pt x="62" y="659"/>
                      <a:pt x="63" y="659"/>
                      <a:pt x="63" y="659"/>
                    </a:cubicBezTo>
                    <a:close/>
                    <a:moveTo>
                      <a:pt x="65" y="663"/>
                    </a:moveTo>
                    <a:cubicBezTo>
                      <a:pt x="65" y="663"/>
                      <a:pt x="65" y="663"/>
                      <a:pt x="65" y="663"/>
                    </a:cubicBezTo>
                    <a:cubicBezTo>
                      <a:pt x="65" y="663"/>
                      <a:pt x="65" y="663"/>
                      <a:pt x="65" y="663"/>
                    </a:cubicBezTo>
                    <a:cubicBezTo>
                      <a:pt x="65" y="663"/>
                      <a:pt x="65" y="663"/>
                      <a:pt x="65" y="663"/>
                    </a:cubicBezTo>
                    <a:cubicBezTo>
                      <a:pt x="65" y="663"/>
                      <a:pt x="65" y="663"/>
                      <a:pt x="65" y="663"/>
                    </a:cubicBezTo>
                    <a:close/>
                    <a:moveTo>
                      <a:pt x="54" y="651"/>
                    </a:moveTo>
                    <a:cubicBezTo>
                      <a:pt x="54" y="651"/>
                      <a:pt x="54" y="651"/>
                      <a:pt x="54" y="651"/>
                    </a:cubicBezTo>
                    <a:cubicBezTo>
                      <a:pt x="54" y="651"/>
                      <a:pt x="54" y="651"/>
                      <a:pt x="54" y="651"/>
                    </a:cubicBezTo>
                    <a:cubicBezTo>
                      <a:pt x="54" y="651"/>
                      <a:pt x="54" y="651"/>
                      <a:pt x="54" y="651"/>
                    </a:cubicBezTo>
                    <a:cubicBezTo>
                      <a:pt x="54" y="651"/>
                      <a:pt x="54" y="651"/>
                      <a:pt x="54" y="651"/>
                    </a:cubicBezTo>
                    <a:close/>
                    <a:moveTo>
                      <a:pt x="73" y="634"/>
                    </a:moveTo>
                    <a:cubicBezTo>
                      <a:pt x="73" y="634"/>
                      <a:pt x="73" y="634"/>
                      <a:pt x="73" y="634"/>
                    </a:cubicBezTo>
                    <a:cubicBezTo>
                      <a:pt x="73" y="634"/>
                      <a:pt x="73" y="634"/>
                      <a:pt x="73" y="635"/>
                    </a:cubicBezTo>
                    <a:cubicBezTo>
                      <a:pt x="72" y="635"/>
                      <a:pt x="72" y="635"/>
                      <a:pt x="72" y="635"/>
                    </a:cubicBezTo>
                    <a:cubicBezTo>
                      <a:pt x="72" y="635"/>
                      <a:pt x="72" y="635"/>
                      <a:pt x="71" y="636"/>
                    </a:cubicBezTo>
                    <a:cubicBezTo>
                      <a:pt x="71" y="636"/>
                      <a:pt x="71" y="636"/>
                      <a:pt x="71" y="636"/>
                    </a:cubicBezTo>
                    <a:cubicBezTo>
                      <a:pt x="71" y="637"/>
                      <a:pt x="71" y="637"/>
                      <a:pt x="70" y="637"/>
                    </a:cubicBezTo>
                    <a:cubicBezTo>
                      <a:pt x="70" y="637"/>
                      <a:pt x="70" y="637"/>
                      <a:pt x="70" y="637"/>
                    </a:cubicBezTo>
                    <a:cubicBezTo>
                      <a:pt x="70" y="636"/>
                      <a:pt x="70" y="636"/>
                      <a:pt x="71" y="636"/>
                    </a:cubicBezTo>
                    <a:cubicBezTo>
                      <a:pt x="71" y="635"/>
                      <a:pt x="72" y="635"/>
                      <a:pt x="72" y="634"/>
                    </a:cubicBezTo>
                    <a:cubicBezTo>
                      <a:pt x="72" y="634"/>
                      <a:pt x="72" y="634"/>
                      <a:pt x="73" y="634"/>
                    </a:cubicBezTo>
                    <a:close/>
                    <a:moveTo>
                      <a:pt x="68" y="639"/>
                    </a:moveTo>
                    <a:cubicBezTo>
                      <a:pt x="68" y="639"/>
                      <a:pt x="68" y="638"/>
                      <a:pt x="68" y="638"/>
                    </a:cubicBezTo>
                    <a:cubicBezTo>
                      <a:pt x="68" y="638"/>
                      <a:pt x="68" y="638"/>
                      <a:pt x="68" y="638"/>
                    </a:cubicBezTo>
                    <a:cubicBezTo>
                      <a:pt x="68" y="639"/>
                      <a:pt x="68" y="639"/>
                      <a:pt x="68" y="639"/>
                    </a:cubicBezTo>
                    <a:cubicBezTo>
                      <a:pt x="68" y="639"/>
                      <a:pt x="68" y="639"/>
                      <a:pt x="68" y="639"/>
                    </a:cubicBezTo>
                    <a:cubicBezTo>
                      <a:pt x="68" y="639"/>
                      <a:pt x="68" y="639"/>
                      <a:pt x="68" y="640"/>
                    </a:cubicBezTo>
                    <a:cubicBezTo>
                      <a:pt x="68" y="640"/>
                      <a:pt x="68" y="639"/>
                      <a:pt x="68" y="639"/>
                    </a:cubicBezTo>
                    <a:cubicBezTo>
                      <a:pt x="68" y="639"/>
                      <a:pt x="68" y="639"/>
                      <a:pt x="68" y="639"/>
                    </a:cubicBezTo>
                    <a:close/>
                    <a:moveTo>
                      <a:pt x="69" y="640"/>
                    </a:moveTo>
                    <a:cubicBezTo>
                      <a:pt x="68" y="640"/>
                      <a:pt x="68" y="640"/>
                      <a:pt x="68" y="640"/>
                    </a:cubicBezTo>
                    <a:cubicBezTo>
                      <a:pt x="69" y="640"/>
                      <a:pt x="69" y="640"/>
                      <a:pt x="69" y="640"/>
                    </a:cubicBezTo>
                    <a:cubicBezTo>
                      <a:pt x="69" y="640"/>
                      <a:pt x="69" y="640"/>
                      <a:pt x="69" y="641"/>
                    </a:cubicBezTo>
                    <a:cubicBezTo>
                      <a:pt x="69" y="641"/>
                      <a:pt x="69" y="641"/>
                      <a:pt x="69" y="641"/>
                    </a:cubicBezTo>
                    <a:cubicBezTo>
                      <a:pt x="69" y="641"/>
                      <a:pt x="69" y="641"/>
                      <a:pt x="69" y="641"/>
                    </a:cubicBezTo>
                    <a:cubicBezTo>
                      <a:pt x="69" y="641"/>
                      <a:pt x="69" y="641"/>
                      <a:pt x="69" y="640"/>
                    </a:cubicBezTo>
                    <a:moveTo>
                      <a:pt x="69" y="644"/>
                    </a:moveTo>
                    <a:cubicBezTo>
                      <a:pt x="68" y="644"/>
                      <a:pt x="68" y="643"/>
                      <a:pt x="69" y="643"/>
                    </a:cubicBezTo>
                    <a:cubicBezTo>
                      <a:pt x="69" y="643"/>
                      <a:pt x="69" y="643"/>
                      <a:pt x="69" y="643"/>
                    </a:cubicBezTo>
                    <a:cubicBezTo>
                      <a:pt x="69" y="643"/>
                      <a:pt x="69" y="643"/>
                      <a:pt x="69" y="644"/>
                    </a:cubicBezTo>
                    <a:cubicBezTo>
                      <a:pt x="69" y="644"/>
                      <a:pt x="69" y="644"/>
                      <a:pt x="69" y="644"/>
                    </a:cubicBezTo>
                    <a:cubicBezTo>
                      <a:pt x="70" y="644"/>
                      <a:pt x="69" y="644"/>
                      <a:pt x="69" y="644"/>
                    </a:cubicBezTo>
                    <a:cubicBezTo>
                      <a:pt x="69" y="644"/>
                      <a:pt x="69" y="644"/>
                      <a:pt x="69" y="644"/>
                    </a:cubicBezTo>
                    <a:cubicBezTo>
                      <a:pt x="69" y="644"/>
                      <a:pt x="69" y="644"/>
                      <a:pt x="69" y="644"/>
                    </a:cubicBezTo>
                    <a:cubicBezTo>
                      <a:pt x="69" y="644"/>
                      <a:pt x="69" y="644"/>
                      <a:pt x="69" y="644"/>
                    </a:cubicBezTo>
                    <a:close/>
                    <a:moveTo>
                      <a:pt x="72" y="646"/>
                    </a:moveTo>
                    <a:cubicBezTo>
                      <a:pt x="72" y="646"/>
                      <a:pt x="72" y="646"/>
                      <a:pt x="72" y="646"/>
                    </a:cubicBezTo>
                    <a:cubicBezTo>
                      <a:pt x="71" y="647"/>
                      <a:pt x="71" y="647"/>
                      <a:pt x="72" y="647"/>
                    </a:cubicBezTo>
                    <a:cubicBezTo>
                      <a:pt x="71" y="647"/>
                      <a:pt x="71" y="647"/>
                      <a:pt x="71" y="647"/>
                    </a:cubicBezTo>
                    <a:cubicBezTo>
                      <a:pt x="71" y="647"/>
                      <a:pt x="71" y="647"/>
                      <a:pt x="71" y="647"/>
                    </a:cubicBezTo>
                    <a:cubicBezTo>
                      <a:pt x="71" y="647"/>
                      <a:pt x="71" y="647"/>
                      <a:pt x="71" y="647"/>
                    </a:cubicBezTo>
                    <a:cubicBezTo>
                      <a:pt x="71" y="647"/>
                      <a:pt x="71" y="646"/>
                      <a:pt x="70" y="646"/>
                    </a:cubicBezTo>
                    <a:cubicBezTo>
                      <a:pt x="70" y="646"/>
                      <a:pt x="70" y="646"/>
                      <a:pt x="70" y="646"/>
                    </a:cubicBezTo>
                    <a:cubicBezTo>
                      <a:pt x="70" y="646"/>
                      <a:pt x="70" y="646"/>
                      <a:pt x="70" y="646"/>
                    </a:cubicBezTo>
                    <a:cubicBezTo>
                      <a:pt x="69" y="646"/>
                      <a:pt x="69" y="645"/>
                      <a:pt x="70" y="645"/>
                    </a:cubicBezTo>
                    <a:cubicBezTo>
                      <a:pt x="70" y="645"/>
                      <a:pt x="70" y="645"/>
                      <a:pt x="70" y="645"/>
                    </a:cubicBezTo>
                    <a:cubicBezTo>
                      <a:pt x="70" y="645"/>
                      <a:pt x="70" y="644"/>
                      <a:pt x="71" y="644"/>
                    </a:cubicBezTo>
                    <a:cubicBezTo>
                      <a:pt x="71" y="644"/>
                      <a:pt x="71" y="644"/>
                      <a:pt x="71" y="644"/>
                    </a:cubicBezTo>
                    <a:cubicBezTo>
                      <a:pt x="71" y="644"/>
                      <a:pt x="72" y="644"/>
                      <a:pt x="72" y="645"/>
                    </a:cubicBezTo>
                    <a:cubicBezTo>
                      <a:pt x="72" y="645"/>
                      <a:pt x="72" y="645"/>
                      <a:pt x="72" y="645"/>
                    </a:cubicBezTo>
                    <a:cubicBezTo>
                      <a:pt x="72" y="645"/>
                      <a:pt x="72" y="645"/>
                      <a:pt x="72" y="645"/>
                    </a:cubicBezTo>
                    <a:cubicBezTo>
                      <a:pt x="72" y="645"/>
                      <a:pt x="72" y="646"/>
                      <a:pt x="72" y="646"/>
                    </a:cubicBezTo>
                    <a:cubicBezTo>
                      <a:pt x="72" y="646"/>
                      <a:pt x="72" y="646"/>
                      <a:pt x="72" y="646"/>
                    </a:cubicBezTo>
                    <a:close/>
                    <a:moveTo>
                      <a:pt x="75" y="654"/>
                    </a:moveTo>
                    <a:cubicBezTo>
                      <a:pt x="75" y="654"/>
                      <a:pt x="75" y="654"/>
                      <a:pt x="75" y="655"/>
                    </a:cubicBezTo>
                    <a:cubicBezTo>
                      <a:pt x="75" y="655"/>
                      <a:pt x="74" y="655"/>
                      <a:pt x="74" y="655"/>
                    </a:cubicBezTo>
                    <a:cubicBezTo>
                      <a:pt x="74" y="655"/>
                      <a:pt x="74" y="654"/>
                      <a:pt x="74" y="654"/>
                    </a:cubicBezTo>
                    <a:cubicBezTo>
                      <a:pt x="74" y="654"/>
                      <a:pt x="74" y="654"/>
                      <a:pt x="73" y="654"/>
                    </a:cubicBezTo>
                    <a:cubicBezTo>
                      <a:pt x="73" y="653"/>
                      <a:pt x="73" y="653"/>
                      <a:pt x="73" y="653"/>
                    </a:cubicBezTo>
                    <a:cubicBezTo>
                      <a:pt x="73" y="653"/>
                      <a:pt x="73" y="653"/>
                      <a:pt x="73" y="653"/>
                    </a:cubicBezTo>
                    <a:cubicBezTo>
                      <a:pt x="73" y="653"/>
                      <a:pt x="72" y="652"/>
                      <a:pt x="72" y="652"/>
                    </a:cubicBezTo>
                    <a:cubicBezTo>
                      <a:pt x="72" y="652"/>
                      <a:pt x="71" y="652"/>
                      <a:pt x="71" y="651"/>
                    </a:cubicBezTo>
                    <a:cubicBezTo>
                      <a:pt x="71" y="651"/>
                      <a:pt x="71" y="651"/>
                      <a:pt x="71" y="651"/>
                    </a:cubicBezTo>
                    <a:cubicBezTo>
                      <a:pt x="70" y="651"/>
                      <a:pt x="70" y="650"/>
                      <a:pt x="70" y="650"/>
                    </a:cubicBezTo>
                    <a:cubicBezTo>
                      <a:pt x="70" y="650"/>
                      <a:pt x="70" y="649"/>
                      <a:pt x="71" y="649"/>
                    </a:cubicBezTo>
                    <a:cubicBezTo>
                      <a:pt x="71" y="649"/>
                      <a:pt x="71" y="649"/>
                      <a:pt x="71" y="649"/>
                    </a:cubicBezTo>
                    <a:cubicBezTo>
                      <a:pt x="71" y="650"/>
                      <a:pt x="72" y="650"/>
                      <a:pt x="72" y="650"/>
                    </a:cubicBezTo>
                    <a:cubicBezTo>
                      <a:pt x="72" y="650"/>
                      <a:pt x="72" y="650"/>
                      <a:pt x="72" y="650"/>
                    </a:cubicBezTo>
                    <a:cubicBezTo>
                      <a:pt x="73" y="650"/>
                      <a:pt x="73" y="650"/>
                      <a:pt x="73" y="651"/>
                    </a:cubicBezTo>
                    <a:cubicBezTo>
                      <a:pt x="73" y="651"/>
                      <a:pt x="73" y="651"/>
                      <a:pt x="74" y="651"/>
                    </a:cubicBezTo>
                    <a:cubicBezTo>
                      <a:pt x="74" y="651"/>
                      <a:pt x="74" y="651"/>
                      <a:pt x="74" y="652"/>
                    </a:cubicBezTo>
                    <a:cubicBezTo>
                      <a:pt x="74" y="652"/>
                      <a:pt x="74" y="652"/>
                      <a:pt x="74" y="652"/>
                    </a:cubicBezTo>
                    <a:cubicBezTo>
                      <a:pt x="75" y="652"/>
                      <a:pt x="75" y="653"/>
                      <a:pt x="75" y="653"/>
                    </a:cubicBezTo>
                    <a:cubicBezTo>
                      <a:pt x="75" y="653"/>
                      <a:pt x="75" y="654"/>
                      <a:pt x="75" y="654"/>
                    </a:cubicBezTo>
                    <a:close/>
                    <a:moveTo>
                      <a:pt x="81" y="650"/>
                    </a:moveTo>
                    <a:cubicBezTo>
                      <a:pt x="81" y="650"/>
                      <a:pt x="81" y="650"/>
                      <a:pt x="80" y="650"/>
                    </a:cubicBezTo>
                    <a:cubicBezTo>
                      <a:pt x="80" y="650"/>
                      <a:pt x="80" y="650"/>
                      <a:pt x="80" y="650"/>
                    </a:cubicBezTo>
                    <a:cubicBezTo>
                      <a:pt x="80" y="651"/>
                      <a:pt x="80" y="651"/>
                      <a:pt x="80" y="651"/>
                    </a:cubicBezTo>
                    <a:cubicBezTo>
                      <a:pt x="81" y="651"/>
                      <a:pt x="81" y="652"/>
                      <a:pt x="81" y="652"/>
                    </a:cubicBezTo>
                    <a:cubicBezTo>
                      <a:pt x="81" y="652"/>
                      <a:pt x="81" y="653"/>
                      <a:pt x="81" y="653"/>
                    </a:cubicBezTo>
                    <a:cubicBezTo>
                      <a:pt x="81" y="653"/>
                      <a:pt x="80" y="653"/>
                      <a:pt x="80" y="653"/>
                    </a:cubicBezTo>
                    <a:cubicBezTo>
                      <a:pt x="80" y="653"/>
                      <a:pt x="80" y="653"/>
                      <a:pt x="80" y="653"/>
                    </a:cubicBezTo>
                    <a:cubicBezTo>
                      <a:pt x="80" y="652"/>
                      <a:pt x="80" y="652"/>
                      <a:pt x="80" y="652"/>
                    </a:cubicBezTo>
                    <a:cubicBezTo>
                      <a:pt x="80" y="652"/>
                      <a:pt x="80" y="652"/>
                      <a:pt x="80" y="652"/>
                    </a:cubicBezTo>
                    <a:cubicBezTo>
                      <a:pt x="80" y="652"/>
                      <a:pt x="80" y="652"/>
                      <a:pt x="80" y="651"/>
                    </a:cubicBezTo>
                    <a:cubicBezTo>
                      <a:pt x="80" y="651"/>
                      <a:pt x="80" y="651"/>
                      <a:pt x="80" y="651"/>
                    </a:cubicBezTo>
                    <a:cubicBezTo>
                      <a:pt x="80" y="651"/>
                      <a:pt x="80" y="651"/>
                      <a:pt x="80" y="651"/>
                    </a:cubicBezTo>
                    <a:cubicBezTo>
                      <a:pt x="80" y="651"/>
                      <a:pt x="80" y="651"/>
                      <a:pt x="80" y="650"/>
                    </a:cubicBezTo>
                    <a:cubicBezTo>
                      <a:pt x="80" y="650"/>
                      <a:pt x="80" y="649"/>
                      <a:pt x="80" y="649"/>
                    </a:cubicBezTo>
                    <a:cubicBezTo>
                      <a:pt x="80" y="649"/>
                      <a:pt x="80" y="649"/>
                      <a:pt x="80" y="649"/>
                    </a:cubicBezTo>
                    <a:cubicBezTo>
                      <a:pt x="81" y="649"/>
                      <a:pt x="81" y="648"/>
                      <a:pt x="81" y="648"/>
                    </a:cubicBezTo>
                    <a:cubicBezTo>
                      <a:pt x="81" y="648"/>
                      <a:pt x="81" y="648"/>
                      <a:pt x="81" y="648"/>
                    </a:cubicBezTo>
                    <a:cubicBezTo>
                      <a:pt x="81" y="648"/>
                      <a:pt x="81" y="648"/>
                      <a:pt x="81" y="648"/>
                    </a:cubicBezTo>
                    <a:cubicBezTo>
                      <a:pt x="81" y="649"/>
                      <a:pt x="81" y="649"/>
                      <a:pt x="81" y="649"/>
                    </a:cubicBezTo>
                    <a:cubicBezTo>
                      <a:pt x="81" y="649"/>
                      <a:pt x="81" y="650"/>
                      <a:pt x="81" y="650"/>
                    </a:cubicBezTo>
                    <a:close/>
                    <a:moveTo>
                      <a:pt x="79" y="654"/>
                    </a:moveTo>
                    <a:cubicBezTo>
                      <a:pt x="79" y="653"/>
                      <a:pt x="79" y="653"/>
                      <a:pt x="79" y="653"/>
                    </a:cubicBezTo>
                    <a:cubicBezTo>
                      <a:pt x="79" y="653"/>
                      <a:pt x="79" y="653"/>
                      <a:pt x="79" y="653"/>
                    </a:cubicBezTo>
                    <a:cubicBezTo>
                      <a:pt x="79" y="654"/>
                      <a:pt x="79" y="654"/>
                      <a:pt x="79" y="655"/>
                    </a:cubicBezTo>
                    <a:cubicBezTo>
                      <a:pt x="79" y="655"/>
                      <a:pt x="79" y="655"/>
                      <a:pt x="79" y="655"/>
                    </a:cubicBezTo>
                    <a:cubicBezTo>
                      <a:pt x="79" y="655"/>
                      <a:pt x="79" y="655"/>
                      <a:pt x="79" y="655"/>
                    </a:cubicBezTo>
                    <a:cubicBezTo>
                      <a:pt x="79" y="655"/>
                      <a:pt x="79" y="655"/>
                      <a:pt x="79" y="655"/>
                    </a:cubicBezTo>
                    <a:cubicBezTo>
                      <a:pt x="79" y="655"/>
                      <a:pt x="79" y="655"/>
                      <a:pt x="78" y="655"/>
                    </a:cubicBezTo>
                    <a:cubicBezTo>
                      <a:pt x="78" y="655"/>
                      <a:pt x="78" y="655"/>
                      <a:pt x="78" y="655"/>
                    </a:cubicBezTo>
                    <a:cubicBezTo>
                      <a:pt x="78" y="655"/>
                      <a:pt x="78" y="654"/>
                      <a:pt x="78" y="654"/>
                    </a:cubicBezTo>
                    <a:cubicBezTo>
                      <a:pt x="78" y="654"/>
                      <a:pt x="78" y="654"/>
                      <a:pt x="78" y="654"/>
                    </a:cubicBezTo>
                    <a:cubicBezTo>
                      <a:pt x="78" y="654"/>
                      <a:pt x="78" y="654"/>
                      <a:pt x="79" y="654"/>
                    </a:cubicBezTo>
                    <a:cubicBezTo>
                      <a:pt x="79" y="654"/>
                      <a:pt x="79" y="654"/>
                      <a:pt x="79" y="654"/>
                    </a:cubicBezTo>
                    <a:close/>
                    <a:moveTo>
                      <a:pt x="77" y="655"/>
                    </a:moveTo>
                    <a:cubicBezTo>
                      <a:pt x="77" y="655"/>
                      <a:pt x="77" y="655"/>
                      <a:pt x="77" y="655"/>
                    </a:cubicBezTo>
                    <a:cubicBezTo>
                      <a:pt x="77" y="655"/>
                      <a:pt x="78" y="655"/>
                      <a:pt x="78" y="655"/>
                    </a:cubicBezTo>
                    <a:cubicBezTo>
                      <a:pt x="78" y="655"/>
                      <a:pt x="78" y="655"/>
                      <a:pt x="79" y="656"/>
                    </a:cubicBezTo>
                    <a:cubicBezTo>
                      <a:pt x="79" y="656"/>
                      <a:pt x="79" y="656"/>
                      <a:pt x="79" y="656"/>
                    </a:cubicBezTo>
                    <a:cubicBezTo>
                      <a:pt x="79" y="656"/>
                      <a:pt x="79" y="657"/>
                      <a:pt x="78" y="657"/>
                    </a:cubicBezTo>
                    <a:cubicBezTo>
                      <a:pt x="78" y="657"/>
                      <a:pt x="78" y="657"/>
                      <a:pt x="78" y="657"/>
                    </a:cubicBezTo>
                    <a:cubicBezTo>
                      <a:pt x="78" y="656"/>
                      <a:pt x="78" y="656"/>
                      <a:pt x="78" y="656"/>
                    </a:cubicBezTo>
                    <a:cubicBezTo>
                      <a:pt x="78" y="656"/>
                      <a:pt x="78" y="656"/>
                      <a:pt x="78" y="656"/>
                    </a:cubicBezTo>
                    <a:cubicBezTo>
                      <a:pt x="78" y="656"/>
                      <a:pt x="77" y="655"/>
                      <a:pt x="77" y="655"/>
                    </a:cubicBezTo>
                    <a:cubicBezTo>
                      <a:pt x="77" y="655"/>
                      <a:pt x="77" y="655"/>
                      <a:pt x="77" y="655"/>
                    </a:cubicBezTo>
                    <a:cubicBezTo>
                      <a:pt x="77" y="655"/>
                      <a:pt x="77" y="655"/>
                      <a:pt x="77" y="655"/>
                    </a:cubicBezTo>
                    <a:close/>
                    <a:moveTo>
                      <a:pt x="76" y="656"/>
                    </a:moveTo>
                    <a:cubicBezTo>
                      <a:pt x="76" y="656"/>
                      <a:pt x="76" y="656"/>
                      <a:pt x="76" y="655"/>
                    </a:cubicBezTo>
                    <a:cubicBezTo>
                      <a:pt x="76" y="655"/>
                      <a:pt x="76" y="655"/>
                      <a:pt x="76" y="655"/>
                    </a:cubicBezTo>
                    <a:cubicBezTo>
                      <a:pt x="76" y="655"/>
                      <a:pt x="76" y="655"/>
                      <a:pt x="76" y="655"/>
                    </a:cubicBezTo>
                    <a:cubicBezTo>
                      <a:pt x="76" y="655"/>
                      <a:pt x="76" y="655"/>
                      <a:pt x="76" y="655"/>
                    </a:cubicBezTo>
                    <a:cubicBezTo>
                      <a:pt x="77" y="656"/>
                      <a:pt x="77" y="656"/>
                      <a:pt x="77" y="656"/>
                    </a:cubicBezTo>
                    <a:cubicBezTo>
                      <a:pt x="77" y="656"/>
                      <a:pt x="77" y="656"/>
                      <a:pt x="77" y="656"/>
                    </a:cubicBezTo>
                    <a:cubicBezTo>
                      <a:pt x="77" y="656"/>
                      <a:pt x="77" y="657"/>
                      <a:pt x="77" y="657"/>
                    </a:cubicBezTo>
                    <a:cubicBezTo>
                      <a:pt x="77" y="657"/>
                      <a:pt x="77" y="657"/>
                      <a:pt x="76" y="656"/>
                    </a:cubicBezTo>
                    <a:cubicBezTo>
                      <a:pt x="76" y="656"/>
                      <a:pt x="76" y="656"/>
                      <a:pt x="76" y="656"/>
                    </a:cubicBezTo>
                    <a:cubicBezTo>
                      <a:pt x="76" y="656"/>
                      <a:pt x="76" y="656"/>
                      <a:pt x="76" y="656"/>
                    </a:cubicBezTo>
                    <a:close/>
                    <a:moveTo>
                      <a:pt x="79" y="659"/>
                    </a:moveTo>
                    <a:cubicBezTo>
                      <a:pt x="79" y="659"/>
                      <a:pt x="79" y="659"/>
                      <a:pt x="79" y="659"/>
                    </a:cubicBezTo>
                    <a:cubicBezTo>
                      <a:pt x="79" y="659"/>
                      <a:pt x="79" y="659"/>
                      <a:pt x="79" y="659"/>
                    </a:cubicBezTo>
                    <a:cubicBezTo>
                      <a:pt x="79" y="659"/>
                      <a:pt x="79" y="659"/>
                      <a:pt x="79" y="659"/>
                    </a:cubicBezTo>
                    <a:cubicBezTo>
                      <a:pt x="80" y="659"/>
                      <a:pt x="80" y="660"/>
                      <a:pt x="81" y="660"/>
                    </a:cubicBezTo>
                    <a:cubicBezTo>
                      <a:pt x="81" y="661"/>
                      <a:pt x="81" y="661"/>
                      <a:pt x="81" y="661"/>
                    </a:cubicBezTo>
                    <a:cubicBezTo>
                      <a:pt x="81" y="661"/>
                      <a:pt x="81" y="662"/>
                      <a:pt x="81" y="662"/>
                    </a:cubicBezTo>
                    <a:cubicBezTo>
                      <a:pt x="81" y="662"/>
                      <a:pt x="81" y="662"/>
                      <a:pt x="81" y="662"/>
                    </a:cubicBezTo>
                    <a:cubicBezTo>
                      <a:pt x="81" y="662"/>
                      <a:pt x="81" y="662"/>
                      <a:pt x="81" y="662"/>
                    </a:cubicBezTo>
                    <a:cubicBezTo>
                      <a:pt x="81" y="662"/>
                      <a:pt x="80" y="662"/>
                      <a:pt x="80" y="662"/>
                    </a:cubicBezTo>
                    <a:cubicBezTo>
                      <a:pt x="80" y="661"/>
                      <a:pt x="80" y="661"/>
                      <a:pt x="79" y="661"/>
                    </a:cubicBezTo>
                    <a:cubicBezTo>
                      <a:pt x="79" y="660"/>
                      <a:pt x="79" y="660"/>
                      <a:pt x="79" y="659"/>
                    </a:cubicBezTo>
                    <a:cubicBezTo>
                      <a:pt x="79" y="659"/>
                      <a:pt x="79" y="659"/>
                      <a:pt x="79" y="659"/>
                    </a:cubicBezTo>
                    <a:close/>
                    <a:moveTo>
                      <a:pt x="87" y="671"/>
                    </a:moveTo>
                    <a:cubicBezTo>
                      <a:pt x="87" y="671"/>
                      <a:pt x="87" y="671"/>
                      <a:pt x="87" y="672"/>
                    </a:cubicBezTo>
                    <a:cubicBezTo>
                      <a:pt x="88" y="672"/>
                      <a:pt x="88" y="672"/>
                      <a:pt x="88" y="672"/>
                    </a:cubicBezTo>
                    <a:cubicBezTo>
                      <a:pt x="88" y="672"/>
                      <a:pt x="88" y="672"/>
                      <a:pt x="88" y="672"/>
                    </a:cubicBezTo>
                    <a:cubicBezTo>
                      <a:pt x="88" y="673"/>
                      <a:pt x="88" y="673"/>
                      <a:pt x="88" y="674"/>
                    </a:cubicBezTo>
                    <a:cubicBezTo>
                      <a:pt x="87" y="674"/>
                      <a:pt x="87" y="673"/>
                      <a:pt x="87" y="673"/>
                    </a:cubicBezTo>
                    <a:cubicBezTo>
                      <a:pt x="87" y="673"/>
                      <a:pt x="87" y="673"/>
                      <a:pt x="87" y="673"/>
                    </a:cubicBezTo>
                    <a:cubicBezTo>
                      <a:pt x="87" y="673"/>
                      <a:pt x="87" y="673"/>
                      <a:pt x="87" y="672"/>
                    </a:cubicBezTo>
                    <a:cubicBezTo>
                      <a:pt x="86" y="672"/>
                      <a:pt x="86" y="672"/>
                      <a:pt x="86" y="672"/>
                    </a:cubicBezTo>
                    <a:cubicBezTo>
                      <a:pt x="86" y="672"/>
                      <a:pt x="86" y="672"/>
                      <a:pt x="86" y="671"/>
                    </a:cubicBezTo>
                    <a:cubicBezTo>
                      <a:pt x="86" y="671"/>
                      <a:pt x="86" y="671"/>
                      <a:pt x="87" y="671"/>
                    </a:cubicBezTo>
                    <a:cubicBezTo>
                      <a:pt x="87" y="671"/>
                      <a:pt x="87" y="671"/>
                      <a:pt x="87" y="671"/>
                    </a:cubicBezTo>
                    <a:cubicBezTo>
                      <a:pt x="87" y="671"/>
                      <a:pt x="87" y="671"/>
                      <a:pt x="87" y="671"/>
                    </a:cubicBezTo>
                    <a:cubicBezTo>
                      <a:pt x="87" y="671"/>
                      <a:pt x="87" y="671"/>
                      <a:pt x="87" y="671"/>
                    </a:cubicBezTo>
                    <a:cubicBezTo>
                      <a:pt x="87" y="671"/>
                      <a:pt x="87" y="671"/>
                      <a:pt x="87" y="671"/>
                    </a:cubicBezTo>
                    <a:close/>
                    <a:moveTo>
                      <a:pt x="88" y="685"/>
                    </a:moveTo>
                    <a:cubicBezTo>
                      <a:pt x="88" y="685"/>
                      <a:pt x="88" y="685"/>
                      <a:pt x="88" y="684"/>
                    </a:cubicBezTo>
                    <a:cubicBezTo>
                      <a:pt x="88" y="684"/>
                      <a:pt x="88" y="684"/>
                      <a:pt x="88" y="684"/>
                    </a:cubicBezTo>
                    <a:cubicBezTo>
                      <a:pt x="88" y="684"/>
                      <a:pt x="88" y="684"/>
                      <a:pt x="88" y="684"/>
                    </a:cubicBezTo>
                    <a:cubicBezTo>
                      <a:pt x="88" y="684"/>
                      <a:pt x="88" y="683"/>
                      <a:pt x="88" y="683"/>
                    </a:cubicBezTo>
                    <a:cubicBezTo>
                      <a:pt x="88" y="684"/>
                      <a:pt x="88" y="684"/>
                      <a:pt x="88" y="684"/>
                    </a:cubicBezTo>
                    <a:cubicBezTo>
                      <a:pt x="87" y="684"/>
                      <a:pt x="87" y="684"/>
                      <a:pt x="87" y="684"/>
                    </a:cubicBezTo>
                    <a:cubicBezTo>
                      <a:pt x="87" y="684"/>
                      <a:pt x="87" y="684"/>
                      <a:pt x="87" y="683"/>
                    </a:cubicBezTo>
                    <a:cubicBezTo>
                      <a:pt x="86" y="683"/>
                      <a:pt x="86" y="683"/>
                      <a:pt x="86" y="683"/>
                    </a:cubicBezTo>
                    <a:cubicBezTo>
                      <a:pt x="85" y="682"/>
                      <a:pt x="85" y="682"/>
                      <a:pt x="85" y="682"/>
                    </a:cubicBezTo>
                    <a:cubicBezTo>
                      <a:pt x="85" y="682"/>
                      <a:pt x="85" y="682"/>
                      <a:pt x="85" y="681"/>
                    </a:cubicBezTo>
                    <a:cubicBezTo>
                      <a:pt x="85" y="681"/>
                      <a:pt x="85" y="681"/>
                      <a:pt x="85" y="681"/>
                    </a:cubicBezTo>
                    <a:cubicBezTo>
                      <a:pt x="85" y="680"/>
                      <a:pt x="85" y="680"/>
                      <a:pt x="85" y="680"/>
                    </a:cubicBezTo>
                    <a:cubicBezTo>
                      <a:pt x="85" y="680"/>
                      <a:pt x="85" y="680"/>
                      <a:pt x="86" y="680"/>
                    </a:cubicBezTo>
                    <a:cubicBezTo>
                      <a:pt x="86" y="680"/>
                      <a:pt x="86" y="680"/>
                      <a:pt x="87" y="680"/>
                    </a:cubicBezTo>
                    <a:cubicBezTo>
                      <a:pt x="87" y="680"/>
                      <a:pt x="88" y="680"/>
                      <a:pt x="88" y="680"/>
                    </a:cubicBezTo>
                    <a:cubicBezTo>
                      <a:pt x="89" y="680"/>
                      <a:pt x="89" y="680"/>
                      <a:pt x="89" y="680"/>
                    </a:cubicBezTo>
                    <a:cubicBezTo>
                      <a:pt x="90" y="680"/>
                      <a:pt x="91" y="681"/>
                      <a:pt x="92" y="682"/>
                    </a:cubicBezTo>
                    <a:cubicBezTo>
                      <a:pt x="92" y="682"/>
                      <a:pt x="92" y="682"/>
                      <a:pt x="93" y="682"/>
                    </a:cubicBezTo>
                    <a:cubicBezTo>
                      <a:pt x="93" y="682"/>
                      <a:pt x="94" y="683"/>
                      <a:pt x="94" y="683"/>
                    </a:cubicBezTo>
                    <a:cubicBezTo>
                      <a:pt x="94" y="683"/>
                      <a:pt x="94" y="683"/>
                      <a:pt x="94" y="683"/>
                    </a:cubicBezTo>
                    <a:cubicBezTo>
                      <a:pt x="95" y="683"/>
                      <a:pt x="95" y="683"/>
                      <a:pt x="95" y="683"/>
                    </a:cubicBezTo>
                    <a:cubicBezTo>
                      <a:pt x="95" y="683"/>
                      <a:pt x="96" y="683"/>
                      <a:pt x="96" y="684"/>
                    </a:cubicBezTo>
                    <a:cubicBezTo>
                      <a:pt x="97" y="684"/>
                      <a:pt x="97" y="684"/>
                      <a:pt x="97" y="684"/>
                    </a:cubicBezTo>
                    <a:cubicBezTo>
                      <a:pt x="98" y="684"/>
                      <a:pt x="99" y="684"/>
                      <a:pt x="100" y="684"/>
                    </a:cubicBezTo>
                    <a:cubicBezTo>
                      <a:pt x="101" y="684"/>
                      <a:pt x="101" y="684"/>
                      <a:pt x="101" y="684"/>
                    </a:cubicBezTo>
                    <a:cubicBezTo>
                      <a:pt x="102" y="685"/>
                      <a:pt x="103" y="685"/>
                      <a:pt x="103" y="685"/>
                    </a:cubicBezTo>
                    <a:cubicBezTo>
                      <a:pt x="104" y="685"/>
                      <a:pt x="104" y="685"/>
                      <a:pt x="104" y="685"/>
                    </a:cubicBezTo>
                    <a:cubicBezTo>
                      <a:pt x="104" y="685"/>
                      <a:pt x="105" y="686"/>
                      <a:pt x="105" y="686"/>
                    </a:cubicBezTo>
                    <a:cubicBezTo>
                      <a:pt x="105" y="687"/>
                      <a:pt x="105" y="687"/>
                      <a:pt x="106" y="688"/>
                    </a:cubicBezTo>
                    <a:cubicBezTo>
                      <a:pt x="106" y="688"/>
                      <a:pt x="106" y="688"/>
                      <a:pt x="106" y="688"/>
                    </a:cubicBezTo>
                    <a:cubicBezTo>
                      <a:pt x="106" y="689"/>
                      <a:pt x="106" y="689"/>
                      <a:pt x="106" y="690"/>
                    </a:cubicBezTo>
                    <a:cubicBezTo>
                      <a:pt x="107" y="690"/>
                      <a:pt x="107" y="691"/>
                      <a:pt x="108" y="691"/>
                    </a:cubicBezTo>
                    <a:cubicBezTo>
                      <a:pt x="108" y="692"/>
                      <a:pt x="109" y="693"/>
                      <a:pt x="110" y="694"/>
                    </a:cubicBezTo>
                    <a:cubicBezTo>
                      <a:pt x="110" y="695"/>
                      <a:pt x="110" y="695"/>
                      <a:pt x="111" y="695"/>
                    </a:cubicBezTo>
                    <a:cubicBezTo>
                      <a:pt x="111" y="695"/>
                      <a:pt x="111" y="695"/>
                      <a:pt x="112" y="696"/>
                    </a:cubicBezTo>
                    <a:cubicBezTo>
                      <a:pt x="113" y="696"/>
                      <a:pt x="114" y="697"/>
                      <a:pt x="115" y="698"/>
                    </a:cubicBezTo>
                    <a:cubicBezTo>
                      <a:pt x="115" y="697"/>
                      <a:pt x="115" y="697"/>
                      <a:pt x="116" y="697"/>
                    </a:cubicBezTo>
                    <a:cubicBezTo>
                      <a:pt x="116" y="697"/>
                      <a:pt x="116" y="697"/>
                      <a:pt x="116" y="697"/>
                    </a:cubicBezTo>
                    <a:cubicBezTo>
                      <a:pt x="116" y="698"/>
                      <a:pt x="116" y="698"/>
                      <a:pt x="116" y="698"/>
                    </a:cubicBezTo>
                    <a:cubicBezTo>
                      <a:pt x="115" y="699"/>
                      <a:pt x="116" y="700"/>
                      <a:pt x="116" y="700"/>
                    </a:cubicBezTo>
                    <a:cubicBezTo>
                      <a:pt x="116" y="700"/>
                      <a:pt x="117" y="700"/>
                      <a:pt x="117" y="700"/>
                    </a:cubicBezTo>
                    <a:cubicBezTo>
                      <a:pt x="117" y="701"/>
                      <a:pt x="117" y="701"/>
                      <a:pt x="117" y="701"/>
                    </a:cubicBezTo>
                    <a:cubicBezTo>
                      <a:pt x="117" y="702"/>
                      <a:pt x="117" y="703"/>
                      <a:pt x="117" y="704"/>
                    </a:cubicBezTo>
                    <a:cubicBezTo>
                      <a:pt x="118" y="703"/>
                      <a:pt x="118" y="703"/>
                      <a:pt x="118" y="702"/>
                    </a:cubicBezTo>
                    <a:cubicBezTo>
                      <a:pt x="118" y="703"/>
                      <a:pt x="118" y="704"/>
                      <a:pt x="119" y="704"/>
                    </a:cubicBezTo>
                    <a:cubicBezTo>
                      <a:pt x="119" y="704"/>
                      <a:pt x="119" y="705"/>
                      <a:pt x="118" y="705"/>
                    </a:cubicBezTo>
                    <a:cubicBezTo>
                      <a:pt x="118" y="705"/>
                      <a:pt x="118" y="705"/>
                      <a:pt x="118" y="705"/>
                    </a:cubicBezTo>
                    <a:cubicBezTo>
                      <a:pt x="118" y="705"/>
                      <a:pt x="117" y="705"/>
                      <a:pt x="117" y="705"/>
                    </a:cubicBezTo>
                    <a:cubicBezTo>
                      <a:pt x="117" y="706"/>
                      <a:pt x="116" y="706"/>
                      <a:pt x="116" y="706"/>
                    </a:cubicBezTo>
                    <a:cubicBezTo>
                      <a:pt x="114" y="705"/>
                      <a:pt x="112" y="704"/>
                      <a:pt x="110" y="704"/>
                    </a:cubicBezTo>
                    <a:cubicBezTo>
                      <a:pt x="110" y="703"/>
                      <a:pt x="109" y="703"/>
                      <a:pt x="109" y="703"/>
                    </a:cubicBezTo>
                    <a:cubicBezTo>
                      <a:pt x="108" y="702"/>
                      <a:pt x="108" y="702"/>
                      <a:pt x="107" y="702"/>
                    </a:cubicBezTo>
                    <a:cubicBezTo>
                      <a:pt x="107" y="702"/>
                      <a:pt x="106" y="702"/>
                      <a:pt x="106" y="701"/>
                    </a:cubicBezTo>
                    <a:cubicBezTo>
                      <a:pt x="106" y="701"/>
                      <a:pt x="108" y="700"/>
                      <a:pt x="107" y="700"/>
                    </a:cubicBezTo>
                    <a:cubicBezTo>
                      <a:pt x="107" y="699"/>
                      <a:pt x="106" y="699"/>
                      <a:pt x="106" y="699"/>
                    </a:cubicBezTo>
                    <a:cubicBezTo>
                      <a:pt x="106" y="699"/>
                      <a:pt x="106" y="699"/>
                      <a:pt x="105" y="699"/>
                    </a:cubicBezTo>
                    <a:cubicBezTo>
                      <a:pt x="105" y="699"/>
                      <a:pt x="105" y="699"/>
                      <a:pt x="105" y="699"/>
                    </a:cubicBezTo>
                    <a:cubicBezTo>
                      <a:pt x="105" y="699"/>
                      <a:pt x="104" y="699"/>
                      <a:pt x="104" y="700"/>
                    </a:cubicBezTo>
                    <a:cubicBezTo>
                      <a:pt x="104" y="700"/>
                      <a:pt x="104" y="699"/>
                      <a:pt x="103" y="699"/>
                    </a:cubicBezTo>
                    <a:cubicBezTo>
                      <a:pt x="103" y="699"/>
                      <a:pt x="103" y="699"/>
                      <a:pt x="103" y="698"/>
                    </a:cubicBezTo>
                    <a:cubicBezTo>
                      <a:pt x="102" y="698"/>
                      <a:pt x="102" y="698"/>
                      <a:pt x="102" y="698"/>
                    </a:cubicBezTo>
                    <a:cubicBezTo>
                      <a:pt x="101" y="697"/>
                      <a:pt x="102" y="696"/>
                      <a:pt x="102" y="696"/>
                    </a:cubicBezTo>
                    <a:cubicBezTo>
                      <a:pt x="102" y="696"/>
                      <a:pt x="102" y="696"/>
                      <a:pt x="101" y="696"/>
                    </a:cubicBezTo>
                    <a:cubicBezTo>
                      <a:pt x="101" y="697"/>
                      <a:pt x="101" y="696"/>
                      <a:pt x="101" y="696"/>
                    </a:cubicBezTo>
                    <a:cubicBezTo>
                      <a:pt x="101" y="696"/>
                      <a:pt x="101" y="695"/>
                      <a:pt x="101" y="695"/>
                    </a:cubicBezTo>
                    <a:cubicBezTo>
                      <a:pt x="101" y="695"/>
                      <a:pt x="101" y="695"/>
                      <a:pt x="100" y="695"/>
                    </a:cubicBezTo>
                    <a:cubicBezTo>
                      <a:pt x="100" y="696"/>
                      <a:pt x="100" y="696"/>
                      <a:pt x="100" y="696"/>
                    </a:cubicBezTo>
                    <a:cubicBezTo>
                      <a:pt x="100" y="696"/>
                      <a:pt x="100" y="696"/>
                      <a:pt x="99" y="696"/>
                    </a:cubicBezTo>
                    <a:cubicBezTo>
                      <a:pt x="99" y="696"/>
                      <a:pt x="99" y="695"/>
                      <a:pt x="99" y="695"/>
                    </a:cubicBezTo>
                    <a:cubicBezTo>
                      <a:pt x="99" y="695"/>
                      <a:pt x="99" y="695"/>
                      <a:pt x="98" y="695"/>
                    </a:cubicBezTo>
                    <a:cubicBezTo>
                      <a:pt x="98" y="695"/>
                      <a:pt x="98" y="694"/>
                      <a:pt x="97" y="694"/>
                    </a:cubicBezTo>
                    <a:cubicBezTo>
                      <a:pt x="97" y="694"/>
                      <a:pt x="97" y="695"/>
                      <a:pt x="97" y="695"/>
                    </a:cubicBezTo>
                    <a:cubicBezTo>
                      <a:pt x="97" y="695"/>
                      <a:pt x="97" y="695"/>
                      <a:pt x="97" y="694"/>
                    </a:cubicBezTo>
                    <a:cubicBezTo>
                      <a:pt x="97" y="694"/>
                      <a:pt x="97" y="693"/>
                      <a:pt x="97" y="693"/>
                    </a:cubicBezTo>
                    <a:cubicBezTo>
                      <a:pt x="97" y="693"/>
                      <a:pt x="98" y="693"/>
                      <a:pt x="98" y="693"/>
                    </a:cubicBezTo>
                    <a:cubicBezTo>
                      <a:pt x="98" y="692"/>
                      <a:pt x="98" y="692"/>
                      <a:pt x="98" y="692"/>
                    </a:cubicBezTo>
                    <a:cubicBezTo>
                      <a:pt x="97" y="692"/>
                      <a:pt x="97" y="692"/>
                      <a:pt x="97" y="692"/>
                    </a:cubicBezTo>
                    <a:cubicBezTo>
                      <a:pt x="97" y="692"/>
                      <a:pt x="97" y="692"/>
                      <a:pt x="97" y="692"/>
                    </a:cubicBezTo>
                    <a:cubicBezTo>
                      <a:pt x="97" y="692"/>
                      <a:pt x="97" y="691"/>
                      <a:pt x="97" y="691"/>
                    </a:cubicBezTo>
                    <a:cubicBezTo>
                      <a:pt x="96" y="692"/>
                      <a:pt x="96" y="692"/>
                      <a:pt x="96" y="693"/>
                    </a:cubicBezTo>
                    <a:cubicBezTo>
                      <a:pt x="96" y="693"/>
                      <a:pt x="95" y="693"/>
                      <a:pt x="95" y="693"/>
                    </a:cubicBezTo>
                    <a:cubicBezTo>
                      <a:pt x="95" y="692"/>
                      <a:pt x="94" y="692"/>
                      <a:pt x="95" y="691"/>
                    </a:cubicBezTo>
                    <a:cubicBezTo>
                      <a:pt x="95" y="691"/>
                      <a:pt x="95" y="691"/>
                      <a:pt x="95" y="691"/>
                    </a:cubicBezTo>
                    <a:cubicBezTo>
                      <a:pt x="95" y="691"/>
                      <a:pt x="95" y="690"/>
                      <a:pt x="95" y="691"/>
                    </a:cubicBezTo>
                    <a:cubicBezTo>
                      <a:pt x="95" y="690"/>
                      <a:pt x="95" y="690"/>
                      <a:pt x="95" y="690"/>
                    </a:cubicBezTo>
                    <a:cubicBezTo>
                      <a:pt x="95" y="690"/>
                      <a:pt x="95" y="690"/>
                      <a:pt x="94" y="690"/>
                    </a:cubicBezTo>
                    <a:cubicBezTo>
                      <a:pt x="94" y="690"/>
                      <a:pt x="94" y="690"/>
                      <a:pt x="94" y="690"/>
                    </a:cubicBezTo>
                    <a:cubicBezTo>
                      <a:pt x="93" y="690"/>
                      <a:pt x="93" y="690"/>
                      <a:pt x="93" y="690"/>
                    </a:cubicBezTo>
                    <a:cubicBezTo>
                      <a:pt x="93" y="690"/>
                      <a:pt x="92" y="689"/>
                      <a:pt x="93" y="689"/>
                    </a:cubicBezTo>
                    <a:cubicBezTo>
                      <a:pt x="93" y="689"/>
                      <a:pt x="93" y="689"/>
                      <a:pt x="93" y="688"/>
                    </a:cubicBezTo>
                    <a:cubicBezTo>
                      <a:pt x="93" y="688"/>
                      <a:pt x="93" y="688"/>
                      <a:pt x="92" y="687"/>
                    </a:cubicBezTo>
                    <a:cubicBezTo>
                      <a:pt x="92" y="688"/>
                      <a:pt x="92" y="688"/>
                      <a:pt x="92" y="688"/>
                    </a:cubicBezTo>
                    <a:cubicBezTo>
                      <a:pt x="92" y="689"/>
                      <a:pt x="91" y="688"/>
                      <a:pt x="91" y="688"/>
                    </a:cubicBezTo>
                    <a:cubicBezTo>
                      <a:pt x="91" y="688"/>
                      <a:pt x="91" y="688"/>
                      <a:pt x="90" y="688"/>
                    </a:cubicBezTo>
                    <a:cubicBezTo>
                      <a:pt x="90" y="688"/>
                      <a:pt x="90" y="688"/>
                      <a:pt x="90" y="688"/>
                    </a:cubicBezTo>
                    <a:cubicBezTo>
                      <a:pt x="90" y="687"/>
                      <a:pt x="90" y="687"/>
                      <a:pt x="90" y="687"/>
                    </a:cubicBezTo>
                    <a:cubicBezTo>
                      <a:pt x="90" y="687"/>
                      <a:pt x="90" y="687"/>
                      <a:pt x="90" y="687"/>
                    </a:cubicBezTo>
                    <a:cubicBezTo>
                      <a:pt x="89" y="687"/>
                      <a:pt x="89" y="687"/>
                      <a:pt x="89" y="687"/>
                    </a:cubicBezTo>
                    <a:cubicBezTo>
                      <a:pt x="89" y="688"/>
                      <a:pt x="89" y="688"/>
                      <a:pt x="89" y="688"/>
                    </a:cubicBezTo>
                    <a:cubicBezTo>
                      <a:pt x="88" y="688"/>
                      <a:pt x="88" y="688"/>
                      <a:pt x="88" y="688"/>
                    </a:cubicBezTo>
                    <a:cubicBezTo>
                      <a:pt x="88" y="688"/>
                      <a:pt x="88" y="688"/>
                      <a:pt x="88" y="687"/>
                    </a:cubicBezTo>
                    <a:cubicBezTo>
                      <a:pt x="88" y="687"/>
                      <a:pt x="88" y="687"/>
                      <a:pt x="88" y="687"/>
                    </a:cubicBezTo>
                    <a:cubicBezTo>
                      <a:pt x="88" y="687"/>
                      <a:pt x="88" y="687"/>
                      <a:pt x="89" y="686"/>
                    </a:cubicBezTo>
                    <a:cubicBezTo>
                      <a:pt x="89" y="686"/>
                      <a:pt x="89" y="686"/>
                      <a:pt x="88" y="686"/>
                    </a:cubicBezTo>
                    <a:cubicBezTo>
                      <a:pt x="88" y="686"/>
                      <a:pt x="88" y="686"/>
                      <a:pt x="88" y="685"/>
                    </a:cubicBezTo>
                    <a:cubicBezTo>
                      <a:pt x="88" y="685"/>
                      <a:pt x="88" y="685"/>
                      <a:pt x="88" y="685"/>
                    </a:cubicBezTo>
                    <a:close/>
                    <a:moveTo>
                      <a:pt x="97" y="681"/>
                    </a:moveTo>
                    <a:cubicBezTo>
                      <a:pt x="97" y="681"/>
                      <a:pt x="97" y="681"/>
                      <a:pt x="97" y="681"/>
                    </a:cubicBezTo>
                    <a:cubicBezTo>
                      <a:pt x="97" y="681"/>
                      <a:pt x="97" y="681"/>
                      <a:pt x="97" y="681"/>
                    </a:cubicBezTo>
                    <a:cubicBezTo>
                      <a:pt x="97" y="681"/>
                      <a:pt x="98" y="681"/>
                      <a:pt x="98" y="681"/>
                    </a:cubicBezTo>
                    <a:cubicBezTo>
                      <a:pt x="98" y="680"/>
                      <a:pt x="98" y="680"/>
                      <a:pt x="98" y="680"/>
                    </a:cubicBezTo>
                    <a:cubicBezTo>
                      <a:pt x="99" y="680"/>
                      <a:pt x="99" y="680"/>
                      <a:pt x="99" y="680"/>
                    </a:cubicBezTo>
                    <a:cubicBezTo>
                      <a:pt x="99" y="680"/>
                      <a:pt x="99" y="680"/>
                      <a:pt x="99" y="680"/>
                    </a:cubicBezTo>
                    <a:cubicBezTo>
                      <a:pt x="99" y="680"/>
                      <a:pt x="99" y="681"/>
                      <a:pt x="99" y="681"/>
                    </a:cubicBezTo>
                    <a:cubicBezTo>
                      <a:pt x="99" y="681"/>
                      <a:pt x="99" y="681"/>
                      <a:pt x="99" y="681"/>
                    </a:cubicBezTo>
                    <a:cubicBezTo>
                      <a:pt x="99" y="681"/>
                      <a:pt x="99" y="681"/>
                      <a:pt x="99" y="681"/>
                    </a:cubicBezTo>
                    <a:cubicBezTo>
                      <a:pt x="99" y="682"/>
                      <a:pt x="99" y="682"/>
                      <a:pt x="99" y="682"/>
                    </a:cubicBezTo>
                    <a:cubicBezTo>
                      <a:pt x="98" y="682"/>
                      <a:pt x="98" y="682"/>
                      <a:pt x="98" y="682"/>
                    </a:cubicBezTo>
                    <a:cubicBezTo>
                      <a:pt x="98" y="682"/>
                      <a:pt x="98" y="682"/>
                      <a:pt x="97" y="682"/>
                    </a:cubicBezTo>
                    <a:cubicBezTo>
                      <a:pt x="97" y="682"/>
                      <a:pt x="97" y="682"/>
                      <a:pt x="97" y="682"/>
                    </a:cubicBezTo>
                    <a:cubicBezTo>
                      <a:pt x="97" y="682"/>
                      <a:pt x="97" y="682"/>
                      <a:pt x="97" y="682"/>
                    </a:cubicBezTo>
                    <a:cubicBezTo>
                      <a:pt x="97" y="682"/>
                      <a:pt x="97" y="682"/>
                      <a:pt x="97" y="682"/>
                    </a:cubicBezTo>
                    <a:cubicBezTo>
                      <a:pt x="97" y="682"/>
                      <a:pt x="97" y="681"/>
                      <a:pt x="97" y="681"/>
                    </a:cubicBezTo>
                    <a:close/>
                    <a:moveTo>
                      <a:pt x="97" y="682"/>
                    </a:moveTo>
                    <a:cubicBezTo>
                      <a:pt x="97" y="682"/>
                      <a:pt x="97" y="682"/>
                      <a:pt x="98" y="682"/>
                    </a:cubicBezTo>
                    <a:cubicBezTo>
                      <a:pt x="98" y="682"/>
                      <a:pt x="98" y="682"/>
                      <a:pt x="98" y="682"/>
                    </a:cubicBezTo>
                    <a:cubicBezTo>
                      <a:pt x="98" y="682"/>
                      <a:pt x="98" y="682"/>
                      <a:pt x="98" y="682"/>
                    </a:cubicBezTo>
                    <a:cubicBezTo>
                      <a:pt x="98" y="683"/>
                      <a:pt x="98" y="683"/>
                      <a:pt x="98" y="683"/>
                    </a:cubicBezTo>
                    <a:cubicBezTo>
                      <a:pt x="99" y="683"/>
                      <a:pt x="99" y="682"/>
                      <a:pt x="99" y="682"/>
                    </a:cubicBezTo>
                    <a:cubicBezTo>
                      <a:pt x="99" y="682"/>
                      <a:pt x="99" y="682"/>
                      <a:pt x="100" y="682"/>
                    </a:cubicBezTo>
                    <a:cubicBezTo>
                      <a:pt x="100" y="682"/>
                      <a:pt x="100" y="682"/>
                      <a:pt x="100" y="682"/>
                    </a:cubicBezTo>
                    <a:cubicBezTo>
                      <a:pt x="100" y="682"/>
                      <a:pt x="100" y="682"/>
                      <a:pt x="100" y="683"/>
                    </a:cubicBezTo>
                    <a:cubicBezTo>
                      <a:pt x="100" y="683"/>
                      <a:pt x="99" y="683"/>
                      <a:pt x="99" y="683"/>
                    </a:cubicBezTo>
                    <a:cubicBezTo>
                      <a:pt x="99" y="683"/>
                      <a:pt x="99" y="683"/>
                      <a:pt x="99" y="683"/>
                    </a:cubicBezTo>
                    <a:cubicBezTo>
                      <a:pt x="99" y="683"/>
                      <a:pt x="99" y="683"/>
                      <a:pt x="99" y="683"/>
                    </a:cubicBezTo>
                    <a:cubicBezTo>
                      <a:pt x="98" y="683"/>
                      <a:pt x="98" y="683"/>
                      <a:pt x="97" y="683"/>
                    </a:cubicBezTo>
                    <a:cubicBezTo>
                      <a:pt x="97" y="683"/>
                      <a:pt x="97" y="683"/>
                      <a:pt x="96" y="683"/>
                    </a:cubicBezTo>
                    <a:cubicBezTo>
                      <a:pt x="96" y="683"/>
                      <a:pt x="96" y="683"/>
                      <a:pt x="96" y="683"/>
                    </a:cubicBezTo>
                    <a:cubicBezTo>
                      <a:pt x="96" y="683"/>
                      <a:pt x="96" y="683"/>
                      <a:pt x="96" y="683"/>
                    </a:cubicBezTo>
                    <a:cubicBezTo>
                      <a:pt x="97" y="683"/>
                      <a:pt x="97" y="683"/>
                      <a:pt x="97" y="683"/>
                    </a:cubicBezTo>
                    <a:cubicBezTo>
                      <a:pt x="97" y="682"/>
                      <a:pt x="97" y="682"/>
                      <a:pt x="97" y="682"/>
                    </a:cubicBezTo>
                    <a:close/>
                    <a:moveTo>
                      <a:pt x="95" y="680"/>
                    </a:moveTo>
                    <a:cubicBezTo>
                      <a:pt x="95" y="680"/>
                      <a:pt x="95" y="680"/>
                      <a:pt x="95" y="680"/>
                    </a:cubicBezTo>
                    <a:cubicBezTo>
                      <a:pt x="95" y="680"/>
                      <a:pt x="95" y="680"/>
                      <a:pt x="95" y="680"/>
                    </a:cubicBezTo>
                    <a:cubicBezTo>
                      <a:pt x="96" y="680"/>
                      <a:pt x="96" y="680"/>
                      <a:pt x="96" y="680"/>
                    </a:cubicBezTo>
                    <a:cubicBezTo>
                      <a:pt x="96" y="680"/>
                      <a:pt x="96" y="680"/>
                      <a:pt x="96" y="680"/>
                    </a:cubicBezTo>
                    <a:cubicBezTo>
                      <a:pt x="96" y="680"/>
                      <a:pt x="96" y="680"/>
                      <a:pt x="96" y="680"/>
                    </a:cubicBezTo>
                    <a:cubicBezTo>
                      <a:pt x="97" y="680"/>
                      <a:pt x="97" y="680"/>
                      <a:pt x="97" y="680"/>
                    </a:cubicBezTo>
                    <a:cubicBezTo>
                      <a:pt x="97" y="680"/>
                      <a:pt x="97" y="680"/>
                      <a:pt x="97" y="680"/>
                    </a:cubicBezTo>
                    <a:cubicBezTo>
                      <a:pt x="97" y="681"/>
                      <a:pt x="97" y="681"/>
                      <a:pt x="97" y="681"/>
                    </a:cubicBezTo>
                    <a:cubicBezTo>
                      <a:pt x="97" y="681"/>
                      <a:pt x="97" y="681"/>
                      <a:pt x="96" y="681"/>
                    </a:cubicBezTo>
                    <a:cubicBezTo>
                      <a:pt x="96" y="681"/>
                      <a:pt x="96" y="681"/>
                      <a:pt x="96" y="681"/>
                    </a:cubicBezTo>
                    <a:cubicBezTo>
                      <a:pt x="96" y="681"/>
                      <a:pt x="96" y="681"/>
                      <a:pt x="95" y="681"/>
                    </a:cubicBezTo>
                    <a:cubicBezTo>
                      <a:pt x="95" y="681"/>
                      <a:pt x="95" y="681"/>
                      <a:pt x="95" y="681"/>
                    </a:cubicBezTo>
                    <a:cubicBezTo>
                      <a:pt x="95" y="681"/>
                      <a:pt x="95" y="681"/>
                      <a:pt x="95" y="681"/>
                    </a:cubicBezTo>
                    <a:cubicBezTo>
                      <a:pt x="95" y="680"/>
                      <a:pt x="95" y="680"/>
                      <a:pt x="95" y="680"/>
                    </a:cubicBezTo>
                    <a:cubicBezTo>
                      <a:pt x="95" y="680"/>
                      <a:pt x="95" y="680"/>
                      <a:pt x="95" y="680"/>
                    </a:cubicBezTo>
                    <a:close/>
                    <a:moveTo>
                      <a:pt x="111" y="691"/>
                    </a:moveTo>
                    <a:cubicBezTo>
                      <a:pt x="111" y="691"/>
                      <a:pt x="111" y="691"/>
                      <a:pt x="111" y="691"/>
                    </a:cubicBezTo>
                    <a:cubicBezTo>
                      <a:pt x="111" y="691"/>
                      <a:pt x="111" y="692"/>
                      <a:pt x="111" y="692"/>
                    </a:cubicBezTo>
                    <a:cubicBezTo>
                      <a:pt x="111" y="692"/>
                      <a:pt x="111" y="692"/>
                      <a:pt x="112" y="692"/>
                    </a:cubicBezTo>
                    <a:cubicBezTo>
                      <a:pt x="112" y="692"/>
                      <a:pt x="112" y="692"/>
                      <a:pt x="112" y="692"/>
                    </a:cubicBezTo>
                    <a:cubicBezTo>
                      <a:pt x="112" y="693"/>
                      <a:pt x="113" y="693"/>
                      <a:pt x="113" y="693"/>
                    </a:cubicBezTo>
                    <a:cubicBezTo>
                      <a:pt x="113" y="693"/>
                      <a:pt x="113" y="693"/>
                      <a:pt x="113" y="694"/>
                    </a:cubicBezTo>
                    <a:cubicBezTo>
                      <a:pt x="113" y="694"/>
                      <a:pt x="113" y="694"/>
                      <a:pt x="113" y="694"/>
                    </a:cubicBezTo>
                    <a:cubicBezTo>
                      <a:pt x="113" y="694"/>
                      <a:pt x="113" y="694"/>
                      <a:pt x="113" y="694"/>
                    </a:cubicBezTo>
                    <a:cubicBezTo>
                      <a:pt x="112" y="693"/>
                      <a:pt x="112" y="693"/>
                      <a:pt x="111" y="693"/>
                    </a:cubicBezTo>
                    <a:cubicBezTo>
                      <a:pt x="111" y="693"/>
                      <a:pt x="111" y="692"/>
                      <a:pt x="111" y="692"/>
                    </a:cubicBezTo>
                    <a:cubicBezTo>
                      <a:pt x="111" y="692"/>
                      <a:pt x="111" y="692"/>
                      <a:pt x="110" y="692"/>
                    </a:cubicBezTo>
                    <a:cubicBezTo>
                      <a:pt x="110" y="692"/>
                      <a:pt x="110" y="692"/>
                      <a:pt x="110" y="691"/>
                    </a:cubicBezTo>
                    <a:cubicBezTo>
                      <a:pt x="110" y="691"/>
                      <a:pt x="110" y="691"/>
                      <a:pt x="111" y="691"/>
                    </a:cubicBezTo>
                    <a:close/>
                    <a:moveTo>
                      <a:pt x="118" y="700"/>
                    </a:moveTo>
                    <a:cubicBezTo>
                      <a:pt x="118" y="700"/>
                      <a:pt x="118" y="700"/>
                      <a:pt x="118" y="700"/>
                    </a:cubicBezTo>
                    <a:cubicBezTo>
                      <a:pt x="118" y="700"/>
                      <a:pt x="119" y="700"/>
                      <a:pt x="119" y="700"/>
                    </a:cubicBezTo>
                    <a:cubicBezTo>
                      <a:pt x="119" y="700"/>
                      <a:pt x="119" y="700"/>
                      <a:pt x="119" y="700"/>
                    </a:cubicBezTo>
                    <a:cubicBezTo>
                      <a:pt x="119" y="700"/>
                      <a:pt x="119" y="701"/>
                      <a:pt x="119" y="701"/>
                    </a:cubicBezTo>
                    <a:cubicBezTo>
                      <a:pt x="119" y="701"/>
                      <a:pt x="119" y="701"/>
                      <a:pt x="119" y="701"/>
                    </a:cubicBezTo>
                    <a:cubicBezTo>
                      <a:pt x="118" y="701"/>
                      <a:pt x="118" y="701"/>
                      <a:pt x="118" y="701"/>
                    </a:cubicBezTo>
                    <a:cubicBezTo>
                      <a:pt x="118" y="701"/>
                      <a:pt x="118" y="701"/>
                      <a:pt x="118" y="701"/>
                    </a:cubicBezTo>
                    <a:cubicBezTo>
                      <a:pt x="118" y="701"/>
                      <a:pt x="118" y="701"/>
                      <a:pt x="118" y="701"/>
                    </a:cubicBezTo>
                    <a:cubicBezTo>
                      <a:pt x="118" y="701"/>
                      <a:pt x="118" y="701"/>
                      <a:pt x="118" y="701"/>
                    </a:cubicBezTo>
                    <a:cubicBezTo>
                      <a:pt x="118" y="701"/>
                      <a:pt x="118" y="701"/>
                      <a:pt x="118" y="702"/>
                    </a:cubicBezTo>
                    <a:cubicBezTo>
                      <a:pt x="118" y="702"/>
                      <a:pt x="118" y="701"/>
                      <a:pt x="118" y="702"/>
                    </a:cubicBezTo>
                    <a:cubicBezTo>
                      <a:pt x="117" y="701"/>
                      <a:pt x="117" y="701"/>
                      <a:pt x="117" y="701"/>
                    </a:cubicBezTo>
                    <a:cubicBezTo>
                      <a:pt x="117" y="701"/>
                      <a:pt x="117" y="701"/>
                      <a:pt x="117" y="701"/>
                    </a:cubicBezTo>
                    <a:cubicBezTo>
                      <a:pt x="117" y="701"/>
                      <a:pt x="117" y="701"/>
                      <a:pt x="117" y="700"/>
                    </a:cubicBezTo>
                    <a:cubicBezTo>
                      <a:pt x="117" y="700"/>
                      <a:pt x="117" y="700"/>
                      <a:pt x="117" y="700"/>
                    </a:cubicBezTo>
                    <a:cubicBezTo>
                      <a:pt x="117" y="700"/>
                      <a:pt x="117" y="700"/>
                      <a:pt x="117" y="700"/>
                    </a:cubicBezTo>
                    <a:cubicBezTo>
                      <a:pt x="117" y="700"/>
                      <a:pt x="118" y="700"/>
                      <a:pt x="118" y="700"/>
                    </a:cubicBezTo>
                    <a:cubicBezTo>
                      <a:pt x="118" y="700"/>
                      <a:pt x="118" y="700"/>
                      <a:pt x="118" y="700"/>
                    </a:cubicBezTo>
                    <a:close/>
                    <a:moveTo>
                      <a:pt x="572" y="663"/>
                    </a:moveTo>
                    <a:cubicBezTo>
                      <a:pt x="572" y="663"/>
                      <a:pt x="572" y="663"/>
                      <a:pt x="572" y="663"/>
                    </a:cubicBezTo>
                    <a:cubicBezTo>
                      <a:pt x="571" y="664"/>
                      <a:pt x="570" y="663"/>
                      <a:pt x="570" y="664"/>
                    </a:cubicBezTo>
                    <a:cubicBezTo>
                      <a:pt x="570" y="664"/>
                      <a:pt x="570" y="664"/>
                      <a:pt x="570" y="664"/>
                    </a:cubicBezTo>
                    <a:cubicBezTo>
                      <a:pt x="570" y="664"/>
                      <a:pt x="570" y="664"/>
                      <a:pt x="570" y="664"/>
                    </a:cubicBezTo>
                    <a:cubicBezTo>
                      <a:pt x="570" y="664"/>
                      <a:pt x="571" y="664"/>
                      <a:pt x="571" y="664"/>
                    </a:cubicBezTo>
                    <a:cubicBezTo>
                      <a:pt x="571" y="665"/>
                      <a:pt x="571" y="665"/>
                      <a:pt x="571" y="665"/>
                    </a:cubicBezTo>
                    <a:cubicBezTo>
                      <a:pt x="572" y="665"/>
                      <a:pt x="572" y="665"/>
                      <a:pt x="572" y="665"/>
                    </a:cubicBezTo>
                    <a:cubicBezTo>
                      <a:pt x="572" y="665"/>
                      <a:pt x="572" y="665"/>
                      <a:pt x="572" y="666"/>
                    </a:cubicBezTo>
                    <a:cubicBezTo>
                      <a:pt x="572" y="666"/>
                      <a:pt x="572" y="666"/>
                      <a:pt x="571" y="667"/>
                    </a:cubicBezTo>
                    <a:cubicBezTo>
                      <a:pt x="571" y="667"/>
                      <a:pt x="571" y="667"/>
                      <a:pt x="571" y="667"/>
                    </a:cubicBezTo>
                    <a:cubicBezTo>
                      <a:pt x="571" y="667"/>
                      <a:pt x="571" y="667"/>
                      <a:pt x="571" y="667"/>
                    </a:cubicBezTo>
                    <a:cubicBezTo>
                      <a:pt x="571" y="667"/>
                      <a:pt x="571" y="667"/>
                      <a:pt x="571" y="667"/>
                    </a:cubicBezTo>
                    <a:cubicBezTo>
                      <a:pt x="570" y="667"/>
                      <a:pt x="570" y="667"/>
                      <a:pt x="570" y="668"/>
                    </a:cubicBezTo>
                    <a:cubicBezTo>
                      <a:pt x="570" y="668"/>
                      <a:pt x="570" y="668"/>
                      <a:pt x="570" y="668"/>
                    </a:cubicBezTo>
                    <a:cubicBezTo>
                      <a:pt x="570" y="668"/>
                      <a:pt x="570" y="668"/>
                      <a:pt x="570" y="669"/>
                    </a:cubicBezTo>
                    <a:cubicBezTo>
                      <a:pt x="569" y="669"/>
                      <a:pt x="569" y="670"/>
                      <a:pt x="568" y="670"/>
                    </a:cubicBezTo>
                    <a:cubicBezTo>
                      <a:pt x="568" y="670"/>
                      <a:pt x="567" y="670"/>
                      <a:pt x="567" y="670"/>
                    </a:cubicBezTo>
                    <a:cubicBezTo>
                      <a:pt x="567" y="670"/>
                      <a:pt x="566" y="671"/>
                      <a:pt x="566" y="671"/>
                    </a:cubicBezTo>
                    <a:cubicBezTo>
                      <a:pt x="566" y="671"/>
                      <a:pt x="565" y="672"/>
                      <a:pt x="565" y="672"/>
                    </a:cubicBezTo>
                    <a:cubicBezTo>
                      <a:pt x="564" y="673"/>
                      <a:pt x="564" y="673"/>
                      <a:pt x="563" y="674"/>
                    </a:cubicBezTo>
                    <a:cubicBezTo>
                      <a:pt x="562" y="674"/>
                      <a:pt x="562" y="674"/>
                      <a:pt x="562" y="674"/>
                    </a:cubicBezTo>
                    <a:cubicBezTo>
                      <a:pt x="562" y="674"/>
                      <a:pt x="561" y="674"/>
                      <a:pt x="561" y="673"/>
                    </a:cubicBezTo>
                    <a:cubicBezTo>
                      <a:pt x="561" y="673"/>
                      <a:pt x="561" y="673"/>
                      <a:pt x="560" y="673"/>
                    </a:cubicBezTo>
                    <a:cubicBezTo>
                      <a:pt x="560" y="673"/>
                      <a:pt x="560" y="673"/>
                      <a:pt x="560" y="673"/>
                    </a:cubicBezTo>
                    <a:cubicBezTo>
                      <a:pt x="559" y="674"/>
                      <a:pt x="559" y="674"/>
                      <a:pt x="558" y="674"/>
                    </a:cubicBezTo>
                    <a:cubicBezTo>
                      <a:pt x="558" y="674"/>
                      <a:pt x="558" y="674"/>
                      <a:pt x="557" y="674"/>
                    </a:cubicBezTo>
                    <a:cubicBezTo>
                      <a:pt x="557" y="674"/>
                      <a:pt x="557" y="674"/>
                      <a:pt x="557" y="674"/>
                    </a:cubicBezTo>
                    <a:cubicBezTo>
                      <a:pt x="557" y="674"/>
                      <a:pt x="556" y="675"/>
                      <a:pt x="556" y="675"/>
                    </a:cubicBezTo>
                    <a:cubicBezTo>
                      <a:pt x="556" y="675"/>
                      <a:pt x="555" y="676"/>
                      <a:pt x="555" y="675"/>
                    </a:cubicBezTo>
                    <a:cubicBezTo>
                      <a:pt x="554" y="675"/>
                      <a:pt x="554" y="675"/>
                      <a:pt x="554" y="676"/>
                    </a:cubicBezTo>
                    <a:cubicBezTo>
                      <a:pt x="554" y="676"/>
                      <a:pt x="554" y="676"/>
                      <a:pt x="554" y="676"/>
                    </a:cubicBezTo>
                    <a:cubicBezTo>
                      <a:pt x="554" y="676"/>
                      <a:pt x="554" y="676"/>
                      <a:pt x="554" y="676"/>
                    </a:cubicBezTo>
                    <a:cubicBezTo>
                      <a:pt x="553" y="676"/>
                      <a:pt x="553" y="676"/>
                      <a:pt x="552" y="676"/>
                    </a:cubicBezTo>
                    <a:cubicBezTo>
                      <a:pt x="552" y="676"/>
                      <a:pt x="552" y="676"/>
                      <a:pt x="552" y="676"/>
                    </a:cubicBezTo>
                    <a:cubicBezTo>
                      <a:pt x="552" y="676"/>
                      <a:pt x="552" y="676"/>
                      <a:pt x="552" y="676"/>
                    </a:cubicBezTo>
                    <a:cubicBezTo>
                      <a:pt x="552" y="676"/>
                      <a:pt x="552" y="677"/>
                      <a:pt x="552" y="677"/>
                    </a:cubicBezTo>
                    <a:cubicBezTo>
                      <a:pt x="552" y="677"/>
                      <a:pt x="552" y="677"/>
                      <a:pt x="551" y="678"/>
                    </a:cubicBezTo>
                    <a:cubicBezTo>
                      <a:pt x="551" y="678"/>
                      <a:pt x="551" y="678"/>
                      <a:pt x="551" y="678"/>
                    </a:cubicBezTo>
                    <a:cubicBezTo>
                      <a:pt x="551" y="678"/>
                      <a:pt x="551" y="678"/>
                      <a:pt x="550" y="678"/>
                    </a:cubicBezTo>
                    <a:cubicBezTo>
                      <a:pt x="550" y="678"/>
                      <a:pt x="550" y="678"/>
                      <a:pt x="550" y="678"/>
                    </a:cubicBezTo>
                    <a:cubicBezTo>
                      <a:pt x="550" y="678"/>
                      <a:pt x="550" y="679"/>
                      <a:pt x="550" y="679"/>
                    </a:cubicBezTo>
                    <a:cubicBezTo>
                      <a:pt x="550" y="679"/>
                      <a:pt x="550" y="680"/>
                      <a:pt x="550" y="680"/>
                    </a:cubicBezTo>
                    <a:cubicBezTo>
                      <a:pt x="550" y="680"/>
                      <a:pt x="550" y="680"/>
                      <a:pt x="550" y="680"/>
                    </a:cubicBezTo>
                    <a:cubicBezTo>
                      <a:pt x="550" y="680"/>
                      <a:pt x="550" y="681"/>
                      <a:pt x="550" y="681"/>
                    </a:cubicBezTo>
                    <a:cubicBezTo>
                      <a:pt x="549" y="681"/>
                      <a:pt x="549" y="681"/>
                      <a:pt x="548" y="681"/>
                    </a:cubicBezTo>
                    <a:cubicBezTo>
                      <a:pt x="548" y="682"/>
                      <a:pt x="547" y="682"/>
                      <a:pt x="547" y="683"/>
                    </a:cubicBezTo>
                    <a:cubicBezTo>
                      <a:pt x="547" y="683"/>
                      <a:pt x="547" y="682"/>
                      <a:pt x="547" y="683"/>
                    </a:cubicBezTo>
                    <a:cubicBezTo>
                      <a:pt x="547" y="683"/>
                      <a:pt x="547" y="683"/>
                      <a:pt x="546" y="683"/>
                    </a:cubicBezTo>
                    <a:cubicBezTo>
                      <a:pt x="546" y="684"/>
                      <a:pt x="545" y="684"/>
                      <a:pt x="543" y="685"/>
                    </a:cubicBezTo>
                    <a:cubicBezTo>
                      <a:pt x="543" y="685"/>
                      <a:pt x="544" y="685"/>
                      <a:pt x="544" y="685"/>
                    </a:cubicBezTo>
                    <a:cubicBezTo>
                      <a:pt x="544" y="686"/>
                      <a:pt x="543" y="686"/>
                      <a:pt x="543" y="686"/>
                    </a:cubicBezTo>
                    <a:cubicBezTo>
                      <a:pt x="541" y="687"/>
                      <a:pt x="540" y="687"/>
                      <a:pt x="538" y="687"/>
                    </a:cubicBezTo>
                    <a:cubicBezTo>
                      <a:pt x="536" y="686"/>
                      <a:pt x="534" y="687"/>
                      <a:pt x="533" y="687"/>
                    </a:cubicBezTo>
                    <a:cubicBezTo>
                      <a:pt x="532" y="687"/>
                      <a:pt x="532" y="688"/>
                      <a:pt x="532" y="688"/>
                    </a:cubicBezTo>
                    <a:cubicBezTo>
                      <a:pt x="531" y="688"/>
                      <a:pt x="531" y="687"/>
                      <a:pt x="530" y="687"/>
                    </a:cubicBezTo>
                    <a:cubicBezTo>
                      <a:pt x="528" y="686"/>
                      <a:pt x="525" y="686"/>
                      <a:pt x="522" y="686"/>
                    </a:cubicBezTo>
                    <a:cubicBezTo>
                      <a:pt x="522" y="686"/>
                      <a:pt x="521" y="686"/>
                      <a:pt x="521" y="686"/>
                    </a:cubicBezTo>
                    <a:cubicBezTo>
                      <a:pt x="521" y="686"/>
                      <a:pt x="521" y="687"/>
                      <a:pt x="521" y="687"/>
                    </a:cubicBezTo>
                    <a:cubicBezTo>
                      <a:pt x="519" y="687"/>
                      <a:pt x="517" y="685"/>
                      <a:pt x="516" y="686"/>
                    </a:cubicBezTo>
                    <a:cubicBezTo>
                      <a:pt x="515" y="686"/>
                      <a:pt x="515" y="686"/>
                      <a:pt x="515" y="686"/>
                    </a:cubicBezTo>
                    <a:cubicBezTo>
                      <a:pt x="515" y="686"/>
                      <a:pt x="514" y="686"/>
                      <a:pt x="514" y="686"/>
                    </a:cubicBezTo>
                    <a:cubicBezTo>
                      <a:pt x="513" y="686"/>
                      <a:pt x="512" y="686"/>
                      <a:pt x="512" y="686"/>
                    </a:cubicBezTo>
                    <a:cubicBezTo>
                      <a:pt x="509" y="686"/>
                      <a:pt x="506" y="686"/>
                      <a:pt x="503" y="686"/>
                    </a:cubicBezTo>
                    <a:cubicBezTo>
                      <a:pt x="503" y="686"/>
                      <a:pt x="502" y="686"/>
                      <a:pt x="502" y="687"/>
                    </a:cubicBezTo>
                    <a:cubicBezTo>
                      <a:pt x="501" y="687"/>
                      <a:pt x="500" y="686"/>
                      <a:pt x="499" y="687"/>
                    </a:cubicBezTo>
                    <a:cubicBezTo>
                      <a:pt x="499" y="687"/>
                      <a:pt x="499" y="687"/>
                      <a:pt x="498" y="688"/>
                    </a:cubicBezTo>
                    <a:cubicBezTo>
                      <a:pt x="498" y="688"/>
                      <a:pt x="497" y="689"/>
                      <a:pt x="497" y="689"/>
                    </a:cubicBezTo>
                    <a:cubicBezTo>
                      <a:pt x="496" y="690"/>
                      <a:pt x="495" y="690"/>
                      <a:pt x="495" y="691"/>
                    </a:cubicBezTo>
                    <a:cubicBezTo>
                      <a:pt x="494" y="692"/>
                      <a:pt x="495" y="694"/>
                      <a:pt x="494" y="695"/>
                    </a:cubicBezTo>
                    <a:cubicBezTo>
                      <a:pt x="494" y="695"/>
                      <a:pt x="494" y="696"/>
                      <a:pt x="493" y="696"/>
                    </a:cubicBezTo>
                    <a:cubicBezTo>
                      <a:pt x="493" y="696"/>
                      <a:pt x="493" y="696"/>
                      <a:pt x="493" y="696"/>
                    </a:cubicBezTo>
                    <a:cubicBezTo>
                      <a:pt x="492" y="696"/>
                      <a:pt x="491" y="696"/>
                      <a:pt x="491" y="696"/>
                    </a:cubicBezTo>
                    <a:cubicBezTo>
                      <a:pt x="490" y="696"/>
                      <a:pt x="489" y="696"/>
                      <a:pt x="488" y="697"/>
                    </a:cubicBezTo>
                    <a:cubicBezTo>
                      <a:pt x="488" y="697"/>
                      <a:pt x="488" y="698"/>
                      <a:pt x="487" y="699"/>
                    </a:cubicBezTo>
                    <a:cubicBezTo>
                      <a:pt x="487" y="699"/>
                      <a:pt x="486" y="698"/>
                      <a:pt x="486" y="699"/>
                    </a:cubicBezTo>
                    <a:cubicBezTo>
                      <a:pt x="485" y="699"/>
                      <a:pt x="485" y="699"/>
                      <a:pt x="485" y="699"/>
                    </a:cubicBezTo>
                    <a:cubicBezTo>
                      <a:pt x="485" y="700"/>
                      <a:pt x="484" y="701"/>
                      <a:pt x="483" y="701"/>
                    </a:cubicBezTo>
                    <a:cubicBezTo>
                      <a:pt x="483" y="701"/>
                      <a:pt x="482" y="701"/>
                      <a:pt x="482" y="702"/>
                    </a:cubicBezTo>
                    <a:cubicBezTo>
                      <a:pt x="482" y="702"/>
                      <a:pt x="482" y="702"/>
                      <a:pt x="482" y="702"/>
                    </a:cubicBezTo>
                    <a:cubicBezTo>
                      <a:pt x="482" y="703"/>
                      <a:pt x="482" y="703"/>
                      <a:pt x="481" y="704"/>
                    </a:cubicBezTo>
                    <a:cubicBezTo>
                      <a:pt x="480" y="704"/>
                      <a:pt x="480" y="705"/>
                      <a:pt x="480" y="706"/>
                    </a:cubicBezTo>
                    <a:cubicBezTo>
                      <a:pt x="479" y="707"/>
                      <a:pt x="478" y="707"/>
                      <a:pt x="478" y="708"/>
                    </a:cubicBezTo>
                    <a:cubicBezTo>
                      <a:pt x="477" y="709"/>
                      <a:pt x="477" y="710"/>
                      <a:pt x="476" y="711"/>
                    </a:cubicBezTo>
                    <a:cubicBezTo>
                      <a:pt x="476" y="712"/>
                      <a:pt x="475" y="713"/>
                      <a:pt x="474" y="714"/>
                    </a:cubicBezTo>
                    <a:cubicBezTo>
                      <a:pt x="474" y="715"/>
                      <a:pt x="473" y="715"/>
                      <a:pt x="473" y="716"/>
                    </a:cubicBezTo>
                    <a:cubicBezTo>
                      <a:pt x="471" y="717"/>
                      <a:pt x="470" y="719"/>
                      <a:pt x="470" y="720"/>
                    </a:cubicBezTo>
                    <a:cubicBezTo>
                      <a:pt x="471" y="719"/>
                      <a:pt x="472" y="719"/>
                      <a:pt x="473" y="718"/>
                    </a:cubicBezTo>
                    <a:cubicBezTo>
                      <a:pt x="474" y="717"/>
                      <a:pt x="474" y="717"/>
                      <a:pt x="475" y="716"/>
                    </a:cubicBezTo>
                    <a:cubicBezTo>
                      <a:pt x="476" y="715"/>
                      <a:pt x="477" y="713"/>
                      <a:pt x="478" y="712"/>
                    </a:cubicBezTo>
                    <a:cubicBezTo>
                      <a:pt x="479" y="710"/>
                      <a:pt x="480" y="709"/>
                      <a:pt x="481" y="708"/>
                    </a:cubicBezTo>
                    <a:cubicBezTo>
                      <a:pt x="482" y="707"/>
                      <a:pt x="483" y="707"/>
                      <a:pt x="483" y="706"/>
                    </a:cubicBezTo>
                    <a:cubicBezTo>
                      <a:pt x="484" y="706"/>
                      <a:pt x="485" y="705"/>
                      <a:pt x="485" y="705"/>
                    </a:cubicBezTo>
                    <a:cubicBezTo>
                      <a:pt x="488" y="703"/>
                      <a:pt x="492" y="701"/>
                      <a:pt x="495" y="700"/>
                    </a:cubicBezTo>
                    <a:cubicBezTo>
                      <a:pt x="496" y="699"/>
                      <a:pt x="497" y="699"/>
                      <a:pt x="497" y="699"/>
                    </a:cubicBezTo>
                    <a:cubicBezTo>
                      <a:pt x="500" y="698"/>
                      <a:pt x="502" y="697"/>
                      <a:pt x="504" y="697"/>
                    </a:cubicBezTo>
                    <a:cubicBezTo>
                      <a:pt x="505" y="697"/>
                      <a:pt x="506" y="697"/>
                      <a:pt x="507" y="697"/>
                    </a:cubicBezTo>
                    <a:cubicBezTo>
                      <a:pt x="509" y="697"/>
                      <a:pt x="510" y="697"/>
                      <a:pt x="512" y="698"/>
                    </a:cubicBezTo>
                    <a:cubicBezTo>
                      <a:pt x="512" y="698"/>
                      <a:pt x="513" y="699"/>
                      <a:pt x="513" y="699"/>
                    </a:cubicBezTo>
                    <a:cubicBezTo>
                      <a:pt x="514" y="699"/>
                      <a:pt x="514" y="700"/>
                      <a:pt x="514" y="700"/>
                    </a:cubicBezTo>
                    <a:cubicBezTo>
                      <a:pt x="514" y="701"/>
                      <a:pt x="514" y="701"/>
                      <a:pt x="514" y="701"/>
                    </a:cubicBezTo>
                    <a:cubicBezTo>
                      <a:pt x="514" y="701"/>
                      <a:pt x="514" y="701"/>
                      <a:pt x="514" y="701"/>
                    </a:cubicBezTo>
                    <a:cubicBezTo>
                      <a:pt x="514" y="700"/>
                      <a:pt x="513" y="700"/>
                      <a:pt x="512" y="700"/>
                    </a:cubicBezTo>
                    <a:cubicBezTo>
                      <a:pt x="512" y="700"/>
                      <a:pt x="513" y="701"/>
                      <a:pt x="513" y="701"/>
                    </a:cubicBezTo>
                    <a:cubicBezTo>
                      <a:pt x="514" y="701"/>
                      <a:pt x="514" y="702"/>
                      <a:pt x="515" y="703"/>
                    </a:cubicBezTo>
                    <a:cubicBezTo>
                      <a:pt x="514" y="703"/>
                      <a:pt x="514" y="703"/>
                      <a:pt x="514" y="703"/>
                    </a:cubicBezTo>
                    <a:cubicBezTo>
                      <a:pt x="514" y="704"/>
                      <a:pt x="515" y="704"/>
                      <a:pt x="514" y="704"/>
                    </a:cubicBezTo>
                    <a:cubicBezTo>
                      <a:pt x="514" y="704"/>
                      <a:pt x="514" y="705"/>
                      <a:pt x="514" y="705"/>
                    </a:cubicBezTo>
                    <a:cubicBezTo>
                      <a:pt x="514" y="705"/>
                      <a:pt x="513" y="705"/>
                      <a:pt x="513" y="705"/>
                    </a:cubicBezTo>
                    <a:cubicBezTo>
                      <a:pt x="513" y="705"/>
                      <a:pt x="512" y="705"/>
                      <a:pt x="512" y="706"/>
                    </a:cubicBezTo>
                    <a:cubicBezTo>
                      <a:pt x="511" y="706"/>
                      <a:pt x="511" y="707"/>
                      <a:pt x="511" y="707"/>
                    </a:cubicBezTo>
                    <a:cubicBezTo>
                      <a:pt x="510" y="707"/>
                      <a:pt x="510" y="708"/>
                      <a:pt x="509" y="708"/>
                    </a:cubicBezTo>
                    <a:cubicBezTo>
                      <a:pt x="509" y="708"/>
                      <a:pt x="508" y="709"/>
                      <a:pt x="508" y="709"/>
                    </a:cubicBezTo>
                    <a:cubicBezTo>
                      <a:pt x="507" y="709"/>
                      <a:pt x="507" y="709"/>
                      <a:pt x="506" y="709"/>
                    </a:cubicBezTo>
                    <a:cubicBezTo>
                      <a:pt x="506" y="709"/>
                      <a:pt x="506" y="709"/>
                      <a:pt x="506" y="709"/>
                    </a:cubicBezTo>
                    <a:cubicBezTo>
                      <a:pt x="505" y="708"/>
                      <a:pt x="505" y="708"/>
                      <a:pt x="504" y="708"/>
                    </a:cubicBezTo>
                    <a:cubicBezTo>
                      <a:pt x="504" y="708"/>
                      <a:pt x="503" y="708"/>
                      <a:pt x="503" y="707"/>
                    </a:cubicBezTo>
                    <a:cubicBezTo>
                      <a:pt x="503" y="707"/>
                      <a:pt x="503" y="707"/>
                      <a:pt x="503" y="708"/>
                    </a:cubicBezTo>
                    <a:cubicBezTo>
                      <a:pt x="502" y="708"/>
                      <a:pt x="502" y="708"/>
                      <a:pt x="502" y="708"/>
                    </a:cubicBezTo>
                    <a:cubicBezTo>
                      <a:pt x="502" y="708"/>
                      <a:pt x="501" y="708"/>
                      <a:pt x="500" y="708"/>
                    </a:cubicBezTo>
                    <a:cubicBezTo>
                      <a:pt x="500" y="708"/>
                      <a:pt x="500" y="708"/>
                      <a:pt x="500" y="708"/>
                    </a:cubicBezTo>
                    <a:cubicBezTo>
                      <a:pt x="500" y="708"/>
                      <a:pt x="500" y="708"/>
                      <a:pt x="500" y="708"/>
                    </a:cubicBezTo>
                    <a:cubicBezTo>
                      <a:pt x="500" y="708"/>
                      <a:pt x="499" y="708"/>
                      <a:pt x="499" y="708"/>
                    </a:cubicBezTo>
                    <a:cubicBezTo>
                      <a:pt x="499" y="708"/>
                      <a:pt x="500" y="709"/>
                      <a:pt x="500" y="709"/>
                    </a:cubicBezTo>
                    <a:cubicBezTo>
                      <a:pt x="500" y="709"/>
                      <a:pt x="501" y="709"/>
                      <a:pt x="501" y="709"/>
                    </a:cubicBezTo>
                    <a:cubicBezTo>
                      <a:pt x="501" y="709"/>
                      <a:pt x="501" y="710"/>
                      <a:pt x="502" y="710"/>
                    </a:cubicBezTo>
                    <a:cubicBezTo>
                      <a:pt x="502" y="710"/>
                      <a:pt x="503" y="710"/>
                      <a:pt x="504" y="710"/>
                    </a:cubicBezTo>
                    <a:cubicBezTo>
                      <a:pt x="504" y="710"/>
                      <a:pt x="504" y="710"/>
                      <a:pt x="504" y="710"/>
                    </a:cubicBezTo>
                    <a:cubicBezTo>
                      <a:pt x="504" y="710"/>
                      <a:pt x="504" y="711"/>
                      <a:pt x="504" y="711"/>
                    </a:cubicBezTo>
                    <a:cubicBezTo>
                      <a:pt x="504" y="711"/>
                      <a:pt x="505" y="712"/>
                      <a:pt x="505" y="712"/>
                    </a:cubicBezTo>
                    <a:cubicBezTo>
                      <a:pt x="505" y="712"/>
                      <a:pt x="505" y="712"/>
                      <a:pt x="505" y="712"/>
                    </a:cubicBezTo>
                    <a:cubicBezTo>
                      <a:pt x="505" y="713"/>
                      <a:pt x="505" y="713"/>
                      <a:pt x="505" y="713"/>
                    </a:cubicBezTo>
                    <a:cubicBezTo>
                      <a:pt x="506" y="712"/>
                      <a:pt x="507" y="712"/>
                      <a:pt x="507" y="712"/>
                    </a:cubicBezTo>
                    <a:cubicBezTo>
                      <a:pt x="508" y="711"/>
                      <a:pt x="508" y="711"/>
                      <a:pt x="509" y="711"/>
                    </a:cubicBezTo>
                    <a:cubicBezTo>
                      <a:pt x="509" y="711"/>
                      <a:pt x="509" y="711"/>
                      <a:pt x="509" y="711"/>
                    </a:cubicBezTo>
                    <a:cubicBezTo>
                      <a:pt x="509" y="711"/>
                      <a:pt x="509" y="711"/>
                      <a:pt x="509" y="711"/>
                    </a:cubicBezTo>
                    <a:cubicBezTo>
                      <a:pt x="509" y="711"/>
                      <a:pt x="509" y="711"/>
                      <a:pt x="509" y="712"/>
                    </a:cubicBezTo>
                    <a:cubicBezTo>
                      <a:pt x="509" y="712"/>
                      <a:pt x="510" y="712"/>
                      <a:pt x="510" y="711"/>
                    </a:cubicBezTo>
                    <a:cubicBezTo>
                      <a:pt x="510" y="711"/>
                      <a:pt x="510" y="711"/>
                      <a:pt x="510" y="711"/>
                    </a:cubicBezTo>
                    <a:cubicBezTo>
                      <a:pt x="511" y="711"/>
                      <a:pt x="511" y="711"/>
                      <a:pt x="511" y="711"/>
                    </a:cubicBezTo>
                    <a:cubicBezTo>
                      <a:pt x="511" y="711"/>
                      <a:pt x="511" y="712"/>
                      <a:pt x="511" y="712"/>
                    </a:cubicBezTo>
                    <a:cubicBezTo>
                      <a:pt x="511" y="712"/>
                      <a:pt x="511" y="712"/>
                      <a:pt x="511" y="712"/>
                    </a:cubicBezTo>
                    <a:cubicBezTo>
                      <a:pt x="511" y="712"/>
                      <a:pt x="512" y="712"/>
                      <a:pt x="512" y="712"/>
                    </a:cubicBezTo>
                    <a:cubicBezTo>
                      <a:pt x="512" y="712"/>
                      <a:pt x="512" y="711"/>
                      <a:pt x="512" y="711"/>
                    </a:cubicBezTo>
                    <a:cubicBezTo>
                      <a:pt x="512" y="711"/>
                      <a:pt x="512" y="711"/>
                      <a:pt x="511" y="711"/>
                    </a:cubicBezTo>
                    <a:cubicBezTo>
                      <a:pt x="512" y="711"/>
                      <a:pt x="512" y="711"/>
                      <a:pt x="512" y="711"/>
                    </a:cubicBezTo>
                    <a:cubicBezTo>
                      <a:pt x="512" y="711"/>
                      <a:pt x="512" y="711"/>
                      <a:pt x="512" y="711"/>
                    </a:cubicBezTo>
                    <a:cubicBezTo>
                      <a:pt x="512" y="711"/>
                      <a:pt x="512" y="711"/>
                      <a:pt x="512" y="711"/>
                    </a:cubicBezTo>
                    <a:cubicBezTo>
                      <a:pt x="512" y="711"/>
                      <a:pt x="512" y="712"/>
                      <a:pt x="511" y="712"/>
                    </a:cubicBezTo>
                    <a:cubicBezTo>
                      <a:pt x="511" y="712"/>
                      <a:pt x="511" y="713"/>
                      <a:pt x="510" y="713"/>
                    </a:cubicBezTo>
                    <a:cubicBezTo>
                      <a:pt x="510" y="713"/>
                      <a:pt x="510" y="714"/>
                      <a:pt x="510" y="715"/>
                    </a:cubicBezTo>
                    <a:cubicBezTo>
                      <a:pt x="510" y="715"/>
                      <a:pt x="510" y="716"/>
                      <a:pt x="509" y="716"/>
                    </a:cubicBezTo>
                    <a:cubicBezTo>
                      <a:pt x="509" y="717"/>
                      <a:pt x="508" y="718"/>
                      <a:pt x="508" y="718"/>
                    </a:cubicBezTo>
                    <a:cubicBezTo>
                      <a:pt x="507" y="718"/>
                      <a:pt x="507" y="718"/>
                      <a:pt x="507" y="719"/>
                    </a:cubicBezTo>
                    <a:cubicBezTo>
                      <a:pt x="507" y="718"/>
                      <a:pt x="507" y="718"/>
                      <a:pt x="508" y="718"/>
                    </a:cubicBezTo>
                    <a:cubicBezTo>
                      <a:pt x="508" y="718"/>
                      <a:pt x="508" y="718"/>
                      <a:pt x="508" y="718"/>
                    </a:cubicBezTo>
                    <a:cubicBezTo>
                      <a:pt x="508" y="718"/>
                      <a:pt x="508" y="718"/>
                      <a:pt x="508" y="719"/>
                    </a:cubicBezTo>
                    <a:cubicBezTo>
                      <a:pt x="508" y="719"/>
                      <a:pt x="508" y="719"/>
                      <a:pt x="509" y="718"/>
                    </a:cubicBezTo>
                    <a:cubicBezTo>
                      <a:pt x="509" y="718"/>
                      <a:pt x="510" y="718"/>
                      <a:pt x="510" y="718"/>
                    </a:cubicBezTo>
                    <a:cubicBezTo>
                      <a:pt x="510" y="718"/>
                      <a:pt x="511" y="718"/>
                      <a:pt x="511" y="719"/>
                    </a:cubicBezTo>
                    <a:cubicBezTo>
                      <a:pt x="511" y="719"/>
                      <a:pt x="510" y="719"/>
                      <a:pt x="510" y="719"/>
                    </a:cubicBezTo>
                    <a:cubicBezTo>
                      <a:pt x="510" y="719"/>
                      <a:pt x="511" y="719"/>
                      <a:pt x="511" y="719"/>
                    </a:cubicBezTo>
                    <a:cubicBezTo>
                      <a:pt x="511" y="719"/>
                      <a:pt x="511" y="719"/>
                      <a:pt x="511" y="720"/>
                    </a:cubicBezTo>
                    <a:cubicBezTo>
                      <a:pt x="510" y="720"/>
                      <a:pt x="510" y="720"/>
                      <a:pt x="510" y="720"/>
                    </a:cubicBezTo>
                    <a:cubicBezTo>
                      <a:pt x="510" y="720"/>
                      <a:pt x="510" y="721"/>
                      <a:pt x="510" y="721"/>
                    </a:cubicBezTo>
                    <a:cubicBezTo>
                      <a:pt x="510" y="721"/>
                      <a:pt x="510" y="721"/>
                      <a:pt x="510" y="721"/>
                    </a:cubicBezTo>
                    <a:cubicBezTo>
                      <a:pt x="510" y="722"/>
                      <a:pt x="510" y="722"/>
                      <a:pt x="510" y="722"/>
                    </a:cubicBezTo>
                    <a:cubicBezTo>
                      <a:pt x="510" y="722"/>
                      <a:pt x="510" y="722"/>
                      <a:pt x="511" y="722"/>
                    </a:cubicBezTo>
                    <a:cubicBezTo>
                      <a:pt x="511" y="722"/>
                      <a:pt x="511" y="722"/>
                      <a:pt x="511" y="722"/>
                    </a:cubicBezTo>
                    <a:cubicBezTo>
                      <a:pt x="511" y="722"/>
                      <a:pt x="511" y="722"/>
                      <a:pt x="511" y="723"/>
                    </a:cubicBezTo>
                    <a:cubicBezTo>
                      <a:pt x="511" y="723"/>
                      <a:pt x="511" y="724"/>
                      <a:pt x="511" y="724"/>
                    </a:cubicBezTo>
                    <a:cubicBezTo>
                      <a:pt x="512" y="724"/>
                      <a:pt x="512" y="725"/>
                      <a:pt x="512" y="725"/>
                    </a:cubicBezTo>
                    <a:cubicBezTo>
                      <a:pt x="512" y="725"/>
                      <a:pt x="512" y="725"/>
                      <a:pt x="512" y="725"/>
                    </a:cubicBezTo>
                    <a:cubicBezTo>
                      <a:pt x="512" y="726"/>
                      <a:pt x="512" y="726"/>
                      <a:pt x="513" y="726"/>
                    </a:cubicBezTo>
                    <a:cubicBezTo>
                      <a:pt x="513" y="726"/>
                      <a:pt x="512" y="726"/>
                      <a:pt x="513" y="726"/>
                    </a:cubicBezTo>
                    <a:cubicBezTo>
                      <a:pt x="513" y="726"/>
                      <a:pt x="513" y="726"/>
                      <a:pt x="513" y="726"/>
                    </a:cubicBezTo>
                    <a:cubicBezTo>
                      <a:pt x="514" y="726"/>
                      <a:pt x="514" y="726"/>
                      <a:pt x="515" y="727"/>
                    </a:cubicBezTo>
                    <a:cubicBezTo>
                      <a:pt x="515" y="727"/>
                      <a:pt x="516" y="727"/>
                      <a:pt x="516" y="727"/>
                    </a:cubicBezTo>
                    <a:cubicBezTo>
                      <a:pt x="517" y="727"/>
                      <a:pt x="517" y="727"/>
                      <a:pt x="517" y="728"/>
                    </a:cubicBezTo>
                    <a:cubicBezTo>
                      <a:pt x="517" y="728"/>
                      <a:pt x="517" y="728"/>
                      <a:pt x="517" y="728"/>
                    </a:cubicBezTo>
                    <a:cubicBezTo>
                      <a:pt x="517" y="728"/>
                      <a:pt x="517" y="728"/>
                      <a:pt x="517" y="728"/>
                    </a:cubicBezTo>
                    <a:cubicBezTo>
                      <a:pt x="517" y="728"/>
                      <a:pt x="517" y="728"/>
                      <a:pt x="516" y="728"/>
                    </a:cubicBezTo>
                    <a:cubicBezTo>
                      <a:pt x="516" y="728"/>
                      <a:pt x="516" y="728"/>
                      <a:pt x="516" y="728"/>
                    </a:cubicBezTo>
                    <a:cubicBezTo>
                      <a:pt x="516" y="728"/>
                      <a:pt x="516" y="729"/>
                      <a:pt x="516" y="729"/>
                    </a:cubicBezTo>
                    <a:cubicBezTo>
                      <a:pt x="516" y="729"/>
                      <a:pt x="516" y="729"/>
                      <a:pt x="517" y="729"/>
                    </a:cubicBezTo>
                    <a:cubicBezTo>
                      <a:pt x="517" y="729"/>
                      <a:pt x="517" y="729"/>
                      <a:pt x="517" y="730"/>
                    </a:cubicBezTo>
                    <a:cubicBezTo>
                      <a:pt x="517" y="730"/>
                      <a:pt x="517" y="730"/>
                      <a:pt x="518" y="730"/>
                    </a:cubicBezTo>
                    <a:cubicBezTo>
                      <a:pt x="518" y="730"/>
                      <a:pt x="518" y="730"/>
                      <a:pt x="519" y="730"/>
                    </a:cubicBezTo>
                    <a:cubicBezTo>
                      <a:pt x="519" y="730"/>
                      <a:pt x="520" y="731"/>
                      <a:pt x="521" y="731"/>
                    </a:cubicBezTo>
                    <a:cubicBezTo>
                      <a:pt x="521" y="731"/>
                      <a:pt x="521" y="731"/>
                      <a:pt x="521" y="731"/>
                    </a:cubicBezTo>
                    <a:cubicBezTo>
                      <a:pt x="521" y="731"/>
                      <a:pt x="521" y="731"/>
                      <a:pt x="521" y="731"/>
                    </a:cubicBezTo>
                    <a:cubicBezTo>
                      <a:pt x="521" y="731"/>
                      <a:pt x="521" y="731"/>
                      <a:pt x="521" y="731"/>
                    </a:cubicBezTo>
                    <a:cubicBezTo>
                      <a:pt x="520" y="731"/>
                      <a:pt x="520" y="731"/>
                      <a:pt x="520" y="732"/>
                    </a:cubicBezTo>
                    <a:cubicBezTo>
                      <a:pt x="521" y="732"/>
                      <a:pt x="521" y="732"/>
                      <a:pt x="521" y="732"/>
                    </a:cubicBezTo>
                    <a:cubicBezTo>
                      <a:pt x="522" y="731"/>
                      <a:pt x="522" y="731"/>
                      <a:pt x="522" y="731"/>
                    </a:cubicBezTo>
                    <a:cubicBezTo>
                      <a:pt x="523" y="731"/>
                      <a:pt x="523" y="731"/>
                      <a:pt x="523" y="731"/>
                    </a:cubicBezTo>
                    <a:cubicBezTo>
                      <a:pt x="523" y="731"/>
                      <a:pt x="523" y="731"/>
                      <a:pt x="523" y="731"/>
                    </a:cubicBezTo>
                    <a:cubicBezTo>
                      <a:pt x="524" y="731"/>
                      <a:pt x="524" y="731"/>
                      <a:pt x="524" y="731"/>
                    </a:cubicBezTo>
                    <a:cubicBezTo>
                      <a:pt x="524" y="731"/>
                      <a:pt x="524" y="731"/>
                      <a:pt x="524" y="731"/>
                    </a:cubicBezTo>
                    <a:cubicBezTo>
                      <a:pt x="525" y="731"/>
                      <a:pt x="525" y="732"/>
                      <a:pt x="526" y="732"/>
                    </a:cubicBezTo>
                    <a:cubicBezTo>
                      <a:pt x="526" y="732"/>
                      <a:pt x="526" y="732"/>
                      <a:pt x="526" y="732"/>
                    </a:cubicBezTo>
                    <a:cubicBezTo>
                      <a:pt x="526" y="732"/>
                      <a:pt x="527" y="732"/>
                      <a:pt x="527" y="732"/>
                    </a:cubicBezTo>
                    <a:cubicBezTo>
                      <a:pt x="528" y="732"/>
                      <a:pt x="529" y="731"/>
                      <a:pt x="530" y="730"/>
                    </a:cubicBezTo>
                    <a:cubicBezTo>
                      <a:pt x="530" y="730"/>
                      <a:pt x="530" y="731"/>
                      <a:pt x="530" y="731"/>
                    </a:cubicBezTo>
                    <a:cubicBezTo>
                      <a:pt x="530" y="731"/>
                      <a:pt x="530" y="731"/>
                      <a:pt x="530" y="732"/>
                    </a:cubicBezTo>
                    <a:cubicBezTo>
                      <a:pt x="530" y="732"/>
                      <a:pt x="530" y="732"/>
                      <a:pt x="530" y="732"/>
                    </a:cubicBezTo>
                    <a:cubicBezTo>
                      <a:pt x="530" y="732"/>
                      <a:pt x="531" y="732"/>
                      <a:pt x="531" y="732"/>
                    </a:cubicBezTo>
                    <a:cubicBezTo>
                      <a:pt x="531" y="732"/>
                      <a:pt x="531" y="732"/>
                      <a:pt x="532" y="732"/>
                    </a:cubicBezTo>
                    <a:cubicBezTo>
                      <a:pt x="532" y="732"/>
                      <a:pt x="532" y="732"/>
                      <a:pt x="532" y="732"/>
                    </a:cubicBezTo>
                    <a:cubicBezTo>
                      <a:pt x="532" y="732"/>
                      <a:pt x="533" y="732"/>
                      <a:pt x="533" y="732"/>
                    </a:cubicBezTo>
                    <a:cubicBezTo>
                      <a:pt x="533" y="731"/>
                      <a:pt x="533" y="731"/>
                      <a:pt x="533" y="731"/>
                    </a:cubicBezTo>
                    <a:cubicBezTo>
                      <a:pt x="533" y="730"/>
                      <a:pt x="533" y="730"/>
                      <a:pt x="533" y="729"/>
                    </a:cubicBezTo>
                    <a:cubicBezTo>
                      <a:pt x="533" y="729"/>
                      <a:pt x="533" y="729"/>
                      <a:pt x="533" y="729"/>
                    </a:cubicBezTo>
                    <a:cubicBezTo>
                      <a:pt x="533" y="728"/>
                      <a:pt x="533" y="728"/>
                      <a:pt x="533" y="728"/>
                    </a:cubicBezTo>
                    <a:cubicBezTo>
                      <a:pt x="533" y="728"/>
                      <a:pt x="533" y="727"/>
                      <a:pt x="533" y="727"/>
                    </a:cubicBezTo>
                    <a:cubicBezTo>
                      <a:pt x="533" y="727"/>
                      <a:pt x="534" y="727"/>
                      <a:pt x="534" y="726"/>
                    </a:cubicBezTo>
                    <a:cubicBezTo>
                      <a:pt x="535" y="726"/>
                      <a:pt x="535" y="725"/>
                      <a:pt x="536" y="724"/>
                    </a:cubicBezTo>
                    <a:cubicBezTo>
                      <a:pt x="536" y="724"/>
                      <a:pt x="536" y="723"/>
                      <a:pt x="536" y="722"/>
                    </a:cubicBezTo>
                    <a:cubicBezTo>
                      <a:pt x="537" y="722"/>
                      <a:pt x="537" y="721"/>
                      <a:pt x="537" y="721"/>
                    </a:cubicBezTo>
                    <a:cubicBezTo>
                      <a:pt x="538" y="721"/>
                      <a:pt x="538" y="720"/>
                      <a:pt x="538" y="720"/>
                    </a:cubicBezTo>
                    <a:cubicBezTo>
                      <a:pt x="538" y="719"/>
                      <a:pt x="539" y="719"/>
                      <a:pt x="539" y="719"/>
                    </a:cubicBezTo>
                    <a:cubicBezTo>
                      <a:pt x="539" y="719"/>
                      <a:pt x="539" y="719"/>
                      <a:pt x="539" y="719"/>
                    </a:cubicBezTo>
                    <a:cubicBezTo>
                      <a:pt x="539" y="719"/>
                      <a:pt x="539" y="719"/>
                      <a:pt x="540" y="719"/>
                    </a:cubicBezTo>
                    <a:cubicBezTo>
                      <a:pt x="540" y="719"/>
                      <a:pt x="540" y="719"/>
                      <a:pt x="540" y="719"/>
                    </a:cubicBezTo>
                    <a:cubicBezTo>
                      <a:pt x="540" y="719"/>
                      <a:pt x="540" y="719"/>
                      <a:pt x="540" y="720"/>
                    </a:cubicBezTo>
                    <a:cubicBezTo>
                      <a:pt x="540" y="720"/>
                      <a:pt x="540" y="720"/>
                      <a:pt x="540" y="720"/>
                    </a:cubicBezTo>
                    <a:cubicBezTo>
                      <a:pt x="540" y="720"/>
                      <a:pt x="540" y="720"/>
                      <a:pt x="541" y="720"/>
                    </a:cubicBezTo>
                    <a:cubicBezTo>
                      <a:pt x="541" y="721"/>
                      <a:pt x="541" y="721"/>
                      <a:pt x="541" y="722"/>
                    </a:cubicBezTo>
                    <a:cubicBezTo>
                      <a:pt x="541" y="722"/>
                      <a:pt x="540" y="722"/>
                      <a:pt x="540" y="722"/>
                    </a:cubicBezTo>
                    <a:cubicBezTo>
                      <a:pt x="540" y="723"/>
                      <a:pt x="540" y="723"/>
                      <a:pt x="540" y="723"/>
                    </a:cubicBezTo>
                    <a:cubicBezTo>
                      <a:pt x="540" y="723"/>
                      <a:pt x="540" y="724"/>
                      <a:pt x="540" y="724"/>
                    </a:cubicBezTo>
                    <a:cubicBezTo>
                      <a:pt x="540" y="724"/>
                      <a:pt x="540" y="724"/>
                      <a:pt x="540" y="725"/>
                    </a:cubicBezTo>
                    <a:cubicBezTo>
                      <a:pt x="540" y="725"/>
                      <a:pt x="540" y="725"/>
                      <a:pt x="539" y="725"/>
                    </a:cubicBezTo>
                    <a:cubicBezTo>
                      <a:pt x="539" y="725"/>
                      <a:pt x="539" y="726"/>
                      <a:pt x="539" y="726"/>
                    </a:cubicBezTo>
                    <a:cubicBezTo>
                      <a:pt x="539" y="726"/>
                      <a:pt x="539" y="726"/>
                      <a:pt x="539" y="726"/>
                    </a:cubicBezTo>
                    <a:cubicBezTo>
                      <a:pt x="539" y="726"/>
                      <a:pt x="539" y="726"/>
                      <a:pt x="540" y="726"/>
                    </a:cubicBezTo>
                    <a:cubicBezTo>
                      <a:pt x="540" y="726"/>
                      <a:pt x="540" y="726"/>
                      <a:pt x="540" y="726"/>
                    </a:cubicBezTo>
                    <a:cubicBezTo>
                      <a:pt x="540" y="726"/>
                      <a:pt x="540" y="726"/>
                      <a:pt x="540" y="726"/>
                    </a:cubicBezTo>
                    <a:cubicBezTo>
                      <a:pt x="540" y="726"/>
                      <a:pt x="540" y="726"/>
                      <a:pt x="541" y="726"/>
                    </a:cubicBezTo>
                    <a:cubicBezTo>
                      <a:pt x="541" y="726"/>
                      <a:pt x="541" y="726"/>
                      <a:pt x="541" y="726"/>
                    </a:cubicBezTo>
                    <a:cubicBezTo>
                      <a:pt x="541" y="726"/>
                      <a:pt x="541" y="726"/>
                      <a:pt x="541" y="726"/>
                    </a:cubicBezTo>
                    <a:cubicBezTo>
                      <a:pt x="541" y="726"/>
                      <a:pt x="541" y="726"/>
                      <a:pt x="541" y="726"/>
                    </a:cubicBezTo>
                    <a:cubicBezTo>
                      <a:pt x="541" y="726"/>
                      <a:pt x="541" y="726"/>
                      <a:pt x="541" y="727"/>
                    </a:cubicBezTo>
                    <a:cubicBezTo>
                      <a:pt x="541" y="727"/>
                      <a:pt x="541" y="727"/>
                      <a:pt x="542" y="727"/>
                    </a:cubicBezTo>
                    <a:cubicBezTo>
                      <a:pt x="542" y="727"/>
                      <a:pt x="542" y="727"/>
                      <a:pt x="542" y="727"/>
                    </a:cubicBezTo>
                    <a:cubicBezTo>
                      <a:pt x="542" y="727"/>
                      <a:pt x="543" y="726"/>
                      <a:pt x="543" y="726"/>
                    </a:cubicBezTo>
                    <a:cubicBezTo>
                      <a:pt x="543" y="726"/>
                      <a:pt x="543" y="727"/>
                      <a:pt x="543" y="727"/>
                    </a:cubicBezTo>
                    <a:cubicBezTo>
                      <a:pt x="544" y="727"/>
                      <a:pt x="544" y="727"/>
                      <a:pt x="544" y="728"/>
                    </a:cubicBezTo>
                    <a:cubicBezTo>
                      <a:pt x="544" y="728"/>
                      <a:pt x="544" y="728"/>
                      <a:pt x="544" y="728"/>
                    </a:cubicBezTo>
                    <a:cubicBezTo>
                      <a:pt x="544" y="728"/>
                      <a:pt x="544" y="728"/>
                      <a:pt x="544" y="728"/>
                    </a:cubicBezTo>
                    <a:cubicBezTo>
                      <a:pt x="544" y="728"/>
                      <a:pt x="543" y="729"/>
                      <a:pt x="543" y="729"/>
                    </a:cubicBezTo>
                    <a:cubicBezTo>
                      <a:pt x="543" y="729"/>
                      <a:pt x="543" y="729"/>
                      <a:pt x="544" y="729"/>
                    </a:cubicBezTo>
                    <a:cubicBezTo>
                      <a:pt x="544" y="729"/>
                      <a:pt x="544" y="729"/>
                      <a:pt x="544" y="729"/>
                    </a:cubicBezTo>
                    <a:cubicBezTo>
                      <a:pt x="544" y="729"/>
                      <a:pt x="544" y="729"/>
                      <a:pt x="544" y="729"/>
                    </a:cubicBezTo>
                    <a:cubicBezTo>
                      <a:pt x="544" y="729"/>
                      <a:pt x="544" y="730"/>
                      <a:pt x="544" y="730"/>
                    </a:cubicBezTo>
                    <a:cubicBezTo>
                      <a:pt x="543" y="730"/>
                      <a:pt x="543" y="730"/>
                      <a:pt x="543" y="730"/>
                    </a:cubicBezTo>
                    <a:cubicBezTo>
                      <a:pt x="543" y="730"/>
                      <a:pt x="542" y="730"/>
                      <a:pt x="542" y="730"/>
                    </a:cubicBezTo>
                    <a:cubicBezTo>
                      <a:pt x="542" y="730"/>
                      <a:pt x="542" y="730"/>
                      <a:pt x="542" y="730"/>
                    </a:cubicBezTo>
                    <a:cubicBezTo>
                      <a:pt x="542" y="730"/>
                      <a:pt x="542" y="731"/>
                      <a:pt x="542" y="731"/>
                    </a:cubicBezTo>
                    <a:cubicBezTo>
                      <a:pt x="542" y="731"/>
                      <a:pt x="541" y="731"/>
                      <a:pt x="541" y="732"/>
                    </a:cubicBezTo>
                    <a:cubicBezTo>
                      <a:pt x="541" y="732"/>
                      <a:pt x="540" y="732"/>
                      <a:pt x="539" y="733"/>
                    </a:cubicBezTo>
                    <a:cubicBezTo>
                      <a:pt x="539" y="733"/>
                      <a:pt x="539" y="733"/>
                      <a:pt x="539" y="733"/>
                    </a:cubicBezTo>
                    <a:cubicBezTo>
                      <a:pt x="539" y="733"/>
                      <a:pt x="538" y="733"/>
                      <a:pt x="538" y="733"/>
                    </a:cubicBezTo>
                    <a:cubicBezTo>
                      <a:pt x="538" y="733"/>
                      <a:pt x="538" y="733"/>
                      <a:pt x="538" y="733"/>
                    </a:cubicBezTo>
                    <a:cubicBezTo>
                      <a:pt x="538" y="733"/>
                      <a:pt x="538" y="733"/>
                      <a:pt x="538" y="733"/>
                    </a:cubicBezTo>
                    <a:cubicBezTo>
                      <a:pt x="537" y="733"/>
                      <a:pt x="537" y="733"/>
                      <a:pt x="537" y="733"/>
                    </a:cubicBezTo>
                    <a:cubicBezTo>
                      <a:pt x="537" y="733"/>
                      <a:pt x="537" y="733"/>
                      <a:pt x="537" y="733"/>
                    </a:cubicBezTo>
                    <a:cubicBezTo>
                      <a:pt x="537" y="732"/>
                      <a:pt x="537" y="732"/>
                      <a:pt x="536" y="732"/>
                    </a:cubicBezTo>
                    <a:cubicBezTo>
                      <a:pt x="536" y="733"/>
                      <a:pt x="536" y="733"/>
                      <a:pt x="535" y="733"/>
                    </a:cubicBezTo>
                    <a:cubicBezTo>
                      <a:pt x="535" y="733"/>
                      <a:pt x="535" y="733"/>
                      <a:pt x="535" y="733"/>
                    </a:cubicBezTo>
                    <a:cubicBezTo>
                      <a:pt x="535" y="733"/>
                      <a:pt x="535" y="733"/>
                      <a:pt x="535" y="733"/>
                    </a:cubicBezTo>
                    <a:cubicBezTo>
                      <a:pt x="535" y="733"/>
                      <a:pt x="534" y="733"/>
                      <a:pt x="534" y="733"/>
                    </a:cubicBezTo>
                    <a:cubicBezTo>
                      <a:pt x="534" y="733"/>
                      <a:pt x="534" y="733"/>
                      <a:pt x="534" y="733"/>
                    </a:cubicBezTo>
                    <a:cubicBezTo>
                      <a:pt x="534" y="733"/>
                      <a:pt x="534" y="733"/>
                      <a:pt x="534" y="734"/>
                    </a:cubicBezTo>
                    <a:cubicBezTo>
                      <a:pt x="534" y="734"/>
                      <a:pt x="534" y="734"/>
                      <a:pt x="534" y="734"/>
                    </a:cubicBezTo>
                    <a:cubicBezTo>
                      <a:pt x="534" y="734"/>
                      <a:pt x="534" y="735"/>
                      <a:pt x="533" y="735"/>
                    </a:cubicBezTo>
                    <a:cubicBezTo>
                      <a:pt x="533" y="735"/>
                      <a:pt x="533" y="735"/>
                      <a:pt x="533" y="735"/>
                    </a:cubicBezTo>
                    <a:cubicBezTo>
                      <a:pt x="533" y="735"/>
                      <a:pt x="533" y="735"/>
                      <a:pt x="533" y="735"/>
                    </a:cubicBezTo>
                    <a:cubicBezTo>
                      <a:pt x="534" y="735"/>
                      <a:pt x="535" y="735"/>
                      <a:pt x="535" y="735"/>
                    </a:cubicBezTo>
                    <a:cubicBezTo>
                      <a:pt x="536" y="735"/>
                      <a:pt x="536" y="735"/>
                      <a:pt x="536" y="735"/>
                    </a:cubicBezTo>
                    <a:cubicBezTo>
                      <a:pt x="536" y="735"/>
                      <a:pt x="536" y="736"/>
                      <a:pt x="536" y="736"/>
                    </a:cubicBezTo>
                    <a:cubicBezTo>
                      <a:pt x="536" y="736"/>
                      <a:pt x="536" y="736"/>
                      <a:pt x="536" y="736"/>
                    </a:cubicBezTo>
                    <a:cubicBezTo>
                      <a:pt x="536" y="736"/>
                      <a:pt x="536" y="736"/>
                      <a:pt x="536" y="736"/>
                    </a:cubicBezTo>
                    <a:cubicBezTo>
                      <a:pt x="536" y="736"/>
                      <a:pt x="536" y="736"/>
                      <a:pt x="536" y="736"/>
                    </a:cubicBezTo>
                    <a:cubicBezTo>
                      <a:pt x="536" y="736"/>
                      <a:pt x="535" y="736"/>
                      <a:pt x="535" y="736"/>
                    </a:cubicBezTo>
                    <a:cubicBezTo>
                      <a:pt x="535" y="736"/>
                      <a:pt x="535" y="736"/>
                      <a:pt x="535" y="736"/>
                    </a:cubicBezTo>
                    <a:cubicBezTo>
                      <a:pt x="535" y="736"/>
                      <a:pt x="534" y="736"/>
                      <a:pt x="534" y="736"/>
                    </a:cubicBezTo>
                    <a:cubicBezTo>
                      <a:pt x="534" y="736"/>
                      <a:pt x="534" y="736"/>
                      <a:pt x="534" y="737"/>
                    </a:cubicBezTo>
                    <a:cubicBezTo>
                      <a:pt x="534" y="737"/>
                      <a:pt x="534" y="737"/>
                      <a:pt x="534" y="737"/>
                    </a:cubicBezTo>
                    <a:cubicBezTo>
                      <a:pt x="534" y="737"/>
                      <a:pt x="533" y="737"/>
                      <a:pt x="533" y="737"/>
                    </a:cubicBezTo>
                    <a:cubicBezTo>
                      <a:pt x="533" y="737"/>
                      <a:pt x="532" y="737"/>
                      <a:pt x="532" y="737"/>
                    </a:cubicBezTo>
                    <a:cubicBezTo>
                      <a:pt x="531" y="737"/>
                      <a:pt x="532" y="737"/>
                      <a:pt x="532" y="737"/>
                    </a:cubicBezTo>
                    <a:cubicBezTo>
                      <a:pt x="532" y="737"/>
                      <a:pt x="532" y="737"/>
                      <a:pt x="532" y="737"/>
                    </a:cubicBezTo>
                    <a:cubicBezTo>
                      <a:pt x="531" y="737"/>
                      <a:pt x="531" y="737"/>
                      <a:pt x="531" y="737"/>
                    </a:cubicBezTo>
                    <a:cubicBezTo>
                      <a:pt x="531" y="737"/>
                      <a:pt x="530" y="738"/>
                      <a:pt x="530" y="738"/>
                    </a:cubicBezTo>
                    <a:cubicBezTo>
                      <a:pt x="530" y="738"/>
                      <a:pt x="530" y="738"/>
                      <a:pt x="530" y="738"/>
                    </a:cubicBezTo>
                    <a:cubicBezTo>
                      <a:pt x="530" y="738"/>
                      <a:pt x="530" y="738"/>
                      <a:pt x="530" y="739"/>
                    </a:cubicBezTo>
                    <a:cubicBezTo>
                      <a:pt x="529" y="739"/>
                      <a:pt x="529" y="739"/>
                      <a:pt x="529" y="739"/>
                    </a:cubicBezTo>
                    <a:cubicBezTo>
                      <a:pt x="529" y="739"/>
                      <a:pt x="528" y="739"/>
                      <a:pt x="528" y="739"/>
                    </a:cubicBezTo>
                    <a:cubicBezTo>
                      <a:pt x="527" y="739"/>
                      <a:pt x="526" y="740"/>
                      <a:pt x="525" y="740"/>
                    </a:cubicBezTo>
                    <a:cubicBezTo>
                      <a:pt x="525" y="740"/>
                      <a:pt x="525" y="740"/>
                      <a:pt x="524" y="740"/>
                    </a:cubicBezTo>
                    <a:cubicBezTo>
                      <a:pt x="524" y="741"/>
                      <a:pt x="524" y="741"/>
                      <a:pt x="524" y="741"/>
                    </a:cubicBezTo>
                    <a:cubicBezTo>
                      <a:pt x="523" y="741"/>
                      <a:pt x="523" y="741"/>
                      <a:pt x="523" y="741"/>
                    </a:cubicBezTo>
                    <a:cubicBezTo>
                      <a:pt x="523" y="741"/>
                      <a:pt x="522" y="741"/>
                      <a:pt x="522" y="741"/>
                    </a:cubicBezTo>
                    <a:cubicBezTo>
                      <a:pt x="522" y="741"/>
                      <a:pt x="522" y="741"/>
                      <a:pt x="522" y="741"/>
                    </a:cubicBezTo>
                    <a:cubicBezTo>
                      <a:pt x="522" y="741"/>
                      <a:pt x="522" y="741"/>
                      <a:pt x="521" y="741"/>
                    </a:cubicBezTo>
                    <a:cubicBezTo>
                      <a:pt x="521" y="741"/>
                      <a:pt x="521" y="741"/>
                      <a:pt x="521" y="741"/>
                    </a:cubicBezTo>
                    <a:cubicBezTo>
                      <a:pt x="521" y="741"/>
                      <a:pt x="520" y="741"/>
                      <a:pt x="520" y="741"/>
                    </a:cubicBezTo>
                    <a:cubicBezTo>
                      <a:pt x="520" y="741"/>
                      <a:pt x="520" y="741"/>
                      <a:pt x="520" y="741"/>
                    </a:cubicBezTo>
                    <a:cubicBezTo>
                      <a:pt x="520" y="741"/>
                      <a:pt x="520" y="741"/>
                      <a:pt x="521" y="742"/>
                    </a:cubicBezTo>
                    <a:cubicBezTo>
                      <a:pt x="520" y="742"/>
                      <a:pt x="520" y="742"/>
                      <a:pt x="519" y="742"/>
                    </a:cubicBezTo>
                    <a:cubicBezTo>
                      <a:pt x="519" y="742"/>
                      <a:pt x="519" y="742"/>
                      <a:pt x="519" y="743"/>
                    </a:cubicBezTo>
                    <a:cubicBezTo>
                      <a:pt x="519" y="743"/>
                      <a:pt x="519" y="743"/>
                      <a:pt x="519" y="743"/>
                    </a:cubicBezTo>
                    <a:cubicBezTo>
                      <a:pt x="519" y="743"/>
                      <a:pt x="519" y="743"/>
                      <a:pt x="519" y="743"/>
                    </a:cubicBezTo>
                    <a:cubicBezTo>
                      <a:pt x="519" y="744"/>
                      <a:pt x="519" y="744"/>
                      <a:pt x="518" y="744"/>
                    </a:cubicBezTo>
                    <a:cubicBezTo>
                      <a:pt x="518" y="743"/>
                      <a:pt x="518" y="743"/>
                      <a:pt x="518" y="743"/>
                    </a:cubicBezTo>
                    <a:cubicBezTo>
                      <a:pt x="518" y="744"/>
                      <a:pt x="518" y="744"/>
                      <a:pt x="518" y="744"/>
                    </a:cubicBezTo>
                    <a:cubicBezTo>
                      <a:pt x="518" y="744"/>
                      <a:pt x="517" y="744"/>
                      <a:pt x="517" y="744"/>
                    </a:cubicBezTo>
                    <a:cubicBezTo>
                      <a:pt x="517" y="743"/>
                      <a:pt x="517" y="743"/>
                      <a:pt x="517" y="743"/>
                    </a:cubicBezTo>
                    <a:cubicBezTo>
                      <a:pt x="517" y="743"/>
                      <a:pt x="517" y="743"/>
                      <a:pt x="517" y="743"/>
                    </a:cubicBezTo>
                    <a:cubicBezTo>
                      <a:pt x="517" y="743"/>
                      <a:pt x="517" y="742"/>
                      <a:pt x="517" y="742"/>
                    </a:cubicBezTo>
                    <a:cubicBezTo>
                      <a:pt x="516" y="742"/>
                      <a:pt x="516" y="742"/>
                      <a:pt x="516" y="742"/>
                    </a:cubicBezTo>
                    <a:cubicBezTo>
                      <a:pt x="516" y="743"/>
                      <a:pt x="516" y="743"/>
                      <a:pt x="516" y="743"/>
                    </a:cubicBezTo>
                    <a:cubicBezTo>
                      <a:pt x="516" y="743"/>
                      <a:pt x="516" y="743"/>
                      <a:pt x="516" y="743"/>
                    </a:cubicBezTo>
                    <a:cubicBezTo>
                      <a:pt x="516" y="743"/>
                      <a:pt x="516" y="743"/>
                      <a:pt x="516" y="743"/>
                    </a:cubicBezTo>
                    <a:cubicBezTo>
                      <a:pt x="516" y="743"/>
                      <a:pt x="515" y="743"/>
                      <a:pt x="515" y="743"/>
                    </a:cubicBezTo>
                    <a:cubicBezTo>
                      <a:pt x="515" y="743"/>
                      <a:pt x="515" y="743"/>
                      <a:pt x="515" y="743"/>
                    </a:cubicBezTo>
                    <a:cubicBezTo>
                      <a:pt x="515" y="743"/>
                      <a:pt x="515" y="743"/>
                      <a:pt x="515" y="743"/>
                    </a:cubicBezTo>
                    <a:cubicBezTo>
                      <a:pt x="514" y="743"/>
                      <a:pt x="514" y="743"/>
                      <a:pt x="514" y="743"/>
                    </a:cubicBezTo>
                    <a:cubicBezTo>
                      <a:pt x="514" y="743"/>
                      <a:pt x="514" y="743"/>
                      <a:pt x="514" y="743"/>
                    </a:cubicBezTo>
                    <a:cubicBezTo>
                      <a:pt x="514" y="743"/>
                      <a:pt x="514" y="743"/>
                      <a:pt x="514" y="743"/>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5"/>
                      <a:pt x="514" y="745"/>
                    </a:cubicBezTo>
                    <a:cubicBezTo>
                      <a:pt x="514" y="745"/>
                      <a:pt x="513" y="746"/>
                      <a:pt x="513" y="746"/>
                    </a:cubicBezTo>
                    <a:cubicBezTo>
                      <a:pt x="513" y="746"/>
                      <a:pt x="513" y="747"/>
                      <a:pt x="512" y="747"/>
                    </a:cubicBezTo>
                    <a:cubicBezTo>
                      <a:pt x="512" y="747"/>
                      <a:pt x="512" y="747"/>
                      <a:pt x="512" y="747"/>
                    </a:cubicBezTo>
                    <a:cubicBezTo>
                      <a:pt x="512" y="747"/>
                      <a:pt x="512" y="747"/>
                      <a:pt x="512" y="748"/>
                    </a:cubicBezTo>
                    <a:cubicBezTo>
                      <a:pt x="512" y="748"/>
                      <a:pt x="511" y="748"/>
                      <a:pt x="511" y="748"/>
                    </a:cubicBezTo>
                    <a:cubicBezTo>
                      <a:pt x="511" y="748"/>
                      <a:pt x="511" y="748"/>
                      <a:pt x="511" y="748"/>
                    </a:cubicBezTo>
                    <a:cubicBezTo>
                      <a:pt x="511" y="748"/>
                      <a:pt x="511" y="749"/>
                      <a:pt x="511" y="749"/>
                    </a:cubicBezTo>
                    <a:cubicBezTo>
                      <a:pt x="511" y="749"/>
                      <a:pt x="511" y="749"/>
                      <a:pt x="511" y="750"/>
                    </a:cubicBezTo>
                    <a:cubicBezTo>
                      <a:pt x="510" y="750"/>
                      <a:pt x="510" y="750"/>
                      <a:pt x="510" y="750"/>
                    </a:cubicBezTo>
                    <a:cubicBezTo>
                      <a:pt x="510" y="750"/>
                      <a:pt x="510" y="750"/>
                      <a:pt x="509" y="750"/>
                    </a:cubicBezTo>
                    <a:cubicBezTo>
                      <a:pt x="509" y="750"/>
                      <a:pt x="509" y="750"/>
                      <a:pt x="509" y="750"/>
                    </a:cubicBezTo>
                    <a:cubicBezTo>
                      <a:pt x="509" y="750"/>
                      <a:pt x="509" y="750"/>
                      <a:pt x="509" y="750"/>
                    </a:cubicBezTo>
                    <a:cubicBezTo>
                      <a:pt x="509" y="751"/>
                      <a:pt x="509" y="751"/>
                      <a:pt x="509" y="751"/>
                    </a:cubicBezTo>
                    <a:cubicBezTo>
                      <a:pt x="509" y="751"/>
                      <a:pt x="508" y="751"/>
                      <a:pt x="508" y="751"/>
                    </a:cubicBezTo>
                    <a:cubicBezTo>
                      <a:pt x="508" y="751"/>
                      <a:pt x="508" y="751"/>
                      <a:pt x="508" y="751"/>
                    </a:cubicBezTo>
                    <a:cubicBezTo>
                      <a:pt x="508" y="751"/>
                      <a:pt x="508" y="750"/>
                      <a:pt x="508" y="750"/>
                    </a:cubicBezTo>
                    <a:cubicBezTo>
                      <a:pt x="508" y="750"/>
                      <a:pt x="508" y="750"/>
                      <a:pt x="508" y="750"/>
                    </a:cubicBezTo>
                    <a:cubicBezTo>
                      <a:pt x="508" y="750"/>
                      <a:pt x="508" y="750"/>
                      <a:pt x="508" y="750"/>
                    </a:cubicBezTo>
                    <a:cubicBezTo>
                      <a:pt x="508" y="750"/>
                      <a:pt x="508" y="750"/>
                      <a:pt x="508" y="750"/>
                    </a:cubicBezTo>
                    <a:cubicBezTo>
                      <a:pt x="507" y="751"/>
                      <a:pt x="507" y="751"/>
                      <a:pt x="507" y="751"/>
                    </a:cubicBezTo>
                    <a:cubicBezTo>
                      <a:pt x="507" y="751"/>
                      <a:pt x="507" y="751"/>
                      <a:pt x="507" y="751"/>
                    </a:cubicBezTo>
                    <a:cubicBezTo>
                      <a:pt x="507" y="752"/>
                      <a:pt x="507" y="752"/>
                      <a:pt x="507" y="752"/>
                    </a:cubicBezTo>
                    <a:cubicBezTo>
                      <a:pt x="507" y="752"/>
                      <a:pt x="507" y="752"/>
                      <a:pt x="506" y="752"/>
                    </a:cubicBezTo>
                    <a:cubicBezTo>
                      <a:pt x="506" y="752"/>
                      <a:pt x="506" y="752"/>
                      <a:pt x="506" y="752"/>
                    </a:cubicBezTo>
                    <a:cubicBezTo>
                      <a:pt x="506" y="752"/>
                      <a:pt x="506" y="753"/>
                      <a:pt x="506" y="752"/>
                    </a:cubicBezTo>
                    <a:cubicBezTo>
                      <a:pt x="505" y="752"/>
                      <a:pt x="505" y="752"/>
                      <a:pt x="505" y="752"/>
                    </a:cubicBezTo>
                    <a:cubicBezTo>
                      <a:pt x="505" y="752"/>
                      <a:pt x="505" y="752"/>
                      <a:pt x="505" y="752"/>
                    </a:cubicBezTo>
                    <a:cubicBezTo>
                      <a:pt x="505" y="752"/>
                      <a:pt x="505" y="752"/>
                      <a:pt x="505" y="753"/>
                    </a:cubicBezTo>
                    <a:cubicBezTo>
                      <a:pt x="505" y="753"/>
                      <a:pt x="505" y="753"/>
                      <a:pt x="505" y="753"/>
                    </a:cubicBezTo>
                    <a:cubicBezTo>
                      <a:pt x="505" y="753"/>
                      <a:pt x="505" y="752"/>
                      <a:pt x="505" y="752"/>
                    </a:cubicBezTo>
                    <a:cubicBezTo>
                      <a:pt x="504" y="752"/>
                      <a:pt x="504" y="752"/>
                      <a:pt x="504" y="752"/>
                    </a:cubicBezTo>
                    <a:cubicBezTo>
                      <a:pt x="504" y="752"/>
                      <a:pt x="504" y="752"/>
                      <a:pt x="504" y="752"/>
                    </a:cubicBezTo>
                    <a:cubicBezTo>
                      <a:pt x="504" y="752"/>
                      <a:pt x="504" y="752"/>
                      <a:pt x="504" y="751"/>
                    </a:cubicBezTo>
                    <a:cubicBezTo>
                      <a:pt x="504" y="751"/>
                      <a:pt x="504" y="751"/>
                      <a:pt x="504" y="750"/>
                    </a:cubicBezTo>
                    <a:cubicBezTo>
                      <a:pt x="504" y="750"/>
                      <a:pt x="503" y="750"/>
                      <a:pt x="503" y="750"/>
                    </a:cubicBezTo>
                    <a:cubicBezTo>
                      <a:pt x="503" y="750"/>
                      <a:pt x="503" y="750"/>
                      <a:pt x="503" y="750"/>
                    </a:cubicBezTo>
                    <a:cubicBezTo>
                      <a:pt x="503" y="750"/>
                      <a:pt x="503" y="750"/>
                      <a:pt x="503" y="750"/>
                    </a:cubicBezTo>
                    <a:cubicBezTo>
                      <a:pt x="502" y="751"/>
                      <a:pt x="502" y="750"/>
                      <a:pt x="502" y="750"/>
                    </a:cubicBezTo>
                    <a:cubicBezTo>
                      <a:pt x="502" y="750"/>
                      <a:pt x="502" y="750"/>
                      <a:pt x="502" y="749"/>
                    </a:cubicBezTo>
                    <a:cubicBezTo>
                      <a:pt x="501" y="749"/>
                      <a:pt x="502" y="749"/>
                      <a:pt x="502" y="749"/>
                    </a:cubicBezTo>
                    <a:cubicBezTo>
                      <a:pt x="502" y="748"/>
                      <a:pt x="501" y="747"/>
                      <a:pt x="501" y="747"/>
                    </a:cubicBezTo>
                    <a:cubicBezTo>
                      <a:pt x="501" y="746"/>
                      <a:pt x="502" y="746"/>
                      <a:pt x="502" y="746"/>
                    </a:cubicBezTo>
                    <a:cubicBezTo>
                      <a:pt x="502" y="745"/>
                      <a:pt x="502" y="745"/>
                      <a:pt x="502" y="744"/>
                    </a:cubicBezTo>
                    <a:cubicBezTo>
                      <a:pt x="502" y="744"/>
                      <a:pt x="502" y="744"/>
                      <a:pt x="502" y="744"/>
                    </a:cubicBezTo>
                    <a:cubicBezTo>
                      <a:pt x="502" y="743"/>
                      <a:pt x="502" y="743"/>
                      <a:pt x="502" y="743"/>
                    </a:cubicBezTo>
                    <a:cubicBezTo>
                      <a:pt x="503" y="743"/>
                      <a:pt x="503" y="743"/>
                      <a:pt x="503" y="743"/>
                    </a:cubicBezTo>
                    <a:cubicBezTo>
                      <a:pt x="503" y="742"/>
                      <a:pt x="503" y="742"/>
                      <a:pt x="503" y="742"/>
                    </a:cubicBezTo>
                    <a:cubicBezTo>
                      <a:pt x="503" y="742"/>
                      <a:pt x="503" y="742"/>
                      <a:pt x="503" y="742"/>
                    </a:cubicBezTo>
                    <a:cubicBezTo>
                      <a:pt x="503" y="742"/>
                      <a:pt x="504" y="742"/>
                      <a:pt x="504" y="742"/>
                    </a:cubicBezTo>
                    <a:cubicBezTo>
                      <a:pt x="504" y="742"/>
                      <a:pt x="504" y="742"/>
                      <a:pt x="504" y="742"/>
                    </a:cubicBezTo>
                    <a:cubicBezTo>
                      <a:pt x="504" y="742"/>
                      <a:pt x="505" y="742"/>
                      <a:pt x="505" y="742"/>
                    </a:cubicBezTo>
                    <a:cubicBezTo>
                      <a:pt x="505" y="742"/>
                      <a:pt x="505" y="741"/>
                      <a:pt x="506" y="741"/>
                    </a:cubicBezTo>
                    <a:cubicBezTo>
                      <a:pt x="505" y="741"/>
                      <a:pt x="505" y="741"/>
                      <a:pt x="505" y="741"/>
                    </a:cubicBezTo>
                    <a:cubicBezTo>
                      <a:pt x="505" y="741"/>
                      <a:pt x="505" y="741"/>
                      <a:pt x="505" y="741"/>
                    </a:cubicBezTo>
                    <a:cubicBezTo>
                      <a:pt x="505" y="741"/>
                      <a:pt x="505" y="741"/>
                      <a:pt x="505" y="741"/>
                    </a:cubicBezTo>
                    <a:cubicBezTo>
                      <a:pt x="506" y="740"/>
                      <a:pt x="508" y="739"/>
                      <a:pt x="510" y="738"/>
                    </a:cubicBezTo>
                    <a:cubicBezTo>
                      <a:pt x="510" y="738"/>
                      <a:pt x="510" y="737"/>
                      <a:pt x="511" y="737"/>
                    </a:cubicBezTo>
                    <a:cubicBezTo>
                      <a:pt x="511" y="737"/>
                      <a:pt x="511" y="737"/>
                      <a:pt x="511" y="737"/>
                    </a:cubicBezTo>
                    <a:cubicBezTo>
                      <a:pt x="512" y="736"/>
                      <a:pt x="513" y="736"/>
                      <a:pt x="513" y="736"/>
                    </a:cubicBezTo>
                    <a:cubicBezTo>
                      <a:pt x="513" y="736"/>
                      <a:pt x="513" y="737"/>
                      <a:pt x="514" y="737"/>
                    </a:cubicBezTo>
                    <a:cubicBezTo>
                      <a:pt x="514" y="737"/>
                      <a:pt x="514" y="737"/>
                      <a:pt x="514" y="737"/>
                    </a:cubicBezTo>
                    <a:cubicBezTo>
                      <a:pt x="514" y="737"/>
                      <a:pt x="514" y="738"/>
                      <a:pt x="515" y="738"/>
                    </a:cubicBezTo>
                    <a:cubicBezTo>
                      <a:pt x="515" y="738"/>
                      <a:pt x="515" y="738"/>
                      <a:pt x="515" y="738"/>
                    </a:cubicBezTo>
                    <a:cubicBezTo>
                      <a:pt x="515" y="738"/>
                      <a:pt x="515" y="738"/>
                      <a:pt x="515" y="737"/>
                    </a:cubicBezTo>
                    <a:cubicBezTo>
                      <a:pt x="515" y="737"/>
                      <a:pt x="515" y="737"/>
                      <a:pt x="515" y="737"/>
                    </a:cubicBezTo>
                    <a:cubicBezTo>
                      <a:pt x="515" y="736"/>
                      <a:pt x="515" y="736"/>
                      <a:pt x="516" y="736"/>
                    </a:cubicBezTo>
                    <a:cubicBezTo>
                      <a:pt x="517" y="736"/>
                      <a:pt x="517" y="736"/>
                      <a:pt x="518" y="735"/>
                    </a:cubicBezTo>
                    <a:cubicBezTo>
                      <a:pt x="519" y="735"/>
                      <a:pt x="519" y="735"/>
                      <a:pt x="519" y="735"/>
                    </a:cubicBezTo>
                    <a:cubicBezTo>
                      <a:pt x="520" y="735"/>
                      <a:pt x="520" y="735"/>
                      <a:pt x="520" y="735"/>
                    </a:cubicBezTo>
                    <a:cubicBezTo>
                      <a:pt x="519" y="735"/>
                      <a:pt x="518" y="735"/>
                      <a:pt x="518" y="735"/>
                    </a:cubicBezTo>
                    <a:cubicBezTo>
                      <a:pt x="518" y="735"/>
                      <a:pt x="517" y="735"/>
                      <a:pt x="517" y="735"/>
                    </a:cubicBezTo>
                    <a:cubicBezTo>
                      <a:pt x="517" y="735"/>
                      <a:pt x="517" y="735"/>
                      <a:pt x="517" y="735"/>
                    </a:cubicBezTo>
                    <a:cubicBezTo>
                      <a:pt x="517" y="735"/>
                      <a:pt x="517" y="735"/>
                      <a:pt x="517" y="735"/>
                    </a:cubicBezTo>
                    <a:cubicBezTo>
                      <a:pt x="516" y="735"/>
                      <a:pt x="516" y="735"/>
                      <a:pt x="515" y="735"/>
                    </a:cubicBezTo>
                    <a:cubicBezTo>
                      <a:pt x="515" y="735"/>
                      <a:pt x="515" y="735"/>
                      <a:pt x="514" y="735"/>
                    </a:cubicBezTo>
                    <a:cubicBezTo>
                      <a:pt x="514" y="735"/>
                      <a:pt x="513" y="735"/>
                      <a:pt x="513" y="735"/>
                    </a:cubicBezTo>
                    <a:cubicBezTo>
                      <a:pt x="512" y="735"/>
                      <a:pt x="512" y="735"/>
                      <a:pt x="511" y="735"/>
                    </a:cubicBezTo>
                    <a:cubicBezTo>
                      <a:pt x="511" y="735"/>
                      <a:pt x="511" y="735"/>
                      <a:pt x="511" y="735"/>
                    </a:cubicBezTo>
                    <a:cubicBezTo>
                      <a:pt x="511" y="736"/>
                      <a:pt x="511" y="736"/>
                      <a:pt x="511" y="735"/>
                    </a:cubicBezTo>
                    <a:cubicBezTo>
                      <a:pt x="511" y="735"/>
                      <a:pt x="511" y="735"/>
                      <a:pt x="511" y="735"/>
                    </a:cubicBezTo>
                    <a:cubicBezTo>
                      <a:pt x="511" y="735"/>
                      <a:pt x="510" y="735"/>
                      <a:pt x="510" y="735"/>
                    </a:cubicBezTo>
                    <a:cubicBezTo>
                      <a:pt x="510" y="735"/>
                      <a:pt x="510" y="734"/>
                      <a:pt x="510" y="734"/>
                    </a:cubicBezTo>
                    <a:cubicBezTo>
                      <a:pt x="510" y="734"/>
                      <a:pt x="511" y="734"/>
                      <a:pt x="511" y="734"/>
                    </a:cubicBezTo>
                    <a:cubicBezTo>
                      <a:pt x="511" y="733"/>
                      <a:pt x="512" y="733"/>
                      <a:pt x="512" y="733"/>
                    </a:cubicBezTo>
                    <a:cubicBezTo>
                      <a:pt x="512" y="732"/>
                      <a:pt x="513" y="731"/>
                      <a:pt x="514" y="730"/>
                    </a:cubicBezTo>
                    <a:cubicBezTo>
                      <a:pt x="514" y="730"/>
                      <a:pt x="514" y="730"/>
                      <a:pt x="514" y="730"/>
                    </a:cubicBezTo>
                    <a:cubicBezTo>
                      <a:pt x="513" y="730"/>
                      <a:pt x="513" y="730"/>
                      <a:pt x="513" y="731"/>
                    </a:cubicBezTo>
                    <a:cubicBezTo>
                      <a:pt x="513" y="731"/>
                      <a:pt x="513" y="731"/>
                      <a:pt x="513" y="731"/>
                    </a:cubicBezTo>
                    <a:cubicBezTo>
                      <a:pt x="513" y="731"/>
                      <a:pt x="513" y="731"/>
                      <a:pt x="513" y="731"/>
                    </a:cubicBezTo>
                    <a:cubicBezTo>
                      <a:pt x="512" y="730"/>
                      <a:pt x="512" y="730"/>
                      <a:pt x="511" y="729"/>
                    </a:cubicBezTo>
                    <a:cubicBezTo>
                      <a:pt x="511" y="730"/>
                      <a:pt x="511" y="730"/>
                      <a:pt x="512" y="730"/>
                    </a:cubicBezTo>
                    <a:cubicBezTo>
                      <a:pt x="512" y="730"/>
                      <a:pt x="512" y="730"/>
                      <a:pt x="512" y="730"/>
                    </a:cubicBezTo>
                    <a:cubicBezTo>
                      <a:pt x="512" y="730"/>
                      <a:pt x="512" y="730"/>
                      <a:pt x="512" y="731"/>
                    </a:cubicBezTo>
                    <a:cubicBezTo>
                      <a:pt x="512" y="731"/>
                      <a:pt x="511" y="732"/>
                      <a:pt x="510" y="733"/>
                    </a:cubicBezTo>
                    <a:cubicBezTo>
                      <a:pt x="510" y="733"/>
                      <a:pt x="509" y="733"/>
                      <a:pt x="508" y="734"/>
                    </a:cubicBezTo>
                    <a:cubicBezTo>
                      <a:pt x="507" y="734"/>
                      <a:pt x="506" y="735"/>
                      <a:pt x="506" y="735"/>
                    </a:cubicBezTo>
                    <a:cubicBezTo>
                      <a:pt x="505" y="736"/>
                      <a:pt x="504" y="736"/>
                      <a:pt x="504" y="736"/>
                    </a:cubicBezTo>
                    <a:cubicBezTo>
                      <a:pt x="503" y="737"/>
                      <a:pt x="503" y="737"/>
                      <a:pt x="503" y="737"/>
                    </a:cubicBezTo>
                    <a:cubicBezTo>
                      <a:pt x="503" y="737"/>
                      <a:pt x="503" y="736"/>
                      <a:pt x="502" y="736"/>
                    </a:cubicBezTo>
                    <a:cubicBezTo>
                      <a:pt x="502" y="736"/>
                      <a:pt x="502" y="735"/>
                      <a:pt x="503" y="735"/>
                    </a:cubicBezTo>
                    <a:cubicBezTo>
                      <a:pt x="503" y="735"/>
                      <a:pt x="503" y="735"/>
                      <a:pt x="503" y="734"/>
                    </a:cubicBezTo>
                    <a:cubicBezTo>
                      <a:pt x="502" y="734"/>
                      <a:pt x="502" y="734"/>
                      <a:pt x="502" y="735"/>
                    </a:cubicBezTo>
                    <a:cubicBezTo>
                      <a:pt x="502" y="735"/>
                      <a:pt x="501" y="735"/>
                      <a:pt x="501" y="735"/>
                    </a:cubicBezTo>
                    <a:cubicBezTo>
                      <a:pt x="501" y="735"/>
                      <a:pt x="501" y="735"/>
                      <a:pt x="501" y="735"/>
                    </a:cubicBezTo>
                    <a:cubicBezTo>
                      <a:pt x="501" y="735"/>
                      <a:pt x="501" y="735"/>
                      <a:pt x="501" y="735"/>
                    </a:cubicBezTo>
                    <a:cubicBezTo>
                      <a:pt x="501" y="736"/>
                      <a:pt x="501" y="736"/>
                      <a:pt x="502" y="736"/>
                    </a:cubicBezTo>
                    <a:cubicBezTo>
                      <a:pt x="502" y="736"/>
                      <a:pt x="502" y="736"/>
                      <a:pt x="502" y="736"/>
                    </a:cubicBezTo>
                    <a:cubicBezTo>
                      <a:pt x="502" y="736"/>
                      <a:pt x="502" y="736"/>
                      <a:pt x="502" y="736"/>
                    </a:cubicBezTo>
                    <a:cubicBezTo>
                      <a:pt x="502" y="736"/>
                      <a:pt x="501" y="737"/>
                      <a:pt x="501" y="737"/>
                    </a:cubicBezTo>
                    <a:cubicBezTo>
                      <a:pt x="501" y="737"/>
                      <a:pt x="500" y="737"/>
                      <a:pt x="500" y="737"/>
                    </a:cubicBezTo>
                    <a:cubicBezTo>
                      <a:pt x="500" y="738"/>
                      <a:pt x="500" y="738"/>
                      <a:pt x="500" y="738"/>
                    </a:cubicBezTo>
                    <a:cubicBezTo>
                      <a:pt x="499" y="738"/>
                      <a:pt x="499" y="738"/>
                      <a:pt x="499" y="737"/>
                    </a:cubicBezTo>
                    <a:cubicBezTo>
                      <a:pt x="499" y="737"/>
                      <a:pt x="499" y="737"/>
                      <a:pt x="499" y="737"/>
                    </a:cubicBezTo>
                    <a:cubicBezTo>
                      <a:pt x="499" y="737"/>
                      <a:pt x="499" y="737"/>
                      <a:pt x="499" y="737"/>
                    </a:cubicBezTo>
                    <a:cubicBezTo>
                      <a:pt x="498" y="737"/>
                      <a:pt x="498" y="738"/>
                      <a:pt x="498" y="738"/>
                    </a:cubicBezTo>
                    <a:cubicBezTo>
                      <a:pt x="498" y="738"/>
                      <a:pt x="497" y="738"/>
                      <a:pt x="496" y="738"/>
                    </a:cubicBezTo>
                    <a:cubicBezTo>
                      <a:pt x="496" y="738"/>
                      <a:pt x="496" y="737"/>
                      <a:pt x="496" y="737"/>
                    </a:cubicBezTo>
                    <a:cubicBezTo>
                      <a:pt x="496" y="737"/>
                      <a:pt x="496" y="737"/>
                      <a:pt x="496" y="737"/>
                    </a:cubicBezTo>
                    <a:cubicBezTo>
                      <a:pt x="496" y="737"/>
                      <a:pt x="496" y="737"/>
                      <a:pt x="496" y="737"/>
                    </a:cubicBezTo>
                    <a:cubicBezTo>
                      <a:pt x="496" y="737"/>
                      <a:pt x="496" y="737"/>
                      <a:pt x="496" y="737"/>
                    </a:cubicBezTo>
                    <a:cubicBezTo>
                      <a:pt x="496" y="737"/>
                      <a:pt x="496" y="737"/>
                      <a:pt x="496" y="737"/>
                    </a:cubicBezTo>
                    <a:cubicBezTo>
                      <a:pt x="496" y="737"/>
                      <a:pt x="495" y="737"/>
                      <a:pt x="495" y="738"/>
                    </a:cubicBezTo>
                    <a:cubicBezTo>
                      <a:pt x="495" y="738"/>
                      <a:pt x="495" y="738"/>
                      <a:pt x="495" y="738"/>
                    </a:cubicBezTo>
                    <a:cubicBezTo>
                      <a:pt x="495" y="737"/>
                      <a:pt x="495" y="737"/>
                      <a:pt x="495" y="737"/>
                    </a:cubicBezTo>
                    <a:cubicBezTo>
                      <a:pt x="495" y="737"/>
                      <a:pt x="494" y="736"/>
                      <a:pt x="494" y="736"/>
                    </a:cubicBezTo>
                    <a:cubicBezTo>
                      <a:pt x="494" y="736"/>
                      <a:pt x="494" y="737"/>
                      <a:pt x="493" y="737"/>
                    </a:cubicBezTo>
                    <a:cubicBezTo>
                      <a:pt x="493" y="737"/>
                      <a:pt x="493" y="737"/>
                      <a:pt x="493" y="737"/>
                    </a:cubicBezTo>
                    <a:cubicBezTo>
                      <a:pt x="493" y="737"/>
                      <a:pt x="493" y="736"/>
                      <a:pt x="493" y="736"/>
                    </a:cubicBezTo>
                    <a:cubicBezTo>
                      <a:pt x="493" y="736"/>
                      <a:pt x="493" y="735"/>
                      <a:pt x="493" y="735"/>
                    </a:cubicBezTo>
                    <a:cubicBezTo>
                      <a:pt x="493" y="735"/>
                      <a:pt x="493" y="735"/>
                      <a:pt x="493" y="735"/>
                    </a:cubicBezTo>
                    <a:cubicBezTo>
                      <a:pt x="493" y="735"/>
                      <a:pt x="493" y="735"/>
                      <a:pt x="493" y="735"/>
                    </a:cubicBezTo>
                    <a:cubicBezTo>
                      <a:pt x="493" y="734"/>
                      <a:pt x="493" y="734"/>
                      <a:pt x="493" y="734"/>
                    </a:cubicBezTo>
                    <a:cubicBezTo>
                      <a:pt x="493" y="734"/>
                      <a:pt x="492" y="734"/>
                      <a:pt x="492" y="734"/>
                    </a:cubicBezTo>
                    <a:cubicBezTo>
                      <a:pt x="492" y="734"/>
                      <a:pt x="493" y="733"/>
                      <a:pt x="493" y="733"/>
                    </a:cubicBezTo>
                    <a:cubicBezTo>
                      <a:pt x="493" y="733"/>
                      <a:pt x="493" y="733"/>
                      <a:pt x="493" y="733"/>
                    </a:cubicBezTo>
                    <a:cubicBezTo>
                      <a:pt x="493" y="733"/>
                      <a:pt x="490" y="732"/>
                      <a:pt x="490" y="732"/>
                    </a:cubicBezTo>
                    <a:cubicBezTo>
                      <a:pt x="490" y="732"/>
                      <a:pt x="490" y="731"/>
                      <a:pt x="490" y="731"/>
                    </a:cubicBezTo>
                    <a:cubicBezTo>
                      <a:pt x="490" y="731"/>
                      <a:pt x="491" y="731"/>
                      <a:pt x="491" y="731"/>
                    </a:cubicBezTo>
                    <a:cubicBezTo>
                      <a:pt x="491" y="731"/>
                      <a:pt x="491" y="730"/>
                      <a:pt x="491" y="730"/>
                    </a:cubicBezTo>
                    <a:cubicBezTo>
                      <a:pt x="491" y="730"/>
                      <a:pt x="490" y="730"/>
                      <a:pt x="490" y="730"/>
                    </a:cubicBezTo>
                    <a:cubicBezTo>
                      <a:pt x="490" y="730"/>
                      <a:pt x="491" y="729"/>
                      <a:pt x="491" y="729"/>
                    </a:cubicBezTo>
                    <a:cubicBezTo>
                      <a:pt x="491" y="718"/>
                      <a:pt x="491" y="718"/>
                      <a:pt x="491" y="718"/>
                    </a:cubicBezTo>
                    <a:cubicBezTo>
                      <a:pt x="488" y="716"/>
                      <a:pt x="488" y="716"/>
                      <a:pt x="488" y="716"/>
                    </a:cubicBezTo>
                    <a:cubicBezTo>
                      <a:pt x="486" y="716"/>
                      <a:pt x="486" y="716"/>
                      <a:pt x="486" y="716"/>
                    </a:cubicBezTo>
                    <a:cubicBezTo>
                      <a:pt x="486" y="716"/>
                      <a:pt x="486" y="716"/>
                      <a:pt x="486" y="716"/>
                    </a:cubicBezTo>
                    <a:cubicBezTo>
                      <a:pt x="485" y="716"/>
                      <a:pt x="485" y="716"/>
                      <a:pt x="485" y="716"/>
                    </a:cubicBezTo>
                    <a:cubicBezTo>
                      <a:pt x="483" y="717"/>
                      <a:pt x="483" y="717"/>
                      <a:pt x="483" y="717"/>
                    </a:cubicBezTo>
                    <a:cubicBezTo>
                      <a:pt x="482" y="716"/>
                      <a:pt x="482" y="716"/>
                      <a:pt x="482" y="716"/>
                    </a:cubicBezTo>
                    <a:cubicBezTo>
                      <a:pt x="482" y="715"/>
                      <a:pt x="482" y="715"/>
                      <a:pt x="482" y="715"/>
                    </a:cubicBezTo>
                    <a:cubicBezTo>
                      <a:pt x="481" y="715"/>
                      <a:pt x="481" y="715"/>
                      <a:pt x="481" y="715"/>
                    </a:cubicBezTo>
                    <a:cubicBezTo>
                      <a:pt x="476" y="722"/>
                      <a:pt x="476" y="722"/>
                      <a:pt x="476" y="722"/>
                    </a:cubicBezTo>
                    <a:cubicBezTo>
                      <a:pt x="476" y="722"/>
                      <a:pt x="475" y="723"/>
                      <a:pt x="475" y="724"/>
                    </a:cubicBezTo>
                    <a:cubicBezTo>
                      <a:pt x="475" y="724"/>
                      <a:pt x="475" y="724"/>
                      <a:pt x="475" y="724"/>
                    </a:cubicBezTo>
                    <a:cubicBezTo>
                      <a:pt x="475" y="725"/>
                      <a:pt x="475" y="725"/>
                      <a:pt x="475" y="725"/>
                    </a:cubicBezTo>
                    <a:cubicBezTo>
                      <a:pt x="474" y="725"/>
                      <a:pt x="474" y="725"/>
                      <a:pt x="474" y="725"/>
                    </a:cubicBezTo>
                    <a:cubicBezTo>
                      <a:pt x="474" y="726"/>
                      <a:pt x="474" y="726"/>
                      <a:pt x="474" y="726"/>
                    </a:cubicBezTo>
                    <a:cubicBezTo>
                      <a:pt x="474" y="726"/>
                      <a:pt x="474" y="727"/>
                      <a:pt x="474" y="727"/>
                    </a:cubicBezTo>
                    <a:cubicBezTo>
                      <a:pt x="474" y="727"/>
                      <a:pt x="474" y="727"/>
                      <a:pt x="474" y="727"/>
                    </a:cubicBezTo>
                    <a:cubicBezTo>
                      <a:pt x="474" y="728"/>
                      <a:pt x="474" y="728"/>
                      <a:pt x="474" y="728"/>
                    </a:cubicBezTo>
                    <a:cubicBezTo>
                      <a:pt x="474" y="728"/>
                      <a:pt x="474" y="728"/>
                      <a:pt x="474" y="728"/>
                    </a:cubicBezTo>
                    <a:cubicBezTo>
                      <a:pt x="474" y="728"/>
                      <a:pt x="474" y="729"/>
                      <a:pt x="474" y="729"/>
                    </a:cubicBezTo>
                    <a:cubicBezTo>
                      <a:pt x="474" y="730"/>
                      <a:pt x="474" y="730"/>
                      <a:pt x="474" y="730"/>
                    </a:cubicBezTo>
                    <a:cubicBezTo>
                      <a:pt x="473" y="731"/>
                      <a:pt x="473" y="731"/>
                      <a:pt x="473" y="731"/>
                    </a:cubicBezTo>
                    <a:cubicBezTo>
                      <a:pt x="473" y="731"/>
                      <a:pt x="473" y="731"/>
                      <a:pt x="473" y="731"/>
                    </a:cubicBezTo>
                    <a:cubicBezTo>
                      <a:pt x="473" y="731"/>
                      <a:pt x="472" y="732"/>
                      <a:pt x="472" y="732"/>
                    </a:cubicBezTo>
                    <a:cubicBezTo>
                      <a:pt x="472" y="732"/>
                      <a:pt x="471" y="732"/>
                      <a:pt x="471" y="732"/>
                    </a:cubicBezTo>
                    <a:cubicBezTo>
                      <a:pt x="471" y="732"/>
                      <a:pt x="471" y="733"/>
                      <a:pt x="471" y="733"/>
                    </a:cubicBezTo>
                    <a:cubicBezTo>
                      <a:pt x="471" y="733"/>
                      <a:pt x="471" y="734"/>
                      <a:pt x="471" y="734"/>
                    </a:cubicBezTo>
                    <a:cubicBezTo>
                      <a:pt x="471" y="734"/>
                      <a:pt x="471" y="735"/>
                      <a:pt x="471" y="735"/>
                    </a:cubicBezTo>
                    <a:cubicBezTo>
                      <a:pt x="471" y="735"/>
                      <a:pt x="471" y="735"/>
                      <a:pt x="471" y="734"/>
                    </a:cubicBezTo>
                    <a:cubicBezTo>
                      <a:pt x="471" y="734"/>
                      <a:pt x="471" y="734"/>
                      <a:pt x="471" y="734"/>
                    </a:cubicBezTo>
                    <a:cubicBezTo>
                      <a:pt x="471" y="734"/>
                      <a:pt x="470" y="735"/>
                      <a:pt x="470" y="735"/>
                    </a:cubicBezTo>
                    <a:cubicBezTo>
                      <a:pt x="470" y="735"/>
                      <a:pt x="470" y="735"/>
                      <a:pt x="470" y="735"/>
                    </a:cubicBezTo>
                    <a:cubicBezTo>
                      <a:pt x="470" y="735"/>
                      <a:pt x="470" y="736"/>
                      <a:pt x="470" y="736"/>
                    </a:cubicBezTo>
                    <a:cubicBezTo>
                      <a:pt x="469" y="735"/>
                      <a:pt x="469" y="735"/>
                      <a:pt x="469" y="735"/>
                    </a:cubicBezTo>
                    <a:cubicBezTo>
                      <a:pt x="468" y="736"/>
                      <a:pt x="468" y="736"/>
                      <a:pt x="468" y="736"/>
                    </a:cubicBezTo>
                    <a:cubicBezTo>
                      <a:pt x="468" y="736"/>
                      <a:pt x="467" y="735"/>
                      <a:pt x="467" y="735"/>
                    </a:cubicBezTo>
                    <a:cubicBezTo>
                      <a:pt x="467" y="735"/>
                      <a:pt x="466" y="736"/>
                      <a:pt x="466" y="736"/>
                    </a:cubicBezTo>
                    <a:cubicBezTo>
                      <a:pt x="466" y="736"/>
                      <a:pt x="466" y="737"/>
                      <a:pt x="466" y="737"/>
                    </a:cubicBezTo>
                    <a:cubicBezTo>
                      <a:pt x="466" y="737"/>
                      <a:pt x="466" y="737"/>
                      <a:pt x="466" y="737"/>
                    </a:cubicBezTo>
                    <a:cubicBezTo>
                      <a:pt x="466" y="737"/>
                      <a:pt x="466" y="738"/>
                      <a:pt x="466" y="738"/>
                    </a:cubicBezTo>
                    <a:cubicBezTo>
                      <a:pt x="443" y="738"/>
                      <a:pt x="443" y="738"/>
                      <a:pt x="443" y="738"/>
                    </a:cubicBezTo>
                    <a:cubicBezTo>
                      <a:pt x="440" y="740"/>
                      <a:pt x="440" y="740"/>
                      <a:pt x="440" y="740"/>
                    </a:cubicBezTo>
                    <a:cubicBezTo>
                      <a:pt x="436" y="744"/>
                      <a:pt x="436" y="744"/>
                      <a:pt x="436" y="744"/>
                    </a:cubicBezTo>
                    <a:cubicBezTo>
                      <a:pt x="433" y="746"/>
                      <a:pt x="433" y="746"/>
                      <a:pt x="433" y="746"/>
                    </a:cubicBezTo>
                    <a:cubicBezTo>
                      <a:pt x="430" y="751"/>
                      <a:pt x="430" y="751"/>
                      <a:pt x="430" y="751"/>
                    </a:cubicBezTo>
                    <a:cubicBezTo>
                      <a:pt x="417" y="751"/>
                      <a:pt x="417" y="751"/>
                      <a:pt x="417" y="751"/>
                    </a:cubicBezTo>
                    <a:cubicBezTo>
                      <a:pt x="414" y="753"/>
                      <a:pt x="414" y="753"/>
                      <a:pt x="414" y="753"/>
                    </a:cubicBezTo>
                    <a:cubicBezTo>
                      <a:pt x="415" y="754"/>
                      <a:pt x="415" y="754"/>
                      <a:pt x="415" y="754"/>
                    </a:cubicBezTo>
                    <a:cubicBezTo>
                      <a:pt x="415" y="756"/>
                      <a:pt x="415" y="756"/>
                      <a:pt x="415" y="756"/>
                    </a:cubicBezTo>
                    <a:cubicBezTo>
                      <a:pt x="416" y="757"/>
                      <a:pt x="416" y="757"/>
                      <a:pt x="416" y="757"/>
                    </a:cubicBezTo>
                    <a:cubicBezTo>
                      <a:pt x="416" y="758"/>
                      <a:pt x="416" y="758"/>
                      <a:pt x="416" y="758"/>
                    </a:cubicBezTo>
                    <a:cubicBezTo>
                      <a:pt x="408" y="762"/>
                      <a:pt x="408" y="762"/>
                      <a:pt x="408" y="762"/>
                    </a:cubicBezTo>
                    <a:cubicBezTo>
                      <a:pt x="400" y="764"/>
                      <a:pt x="400" y="764"/>
                      <a:pt x="400" y="764"/>
                    </a:cubicBezTo>
                    <a:cubicBezTo>
                      <a:pt x="393" y="769"/>
                      <a:pt x="393" y="769"/>
                      <a:pt x="393" y="769"/>
                    </a:cubicBezTo>
                    <a:cubicBezTo>
                      <a:pt x="390" y="769"/>
                      <a:pt x="390" y="769"/>
                      <a:pt x="390" y="769"/>
                    </a:cubicBezTo>
                    <a:cubicBezTo>
                      <a:pt x="388" y="767"/>
                      <a:pt x="388" y="767"/>
                      <a:pt x="388" y="767"/>
                    </a:cubicBezTo>
                    <a:cubicBezTo>
                      <a:pt x="388" y="767"/>
                      <a:pt x="388" y="766"/>
                      <a:pt x="388" y="766"/>
                    </a:cubicBezTo>
                    <a:cubicBezTo>
                      <a:pt x="388" y="766"/>
                      <a:pt x="388" y="765"/>
                      <a:pt x="388" y="765"/>
                    </a:cubicBezTo>
                    <a:cubicBezTo>
                      <a:pt x="388" y="765"/>
                      <a:pt x="388" y="764"/>
                      <a:pt x="388" y="764"/>
                    </a:cubicBezTo>
                    <a:cubicBezTo>
                      <a:pt x="388" y="764"/>
                      <a:pt x="388" y="763"/>
                      <a:pt x="388" y="763"/>
                    </a:cubicBezTo>
                    <a:cubicBezTo>
                      <a:pt x="388" y="763"/>
                      <a:pt x="390" y="763"/>
                      <a:pt x="390" y="763"/>
                    </a:cubicBezTo>
                    <a:cubicBezTo>
                      <a:pt x="390" y="763"/>
                      <a:pt x="392" y="760"/>
                      <a:pt x="392" y="760"/>
                    </a:cubicBezTo>
                    <a:cubicBezTo>
                      <a:pt x="392" y="759"/>
                      <a:pt x="392" y="759"/>
                      <a:pt x="392" y="759"/>
                    </a:cubicBezTo>
                    <a:cubicBezTo>
                      <a:pt x="392" y="759"/>
                      <a:pt x="392" y="757"/>
                      <a:pt x="392" y="757"/>
                    </a:cubicBezTo>
                    <a:cubicBezTo>
                      <a:pt x="392" y="757"/>
                      <a:pt x="394" y="752"/>
                      <a:pt x="394" y="752"/>
                    </a:cubicBezTo>
                    <a:cubicBezTo>
                      <a:pt x="392" y="735"/>
                      <a:pt x="392" y="735"/>
                      <a:pt x="392" y="735"/>
                    </a:cubicBezTo>
                    <a:cubicBezTo>
                      <a:pt x="385" y="730"/>
                      <a:pt x="385" y="730"/>
                      <a:pt x="385" y="730"/>
                    </a:cubicBezTo>
                    <a:cubicBezTo>
                      <a:pt x="386" y="729"/>
                      <a:pt x="386" y="729"/>
                      <a:pt x="386" y="729"/>
                    </a:cubicBezTo>
                    <a:cubicBezTo>
                      <a:pt x="385" y="728"/>
                      <a:pt x="385" y="728"/>
                      <a:pt x="385" y="728"/>
                    </a:cubicBezTo>
                    <a:cubicBezTo>
                      <a:pt x="383" y="728"/>
                      <a:pt x="383" y="728"/>
                      <a:pt x="383" y="728"/>
                    </a:cubicBezTo>
                    <a:cubicBezTo>
                      <a:pt x="382" y="728"/>
                      <a:pt x="382" y="728"/>
                      <a:pt x="382" y="728"/>
                    </a:cubicBezTo>
                    <a:cubicBezTo>
                      <a:pt x="381" y="726"/>
                      <a:pt x="381" y="726"/>
                      <a:pt x="381" y="726"/>
                    </a:cubicBezTo>
                    <a:cubicBezTo>
                      <a:pt x="381" y="723"/>
                      <a:pt x="381" y="723"/>
                      <a:pt x="381" y="723"/>
                    </a:cubicBezTo>
                    <a:cubicBezTo>
                      <a:pt x="379" y="724"/>
                      <a:pt x="379" y="724"/>
                      <a:pt x="379" y="724"/>
                    </a:cubicBezTo>
                    <a:cubicBezTo>
                      <a:pt x="378" y="724"/>
                      <a:pt x="378" y="724"/>
                      <a:pt x="378" y="724"/>
                    </a:cubicBezTo>
                    <a:cubicBezTo>
                      <a:pt x="377" y="722"/>
                      <a:pt x="377" y="722"/>
                      <a:pt x="377" y="722"/>
                    </a:cubicBezTo>
                    <a:cubicBezTo>
                      <a:pt x="376" y="720"/>
                      <a:pt x="376" y="720"/>
                      <a:pt x="376" y="720"/>
                    </a:cubicBezTo>
                    <a:cubicBezTo>
                      <a:pt x="352" y="706"/>
                      <a:pt x="352" y="706"/>
                      <a:pt x="352" y="706"/>
                    </a:cubicBezTo>
                    <a:cubicBezTo>
                      <a:pt x="351" y="706"/>
                      <a:pt x="351" y="706"/>
                      <a:pt x="351" y="706"/>
                    </a:cubicBezTo>
                    <a:cubicBezTo>
                      <a:pt x="346" y="709"/>
                      <a:pt x="346" y="709"/>
                      <a:pt x="346" y="709"/>
                    </a:cubicBezTo>
                    <a:cubicBezTo>
                      <a:pt x="344" y="709"/>
                      <a:pt x="344" y="709"/>
                      <a:pt x="344" y="709"/>
                    </a:cubicBezTo>
                    <a:cubicBezTo>
                      <a:pt x="344" y="709"/>
                      <a:pt x="343" y="709"/>
                      <a:pt x="343" y="709"/>
                    </a:cubicBezTo>
                    <a:cubicBezTo>
                      <a:pt x="343" y="709"/>
                      <a:pt x="343" y="709"/>
                      <a:pt x="343" y="709"/>
                    </a:cubicBezTo>
                    <a:cubicBezTo>
                      <a:pt x="342" y="709"/>
                      <a:pt x="342" y="709"/>
                      <a:pt x="342" y="709"/>
                    </a:cubicBezTo>
                    <a:cubicBezTo>
                      <a:pt x="341" y="708"/>
                      <a:pt x="341" y="708"/>
                      <a:pt x="341" y="708"/>
                    </a:cubicBezTo>
                    <a:cubicBezTo>
                      <a:pt x="337" y="708"/>
                      <a:pt x="337" y="708"/>
                      <a:pt x="337" y="708"/>
                    </a:cubicBezTo>
                    <a:cubicBezTo>
                      <a:pt x="336" y="707"/>
                      <a:pt x="336" y="707"/>
                      <a:pt x="336" y="707"/>
                    </a:cubicBezTo>
                    <a:cubicBezTo>
                      <a:pt x="333" y="708"/>
                      <a:pt x="333" y="708"/>
                      <a:pt x="333" y="708"/>
                    </a:cubicBezTo>
                    <a:cubicBezTo>
                      <a:pt x="331" y="708"/>
                      <a:pt x="331" y="708"/>
                      <a:pt x="331" y="708"/>
                    </a:cubicBezTo>
                    <a:cubicBezTo>
                      <a:pt x="331" y="708"/>
                      <a:pt x="331" y="708"/>
                      <a:pt x="331" y="708"/>
                    </a:cubicBezTo>
                    <a:cubicBezTo>
                      <a:pt x="330" y="708"/>
                      <a:pt x="330" y="708"/>
                      <a:pt x="330" y="708"/>
                    </a:cubicBezTo>
                    <a:cubicBezTo>
                      <a:pt x="330" y="707"/>
                      <a:pt x="330" y="707"/>
                      <a:pt x="330" y="707"/>
                    </a:cubicBezTo>
                    <a:cubicBezTo>
                      <a:pt x="329" y="707"/>
                      <a:pt x="329" y="707"/>
                      <a:pt x="329" y="707"/>
                    </a:cubicBezTo>
                    <a:cubicBezTo>
                      <a:pt x="328" y="706"/>
                      <a:pt x="328" y="706"/>
                      <a:pt x="328" y="706"/>
                    </a:cubicBezTo>
                    <a:cubicBezTo>
                      <a:pt x="327" y="706"/>
                      <a:pt x="327" y="706"/>
                      <a:pt x="327" y="706"/>
                    </a:cubicBezTo>
                    <a:cubicBezTo>
                      <a:pt x="326" y="707"/>
                      <a:pt x="326" y="707"/>
                      <a:pt x="326" y="707"/>
                    </a:cubicBezTo>
                    <a:cubicBezTo>
                      <a:pt x="326" y="707"/>
                      <a:pt x="326" y="707"/>
                      <a:pt x="326" y="707"/>
                    </a:cubicBezTo>
                    <a:cubicBezTo>
                      <a:pt x="326" y="705"/>
                      <a:pt x="326" y="705"/>
                      <a:pt x="326" y="705"/>
                    </a:cubicBezTo>
                    <a:cubicBezTo>
                      <a:pt x="325" y="705"/>
                      <a:pt x="325" y="705"/>
                      <a:pt x="325" y="705"/>
                    </a:cubicBezTo>
                    <a:cubicBezTo>
                      <a:pt x="324" y="704"/>
                      <a:pt x="324" y="704"/>
                      <a:pt x="324" y="704"/>
                    </a:cubicBezTo>
                    <a:cubicBezTo>
                      <a:pt x="324" y="703"/>
                      <a:pt x="324" y="703"/>
                      <a:pt x="324" y="703"/>
                    </a:cubicBezTo>
                    <a:cubicBezTo>
                      <a:pt x="323" y="703"/>
                      <a:pt x="323" y="703"/>
                      <a:pt x="323" y="703"/>
                    </a:cubicBezTo>
                    <a:cubicBezTo>
                      <a:pt x="322" y="703"/>
                      <a:pt x="322" y="703"/>
                      <a:pt x="322" y="703"/>
                    </a:cubicBezTo>
                    <a:cubicBezTo>
                      <a:pt x="320" y="703"/>
                      <a:pt x="320" y="703"/>
                      <a:pt x="320" y="703"/>
                    </a:cubicBezTo>
                    <a:cubicBezTo>
                      <a:pt x="319" y="703"/>
                      <a:pt x="319" y="703"/>
                      <a:pt x="319" y="703"/>
                    </a:cubicBezTo>
                    <a:cubicBezTo>
                      <a:pt x="318" y="704"/>
                      <a:pt x="318" y="704"/>
                      <a:pt x="318" y="704"/>
                    </a:cubicBezTo>
                    <a:cubicBezTo>
                      <a:pt x="316" y="704"/>
                      <a:pt x="316" y="704"/>
                      <a:pt x="316" y="704"/>
                    </a:cubicBezTo>
                    <a:cubicBezTo>
                      <a:pt x="316" y="702"/>
                      <a:pt x="316" y="702"/>
                      <a:pt x="316" y="702"/>
                    </a:cubicBezTo>
                    <a:cubicBezTo>
                      <a:pt x="316" y="702"/>
                      <a:pt x="314" y="702"/>
                      <a:pt x="314" y="702"/>
                    </a:cubicBezTo>
                    <a:cubicBezTo>
                      <a:pt x="313" y="702"/>
                      <a:pt x="312" y="702"/>
                      <a:pt x="312" y="702"/>
                    </a:cubicBezTo>
                    <a:cubicBezTo>
                      <a:pt x="310" y="701"/>
                      <a:pt x="310" y="701"/>
                      <a:pt x="310" y="701"/>
                    </a:cubicBezTo>
                    <a:cubicBezTo>
                      <a:pt x="310" y="699"/>
                      <a:pt x="310" y="699"/>
                      <a:pt x="310" y="699"/>
                    </a:cubicBezTo>
                    <a:cubicBezTo>
                      <a:pt x="310" y="697"/>
                      <a:pt x="310" y="697"/>
                      <a:pt x="310" y="697"/>
                    </a:cubicBezTo>
                    <a:cubicBezTo>
                      <a:pt x="309" y="696"/>
                      <a:pt x="309" y="696"/>
                      <a:pt x="309" y="696"/>
                    </a:cubicBezTo>
                    <a:cubicBezTo>
                      <a:pt x="309" y="696"/>
                      <a:pt x="309" y="695"/>
                      <a:pt x="309" y="695"/>
                    </a:cubicBezTo>
                    <a:cubicBezTo>
                      <a:pt x="309" y="695"/>
                      <a:pt x="307" y="695"/>
                      <a:pt x="307" y="695"/>
                    </a:cubicBezTo>
                    <a:cubicBezTo>
                      <a:pt x="307" y="699"/>
                      <a:pt x="307" y="699"/>
                      <a:pt x="307" y="699"/>
                    </a:cubicBezTo>
                    <a:cubicBezTo>
                      <a:pt x="122" y="699"/>
                      <a:pt x="122" y="699"/>
                      <a:pt x="122" y="699"/>
                    </a:cubicBezTo>
                    <a:cubicBezTo>
                      <a:pt x="122" y="699"/>
                      <a:pt x="122" y="699"/>
                      <a:pt x="121" y="698"/>
                    </a:cubicBezTo>
                    <a:cubicBezTo>
                      <a:pt x="121" y="698"/>
                      <a:pt x="121" y="698"/>
                      <a:pt x="121" y="698"/>
                    </a:cubicBezTo>
                    <a:cubicBezTo>
                      <a:pt x="121" y="698"/>
                      <a:pt x="121" y="698"/>
                      <a:pt x="121" y="698"/>
                    </a:cubicBezTo>
                    <a:cubicBezTo>
                      <a:pt x="121" y="699"/>
                      <a:pt x="121" y="699"/>
                      <a:pt x="121" y="699"/>
                    </a:cubicBezTo>
                    <a:cubicBezTo>
                      <a:pt x="120" y="699"/>
                      <a:pt x="120" y="699"/>
                      <a:pt x="120" y="698"/>
                    </a:cubicBezTo>
                    <a:cubicBezTo>
                      <a:pt x="120" y="698"/>
                      <a:pt x="120" y="698"/>
                      <a:pt x="120" y="698"/>
                    </a:cubicBezTo>
                    <a:cubicBezTo>
                      <a:pt x="120" y="698"/>
                      <a:pt x="120" y="698"/>
                      <a:pt x="120" y="698"/>
                    </a:cubicBezTo>
                    <a:cubicBezTo>
                      <a:pt x="119" y="698"/>
                      <a:pt x="119" y="697"/>
                      <a:pt x="119" y="697"/>
                    </a:cubicBezTo>
                    <a:cubicBezTo>
                      <a:pt x="119" y="696"/>
                      <a:pt x="119" y="696"/>
                      <a:pt x="120" y="696"/>
                    </a:cubicBezTo>
                    <a:cubicBezTo>
                      <a:pt x="120" y="696"/>
                      <a:pt x="120" y="696"/>
                      <a:pt x="120" y="696"/>
                    </a:cubicBezTo>
                    <a:cubicBezTo>
                      <a:pt x="120" y="696"/>
                      <a:pt x="120" y="696"/>
                      <a:pt x="120" y="696"/>
                    </a:cubicBezTo>
                    <a:cubicBezTo>
                      <a:pt x="120" y="696"/>
                      <a:pt x="120" y="696"/>
                      <a:pt x="120" y="696"/>
                    </a:cubicBezTo>
                    <a:cubicBezTo>
                      <a:pt x="119" y="696"/>
                      <a:pt x="119" y="696"/>
                      <a:pt x="119" y="695"/>
                    </a:cubicBezTo>
                    <a:cubicBezTo>
                      <a:pt x="119" y="695"/>
                      <a:pt x="119" y="695"/>
                      <a:pt x="119" y="695"/>
                    </a:cubicBezTo>
                    <a:cubicBezTo>
                      <a:pt x="119" y="695"/>
                      <a:pt x="119" y="695"/>
                      <a:pt x="118" y="695"/>
                    </a:cubicBezTo>
                    <a:cubicBezTo>
                      <a:pt x="118" y="696"/>
                      <a:pt x="118" y="695"/>
                      <a:pt x="118" y="695"/>
                    </a:cubicBezTo>
                    <a:cubicBezTo>
                      <a:pt x="118" y="695"/>
                      <a:pt x="118" y="695"/>
                      <a:pt x="118" y="695"/>
                    </a:cubicBezTo>
                    <a:cubicBezTo>
                      <a:pt x="118" y="695"/>
                      <a:pt x="119" y="694"/>
                      <a:pt x="119" y="694"/>
                    </a:cubicBezTo>
                    <a:cubicBezTo>
                      <a:pt x="119" y="694"/>
                      <a:pt x="119" y="694"/>
                      <a:pt x="119" y="693"/>
                    </a:cubicBezTo>
                    <a:cubicBezTo>
                      <a:pt x="119" y="693"/>
                      <a:pt x="119" y="693"/>
                      <a:pt x="119" y="693"/>
                    </a:cubicBezTo>
                    <a:cubicBezTo>
                      <a:pt x="120" y="692"/>
                      <a:pt x="120" y="692"/>
                      <a:pt x="120" y="692"/>
                    </a:cubicBezTo>
                    <a:cubicBezTo>
                      <a:pt x="120" y="692"/>
                      <a:pt x="120" y="692"/>
                      <a:pt x="119" y="692"/>
                    </a:cubicBezTo>
                    <a:cubicBezTo>
                      <a:pt x="119" y="692"/>
                      <a:pt x="119" y="692"/>
                      <a:pt x="119" y="692"/>
                    </a:cubicBezTo>
                    <a:cubicBezTo>
                      <a:pt x="119" y="692"/>
                      <a:pt x="119" y="693"/>
                      <a:pt x="119" y="693"/>
                    </a:cubicBezTo>
                    <a:cubicBezTo>
                      <a:pt x="119" y="693"/>
                      <a:pt x="119" y="693"/>
                      <a:pt x="118" y="693"/>
                    </a:cubicBezTo>
                    <a:cubicBezTo>
                      <a:pt x="118" y="693"/>
                      <a:pt x="118" y="693"/>
                      <a:pt x="118" y="693"/>
                    </a:cubicBezTo>
                    <a:cubicBezTo>
                      <a:pt x="118" y="693"/>
                      <a:pt x="118" y="693"/>
                      <a:pt x="118" y="694"/>
                    </a:cubicBezTo>
                    <a:cubicBezTo>
                      <a:pt x="118" y="694"/>
                      <a:pt x="118" y="694"/>
                      <a:pt x="118" y="694"/>
                    </a:cubicBezTo>
                    <a:cubicBezTo>
                      <a:pt x="118" y="694"/>
                      <a:pt x="118" y="694"/>
                      <a:pt x="118" y="694"/>
                    </a:cubicBezTo>
                    <a:cubicBezTo>
                      <a:pt x="118" y="694"/>
                      <a:pt x="118" y="694"/>
                      <a:pt x="118" y="694"/>
                    </a:cubicBezTo>
                    <a:cubicBezTo>
                      <a:pt x="118" y="694"/>
                      <a:pt x="118" y="694"/>
                      <a:pt x="118" y="694"/>
                    </a:cubicBezTo>
                    <a:cubicBezTo>
                      <a:pt x="118" y="695"/>
                      <a:pt x="118" y="695"/>
                      <a:pt x="118" y="695"/>
                    </a:cubicBezTo>
                    <a:cubicBezTo>
                      <a:pt x="117" y="695"/>
                      <a:pt x="117" y="695"/>
                      <a:pt x="117" y="695"/>
                    </a:cubicBezTo>
                    <a:cubicBezTo>
                      <a:pt x="117" y="695"/>
                      <a:pt x="117" y="695"/>
                      <a:pt x="117" y="695"/>
                    </a:cubicBezTo>
                    <a:cubicBezTo>
                      <a:pt x="116" y="695"/>
                      <a:pt x="116" y="694"/>
                      <a:pt x="116" y="694"/>
                    </a:cubicBezTo>
                    <a:cubicBezTo>
                      <a:pt x="116" y="694"/>
                      <a:pt x="116" y="694"/>
                      <a:pt x="115" y="694"/>
                    </a:cubicBezTo>
                    <a:cubicBezTo>
                      <a:pt x="115" y="694"/>
                      <a:pt x="115" y="694"/>
                      <a:pt x="115" y="694"/>
                    </a:cubicBezTo>
                    <a:cubicBezTo>
                      <a:pt x="114" y="694"/>
                      <a:pt x="114" y="694"/>
                      <a:pt x="114" y="693"/>
                    </a:cubicBezTo>
                    <a:cubicBezTo>
                      <a:pt x="114" y="693"/>
                      <a:pt x="114" y="693"/>
                      <a:pt x="114" y="693"/>
                    </a:cubicBezTo>
                    <a:cubicBezTo>
                      <a:pt x="114" y="693"/>
                      <a:pt x="114" y="693"/>
                      <a:pt x="114" y="693"/>
                    </a:cubicBezTo>
                    <a:cubicBezTo>
                      <a:pt x="114" y="692"/>
                      <a:pt x="113" y="692"/>
                      <a:pt x="113" y="692"/>
                    </a:cubicBezTo>
                    <a:cubicBezTo>
                      <a:pt x="113" y="692"/>
                      <a:pt x="113" y="691"/>
                      <a:pt x="113" y="691"/>
                    </a:cubicBezTo>
                    <a:cubicBezTo>
                      <a:pt x="113" y="691"/>
                      <a:pt x="114" y="691"/>
                      <a:pt x="114" y="691"/>
                    </a:cubicBezTo>
                    <a:cubicBezTo>
                      <a:pt x="114" y="691"/>
                      <a:pt x="115" y="691"/>
                      <a:pt x="115" y="691"/>
                    </a:cubicBezTo>
                    <a:cubicBezTo>
                      <a:pt x="115" y="691"/>
                      <a:pt x="115" y="691"/>
                      <a:pt x="115" y="691"/>
                    </a:cubicBezTo>
                    <a:cubicBezTo>
                      <a:pt x="115" y="691"/>
                      <a:pt x="115" y="691"/>
                      <a:pt x="115" y="691"/>
                    </a:cubicBezTo>
                    <a:cubicBezTo>
                      <a:pt x="115" y="690"/>
                      <a:pt x="115" y="690"/>
                      <a:pt x="115" y="690"/>
                    </a:cubicBezTo>
                    <a:cubicBezTo>
                      <a:pt x="115" y="690"/>
                      <a:pt x="115" y="690"/>
                      <a:pt x="115" y="690"/>
                    </a:cubicBezTo>
                    <a:cubicBezTo>
                      <a:pt x="115" y="690"/>
                      <a:pt x="115" y="689"/>
                      <a:pt x="115" y="689"/>
                    </a:cubicBezTo>
                    <a:cubicBezTo>
                      <a:pt x="115" y="689"/>
                      <a:pt x="115" y="689"/>
                      <a:pt x="115" y="689"/>
                    </a:cubicBezTo>
                    <a:cubicBezTo>
                      <a:pt x="115" y="689"/>
                      <a:pt x="115" y="689"/>
                      <a:pt x="115" y="688"/>
                    </a:cubicBezTo>
                    <a:cubicBezTo>
                      <a:pt x="116" y="688"/>
                      <a:pt x="116" y="688"/>
                      <a:pt x="116" y="688"/>
                    </a:cubicBezTo>
                    <a:cubicBezTo>
                      <a:pt x="115" y="687"/>
                      <a:pt x="115" y="687"/>
                      <a:pt x="115" y="687"/>
                    </a:cubicBezTo>
                    <a:cubicBezTo>
                      <a:pt x="115" y="687"/>
                      <a:pt x="115" y="687"/>
                      <a:pt x="115" y="687"/>
                    </a:cubicBezTo>
                    <a:cubicBezTo>
                      <a:pt x="115" y="687"/>
                      <a:pt x="115" y="687"/>
                      <a:pt x="115" y="687"/>
                    </a:cubicBezTo>
                    <a:cubicBezTo>
                      <a:pt x="114" y="687"/>
                      <a:pt x="115" y="687"/>
                      <a:pt x="115" y="687"/>
                    </a:cubicBezTo>
                    <a:cubicBezTo>
                      <a:pt x="115" y="687"/>
                      <a:pt x="115" y="687"/>
                      <a:pt x="115" y="687"/>
                    </a:cubicBezTo>
                    <a:cubicBezTo>
                      <a:pt x="115" y="688"/>
                      <a:pt x="115" y="688"/>
                      <a:pt x="115" y="688"/>
                    </a:cubicBezTo>
                    <a:cubicBezTo>
                      <a:pt x="115" y="688"/>
                      <a:pt x="115" y="688"/>
                      <a:pt x="115" y="688"/>
                    </a:cubicBezTo>
                    <a:cubicBezTo>
                      <a:pt x="115" y="688"/>
                      <a:pt x="115" y="689"/>
                      <a:pt x="115" y="689"/>
                    </a:cubicBezTo>
                    <a:cubicBezTo>
                      <a:pt x="114" y="689"/>
                      <a:pt x="114" y="689"/>
                      <a:pt x="114" y="689"/>
                    </a:cubicBezTo>
                    <a:cubicBezTo>
                      <a:pt x="114" y="689"/>
                      <a:pt x="114" y="689"/>
                      <a:pt x="114" y="689"/>
                    </a:cubicBezTo>
                    <a:cubicBezTo>
                      <a:pt x="114" y="690"/>
                      <a:pt x="115" y="690"/>
                      <a:pt x="115" y="690"/>
                    </a:cubicBezTo>
                    <a:cubicBezTo>
                      <a:pt x="115" y="690"/>
                      <a:pt x="115" y="690"/>
                      <a:pt x="115" y="690"/>
                    </a:cubicBezTo>
                    <a:cubicBezTo>
                      <a:pt x="115" y="690"/>
                      <a:pt x="114" y="690"/>
                      <a:pt x="114" y="690"/>
                    </a:cubicBezTo>
                    <a:cubicBezTo>
                      <a:pt x="114" y="691"/>
                      <a:pt x="114" y="690"/>
                      <a:pt x="114" y="690"/>
                    </a:cubicBezTo>
                    <a:cubicBezTo>
                      <a:pt x="114" y="690"/>
                      <a:pt x="113" y="691"/>
                      <a:pt x="113" y="691"/>
                    </a:cubicBezTo>
                    <a:cubicBezTo>
                      <a:pt x="113" y="691"/>
                      <a:pt x="113" y="691"/>
                      <a:pt x="113" y="691"/>
                    </a:cubicBezTo>
                    <a:cubicBezTo>
                      <a:pt x="113" y="691"/>
                      <a:pt x="113" y="691"/>
                      <a:pt x="113" y="691"/>
                    </a:cubicBezTo>
                    <a:cubicBezTo>
                      <a:pt x="112" y="691"/>
                      <a:pt x="112" y="691"/>
                      <a:pt x="111" y="691"/>
                    </a:cubicBezTo>
                    <a:cubicBezTo>
                      <a:pt x="111" y="691"/>
                      <a:pt x="111" y="691"/>
                      <a:pt x="111" y="691"/>
                    </a:cubicBezTo>
                    <a:cubicBezTo>
                      <a:pt x="111" y="691"/>
                      <a:pt x="111" y="691"/>
                      <a:pt x="111" y="691"/>
                    </a:cubicBezTo>
                    <a:cubicBezTo>
                      <a:pt x="110" y="690"/>
                      <a:pt x="110" y="690"/>
                      <a:pt x="110" y="689"/>
                    </a:cubicBezTo>
                    <a:cubicBezTo>
                      <a:pt x="109" y="689"/>
                      <a:pt x="109" y="689"/>
                      <a:pt x="108" y="688"/>
                    </a:cubicBezTo>
                    <a:cubicBezTo>
                      <a:pt x="108" y="688"/>
                      <a:pt x="108" y="688"/>
                      <a:pt x="108" y="688"/>
                    </a:cubicBezTo>
                    <a:cubicBezTo>
                      <a:pt x="108" y="688"/>
                      <a:pt x="108" y="688"/>
                      <a:pt x="108" y="688"/>
                    </a:cubicBezTo>
                    <a:cubicBezTo>
                      <a:pt x="109" y="688"/>
                      <a:pt x="109" y="688"/>
                      <a:pt x="109" y="688"/>
                    </a:cubicBezTo>
                    <a:cubicBezTo>
                      <a:pt x="109" y="688"/>
                      <a:pt x="110" y="688"/>
                      <a:pt x="110" y="687"/>
                    </a:cubicBezTo>
                    <a:cubicBezTo>
                      <a:pt x="110" y="687"/>
                      <a:pt x="110" y="687"/>
                      <a:pt x="110" y="687"/>
                    </a:cubicBezTo>
                    <a:cubicBezTo>
                      <a:pt x="110" y="686"/>
                      <a:pt x="110" y="686"/>
                      <a:pt x="110" y="686"/>
                    </a:cubicBezTo>
                    <a:cubicBezTo>
                      <a:pt x="110" y="686"/>
                      <a:pt x="110" y="685"/>
                      <a:pt x="110" y="685"/>
                    </a:cubicBezTo>
                    <a:cubicBezTo>
                      <a:pt x="110" y="685"/>
                      <a:pt x="110" y="685"/>
                      <a:pt x="110" y="685"/>
                    </a:cubicBezTo>
                    <a:cubicBezTo>
                      <a:pt x="110" y="684"/>
                      <a:pt x="110" y="684"/>
                      <a:pt x="110" y="684"/>
                    </a:cubicBezTo>
                    <a:cubicBezTo>
                      <a:pt x="110" y="684"/>
                      <a:pt x="110" y="684"/>
                      <a:pt x="109" y="684"/>
                    </a:cubicBezTo>
                    <a:cubicBezTo>
                      <a:pt x="109" y="684"/>
                      <a:pt x="109" y="685"/>
                      <a:pt x="109" y="685"/>
                    </a:cubicBezTo>
                    <a:cubicBezTo>
                      <a:pt x="108" y="685"/>
                      <a:pt x="108" y="685"/>
                      <a:pt x="108" y="685"/>
                    </a:cubicBezTo>
                    <a:cubicBezTo>
                      <a:pt x="108" y="685"/>
                      <a:pt x="107" y="685"/>
                      <a:pt x="107" y="684"/>
                    </a:cubicBezTo>
                    <a:cubicBezTo>
                      <a:pt x="107" y="684"/>
                      <a:pt x="107" y="684"/>
                      <a:pt x="107" y="684"/>
                    </a:cubicBezTo>
                    <a:cubicBezTo>
                      <a:pt x="107" y="684"/>
                      <a:pt x="108" y="683"/>
                      <a:pt x="108" y="683"/>
                    </a:cubicBezTo>
                    <a:cubicBezTo>
                      <a:pt x="108" y="683"/>
                      <a:pt x="108" y="682"/>
                      <a:pt x="108" y="682"/>
                    </a:cubicBezTo>
                    <a:cubicBezTo>
                      <a:pt x="109" y="682"/>
                      <a:pt x="109" y="681"/>
                      <a:pt x="109" y="681"/>
                    </a:cubicBezTo>
                    <a:cubicBezTo>
                      <a:pt x="108" y="681"/>
                      <a:pt x="108" y="680"/>
                      <a:pt x="108" y="680"/>
                    </a:cubicBezTo>
                    <a:cubicBezTo>
                      <a:pt x="108" y="680"/>
                      <a:pt x="108" y="679"/>
                      <a:pt x="109" y="679"/>
                    </a:cubicBezTo>
                    <a:cubicBezTo>
                      <a:pt x="109" y="679"/>
                      <a:pt x="108" y="679"/>
                      <a:pt x="108" y="679"/>
                    </a:cubicBezTo>
                    <a:cubicBezTo>
                      <a:pt x="108" y="679"/>
                      <a:pt x="108" y="679"/>
                      <a:pt x="108" y="679"/>
                    </a:cubicBezTo>
                    <a:cubicBezTo>
                      <a:pt x="108" y="680"/>
                      <a:pt x="108" y="680"/>
                      <a:pt x="108" y="680"/>
                    </a:cubicBezTo>
                    <a:cubicBezTo>
                      <a:pt x="108" y="680"/>
                      <a:pt x="108" y="681"/>
                      <a:pt x="108" y="681"/>
                    </a:cubicBezTo>
                    <a:cubicBezTo>
                      <a:pt x="108" y="681"/>
                      <a:pt x="108" y="682"/>
                      <a:pt x="108" y="682"/>
                    </a:cubicBezTo>
                    <a:cubicBezTo>
                      <a:pt x="108" y="683"/>
                      <a:pt x="108" y="683"/>
                      <a:pt x="107" y="683"/>
                    </a:cubicBezTo>
                    <a:cubicBezTo>
                      <a:pt x="107" y="684"/>
                      <a:pt x="107" y="684"/>
                      <a:pt x="106" y="684"/>
                    </a:cubicBezTo>
                    <a:cubicBezTo>
                      <a:pt x="106" y="684"/>
                      <a:pt x="106" y="685"/>
                      <a:pt x="106" y="685"/>
                    </a:cubicBezTo>
                    <a:cubicBezTo>
                      <a:pt x="106" y="685"/>
                      <a:pt x="106" y="685"/>
                      <a:pt x="106" y="685"/>
                    </a:cubicBezTo>
                    <a:cubicBezTo>
                      <a:pt x="106" y="686"/>
                      <a:pt x="107" y="686"/>
                      <a:pt x="107" y="686"/>
                    </a:cubicBezTo>
                    <a:cubicBezTo>
                      <a:pt x="107" y="686"/>
                      <a:pt x="107" y="687"/>
                      <a:pt x="107" y="687"/>
                    </a:cubicBezTo>
                    <a:cubicBezTo>
                      <a:pt x="108" y="687"/>
                      <a:pt x="108" y="687"/>
                      <a:pt x="108" y="687"/>
                    </a:cubicBezTo>
                    <a:cubicBezTo>
                      <a:pt x="108" y="687"/>
                      <a:pt x="108" y="688"/>
                      <a:pt x="108" y="688"/>
                    </a:cubicBezTo>
                    <a:cubicBezTo>
                      <a:pt x="108" y="688"/>
                      <a:pt x="108" y="688"/>
                      <a:pt x="108" y="688"/>
                    </a:cubicBezTo>
                    <a:cubicBezTo>
                      <a:pt x="108" y="688"/>
                      <a:pt x="108" y="688"/>
                      <a:pt x="108" y="688"/>
                    </a:cubicBezTo>
                    <a:cubicBezTo>
                      <a:pt x="108" y="688"/>
                      <a:pt x="107" y="688"/>
                      <a:pt x="107" y="688"/>
                    </a:cubicBezTo>
                    <a:cubicBezTo>
                      <a:pt x="107" y="688"/>
                      <a:pt x="107" y="688"/>
                      <a:pt x="107" y="688"/>
                    </a:cubicBezTo>
                    <a:cubicBezTo>
                      <a:pt x="107" y="687"/>
                      <a:pt x="107" y="687"/>
                      <a:pt x="107" y="687"/>
                    </a:cubicBezTo>
                    <a:cubicBezTo>
                      <a:pt x="107" y="687"/>
                      <a:pt x="106" y="686"/>
                      <a:pt x="106" y="687"/>
                    </a:cubicBezTo>
                    <a:cubicBezTo>
                      <a:pt x="106" y="687"/>
                      <a:pt x="106" y="687"/>
                      <a:pt x="106" y="687"/>
                    </a:cubicBezTo>
                    <a:cubicBezTo>
                      <a:pt x="106" y="687"/>
                      <a:pt x="106" y="687"/>
                      <a:pt x="106" y="687"/>
                    </a:cubicBezTo>
                    <a:cubicBezTo>
                      <a:pt x="106" y="687"/>
                      <a:pt x="106" y="687"/>
                      <a:pt x="106" y="687"/>
                    </a:cubicBezTo>
                    <a:cubicBezTo>
                      <a:pt x="106" y="687"/>
                      <a:pt x="106" y="687"/>
                      <a:pt x="106" y="687"/>
                    </a:cubicBezTo>
                    <a:cubicBezTo>
                      <a:pt x="105" y="687"/>
                      <a:pt x="105" y="687"/>
                      <a:pt x="105" y="686"/>
                    </a:cubicBezTo>
                    <a:cubicBezTo>
                      <a:pt x="105" y="686"/>
                      <a:pt x="105" y="685"/>
                      <a:pt x="105" y="685"/>
                    </a:cubicBezTo>
                    <a:cubicBezTo>
                      <a:pt x="105" y="684"/>
                      <a:pt x="105" y="684"/>
                      <a:pt x="105" y="684"/>
                    </a:cubicBezTo>
                    <a:cubicBezTo>
                      <a:pt x="105" y="684"/>
                      <a:pt x="105" y="683"/>
                      <a:pt x="105" y="684"/>
                    </a:cubicBezTo>
                    <a:cubicBezTo>
                      <a:pt x="105" y="684"/>
                      <a:pt x="104" y="684"/>
                      <a:pt x="104" y="684"/>
                    </a:cubicBezTo>
                    <a:cubicBezTo>
                      <a:pt x="104" y="684"/>
                      <a:pt x="105" y="684"/>
                      <a:pt x="105" y="685"/>
                    </a:cubicBezTo>
                    <a:cubicBezTo>
                      <a:pt x="105" y="685"/>
                      <a:pt x="105" y="685"/>
                      <a:pt x="105" y="685"/>
                    </a:cubicBezTo>
                    <a:cubicBezTo>
                      <a:pt x="105" y="685"/>
                      <a:pt x="104" y="685"/>
                      <a:pt x="104" y="685"/>
                    </a:cubicBezTo>
                    <a:cubicBezTo>
                      <a:pt x="104" y="685"/>
                      <a:pt x="104" y="685"/>
                      <a:pt x="104" y="685"/>
                    </a:cubicBezTo>
                    <a:cubicBezTo>
                      <a:pt x="104" y="685"/>
                      <a:pt x="104" y="685"/>
                      <a:pt x="104" y="685"/>
                    </a:cubicBezTo>
                    <a:cubicBezTo>
                      <a:pt x="103" y="685"/>
                      <a:pt x="103" y="685"/>
                      <a:pt x="103" y="685"/>
                    </a:cubicBezTo>
                    <a:cubicBezTo>
                      <a:pt x="103" y="685"/>
                      <a:pt x="103" y="685"/>
                      <a:pt x="103" y="685"/>
                    </a:cubicBezTo>
                    <a:cubicBezTo>
                      <a:pt x="103" y="684"/>
                      <a:pt x="103" y="684"/>
                      <a:pt x="103" y="684"/>
                    </a:cubicBezTo>
                    <a:cubicBezTo>
                      <a:pt x="104" y="684"/>
                      <a:pt x="104" y="684"/>
                      <a:pt x="104" y="683"/>
                    </a:cubicBezTo>
                    <a:cubicBezTo>
                      <a:pt x="104" y="683"/>
                      <a:pt x="104" y="683"/>
                      <a:pt x="104" y="683"/>
                    </a:cubicBezTo>
                    <a:cubicBezTo>
                      <a:pt x="103" y="683"/>
                      <a:pt x="103" y="684"/>
                      <a:pt x="102" y="684"/>
                    </a:cubicBezTo>
                    <a:cubicBezTo>
                      <a:pt x="102" y="684"/>
                      <a:pt x="102" y="684"/>
                      <a:pt x="102" y="684"/>
                    </a:cubicBezTo>
                    <a:cubicBezTo>
                      <a:pt x="102" y="685"/>
                      <a:pt x="102" y="684"/>
                      <a:pt x="101" y="684"/>
                    </a:cubicBezTo>
                    <a:cubicBezTo>
                      <a:pt x="102" y="684"/>
                      <a:pt x="102" y="684"/>
                      <a:pt x="102" y="684"/>
                    </a:cubicBezTo>
                    <a:cubicBezTo>
                      <a:pt x="102" y="684"/>
                      <a:pt x="102" y="683"/>
                      <a:pt x="102" y="683"/>
                    </a:cubicBezTo>
                    <a:cubicBezTo>
                      <a:pt x="102" y="683"/>
                      <a:pt x="102" y="684"/>
                      <a:pt x="101" y="684"/>
                    </a:cubicBezTo>
                    <a:cubicBezTo>
                      <a:pt x="101" y="684"/>
                      <a:pt x="100" y="684"/>
                      <a:pt x="100" y="683"/>
                    </a:cubicBezTo>
                    <a:cubicBezTo>
                      <a:pt x="100" y="683"/>
                      <a:pt x="100" y="683"/>
                      <a:pt x="100" y="683"/>
                    </a:cubicBezTo>
                    <a:cubicBezTo>
                      <a:pt x="101" y="682"/>
                      <a:pt x="101" y="682"/>
                      <a:pt x="101" y="682"/>
                    </a:cubicBezTo>
                    <a:cubicBezTo>
                      <a:pt x="102" y="682"/>
                      <a:pt x="102" y="682"/>
                      <a:pt x="103" y="681"/>
                    </a:cubicBezTo>
                    <a:cubicBezTo>
                      <a:pt x="103" y="681"/>
                      <a:pt x="103" y="681"/>
                      <a:pt x="103" y="681"/>
                    </a:cubicBezTo>
                    <a:cubicBezTo>
                      <a:pt x="104" y="681"/>
                      <a:pt x="104" y="680"/>
                      <a:pt x="104" y="680"/>
                    </a:cubicBezTo>
                    <a:cubicBezTo>
                      <a:pt x="104" y="680"/>
                      <a:pt x="104" y="679"/>
                      <a:pt x="104" y="678"/>
                    </a:cubicBezTo>
                    <a:cubicBezTo>
                      <a:pt x="104" y="678"/>
                      <a:pt x="104" y="678"/>
                      <a:pt x="104" y="678"/>
                    </a:cubicBezTo>
                    <a:cubicBezTo>
                      <a:pt x="104" y="678"/>
                      <a:pt x="104" y="678"/>
                      <a:pt x="104" y="678"/>
                    </a:cubicBezTo>
                    <a:cubicBezTo>
                      <a:pt x="104" y="678"/>
                      <a:pt x="103" y="678"/>
                      <a:pt x="103" y="678"/>
                    </a:cubicBezTo>
                    <a:cubicBezTo>
                      <a:pt x="103" y="678"/>
                      <a:pt x="103" y="678"/>
                      <a:pt x="103" y="679"/>
                    </a:cubicBezTo>
                    <a:cubicBezTo>
                      <a:pt x="103" y="679"/>
                      <a:pt x="103" y="679"/>
                      <a:pt x="103" y="680"/>
                    </a:cubicBezTo>
                    <a:cubicBezTo>
                      <a:pt x="103" y="680"/>
                      <a:pt x="102" y="680"/>
                      <a:pt x="102" y="681"/>
                    </a:cubicBezTo>
                    <a:cubicBezTo>
                      <a:pt x="102" y="681"/>
                      <a:pt x="102" y="682"/>
                      <a:pt x="101" y="682"/>
                    </a:cubicBezTo>
                    <a:cubicBezTo>
                      <a:pt x="101" y="682"/>
                      <a:pt x="100" y="681"/>
                      <a:pt x="100" y="682"/>
                    </a:cubicBezTo>
                    <a:cubicBezTo>
                      <a:pt x="99" y="681"/>
                      <a:pt x="100" y="681"/>
                      <a:pt x="100" y="681"/>
                    </a:cubicBezTo>
                    <a:cubicBezTo>
                      <a:pt x="100" y="681"/>
                      <a:pt x="100" y="681"/>
                      <a:pt x="100" y="680"/>
                    </a:cubicBezTo>
                    <a:cubicBezTo>
                      <a:pt x="100" y="680"/>
                      <a:pt x="100" y="680"/>
                      <a:pt x="99" y="680"/>
                    </a:cubicBezTo>
                    <a:cubicBezTo>
                      <a:pt x="99" y="680"/>
                      <a:pt x="98" y="680"/>
                      <a:pt x="98" y="680"/>
                    </a:cubicBezTo>
                    <a:cubicBezTo>
                      <a:pt x="98" y="680"/>
                      <a:pt x="97" y="680"/>
                      <a:pt x="97" y="680"/>
                    </a:cubicBezTo>
                    <a:cubicBezTo>
                      <a:pt x="97" y="680"/>
                      <a:pt x="97" y="679"/>
                      <a:pt x="97" y="679"/>
                    </a:cubicBezTo>
                    <a:cubicBezTo>
                      <a:pt x="98" y="679"/>
                      <a:pt x="98" y="679"/>
                      <a:pt x="99" y="679"/>
                    </a:cubicBezTo>
                    <a:cubicBezTo>
                      <a:pt x="99" y="679"/>
                      <a:pt x="99" y="679"/>
                      <a:pt x="99" y="679"/>
                    </a:cubicBezTo>
                    <a:cubicBezTo>
                      <a:pt x="99" y="679"/>
                      <a:pt x="98" y="679"/>
                      <a:pt x="98" y="679"/>
                    </a:cubicBezTo>
                    <a:cubicBezTo>
                      <a:pt x="97" y="679"/>
                      <a:pt x="97" y="679"/>
                      <a:pt x="97" y="679"/>
                    </a:cubicBezTo>
                    <a:cubicBezTo>
                      <a:pt x="97" y="679"/>
                      <a:pt x="97" y="679"/>
                      <a:pt x="97" y="679"/>
                    </a:cubicBezTo>
                    <a:cubicBezTo>
                      <a:pt x="96" y="680"/>
                      <a:pt x="95" y="679"/>
                      <a:pt x="95" y="679"/>
                    </a:cubicBezTo>
                    <a:cubicBezTo>
                      <a:pt x="94" y="680"/>
                      <a:pt x="94" y="680"/>
                      <a:pt x="94" y="680"/>
                    </a:cubicBezTo>
                    <a:cubicBezTo>
                      <a:pt x="93" y="680"/>
                      <a:pt x="93" y="680"/>
                      <a:pt x="93" y="680"/>
                    </a:cubicBezTo>
                    <a:cubicBezTo>
                      <a:pt x="92" y="679"/>
                      <a:pt x="92" y="680"/>
                      <a:pt x="91" y="679"/>
                    </a:cubicBezTo>
                    <a:cubicBezTo>
                      <a:pt x="91" y="679"/>
                      <a:pt x="91" y="679"/>
                      <a:pt x="91" y="679"/>
                    </a:cubicBezTo>
                    <a:cubicBezTo>
                      <a:pt x="91" y="678"/>
                      <a:pt x="90" y="677"/>
                      <a:pt x="89" y="676"/>
                    </a:cubicBezTo>
                    <a:cubicBezTo>
                      <a:pt x="89" y="676"/>
                      <a:pt x="89" y="676"/>
                      <a:pt x="89" y="676"/>
                    </a:cubicBezTo>
                    <a:cubicBezTo>
                      <a:pt x="89" y="676"/>
                      <a:pt x="89" y="676"/>
                      <a:pt x="89" y="675"/>
                    </a:cubicBezTo>
                    <a:cubicBezTo>
                      <a:pt x="90" y="675"/>
                      <a:pt x="91" y="675"/>
                      <a:pt x="90" y="675"/>
                    </a:cubicBezTo>
                    <a:cubicBezTo>
                      <a:pt x="90" y="675"/>
                      <a:pt x="90" y="675"/>
                      <a:pt x="90" y="675"/>
                    </a:cubicBezTo>
                    <a:cubicBezTo>
                      <a:pt x="90" y="675"/>
                      <a:pt x="89" y="675"/>
                      <a:pt x="89" y="674"/>
                    </a:cubicBezTo>
                    <a:cubicBezTo>
                      <a:pt x="89" y="674"/>
                      <a:pt x="89" y="674"/>
                      <a:pt x="89" y="674"/>
                    </a:cubicBezTo>
                    <a:cubicBezTo>
                      <a:pt x="90" y="674"/>
                      <a:pt x="90" y="673"/>
                      <a:pt x="90" y="673"/>
                    </a:cubicBezTo>
                    <a:cubicBezTo>
                      <a:pt x="91" y="673"/>
                      <a:pt x="91" y="672"/>
                      <a:pt x="91" y="672"/>
                    </a:cubicBezTo>
                    <a:cubicBezTo>
                      <a:pt x="91" y="672"/>
                      <a:pt x="91" y="672"/>
                      <a:pt x="91" y="671"/>
                    </a:cubicBezTo>
                    <a:cubicBezTo>
                      <a:pt x="91" y="671"/>
                      <a:pt x="91" y="671"/>
                      <a:pt x="91" y="671"/>
                    </a:cubicBezTo>
                    <a:cubicBezTo>
                      <a:pt x="92" y="671"/>
                      <a:pt x="92" y="671"/>
                      <a:pt x="92" y="671"/>
                    </a:cubicBezTo>
                    <a:cubicBezTo>
                      <a:pt x="92" y="671"/>
                      <a:pt x="92" y="671"/>
                      <a:pt x="92" y="670"/>
                    </a:cubicBezTo>
                    <a:cubicBezTo>
                      <a:pt x="91" y="670"/>
                      <a:pt x="91" y="670"/>
                      <a:pt x="91" y="670"/>
                    </a:cubicBezTo>
                    <a:cubicBezTo>
                      <a:pt x="91" y="670"/>
                      <a:pt x="91" y="670"/>
                      <a:pt x="91" y="670"/>
                    </a:cubicBezTo>
                    <a:cubicBezTo>
                      <a:pt x="91" y="670"/>
                      <a:pt x="91" y="670"/>
                      <a:pt x="90" y="671"/>
                    </a:cubicBezTo>
                    <a:cubicBezTo>
                      <a:pt x="90" y="671"/>
                      <a:pt x="90" y="672"/>
                      <a:pt x="90" y="672"/>
                    </a:cubicBezTo>
                    <a:cubicBezTo>
                      <a:pt x="90" y="672"/>
                      <a:pt x="90" y="672"/>
                      <a:pt x="90" y="672"/>
                    </a:cubicBezTo>
                    <a:cubicBezTo>
                      <a:pt x="90" y="673"/>
                      <a:pt x="90" y="673"/>
                      <a:pt x="90" y="673"/>
                    </a:cubicBezTo>
                    <a:cubicBezTo>
                      <a:pt x="90" y="673"/>
                      <a:pt x="89" y="673"/>
                      <a:pt x="89" y="673"/>
                    </a:cubicBezTo>
                    <a:cubicBezTo>
                      <a:pt x="89" y="673"/>
                      <a:pt x="89" y="673"/>
                      <a:pt x="89" y="672"/>
                    </a:cubicBezTo>
                    <a:cubicBezTo>
                      <a:pt x="89" y="672"/>
                      <a:pt x="89" y="672"/>
                      <a:pt x="88" y="672"/>
                    </a:cubicBezTo>
                    <a:cubicBezTo>
                      <a:pt x="88" y="672"/>
                      <a:pt x="89" y="671"/>
                      <a:pt x="88" y="671"/>
                    </a:cubicBezTo>
                    <a:cubicBezTo>
                      <a:pt x="88" y="671"/>
                      <a:pt x="88" y="671"/>
                      <a:pt x="88" y="671"/>
                    </a:cubicBezTo>
                    <a:cubicBezTo>
                      <a:pt x="88" y="671"/>
                      <a:pt x="88" y="670"/>
                      <a:pt x="88" y="670"/>
                    </a:cubicBezTo>
                    <a:cubicBezTo>
                      <a:pt x="88" y="669"/>
                      <a:pt x="88" y="669"/>
                      <a:pt x="88" y="669"/>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8" y="668"/>
                      <a:pt x="88" y="668"/>
                      <a:pt x="88" y="668"/>
                    </a:cubicBezTo>
                    <a:cubicBezTo>
                      <a:pt x="88" y="668"/>
                      <a:pt x="88" y="667"/>
                      <a:pt x="88" y="667"/>
                    </a:cubicBezTo>
                    <a:cubicBezTo>
                      <a:pt x="88" y="667"/>
                      <a:pt x="89" y="666"/>
                      <a:pt x="89" y="666"/>
                    </a:cubicBezTo>
                    <a:cubicBezTo>
                      <a:pt x="89" y="665"/>
                      <a:pt x="89" y="665"/>
                      <a:pt x="89" y="665"/>
                    </a:cubicBezTo>
                    <a:cubicBezTo>
                      <a:pt x="89" y="665"/>
                      <a:pt x="90" y="665"/>
                      <a:pt x="90" y="665"/>
                    </a:cubicBezTo>
                    <a:cubicBezTo>
                      <a:pt x="91" y="664"/>
                      <a:pt x="91" y="664"/>
                      <a:pt x="91" y="663"/>
                    </a:cubicBezTo>
                    <a:cubicBezTo>
                      <a:pt x="91" y="663"/>
                      <a:pt x="92" y="663"/>
                      <a:pt x="92" y="663"/>
                    </a:cubicBezTo>
                    <a:cubicBezTo>
                      <a:pt x="92" y="663"/>
                      <a:pt x="92" y="663"/>
                      <a:pt x="92" y="663"/>
                    </a:cubicBezTo>
                    <a:cubicBezTo>
                      <a:pt x="92" y="664"/>
                      <a:pt x="92" y="664"/>
                      <a:pt x="92" y="664"/>
                    </a:cubicBezTo>
                    <a:cubicBezTo>
                      <a:pt x="92" y="664"/>
                      <a:pt x="91" y="665"/>
                      <a:pt x="91" y="665"/>
                    </a:cubicBezTo>
                    <a:cubicBezTo>
                      <a:pt x="90" y="665"/>
                      <a:pt x="90" y="666"/>
                      <a:pt x="90" y="666"/>
                    </a:cubicBezTo>
                    <a:cubicBezTo>
                      <a:pt x="90" y="666"/>
                      <a:pt x="90" y="666"/>
                      <a:pt x="90" y="666"/>
                    </a:cubicBezTo>
                    <a:cubicBezTo>
                      <a:pt x="90" y="666"/>
                      <a:pt x="89" y="666"/>
                      <a:pt x="89" y="667"/>
                    </a:cubicBezTo>
                    <a:cubicBezTo>
                      <a:pt x="89" y="667"/>
                      <a:pt x="90" y="667"/>
                      <a:pt x="90" y="667"/>
                    </a:cubicBezTo>
                    <a:cubicBezTo>
                      <a:pt x="90" y="667"/>
                      <a:pt x="90" y="666"/>
                      <a:pt x="90" y="666"/>
                    </a:cubicBezTo>
                    <a:cubicBezTo>
                      <a:pt x="90" y="666"/>
                      <a:pt x="90" y="666"/>
                      <a:pt x="90" y="666"/>
                    </a:cubicBezTo>
                    <a:cubicBezTo>
                      <a:pt x="90" y="666"/>
                      <a:pt x="90" y="666"/>
                      <a:pt x="91" y="666"/>
                    </a:cubicBezTo>
                    <a:cubicBezTo>
                      <a:pt x="91" y="666"/>
                      <a:pt x="91" y="666"/>
                      <a:pt x="91" y="666"/>
                    </a:cubicBezTo>
                    <a:cubicBezTo>
                      <a:pt x="91" y="666"/>
                      <a:pt x="91" y="666"/>
                      <a:pt x="91" y="665"/>
                    </a:cubicBezTo>
                    <a:cubicBezTo>
                      <a:pt x="92" y="665"/>
                      <a:pt x="92" y="665"/>
                      <a:pt x="92" y="665"/>
                    </a:cubicBezTo>
                    <a:cubicBezTo>
                      <a:pt x="92" y="665"/>
                      <a:pt x="92" y="665"/>
                      <a:pt x="92" y="665"/>
                    </a:cubicBezTo>
                    <a:cubicBezTo>
                      <a:pt x="93" y="664"/>
                      <a:pt x="93" y="664"/>
                      <a:pt x="94" y="664"/>
                    </a:cubicBezTo>
                    <a:cubicBezTo>
                      <a:pt x="94" y="664"/>
                      <a:pt x="94" y="664"/>
                      <a:pt x="94" y="664"/>
                    </a:cubicBezTo>
                    <a:cubicBezTo>
                      <a:pt x="94" y="664"/>
                      <a:pt x="94" y="665"/>
                      <a:pt x="94" y="665"/>
                    </a:cubicBezTo>
                    <a:cubicBezTo>
                      <a:pt x="94" y="665"/>
                      <a:pt x="95" y="666"/>
                      <a:pt x="95" y="666"/>
                    </a:cubicBezTo>
                    <a:cubicBezTo>
                      <a:pt x="95" y="666"/>
                      <a:pt x="95" y="667"/>
                      <a:pt x="95" y="667"/>
                    </a:cubicBezTo>
                    <a:cubicBezTo>
                      <a:pt x="96" y="667"/>
                      <a:pt x="96" y="666"/>
                      <a:pt x="96" y="666"/>
                    </a:cubicBezTo>
                    <a:cubicBezTo>
                      <a:pt x="96" y="666"/>
                      <a:pt x="96" y="666"/>
                      <a:pt x="95" y="665"/>
                    </a:cubicBezTo>
                    <a:cubicBezTo>
                      <a:pt x="95" y="665"/>
                      <a:pt x="95" y="665"/>
                      <a:pt x="95" y="665"/>
                    </a:cubicBezTo>
                    <a:cubicBezTo>
                      <a:pt x="95" y="665"/>
                      <a:pt x="95" y="665"/>
                      <a:pt x="95" y="664"/>
                    </a:cubicBezTo>
                    <a:cubicBezTo>
                      <a:pt x="95" y="664"/>
                      <a:pt x="95" y="664"/>
                      <a:pt x="95" y="664"/>
                    </a:cubicBezTo>
                    <a:cubicBezTo>
                      <a:pt x="95" y="664"/>
                      <a:pt x="95" y="664"/>
                      <a:pt x="95" y="664"/>
                    </a:cubicBezTo>
                    <a:cubicBezTo>
                      <a:pt x="95" y="664"/>
                      <a:pt x="95" y="663"/>
                      <a:pt x="95" y="663"/>
                    </a:cubicBezTo>
                    <a:cubicBezTo>
                      <a:pt x="95" y="663"/>
                      <a:pt x="95" y="663"/>
                      <a:pt x="95" y="663"/>
                    </a:cubicBezTo>
                    <a:cubicBezTo>
                      <a:pt x="95" y="663"/>
                      <a:pt x="95" y="663"/>
                      <a:pt x="95" y="663"/>
                    </a:cubicBezTo>
                    <a:cubicBezTo>
                      <a:pt x="94" y="663"/>
                      <a:pt x="94" y="663"/>
                      <a:pt x="94" y="663"/>
                    </a:cubicBezTo>
                    <a:cubicBezTo>
                      <a:pt x="93" y="663"/>
                      <a:pt x="93" y="663"/>
                      <a:pt x="93" y="663"/>
                    </a:cubicBezTo>
                    <a:cubicBezTo>
                      <a:pt x="93" y="663"/>
                      <a:pt x="93" y="663"/>
                      <a:pt x="93" y="663"/>
                    </a:cubicBezTo>
                    <a:cubicBezTo>
                      <a:pt x="93" y="663"/>
                      <a:pt x="93" y="663"/>
                      <a:pt x="93" y="663"/>
                    </a:cubicBezTo>
                    <a:cubicBezTo>
                      <a:pt x="93" y="663"/>
                      <a:pt x="93" y="663"/>
                      <a:pt x="93" y="663"/>
                    </a:cubicBezTo>
                    <a:cubicBezTo>
                      <a:pt x="93" y="662"/>
                      <a:pt x="93" y="662"/>
                      <a:pt x="93" y="662"/>
                    </a:cubicBezTo>
                    <a:cubicBezTo>
                      <a:pt x="93" y="662"/>
                      <a:pt x="93" y="662"/>
                      <a:pt x="92" y="662"/>
                    </a:cubicBezTo>
                    <a:cubicBezTo>
                      <a:pt x="92" y="662"/>
                      <a:pt x="92" y="662"/>
                      <a:pt x="92" y="662"/>
                    </a:cubicBezTo>
                    <a:cubicBezTo>
                      <a:pt x="92" y="662"/>
                      <a:pt x="93" y="662"/>
                      <a:pt x="93" y="661"/>
                    </a:cubicBezTo>
                    <a:cubicBezTo>
                      <a:pt x="93" y="661"/>
                      <a:pt x="93" y="661"/>
                      <a:pt x="93" y="661"/>
                    </a:cubicBezTo>
                    <a:cubicBezTo>
                      <a:pt x="94" y="660"/>
                      <a:pt x="95" y="660"/>
                      <a:pt x="95" y="659"/>
                    </a:cubicBezTo>
                    <a:cubicBezTo>
                      <a:pt x="95" y="658"/>
                      <a:pt x="94" y="658"/>
                      <a:pt x="94" y="658"/>
                    </a:cubicBezTo>
                    <a:cubicBezTo>
                      <a:pt x="94" y="659"/>
                      <a:pt x="94" y="659"/>
                      <a:pt x="94" y="660"/>
                    </a:cubicBezTo>
                    <a:cubicBezTo>
                      <a:pt x="94" y="660"/>
                      <a:pt x="93" y="661"/>
                      <a:pt x="93" y="661"/>
                    </a:cubicBezTo>
                    <a:cubicBezTo>
                      <a:pt x="92" y="661"/>
                      <a:pt x="92" y="662"/>
                      <a:pt x="92" y="662"/>
                    </a:cubicBezTo>
                    <a:cubicBezTo>
                      <a:pt x="92" y="662"/>
                      <a:pt x="92" y="663"/>
                      <a:pt x="92" y="663"/>
                    </a:cubicBezTo>
                    <a:cubicBezTo>
                      <a:pt x="92" y="663"/>
                      <a:pt x="91" y="663"/>
                      <a:pt x="91" y="663"/>
                    </a:cubicBezTo>
                    <a:cubicBezTo>
                      <a:pt x="91" y="662"/>
                      <a:pt x="91" y="662"/>
                      <a:pt x="91" y="662"/>
                    </a:cubicBezTo>
                    <a:cubicBezTo>
                      <a:pt x="91" y="662"/>
                      <a:pt x="91" y="663"/>
                      <a:pt x="91" y="663"/>
                    </a:cubicBezTo>
                    <a:cubicBezTo>
                      <a:pt x="91" y="663"/>
                      <a:pt x="90" y="664"/>
                      <a:pt x="90" y="664"/>
                    </a:cubicBezTo>
                    <a:cubicBezTo>
                      <a:pt x="90" y="664"/>
                      <a:pt x="89" y="664"/>
                      <a:pt x="89" y="664"/>
                    </a:cubicBezTo>
                    <a:cubicBezTo>
                      <a:pt x="89" y="664"/>
                      <a:pt x="89" y="664"/>
                      <a:pt x="89" y="664"/>
                    </a:cubicBezTo>
                    <a:cubicBezTo>
                      <a:pt x="89" y="665"/>
                      <a:pt x="88" y="665"/>
                      <a:pt x="88" y="666"/>
                    </a:cubicBezTo>
                    <a:cubicBezTo>
                      <a:pt x="88" y="666"/>
                      <a:pt x="88" y="666"/>
                      <a:pt x="88" y="667"/>
                    </a:cubicBezTo>
                    <a:cubicBezTo>
                      <a:pt x="87" y="667"/>
                      <a:pt x="87" y="667"/>
                      <a:pt x="87" y="667"/>
                    </a:cubicBezTo>
                    <a:cubicBezTo>
                      <a:pt x="87" y="667"/>
                      <a:pt x="87" y="667"/>
                      <a:pt x="87" y="667"/>
                    </a:cubicBezTo>
                    <a:cubicBezTo>
                      <a:pt x="87" y="668"/>
                      <a:pt x="88" y="669"/>
                      <a:pt x="87" y="669"/>
                    </a:cubicBezTo>
                    <a:cubicBezTo>
                      <a:pt x="87" y="669"/>
                      <a:pt x="86" y="669"/>
                      <a:pt x="86" y="668"/>
                    </a:cubicBezTo>
                    <a:cubicBezTo>
                      <a:pt x="86" y="668"/>
                      <a:pt x="87" y="667"/>
                      <a:pt x="86" y="666"/>
                    </a:cubicBezTo>
                    <a:cubicBezTo>
                      <a:pt x="86" y="667"/>
                      <a:pt x="86" y="667"/>
                      <a:pt x="86" y="667"/>
                    </a:cubicBezTo>
                    <a:cubicBezTo>
                      <a:pt x="86" y="667"/>
                      <a:pt x="86" y="667"/>
                      <a:pt x="85" y="667"/>
                    </a:cubicBezTo>
                    <a:cubicBezTo>
                      <a:pt x="85" y="666"/>
                      <a:pt x="85" y="666"/>
                      <a:pt x="84" y="666"/>
                    </a:cubicBezTo>
                    <a:cubicBezTo>
                      <a:pt x="84" y="666"/>
                      <a:pt x="84" y="666"/>
                      <a:pt x="84" y="665"/>
                    </a:cubicBezTo>
                    <a:cubicBezTo>
                      <a:pt x="84" y="665"/>
                      <a:pt x="84" y="665"/>
                      <a:pt x="85" y="665"/>
                    </a:cubicBezTo>
                    <a:cubicBezTo>
                      <a:pt x="85" y="665"/>
                      <a:pt x="86" y="665"/>
                      <a:pt x="86" y="665"/>
                    </a:cubicBezTo>
                    <a:cubicBezTo>
                      <a:pt x="86" y="666"/>
                      <a:pt x="86" y="666"/>
                      <a:pt x="86" y="666"/>
                    </a:cubicBezTo>
                    <a:cubicBezTo>
                      <a:pt x="87" y="666"/>
                      <a:pt x="87" y="666"/>
                      <a:pt x="87" y="665"/>
                    </a:cubicBezTo>
                    <a:cubicBezTo>
                      <a:pt x="87" y="665"/>
                      <a:pt x="87" y="665"/>
                      <a:pt x="87" y="664"/>
                    </a:cubicBezTo>
                    <a:cubicBezTo>
                      <a:pt x="87" y="664"/>
                      <a:pt x="87" y="664"/>
                      <a:pt x="87" y="664"/>
                    </a:cubicBezTo>
                    <a:cubicBezTo>
                      <a:pt x="87" y="664"/>
                      <a:pt x="87" y="664"/>
                      <a:pt x="87" y="665"/>
                    </a:cubicBezTo>
                    <a:cubicBezTo>
                      <a:pt x="87" y="665"/>
                      <a:pt x="87" y="665"/>
                      <a:pt x="86" y="665"/>
                    </a:cubicBezTo>
                    <a:cubicBezTo>
                      <a:pt x="86" y="665"/>
                      <a:pt x="86" y="665"/>
                      <a:pt x="86" y="665"/>
                    </a:cubicBezTo>
                    <a:cubicBezTo>
                      <a:pt x="86" y="665"/>
                      <a:pt x="87" y="664"/>
                      <a:pt x="87" y="664"/>
                    </a:cubicBezTo>
                    <a:cubicBezTo>
                      <a:pt x="86" y="664"/>
                      <a:pt x="86" y="664"/>
                      <a:pt x="86" y="664"/>
                    </a:cubicBezTo>
                    <a:cubicBezTo>
                      <a:pt x="86" y="664"/>
                      <a:pt x="86" y="664"/>
                      <a:pt x="86" y="663"/>
                    </a:cubicBezTo>
                    <a:cubicBezTo>
                      <a:pt x="87" y="663"/>
                      <a:pt x="87" y="663"/>
                      <a:pt x="87" y="662"/>
                    </a:cubicBezTo>
                    <a:cubicBezTo>
                      <a:pt x="87" y="662"/>
                      <a:pt x="88" y="662"/>
                      <a:pt x="88" y="662"/>
                    </a:cubicBezTo>
                    <a:cubicBezTo>
                      <a:pt x="88" y="662"/>
                      <a:pt x="88" y="662"/>
                      <a:pt x="88" y="662"/>
                    </a:cubicBezTo>
                    <a:cubicBezTo>
                      <a:pt x="88" y="662"/>
                      <a:pt x="88" y="662"/>
                      <a:pt x="88" y="662"/>
                    </a:cubicBezTo>
                    <a:cubicBezTo>
                      <a:pt x="88" y="662"/>
                      <a:pt x="88" y="661"/>
                      <a:pt x="88" y="661"/>
                    </a:cubicBezTo>
                    <a:cubicBezTo>
                      <a:pt x="87" y="661"/>
                      <a:pt x="87" y="662"/>
                      <a:pt x="87" y="662"/>
                    </a:cubicBezTo>
                    <a:cubicBezTo>
                      <a:pt x="87" y="662"/>
                      <a:pt x="86" y="663"/>
                      <a:pt x="86" y="663"/>
                    </a:cubicBezTo>
                    <a:cubicBezTo>
                      <a:pt x="86" y="664"/>
                      <a:pt x="85" y="664"/>
                      <a:pt x="85" y="664"/>
                    </a:cubicBezTo>
                    <a:cubicBezTo>
                      <a:pt x="85" y="664"/>
                      <a:pt x="85" y="664"/>
                      <a:pt x="85" y="664"/>
                    </a:cubicBezTo>
                    <a:cubicBezTo>
                      <a:pt x="85" y="664"/>
                      <a:pt x="85" y="664"/>
                      <a:pt x="85" y="664"/>
                    </a:cubicBezTo>
                    <a:cubicBezTo>
                      <a:pt x="85" y="664"/>
                      <a:pt x="85" y="663"/>
                      <a:pt x="86" y="663"/>
                    </a:cubicBezTo>
                    <a:cubicBezTo>
                      <a:pt x="86" y="662"/>
                      <a:pt x="86" y="662"/>
                      <a:pt x="86" y="662"/>
                    </a:cubicBezTo>
                    <a:cubicBezTo>
                      <a:pt x="86" y="662"/>
                      <a:pt x="86" y="662"/>
                      <a:pt x="86" y="661"/>
                    </a:cubicBezTo>
                    <a:cubicBezTo>
                      <a:pt x="86" y="661"/>
                      <a:pt x="86" y="660"/>
                      <a:pt x="87" y="660"/>
                    </a:cubicBezTo>
                    <a:cubicBezTo>
                      <a:pt x="87" y="659"/>
                      <a:pt x="87" y="659"/>
                      <a:pt x="87" y="659"/>
                    </a:cubicBezTo>
                    <a:cubicBezTo>
                      <a:pt x="87" y="659"/>
                      <a:pt x="87" y="659"/>
                      <a:pt x="87" y="659"/>
                    </a:cubicBezTo>
                    <a:cubicBezTo>
                      <a:pt x="87" y="659"/>
                      <a:pt x="86" y="659"/>
                      <a:pt x="87" y="658"/>
                    </a:cubicBezTo>
                    <a:cubicBezTo>
                      <a:pt x="86" y="658"/>
                      <a:pt x="86" y="658"/>
                      <a:pt x="86" y="658"/>
                    </a:cubicBezTo>
                    <a:cubicBezTo>
                      <a:pt x="86" y="658"/>
                      <a:pt x="86" y="658"/>
                      <a:pt x="86" y="659"/>
                    </a:cubicBezTo>
                    <a:cubicBezTo>
                      <a:pt x="86" y="659"/>
                      <a:pt x="86" y="659"/>
                      <a:pt x="86" y="660"/>
                    </a:cubicBezTo>
                    <a:cubicBezTo>
                      <a:pt x="86" y="660"/>
                      <a:pt x="86" y="660"/>
                      <a:pt x="86" y="661"/>
                    </a:cubicBezTo>
                    <a:cubicBezTo>
                      <a:pt x="85" y="661"/>
                      <a:pt x="85" y="662"/>
                      <a:pt x="85" y="663"/>
                    </a:cubicBezTo>
                    <a:cubicBezTo>
                      <a:pt x="85" y="663"/>
                      <a:pt x="85" y="663"/>
                      <a:pt x="85" y="664"/>
                    </a:cubicBezTo>
                    <a:cubicBezTo>
                      <a:pt x="85" y="664"/>
                      <a:pt x="84" y="664"/>
                      <a:pt x="84" y="664"/>
                    </a:cubicBezTo>
                    <a:cubicBezTo>
                      <a:pt x="84" y="663"/>
                      <a:pt x="84" y="663"/>
                      <a:pt x="84" y="663"/>
                    </a:cubicBezTo>
                    <a:cubicBezTo>
                      <a:pt x="85" y="662"/>
                      <a:pt x="85" y="662"/>
                      <a:pt x="84" y="661"/>
                    </a:cubicBezTo>
                    <a:cubicBezTo>
                      <a:pt x="84" y="660"/>
                      <a:pt x="84" y="659"/>
                      <a:pt x="85" y="658"/>
                    </a:cubicBezTo>
                    <a:cubicBezTo>
                      <a:pt x="85" y="658"/>
                      <a:pt x="84" y="658"/>
                      <a:pt x="84" y="658"/>
                    </a:cubicBezTo>
                    <a:cubicBezTo>
                      <a:pt x="84" y="658"/>
                      <a:pt x="84" y="658"/>
                      <a:pt x="84" y="657"/>
                    </a:cubicBezTo>
                    <a:cubicBezTo>
                      <a:pt x="84" y="657"/>
                      <a:pt x="84" y="657"/>
                      <a:pt x="84" y="657"/>
                    </a:cubicBezTo>
                    <a:cubicBezTo>
                      <a:pt x="84" y="657"/>
                      <a:pt x="84" y="658"/>
                      <a:pt x="84" y="658"/>
                    </a:cubicBezTo>
                    <a:cubicBezTo>
                      <a:pt x="84" y="658"/>
                      <a:pt x="83" y="659"/>
                      <a:pt x="83" y="659"/>
                    </a:cubicBezTo>
                    <a:cubicBezTo>
                      <a:pt x="83" y="660"/>
                      <a:pt x="83" y="660"/>
                      <a:pt x="83" y="660"/>
                    </a:cubicBezTo>
                    <a:cubicBezTo>
                      <a:pt x="83" y="660"/>
                      <a:pt x="84" y="660"/>
                      <a:pt x="84" y="660"/>
                    </a:cubicBezTo>
                    <a:cubicBezTo>
                      <a:pt x="84" y="660"/>
                      <a:pt x="84" y="660"/>
                      <a:pt x="84" y="661"/>
                    </a:cubicBezTo>
                    <a:cubicBezTo>
                      <a:pt x="84" y="661"/>
                      <a:pt x="84" y="662"/>
                      <a:pt x="84" y="662"/>
                    </a:cubicBezTo>
                    <a:cubicBezTo>
                      <a:pt x="84" y="662"/>
                      <a:pt x="84" y="663"/>
                      <a:pt x="84" y="663"/>
                    </a:cubicBezTo>
                    <a:cubicBezTo>
                      <a:pt x="84" y="663"/>
                      <a:pt x="84" y="663"/>
                      <a:pt x="84" y="663"/>
                    </a:cubicBezTo>
                    <a:cubicBezTo>
                      <a:pt x="83" y="663"/>
                      <a:pt x="83" y="663"/>
                      <a:pt x="83" y="663"/>
                    </a:cubicBezTo>
                    <a:cubicBezTo>
                      <a:pt x="83" y="663"/>
                      <a:pt x="83" y="663"/>
                      <a:pt x="83" y="663"/>
                    </a:cubicBezTo>
                    <a:cubicBezTo>
                      <a:pt x="83" y="663"/>
                      <a:pt x="83" y="663"/>
                      <a:pt x="83" y="663"/>
                    </a:cubicBezTo>
                    <a:cubicBezTo>
                      <a:pt x="83" y="663"/>
                      <a:pt x="83" y="664"/>
                      <a:pt x="83" y="664"/>
                    </a:cubicBezTo>
                    <a:cubicBezTo>
                      <a:pt x="83" y="664"/>
                      <a:pt x="83" y="664"/>
                      <a:pt x="83" y="664"/>
                    </a:cubicBezTo>
                    <a:cubicBezTo>
                      <a:pt x="83" y="664"/>
                      <a:pt x="83" y="664"/>
                      <a:pt x="83" y="664"/>
                    </a:cubicBezTo>
                    <a:cubicBezTo>
                      <a:pt x="83" y="664"/>
                      <a:pt x="82" y="663"/>
                      <a:pt x="82" y="663"/>
                    </a:cubicBezTo>
                    <a:cubicBezTo>
                      <a:pt x="82" y="663"/>
                      <a:pt x="82" y="663"/>
                      <a:pt x="82" y="663"/>
                    </a:cubicBezTo>
                    <a:cubicBezTo>
                      <a:pt x="82" y="663"/>
                      <a:pt x="82" y="663"/>
                      <a:pt x="82" y="663"/>
                    </a:cubicBezTo>
                    <a:cubicBezTo>
                      <a:pt x="82" y="662"/>
                      <a:pt x="83" y="662"/>
                      <a:pt x="82" y="661"/>
                    </a:cubicBezTo>
                    <a:cubicBezTo>
                      <a:pt x="82" y="661"/>
                      <a:pt x="82" y="661"/>
                      <a:pt x="82" y="661"/>
                    </a:cubicBezTo>
                    <a:cubicBezTo>
                      <a:pt x="82" y="660"/>
                      <a:pt x="82" y="660"/>
                      <a:pt x="82" y="660"/>
                    </a:cubicBezTo>
                    <a:cubicBezTo>
                      <a:pt x="82" y="660"/>
                      <a:pt x="82" y="660"/>
                      <a:pt x="82" y="660"/>
                    </a:cubicBezTo>
                    <a:cubicBezTo>
                      <a:pt x="83" y="660"/>
                      <a:pt x="82" y="659"/>
                      <a:pt x="83" y="658"/>
                    </a:cubicBezTo>
                    <a:cubicBezTo>
                      <a:pt x="83" y="658"/>
                      <a:pt x="83" y="658"/>
                      <a:pt x="83" y="658"/>
                    </a:cubicBezTo>
                    <a:cubicBezTo>
                      <a:pt x="83" y="658"/>
                      <a:pt x="83" y="657"/>
                      <a:pt x="83" y="657"/>
                    </a:cubicBezTo>
                    <a:cubicBezTo>
                      <a:pt x="82" y="658"/>
                      <a:pt x="82" y="659"/>
                      <a:pt x="82" y="659"/>
                    </a:cubicBezTo>
                    <a:cubicBezTo>
                      <a:pt x="82" y="660"/>
                      <a:pt x="82" y="660"/>
                      <a:pt x="82" y="660"/>
                    </a:cubicBezTo>
                    <a:cubicBezTo>
                      <a:pt x="81" y="660"/>
                      <a:pt x="81" y="660"/>
                      <a:pt x="81" y="660"/>
                    </a:cubicBezTo>
                    <a:cubicBezTo>
                      <a:pt x="81" y="660"/>
                      <a:pt x="81" y="660"/>
                      <a:pt x="80" y="659"/>
                    </a:cubicBezTo>
                    <a:cubicBezTo>
                      <a:pt x="80" y="659"/>
                      <a:pt x="80" y="659"/>
                      <a:pt x="80" y="658"/>
                    </a:cubicBezTo>
                    <a:cubicBezTo>
                      <a:pt x="80" y="658"/>
                      <a:pt x="80" y="658"/>
                      <a:pt x="80" y="658"/>
                    </a:cubicBezTo>
                    <a:cubicBezTo>
                      <a:pt x="80" y="658"/>
                      <a:pt x="80" y="658"/>
                      <a:pt x="80" y="657"/>
                    </a:cubicBezTo>
                    <a:cubicBezTo>
                      <a:pt x="80" y="657"/>
                      <a:pt x="80" y="657"/>
                      <a:pt x="80" y="657"/>
                    </a:cubicBezTo>
                    <a:cubicBezTo>
                      <a:pt x="80" y="657"/>
                      <a:pt x="80" y="656"/>
                      <a:pt x="80" y="656"/>
                    </a:cubicBezTo>
                    <a:cubicBezTo>
                      <a:pt x="80" y="655"/>
                      <a:pt x="80" y="654"/>
                      <a:pt x="80" y="653"/>
                    </a:cubicBezTo>
                    <a:cubicBezTo>
                      <a:pt x="81" y="653"/>
                      <a:pt x="81" y="653"/>
                      <a:pt x="81" y="653"/>
                    </a:cubicBezTo>
                    <a:cubicBezTo>
                      <a:pt x="82" y="653"/>
                      <a:pt x="82" y="652"/>
                      <a:pt x="81" y="652"/>
                    </a:cubicBezTo>
                    <a:cubicBezTo>
                      <a:pt x="81" y="652"/>
                      <a:pt x="81" y="651"/>
                      <a:pt x="81" y="651"/>
                    </a:cubicBezTo>
                    <a:cubicBezTo>
                      <a:pt x="81" y="651"/>
                      <a:pt x="81" y="651"/>
                      <a:pt x="81" y="651"/>
                    </a:cubicBezTo>
                    <a:cubicBezTo>
                      <a:pt x="81" y="651"/>
                      <a:pt x="81" y="650"/>
                      <a:pt x="82" y="650"/>
                    </a:cubicBezTo>
                    <a:cubicBezTo>
                      <a:pt x="82" y="651"/>
                      <a:pt x="82" y="651"/>
                      <a:pt x="82" y="651"/>
                    </a:cubicBezTo>
                    <a:cubicBezTo>
                      <a:pt x="83" y="652"/>
                      <a:pt x="84" y="652"/>
                      <a:pt x="84" y="652"/>
                    </a:cubicBezTo>
                    <a:cubicBezTo>
                      <a:pt x="85" y="652"/>
                      <a:pt x="85" y="652"/>
                      <a:pt x="85" y="652"/>
                    </a:cubicBezTo>
                    <a:cubicBezTo>
                      <a:pt x="86" y="651"/>
                      <a:pt x="86" y="652"/>
                      <a:pt x="87" y="652"/>
                    </a:cubicBezTo>
                    <a:cubicBezTo>
                      <a:pt x="87" y="652"/>
                      <a:pt x="87" y="653"/>
                      <a:pt x="88" y="652"/>
                    </a:cubicBezTo>
                    <a:cubicBezTo>
                      <a:pt x="87" y="652"/>
                      <a:pt x="87" y="652"/>
                      <a:pt x="87" y="651"/>
                    </a:cubicBezTo>
                    <a:cubicBezTo>
                      <a:pt x="86" y="651"/>
                      <a:pt x="86" y="651"/>
                      <a:pt x="85" y="651"/>
                    </a:cubicBezTo>
                    <a:cubicBezTo>
                      <a:pt x="85" y="651"/>
                      <a:pt x="85" y="651"/>
                      <a:pt x="85" y="651"/>
                    </a:cubicBezTo>
                    <a:cubicBezTo>
                      <a:pt x="84" y="651"/>
                      <a:pt x="84" y="651"/>
                      <a:pt x="84" y="651"/>
                    </a:cubicBezTo>
                    <a:cubicBezTo>
                      <a:pt x="83" y="651"/>
                      <a:pt x="83" y="651"/>
                      <a:pt x="83" y="650"/>
                    </a:cubicBezTo>
                    <a:cubicBezTo>
                      <a:pt x="82" y="650"/>
                      <a:pt x="82" y="649"/>
                      <a:pt x="82" y="649"/>
                    </a:cubicBezTo>
                    <a:cubicBezTo>
                      <a:pt x="82" y="649"/>
                      <a:pt x="82" y="649"/>
                      <a:pt x="82" y="649"/>
                    </a:cubicBezTo>
                    <a:cubicBezTo>
                      <a:pt x="82" y="648"/>
                      <a:pt x="82" y="648"/>
                      <a:pt x="82" y="648"/>
                    </a:cubicBezTo>
                    <a:cubicBezTo>
                      <a:pt x="82" y="648"/>
                      <a:pt x="82" y="648"/>
                      <a:pt x="82" y="648"/>
                    </a:cubicBezTo>
                    <a:cubicBezTo>
                      <a:pt x="83" y="647"/>
                      <a:pt x="83" y="647"/>
                      <a:pt x="83" y="646"/>
                    </a:cubicBezTo>
                    <a:cubicBezTo>
                      <a:pt x="83" y="646"/>
                      <a:pt x="83" y="646"/>
                      <a:pt x="83" y="646"/>
                    </a:cubicBezTo>
                    <a:cubicBezTo>
                      <a:pt x="83" y="646"/>
                      <a:pt x="83" y="646"/>
                      <a:pt x="82" y="646"/>
                    </a:cubicBezTo>
                    <a:cubicBezTo>
                      <a:pt x="82" y="646"/>
                      <a:pt x="82" y="646"/>
                      <a:pt x="82" y="646"/>
                    </a:cubicBezTo>
                    <a:cubicBezTo>
                      <a:pt x="82" y="647"/>
                      <a:pt x="81" y="647"/>
                      <a:pt x="81" y="647"/>
                    </a:cubicBezTo>
                    <a:cubicBezTo>
                      <a:pt x="81" y="648"/>
                      <a:pt x="81" y="648"/>
                      <a:pt x="80" y="648"/>
                    </a:cubicBezTo>
                    <a:cubicBezTo>
                      <a:pt x="80" y="649"/>
                      <a:pt x="79" y="649"/>
                      <a:pt x="79" y="649"/>
                    </a:cubicBezTo>
                    <a:cubicBezTo>
                      <a:pt x="79" y="650"/>
                      <a:pt x="79" y="651"/>
                      <a:pt x="79" y="652"/>
                    </a:cubicBezTo>
                    <a:cubicBezTo>
                      <a:pt x="79" y="652"/>
                      <a:pt x="79" y="652"/>
                      <a:pt x="79" y="652"/>
                    </a:cubicBezTo>
                    <a:cubicBezTo>
                      <a:pt x="79" y="652"/>
                      <a:pt x="79" y="652"/>
                      <a:pt x="79" y="652"/>
                    </a:cubicBezTo>
                    <a:cubicBezTo>
                      <a:pt x="78" y="652"/>
                      <a:pt x="78" y="652"/>
                      <a:pt x="78" y="653"/>
                    </a:cubicBezTo>
                    <a:cubicBezTo>
                      <a:pt x="78" y="653"/>
                      <a:pt x="78" y="653"/>
                      <a:pt x="78" y="653"/>
                    </a:cubicBezTo>
                    <a:cubicBezTo>
                      <a:pt x="77" y="653"/>
                      <a:pt x="77" y="654"/>
                      <a:pt x="77" y="654"/>
                    </a:cubicBezTo>
                    <a:cubicBezTo>
                      <a:pt x="77" y="654"/>
                      <a:pt x="77" y="654"/>
                      <a:pt x="76" y="653"/>
                    </a:cubicBezTo>
                    <a:cubicBezTo>
                      <a:pt x="76" y="653"/>
                      <a:pt x="75" y="653"/>
                      <a:pt x="75" y="652"/>
                    </a:cubicBezTo>
                    <a:cubicBezTo>
                      <a:pt x="75" y="652"/>
                      <a:pt x="75" y="652"/>
                      <a:pt x="75" y="651"/>
                    </a:cubicBezTo>
                    <a:cubicBezTo>
                      <a:pt x="75" y="651"/>
                      <a:pt x="74" y="651"/>
                      <a:pt x="74" y="651"/>
                    </a:cubicBezTo>
                    <a:cubicBezTo>
                      <a:pt x="74" y="651"/>
                      <a:pt x="74" y="650"/>
                      <a:pt x="74" y="650"/>
                    </a:cubicBezTo>
                    <a:cubicBezTo>
                      <a:pt x="74" y="650"/>
                      <a:pt x="74" y="650"/>
                      <a:pt x="74" y="650"/>
                    </a:cubicBezTo>
                    <a:cubicBezTo>
                      <a:pt x="74" y="650"/>
                      <a:pt x="73" y="649"/>
                      <a:pt x="73" y="648"/>
                    </a:cubicBezTo>
                    <a:cubicBezTo>
                      <a:pt x="73" y="649"/>
                      <a:pt x="73" y="649"/>
                      <a:pt x="73" y="649"/>
                    </a:cubicBezTo>
                    <a:cubicBezTo>
                      <a:pt x="73" y="649"/>
                      <a:pt x="73" y="650"/>
                      <a:pt x="73" y="650"/>
                    </a:cubicBezTo>
                    <a:cubicBezTo>
                      <a:pt x="73" y="650"/>
                      <a:pt x="73" y="650"/>
                      <a:pt x="73" y="650"/>
                    </a:cubicBezTo>
                    <a:cubicBezTo>
                      <a:pt x="73" y="650"/>
                      <a:pt x="73" y="650"/>
                      <a:pt x="73" y="650"/>
                    </a:cubicBezTo>
                    <a:cubicBezTo>
                      <a:pt x="72" y="649"/>
                      <a:pt x="72" y="650"/>
                      <a:pt x="71" y="649"/>
                    </a:cubicBezTo>
                    <a:cubicBezTo>
                      <a:pt x="71" y="649"/>
                      <a:pt x="71" y="648"/>
                      <a:pt x="72" y="648"/>
                    </a:cubicBezTo>
                    <a:cubicBezTo>
                      <a:pt x="72" y="648"/>
                      <a:pt x="72" y="648"/>
                      <a:pt x="72" y="648"/>
                    </a:cubicBezTo>
                    <a:cubicBezTo>
                      <a:pt x="72" y="648"/>
                      <a:pt x="72" y="648"/>
                      <a:pt x="72" y="648"/>
                    </a:cubicBezTo>
                    <a:cubicBezTo>
                      <a:pt x="73" y="648"/>
                      <a:pt x="73" y="648"/>
                      <a:pt x="73" y="648"/>
                    </a:cubicBezTo>
                    <a:cubicBezTo>
                      <a:pt x="73" y="648"/>
                      <a:pt x="73" y="648"/>
                      <a:pt x="73" y="647"/>
                    </a:cubicBezTo>
                    <a:cubicBezTo>
                      <a:pt x="73" y="647"/>
                      <a:pt x="73" y="647"/>
                      <a:pt x="72" y="647"/>
                    </a:cubicBezTo>
                    <a:cubicBezTo>
                      <a:pt x="72" y="647"/>
                      <a:pt x="72" y="647"/>
                      <a:pt x="72" y="647"/>
                    </a:cubicBezTo>
                    <a:cubicBezTo>
                      <a:pt x="72" y="646"/>
                      <a:pt x="73" y="646"/>
                      <a:pt x="73" y="646"/>
                    </a:cubicBezTo>
                    <a:cubicBezTo>
                      <a:pt x="73" y="646"/>
                      <a:pt x="73" y="647"/>
                      <a:pt x="73" y="647"/>
                    </a:cubicBezTo>
                    <a:cubicBezTo>
                      <a:pt x="74" y="647"/>
                      <a:pt x="74" y="648"/>
                      <a:pt x="75" y="649"/>
                    </a:cubicBezTo>
                    <a:cubicBezTo>
                      <a:pt x="75" y="649"/>
                      <a:pt x="75" y="649"/>
                      <a:pt x="75" y="649"/>
                    </a:cubicBezTo>
                    <a:cubicBezTo>
                      <a:pt x="75" y="649"/>
                      <a:pt x="75" y="649"/>
                      <a:pt x="76" y="649"/>
                    </a:cubicBezTo>
                    <a:cubicBezTo>
                      <a:pt x="76" y="649"/>
                      <a:pt x="76" y="648"/>
                      <a:pt x="75" y="648"/>
                    </a:cubicBezTo>
                    <a:cubicBezTo>
                      <a:pt x="75" y="648"/>
                      <a:pt x="74" y="647"/>
                      <a:pt x="73" y="646"/>
                    </a:cubicBezTo>
                    <a:cubicBezTo>
                      <a:pt x="73" y="646"/>
                      <a:pt x="73" y="645"/>
                      <a:pt x="73" y="645"/>
                    </a:cubicBezTo>
                    <a:cubicBezTo>
                      <a:pt x="73" y="645"/>
                      <a:pt x="73" y="645"/>
                      <a:pt x="73" y="644"/>
                    </a:cubicBezTo>
                    <a:cubicBezTo>
                      <a:pt x="73" y="644"/>
                      <a:pt x="73" y="644"/>
                      <a:pt x="74" y="644"/>
                    </a:cubicBezTo>
                    <a:cubicBezTo>
                      <a:pt x="74" y="644"/>
                      <a:pt x="74" y="644"/>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3" y="643"/>
                      <a:pt x="73" y="643"/>
                      <a:pt x="73" y="644"/>
                    </a:cubicBezTo>
                    <a:cubicBezTo>
                      <a:pt x="73" y="644"/>
                      <a:pt x="73" y="644"/>
                      <a:pt x="73" y="644"/>
                    </a:cubicBezTo>
                    <a:cubicBezTo>
                      <a:pt x="73" y="644"/>
                      <a:pt x="73" y="644"/>
                      <a:pt x="72" y="644"/>
                    </a:cubicBezTo>
                    <a:cubicBezTo>
                      <a:pt x="72" y="644"/>
                      <a:pt x="72" y="644"/>
                      <a:pt x="72" y="644"/>
                    </a:cubicBezTo>
                    <a:cubicBezTo>
                      <a:pt x="72" y="644"/>
                      <a:pt x="72" y="644"/>
                      <a:pt x="72" y="644"/>
                    </a:cubicBezTo>
                    <a:cubicBezTo>
                      <a:pt x="72" y="643"/>
                      <a:pt x="72" y="643"/>
                      <a:pt x="72" y="643"/>
                    </a:cubicBezTo>
                    <a:cubicBezTo>
                      <a:pt x="72" y="643"/>
                      <a:pt x="72" y="642"/>
                      <a:pt x="72" y="642"/>
                    </a:cubicBezTo>
                    <a:cubicBezTo>
                      <a:pt x="72" y="642"/>
                      <a:pt x="72" y="642"/>
                      <a:pt x="72" y="642"/>
                    </a:cubicBezTo>
                    <a:cubicBezTo>
                      <a:pt x="72" y="642"/>
                      <a:pt x="72" y="642"/>
                      <a:pt x="72" y="642"/>
                    </a:cubicBezTo>
                    <a:cubicBezTo>
                      <a:pt x="72" y="642"/>
                      <a:pt x="72" y="642"/>
                      <a:pt x="72" y="642"/>
                    </a:cubicBezTo>
                    <a:cubicBezTo>
                      <a:pt x="72" y="642"/>
                      <a:pt x="72" y="641"/>
                      <a:pt x="72" y="641"/>
                    </a:cubicBezTo>
                    <a:cubicBezTo>
                      <a:pt x="72" y="641"/>
                      <a:pt x="72" y="641"/>
                      <a:pt x="72" y="641"/>
                    </a:cubicBezTo>
                    <a:cubicBezTo>
                      <a:pt x="72" y="641"/>
                      <a:pt x="72" y="641"/>
                      <a:pt x="72" y="641"/>
                    </a:cubicBezTo>
                    <a:cubicBezTo>
                      <a:pt x="72" y="641"/>
                      <a:pt x="72" y="641"/>
                      <a:pt x="72" y="641"/>
                    </a:cubicBezTo>
                    <a:cubicBezTo>
                      <a:pt x="71" y="642"/>
                      <a:pt x="71" y="642"/>
                      <a:pt x="71" y="641"/>
                    </a:cubicBezTo>
                    <a:cubicBezTo>
                      <a:pt x="71" y="641"/>
                      <a:pt x="71" y="641"/>
                      <a:pt x="71" y="641"/>
                    </a:cubicBezTo>
                    <a:cubicBezTo>
                      <a:pt x="71" y="641"/>
                      <a:pt x="71" y="641"/>
                      <a:pt x="71" y="641"/>
                    </a:cubicBezTo>
                    <a:cubicBezTo>
                      <a:pt x="71" y="640"/>
                      <a:pt x="71" y="640"/>
                      <a:pt x="71" y="640"/>
                    </a:cubicBezTo>
                    <a:cubicBezTo>
                      <a:pt x="71" y="640"/>
                      <a:pt x="71" y="640"/>
                      <a:pt x="71" y="640"/>
                    </a:cubicBezTo>
                    <a:cubicBezTo>
                      <a:pt x="71" y="640"/>
                      <a:pt x="71" y="639"/>
                      <a:pt x="71" y="639"/>
                    </a:cubicBezTo>
                    <a:cubicBezTo>
                      <a:pt x="71" y="639"/>
                      <a:pt x="71" y="639"/>
                      <a:pt x="71" y="639"/>
                    </a:cubicBezTo>
                    <a:cubicBezTo>
                      <a:pt x="71" y="639"/>
                      <a:pt x="71" y="639"/>
                      <a:pt x="72" y="639"/>
                    </a:cubicBezTo>
                    <a:cubicBezTo>
                      <a:pt x="72" y="639"/>
                      <a:pt x="72" y="639"/>
                      <a:pt x="72" y="639"/>
                    </a:cubicBezTo>
                    <a:cubicBezTo>
                      <a:pt x="72" y="640"/>
                      <a:pt x="72" y="640"/>
                      <a:pt x="72" y="640"/>
                    </a:cubicBezTo>
                    <a:cubicBezTo>
                      <a:pt x="73" y="640"/>
                      <a:pt x="73" y="640"/>
                      <a:pt x="73" y="640"/>
                    </a:cubicBezTo>
                    <a:cubicBezTo>
                      <a:pt x="73" y="640"/>
                      <a:pt x="73" y="640"/>
                      <a:pt x="73" y="640"/>
                    </a:cubicBezTo>
                    <a:cubicBezTo>
                      <a:pt x="73" y="640"/>
                      <a:pt x="73" y="640"/>
                      <a:pt x="73" y="640"/>
                    </a:cubicBezTo>
                    <a:cubicBezTo>
                      <a:pt x="73" y="640"/>
                      <a:pt x="73" y="639"/>
                      <a:pt x="72" y="639"/>
                    </a:cubicBezTo>
                    <a:cubicBezTo>
                      <a:pt x="72" y="639"/>
                      <a:pt x="72" y="639"/>
                      <a:pt x="72" y="639"/>
                    </a:cubicBezTo>
                    <a:cubicBezTo>
                      <a:pt x="72" y="639"/>
                      <a:pt x="72" y="639"/>
                      <a:pt x="72" y="639"/>
                    </a:cubicBezTo>
                    <a:cubicBezTo>
                      <a:pt x="72" y="638"/>
                      <a:pt x="72" y="638"/>
                      <a:pt x="72" y="638"/>
                    </a:cubicBezTo>
                    <a:cubicBezTo>
                      <a:pt x="72" y="638"/>
                      <a:pt x="72" y="638"/>
                      <a:pt x="71" y="638"/>
                    </a:cubicBezTo>
                    <a:cubicBezTo>
                      <a:pt x="71" y="639"/>
                      <a:pt x="71" y="639"/>
                      <a:pt x="71" y="639"/>
                    </a:cubicBezTo>
                    <a:cubicBezTo>
                      <a:pt x="71" y="639"/>
                      <a:pt x="71" y="639"/>
                      <a:pt x="71" y="639"/>
                    </a:cubicBezTo>
                    <a:cubicBezTo>
                      <a:pt x="71" y="639"/>
                      <a:pt x="71" y="639"/>
                      <a:pt x="71" y="638"/>
                    </a:cubicBezTo>
                    <a:cubicBezTo>
                      <a:pt x="71" y="638"/>
                      <a:pt x="71" y="638"/>
                      <a:pt x="71" y="638"/>
                    </a:cubicBezTo>
                    <a:cubicBezTo>
                      <a:pt x="71" y="638"/>
                      <a:pt x="71" y="638"/>
                      <a:pt x="72" y="638"/>
                    </a:cubicBezTo>
                    <a:cubicBezTo>
                      <a:pt x="72" y="638"/>
                      <a:pt x="72" y="638"/>
                      <a:pt x="72" y="637"/>
                    </a:cubicBezTo>
                    <a:cubicBezTo>
                      <a:pt x="72" y="637"/>
                      <a:pt x="72" y="637"/>
                      <a:pt x="72" y="637"/>
                    </a:cubicBezTo>
                    <a:cubicBezTo>
                      <a:pt x="72" y="637"/>
                      <a:pt x="72" y="637"/>
                      <a:pt x="72" y="637"/>
                    </a:cubicBezTo>
                    <a:cubicBezTo>
                      <a:pt x="72" y="636"/>
                      <a:pt x="72" y="636"/>
                      <a:pt x="72" y="636"/>
                    </a:cubicBezTo>
                    <a:cubicBezTo>
                      <a:pt x="72" y="636"/>
                      <a:pt x="73" y="636"/>
                      <a:pt x="73" y="636"/>
                    </a:cubicBezTo>
                    <a:cubicBezTo>
                      <a:pt x="73" y="636"/>
                      <a:pt x="73" y="635"/>
                      <a:pt x="73" y="635"/>
                    </a:cubicBezTo>
                    <a:cubicBezTo>
                      <a:pt x="73" y="635"/>
                      <a:pt x="73" y="635"/>
                      <a:pt x="73" y="635"/>
                    </a:cubicBezTo>
                    <a:cubicBezTo>
                      <a:pt x="73" y="635"/>
                      <a:pt x="73" y="635"/>
                      <a:pt x="73" y="635"/>
                    </a:cubicBezTo>
                    <a:cubicBezTo>
                      <a:pt x="73" y="635"/>
                      <a:pt x="73" y="635"/>
                      <a:pt x="73" y="634"/>
                    </a:cubicBezTo>
                    <a:cubicBezTo>
                      <a:pt x="74" y="634"/>
                      <a:pt x="74" y="634"/>
                      <a:pt x="74" y="634"/>
                    </a:cubicBezTo>
                    <a:cubicBezTo>
                      <a:pt x="74" y="634"/>
                      <a:pt x="74" y="634"/>
                      <a:pt x="74" y="634"/>
                    </a:cubicBezTo>
                    <a:cubicBezTo>
                      <a:pt x="74" y="634"/>
                      <a:pt x="74" y="634"/>
                      <a:pt x="75" y="634"/>
                    </a:cubicBezTo>
                    <a:cubicBezTo>
                      <a:pt x="75" y="634"/>
                      <a:pt x="75" y="634"/>
                      <a:pt x="76" y="634"/>
                    </a:cubicBezTo>
                    <a:cubicBezTo>
                      <a:pt x="76" y="634"/>
                      <a:pt x="76" y="634"/>
                      <a:pt x="76" y="634"/>
                    </a:cubicBezTo>
                    <a:cubicBezTo>
                      <a:pt x="76" y="634"/>
                      <a:pt x="76" y="633"/>
                      <a:pt x="76" y="633"/>
                    </a:cubicBezTo>
                    <a:cubicBezTo>
                      <a:pt x="76" y="633"/>
                      <a:pt x="76" y="633"/>
                      <a:pt x="75" y="634"/>
                    </a:cubicBezTo>
                    <a:cubicBezTo>
                      <a:pt x="75" y="634"/>
                      <a:pt x="75" y="634"/>
                      <a:pt x="75" y="634"/>
                    </a:cubicBezTo>
                    <a:cubicBezTo>
                      <a:pt x="75" y="634"/>
                      <a:pt x="75" y="634"/>
                      <a:pt x="75" y="634"/>
                    </a:cubicBezTo>
                    <a:cubicBezTo>
                      <a:pt x="75" y="634"/>
                      <a:pt x="74" y="634"/>
                      <a:pt x="74" y="634"/>
                    </a:cubicBezTo>
                    <a:cubicBezTo>
                      <a:pt x="74" y="634"/>
                      <a:pt x="74" y="634"/>
                      <a:pt x="74" y="633"/>
                    </a:cubicBezTo>
                    <a:cubicBezTo>
                      <a:pt x="74" y="633"/>
                      <a:pt x="74" y="633"/>
                      <a:pt x="74" y="633"/>
                    </a:cubicBezTo>
                    <a:cubicBezTo>
                      <a:pt x="74" y="633"/>
                      <a:pt x="74" y="633"/>
                      <a:pt x="74" y="633"/>
                    </a:cubicBezTo>
                    <a:cubicBezTo>
                      <a:pt x="74" y="632"/>
                      <a:pt x="74" y="632"/>
                      <a:pt x="75" y="632"/>
                    </a:cubicBezTo>
                    <a:cubicBezTo>
                      <a:pt x="75" y="632"/>
                      <a:pt x="75" y="631"/>
                      <a:pt x="75" y="631"/>
                    </a:cubicBezTo>
                    <a:cubicBezTo>
                      <a:pt x="76" y="630"/>
                      <a:pt x="76" y="630"/>
                      <a:pt x="76" y="630"/>
                    </a:cubicBezTo>
                    <a:cubicBezTo>
                      <a:pt x="76" y="630"/>
                      <a:pt x="76" y="629"/>
                      <a:pt x="76" y="629"/>
                    </a:cubicBezTo>
                    <a:cubicBezTo>
                      <a:pt x="76" y="629"/>
                      <a:pt x="76" y="629"/>
                      <a:pt x="76" y="629"/>
                    </a:cubicBezTo>
                    <a:cubicBezTo>
                      <a:pt x="76" y="628"/>
                      <a:pt x="76" y="628"/>
                      <a:pt x="76" y="628"/>
                    </a:cubicBezTo>
                    <a:cubicBezTo>
                      <a:pt x="76" y="628"/>
                      <a:pt x="76" y="628"/>
                      <a:pt x="76" y="628"/>
                    </a:cubicBezTo>
                    <a:cubicBezTo>
                      <a:pt x="76" y="628"/>
                      <a:pt x="75" y="627"/>
                      <a:pt x="75" y="627"/>
                    </a:cubicBezTo>
                    <a:cubicBezTo>
                      <a:pt x="75" y="628"/>
                      <a:pt x="75" y="628"/>
                      <a:pt x="75" y="629"/>
                    </a:cubicBezTo>
                    <a:cubicBezTo>
                      <a:pt x="75" y="629"/>
                      <a:pt x="75" y="629"/>
                      <a:pt x="75" y="629"/>
                    </a:cubicBezTo>
                    <a:cubicBezTo>
                      <a:pt x="75" y="629"/>
                      <a:pt x="75" y="630"/>
                      <a:pt x="75" y="630"/>
                    </a:cubicBezTo>
                    <a:cubicBezTo>
                      <a:pt x="75" y="630"/>
                      <a:pt x="75" y="630"/>
                      <a:pt x="75" y="631"/>
                    </a:cubicBezTo>
                    <a:cubicBezTo>
                      <a:pt x="75" y="631"/>
                      <a:pt x="74" y="631"/>
                      <a:pt x="74" y="632"/>
                    </a:cubicBezTo>
                    <a:cubicBezTo>
                      <a:pt x="74" y="632"/>
                      <a:pt x="74" y="632"/>
                      <a:pt x="74" y="633"/>
                    </a:cubicBezTo>
                    <a:cubicBezTo>
                      <a:pt x="74" y="633"/>
                      <a:pt x="74" y="633"/>
                      <a:pt x="73" y="634"/>
                    </a:cubicBezTo>
                    <a:cubicBezTo>
                      <a:pt x="73" y="633"/>
                      <a:pt x="73" y="633"/>
                      <a:pt x="73" y="633"/>
                    </a:cubicBezTo>
                    <a:cubicBezTo>
                      <a:pt x="73" y="633"/>
                      <a:pt x="73" y="632"/>
                      <a:pt x="73" y="632"/>
                    </a:cubicBezTo>
                    <a:cubicBezTo>
                      <a:pt x="73" y="632"/>
                      <a:pt x="73" y="632"/>
                      <a:pt x="74" y="632"/>
                    </a:cubicBezTo>
                    <a:cubicBezTo>
                      <a:pt x="74" y="632"/>
                      <a:pt x="74" y="631"/>
                      <a:pt x="74" y="631"/>
                    </a:cubicBezTo>
                    <a:cubicBezTo>
                      <a:pt x="74" y="631"/>
                      <a:pt x="74" y="631"/>
                      <a:pt x="74" y="631"/>
                    </a:cubicBezTo>
                    <a:cubicBezTo>
                      <a:pt x="74" y="631"/>
                      <a:pt x="74" y="630"/>
                      <a:pt x="74" y="630"/>
                    </a:cubicBezTo>
                    <a:cubicBezTo>
                      <a:pt x="74" y="629"/>
                      <a:pt x="74" y="628"/>
                      <a:pt x="73" y="627"/>
                    </a:cubicBezTo>
                    <a:cubicBezTo>
                      <a:pt x="73" y="626"/>
                      <a:pt x="74" y="625"/>
                      <a:pt x="73" y="624"/>
                    </a:cubicBezTo>
                    <a:cubicBezTo>
                      <a:pt x="73" y="624"/>
                      <a:pt x="73" y="624"/>
                      <a:pt x="73" y="624"/>
                    </a:cubicBezTo>
                    <a:cubicBezTo>
                      <a:pt x="74" y="623"/>
                      <a:pt x="74" y="623"/>
                      <a:pt x="74" y="623"/>
                    </a:cubicBezTo>
                    <a:cubicBezTo>
                      <a:pt x="74" y="623"/>
                      <a:pt x="74" y="622"/>
                      <a:pt x="74" y="622"/>
                    </a:cubicBezTo>
                    <a:cubicBezTo>
                      <a:pt x="74" y="622"/>
                      <a:pt x="73" y="620"/>
                      <a:pt x="73" y="620"/>
                    </a:cubicBezTo>
                    <a:cubicBezTo>
                      <a:pt x="72" y="620"/>
                      <a:pt x="72" y="620"/>
                      <a:pt x="72" y="620"/>
                    </a:cubicBezTo>
                    <a:cubicBezTo>
                      <a:pt x="71" y="620"/>
                      <a:pt x="71" y="620"/>
                      <a:pt x="71" y="620"/>
                    </a:cubicBezTo>
                    <a:cubicBezTo>
                      <a:pt x="71" y="620"/>
                      <a:pt x="71" y="620"/>
                      <a:pt x="71" y="620"/>
                    </a:cubicBezTo>
                    <a:cubicBezTo>
                      <a:pt x="71" y="619"/>
                      <a:pt x="71" y="619"/>
                      <a:pt x="71" y="619"/>
                    </a:cubicBezTo>
                    <a:cubicBezTo>
                      <a:pt x="71" y="619"/>
                      <a:pt x="70" y="619"/>
                      <a:pt x="70" y="619"/>
                    </a:cubicBezTo>
                    <a:cubicBezTo>
                      <a:pt x="70" y="619"/>
                      <a:pt x="69" y="617"/>
                      <a:pt x="69" y="617"/>
                    </a:cubicBezTo>
                    <a:cubicBezTo>
                      <a:pt x="68" y="617"/>
                      <a:pt x="68" y="617"/>
                      <a:pt x="68" y="617"/>
                    </a:cubicBezTo>
                    <a:cubicBezTo>
                      <a:pt x="66" y="617"/>
                      <a:pt x="66" y="617"/>
                      <a:pt x="66" y="617"/>
                    </a:cubicBezTo>
                    <a:cubicBezTo>
                      <a:pt x="66" y="617"/>
                      <a:pt x="63" y="614"/>
                      <a:pt x="63" y="614"/>
                    </a:cubicBezTo>
                    <a:cubicBezTo>
                      <a:pt x="63" y="614"/>
                      <a:pt x="61" y="614"/>
                      <a:pt x="61" y="614"/>
                    </a:cubicBezTo>
                    <a:cubicBezTo>
                      <a:pt x="61" y="612"/>
                      <a:pt x="61" y="612"/>
                      <a:pt x="61" y="612"/>
                    </a:cubicBezTo>
                    <a:cubicBezTo>
                      <a:pt x="60" y="611"/>
                      <a:pt x="60" y="611"/>
                      <a:pt x="60" y="611"/>
                    </a:cubicBezTo>
                    <a:cubicBezTo>
                      <a:pt x="60" y="610"/>
                      <a:pt x="60" y="610"/>
                      <a:pt x="60" y="610"/>
                    </a:cubicBezTo>
                    <a:cubicBezTo>
                      <a:pt x="60" y="610"/>
                      <a:pt x="60" y="610"/>
                      <a:pt x="60" y="610"/>
                    </a:cubicBezTo>
                    <a:cubicBezTo>
                      <a:pt x="60" y="609"/>
                      <a:pt x="60" y="609"/>
                      <a:pt x="60" y="609"/>
                    </a:cubicBezTo>
                    <a:cubicBezTo>
                      <a:pt x="58" y="608"/>
                      <a:pt x="58" y="608"/>
                      <a:pt x="58" y="608"/>
                    </a:cubicBezTo>
                    <a:cubicBezTo>
                      <a:pt x="58" y="608"/>
                      <a:pt x="58" y="608"/>
                      <a:pt x="58" y="608"/>
                    </a:cubicBezTo>
                    <a:cubicBezTo>
                      <a:pt x="58" y="608"/>
                      <a:pt x="59" y="607"/>
                      <a:pt x="59" y="607"/>
                    </a:cubicBezTo>
                    <a:cubicBezTo>
                      <a:pt x="51" y="592"/>
                      <a:pt x="51" y="592"/>
                      <a:pt x="51" y="592"/>
                    </a:cubicBezTo>
                    <a:cubicBezTo>
                      <a:pt x="51" y="592"/>
                      <a:pt x="51" y="592"/>
                      <a:pt x="51" y="592"/>
                    </a:cubicBezTo>
                    <a:cubicBezTo>
                      <a:pt x="48" y="588"/>
                      <a:pt x="48" y="588"/>
                      <a:pt x="48" y="588"/>
                    </a:cubicBezTo>
                    <a:cubicBezTo>
                      <a:pt x="46" y="586"/>
                      <a:pt x="46" y="586"/>
                      <a:pt x="46" y="586"/>
                    </a:cubicBezTo>
                    <a:cubicBezTo>
                      <a:pt x="45" y="585"/>
                      <a:pt x="45" y="585"/>
                      <a:pt x="45" y="585"/>
                    </a:cubicBezTo>
                    <a:cubicBezTo>
                      <a:pt x="45" y="585"/>
                      <a:pt x="45" y="585"/>
                      <a:pt x="45" y="585"/>
                    </a:cubicBezTo>
                    <a:cubicBezTo>
                      <a:pt x="44" y="583"/>
                      <a:pt x="44" y="583"/>
                      <a:pt x="44" y="583"/>
                    </a:cubicBezTo>
                    <a:cubicBezTo>
                      <a:pt x="42" y="582"/>
                      <a:pt x="42" y="582"/>
                      <a:pt x="42" y="582"/>
                    </a:cubicBezTo>
                    <a:cubicBezTo>
                      <a:pt x="42" y="581"/>
                      <a:pt x="42" y="581"/>
                      <a:pt x="42" y="581"/>
                    </a:cubicBezTo>
                    <a:cubicBezTo>
                      <a:pt x="40" y="580"/>
                      <a:pt x="40" y="580"/>
                      <a:pt x="40" y="580"/>
                    </a:cubicBezTo>
                    <a:cubicBezTo>
                      <a:pt x="40" y="579"/>
                      <a:pt x="40" y="579"/>
                      <a:pt x="40" y="579"/>
                    </a:cubicBezTo>
                    <a:cubicBezTo>
                      <a:pt x="40" y="579"/>
                      <a:pt x="40" y="579"/>
                      <a:pt x="40" y="579"/>
                    </a:cubicBezTo>
                    <a:cubicBezTo>
                      <a:pt x="40" y="578"/>
                      <a:pt x="40" y="578"/>
                      <a:pt x="40" y="578"/>
                    </a:cubicBezTo>
                    <a:cubicBezTo>
                      <a:pt x="40" y="578"/>
                      <a:pt x="40" y="578"/>
                      <a:pt x="40" y="578"/>
                    </a:cubicBezTo>
                    <a:cubicBezTo>
                      <a:pt x="40" y="577"/>
                      <a:pt x="40" y="577"/>
                      <a:pt x="40" y="577"/>
                    </a:cubicBezTo>
                    <a:cubicBezTo>
                      <a:pt x="37" y="574"/>
                      <a:pt x="37" y="574"/>
                      <a:pt x="37" y="574"/>
                    </a:cubicBezTo>
                    <a:cubicBezTo>
                      <a:pt x="37" y="574"/>
                      <a:pt x="37" y="574"/>
                      <a:pt x="37" y="574"/>
                    </a:cubicBezTo>
                    <a:cubicBezTo>
                      <a:pt x="33" y="576"/>
                      <a:pt x="33" y="576"/>
                      <a:pt x="33" y="576"/>
                    </a:cubicBezTo>
                    <a:cubicBezTo>
                      <a:pt x="31" y="576"/>
                      <a:pt x="31" y="576"/>
                      <a:pt x="31" y="576"/>
                    </a:cubicBezTo>
                    <a:cubicBezTo>
                      <a:pt x="31" y="576"/>
                      <a:pt x="31" y="576"/>
                      <a:pt x="31" y="576"/>
                    </a:cubicBezTo>
                    <a:cubicBezTo>
                      <a:pt x="32" y="577"/>
                      <a:pt x="32" y="577"/>
                      <a:pt x="32" y="577"/>
                    </a:cubicBezTo>
                    <a:cubicBezTo>
                      <a:pt x="32" y="577"/>
                      <a:pt x="32" y="577"/>
                      <a:pt x="32" y="577"/>
                    </a:cubicBezTo>
                    <a:cubicBezTo>
                      <a:pt x="32" y="577"/>
                      <a:pt x="32" y="578"/>
                      <a:pt x="32" y="578"/>
                    </a:cubicBezTo>
                    <a:cubicBezTo>
                      <a:pt x="31" y="578"/>
                      <a:pt x="31" y="578"/>
                      <a:pt x="31" y="578"/>
                    </a:cubicBezTo>
                    <a:cubicBezTo>
                      <a:pt x="31" y="580"/>
                      <a:pt x="31" y="580"/>
                      <a:pt x="31" y="580"/>
                    </a:cubicBezTo>
                    <a:cubicBezTo>
                      <a:pt x="30" y="582"/>
                      <a:pt x="30" y="582"/>
                      <a:pt x="30" y="582"/>
                    </a:cubicBezTo>
                    <a:cubicBezTo>
                      <a:pt x="28" y="582"/>
                      <a:pt x="28" y="582"/>
                      <a:pt x="28" y="582"/>
                    </a:cubicBezTo>
                    <a:cubicBezTo>
                      <a:pt x="23" y="586"/>
                      <a:pt x="23" y="586"/>
                      <a:pt x="23" y="586"/>
                    </a:cubicBezTo>
                    <a:cubicBezTo>
                      <a:pt x="23" y="581"/>
                      <a:pt x="23" y="581"/>
                      <a:pt x="23" y="581"/>
                    </a:cubicBezTo>
                    <a:cubicBezTo>
                      <a:pt x="16" y="574"/>
                      <a:pt x="16" y="574"/>
                      <a:pt x="16" y="574"/>
                    </a:cubicBezTo>
                    <a:cubicBezTo>
                      <a:pt x="16" y="573"/>
                      <a:pt x="16" y="573"/>
                      <a:pt x="16" y="573"/>
                    </a:cubicBezTo>
                    <a:cubicBezTo>
                      <a:pt x="16" y="572"/>
                      <a:pt x="16" y="572"/>
                      <a:pt x="16" y="572"/>
                    </a:cubicBezTo>
                    <a:cubicBezTo>
                      <a:pt x="13" y="571"/>
                      <a:pt x="13" y="571"/>
                      <a:pt x="13" y="571"/>
                    </a:cubicBezTo>
                    <a:cubicBezTo>
                      <a:pt x="12" y="570"/>
                      <a:pt x="12" y="570"/>
                      <a:pt x="12" y="570"/>
                    </a:cubicBezTo>
                    <a:cubicBezTo>
                      <a:pt x="12" y="570"/>
                      <a:pt x="12" y="569"/>
                      <a:pt x="12" y="569"/>
                    </a:cubicBezTo>
                    <a:cubicBezTo>
                      <a:pt x="12" y="569"/>
                      <a:pt x="13" y="568"/>
                      <a:pt x="13" y="568"/>
                    </a:cubicBezTo>
                    <a:cubicBezTo>
                      <a:pt x="13" y="567"/>
                      <a:pt x="13" y="566"/>
                      <a:pt x="13" y="566"/>
                    </a:cubicBezTo>
                    <a:cubicBezTo>
                      <a:pt x="9" y="566"/>
                      <a:pt x="9" y="566"/>
                      <a:pt x="9" y="566"/>
                    </a:cubicBezTo>
                    <a:cubicBezTo>
                      <a:pt x="7" y="569"/>
                      <a:pt x="7" y="569"/>
                      <a:pt x="7" y="569"/>
                    </a:cubicBezTo>
                    <a:cubicBezTo>
                      <a:pt x="7" y="569"/>
                      <a:pt x="4" y="567"/>
                      <a:pt x="4" y="567"/>
                    </a:cubicBezTo>
                    <a:cubicBezTo>
                      <a:pt x="4" y="567"/>
                      <a:pt x="3" y="568"/>
                      <a:pt x="3" y="568"/>
                    </a:cubicBezTo>
                    <a:cubicBezTo>
                      <a:pt x="0" y="567"/>
                      <a:pt x="0" y="567"/>
                      <a:pt x="0" y="567"/>
                    </a:cubicBezTo>
                    <a:cubicBezTo>
                      <a:pt x="0" y="417"/>
                      <a:pt x="0" y="417"/>
                      <a:pt x="0" y="417"/>
                    </a:cubicBezTo>
                    <a:cubicBezTo>
                      <a:pt x="1" y="417"/>
                      <a:pt x="1" y="418"/>
                      <a:pt x="2" y="418"/>
                    </a:cubicBezTo>
                    <a:cubicBezTo>
                      <a:pt x="3" y="418"/>
                      <a:pt x="3" y="418"/>
                      <a:pt x="4" y="419"/>
                    </a:cubicBezTo>
                    <a:cubicBezTo>
                      <a:pt x="6" y="419"/>
                      <a:pt x="7" y="418"/>
                      <a:pt x="8" y="418"/>
                    </a:cubicBezTo>
                    <a:cubicBezTo>
                      <a:pt x="9" y="419"/>
                      <a:pt x="10" y="419"/>
                      <a:pt x="10" y="419"/>
                    </a:cubicBezTo>
                    <a:cubicBezTo>
                      <a:pt x="11" y="420"/>
                      <a:pt x="12" y="420"/>
                      <a:pt x="13" y="420"/>
                    </a:cubicBezTo>
                    <a:cubicBezTo>
                      <a:pt x="13" y="420"/>
                      <a:pt x="13" y="421"/>
                      <a:pt x="13" y="421"/>
                    </a:cubicBezTo>
                    <a:cubicBezTo>
                      <a:pt x="14" y="421"/>
                      <a:pt x="14" y="421"/>
                      <a:pt x="14" y="422"/>
                    </a:cubicBezTo>
                    <a:cubicBezTo>
                      <a:pt x="14" y="422"/>
                      <a:pt x="14" y="422"/>
                      <a:pt x="15" y="423"/>
                    </a:cubicBezTo>
                    <a:cubicBezTo>
                      <a:pt x="15" y="423"/>
                      <a:pt x="16" y="424"/>
                      <a:pt x="17" y="425"/>
                    </a:cubicBezTo>
                    <a:cubicBezTo>
                      <a:pt x="17" y="425"/>
                      <a:pt x="17" y="425"/>
                      <a:pt x="17" y="425"/>
                    </a:cubicBezTo>
                    <a:cubicBezTo>
                      <a:pt x="18" y="425"/>
                      <a:pt x="18" y="425"/>
                      <a:pt x="18" y="425"/>
                    </a:cubicBezTo>
                    <a:cubicBezTo>
                      <a:pt x="18" y="425"/>
                      <a:pt x="18" y="425"/>
                      <a:pt x="18" y="425"/>
                    </a:cubicBezTo>
                    <a:cubicBezTo>
                      <a:pt x="18" y="425"/>
                      <a:pt x="18" y="425"/>
                      <a:pt x="18" y="425"/>
                    </a:cubicBezTo>
                    <a:cubicBezTo>
                      <a:pt x="18" y="426"/>
                      <a:pt x="19" y="426"/>
                      <a:pt x="19" y="426"/>
                    </a:cubicBezTo>
                    <a:cubicBezTo>
                      <a:pt x="19" y="426"/>
                      <a:pt x="19" y="426"/>
                      <a:pt x="19" y="427"/>
                    </a:cubicBezTo>
                    <a:cubicBezTo>
                      <a:pt x="20" y="427"/>
                      <a:pt x="21" y="428"/>
                      <a:pt x="21" y="428"/>
                    </a:cubicBezTo>
                    <a:cubicBezTo>
                      <a:pt x="22" y="429"/>
                      <a:pt x="24" y="430"/>
                      <a:pt x="25" y="430"/>
                    </a:cubicBezTo>
                    <a:cubicBezTo>
                      <a:pt x="25" y="431"/>
                      <a:pt x="26" y="431"/>
                      <a:pt x="26" y="431"/>
                    </a:cubicBezTo>
                    <a:cubicBezTo>
                      <a:pt x="27" y="431"/>
                      <a:pt x="27" y="431"/>
                      <a:pt x="27" y="431"/>
                    </a:cubicBezTo>
                    <a:cubicBezTo>
                      <a:pt x="28" y="431"/>
                      <a:pt x="28" y="432"/>
                      <a:pt x="29" y="432"/>
                    </a:cubicBezTo>
                    <a:cubicBezTo>
                      <a:pt x="29" y="432"/>
                      <a:pt x="30" y="432"/>
                      <a:pt x="30" y="432"/>
                    </a:cubicBezTo>
                    <a:cubicBezTo>
                      <a:pt x="31" y="432"/>
                      <a:pt x="31" y="432"/>
                      <a:pt x="32" y="432"/>
                    </a:cubicBezTo>
                    <a:cubicBezTo>
                      <a:pt x="32" y="432"/>
                      <a:pt x="33" y="432"/>
                      <a:pt x="33" y="432"/>
                    </a:cubicBezTo>
                    <a:cubicBezTo>
                      <a:pt x="34" y="433"/>
                      <a:pt x="35" y="433"/>
                      <a:pt x="35" y="433"/>
                    </a:cubicBezTo>
                    <a:cubicBezTo>
                      <a:pt x="35" y="433"/>
                      <a:pt x="36" y="434"/>
                      <a:pt x="36" y="434"/>
                    </a:cubicBezTo>
                    <a:cubicBezTo>
                      <a:pt x="37" y="434"/>
                      <a:pt x="37" y="434"/>
                      <a:pt x="37" y="435"/>
                    </a:cubicBezTo>
                    <a:cubicBezTo>
                      <a:pt x="38" y="435"/>
                      <a:pt x="38" y="435"/>
                      <a:pt x="38" y="436"/>
                    </a:cubicBezTo>
                    <a:cubicBezTo>
                      <a:pt x="38" y="436"/>
                      <a:pt x="39" y="436"/>
                      <a:pt x="39" y="436"/>
                    </a:cubicBezTo>
                    <a:cubicBezTo>
                      <a:pt x="39" y="436"/>
                      <a:pt x="40" y="436"/>
                      <a:pt x="40" y="437"/>
                    </a:cubicBezTo>
                    <a:cubicBezTo>
                      <a:pt x="39" y="436"/>
                      <a:pt x="38" y="434"/>
                      <a:pt x="37" y="433"/>
                    </a:cubicBezTo>
                    <a:cubicBezTo>
                      <a:pt x="37" y="433"/>
                      <a:pt x="37" y="433"/>
                      <a:pt x="37" y="432"/>
                    </a:cubicBezTo>
                    <a:cubicBezTo>
                      <a:pt x="37" y="432"/>
                      <a:pt x="37" y="432"/>
                      <a:pt x="37" y="432"/>
                    </a:cubicBezTo>
                    <a:cubicBezTo>
                      <a:pt x="37" y="432"/>
                      <a:pt x="37" y="432"/>
                      <a:pt x="38" y="432"/>
                    </a:cubicBezTo>
                    <a:cubicBezTo>
                      <a:pt x="38" y="432"/>
                      <a:pt x="38" y="432"/>
                      <a:pt x="38" y="431"/>
                    </a:cubicBezTo>
                    <a:cubicBezTo>
                      <a:pt x="38" y="431"/>
                      <a:pt x="38" y="431"/>
                      <a:pt x="38" y="431"/>
                    </a:cubicBezTo>
                    <a:cubicBezTo>
                      <a:pt x="37" y="431"/>
                      <a:pt x="37" y="431"/>
                      <a:pt x="37" y="430"/>
                    </a:cubicBezTo>
                    <a:cubicBezTo>
                      <a:pt x="38" y="430"/>
                      <a:pt x="38" y="430"/>
                      <a:pt x="38" y="430"/>
                    </a:cubicBezTo>
                    <a:cubicBezTo>
                      <a:pt x="38" y="430"/>
                      <a:pt x="38" y="430"/>
                      <a:pt x="38" y="430"/>
                    </a:cubicBezTo>
                    <a:cubicBezTo>
                      <a:pt x="37" y="430"/>
                      <a:pt x="37" y="430"/>
                      <a:pt x="37" y="430"/>
                    </a:cubicBezTo>
                    <a:cubicBezTo>
                      <a:pt x="37" y="430"/>
                      <a:pt x="37" y="430"/>
                      <a:pt x="37" y="430"/>
                    </a:cubicBezTo>
                    <a:cubicBezTo>
                      <a:pt x="36" y="430"/>
                      <a:pt x="36" y="430"/>
                      <a:pt x="36" y="429"/>
                    </a:cubicBezTo>
                    <a:cubicBezTo>
                      <a:pt x="36" y="429"/>
                      <a:pt x="36" y="429"/>
                      <a:pt x="36" y="429"/>
                    </a:cubicBezTo>
                    <a:cubicBezTo>
                      <a:pt x="35" y="429"/>
                      <a:pt x="35" y="429"/>
                      <a:pt x="35" y="429"/>
                    </a:cubicBezTo>
                    <a:cubicBezTo>
                      <a:pt x="35" y="428"/>
                      <a:pt x="34" y="428"/>
                      <a:pt x="34" y="427"/>
                    </a:cubicBezTo>
                    <a:cubicBezTo>
                      <a:pt x="34" y="427"/>
                      <a:pt x="34" y="427"/>
                      <a:pt x="34" y="427"/>
                    </a:cubicBezTo>
                    <a:cubicBezTo>
                      <a:pt x="33" y="427"/>
                      <a:pt x="34" y="427"/>
                      <a:pt x="34" y="428"/>
                    </a:cubicBezTo>
                    <a:cubicBezTo>
                      <a:pt x="34" y="428"/>
                      <a:pt x="34" y="428"/>
                      <a:pt x="34" y="428"/>
                    </a:cubicBezTo>
                    <a:cubicBezTo>
                      <a:pt x="34" y="428"/>
                      <a:pt x="34" y="428"/>
                      <a:pt x="33" y="428"/>
                    </a:cubicBezTo>
                    <a:cubicBezTo>
                      <a:pt x="33" y="428"/>
                      <a:pt x="33" y="428"/>
                      <a:pt x="32" y="428"/>
                    </a:cubicBezTo>
                    <a:cubicBezTo>
                      <a:pt x="32" y="428"/>
                      <a:pt x="32" y="428"/>
                      <a:pt x="32" y="428"/>
                    </a:cubicBezTo>
                    <a:cubicBezTo>
                      <a:pt x="32" y="427"/>
                      <a:pt x="32" y="427"/>
                      <a:pt x="32" y="427"/>
                    </a:cubicBezTo>
                    <a:cubicBezTo>
                      <a:pt x="32" y="427"/>
                      <a:pt x="32" y="426"/>
                      <a:pt x="33" y="426"/>
                    </a:cubicBezTo>
                    <a:cubicBezTo>
                      <a:pt x="33" y="426"/>
                      <a:pt x="33" y="426"/>
                      <a:pt x="33" y="426"/>
                    </a:cubicBezTo>
                    <a:cubicBezTo>
                      <a:pt x="34" y="426"/>
                      <a:pt x="34" y="426"/>
                      <a:pt x="34" y="426"/>
                    </a:cubicBezTo>
                    <a:cubicBezTo>
                      <a:pt x="34" y="426"/>
                      <a:pt x="34" y="426"/>
                      <a:pt x="34" y="426"/>
                    </a:cubicBezTo>
                    <a:cubicBezTo>
                      <a:pt x="34" y="425"/>
                      <a:pt x="35" y="426"/>
                      <a:pt x="35" y="426"/>
                    </a:cubicBezTo>
                    <a:cubicBezTo>
                      <a:pt x="35" y="426"/>
                      <a:pt x="35" y="426"/>
                      <a:pt x="36" y="426"/>
                    </a:cubicBezTo>
                    <a:cubicBezTo>
                      <a:pt x="36" y="426"/>
                      <a:pt x="36" y="426"/>
                      <a:pt x="35" y="426"/>
                    </a:cubicBezTo>
                    <a:cubicBezTo>
                      <a:pt x="35" y="426"/>
                      <a:pt x="35" y="426"/>
                      <a:pt x="35" y="426"/>
                    </a:cubicBezTo>
                    <a:cubicBezTo>
                      <a:pt x="35" y="425"/>
                      <a:pt x="35" y="425"/>
                      <a:pt x="35" y="424"/>
                    </a:cubicBezTo>
                    <a:cubicBezTo>
                      <a:pt x="35" y="424"/>
                      <a:pt x="36" y="424"/>
                      <a:pt x="36" y="424"/>
                    </a:cubicBezTo>
                    <a:cubicBezTo>
                      <a:pt x="36" y="424"/>
                      <a:pt x="37" y="424"/>
                      <a:pt x="37" y="424"/>
                    </a:cubicBezTo>
                    <a:cubicBezTo>
                      <a:pt x="38" y="424"/>
                      <a:pt x="39" y="424"/>
                      <a:pt x="39" y="425"/>
                    </a:cubicBezTo>
                    <a:cubicBezTo>
                      <a:pt x="39" y="425"/>
                      <a:pt x="39" y="424"/>
                      <a:pt x="39" y="424"/>
                    </a:cubicBezTo>
                    <a:cubicBezTo>
                      <a:pt x="39" y="424"/>
                      <a:pt x="38" y="424"/>
                      <a:pt x="38" y="424"/>
                    </a:cubicBezTo>
                    <a:cubicBezTo>
                      <a:pt x="38" y="424"/>
                      <a:pt x="37" y="423"/>
                      <a:pt x="37" y="423"/>
                    </a:cubicBezTo>
                    <a:cubicBezTo>
                      <a:pt x="37" y="423"/>
                      <a:pt x="37" y="423"/>
                      <a:pt x="37" y="423"/>
                    </a:cubicBezTo>
                    <a:cubicBezTo>
                      <a:pt x="37" y="423"/>
                      <a:pt x="37" y="422"/>
                      <a:pt x="38" y="422"/>
                    </a:cubicBezTo>
                    <a:cubicBezTo>
                      <a:pt x="38" y="422"/>
                      <a:pt x="38" y="423"/>
                      <a:pt x="39" y="423"/>
                    </a:cubicBezTo>
                    <a:cubicBezTo>
                      <a:pt x="39" y="423"/>
                      <a:pt x="39" y="422"/>
                      <a:pt x="39" y="422"/>
                    </a:cubicBezTo>
                    <a:cubicBezTo>
                      <a:pt x="39" y="422"/>
                      <a:pt x="39" y="421"/>
                      <a:pt x="40" y="421"/>
                    </a:cubicBezTo>
                    <a:cubicBezTo>
                      <a:pt x="40" y="421"/>
                      <a:pt x="40" y="421"/>
                      <a:pt x="40" y="421"/>
                    </a:cubicBezTo>
                    <a:cubicBezTo>
                      <a:pt x="41" y="421"/>
                      <a:pt x="41" y="421"/>
                      <a:pt x="41" y="421"/>
                    </a:cubicBezTo>
                    <a:cubicBezTo>
                      <a:pt x="42" y="421"/>
                      <a:pt x="43" y="421"/>
                      <a:pt x="44" y="421"/>
                    </a:cubicBezTo>
                    <a:cubicBezTo>
                      <a:pt x="44" y="421"/>
                      <a:pt x="44" y="421"/>
                      <a:pt x="44" y="421"/>
                    </a:cubicBezTo>
                    <a:cubicBezTo>
                      <a:pt x="44" y="421"/>
                      <a:pt x="44" y="421"/>
                      <a:pt x="44" y="420"/>
                    </a:cubicBezTo>
                    <a:cubicBezTo>
                      <a:pt x="44" y="420"/>
                      <a:pt x="44" y="420"/>
                      <a:pt x="43" y="420"/>
                    </a:cubicBezTo>
                    <a:cubicBezTo>
                      <a:pt x="43" y="420"/>
                      <a:pt x="43" y="420"/>
                      <a:pt x="43" y="420"/>
                    </a:cubicBezTo>
                    <a:cubicBezTo>
                      <a:pt x="43" y="420"/>
                      <a:pt x="44" y="420"/>
                      <a:pt x="44" y="420"/>
                    </a:cubicBezTo>
                    <a:cubicBezTo>
                      <a:pt x="44" y="419"/>
                      <a:pt x="44" y="419"/>
                      <a:pt x="44" y="419"/>
                    </a:cubicBezTo>
                    <a:cubicBezTo>
                      <a:pt x="44" y="419"/>
                      <a:pt x="44" y="419"/>
                      <a:pt x="44" y="418"/>
                    </a:cubicBezTo>
                    <a:cubicBezTo>
                      <a:pt x="44" y="418"/>
                      <a:pt x="44" y="417"/>
                      <a:pt x="44" y="417"/>
                    </a:cubicBezTo>
                    <a:cubicBezTo>
                      <a:pt x="44" y="417"/>
                      <a:pt x="44" y="417"/>
                      <a:pt x="44" y="417"/>
                    </a:cubicBezTo>
                    <a:cubicBezTo>
                      <a:pt x="45" y="417"/>
                      <a:pt x="45" y="417"/>
                      <a:pt x="45" y="417"/>
                    </a:cubicBezTo>
                    <a:cubicBezTo>
                      <a:pt x="45" y="417"/>
                      <a:pt x="46" y="417"/>
                      <a:pt x="46" y="417"/>
                    </a:cubicBezTo>
                    <a:cubicBezTo>
                      <a:pt x="46" y="417"/>
                      <a:pt x="45" y="418"/>
                      <a:pt x="46" y="418"/>
                    </a:cubicBezTo>
                    <a:cubicBezTo>
                      <a:pt x="46" y="419"/>
                      <a:pt x="46" y="419"/>
                      <a:pt x="46" y="419"/>
                    </a:cubicBezTo>
                    <a:cubicBezTo>
                      <a:pt x="46" y="419"/>
                      <a:pt x="46" y="419"/>
                      <a:pt x="46" y="419"/>
                    </a:cubicBezTo>
                    <a:cubicBezTo>
                      <a:pt x="47" y="419"/>
                      <a:pt x="47" y="419"/>
                      <a:pt x="47" y="419"/>
                    </a:cubicBezTo>
                    <a:cubicBezTo>
                      <a:pt x="47" y="419"/>
                      <a:pt x="47" y="419"/>
                      <a:pt x="47" y="419"/>
                    </a:cubicBezTo>
                    <a:cubicBezTo>
                      <a:pt x="47" y="418"/>
                      <a:pt x="48" y="418"/>
                      <a:pt x="48" y="418"/>
                    </a:cubicBezTo>
                    <a:cubicBezTo>
                      <a:pt x="48" y="419"/>
                      <a:pt x="48" y="419"/>
                      <a:pt x="48" y="420"/>
                    </a:cubicBezTo>
                    <a:cubicBezTo>
                      <a:pt x="48" y="420"/>
                      <a:pt x="47" y="420"/>
                      <a:pt x="47" y="420"/>
                    </a:cubicBezTo>
                    <a:cubicBezTo>
                      <a:pt x="47" y="420"/>
                      <a:pt x="48" y="420"/>
                      <a:pt x="48" y="420"/>
                    </a:cubicBezTo>
                    <a:cubicBezTo>
                      <a:pt x="48" y="420"/>
                      <a:pt x="48" y="420"/>
                      <a:pt x="49" y="420"/>
                    </a:cubicBezTo>
                    <a:cubicBezTo>
                      <a:pt x="48" y="420"/>
                      <a:pt x="48" y="421"/>
                      <a:pt x="48" y="422"/>
                    </a:cubicBezTo>
                    <a:cubicBezTo>
                      <a:pt x="48" y="422"/>
                      <a:pt x="48" y="422"/>
                      <a:pt x="48" y="422"/>
                    </a:cubicBezTo>
                    <a:cubicBezTo>
                      <a:pt x="48" y="423"/>
                      <a:pt x="48" y="423"/>
                      <a:pt x="47" y="423"/>
                    </a:cubicBezTo>
                    <a:cubicBezTo>
                      <a:pt x="47" y="423"/>
                      <a:pt x="47" y="423"/>
                      <a:pt x="47" y="423"/>
                    </a:cubicBezTo>
                    <a:cubicBezTo>
                      <a:pt x="47" y="423"/>
                      <a:pt x="47" y="423"/>
                      <a:pt x="48" y="424"/>
                    </a:cubicBezTo>
                    <a:cubicBezTo>
                      <a:pt x="48" y="424"/>
                      <a:pt x="48" y="424"/>
                      <a:pt x="47" y="424"/>
                    </a:cubicBezTo>
                    <a:cubicBezTo>
                      <a:pt x="47" y="424"/>
                      <a:pt x="47" y="424"/>
                      <a:pt x="47" y="424"/>
                    </a:cubicBezTo>
                    <a:cubicBezTo>
                      <a:pt x="46" y="425"/>
                      <a:pt x="46" y="425"/>
                      <a:pt x="45" y="425"/>
                    </a:cubicBezTo>
                    <a:cubicBezTo>
                      <a:pt x="45" y="425"/>
                      <a:pt x="45" y="426"/>
                      <a:pt x="45" y="426"/>
                    </a:cubicBezTo>
                    <a:cubicBezTo>
                      <a:pt x="46" y="425"/>
                      <a:pt x="48" y="425"/>
                      <a:pt x="48" y="424"/>
                    </a:cubicBezTo>
                    <a:cubicBezTo>
                      <a:pt x="48" y="424"/>
                      <a:pt x="48" y="424"/>
                      <a:pt x="48" y="424"/>
                    </a:cubicBezTo>
                    <a:cubicBezTo>
                      <a:pt x="48" y="424"/>
                      <a:pt x="49" y="423"/>
                      <a:pt x="49" y="424"/>
                    </a:cubicBezTo>
                    <a:cubicBezTo>
                      <a:pt x="49" y="424"/>
                      <a:pt x="49" y="424"/>
                      <a:pt x="49" y="424"/>
                    </a:cubicBezTo>
                    <a:cubicBezTo>
                      <a:pt x="49" y="424"/>
                      <a:pt x="50" y="424"/>
                      <a:pt x="50" y="424"/>
                    </a:cubicBezTo>
                    <a:cubicBezTo>
                      <a:pt x="50" y="423"/>
                      <a:pt x="50" y="423"/>
                      <a:pt x="49" y="423"/>
                    </a:cubicBezTo>
                    <a:cubicBezTo>
                      <a:pt x="50" y="423"/>
                      <a:pt x="51" y="422"/>
                      <a:pt x="52" y="423"/>
                    </a:cubicBezTo>
                    <a:cubicBezTo>
                      <a:pt x="52" y="423"/>
                      <a:pt x="52" y="423"/>
                      <a:pt x="52" y="423"/>
                    </a:cubicBezTo>
                    <a:cubicBezTo>
                      <a:pt x="52" y="423"/>
                      <a:pt x="52" y="423"/>
                      <a:pt x="53" y="422"/>
                    </a:cubicBezTo>
                    <a:cubicBezTo>
                      <a:pt x="53" y="422"/>
                      <a:pt x="53" y="422"/>
                      <a:pt x="54" y="422"/>
                    </a:cubicBezTo>
                    <a:cubicBezTo>
                      <a:pt x="54" y="422"/>
                      <a:pt x="54" y="422"/>
                      <a:pt x="54" y="422"/>
                    </a:cubicBezTo>
                    <a:cubicBezTo>
                      <a:pt x="54" y="421"/>
                      <a:pt x="54" y="421"/>
                      <a:pt x="54" y="421"/>
                    </a:cubicBezTo>
                    <a:cubicBezTo>
                      <a:pt x="54" y="420"/>
                      <a:pt x="54" y="419"/>
                      <a:pt x="54" y="419"/>
                    </a:cubicBezTo>
                    <a:cubicBezTo>
                      <a:pt x="54" y="418"/>
                      <a:pt x="54" y="418"/>
                      <a:pt x="54" y="418"/>
                    </a:cubicBezTo>
                    <a:cubicBezTo>
                      <a:pt x="54" y="418"/>
                      <a:pt x="55" y="417"/>
                      <a:pt x="55" y="418"/>
                    </a:cubicBezTo>
                    <a:cubicBezTo>
                      <a:pt x="55" y="418"/>
                      <a:pt x="55" y="418"/>
                      <a:pt x="56" y="418"/>
                    </a:cubicBezTo>
                    <a:cubicBezTo>
                      <a:pt x="56" y="418"/>
                      <a:pt x="56" y="418"/>
                      <a:pt x="56" y="418"/>
                    </a:cubicBezTo>
                    <a:cubicBezTo>
                      <a:pt x="56" y="418"/>
                      <a:pt x="56" y="417"/>
                      <a:pt x="57" y="417"/>
                    </a:cubicBezTo>
                    <a:cubicBezTo>
                      <a:pt x="57" y="417"/>
                      <a:pt x="57" y="416"/>
                      <a:pt x="57" y="416"/>
                    </a:cubicBezTo>
                    <a:cubicBezTo>
                      <a:pt x="57" y="416"/>
                      <a:pt x="58" y="416"/>
                      <a:pt x="58" y="417"/>
                    </a:cubicBezTo>
                    <a:cubicBezTo>
                      <a:pt x="58" y="417"/>
                      <a:pt x="57" y="417"/>
                      <a:pt x="57" y="417"/>
                    </a:cubicBezTo>
                    <a:cubicBezTo>
                      <a:pt x="57" y="417"/>
                      <a:pt x="57" y="418"/>
                      <a:pt x="57" y="418"/>
                    </a:cubicBezTo>
                    <a:cubicBezTo>
                      <a:pt x="57" y="418"/>
                      <a:pt x="57" y="418"/>
                      <a:pt x="57" y="418"/>
                    </a:cubicBezTo>
                    <a:cubicBezTo>
                      <a:pt x="57" y="418"/>
                      <a:pt x="58" y="418"/>
                      <a:pt x="58" y="418"/>
                    </a:cubicBezTo>
                    <a:cubicBezTo>
                      <a:pt x="58" y="418"/>
                      <a:pt x="58" y="417"/>
                      <a:pt x="58" y="417"/>
                    </a:cubicBezTo>
                    <a:cubicBezTo>
                      <a:pt x="58" y="417"/>
                      <a:pt x="58" y="416"/>
                      <a:pt x="58" y="416"/>
                    </a:cubicBezTo>
                    <a:cubicBezTo>
                      <a:pt x="58" y="416"/>
                      <a:pt x="59" y="416"/>
                      <a:pt x="59" y="416"/>
                    </a:cubicBezTo>
                    <a:cubicBezTo>
                      <a:pt x="59" y="417"/>
                      <a:pt x="59" y="417"/>
                      <a:pt x="59" y="417"/>
                    </a:cubicBezTo>
                    <a:cubicBezTo>
                      <a:pt x="60" y="417"/>
                      <a:pt x="60" y="417"/>
                      <a:pt x="60" y="416"/>
                    </a:cubicBezTo>
                    <a:cubicBezTo>
                      <a:pt x="60" y="416"/>
                      <a:pt x="60" y="416"/>
                      <a:pt x="60" y="416"/>
                    </a:cubicBezTo>
                    <a:cubicBezTo>
                      <a:pt x="60" y="416"/>
                      <a:pt x="60" y="416"/>
                      <a:pt x="60" y="416"/>
                    </a:cubicBezTo>
                    <a:cubicBezTo>
                      <a:pt x="61" y="416"/>
                      <a:pt x="61" y="415"/>
                      <a:pt x="61" y="415"/>
                    </a:cubicBezTo>
                    <a:cubicBezTo>
                      <a:pt x="62" y="414"/>
                      <a:pt x="63" y="414"/>
                      <a:pt x="64" y="413"/>
                    </a:cubicBezTo>
                    <a:cubicBezTo>
                      <a:pt x="64" y="413"/>
                      <a:pt x="64" y="413"/>
                      <a:pt x="64" y="412"/>
                    </a:cubicBezTo>
                    <a:cubicBezTo>
                      <a:pt x="64" y="412"/>
                      <a:pt x="64" y="412"/>
                      <a:pt x="64" y="412"/>
                    </a:cubicBezTo>
                    <a:cubicBezTo>
                      <a:pt x="64" y="412"/>
                      <a:pt x="64" y="411"/>
                      <a:pt x="65" y="411"/>
                    </a:cubicBezTo>
                    <a:cubicBezTo>
                      <a:pt x="65" y="412"/>
                      <a:pt x="65" y="412"/>
                      <a:pt x="66" y="412"/>
                    </a:cubicBezTo>
                    <a:cubicBezTo>
                      <a:pt x="66" y="412"/>
                      <a:pt x="66" y="413"/>
                      <a:pt x="66" y="413"/>
                    </a:cubicBezTo>
                    <a:cubicBezTo>
                      <a:pt x="66" y="413"/>
                      <a:pt x="67" y="413"/>
                      <a:pt x="67" y="413"/>
                    </a:cubicBezTo>
                    <a:cubicBezTo>
                      <a:pt x="67" y="412"/>
                      <a:pt x="67" y="412"/>
                      <a:pt x="67" y="411"/>
                    </a:cubicBezTo>
                    <a:cubicBezTo>
                      <a:pt x="67" y="411"/>
                      <a:pt x="67" y="411"/>
                      <a:pt x="67" y="411"/>
                    </a:cubicBezTo>
                    <a:cubicBezTo>
                      <a:pt x="68" y="410"/>
                      <a:pt x="68" y="410"/>
                      <a:pt x="68" y="410"/>
                    </a:cubicBezTo>
                    <a:cubicBezTo>
                      <a:pt x="68" y="410"/>
                      <a:pt x="68" y="410"/>
                      <a:pt x="67" y="410"/>
                    </a:cubicBezTo>
                    <a:cubicBezTo>
                      <a:pt x="68" y="409"/>
                      <a:pt x="68" y="409"/>
                      <a:pt x="69" y="409"/>
                    </a:cubicBezTo>
                    <a:cubicBezTo>
                      <a:pt x="69" y="409"/>
                      <a:pt x="69" y="409"/>
                      <a:pt x="70" y="409"/>
                    </a:cubicBezTo>
                    <a:cubicBezTo>
                      <a:pt x="70" y="409"/>
                      <a:pt x="70" y="409"/>
                      <a:pt x="70" y="409"/>
                    </a:cubicBezTo>
                    <a:cubicBezTo>
                      <a:pt x="70" y="408"/>
                      <a:pt x="70" y="408"/>
                      <a:pt x="70" y="408"/>
                    </a:cubicBezTo>
                    <a:cubicBezTo>
                      <a:pt x="70" y="408"/>
                      <a:pt x="71" y="408"/>
                      <a:pt x="71" y="408"/>
                    </a:cubicBezTo>
                    <a:cubicBezTo>
                      <a:pt x="71" y="408"/>
                      <a:pt x="71" y="408"/>
                      <a:pt x="72" y="408"/>
                    </a:cubicBezTo>
                    <a:cubicBezTo>
                      <a:pt x="72" y="409"/>
                      <a:pt x="72" y="409"/>
                      <a:pt x="72" y="409"/>
                    </a:cubicBezTo>
                    <a:cubicBezTo>
                      <a:pt x="73" y="409"/>
                      <a:pt x="73" y="409"/>
                      <a:pt x="74" y="409"/>
                    </a:cubicBezTo>
                    <a:cubicBezTo>
                      <a:pt x="74" y="409"/>
                      <a:pt x="75" y="409"/>
                      <a:pt x="75" y="409"/>
                    </a:cubicBezTo>
                    <a:cubicBezTo>
                      <a:pt x="75" y="409"/>
                      <a:pt x="75" y="409"/>
                      <a:pt x="75" y="408"/>
                    </a:cubicBezTo>
                    <a:cubicBezTo>
                      <a:pt x="75" y="407"/>
                      <a:pt x="76" y="406"/>
                      <a:pt x="76" y="405"/>
                    </a:cubicBezTo>
                    <a:cubicBezTo>
                      <a:pt x="77" y="406"/>
                      <a:pt x="76" y="407"/>
                      <a:pt x="77" y="407"/>
                    </a:cubicBezTo>
                    <a:cubicBezTo>
                      <a:pt x="77" y="407"/>
                      <a:pt x="77" y="407"/>
                      <a:pt x="77" y="408"/>
                    </a:cubicBezTo>
                    <a:cubicBezTo>
                      <a:pt x="78" y="408"/>
                      <a:pt x="78" y="408"/>
                      <a:pt x="78" y="408"/>
                    </a:cubicBezTo>
                    <a:cubicBezTo>
                      <a:pt x="78" y="409"/>
                      <a:pt x="78" y="409"/>
                      <a:pt x="78" y="409"/>
                    </a:cubicBezTo>
                    <a:cubicBezTo>
                      <a:pt x="78" y="409"/>
                      <a:pt x="78" y="409"/>
                      <a:pt x="78" y="409"/>
                    </a:cubicBezTo>
                    <a:cubicBezTo>
                      <a:pt x="78" y="409"/>
                      <a:pt x="77" y="409"/>
                      <a:pt x="77" y="410"/>
                    </a:cubicBezTo>
                    <a:cubicBezTo>
                      <a:pt x="77" y="410"/>
                      <a:pt x="78" y="410"/>
                      <a:pt x="78" y="410"/>
                    </a:cubicBezTo>
                    <a:cubicBezTo>
                      <a:pt x="78" y="410"/>
                      <a:pt x="78" y="410"/>
                      <a:pt x="77" y="410"/>
                    </a:cubicBezTo>
                    <a:cubicBezTo>
                      <a:pt x="76" y="411"/>
                      <a:pt x="75" y="412"/>
                      <a:pt x="74" y="413"/>
                    </a:cubicBezTo>
                    <a:cubicBezTo>
                      <a:pt x="74" y="413"/>
                      <a:pt x="73" y="413"/>
                      <a:pt x="72" y="414"/>
                    </a:cubicBezTo>
                    <a:cubicBezTo>
                      <a:pt x="72" y="414"/>
                      <a:pt x="71" y="415"/>
                      <a:pt x="71" y="415"/>
                    </a:cubicBezTo>
                    <a:cubicBezTo>
                      <a:pt x="70" y="417"/>
                      <a:pt x="68" y="418"/>
                      <a:pt x="68" y="419"/>
                    </a:cubicBezTo>
                    <a:cubicBezTo>
                      <a:pt x="67" y="419"/>
                      <a:pt x="67" y="419"/>
                      <a:pt x="67" y="419"/>
                    </a:cubicBezTo>
                    <a:cubicBezTo>
                      <a:pt x="67" y="418"/>
                      <a:pt x="67" y="418"/>
                      <a:pt x="66" y="418"/>
                    </a:cubicBezTo>
                    <a:cubicBezTo>
                      <a:pt x="66" y="418"/>
                      <a:pt x="66" y="418"/>
                      <a:pt x="66" y="418"/>
                    </a:cubicBezTo>
                    <a:cubicBezTo>
                      <a:pt x="64" y="419"/>
                      <a:pt x="62" y="419"/>
                      <a:pt x="61" y="420"/>
                    </a:cubicBezTo>
                    <a:cubicBezTo>
                      <a:pt x="60" y="421"/>
                      <a:pt x="60" y="421"/>
                      <a:pt x="60" y="422"/>
                    </a:cubicBezTo>
                    <a:cubicBezTo>
                      <a:pt x="60" y="423"/>
                      <a:pt x="60" y="423"/>
                      <a:pt x="59" y="424"/>
                    </a:cubicBezTo>
                    <a:cubicBezTo>
                      <a:pt x="59" y="424"/>
                      <a:pt x="58" y="424"/>
                      <a:pt x="58" y="424"/>
                    </a:cubicBezTo>
                    <a:cubicBezTo>
                      <a:pt x="58" y="425"/>
                      <a:pt x="57" y="425"/>
                      <a:pt x="57" y="426"/>
                    </a:cubicBezTo>
                    <a:cubicBezTo>
                      <a:pt x="57" y="425"/>
                      <a:pt x="57" y="425"/>
                      <a:pt x="57" y="424"/>
                    </a:cubicBezTo>
                    <a:cubicBezTo>
                      <a:pt x="56" y="425"/>
                      <a:pt x="56" y="425"/>
                      <a:pt x="55" y="426"/>
                    </a:cubicBezTo>
                    <a:cubicBezTo>
                      <a:pt x="55" y="426"/>
                      <a:pt x="55" y="426"/>
                      <a:pt x="55" y="426"/>
                    </a:cubicBezTo>
                    <a:cubicBezTo>
                      <a:pt x="55" y="426"/>
                      <a:pt x="55" y="426"/>
                      <a:pt x="55" y="427"/>
                    </a:cubicBezTo>
                    <a:cubicBezTo>
                      <a:pt x="55" y="427"/>
                      <a:pt x="55" y="427"/>
                      <a:pt x="55" y="428"/>
                    </a:cubicBezTo>
                    <a:cubicBezTo>
                      <a:pt x="55" y="428"/>
                      <a:pt x="56" y="429"/>
                      <a:pt x="56" y="428"/>
                    </a:cubicBezTo>
                    <a:cubicBezTo>
                      <a:pt x="56" y="428"/>
                      <a:pt x="56" y="428"/>
                      <a:pt x="56" y="428"/>
                    </a:cubicBezTo>
                    <a:cubicBezTo>
                      <a:pt x="56" y="428"/>
                      <a:pt x="57" y="428"/>
                      <a:pt x="57" y="428"/>
                    </a:cubicBezTo>
                    <a:cubicBezTo>
                      <a:pt x="57" y="428"/>
                      <a:pt x="58" y="428"/>
                      <a:pt x="58" y="427"/>
                    </a:cubicBezTo>
                    <a:cubicBezTo>
                      <a:pt x="58" y="427"/>
                      <a:pt x="58" y="427"/>
                      <a:pt x="58" y="427"/>
                    </a:cubicBezTo>
                    <a:cubicBezTo>
                      <a:pt x="58" y="427"/>
                      <a:pt x="58" y="427"/>
                      <a:pt x="58" y="427"/>
                    </a:cubicBezTo>
                    <a:cubicBezTo>
                      <a:pt x="59" y="426"/>
                      <a:pt x="59" y="426"/>
                      <a:pt x="60" y="426"/>
                    </a:cubicBezTo>
                    <a:cubicBezTo>
                      <a:pt x="60" y="426"/>
                      <a:pt x="60" y="426"/>
                      <a:pt x="60" y="426"/>
                    </a:cubicBezTo>
                    <a:cubicBezTo>
                      <a:pt x="61" y="425"/>
                      <a:pt x="62" y="424"/>
                      <a:pt x="62" y="423"/>
                    </a:cubicBezTo>
                    <a:cubicBezTo>
                      <a:pt x="62" y="423"/>
                      <a:pt x="62" y="423"/>
                      <a:pt x="62" y="423"/>
                    </a:cubicBezTo>
                    <a:cubicBezTo>
                      <a:pt x="62" y="423"/>
                      <a:pt x="62" y="423"/>
                      <a:pt x="62" y="423"/>
                    </a:cubicBezTo>
                    <a:cubicBezTo>
                      <a:pt x="61" y="423"/>
                      <a:pt x="61" y="423"/>
                      <a:pt x="61" y="423"/>
                    </a:cubicBezTo>
                    <a:cubicBezTo>
                      <a:pt x="61" y="422"/>
                      <a:pt x="62" y="422"/>
                      <a:pt x="62" y="422"/>
                    </a:cubicBezTo>
                    <a:cubicBezTo>
                      <a:pt x="62" y="422"/>
                      <a:pt x="62" y="422"/>
                      <a:pt x="62" y="422"/>
                    </a:cubicBezTo>
                    <a:cubicBezTo>
                      <a:pt x="63" y="422"/>
                      <a:pt x="63" y="421"/>
                      <a:pt x="63" y="421"/>
                    </a:cubicBezTo>
                    <a:cubicBezTo>
                      <a:pt x="63" y="421"/>
                      <a:pt x="63" y="421"/>
                      <a:pt x="64" y="421"/>
                    </a:cubicBezTo>
                    <a:cubicBezTo>
                      <a:pt x="64" y="422"/>
                      <a:pt x="64" y="422"/>
                      <a:pt x="64" y="422"/>
                    </a:cubicBezTo>
                    <a:cubicBezTo>
                      <a:pt x="64" y="422"/>
                      <a:pt x="64" y="423"/>
                      <a:pt x="64" y="423"/>
                    </a:cubicBezTo>
                    <a:cubicBezTo>
                      <a:pt x="64" y="423"/>
                      <a:pt x="64" y="423"/>
                      <a:pt x="65" y="423"/>
                    </a:cubicBezTo>
                    <a:cubicBezTo>
                      <a:pt x="65" y="423"/>
                      <a:pt x="65" y="423"/>
                      <a:pt x="65" y="423"/>
                    </a:cubicBezTo>
                    <a:cubicBezTo>
                      <a:pt x="65" y="422"/>
                      <a:pt x="65" y="422"/>
                      <a:pt x="65" y="421"/>
                    </a:cubicBezTo>
                    <a:cubicBezTo>
                      <a:pt x="66" y="420"/>
                      <a:pt x="66" y="420"/>
                      <a:pt x="66" y="419"/>
                    </a:cubicBezTo>
                    <a:cubicBezTo>
                      <a:pt x="66" y="419"/>
                      <a:pt x="67" y="420"/>
                      <a:pt x="66" y="420"/>
                    </a:cubicBezTo>
                    <a:cubicBezTo>
                      <a:pt x="67" y="420"/>
                      <a:pt x="67" y="420"/>
                      <a:pt x="67" y="421"/>
                    </a:cubicBezTo>
                    <a:cubicBezTo>
                      <a:pt x="67" y="421"/>
                      <a:pt x="67" y="421"/>
                      <a:pt x="67" y="421"/>
                    </a:cubicBezTo>
                    <a:cubicBezTo>
                      <a:pt x="66" y="421"/>
                      <a:pt x="66" y="422"/>
                      <a:pt x="66" y="423"/>
                    </a:cubicBezTo>
                    <a:cubicBezTo>
                      <a:pt x="66" y="423"/>
                      <a:pt x="65" y="423"/>
                      <a:pt x="65" y="424"/>
                    </a:cubicBezTo>
                    <a:cubicBezTo>
                      <a:pt x="65" y="424"/>
                      <a:pt x="66" y="423"/>
                      <a:pt x="66" y="423"/>
                    </a:cubicBezTo>
                    <a:cubicBezTo>
                      <a:pt x="66" y="423"/>
                      <a:pt x="66" y="423"/>
                      <a:pt x="66" y="423"/>
                    </a:cubicBezTo>
                    <a:cubicBezTo>
                      <a:pt x="67" y="423"/>
                      <a:pt x="67" y="423"/>
                      <a:pt x="67" y="424"/>
                    </a:cubicBezTo>
                    <a:cubicBezTo>
                      <a:pt x="67" y="423"/>
                      <a:pt x="67" y="423"/>
                      <a:pt x="67" y="423"/>
                    </a:cubicBezTo>
                    <a:cubicBezTo>
                      <a:pt x="67" y="422"/>
                      <a:pt x="67" y="422"/>
                      <a:pt x="67" y="421"/>
                    </a:cubicBezTo>
                    <a:cubicBezTo>
                      <a:pt x="67" y="421"/>
                      <a:pt x="68" y="421"/>
                      <a:pt x="68" y="421"/>
                    </a:cubicBezTo>
                    <a:cubicBezTo>
                      <a:pt x="68" y="421"/>
                      <a:pt x="68" y="421"/>
                      <a:pt x="68" y="421"/>
                    </a:cubicBezTo>
                    <a:cubicBezTo>
                      <a:pt x="68" y="420"/>
                      <a:pt x="68" y="421"/>
                      <a:pt x="68" y="421"/>
                    </a:cubicBezTo>
                    <a:cubicBezTo>
                      <a:pt x="68" y="421"/>
                      <a:pt x="68" y="421"/>
                      <a:pt x="68" y="422"/>
                    </a:cubicBezTo>
                    <a:cubicBezTo>
                      <a:pt x="68" y="422"/>
                      <a:pt x="68" y="422"/>
                      <a:pt x="68" y="422"/>
                    </a:cubicBezTo>
                    <a:cubicBezTo>
                      <a:pt x="68" y="422"/>
                      <a:pt x="68" y="423"/>
                      <a:pt x="68" y="423"/>
                    </a:cubicBezTo>
                    <a:cubicBezTo>
                      <a:pt x="68" y="424"/>
                      <a:pt x="68" y="424"/>
                      <a:pt x="67" y="425"/>
                    </a:cubicBezTo>
                    <a:cubicBezTo>
                      <a:pt x="67" y="425"/>
                      <a:pt x="67" y="426"/>
                      <a:pt x="67" y="426"/>
                    </a:cubicBezTo>
                    <a:cubicBezTo>
                      <a:pt x="68" y="426"/>
                      <a:pt x="68" y="425"/>
                      <a:pt x="68" y="424"/>
                    </a:cubicBezTo>
                    <a:cubicBezTo>
                      <a:pt x="68" y="424"/>
                      <a:pt x="68" y="423"/>
                      <a:pt x="69" y="423"/>
                    </a:cubicBezTo>
                    <a:cubicBezTo>
                      <a:pt x="69" y="422"/>
                      <a:pt x="69" y="422"/>
                      <a:pt x="69" y="422"/>
                    </a:cubicBezTo>
                    <a:cubicBezTo>
                      <a:pt x="70" y="422"/>
                      <a:pt x="70" y="421"/>
                      <a:pt x="70" y="421"/>
                    </a:cubicBezTo>
                    <a:cubicBezTo>
                      <a:pt x="70" y="420"/>
                      <a:pt x="71" y="419"/>
                      <a:pt x="71" y="418"/>
                    </a:cubicBezTo>
                    <a:cubicBezTo>
                      <a:pt x="71" y="418"/>
                      <a:pt x="71" y="418"/>
                      <a:pt x="72" y="417"/>
                    </a:cubicBezTo>
                    <a:cubicBezTo>
                      <a:pt x="72" y="417"/>
                      <a:pt x="72" y="417"/>
                      <a:pt x="73" y="417"/>
                    </a:cubicBezTo>
                    <a:cubicBezTo>
                      <a:pt x="73" y="416"/>
                      <a:pt x="74" y="416"/>
                      <a:pt x="75" y="416"/>
                    </a:cubicBezTo>
                    <a:cubicBezTo>
                      <a:pt x="75" y="415"/>
                      <a:pt x="76" y="415"/>
                      <a:pt x="77" y="414"/>
                    </a:cubicBezTo>
                    <a:cubicBezTo>
                      <a:pt x="78" y="414"/>
                      <a:pt x="79" y="414"/>
                      <a:pt x="79" y="414"/>
                    </a:cubicBezTo>
                    <a:cubicBezTo>
                      <a:pt x="80" y="414"/>
                      <a:pt x="80" y="414"/>
                      <a:pt x="80" y="414"/>
                    </a:cubicBezTo>
                    <a:cubicBezTo>
                      <a:pt x="80" y="414"/>
                      <a:pt x="80" y="414"/>
                      <a:pt x="80" y="414"/>
                    </a:cubicBezTo>
                    <a:cubicBezTo>
                      <a:pt x="80" y="415"/>
                      <a:pt x="80" y="415"/>
                      <a:pt x="80" y="416"/>
                    </a:cubicBezTo>
                    <a:cubicBezTo>
                      <a:pt x="80" y="416"/>
                      <a:pt x="80" y="416"/>
                      <a:pt x="80" y="416"/>
                    </a:cubicBezTo>
                    <a:cubicBezTo>
                      <a:pt x="80" y="417"/>
                      <a:pt x="80" y="416"/>
                      <a:pt x="80" y="416"/>
                    </a:cubicBezTo>
                    <a:cubicBezTo>
                      <a:pt x="81" y="416"/>
                      <a:pt x="81" y="416"/>
                      <a:pt x="81" y="416"/>
                    </a:cubicBezTo>
                    <a:cubicBezTo>
                      <a:pt x="82" y="416"/>
                      <a:pt x="82" y="416"/>
                      <a:pt x="82" y="415"/>
                    </a:cubicBezTo>
                    <a:cubicBezTo>
                      <a:pt x="82" y="415"/>
                      <a:pt x="82" y="415"/>
                      <a:pt x="83" y="415"/>
                    </a:cubicBezTo>
                    <a:cubicBezTo>
                      <a:pt x="83" y="414"/>
                      <a:pt x="84" y="413"/>
                      <a:pt x="84" y="412"/>
                    </a:cubicBezTo>
                    <a:cubicBezTo>
                      <a:pt x="84" y="412"/>
                      <a:pt x="85" y="412"/>
                      <a:pt x="85" y="412"/>
                    </a:cubicBezTo>
                    <a:cubicBezTo>
                      <a:pt x="85" y="412"/>
                      <a:pt x="85" y="412"/>
                      <a:pt x="85" y="412"/>
                    </a:cubicBezTo>
                    <a:cubicBezTo>
                      <a:pt x="85" y="412"/>
                      <a:pt x="85" y="412"/>
                      <a:pt x="85" y="412"/>
                    </a:cubicBezTo>
                    <a:cubicBezTo>
                      <a:pt x="85" y="412"/>
                      <a:pt x="86" y="412"/>
                      <a:pt x="86" y="412"/>
                    </a:cubicBezTo>
                    <a:cubicBezTo>
                      <a:pt x="86" y="412"/>
                      <a:pt x="86" y="412"/>
                      <a:pt x="86" y="412"/>
                    </a:cubicBezTo>
                    <a:cubicBezTo>
                      <a:pt x="86" y="411"/>
                      <a:pt x="85" y="411"/>
                      <a:pt x="85" y="410"/>
                    </a:cubicBezTo>
                    <a:cubicBezTo>
                      <a:pt x="85" y="410"/>
                      <a:pt x="85" y="410"/>
                      <a:pt x="85" y="409"/>
                    </a:cubicBezTo>
                    <a:cubicBezTo>
                      <a:pt x="85" y="409"/>
                      <a:pt x="85" y="409"/>
                      <a:pt x="85" y="409"/>
                    </a:cubicBezTo>
                    <a:cubicBezTo>
                      <a:pt x="86" y="408"/>
                      <a:pt x="86" y="408"/>
                      <a:pt x="87" y="407"/>
                    </a:cubicBezTo>
                    <a:cubicBezTo>
                      <a:pt x="88" y="407"/>
                      <a:pt x="89" y="407"/>
                      <a:pt x="90" y="407"/>
                    </a:cubicBezTo>
                    <a:cubicBezTo>
                      <a:pt x="90" y="407"/>
                      <a:pt x="91" y="407"/>
                      <a:pt x="91" y="406"/>
                    </a:cubicBezTo>
                    <a:cubicBezTo>
                      <a:pt x="90" y="406"/>
                      <a:pt x="89" y="406"/>
                      <a:pt x="88" y="406"/>
                    </a:cubicBezTo>
                    <a:cubicBezTo>
                      <a:pt x="88" y="405"/>
                      <a:pt x="87" y="405"/>
                      <a:pt x="87" y="405"/>
                    </a:cubicBezTo>
                    <a:cubicBezTo>
                      <a:pt x="87" y="405"/>
                      <a:pt x="87" y="404"/>
                      <a:pt x="87" y="404"/>
                    </a:cubicBezTo>
                    <a:cubicBezTo>
                      <a:pt x="87" y="404"/>
                      <a:pt x="87" y="404"/>
                      <a:pt x="88" y="404"/>
                    </a:cubicBezTo>
                    <a:cubicBezTo>
                      <a:pt x="88" y="404"/>
                      <a:pt x="88" y="404"/>
                      <a:pt x="88" y="404"/>
                    </a:cubicBezTo>
                    <a:cubicBezTo>
                      <a:pt x="88" y="404"/>
                      <a:pt x="88" y="403"/>
                      <a:pt x="88" y="403"/>
                    </a:cubicBezTo>
                    <a:cubicBezTo>
                      <a:pt x="87" y="403"/>
                      <a:pt x="87" y="404"/>
                      <a:pt x="87" y="404"/>
                    </a:cubicBezTo>
                    <a:cubicBezTo>
                      <a:pt x="87" y="404"/>
                      <a:pt x="86" y="403"/>
                      <a:pt x="86" y="403"/>
                    </a:cubicBezTo>
                    <a:cubicBezTo>
                      <a:pt x="86" y="403"/>
                      <a:pt x="86" y="403"/>
                      <a:pt x="86" y="402"/>
                    </a:cubicBezTo>
                    <a:cubicBezTo>
                      <a:pt x="86" y="401"/>
                      <a:pt x="87" y="400"/>
                      <a:pt x="87" y="400"/>
                    </a:cubicBezTo>
                    <a:cubicBezTo>
                      <a:pt x="87" y="400"/>
                      <a:pt x="87" y="400"/>
                      <a:pt x="87" y="400"/>
                    </a:cubicBezTo>
                    <a:cubicBezTo>
                      <a:pt x="87" y="400"/>
                      <a:pt x="88" y="400"/>
                      <a:pt x="88" y="400"/>
                    </a:cubicBezTo>
                    <a:cubicBezTo>
                      <a:pt x="89" y="400"/>
                      <a:pt x="90" y="402"/>
                      <a:pt x="91" y="403"/>
                    </a:cubicBezTo>
                    <a:cubicBezTo>
                      <a:pt x="91" y="404"/>
                      <a:pt x="92" y="404"/>
                      <a:pt x="92" y="404"/>
                    </a:cubicBezTo>
                    <a:cubicBezTo>
                      <a:pt x="93" y="407"/>
                      <a:pt x="94" y="409"/>
                      <a:pt x="95" y="412"/>
                    </a:cubicBezTo>
                    <a:cubicBezTo>
                      <a:pt x="96" y="414"/>
                      <a:pt x="97" y="417"/>
                      <a:pt x="98" y="419"/>
                    </a:cubicBezTo>
                    <a:cubicBezTo>
                      <a:pt x="99" y="420"/>
                      <a:pt x="100" y="421"/>
                      <a:pt x="101" y="422"/>
                    </a:cubicBezTo>
                    <a:cubicBezTo>
                      <a:pt x="101" y="423"/>
                      <a:pt x="102" y="423"/>
                      <a:pt x="102" y="423"/>
                    </a:cubicBezTo>
                    <a:cubicBezTo>
                      <a:pt x="102" y="423"/>
                      <a:pt x="103" y="423"/>
                      <a:pt x="103" y="423"/>
                    </a:cubicBezTo>
                    <a:cubicBezTo>
                      <a:pt x="103" y="423"/>
                      <a:pt x="104" y="423"/>
                      <a:pt x="104" y="424"/>
                    </a:cubicBezTo>
                    <a:cubicBezTo>
                      <a:pt x="104" y="424"/>
                      <a:pt x="105" y="424"/>
                      <a:pt x="105" y="423"/>
                    </a:cubicBezTo>
                    <a:cubicBezTo>
                      <a:pt x="105" y="423"/>
                      <a:pt x="105" y="423"/>
                      <a:pt x="105" y="423"/>
                    </a:cubicBezTo>
                    <a:cubicBezTo>
                      <a:pt x="105" y="422"/>
                      <a:pt x="106" y="422"/>
                      <a:pt x="106" y="422"/>
                    </a:cubicBezTo>
                    <a:cubicBezTo>
                      <a:pt x="106" y="423"/>
                      <a:pt x="107" y="422"/>
                      <a:pt x="107" y="422"/>
                    </a:cubicBezTo>
                    <a:cubicBezTo>
                      <a:pt x="106" y="422"/>
                      <a:pt x="106" y="422"/>
                      <a:pt x="106" y="422"/>
                    </a:cubicBezTo>
                    <a:cubicBezTo>
                      <a:pt x="106" y="422"/>
                      <a:pt x="107" y="422"/>
                      <a:pt x="107" y="421"/>
                    </a:cubicBezTo>
                    <a:cubicBezTo>
                      <a:pt x="106" y="421"/>
                      <a:pt x="106" y="421"/>
                      <a:pt x="106" y="421"/>
                    </a:cubicBezTo>
                    <a:cubicBezTo>
                      <a:pt x="106" y="421"/>
                      <a:pt x="105" y="421"/>
                      <a:pt x="104" y="422"/>
                    </a:cubicBezTo>
                    <a:cubicBezTo>
                      <a:pt x="104" y="422"/>
                      <a:pt x="104" y="422"/>
                      <a:pt x="103" y="422"/>
                    </a:cubicBezTo>
                    <a:cubicBezTo>
                      <a:pt x="103" y="422"/>
                      <a:pt x="103" y="421"/>
                      <a:pt x="104" y="421"/>
                    </a:cubicBezTo>
                    <a:cubicBezTo>
                      <a:pt x="104" y="421"/>
                      <a:pt x="104" y="421"/>
                      <a:pt x="104" y="420"/>
                    </a:cubicBezTo>
                    <a:cubicBezTo>
                      <a:pt x="104" y="420"/>
                      <a:pt x="104" y="420"/>
                      <a:pt x="104" y="420"/>
                    </a:cubicBezTo>
                    <a:cubicBezTo>
                      <a:pt x="104" y="420"/>
                      <a:pt x="104" y="420"/>
                      <a:pt x="105" y="420"/>
                    </a:cubicBezTo>
                    <a:cubicBezTo>
                      <a:pt x="105" y="420"/>
                      <a:pt x="106" y="421"/>
                      <a:pt x="107" y="420"/>
                    </a:cubicBezTo>
                    <a:cubicBezTo>
                      <a:pt x="106" y="420"/>
                      <a:pt x="106" y="420"/>
                      <a:pt x="106" y="420"/>
                    </a:cubicBezTo>
                    <a:cubicBezTo>
                      <a:pt x="106" y="420"/>
                      <a:pt x="106" y="419"/>
                      <a:pt x="106" y="419"/>
                    </a:cubicBezTo>
                    <a:cubicBezTo>
                      <a:pt x="105" y="419"/>
                      <a:pt x="105" y="418"/>
                      <a:pt x="105" y="418"/>
                    </a:cubicBezTo>
                    <a:cubicBezTo>
                      <a:pt x="105" y="418"/>
                      <a:pt x="105" y="417"/>
                      <a:pt x="105" y="417"/>
                    </a:cubicBezTo>
                    <a:cubicBezTo>
                      <a:pt x="106" y="417"/>
                      <a:pt x="106" y="416"/>
                      <a:pt x="107" y="416"/>
                    </a:cubicBezTo>
                    <a:cubicBezTo>
                      <a:pt x="107" y="416"/>
                      <a:pt x="107" y="415"/>
                      <a:pt x="106" y="415"/>
                    </a:cubicBezTo>
                    <a:cubicBezTo>
                      <a:pt x="106" y="415"/>
                      <a:pt x="106" y="415"/>
                      <a:pt x="106" y="415"/>
                    </a:cubicBezTo>
                    <a:cubicBezTo>
                      <a:pt x="106" y="415"/>
                      <a:pt x="106" y="415"/>
                      <a:pt x="106" y="415"/>
                    </a:cubicBezTo>
                    <a:cubicBezTo>
                      <a:pt x="106" y="414"/>
                      <a:pt x="106" y="414"/>
                      <a:pt x="106" y="413"/>
                    </a:cubicBezTo>
                    <a:cubicBezTo>
                      <a:pt x="106" y="414"/>
                      <a:pt x="106" y="414"/>
                      <a:pt x="106" y="414"/>
                    </a:cubicBezTo>
                    <a:cubicBezTo>
                      <a:pt x="106" y="415"/>
                      <a:pt x="107" y="415"/>
                      <a:pt x="107" y="414"/>
                    </a:cubicBezTo>
                    <a:cubicBezTo>
                      <a:pt x="107" y="414"/>
                      <a:pt x="108" y="414"/>
                      <a:pt x="108" y="414"/>
                    </a:cubicBezTo>
                    <a:cubicBezTo>
                      <a:pt x="107" y="414"/>
                      <a:pt x="107" y="414"/>
                      <a:pt x="107" y="413"/>
                    </a:cubicBezTo>
                    <a:cubicBezTo>
                      <a:pt x="107" y="413"/>
                      <a:pt x="107" y="413"/>
                      <a:pt x="108" y="413"/>
                    </a:cubicBezTo>
                    <a:cubicBezTo>
                      <a:pt x="108" y="412"/>
                      <a:pt x="108" y="412"/>
                      <a:pt x="108" y="412"/>
                    </a:cubicBezTo>
                    <a:cubicBezTo>
                      <a:pt x="108" y="411"/>
                      <a:pt x="108" y="411"/>
                      <a:pt x="108" y="411"/>
                    </a:cubicBezTo>
                    <a:cubicBezTo>
                      <a:pt x="108" y="410"/>
                      <a:pt x="107" y="411"/>
                      <a:pt x="107" y="411"/>
                    </a:cubicBezTo>
                    <a:cubicBezTo>
                      <a:pt x="107" y="411"/>
                      <a:pt x="107" y="411"/>
                      <a:pt x="107" y="411"/>
                    </a:cubicBezTo>
                    <a:cubicBezTo>
                      <a:pt x="107" y="412"/>
                      <a:pt x="106" y="412"/>
                      <a:pt x="106" y="412"/>
                    </a:cubicBezTo>
                    <a:cubicBezTo>
                      <a:pt x="106" y="412"/>
                      <a:pt x="106" y="411"/>
                      <a:pt x="106" y="411"/>
                    </a:cubicBezTo>
                    <a:cubicBezTo>
                      <a:pt x="106" y="411"/>
                      <a:pt x="106" y="411"/>
                      <a:pt x="106" y="411"/>
                    </a:cubicBezTo>
                    <a:cubicBezTo>
                      <a:pt x="106" y="410"/>
                      <a:pt x="107" y="410"/>
                      <a:pt x="107" y="409"/>
                    </a:cubicBezTo>
                    <a:cubicBezTo>
                      <a:pt x="107" y="410"/>
                      <a:pt x="107" y="410"/>
                      <a:pt x="107" y="410"/>
                    </a:cubicBezTo>
                    <a:cubicBezTo>
                      <a:pt x="108" y="410"/>
                      <a:pt x="109" y="409"/>
                      <a:pt x="110" y="409"/>
                    </a:cubicBezTo>
                    <a:cubicBezTo>
                      <a:pt x="109" y="409"/>
                      <a:pt x="109" y="408"/>
                      <a:pt x="109" y="408"/>
                    </a:cubicBezTo>
                    <a:cubicBezTo>
                      <a:pt x="109" y="408"/>
                      <a:pt x="109" y="408"/>
                      <a:pt x="109" y="408"/>
                    </a:cubicBezTo>
                    <a:cubicBezTo>
                      <a:pt x="109" y="408"/>
                      <a:pt x="109" y="407"/>
                      <a:pt x="109" y="407"/>
                    </a:cubicBezTo>
                    <a:cubicBezTo>
                      <a:pt x="109" y="407"/>
                      <a:pt x="110" y="407"/>
                      <a:pt x="110" y="407"/>
                    </a:cubicBezTo>
                    <a:cubicBezTo>
                      <a:pt x="110" y="407"/>
                      <a:pt x="110" y="407"/>
                      <a:pt x="110" y="407"/>
                    </a:cubicBezTo>
                    <a:cubicBezTo>
                      <a:pt x="111" y="407"/>
                      <a:pt x="111" y="407"/>
                      <a:pt x="111" y="407"/>
                    </a:cubicBezTo>
                    <a:cubicBezTo>
                      <a:pt x="111" y="407"/>
                      <a:pt x="111" y="407"/>
                      <a:pt x="110" y="407"/>
                    </a:cubicBezTo>
                    <a:cubicBezTo>
                      <a:pt x="110" y="408"/>
                      <a:pt x="111" y="408"/>
                      <a:pt x="111" y="408"/>
                    </a:cubicBezTo>
                    <a:cubicBezTo>
                      <a:pt x="111" y="408"/>
                      <a:pt x="111" y="408"/>
                      <a:pt x="112" y="408"/>
                    </a:cubicBezTo>
                    <a:cubicBezTo>
                      <a:pt x="111" y="408"/>
                      <a:pt x="112" y="409"/>
                      <a:pt x="112" y="409"/>
                    </a:cubicBezTo>
                    <a:cubicBezTo>
                      <a:pt x="112" y="410"/>
                      <a:pt x="112" y="411"/>
                      <a:pt x="111" y="411"/>
                    </a:cubicBezTo>
                    <a:cubicBezTo>
                      <a:pt x="111" y="411"/>
                      <a:pt x="111" y="411"/>
                      <a:pt x="111" y="412"/>
                    </a:cubicBezTo>
                    <a:cubicBezTo>
                      <a:pt x="111" y="412"/>
                      <a:pt x="111" y="412"/>
                      <a:pt x="111" y="412"/>
                    </a:cubicBezTo>
                    <a:cubicBezTo>
                      <a:pt x="111" y="412"/>
                      <a:pt x="111" y="412"/>
                      <a:pt x="111" y="412"/>
                    </a:cubicBezTo>
                    <a:cubicBezTo>
                      <a:pt x="111" y="412"/>
                      <a:pt x="111" y="413"/>
                      <a:pt x="111" y="413"/>
                    </a:cubicBezTo>
                    <a:cubicBezTo>
                      <a:pt x="111" y="414"/>
                      <a:pt x="111" y="415"/>
                      <a:pt x="111" y="415"/>
                    </a:cubicBezTo>
                    <a:cubicBezTo>
                      <a:pt x="111" y="416"/>
                      <a:pt x="111" y="416"/>
                      <a:pt x="111" y="416"/>
                    </a:cubicBezTo>
                    <a:cubicBezTo>
                      <a:pt x="111" y="416"/>
                      <a:pt x="111" y="416"/>
                      <a:pt x="111" y="416"/>
                    </a:cubicBezTo>
                    <a:cubicBezTo>
                      <a:pt x="111" y="416"/>
                      <a:pt x="112" y="416"/>
                      <a:pt x="112" y="416"/>
                    </a:cubicBezTo>
                    <a:cubicBezTo>
                      <a:pt x="112" y="416"/>
                      <a:pt x="112" y="416"/>
                      <a:pt x="113" y="416"/>
                    </a:cubicBezTo>
                    <a:cubicBezTo>
                      <a:pt x="113" y="416"/>
                      <a:pt x="113" y="416"/>
                      <a:pt x="114" y="416"/>
                    </a:cubicBezTo>
                    <a:cubicBezTo>
                      <a:pt x="114" y="417"/>
                      <a:pt x="114" y="417"/>
                      <a:pt x="114" y="417"/>
                    </a:cubicBezTo>
                    <a:cubicBezTo>
                      <a:pt x="113" y="418"/>
                      <a:pt x="113" y="418"/>
                      <a:pt x="113" y="419"/>
                    </a:cubicBezTo>
                    <a:cubicBezTo>
                      <a:pt x="113" y="419"/>
                      <a:pt x="112" y="420"/>
                      <a:pt x="112" y="420"/>
                    </a:cubicBezTo>
                    <a:cubicBezTo>
                      <a:pt x="112" y="420"/>
                      <a:pt x="112" y="420"/>
                      <a:pt x="111" y="421"/>
                    </a:cubicBezTo>
                    <a:cubicBezTo>
                      <a:pt x="111" y="421"/>
                      <a:pt x="112" y="422"/>
                      <a:pt x="111" y="422"/>
                    </a:cubicBezTo>
                    <a:cubicBezTo>
                      <a:pt x="111" y="422"/>
                      <a:pt x="111" y="422"/>
                      <a:pt x="111" y="423"/>
                    </a:cubicBezTo>
                    <a:cubicBezTo>
                      <a:pt x="111" y="423"/>
                      <a:pt x="111" y="423"/>
                      <a:pt x="111" y="423"/>
                    </a:cubicBezTo>
                    <a:cubicBezTo>
                      <a:pt x="112" y="423"/>
                      <a:pt x="113" y="423"/>
                      <a:pt x="113" y="423"/>
                    </a:cubicBezTo>
                    <a:cubicBezTo>
                      <a:pt x="114" y="423"/>
                      <a:pt x="114" y="423"/>
                      <a:pt x="114" y="422"/>
                    </a:cubicBezTo>
                    <a:cubicBezTo>
                      <a:pt x="114" y="422"/>
                      <a:pt x="114" y="422"/>
                      <a:pt x="115" y="422"/>
                    </a:cubicBezTo>
                    <a:cubicBezTo>
                      <a:pt x="115" y="423"/>
                      <a:pt x="115" y="423"/>
                      <a:pt x="115" y="423"/>
                    </a:cubicBezTo>
                    <a:cubicBezTo>
                      <a:pt x="116" y="423"/>
                      <a:pt x="116" y="424"/>
                      <a:pt x="116" y="424"/>
                    </a:cubicBezTo>
                    <a:cubicBezTo>
                      <a:pt x="116" y="424"/>
                      <a:pt x="116" y="424"/>
                      <a:pt x="116" y="424"/>
                    </a:cubicBezTo>
                    <a:cubicBezTo>
                      <a:pt x="116" y="423"/>
                      <a:pt x="116" y="423"/>
                      <a:pt x="117" y="423"/>
                    </a:cubicBezTo>
                    <a:cubicBezTo>
                      <a:pt x="117" y="423"/>
                      <a:pt x="117" y="423"/>
                      <a:pt x="117" y="423"/>
                    </a:cubicBezTo>
                    <a:cubicBezTo>
                      <a:pt x="118" y="423"/>
                      <a:pt x="118" y="422"/>
                      <a:pt x="118" y="422"/>
                    </a:cubicBezTo>
                    <a:cubicBezTo>
                      <a:pt x="118" y="422"/>
                      <a:pt x="118" y="422"/>
                      <a:pt x="118" y="422"/>
                    </a:cubicBezTo>
                    <a:cubicBezTo>
                      <a:pt x="118" y="422"/>
                      <a:pt x="118" y="421"/>
                      <a:pt x="118" y="421"/>
                    </a:cubicBezTo>
                    <a:cubicBezTo>
                      <a:pt x="118" y="421"/>
                      <a:pt x="118" y="421"/>
                      <a:pt x="119" y="421"/>
                    </a:cubicBezTo>
                    <a:cubicBezTo>
                      <a:pt x="119" y="421"/>
                      <a:pt x="119" y="421"/>
                      <a:pt x="119" y="420"/>
                    </a:cubicBezTo>
                    <a:cubicBezTo>
                      <a:pt x="119" y="420"/>
                      <a:pt x="120" y="420"/>
                      <a:pt x="120" y="420"/>
                    </a:cubicBezTo>
                    <a:cubicBezTo>
                      <a:pt x="120" y="420"/>
                      <a:pt x="120" y="419"/>
                      <a:pt x="120" y="419"/>
                    </a:cubicBezTo>
                    <a:cubicBezTo>
                      <a:pt x="120" y="419"/>
                      <a:pt x="120" y="418"/>
                      <a:pt x="120" y="418"/>
                    </a:cubicBezTo>
                    <a:cubicBezTo>
                      <a:pt x="120" y="418"/>
                      <a:pt x="120" y="417"/>
                      <a:pt x="120" y="417"/>
                    </a:cubicBezTo>
                    <a:cubicBezTo>
                      <a:pt x="120" y="416"/>
                      <a:pt x="120" y="416"/>
                      <a:pt x="120" y="416"/>
                    </a:cubicBezTo>
                    <a:cubicBezTo>
                      <a:pt x="120" y="415"/>
                      <a:pt x="120" y="415"/>
                      <a:pt x="120" y="415"/>
                    </a:cubicBezTo>
                    <a:cubicBezTo>
                      <a:pt x="121" y="415"/>
                      <a:pt x="121" y="415"/>
                      <a:pt x="121" y="414"/>
                    </a:cubicBezTo>
                    <a:cubicBezTo>
                      <a:pt x="121" y="414"/>
                      <a:pt x="121" y="414"/>
                      <a:pt x="121" y="414"/>
                    </a:cubicBezTo>
                    <a:cubicBezTo>
                      <a:pt x="121" y="414"/>
                      <a:pt x="122" y="414"/>
                      <a:pt x="122" y="414"/>
                    </a:cubicBezTo>
                    <a:cubicBezTo>
                      <a:pt x="122" y="415"/>
                      <a:pt x="123" y="414"/>
                      <a:pt x="123" y="414"/>
                    </a:cubicBezTo>
                    <a:cubicBezTo>
                      <a:pt x="123" y="414"/>
                      <a:pt x="124" y="414"/>
                      <a:pt x="124" y="414"/>
                    </a:cubicBezTo>
                    <a:cubicBezTo>
                      <a:pt x="124" y="415"/>
                      <a:pt x="125" y="414"/>
                      <a:pt x="126" y="414"/>
                    </a:cubicBezTo>
                    <a:cubicBezTo>
                      <a:pt x="126" y="414"/>
                      <a:pt x="127" y="414"/>
                      <a:pt x="127" y="414"/>
                    </a:cubicBezTo>
                    <a:cubicBezTo>
                      <a:pt x="127" y="414"/>
                      <a:pt x="127" y="414"/>
                      <a:pt x="127" y="414"/>
                    </a:cubicBezTo>
                    <a:cubicBezTo>
                      <a:pt x="127" y="414"/>
                      <a:pt x="128" y="414"/>
                      <a:pt x="128" y="414"/>
                    </a:cubicBezTo>
                    <a:cubicBezTo>
                      <a:pt x="129" y="415"/>
                      <a:pt x="129" y="414"/>
                      <a:pt x="130" y="415"/>
                    </a:cubicBezTo>
                    <a:cubicBezTo>
                      <a:pt x="130" y="415"/>
                      <a:pt x="130" y="415"/>
                      <a:pt x="130" y="415"/>
                    </a:cubicBezTo>
                    <a:cubicBezTo>
                      <a:pt x="131" y="415"/>
                      <a:pt x="131" y="415"/>
                      <a:pt x="132" y="415"/>
                    </a:cubicBezTo>
                    <a:cubicBezTo>
                      <a:pt x="132" y="415"/>
                      <a:pt x="133" y="416"/>
                      <a:pt x="133" y="417"/>
                    </a:cubicBezTo>
                    <a:cubicBezTo>
                      <a:pt x="134" y="417"/>
                      <a:pt x="134" y="417"/>
                      <a:pt x="134" y="417"/>
                    </a:cubicBezTo>
                    <a:cubicBezTo>
                      <a:pt x="135" y="417"/>
                      <a:pt x="135" y="418"/>
                      <a:pt x="136" y="418"/>
                    </a:cubicBezTo>
                    <a:cubicBezTo>
                      <a:pt x="136" y="419"/>
                      <a:pt x="137" y="419"/>
                      <a:pt x="137" y="420"/>
                    </a:cubicBezTo>
                    <a:cubicBezTo>
                      <a:pt x="138" y="421"/>
                      <a:pt x="138" y="421"/>
                      <a:pt x="139" y="422"/>
                    </a:cubicBezTo>
                    <a:cubicBezTo>
                      <a:pt x="140" y="422"/>
                      <a:pt x="141" y="423"/>
                      <a:pt x="142" y="423"/>
                    </a:cubicBezTo>
                    <a:cubicBezTo>
                      <a:pt x="143" y="424"/>
                      <a:pt x="144" y="424"/>
                      <a:pt x="145" y="424"/>
                    </a:cubicBezTo>
                    <a:cubicBezTo>
                      <a:pt x="145" y="424"/>
                      <a:pt x="145" y="425"/>
                      <a:pt x="146" y="425"/>
                    </a:cubicBezTo>
                    <a:cubicBezTo>
                      <a:pt x="146" y="425"/>
                      <a:pt x="146" y="424"/>
                      <a:pt x="146" y="424"/>
                    </a:cubicBezTo>
                    <a:cubicBezTo>
                      <a:pt x="146" y="424"/>
                      <a:pt x="146" y="424"/>
                      <a:pt x="146" y="424"/>
                    </a:cubicBezTo>
                    <a:cubicBezTo>
                      <a:pt x="147" y="425"/>
                      <a:pt x="147" y="425"/>
                      <a:pt x="148" y="425"/>
                    </a:cubicBezTo>
                    <a:cubicBezTo>
                      <a:pt x="149" y="425"/>
                      <a:pt x="150" y="425"/>
                      <a:pt x="151" y="426"/>
                    </a:cubicBezTo>
                    <a:cubicBezTo>
                      <a:pt x="151" y="427"/>
                      <a:pt x="151" y="427"/>
                      <a:pt x="152" y="428"/>
                    </a:cubicBezTo>
                    <a:cubicBezTo>
                      <a:pt x="152" y="428"/>
                      <a:pt x="153" y="428"/>
                      <a:pt x="154" y="429"/>
                    </a:cubicBezTo>
                    <a:cubicBezTo>
                      <a:pt x="154" y="429"/>
                      <a:pt x="154" y="429"/>
                      <a:pt x="154" y="429"/>
                    </a:cubicBezTo>
                    <a:cubicBezTo>
                      <a:pt x="155" y="430"/>
                      <a:pt x="156" y="430"/>
                      <a:pt x="157" y="430"/>
                    </a:cubicBezTo>
                    <a:cubicBezTo>
                      <a:pt x="158" y="430"/>
                      <a:pt x="159" y="430"/>
                      <a:pt x="159" y="431"/>
                    </a:cubicBezTo>
                    <a:cubicBezTo>
                      <a:pt x="159" y="431"/>
                      <a:pt x="160" y="431"/>
                      <a:pt x="160" y="431"/>
                    </a:cubicBezTo>
                    <a:cubicBezTo>
                      <a:pt x="160" y="432"/>
                      <a:pt x="161" y="432"/>
                      <a:pt x="161" y="431"/>
                    </a:cubicBezTo>
                    <a:cubicBezTo>
                      <a:pt x="161" y="431"/>
                      <a:pt x="162" y="431"/>
                      <a:pt x="162" y="431"/>
                    </a:cubicBezTo>
                    <a:cubicBezTo>
                      <a:pt x="162" y="431"/>
                      <a:pt x="162" y="432"/>
                      <a:pt x="163" y="432"/>
                    </a:cubicBezTo>
                    <a:cubicBezTo>
                      <a:pt x="163" y="432"/>
                      <a:pt x="163" y="432"/>
                      <a:pt x="163" y="432"/>
                    </a:cubicBezTo>
                    <a:cubicBezTo>
                      <a:pt x="163" y="432"/>
                      <a:pt x="164" y="432"/>
                      <a:pt x="164" y="432"/>
                    </a:cubicBezTo>
                    <a:cubicBezTo>
                      <a:pt x="165" y="432"/>
                      <a:pt x="165" y="432"/>
                      <a:pt x="165" y="432"/>
                    </a:cubicBezTo>
                    <a:cubicBezTo>
                      <a:pt x="165" y="432"/>
                      <a:pt x="165" y="432"/>
                      <a:pt x="165" y="432"/>
                    </a:cubicBezTo>
                    <a:cubicBezTo>
                      <a:pt x="166" y="432"/>
                      <a:pt x="166" y="432"/>
                      <a:pt x="166" y="432"/>
                    </a:cubicBezTo>
                    <a:cubicBezTo>
                      <a:pt x="166" y="432"/>
                      <a:pt x="167" y="433"/>
                      <a:pt x="168" y="433"/>
                    </a:cubicBezTo>
                    <a:cubicBezTo>
                      <a:pt x="168" y="433"/>
                      <a:pt x="168" y="433"/>
                      <a:pt x="168" y="433"/>
                    </a:cubicBezTo>
                    <a:cubicBezTo>
                      <a:pt x="168" y="433"/>
                      <a:pt x="168" y="433"/>
                      <a:pt x="168" y="433"/>
                    </a:cubicBezTo>
                    <a:cubicBezTo>
                      <a:pt x="168" y="433"/>
                      <a:pt x="168" y="433"/>
                      <a:pt x="168" y="433"/>
                    </a:cubicBezTo>
                    <a:cubicBezTo>
                      <a:pt x="168" y="433"/>
                      <a:pt x="167" y="432"/>
                      <a:pt x="167" y="431"/>
                    </a:cubicBezTo>
                    <a:cubicBezTo>
                      <a:pt x="168" y="431"/>
                      <a:pt x="168" y="431"/>
                      <a:pt x="169" y="431"/>
                    </a:cubicBezTo>
                    <a:cubicBezTo>
                      <a:pt x="168" y="431"/>
                      <a:pt x="168" y="431"/>
                      <a:pt x="168" y="431"/>
                    </a:cubicBezTo>
                    <a:cubicBezTo>
                      <a:pt x="168" y="431"/>
                      <a:pt x="167" y="431"/>
                      <a:pt x="167" y="431"/>
                    </a:cubicBezTo>
                    <a:cubicBezTo>
                      <a:pt x="167" y="431"/>
                      <a:pt x="167" y="431"/>
                      <a:pt x="167" y="431"/>
                    </a:cubicBezTo>
                    <a:cubicBezTo>
                      <a:pt x="167" y="431"/>
                      <a:pt x="167" y="431"/>
                      <a:pt x="166" y="431"/>
                    </a:cubicBezTo>
                    <a:cubicBezTo>
                      <a:pt x="166" y="431"/>
                      <a:pt x="166" y="430"/>
                      <a:pt x="166" y="430"/>
                    </a:cubicBezTo>
                    <a:cubicBezTo>
                      <a:pt x="166" y="430"/>
                      <a:pt x="166" y="430"/>
                      <a:pt x="167" y="430"/>
                    </a:cubicBezTo>
                    <a:cubicBezTo>
                      <a:pt x="167" y="430"/>
                      <a:pt x="167" y="430"/>
                      <a:pt x="168" y="430"/>
                    </a:cubicBezTo>
                    <a:cubicBezTo>
                      <a:pt x="168" y="431"/>
                      <a:pt x="168" y="431"/>
                      <a:pt x="169" y="431"/>
                    </a:cubicBezTo>
                    <a:cubicBezTo>
                      <a:pt x="169" y="431"/>
                      <a:pt x="169" y="431"/>
                      <a:pt x="169" y="431"/>
                    </a:cubicBezTo>
                    <a:cubicBezTo>
                      <a:pt x="169" y="430"/>
                      <a:pt x="169" y="430"/>
                      <a:pt x="169" y="430"/>
                    </a:cubicBezTo>
                    <a:cubicBezTo>
                      <a:pt x="169" y="430"/>
                      <a:pt x="169" y="430"/>
                      <a:pt x="170" y="430"/>
                    </a:cubicBezTo>
                    <a:cubicBezTo>
                      <a:pt x="170" y="430"/>
                      <a:pt x="170" y="430"/>
                      <a:pt x="170" y="430"/>
                    </a:cubicBezTo>
                    <a:cubicBezTo>
                      <a:pt x="171" y="430"/>
                      <a:pt x="171" y="431"/>
                      <a:pt x="172" y="431"/>
                    </a:cubicBezTo>
                    <a:cubicBezTo>
                      <a:pt x="172" y="431"/>
                      <a:pt x="173" y="432"/>
                      <a:pt x="173" y="432"/>
                    </a:cubicBezTo>
                    <a:cubicBezTo>
                      <a:pt x="173" y="432"/>
                      <a:pt x="174" y="432"/>
                      <a:pt x="174" y="432"/>
                    </a:cubicBezTo>
                    <a:cubicBezTo>
                      <a:pt x="175" y="432"/>
                      <a:pt x="176" y="433"/>
                      <a:pt x="176" y="434"/>
                    </a:cubicBezTo>
                    <a:cubicBezTo>
                      <a:pt x="176" y="434"/>
                      <a:pt x="176" y="434"/>
                      <a:pt x="176" y="434"/>
                    </a:cubicBezTo>
                    <a:cubicBezTo>
                      <a:pt x="176" y="435"/>
                      <a:pt x="177" y="435"/>
                      <a:pt x="178" y="435"/>
                    </a:cubicBezTo>
                    <a:cubicBezTo>
                      <a:pt x="178" y="435"/>
                      <a:pt x="178" y="435"/>
                      <a:pt x="178" y="435"/>
                    </a:cubicBezTo>
                    <a:cubicBezTo>
                      <a:pt x="178" y="435"/>
                      <a:pt x="178" y="435"/>
                      <a:pt x="178" y="436"/>
                    </a:cubicBezTo>
                    <a:cubicBezTo>
                      <a:pt x="178" y="436"/>
                      <a:pt x="179" y="437"/>
                      <a:pt x="179" y="437"/>
                    </a:cubicBezTo>
                    <a:cubicBezTo>
                      <a:pt x="179" y="438"/>
                      <a:pt x="180" y="438"/>
                      <a:pt x="180" y="438"/>
                    </a:cubicBezTo>
                    <a:cubicBezTo>
                      <a:pt x="180" y="438"/>
                      <a:pt x="180" y="438"/>
                      <a:pt x="180" y="438"/>
                    </a:cubicBezTo>
                    <a:cubicBezTo>
                      <a:pt x="181" y="439"/>
                      <a:pt x="181" y="440"/>
                      <a:pt x="181" y="440"/>
                    </a:cubicBezTo>
                    <a:cubicBezTo>
                      <a:pt x="181" y="440"/>
                      <a:pt x="181" y="441"/>
                      <a:pt x="181" y="441"/>
                    </a:cubicBezTo>
                    <a:cubicBezTo>
                      <a:pt x="181" y="441"/>
                      <a:pt x="181" y="441"/>
                      <a:pt x="182" y="441"/>
                    </a:cubicBezTo>
                    <a:cubicBezTo>
                      <a:pt x="182" y="441"/>
                      <a:pt x="182" y="441"/>
                      <a:pt x="182" y="441"/>
                    </a:cubicBezTo>
                    <a:cubicBezTo>
                      <a:pt x="182" y="441"/>
                      <a:pt x="182" y="441"/>
                      <a:pt x="181" y="441"/>
                    </a:cubicBezTo>
                    <a:cubicBezTo>
                      <a:pt x="181" y="441"/>
                      <a:pt x="181" y="442"/>
                      <a:pt x="182" y="442"/>
                    </a:cubicBezTo>
                    <a:cubicBezTo>
                      <a:pt x="182" y="442"/>
                      <a:pt x="181" y="442"/>
                      <a:pt x="181" y="442"/>
                    </a:cubicBezTo>
                    <a:cubicBezTo>
                      <a:pt x="181" y="442"/>
                      <a:pt x="181" y="443"/>
                      <a:pt x="181" y="443"/>
                    </a:cubicBezTo>
                    <a:cubicBezTo>
                      <a:pt x="181" y="444"/>
                      <a:pt x="181" y="444"/>
                      <a:pt x="180" y="444"/>
                    </a:cubicBezTo>
                    <a:cubicBezTo>
                      <a:pt x="180" y="444"/>
                      <a:pt x="180" y="444"/>
                      <a:pt x="180" y="444"/>
                    </a:cubicBezTo>
                    <a:cubicBezTo>
                      <a:pt x="179" y="444"/>
                      <a:pt x="179" y="444"/>
                      <a:pt x="179" y="444"/>
                    </a:cubicBezTo>
                    <a:cubicBezTo>
                      <a:pt x="179" y="444"/>
                      <a:pt x="179" y="444"/>
                      <a:pt x="179" y="444"/>
                    </a:cubicBezTo>
                    <a:cubicBezTo>
                      <a:pt x="179" y="444"/>
                      <a:pt x="179" y="443"/>
                      <a:pt x="178" y="443"/>
                    </a:cubicBezTo>
                    <a:cubicBezTo>
                      <a:pt x="178" y="443"/>
                      <a:pt x="178" y="444"/>
                      <a:pt x="178" y="444"/>
                    </a:cubicBezTo>
                    <a:cubicBezTo>
                      <a:pt x="177" y="444"/>
                      <a:pt x="176" y="443"/>
                      <a:pt x="176" y="443"/>
                    </a:cubicBezTo>
                    <a:cubicBezTo>
                      <a:pt x="176" y="443"/>
                      <a:pt x="175" y="443"/>
                      <a:pt x="175" y="443"/>
                    </a:cubicBezTo>
                    <a:cubicBezTo>
                      <a:pt x="175" y="443"/>
                      <a:pt x="175" y="443"/>
                      <a:pt x="175" y="442"/>
                    </a:cubicBezTo>
                    <a:cubicBezTo>
                      <a:pt x="175" y="442"/>
                      <a:pt x="175" y="442"/>
                      <a:pt x="175" y="443"/>
                    </a:cubicBezTo>
                    <a:cubicBezTo>
                      <a:pt x="175" y="443"/>
                      <a:pt x="175" y="443"/>
                      <a:pt x="175" y="443"/>
                    </a:cubicBezTo>
                    <a:cubicBezTo>
                      <a:pt x="175" y="444"/>
                      <a:pt x="176" y="444"/>
                      <a:pt x="176" y="444"/>
                    </a:cubicBezTo>
                    <a:cubicBezTo>
                      <a:pt x="176" y="444"/>
                      <a:pt x="176" y="445"/>
                      <a:pt x="176" y="445"/>
                    </a:cubicBezTo>
                    <a:cubicBezTo>
                      <a:pt x="176" y="445"/>
                      <a:pt x="176" y="445"/>
                      <a:pt x="175" y="445"/>
                    </a:cubicBezTo>
                    <a:cubicBezTo>
                      <a:pt x="175" y="445"/>
                      <a:pt x="175" y="445"/>
                      <a:pt x="175" y="445"/>
                    </a:cubicBezTo>
                    <a:cubicBezTo>
                      <a:pt x="175" y="445"/>
                      <a:pt x="174" y="445"/>
                      <a:pt x="173" y="445"/>
                    </a:cubicBezTo>
                    <a:cubicBezTo>
                      <a:pt x="173" y="445"/>
                      <a:pt x="173" y="445"/>
                      <a:pt x="173" y="445"/>
                    </a:cubicBezTo>
                    <a:cubicBezTo>
                      <a:pt x="173" y="445"/>
                      <a:pt x="173" y="445"/>
                      <a:pt x="173" y="445"/>
                    </a:cubicBezTo>
                    <a:cubicBezTo>
                      <a:pt x="173" y="446"/>
                      <a:pt x="173" y="446"/>
                      <a:pt x="173" y="447"/>
                    </a:cubicBezTo>
                    <a:cubicBezTo>
                      <a:pt x="173" y="447"/>
                      <a:pt x="173" y="447"/>
                      <a:pt x="173" y="448"/>
                    </a:cubicBezTo>
                    <a:cubicBezTo>
                      <a:pt x="173" y="448"/>
                      <a:pt x="173" y="448"/>
                      <a:pt x="173" y="448"/>
                    </a:cubicBezTo>
                    <a:cubicBezTo>
                      <a:pt x="173" y="448"/>
                      <a:pt x="173" y="448"/>
                      <a:pt x="173" y="448"/>
                    </a:cubicBezTo>
                    <a:cubicBezTo>
                      <a:pt x="173" y="449"/>
                      <a:pt x="172" y="449"/>
                      <a:pt x="172" y="449"/>
                    </a:cubicBezTo>
                    <a:cubicBezTo>
                      <a:pt x="171" y="449"/>
                      <a:pt x="171" y="449"/>
                      <a:pt x="171" y="450"/>
                    </a:cubicBezTo>
                    <a:cubicBezTo>
                      <a:pt x="171" y="450"/>
                      <a:pt x="171" y="450"/>
                      <a:pt x="171" y="450"/>
                    </a:cubicBezTo>
                    <a:cubicBezTo>
                      <a:pt x="172" y="450"/>
                      <a:pt x="173" y="451"/>
                      <a:pt x="174" y="451"/>
                    </a:cubicBezTo>
                    <a:cubicBezTo>
                      <a:pt x="174" y="452"/>
                      <a:pt x="174" y="452"/>
                      <a:pt x="174" y="452"/>
                    </a:cubicBezTo>
                    <a:cubicBezTo>
                      <a:pt x="175" y="452"/>
                      <a:pt x="175" y="452"/>
                      <a:pt x="175" y="452"/>
                    </a:cubicBezTo>
                    <a:cubicBezTo>
                      <a:pt x="176" y="451"/>
                      <a:pt x="177" y="452"/>
                      <a:pt x="178" y="452"/>
                    </a:cubicBezTo>
                    <a:cubicBezTo>
                      <a:pt x="178" y="452"/>
                      <a:pt x="178" y="452"/>
                      <a:pt x="178" y="452"/>
                    </a:cubicBezTo>
                    <a:cubicBezTo>
                      <a:pt x="179" y="452"/>
                      <a:pt x="179" y="452"/>
                      <a:pt x="179" y="452"/>
                    </a:cubicBezTo>
                    <a:cubicBezTo>
                      <a:pt x="179" y="453"/>
                      <a:pt x="179" y="453"/>
                      <a:pt x="180" y="453"/>
                    </a:cubicBezTo>
                    <a:cubicBezTo>
                      <a:pt x="182" y="453"/>
                      <a:pt x="184" y="454"/>
                      <a:pt x="186" y="453"/>
                    </a:cubicBezTo>
                    <a:cubicBezTo>
                      <a:pt x="186" y="453"/>
                      <a:pt x="186" y="453"/>
                      <a:pt x="186" y="453"/>
                    </a:cubicBezTo>
                    <a:cubicBezTo>
                      <a:pt x="187" y="453"/>
                      <a:pt x="187" y="453"/>
                      <a:pt x="187" y="453"/>
                    </a:cubicBezTo>
                    <a:cubicBezTo>
                      <a:pt x="188" y="454"/>
                      <a:pt x="189" y="454"/>
                      <a:pt x="190" y="454"/>
                    </a:cubicBezTo>
                    <a:cubicBezTo>
                      <a:pt x="190" y="454"/>
                      <a:pt x="191" y="454"/>
                      <a:pt x="191" y="454"/>
                    </a:cubicBezTo>
                    <a:cubicBezTo>
                      <a:pt x="192" y="454"/>
                      <a:pt x="192" y="453"/>
                      <a:pt x="192" y="453"/>
                    </a:cubicBezTo>
                    <a:cubicBezTo>
                      <a:pt x="192" y="453"/>
                      <a:pt x="193" y="453"/>
                      <a:pt x="193" y="453"/>
                    </a:cubicBezTo>
                    <a:cubicBezTo>
                      <a:pt x="193" y="453"/>
                      <a:pt x="193" y="453"/>
                      <a:pt x="194" y="453"/>
                    </a:cubicBezTo>
                    <a:cubicBezTo>
                      <a:pt x="195" y="452"/>
                      <a:pt x="196" y="452"/>
                      <a:pt x="198" y="452"/>
                    </a:cubicBezTo>
                    <a:cubicBezTo>
                      <a:pt x="198" y="452"/>
                      <a:pt x="198" y="452"/>
                      <a:pt x="198" y="452"/>
                    </a:cubicBezTo>
                    <a:cubicBezTo>
                      <a:pt x="199" y="452"/>
                      <a:pt x="199" y="452"/>
                      <a:pt x="199" y="452"/>
                    </a:cubicBezTo>
                    <a:cubicBezTo>
                      <a:pt x="199" y="452"/>
                      <a:pt x="199" y="452"/>
                      <a:pt x="200" y="451"/>
                    </a:cubicBezTo>
                    <a:cubicBezTo>
                      <a:pt x="200" y="451"/>
                      <a:pt x="200" y="451"/>
                      <a:pt x="200" y="451"/>
                    </a:cubicBezTo>
                    <a:cubicBezTo>
                      <a:pt x="200" y="451"/>
                      <a:pt x="200" y="451"/>
                      <a:pt x="200" y="452"/>
                    </a:cubicBezTo>
                    <a:cubicBezTo>
                      <a:pt x="201" y="452"/>
                      <a:pt x="201" y="452"/>
                      <a:pt x="201" y="452"/>
                    </a:cubicBezTo>
                    <a:cubicBezTo>
                      <a:pt x="202" y="452"/>
                      <a:pt x="202" y="452"/>
                      <a:pt x="202" y="451"/>
                    </a:cubicBezTo>
                    <a:cubicBezTo>
                      <a:pt x="203" y="451"/>
                      <a:pt x="204" y="450"/>
                      <a:pt x="204" y="449"/>
                    </a:cubicBezTo>
                    <a:cubicBezTo>
                      <a:pt x="205" y="449"/>
                      <a:pt x="205" y="449"/>
                      <a:pt x="205" y="449"/>
                    </a:cubicBezTo>
                    <a:cubicBezTo>
                      <a:pt x="205" y="449"/>
                      <a:pt x="206" y="449"/>
                      <a:pt x="206" y="449"/>
                    </a:cubicBezTo>
                    <a:cubicBezTo>
                      <a:pt x="206" y="448"/>
                      <a:pt x="207" y="448"/>
                      <a:pt x="207" y="448"/>
                    </a:cubicBezTo>
                    <a:cubicBezTo>
                      <a:pt x="208" y="448"/>
                      <a:pt x="208" y="449"/>
                      <a:pt x="208" y="449"/>
                    </a:cubicBezTo>
                    <a:cubicBezTo>
                      <a:pt x="208" y="450"/>
                      <a:pt x="209" y="450"/>
                      <a:pt x="209" y="450"/>
                    </a:cubicBezTo>
                    <a:cubicBezTo>
                      <a:pt x="210" y="451"/>
                      <a:pt x="210" y="452"/>
                      <a:pt x="210" y="453"/>
                    </a:cubicBezTo>
                    <a:cubicBezTo>
                      <a:pt x="210" y="453"/>
                      <a:pt x="210" y="453"/>
                      <a:pt x="210" y="453"/>
                    </a:cubicBezTo>
                    <a:cubicBezTo>
                      <a:pt x="210" y="453"/>
                      <a:pt x="210" y="453"/>
                      <a:pt x="210" y="453"/>
                    </a:cubicBezTo>
                    <a:cubicBezTo>
                      <a:pt x="211" y="453"/>
                      <a:pt x="211" y="453"/>
                      <a:pt x="211" y="453"/>
                    </a:cubicBezTo>
                    <a:cubicBezTo>
                      <a:pt x="212" y="453"/>
                      <a:pt x="212" y="453"/>
                      <a:pt x="212" y="453"/>
                    </a:cubicBezTo>
                    <a:cubicBezTo>
                      <a:pt x="212" y="453"/>
                      <a:pt x="213" y="453"/>
                      <a:pt x="213" y="453"/>
                    </a:cubicBezTo>
                    <a:cubicBezTo>
                      <a:pt x="213" y="453"/>
                      <a:pt x="213" y="453"/>
                      <a:pt x="213" y="453"/>
                    </a:cubicBezTo>
                    <a:cubicBezTo>
                      <a:pt x="214" y="453"/>
                      <a:pt x="214" y="453"/>
                      <a:pt x="214" y="453"/>
                    </a:cubicBezTo>
                    <a:cubicBezTo>
                      <a:pt x="214" y="453"/>
                      <a:pt x="214" y="453"/>
                      <a:pt x="215" y="453"/>
                    </a:cubicBezTo>
                    <a:cubicBezTo>
                      <a:pt x="215" y="453"/>
                      <a:pt x="215" y="454"/>
                      <a:pt x="215" y="454"/>
                    </a:cubicBezTo>
                    <a:cubicBezTo>
                      <a:pt x="215" y="455"/>
                      <a:pt x="215" y="456"/>
                      <a:pt x="215" y="456"/>
                    </a:cubicBezTo>
                    <a:cubicBezTo>
                      <a:pt x="215" y="457"/>
                      <a:pt x="215" y="457"/>
                      <a:pt x="215" y="457"/>
                    </a:cubicBezTo>
                    <a:cubicBezTo>
                      <a:pt x="215" y="457"/>
                      <a:pt x="215" y="457"/>
                      <a:pt x="215" y="457"/>
                    </a:cubicBezTo>
                    <a:cubicBezTo>
                      <a:pt x="215" y="457"/>
                      <a:pt x="215" y="457"/>
                      <a:pt x="215" y="458"/>
                    </a:cubicBezTo>
                    <a:cubicBezTo>
                      <a:pt x="215" y="458"/>
                      <a:pt x="215" y="458"/>
                      <a:pt x="215" y="458"/>
                    </a:cubicBezTo>
                    <a:cubicBezTo>
                      <a:pt x="216" y="458"/>
                      <a:pt x="216" y="459"/>
                      <a:pt x="216" y="459"/>
                    </a:cubicBezTo>
                    <a:cubicBezTo>
                      <a:pt x="216" y="459"/>
                      <a:pt x="216" y="459"/>
                      <a:pt x="216" y="459"/>
                    </a:cubicBezTo>
                    <a:cubicBezTo>
                      <a:pt x="216" y="459"/>
                      <a:pt x="216" y="459"/>
                      <a:pt x="216" y="459"/>
                    </a:cubicBezTo>
                    <a:cubicBezTo>
                      <a:pt x="217" y="458"/>
                      <a:pt x="216" y="457"/>
                      <a:pt x="217" y="456"/>
                    </a:cubicBezTo>
                    <a:cubicBezTo>
                      <a:pt x="217" y="456"/>
                      <a:pt x="217" y="456"/>
                      <a:pt x="217" y="456"/>
                    </a:cubicBezTo>
                    <a:cubicBezTo>
                      <a:pt x="217" y="456"/>
                      <a:pt x="217" y="455"/>
                      <a:pt x="217" y="455"/>
                    </a:cubicBezTo>
                    <a:cubicBezTo>
                      <a:pt x="217" y="455"/>
                      <a:pt x="217" y="455"/>
                      <a:pt x="217" y="455"/>
                    </a:cubicBezTo>
                    <a:cubicBezTo>
                      <a:pt x="217" y="455"/>
                      <a:pt x="217" y="456"/>
                      <a:pt x="218" y="456"/>
                    </a:cubicBezTo>
                    <a:cubicBezTo>
                      <a:pt x="218" y="456"/>
                      <a:pt x="218" y="456"/>
                      <a:pt x="218" y="456"/>
                    </a:cubicBezTo>
                    <a:cubicBezTo>
                      <a:pt x="218" y="456"/>
                      <a:pt x="218" y="457"/>
                      <a:pt x="218" y="457"/>
                    </a:cubicBezTo>
                    <a:cubicBezTo>
                      <a:pt x="218" y="457"/>
                      <a:pt x="218" y="458"/>
                      <a:pt x="218" y="458"/>
                    </a:cubicBezTo>
                    <a:cubicBezTo>
                      <a:pt x="218" y="458"/>
                      <a:pt x="218" y="458"/>
                      <a:pt x="218" y="458"/>
                    </a:cubicBezTo>
                    <a:cubicBezTo>
                      <a:pt x="218" y="459"/>
                      <a:pt x="219" y="459"/>
                      <a:pt x="218" y="459"/>
                    </a:cubicBezTo>
                    <a:cubicBezTo>
                      <a:pt x="219" y="459"/>
                      <a:pt x="219" y="458"/>
                      <a:pt x="219" y="458"/>
                    </a:cubicBezTo>
                    <a:cubicBezTo>
                      <a:pt x="220" y="458"/>
                      <a:pt x="220" y="459"/>
                      <a:pt x="220" y="460"/>
                    </a:cubicBezTo>
                    <a:cubicBezTo>
                      <a:pt x="221" y="460"/>
                      <a:pt x="221" y="460"/>
                      <a:pt x="221" y="460"/>
                    </a:cubicBezTo>
                    <a:cubicBezTo>
                      <a:pt x="222" y="460"/>
                      <a:pt x="222" y="461"/>
                      <a:pt x="222" y="462"/>
                    </a:cubicBezTo>
                    <a:cubicBezTo>
                      <a:pt x="222" y="462"/>
                      <a:pt x="222" y="463"/>
                      <a:pt x="222" y="463"/>
                    </a:cubicBezTo>
                    <a:cubicBezTo>
                      <a:pt x="222" y="463"/>
                      <a:pt x="223" y="464"/>
                      <a:pt x="223" y="464"/>
                    </a:cubicBezTo>
                    <a:cubicBezTo>
                      <a:pt x="223" y="464"/>
                      <a:pt x="223" y="464"/>
                      <a:pt x="222" y="464"/>
                    </a:cubicBezTo>
                    <a:cubicBezTo>
                      <a:pt x="222" y="464"/>
                      <a:pt x="222" y="464"/>
                      <a:pt x="221" y="464"/>
                    </a:cubicBezTo>
                    <a:cubicBezTo>
                      <a:pt x="221" y="464"/>
                      <a:pt x="221" y="464"/>
                      <a:pt x="221" y="464"/>
                    </a:cubicBezTo>
                    <a:cubicBezTo>
                      <a:pt x="221" y="464"/>
                      <a:pt x="220" y="465"/>
                      <a:pt x="220" y="465"/>
                    </a:cubicBezTo>
                    <a:cubicBezTo>
                      <a:pt x="220" y="465"/>
                      <a:pt x="220" y="465"/>
                      <a:pt x="220" y="465"/>
                    </a:cubicBezTo>
                    <a:cubicBezTo>
                      <a:pt x="220" y="465"/>
                      <a:pt x="220" y="465"/>
                      <a:pt x="220" y="465"/>
                    </a:cubicBezTo>
                    <a:cubicBezTo>
                      <a:pt x="219" y="464"/>
                      <a:pt x="218" y="464"/>
                      <a:pt x="218" y="463"/>
                    </a:cubicBezTo>
                    <a:cubicBezTo>
                      <a:pt x="217" y="463"/>
                      <a:pt x="218" y="464"/>
                      <a:pt x="218" y="464"/>
                    </a:cubicBezTo>
                    <a:cubicBezTo>
                      <a:pt x="218" y="465"/>
                      <a:pt x="218" y="465"/>
                      <a:pt x="218" y="465"/>
                    </a:cubicBezTo>
                    <a:cubicBezTo>
                      <a:pt x="218" y="465"/>
                      <a:pt x="218" y="465"/>
                      <a:pt x="219" y="465"/>
                    </a:cubicBezTo>
                    <a:cubicBezTo>
                      <a:pt x="219" y="465"/>
                      <a:pt x="219" y="465"/>
                      <a:pt x="219" y="465"/>
                    </a:cubicBezTo>
                    <a:cubicBezTo>
                      <a:pt x="219" y="466"/>
                      <a:pt x="220" y="466"/>
                      <a:pt x="220" y="466"/>
                    </a:cubicBezTo>
                    <a:cubicBezTo>
                      <a:pt x="220" y="466"/>
                      <a:pt x="221" y="466"/>
                      <a:pt x="221" y="466"/>
                    </a:cubicBezTo>
                    <a:cubicBezTo>
                      <a:pt x="221" y="466"/>
                      <a:pt x="221" y="466"/>
                      <a:pt x="221" y="466"/>
                    </a:cubicBezTo>
                    <a:cubicBezTo>
                      <a:pt x="221" y="466"/>
                      <a:pt x="221" y="466"/>
                      <a:pt x="221" y="466"/>
                    </a:cubicBezTo>
                    <a:cubicBezTo>
                      <a:pt x="222" y="466"/>
                      <a:pt x="222" y="466"/>
                      <a:pt x="222" y="467"/>
                    </a:cubicBezTo>
                    <a:cubicBezTo>
                      <a:pt x="221" y="467"/>
                      <a:pt x="221" y="467"/>
                      <a:pt x="221" y="467"/>
                    </a:cubicBezTo>
                    <a:cubicBezTo>
                      <a:pt x="221" y="467"/>
                      <a:pt x="221" y="467"/>
                      <a:pt x="221" y="467"/>
                    </a:cubicBezTo>
                    <a:cubicBezTo>
                      <a:pt x="221" y="467"/>
                      <a:pt x="221" y="468"/>
                      <a:pt x="221" y="468"/>
                    </a:cubicBezTo>
                    <a:cubicBezTo>
                      <a:pt x="221" y="468"/>
                      <a:pt x="221" y="468"/>
                      <a:pt x="222" y="469"/>
                    </a:cubicBezTo>
                    <a:cubicBezTo>
                      <a:pt x="222" y="469"/>
                      <a:pt x="222" y="469"/>
                      <a:pt x="222" y="469"/>
                    </a:cubicBezTo>
                    <a:cubicBezTo>
                      <a:pt x="222" y="470"/>
                      <a:pt x="222" y="470"/>
                      <a:pt x="222" y="470"/>
                    </a:cubicBezTo>
                    <a:cubicBezTo>
                      <a:pt x="222" y="470"/>
                      <a:pt x="222" y="471"/>
                      <a:pt x="222" y="471"/>
                    </a:cubicBezTo>
                    <a:cubicBezTo>
                      <a:pt x="222" y="471"/>
                      <a:pt x="222" y="471"/>
                      <a:pt x="222" y="471"/>
                    </a:cubicBezTo>
                    <a:cubicBezTo>
                      <a:pt x="222" y="471"/>
                      <a:pt x="222" y="471"/>
                      <a:pt x="222" y="471"/>
                    </a:cubicBezTo>
                    <a:cubicBezTo>
                      <a:pt x="223" y="471"/>
                      <a:pt x="223" y="471"/>
                      <a:pt x="223" y="470"/>
                    </a:cubicBezTo>
                    <a:cubicBezTo>
                      <a:pt x="223" y="471"/>
                      <a:pt x="224" y="472"/>
                      <a:pt x="224" y="473"/>
                    </a:cubicBezTo>
                    <a:cubicBezTo>
                      <a:pt x="224" y="473"/>
                      <a:pt x="225" y="474"/>
                      <a:pt x="225" y="474"/>
                    </a:cubicBezTo>
                    <a:cubicBezTo>
                      <a:pt x="226" y="475"/>
                      <a:pt x="226" y="476"/>
                      <a:pt x="227" y="476"/>
                    </a:cubicBezTo>
                    <a:cubicBezTo>
                      <a:pt x="227" y="476"/>
                      <a:pt x="227" y="476"/>
                      <a:pt x="227" y="476"/>
                    </a:cubicBezTo>
                    <a:cubicBezTo>
                      <a:pt x="227" y="475"/>
                      <a:pt x="226" y="475"/>
                      <a:pt x="227" y="475"/>
                    </a:cubicBezTo>
                    <a:cubicBezTo>
                      <a:pt x="227" y="475"/>
                      <a:pt x="227" y="475"/>
                      <a:pt x="227" y="475"/>
                    </a:cubicBezTo>
                    <a:cubicBezTo>
                      <a:pt x="227" y="475"/>
                      <a:pt x="227" y="475"/>
                      <a:pt x="226" y="475"/>
                    </a:cubicBezTo>
                    <a:cubicBezTo>
                      <a:pt x="226" y="475"/>
                      <a:pt x="226" y="475"/>
                      <a:pt x="226" y="474"/>
                    </a:cubicBezTo>
                    <a:cubicBezTo>
                      <a:pt x="226" y="474"/>
                      <a:pt x="226" y="474"/>
                      <a:pt x="225" y="473"/>
                    </a:cubicBezTo>
                    <a:cubicBezTo>
                      <a:pt x="225" y="473"/>
                      <a:pt x="225" y="473"/>
                      <a:pt x="225" y="473"/>
                    </a:cubicBezTo>
                    <a:cubicBezTo>
                      <a:pt x="225" y="472"/>
                      <a:pt x="225" y="472"/>
                      <a:pt x="225" y="472"/>
                    </a:cubicBezTo>
                    <a:cubicBezTo>
                      <a:pt x="225" y="472"/>
                      <a:pt x="225" y="472"/>
                      <a:pt x="225" y="472"/>
                    </a:cubicBezTo>
                    <a:cubicBezTo>
                      <a:pt x="225" y="472"/>
                      <a:pt x="225" y="471"/>
                      <a:pt x="225" y="471"/>
                    </a:cubicBezTo>
                    <a:cubicBezTo>
                      <a:pt x="225" y="471"/>
                      <a:pt x="225" y="471"/>
                      <a:pt x="225" y="471"/>
                    </a:cubicBezTo>
                    <a:cubicBezTo>
                      <a:pt x="225" y="471"/>
                      <a:pt x="225" y="471"/>
                      <a:pt x="224" y="471"/>
                    </a:cubicBezTo>
                    <a:cubicBezTo>
                      <a:pt x="224" y="471"/>
                      <a:pt x="224" y="471"/>
                      <a:pt x="223" y="470"/>
                    </a:cubicBezTo>
                    <a:cubicBezTo>
                      <a:pt x="223" y="470"/>
                      <a:pt x="223" y="470"/>
                      <a:pt x="223" y="470"/>
                    </a:cubicBezTo>
                    <a:cubicBezTo>
                      <a:pt x="223" y="470"/>
                      <a:pt x="223" y="470"/>
                      <a:pt x="223" y="470"/>
                    </a:cubicBezTo>
                    <a:cubicBezTo>
                      <a:pt x="224" y="469"/>
                      <a:pt x="224" y="469"/>
                      <a:pt x="223" y="468"/>
                    </a:cubicBezTo>
                    <a:cubicBezTo>
                      <a:pt x="223" y="468"/>
                      <a:pt x="223" y="468"/>
                      <a:pt x="223" y="468"/>
                    </a:cubicBezTo>
                    <a:cubicBezTo>
                      <a:pt x="224" y="467"/>
                      <a:pt x="224" y="467"/>
                      <a:pt x="224" y="467"/>
                    </a:cubicBezTo>
                    <a:cubicBezTo>
                      <a:pt x="224" y="468"/>
                      <a:pt x="224" y="468"/>
                      <a:pt x="224" y="468"/>
                    </a:cubicBezTo>
                    <a:cubicBezTo>
                      <a:pt x="225" y="468"/>
                      <a:pt x="225" y="467"/>
                      <a:pt x="225" y="467"/>
                    </a:cubicBezTo>
                    <a:cubicBezTo>
                      <a:pt x="225" y="467"/>
                      <a:pt x="226" y="467"/>
                      <a:pt x="226" y="467"/>
                    </a:cubicBezTo>
                    <a:cubicBezTo>
                      <a:pt x="226" y="467"/>
                      <a:pt x="225" y="467"/>
                      <a:pt x="225" y="467"/>
                    </a:cubicBezTo>
                    <a:cubicBezTo>
                      <a:pt x="225" y="466"/>
                      <a:pt x="225" y="466"/>
                      <a:pt x="225" y="466"/>
                    </a:cubicBezTo>
                    <a:cubicBezTo>
                      <a:pt x="226" y="466"/>
                      <a:pt x="226" y="466"/>
                      <a:pt x="226" y="466"/>
                    </a:cubicBezTo>
                    <a:cubicBezTo>
                      <a:pt x="226" y="467"/>
                      <a:pt x="226" y="467"/>
                      <a:pt x="227" y="467"/>
                    </a:cubicBezTo>
                    <a:cubicBezTo>
                      <a:pt x="227" y="467"/>
                      <a:pt x="227" y="467"/>
                      <a:pt x="227" y="467"/>
                    </a:cubicBezTo>
                    <a:cubicBezTo>
                      <a:pt x="227" y="467"/>
                      <a:pt x="227" y="467"/>
                      <a:pt x="227" y="467"/>
                    </a:cubicBezTo>
                    <a:cubicBezTo>
                      <a:pt x="227" y="467"/>
                      <a:pt x="227" y="467"/>
                      <a:pt x="227" y="467"/>
                    </a:cubicBezTo>
                    <a:cubicBezTo>
                      <a:pt x="227" y="466"/>
                      <a:pt x="226" y="465"/>
                      <a:pt x="225" y="465"/>
                    </a:cubicBezTo>
                    <a:cubicBezTo>
                      <a:pt x="225" y="465"/>
                      <a:pt x="225" y="465"/>
                      <a:pt x="225" y="465"/>
                    </a:cubicBezTo>
                    <a:cubicBezTo>
                      <a:pt x="225" y="464"/>
                      <a:pt x="226" y="464"/>
                      <a:pt x="226" y="464"/>
                    </a:cubicBezTo>
                    <a:cubicBezTo>
                      <a:pt x="226" y="464"/>
                      <a:pt x="226" y="464"/>
                      <a:pt x="226" y="463"/>
                    </a:cubicBezTo>
                    <a:cubicBezTo>
                      <a:pt x="226" y="463"/>
                      <a:pt x="226" y="463"/>
                      <a:pt x="226" y="463"/>
                    </a:cubicBezTo>
                    <a:cubicBezTo>
                      <a:pt x="226" y="463"/>
                      <a:pt x="226" y="463"/>
                      <a:pt x="226" y="463"/>
                    </a:cubicBezTo>
                    <a:cubicBezTo>
                      <a:pt x="225" y="463"/>
                      <a:pt x="225" y="462"/>
                      <a:pt x="224" y="461"/>
                    </a:cubicBezTo>
                    <a:cubicBezTo>
                      <a:pt x="224" y="461"/>
                      <a:pt x="224" y="461"/>
                      <a:pt x="224" y="461"/>
                    </a:cubicBezTo>
                    <a:cubicBezTo>
                      <a:pt x="224" y="460"/>
                      <a:pt x="224" y="459"/>
                      <a:pt x="224" y="458"/>
                    </a:cubicBezTo>
                    <a:cubicBezTo>
                      <a:pt x="224" y="458"/>
                      <a:pt x="224" y="458"/>
                      <a:pt x="224" y="457"/>
                    </a:cubicBezTo>
                    <a:cubicBezTo>
                      <a:pt x="224" y="457"/>
                      <a:pt x="224" y="456"/>
                      <a:pt x="224" y="456"/>
                    </a:cubicBezTo>
                    <a:cubicBezTo>
                      <a:pt x="224" y="456"/>
                      <a:pt x="224" y="456"/>
                      <a:pt x="224" y="456"/>
                    </a:cubicBezTo>
                    <a:cubicBezTo>
                      <a:pt x="224" y="456"/>
                      <a:pt x="224" y="456"/>
                      <a:pt x="224" y="456"/>
                    </a:cubicBezTo>
                    <a:cubicBezTo>
                      <a:pt x="224" y="456"/>
                      <a:pt x="224" y="455"/>
                      <a:pt x="223" y="455"/>
                    </a:cubicBezTo>
                    <a:cubicBezTo>
                      <a:pt x="223" y="455"/>
                      <a:pt x="223" y="454"/>
                      <a:pt x="223" y="454"/>
                    </a:cubicBezTo>
                    <a:cubicBezTo>
                      <a:pt x="223" y="454"/>
                      <a:pt x="223" y="454"/>
                      <a:pt x="223" y="454"/>
                    </a:cubicBezTo>
                    <a:cubicBezTo>
                      <a:pt x="223" y="454"/>
                      <a:pt x="222" y="454"/>
                      <a:pt x="222" y="454"/>
                    </a:cubicBezTo>
                    <a:cubicBezTo>
                      <a:pt x="222" y="453"/>
                      <a:pt x="222" y="453"/>
                      <a:pt x="221" y="453"/>
                    </a:cubicBezTo>
                    <a:cubicBezTo>
                      <a:pt x="221" y="452"/>
                      <a:pt x="221" y="452"/>
                      <a:pt x="221" y="452"/>
                    </a:cubicBezTo>
                    <a:cubicBezTo>
                      <a:pt x="221" y="452"/>
                      <a:pt x="221" y="452"/>
                      <a:pt x="222" y="452"/>
                    </a:cubicBezTo>
                    <a:cubicBezTo>
                      <a:pt x="222" y="451"/>
                      <a:pt x="222" y="450"/>
                      <a:pt x="223" y="450"/>
                    </a:cubicBezTo>
                    <a:cubicBezTo>
                      <a:pt x="223" y="450"/>
                      <a:pt x="224" y="450"/>
                      <a:pt x="224" y="449"/>
                    </a:cubicBezTo>
                    <a:cubicBezTo>
                      <a:pt x="224" y="449"/>
                      <a:pt x="224" y="449"/>
                      <a:pt x="224" y="449"/>
                    </a:cubicBezTo>
                    <a:cubicBezTo>
                      <a:pt x="224" y="449"/>
                      <a:pt x="223" y="449"/>
                      <a:pt x="223" y="448"/>
                    </a:cubicBezTo>
                    <a:cubicBezTo>
                      <a:pt x="223" y="448"/>
                      <a:pt x="223" y="448"/>
                      <a:pt x="223" y="448"/>
                    </a:cubicBezTo>
                    <a:cubicBezTo>
                      <a:pt x="223" y="448"/>
                      <a:pt x="223" y="448"/>
                      <a:pt x="223" y="448"/>
                    </a:cubicBezTo>
                    <a:cubicBezTo>
                      <a:pt x="223" y="448"/>
                      <a:pt x="223" y="448"/>
                      <a:pt x="223" y="448"/>
                    </a:cubicBezTo>
                    <a:cubicBezTo>
                      <a:pt x="223" y="448"/>
                      <a:pt x="223" y="448"/>
                      <a:pt x="222" y="448"/>
                    </a:cubicBezTo>
                    <a:cubicBezTo>
                      <a:pt x="222" y="447"/>
                      <a:pt x="222" y="447"/>
                      <a:pt x="222" y="447"/>
                    </a:cubicBezTo>
                    <a:cubicBezTo>
                      <a:pt x="222" y="447"/>
                      <a:pt x="222" y="447"/>
                      <a:pt x="222" y="447"/>
                    </a:cubicBezTo>
                    <a:cubicBezTo>
                      <a:pt x="223" y="446"/>
                      <a:pt x="223" y="446"/>
                      <a:pt x="223" y="446"/>
                    </a:cubicBezTo>
                    <a:cubicBezTo>
                      <a:pt x="223" y="446"/>
                      <a:pt x="223" y="447"/>
                      <a:pt x="223" y="447"/>
                    </a:cubicBezTo>
                    <a:cubicBezTo>
                      <a:pt x="223" y="447"/>
                      <a:pt x="223" y="447"/>
                      <a:pt x="223" y="447"/>
                    </a:cubicBezTo>
                    <a:cubicBezTo>
                      <a:pt x="223" y="447"/>
                      <a:pt x="223" y="447"/>
                      <a:pt x="223" y="447"/>
                    </a:cubicBezTo>
                    <a:cubicBezTo>
                      <a:pt x="223" y="447"/>
                      <a:pt x="223" y="447"/>
                      <a:pt x="223" y="447"/>
                    </a:cubicBezTo>
                    <a:cubicBezTo>
                      <a:pt x="224" y="447"/>
                      <a:pt x="224" y="447"/>
                      <a:pt x="225" y="447"/>
                    </a:cubicBezTo>
                    <a:cubicBezTo>
                      <a:pt x="225" y="447"/>
                      <a:pt x="225" y="447"/>
                      <a:pt x="225" y="447"/>
                    </a:cubicBezTo>
                    <a:cubicBezTo>
                      <a:pt x="225" y="447"/>
                      <a:pt x="225" y="447"/>
                      <a:pt x="225" y="447"/>
                    </a:cubicBezTo>
                    <a:cubicBezTo>
                      <a:pt x="226" y="447"/>
                      <a:pt x="226" y="447"/>
                      <a:pt x="226" y="447"/>
                    </a:cubicBezTo>
                    <a:cubicBezTo>
                      <a:pt x="227" y="446"/>
                      <a:pt x="227" y="446"/>
                      <a:pt x="228" y="446"/>
                    </a:cubicBezTo>
                    <a:cubicBezTo>
                      <a:pt x="228" y="446"/>
                      <a:pt x="229" y="446"/>
                      <a:pt x="229" y="446"/>
                    </a:cubicBezTo>
                    <a:cubicBezTo>
                      <a:pt x="230" y="446"/>
                      <a:pt x="230" y="446"/>
                      <a:pt x="230" y="446"/>
                    </a:cubicBezTo>
                    <a:cubicBezTo>
                      <a:pt x="230" y="446"/>
                      <a:pt x="230" y="446"/>
                      <a:pt x="230" y="445"/>
                    </a:cubicBezTo>
                    <a:cubicBezTo>
                      <a:pt x="230" y="445"/>
                      <a:pt x="230" y="445"/>
                      <a:pt x="230" y="445"/>
                    </a:cubicBezTo>
                    <a:cubicBezTo>
                      <a:pt x="230" y="445"/>
                      <a:pt x="230" y="445"/>
                      <a:pt x="230" y="444"/>
                    </a:cubicBezTo>
                    <a:cubicBezTo>
                      <a:pt x="230" y="444"/>
                      <a:pt x="230" y="444"/>
                      <a:pt x="230" y="444"/>
                    </a:cubicBezTo>
                    <a:cubicBezTo>
                      <a:pt x="230" y="444"/>
                      <a:pt x="230" y="444"/>
                      <a:pt x="230" y="444"/>
                    </a:cubicBezTo>
                    <a:cubicBezTo>
                      <a:pt x="230" y="444"/>
                      <a:pt x="231" y="444"/>
                      <a:pt x="231" y="444"/>
                    </a:cubicBezTo>
                    <a:cubicBezTo>
                      <a:pt x="231" y="444"/>
                      <a:pt x="231" y="444"/>
                      <a:pt x="231" y="444"/>
                    </a:cubicBezTo>
                    <a:cubicBezTo>
                      <a:pt x="231" y="444"/>
                      <a:pt x="231" y="444"/>
                      <a:pt x="231" y="444"/>
                    </a:cubicBezTo>
                    <a:cubicBezTo>
                      <a:pt x="231" y="444"/>
                      <a:pt x="231" y="444"/>
                      <a:pt x="231" y="444"/>
                    </a:cubicBezTo>
                    <a:cubicBezTo>
                      <a:pt x="231" y="444"/>
                      <a:pt x="231" y="444"/>
                      <a:pt x="231" y="444"/>
                    </a:cubicBezTo>
                    <a:cubicBezTo>
                      <a:pt x="232" y="444"/>
                      <a:pt x="232" y="444"/>
                      <a:pt x="232" y="444"/>
                    </a:cubicBezTo>
                    <a:cubicBezTo>
                      <a:pt x="232" y="444"/>
                      <a:pt x="232" y="444"/>
                      <a:pt x="232" y="445"/>
                    </a:cubicBezTo>
                    <a:cubicBezTo>
                      <a:pt x="232" y="445"/>
                      <a:pt x="232" y="445"/>
                      <a:pt x="232" y="445"/>
                    </a:cubicBezTo>
                    <a:cubicBezTo>
                      <a:pt x="232" y="445"/>
                      <a:pt x="232" y="445"/>
                      <a:pt x="233" y="445"/>
                    </a:cubicBezTo>
                    <a:cubicBezTo>
                      <a:pt x="233" y="445"/>
                      <a:pt x="233" y="445"/>
                      <a:pt x="233" y="445"/>
                    </a:cubicBezTo>
                    <a:cubicBezTo>
                      <a:pt x="233" y="445"/>
                      <a:pt x="233" y="445"/>
                      <a:pt x="233" y="445"/>
                    </a:cubicBezTo>
                    <a:cubicBezTo>
                      <a:pt x="233" y="445"/>
                      <a:pt x="233" y="444"/>
                      <a:pt x="233" y="444"/>
                    </a:cubicBezTo>
                    <a:cubicBezTo>
                      <a:pt x="232" y="444"/>
                      <a:pt x="232" y="444"/>
                      <a:pt x="232" y="444"/>
                    </a:cubicBezTo>
                    <a:cubicBezTo>
                      <a:pt x="232" y="444"/>
                      <a:pt x="232" y="444"/>
                      <a:pt x="232" y="444"/>
                    </a:cubicBezTo>
                    <a:cubicBezTo>
                      <a:pt x="232" y="444"/>
                      <a:pt x="232" y="443"/>
                      <a:pt x="232" y="443"/>
                    </a:cubicBezTo>
                    <a:cubicBezTo>
                      <a:pt x="232" y="443"/>
                      <a:pt x="232" y="443"/>
                      <a:pt x="232" y="443"/>
                    </a:cubicBezTo>
                    <a:cubicBezTo>
                      <a:pt x="232" y="443"/>
                      <a:pt x="232" y="443"/>
                      <a:pt x="232" y="443"/>
                    </a:cubicBezTo>
                    <a:cubicBezTo>
                      <a:pt x="232" y="443"/>
                      <a:pt x="232" y="443"/>
                      <a:pt x="232" y="443"/>
                    </a:cubicBezTo>
                    <a:cubicBezTo>
                      <a:pt x="232" y="442"/>
                      <a:pt x="232" y="442"/>
                      <a:pt x="232" y="442"/>
                    </a:cubicBezTo>
                    <a:cubicBezTo>
                      <a:pt x="232" y="442"/>
                      <a:pt x="232" y="442"/>
                      <a:pt x="232" y="442"/>
                    </a:cubicBezTo>
                    <a:cubicBezTo>
                      <a:pt x="233" y="442"/>
                      <a:pt x="233" y="442"/>
                      <a:pt x="233" y="441"/>
                    </a:cubicBezTo>
                    <a:cubicBezTo>
                      <a:pt x="233" y="441"/>
                      <a:pt x="233" y="441"/>
                      <a:pt x="233" y="441"/>
                    </a:cubicBezTo>
                    <a:cubicBezTo>
                      <a:pt x="234" y="441"/>
                      <a:pt x="233" y="441"/>
                      <a:pt x="234" y="441"/>
                    </a:cubicBezTo>
                    <a:cubicBezTo>
                      <a:pt x="234" y="441"/>
                      <a:pt x="234" y="441"/>
                      <a:pt x="234" y="441"/>
                    </a:cubicBezTo>
                    <a:cubicBezTo>
                      <a:pt x="234" y="441"/>
                      <a:pt x="234" y="441"/>
                      <a:pt x="234" y="441"/>
                    </a:cubicBezTo>
                    <a:cubicBezTo>
                      <a:pt x="234" y="441"/>
                      <a:pt x="234" y="441"/>
                      <a:pt x="234" y="441"/>
                    </a:cubicBezTo>
                    <a:cubicBezTo>
                      <a:pt x="235" y="441"/>
                      <a:pt x="235" y="441"/>
                      <a:pt x="235" y="441"/>
                    </a:cubicBezTo>
                    <a:cubicBezTo>
                      <a:pt x="235" y="441"/>
                      <a:pt x="235" y="441"/>
                      <a:pt x="235" y="441"/>
                    </a:cubicBezTo>
                    <a:cubicBezTo>
                      <a:pt x="235" y="441"/>
                      <a:pt x="235" y="441"/>
                      <a:pt x="235" y="441"/>
                    </a:cubicBezTo>
                    <a:cubicBezTo>
                      <a:pt x="236" y="440"/>
                      <a:pt x="236" y="440"/>
                      <a:pt x="236" y="440"/>
                    </a:cubicBezTo>
                    <a:cubicBezTo>
                      <a:pt x="236" y="440"/>
                      <a:pt x="236" y="440"/>
                      <a:pt x="236" y="440"/>
                    </a:cubicBezTo>
                    <a:cubicBezTo>
                      <a:pt x="236" y="440"/>
                      <a:pt x="236" y="440"/>
                      <a:pt x="236" y="440"/>
                    </a:cubicBezTo>
                    <a:cubicBezTo>
                      <a:pt x="236" y="440"/>
                      <a:pt x="236" y="440"/>
                      <a:pt x="237" y="440"/>
                    </a:cubicBezTo>
                    <a:cubicBezTo>
                      <a:pt x="237" y="440"/>
                      <a:pt x="237" y="440"/>
                      <a:pt x="237" y="440"/>
                    </a:cubicBezTo>
                    <a:cubicBezTo>
                      <a:pt x="237" y="439"/>
                      <a:pt x="237" y="439"/>
                      <a:pt x="237" y="438"/>
                    </a:cubicBezTo>
                    <a:cubicBezTo>
                      <a:pt x="237" y="438"/>
                      <a:pt x="237" y="438"/>
                      <a:pt x="236" y="438"/>
                    </a:cubicBezTo>
                    <a:cubicBezTo>
                      <a:pt x="236" y="438"/>
                      <a:pt x="236" y="438"/>
                      <a:pt x="236" y="438"/>
                    </a:cubicBezTo>
                    <a:cubicBezTo>
                      <a:pt x="236" y="438"/>
                      <a:pt x="236" y="438"/>
                      <a:pt x="236" y="438"/>
                    </a:cubicBezTo>
                    <a:cubicBezTo>
                      <a:pt x="237" y="438"/>
                      <a:pt x="237" y="438"/>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6" y="437"/>
                      <a:pt x="235" y="437"/>
                      <a:pt x="235" y="437"/>
                    </a:cubicBezTo>
                    <a:cubicBezTo>
                      <a:pt x="235" y="437"/>
                      <a:pt x="235" y="437"/>
                      <a:pt x="235" y="437"/>
                    </a:cubicBezTo>
                    <a:cubicBezTo>
                      <a:pt x="234" y="437"/>
                      <a:pt x="234" y="437"/>
                      <a:pt x="234" y="437"/>
                    </a:cubicBezTo>
                    <a:cubicBezTo>
                      <a:pt x="234" y="437"/>
                      <a:pt x="234" y="437"/>
                      <a:pt x="234" y="437"/>
                    </a:cubicBezTo>
                    <a:cubicBezTo>
                      <a:pt x="234" y="437"/>
                      <a:pt x="234" y="438"/>
                      <a:pt x="233" y="438"/>
                    </a:cubicBezTo>
                    <a:cubicBezTo>
                      <a:pt x="233" y="438"/>
                      <a:pt x="233" y="438"/>
                      <a:pt x="233" y="438"/>
                    </a:cubicBezTo>
                    <a:cubicBezTo>
                      <a:pt x="233" y="438"/>
                      <a:pt x="233" y="438"/>
                      <a:pt x="233" y="438"/>
                    </a:cubicBezTo>
                    <a:cubicBezTo>
                      <a:pt x="233" y="438"/>
                      <a:pt x="232" y="438"/>
                      <a:pt x="232" y="438"/>
                    </a:cubicBezTo>
                    <a:cubicBezTo>
                      <a:pt x="232" y="438"/>
                      <a:pt x="231" y="439"/>
                      <a:pt x="231" y="439"/>
                    </a:cubicBezTo>
                    <a:cubicBezTo>
                      <a:pt x="231" y="439"/>
                      <a:pt x="231" y="439"/>
                      <a:pt x="231" y="439"/>
                    </a:cubicBezTo>
                    <a:cubicBezTo>
                      <a:pt x="231" y="439"/>
                      <a:pt x="231" y="439"/>
                      <a:pt x="231" y="439"/>
                    </a:cubicBezTo>
                    <a:cubicBezTo>
                      <a:pt x="231" y="439"/>
                      <a:pt x="232" y="439"/>
                      <a:pt x="232" y="439"/>
                    </a:cubicBezTo>
                    <a:cubicBezTo>
                      <a:pt x="232" y="439"/>
                      <a:pt x="232" y="440"/>
                      <a:pt x="232" y="440"/>
                    </a:cubicBezTo>
                    <a:cubicBezTo>
                      <a:pt x="231" y="440"/>
                      <a:pt x="231" y="440"/>
                      <a:pt x="231" y="440"/>
                    </a:cubicBezTo>
                    <a:cubicBezTo>
                      <a:pt x="231" y="440"/>
                      <a:pt x="231" y="440"/>
                      <a:pt x="231" y="440"/>
                    </a:cubicBezTo>
                    <a:cubicBezTo>
                      <a:pt x="231" y="440"/>
                      <a:pt x="231" y="441"/>
                      <a:pt x="231" y="441"/>
                    </a:cubicBezTo>
                    <a:cubicBezTo>
                      <a:pt x="232" y="441"/>
                      <a:pt x="232" y="441"/>
                      <a:pt x="232" y="441"/>
                    </a:cubicBezTo>
                    <a:cubicBezTo>
                      <a:pt x="232" y="441"/>
                      <a:pt x="232" y="441"/>
                      <a:pt x="232" y="441"/>
                    </a:cubicBezTo>
                    <a:cubicBezTo>
                      <a:pt x="232" y="441"/>
                      <a:pt x="232" y="441"/>
                      <a:pt x="231" y="442"/>
                    </a:cubicBezTo>
                    <a:cubicBezTo>
                      <a:pt x="231" y="442"/>
                      <a:pt x="231" y="442"/>
                      <a:pt x="231" y="442"/>
                    </a:cubicBezTo>
                    <a:cubicBezTo>
                      <a:pt x="231" y="442"/>
                      <a:pt x="231" y="442"/>
                      <a:pt x="231" y="442"/>
                    </a:cubicBezTo>
                    <a:cubicBezTo>
                      <a:pt x="231" y="442"/>
                      <a:pt x="231" y="442"/>
                      <a:pt x="231" y="442"/>
                    </a:cubicBezTo>
                    <a:cubicBezTo>
                      <a:pt x="231" y="442"/>
                      <a:pt x="231" y="442"/>
                      <a:pt x="231" y="442"/>
                    </a:cubicBezTo>
                    <a:cubicBezTo>
                      <a:pt x="231" y="442"/>
                      <a:pt x="230" y="441"/>
                      <a:pt x="230" y="441"/>
                    </a:cubicBezTo>
                    <a:cubicBezTo>
                      <a:pt x="230" y="441"/>
                      <a:pt x="230" y="440"/>
                      <a:pt x="230" y="440"/>
                    </a:cubicBezTo>
                    <a:cubicBezTo>
                      <a:pt x="229" y="440"/>
                      <a:pt x="229" y="441"/>
                      <a:pt x="229" y="441"/>
                    </a:cubicBezTo>
                    <a:cubicBezTo>
                      <a:pt x="229" y="441"/>
                      <a:pt x="229" y="441"/>
                      <a:pt x="229" y="441"/>
                    </a:cubicBezTo>
                    <a:cubicBezTo>
                      <a:pt x="229" y="442"/>
                      <a:pt x="229" y="442"/>
                      <a:pt x="229" y="442"/>
                    </a:cubicBezTo>
                    <a:cubicBezTo>
                      <a:pt x="229" y="442"/>
                      <a:pt x="228" y="442"/>
                      <a:pt x="228" y="442"/>
                    </a:cubicBezTo>
                    <a:cubicBezTo>
                      <a:pt x="229" y="442"/>
                      <a:pt x="229" y="443"/>
                      <a:pt x="229" y="443"/>
                    </a:cubicBezTo>
                    <a:cubicBezTo>
                      <a:pt x="228" y="443"/>
                      <a:pt x="228" y="443"/>
                      <a:pt x="228" y="443"/>
                    </a:cubicBezTo>
                    <a:cubicBezTo>
                      <a:pt x="228" y="443"/>
                      <a:pt x="228" y="443"/>
                      <a:pt x="228" y="443"/>
                    </a:cubicBezTo>
                    <a:cubicBezTo>
                      <a:pt x="228" y="442"/>
                      <a:pt x="228" y="442"/>
                      <a:pt x="228" y="442"/>
                    </a:cubicBezTo>
                    <a:cubicBezTo>
                      <a:pt x="228" y="442"/>
                      <a:pt x="227" y="442"/>
                      <a:pt x="227" y="443"/>
                    </a:cubicBezTo>
                    <a:cubicBezTo>
                      <a:pt x="227" y="443"/>
                      <a:pt x="227" y="443"/>
                      <a:pt x="227" y="443"/>
                    </a:cubicBezTo>
                    <a:cubicBezTo>
                      <a:pt x="227" y="443"/>
                      <a:pt x="227" y="443"/>
                      <a:pt x="227" y="443"/>
                    </a:cubicBezTo>
                    <a:cubicBezTo>
                      <a:pt x="227" y="443"/>
                      <a:pt x="227" y="443"/>
                      <a:pt x="226" y="443"/>
                    </a:cubicBezTo>
                    <a:cubicBezTo>
                      <a:pt x="226" y="443"/>
                      <a:pt x="226" y="443"/>
                      <a:pt x="226" y="443"/>
                    </a:cubicBezTo>
                    <a:cubicBezTo>
                      <a:pt x="226" y="443"/>
                      <a:pt x="226" y="443"/>
                      <a:pt x="226" y="443"/>
                    </a:cubicBezTo>
                    <a:cubicBezTo>
                      <a:pt x="226" y="443"/>
                      <a:pt x="226" y="442"/>
                      <a:pt x="226" y="442"/>
                    </a:cubicBezTo>
                    <a:cubicBezTo>
                      <a:pt x="226" y="442"/>
                      <a:pt x="225" y="442"/>
                      <a:pt x="225" y="442"/>
                    </a:cubicBezTo>
                    <a:cubicBezTo>
                      <a:pt x="225" y="442"/>
                      <a:pt x="225" y="442"/>
                      <a:pt x="225" y="442"/>
                    </a:cubicBezTo>
                    <a:cubicBezTo>
                      <a:pt x="224" y="442"/>
                      <a:pt x="224" y="442"/>
                      <a:pt x="224" y="442"/>
                    </a:cubicBezTo>
                    <a:cubicBezTo>
                      <a:pt x="224" y="442"/>
                      <a:pt x="223" y="442"/>
                      <a:pt x="223" y="442"/>
                    </a:cubicBezTo>
                    <a:cubicBezTo>
                      <a:pt x="223" y="442"/>
                      <a:pt x="223" y="442"/>
                      <a:pt x="223" y="441"/>
                    </a:cubicBezTo>
                    <a:cubicBezTo>
                      <a:pt x="223" y="441"/>
                      <a:pt x="224" y="441"/>
                      <a:pt x="223" y="441"/>
                    </a:cubicBezTo>
                    <a:cubicBezTo>
                      <a:pt x="223" y="441"/>
                      <a:pt x="223" y="441"/>
                      <a:pt x="223" y="441"/>
                    </a:cubicBezTo>
                    <a:cubicBezTo>
                      <a:pt x="223" y="441"/>
                      <a:pt x="223" y="441"/>
                      <a:pt x="223" y="441"/>
                    </a:cubicBezTo>
                    <a:cubicBezTo>
                      <a:pt x="223" y="441"/>
                      <a:pt x="223" y="441"/>
                      <a:pt x="223" y="442"/>
                    </a:cubicBezTo>
                    <a:cubicBezTo>
                      <a:pt x="223" y="442"/>
                      <a:pt x="222" y="442"/>
                      <a:pt x="222" y="442"/>
                    </a:cubicBezTo>
                    <a:cubicBezTo>
                      <a:pt x="222" y="442"/>
                      <a:pt x="222" y="443"/>
                      <a:pt x="222" y="443"/>
                    </a:cubicBezTo>
                    <a:cubicBezTo>
                      <a:pt x="222" y="443"/>
                      <a:pt x="222" y="443"/>
                      <a:pt x="222" y="443"/>
                    </a:cubicBezTo>
                    <a:cubicBezTo>
                      <a:pt x="223" y="444"/>
                      <a:pt x="223" y="444"/>
                      <a:pt x="223" y="444"/>
                    </a:cubicBezTo>
                    <a:cubicBezTo>
                      <a:pt x="223" y="444"/>
                      <a:pt x="223" y="444"/>
                      <a:pt x="223" y="444"/>
                    </a:cubicBezTo>
                    <a:cubicBezTo>
                      <a:pt x="223" y="445"/>
                      <a:pt x="224" y="444"/>
                      <a:pt x="224" y="445"/>
                    </a:cubicBezTo>
                    <a:cubicBezTo>
                      <a:pt x="224" y="445"/>
                      <a:pt x="223" y="445"/>
                      <a:pt x="223" y="445"/>
                    </a:cubicBezTo>
                    <a:cubicBezTo>
                      <a:pt x="223" y="445"/>
                      <a:pt x="222" y="445"/>
                      <a:pt x="222" y="445"/>
                    </a:cubicBezTo>
                    <a:cubicBezTo>
                      <a:pt x="222" y="446"/>
                      <a:pt x="222" y="445"/>
                      <a:pt x="221" y="445"/>
                    </a:cubicBezTo>
                    <a:cubicBezTo>
                      <a:pt x="221" y="445"/>
                      <a:pt x="221" y="445"/>
                      <a:pt x="221" y="445"/>
                    </a:cubicBezTo>
                    <a:cubicBezTo>
                      <a:pt x="221" y="445"/>
                      <a:pt x="221" y="445"/>
                      <a:pt x="221" y="445"/>
                    </a:cubicBezTo>
                    <a:cubicBezTo>
                      <a:pt x="221" y="445"/>
                      <a:pt x="220" y="445"/>
                      <a:pt x="220" y="445"/>
                    </a:cubicBezTo>
                    <a:cubicBezTo>
                      <a:pt x="220" y="445"/>
                      <a:pt x="220" y="445"/>
                      <a:pt x="220" y="445"/>
                    </a:cubicBezTo>
                    <a:cubicBezTo>
                      <a:pt x="220" y="446"/>
                      <a:pt x="220" y="446"/>
                      <a:pt x="219" y="446"/>
                    </a:cubicBezTo>
                    <a:cubicBezTo>
                      <a:pt x="219" y="446"/>
                      <a:pt x="219" y="446"/>
                      <a:pt x="219" y="445"/>
                    </a:cubicBezTo>
                    <a:cubicBezTo>
                      <a:pt x="219" y="445"/>
                      <a:pt x="219" y="445"/>
                      <a:pt x="219" y="445"/>
                    </a:cubicBezTo>
                    <a:cubicBezTo>
                      <a:pt x="219" y="445"/>
                      <a:pt x="220" y="445"/>
                      <a:pt x="220" y="445"/>
                    </a:cubicBezTo>
                    <a:cubicBezTo>
                      <a:pt x="220" y="444"/>
                      <a:pt x="219" y="444"/>
                      <a:pt x="219" y="444"/>
                    </a:cubicBezTo>
                    <a:cubicBezTo>
                      <a:pt x="219" y="444"/>
                      <a:pt x="219" y="444"/>
                      <a:pt x="219" y="444"/>
                    </a:cubicBezTo>
                    <a:cubicBezTo>
                      <a:pt x="219" y="444"/>
                      <a:pt x="219" y="444"/>
                      <a:pt x="219" y="444"/>
                    </a:cubicBezTo>
                    <a:cubicBezTo>
                      <a:pt x="219" y="444"/>
                      <a:pt x="219" y="444"/>
                      <a:pt x="219" y="444"/>
                    </a:cubicBezTo>
                    <a:cubicBezTo>
                      <a:pt x="219" y="444"/>
                      <a:pt x="219" y="444"/>
                      <a:pt x="219" y="444"/>
                    </a:cubicBezTo>
                    <a:cubicBezTo>
                      <a:pt x="219" y="443"/>
                      <a:pt x="219" y="443"/>
                      <a:pt x="219" y="443"/>
                    </a:cubicBezTo>
                    <a:cubicBezTo>
                      <a:pt x="219" y="443"/>
                      <a:pt x="219" y="443"/>
                      <a:pt x="219" y="443"/>
                    </a:cubicBezTo>
                    <a:cubicBezTo>
                      <a:pt x="218" y="443"/>
                      <a:pt x="218" y="443"/>
                      <a:pt x="218" y="443"/>
                    </a:cubicBezTo>
                    <a:cubicBezTo>
                      <a:pt x="218" y="443"/>
                      <a:pt x="218" y="443"/>
                      <a:pt x="217" y="443"/>
                    </a:cubicBezTo>
                    <a:cubicBezTo>
                      <a:pt x="217" y="443"/>
                      <a:pt x="217" y="443"/>
                      <a:pt x="217" y="443"/>
                    </a:cubicBezTo>
                    <a:cubicBezTo>
                      <a:pt x="217" y="444"/>
                      <a:pt x="217" y="444"/>
                      <a:pt x="217" y="444"/>
                    </a:cubicBezTo>
                    <a:cubicBezTo>
                      <a:pt x="217" y="444"/>
                      <a:pt x="216" y="443"/>
                      <a:pt x="216" y="443"/>
                    </a:cubicBezTo>
                    <a:cubicBezTo>
                      <a:pt x="216" y="443"/>
                      <a:pt x="216" y="443"/>
                      <a:pt x="216" y="443"/>
                    </a:cubicBezTo>
                    <a:cubicBezTo>
                      <a:pt x="216" y="443"/>
                      <a:pt x="216" y="443"/>
                      <a:pt x="216" y="443"/>
                    </a:cubicBezTo>
                    <a:cubicBezTo>
                      <a:pt x="216" y="443"/>
                      <a:pt x="216" y="443"/>
                      <a:pt x="216" y="443"/>
                    </a:cubicBezTo>
                    <a:cubicBezTo>
                      <a:pt x="216" y="443"/>
                      <a:pt x="216" y="443"/>
                      <a:pt x="216" y="443"/>
                    </a:cubicBezTo>
                    <a:cubicBezTo>
                      <a:pt x="217" y="443"/>
                      <a:pt x="217" y="443"/>
                      <a:pt x="217" y="442"/>
                    </a:cubicBezTo>
                    <a:cubicBezTo>
                      <a:pt x="217" y="442"/>
                      <a:pt x="217" y="442"/>
                      <a:pt x="217" y="442"/>
                    </a:cubicBezTo>
                    <a:cubicBezTo>
                      <a:pt x="217" y="441"/>
                      <a:pt x="217" y="441"/>
                      <a:pt x="217" y="441"/>
                    </a:cubicBezTo>
                    <a:cubicBezTo>
                      <a:pt x="217" y="441"/>
                      <a:pt x="218" y="440"/>
                      <a:pt x="218" y="440"/>
                    </a:cubicBezTo>
                    <a:cubicBezTo>
                      <a:pt x="218" y="440"/>
                      <a:pt x="218" y="439"/>
                      <a:pt x="218" y="439"/>
                    </a:cubicBezTo>
                    <a:cubicBezTo>
                      <a:pt x="219" y="438"/>
                      <a:pt x="219" y="438"/>
                      <a:pt x="219" y="437"/>
                    </a:cubicBezTo>
                    <a:cubicBezTo>
                      <a:pt x="219" y="437"/>
                      <a:pt x="219" y="437"/>
                      <a:pt x="219" y="437"/>
                    </a:cubicBezTo>
                    <a:cubicBezTo>
                      <a:pt x="220" y="437"/>
                      <a:pt x="220" y="437"/>
                      <a:pt x="220" y="437"/>
                    </a:cubicBezTo>
                    <a:cubicBezTo>
                      <a:pt x="220" y="436"/>
                      <a:pt x="221" y="437"/>
                      <a:pt x="221" y="436"/>
                    </a:cubicBezTo>
                    <a:cubicBezTo>
                      <a:pt x="221" y="436"/>
                      <a:pt x="222" y="436"/>
                      <a:pt x="223" y="436"/>
                    </a:cubicBezTo>
                    <a:cubicBezTo>
                      <a:pt x="223" y="436"/>
                      <a:pt x="224" y="436"/>
                      <a:pt x="224" y="436"/>
                    </a:cubicBezTo>
                    <a:cubicBezTo>
                      <a:pt x="225" y="436"/>
                      <a:pt x="226" y="435"/>
                      <a:pt x="226" y="435"/>
                    </a:cubicBezTo>
                    <a:cubicBezTo>
                      <a:pt x="227" y="435"/>
                      <a:pt x="228" y="434"/>
                      <a:pt x="229" y="434"/>
                    </a:cubicBezTo>
                    <a:cubicBezTo>
                      <a:pt x="230" y="433"/>
                      <a:pt x="230" y="433"/>
                      <a:pt x="231" y="433"/>
                    </a:cubicBezTo>
                    <a:cubicBezTo>
                      <a:pt x="232" y="432"/>
                      <a:pt x="233" y="431"/>
                      <a:pt x="234" y="431"/>
                    </a:cubicBezTo>
                    <a:cubicBezTo>
                      <a:pt x="234" y="431"/>
                      <a:pt x="234" y="431"/>
                      <a:pt x="234" y="431"/>
                    </a:cubicBezTo>
                    <a:cubicBezTo>
                      <a:pt x="235" y="431"/>
                      <a:pt x="235" y="432"/>
                      <a:pt x="235" y="432"/>
                    </a:cubicBezTo>
                    <a:cubicBezTo>
                      <a:pt x="235" y="432"/>
                      <a:pt x="236" y="432"/>
                      <a:pt x="236" y="432"/>
                    </a:cubicBezTo>
                    <a:cubicBezTo>
                      <a:pt x="236" y="432"/>
                      <a:pt x="236" y="432"/>
                      <a:pt x="237" y="432"/>
                    </a:cubicBezTo>
                    <a:cubicBezTo>
                      <a:pt x="237" y="432"/>
                      <a:pt x="237" y="432"/>
                      <a:pt x="237" y="432"/>
                    </a:cubicBezTo>
                    <a:cubicBezTo>
                      <a:pt x="237" y="433"/>
                      <a:pt x="238" y="433"/>
                      <a:pt x="238" y="434"/>
                    </a:cubicBezTo>
                    <a:cubicBezTo>
                      <a:pt x="238" y="434"/>
                      <a:pt x="238" y="434"/>
                      <a:pt x="238" y="434"/>
                    </a:cubicBezTo>
                    <a:cubicBezTo>
                      <a:pt x="238" y="434"/>
                      <a:pt x="238" y="434"/>
                      <a:pt x="238" y="434"/>
                    </a:cubicBezTo>
                    <a:cubicBezTo>
                      <a:pt x="238" y="434"/>
                      <a:pt x="238" y="435"/>
                      <a:pt x="238" y="435"/>
                    </a:cubicBezTo>
                    <a:cubicBezTo>
                      <a:pt x="239" y="435"/>
                      <a:pt x="239" y="435"/>
                      <a:pt x="239" y="435"/>
                    </a:cubicBezTo>
                    <a:cubicBezTo>
                      <a:pt x="238" y="435"/>
                      <a:pt x="238" y="435"/>
                      <a:pt x="238" y="435"/>
                    </a:cubicBezTo>
                    <a:cubicBezTo>
                      <a:pt x="238" y="435"/>
                      <a:pt x="238" y="435"/>
                      <a:pt x="238" y="435"/>
                    </a:cubicBezTo>
                    <a:cubicBezTo>
                      <a:pt x="238" y="436"/>
                      <a:pt x="238" y="436"/>
                      <a:pt x="238" y="436"/>
                    </a:cubicBezTo>
                    <a:cubicBezTo>
                      <a:pt x="238" y="436"/>
                      <a:pt x="238" y="436"/>
                      <a:pt x="238" y="436"/>
                    </a:cubicBezTo>
                    <a:cubicBezTo>
                      <a:pt x="238" y="436"/>
                      <a:pt x="238" y="436"/>
                      <a:pt x="238" y="436"/>
                    </a:cubicBezTo>
                    <a:cubicBezTo>
                      <a:pt x="238" y="436"/>
                      <a:pt x="238" y="437"/>
                      <a:pt x="238" y="437"/>
                    </a:cubicBezTo>
                    <a:cubicBezTo>
                      <a:pt x="238" y="437"/>
                      <a:pt x="238" y="437"/>
                      <a:pt x="238" y="437"/>
                    </a:cubicBezTo>
                    <a:cubicBezTo>
                      <a:pt x="239" y="437"/>
                      <a:pt x="239" y="437"/>
                      <a:pt x="239" y="437"/>
                    </a:cubicBezTo>
                    <a:cubicBezTo>
                      <a:pt x="239" y="438"/>
                      <a:pt x="239" y="438"/>
                      <a:pt x="239" y="438"/>
                    </a:cubicBezTo>
                    <a:cubicBezTo>
                      <a:pt x="239" y="438"/>
                      <a:pt x="239" y="438"/>
                      <a:pt x="239" y="438"/>
                    </a:cubicBezTo>
                    <a:cubicBezTo>
                      <a:pt x="239" y="438"/>
                      <a:pt x="239" y="439"/>
                      <a:pt x="239" y="439"/>
                    </a:cubicBezTo>
                    <a:cubicBezTo>
                      <a:pt x="239" y="439"/>
                      <a:pt x="239" y="439"/>
                      <a:pt x="239" y="439"/>
                    </a:cubicBezTo>
                    <a:cubicBezTo>
                      <a:pt x="239" y="439"/>
                      <a:pt x="239" y="439"/>
                      <a:pt x="239" y="439"/>
                    </a:cubicBezTo>
                    <a:cubicBezTo>
                      <a:pt x="239" y="439"/>
                      <a:pt x="240" y="439"/>
                      <a:pt x="240" y="439"/>
                    </a:cubicBezTo>
                    <a:cubicBezTo>
                      <a:pt x="240" y="439"/>
                      <a:pt x="240" y="439"/>
                      <a:pt x="240" y="439"/>
                    </a:cubicBezTo>
                    <a:cubicBezTo>
                      <a:pt x="240" y="439"/>
                      <a:pt x="240" y="439"/>
                      <a:pt x="240" y="439"/>
                    </a:cubicBezTo>
                    <a:cubicBezTo>
                      <a:pt x="239" y="439"/>
                      <a:pt x="239" y="439"/>
                      <a:pt x="239" y="439"/>
                    </a:cubicBezTo>
                    <a:cubicBezTo>
                      <a:pt x="239" y="439"/>
                      <a:pt x="239" y="439"/>
                      <a:pt x="239" y="439"/>
                    </a:cubicBezTo>
                    <a:cubicBezTo>
                      <a:pt x="239" y="440"/>
                      <a:pt x="239" y="440"/>
                      <a:pt x="238" y="440"/>
                    </a:cubicBezTo>
                    <a:cubicBezTo>
                      <a:pt x="238" y="440"/>
                      <a:pt x="238" y="440"/>
                      <a:pt x="238" y="440"/>
                    </a:cubicBezTo>
                    <a:cubicBezTo>
                      <a:pt x="238" y="440"/>
                      <a:pt x="239" y="440"/>
                      <a:pt x="239" y="440"/>
                    </a:cubicBezTo>
                    <a:cubicBezTo>
                      <a:pt x="239" y="440"/>
                      <a:pt x="239" y="440"/>
                      <a:pt x="239" y="440"/>
                    </a:cubicBezTo>
                    <a:cubicBezTo>
                      <a:pt x="239" y="440"/>
                      <a:pt x="239" y="440"/>
                      <a:pt x="239" y="440"/>
                    </a:cubicBezTo>
                    <a:cubicBezTo>
                      <a:pt x="239" y="440"/>
                      <a:pt x="239" y="440"/>
                      <a:pt x="239" y="440"/>
                    </a:cubicBezTo>
                    <a:cubicBezTo>
                      <a:pt x="239" y="440"/>
                      <a:pt x="239" y="440"/>
                      <a:pt x="240" y="441"/>
                    </a:cubicBezTo>
                    <a:cubicBezTo>
                      <a:pt x="240" y="441"/>
                      <a:pt x="240" y="441"/>
                      <a:pt x="240" y="441"/>
                    </a:cubicBezTo>
                    <a:cubicBezTo>
                      <a:pt x="240" y="441"/>
                      <a:pt x="240" y="441"/>
                      <a:pt x="240" y="441"/>
                    </a:cubicBezTo>
                    <a:cubicBezTo>
                      <a:pt x="240" y="441"/>
                      <a:pt x="240" y="441"/>
                      <a:pt x="240" y="442"/>
                    </a:cubicBezTo>
                    <a:cubicBezTo>
                      <a:pt x="240" y="442"/>
                      <a:pt x="241" y="442"/>
                      <a:pt x="241" y="442"/>
                    </a:cubicBezTo>
                    <a:cubicBezTo>
                      <a:pt x="241" y="442"/>
                      <a:pt x="241" y="442"/>
                      <a:pt x="241" y="442"/>
                    </a:cubicBezTo>
                    <a:cubicBezTo>
                      <a:pt x="241" y="442"/>
                      <a:pt x="241" y="442"/>
                      <a:pt x="241" y="442"/>
                    </a:cubicBezTo>
                    <a:cubicBezTo>
                      <a:pt x="241" y="442"/>
                      <a:pt x="241" y="442"/>
                      <a:pt x="241" y="442"/>
                    </a:cubicBezTo>
                    <a:cubicBezTo>
                      <a:pt x="241" y="442"/>
                      <a:pt x="241" y="442"/>
                      <a:pt x="242" y="442"/>
                    </a:cubicBezTo>
                    <a:cubicBezTo>
                      <a:pt x="242" y="442"/>
                      <a:pt x="242" y="442"/>
                      <a:pt x="242" y="442"/>
                    </a:cubicBezTo>
                    <a:cubicBezTo>
                      <a:pt x="242" y="442"/>
                      <a:pt x="243" y="442"/>
                      <a:pt x="243" y="442"/>
                    </a:cubicBezTo>
                    <a:cubicBezTo>
                      <a:pt x="243" y="442"/>
                      <a:pt x="243" y="442"/>
                      <a:pt x="243" y="442"/>
                    </a:cubicBezTo>
                    <a:cubicBezTo>
                      <a:pt x="243" y="442"/>
                      <a:pt x="243" y="442"/>
                      <a:pt x="243" y="443"/>
                    </a:cubicBezTo>
                    <a:cubicBezTo>
                      <a:pt x="243" y="443"/>
                      <a:pt x="243" y="443"/>
                      <a:pt x="243" y="443"/>
                    </a:cubicBezTo>
                    <a:cubicBezTo>
                      <a:pt x="243" y="443"/>
                      <a:pt x="243" y="443"/>
                      <a:pt x="242" y="443"/>
                    </a:cubicBezTo>
                    <a:cubicBezTo>
                      <a:pt x="242" y="443"/>
                      <a:pt x="242" y="443"/>
                      <a:pt x="242" y="443"/>
                    </a:cubicBezTo>
                    <a:cubicBezTo>
                      <a:pt x="242" y="443"/>
                      <a:pt x="242" y="443"/>
                      <a:pt x="242" y="443"/>
                    </a:cubicBezTo>
                    <a:cubicBezTo>
                      <a:pt x="242" y="444"/>
                      <a:pt x="242" y="444"/>
                      <a:pt x="242" y="444"/>
                    </a:cubicBezTo>
                    <a:cubicBezTo>
                      <a:pt x="243" y="444"/>
                      <a:pt x="243" y="444"/>
                      <a:pt x="243" y="444"/>
                    </a:cubicBezTo>
                    <a:cubicBezTo>
                      <a:pt x="243" y="443"/>
                      <a:pt x="243" y="443"/>
                      <a:pt x="243" y="443"/>
                    </a:cubicBezTo>
                    <a:cubicBezTo>
                      <a:pt x="243" y="443"/>
                      <a:pt x="243" y="443"/>
                      <a:pt x="243" y="443"/>
                    </a:cubicBezTo>
                    <a:cubicBezTo>
                      <a:pt x="243" y="443"/>
                      <a:pt x="244" y="443"/>
                      <a:pt x="244" y="443"/>
                    </a:cubicBezTo>
                    <a:cubicBezTo>
                      <a:pt x="244" y="443"/>
                      <a:pt x="244" y="443"/>
                      <a:pt x="244" y="443"/>
                    </a:cubicBezTo>
                    <a:cubicBezTo>
                      <a:pt x="244" y="443"/>
                      <a:pt x="244" y="444"/>
                      <a:pt x="244" y="444"/>
                    </a:cubicBezTo>
                    <a:cubicBezTo>
                      <a:pt x="244" y="444"/>
                      <a:pt x="244" y="444"/>
                      <a:pt x="244" y="444"/>
                    </a:cubicBezTo>
                    <a:cubicBezTo>
                      <a:pt x="244" y="444"/>
                      <a:pt x="244" y="444"/>
                      <a:pt x="244" y="444"/>
                    </a:cubicBezTo>
                    <a:cubicBezTo>
                      <a:pt x="244" y="444"/>
                      <a:pt x="244" y="444"/>
                      <a:pt x="244" y="444"/>
                    </a:cubicBezTo>
                    <a:cubicBezTo>
                      <a:pt x="244" y="445"/>
                      <a:pt x="244" y="445"/>
                      <a:pt x="244" y="445"/>
                    </a:cubicBezTo>
                    <a:cubicBezTo>
                      <a:pt x="244" y="445"/>
                      <a:pt x="245" y="445"/>
                      <a:pt x="245" y="445"/>
                    </a:cubicBezTo>
                    <a:cubicBezTo>
                      <a:pt x="245" y="445"/>
                      <a:pt x="245" y="445"/>
                      <a:pt x="245" y="445"/>
                    </a:cubicBezTo>
                    <a:cubicBezTo>
                      <a:pt x="245" y="445"/>
                      <a:pt x="246" y="445"/>
                      <a:pt x="246" y="445"/>
                    </a:cubicBezTo>
                    <a:cubicBezTo>
                      <a:pt x="246" y="445"/>
                      <a:pt x="246" y="444"/>
                      <a:pt x="246" y="445"/>
                    </a:cubicBezTo>
                    <a:cubicBezTo>
                      <a:pt x="246" y="445"/>
                      <a:pt x="246" y="445"/>
                      <a:pt x="245" y="446"/>
                    </a:cubicBezTo>
                    <a:cubicBezTo>
                      <a:pt x="245" y="446"/>
                      <a:pt x="245" y="446"/>
                      <a:pt x="245" y="446"/>
                    </a:cubicBezTo>
                    <a:cubicBezTo>
                      <a:pt x="245" y="446"/>
                      <a:pt x="245" y="446"/>
                      <a:pt x="245" y="446"/>
                    </a:cubicBezTo>
                    <a:cubicBezTo>
                      <a:pt x="245" y="446"/>
                      <a:pt x="245" y="446"/>
                      <a:pt x="245" y="446"/>
                    </a:cubicBezTo>
                    <a:cubicBezTo>
                      <a:pt x="245" y="446"/>
                      <a:pt x="245" y="446"/>
                      <a:pt x="245" y="447"/>
                    </a:cubicBezTo>
                    <a:cubicBezTo>
                      <a:pt x="245" y="447"/>
                      <a:pt x="245" y="447"/>
                      <a:pt x="245" y="447"/>
                    </a:cubicBezTo>
                    <a:cubicBezTo>
                      <a:pt x="245" y="447"/>
                      <a:pt x="245" y="447"/>
                      <a:pt x="245" y="447"/>
                    </a:cubicBezTo>
                    <a:cubicBezTo>
                      <a:pt x="245" y="447"/>
                      <a:pt x="245" y="448"/>
                      <a:pt x="245" y="448"/>
                    </a:cubicBezTo>
                    <a:cubicBezTo>
                      <a:pt x="246" y="448"/>
                      <a:pt x="246" y="448"/>
                      <a:pt x="246" y="447"/>
                    </a:cubicBezTo>
                    <a:cubicBezTo>
                      <a:pt x="246" y="447"/>
                      <a:pt x="246" y="447"/>
                      <a:pt x="246" y="447"/>
                    </a:cubicBezTo>
                    <a:cubicBezTo>
                      <a:pt x="246" y="447"/>
                      <a:pt x="246" y="447"/>
                      <a:pt x="246" y="447"/>
                    </a:cubicBezTo>
                    <a:cubicBezTo>
                      <a:pt x="247" y="447"/>
                      <a:pt x="247" y="447"/>
                      <a:pt x="247" y="448"/>
                    </a:cubicBezTo>
                    <a:cubicBezTo>
                      <a:pt x="247" y="448"/>
                      <a:pt x="247" y="448"/>
                      <a:pt x="247" y="448"/>
                    </a:cubicBezTo>
                    <a:cubicBezTo>
                      <a:pt x="247" y="448"/>
                      <a:pt x="248" y="448"/>
                      <a:pt x="248" y="448"/>
                    </a:cubicBezTo>
                    <a:cubicBezTo>
                      <a:pt x="248" y="448"/>
                      <a:pt x="248" y="448"/>
                      <a:pt x="248" y="447"/>
                    </a:cubicBezTo>
                    <a:cubicBezTo>
                      <a:pt x="248" y="447"/>
                      <a:pt x="248" y="447"/>
                      <a:pt x="249" y="447"/>
                    </a:cubicBezTo>
                    <a:cubicBezTo>
                      <a:pt x="249" y="447"/>
                      <a:pt x="249" y="447"/>
                      <a:pt x="249" y="447"/>
                    </a:cubicBezTo>
                    <a:cubicBezTo>
                      <a:pt x="250" y="448"/>
                      <a:pt x="250" y="447"/>
                      <a:pt x="250" y="447"/>
                    </a:cubicBezTo>
                    <a:cubicBezTo>
                      <a:pt x="250" y="447"/>
                      <a:pt x="250" y="447"/>
                      <a:pt x="251" y="447"/>
                    </a:cubicBezTo>
                    <a:cubicBezTo>
                      <a:pt x="251" y="447"/>
                      <a:pt x="251" y="447"/>
                      <a:pt x="251" y="447"/>
                    </a:cubicBezTo>
                    <a:cubicBezTo>
                      <a:pt x="251" y="447"/>
                      <a:pt x="251" y="447"/>
                      <a:pt x="251" y="447"/>
                    </a:cubicBezTo>
                    <a:cubicBezTo>
                      <a:pt x="251" y="447"/>
                      <a:pt x="251" y="447"/>
                      <a:pt x="251" y="447"/>
                    </a:cubicBezTo>
                    <a:cubicBezTo>
                      <a:pt x="251" y="447"/>
                      <a:pt x="251" y="447"/>
                      <a:pt x="252" y="447"/>
                    </a:cubicBezTo>
                    <a:cubicBezTo>
                      <a:pt x="252" y="447"/>
                      <a:pt x="252" y="447"/>
                      <a:pt x="252" y="447"/>
                    </a:cubicBezTo>
                    <a:cubicBezTo>
                      <a:pt x="252" y="447"/>
                      <a:pt x="252" y="447"/>
                      <a:pt x="252" y="447"/>
                    </a:cubicBezTo>
                    <a:cubicBezTo>
                      <a:pt x="251" y="446"/>
                      <a:pt x="251" y="446"/>
                      <a:pt x="251" y="446"/>
                    </a:cubicBezTo>
                    <a:cubicBezTo>
                      <a:pt x="252" y="446"/>
                      <a:pt x="252" y="446"/>
                      <a:pt x="252" y="445"/>
                    </a:cubicBezTo>
                    <a:cubicBezTo>
                      <a:pt x="252" y="445"/>
                      <a:pt x="252" y="445"/>
                      <a:pt x="252" y="445"/>
                    </a:cubicBezTo>
                    <a:cubicBezTo>
                      <a:pt x="252" y="445"/>
                      <a:pt x="252" y="445"/>
                      <a:pt x="252" y="445"/>
                    </a:cubicBezTo>
                    <a:cubicBezTo>
                      <a:pt x="252" y="445"/>
                      <a:pt x="252" y="445"/>
                      <a:pt x="252" y="445"/>
                    </a:cubicBezTo>
                    <a:cubicBezTo>
                      <a:pt x="252" y="445"/>
                      <a:pt x="253" y="446"/>
                      <a:pt x="253" y="446"/>
                    </a:cubicBezTo>
                    <a:cubicBezTo>
                      <a:pt x="253" y="446"/>
                      <a:pt x="253" y="446"/>
                      <a:pt x="253" y="446"/>
                    </a:cubicBezTo>
                    <a:cubicBezTo>
                      <a:pt x="253" y="446"/>
                      <a:pt x="253" y="447"/>
                      <a:pt x="253" y="447"/>
                    </a:cubicBezTo>
                    <a:cubicBezTo>
                      <a:pt x="253" y="447"/>
                      <a:pt x="253" y="447"/>
                      <a:pt x="253" y="448"/>
                    </a:cubicBezTo>
                    <a:cubicBezTo>
                      <a:pt x="253" y="448"/>
                      <a:pt x="253" y="448"/>
                      <a:pt x="253" y="448"/>
                    </a:cubicBezTo>
                    <a:cubicBezTo>
                      <a:pt x="253" y="448"/>
                      <a:pt x="253" y="448"/>
                      <a:pt x="253" y="448"/>
                    </a:cubicBezTo>
                    <a:cubicBezTo>
                      <a:pt x="253" y="448"/>
                      <a:pt x="253" y="448"/>
                      <a:pt x="253" y="448"/>
                    </a:cubicBezTo>
                    <a:cubicBezTo>
                      <a:pt x="254" y="449"/>
                      <a:pt x="254" y="449"/>
                      <a:pt x="254" y="449"/>
                    </a:cubicBezTo>
                    <a:cubicBezTo>
                      <a:pt x="254" y="449"/>
                      <a:pt x="254" y="449"/>
                      <a:pt x="254" y="449"/>
                    </a:cubicBezTo>
                    <a:cubicBezTo>
                      <a:pt x="254" y="449"/>
                      <a:pt x="254" y="449"/>
                      <a:pt x="255" y="449"/>
                    </a:cubicBezTo>
                    <a:cubicBezTo>
                      <a:pt x="255" y="450"/>
                      <a:pt x="255" y="450"/>
                      <a:pt x="255" y="450"/>
                    </a:cubicBezTo>
                    <a:cubicBezTo>
                      <a:pt x="255" y="450"/>
                      <a:pt x="255" y="450"/>
                      <a:pt x="256" y="450"/>
                    </a:cubicBezTo>
                    <a:cubicBezTo>
                      <a:pt x="256" y="450"/>
                      <a:pt x="256" y="450"/>
                      <a:pt x="256" y="450"/>
                    </a:cubicBezTo>
                    <a:cubicBezTo>
                      <a:pt x="256" y="450"/>
                      <a:pt x="256" y="450"/>
                      <a:pt x="256" y="450"/>
                    </a:cubicBezTo>
                    <a:cubicBezTo>
                      <a:pt x="256" y="451"/>
                      <a:pt x="256" y="451"/>
                      <a:pt x="256" y="451"/>
                    </a:cubicBezTo>
                    <a:cubicBezTo>
                      <a:pt x="256" y="451"/>
                      <a:pt x="256" y="451"/>
                      <a:pt x="257" y="451"/>
                    </a:cubicBezTo>
                    <a:cubicBezTo>
                      <a:pt x="257" y="451"/>
                      <a:pt x="257" y="451"/>
                      <a:pt x="257" y="452"/>
                    </a:cubicBezTo>
                    <a:cubicBezTo>
                      <a:pt x="257" y="452"/>
                      <a:pt x="258" y="452"/>
                      <a:pt x="258" y="452"/>
                    </a:cubicBezTo>
                    <a:cubicBezTo>
                      <a:pt x="258" y="452"/>
                      <a:pt x="258" y="452"/>
                      <a:pt x="258" y="452"/>
                    </a:cubicBezTo>
                    <a:cubicBezTo>
                      <a:pt x="259" y="452"/>
                      <a:pt x="259" y="452"/>
                      <a:pt x="259" y="452"/>
                    </a:cubicBezTo>
                    <a:cubicBezTo>
                      <a:pt x="259" y="452"/>
                      <a:pt x="259" y="453"/>
                      <a:pt x="260" y="453"/>
                    </a:cubicBezTo>
                    <a:cubicBezTo>
                      <a:pt x="260" y="453"/>
                      <a:pt x="260" y="453"/>
                      <a:pt x="260" y="453"/>
                    </a:cubicBezTo>
                    <a:cubicBezTo>
                      <a:pt x="260" y="453"/>
                      <a:pt x="260" y="453"/>
                      <a:pt x="260" y="453"/>
                    </a:cubicBezTo>
                    <a:cubicBezTo>
                      <a:pt x="260" y="453"/>
                      <a:pt x="260" y="453"/>
                      <a:pt x="260" y="452"/>
                    </a:cubicBezTo>
                    <a:cubicBezTo>
                      <a:pt x="261" y="452"/>
                      <a:pt x="261" y="452"/>
                      <a:pt x="261" y="452"/>
                    </a:cubicBezTo>
                    <a:cubicBezTo>
                      <a:pt x="261" y="452"/>
                      <a:pt x="261" y="452"/>
                      <a:pt x="261" y="453"/>
                    </a:cubicBezTo>
                    <a:cubicBezTo>
                      <a:pt x="261" y="453"/>
                      <a:pt x="261" y="453"/>
                      <a:pt x="261" y="453"/>
                    </a:cubicBezTo>
                    <a:cubicBezTo>
                      <a:pt x="262" y="453"/>
                      <a:pt x="262" y="453"/>
                      <a:pt x="262" y="452"/>
                    </a:cubicBezTo>
                    <a:cubicBezTo>
                      <a:pt x="262" y="452"/>
                      <a:pt x="262" y="452"/>
                      <a:pt x="262" y="452"/>
                    </a:cubicBezTo>
                    <a:cubicBezTo>
                      <a:pt x="262" y="452"/>
                      <a:pt x="262" y="452"/>
                      <a:pt x="262" y="452"/>
                    </a:cubicBezTo>
                    <a:cubicBezTo>
                      <a:pt x="262" y="452"/>
                      <a:pt x="262" y="452"/>
                      <a:pt x="262" y="453"/>
                    </a:cubicBezTo>
                    <a:cubicBezTo>
                      <a:pt x="262" y="453"/>
                      <a:pt x="263" y="453"/>
                      <a:pt x="263" y="453"/>
                    </a:cubicBezTo>
                    <a:cubicBezTo>
                      <a:pt x="263" y="453"/>
                      <a:pt x="263" y="452"/>
                      <a:pt x="263" y="452"/>
                    </a:cubicBezTo>
                    <a:cubicBezTo>
                      <a:pt x="264" y="453"/>
                      <a:pt x="264" y="453"/>
                      <a:pt x="264" y="453"/>
                    </a:cubicBezTo>
                    <a:cubicBezTo>
                      <a:pt x="264" y="453"/>
                      <a:pt x="264" y="453"/>
                      <a:pt x="264" y="453"/>
                    </a:cubicBezTo>
                    <a:cubicBezTo>
                      <a:pt x="264" y="453"/>
                      <a:pt x="264" y="453"/>
                      <a:pt x="264" y="453"/>
                    </a:cubicBezTo>
                    <a:cubicBezTo>
                      <a:pt x="265" y="454"/>
                      <a:pt x="265" y="454"/>
                      <a:pt x="265" y="453"/>
                    </a:cubicBezTo>
                    <a:cubicBezTo>
                      <a:pt x="265" y="453"/>
                      <a:pt x="266" y="453"/>
                      <a:pt x="266" y="453"/>
                    </a:cubicBezTo>
                    <a:cubicBezTo>
                      <a:pt x="266" y="453"/>
                      <a:pt x="266" y="453"/>
                      <a:pt x="266" y="453"/>
                    </a:cubicBezTo>
                    <a:cubicBezTo>
                      <a:pt x="266" y="453"/>
                      <a:pt x="266" y="453"/>
                      <a:pt x="266" y="453"/>
                    </a:cubicBezTo>
                    <a:cubicBezTo>
                      <a:pt x="266" y="453"/>
                      <a:pt x="267" y="453"/>
                      <a:pt x="267" y="453"/>
                    </a:cubicBezTo>
                    <a:cubicBezTo>
                      <a:pt x="267" y="452"/>
                      <a:pt x="267" y="452"/>
                      <a:pt x="267" y="452"/>
                    </a:cubicBezTo>
                    <a:cubicBezTo>
                      <a:pt x="267" y="452"/>
                      <a:pt x="268" y="452"/>
                      <a:pt x="268" y="452"/>
                    </a:cubicBezTo>
                    <a:cubicBezTo>
                      <a:pt x="268" y="452"/>
                      <a:pt x="268" y="452"/>
                      <a:pt x="268" y="452"/>
                    </a:cubicBezTo>
                    <a:cubicBezTo>
                      <a:pt x="268" y="452"/>
                      <a:pt x="268" y="452"/>
                      <a:pt x="268" y="452"/>
                    </a:cubicBezTo>
                    <a:cubicBezTo>
                      <a:pt x="268" y="452"/>
                      <a:pt x="268" y="452"/>
                      <a:pt x="268" y="452"/>
                    </a:cubicBezTo>
                    <a:cubicBezTo>
                      <a:pt x="269" y="452"/>
                      <a:pt x="269" y="452"/>
                      <a:pt x="269" y="452"/>
                    </a:cubicBezTo>
                    <a:cubicBezTo>
                      <a:pt x="269" y="452"/>
                      <a:pt x="269" y="452"/>
                      <a:pt x="269" y="452"/>
                    </a:cubicBezTo>
                    <a:cubicBezTo>
                      <a:pt x="269" y="451"/>
                      <a:pt x="270" y="451"/>
                      <a:pt x="270" y="451"/>
                    </a:cubicBezTo>
                    <a:cubicBezTo>
                      <a:pt x="271" y="451"/>
                      <a:pt x="271" y="451"/>
                      <a:pt x="271" y="451"/>
                    </a:cubicBezTo>
                    <a:cubicBezTo>
                      <a:pt x="271" y="451"/>
                      <a:pt x="271" y="451"/>
                      <a:pt x="271" y="451"/>
                    </a:cubicBezTo>
                    <a:cubicBezTo>
                      <a:pt x="271" y="451"/>
                      <a:pt x="271" y="451"/>
                      <a:pt x="271" y="452"/>
                    </a:cubicBezTo>
                    <a:cubicBezTo>
                      <a:pt x="271" y="452"/>
                      <a:pt x="272" y="451"/>
                      <a:pt x="272" y="451"/>
                    </a:cubicBezTo>
                    <a:cubicBezTo>
                      <a:pt x="272" y="451"/>
                      <a:pt x="272" y="451"/>
                      <a:pt x="272" y="451"/>
                    </a:cubicBezTo>
                    <a:cubicBezTo>
                      <a:pt x="272" y="451"/>
                      <a:pt x="272" y="451"/>
                      <a:pt x="272" y="451"/>
                    </a:cubicBezTo>
                    <a:cubicBezTo>
                      <a:pt x="272" y="451"/>
                      <a:pt x="272" y="451"/>
                      <a:pt x="272" y="451"/>
                    </a:cubicBezTo>
                    <a:cubicBezTo>
                      <a:pt x="272" y="451"/>
                      <a:pt x="272" y="451"/>
                      <a:pt x="273" y="451"/>
                    </a:cubicBezTo>
                    <a:cubicBezTo>
                      <a:pt x="273" y="451"/>
                      <a:pt x="273" y="451"/>
                      <a:pt x="273" y="451"/>
                    </a:cubicBezTo>
                    <a:cubicBezTo>
                      <a:pt x="273" y="451"/>
                      <a:pt x="273" y="451"/>
                      <a:pt x="273" y="451"/>
                    </a:cubicBezTo>
                    <a:cubicBezTo>
                      <a:pt x="273" y="450"/>
                      <a:pt x="273" y="450"/>
                      <a:pt x="274" y="450"/>
                    </a:cubicBezTo>
                    <a:cubicBezTo>
                      <a:pt x="274" y="450"/>
                      <a:pt x="274" y="451"/>
                      <a:pt x="274" y="451"/>
                    </a:cubicBezTo>
                    <a:cubicBezTo>
                      <a:pt x="275" y="451"/>
                      <a:pt x="275" y="451"/>
                      <a:pt x="275" y="451"/>
                    </a:cubicBezTo>
                    <a:cubicBezTo>
                      <a:pt x="275" y="451"/>
                      <a:pt x="276" y="451"/>
                      <a:pt x="276" y="451"/>
                    </a:cubicBezTo>
                    <a:cubicBezTo>
                      <a:pt x="276" y="451"/>
                      <a:pt x="276" y="451"/>
                      <a:pt x="276" y="451"/>
                    </a:cubicBezTo>
                    <a:cubicBezTo>
                      <a:pt x="276" y="451"/>
                      <a:pt x="276" y="451"/>
                      <a:pt x="276" y="451"/>
                    </a:cubicBezTo>
                    <a:cubicBezTo>
                      <a:pt x="276" y="451"/>
                      <a:pt x="276" y="451"/>
                      <a:pt x="276" y="451"/>
                    </a:cubicBezTo>
                    <a:cubicBezTo>
                      <a:pt x="277" y="451"/>
                      <a:pt x="277" y="451"/>
                      <a:pt x="277" y="451"/>
                    </a:cubicBezTo>
                    <a:cubicBezTo>
                      <a:pt x="277" y="451"/>
                      <a:pt x="277" y="451"/>
                      <a:pt x="278" y="451"/>
                    </a:cubicBezTo>
                    <a:cubicBezTo>
                      <a:pt x="278" y="451"/>
                      <a:pt x="278" y="451"/>
                      <a:pt x="278" y="451"/>
                    </a:cubicBezTo>
                    <a:cubicBezTo>
                      <a:pt x="278" y="451"/>
                      <a:pt x="278" y="451"/>
                      <a:pt x="278" y="451"/>
                    </a:cubicBezTo>
                    <a:cubicBezTo>
                      <a:pt x="278" y="452"/>
                      <a:pt x="279" y="452"/>
                      <a:pt x="279" y="452"/>
                    </a:cubicBezTo>
                    <a:cubicBezTo>
                      <a:pt x="279" y="452"/>
                      <a:pt x="279" y="452"/>
                      <a:pt x="279" y="452"/>
                    </a:cubicBezTo>
                    <a:cubicBezTo>
                      <a:pt x="280" y="452"/>
                      <a:pt x="280" y="452"/>
                      <a:pt x="280" y="452"/>
                    </a:cubicBezTo>
                    <a:cubicBezTo>
                      <a:pt x="280" y="452"/>
                      <a:pt x="281" y="453"/>
                      <a:pt x="281" y="453"/>
                    </a:cubicBezTo>
                    <a:cubicBezTo>
                      <a:pt x="282" y="453"/>
                      <a:pt x="282" y="453"/>
                      <a:pt x="282" y="453"/>
                    </a:cubicBezTo>
                    <a:cubicBezTo>
                      <a:pt x="282" y="453"/>
                      <a:pt x="282" y="453"/>
                      <a:pt x="282" y="453"/>
                    </a:cubicBezTo>
                    <a:cubicBezTo>
                      <a:pt x="282" y="453"/>
                      <a:pt x="282" y="453"/>
                      <a:pt x="283" y="453"/>
                    </a:cubicBezTo>
                    <a:cubicBezTo>
                      <a:pt x="283" y="452"/>
                      <a:pt x="283" y="453"/>
                      <a:pt x="283" y="452"/>
                    </a:cubicBezTo>
                    <a:cubicBezTo>
                      <a:pt x="283" y="452"/>
                      <a:pt x="284" y="452"/>
                      <a:pt x="284" y="452"/>
                    </a:cubicBezTo>
                    <a:cubicBezTo>
                      <a:pt x="284" y="452"/>
                      <a:pt x="284" y="452"/>
                      <a:pt x="284" y="452"/>
                    </a:cubicBezTo>
                    <a:cubicBezTo>
                      <a:pt x="284" y="452"/>
                      <a:pt x="284" y="452"/>
                      <a:pt x="284" y="452"/>
                    </a:cubicBezTo>
                    <a:cubicBezTo>
                      <a:pt x="284" y="452"/>
                      <a:pt x="284" y="452"/>
                      <a:pt x="285" y="452"/>
                    </a:cubicBezTo>
                    <a:cubicBezTo>
                      <a:pt x="285" y="452"/>
                      <a:pt x="285" y="452"/>
                      <a:pt x="285" y="452"/>
                    </a:cubicBezTo>
                    <a:cubicBezTo>
                      <a:pt x="285" y="452"/>
                      <a:pt x="286" y="452"/>
                      <a:pt x="286" y="452"/>
                    </a:cubicBezTo>
                    <a:cubicBezTo>
                      <a:pt x="286" y="451"/>
                      <a:pt x="286" y="451"/>
                      <a:pt x="286" y="451"/>
                    </a:cubicBezTo>
                    <a:cubicBezTo>
                      <a:pt x="286" y="451"/>
                      <a:pt x="286" y="451"/>
                      <a:pt x="286" y="450"/>
                    </a:cubicBezTo>
                    <a:cubicBezTo>
                      <a:pt x="286" y="450"/>
                      <a:pt x="286" y="450"/>
                      <a:pt x="286" y="450"/>
                    </a:cubicBezTo>
                    <a:cubicBezTo>
                      <a:pt x="285" y="450"/>
                      <a:pt x="285" y="450"/>
                      <a:pt x="285" y="450"/>
                    </a:cubicBezTo>
                    <a:cubicBezTo>
                      <a:pt x="285" y="450"/>
                      <a:pt x="285" y="450"/>
                      <a:pt x="284" y="449"/>
                    </a:cubicBezTo>
                    <a:cubicBezTo>
                      <a:pt x="284" y="449"/>
                      <a:pt x="284" y="449"/>
                      <a:pt x="284" y="449"/>
                    </a:cubicBezTo>
                    <a:cubicBezTo>
                      <a:pt x="284" y="449"/>
                      <a:pt x="284" y="449"/>
                      <a:pt x="284" y="449"/>
                    </a:cubicBezTo>
                    <a:cubicBezTo>
                      <a:pt x="284" y="449"/>
                      <a:pt x="284" y="449"/>
                      <a:pt x="284" y="449"/>
                    </a:cubicBezTo>
                    <a:cubicBezTo>
                      <a:pt x="283" y="448"/>
                      <a:pt x="283" y="448"/>
                      <a:pt x="283" y="448"/>
                    </a:cubicBezTo>
                    <a:cubicBezTo>
                      <a:pt x="283" y="448"/>
                      <a:pt x="283" y="447"/>
                      <a:pt x="284" y="447"/>
                    </a:cubicBezTo>
                    <a:cubicBezTo>
                      <a:pt x="284" y="447"/>
                      <a:pt x="284" y="447"/>
                      <a:pt x="284" y="446"/>
                    </a:cubicBezTo>
                    <a:cubicBezTo>
                      <a:pt x="284" y="446"/>
                      <a:pt x="284" y="446"/>
                      <a:pt x="285" y="446"/>
                    </a:cubicBezTo>
                    <a:cubicBezTo>
                      <a:pt x="285" y="446"/>
                      <a:pt x="285" y="447"/>
                      <a:pt x="285" y="447"/>
                    </a:cubicBezTo>
                    <a:cubicBezTo>
                      <a:pt x="285" y="447"/>
                      <a:pt x="285" y="447"/>
                      <a:pt x="285" y="447"/>
                    </a:cubicBezTo>
                    <a:cubicBezTo>
                      <a:pt x="285" y="448"/>
                      <a:pt x="286" y="448"/>
                      <a:pt x="286" y="448"/>
                    </a:cubicBezTo>
                    <a:cubicBezTo>
                      <a:pt x="286" y="448"/>
                      <a:pt x="286" y="448"/>
                      <a:pt x="286" y="449"/>
                    </a:cubicBezTo>
                    <a:cubicBezTo>
                      <a:pt x="287" y="449"/>
                      <a:pt x="287" y="449"/>
                      <a:pt x="287" y="449"/>
                    </a:cubicBezTo>
                    <a:cubicBezTo>
                      <a:pt x="287" y="449"/>
                      <a:pt x="287" y="449"/>
                      <a:pt x="287" y="449"/>
                    </a:cubicBezTo>
                    <a:cubicBezTo>
                      <a:pt x="287" y="449"/>
                      <a:pt x="287" y="449"/>
                      <a:pt x="287" y="449"/>
                    </a:cubicBezTo>
                    <a:cubicBezTo>
                      <a:pt x="286" y="448"/>
                      <a:pt x="286" y="448"/>
                      <a:pt x="286" y="448"/>
                    </a:cubicBezTo>
                    <a:cubicBezTo>
                      <a:pt x="286" y="448"/>
                      <a:pt x="286" y="447"/>
                      <a:pt x="286" y="447"/>
                    </a:cubicBezTo>
                    <a:cubicBezTo>
                      <a:pt x="286" y="447"/>
                      <a:pt x="286" y="447"/>
                      <a:pt x="286" y="447"/>
                    </a:cubicBezTo>
                    <a:cubicBezTo>
                      <a:pt x="286" y="446"/>
                      <a:pt x="285" y="446"/>
                      <a:pt x="285" y="446"/>
                    </a:cubicBezTo>
                    <a:cubicBezTo>
                      <a:pt x="285" y="446"/>
                      <a:pt x="285" y="445"/>
                      <a:pt x="285" y="445"/>
                    </a:cubicBezTo>
                    <a:cubicBezTo>
                      <a:pt x="285" y="445"/>
                      <a:pt x="285" y="445"/>
                      <a:pt x="285" y="445"/>
                    </a:cubicBezTo>
                    <a:cubicBezTo>
                      <a:pt x="285" y="445"/>
                      <a:pt x="286" y="445"/>
                      <a:pt x="286" y="445"/>
                    </a:cubicBezTo>
                    <a:cubicBezTo>
                      <a:pt x="286" y="445"/>
                      <a:pt x="286" y="445"/>
                      <a:pt x="286" y="445"/>
                    </a:cubicBezTo>
                    <a:cubicBezTo>
                      <a:pt x="286" y="445"/>
                      <a:pt x="286" y="445"/>
                      <a:pt x="286" y="445"/>
                    </a:cubicBezTo>
                    <a:cubicBezTo>
                      <a:pt x="286" y="445"/>
                      <a:pt x="286" y="445"/>
                      <a:pt x="286" y="445"/>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5"/>
                    </a:cubicBezTo>
                    <a:cubicBezTo>
                      <a:pt x="287" y="445"/>
                      <a:pt x="287" y="445"/>
                      <a:pt x="286" y="445"/>
                    </a:cubicBezTo>
                    <a:cubicBezTo>
                      <a:pt x="286" y="445"/>
                      <a:pt x="286" y="445"/>
                      <a:pt x="286" y="445"/>
                    </a:cubicBezTo>
                    <a:cubicBezTo>
                      <a:pt x="286" y="444"/>
                      <a:pt x="286" y="444"/>
                      <a:pt x="285" y="444"/>
                    </a:cubicBezTo>
                    <a:cubicBezTo>
                      <a:pt x="285" y="444"/>
                      <a:pt x="285" y="444"/>
                      <a:pt x="285" y="444"/>
                    </a:cubicBezTo>
                    <a:cubicBezTo>
                      <a:pt x="285" y="443"/>
                      <a:pt x="285" y="443"/>
                      <a:pt x="284" y="442"/>
                    </a:cubicBezTo>
                    <a:cubicBezTo>
                      <a:pt x="284" y="442"/>
                      <a:pt x="284" y="442"/>
                      <a:pt x="284" y="442"/>
                    </a:cubicBezTo>
                    <a:cubicBezTo>
                      <a:pt x="284" y="442"/>
                      <a:pt x="284" y="441"/>
                      <a:pt x="284" y="441"/>
                    </a:cubicBezTo>
                    <a:cubicBezTo>
                      <a:pt x="284" y="441"/>
                      <a:pt x="284" y="441"/>
                      <a:pt x="285" y="441"/>
                    </a:cubicBezTo>
                    <a:cubicBezTo>
                      <a:pt x="285" y="441"/>
                      <a:pt x="285" y="441"/>
                      <a:pt x="285" y="441"/>
                    </a:cubicBezTo>
                    <a:cubicBezTo>
                      <a:pt x="285" y="441"/>
                      <a:pt x="285" y="441"/>
                      <a:pt x="285" y="441"/>
                    </a:cubicBezTo>
                    <a:cubicBezTo>
                      <a:pt x="285" y="441"/>
                      <a:pt x="285" y="441"/>
                      <a:pt x="286" y="441"/>
                    </a:cubicBezTo>
                    <a:cubicBezTo>
                      <a:pt x="286" y="442"/>
                      <a:pt x="286" y="441"/>
                      <a:pt x="287" y="442"/>
                    </a:cubicBezTo>
                    <a:cubicBezTo>
                      <a:pt x="287" y="442"/>
                      <a:pt x="287" y="442"/>
                      <a:pt x="287" y="442"/>
                    </a:cubicBezTo>
                    <a:cubicBezTo>
                      <a:pt x="287" y="442"/>
                      <a:pt x="287" y="442"/>
                      <a:pt x="288" y="442"/>
                    </a:cubicBezTo>
                    <a:cubicBezTo>
                      <a:pt x="288" y="442"/>
                      <a:pt x="288" y="441"/>
                      <a:pt x="288" y="441"/>
                    </a:cubicBezTo>
                    <a:cubicBezTo>
                      <a:pt x="288" y="441"/>
                      <a:pt x="289" y="441"/>
                      <a:pt x="289" y="441"/>
                    </a:cubicBezTo>
                    <a:cubicBezTo>
                      <a:pt x="289" y="441"/>
                      <a:pt x="289" y="441"/>
                      <a:pt x="289" y="441"/>
                    </a:cubicBezTo>
                    <a:cubicBezTo>
                      <a:pt x="289" y="441"/>
                      <a:pt x="289" y="441"/>
                      <a:pt x="290" y="441"/>
                    </a:cubicBezTo>
                    <a:cubicBezTo>
                      <a:pt x="290" y="441"/>
                      <a:pt x="290" y="441"/>
                      <a:pt x="290" y="441"/>
                    </a:cubicBezTo>
                    <a:cubicBezTo>
                      <a:pt x="290" y="441"/>
                      <a:pt x="291" y="441"/>
                      <a:pt x="290" y="441"/>
                    </a:cubicBezTo>
                    <a:cubicBezTo>
                      <a:pt x="290" y="441"/>
                      <a:pt x="290" y="441"/>
                      <a:pt x="290" y="441"/>
                    </a:cubicBezTo>
                    <a:cubicBezTo>
                      <a:pt x="290" y="441"/>
                      <a:pt x="289" y="440"/>
                      <a:pt x="289" y="440"/>
                    </a:cubicBezTo>
                    <a:cubicBezTo>
                      <a:pt x="289" y="440"/>
                      <a:pt x="289" y="440"/>
                      <a:pt x="289" y="440"/>
                    </a:cubicBezTo>
                    <a:cubicBezTo>
                      <a:pt x="289" y="440"/>
                      <a:pt x="289" y="439"/>
                      <a:pt x="289" y="439"/>
                    </a:cubicBezTo>
                    <a:cubicBezTo>
                      <a:pt x="288" y="439"/>
                      <a:pt x="288" y="439"/>
                      <a:pt x="289" y="439"/>
                    </a:cubicBezTo>
                    <a:cubicBezTo>
                      <a:pt x="289" y="438"/>
                      <a:pt x="289" y="438"/>
                      <a:pt x="289" y="438"/>
                    </a:cubicBezTo>
                    <a:cubicBezTo>
                      <a:pt x="290" y="438"/>
                      <a:pt x="290" y="438"/>
                      <a:pt x="291" y="438"/>
                    </a:cubicBezTo>
                    <a:cubicBezTo>
                      <a:pt x="291" y="439"/>
                      <a:pt x="292" y="439"/>
                      <a:pt x="292" y="439"/>
                    </a:cubicBezTo>
                    <a:cubicBezTo>
                      <a:pt x="292" y="439"/>
                      <a:pt x="293" y="439"/>
                      <a:pt x="293" y="439"/>
                    </a:cubicBezTo>
                    <a:cubicBezTo>
                      <a:pt x="293" y="439"/>
                      <a:pt x="293" y="439"/>
                      <a:pt x="293" y="439"/>
                    </a:cubicBezTo>
                    <a:cubicBezTo>
                      <a:pt x="293" y="439"/>
                      <a:pt x="293" y="439"/>
                      <a:pt x="294" y="439"/>
                    </a:cubicBezTo>
                    <a:cubicBezTo>
                      <a:pt x="294" y="440"/>
                      <a:pt x="294" y="440"/>
                      <a:pt x="294" y="440"/>
                    </a:cubicBezTo>
                    <a:cubicBezTo>
                      <a:pt x="294" y="440"/>
                      <a:pt x="294" y="441"/>
                      <a:pt x="295" y="441"/>
                    </a:cubicBezTo>
                    <a:cubicBezTo>
                      <a:pt x="295" y="441"/>
                      <a:pt x="295" y="441"/>
                      <a:pt x="295" y="441"/>
                    </a:cubicBezTo>
                    <a:cubicBezTo>
                      <a:pt x="295" y="441"/>
                      <a:pt x="295" y="441"/>
                      <a:pt x="295" y="441"/>
                    </a:cubicBezTo>
                    <a:cubicBezTo>
                      <a:pt x="295" y="442"/>
                      <a:pt x="295" y="442"/>
                      <a:pt x="295" y="442"/>
                    </a:cubicBezTo>
                    <a:cubicBezTo>
                      <a:pt x="295" y="442"/>
                      <a:pt x="295" y="442"/>
                      <a:pt x="295" y="442"/>
                    </a:cubicBezTo>
                    <a:cubicBezTo>
                      <a:pt x="295" y="443"/>
                      <a:pt x="296" y="443"/>
                      <a:pt x="296" y="443"/>
                    </a:cubicBezTo>
                    <a:cubicBezTo>
                      <a:pt x="296" y="443"/>
                      <a:pt x="297" y="443"/>
                      <a:pt x="297" y="443"/>
                    </a:cubicBezTo>
                    <a:cubicBezTo>
                      <a:pt x="297" y="443"/>
                      <a:pt x="298" y="443"/>
                      <a:pt x="298" y="443"/>
                    </a:cubicBezTo>
                    <a:cubicBezTo>
                      <a:pt x="298" y="443"/>
                      <a:pt x="298" y="444"/>
                      <a:pt x="298" y="444"/>
                    </a:cubicBezTo>
                    <a:cubicBezTo>
                      <a:pt x="298" y="444"/>
                      <a:pt x="298" y="444"/>
                      <a:pt x="298" y="443"/>
                    </a:cubicBezTo>
                    <a:cubicBezTo>
                      <a:pt x="298" y="443"/>
                      <a:pt x="299" y="443"/>
                      <a:pt x="299" y="443"/>
                    </a:cubicBezTo>
                    <a:cubicBezTo>
                      <a:pt x="299" y="443"/>
                      <a:pt x="299" y="442"/>
                      <a:pt x="299" y="443"/>
                    </a:cubicBezTo>
                    <a:cubicBezTo>
                      <a:pt x="299" y="443"/>
                      <a:pt x="299" y="443"/>
                      <a:pt x="299" y="443"/>
                    </a:cubicBezTo>
                    <a:cubicBezTo>
                      <a:pt x="299" y="443"/>
                      <a:pt x="299" y="443"/>
                      <a:pt x="299" y="444"/>
                    </a:cubicBezTo>
                    <a:cubicBezTo>
                      <a:pt x="299" y="444"/>
                      <a:pt x="299" y="444"/>
                      <a:pt x="299" y="444"/>
                    </a:cubicBezTo>
                    <a:cubicBezTo>
                      <a:pt x="299" y="444"/>
                      <a:pt x="299" y="444"/>
                      <a:pt x="300" y="443"/>
                    </a:cubicBezTo>
                    <a:cubicBezTo>
                      <a:pt x="300" y="443"/>
                      <a:pt x="300" y="444"/>
                      <a:pt x="300" y="444"/>
                    </a:cubicBezTo>
                    <a:cubicBezTo>
                      <a:pt x="299" y="444"/>
                      <a:pt x="299" y="444"/>
                      <a:pt x="299" y="444"/>
                    </a:cubicBezTo>
                    <a:cubicBezTo>
                      <a:pt x="298" y="445"/>
                      <a:pt x="298" y="446"/>
                      <a:pt x="297" y="446"/>
                    </a:cubicBezTo>
                    <a:cubicBezTo>
                      <a:pt x="297" y="447"/>
                      <a:pt x="297" y="447"/>
                      <a:pt x="297" y="447"/>
                    </a:cubicBezTo>
                    <a:cubicBezTo>
                      <a:pt x="297" y="447"/>
                      <a:pt x="297" y="447"/>
                      <a:pt x="297" y="447"/>
                    </a:cubicBezTo>
                    <a:cubicBezTo>
                      <a:pt x="297" y="447"/>
                      <a:pt x="297" y="447"/>
                      <a:pt x="297" y="447"/>
                    </a:cubicBezTo>
                    <a:cubicBezTo>
                      <a:pt x="297" y="448"/>
                      <a:pt x="297" y="448"/>
                      <a:pt x="297" y="448"/>
                    </a:cubicBezTo>
                    <a:cubicBezTo>
                      <a:pt x="298" y="448"/>
                      <a:pt x="298" y="447"/>
                      <a:pt x="298" y="447"/>
                    </a:cubicBezTo>
                    <a:cubicBezTo>
                      <a:pt x="298" y="447"/>
                      <a:pt x="298" y="447"/>
                      <a:pt x="298" y="447"/>
                    </a:cubicBezTo>
                    <a:cubicBezTo>
                      <a:pt x="299" y="447"/>
                      <a:pt x="299" y="447"/>
                      <a:pt x="299" y="446"/>
                    </a:cubicBezTo>
                    <a:cubicBezTo>
                      <a:pt x="299" y="446"/>
                      <a:pt x="299" y="445"/>
                      <a:pt x="300" y="444"/>
                    </a:cubicBezTo>
                    <a:cubicBezTo>
                      <a:pt x="301" y="444"/>
                      <a:pt x="302" y="444"/>
                      <a:pt x="302" y="443"/>
                    </a:cubicBezTo>
                    <a:cubicBezTo>
                      <a:pt x="302" y="444"/>
                      <a:pt x="302" y="444"/>
                      <a:pt x="302" y="444"/>
                    </a:cubicBezTo>
                    <a:cubicBezTo>
                      <a:pt x="302" y="444"/>
                      <a:pt x="301" y="445"/>
                      <a:pt x="301" y="445"/>
                    </a:cubicBezTo>
                    <a:cubicBezTo>
                      <a:pt x="301" y="445"/>
                      <a:pt x="302" y="446"/>
                      <a:pt x="302" y="446"/>
                    </a:cubicBezTo>
                    <a:cubicBezTo>
                      <a:pt x="302" y="447"/>
                      <a:pt x="302" y="447"/>
                      <a:pt x="301" y="448"/>
                    </a:cubicBezTo>
                    <a:cubicBezTo>
                      <a:pt x="301" y="448"/>
                      <a:pt x="301" y="448"/>
                      <a:pt x="301" y="449"/>
                    </a:cubicBezTo>
                    <a:cubicBezTo>
                      <a:pt x="301" y="449"/>
                      <a:pt x="301" y="450"/>
                      <a:pt x="300" y="451"/>
                    </a:cubicBezTo>
                    <a:cubicBezTo>
                      <a:pt x="301" y="451"/>
                      <a:pt x="301" y="451"/>
                      <a:pt x="302" y="451"/>
                    </a:cubicBezTo>
                    <a:cubicBezTo>
                      <a:pt x="302" y="451"/>
                      <a:pt x="302" y="451"/>
                      <a:pt x="302" y="451"/>
                    </a:cubicBezTo>
                    <a:cubicBezTo>
                      <a:pt x="301" y="452"/>
                      <a:pt x="301" y="452"/>
                      <a:pt x="301" y="452"/>
                    </a:cubicBezTo>
                    <a:cubicBezTo>
                      <a:pt x="301" y="452"/>
                      <a:pt x="301" y="452"/>
                      <a:pt x="301" y="452"/>
                    </a:cubicBezTo>
                    <a:cubicBezTo>
                      <a:pt x="301" y="452"/>
                      <a:pt x="301" y="452"/>
                      <a:pt x="301" y="453"/>
                    </a:cubicBezTo>
                    <a:cubicBezTo>
                      <a:pt x="301" y="454"/>
                      <a:pt x="301" y="454"/>
                      <a:pt x="301" y="455"/>
                    </a:cubicBezTo>
                    <a:cubicBezTo>
                      <a:pt x="300" y="455"/>
                      <a:pt x="300" y="455"/>
                      <a:pt x="300" y="455"/>
                    </a:cubicBezTo>
                    <a:cubicBezTo>
                      <a:pt x="300" y="454"/>
                      <a:pt x="300" y="454"/>
                      <a:pt x="300" y="454"/>
                    </a:cubicBezTo>
                    <a:cubicBezTo>
                      <a:pt x="299" y="454"/>
                      <a:pt x="300" y="455"/>
                      <a:pt x="299" y="456"/>
                    </a:cubicBezTo>
                    <a:cubicBezTo>
                      <a:pt x="299" y="456"/>
                      <a:pt x="299" y="456"/>
                      <a:pt x="299" y="456"/>
                    </a:cubicBezTo>
                    <a:cubicBezTo>
                      <a:pt x="299" y="456"/>
                      <a:pt x="299" y="457"/>
                      <a:pt x="299" y="457"/>
                    </a:cubicBezTo>
                    <a:cubicBezTo>
                      <a:pt x="299" y="457"/>
                      <a:pt x="299" y="457"/>
                      <a:pt x="299" y="457"/>
                    </a:cubicBezTo>
                    <a:cubicBezTo>
                      <a:pt x="299" y="457"/>
                      <a:pt x="299" y="457"/>
                      <a:pt x="299" y="457"/>
                    </a:cubicBezTo>
                    <a:cubicBezTo>
                      <a:pt x="299" y="458"/>
                      <a:pt x="300" y="458"/>
                      <a:pt x="300" y="458"/>
                    </a:cubicBezTo>
                    <a:cubicBezTo>
                      <a:pt x="301" y="458"/>
                      <a:pt x="301" y="458"/>
                      <a:pt x="301" y="458"/>
                    </a:cubicBezTo>
                    <a:cubicBezTo>
                      <a:pt x="301" y="458"/>
                      <a:pt x="301" y="457"/>
                      <a:pt x="302" y="458"/>
                    </a:cubicBezTo>
                    <a:cubicBezTo>
                      <a:pt x="301" y="459"/>
                      <a:pt x="301" y="460"/>
                      <a:pt x="300" y="460"/>
                    </a:cubicBezTo>
                    <a:cubicBezTo>
                      <a:pt x="301" y="461"/>
                      <a:pt x="301" y="461"/>
                      <a:pt x="301" y="461"/>
                    </a:cubicBezTo>
                    <a:cubicBezTo>
                      <a:pt x="301" y="461"/>
                      <a:pt x="301" y="461"/>
                      <a:pt x="301" y="461"/>
                    </a:cubicBezTo>
                    <a:cubicBezTo>
                      <a:pt x="301" y="462"/>
                      <a:pt x="302" y="461"/>
                      <a:pt x="302" y="461"/>
                    </a:cubicBezTo>
                    <a:cubicBezTo>
                      <a:pt x="302" y="461"/>
                      <a:pt x="302" y="461"/>
                      <a:pt x="302" y="461"/>
                    </a:cubicBezTo>
                    <a:cubicBezTo>
                      <a:pt x="302" y="461"/>
                      <a:pt x="302" y="460"/>
                      <a:pt x="303" y="460"/>
                    </a:cubicBezTo>
                    <a:cubicBezTo>
                      <a:pt x="303" y="460"/>
                      <a:pt x="304" y="460"/>
                      <a:pt x="303" y="459"/>
                    </a:cubicBezTo>
                    <a:cubicBezTo>
                      <a:pt x="304" y="459"/>
                      <a:pt x="304" y="460"/>
                      <a:pt x="305" y="459"/>
                    </a:cubicBezTo>
                    <a:cubicBezTo>
                      <a:pt x="305" y="459"/>
                      <a:pt x="305" y="459"/>
                      <a:pt x="305" y="459"/>
                    </a:cubicBezTo>
                    <a:cubicBezTo>
                      <a:pt x="305" y="459"/>
                      <a:pt x="305" y="460"/>
                      <a:pt x="305" y="460"/>
                    </a:cubicBezTo>
                    <a:cubicBezTo>
                      <a:pt x="304" y="461"/>
                      <a:pt x="304" y="461"/>
                      <a:pt x="303" y="462"/>
                    </a:cubicBezTo>
                    <a:cubicBezTo>
                      <a:pt x="304" y="462"/>
                      <a:pt x="305" y="462"/>
                      <a:pt x="306" y="461"/>
                    </a:cubicBezTo>
                    <a:cubicBezTo>
                      <a:pt x="306" y="461"/>
                      <a:pt x="306" y="461"/>
                      <a:pt x="306" y="462"/>
                    </a:cubicBezTo>
                    <a:cubicBezTo>
                      <a:pt x="306" y="462"/>
                      <a:pt x="306" y="462"/>
                      <a:pt x="306" y="462"/>
                    </a:cubicBezTo>
                    <a:cubicBezTo>
                      <a:pt x="306" y="462"/>
                      <a:pt x="306" y="462"/>
                      <a:pt x="306" y="462"/>
                    </a:cubicBezTo>
                    <a:cubicBezTo>
                      <a:pt x="305" y="462"/>
                      <a:pt x="305" y="463"/>
                      <a:pt x="305" y="463"/>
                    </a:cubicBezTo>
                    <a:cubicBezTo>
                      <a:pt x="306" y="463"/>
                      <a:pt x="306" y="463"/>
                      <a:pt x="306" y="463"/>
                    </a:cubicBezTo>
                    <a:cubicBezTo>
                      <a:pt x="306" y="464"/>
                      <a:pt x="306" y="464"/>
                      <a:pt x="306" y="464"/>
                    </a:cubicBezTo>
                    <a:cubicBezTo>
                      <a:pt x="306" y="464"/>
                      <a:pt x="306" y="465"/>
                      <a:pt x="307" y="465"/>
                    </a:cubicBezTo>
                    <a:cubicBezTo>
                      <a:pt x="307" y="464"/>
                      <a:pt x="307" y="464"/>
                      <a:pt x="307" y="464"/>
                    </a:cubicBezTo>
                    <a:cubicBezTo>
                      <a:pt x="307" y="463"/>
                      <a:pt x="307" y="463"/>
                      <a:pt x="307" y="463"/>
                    </a:cubicBezTo>
                    <a:cubicBezTo>
                      <a:pt x="308" y="463"/>
                      <a:pt x="309" y="462"/>
                      <a:pt x="309" y="462"/>
                    </a:cubicBezTo>
                    <a:cubicBezTo>
                      <a:pt x="309" y="462"/>
                      <a:pt x="308" y="462"/>
                      <a:pt x="308" y="462"/>
                    </a:cubicBezTo>
                    <a:cubicBezTo>
                      <a:pt x="308" y="463"/>
                      <a:pt x="307" y="463"/>
                      <a:pt x="307" y="463"/>
                    </a:cubicBezTo>
                    <a:cubicBezTo>
                      <a:pt x="307" y="463"/>
                      <a:pt x="307" y="462"/>
                      <a:pt x="307" y="462"/>
                    </a:cubicBezTo>
                    <a:cubicBezTo>
                      <a:pt x="307" y="462"/>
                      <a:pt x="307" y="461"/>
                      <a:pt x="307" y="461"/>
                    </a:cubicBezTo>
                    <a:cubicBezTo>
                      <a:pt x="307" y="461"/>
                      <a:pt x="307" y="461"/>
                      <a:pt x="307" y="460"/>
                    </a:cubicBezTo>
                    <a:cubicBezTo>
                      <a:pt x="307" y="460"/>
                      <a:pt x="307" y="460"/>
                      <a:pt x="307" y="460"/>
                    </a:cubicBezTo>
                    <a:cubicBezTo>
                      <a:pt x="307" y="460"/>
                      <a:pt x="306" y="459"/>
                      <a:pt x="306" y="459"/>
                    </a:cubicBezTo>
                    <a:cubicBezTo>
                      <a:pt x="306" y="458"/>
                      <a:pt x="306" y="458"/>
                      <a:pt x="306" y="458"/>
                    </a:cubicBezTo>
                    <a:cubicBezTo>
                      <a:pt x="306" y="457"/>
                      <a:pt x="306" y="457"/>
                      <a:pt x="306" y="457"/>
                    </a:cubicBezTo>
                    <a:cubicBezTo>
                      <a:pt x="306" y="457"/>
                      <a:pt x="306" y="457"/>
                      <a:pt x="307" y="457"/>
                    </a:cubicBezTo>
                    <a:cubicBezTo>
                      <a:pt x="307" y="456"/>
                      <a:pt x="306" y="456"/>
                      <a:pt x="306" y="456"/>
                    </a:cubicBezTo>
                    <a:cubicBezTo>
                      <a:pt x="306" y="455"/>
                      <a:pt x="305" y="454"/>
                      <a:pt x="305" y="454"/>
                    </a:cubicBezTo>
                    <a:cubicBezTo>
                      <a:pt x="304" y="454"/>
                      <a:pt x="304" y="453"/>
                      <a:pt x="304" y="453"/>
                    </a:cubicBezTo>
                    <a:cubicBezTo>
                      <a:pt x="304" y="452"/>
                      <a:pt x="305" y="452"/>
                      <a:pt x="305" y="451"/>
                    </a:cubicBezTo>
                    <a:cubicBezTo>
                      <a:pt x="305" y="451"/>
                      <a:pt x="305" y="450"/>
                      <a:pt x="305" y="450"/>
                    </a:cubicBezTo>
                    <a:cubicBezTo>
                      <a:pt x="305" y="449"/>
                      <a:pt x="305" y="449"/>
                      <a:pt x="306" y="448"/>
                    </a:cubicBezTo>
                    <a:cubicBezTo>
                      <a:pt x="306" y="448"/>
                      <a:pt x="306" y="448"/>
                      <a:pt x="306" y="448"/>
                    </a:cubicBezTo>
                    <a:cubicBezTo>
                      <a:pt x="306" y="448"/>
                      <a:pt x="306" y="447"/>
                      <a:pt x="306" y="447"/>
                    </a:cubicBezTo>
                    <a:cubicBezTo>
                      <a:pt x="305" y="447"/>
                      <a:pt x="305" y="447"/>
                      <a:pt x="306" y="447"/>
                    </a:cubicBezTo>
                    <a:cubicBezTo>
                      <a:pt x="306" y="447"/>
                      <a:pt x="306" y="447"/>
                      <a:pt x="306" y="447"/>
                    </a:cubicBezTo>
                    <a:cubicBezTo>
                      <a:pt x="306" y="447"/>
                      <a:pt x="307" y="447"/>
                      <a:pt x="307" y="447"/>
                    </a:cubicBezTo>
                    <a:cubicBezTo>
                      <a:pt x="307" y="447"/>
                      <a:pt x="307" y="447"/>
                      <a:pt x="307" y="447"/>
                    </a:cubicBezTo>
                    <a:cubicBezTo>
                      <a:pt x="308" y="447"/>
                      <a:pt x="308" y="446"/>
                      <a:pt x="308" y="447"/>
                    </a:cubicBezTo>
                    <a:cubicBezTo>
                      <a:pt x="308" y="447"/>
                      <a:pt x="309" y="447"/>
                      <a:pt x="309" y="447"/>
                    </a:cubicBezTo>
                    <a:cubicBezTo>
                      <a:pt x="309" y="447"/>
                      <a:pt x="310" y="447"/>
                      <a:pt x="310" y="447"/>
                    </a:cubicBezTo>
                    <a:cubicBezTo>
                      <a:pt x="311" y="447"/>
                      <a:pt x="311" y="446"/>
                      <a:pt x="311" y="446"/>
                    </a:cubicBezTo>
                    <a:cubicBezTo>
                      <a:pt x="311" y="446"/>
                      <a:pt x="311" y="445"/>
                      <a:pt x="312" y="445"/>
                    </a:cubicBezTo>
                    <a:cubicBezTo>
                      <a:pt x="312" y="445"/>
                      <a:pt x="312" y="445"/>
                      <a:pt x="313" y="444"/>
                    </a:cubicBezTo>
                    <a:cubicBezTo>
                      <a:pt x="313" y="444"/>
                      <a:pt x="314" y="443"/>
                      <a:pt x="314" y="443"/>
                    </a:cubicBezTo>
                    <a:cubicBezTo>
                      <a:pt x="314" y="443"/>
                      <a:pt x="314" y="443"/>
                      <a:pt x="314" y="443"/>
                    </a:cubicBezTo>
                    <a:cubicBezTo>
                      <a:pt x="314" y="443"/>
                      <a:pt x="314" y="443"/>
                      <a:pt x="314" y="443"/>
                    </a:cubicBezTo>
                    <a:cubicBezTo>
                      <a:pt x="314" y="442"/>
                      <a:pt x="314" y="441"/>
                      <a:pt x="314" y="441"/>
                    </a:cubicBezTo>
                    <a:cubicBezTo>
                      <a:pt x="315" y="440"/>
                      <a:pt x="316" y="440"/>
                      <a:pt x="316" y="439"/>
                    </a:cubicBezTo>
                    <a:cubicBezTo>
                      <a:pt x="317" y="439"/>
                      <a:pt x="317" y="439"/>
                      <a:pt x="317" y="439"/>
                    </a:cubicBezTo>
                    <a:cubicBezTo>
                      <a:pt x="317" y="439"/>
                      <a:pt x="318" y="438"/>
                      <a:pt x="318" y="438"/>
                    </a:cubicBezTo>
                    <a:cubicBezTo>
                      <a:pt x="318" y="438"/>
                      <a:pt x="318" y="438"/>
                      <a:pt x="318" y="438"/>
                    </a:cubicBezTo>
                    <a:cubicBezTo>
                      <a:pt x="318" y="437"/>
                      <a:pt x="318" y="437"/>
                      <a:pt x="318" y="437"/>
                    </a:cubicBezTo>
                    <a:cubicBezTo>
                      <a:pt x="318" y="437"/>
                      <a:pt x="317" y="437"/>
                      <a:pt x="317" y="436"/>
                    </a:cubicBezTo>
                    <a:cubicBezTo>
                      <a:pt x="317" y="436"/>
                      <a:pt x="317" y="436"/>
                      <a:pt x="317" y="436"/>
                    </a:cubicBezTo>
                    <a:cubicBezTo>
                      <a:pt x="317" y="435"/>
                      <a:pt x="317" y="435"/>
                      <a:pt x="317" y="435"/>
                    </a:cubicBezTo>
                    <a:cubicBezTo>
                      <a:pt x="318" y="435"/>
                      <a:pt x="317" y="434"/>
                      <a:pt x="318" y="434"/>
                    </a:cubicBezTo>
                    <a:cubicBezTo>
                      <a:pt x="318" y="434"/>
                      <a:pt x="318" y="433"/>
                      <a:pt x="318" y="433"/>
                    </a:cubicBezTo>
                    <a:cubicBezTo>
                      <a:pt x="318" y="432"/>
                      <a:pt x="318" y="432"/>
                      <a:pt x="318" y="431"/>
                    </a:cubicBezTo>
                    <a:cubicBezTo>
                      <a:pt x="318" y="431"/>
                      <a:pt x="318" y="430"/>
                      <a:pt x="318" y="430"/>
                    </a:cubicBezTo>
                    <a:cubicBezTo>
                      <a:pt x="317" y="430"/>
                      <a:pt x="317" y="430"/>
                      <a:pt x="317" y="430"/>
                    </a:cubicBezTo>
                    <a:cubicBezTo>
                      <a:pt x="317" y="430"/>
                      <a:pt x="316" y="430"/>
                      <a:pt x="316" y="430"/>
                    </a:cubicBezTo>
                    <a:cubicBezTo>
                      <a:pt x="316" y="430"/>
                      <a:pt x="316" y="430"/>
                      <a:pt x="316" y="430"/>
                    </a:cubicBezTo>
                    <a:cubicBezTo>
                      <a:pt x="316" y="430"/>
                      <a:pt x="316" y="430"/>
                      <a:pt x="316" y="430"/>
                    </a:cubicBezTo>
                    <a:cubicBezTo>
                      <a:pt x="316" y="430"/>
                      <a:pt x="316" y="430"/>
                      <a:pt x="316" y="431"/>
                    </a:cubicBezTo>
                    <a:cubicBezTo>
                      <a:pt x="316" y="431"/>
                      <a:pt x="316" y="431"/>
                      <a:pt x="316" y="431"/>
                    </a:cubicBezTo>
                    <a:cubicBezTo>
                      <a:pt x="315" y="431"/>
                      <a:pt x="315" y="431"/>
                      <a:pt x="315" y="431"/>
                    </a:cubicBezTo>
                    <a:cubicBezTo>
                      <a:pt x="315" y="432"/>
                      <a:pt x="314" y="432"/>
                      <a:pt x="315" y="432"/>
                    </a:cubicBezTo>
                    <a:cubicBezTo>
                      <a:pt x="315" y="432"/>
                      <a:pt x="315" y="432"/>
                      <a:pt x="315" y="433"/>
                    </a:cubicBezTo>
                    <a:cubicBezTo>
                      <a:pt x="315" y="432"/>
                      <a:pt x="315" y="432"/>
                      <a:pt x="316" y="432"/>
                    </a:cubicBezTo>
                    <a:cubicBezTo>
                      <a:pt x="316" y="433"/>
                      <a:pt x="316" y="433"/>
                      <a:pt x="316" y="433"/>
                    </a:cubicBezTo>
                    <a:cubicBezTo>
                      <a:pt x="316" y="433"/>
                      <a:pt x="315" y="434"/>
                      <a:pt x="315" y="434"/>
                    </a:cubicBezTo>
                    <a:cubicBezTo>
                      <a:pt x="315" y="434"/>
                      <a:pt x="315" y="434"/>
                      <a:pt x="314" y="434"/>
                    </a:cubicBezTo>
                    <a:cubicBezTo>
                      <a:pt x="314" y="434"/>
                      <a:pt x="314" y="434"/>
                      <a:pt x="314" y="434"/>
                    </a:cubicBezTo>
                    <a:cubicBezTo>
                      <a:pt x="313" y="434"/>
                      <a:pt x="313" y="435"/>
                      <a:pt x="313" y="435"/>
                    </a:cubicBezTo>
                    <a:cubicBezTo>
                      <a:pt x="313" y="435"/>
                      <a:pt x="312" y="435"/>
                      <a:pt x="312" y="435"/>
                    </a:cubicBezTo>
                    <a:cubicBezTo>
                      <a:pt x="312" y="435"/>
                      <a:pt x="312" y="434"/>
                      <a:pt x="312" y="434"/>
                    </a:cubicBezTo>
                    <a:cubicBezTo>
                      <a:pt x="311" y="434"/>
                      <a:pt x="311" y="434"/>
                      <a:pt x="311" y="434"/>
                    </a:cubicBezTo>
                    <a:cubicBezTo>
                      <a:pt x="311" y="434"/>
                      <a:pt x="311" y="434"/>
                      <a:pt x="311" y="434"/>
                    </a:cubicBezTo>
                    <a:cubicBezTo>
                      <a:pt x="311" y="433"/>
                      <a:pt x="311" y="433"/>
                      <a:pt x="311" y="432"/>
                    </a:cubicBezTo>
                    <a:cubicBezTo>
                      <a:pt x="312" y="432"/>
                      <a:pt x="312" y="431"/>
                      <a:pt x="311" y="430"/>
                    </a:cubicBezTo>
                    <a:cubicBezTo>
                      <a:pt x="311" y="430"/>
                      <a:pt x="312" y="430"/>
                      <a:pt x="312" y="430"/>
                    </a:cubicBezTo>
                    <a:cubicBezTo>
                      <a:pt x="312" y="430"/>
                      <a:pt x="312" y="430"/>
                      <a:pt x="312" y="430"/>
                    </a:cubicBezTo>
                    <a:cubicBezTo>
                      <a:pt x="313" y="430"/>
                      <a:pt x="313" y="430"/>
                      <a:pt x="313" y="430"/>
                    </a:cubicBezTo>
                    <a:cubicBezTo>
                      <a:pt x="313" y="429"/>
                      <a:pt x="313" y="429"/>
                      <a:pt x="313" y="429"/>
                    </a:cubicBezTo>
                    <a:cubicBezTo>
                      <a:pt x="314" y="429"/>
                      <a:pt x="314" y="429"/>
                      <a:pt x="314" y="429"/>
                    </a:cubicBezTo>
                    <a:cubicBezTo>
                      <a:pt x="314" y="429"/>
                      <a:pt x="315" y="428"/>
                      <a:pt x="315" y="427"/>
                    </a:cubicBezTo>
                    <a:cubicBezTo>
                      <a:pt x="315" y="428"/>
                      <a:pt x="314" y="428"/>
                      <a:pt x="314" y="427"/>
                    </a:cubicBezTo>
                    <a:cubicBezTo>
                      <a:pt x="314" y="427"/>
                      <a:pt x="314" y="427"/>
                      <a:pt x="314" y="427"/>
                    </a:cubicBezTo>
                    <a:cubicBezTo>
                      <a:pt x="314" y="427"/>
                      <a:pt x="314" y="427"/>
                      <a:pt x="313" y="427"/>
                    </a:cubicBezTo>
                    <a:cubicBezTo>
                      <a:pt x="313" y="427"/>
                      <a:pt x="313" y="426"/>
                      <a:pt x="313" y="426"/>
                    </a:cubicBezTo>
                    <a:cubicBezTo>
                      <a:pt x="313" y="426"/>
                      <a:pt x="314" y="425"/>
                      <a:pt x="314" y="424"/>
                    </a:cubicBezTo>
                    <a:cubicBezTo>
                      <a:pt x="314" y="424"/>
                      <a:pt x="313" y="424"/>
                      <a:pt x="314" y="424"/>
                    </a:cubicBezTo>
                    <a:cubicBezTo>
                      <a:pt x="314" y="423"/>
                      <a:pt x="314" y="423"/>
                      <a:pt x="314" y="423"/>
                    </a:cubicBezTo>
                    <a:cubicBezTo>
                      <a:pt x="315" y="423"/>
                      <a:pt x="315" y="423"/>
                      <a:pt x="315" y="423"/>
                    </a:cubicBezTo>
                    <a:cubicBezTo>
                      <a:pt x="316" y="423"/>
                      <a:pt x="316" y="423"/>
                      <a:pt x="316" y="423"/>
                    </a:cubicBezTo>
                    <a:cubicBezTo>
                      <a:pt x="316" y="423"/>
                      <a:pt x="316" y="423"/>
                      <a:pt x="316" y="423"/>
                    </a:cubicBezTo>
                    <a:cubicBezTo>
                      <a:pt x="317" y="423"/>
                      <a:pt x="317" y="423"/>
                      <a:pt x="317" y="423"/>
                    </a:cubicBezTo>
                    <a:cubicBezTo>
                      <a:pt x="317" y="422"/>
                      <a:pt x="318" y="422"/>
                      <a:pt x="318" y="422"/>
                    </a:cubicBezTo>
                    <a:cubicBezTo>
                      <a:pt x="318" y="422"/>
                      <a:pt x="318" y="423"/>
                      <a:pt x="317" y="423"/>
                    </a:cubicBezTo>
                    <a:cubicBezTo>
                      <a:pt x="317" y="424"/>
                      <a:pt x="317" y="424"/>
                      <a:pt x="316" y="424"/>
                    </a:cubicBezTo>
                    <a:cubicBezTo>
                      <a:pt x="316" y="425"/>
                      <a:pt x="316" y="425"/>
                      <a:pt x="316" y="426"/>
                    </a:cubicBezTo>
                    <a:cubicBezTo>
                      <a:pt x="316" y="426"/>
                      <a:pt x="316" y="426"/>
                      <a:pt x="316" y="426"/>
                    </a:cubicBezTo>
                    <a:cubicBezTo>
                      <a:pt x="316" y="426"/>
                      <a:pt x="316" y="426"/>
                      <a:pt x="316" y="426"/>
                    </a:cubicBezTo>
                    <a:cubicBezTo>
                      <a:pt x="316" y="426"/>
                      <a:pt x="317" y="426"/>
                      <a:pt x="317" y="426"/>
                    </a:cubicBezTo>
                    <a:cubicBezTo>
                      <a:pt x="318" y="425"/>
                      <a:pt x="318" y="424"/>
                      <a:pt x="319" y="423"/>
                    </a:cubicBezTo>
                    <a:cubicBezTo>
                      <a:pt x="319" y="423"/>
                      <a:pt x="318" y="423"/>
                      <a:pt x="318" y="422"/>
                    </a:cubicBezTo>
                    <a:cubicBezTo>
                      <a:pt x="318" y="422"/>
                      <a:pt x="319" y="422"/>
                      <a:pt x="319" y="421"/>
                    </a:cubicBezTo>
                    <a:cubicBezTo>
                      <a:pt x="319" y="421"/>
                      <a:pt x="319" y="420"/>
                      <a:pt x="318" y="420"/>
                    </a:cubicBezTo>
                    <a:cubicBezTo>
                      <a:pt x="318" y="420"/>
                      <a:pt x="317" y="420"/>
                      <a:pt x="317" y="420"/>
                    </a:cubicBezTo>
                    <a:cubicBezTo>
                      <a:pt x="317" y="420"/>
                      <a:pt x="317" y="420"/>
                      <a:pt x="317" y="420"/>
                    </a:cubicBezTo>
                    <a:cubicBezTo>
                      <a:pt x="317" y="420"/>
                      <a:pt x="316" y="420"/>
                      <a:pt x="316" y="420"/>
                    </a:cubicBezTo>
                    <a:cubicBezTo>
                      <a:pt x="316" y="421"/>
                      <a:pt x="316" y="421"/>
                      <a:pt x="316" y="421"/>
                    </a:cubicBezTo>
                    <a:cubicBezTo>
                      <a:pt x="316" y="421"/>
                      <a:pt x="316" y="421"/>
                      <a:pt x="316" y="421"/>
                    </a:cubicBezTo>
                    <a:cubicBezTo>
                      <a:pt x="315" y="421"/>
                      <a:pt x="314" y="422"/>
                      <a:pt x="314" y="421"/>
                    </a:cubicBezTo>
                    <a:cubicBezTo>
                      <a:pt x="313" y="421"/>
                      <a:pt x="313" y="421"/>
                      <a:pt x="313" y="421"/>
                    </a:cubicBezTo>
                    <a:cubicBezTo>
                      <a:pt x="313" y="421"/>
                      <a:pt x="313" y="421"/>
                      <a:pt x="313" y="421"/>
                    </a:cubicBezTo>
                    <a:cubicBezTo>
                      <a:pt x="313" y="420"/>
                      <a:pt x="312" y="420"/>
                      <a:pt x="312" y="419"/>
                    </a:cubicBezTo>
                    <a:cubicBezTo>
                      <a:pt x="312" y="419"/>
                      <a:pt x="312" y="418"/>
                      <a:pt x="312" y="418"/>
                    </a:cubicBezTo>
                    <a:cubicBezTo>
                      <a:pt x="312" y="418"/>
                      <a:pt x="311" y="418"/>
                      <a:pt x="311" y="418"/>
                    </a:cubicBezTo>
                    <a:cubicBezTo>
                      <a:pt x="311" y="417"/>
                      <a:pt x="311" y="417"/>
                      <a:pt x="311" y="417"/>
                    </a:cubicBezTo>
                    <a:cubicBezTo>
                      <a:pt x="311" y="417"/>
                      <a:pt x="310" y="417"/>
                      <a:pt x="310" y="417"/>
                    </a:cubicBezTo>
                    <a:cubicBezTo>
                      <a:pt x="310" y="418"/>
                      <a:pt x="310" y="418"/>
                      <a:pt x="310" y="419"/>
                    </a:cubicBezTo>
                    <a:cubicBezTo>
                      <a:pt x="310" y="419"/>
                      <a:pt x="309" y="419"/>
                      <a:pt x="309" y="419"/>
                    </a:cubicBezTo>
                    <a:cubicBezTo>
                      <a:pt x="309" y="419"/>
                      <a:pt x="309" y="418"/>
                      <a:pt x="309" y="418"/>
                    </a:cubicBezTo>
                    <a:cubicBezTo>
                      <a:pt x="309" y="418"/>
                      <a:pt x="308" y="418"/>
                      <a:pt x="308" y="418"/>
                    </a:cubicBezTo>
                    <a:cubicBezTo>
                      <a:pt x="308" y="418"/>
                      <a:pt x="307" y="418"/>
                      <a:pt x="307" y="417"/>
                    </a:cubicBezTo>
                    <a:cubicBezTo>
                      <a:pt x="306" y="417"/>
                      <a:pt x="306" y="417"/>
                      <a:pt x="305" y="416"/>
                    </a:cubicBezTo>
                    <a:cubicBezTo>
                      <a:pt x="305" y="416"/>
                      <a:pt x="305" y="416"/>
                      <a:pt x="304" y="415"/>
                    </a:cubicBezTo>
                    <a:cubicBezTo>
                      <a:pt x="304" y="415"/>
                      <a:pt x="304" y="415"/>
                      <a:pt x="304" y="415"/>
                    </a:cubicBezTo>
                    <a:cubicBezTo>
                      <a:pt x="304" y="415"/>
                      <a:pt x="304" y="415"/>
                      <a:pt x="304" y="415"/>
                    </a:cubicBezTo>
                    <a:cubicBezTo>
                      <a:pt x="304" y="415"/>
                      <a:pt x="304" y="415"/>
                      <a:pt x="303" y="415"/>
                    </a:cubicBezTo>
                    <a:cubicBezTo>
                      <a:pt x="303" y="415"/>
                      <a:pt x="303" y="415"/>
                      <a:pt x="303" y="415"/>
                    </a:cubicBezTo>
                    <a:cubicBezTo>
                      <a:pt x="303" y="415"/>
                      <a:pt x="302" y="415"/>
                      <a:pt x="302" y="415"/>
                    </a:cubicBezTo>
                    <a:cubicBezTo>
                      <a:pt x="302" y="414"/>
                      <a:pt x="302" y="414"/>
                      <a:pt x="301" y="414"/>
                    </a:cubicBezTo>
                    <a:cubicBezTo>
                      <a:pt x="301" y="414"/>
                      <a:pt x="301" y="414"/>
                      <a:pt x="301" y="413"/>
                    </a:cubicBezTo>
                    <a:cubicBezTo>
                      <a:pt x="301" y="413"/>
                      <a:pt x="301" y="413"/>
                      <a:pt x="301" y="413"/>
                    </a:cubicBezTo>
                    <a:cubicBezTo>
                      <a:pt x="301" y="413"/>
                      <a:pt x="301" y="413"/>
                      <a:pt x="301" y="413"/>
                    </a:cubicBezTo>
                    <a:cubicBezTo>
                      <a:pt x="301" y="412"/>
                      <a:pt x="301" y="412"/>
                      <a:pt x="301" y="412"/>
                    </a:cubicBezTo>
                    <a:cubicBezTo>
                      <a:pt x="301" y="412"/>
                      <a:pt x="301" y="412"/>
                      <a:pt x="301" y="412"/>
                    </a:cubicBezTo>
                    <a:cubicBezTo>
                      <a:pt x="301" y="411"/>
                      <a:pt x="301" y="411"/>
                      <a:pt x="301" y="411"/>
                    </a:cubicBezTo>
                    <a:cubicBezTo>
                      <a:pt x="301" y="411"/>
                      <a:pt x="300" y="411"/>
                      <a:pt x="300" y="411"/>
                    </a:cubicBezTo>
                    <a:cubicBezTo>
                      <a:pt x="300" y="411"/>
                      <a:pt x="300" y="411"/>
                      <a:pt x="299" y="410"/>
                    </a:cubicBezTo>
                    <a:cubicBezTo>
                      <a:pt x="299" y="410"/>
                      <a:pt x="299" y="410"/>
                      <a:pt x="299" y="409"/>
                    </a:cubicBezTo>
                    <a:cubicBezTo>
                      <a:pt x="299" y="409"/>
                      <a:pt x="299" y="409"/>
                      <a:pt x="299" y="408"/>
                    </a:cubicBezTo>
                    <a:cubicBezTo>
                      <a:pt x="299" y="408"/>
                      <a:pt x="299" y="408"/>
                      <a:pt x="299" y="408"/>
                    </a:cubicBezTo>
                    <a:cubicBezTo>
                      <a:pt x="298" y="407"/>
                      <a:pt x="298" y="407"/>
                      <a:pt x="298" y="407"/>
                    </a:cubicBezTo>
                    <a:cubicBezTo>
                      <a:pt x="298" y="407"/>
                      <a:pt x="298" y="406"/>
                      <a:pt x="298" y="406"/>
                    </a:cubicBezTo>
                    <a:cubicBezTo>
                      <a:pt x="298" y="406"/>
                      <a:pt x="298" y="405"/>
                      <a:pt x="298" y="404"/>
                    </a:cubicBezTo>
                    <a:cubicBezTo>
                      <a:pt x="298" y="404"/>
                      <a:pt x="298" y="403"/>
                      <a:pt x="299" y="403"/>
                    </a:cubicBezTo>
                    <a:cubicBezTo>
                      <a:pt x="299" y="403"/>
                      <a:pt x="299" y="403"/>
                      <a:pt x="299" y="403"/>
                    </a:cubicBezTo>
                    <a:cubicBezTo>
                      <a:pt x="299" y="402"/>
                      <a:pt x="299" y="402"/>
                      <a:pt x="299" y="402"/>
                    </a:cubicBezTo>
                    <a:cubicBezTo>
                      <a:pt x="300" y="402"/>
                      <a:pt x="300" y="402"/>
                      <a:pt x="300" y="402"/>
                    </a:cubicBezTo>
                    <a:cubicBezTo>
                      <a:pt x="300" y="402"/>
                      <a:pt x="300" y="401"/>
                      <a:pt x="300" y="401"/>
                    </a:cubicBezTo>
                    <a:cubicBezTo>
                      <a:pt x="300" y="401"/>
                      <a:pt x="300" y="400"/>
                      <a:pt x="300" y="400"/>
                    </a:cubicBezTo>
                    <a:cubicBezTo>
                      <a:pt x="300" y="400"/>
                      <a:pt x="300" y="400"/>
                      <a:pt x="300" y="400"/>
                    </a:cubicBezTo>
                    <a:cubicBezTo>
                      <a:pt x="300" y="400"/>
                      <a:pt x="300" y="400"/>
                      <a:pt x="301" y="400"/>
                    </a:cubicBezTo>
                    <a:cubicBezTo>
                      <a:pt x="301" y="400"/>
                      <a:pt x="301" y="400"/>
                      <a:pt x="301" y="400"/>
                    </a:cubicBezTo>
                    <a:cubicBezTo>
                      <a:pt x="301" y="399"/>
                      <a:pt x="301" y="399"/>
                      <a:pt x="301" y="399"/>
                    </a:cubicBezTo>
                    <a:cubicBezTo>
                      <a:pt x="301" y="399"/>
                      <a:pt x="302" y="399"/>
                      <a:pt x="302" y="399"/>
                    </a:cubicBezTo>
                    <a:cubicBezTo>
                      <a:pt x="302" y="399"/>
                      <a:pt x="302" y="399"/>
                      <a:pt x="302" y="399"/>
                    </a:cubicBezTo>
                    <a:cubicBezTo>
                      <a:pt x="302" y="399"/>
                      <a:pt x="302" y="398"/>
                      <a:pt x="302" y="398"/>
                    </a:cubicBezTo>
                    <a:cubicBezTo>
                      <a:pt x="301" y="398"/>
                      <a:pt x="302" y="398"/>
                      <a:pt x="302" y="398"/>
                    </a:cubicBezTo>
                    <a:cubicBezTo>
                      <a:pt x="302" y="397"/>
                      <a:pt x="302" y="397"/>
                      <a:pt x="303" y="396"/>
                    </a:cubicBezTo>
                    <a:cubicBezTo>
                      <a:pt x="302" y="396"/>
                      <a:pt x="302" y="397"/>
                      <a:pt x="302" y="397"/>
                    </a:cubicBezTo>
                    <a:cubicBezTo>
                      <a:pt x="302" y="397"/>
                      <a:pt x="301" y="398"/>
                      <a:pt x="301" y="398"/>
                    </a:cubicBezTo>
                    <a:cubicBezTo>
                      <a:pt x="301" y="398"/>
                      <a:pt x="301" y="398"/>
                      <a:pt x="301" y="398"/>
                    </a:cubicBezTo>
                    <a:cubicBezTo>
                      <a:pt x="300" y="398"/>
                      <a:pt x="300" y="398"/>
                      <a:pt x="300" y="398"/>
                    </a:cubicBezTo>
                    <a:cubicBezTo>
                      <a:pt x="300" y="397"/>
                      <a:pt x="299" y="397"/>
                      <a:pt x="299" y="396"/>
                    </a:cubicBezTo>
                    <a:cubicBezTo>
                      <a:pt x="299" y="396"/>
                      <a:pt x="299" y="396"/>
                      <a:pt x="299" y="396"/>
                    </a:cubicBezTo>
                    <a:cubicBezTo>
                      <a:pt x="299" y="396"/>
                      <a:pt x="299" y="396"/>
                      <a:pt x="299" y="395"/>
                    </a:cubicBezTo>
                    <a:cubicBezTo>
                      <a:pt x="298" y="395"/>
                      <a:pt x="298" y="395"/>
                      <a:pt x="298" y="394"/>
                    </a:cubicBezTo>
                    <a:cubicBezTo>
                      <a:pt x="298" y="393"/>
                      <a:pt x="298" y="393"/>
                      <a:pt x="298" y="392"/>
                    </a:cubicBezTo>
                    <a:cubicBezTo>
                      <a:pt x="298" y="392"/>
                      <a:pt x="298" y="391"/>
                      <a:pt x="299" y="391"/>
                    </a:cubicBezTo>
                    <a:cubicBezTo>
                      <a:pt x="299" y="390"/>
                      <a:pt x="299" y="390"/>
                      <a:pt x="299" y="389"/>
                    </a:cubicBezTo>
                    <a:cubicBezTo>
                      <a:pt x="299" y="389"/>
                      <a:pt x="300" y="389"/>
                      <a:pt x="300" y="389"/>
                    </a:cubicBezTo>
                    <a:cubicBezTo>
                      <a:pt x="300" y="389"/>
                      <a:pt x="300" y="389"/>
                      <a:pt x="300" y="389"/>
                    </a:cubicBezTo>
                    <a:cubicBezTo>
                      <a:pt x="299" y="389"/>
                      <a:pt x="299" y="389"/>
                      <a:pt x="299" y="389"/>
                    </a:cubicBezTo>
                    <a:cubicBezTo>
                      <a:pt x="299" y="389"/>
                      <a:pt x="299" y="389"/>
                      <a:pt x="299" y="389"/>
                    </a:cubicBezTo>
                    <a:cubicBezTo>
                      <a:pt x="299" y="389"/>
                      <a:pt x="299" y="389"/>
                      <a:pt x="299" y="389"/>
                    </a:cubicBezTo>
                    <a:cubicBezTo>
                      <a:pt x="299" y="388"/>
                      <a:pt x="298" y="388"/>
                      <a:pt x="298" y="388"/>
                    </a:cubicBezTo>
                    <a:cubicBezTo>
                      <a:pt x="298" y="388"/>
                      <a:pt x="298" y="388"/>
                      <a:pt x="298" y="388"/>
                    </a:cubicBezTo>
                    <a:cubicBezTo>
                      <a:pt x="298" y="388"/>
                      <a:pt x="299" y="387"/>
                      <a:pt x="299" y="387"/>
                    </a:cubicBezTo>
                    <a:cubicBezTo>
                      <a:pt x="299" y="387"/>
                      <a:pt x="299" y="387"/>
                      <a:pt x="299" y="387"/>
                    </a:cubicBezTo>
                    <a:cubicBezTo>
                      <a:pt x="299" y="387"/>
                      <a:pt x="299" y="387"/>
                      <a:pt x="299" y="387"/>
                    </a:cubicBezTo>
                    <a:cubicBezTo>
                      <a:pt x="299" y="387"/>
                      <a:pt x="299" y="387"/>
                      <a:pt x="299" y="387"/>
                    </a:cubicBezTo>
                    <a:cubicBezTo>
                      <a:pt x="299" y="386"/>
                      <a:pt x="299" y="385"/>
                      <a:pt x="299" y="385"/>
                    </a:cubicBezTo>
                    <a:cubicBezTo>
                      <a:pt x="299" y="385"/>
                      <a:pt x="299" y="385"/>
                      <a:pt x="299" y="385"/>
                    </a:cubicBezTo>
                    <a:cubicBezTo>
                      <a:pt x="300" y="385"/>
                      <a:pt x="300" y="385"/>
                      <a:pt x="300" y="384"/>
                    </a:cubicBezTo>
                    <a:cubicBezTo>
                      <a:pt x="300" y="384"/>
                      <a:pt x="300" y="384"/>
                      <a:pt x="300" y="384"/>
                    </a:cubicBezTo>
                    <a:cubicBezTo>
                      <a:pt x="300" y="384"/>
                      <a:pt x="300" y="383"/>
                      <a:pt x="301" y="383"/>
                    </a:cubicBezTo>
                    <a:cubicBezTo>
                      <a:pt x="301" y="382"/>
                      <a:pt x="301" y="382"/>
                      <a:pt x="302" y="382"/>
                    </a:cubicBezTo>
                    <a:cubicBezTo>
                      <a:pt x="302" y="382"/>
                      <a:pt x="303" y="382"/>
                      <a:pt x="303" y="382"/>
                    </a:cubicBezTo>
                    <a:cubicBezTo>
                      <a:pt x="303" y="383"/>
                      <a:pt x="303" y="383"/>
                      <a:pt x="303" y="383"/>
                    </a:cubicBezTo>
                    <a:cubicBezTo>
                      <a:pt x="303" y="383"/>
                      <a:pt x="303" y="384"/>
                      <a:pt x="303" y="384"/>
                    </a:cubicBezTo>
                    <a:cubicBezTo>
                      <a:pt x="304" y="384"/>
                      <a:pt x="304" y="384"/>
                      <a:pt x="304" y="385"/>
                    </a:cubicBezTo>
                    <a:cubicBezTo>
                      <a:pt x="304" y="385"/>
                      <a:pt x="304" y="385"/>
                      <a:pt x="305" y="385"/>
                    </a:cubicBezTo>
                    <a:cubicBezTo>
                      <a:pt x="305" y="385"/>
                      <a:pt x="305" y="385"/>
                      <a:pt x="305" y="384"/>
                    </a:cubicBezTo>
                    <a:cubicBezTo>
                      <a:pt x="305" y="384"/>
                      <a:pt x="305" y="384"/>
                      <a:pt x="305" y="383"/>
                    </a:cubicBezTo>
                    <a:cubicBezTo>
                      <a:pt x="305" y="383"/>
                      <a:pt x="306" y="383"/>
                      <a:pt x="306" y="383"/>
                    </a:cubicBezTo>
                    <a:cubicBezTo>
                      <a:pt x="306" y="382"/>
                      <a:pt x="305" y="382"/>
                      <a:pt x="305" y="382"/>
                    </a:cubicBezTo>
                    <a:cubicBezTo>
                      <a:pt x="305" y="382"/>
                      <a:pt x="305" y="382"/>
                      <a:pt x="305" y="382"/>
                    </a:cubicBezTo>
                    <a:cubicBezTo>
                      <a:pt x="305" y="381"/>
                      <a:pt x="305" y="381"/>
                      <a:pt x="305" y="381"/>
                    </a:cubicBezTo>
                    <a:cubicBezTo>
                      <a:pt x="305" y="381"/>
                      <a:pt x="305" y="381"/>
                      <a:pt x="305" y="381"/>
                    </a:cubicBezTo>
                    <a:cubicBezTo>
                      <a:pt x="305" y="381"/>
                      <a:pt x="306" y="381"/>
                      <a:pt x="306" y="380"/>
                    </a:cubicBezTo>
                    <a:cubicBezTo>
                      <a:pt x="306" y="380"/>
                      <a:pt x="306" y="380"/>
                      <a:pt x="306" y="380"/>
                    </a:cubicBezTo>
                    <a:cubicBezTo>
                      <a:pt x="305" y="380"/>
                      <a:pt x="305" y="380"/>
                      <a:pt x="305" y="380"/>
                    </a:cubicBezTo>
                    <a:cubicBezTo>
                      <a:pt x="305" y="380"/>
                      <a:pt x="304" y="380"/>
                      <a:pt x="303" y="380"/>
                    </a:cubicBezTo>
                    <a:cubicBezTo>
                      <a:pt x="303" y="380"/>
                      <a:pt x="303" y="380"/>
                      <a:pt x="303" y="380"/>
                    </a:cubicBezTo>
                    <a:cubicBezTo>
                      <a:pt x="303" y="380"/>
                      <a:pt x="303" y="380"/>
                      <a:pt x="303" y="380"/>
                    </a:cubicBezTo>
                    <a:cubicBezTo>
                      <a:pt x="303" y="379"/>
                      <a:pt x="303" y="379"/>
                      <a:pt x="302" y="379"/>
                    </a:cubicBezTo>
                    <a:cubicBezTo>
                      <a:pt x="302" y="379"/>
                      <a:pt x="302" y="379"/>
                      <a:pt x="302" y="379"/>
                    </a:cubicBezTo>
                    <a:cubicBezTo>
                      <a:pt x="302" y="379"/>
                      <a:pt x="302" y="379"/>
                      <a:pt x="302" y="379"/>
                    </a:cubicBezTo>
                    <a:cubicBezTo>
                      <a:pt x="303" y="378"/>
                      <a:pt x="303" y="378"/>
                      <a:pt x="303" y="378"/>
                    </a:cubicBezTo>
                    <a:cubicBezTo>
                      <a:pt x="303" y="378"/>
                      <a:pt x="303" y="378"/>
                      <a:pt x="303" y="378"/>
                    </a:cubicBezTo>
                    <a:cubicBezTo>
                      <a:pt x="303" y="377"/>
                      <a:pt x="303" y="377"/>
                      <a:pt x="303" y="377"/>
                    </a:cubicBezTo>
                    <a:cubicBezTo>
                      <a:pt x="303" y="377"/>
                      <a:pt x="304" y="377"/>
                      <a:pt x="304" y="377"/>
                    </a:cubicBezTo>
                    <a:cubicBezTo>
                      <a:pt x="304" y="377"/>
                      <a:pt x="304" y="376"/>
                      <a:pt x="304" y="376"/>
                    </a:cubicBezTo>
                    <a:cubicBezTo>
                      <a:pt x="305" y="376"/>
                      <a:pt x="305" y="375"/>
                      <a:pt x="306" y="375"/>
                    </a:cubicBezTo>
                    <a:cubicBezTo>
                      <a:pt x="305" y="375"/>
                      <a:pt x="305" y="374"/>
                      <a:pt x="305" y="374"/>
                    </a:cubicBezTo>
                    <a:cubicBezTo>
                      <a:pt x="305" y="374"/>
                      <a:pt x="306" y="374"/>
                      <a:pt x="306" y="374"/>
                    </a:cubicBezTo>
                    <a:cubicBezTo>
                      <a:pt x="306" y="374"/>
                      <a:pt x="306" y="373"/>
                      <a:pt x="306" y="373"/>
                    </a:cubicBezTo>
                    <a:cubicBezTo>
                      <a:pt x="306" y="373"/>
                      <a:pt x="306" y="373"/>
                      <a:pt x="306" y="373"/>
                    </a:cubicBezTo>
                    <a:cubicBezTo>
                      <a:pt x="306" y="373"/>
                      <a:pt x="306" y="373"/>
                      <a:pt x="306" y="373"/>
                    </a:cubicBezTo>
                    <a:cubicBezTo>
                      <a:pt x="306" y="373"/>
                      <a:pt x="306" y="373"/>
                      <a:pt x="306" y="373"/>
                    </a:cubicBezTo>
                    <a:cubicBezTo>
                      <a:pt x="307" y="373"/>
                      <a:pt x="307" y="373"/>
                      <a:pt x="307" y="373"/>
                    </a:cubicBezTo>
                    <a:cubicBezTo>
                      <a:pt x="307" y="373"/>
                      <a:pt x="307" y="373"/>
                      <a:pt x="307" y="373"/>
                    </a:cubicBezTo>
                    <a:cubicBezTo>
                      <a:pt x="307" y="373"/>
                      <a:pt x="307" y="373"/>
                      <a:pt x="307" y="373"/>
                    </a:cubicBezTo>
                    <a:cubicBezTo>
                      <a:pt x="307" y="372"/>
                      <a:pt x="307" y="372"/>
                      <a:pt x="307" y="372"/>
                    </a:cubicBezTo>
                    <a:cubicBezTo>
                      <a:pt x="307" y="371"/>
                      <a:pt x="307" y="371"/>
                      <a:pt x="308" y="370"/>
                    </a:cubicBezTo>
                    <a:cubicBezTo>
                      <a:pt x="308" y="370"/>
                      <a:pt x="308" y="370"/>
                      <a:pt x="308" y="370"/>
                    </a:cubicBezTo>
                    <a:cubicBezTo>
                      <a:pt x="308" y="370"/>
                      <a:pt x="308" y="370"/>
                      <a:pt x="309" y="370"/>
                    </a:cubicBezTo>
                    <a:cubicBezTo>
                      <a:pt x="308" y="370"/>
                      <a:pt x="308" y="370"/>
                      <a:pt x="308" y="370"/>
                    </a:cubicBezTo>
                    <a:cubicBezTo>
                      <a:pt x="307" y="370"/>
                      <a:pt x="307" y="369"/>
                      <a:pt x="307" y="369"/>
                    </a:cubicBezTo>
                    <a:cubicBezTo>
                      <a:pt x="307" y="369"/>
                      <a:pt x="307" y="369"/>
                      <a:pt x="307" y="369"/>
                    </a:cubicBezTo>
                    <a:cubicBezTo>
                      <a:pt x="307" y="369"/>
                      <a:pt x="307" y="369"/>
                      <a:pt x="307" y="369"/>
                    </a:cubicBezTo>
                    <a:cubicBezTo>
                      <a:pt x="307" y="369"/>
                      <a:pt x="307" y="369"/>
                      <a:pt x="307" y="369"/>
                    </a:cubicBezTo>
                    <a:cubicBezTo>
                      <a:pt x="307" y="368"/>
                      <a:pt x="307" y="368"/>
                      <a:pt x="307" y="368"/>
                    </a:cubicBezTo>
                    <a:cubicBezTo>
                      <a:pt x="307" y="368"/>
                      <a:pt x="308" y="368"/>
                      <a:pt x="308" y="368"/>
                    </a:cubicBezTo>
                    <a:cubicBezTo>
                      <a:pt x="308" y="367"/>
                      <a:pt x="308" y="367"/>
                      <a:pt x="307" y="367"/>
                    </a:cubicBezTo>
                    <a:cubicBezTo>
                      <a:pt x="308" y="367"/>
                      <a:pt x="309" y="366"/>
                      <a:pt x="310" y="366"/>
                    </a:cubicBezTo>
                    <a:cubicBezTo>
                      <a:pt x="310" y="366"/>
                      <a:pt x="310" y="366"/>
                      <a:pt x="310" y="366"/>
                    </a:cubicBezTo>
                    <a:cubicBezTo>
                      <a:pt x="310" y="366"/>
                      <a:pt x="310" y="366"/>
                      <a:pt x="310" y="366"/>
                    </a:cubicBezTo>
                    <a:cubicBezTo>
                      <a:pt x="310" y="366"/>
                      <a:pt x="309" y="366"/>
                      <a:pt x="309" y="366"/>
                    </a:cubicBezTo>
                    <a:cubicBezTo>
                      <a:pt x="308" y="366"/>
                      <a:pt x="308" y="366"/>
                      <a:pt x="307" y="367"/>
                    </a:cubicBezTo>
                    <a:cubicBezTo>
                      <a:pt x="307" y="366"/>
                      <a:pt x="307" y="366"/>
                      <a:pt x="307" y="365"/>
                    </a:cubicBezTo>
                    <a:cubicBezTo>
                      <a:pt x="307" y="364"/>
                      <a:pt x="307" y="362"/>
                      <a:pt x="307" y="361"/>
                    </a:cubicBezTo>
                    <a:cubicBezTo>
                      <a:pt x="307" y="361"/>
                      <a:pt x="307" y="360"/>
                      <a:pt x="307" y="360"/>
                    </a:cubicBezTo>
                    <a:cubicBezTo>
                      <a:pt x="307" y="360"/>
                      <a:pt x="307" y="360"/>
                      <a:pt x="307" y="360"/>
                    </a:cubicBezTo>
                    <a:cubicBezTo>
                      <a:pt x="307" y="360"/>
                      <a:pt x="307" y="360"/>
                      <a:pt x="307" y="360"/>
                    </a:cubicBezTo>
                    <a:cubicBezTo>
                      <a:pt x="307" y="360"/>
                      <a:pt x="307" y="360"/>
                      <a:pt x="307" y="360"/>
                    </a:cubicBezTo>
                    <a:cubicBezTo>
                      <a:pt x="307" y="359"/>
                      <a:pt x="308" y="359"/>
                      <a:pt x="308" y="359"/>
                    </a:cubicBezTo>
                    <a:cubicBezTo>
                      <a:pt x="308" y="359"/>
                      <a:pt x="307" y="359"/>
                      <a:pt x="307" y="359"/>
                    </a:cubicBezTo>
                    <a:cubicBezTo>
                      <a:pt x="307" y="358"/>
                      <a:pt x="307" y="358"/>
                      <a:pt x="307" y="358"/>
                    </a:cubicBezTo>
                    <a:cubicBezTo>
                      <a:pt x="307" y="357"/>
                      <a:pt x="307" y="357"/>
                      <a:pt x="307" y="357"/>
                    </a:cubicBezTo>
                    <a:cubicBezTo>
                      <a:pt x="306" y="357"/>
                      <a:pt x="306" y="357"/>
                      <a:pt x="306" y="357"/>
                    </a:cubicBezTo>
                    <a:cubicBezTo>
                      <a:pt x="306" y="357"/>
                      <a:pt x="306" y="357"/>
                      <a:pt x="306" y="356"/>
                    </a:cubicBezTo>
                    <a:cubicBezTo>
                      <a:pt x="306" y="356"/>
                      <a:pt x="306" y="356"/>
                      <a:pt x="306" y="356"/>
                    </a:cubicBezTo>
                    <a:cubicBezTo>
                      <a:pt x="306" y="355"/>
                      <a:pt x="306" y="355"/>
                      <a:pt x="306" y="355"/>
                    </a:cubicBezTo>
                    <a:cubicBezTo>
                      <a:pt x="306" y="354"/>
                      <a:pt x="305" y="354"/>
                      <a:pt x="305" y="354"/>
                    </a:cubicBezTo>
                    <a:cubicBezTo>
                      <a:pt x="305" y="354"/>
                      <a:pt x="305" y="354"/>
                      <a:pt x="304" y="354"/>
                    </a:cubicBezTo>
                    <a:cubicBezTo>
                      <a:pt x="304" y="354"/>
                      <a:pt x="304" y="354"/>
                      <a:pt x="304" y="354"/>
                    </a:cubicBezTo>
                    <a:cubicBezTo>
                      <a:pt x="305" y="353"/>
                      <a:pt x="305" y="353"/>
                      <a:pt x="305" y="353"/>
                    </a:cubicBezTo>
                    <a:cubicBezTo>
                      <a:pt x="305" y="353"/>
                      <a:pt x="305" y="353"/>
                      <a:pt x="305" y="353"/>
                    </a:cubicBezTo>
                    <a:cubicBezTo>
                      <a:pt x="305" y="353"/>
                      <a:pt x="305" y="353"/>
                      <a:pt x="305" y="352"/>
                    </a:cubicBezTo>
                    <a:cubicBezTo>
                      <a:pt x="304" y="352"/>
                      <a:pt x="304" y="352"/>
                      <a:pt x="304" y="352"/>
                    </a:cubicBezTo>
                    <a:cubicBezTo>
                      <a:pt x="304" y="352"/>
                      <a:pt x="304" y="352"/>
                      <a:pt x="304" y="352"/>
                    </a:cubicBezTo>
                    <a:cubicBezTo>
                      <a:pt x="304" y="352"/>
                      <a:pt x="304" y="352"/>
                      <a:pt x="304" y="352"/>
                    </a:cubicBezTo>
                    <a:cubicBezTo>
                      <a:pt x="304" y="351"/>
                      <a:pt x="304" y="350"/>
                      <a:pt x="304" y="349"/>
                    </a:cubicBezTo>
                    <a:cubicBezTo>
                      <a:pt x="304" y="349"/>
                      <a:pt x="304" y="349"/>
                      <a:pt x="304" y="348"/>
                    </a:cubicBezTo>
                    <a:cubicBezTo>
                      <a:pt x="304" y="348"/>
                      <a:pt x="304" y="348"/>
                      <a:pt x="304" y="348"/>
                    </a:cubicBezTo>
                    <a:cubicBezTo>
                      <a:pt x="304" y="347"/>
                      <a:pt x="304" y="347"/>
                      <a:pt x="304" y="347"/>
                    </a:cubicBezTo>
                    <a:cubicBezTo>
                      <a:pt x="304" y="346"/>
                      <a:pt x="304" y="346"/>
                      <a:pt x="304" y="346"/>
                    </a:cubicBezTo>
                    <a:cubicBezTo>
                      <a:pt x="304" y="345"/>
                      <a:pt x="304" y="345"/>
                      <a:pt x="304" y="345"/>
                    </a:cubicBezTo>
                    <a:cubicBezTo>
                      <a:pt x="304" y="345"/>
                      <a:pt x="304" y="345"/>
                      <a:pt x="304" y="345"/>
                    </a:cubicBezTo>
                    <a:cubicBezTo>
                      <a:pt x="304" y="345"/>
                      <a:pt x="304" y="345"/>
                      <a:pt x="304" y="345"/>
                    </a:cubicBezTo>
                    <a:cubicBezTo>
                      <a:pt x="304" y="344"/>
                      <a:pt x="305" y="344"/>
                      <a:pt x="305" y="344"/>
                    </a:cubicBezTo>
                    <a:cubicBezTo>
                      <a:pt x="304" y="343"/>
                      <a:pt x="305" y="341"/>
                      <a:pt x="305" y="340"/>
                    </a:cubicBezTo>
                    <a:cubicBezTo>
                      <a:pt x="304" y="339"/>
                      <a:pt x="304" y="337"/>
                      <a:pt x="304" y="336"/>
                    </a:cubicBezTo>
                    <a:cubicBezTo>
                      <a:pt x="304" y="336"/>
                      <a:pt x="304" y="335"/>
                      <a:pt x="304" y="335"/>
                    </a:cubicBezTo>
                    <a:cubicBezTo>
                      <a:pt x="304" y="335"/>
                      <a:pt x="304" y="334"/>
                      <a:pt x="304" y="334"/>
                    </a:cubicBezTo>
                    <a:cubicBezTo>
                      <a:pt x="304" y="334"/>
                      <a:pt x="305" y="334"/>
                      <a:pt x="305" y="333"/>
                    </a:cubicBezTo>
                    <a:cubicBezTo>
                      <a:pt x="304" y="333"/>
                      <a:pt x="304" y="332"/>
                      <a:pt x="304" y="333"/>
                    </a:cubicBezTo>
                    <a:cubicBezTo>
                      <a:pt x="304" y="332"/>
                      <a:pt x="304" y="331"/>
                      <a:pt x="305" y="330"/>
                    </a:cubicBezTo>
                    <a:cubicBezTo>
                      <a:pt x="305" y="330"/>
                      <a:pt x="306" y="329"/>
                      <a:pt x="307" y="330"/>
                    </a:cubicBezTo>
                    <a:cubicBezTo>
                      <a:pt x="307" y="331"/>
                      <a:pt x="308" y="331"/>
                      <a:pt x="308" y="332"/>
                    </a:cubicBezTo>
                    <a:cubicBezTo>
                      <a:pt x="309" y="332"/>
                      <a:pt x="309" y="332"/>
                      <a:pt x="310" y="332"/>
                    </a:cubicBezTo>
                    <a:cubicBezTo>
                      <a:pt x="310" y="332"/>
                      <a:pt x="311" y="332"/>
                      <a:pt x="311" y="332"/>
                    </a:cubicBezTo>
                    <a:cubicBezTo>
                      <a:pt x="311" y="332"/>
                      <a:pt x="311" y="332"/>
                      <a:pt x="310" y="331"/>
                    </a:cubicBezTo>
                    <a:cubicBezTo>
                      <a:pt x="310" y="331"/>
                      <a:pt x="309" y="331"/>
                      <a:pt x="309" y="330"/>
                    </a:cubicBezTo>
                    <a:cubicBezTo>
                      <a:pt x="308" y="330"/>
                      <a:pt x="308" y="329"/>
                      <a:pt x="308" y="329"/>
                    </a:cubicBezTo>
                    <a:cubicBezTo>
                      <a:pt x="308" y="328"/>
                      <a:pt x="308" y="328"/>
                      <a:pt x="308" y="328"/>
                    </a:cubicBezTo>
                    <a:cubicBezTo>
                      <a:pt x="308" y="327"/>
                      <a:pt x="308" y="327"/>
                      <a:pt x="308" y="327"/>
                    </a:cubicBezTo>
                    <a:cubicBezTo>
                      <a:pt x="308" y="327"/>
                      <a:pt x="307" y="328"/>
                      <a:pt x="307" y="327"/>
                    </a:cubicBezTo>
                    <a:cubicBezTo>
                      <a:pt x="307" y="327"/>
                      <a:pt x="307" y="327"/>
                      <a:pt x="306" y="327"/>
                    </a:cubicBezTo>
                    <a:cubicBezTo>
                      <a:pt x="306" y="326"/>
                      <a:pt x="307" y="324"/>
                      <a:pt x="308" y="324"/>
                    </a:cubicBezTo>
                    <a:cubicBezTo>
                      <a:pt x="309" y="322"/>
                      <a:pt x="311" y="322"/>
                      <a:pt x="313" y="321"/>
                    </a:cubicBezTo>
                    <a:cubicBezTo>
                      <a:pt x="314" y="321"/>
                      <a:pt x="315" y="321"/>
                      <a:pt x="316" y="320"/>
                    </a:cubicBezTo>
                    <a:cubicBezTo>
                      <a:pt x="316" y="321"/>
                      <a:pt x="316" y="321"/>
                      <a:pt x="316" y="322"/>
                    </a:cubicBezTo>
                    <a:cubicBezTo>
                      <a:pt x="317" y="321"/>
                      <a:pt x="317" y="321"/>
                      <a:pt x="317" y="320"/>
                    </a:cubicBezTo>
                    <a:cubicBezTo>
                      <a:pt x="317" y="320"/>
                      <a:pt x="318" y="320"/>
                      <a:pt x="319" y="320"/>
                    </a:cubicBezTo>
                    <a:cubicBezTo>
                      <a:pt x="321" y="320"/>
                      <a:pt x="323" y="321"/>
                      <a:pt x="324" y="322"/>
                    </a:cubicBezTo>
                    <a:cubicBezTo>
                      <a:pt x="324" y="321"/>
                      <a:pt x="325" y="321"/>
                      <a:pt x="325" y="322"/>
                    </a:cubicBezTo>
                    <a:cubicBezTo>
                      <a:pt x="325" y="322"/>
                      <a:pt x="325" y="322"/>
                      <a:pt x="325" y="322"/>
                    </a:cubicBezTo>
                    <a:cubicBezTo>
                      <a:pt x="326" y="323"/>
                      <a:pt x="326" y="323"/>
                      <a:pt x="326" y="323"/>
                    </a:cubicBezTo>
                    <a:cubicBezTo>
                      <a:pt x="327" y="323"/>
                      <a:pt x="327" y="324"/>
                      <a:pt x="326" y="325"/>
                    </a:cubicBezTo>
                    <a:cubicBezTo>
                      <a:pt x="327" y="325"/>
                      <a:pt x="327" y="325"/>
                      <a:pt x="328" y="325"/>
                    </a:cubicBezTo>
                    <a:cubicBezTo>
                      <a:pt x="328" y="324"/>
                      <a:pt x="328" y="324"/>
                      <a:pt x="329" y="324"/>
                    </a:cubicBezTo>
                    <a:cubicBezTo>
                      <a:pt x="330" y="323"/>
                      <a:pt x="331" y="323"/>
                      <a:pt x="333" y="324"/>
                    </a:cubicBezTo>
                    <a:cubicBezTo>
                      <a:pt x="334" y="324"/>
                      <a:pt x="334" y="324"/>
                      <a:pt x="335" y="324"/>
                    </a:cubicBezTo>
                    <a:cubicBezTo>
                      <a:pt x="336" y="324"/>
                      <a:pt x="336" y="325"/>
                      <a:pt x="337" y="325"/>
                    </a:cubicBezTo>
                    <a:cubicBezTo>
                      <a:pt x="338" y="325"/>
                      <a:pt x="339" y="326"/>
                      <a:pt x="339" y="326"/>
                    </a:cubicBezTo>
                    <a:cubicBezTo>
                      <a:pt x="340" y="326"/>
                      <a:pt x="340" y="326"/>
                      <a:pt x="341" y="326"/>
                    </a:cubicBezTo>
                    <a:cubicBezTo>
                      <a:pt x="341" y="326"/>
                      <a:pt x="341" y="327"/>
                      <a:pt x="341" y="327"/>
                    </a:cubicBezTo>
                    <a:cubicBezTo>
                      <a:pt x="341" y="327"/>
                      <a:pt x="340" y="327"/>
                      <a:pt x="340" y="327"/>
                    </a:cubicBezTo>
                    <a:cubicBezTo>
                      <a:pt x="339" y="327"/>
                      <a:pt x="339" y="328"/>
                      <a:pt x="339" y="329"/>
                    </a:cubicBezTo>
                    <a:cubicBezTo>
                      <a:pt x="339" y="330"/>
                      <a:pt x="339" y="331"/>
                      <a:pt x="338" y="332"/>
                    </a:cubicBezTo>
                    <a:cubicBezTo>
                      <a:pt x="337" y="333"/>
                      <a:pt x="337" y="335"/>
                      <a:pt x="335" y="335"/>
                    </a:cubicBezTo>
                    <a:cubicBezTo>
                      <a:pt x="336" y="335"/>
                      <a:pt x="336" y="336"/>
                      <a:pt x="335" y="336"/>
                    </a:cubicBezTo>
                    <a:cubicBezTo>
                      <a:pt x="335" y="337"/>
                      <a:pt x="335" y="337"/>
                      <a:pt x="335" y="338"/>
                    </a:cubicBezTo>
                    <a:cubicBezTo>
                      <a:pt x="334" y="339"/>
                      <a:pt x="334" y="340"/>
                      <a:pt x="334" y="341"/>
                    </a:cubicBezTo>
                    <a:cubicBezTo>
                      <a:pt x="333" y="341"/>
                      <a:pt x="333" y="342"/>
                      <a:pt x="332" y="342"/>
                    </a:cubicBezTo>
                    <a:cubicBezTo>
                      <a:pt x="332" y="342"/>
                      <a:pt x="332" y="342"/>
                      <a:pt x="333" y="343"/>
                    </a:cubicBezTo>
                    <a:cubicBezTo>
                      <a:pt x="333" y="343"/>
                      <a:pt x="333" y="343"/>
                      <a:pt x="333" y="343"/>
                    </a:cubicBezTo>
                    <a:cubicBezTo>
                      <a:pt x="332" y="346"/>
                      <a:pt x="330" y="349"/>
                      <a:pt x="329" y="352"/>
                    </a:cubicBezTo>
                    <a:cubicBezTo>
                      <a:pt x="329" y="353"/>
                      <a:pt x="328" y="353"/>
                      <a:pt x="328" y="354"/>
                    </a:cubicBezTo>
                    <a:cubicBezTo>
                      <a:pt x="327" y="354"/>
                      <a:pt x="326" y="354"/>
                      <a:pt x="325" y="354"/>
                    </a:cubicBezTo>
                    <a:cubicBezTo>
                      <a:pt x="324" y="353"/>
                      <a:pt x="323" y="353"/>
                      <a:pt x="322" y="353"/>
                    </a:cubicBezTo>
                    <a:cubicBezTo>
                      <a:pt x="321" y="352"/>
                      <a:pt x="321" y="352"/>
                      <a:pt x="321" y="352"/>
                    </a:cubicBezTo>
                    <a:cubicBezTo>
                      <a:pt x="321" y="352"/>
                      <a:pt x="321" y="352"/>
                      <a:pt x="320" y="352"/>
                    </a:cubicBezTo>
                    <a:cubicBezTo>
                      <a:pt x="320" y="352"/>
                      <a:pt x="320" y="352"/>
                      <a:pt x="320" y="352"/>
                    </a:cubicBezTo>
                    <a:cubicBezTo>
                      <a:pt x="319" y="352"/>
                      <a:pt x="319" y="352"/>
                      <a:pt x="318" y="352"/>
                    </a:cubicBezTo>
                    <a:cubicBezTo>
                      <a:pt x="317" y="352"/>
                      <a:pt x="315" y="352"/>
                      <a:pt x="314" y="353"/>
                    </a:cubicBezTo>
                    <a:cubicBezTo>
                      <a:pt x="314" y="353"/>
                      <a:pt x="313" y="353"/>
                      <a:pt x="313" y="353"/>
                    </a:cubicBezTo>
                    <a:cubicBezTo>
                      <a:pt x="313" y="353"/>
                      <a:pt x="313" y="354"/>
                      <a:pt x="313" y="354"/>
                    </a:cubicBezTo>
                    <a:cubicBezTo>
                      <a:pt x="314" y="353"/>
                      <a:pt x="315" y="354"/>
                      <a:pt x="316" y="354"/>
                    </a:cubicBezTo>
                    <a:cubicBezTo>
                      <a:pt x="317" y="355"/>
                      <a:pt x="316" y="355"/>
                      <a:pt x="316" y="355"/>
                    </a:cubicBezTo>
                    <a:cubicBezTo>
                      <a:pt x="316" y="355"/>
                      <a:pt x="317" y="355"/>
                      <a:pt x="317" y="356"/>
                    </a:cubicBezTo>
                    <a:cubicBezTo>
                      <a:pt x="317" y="356"/>
                      <a:pt x="317" y="356"/>
                      <a:pt x="318" y="356"/>
                    </a:cubicBezTo>
                    <a:cubicBezTo>
                      <a:pt x="318" y="357"/>
                      <a:pt x="318" y="357"/>
                      <a:pt x="318" y="357"/>
                    </a:cubicBezTo>
                    <a:cubicBezTo>
                      <a:pt x="318" y="357"/>
                      <a:pt x="318" y="358"/>
                      <a:pt x="318" y="358"/>
                    </a:cubicBezTo>
                    <a:cubicBezTo>
                      <a:pt x="319" y="358"/>
                      <a:pt x="318" y="358"/>
                      <a:pt x="318" y="358"/>
                    </a:cubicBezTo>
                    <a:cubicBezTo>
                      <a:pt x="318" y="359"/>
                      <a:pt x="319" y="359"/>
                      <a:pt x="319" y="359"/>
                    </a:cubicBezTo>
                    <a:cubicBezTo>
                      <a:pt x="319" y="359"/>
                      <a:pt x="319" y="360"/>
                      <a:pt x="319" y="360"/>
                    </a:cubicBezTo>
                    <a:cubicBezTo>
                      <a:pt x="318" y="360"/>
                      <a:pt x="318" y="361"/>
                      <a:pt x="318" y="361"/>
                    </a:cubicBezTo>
                    <a:cubicBezTo>
                      <a:pt x="318" y="361"/>
                      <a:pt x="318" y="361"/>
                      <a:pt x="318" y="362"/>
                    </a:cubicBezTo>
                    <a:cubicBezTo>
                      <a:pt x="318" y="362"/>
                      <a:pt x="318" y="362"/>
                      <a:pt x="318" y="362"/>
                    </a:cubicBezTo>
                    <a:cubicBezTo>
                      <a:pt x="318" y="362"/>
                      <a:pt x="317" y="362"/>
                      <a:pt x="317" y="362"/>
                    </a:cubicBezTo>
                    <a:cubicBezTo>
                      <a:pt x="316" y="363"/>
                      <a:pt x="316" y="363"/>
                      <a:pt x="316" y="364"/>
                    </a:cubicBezTo>
                    <a:cubicBezTo>
                      <a:pt x="316" y="365"/>
                      <a:pt x="315" y="366"/>
                      <a:pt x="315" y="367"/>
                    </a:cubicBezTo>
                    <a:cubicBezTo>
                      <a:pt x="315" y="367"/>
                      <a:pt x="315" y="368"/>
                      <a:pt x="315" y="368"/>
                    </a:cubicBezTo>
                    <a:cubicBezTo>
                      <a:pt x="314" y="369"/>
                      <a:pt x="314" y="369"/>
                      <a:pt x="313" y="369"/>
                    </a:cubicBezTo>
                    <a:cubicBezTo>
                      <a:pt x="312" y="369"/>
                      <a:pt x="311" y="370"/>
                      <a:pt x="311" y="370"/>
                    </a:cubicBezTo>
                    <a:cubicBezTo>
                      <a:pt x="310" y="370"/>
                      <a:pt x="310" y="370"/>
                      <a:pt x="310" y="370"/>
                    </a:cubicBezTo>
                    <a:cubicBezTo>
                      <a:pt x="310" y="370"/>
                      <a:pt x="311" y="370"/>
                      <a:pt x="312" y="370"/>
                    </a:cubicBezTo>
                    <a:cubicBezTo>
                      <a:pt x="312" y="371"/>
                      <a:pt x="312" y="371"/>
                      <a:pt x="312" y="371"/>
                    </a:cubicBezTo>
                    <a:cubicBezTo>
                      <a:pt x="312" y="372"/>
                      <a:pt x="312" y="372"/>
                      <a:pt x="312" y="373"/>
                    </a:cubicBezTo>
                    <a:cubicBezTo>
                      <a:pt x="311" y="373"/>
                      <a:pt x="311" y="373"/>
                      <a:pt x="310" y="373"/>
                    </a:cubicBezTo>
                    <a:cubicBezTo>
                      <a:pt x="310" y="373"/>
                      <a:pt x="309" y="373"/>
                      <a:pt x="309" y="373"/>
                    </a:cubicBezTo>
                    <a:cubicBezTo>
                      <a:pt x="309" y="373"/>
                      <a:pt x="309" y="373"/>
                      <a:pt x="309" y="373"/>
                    </a:cubicBezTo>
                    <a:cubicBezTo>
                      <a:pt x="308" y="373"/>
                      <a:pt x="309" y="373"/>
                      <a:pt x="309" y="373"/>
                    </a:cubicBezTo>
                    <a:cubicBezTo>
                      <a:pt x="309" y="373"/>
                      <a:pt x="310" y="373"/>
                      <a:pt x="310" y="374"/>
                    </a:cubicBezTo>
                    <a:cubicBezTo>
                      <a:pt x="311" y="374"/>
                      <a:pt x="311" y="374"/>
                      <a:pt x="311" y="374"/>
                    </a:cubicBezTo>
                    <a:cubicBezTo>
                      <a:pt x="311" y="374"/>
                      <a:pt x="311" y="375"/>
                      <a:pt x="311" y="375"/>
                    </a:cubicBezTo>
                    <a:cubicBezTo>
                      <a:pt x="312" y="375"/>
                      <a:pt x="312" y="374"/>
                      <a:pt x="312" y="374"/>
                    </a:cubicBezTo>
                    <a:cubicBezTo>
                      <a:pt x="313" y="374"/>
                      <a:pt x="313" y="374"/>
                      <a:pt x="313" y="374"/>
                    </a:cubicBezTo>
                    <a:cubicBezTo>
                      <a:pt x="313" y="374"/>
                      <a:pt x="313" y="374"/>
                      <a:pt x="313" y="375"/>
                    </a:cubicBezTo>
                    <a:cubicBezTo>
                      <a:pt x="313" y="375"/>
                      <a:pt x="313" y="375"/>
                      <a:pt x="312" y="376"/>
                    </a:cubicBezTo>
                    <a:cubicBezTo>
                      <a:pt x="312" y="376"/>
                      <a:pt x="312" y="376"/>
                      <a:pt x="313" y="376"/>
                    </a:cubicBezTo>
                    <a:cubicBezTo>
                      <a:pt x="313" y="376"/>
                      <a:pt x="313" y="376"/>
                      <a:pt x="313" y="376"/>
                    </a:cubicBezTo>
                    <a:cubicBezTo>
                      <a:pt x="313" y="376"/>
                      <a:pt x="314" y="375"/>
                      <a:pt x="314" y="375"/>
                    </a:cubicBezTo>
                    <a:cubicBezTo>
                      <a:pt x="314" y="375"/>
                      <a:pt x="314" y="375"/>
                      <a:pt x="314" y="375"/>
                    </a:cubicBezTo>
                    <a:cubicBezTo>
                      <a:pt x="314" y="374"/>
                      <a:pt x="314" y="374"/>
                      <a:pt x="314" y="374"/>
                    </a:cubicBezTo>
                    <a:cubicBezTo>
                      <a:pt x="314" y="374"/>
                      <a:pt x="314" y="375"/>
                      <a:pt x="314" y="375"/>
                    </a:cubicBezTo>
                    <a:cubicBezTo>
                      <a:pt x="315" y="375"/>
                      <a:pt x="315" y="374"/>
                      <a:pt x="315" y="374"/>
                    </a:cubicBezTo>
                    <a:cubicBezTo>
                      <a:pt x="315" y="375"/>
                      <a:pt x="315" y="375"/>
                      <a:pt x="315" y="375"/>
                    </a:cubicBezTo>
                    <a:cubicBezTo>
                      <a:pt x="316" y="375"/>
                      <a:pt x="316" y="375"/>
                      <a:pt x="316" y="375"/>
                    </a:cubicBezTo>
                    <a:cubicBezTo>
                      <a:pt x="317" y="375"/>
                      <a:pt x="317" y="375"/>
                      <a:pt x="317" y="375"/>
                    </a:cubicBezTo>
                    <a:cubicBezTo>
                      <a:pt x="318" y="375"/>
                      <a:pt x="318" y="376"/>
                      <a:pt x="317" y="376"/>
                    </a:cubicBezTo>
                    <a:cubicBezTo>
                      <a:pt x="317" y="376"/>
                      <a:pt x="316" y="377"/>
                      <a:pt x="317" y="377"/>
                    </a:cubicBezTo>
                    <a:cubicBezTo>
                      <a:pt x="317" y="377"/>
                      <a:pt x="317" y="377"/>
                      <a:pt x="317" y="378"/>
                    </a:cubicBezTo>
                    <a:cubicBezTo>
                      <a:pt x="317" y="378"/>
                      <a:pt x="318" y="379"/>
                      <a:pt x="319" y="380"/>
                    </a:cubicBezTo>
                    <a:cubicBezTo>
                      <a:pt x="319" y="380"/>
                      <a:pt x="320" y="381"/>
                      <a:pt x="321" y="381"/>
                    </a:cubicBezTo>
                    <a:cubicBezTo>
                      <a:pt x="320" y="382"/>
                      <a:pt x="321" y="383"/>
                      <a:pt x="321" y="383"/>
                    </a:cubicBezTo>
                    <a:cubicBezTo>
                      <a:pt x="322" y="383"/>
                      <a:pt x="322" y="383"/>
                      <a:pt x="322" y="383"/>
                    </a:cubicBezTo>
                    <a:cubicBezTo>
                      <a:pt x="322" y="384"/>
                      <a:pt x="322" y="384"/>
                      <a:pt x="322" y="384"/>
                    </a:cubicBezTo>
                    <a:cubicBezTo>
                      <a:pt x="322" y="384"/>
                      <a:pt x="322" y="385"/>
                      <a:pt x="322" y="386"/>
                    </a:cubicBezTo>
                    <a:cubicBezTo>
                      <a:pt x="323" y="386"/>
                      <a:pt x="323" y="386"/>
                      <a:pt x="323" y="387"/>
                    </a:cubicBezTo>
                    <a:cubicBezTo>
                      <a:pt x="323" y="387"/>
                      <a:pt x="323" y="387"/>
                      <a:pt x="323" y="387"/>
                    </a:cubicBezTo>
                    <a:cubicBezTo>
                      <a:pt x="323" y="388"/>
                      <a:pt x="323" y="388"/>
                      <a:pt x="323" y="389"/>
                    </a:cubicBezTo>
                    <a:cubicBezTo>
                      <a:pt x="323" y="389"/>
                      <a:pt x="323" y="390"/>
                      <a:pt x="323" y="390"/>
                    </a:cubicBezTo>
                    <a:cubicBezTo>
                      <a:pt x="323" y="390"/>
                      <a:pt x="323" y="390"/>
                      <a:pt x="323" y="391"/>
                    </a:cubicBezTo>
                    <a:cubicBezTo>
                      <a:pt x="323" y="391"/>
                      <a:pt x="323" y="391"/>
                      <a:pt x="323" y="391"/>
                    </a:cubicBezTo>
                    <a:cubicBezTo>
                      <a:pt x="323" y="392"/>
                      <a:pt x="323" y="392"/>
                      <a:pt x="323" y="393"/>
                    </a:cubicBezTo>
                    <a:cubicBezTo>
                      <a:pt x="323" y="393"/>
                      <a:pt x="323" y="394"/>
                      <a:pt x="323" y="394"/>
                    </a:cubicBezTo>
                    <a:cubicBezTo>
                      <a:pt x="323" y="394"/>
                      <a:pt x="323" y="394"/>
                      <a:pt x="322" y="394"/>
                    </a:cubicBezTo>
                    <a:cubicBezTo>
                      <a:pt x="322" y="394"/>
                      <a:pt x="322" y="394"/>
                      <a:pt x="322" y="394"/>
                    </a:cubicBezTo>
                    <a:cubicBezTo>
                      <a:pt x="322" y="394"/>
                      <a:pt x="322" y="394"/>
                      <a:pt x="322" y="394"/>
                    </a:cubicBezTo>
                    <a:cubicBezTo>
                      <a:pt x="322" y="394"/>
                      <a:pt x="322" y="394"/>
                      <a:pt x="322" y="394"/>
                    </a:cubicBezTo>
                    <a:cubicBezTo>
                      <a:pt x="322" y="394"/>
                      <a:pt x="322" y="394"/>
                      <a:pt x="322" y="395"/>
                    </a:cubicBezTo>
                    <a:cubicBezTo>
                      <a:pt x="323" y="395"/>
                      <a:pt x="323" y="395"/>
                      <a:pt x="323" y="395"/>
                    </a:cubicBezTo>
                    <a:cubicBezTo>
                      <a:pt x="323" y="395"/>
                      <a:pt x="324" y="395"/>
                      <a:pt x="324" y="395"/>
                    </a:cubicBezTo>
                    <a:cubicBezTo>
                      <a:pt x="324" y="395"/>
                      <a:pt x="324" y="396"/>
                      <a:pt x="324" y="396"/>
                    </a:cubicBezTo>
                    <a:cubicBezTo>
                      <a:pt x="324" y="396"/>
                      <a:pt x="324" y="397"/>
                      <a:pt x="324" y="397"/>
                    </a:cubicBezTo>
                    <a:cubicBezTo>
                      <a:pt x="325" y="397"/>
                      <a:pt x="325" y="397"/>
                      <a:pt x="325" y="397"/>
                    </a:cubicBezTo>
                    <a:cubicBezTo>
                      <a:pt x="325" y="398"/>
                      <a:pt x="326" y="398"/>
                      <a:pt x="326" y="398"/>
                    </a:cubicBezTo>
                    <a:cubicBezTo>
                      <a:pt x="326" y="398"/>
                      <a:pt x="326" y="398"/>
                      <a:pt x="327" y="399"/>
                    </a:cubicBezTo>
                    <a:cubicBezTo>
                      <a:pt x="327" y="399"/>
                      <a:pt x="327" y="399"/>
                      <a:pt x="327" y="399"/>
                    </a:cubicBezTo>
                    <a:cubicBezTo>
                      <a:pt x="327" y="399"/>
                      <a:pt x="327" y="399"/>
                      <a:pt x="327" y="399"/>
                    </a:cubicBezTo>
                    <a:cubicBezTo>
                      <a:pt x="327" y="399"/>
                      <a:pt x="327" y="399"/>
                      <a:pt x="327" y="399"/>
                    </a:cubicBezTo>
                    <a:cubicBezTo>
                      <a:pt x="327" y="399"/>
                      <a:pt x="327" y="399"/>
                      <a:pt x="327" y="399"/>
                    </a:cubicBezTo>
                    <a:cubicBezTo>
                      <a:pt x="327" y="399"/>
                      <a:pt x="327" y="399"/>
                      <a:pt x="326" y="399"/>
                    </a:cubicBezTo>
                    <a:cubicBezTo>
                      <a:pt x="326" y="400"/>
                      <a:pt x="327" y="400"/>
                      <a:pt x="327" y="400"/>
                    </a:cubicBezTo>
                    <a:cubicBezTo>
                      <a:pt x="327" y="400"/>
                      <a:pt x="327" y="401"/>
                      <a:pt x="327" y="401"/>
                    </a:cubicBezTo>
                    <a:cubicBezTo>
                      <a:pt x="327" y="401"/>
                      <a:pt x="327" y="401"/>
                      <a:pt x="327" y="401"/>
                    </a:cubicBezTo>
                    <a:cubicBezTo>
                      <a:pt x="327" y="401"/>
                      <a:pt x="327" y="401"/>
                      <a:pt x="327" y="401"/>
                    </a:cubicBezTo>
                    <a:cubicBezTo>
                      <a:pt x="327" y="402"/>
                      <a:pt x="327" y="402"/>
                      <a:pt x="327" y="402"/>
                    </a:cubicBezTo>
                    <a:cubicBezTo>
                      <a:pt x="328" y="402"/>
                      <a:pt x="328" y="402"/>
                      <a:pt x="328" y="402"/>
                    </a:cubicBezTo>
                    <a:cubicBezTo>
                      <a:pt x="328" y="402"/>
                      <a:pt x="328" y="402"/>
                      <a:pt x="328" y="402"/>
                    </a:cubicBezTo>
                    <a:cubicBezTo>
                      <a:pt x="328" y="402"/>
                      <a:pt x="328" y="402"/>
                      <a:pt x="328" y="402"/>
                    </a:cubicBezTo>
                    <a:cubicBezTo>
                      <a:pt x="328" y="402"/>
                      <a:pt x="328" y="403"/>
                      <a:pt x="328" y="403"/>
                    </a:cubicBezTo>
                    <a:cubicBezTo>
                      <a:pt x="328" y="403"/>
                      <a:pt x="328" y="403"/>
                      <a:pt x="328" y="403"/>
                    </a:cubicBezTo>
                    <a:cubicBezTo>
                      <a:pt x="328" y="403"/>
                      <a:pt x="328" y="403"/>
                      <a:pt x="328" y="403"/>
                    </a:cubicBezTo>
                    <a:cubicBezTo>
                      <a:pt x="328" y="403"/>
                      <a:pt x="328" y="403"/>
                      <a:pt x="328" y="403"/>
                    </a:cubicBezTo>
                    <a:cubicBezTo>
                      <a:pt x="328" y="404"/>
                      <a:pt x="328" y="404"/>
                      <a:pt x="328" y="404"/>
                    </a:cubicBezTo>
                    <a:cubicBezTo>
                      <a:pt x="328" y="404"/>
                      <a:pt x="328" y="404"/>
                      <a:pt x="329" y="404"/>
                    </a:cubicBezTo>
                    <a:cubicBezTo>
                      <a:pt x="329" y="404"/>
                      <a:pt x="329" y="404"/>
                      <a:pt x="329" y="404"/>
                    </a:cubicBezTo>
                    <a:cubicBezTo>
                      <a:pt x="329" y="405"/>
                      <a:pt x="329" y="405"/>
                      <a:pt x="329" y="405"/>
                    </a:cubicBezTo>
                    <a:cubicBezTo>
                      <a:pt x="329" y="405"/>
                      <a:pt x="329" y="405"/>
                      <a:pt x="329" y="405"/>
                    </a:cubicBezTo>
                    <a:cubicBezTo>
                      <a:pt x="329" y="405"/>
                      <a:pt x="329" y="405"/>
                      <a:pt x="329" y="405"/>
                    </a:cubicBezTo>
                    <a:cubicBezTo>
                      <a:pt x="330" y="405"/>
                      <a:pt x="329" y="404"/>
                      <a:pt x="330" y="404"/>
                    </a:cubicBezTo>
                    <a:cubicBezTo>
                      <a:pt x="330" y="404"/>
                      <a:pt x="330" y="404"/>
                      <a:pt x="330" y="404"/>
                    </a:cubicBezTo>
                    <a:cubicBezTo>
                      <a:pt x="330" y="404"/>
                      <a:pt x="330" y="404"/>
                      <a:pt x="330" y="404"/>
                    </a:cubicBezTo>
                    <a:cubicBezTo>
                      <a:pt x="330" y="404"/>
                      <a:pt x="330" y="404"/>
                      <a:pt x="331" y="404"/>
                    </a:cubicBezTo>
                    <a:cubicBezTo>
                      <a:pt x="331" y="404"/>
                      <a:pt x="331" y="404"/>
                      <a:pt x="331" y="404"/>
                    </a:cubicBezTo>
                    <a:cubicBezTo>
                      <a:pt x="331" y="404"/>
                      <a:pt x="331" y="404"/>
                      <a:pt x="331" y="405"/>
                    </a:cubicBezTo>
                    <a:cubicBezTo>
                      <a:pt x="331" y="405"/>
                      <a:pt x="330" y="406"/>
                      <a:pt x="331" y="406"/>
                    </a:cubicBezTo>
                    <a:cubicBezTo>
                      <a:pt x="331" y="406"/>
                      <a:pt x="331" y="407"/>
                      <a:pt x="331" y="407"/>
                    </a:cubicBezTo>
                    <a:cubicBezTo>
                      <a:pt x="331" y="407"/>
                      <a:pt x="331" y="407"/>
                      <a:pt x="332" y="407"/>
                    </a:cubicBezTo>
                    <a:cubicBezTo>
                      <a:pt x="332" y="407"/>
                      <a:pt x="332" y="407"/>
                      <a:pt x="332" y="407"/>
                    </a:cubicBezTo>
                    <a:cubicBezTo>
                      <a:pt x="332" y="407"/>
                      <a:pt x="332" y="407"/>
                      <a:pt x="332" y="408"/>
                    </a:cubicBezTo>
                    <a:cubicBezTo>
                      <a:pt x="332" y="408"/>
                      <a:pt x="332" y="408"/>
                      <a:pt x="332" y="408"/>
                    </a:cubicBezTo>
                    <a:cubicBezTo>
                      <a:pt x="331" y="408"/>
                      <a:pt x="331" y="408"/>
                      <a:pt x="331" y="408"/>
                    </a:cubicBezTo>
                    <a:cubicBezTo>
                      <a:pt x="331" y="408"/>
                      <a:pt x="331" y="408"/>
                      <a:pt x="330" y="408"/>
                    </a:cubicBezTo>
                    <a:cubicBezTo>
                      <a:pt x="330" y="408"/>
                      <a:pt x="329" y="409"/>
                      <a:pt x="329" y="408"/>
                    </a:cubicBezTo>
                    <a:cubicBezTo>
                      <a:pt x="329" y="408"/>
                      <a:pt x="328" y="408"/>
                      <a:pt x="328" y="408"/>
                    </a:cubicBezTo>
                    <a:cubicBezTo>
                      <a:pt x="328" y="408"/>
                      <a:pt x="328" y="408"/>
                      <a:pt x="327" y="407"/>
                    </a:cubicBezTo>
                    <a:cubicBezTo>
                      <a:pt x="327" y="407"/>
                      <a:pt x="327" y="407"/>
                      <a:pt x="327" y="407"/>
                    </a:cubicBezTo>
                    <a:cubicBezTo>
                      <a:pt x="327" y="407"/>
                      <a:pt x="327" y="407"/>
                      <a:pt x="327" y="407"/>
                    </a:cubicBezTo>
                    <a:cubicBezTo>
                      <a:pt x="327" y="407"/>
                      <a:pt x="326" y="408"/>
                      <a:pt x="326" y="408"/>
                    </a:cubicBezTo>
                    <a:cubicBezTo>
                      <a:pt x="326" y="408"/>
                      <a:pt x="326" y="408"/>
                      <a:pt x="326" y="408"/>
                    </a:cubicBezTo>
                    <a:cubicBezTo>
                      <a:pt x="325" y="409"/>
                      <a:pt x="325" y="409"/>
                      <a:pt x="325" y="409"/>
                    </a:cubicBezTo>
                    <a:cubicBezTo>
                      <a:pt x="325" y="409"/>
                      <a:pt x="325" y="409"/>
                      <a:pt x="325" y="409"/>
                    </a:cubicBezTo>
                    <a:cubicBezTo>
                      <a:pt x="325" y="409"/>
                      <a:pt x="325" y="409"/>
                      <a:pt x="325" y="409"/>
                    </a:cubicBezTo>
                    <a:cubicBezTo>
                      <a:pt x="325" y="410"/>
                      <a:pt x="325" y="410"/>
                      <a:pt x="325" y="410"/>
                    </a:cubicBezTo>
                    <a:cubicBezTo>
                      <a:pt x="325" y="410"/>
                      <a:pt x="325" y="410"/>
                      <a:pt x="326" y="410"/>
                    </a:cubicBezTo>
                    <a:cubicBezTo>
                      <a:pt x="326" y="409"/>
                      <a:pt x="326" y="409"/>
                      <a:pt x="326" y="409"/>
                    </a:cubicBezTo>
                    <a:cubicBezTo>
                      <a:pt x="326" y="409"/>
                      <a:pt x="326" y="409"/>
                      <a:pt x="326" y="409"/>
                    </a:cubicBezTo>
                    <a:cubicBezTo>
                      <a:pt x="327" y="409"/>
                      <a:pt x="327" y="409"/>
                      <a:pt x="327" y="409"/>
                    </a:cubicBezTo>
                    <a:cubicBezTo>
                      <a:pt x="328" y="409"/>
                      <a:pt x="328" y="409"/>
                      <a:pt x="328" y="409"/>
                    </a:cubicBezTo>
                    <a:cubicBezTo>
                      <a:pt x="328" y="409"/>
                      <a:pt x="328" y="410"/>
                      <a:pt x="328" y="410"/>
                    </a:cubicBezTo>
                    <a:cubicBezTo>
                      <a:pt x="329" y="410"/>
                      <a:pt x="329" y="410"/>
                      <a:pt x="329" y="411"/>
                    </a:cubicBezTo>
                    <a:cubicBezTo>
                      <a:pt x="329" y="411"/>
                      <a:pt x="329" y="411"/>
                      <a:pt x="329" y="411"/>
                    </a:cubicBezTo>
                    <a:cubicBezTo>
                      <a:pt x="328" y="412"/>
                      <a:pt x="326" y="414"/>
                      <a:pt x="325" y="415"/>
                    </a:cubicBezTo>
                    <a:cubicBezTo>
                      <a:pt x="325" y="415"/>
                      <a:pt x="324" y="415"/>
                      <a:pt x="324" y="416"/>
                    </a:cubicBezTo>
                    <a:cubicBezTo>
                      <a:pt x="324" y="416"/>
                      <a:pt x="325" y="416"/>
                      <a:pt x="324" y="416"/>
                    </a:cubicBezTo>
                    <a:cubicBezTo>
                      <a:pt x="324" y="416"/>
                      <a:pt x="324" y="416"/>
                      <a:pt x="324" y="416"/>
                    </a:cubicBezTo>
                    <a:cubicBezTo>
                      <a:pt x="324" y="416"/>
                      <a:pt x="324" y="416"/>
                      <a:pt x="324" y="417"/>
                    </a:cubicBezTo>
                    <a:cubicBezTo>
                      <a:pt x="325" y="417"/>
                      <a:pt x="325" y="417"/>
                      <a:pt x="326" y="417"/>
                    </a:cubicBezTo>
                    <a:cubicBezTo>
                      <a:pt x="326" y="417"/>
                      <a:pt x="326" y="418"/>
                      <a:pt x="326" y="418"/>
                    </a:cubicBezTo>
                    <a:cubicBezTo>
                      <a:pt x="327" y="418"/>
                      <a:pt x="327" y="418"/>
                      <a:pt x="327" y="418"/>
                    </a:cubicBezTo>
                    <a:cubicBezTo>
                      <a:pt x="327" y="418"/>
                      <a:pt x="327" y="418"/>
                      <a:pt x="327" y="418"/>
                    </a:cubicBezTo>
                    <a:cubicBezTo>
                      <a:pt x="327" y="419"/>
                      <a:pt x="327" y="419"/>
                      <a:pt x="327" y="419"/>
                    </a:cubicBezTo>
                    <a:cubicBezTo>
                      <a:pt x="328" y="419"/>
                      <a:pt x="329" y="420"/>
                      <a:pt x="329" y="421"/>
                    </a:cubicBezTo>
                    <a:cubicBezTo>
                      <a:pt x="330" y="420"/>
                      <a:pt x="330" y="420"/>
                      <a:pt x="331" y="420"/>
                    </a:cubicBezTo>
                    <a:cubicBezTo>
                      <a:pt x="331" y="420"/>
                      <a:pt x="331" y="419"/>
                      <a:pt x="331" y="419"/>
                    </a:cubicBezTo>
                    <a:cubicBezTo>
                      <a:pt x="331" y="419"/>
                      <a:pt x="331" y="419"/>
                      <a:pt x="332" y="418"/>
                    </a:cubicBezTo>
                    <a:cubicBezTo>
                      <a:pt x="332" y="418"/>
                      <a:pt x="332" y="418"/>
                      <a:pt x="332" y="418"/>
                    </a:cubicBezTo>
                    <a:cubicBezTo>
                      <a:pt x="332" y="418"/>
                      <a:pt x="332" y="418"/>
                      <a:pt x="332" y="418"/>
                    </a:cubicBezTo>
                    <a:cubicBezTo>
                      <a:pt x="333" y="417"/>
                      <a:pt x="333" y="418"/>
                      <a:pt x="333" y="418"/>
                    </a:cubicBezTo>
                    <a:cubicBezTo>
                      <a:pt x="333" y="418"/>
                      <a:pt x="334" y="418"/>
                      <a:pt x="334" y="418"/>
                    </a:cubicBezTo>
                    <a:cubicBezTo>
                      <a:pt x="334" y="418"/>
                      <a:pt x="334" y="418"/>
                      <a:pt x="334" y="418"/>
                    </a:cubicBezTo>
                    <a:cubicBezTo>
                      <a:pt x="334" y="417"/>
                      <a:pt x="334" y="417"/>
                      <a:pt x="334" y="417"/>
                    </a:cubicBezTo>
                    <a:cubicBezTo>
                      <a:pt x="335" y="418"/>
                      <a:pt x="334" y="418"/>
                      <a:pt x="334" y="418"/>
                    </a:cubicBezTo>
                    <a:cubicBezTo>
                      <a:pt x="334" y="418"/>
                      <a:pt x="335" y="418"/>
                      <a:pt x="335" y="418"/>
                    </a:cubicBezTo>
                    <a:cubicBezTo>
                      <a:pt x="334" y="419"/>
                      <a:pt x="334" y="419"/>
                      <a:pt x="334" y="419"/>
                    </a:cubicBezTo>
                    <a:cubicBezTo>
                      <a:pt x="333" y="419"/>
                      <a:pt x="333" y="419"/>
                      <a:pt x="333" y="419"/>
                    </a:cubicBezTo>
                    <a:cubicBezTo>
                      <a:pt x="333" y="420"/>
                      <a:pt x="333" y="420"/>
                      <a:pt x="333" y="420"/>
                    </a:cubicBezTo>
                    <a:cubicBezTo>
                      <a:pt x="333" y="420"/>
                      <a:pt x="332" y="420"/>
                      <a:pt x="332" y="420"/>
                    </a:cubicBezTo>
                    <a:cubicBezTo>
                      <a:pt x="333" y="420"/>
                      <a:pt x="333" y="420"/>
                      <a:pt x="334" y="420"/>
                    </a:cubicBezTo>
                    <a:cubicBezTo>
                      <a:pt x="334" y="420"/>
                      <a:pt x="334" y="420"/>
                      <a:pt x="334" y="420"/>
                    </a:cubicBezTo>
                    <a:cubicBezTo>
                      <a:pt x="334" y="420"/>
                      <a:pt x="334" y="420"/>
                      <a:pt x="335" y="420"/>
                    </a:cubicBezTo>
                    <a:cubicBezTo>
                      <a:pt x="335" y="420"/>
                      <a:pt x="335" y="420"/>
                      <a:pt x="335" y="420"/>
                    </a:cubicBezTo>
                    <a:cubicBezTo>
                      <a:pt x="335" y="420"/>
                      <a:pt x="336" y="420"/>
                      <a:pt x="336" y="420"/>
                    </a:cubicBezTo>
                    <a:cubicBezTo>
                      <a:pt x="336" y="421"/>
                      <a:pt x="337" y="420"/>
                      <a:pt x="337" y="420"/>
                    </a:cubicBezTo>
                    <a:cubicBezTo>
                      <a:pt x="338" y="420"/>
                      <a:pt x="338" y="420"/>
                      <a:pt x="339" y="421"/>
                    </a:cubicBezTo>
                    <a:cubicBezTo>
                      <a:pt x="339" y="421"/>
                      <a:pt x="339" y="421"/>
                      <a:pt x="339" y="421"/>
                    </a:cubicBezTo>
                    <a:cubicBezTo>
                      <a:pt x="339" y="421"/>
                      <a:pt x="339" y="422"/>
                      <a:pt x="339" y="422"/>
                    </a:cubicBezTo>
                    <a:cubicBezTo>
                      <a:pt x="338" y="422"/>
                      <a:pt x="338" y="422"/>
                      <a:pt x="338" y="422"/>
                    </a:cubicBezTo>
                    <a:cubicBezTo>
                      <a:pt x="338" y="422"/>
                      <a:pt x="338" y="422"/>
                      <a:pt x="338" y="422"/>
                    </a:cubicBezTo>
                    <a:cubicBezTo>
                      <a:pt x="338" y="423"/>
                      <a:pt x="337" y="423"/>
                      <a:pt x="337" y="423"/>
                    </a:cubicBezTo>
                    <a:cubicBezTo>
                      <a:pt x="337" y="423"/>
                      <a:pt x="336" y="424"/>
                      <a:pt x="336" y="424"/>
                    </a:cubicBezTo>
                    <a:cubicBezTo>
                      <a:pt x="337" y="424"/>
                      <a:pt x="337" y="424"/>
                      <a:pt x="337" y="423"/>
                    </a:cubicBezTo>
                    <a:cubicBezTo>
                      <a:pt x="337" y="423"/>
                      <a:pt x="338" y="423"/>
                      <a:pt x="338" y="423"/>
                    </a:cubicBezTo>
                    <a:cubicBezTo>
                      <a:pt x="338" y="423"/>
                      <a:pt x="338" y="424"/>
                      <a:pt x="338" y="424"/>
                    </a:cubicBezTo>
                    <a:cubicBezTo>
                      <a:pt x="338" y="424"/>
                      <a:pt x="338" y="424"/>
                      <a:pt x="338" y="424"/>
                    </a:cubicBezTo>
                    <a:cubicBezTo>
                      <a:pt x="339" y="424"/>
                      <a:pt x="339" y="425"/>
                      <a:pt x="339" y="425"/>
                    </a:cubicBezTo>
                    <a:cubicBezTo>
                      <a:pt x="339" y="425"/>
                      <a:pt x="339" y="425"/>
                      <a:pt x="339" y="426"/>
                    </a:cubicBezTo>
                    <a:cubicBezTo>
                      <a:pt x="339" y="426"/>
                      <a:pt x="338" y="426"/>
                      <a:pt x="338" y="426"/>
                    </a:cubicBezTo>
                    <a:cubicBezTo>
                      <a:pt x="338" y="426"/>
                      <a:pt x="338" y="426"/>
                      <a:pt x="338" y="425"/>
                    </a:cubicBezTo>
                    <a:cubicBezTo>
                      <a:pt x="338" y="425"/>
                      <a:pt x="338" y="425"/>
                      <a:pt x="337" y="425"/>
                    </a:cubicBezTo>
                    <a:cubicBezTo>
                      <a:pt x="337" y="425"/>
                      <a:pt x="337" y="425"/>
                      <a:pt x="337" y="425"/>
                    </a:cubicBezTo>
                    <a:cubicBezTo>
                      <a:pt x="337" y="425"/>
                      <a:pt x="337" y="425"/>
                      <a:pt x="337" y="425"/>
                    </a:cubicBezTo>
                    <a:cubicBezTo>
                      <a:pt x="337" y="424"/>
                      <a:pt x="337" y="425"/>
                      <a:pt x="336" y="425"/>
                    </a:cubicBezTo>
                    <a:cubicBezTo>
                      <a:pt x="336" y="425"/>
                      <a:pt x="337" y="425"/>
                      <a:pt x="336" y="425"/>
                    </a:cubicBezTo>
                    <a:cubicBezTo>
                      <a:pt x="336" y="425"/>
                      <a:pt x="336" y="425"/>
                      <a:pt x="336" y="425"/>
                    </a:cubicBezTo>
                    <a:cubicBezTo>
                      <a:pt x="336" y="425"/>
                      <a:pt x="336" y="425"/>
                      <a:pt x="336" y="425"/>
                    </a:cubicBezTo>
                    <a:cubicBezTo>
                      <a:pt x="335" y="425"/>
                      <a:pt x="335" y="425"/>
                      <a:pt x="335" y="425"/>
                    </a:cubicBezTo>
                    <a:cubicBezTo>
                      <a:pt x="335" y="424"/>
                      <a:pt x="336" y="424"/>
                      <a:pt x="336" y="424"/>
                    </a:cubicBezTo>
                    <a:cubicBezTo>
                      <a:pt x="335" y="424"/>
                      <a:pt x="335" y="424"/>
                      <a:pt x="335" y="424"/>
                    </a:cubicBezTo>
                    <a:cubicBezTo>
                      <a:pt x="335" y="424"/>
                      <a:pt x="334" y="424"/>
                      <a:pt x="334" y="425"/>
                    </a:cubicBezTo>
                    <a:cubicBezTo>
                      <a:pt x="334" y="425"/>
                      <a:pt x="334" y="425"/>
                      <a:pt x="334" y="425"/>
                    </a:cubicBezTo>
                    <a:cubicBezTo>
                      <a:pt x="334" y="425"/>
                      <a:pt x="334" y="425"/>
                      <a:pt x="334" y="425"/>
                    </a:cubicBezTo>
                    <a:cubicBezTo>
                      <a:pt x="335" y="426"/>
                      <a:pt x="335" y="426"/>
                      <a:pt x="336" y="427"/>
                    </a:cubicBezTo>
                    <a:cubicBezTo>
                      <a:pt x="336" y="428"/>
                      <a:pt x="337" y="428"/>
                      <a:pt x="337" y="428"/>
                    </a:cubicBezTo>
                    <a:cubicBezTo>
                      <a:pt x="337" y="429"/>
                      <a:pt x="337" y="429"/>
                      <a:pt x="337" y="429"/>
                    </a:cubicBezTo>
                    <a:cubicBezTo>
                      <a:pt x="338" y="429"/>
                      <a:pt x="338" y="429"/>
                      <a:pt x="337" y="429"/>
                    </a:cubicBezTo>
                    <a:cubicBezTo>
                      <a:pt x="337" y="429"/>
                      <a:pt x="337" y="430"/>
                      <a:pt x="337" y="430"/>
                    </a:cubicBezTo>
                    <a:cubicBezTo>
                      <a:pt x="337" y="430"/>
                      <a:pt x="337" y="430"/>
                      <a:pt x="337" y="430"/>
                    </a:cubicBezTo>
                    <a:cubicBezTo>
                      <a:pt x="338" y="430"/>
                      <a:pt x="338" y="431"/>
                      <a:pt x="338" y="431"/>
                    </a:cubicBezTo>
                    <a:cubicBezTo>
                      <a:pt x="338" y="431"/>
                      <a:pt x="338" y="431"/>
                      <a:pt x="338" y="431"/>
                    </a:cubicBezTo>
                    <a:cubicBezTo>
                      <a:pt x="338" y="431"/>
                      <a:pt x="338" y="431"/>
                      <a:pt x="338" y="431"/>
                    </a:cubicBezTo>
                    <a:cubicBezTo>
                      <a:pt x="338" y="432"/>
                      <a:pt x="338" y="432"/>
                      <a:pt x="338" y="432"/>
                    </a:cubicBezTo>
                    <a:cubicBezTo>
                      <a:pt x="338" y="432"/>
                      <a:pt x="339" y="432"/>
                      <a:pt x="339" y="432"/>
                    </a:cubicBezTo>
                    <a:cubicBezTo>
                      <a:pt x="339" y="432"/>
                      <a:pt x="339" y="433"/>
                      <a:pt x="339" y="433"/>
                    </a:cubicBezTo>
                    <a:cubicBezTo>
                      <a:pt x="339" y="433"/>
                      <a:pt x="339" y="433"/>
                      <a:pt x="339" y="433"/>
                    </a:cubicBezTo>
                    <a:cubicBezTo>
                      <a:pt x="339" y="433"/>
                      <a:pt x="339" y="433"/>
                      <a:pt x="339" y="433"/>
                    </a:cubicBezTo>
                    <a:cubicBezTo>
                      <a:pt x="339" y="433"/>
                      <a:pt x="339" y="433"/>
                      <a:pt x="338" y="433"/>
                    </a:cubicBezTo>
                    <a:cubicBezTo>
                      <a:pt x="338" y="433"/>
                      <a:pt x="338" y="433"/>
                      <a:pt x="338" y="433"/>
                    </a:cubicBezTo>
                    <a:cubicBezTo>
                      <a:pt x="338" y="433"/>
                      <a:pt x="338" y="433"/>
                      <a:pt x="338" y="433"/>
                    </a:cubicBezTo>
                    <a:cubicBezTo>
                      <a:pt x="338" y="434"/>
                      <a:pt x="338" y="434"/>
                      <a:pt x="338" y="434"/>
                    </a:cubicBezTo>
                    <a:cubicBezTo>
                      <a:pt x="338" y="434"/>
                      <a:pt x="338" y="434"/>
                      <a:pt x="339" y="434"/>
                    </a:cubicBezTo>
                    <a:cubicBezTo>
                      <a:pt x="339" y="434"/>
                      <a:pt x="339" y="434"/>
                      <a:pt x="339" y="434"/>
                    </a:cubicBezTo>
                    <a:cubicBezTo>
                      <a:pt x="339" y="434"/>
                      <a:pt x="339" y="435"/>
                      <a:pt x="339" y="435"/>
                    </a:cubicBezTo>
                    <a:cubicBezTo>
                      <a:pt x="338" y="435"/>
                      <a:pt x="338" y="435"/>
                      <a:pt x="338" y="435"/>
                    </a:cubicBezTo>
                    <a:cubicBezTo>
                      <a:pt x="338" y="436"/>
                      <a:pt x="338" y="436"/>
                      <a:pt x="338" y="436"/>
                    </a:cubicBezTo>
                    <a:cubicBezTo>
                      <a:pt x="338" y="436"/>
                      <a:pt x="339" y="436"/>
                      <a:pt x="339" y="436"/>
                    </a:cubicBezTo>
                    <a:cubicBezTo>
                      <a:pt x="339" y="436"/>
                      <a:pt x="339" y="436"/>
                      <a:pt x="339" y="437"/>
                    </a:cubicBezTo>
                    <a:cubicBezTo>
                      <a:pt x="338" y="437"/>
                      <a:pt x="338" y="437"/>
                      <a:pt x="338" y="437"/>
                    </a:cubicBezTo>
                    <a:cubicBezTo>
                      <a:pt x="338" y="437"/>
                      <a:pt x="338" y="437"/>
                      <a:pt x="338" y="437"/>
                    </a:cubicBezTo>
                    <a:cubicBezTo>
                      <a:pt x="338" y="437"/>
                      <a:pt x="338" y="437"/>
                      <a:pt x="338" y="437"/>
                    </a:cubicBezTo>
                    <a:cubicBezTo>
                      <a:pt x="338" y="438"/>
                      <a:pt x="339" y="438"/>
                      <a:pt x="339" y="438"/>
                    </a:cubicBezTo>
                    <a:cubicBezTo>
                      <a:pt x="339" y="438"/>
                      <a:pt x="339" y="438"/>
                      <a:pt x="339" y="438"/>
                    </a:cubicBezTo>
                    <a:cubicBezTo>
                      <a:pt x="339" y="438"/>
                      <a:pt x="339" y="438"/>
                      <a:pt x="339" y="438"/>
                    </a:cubicBezTo>
                    <a:cubicBezTo>
                      <a:pt x="339" y="439"/>
                      <a:pt x="339" y="439"/>
                      <a:pt x="339" y="439"/>
                    </a:cubicBezTo>
                    <a:cubicBezTo>
                      <a:pt x="339" y="439"/>
                      <a:pt x="339" y="440"/>
                      <a:pt x="338" y="440"/>
                    </a:cubicBezTo>
                    <a:cubicBezTo>
                      <a:pt x="338" y="440"/>
                      <a:pt x="338" y="440"/>
                      <a:pt x="338" y="440"/>
                    </a:cubicBezTo>
                    <a:cubicBezTo>
                      <a:pt x="338" y="440"/>
                      <a:pt x="338" y="441"/>
                      <a:pt x="338" y="441"/>
                    </a:cubicBezTo>
                    <a:cubicBezTo>
                      <a:pt x="338" y="441"/>
                      <a:pt x="339" y="441"/>
                      <a:pt x="339" y="441"/>
                    </a:cubicBezTo>
                    <a:cubicBezTo>
                      <a:pt x="339" y="441"/>
                      <a:pt x="339" y="441"/>
                      <a:pt x="339" y="441"/>
                    </a:cubicBezTo>
                    <a:cubicBezTo>
                      <a:pt x="339" y="442"/>
                      <a:pt x="339" y="442"/>
                      <a:pt x="340" y="442"/>
                    </a:cubicBezTo>
                    <a:cubicBezTo>
                      <a:pt x="340" y="442"/>
                      <a:pt x="340" y="442"/>
                      <a:pt x="339" y="442"/>
                    </a:cubicBezTo>
                    <a:cubicBezTo>
                      <a:pt x="339" y="442"/>
                      <a:pt x="339" y="442"/>
                      <a:pt x="339" y="442"/>
                    </a:cubicBezTo>
                    <a:cubicBezTo>
                      <a:pt x="339" y="442"/>
                      <a:pt x="340" y="442"/>
                      <a:pt x="340" y="443"/>
                    </a:cubicBezTo>
                    <a:cubicBezTo>
                      <a:pt x="340" y="443"/>
                      <a:pt x="340" y="443"/>
                      <a:pt x="340" y="443"/>
                    </a:cubicBezTo>
                    <a:cubicBezTo>
                      <a:pt x="340" y="443"/>
                      <a:pt x="340" y="444"/>
                      <a:pt x="340" y="444"/>
                    </a:cubicBezTo>
                    <a:cubicBezTo>
                      <a:pt x="340" y="444"/>
                      <a:pt x="340" y="444"/>
                      <a:pt x="340" y="444"/>
                    </a:cubicBezTo>
                    <a:cubicBezTo>
                      <a:pt x="341" y="444"/>
                      <a:pt x="341" y="444"/>
                      <a:pt x="341" y="444"/>
                    </a:cubicBezTo>
                    <a:cubicBezTo>
                      <a:pt x="341" y="444"/>
                      <a:pt x="341" y="444"/>
                      <a:pt x="341" y="443"/>
                    </a:cubicBezTo>
                    <a:cubicBezTo>
                      <a:pt x="341" y="443"/>
                      <a:pt x="341" y="443"/>
                      <a:pt x="341" y="443"/>
                    </a:cubicBezTo>
                    <a:cubicBezTo>
                      <a:pt x="342" y="443"/>
                      <a:pt x="342" y="443"/>
                      <a:pt x="342" y="443"/>
                    </a:cubicBezTo>
                    <a:cubicBezTo>
                      <a:pt x="342" y="443"/>
                      <a:pt x="342" y="443"/>
                      <a:pt x="342" y="442"/>
                    </a:cubicBezTo>
                    <a:cubicBezTo>
                      <a:pt x="342" y="442"/>
                      <a:pt x="342" y="442"/>
                      <a:pt x="342" y="442"/>
                    </a:cubicBezTo>
                    <a:cubicBezTo>
                      <a:pt x="341" y="442"/>
                      <a:pt x="341" y="442"/>
                      <a:pt x="342" y="442"/>
                    </a:cubicBezTo>
                    <a:cubicBezTo>
                      <a:pt x="342" y="442"/>
                      <a:pt x="342" y="442"/>
                      <a:pt x="342" y="442"/>
                    </a:cubicBezTo>
                    <a:cubicBezTo>
                      <a:pt x="342" y="441"/>
                      <a:pt x="342" y="441"/>
                      <a:pt x="342" y="441"/>
                    </a:cubicBezTo>
                    <a:cubicBezTo>
                      <a:pt x="342" y="441"/>
                      <a:pt x="342" y="440"/>
                      <a:pt x="342" y="440"/>
                    </a:cubicBezTo>
                    <a:cubicBezTo>
                      <a:pt x="342" y="440"/>
                      <a:pt x="343" y="440"/>
                      <a:pt x="343" y="440"/>
                    </a:cubicBezTo>
                    <a:cubicBezTo>
                      <a:pt x="343" y="440"/>
                      <a:pt x="343" y="440"/>
                      <a:pt x="343" y="439"/>
                    </a:cubicBezTo>
                    <a:cubicBezTo>
                      <a:pt x="343" y="439"/>
                      <a:pt x="343" y="439"/>
                      <a:pt x="342" y="439"/>
                    </a:cubicBezTo>
                    <a:cubicBezTo>
                      <a:pt x="342" y="438"/>
                      <a:pt x="342" y="438"/>
                      <a:pt x="342" y="438"/>
                    </a:cubicBezTo>
                    <a:cubicBezTo>
                      <a:pt x="342" y="437"/>
                      <a:pt x="343" y="437"/>
                      <a:pt x="343" y="436"/>
                    </a:cubicBezTo>
                    <a:cubicBezTo>
                      <a:pt x="343" y="436"/>
                      <a:pt x="343" y="436"/>
                      <a:pt x="343" y="436"/>
                    </a:cubicBezTo>
                    <a:cubicBezTo>
                      <a:pt x="344" y="436"/>
                      <a:pt x="344" y="435"/>
                      <a:pt x="344" y="435"/>
                    </a:cubicBezTo>
                    <a:cubicBezTo>
                      <a:pt x="344" y="434"/>
                      <a:pt x="344" y="434"/>
                      <a:pt x="344" y="433"/>
                    </a:cubicBezTo>
                    <a:cubicBezTo>
                      <a:pt x="344" y="433"/>
                      <a:pt x="344" y="432"/>
                      <a:pt x="344" y="432"/>
                    </a:cubicBezTo>
                    <a:cubicBezTo>
                      <a:pt x="344" y="431"/>
                      <a:pt x="344" y="430"/>
                      <a:pt x="345" y="429"/>
                    </a:cubicBezTo>
                    <a:cubicBezTo>
                      <a:pt x="345" y="429"/>
                      <a:pt x="345" y="428"/>
                      <a:pt x="346" y="428"/>
                    </a:cubicBezTo>
                    <a:cubicBezTo>
                      <a:pt x="346" y="427"/>
                      <a:pt x="346" y="426"/>
                      <a:pt x="347" y="425"/>
                    </a:cubicBezTo>
                    <a:cubicBezTo>
                      <a:pt x="347" y="425"/>
                      <a:pt x="348" y="425"/>
                      <a:pt x="348" y="425"/>
                    </a:cubicBezTo>
                    <a:cubicBezTo>
                      <a:pt x="348" y="425"/>
                      <a:pt x="348" y="425"/>
                      <a:pt x="348" y="425"/>
                    </a:cubicBezTo>
                    <a:cubicBezTo>
                      <a:pt x="349" y="425"/>
                      <a:pt x="349" y="426"/>
                      <a:pt x="349" y="427"/>
                    </a:cubicBezTo>
                    <a:cubicBezTo>
                      <a:pt x="349" y="427"/>
                      <a:pt x="349" y="427"/>
                      <a:pt x="349" y="427"/>
                    </a:cubicBezTo>
                    <a:cubicBezTo>
                      <a:pt x="350" y="428"/>
                      <a:pt x="350" y="428"/>
                      <a:pt x="350" y="429"/>
                    </a:cubicBezTo>
                    <a:cubicBezTo>
                      <a:pt x="352" y="430"/>
                      <a:pt x="354" y="432"/>
                      <a:pt x="355" y="434"/>
                    </a:cubicBezTo>
                    <a:cubicBezTo>
                      <a:pt x="356" y="435"/>
                      <a:pt x="356" y="437"/>
                      <a:pt x="356" y="438"/>
                    </a:cubicBezTo>
                    <a:cubicBezTo>
                      <a:pt x="356" y="439"/>
                      <a:pt x="356" y="439"/>
                      <a:pt x="356" y="440"/>
                    </a:cubicBezTo>
                    <a:cubicBezTo>
                      <a:pt x="356" y="440"/>
                      <a:pt x="357" y="441"/>
                      <a:pt x="357" y="441"/>
                    </a:cubicBezTo>
                    <a:cubicBezTo>
                      <a:pt x="357" y="442"/>
                      <a:pt x="357" y="443"/>
                      <a:pt x="356" y="444"/>
                    </a:cubicBezTo>
                    <a:cubicBezTo>
                      <a:pt x="356" y="444"/>
                      <a:pt x="356" y="445"/>
                      <a:pt x="356" y="445"/>
                    </a:cubicBezTo>
                    <a:cubicBezTo>
                      <a:pt x="356" y="444"/>
                      <a:pt x="355" y="444"/>
                      <a:pt x="355" y="444"/>
                    </a:cubicBezTo>
                    <a:cubicBezTo>
                      <a:pt x="355" y="444"/>
                      <a:pt x="355" y="444"/>
                      <a:pt x="354" y="444"/>
                    </a:cubicBezTo>
                    <a:cubicBezTo>
                      <a:pt x="354" y="444"/>
                      <a:pt x="354" y="444"/>
                      <a:pt x="354" y="444"/>
                    </a:cubicBezTo>
                    <a:cubicBezTo>
                      <a:pt x="354" y="444"/>
                      <a:pt x="354" y="444"/>
                      <a:pt x="354" y="444"/>
                    </a:cubicBezTo>
                    <a:cubicBezTo>
                      <a:pt x="354" y="443"/>
                      <a:pt x="354" y="442"/>
                      <a:pt x="354" y="442"/>
                    </a:cubicBezTo>
                    <a:cubicBezTo>
                      <a:pt x="354" y="442"/>
                      <a:pt x="353" y="443"/>
                      <a:pt x="353" y="444"/>
                    </a:cubicBezTo>
                    <a:cubicBezTo>
                      <a:pt x="353" y="444"/>
                      <a:pt x="353" y="444"/>
                      <a:pt x="353" y="444"/>
                    </a:cubicBezTo>
                    <a:cubicBezTo>
                      <a:pt x="353" y="444"/>
                      <a:pt x="353" y="444"/>
                      <a:pt x="353" y="444"/>
                    </a:cubicBezTo>
                    <a:cubicBezTo>
                      <a:pt x="353" y="444"/>
                      <a:pt x="353" y="445"/>
                      <a:pt x="353" y="445"/>
                    </a:cubicBezTo>
                    <a:cubicBezTo>
                      <a:pt x="353" y="445"/>
                      <a:pt x="353" y="445"/>
                      <a:pt x="354" y="445"/>
                    </a:cubicBezTo>
                    <a:cubicBezTo>
                      <a:pt x="354" y="446"/>
                      <a:pt x="354" y="446"/>
                      <a:pt x="354" y="446"/>
                    </a:cubicBezTo>
                    <a:cubicBezTo>
                      <a:pt x="353" y="446"/>
                      <a:pt x="353" y="447"/>
                      <a:pt x="353" y="447"/>
                    </a:cubicBezTo>
                    <a:cubicBezTo>
                      <a:pt x="353" y="447"/>
                      <a:pt x="353" y="447"/>
                      <a:pt x="353" y="447"/>
                    </a:cubicBezTo>
                    <a:cubicBezTo>
                      <a:pt x="352" y="448"/>
                      <a:pt x="353" y="449"/>
                      <a:pt x="353" y="449"/>
                    </a:cubicBezTo>
                    <a:cubicBezTo>
                      <a:pt x="353" y="449"/>
                      <a:pt x="353" y="450"/>
                      <a:pt x="353" y="450"/>
                    </a:cubicBezTo>
                    <a:cubicBezTo>
                      <a:pt x="353" y="450"/>
                      <a:pt x="353" y="451"/>
                      <a:pt x="353" y="451"/>
                    </a:cubicBezTo>
                    <a:cubicBezTo>
                      <a:pt x="354" y="452"/>
                      <a:pt x="354" y="452"/>
                      <a:pt x="354" y="453"/>
                    </a:cubicBezTo>
                    <a:cubicBezTo>
                      <a:pt x="354" y="453"/>
                      <a:pt x="354" y="453"/>
                      <a:pt x="354" y="454"/>
                    </a:cubicBezTo>
                    <a:cubicBezTo>
                      <a:pt x="355" y="454"/>
                      <a:pt x="355" y="454"/>
                      <a:pt x="355" y="454"/>
                    </a:cubicBezTo>
                    <a:cubicBezTo>
                      <a:pt x="355" y="455"/>
                      <a:pt x="355" y="455"/>
                      <a:pt x="355" y="455"/>
                    </a:cubicBezTo>
                    <a:cubicBezTo>
                      <a:pt x="356" y="455"/>
                      <a:pt x="356" y="456"/>
                      <a:pt x="356" y="456"/>
                    </a:cubicBezTo>
                    <a:cubicBezTo>
                      <a:pt x="357" y="458"/>
                      <a:pt x="358" y="459"/>
                      <a:pt x="359" y="460"/>
                    </a:cubicBezTo>
                    <a:cubicBezTo>
                      <a:pt x="359" y="461"/>
                      <a:pt x="359" y="461"/>
                      <a:pt x="359" y="461"/>
                    </a:cubicBezTo>
                    <a:cubicBezTo>
                      <a:pt x="359" y="461"/>
                      <a:pt x="359" y="461"/>
                      <a:pt x="359" y="461"/>
                    </a:cubicBezTo>
                    <a:cubicBezTo>
                      <a:pt x="359" y="461"/>
                      <a:pt x="359" y="461"/>
                      <a:pt x="360" y="462"/>
                    </a:cubicBezTo>
                    <a:cubicBezTo>
                      <a:pt x="360" y="462"/>
                      <a:pt x="360" y="462"/>
                      <a:pt x="360" y="462"/>
                    </a:cubicBezTo>
                    <a:cubicBezTo>
                      <a:pt x="360" y="463"/>
                      <a:pt x="360" y="463"/>
                      <a:pt x="360" y="464"/>
                    </a:cubicBezTo>
                    <a:cubicBezTo>
                      <a:pt x="361" y="464"/>
                      <a:pt x="360" y="463"/>
                      <a:pt x="361" y="462"/>
                    </a:cubicBezTo>
                    <a:cubicBezTo>
                      <a:pt x="361" y="462"/>
                      <a:pt x="361" y="462"/>
                      <a:pt x="361" y="462"/>
                    </a:cubicBezTo>
                    <a:cubicBezTo>
                      <a:pt x="362" y="462"/>
                      <a:pt x="362" y="462"/>
                      <a:pt x="362" y="462"/>
                    </a:cubicBezTo>
                    <a:cubicBezTo>
                      <a:pt x="362" y="462"/>
                      <a:pt x="362" y="462"/>
                      <a:pt x="362" y="462"/>
                    </a:cubicBezTo>
                    <a:cubicBezTo>
                      <a:pt x="362" y="461"/>
                      <a:pt x="362" y="461"/>
                      <a:pt x="362" y="461"/>
                    </a:cubicBezTo>
                    <a:cubicBezTo>
                      <a:pt x="362" y="461"/>
                      <a:pt x="362" y="461"/>
                      <a:pt x="362" y="460"/>
                    </a:cubicBezTo>
                    <a:cubicBezTo>
                      <a:pt x="361" y="460"/>
                      <a:pt x="361" y="460"/>
                      <a:pt x="361" y="460"/>
                    </a:cubicBezTo>
                    <a:cubicBezTo>
                      <a:pt x="362" y="460"/>
                      <a:pt x="362" y="460"/>
                      <a:pt x="362" y="460"/>
                    </a:cubicBezTo>
                    <a:cubicBezTo>
                      <a:pt x="362" y="460"/>
                      <a:pt x="363" y="460"/>
                      <a:pt x="363" y="459"/>
                    </a:cubicBezTo>
                    <a:cubicBezTo>
                      <a:pt x="363" y="459"/>
                      <a:pt x="363" y="459"/>
                      <a:pt x="363" y="459"/>
                    </a:cubicBezTo>
                    <a:cubicBezTo>
                      <a:pt x="364" y="459"/>
                      <a:pt x="364" y="459"/>
                      <a:pt x="364" y="459"/>
                    </a:cubicBezTo>
                    <a:cubicBezTo>
                      <a:pt x="364" y="459"/>
                      <a:pt x="364" y="459"/>
                      <a:pt x="365" y="459"/>
                    </a:cubicBezTo>
                    <a:cubicBezTo>
                      <a:pt x="365" y="459"/>
                      <a:pt x="365" y="460"/>
                      <a:pt x="365" y="460"/>
                    </a:cubicBezTo>
                    <a:cubicBezTo>
                      <a:pt x="365" y="460"/>
                      <a:pt x="365" y="459"/>
                      <a:pt x="365" y="459"/>
                    </a:cubicBezTo>
                    <a:cubicBezTo>
                      <a:pt x="365" y="458"/>
                      <a:pt x="366" y="458"/>
                      <a:pt x="366" y="458"/>
                    </a:cubicBezTo>
                    <a:cubicBezTo>
                      <a:pt x="366" y="457"/>
                      <a:pt x="366" y="457"/>
                      <a:pt x="366" y="456"/>
                    </a:cubicBezTo>
                    <a:cubicBezTo>
                      <a:pt x="366" y="456"/>
                      <a:pt x="366" y="455"/>
                      <a:pt x="366" y="455"/>
                    </a:cubicBezTo>
                    <a:cubicBezTo>
                      <a:pt x="366" y="455"/>
                      <a:pt x="365" y="454"/>
                      <a:pt x="365" y="454"/>
                    </a:cubicBezTo>
                    <a:cubicBezTo>
                      <a:pt x="365" y="454"/>
                      <a:pt x="365" y="453"/>
                      <a:pt x="366" y="453"/>
                    </a:cubicBezTo>
                    <a:cubicBezTo>
                      <a:pt x="366" y="453"/>
                      <a:pt x="366" y="452"/>
                      <a:pt x="367" y="451"/>
                    </a:cubicBezTo>
                    <a:cubicBezTo>
                      <a:pt x="367" y="451"/>
                      <a:pt x="367" y="450"/>
                      <a:pt x="367" y="450"/>
                    </a:cubicBezTo>
                    <a:cubicBezTo>
                      <a:pt x="367" y="450"/>
                      <a:pt x="368" y="450"/>
                      <a:pt x="368" y="449"/>
                    </a:cubicBezTo>
                    <a:cubicBezTo>
                      <a:pt x="369" y="449"/>
                      <a:pt x="370" y="448"/>
                      <a:pt x="370" y="447"/>
                    </a:cubicBezTo>
                    <a:cubicBezTo>
                      <a:pt x="370" y="447"/>
                      <a:pt x="370" y="447"/>
                      <a:pt x="370" y="447"/>
                    </a:cubicBezTo>
                    <a:cubicBezTo>
                      <a:pt x="371" y="447"/>
                      <a:pt x="370" y="446"/>
                      <a:pt x="370" y="446"/>
                    </a:cubicBezTo>
                    <a:cubicBezTo>
                      <a:pt x="370" y="446"/>
                      <a:pt x="369" y="447"/>
                      <a:pt x="369" y="447"/>
                    </a:cubicBezTo>
                    <a:cubicBezTo>
                      <a:pt x="369" y="447"/>
                      <a:pt x="369" y="446"/>
                      <a:pt x="369" y="446"/>
                    </a:cubicBezTo>
                    <a:cubicBezTo>
                      <a:pt x="369" y="446"/>
                      <a:pt x="369" y="445"/>
                      <a:pt x="370" y="445"/>
                    </a:cubicBezTo>
                    <a:cubicBezTo>
                      <a:pt x="370" y="445"/>
                      <a:pt x="370" y="444"/>
                      <a:pt x="370" y="444"/>
                    </a:cubicBezTo>
                    <a:cubicBezTo>
                      <a:pt x="370" y="444"/>
                      <a:pt x="370" y="444"/>
                      <a:pt x="370" y="444"/>
                    </a:cubicBezTo>
                    <a:cubicBezTo>
                      <a:pt x="370" y="444"/>
                      <a:pt x="370" y="443"/>
                      <a:pt x="370" y="443"/>
                    </a:cubicBezTo>
                    <a:cubicBezTo>
                      <a:pt x="370" y="442"/>
                      <a:pt x="371" y="440"/>
                      <a:pt x="371" y="439"/>
                    </a:cubicBezTo>
                    <a:cubicBezTo>
                      <a:pt x="371" y="438"/>
                      <a:pt x="371" y="437"/>
                      <a:pt x="371" y="436"/>
                    </a:cubicBezTo>
                    <a:cubicBezTo>
                      <a:pt x="371" y="436"/>
                      <a:pt x="371" y="436"/>
                      <a:pt x="371" y="435"/>
                    </a:cubicBezTo>
                    <a:cubicBezTo>
                      <a:pt x="371" y="435"/>
                      <a:pt x="371" y="435"/>
                      <a:pt x="372" y="435"/>
                    </a:cubicBezTo>
                    <a:cubicBezTo>
                      <a:pt x="372" y="435"/>
                      <a:pt x="372" y="435"/>
                      <a:pt x="372" y="435"/>
                    </a:cubicBezTo>
                    <a:cubicBezTo>
                      <a:pt x="373" y="435"/>
                      <a:pt x="373" y="435"/>
                      <a:pt x="373" y="434"/>
                    </a:cubicBezTo>
                    <a:cubicBezTo>
                      <a:pt x="373" y="435"/>
                      <a:pt x="373" y="435"/>
                      <a:pt x="374" y="435"/>
                    </a:cubicBezTo>
                    <a:cubicBezTo>
                      <a:pt x="374" y="435"/>
                      <a:pt x="374" y="435"/>
                      <a:pt x="374" y="435"/>
                    </a:cubicBezTo>
                    <a:cubicBezTo>
                      <a:pt x="374" y="435"/>
                      <a:pt x="374" y="435"/>
                      <a:pt x="374" y="435"/>
                    </a:cubicBezTo>
                    <a:cubicBezTo>
                      <a:pt x="375" y="435"/>
                      <a:pt x="375" y="435"/>
                      <a:pt x="376" y="435"/>
                    </a:cubicBezTo>
                    <a:cubicBezTo>
                      <a:pt x="376" y="435"/>
                      <a:pt x="376" y="435"/>
                      <a:pt x="376" y="435"/>
                    </a:cubicBezTo>
                    <a:cubicBezTo>
                      <a:pt x="377" y="435"/>
                      <a:pt x="377" y="435"/>
                      <a:pt x="377" y="434"/>
                    </a:cubicBezTo>
                    <a:cubicBezTo>
                      <a:pt x="377" y="434"/>
                      <a:pt x="377" y="434"/>
                      <a:pt x="377" y="434"/>
                    </a:cubicBezTo>
                    <a:cubicBezTo>
                      <a:pt x="376" y="434"/>
                      <a:pt x="376" y="434"/>
                      <a:pt x="376" y="434"/>
                    </a:cubicBezTo>
                    <a:cubicBezTo>
                      <a:pt x="376" y="434"/>
                      <a:pt x="376" y="434"/>
                      <a:pt x="376" y="434"/>
                    </a:cubicBezTo>
                    <a:cubicBezTo>
                      <a:pt x="376" y="433"/>
                      <a:pt x="376" y="433"/>
                      <a:pt x="375" y="433"/>
                    </a:cubicBezTo>
                    <a:cubicBezTo>
                      <a:pt x="375" y="434"/>
                      <a:pt x="375" y="434"/>
                      <a:pt x="375" y="433"/>
                    </a:cubicBezTo>
                    <a:cubicBezTo>
                      <a:pt x="374" y="433"/>
                      <a:pt x="375" y="432"/>
                      <a:pt x="375" y="432"/>
                    </a:cubicBezTo>
                    <a:cubicBezTo>
                      <a:pt x="375" y="432"/>
                      <a:pt x="375" y="432"/>
                      <a:pt x="375" y="432"/>
                    </a:cubicBezTo>
                    <a:cubicBezTo>
                      <a:pt x="376" y="432"/>
                      <a:pt x="376" y="432"/>
                      <a:pt x="376" y="432"/>
                    </a:cubicBezTo>
                    <a:cubicBezTo>
                      <a:pt x="375" y="432"/>
                      <a:pt x="375" y="432"/>
                      <a:pt x="375" y="432"/>
                    </a:cubicBezTo>
                    <a:cubicBezTo>
                      <a:pt x="375" y="432"/>
                      <a:pt x="375" y="431"/>
                      <a:pt x="374" y="431"/>
                    </a:cubicBezTo>
                    <a:cubicBezTo>
                      <a:pt x="374" y="431"/>
                      <a:pt x="375" y="431"/>
                      <a:pt x="375" y="431"/>
                    </a:cubicBezTo>
                    <a:cubicBezTo>
                      <a:pt x="375" y="431"/>
                      <a:pt x="376" y="431"/>
                      <a:pt x="376" y="431"/>
                    </a:cubicBezTo>
                    <a:cubicBezTo>
                      <a:pt x="376" y="431"/>
                      <a:pt x="376" y="431"/>
                      <a:pt x="377" y="431"/>
                    </a:cubicBezTo>
                    <a:cubicBezTo>
                      <a:pt x="377" y="431"/>
                      <a:pt x="377" y="431"/>
                      <a:pt x="377" y="431"/>
                    </a:cubicBezTo>
                    <a:cubicBezTo>
                      <a:pt x="377" y="431"/>
                      <a:pt x="376" y="431"/>
                      <a:pt x="376" y="431"/>
                    </a:cubicBezTo>
                    <a:cubicBezTo>
                      <a:pt x="376" y="431"/>
                      <a:pt x="376" y="430"/>
                      <a:pt x="376" y="430"/>
                    </a:cubicBezTo>
                    <a:cubicBezTo>
                      <a:pt x="376" y="430"/>
                      <a:pt x="376" y="430"/>
                      <a:pt x="377" y="430"/>
                    </a:cubicBezTo>
                    <a:cubicBezTo>
                      <a:pt x="377" y="430"/>
                      <a:pt x="377" y="430"/>
                      <a:pt x="377" y="430"/>
                    </a:cubicBezTo>
                    <a:cubicBezTo>
                      <a:pt x="378" y="430"/>
                      <a:pt x="378" y="430"/>
                      <a:pt x="378" y="430"/>
                    </a:cubicBezTo>
                    <a:cubicBezTo>
                      <a:pt x="378" y="430"/>
                      <a:pt x="379" y="430"/>
                      <a:pt x="379" y="429"/>
                    </a:cubicBezTo>
                    <a:cubicBezTo>
                      <a:pt x="379" y="429"/>
                      <a:pt x="378" y="430"/>
                      <a:pt x="378" y="430"/>
                    </a:cubicBezTo>
                    <a:cubicBezTo>
                      <a:pt x="378" y="430"/>
                      <a:pt x="378" y="429"/>
                      <a:pt x="377" y="429"/>
                    </a:cubicBezTo>
                    <a:cubicBezTo>
                      <a:pt x="377" y="429"/>
                      <a:pt x="377" y="429"/>
                      <a:pt x="377" y="429"/>
                    </a:cubicBezTo>
                    <a:cubicBezTo>
                      <a:pt x="376" y="429"/>
                      <a:pt x="376" y="429"/>
                      <a:pt x="376" y="429"/>
                    </a:cubicBezTo>
                    <a:cubicBezTo>
                      <a:pt x="375" y="429"/>
                      <a:pt x="375" y="429"/>
                      <a:pt x="375" y="429"/>
                    </a:cubicBezTo>
                    <a:cubicBezTo>
                      <a:pt x="375" y="429"/>
                      <a:pt x="375" y="428"/>
                      <a:pt x="375" y="428"/>
                    </a:cubicBezTo>
                    <a:cubicBezTo>
                      <a:pt x="375" y="428"/>
                      <a:pt x="376" y="428"/>
                      <a:pt x="375" y="428"/>
                    </a:cubicBezTo>
                    <a:cubicBezTo>
                      <a:pt x="375" y="428"/>
                      <a:pt x="375" y="428"/>
                      <a:pt x="375" y="428"/>
                    </a:cubicBezTo>
                    <a:cubicBezTo>
                      <a:pt x="375" y="428"/>
                      <a:pt x="374" y="428"/>
                      <a:pt x="374" y="427"/>
                    </a:cubicBezTo>
                    <a:cubicBezTo>
                      <a:pt x="374" y="427"/>
                      <a:pt x="374" y="428"/>
                      <a:pt x="373" y="428"/>
                    </a:cubicBezTo>
                    <a:cubicBezTo>
                      <a:pt x="373" y="427"/>
                      <a:pt x="373" y="427"/>
                      <a:pt x="373" y="427"/>
                    </a:cubicBezTo>
                    <a:cubicBezTo>
                      <a:pt x="374" y="427"/>
                      <a:pt x="374" y="427"/>
                      <a:pt x="374" y="426"/>
                    </a:cubicBezTo>
                    <a:cubicBezTo>
                      <a:pt x="373" y="426"/>
                      <a:pt x="373" y="426"/>
                      <a:pt x="373" y="426"/>
                    </a:cubicBezTo>
                    <a:cubicBezTo>
                      <a:pt x="373" y="426"/>
                      <a:pt x="372" y="425"/>
                      <a:pt x="372" y="424"/>
                    </a:cubicBezTo>
                    <a:cubicBezTo>
                      <a:pt x="372" y="424"/>
                      <a:pt x="372" y="423"/>
                      <a:pt x="372" y="423"/>
                    </a:cubicBezTo>
                    <a:cubicBezTo>
                      <a:pt x="372" y="423"/>
                      <a:pt x="372" y="422"/>
                      <a:pt x="372" y="422"/>
                    </a:cubicBezTo>
                    <a:cubicBezTo>
                      <a:pt x="372" y="422"/>
                      <a:pt x="372" y="422"/>
                      <a:pt x="373" y="422"/>
                    </a:cubicBezTo>
                    <a:cubicBezTo>
                      <a:pt x="373" y="422"/>
                      <a:pt x="373" y="422"/>
                      <a:pt x="373" y="422"/>
                    </a:cubicBezTo>
                    <a:cubicBezTo>
                      <a:pt x="373" y="422"/>
                      <a:pt x="373" y="422"/>
                      <a:pt x="373" y="422"/>
                    </a:cubicBezTo>
                    <a:cubicBezTo>
                      <a:pt x="372" y="422"/>
                      <a:pt x="372" y="421"/>
                      <a:pt x="372" y="421"/>
                    </a:cubicBezTo>
                    <a:cubicBezTo>
                      <a:pt x="372" y="421"/>
                      <a:pt x="372" y="420"/>
                      <a:pt x="372" y="420"/>
                    </a:cubicBezTo>
                    <a:cubicBezTo>
                      <a:pt x="372" y="420"/>
                      <a:pt x="373" y="419"/>
                      <a:pt x="373" y="419"/>
                    </a:cubicBezTo>
                    <a:cubicBezTo>
                      <a:pt x="373" y="419"/>
                      <a:pt x="372" y="418"/>
                      <a:pt x="372" y="418"/>
                    </a:cubicBezTo>
                    <a:cubicBezTo>
                      <a:pt x="372" y="417"/>
                      <a:pt x="372" y="417"/>
                      <a:pt x="373" y="417"/>
                    </a:cubicBezTo>
                    <a:cubicBezTo>
                      <a:pt x="373" y="417"/>
                      <a:pt x="373" y="416"/>
                      <a:pt x="373" y="416"/>
                    </a:cubicBezTo>
                    <a:cubicBezTo>
                      <a:pt x="373" y="416"/>
                      <a:pt x="372" y="416"/>
                      <a:pt x="372" y="416"/>
                    </a:cubicBezTo>
                    <a:cubicBezTo>
                      <a:pt x="372" y="416"/>
                      <a:pt x="372" y="416"/>
                      <a:pt x="372" y="416"/>
                    </a:cubicBezTo>
                    <a:cubicBezTo>
                      <a:pt x="372" y="415"/>
                      <a:pt x="373" y="415"/>
                      <a:pt x="373" y="416"/>
                    </a:cubicBezTo>
                    <a:cubicBezTo>
                      <a:pt x="373" y="416"/>
                      <a:pt x="373" y="416"/>
                      <a:pt x="373" y="416"/>
                    </a:cubicBezTo>
                    <a:cubicBezTo>
                      <a:pt x="373" y="416"/>
                      <a:pt x="373" y="415"/>
                      <a:pt x="373" y="415"/>
                    </a:cubicBezTo>
                    <a:cubicBezTo>
                      <a:pt x="373" y="415"/>
                      <a:pt x="373" y="415"/>
                      <a:pt x="373" y="415"/>
                    </a:cubicBezTo>
                    <a:cubicBezTo>
                      <a:pt x="373" y="415"/>
                      <a:pt x="373" y="415"/>
                      <a:pt x="373" y="415"/>
                    </a:cubicBezTo>
                    <a:cubicBezTo>
                      <a:pt x="373" y="415"/>
                      <a:pt x="372" y="415"/>
                      <a:pt x="372" y="415"/>
                    </a:cubicBezTo>
                    <a:cubicBezTo>
                      <a:pt x="372" y="415"/>
                      <a:pt x="372" y="414"/>
                      <a:pt x="372" y="414"/>
                    </a:cubicBezTo>
                    <a:cubicBezTo>
                      <a:pt x="372" y="414"/>
                      <a:pt x="372" y="414"/>
                      <a:pt x="372" y="414"/>
                    </a:cubicBezTo>
                    <a:cubicBezTo>
                      <a:pt x="372" y="414"/>
                      <a:pt x="373" y="414"/>
                      <a:pt x="373" y="414"/>
                    </a:cubicBezTo>
                    <a:cubicBezTo>
                      <a:pt x="374" y="414"/>
                      <a:pt x="374" y="415"/>
                      <a:pt x="374" y="415"/>
                    </a:cubicBezTo>
                    <a:cubicBezTo>
                      <a:pt x="374" y="415"/>
                      <a:pt x="375" y="415"/>
                      <a:pt x="375" y="415"/>
                    </a:cubicBezTo>
                    <a:cubicBezTo>
                      <a:pt x="375" y="415"/>
                      <a:pt x="375" y="415"/>
                      <a:pt x="376" y="415"/>
                    </a:cubicBezTo>
                    <a:cubicBezTo>
                      <a:pt x="376" y="415"/>
                      <a:pt x="376" y="415"/>
                      <a:pt x="376" y="415"/>
                    </a:cubicBezTo>
                    <a:cubicBezTo>
                      <a:pt x="376" y="415"/>
                      <a:pt x="376" y="415"/>
                      <a:pt x="377" y="414"/>
                    </a:cubicBezTo>
                    <a:cubicBezTo>
                      <a:pt x="377" y="414"/>
                      <a:pt x="377" y="414"/>
                      <a:pt x="377" y="414"/>
                    </a:cubicBezTo>
                    <a:cubicBezTo>
                      <a:pt x="376" y="414"/>
                      <a:pt x="376" y="414"/>
                      <a:pt x="376" y="414"/>
                    </a:cubicBezTo>
                    <a:cubicBezTo>
                      <a:pt x="376" y="414"/>
                      <a:pt x="376" y="414"/>
                      <a:pt x="377" y="414"/>
                    </a:cubicBezTo>
                    <a:cubicBezTo>
                      <a:pt x="377" y="414"/>
                      <a:pt x="377" y="414"/>
                      <a:pt x="377" y="414"/>
                    </a:cubicBezTo>
                    <a:cubicBezTo>
                      <a:pt x="377" y="414"/>
                      <a:pt x="377" y="414"/>
                      <a:pt x="378" y="414"/>
                    </a:cubicBezTo>
                    <a:cubicBezTo>
                      <a:pt x="378" y="414"/>
                      <a:pt x="379" y="414"/>
                      <a:pt x="380" y="414"/>
                    </a:cubicBezTo>
                    <a:cubicBezTo>
                      <a:pt x="380" y="414"/>
                      <a:pt x="380" y="414"/>
                      <a:pt x="380" y="415"/>
                    </a:cubicBezTo>
                    <a:cubicBezTo>
                      <a:pt x="381" y="415"/>
                      <a:pt x="381" y="415"/>
                      <a:pt x="381" y="415"/>
                    </a:cubicBezTo>
                    <a:cubicBezTo>
                      <a:pt x="381" y="415"/>
                      <a:pt x="381" y="415"/>
                      <a:pt x="381" y="415"/>
                    </a:cubicBezTo>
                    <a:cubicBezTo>
                      <a:pt x="381" y="415"/>
                      <a:pt x="382" y="415"/>
                      <a:pt x="382" y="416"/>
                    </a:cubicBezTo>
                    <a:cubicBezTo>
                      <a:pt x="382" y="416"/>
                      <a:pt x="382" y="416"/>
                      <a:pt x="383" y="416"/>
                    </a:cubicBezTo>
                    <a:cubicBezTo>
                      <a:pt x="383" y="416"/>
                      <a:pt x="383" y="416"/>
                      <a:pt x="383" y="416"/>
                    </a:cubicBezTo>
                    <a:cubicBezTo>
                      <a:pt x="383" y="416"/>
                      <a:pt x="383" y="416"/>
                      <a:pt x="383" y="416"/>
                    </a:cubicBezTo>
                    <a:cubicBezTo>
                      <a:pt x="383" y="416"/>
                      <a:pt x="384" y="417"/>
                      <a:pt x="384" y="417"/>
                    </a:cubicBezTo>
                    <a:cubicBezTo>
                      <a:pt x="384" y="417"/>
                      <a:pt x="385" y="417"/>
                      <a:pt x="385" y="417"/>
                    </a:cubicBezTo>
                    <a:cubicBezTo>
                      <a:pt x="385" y="417"/>
                      <a:pt x="386" y="417"/>
                      <a:pt x="386" y="417"/>
                    </a:cubicBezTo>
                    <a:cubicBezTo>
                      <a:pt x="386" y="417"/>
                      <a:pt x="386" y="417"/>
                      <a:pt x="387" y="417"/>
                    </a:cubicBezTo>
                    <a:cubicBezTo>
                      <a:pt x="387" y="417"/>
                      <a:pt x="387" y="417"/>
                      <a:pt x="387" y="417"/>
                    </a:cubicBezTo>
                    <a:cubicBezTo>
                      <a:pt x="387" y="417"/>
                      <a:pt x="387" y="417"/>
                      <a:pt x="387" y="417"/>
                    </a:cubicBezTo>
                    <a:cubicBezTo>
                      <a:pt x="388" y="417"/>
                      <a:pt x="389" y="417"/>
                      <a:pt x="390" y="417"/>
                    </a:cubicBezTo>
                    <a:cubicBezTo>
                      <a:pt x="390" y="417"/>
                      <a:pt x="390" y="417"/>
                      <a:pt x="391" y="417"/>
                    </a:cubicBezTo>
                    <a:cubicBezTo>
                      <a:pt x="391" y="417"/>
                      <a:pt x="391" y="417"/>
                      <a:pt x="391" y="417"/>
                    </a:cubicBezTo>
                    <a:cubicBezTo>
                      <a:pt x="391" y="417"/>
                      <a:pt x="391" y="417"/>
                      <a:pt x="392" y="417"/>
                    </a:cubicBezTo>
                    <a:cubicBezTo>
                      <a:pt x="392" y="417"/>
                      <a:pt x="392" y="417"/>
                      <a:pt x="392" y="417"/>
                    </a:cubicBezTo>
                    <a:cubicBezTo>
                      <a:pt x="392" y="417"/>
                      <a:pt x="392" y="417"/>
                      <a:pt x="392" y="418"/>
                    </a:cubicBezTo>
                    <a:cubicBezTo>
                      <a:pt x="392" y="418"/>
                      <a:pt x="392" y="418"/>
                      <a:pt x="392" y="418"/>
                    </a:cubicBezTo>
                    <a:cubicBezTo>
                      <a:pt x="392" y="418"/>
                      <a:pt x="392" y="418"/>
                      <a:pt x="392" y="418"/>
                    </a:cubicBezTo>
                    <a:cubicBezTo>
                      <a:pt x="392" y="418"/>
                      <a:pt x="392" y="418"/>
                      <a:pt x="391" y="418"/>
                    </a:cubicBezTo>
                    <a:cubicBezTo>
                      <a:pt x="391" y="418"/>
                      <a:pt x="391" y="418"/>
                      <a:pt x="391" y="418"/>
                    </a:cubicBezTo>
                    <a:cubicBezTo>
                      <a:pt x="391" y="418"/>
                      <a:pt x="391" y="418"/>
                      <a:pt x="391" y="418"/>
                    </a:cubicBezTo>
                    <a:cubicBezTo>
                      <a:pt x="391" y="418"/>
                      <a:pt x="392" y="418"/>
                      <a:pt x="392" y="418"/>
                    </a:cubicBezTo>
                    <a:cubicBezTo>
                      <a:pt x="392" y="419"/>
                      <a:pt x="392" y="419"/>
                      <a:pt x="391" y="419"/>
                    </a:cubicBezTo>
                    <a:cubicBezTo>
                      <a:pt x="391" y="419"/>
                      <a:pt x="391" y="419"/>
                      <a:pt x="391" y="419"/>
                    </a:cubicBezTo>
                    <a:cubicBezTo>
                      <a:pt x="391" y="419"/>
                      <a:pt x="391" y="419"/>
                      <a:pt x="391" y="419"/>
                    </a:cubicBezTo>
                    <a:cubicBezTo>
                      <a:pt x="392" y="419"/>
                      <a:pt x="392" y="420"/>
                      <a:pt x="392" y="420"/>
                    </a:cubicBezTo>
                    <a:cubicBezTo>
                      <a:pt x="393" y="420"/>
                      <a:pt x="393" y="420"/>
                      <a:pt x="394" y="421"/>
                    </a:cubicBezTo>
                    <a:cubicBezTo>
                      <a:pt x="394" y="421"/>
                      <a:pt x="394" y="421"/>
                      <a:pt x="395" y="421"/>
                    </a:cubicBezTo>
                    <a:cubicBezTo>
                      <a:pt x="395" y="421"/>
                      <a:pt x="395" y="421"/>
                      <a:pt x="395" y="421"/>
                    </a:cubicBezTo>
                    <a:cubicBezTo>
                      <a:pt x="396" y="421"/>
                      <a:pt x="396" y="422"/>
                      <a:pt x="396" y="422"/>
                    </a:cubicBezTo>
                    <a:cubicBezTo>
                      <a:pt x="395" y="422"/>
                      <a:pt x="394" y="421"/>
                      <a:pt x="394" y="421"/>
                    </a:cubicBezTo>
                    <a:cubicBezTo>
                      <a:pt x="393" y="422"/>
                      <a:pt x="393" y="422"/>
                      <a:pt x="393" y="422"/>
                    </a:cubicBezTo>
                    <a:cubicBezTo>
                      <a:pt x="393" y="422"/>
                      <a:pt x="393" y="422"/>
                      <a:pt x="393" y="422"/>
                    </a:cubicBezTo>
                    <a:cubicBezTo>
                      <a:pt x="393" y="421"/>
                      <a:pt x="393" y="421"/>
                      <a:pt x="393" y="421"/>
                    </a:cubicBezTo>
                    <a:cubicBezTo>
                      <a:pt x="393" y="421"/>
                      <a:pt x="393" y="421"/>
                      <a:pt x="393" y="421"/>
                    </a:cubicBezTo>
                    <a:cubicBezTo>
                      <a:pt x="392" y="421"/>
                      <a:pt x="392" y="421"/>
                      <a:pt x="391" y="421"/>
                    </a:cubicBezTo>
                    <a:cubicBezTo>
                      <a:pt x="390" y="421"/>
                      <a:pt x="390" y="421"/>
                      <a:pt x="390" y="420"/>
                    </a:cubicBezTo>
                    <a:cubicBezTo>
                      <a:pt x="389" y="420"/>
                      <a:pt x="389" y="420"/>
                      <a:pt x="388" y="420"/>
                    </a:cubicBezTo>
                    <a:cubicBezTo>
                      <a:pt x="388" y="420"/>
                      <a:pt x="388" y="420"/>
                      <a:pt x="388" y="420"/>
                    </a:cubicBezTo>
                    <a:cubicBezTo>
                      <a:pt x="389" y="421"/>
                      <a:pt x="390" y="421"/>
                      <a:pt x="390" y="421"/>
                    </a:cubicBezTo>
                    <a:cubicBezTo>
                      <a:pt x="391" y="421"/>
                      <a:pt x="392" y="421"/>
                      <a:pt x="392" y="422"/>
                    </a:cubicBezTo>
                    <a:cubicBezTo>
                      <a:pt x="393" y="422"/>
                      <a:pt x="393" y="422"/>
                      <a:pt x="393" y="423"/>
                    </a:cubicBezTo>
                    <a:cubicBezTo>
                      <a:pt x="393" y="423"/>
                      <a:pt x="393" y="423"/>
                      <a:pt x="393" y="423"/>
                    </a:cubicBezTo>
                    <a:cubicBezTo>
                      <a:pt x="393" y="423"/>
                      <a:pt x="393" y="423"/>
                      <a:pt x="393" y="423"/>
                    </a:cubicBezTo>
                    <a:cubicBezTo>
                      <a:pt x="392" y="423"/>
                      <a:pt x="392" y="423"/>
                      <a:pt x="392" y="422"/>
                    </a:cubicBezTo>
                    <a:cubicBezTo>
                      <a:pt x="392" y="423"/>
                      <a:pt x="392" y="423"/>
                      <a:pt x="392" y="423"/>
                    </a:cubicBezTo>
                    <a:cubicBezTo>
                      <a:pt x="392" y="423"/>
                      <a:pt x="392" y="424"/>
                      <a:pt x="393" y="424"/>
                    </a:cubicBezTo>
                    <a:cubicBezTo>
                      <a:pt x="393" y="424"/>
                      <a:pt x="393" y="424"/>
                      <a:pt x="393" y="424"/>
                    </a:cubicBezTo>
                    <a:cubicBezTo>
                      <a:pt x="393" y="424"/>
                      <a:pt x="393" y="424"/>
                      <a:pt x="393" y="423"/>
                    </a:cubicBezTo>
                    <a:cubicBezTo>
                      <a:pt x="393" y="423"/>
                      <a:pt x="394" y="423"/>
                      <a:pt x="394" y="424"/>
                    </a:cubicBezTo>
                    <a:cubicBezTo>
                      <a:pt x="394" y="424"/>
                      <a:pt x="394" y="424"/>
                      <a:pt x="394" y="424"/>
                    </a:cubicBezTo>
                    <a:cubicBezTo>
                      <a:pt x="394" y="424"/>
                      <a:pt x="395" y="424"/>
                      <a:pt x="395" y="424"/>
                    </a:cubicBezTo>
                    <a:cubicBezTo>
                      <a:pt x="395" y="424"/>
                      <a:pt x="394" y="424"/>
                      <a:pt x="394" y="424"/>
                    </a:cubicBezTo>
                    <a:cubicBezTo>
                      <a:pt x="394" y="425"/>
                      <a:pt x="394" y="425"/>
                      <a:pt x="394" y="425"/>
                    </a:cubicBezTo>
                    <a:cubicBezTo>
                      <a:pt x="394" y="425"/>
                      <a:pt x="394" y="425"/>
                      <a:pt x="394" y="425"/>
                    </a:cubicBezTo>
                    <a:cubicBezTo>
                      <a:pt x="394" y="425"/>
                      <a:pt x="394" y="426"/>
                      <a:pt x="394" y="426"/>
                    </a:cubicBezTo>
                    <a:cubicBezTo>
                      <a:pt x="394" y="426"/>
                      <a:pt x="394" y="426"/>
                      <a:pt x="395" y="426"/>
                    </a:cubicBezTo>
                    <a:cubicBezTo>
                      <a:pt x="395" y="426"/>
                      <a:pt x="395" y="426"/>
                      <a:pt x="395" y="426"/>
                    </a:cubicBezTo>
                    <a:cubicBezTo>
                      <a:pt x="395" y="426"/>
                      <a:pt x="395" y="425"/>
                      <a:pt x="395" y="425"/>
                    </a:cubicBezTo>
                    <a:cubicBezTo>
                      <a:pt x="395" y="425"/>
                      <a:pt x="395" y="425"/>
                      <a:pt x="395" y="425"/>
                    </a:cubicBezTo>
                    <a:cubicBezTo>
                      <a:pt x="396" y="425"/>
                      <a:pt x="397" y="425"/>
                      <a:pt x="398" y="425"/>
                    </a:cubicBezTo>
                    <a:cubicBezTo>
                      <a:pt x="398" y="425"/>
                      <a:pt x="398" y="426"/>
                      <a:pt x="399" y="426"/>
                    </a:cubicBezTo>
                    <a:cubicBezTo>
                      <a:pt x="399" y="426"/>
                      <a:pt x="399" y="426"/>
                      <a:pt x="399" y="426"/>
                    </a:cubicBezTo>
                    <a:cubicBezTo>
                      <a:pt x="399" y="426"/>
                      <a:pt x="399" y="426"/>
                      <a:pt x="399" y="426"/>
                    </a:cubicBezTo>
                    <a:cubicBezTo>
                      <a:pt x="399" y="426"/>
                      <a:pt x="400" y="426"/>
                      <a:pt x="400" y="426"/>
                    </a:cubicBezTo>
                    <a:cubicBezTo>
                      <a:pt x="400" y="426"/>
                      <a:pt x="400" y="426"/>
                      <a:pt x="400" y="426"/>
                    </a:cubicBezTo>
                    <a:cubicBezTo>
                      <a:pt x="400" y="427"/>
                      <a:pt x="400" y="427"/>
                      <a:pt x="400" y="427"/>
                    </a:cubicBezTo>
                    <a:cubicBezTo>
                      <a:pt x="400" y="428"/>
                      <a:pt x="400" y="428"/>
                      <a:pt x="400" y="428"/>
                    </a:cubicBezTo>
                    <a:cubicBezTo>
                      <a:pt x="400" y="429"/>
                      <a:pt x="400" y="429"/>
                      <a:pt x="399" y="429"/>
                    </a:cubicBezTo>
                    <a:cubicBezTo>
                      <a:pt x="399" y="429"/>
                      <a:pt x="399" y="429"/>
                      <a:pt x="399" y="429"/>
                    </a:cubicBezTo>
                    <a:cubicBezTo>
                      <a:pt x="399" y="430"/>
                      <a:pt x="399" y="430"/>
                      <a:pt x="399" y="430"/>
                    </a:cubicBezTo>
                    <a:cubicBezTo>
                      <a:pt x="399" y="430"/>
                      <a:pt x="399" y="430"/>
                      <a:pt x="398" y="430"/>
                    </a:cubicBezTo>
                    <a:cubicBezTo>
                      <a:pt x="398" y="430"/>
                      <a:pt x="398" y="431"/>
                      <a:pt x="398" y="431"/>
                    </a:cubicBezTo>
                    <a:cubicBezTo>
                      <a:pt x="397" y="431"/>
                      <a:pt x="397" y="431"/>
                      <a:pt x="397" y="432"/>
                    </a:cubicBezTo>
                    <a:cubicBezTo>
                      <a:pt x="397" y="432"/>
                      <a:pt x="397" y="432"/>
                      <a:pt x="397" y="432"/>
                    </a:cubicBezTo>
                    <a:cubicBezTo>
                      <a:pt x="397" y="432"/>
                      <a:pt x="397" y="432"/>
                      <a:pt x="397" y="432"/>
                    </a:cubicBezTo>
                    <a:cubicBezTo>
                      <a:pt x="397" y="432"/>
                      <a:pt x="398" y="432"/>
                      <a:pt x="398" y="432"/>
                    </a:cubicBezTo>
                    <a:cubicBezTo>
                      <a:pt x="398" y="432"/>
                      <a:pt x="398" y="432"/>
                      <a:pt x="398" y="432"/>
                    </a:cubicBezTo>
                    <a:cubicBezTo>
                      <a:pt x="399" y="433"/>
                      <a:pt x="399" y="433"/>
                      <a:pt x="399" y="433"/>
                    </a:cubicBezTo>
                    <a:cubicBezTo>
                      <a:pt x="399" y="433"/>
                      <a:pt x="399" y="433"/>
                      <a:pt x="399" y="433"/>
                    </a:cubicBezTo>
                    <a:cubicBezTo>
                      <a:pt x="399" y="433"/>
                      <a:pt x="399" y="433"/>
                      <a:pt x="399" y="433"/>
                    </a:cubicBezTo>
                    <a:cubicBezTo>
                      <a:pt x="399" y="433"/>
                      <a:pt x="399" y="433"/>
                      <a:pt x="399" y="433"/>
                    </a:cubicBezTo>
                    <a:cubicBezTo>
                      <a:pt x="399" y="433"/>
                      <a:pt x="400" y="433"/>
                      <a:pt x="400" y="433"/>
                    </a:cubicBezTo>
                    <a:cubicBezTo>
                      <a:pt x="400" y="433"/>
                      <a:pt x="400" y="433"/>
                      <a:pt x="400" y="433"/>
                    </a:cubicBezTo>
                    <a:cubicBezTo>
                      <a:pt x="400" y="433"/>
                      <a:pt x="400" y="433"/>
                      <a:pt x="400" y="433"/>
                    </a:cubicBezTo>
                    <a:cubicBezTo>
                      <a:pt x="400" y="433"/>
                      <a:pt x="400" y="433"/>
                      <a:pt x="400" y="433"/>
                    </a:cubicBezTo>
                    <a:cubicBezTo>
                      <a:pt x="400" y="433"/>
                      <a:pt x="400" y="433"/>
                      <a:pt x="400" y="434"/>
                    </a:cubicBezTo>
                    <a:cubicBezTo>
                      <a:pt x="400" y="434"/>
                      <a:pt x="400" y="434"/>
                      <a:pt x="400" y="434"/>
                    </a:cubicBezTo>
                    <a:cubicBezTo>
                      <a:pt x="401" y="434"/>
                      <a:pt x="401" y="434"/>
                      <a:pt x="401" y="434"/>
                    </a:cubicBezTo>
                    <a:cubicBezTo>
                      <a:pt x="401" y="434"/>
                      <a:pt x="401" y="436"/>
                      <a:pt x="400" y="436"/>
                    </a:cubicBezTo>
                    <a:cubicBezTo>
                      <a:pt x="400" y="436"/>
                      <a:pt x="400" y="436"/>
                      <a:pt x="400" y="436"/>
                    </a:cubicBezTo>
                    <a:cubicBezTo>
                      <a:pt x="400" y="436"/>
                      <a:pt x="400" y="436"/>
                      <a:pt x="400" y="436"/>
                    </a:cubicBezTo>
                    <a:cubicBezTo>
                      <a:pt x="400" y="435"/>
                      <a:pt x="400" y="435"/>
                      <a:pt x="399" y="435"/>
                    </a:cubicBezTo>
                    <a:cubicBezTo>
                      <a:pt x="399" y="435"/>
                      <a:pt x="399" y="435"/>
                      <a:pt x="399" y="435"/>
                    </a:cubicBezTo>
                    <a:cubicBezTo>
                      <a:pt x="399" y="435"/>
                      <a:pt x="399" y="436"/>
                      <a:pt x="399" y="436"/>
                    </a:cubicBezTo>
                    <a:cubicBezTo>
                      <a:pt x="399" y="436"/>
                      <a:pt x="399" y="436"/>
                      <a:pt x="399" y="436"/>
                    </a:cubicBezTo>
                    <a:cubicBezTo>
                      <a:pt x="400" y="436"/>
                      <a:pt x="400" y="437"/>
                      <a:pt x="400" y="437"/>
                    </a:cubicBezTo>
                    <a:cubicBezTo>
                      <a:pt x="400" y="437"/>
                      <a:pt x="400" y="437"/>
                      <a:pt x="400" y="438"/>
                    </a:cubicBezTo>
                    <a:cubicBezTo>
                      <a:pt x="399" y="438"/>
                      <a:pt x="399" y="439"/>
                      <a:pt x="398" y="439"/>
                    </a:cubicBezTo>
                    <a:cubicBezTo>
                      <a:pt x="398" y="439"/>
                      <a:pt x="397" y="439"/>
                      <a:pt x="397" y="439"/>
                    </a:cubicBezTo>
                    <a:cubicBezTo>
                      <a:pt x="396" y="439"/>
                      <a:pt x="397" y="440"/>
                      <a:pt x="397" y="440"/>
                    </a:cubicBezTo>
                    <a:cubicBezTo>
                      <a:pt x="396" y="441"/>
                      <a:pt x="396" y="441"/>
                      <a:pt x="396" y="441"/>
                    </a:cubicBezTo>
                    <a:cubicBezTo>
                      <a:pt x="396" y="441"/>
                      <a:pt x="395" y="441"/>
                      <a:pt x="395" y="440"/>
                    </a:cubicBezTo>
                    <a:cubicBezTo>
                      <a:pt x="395" y="440"/>
                      <a:pt x="395" y="440"/>
                      <a:pt x="395" y="440"/>
                    </a:cubicBezTo>
                    <a:cubicBezTo>
                      <a:pt x="395" y="440"/>
                      <a:pt x="395" y="439"/>
                      <a:pt x="395" y="439"/>
                    </a:cubicBezTo>
                    <a:cubicBezTo>
                      <a:pt x="395" y="439"/>
                      <a:pt x="394" y="439"/>
                      <a:pt x="394" y="439"/>
                    </a:cubicBezTo>
                    <a:cubicBezTo>
                      <a:pt x="394" y="439"/>
                      <a:pt x="394" y="440"/>
                      <a:pt x="394" y="440"/>
                    </a:cubicBezTo>
                    <a:cubicBezTo>
                      <a:pt x="394" y="440"/>
                      <a:pt x="394" y="440"/>
                      <a:pt x="394" y="440"/>
                    </a:cubicBezTo>
                    <a:cubicBezTo>
                      <a:pt x="394" y="440"/>
                      <a:pt x="394" y="440"/>
                      <a:pt x="394" y="440"/>
                    </a:cubicBezTo>
                    <a:cubicBezTo>
                      <a:pt x="393" y="440"/>
                      <a:pt x="393" y="440"/>
                      <a:pt x="393" y="440"/>
                    </a:cubicBezTo>
                    <a:cubicBezTo>
                      <a:pt x="393" y="440"/>
                      <a:pt x="392" y="439"/>
                      <a:pt x="392" y="439"/>
                    </a:cubicBezTo>
                    <a:cubicBezTo>
                      <a:pt x="392" y="439"/>
                      <a:pt x="392" y="439"/>
                      <a:pt x="392" y="439"/>
                    </a:cubicBezTo>
                    <a:cubicBezTo>
                      <a:pt x="392" y="439"/>
                      <a:pt x="392" y="440"/>
                      <a:pt x="392" y="440"/>
                    </a:cubicBezTo>
                    <a:cubicBezTo>
                      <a:pt x="392" y="440"/>
                      <a:pt x="392" y="440"/>
                      <a:pt x="392" y="440"/>
                    </a:cubicBezTo>
                    <a:cubicBezTo>
                      <a:pt x="392" y="440"/>
                      <a:pt x="392" y="440"/>
                      <a:pt x="392" y="440"/>
                    </a:cubicBezTo>
                    <a:cubicBezTo>
                      <a:pt x="392" y="440"/>
                      <a:pt x="392" y="441"/>
                      <a:pt x="392" y="441"/>
                    </a:cubicBezTo>
                    <a:cubicBezTo>
                      <a:pt x="392" y="441"/>
                      <a:pt x="392" y="441"/>
                      <a:pt x="392" y="441"/>
                    </a:cubicBezTo>
                    <a:cubicBezTo>
                      <a:pt x="391" y="441"/>
                      <a:pt x="391" y="441"/>
                      <a:pt x="391" y="441"/>
                    </a:cubicBezTo>
                    <a:cubicBezTo>
                      <a:pt x="391" y="441"/>
                      <a:pt x="391" y="441"/>
                      <a:pt x="391" y="441"/>
                    </a:cubicBezTo>
                    <a:cubicBezTo>
                      <a:pt x="392" y="441"/>
                      <a:pt x="392" y="441"/>
                      <a:pt x="392" y="441"/>
                    </a:cubicBezTo>
                    <a:cubicBezTo>
                      <a:pt x="392" y="441"/>
                      <a:pt x="392" y="441"/>
                      <a:pt x="393" y="442"/>
                    </a:cubicBezTo>
                    <a:cubicBezTo>
                      <a:pt x="393" y="442"/>
                      <a:pt x="393" y="442"/>
                      <a:pt x="393" y="442"/>
                    </a:cubicBezTo>
                    <a:cubicBezTo>
                      <a:pt x="393" y="442"/>
                      <a:pt x="393" y="442"/>
                      <a:pt x="393" y="442"/>
                    </a:cubicBezTo>
                    <a:cubicBezTo>
                      <a:pt x="394" y="442"/>
                      <a:pt x="393" y="443"/>
                      <a:pt x="393" y="443"/>
                    </a:cubicBezTo>
                    <a:cubicBezTo>
                      <a:pt x="393" y="443"/>
                      <a:pt x="393" y="443"/>
                      <a:pt x="393" y="443"/>
                    </a:cubicBezTo>
                    <a:cubicBezTo>
                      <a:pt x="393" y="444"/>
                      <a:pt x="393" y="444"/>
                      <a:pt x="393" y="444"/>
                    </a:cubicBezTo>
                    <a:cubicBezTo>
                      <a:pt x="393" y="444"/>
                      <a:pt x="393" y="444"/>
                      <a:pt x="394" y="444"/>
                    </a:cubicBezTo>
                    <a:cubicBezTo>
                      <a:pt x="394" y="444"/>
                      <a:pt x="394" y="444"/>
                      <a:pt x="394" y="444"/>
                    </a:cubicBezTo>
                    <a:cubicBezTo>
                      <a:pt x="393" y="444"/>
                      <a:pt x="394" y="445"/>
                      <a:pt x="393" y="446"/>
                    </a:cubicBezTo>
                    <a:cubicBezTo>
                      <a:pt x="393" y="446"/>
                      <a:pt x="393" y="446"/>
                      <a:pt x="393" y="446"/>
                    </a:cubicBezTo>
                    <a:cubicBezTo>
                      <a:pt x="393" y="446"/>
                      <a:pt x="394" y="446"/>
                      <a:pt x="394" y="446"/>
                    </a:cubicBezTo>
                    <a:cubicBezTo>
                      <a:pt x="394" y="446"/>
                      <a:pt x="394" y="446"/>
                      <a:pt x="394" y="446"/>
                    </a:cubicBezTo>
                    <a:cubicBezTo>
                      <a:pt x="394" y="446"/>
                      <a:pt x="394" y="446"/>
                      <a:pt x="394" y="446"/>
                    </a:cubicBezTo>
                    <a:cubicBezTo>
                      <a:pt x="394" y="446"/>
                      <a:pt x="394" y="446"/>
                      <a:pt x="394" y="446"/>
                    </a:cubicBezTo>
                    <a:cubicBezTo>
                      <a:pt x="395" y="446"/>
                      <a:pt x="395" y="445"/>
                      <a:pt x="395" y="445"/>
                    </a:cubicBezTo>
                    <a:cubicBezTo>
                      <a:pt x="395" y="445"/>
                      <a:pt x="395" y="445"/>
                      <a:pt x="395" y="445"/>
                    </a:cubicBezTo>
                    <a:cubicBezTo>
                      <a:pt x="395" y="445"/>
                      <a:pt x="396" y="445"/>
                      <a:pt x="396" y="445"/>
                    </a:cubicBezTo>
                    <a:cubicBezTo>
                      <a:pt x="396" y="445"/>
                      <a:pt x="396" y="446"/>
                      <a:pt x="396" y="446"/>
                    </a:cubicBezTo>
                    <a:cubicBezTo>
                      <a:pt x="396" y="446"/>
                      <a:pt x="395" y="446"/>
                      <a:pt x="395" y="446"/>
                    </a:cubicBezTo>
                    <a:cubicBezTo>
                      <a:pt x="395" y="447"/>
                      <a:pt x="395" y="447"/>
                      <a:pt x="395" y="447"/>
                    </a:cubicBezTo>
                    <a:cubicBezTo>
                      <a:pt x="395" y="447"/>
                      <a:pt x="395" y="447"/>
                      <a:pt x="395" y="447"/>
                    </a:cubicBezTo>
                    <a:cubicBezTo>
                      <a:pt x="394" y="447"/>
                      <a:pt x="394" y="448"/>
                      <a:pt x="394" y="448"/>
                    </a:cubicBezTo>
                    <a:cubicBezTo>
                      <a:pt x="394" y="448"/>
                      <a:pt x="394" y="448"/>
                      <a:pt x="394" y="449"/>
                    </a:cubicBezTo>
                    <a:cubicBezTo>
                      <a:pt x="394" y="449"/>
                      <a:pt x="394" y="449"/>
                      <a:pt x="395" y="449"/>
                    </a:cubicBezTo>
                    <a:cubicBezTo>
                      <a:pt x="395" y="449"/>
                      <a:pt x="395" y="449"/>
                      <a:pt x="395" y="449"/>
                    </a:cubicBezTo>
                    <a:cubicBezTo>
                      <a:pt x="395" y="450"/>
                      <a:pt x="395" y="450"/>
                      <a:pt x="395" y="450"/>
                    </a:cubicBezTo>
                    <a:cubicBezTo>
                      <a:pt x="395" y="451"/>
                      <a:pt x="396" y="451"/>
                      <a:pt x="396" y="452"/>
                    </a:cubicBezTo>
                    <a:cubicBezTo>
                      <a:pt x="396" y="452"/>
                      <a:pt x="397" y="452"/>
                      <a:pt x="397" y="453"/>
                    </a:cubicBezTo>
                    <a:cubicBezTo>
                      <a:pt x="397" y="453"/>
                      <a:pt x="398" y="453"/>
                      <a:pt x="398" y="454"/>
                    </a:cubicBezTo>
                    <a:cubicBezTo>
                      <a:pt x="398" y="454"/>
                      <a:pt x="398" y="454"/>
                      <a:pt x="398" y="454"/>
                    </a:cubicBezTo>
                    <a:cubicBezTo>
                      <a:pt x="398" y="455"/>
                      <a:pt x="399" y="455"/>
                      <a:pt x="400" y="456"/>
                    </a:cubicBezTo>
                    <a:cubicBezTo>
                      <a:pt x="400" y="456"/>
                      <a:pt x="400" y="456"/>
                      <a:pt x="400" y="456"/>
                    </a:cubicBezTo>
                    <a:cubicBezTo>
                      <a:pt x="400" y="457"/>
                      <a:pt x="400" y="457"/>
                      <a:pt x="400" y="457"/>
                    </a:cubicBezTo>
                    <a:cubicBezTo>
                      <a:pt x="401" y="457"/>
                      <a:pt x="401" y="457"/>
                      <a:pt x="401" y="458"/>
                    </a:cubicBezTo>
                    <a:cubicBezTo>
                      <a:pt x="401" y="458"/>
                      <a:pt x="401" y="459"/>
                      <a:pt x="401" y="459"/>
                    </a:cubicBezTo>
                    <a:cubicBezTo>
                      <a:pt x="400" y="460"/>
                      <a:pt x="400" y="460"/>
                      <a:pt x="400" y="461"/>
                    </a:cubicBezTo>
                    <a:cubicBezTo>
                      <a:pt x="400" y="461"/>
                      <a:pt x="400" y="461"/>
                      <a:pt x="400" y="462"/>
                    </a:cubicBezTo>
                    <a:cubicBezTo>
                      <a:pt x="400" y="462"/>
                      <a:pt x="400" y="462"/>
                      <a:pt x="400" y="463"/>
                    </a:cubicBezTo>
                    <a:cubicBezTo>
                      <a:pt x="400" y="463"/>
                      <a:pt x="399" y="464"/>
                      <a:pt x="399" y="465"/>
                    </a:cubicBezTo>
                    <a:cubicBezTo>
                      <a:pt x="399" y="465"/>
                      <a:pt x="399" y="465"/>
                      <a:pt x="399" y="465"/>
                    </a:cubicBezTo>
                    <a:cubicBezTo>
                      <a:pt x="399" y="465"/>
                      <a:pt x="399" y="465"/>
                      <a:pt x="399" y="466"/>
                    </a:cubicBezTo>
                    <a:cubicBezTo>
                      <a:pt x="399" y="466"/>
                      <a:pt x="398" y="466"/>
                      <a:pt x="398" y="466"/>
                    </a:cubicBezTo>
                    <a:cubicBezTo>
                      <a:pt x="398" y="466"/>
                      <a:pt x="398" y="466"/>
                      <a:pt x="398" y="466"/>
                    </a:cubicBezTo>
                    <a:cubicBezTo>
                      <a:pt x="397" y="466"/>
                      <a:pt x="397" y="466"/>
                      <a:pt x="397" y="466"/>
                    </a:cubicBezTo>
                    <a:cubicBezTo>
                      <a:pt x="397" y="466"/>
                      <a:pt x="396" y="466"/>
                      <a:pt x="396" y="466"/>
                    </a:cubicBezTo>
                    <a:cubicBezTo>
                      <a:pt x="396" y="467"/>
                      <a:pt x="395" y="468"/>
                      <a:pt x="395" y="468"/>
                    </a:cubicBezTo>
                    <a:cubicBezTo>
                      <a:pt x="395" y="469"/>
                      <a:pt x="395" y="469"/>
                      <a:pt x="395" y="469"/>
                    </a:cubicBezTo>
                    <a:cubicBezTo>
                      <a:pt x="395" y="469"/>
                      <a:pt x="395" y="469"/>
                      <a:pt x="395" y="469"/>
                    </a:cubicBezTo>
                    <a:cubicBezTo>
                      <a:pt x="394" y="469"/>
                      <a:pt x="394" y="470"/>
                      <a:pt x="394" y="470"/>
                    </a:cubicBezTo>
                    <a:cubicBezTo>
                      <a:pt x="394" y="470"/>
                      <a:pt x="394" y="470"/>
                      <a:pt x="394" y="470"/>
                    </a:cubicBezTo>
                    <a:cubicBezTo>
                      <a:pt x="394" y="470"/>
                      <a:pt x="394" y="470"/>
                      <a:pt x="394" y="470"/>
                    </a:cubicBezTo>
                    <a:cubicBezTo>
                      <a:pt x="394" y="470"/>
                      <a:pt x="393" y="470"/>
                      <a:pt x="393" y="470"/>
                    </a:cubicBezTo>
                    <a:cubicBezTo>
                      <a:pt x="393" y="470"/>
                      <a:pt x="393" y="470"/>
                      <a:pt x="393" y="470"/>
                    </a:cubicBezTo>
                    <a:cubicBezTo>
                      <a:pt x="393" y="471"/>
                      <a:pt x="393" y="471"/>
                      <a:pt x="392" y="471"/>
                    </a:cubicBezTo>
                    <a:cubicBezTo>
                      <a:pt x="392" y="471"/>
                      <a:pt x="392" y="471"/>
                      <a:pt x="392" y="471"/>
                    </a:cubicBezTo>
                    <a:cubicBezTo>
                      <a:pt x="392" y="471"/>
                      <a:pt x="393" y="471"/>
                      <a:pt x="393" y="471"/>
                    </a:cubicBezTo>
                    <a:cubicBezTo>
                      <a:pt x="393" y="471"/>
                      <a:pt x="393" y="471"/>
                      <a:pt x="393" y="471"/>
                    </a:cubicBezTo>
                    <a:cubicBezTo>
                      <a:pt x="393" y="472"/>
                      <a:pt x="392" y="472"/>
                      <a:pt x="392" y="472"/>
                    </a:cubicBezTo>
                    <a:cubicBezTo>
                      <a:pt x="392" y="472"/>
                      <a:pt x="392" y="472"/>
                      <a:pt x="392" y="472"/>
                    </a:cubicBezTo>
                    <a:cubicBezTo>
                      <a:pt x="392" y="472"/>
                      <a:pt x="392" y="472"/>
                      <a:pt x="392" y="472"/>
                    </a:cubicBezTo>
                    <a:cubicBezTo>
                      <a:pt x="392" y="473"/>
                      <a:pt x="392" y="473"/>
                      <a:pt x="391" y="473"/>
                    </a:cubicBezTo>
                    <a:cubicBezTo>
                      <a:pt x="391" y="473"/>
                      <a:pt x="391" y="473"/>
                      <a:pt x="391" y="473"/>
                    </a:cubicBezTo>
                    <a:cubicBezTo>
                      <a:pt x="390" y="473"/>
                      <a:pt x="390" y="473"/>
                      <a:pt x="390" y="473"/>
                    </a:cubicBezTo>
                    <a:cubicBezTo>
                      <a:pt x="390" y="473"/>
                      <a:pt x="390" y="473"/>
                      <a:pt x="389" y="473"/>
                    </a:cubicBezTo>
                    <a:cubicBezTo>
                      <a:pt x="389" y="473"/>
                      <a:pt x="389" y="473"/>
                      <a:pt x="389" y="473"/>
                    </a:cubicBezTo>
                    <a:cubicBezTo>
                      <a:pt x="389" y="474"/>
                      <a:pt x="389" y="474"/>
                      <a:pt x="389" y="475"/>
                    </a:cubicBezTo>
                    <a:cubicBezTo>
                      <a:pt x="388" y="475"/>
                      <a:pt x="388" y="475"/>
                      <a:pt x="387" y="476"/>
                    </a:cubicBezTo>
                    <a:cubicBezTo>
                      <a:pt x="387" y="476"/>
                      <a:pt x="387" y="476"/>
                      <a:pt x="386" y="476"/>
                    </a:cubicBezTo>
                    <a:cubicBezTo>
                      <a:pt x="386" y="476"/>
                      <a:pt x="386" y="477"/>
                      <a:pt x="385" y="477"/>
                    </a:cubicBezTo>
                    <a:cubicBezTo>
                      <a:pt x="385" y="476"/>
                      <a:pt x="385" y="476"/>
                      <a:pt x="385" y="476"/>
                    </a:cubicBezTo>
                    <a:cubicBezTo>
                      <a:pt x="385" y="476"/>
                      <a:pt x="385" y="476"/>
                      <a:pt x="385" y="476"/>
                    </a:cubicBezTo>
                    <a:cubicBezTo>
                      <a:pt x="385" y="476"/>
                      <a:pt x="385" y="476"/>
                      <a:pt x="385" y="476"/>
                    </a:cubicBezTo>
                    <a:cubicBezTo>
                      <a:pt x="385" y="476"/>
                      <a:pt x="385" y="475"/>
                      <a:pt x="385" y="475"/>
                    </a:cubicBezTo>
                    <a:cubicBezTo>
                      <a:pt x="385" y="475"/>
                      <a:pt x="385" y="475"/>
                      <a:pt x="385" y="475"/>
                    </a:cubicBezTo>
                    <a:cubicBezTo>
                      <a:pt x="385" y="475"/>
                      <a:pt x="385" y="475"/>
                      <a:pt x="385" y="474"/>
                    </a:cubicBezTo>
                    <a:cubicBezTo>
                      <a:pt x="384" y="474"/>
                      <a:pt x="384" y="474"/>
                      <a:pt x="384" y="474"/>
                    </a:cubicBezTo>
                    <a:cubicBezTo>
                      <a:pt x="384" y="474"/>
                      <a:pt x="384" y="474"/>
                      <a:pt x="384" y="474"/>
                    </a:cubicBezTo>
                    <a:cubicBezTo>
                      <a:pt x="384" y="474"/>
                      <a:pt x="384" y="473"/>
                      <a:pt x="383" y="473"/>
                    </a:cubicBezTo>
                    <a:cubicBezTo>
                      <a:pt x="383" y="473"/>
                      <a:pt x="383" y="473"/>
                      <a:pt x="383" y="473"/>
                    </a:cubicBezTo>
                    <a:cubicBezTo>
                      <a:pt x="382" y="472"/>
                      <a:pt x="382" y="472"/>
                      <a:pt x="382" y="472"/>
                    </a:cubicBezTo>
                    <a:cubicBezTo>
                      <a:pt x="382" y="472"/>
                      <a:pt x="382" y="471"/>
                      <a:pt x="382" y="471"/>
                    </a:cubicBezTo>
                    <a:cubicBezTo>
                      <a:pt x="382" y="471"/>
                      <a:pt x="382" y="471"/>
                      <a:pt x="382" y="471"/>
                    </a:cubicBezTo>
                    <a:cubicBezTo>
                      <a:pt x="382" y="471"/>
                      <a:pt x="382" y="471"/>
                      <a:pt x="383" y="471"/>
                    </a:cubicBezTo>
                    <a:cubicBezTo>
                      <a:pt x="383" y="470"/>
                      <a:pt x="383" y="470"/>
                      <a:pt x="383" y="470"/>
                    </a:cubicBezTo>
                    <a:cubicBezTo>
                      <a:pt x="383" y="470"/>
                      <a:pt x="383" y="470"/>
                      <a:pt x="383" y="469"/>
                    </a:cubicBezTo>
                    <a:cubicBezTo>
                      <a:pt x="383" y="469"/>
                      <a:pt x="383" y="468"/>
                      <a:pt x="383" y="468"/>
                    </a:cubicBezTo>
                    <a:cubicBezTo>
                      <a:pt x="383" y="467"/>
                      <a:pt x="383" y="467"/>
                      <a:pt x="383" y="467"/>
                    </a:cubicBezTo>
                    <a:cubicBezTo>
                      <a:pt x="383" y="467"/>
                      <a:pt x="382" y="467"/>
                      <a:pt x="382" y="468"/>
                    </a:cubicBezTo>
                    <a:cubicBezTo>
                      <a:pt x="382" y="468"/>
                      <a:pt x="382" y="468"/>
                      <a:pt x="382" y="468"/>
                    </a:cubicBezTo>
                    <a:cubicBezTo>
                      <a:pt x="382" y="469"/>
                      <a:pt x="382" y="469"/>
                      <a:pt x="382" y="470"/>
                    </a:cubicBezTo>
                    <a:cubicBezTo>
                      <a:pt x="382" y="470"/>
                      <a:pt x="382" y="470"/>
                      <a:pt x="382" y="470"/>
                    </a:cubicBezTo>
                    <a:cubicBezTo>
                      <a:pt x="382" y="470"/>
                      <a:pt x="382" y="470"/>
                      <a:pt x="382" y="470"/>
                    </a:cubicBezTo>
                    <a:cubicBezTo>
                      <a:pt x="381" y="470"/>
                      <a:pt x="381" y="471"/>
                      <a:pt x="381" y="470"/>
                    </a:cubicBezTo>
                    <a:cubicBezTo>
                      <a:pt x="380" y="470"/>
                      <a:pt x="380" y="470"/>
                      <a:pt x="380" y="470"/>
                    </a:cubicBezTo>
                    <a:cubicBezTo>
                      <a:pt x="380" y="469"/>
                      <a:pt x="380" y="469"/>
                      <a:pt x="380" y="469"/>
                    </a:cubicBezTo>
                    <a:cubicBezTo>
                      <a:pt x="380" y="469"/>
                      <a:pt x="380" y="469"/>
                      <a:pt x="380" y="469"/>
                    </a:cubicBezTo>
                    <a:cubicBezTo>
                      <a:pt x="380" y="469"/>
                      <a:pt x="380" y="469"/>
                      <a:pt x="380" y="468"/>
                    </a:cubicBezTo>
                    <a:cubicBezTo>
                      <a:pt x="379" y="468"/>
                      <a:pt x="379" y="468"/>
                      <a:pt x="379" y="468"/>
                    </a:cubicBezTo>
                    <a:cubicBezTo>
                      <a:pt x="379" y="467"/>
                      <a:pt x="379" y="467"/>
                      <a:pt x="379" y="467"/>
                    </a:cubicBezTo>
                    <a:cubicBezTo>
                      <a:pt x="379" y="467"/>
                      <a:pt x="379" y="467"/>
                      <a:pt x="379" y="467"/>
                    </a:cubicBezTo>
                    <a:cubicBezTo>
                      <a:pt x="379" y="466"/>
                      <a:pt x="379" y="466"/>
                      <a:pt x="379" y="466"/>
                    </a:cubicBezTo>
                    <a:cubicBezTo>
                      <a:pt x="379" y="466"/>
                      <a:pt x="378" y="466"/>
                      <a:pt x="378" y="466"/>
                    </a:cubicBezTo>
                    <a:cubicBezTo>
                      <a:pt x="378" y="466"/>
                      <a:pt x="377" y="466"/>
                      <a:pt x="377" y="466"/>
                    </a:cubicBezTo>
                    <a:cubicBezTo>
                      <a:pt x="377" y="466"/>
                      <a:pt x="376" y="466"/>
                      <a:pt x="375" y="466"/>
                    </a:cubicBezTo>
                    <a:cubicBezTo>
                      <a:pt x="375" y="467"/>
                      <a:pt x="374" y="467"/>
                      <a:pt x="374" y="467"/>
                    </a:cubicBezTo>
                    <a:cubicBezTo>
                      <a:pt x="374" y="467"/>
                      <a:pt x="374" y="467"/>
                      <a:pt x="374" y="467"/>
                    </a:cubicBezTo>
                    <a:cubicBezTo>
                      <a:pt x="374" y="468"/>
                      <a:pt x="374" y="468"/>
                      <a:pt x="374" y="468"/>
                    </a:cubicBezTo>
                    <a:cubicBezTo>
                      <a:pt x="374" y="468"/>
                      <a:pt x="375" y="468"/>
                      <a:pt x="375" y="468"/>
                    </a:cubicBezTo>
                    <a:cubicBezTo>
                      <a:pt x="375" y="468"/>
                      <a:pt x="376" y="468"/>
                      <a:pt x="376" y="468"/>
                    </a:cubicBezTo>
                    <a:cubicBezTo>
                      <a:pt x="376" y="468"/>
                      <a:pt x="376" y="467"/>
                      <a:pt x="376" y="467"/>
                    </a:cubicBezTo>
                    <a:cubicBezTo>
                      <a:pt x="376" y="467"/>
                      <a:pt x="376" y="467"/>
                      <a:pt x="376" y="467"/>
                    </a:cubicBezTo>
                    <a:cubicBezTo>
                      <a:pt x="377" y="466"/>
                      <a:pt x="378" y="466"/>
                      <a:pt x="378" y="467"/>
                    </a:cubicBezTo>
                    <a:cubicBezTo>
                      <a:pt x="378" y="467"/>
                      <a:pt x="378" y="467"/>
                      <a:pt x="378" y="467"/>
                    </a:cubicBezTo>
                    <a:cubicBezTo>
                      <a:pt x="378" y="468"/>
                      <a:pt x="379" y="468"/>
                      <a:pt x="379" y="469"/>
                    </a:cubicBezTo>
                    <a:cubicBezTo>
                      <a:pt x="379" y="469"/>
                      <a:pt x="379" y="469"/>
                      <a:pt x="379" y="469"/>
                    </a:cubicBezTo>
                    <a:cubicBezTo>
                      <a:pt x="379" y="469"/>
                      <a:pt x="380" y="469"/>
                      <a:pt x="380" y="470"/>
                    </a:cubicBezTo>
                    <a:cubicBezTo>
                      <a:pt x="380" y="470"/>
                      <a:pt x="380" y="470"/>
                      <a:pt x="380" y="470"/>
                    </a:cubicBezTo>
                    <a:cubicBezTo>
                      <a:pt x="380" y="470"/>
                      <a:pt x="380" y="470"/>
                      <a:pt x="380" y="471"/>
                    </a:cubicBezTo>
                    <a:cubicBezTo>
                      <a:pt x="380" y="471"/>
                      <a:pt x="381" y="471"/>
                      <a:pt x="381" y="471"/>
                    </a:cubicBezTo>
                    <a:cubicBezTo>
                      <a:pt x="381" y="471"/>
                      <a:pt x="381" y="471"/>
                      <a:pt x="381" y="471"/>
                    </a:cubicBezTo>
                    <a:cubicBezTo>
                      <a:pt x="381" y="471"/>
                      <a:pt x="381" y="471"/>
                      <a:pt x="381" y="471"/>
                    </a:cubicBezTo>
                    <a:cubicBezTo>
                      <a:pt x="381" y="472"/>
                      <a:pt x="381" y="472"/>
                      <a:pt x="381" y="472"/>
                    </a:cubicBezTo>
                    <a:cubicBezTo>
                      <a:pt x="381" y="473"/>
                      <a:pt x="381" y="473"/>
                      <a:pt x="381" y="473"/>
                    </a:cubicBezTo>
                    <a:cubicBezTo>
                      <a:pt x="381" y="473"/>
                      <a:pt x="382" y="473"/>
                      <a:pt x="382" y="474"/>
                    </a:cubicBezTo>
                    <a:cubicBezTo>
                      <a:pt x="383" y="474"/>
                      <a:pt x="383" y="475"/>
                      <a:pt x="383" y="476"/>
                    </a:cubicBezTo>
                    <a:cubicBezTo>
                      <a:pt x="383" y="476"/>
                      <a:pt x="383" y="476"/>
                      <a:pt x="383" y="476"/>
                    </a:cubicBezTo>
                    <a:cubicBezTo>
                      <a:pt x="383" y="477"/>
                      <a:pt x="383" y="477"/>
                      <a:pt x="383" y="477"/>
                    </a:cubicBezTo>
                    <a:cubicBezTo>
                      <a:pt x="384" y="477"/>
                      <a:pt x="384" y="478"/>
                      <a:pt x="384" y="478"/>
                    </a:cubicBezTo>
                    <a:cubicBezTo>
                      <a:pt x="384" y="478"/>
                      <a:pt x="384" y="479"/>
                      <a:pt x="384" y="479"/>
                    </a:cubicBezTo>
                    <a:cubicBezTo>
                      <a:pt x="384" y="479"/>
                      <a:pt x="384" y="479"/>
                      <a:pt x="384" y="479"/>
                    </a:cubicBezTo>
                    <a:cubicBezTo>
                      <a:pt x="384" y="479"/>
                      <a:pt x="384" y="479"/>
                      <a:pt x="384" y="479"/>
                    </a:cubicBezTo>
                    <a:cubicBezTo>
                      <a:pt x="384" y="479"/>
                      <a:pt x="384" y="479"/>
                      <a:pt x="384" y="479"/>
                    </a:cubicBezTo>
                    <a:cubicBezTo>
                      <a:pt x="384" y="479"/>
                      <a:pt x="384" y="480"/>
                      <a:pt x="384" y="480"/>
                    </a:cubicBezTo>
                    <a:cubicBezTo>
                      <a:pt x="384" y="480"/>
                      <a:pt x="384" y="480"/>
                      <a:pt x="384" y="480"/>
                    </a:cubicBezTo>
                    <a:cubicBezTo>
                      <a:pt x="383" y="480"/>
                      <a:pt x="384" y="479"/>
                      <a:pt x="383" y="479"/>
                    </a:cubicBezTo>
                    <a:cubicBezTo>
                      <a:pt x="383" y="479"/>
                      <a:pt x="383" y="479"/>
                      <a:pt x="383" y="479"/>
                    </a:cubicBezTo>
                    <a:cubicBezTo>
                      <a:pt x="383" y="479"/>
                      <a:pt x="383" y="479"/>
                      <a:pt x="382" y="479"/>
                    </a:cubicBezTo>
                    <a:cubicBezTo>
                      <a:pt x="382" y="479"/>
                      <a:pt x="382" y="478"/>
                      <a:pt x="381" y="478"/>
                    </a:cubicBezTo>
                    <a:cubicBezTo>
                      <a:pt x="381" y="478"/>
                      <a:pt x="381" y="478"/>
                      <a:pt x="381" y="478"/>
                    </a:cubicBezTo>
                    <a:cubicBezTo>
                      <a:pt x="381" y="478"/>
                      <a:pt x="381" y="478"/>
                      <a:pt x="381" y="478"/>
                    </a:cubicBezTo>
                    <a:cubicBezTo>
                      <a:pt x="381" y="478"/>
                      <a:pt x="381" y="478"/>
                      <a:pt x="381" y="478"/>
                    </a:cubicBezTo>
                    <a:cubicBezTo>
                      <a:pt x="381" y="477"/>
                      <a:pt x="381" y="477"/>
                      <a:pt x="381" y="477"/>
                    </a:cubicBezTo>
                    <a:cubicBezTo>
                      <a:pt x="381" y="477"/>
                      <a:pt x="380" y="477"/>
                      <a:pt x="380" y="477"/>
                    </a:cubicBezTo>
                    <a:cubicBezTo>
                      <a:pt x="380" y="477"/>
                      <a:pt x="380" y="477"/>
                      <a:pt x="380" y="478"/>
                    </a:cubicBezTo>
                    <a:cubicBezTo>
                      <a:pt x="380" y="478"/>
                      <a:pt x="380" y="478"/>
                      <a:pt x="380" y="478"/>
                    </a:cubicBezTo>
                    <a:cubicBezTo>
                      <a:pt x="380" y="478"/>
                      <a:pt x="380" y="478"/>
                      <a:pt x="380" y="478"/>
                    </a:cubicBezTo>
                    <a:cubicBezTo>
                      <a:pt x="380" y="478"/>
                      <a:pt x="380" y="478"/>
                      <a:pt x="380" y="478"/>
                    </a:cubicBezTo>
                    <a:cubicBezTo>
                      <a:pt x="380" y="477"/>
                      <a:pt x="380" y="477"/>
                      <a:pt x="380" y="477"/>
                    </a:cubicBezTo>
                    <a:cubicBezTo>
                      <a:pt x="380" y="477"/>
                      <a:pt x="379" y="477"/>
                      <a:pt x="379" y="477"/>
                    </a:cubicBezTo>
                    <a:cubicBezTo>
                      <a:pt x="379" y="477"/>
                      <a:pt x="379" y="477"/>
                      <a:pt x="379" y="476"/>
                    </a:cubicBezTo>
                    <a:cubicBezTo>
                      <a:pt x="379" y="476"/>
                      <a:pt x="379" y="476"/>
                      <a:pt x="379" y="476"/>
                    </a:cubicBezTo>
                    <a:cubicBezTo>
                      <a:pt x="379" y="476"/>
                      <a:pt x="378" y="476"/>
                      <a:pt x="378" y="477"/>
                    </a:cubicBezTo>
                    <a:cubicBezTo>
                      <a:pt x="378" y="477"/>
                      <a:pt x="379" y="477"/>
                      <a:pt x="379" y="477"/>
                    </a:cubicBezTo>
                    <a:cubicBezTo>
                      <a:pt x="379" y="477"/>
                      <a:pt x="379" y="478"/>
                      <a:pt x="379" y="478"/>
                    </a:cubicBezTo>
                    <a:cubicBezTo>
                      <a:pt x="379" y="478"/>
                      <a:pt x="380" y="479"/>
                      <a:pt x="380" y="479"/>
                    </a:cubicBezTo>
                    <a:cubicBezTo>
                      <a:pt x="380" y="479"/>
                      <a:pt x="380" y="479"/>
                      <a:pt x="380" y="479"/>
                    </a:cubicBezTo>
                    <a:cubicBezTo>
                      <a:pt x="380" y="479"/>
                      <a:pt x="380" y="479"/>
                      <a:pt x="380" y="480"/>
                    </a:cubicBezTo>
                    <a:cubicBezTo>
                      <a:pt x="380" y="480"/>
                      <a:pt x="380" y="480"/>
                      <a:pt x="380" y="480"/>
                    </a:cubicBezTo>
                    <a:cubicBezTo>
                      <a:pt x="380" y="480"/>
                      <a:pt x="380" y="480"/>
                      <a:pt x="379" y="480"/>
                    </a:cubicBezTo>
                    <a:cubicBezTo>
                      <a:pt x="379" y="480"/>
                      <a:pt x="379" y="479"/>
                      <a:pt x="379" y="479"/>
                    </a:cubicBezTo>
                    <a:cubicBezTo>
                      <a:pt x="379" y="479"/>
                      <a:pt x="378" y="479"/>
                      <a:pt x="378" y="479"/>
                    </a:cubicBezTo>
                    <a:cubicBezTo>
                      <a:pt x="378" y="479"/>
                      <a:pt x="378" y="479"/>
                      <a:pt x="378" y="479"/>
                    </a:cubicBezTo>
                    <a:cubicBezTo>
                      <a:pt x="377" y="479"/>
                      <a:pt x="377" y="479"/>
                      <a:pt x="377" y="478"/>
                    </a:cubicBezTo>
                    <a:cubicBezTo>
                      <a:pt x="377" y="478"/>
                      <a:pt x="377" y="478"/>
                      <a:pt x="376" y="478"/>
                    </a:cubicBezTo>
                    <a:cubicBezTo>
                      <a:pt x="376" y="478"/>
                      <a:pt x="376" y="478"/>
                      <a:pt x="376" y="478"/>
                    </a:cubicBezTo>
                    <a:cubicBezTo>
                      <a:pt x="376" y="478"/>
                      <a:pt x="376" y="478"/>
                      <a:pt x="376" y="478"/>
                    </a:cubicBezTo>
                    <a:cubicBezTo>
                      <a:pt x="376" y="478"/>
                      <a:pt x="376" y="478"/>
                      <a:pt x="376" y="478"/>
                    </a:cubicBezTo>
                    <a:cubicBezTo>
                      <a:pt x="375" y="478"/>
                      <a:pt x="375" y="478"/>
                      <a:pt x="375" y="478"/>
                    </a:cubicBezTo>
                    <a:cubicBezTo>
                      <a:pt x="374" y="478"/>
                      <a:pt x="374" y="478"/>
                      <a:pt x="374" y="477"/>
                    </a:cubicBezTo>
                    <a:cubicBezTo>
                      <a:pt x="374" y="477"/>
                      <a:pt x="374" y="477"/>
                      <a:pt x="374" y="477"/>
                    </a:cubicBezTo>
                    <a:cubicBezTo>
                      <a:pt x="374" y="476"/>
                      <a:pt x="373" y="476"/>
                      <a:pt x="373" y="475"/>
                    </a:cubicBezTo>
                    <a:cubicBezTo>
                      <a:pt x="373" y="475"/>
                      <a:pt x="373" y="474"/>
                      <a:pt x="373" y="474"/>
                    </a:cubicBezTo>
                    <a:cubicBezTo>
                      <a:pt x="373" y="473"/>
                      <a:pt x="373" y="473"/>
                      <a:pt x="372" y="473"/>
                    </a:cubicBezTo>
                    <a:cubicBezTo>
                      <a:pt x="372" y="473"/>
                      <a:pt x="372" y="473"/>
                      <a:pt x="371" y="473"/>
                    </a:cubicBezTo>
                    <a:cubicBezTo>
                      <a:pt x="371" y="473"/>
                      <a:pt x="371" y="473"/>
                      <a:pt x="370" y="474"/>
                    </a:cubicBezTo>
                    <a:cubicBezTo>
                      <a:pt x="370" y="474"/>
                      <a:pt x="370" y="474"/>
                      <a:pt x="370" y="474"/>
                    </a:cubicBezTo>
                    <a:cubicBezTo>
                      <a:pt x="370" y="474"/>
                      <a:pt x="370" y="474"/>
                      <a:pt x="370" y="474"/>
                    </a:cubicBezTo>
                    <a:cubicBezTo>
                      <a:pt x="369" y="474"/>
                      <a:pt x="369" y="474"/>
                      <a:pt x="369" y="474"/>
                    </a:cubicBezTo>
                    <a:cubicBezTo>
                      <a:pt x="368" y="474"/>
                      <a:pt x="368" y="474"/>
                      <a:pt x="367" y="474"/>
                    </a:cubicBezTo>
                    <a:cubicBezTo>
                      <a:pt x="367" y="474"/>
                      <a:pt x="366" y="474"/>
                      <a:pt x="366" y="474"/>
                    </a:cubicBezTo>
                    <a:cubicBezTo>
                      <a:pt x="366" y="473"/>
                      <a:pt x="365" y="473"/>
                      <a:pt x="365" y="473"/>
                    </a:cubicBezTo>
                    <a:cubicBezTo>
                      <a:pt x="365" y="473"/>
                      <a:pt x="365" y="473"/>
                      <a:pt x="365" y="473"/>
                    </a:cubicBezTo>
                    <a:cubicBezTo>
                      <a:pt x="365" y="473"/>
                      <a:pt x="365" y="473"/>
                      <a:pt x="365" y="473"/>
                    </a:cubicBezTo>
                    <a:cubicBezTo>
                      <a:pt x="365" y="474"/>
                      <a:pt x="364" y="474"/>
                      <a:pt x="364" y="474"/>
                    </a:cubicBezTo>
                    <a:cubicBezTo>
                      <a:pt x="364" y="474"/>
                      <a:pt x="364" y="474"/>
                      <a:pt x="364" y="474"/>
                    </a:cubicBezTo>
                    <a:cubicBezTo>
                      <a:pt x="364" y="474"/>
                      <a:pt x="364" y="474"/>
                      <a:pt x="364" y="474"/>
                    </a:cubicBezTo>
                    <a:cubicBezTo>
                      <a:pt x="364" y="475"/>
                      <a:pt x="364" y="475"/>
                      <a:pt x="364" y="475"/>
                    </a:cubicBezTo>
                    <a:cubicBezTo>
                      <a:pt x="364" y="475"/>
                      <a:pt x="364" y="475"/>
                      <a:pt x="364" y="475"/>
                    </a:cubicBezTo>
                    <a:cubicBezTo>
                      <a:pt x="364" y="475"/>
                      <a:pt x="364" y="475"/>
                      <a:pt x="364" y="475"/>
                    </a:cubicBezTo>
                    <a:cubicBezTo>
                      <a:pt x="364" y="475"/>
                      <a:pt x="364" y="475"/>
                      <a:pt x="363" y="475"/>
                    </a:cubicBezTo>
                    <a:cubicBezTo>
                      <a:pt x="363" y="475"/>
                      <a:pt x="363" y="475"/>
                      <a:pt x="363" y="475"/>
                    </a:cubicBezTo>
                    <a:cubicBezTo>
                      <a:pt x="364" y="476"/>
                      <a:pt x="364" y="476"/>
                      <a:pt x="365" y="477"/>
                    </a:cubicBezTo>
                    <a:cubicBezTo>
                      <a:pt x="365" y="477"/>
                      <a:pt x="365" y="477"/>
                      <a:pt x="365" y="477"/>
                    </a:cubicBezTo>
                    <a:cubicBezTo>
                      <a:pt x="365" y="477"/>
                      <a:pt x="366" y="477"/>
                      <a:pt x="366" y="477"/>
                    </a:cubicBezTo>
                    <a:cubicBezTo>
                      <a:pt x="366" y="477"/>
                      <a:pt x="367" y="478"/>
                      <a:pt x="367" y="478"/>
                    </a:cubicBezTo>
                    <a:cubicBezTo>
                      <a:pt x="368" y="478"/>
                      <a:pt x="368" y="479"/>
                      <a:pt x="369" y="479"/>
                    </a:cubicBezTo>
                    <a:cubicBezTo>
                      <a:pt x="369" y="479"/>
                      <a:pt x="369" y="479"/>
                      <a:pt x="369" y="479"/>
                    </a:cubicBezTo>
                    <a:cubicBezTo>
                      <a:pt x="369" y="479"/>
                      <a:pt x="369" y="479"/>
                      <a:pt x="369" y="479"/>
                    </a:cubicBezTo>
                    <a:cubicBezTo>
                      <a:pt x="369" y="480"/>
                      <a:pt x="369" y="480"/>
                      <a:pt x="369" y="480"/>
                    </a:cubicBezTo>
                    <a:cubicBezTo>
                      <a:pt x="369" y="480"/>
                      <a:pt x="369" y="480"/>
                      <a:pt x="369" y="480"/>
                    </a:cubicBezTo>
                    <a:cubicBezTo>
                      <a:pt x="369" y="480"/>
                      <a:pt x="369" y="480"/>
                      <a:pt x="369" y="480"/>
                    </a:cubicBezTo>
                    <a:cubicBezTo>
                      <a:pt x="369" y="481"/>
                      <a:pt x="369" y="481"/>
                      <a:pt x="369" y="482"/>
                    </a:cubicBezTo>
                    <a:cubicBezTo>
                      <a:pt x="369" y="482"/>
                      <a:pt x="369" y="482"/>
                      <a:pt x="369" y="482"/>
                    </a:cubicBezTo>
                    <a:cubicBezTo>
                      <a:pt x="368" y="482"/>
                      <a:pt x="368" y="482"/>
                      <a:pt x="368" y="483"/>
                    </a:cubicBezTo>
                    <a:cubicBezTo>
                      <a:pt x="368" y="483"/>
                      <a:pt x="367" y="483"/>
                      <a:pt x="367" y="483"/>
                    </a:cubicBezTo>
                    <a:cubicBezTo>
                      <a:pt x="367" y="484"/>
                      <a:pt x="366" y="484"/>
                      <a:pt x="366" y="484"/>
                    </a:cubicBezTo>
                    <a:cubicBezTo>
                      <a:pt x="366" y="485"/>
                      <a:pt x="366" y="485"/>
                      <a:pt x="366" y="485"/>
                    </a:cubicBezTo>
                    <a:cubicBezTo>
                      <a:pt x="366" y="486"/>
                      <a:pt x="366" y="486"/>
                      <a:pt x="366" y="486"/>
                    </a:cubicBezTo>
                    <a:cubicBezTo>
                      <a:pt x="365" y="486"/>
                      <a:pt x="365" y="486"/>
                      <a:pt x="365" y="486"/>
                    </a:cubicBezTo>
                    <a:cubicBezTo>
                      <a:pt x="365" y="486"/>
                      <a:pt x="366" y="487"/>
                      <a:pt x="366" y="487"/>
                    </a:cubicBezTo>
                    <a:cubicBezTo>
                      <a:pt x="366" y="487"/>
                      <a:pt x="366" y="487"/>
                      <a:pt x="366" y="487"/>
                    </a:cubicBezTo>
                    <a:cubicBezTo>
                      <a:pt x="366" y="487"/>
                      <a:pt x="365" y="487"/>
                      <a:pt x="365" y="488"/>
                    </a:cubicBezTo>
                    <a:cubicBezTo>
                      <a:pt x="365" y="488"/>
                      <a:pt x="365" y="488"/>
                      <a:pt x="365" y="488"/>
                    </a:cubicBezTo>
                    <a:cubicBezTo>
                      <a:pt x="365" y="488"/>
                      <a:pt x="365" y="488"/>
                      <a:pt x="365" y="488"/>
                    </a:cubicBezTo>
                    <a:cubicBezTo>
                      <a:pt x="364" y="488"/>
                      <a:pt x="364" y="488"/>
                      <a:pt x="364" y="488"/>
                    </a:cubicBezTo>
                    <a:cubicBezTo>
                      <a:pt x="364" y="488"/>
                      <a:pt x="364" y="489"/>
                      <a:pt x="364" y="489"/>
                    </a:cubicBezTo>
                    <a:cubicBezTo>
                      <a:pt x="364" y="489"/>
                      <a:pt x="363" y="489"/>
                      <a:pt x="363" y="490"/>
                    </a:cubicBezTo>
                    <a:cubicBezTo>
                      <a:pt x="362" y="490"/>
                      <a:pt x="362" y="490"/>
                      <a:pt x="362" y="491"/>
                    </a:cubicBezTo>
                    <a:cubicBezTo>
                      <a:pt x="362" y="491"/>
                      <a:pt x="362" y="491"/>
                      <a:pt x="362" y="491"/>
                    </a:cubicBezTo>
                    <a:cubicBezTo>
                      <a:pt x="361" y="492"/>
                      <a:pt x="362" y="492"/>
                      <a:pt x="361" y="492"/>
                    </a:cubicBezTo>
                    <a:cubicBezTo>
                      <a:pt x="361" y="492"/>
                      <a:pt x="361" y="492"/>
                      <a:pt x="361" y="492"/>
                    </a:cubicBezTo>
                    <a:cubicBezTo>
                      <a:pt x="361" y="493"/>
                      <a:pt x="360" y="493"/>
                      <a:pt x="360" y="493"/>
                    </a:cubicBezTo>
                    <a:cubicBezTo>
                      <a:pt x="360" y="493"/>
                      <a:pt x="359" y="493"/>
                      <a:pt x="359" y="493"/>
                    </a:cubicBezTo>
                    <a:cubicBezTo>
                      <a:pt x="358" y="493"/>
                      <a:pt x="358" y="493"/>
                      <a:pt x="357" y="493"/>
                    </a:cubicBezTo>
                    <a:cubicBezTo>
                      <a:pt x="356" y="493"/>
                      <a:pt x="356" y="493"/>
                      <a:pt x="355" y="493"/>
                    </a:cubicBezTo>
                    <a:cubicBezTo>
                      <a:pt x="355" y="493"/>
                      <a:pt x="355" y="492"/>
                      <a:pt x="354" y="492"/>
                    </a:cubicBezTo>
                    <a:cubicBezTo>
                      <a:pt x="354" y="492"/>
                      <a:pt x="354" y="492"/>
                      <a:pt x="354" y="491"/>
                    </a:cubicBezTo>
                    <a:cubicBezTo>
                      <a:pt x="353" y="491"/>
                      <a:pt x="353" y="491"/>
                      <a:pt x="353" y="490"/>
                    </a:cubicBezTo>
                    <a:cubicBezTo>
                      <a:pt x="353" y="490"/>
                      <a:pt x="353" y="490"/>
                      <a:pt x="353" y="490"/>
                    </a:cubicBezTo>
                    <a:cubicBezTo>
                      <a:pt x="353" y="490"/>
                      <a:pt x="352" y="490"/>
                      <a:pt x="352" y="489"/>
                    </a:cubicBezTo>
                    <a:cubicBezTo>
                      <a:pt x="352" y="489"/>
                      <a:pt x="351" y="489"/>
                      <a:pt x="351" y="489"/>
                    </a:cubicBezTo>
                    <a:cubicBezTo>
                      <a:pt x="350" y="489"/>
                      <a:pt x="350" y="489"/>
                      <a:pt x="350" y="488"/>
                    </a:cubicBezTo>
                    <a:cubicBezTo>
                      <a:pt x="350" y="488"/>
                      <a:pt x="350" y="488"/>
                      <a:pt x="350" y="488"/>
                    </a:cubicBezTo>
                    <a:cubicBezTo>
                      <a:pt x="350" y="488"/>
                      <a:pt x="351" y="488"/>
                      <a:pt x="351" y="488"/>
                    </a:cubicBezTo>
                    <a:cubicBezTo>
                      <a:pt x="351" y="488"/>
                      <a:pt x="351" y="488"/>
                      <a:pt x="351" y="488"/>
                    </a:cubicBezTo>
                    <a:cubicBezTo>
                      <a:pt x="351" y="488"/>
                      <a:pt x="351" y="488"/>
                      <a:pt x="350" y="487"/>
                    </a:cubicBezTo>
                    <a:cubicBezTo>
                      <a:pt x="350" y="487"/>
                      <a:pt x="350" y="487"/>
                      <a:pt x="350" y="487"/>
                    </a:cubicBezTo>
                    <a:cubicBezTo>
                      <a:pt x="349" y="487"/>
                      <a:pt x="349" y="487"/>
                      <a:pt x="349" y="487"/>
                    </a:cubicBezTo>
                    <a:cubicBezTo>
                      <a:pt x="349" y="487"/>
                      <a:pt x="349" y="487"/>
                      <a:pt x="349" y="487"/>
                    </a:cubicBezTo>
                    <a:cubicBezTo>
                      <a:pt x="348" y="486"/>
                      <a:pt x="347" y="486"/>
                      <a:pt x="346" y="485"/>
                    </a:cubicBezTo>
                    <a:cubicBezTo>
                      <a:pt x="346" y="485"/>
                      <a:pt x="346" y="484"/>
                      <a:pt x="346" y="484"/>
                    </a:cubicBezTo>
                    <a:cubicBezTo>
                      <a:pt x="345" y="484"/>
                      <a:pt x="345" y="484"/>
                      <a:pt x="345" y="484"/>
                    </a:cubicBezTo>
                    <a:cubicBezTo>
                      <a:pt x="345" y="484"/>
                      <a:pt x="344" y="484"/>
                      <a:pt x="344" y="483"/>
                    </a:cubicBezTo>
                    <a:cubicBezTo>
                      <a:pt x="344" y="483"/>
                      <a:pt x="344" y="483"/>
                      <a:pt x="343" y="483"/>
                    </a:cubicBezTo>
                    <a:cubicBezTo>
                      <a:pt x="343" y="483"/>
                      <a:pt x="343" y="483"/>
                      <a:pt x="344" y="483"/>
                    </a:cubicBezTo>
                    <a:cubicBezTo>
                      <a:pt x="343" y="483"/>
                      <a:pt x="343" y="483"/>
                      <a:pt x="342" y="483"/>
                    </a:cubicBezTo>
                    <a:cubicBezTo>
                      <a:pt x="342" y="483"/>
                      <a:pt x="342" y="483"/>
                      <a:pt x="342" y="483"/>
                    </a:cubicBezTo>
                    <a:cubicBezTo>
                      <a:pt x="342" y="483"/>
                      <a:pt x="343" y="483"/>
                      <a:pt x="343" y="484"/>
                    </a:cubicBezTo>
                    <a:cubicBezTo>
                      <a:pt x="343" y="484"/>
                      <a:pt x="343" y="484"/>
                      <a:pt x="344" y="484"/>
                    </a:cubicBezTo>
                    <a:cubicBezTo>
                      <a:pt x="344" y="484"/>
                      <a:pt x="344" y="485"/>
                      <a:pt x="343" y="485"/>
                    </a:cubicBezTo>
                    <a:cubicBezTo>
                      <a:pt x="343" y="485"/>
                      <a:pt x="343" y="485"/>
                      <a:pt x="343" y="485"/>
                    </a:cubicBezTo>
                    <a:cubicBezTo>
                      <a:pt x="342" y="484"/>
                      <a:pt x="341" y="484"/>
                      <a:pt x="340" y="484"/>
                    </a:cubicBezTo>
                    <a:cubicBezTo>
                      <a:pt x="340" y="485"/>
                      <a:pt x="341" y="485"/>
                      <a:pt x="342" y="485"/>
                    </a:cubicBezTo>
                    <a:cubicBezTo>
                      <a:pt x="343" y="486"/>
                      <a:pt x="343" y="486"/>
                      <a:pt x="344" y="487"/>
                    </a:cubicBezTo>
                    <a:cubicBezTo>
                      <a:pt x="344" y="488"/>
                      <a:pt x="345" y="488"/>
                      <a:pt x="345" y="488"/>
                    </a:cubicBezTo>
                    <a:cubicBezTo>
                      <a:pt x="345" y="489"/>
                      <a:pt x="346" y="489"/>
                      <a:pt x="346" y="489"/>
                    </a:cubicBezTo>
                    <a:cubicBezTo>
                      <a:pt x="346" y="489"/>
                      <a:pt x="346" y="490"/>
                      <a:pt x="346" y="490"/>
                    </a:cubicBezTo>
                    <a:cubicBezTo>
                      <a:pt x="346" y="490"/>
                      <a:pt x="347" y="491"/>
                      <a:pt x="347" y="491"/>
                    </a:cubicBezTo>
                    <a:cubicBezTo>
                      <a:pt x="347" y="492"/>
                      <a:pt x="348" y="492"/>
                      <a:pt x="348" y="492"/>
                    </a:cubicBezTo>
                    <a:cubicBezTo>
                      <a:pt x="348" y="493"/>
                      <a:pt x="348" y="493"/>
                      <a:pt x="349" y="493"/>
                    </a:cubicBezTo>
                    <a:cubicBezTo>
                      <a:pt x="349" y="493"/>
                      <a:pt x="349" y="493"/>
                      <a:pt x="349" y="493"/>
                    </a:cubicBezTo>
                    <a:cubicBezTo>
                      <a:pt x="349" y="493"/>
                      <a:pt x="349" y="493"/>
                      <a:pt x="350" y="493"/>
                    </a:cubicBezTo>
                    <a:cubicBezTo>
                      <a:pt x="351" y="493"/>
                      <a:pt x="353" y="494"/>
                      <a:pt x="355" y="494"/>
                    </a:cubicBezTo>
                    <a:cubicBezTo>
                      <a:pt x="355" y="494"/>
                      <a:pt x="355" y="494"/>
                      <a:pt x="355" y="494"/>
                    </a:cubicBezTo>
                    <a:cubicBezTo>
                      <a:pt x="355" y="494"/>
                      <a:pt x="356" y="494"/>
                      <a:pt x="356" y="494"/>
                    </a:cubicBezTo>
                    <a:cubicBezTo>
                      <a:pt x="356" y="494"/>
                      <a:pt x="357" y="494"/>
                      <a:pt x="357" y="494"/>
                    </a:cubicBezTo>
                    <a:cubicBezTo>
                      <a:pt x="357" y="494"/>
                      <a:pt x="357" y="494"/>
                      <a:pt x="358" y="494"/>
                    </a:cubicBezTo>
                    <a:cubicBezTo>
                      <a:pt x="358" y="494"/>
                      <a:pt x="358" y="494"/>
                      <a:pt x="359" y="494"/>
                    </a:cubicBezTo>
                    <a:cubicBezTo>
                      <a:pt x="359" y="494"/>
                      <a:pt x="359" y="494"/>
                      <a:pt x="359" y="494"/>
                    </a:cubicBezTo>
                    <a:cubicBezTo>
                      <a:pt x="360" y="494"/>
                      <a:pt x="361" y="494"/>
                      <a:pt x="361" y="495"/>
                    </a:cubicBezTo>
                    <a:cubicBezTo>
                      <a:pt x="361" y="495"/>
                      <a:pt x="361" y="495"/>
                      <a:pt x="362" y="495"/>
                    </a:cubicBezTo>
                    <a:cubicBezTo>
                      <a:pt x="362" y="495"/>
                      <a:pt x="362" y="495"/>
                      <a:pt x="362" y="495"/>
                    </a:cubicBezTo>
                    <a:cubicBezTo>
                      <a:pt x="362" y="496"/>
                      <a:pt x="362" y="496"/>
                      <a:pt x="362" y="496"/>
                    </a:cubicBezTo>
                    <a:cubicBezTo>
                      <a:pt x="363" y="496"/>
                      <a:pt x="362" y="497"/>
                      <a:pt x="362" y="497"/>
                    </a:cubicBezTo>
                    <a:cubicBezTo>
                      <a:pt x="362" y="497"/>
                      <a:pt x="362" y="497"/>
                      <a:pt x="362" y="497"/>
                    </a:cubicBezTo>
                    <a:cubicBezTo>
                      <a:pt x="362" y="498"/>
                      <a:pt x="362" y="498"/>
                      <a:pt x="362" y="498"/>
                    </a:cubicBezTo>
                    <a:cubicBezTo>
                      <a:pt x="362" y="498"/>
                      <a:pt x="362" y="498"/>
                      <a:pt x="362" y="498"/>
                    </a:cubicBezTo>
                    <a:cubicBezTo>
                      <a:pt x="361" y="498"/>
                      <a:pt x="361" y="498"/>
                      <a:pt x="361" y="498"/>
                    </a:cubicBezTo>
                    <a:cubicBezTo>
                      <a:pt x="361" y="499"/>
                      <a:pt x="361" y="499"/>
                      <a:pt x="361" y="499"/>
                    </a:cubicBezTo>
                    <a:cubicBezTo>
                      <a:pt x="361" y="499"/>
                      <a:pt x="361" y="499"/>
                      <a:pt x="362" y="499"/>
                    </a:cubicBezTo>
                    <a:cubicBezTo>
                      <a:pt x="362" y="499"/>
                      <a:pt x="362" y="499"/>
                      <a:pt x="362" y="499"/>
                    </a:cubicBezTo>
                    <a:cubicBezTo>
                      <a:pt x="362" y="499"/>
                      <a:pt x="362" y="499"/>
                      <a:pt x="362" y="499"/>
                    </a:cubicBezTo>
                    <a:cubicBezTo>
                      <a:pt x="361" y="500"/>
                      <a:pt x="361" y="500"/>
                      <a:pt x="361" y="500"/>
                    </a:cubicBezTo>
                    <a:cubicBezTo>
                      <a:pt x="361" y="500"/>
                      <a:pt x="361" y="500"/>
                      <a:pt x="361" y="500"/>
                    </a:cubicBezTo>
                    <a:cubicBezTo>
                      <a:pt x="360" y="501"/>
                      <a:pt x="360" y="501"/>
                      <a:pt x="360" y="502"/>
                    </a:cubicBezTo>
                    <a:cubicBezTo>
                      <a:pt x="360" y="502"/>
                      <a:pt x="360" y="502"/>
                      <a:pt x="360" y="503"/>
                    </a:cubicBezTo>
                    <a:cubicBezTo>
                      <a:pt x="360" y="503"/>
                      <a:pt x="360" y="503"/>
                      <a:pt x="360" y="503"/>
                    </a:cubicBezTo>
                    <a:cubicBezTo>
                      <a:pt x="359" y="503"/>
                      <a:pt x="359" y="503"/>
                      <a:pt x="359" y="503"/>
                    </a:cubicBezTo>
                    <a:cubicBezTo>
                      <a:pt x="359" y="503"/>
                      <a:pt x="359" y="503"/>
                      <a:pt x="359" y="504"/>
                    </a:cubicBezTo>
                    <a:cubicBezTo>
                      <a:pt x="359" y="504"/>
                      <a:pt x="359" y="505"/>
                      <a:pt x="358" y="505"/>
                    </a:cubicBezTo>
                    <a:cubicBezTo>
                      <a:pt x="358" y="505"/>
                      <a:pt x="358" y="505"/>
                      <a:pt x="358" y="506"/>
                    </a:cubicBezTo>
                    <a:cubicBezTo>
                      <a:pt x="358" y="506"/>
                      <a:pt x="358" y="506"/>
                      <a:pt x="358" y="506"/>
                    </a:cubicBezTo>
                    <a:cubicBezTo>
                      <a:pt x="357" y="506"/>
                      <a:pt x="356" y="506"/>
                      <a:pt x="356" y="507"/>
                    </a:cubicBezTo>
                    <a:cubicBezTo>
                      <a:pt x="356" y="507"/>
                      <a:pt x="356" y="508"/>
                      <a:pt x="356" y="508"/>
                    </a:cubicBezTo>
                    <a:cubicBezTo>
                      <a:pt x="356" y="508"/>
                      <a:pt x="356" y="509"/>
                      <a:pt x="356" y="509"/>
                    </a:cubicBezTo>
                    <a:cubicBezTo>
                      <a:pt x="355" y="510"/>
                      <a:pt x="355" y="510"/>
                      <a:pt x="355" y="511"/>
                    </a:cubicBezTo>
                    <a:cubicBezTo>
                      <a:pt x="355" y="511"/>
                      <a:pt x="355" y="511"/>
                      <a:pt x="355" y="512"/>
                    </a:cubicBezTo>
                    <a:cubicBezTo>
                      <a:pt x="354" y="512"/>
                      <a:pt x="354" y="512"/>
                      <a:pt x="354" y="512"/>
                    </a:cubicBezTo>
                    <a:cubicBezTo>
                      <a:pt x="354" y="512"/>
                      <a:pt x="353" y="512"/>
                      <a:pt x="353" y="512"/>
                    </a:cubicBezTo>
                    <a:cubicBezTo>
                      <a:pt x="353" y="512"/>
                      <a:pt x="353" y="512"/>
                      <a:pt x="353" y="512"/>
                    </a:cubicBezTo>
                    <a:cubicBezTo>
                      <a:pt x="352" y="513"/>
                      <a:pt x="352" y="513"/>
                      <a:pt x="352" y="513"/>
                    </a:cubicBezTo>
                    <a:cubicBezTo>
                      <a:pt x="352" y="513"/>
                      <a:pt x="352" y="514"/>
                      <a:pt x="351" y="514"/>
                    </a:cubicBezTo>
                    <a:cubicBezTo>
                      <a:pt x="351" y="514"/>
                      <a:pt x="351" y="514"/>
                      <a:pt x="351" y="514"/>
                    </a:cubicBezTo>
                    <a:cubicBezTo>
                      <a:pt x="350" y="514"/>
                      <a:pt x="350" y="514"/>
                      <a:pt x="350" y="514"/>
                    </a:cubicBezTo>
                    <a:cubicBezTo>
                      <a:pt x="349" y="514"/>
                      <a:pt x="349" y="514"/>
                      <a:pt x="348" y="514"/>
                    </a:cubicBezTo>
                    <a:cubicBezTo>
                      <a:pt x="348" y="514"/>
                      <a:pt x="348" y="513"/>
                      <a:pt x="348" y="514"/>
                    </a:cubicBezTo>
                    <a:cubicBezTo>
                      <a:pt x="348" y="514"/>
                      <a:pt x="348" y="514"/>
                      <a:pt x="348" y="514"/>
                    </a:cubicBezTo>
                    <a:cubicBezTo>
                      <a:pt x="348" y="514"/>
                      <a:pt x="348" y="514"/>
                      <a:pt x="348" y="514"/>
                    </a:cubicBezTo>
                    <a:cubicBezTo>
                      <a:pt x="348" y="514"/>
                      <a:pt x="348" y="514"/>
                      <a:pt x="348" y="514"/>
                    </a:cubicBezTo>
                    <a:cubicBezTo>
                      <a:pt x="348" y="515"/>
                      <a:pt x="348" y="515"/>
                      <a:pt x="348" y="515"/>
                    </a:cubicBezTo>
                    <a:cubicBezTo>
                      <a:pt x="348" y="515"/>
                      <a:pt x="348" y="515"/>
                      <a:pt x="348" y="515"/>
                    </a:cubicBezTo>
                    <a:cubicBezTo>
                      <a:pt x="347" y="515"/>
                      <a:pt x="347" y="515"/>
                      <a:pt x="347" y="514"/>
                    </a:cubicBezTo>
                    <a:cubicBezTo>
                      <a:pt x="346" y="514"/>
                      <a:pt x="346" y="513"/>
                      <a:pt x="345" y="513"/>
                    </a:cubicBezTo>
                    <a:cubicBezTo>
                      <a:pt x="345" y="514"/>
                      <a:pt x="345" y="514"/>
                      <a:pt x="345" y="514"/>
                    </a:cubicBezTo>
                    <a:cubicBezTo>
                      <a:pt x="345" y="514"/>
                      <a:pt x="345" y="514"/>
                      <a:pt x="345" y="514"/>
                    </a:cubicBezTo>
                    <a:cubicBezTo>
                      <a:pt x="345" y="514"/>
                      <a:pt x="345" y="514"/>
                      <a:pt x="345" y="514"/>
                    </a:cubicBezTo>
                    <a:cubicBezTo>
                      <a:pt x="345" y="514"/>
                      <a:pt x="345" y="514"/>
                      <a:pt x="345" y="514"/>
                    </a:cubicBezTo>
                    <a:cubicBezTo>
                      <a:pt x="345" y="514"/>
                      <a:pt x="345" y="513"/>
                      <a:pt x="344" y="513"/>
                    </a:cubicBezTo>
                    <a:cubicBezTo>
                      <a:pt x="344" y="513"/>
                      <a:pt x="344" y="513"/>
                      <a:pt x="344" y="513"/>
                    </a:cubicBezTo>
                    <a:cubicBezTo>
                      <a:pt x="344" y="514"/>
                      <a:pt x="344" y="514"/>
                      <a:pt x="344" y="514"/>
                    </a:cubicBezTo>
                    <a:cubicBezTo>
                      <a:pt x="344" y="514"/>
                      <a:pt x="344" y="514"/>
                      <a:pt x="344" y="514"/>
                    </a:cubicBezTo>
                    <a:cubicBezTo>
                      <a:pt x="344" y="513"/>
                      <a:pt x="344" y="513"/>
                      <a:pt x="344" y="513"/>
                    </a:cubicBezTo>
                    <a:cubicBezTo>
                      <a:pt x="343" y="513"/>
                      <a:pt x="343" y="513"/>
                      <a:pt x="343" y="512"/>
                    </a:cubicBezTo>
                    <a:cubicBezTo>
                      <a:pt x="343" y="512"/>
                      <a:pt x="343" y="512"/>
                      <a:pt x="343" y="512"/>
                    </a:cubicBezTo>
                    <a:cubicBezTo>
                      <a:pt x="344" y="512"/>
                      <a:pt x="343" y="511"/>
                      <a:pt x="343" y="511"/>
                    </a:cubicBezTo>
                    <a:cubicBezTo>
                      <a:pt x="343" y="511"/>
                      <a:pt x="343" y="511"/>
                      <a:pt x="343" y="511"/>
                    </a:cubicBezTo>
                    <a:cubicBezTo>
                      <a:pt x="343" y="511"/>
                      <a:pt x="343" y="511"/>
                      <a:pt x="343" y="511"/>
                    </a:cubicBezTo>
                    <a:cubicBezTo>
                      <a:pt x="343" y="511"/>
                      <a:pt x="343" y="511"/>
                      <a:pt x="343" y="511"/>
                    </a:cubicBezTo>
                    <a:cubicBezTo>
                      <a:pt x="343" y="512"/>
                      <a:pt x="343" y="512"/>
                      <a:pt x="342" y="512"/>
                    </a:cubicBezTo>
                    <a:cubicBezTo>
                      <a:pt x="342" y="512"/>
                      <a:pt x="342" y="512"/>
                      <a:pt x="342" y="512"/>
                    </a:cubicBezTo>
                    <a:cubicBezTo>
                      <a:pt x="342" y="512"/>
                      <a:pt x="342" y="512"/>
                      <a:pt x="342" y="512"/>
                    </a:cubicBezTo>
                    <a:cubicBezTo>
                      <a:pt x="342" y="512"/>
                      <a:pt x="342" y="512"/>
                      <a:pt x="342" y="512"/>
                    </a:cubicBezTo>
                    <a:cubicBezTo>
                      <a:pt x="342" y="512"/>
                      <a:pt x="342" y="512"/>
                      <a:pt x="342" y="512"/>
                    </a:cubicBezTo>
                    <a:cubicBezTo>
                      <a:pt x="343" y="513"/>
                      <a:pt x="343" y="513"/>
                      <a:pt x="343" y="513"/>
                    </a:cubicBezTo>
                    <a:cubicBezTo>
                      <a:pt x="343" y="513"/>
                      <a:pt x="343" y="513"/>
                      <a:pt x="343" y="514"/>
                    </a:cubicBezTo>
                    <a:cubicBezTo>
                      <a:pt x="343" y="514"/>
                      <a:pt x="343" y="514"/>
                      <a:pt x="343" y="514"/>
                    </a:cubicBezTo>
                    <a:cubicBezTo>
                      <a:pt x="343" y="514"/>
                      <a:pt x="343" y="514"/>
                      <a:pt x="343" y="514"/>
                    </a:cubicBezTo>
                    <a:cubicBezTo>
                      <a:pt x="343" y="514"/>
                      <a:pt x="343" y="514"/>
                      <a:pt x="343" y="515"/>
                    </a:cubicBezTo>
                    <a:cubicBezTo>
                      <a:pt x="343" y="515"/>
                      <a:pt x="343" y="515"/>
                      <a:pt x="343" y="515"/>
                    </a:cubicBezTo>
                    <a:cubicBezTo>
                      <a:pt x="343" y="515"/>
                      <a:pt x="343" y="515"/>
                      <a:pt x="343" y="515"/>
                    </a:cubicBezTo>
                    <a:cubicBezTo>
                      <a:pt x="342" y="515"/>
                      <a:pt x="342" y="515"/>
                      <a:pt x="342" y="515"/>
                    </a:cubicBezTo>
                    <a:cubicBezTo>
                      <a:pt x="342" y="516"/>
                      <a:pt x="342" y="516"/>
                      <a:pt x="342" y="515"/>
                    </a:cubicBezTo>
                    <a:cubicBezTo>
                      <a:pt x="342" y="515"/>
                      <a:pt x="342" y="515"/>
                      <a:pt x="342" y="515"/>
                    </a:cubicBezTo>
                    <a:cubicBezTo>
                      <a:pt x="342" y="515"/>
                      <a:pt x="342" y="515"/>
                      <a:pt x="341" y="515"/>
                    </a:cubicBezTo>
                    <a:cubicBezTo>
                      <a:pt x="341" y="515"/>
                      <a:pt x="341" y="514"/>
                      <a:pt x="341" y="514"/>
                    </a:cubicBezTo>
                    <a:cubicBezTo>
                      <a:pt x="341" y="514"/>
                      <a:pt x="341" y="515"/>
                      <a:pt x="341" y="515"/>
                    </a:cubicBezTo>
                    <a:cubicBezTo>
                      <a:pt x="341" y="515"/>
                      <a:pt x="341" y="515"/>
                      <a:pt x="341" y="515"/>
                    </a:cubicBezTo>
                    <a:cubicBezTo>
                      <a:pt x="341" y="516"/>
                      <a:pt x="341" y="516"/>
                      <a:pt x="342" y="516"/>
                    </a:cubicBezTo>
                    <a:cubicBezTo>
                      <a:pt x="342" y="516"/>
                      <a:pt x="342" y="516"/>
                      <a:pt x="342" y="516"/>
                    </a:cubicBezTo>
                    <a:cubicBezTo>
                      <a:pt x="342" y="516"/>
                      <a:pt x="342" y="517"/>
                      <a:pt x="342" y="517"/>
                    </a:cubicBezTo>
                    <a:cubicBezTo>
                      <a:pt x="342" y="517"/>
                      <a:pt x="342" y="517"/>
                      <a:pt x="342" y="517"/>
                    </a:cubicBezTo>
                    <a:cubicBezTo>
                      <a:pt x="342" y="517"/>
                      <a:pt x="342" y="517"/>
                      <a:pt x="342" y="517"/>
                    </a:cubicBezTo>
                    <a:cubicBezTo>
                      <a:pt x="342" y="518"/>
                      <a:pt x="341" y="518"/>
                      <a:pt x="342" y="518"/>
                    </a:cubicBezTo>
                    <a:cubicBezTo>
                      <a:pt x="342" y="519"/>
                      <a:pt x="341" y="519"/>
                      <a:pt x="341" y="520"/>
                    </a:cubicBezTo>
                    <a:cubicBezTo>
                      <a:pt x="341" y="520"/>
                      <a:pt x="341" y="520"/>
                      <a:pt x="341" y="520"/>
                    </a:cubicBezTo>
                    <a:cubicBezTo>
                      <a:pt x="341" y="520"/>
                      <a:pt x="340" y="520"/>
                      <a:pt x="340" y="520"/>
                    </a:cubicBezTo>
                    <a:cubicBezTo>
                      <a:pt x="340" y="520"/>
                      <a:pt x="339" y="520"/>
                      <a:pt x="338" y="520"/>
                    </a:cubicBezTo>
                    <a:cubicBezTo>
                      <a:pt x="337" y="520"/>
                      <a:pt x="336" y="520"/>
                      <a:pt x="335" y="520"/>
                    </a:cubicBezTo>
                    <a:cubicBezTo>
                      <a:pt x="333" y="520"/>
                      <a:pt x="332" y="518"/>
                      <a:pt x="330" y="518"/>
                    </a:cubicBezTo>
                    <a:cubicBezTo>
                      <a:pt x="329" y="518"/>
                      <a:pt x="329" y="518"/>
                      <a:pt x="328" y="518"/>
                    </a:cubicBezTo>
                    <a:cubicBezTo>
                      <a:pt x="327" y="518"/>
                      <a:pt x="326" y="517"/>
                      <a:pt x="326" y="517"/>
                    </a:cubicBezTo>
                    <a:cubicBezTo>
                      <a:pt x="323" y="516"/>
                      <a:pt x="321" y="515"/>
                      <a:pt x="319" y="514"/>
                    </a:cubicBezTo>
                    <a:cubicBezTo>
                      <a:pt x="319" y="514"/>
                      <a:pt x="318" y="513"/>
                      <a:pt x="318" y="513"/>
                    </a:cubicBezTo>
                    <a:cubicBezTo>
                      <a:pt x="318" y="513"/>
                      <a:pt x="318" y="513"/>
                      <a:pt x="318" y="512"/>
                    </a:cubicBezTo>
                    <a:cubicBezTo>
                      <a:pt x="318" y="512"/>
                      <a:pt x="318" y="512"/>
                      <a:pt x="317" y="512"/>
                    </a:cubicBezTo>
                    <a:cubicBezTo>
                      <a:pt x="317" y="512"/>
                      <a:pt x="317" y="513"/>
                      <a:pt x="318" y="513"/>
                    </a:cubicBezTo>
                    <a:cubicBezTo>
                      <a:pt x="318" y="514"/>
                      <a:pt x="318" y="514"/>
                      <a:pt x="318" y="514"/>
                    </a:cubicBezTo>
                    <a:cubicBezTo>
                      <a:pt x="318" y="515"/>
                      <a:pt x="317" y="514"/>
                      <a:pt x="316" y="515"/>
                    </a:cubicBezTo>
                    <a:cubicBezTo>
                      <a:pt x="316" y="515"/>
                      <a:pt x="317" y="515"/>
                      <a:pt x="317" y="515"/>
                    </a:cubicBezTo>
                    <a:cubicBezTo>
                      <a:pt x="317" y="515"/>
                      <a:pt x="318" y="515"/>
                      <a:pt x="318" y="515"/>
                    </a:cubicBezTo>
                    <a:cubicBezTo>
                      <a:pt x="318" y="516"/>
                      <a:pt x="318" y="516"/>
                      <a:pt x="319" y="516"/>
                    </a:cubicBezTo>
                    <a:cubicBezTo>
                      <a:pt x="319" y="517"/>
                      <a:pt x="319" y="517"/>
                      <a:pt x="319" y="516"/>
                    </a:cubicBezTo>
                    <a:cubicBezTo>
                      <a:pt x="320" y="516"/>
                      <a:pt x="319" y="516"/>
                      <a:pt x="319" y="515"/>
                    </a:cubicBezTo>
                    <a:cubicBezTo>
                      <a:pt x="319" y="515"/>
                      <a:pt x="319" y="515"/>
                      <a:pt x="320" y="515"/>
                    </a:cubicBezTo>
                    <a:cubicBezTo>
                      <a:pt x="320" y="515"/>
                      <a:pt x="320" y="516"/>
                      <a:pt x="321" y="516"/>
                    </a:cubicBezTo>
                    <a:cubicBezTo>
                      <a:pt x="321" y="516"/>
                      <a:pt x="322" y="516"/>
                      <a:pt x="322" y="516"/>
                    </a:cubicBezTo>
                    <a:cubicBezTo>
                      <a:pt x="323" y="516"/>
                      <a:pt x="323" y="517"/>
                      <a:pt x="324" y="517"/>
                    </a:cubicBezTo>
                    <a:cubicBezTo>
                      <a:pt x="325" y="517"/>
                      <a:pt x="325" y="517"/>
                      <a:pt x="325" y="517"/>
                    </a:cubicBezTo>
                    <a:cubicBezTo>
                      <a:pt x="325" y="517"/>
                      <a:pt x="325" y="518"/>
                      <a:pt x="326" y="518"/>
                    </a:cubicBezTo>
                    <a:cubicBezTo>
                      <a:pt x="326" y="518"/>
                      <a:pt x="327" y="518"/>
                      <a:pt x="328" y="519"/>
                    </a:cubicBezTo>
                    <a:cubicBezTo>
                      <a:pt x="328" y="519"/>
                      <a:pt x="327" y="519"/>
                      <a:pt x="327" y="519"/>
                    </a:cubicBezTo>
                    <a:cubicBezTo>
                      <a:pt x="327" y="519"/>
                      <a:pt x="327" y="520"/>
                      <a:pt x="327" y="520"/>
                    </a:cubicBezTo>
                    <a:cubicBezTo>
                      <a:pt x="327" y="520"/>
                      <a:pt x="326" y="520"/>
                      <a:pt x="326" y="520"/>
                    </a:cubicBezTo>
                    <a:cubicBezTo>
                      <a:pt x="326" y="520"/>
                      <a:pt x="326" y="520"/>
                      <a:pt x="326" y="521"/>
                    </a:cubicBezTo>
                    <a:cubicBezTo>
                      <a:pt x="326" y="521"/>
                      <a:pt x="326" y="521"/>
                      <a:pt x="326" y="521"/>
                    </a:cubicBezTo>
                    <a:cubicBezTo>
                      <a:pt x="326" y="521"/>
                      <a:pt x="326" y="521"/>
                      <a:pt x="326" y="521"/>
                    </a:cubicBezTo>
                    <a:cubicBezTo>
                      <a:pt x="327" y="521"/>
                      <a:pt x="327" y="521"/>
                      <a:pt x="327" y="521"/>
                    </a:cubicBezTo>
                    <a:cubicBezTo>
                      <a:pt x="327" y="520"/>
                      <a:pt x="327" y="520"/>
                      <a:pt x="327" y="520"/>
                    </a:cubicBezTo>
                    <a:cubicBezTo>
                      <a:pt x="327" y="520"/>
                      <a:pt x="328" y="520"/>
                      <a:pt x="328" y="520"/>
                    </a:cubicBezTo>
                    <a:cubicBezTo>
                      <a:pt x="328" y="519"/>
                      <a:pt x="329" y="519"/>
                      <a:pt x="329" y="519"/>
                    </a:cubicBezTo>
                    <a:cubicBezTo>
                      <a:pt x="330" y="519"/>
                      <a:pt x="330" y="519"/>
                      <a:pt x="331" y="519"/>
                    </a:cubicBezTo>
                    <a:cubicBezTo>
                      <a:pt x="331" y="519"/>
                      <a:pt x="331" y="520"/>
                      <a:pt x="331" y="520"/>
                    </a:cubicBezTo>
                    <a:cubicBezTo>
                      <a:pt x="331" y="521"/>
                      <a:pt x="332" y="520"/>
                      <a:pt x="333" y="520"/>
                    </a:cubicBezTo>
                    <a:cubicBezTo>
                      <a:pt x="333" y="520"/>
                      <a:pt x="333" y="520"/>
                      <a:pt x="333" y="520"/>
                    </a:cubicBezTo>
                    <a:cubicBezTo>
                      <a:pt x="333" y="521"/>
                      <a:pt x="333" y="521"/>
                      <a:pt x="333" y="521"/>
                    </a:cubicBezTo>
                    <a:cubicBezTo>
                      <a:pt x="332" y="521"/>
                      <a:pt x="332" y="521"/>
                      <a:pt x="332" y="521"/>
                    </a:cubicBezTo>
                    <a:cubicBezTo>
                      <a:pt x="332" y="521"/>
                      <a:pt x="333" y="521"/>
                      <a:pt x="334" y="521"/>
                    </a:cubicBezTo>
                    <a:cubicBezTo>
                      <a:pt x="334" y="521"/>
                      <a:pt x="334" y="521"/>
                      <a:pt x="334" y="521"/>
                    </a:cubicBezTo>
                    <a:cubicBezTo>
                      <a:pt x="334" y="521"/>
                      <a:pt x="334" y="522"/>
                      <a:pt x="334" y="522"/>
                    </a:cubicBezTo>
                    <a:cubicBezTo>
                      <a:pt x="334" y="522"/>
                      <a:pt x="335" y="522"/>
                      <a:pt x="335" y="522"/>
                    </a:cubicBezTo>
                    <a:cubicBezTo>
                      <a:pt x="335" y="522"/>
                      <a:pt x="335" y="522"/>
                      <a:pt x="335" y="522"/>
                    </a:cubicBezTo>
                    <a:cubicBezTo>
                      <a:pt x="335" y="522"/>
                      <a:pt x="336" y="522"/>
                      <a:pt x="336" y="522"/>
                    </a:cubicBezTo>
                    <a:cubicBezTo>
                      <a:pt x="336" y="522"/>
                      <a:pt x="336" y="523"/>
                      <a:pt x="336" y="523"/>
                    </a:cubicBezTo>
                    <a:cubicBezTo>
                      <a:pt x="336" y="523"/>
                      <a:pt x="337" y="523"/>
                      <a:pt x="337" y="523"/>
                    </a:cubicBezTo>
                    <a:cubicBezTo>
                      <a:pt x="337" y="523"/>
                      <a:pt x="337" y="523"/>
                      <a:pt x="336" y="524"/>
                    </a:cubicBezTo>
                    <a:cubicBezTo>
                      <a:pt x="337" y="524"/>
                      <a:pt x="337" y="524"/>
                      <a:pt x="337" y="524"/>
                    </a:cubicBezTo>
                    <a:cubicBezTo>
                      <a:pt x="337" y="524"/>
                      <a:pt x="337" y="524"/>
                      <a:pt x="337" y="524"/>
                    </a:cubicBezTo>
                    <a:cubicBezTo>
                      <a:pt x="337" y="525"/>
                      <a:pt x="337" y="525"/>
                      <a:pt x="337" y="526"/>
                    </a:cubicBezTo>
                    <a:cubicBezTo>
                      <a:pt x="337" y="526"/>
                      <a:pt x="338" y="527"/>
                      <a:pt x="338" y="527"/>
                    </a:cubicBezTo>
                    <a:cubicBezTo>
                      <a:pt x="338" y="527"/>
                      <a:pt x="337" y="527"/>
                      <a:pt x="337" y="527"/>
                    </a:cubicBezTo>
                    <a:cubicBezTo>
                      <a:pt x="337" y="528"/>
                      <a:pt x="337" y="528"/>
                      <a:pt x="338" y="528"/>
                    </a:cubicBezTo>
                    <a:cubicBezTo>
                      <a:pt x="337" y="529"/>
                      <a:pt x="337" y="529"/>
                      <a:pt x="337" y="530"/>
                    </a:cubicBezTo>
                    <a:cubicBezTo>
                      <a:pt x="336" y="530"/>
                      <a:pt x="335" y="530"/>
                      <a:pt x="334" y="531"/>
                    </a:cubicBezTo>
                    <a:cubicBezTo>
                      <a:pt x="334" y="531"/>
                      <a:pt x="334" y="531"/>
                      <a:pt x="333" y="531"/>
                    </a:cubicBezTo>
                    <a:cubicBezTo>
                      <a:pt x="333" y="531"/>
                      <a:pt x="333" y="531"/>
                      <a:pt x="333" y="531"/>
                    </a:cubicBezTo>
                    <a:cubicBezTo>
                      <a:pt x="333" y="532"/>
                      <a:pt x="333" y="532"/>
                      <a:pt x="333" y="532"/>
                    </a:cubicBezTo>
                    <a:cubicBezTo>
                      <a:pt x="333" y="532"/>
                      <a:pt x="333" y="532"/>
                      <a:pt x="332" y="532"/>
                    </a:cubicBezTo>
                    <a:cubicBezTo>
                      <a:pt x="332" y="532"/>
                      <a:pt x="331" y="532"/>
                      <a:pt x="331" y="532"/>
                    </a:cubicBezTo>
                    <a:cubicBezTo>
                      <a:pt x="330" y="532"/>
                      <a:pt x="330" y="532"/>
                      <a:pt x="330" y="532"/>
                    </a:cubicBezTo>
                    <a:cubicBezTo>
                      <a:pt x="330" y="531"/>
                      <a:pt x="329" y="531"/>
                      <a:pt x="329" y="531"/>
                    </a:cubicBezTo>
                    <a:cubicBezTo>
                      <a:pt x="328" y="531"/>
                      <a:pt x="328" y="531"/>
                      <a:pt x="328" y="531"/>
                    </a:cubicBezTo>
                    <a:cubicBezTo>
                      <a:pt x="328" y="532"/>
                      <a:pt x="328" y="532"/>
                      <a:pt x="328" y="532"/>
                    </a:cubicBezTo>
                    <a:cubicBezTo>
                      <a:pt x="328" y="532"/>
                      <a:pt x="328" y="532"/>
                      <a:pt x="328" y="532"/>
                    </a:cubicBezTo>
                    <a:cubicBezTo>
                      <a:pt x="327" y="532"/>
                      <a:pt x="327" y="532"/>
                      <a:pt x="327" y="532"/>
                    </a:cubicBezTo>
                    <a:cubicBezTo>
                      <a:pt x="326" y="532"/>
                      <a:pt x="326" y="532"/>
                      <a:pt x="326" y="532"/>
                    </a:cubicBezTo>
                    <a:cubicBezTo>
                      <a:pt x="326" y="532"/>
                      <a:pt x="326" y="532"/>
                      <a:pt x="326" y="532"/>
                    </a:cubicBezTo>
                    <a:cubicBezTo>
                      <a:pt x="326" y="533"/>
                      <a:pt x="327" y="533"/>
                      <a:pt x="327" y="534"/>
                    </a:cubicBezTo>
                    <a:cubicBezTo>
                      <a:pt x="328" y="534"/>
                      <a:pt x="328" y="534"/>
                      <a:pt x="329" y="534"/>
                    </a:cubicBezTo>
                    <a:cubicBezTo>
                      <a:pt x="329" y="534"/>
                      <a:pt x="329" y="534"/>
                      <a:pt x="329" y="534"/>
                    </a:cubicBezTo>
                    <a:cubicBezTo>
                      <a:pt x="330" y="535"/>
                      <a:pt x="329" y="535"/>
                      <a:pt x="329" y="535"/>
                    </a:cubicBezTo>
                    <a:cubicBezTo>
                      <a:pt x="329" y="535"/>
                      <a:pt x="329" y="535"/>
                      <a:pt x="329" y="536"/>
                    </a:cubicBezTo>
                    <a:cubicBezTo>
                      <a:pt x="329" y="536"/>
                      <a:pt x="329" y="536"/>
                      <a:pt x="329" y="536"/>
                    </a:cubicBezTo>
                    <a:cubicBezTo>
                      <a:pt x="329" y="536"/>
                      <a:pt x="329" y="536"/>
                      <a:pt x="329" y="536"/>
                    </a:cubicBezTo>
                    <a:cubicBezTo>
                      <a:pt x="328" y="536"/>
                      <a:pt x="328" y="536"/>
                      <a:pt x="328" y="536"/>
                    </a:cubicBezTo>
                    <a:cubicBezTo>
                      <a:pt x="327" y="536"/>
                      <a:pt x="327" y="535"/>
                      <a:pt x="327" y="536"/>
                    </a:cubicBezTo>
                    <a:cubicBezTo>
                      <a:pt x="327" y="536"/>
                      <a:pt x="327" y="536"/>
                      <a:pt x="327" y="536"/>
                    </a:cubicBezTo>
                    <a:cubicBezTo>
                      <a:pt x="326" y="536"/>
                      <a:pt x="326" y="535"/>
                      <a:pt x="325" y="536"/>
                    </a:cubicBezTo>
                    <a:cubicBezTo>
                      <a:pt x="325" y="536"/>
                      <a:pt x="325" y="537"/>
                      <a:pt x="325" y="537"/>
                    </a:cubicBezTo>
                    <a:cubicBezTo>
                      <a:pt x="325" y="537"/>
                      <a:pt x="324" y="537"/>
                      <a:pt x="324" y="537"/>
                    </a:cubicBezTo>
                    <a:cubicBezTo>
                      <a:pt x="324" y="538"/>
                      <a:pt x="324" y="538"/>
                      <a:pt x="324" y="538"/>
                    </a:cubicBezTo>
                    <a:cubicBezTo>
                      <a:pt x="324" y="538"/>
                      <a:pt x="324" y="539"/>
                      <a:pt x="324" y="539"/>
                    </a:cubicBezTo>
                    <a:cubicBezTo>
                      <a:pt x="324" y="539"/>
                      <a:pt x="325" y="539"/>
                      <a:pt x="325" y="539"/>
                    </a:cubicBezTo>
                    <a:cubicBezTo>
                      <a:pt x="325" y="539"/>
                      <a:pt x="325" y="540"/>
                      <a:pt x="325" y="540"/>
                    </a:cubicBezTo>
                    <a:cubicBezTo>
                      <a:pt x="325" y="540"/>
                      <a:pt x="325" y="540"/>
                      <a:pt x="325" y="540"/>
                    </a:cubicBezTo>
                    <a:cubicBezTo>
                      <a:pt x="325" y="540"/>
                      <a:pt x="325" y="540"/>
                      <a:pt x="325" y="540"/>
                    </a:cubicBezTo>
                    <a:cubicBezTo>
                      <a:pt x="325" y="540"/>
                      <a:pt x="324" y="540"/>
                      <a:pt x="324" y="540"/>
                    </a:cubicBezTo>
                    <a:cubicBezTo>
                      <a:pt x="324" y="540"/>
                      <a:pt x="324" y="540"/>
                      <a:pt x="324" y="540"/>
                    </a:cubicBezTo>
                    <a:cubicBezTo>
                      <a:pt x="324" y="540"/>
                      <a:pt x="324" y="540"/>
                      <a:pt x="324" y="540"/>
                    </a:cubicBezTo>
                    <a:cubicBezTo>
                      <a:pt x="323" y="539"/>
                      <a:pt x="322" y="539"/>
                      <a:pt x="322" y="539"/>
                    </a:cubicBezTo>
                    <a:cubicBezTo>
                      <a:pt x="322" y="539"/>
                      <a:pt x="321" y="539"/>
                      <a:pt x="321" y="539"/>
                    </a:cubicBezTo>
                    <a:cubicBezTo>
                      <a:pt x="321" y="539"/>
                      <a:pt x="321" y="540"/>
                      <a:pt x="322" y="540"/>
                    </a:cubicBezTo>
                    <a:cubicBezTo>
                      <a:pt x="322" y="540"/>
                      <a:pt x="322" y="539"/>
                      <a:pt x="322" y="539"/>
                    </a:cubicBezTo>
                    <a:cubicBezTo>
                      <a:pt x="322" y="539"/>
                      <a:pt x="322" y="539"/>
                      <a:pt x="322" y="540"/>
                    </a:cubicBezTo>
                    <a:cubicBezTo>
                      <a:pt x="323" y="540"/>
                      <a:pt x="323" y="540"/>
                      <a:pt x="323" y="540"/>
                    </a:cubicBezTo>
                    <a:cubicBezTo>
                      <a:pt x="323" y="540"/>
                      <a:pt x="323" y="540"/>
                      <a:pt x="323" y="540"/>
                    </a:cubicBezTo>
                    <a:cubicBezTo>
                      <a:pt x="323" y="540"/>
                      <a:pt x="323" y="540"/>
                      <a:pt x="323" y="540"/>
                    </a:cubicBezTo>
                    <a:cubicBezTo>
                      <a:pt x="322" y="541"/>
                      <a:pt x="322" y="541"/>
                      <a:pt x="322" y="541"/>
                    </a:cubicBezTo>
                    <a:cubicBezTo>
                      <a:pt x="321" y="542"/>
                      <a:pt x="321" y="542"/>
                      <a:pt x="321" y="542"/>
                    </a:cubicBezTo>
                    <a:cubicBezTo>
                      <a:pt x="321" y="542"/>
                      <a:pt x="322" y="542"/>
                      <a:pt x="322" y="542"/>
                    </a:cubicBezTo>
                    <a:cubicBezTo>
                      <a:pt x="322" y="542"/>
                      <a:pt x="322" y="542"/>
                      <a:pt x="322" y="542"/>
                    </a:cubicBezTo>
                    <a:cubicBezTo>
                      <a:pt x="322" y="542"/>
                      <a:pt x="322" y="542"/>
                      <a:pt x="322" y="542"/>
                    </a:cubicBezTo>
                    <a:cubicBezTo>
                      <a:pt x="322" y="543"/>
                      <a:pt x="321" y="543"/>
                      <a:pt x="321" y="543"/>
                    </a:cubicBezTo>
                    <a:cubicBezTo>
                      <a:pt x="321" y="543"/>
                      <a:pt x="321" y="544"/>
                      <a:pt x="321" y="544"/>
                    </a:cubicBezTo>
                    <a:cubicBezTo>
                      <a:pt x="320" y="544"/>
                      <a:pt x="320" y="544"/>
                      <a:pt x="320" y="544"/>
                    </a:cubicBezTo>
                    <a:cubicBezTo>
                      <a:pt x="320" y="543"/>
                      <a:pt x="320" y="543"/>
                      <a:pt x="320" y="543"/>
                    </a:cubicBezTo>
                    <a:cubicBezTo>
                      <a:pt x="319" y="543"/>
                      <a:pt x="319" y="543"/>
                      <a:pt x="320" y="544"/>
                    </a:cubicBezTo>
                    <a:cubicBezTo>
                      <a:pt x="320" y="544"/>
                      <a:pt x="320" y="544"/>
                      <a:pt x="320" y="544"/>
                    </a:cubicBezTo>
                    <a:cubicBezTo>
                      <a:pt x="320" y="544"/>
                      <a:pt x="320" y="545"/>
                      <a:pt x="320" y="545"/>
                    </a:cubicBezTo>
                    <a:cubicBezTo>
                      <a:pt x="320" y="545"/>
                      <a:pt x="321" y="545"/>
                      <a:pt x="321" y="545"/>
                    </a:cubicBezTo>
                    <a:cubicBezTo>
                      <a:pt x="321" y="545"/>
                      <a:pt x="321" y="545"/>
                      <a:pt x="321" y="545"/>
                    </a:cubicBezTo>
                    <a:cubicBezTo>
                      <a:pt x="321" y="545"/>
                      <a:pt x="321" y="545"/>
                      <a:pt x="321" y="545"/>
                    </a:cubicBezTo>
                    <a:cubicBezTo>
                      <a:pt x="321" y="545"/>
                      <a:pt x="322" y="545"/>
                      <a:pt x="322" y="545"/>
                    </a:cubicBezTo>
                    <a:cubicBezTo>
                      <a:pt x="322" y="545"/>
                      <a:pt x="322" y="546"/>
                      <a:pt x="321" y="546"/>
                    </a:cubicBezTo>
                    <a:cubicBezTo>
                      <a:pt x="321" y="546"/>
                      <a:pt x="321" y="546"/>
                      <a:pt x="321" y="546"/>
                    </a:cubicBezTo>
                    <a:cubicBezTo>
                      <a:pt x="321" y="546"/>
                      <a:pt x="321" y="546"/>
                      <a:pt x="321" y="545"/>
                    </a:cubicBezTo>
                    <a:cubicBezTo>
                      <a:pt x="320" y="545"/>
                      <a:pt x="319" y="545"/>
                      <a:pt x="319" y="545"/>
                    </a:cubicBezTo>
                    <a:cubicBezTo>
                      <a:pt x="319" y="545"/>
                      <a:pt x="319" y="545"/>
                      <a:pt x="319" y="545"/>
                    </a:cubicBezTo>
                    <a:cubicBezTo>
                      <a:pt x="319" y="545"/>
                      <a:pt x="318" y="545"/>
                      <a:pt x="318" y="545"/>
                    </a:cubicBezTo>
                    <a:cubicBezTo>
                      <a:pt x="318" y="545"/>
                      <a:pt x="318" y="545"/>
                      <a:pt x="318" y="546"/>
                    </a:cubicBezTo>
                    <a:cubicBezTo>
                      <a:pt x="318" y="546"/>
                      <a:pt x="317" y="546"/>
                      <a:pt x="317" y="546"/>
                    </a:cubicBezTo>
                    <a:cubicBezTo>
                      <a:pt x="317" y="546"/>
                      <a:pt x="318" y="546"/>
                      <a:pt x="318" y="546"/>
                    </a:cubicBezTo>
                    <a:cubicBezTo>
                      <a:pt x="318" y="546"/>
                      <a:pt x="318" y="546"/>
                      <a:pt x="318" y="546"/>
                    </a:cubicBezTo>
                    <a:cubicBezTo>
                      <a:pt x="318" y="546"/>
                      <a:pt x="319" y="546"/>
                      <a:pt x="319" y="546"/>
                    </a:cubicBezTo>
                    <a:cubicBezTo>
                      <a:pt x="319" y="546"/>
                      <a:pt x="319" y="546"/>
                      <a:pt x="319" y="546"/>
                    </a:cubicBezTo>
                    <a:cubicBezTo>
                      <a:pt x="319" y="546"/>
                      <a:pt x="319" y="546"/>
                      <a:pt x="319" y="546"/>
                    </a:cubicBezTo>
                    <a:cubicBezTo>
                      <a:pt x="319" y="547"/>
                      <a:pt x="319" y="547"/>
                      <a:pt x="319" y="547"/>
                    </a:cubicBezTo>
                    <a:cubicBezTo>
                      <a:pt x="319" y="547"/>
                      <a:pt x="320" y="547"/>
                      <a:pt x="320" y="547"/>
                    </a:cubicBezTo>
                    <a:cubicBezTo>
                      <a:pt x="320" y="547"/>
                      <a:pt x="320" y="547"/>
                      <a:pt x="320" y="548"/>
                    </a:cubicBezTo>
                    <a:cubicBezTo>
                      <a:pt x="320" y="547"/>
                      <a:pt x="319" y="547"/>
                      <a:pt x="319" y="547"/>
                    </a:cubicBezTo>
                    <a:cubicBezTo>
                      <a:pt x="319" y="547"/>
                      <a:pt x="319" y="547"/>
                      <a:pt x="319" y="547"/>
                    </a:cubicBezTo>
                    <a:cubicBezTo>
                      <a:pt x="319" y="548"/>
                      <a:pt x="319" y="548"/>
                      <a:pt x="319" y="548"/>
                    </a:cubicBezTo>
                    <a:cubicBezTo>
                      <a:pt x="319" y="548"/>
                      <a:pt x="319" y="548"/>
                      <a:pt x="319" y="548"/>
                    </a:cubicBezTo>
                    <a:cubicBezTo>
                      <a:pt x="318" y="548"/>
                      <a:pt x="318" y="548"/>
                      <a:pt x="318" y="549"/>
                    </a:cubicBezTo>
                    <a:cubicBezTo>
                      <a:pt x="317" y="549"/>
                      <a:pt x="317" y="550"/>
                      <a:pt x="316" y="550"/>
                    </a:cubicBezTo>
                    <a:cubicBezTo>
                      <a:pt x="316" y="551"/>
                      <a:pt x="315" y="551"/>
                      <a:pt x="315" y="551"/>
                    </a:cubicBezTo>
                    <a:cubicBezTo>
                      <a:pt x="315" y="551"/>
                      <a:pt x="315" y="552"/>
                      <a:pt x="315" y="552"/>
                    </a:cubicBezTo>
                    <a:cubicBezTo>
                      <a:pt x="315" y="552"/>
                      <a:pt x="315" y="552"/>
                      <a:pt x="316" y="552"/>
                    </a:cubicBezTo>
                    <a:cubicBezTo>
                      <a:pt x="316" y="552"/>
                      <a:pt x="316" y="553"/>
                      <a:pt x="316" y="553"/>
                    </a:cubicBezTo>
                    <a:cubicBezTo>
                      <a:pt x="316" y="553"/>
                      <a:pt x="316" y="553"/>
                      <a:pt x="316" y="553"/>
                    </a:cubicBezTo>
                    <a:cubicBezTo>
                      <a:pt x="315" y="553"/>
                      <a:pt x="315" y="553"/>
                      <a:pt x="315" y="553"/>
                    </a:cubicBezTo>
                    <a:cubicBezTo>
                      <a:pt x="315" y="553"/>
                      <a:pt x="315" y="554"/>
                      <a:pt x="315" y="554"/>
                    </a:cubicBezTo>
                    <a:cubicBezTo>
                      <a:pt x="315" y="554"/>
                      <a:pt x="315" y="555"/>
                      <a:pt x="315" y="555"/>
                    </a:cubicBezTo>
                    <a:cubicBezTo>
                      <a:pt x="315" y="555"/>
                      <a:pt x="315" y="555"/>
                      <a:pt x="314" y="555"/>
                    </a:cubicBezTo>
                    <a:cubicBezTo>
                      <a:pt x="314" y="556"/>
                      <a:pt x="314" y="556"/>
                      <a:pt x="315" y="556"/>
                    </a:cubicBezTo>
                    <a:cubicBezTo>
                      <a:pt x="315" y="556"/>
                      <a:pt x="315" y="556"/>
                      <a:pt x="315" y="556"/>
                    </a:cubicBezTo>
                    <a:cubicBezTo>
                      <a:pt x="315" y="556"/>
                      <a:pt x="315" y="556"/>
                      <a:pt x="315" y="556"/>
                    </a:cubicBezTo>
                    <a:cubicBezTo>
                      <a:pt x="315" y="557"/>
                      <a:pt x="314" y="557"/>
                      <a:pt x="314" y="557"/>
                    </a:cubicBezTo>
                    <a:cubicBezTo>
                      <a:pt x="314" y="557"/>
                      <a:pt x="314" y="557"/>
                      <a:pt x="314" y="558"/>
                    </a:cubicBezTo>
                    <a:cubicBezTo>
                      <a:pt x="313" y="558"/>
                      <a:pt x="313" y="558"/>
                      <a:pt x="313" y="559"/>
                    </a:cubicBezTo>
                    <a:cubicBezTo>
                      <a:pt x="313" y="559"/>
                      <a:pt x="313" y="559"/>
                      <a:pt x="313" y="559"/>
                    </a:cubicBezTo>
                    <a:cubicBezTo>
                      <a:pt x="313" y="559"/>
                      <a:pt x="313" y="559"/>
                      <a:pt x="313" y="560"/>
                    </a:cubicBezTo>
                    <a:cubicBezTo>
                      <a:pt x="313" y="560"/>
                      <a:pt x="312" y="560"/>
                      <a:pt x="312" y="560"/>
                    </a:cubicBezTo>
                    <a:cubicBezTo>
                      <a:pt x="312" y="561"/>
                      <a:pt x="312" y="561"/>
                      <a:pt x="312" y="561"/>
                    </a:cubicBezTo>
                    <a:cubicBezTo>
                      <a:pt x="312" y="561"/>
                      <a:pt x="312" y="561"/>
                      <a:pt x="312" y="561"/>
                    </a:cubicBezTo>
                    <a:cubicBezTo>
                      <a:pt x="313" y="561"/>
                      <a:pt x="312" y="562"/>
                      <a:pt x="312" y="562"/>
                    </a:cubicBezTo>
                    <a:cubicBezTo>
                      <a:pt x="312" y="563"/>
                      <a:pt x="312" y="563"/>
                      <a:pt x="311" y="563"/>
                    </a:cubicBezTo>
                    <a:cubicBezTo>
                      <a:pt x="311" y="564"/>
                      <a:pt x="311" y="564"/>
                      <a:pt x="311" y="564"/>
                    </a:cubicBezTo>
                    <a:cubicBezTo>
                      <a:pt x="311" y="564"/>
                      <a:pt x="311" y="564"/>
                      <a:pt x="310" y="564"/>
                    </a:cubicBezTo>
                    <a:cubicBezTo>
                      <a:pt x="310" y="564"/>
                      <a:pt x="310" y="564"/>
                      <a:pt x="309" y="564"/>
                    </a:cubicBezTo>
                    <a:cubicBezTo>
                      <a:pt x="309" y="564"/>
                      <a:pt x="309" y="564"/>
                      <a:pt x="309" y="564"/>
                    </a:cubicBezTo>
                    <a:cubicBezTo>
                      <a:pt x="309" y="565"/>
                      <a:pt x="309" y="565"/>
                      <a:pt x="310" y="565"/>
                    </a:cubicBezTo>
                    <a:cubicBezTo>
                      <a:pt x="310" y="565"/>
                      <a:pt x="311" y="565"/>
                      <a:pt x="311" y="566"/>
                    </a:cubicBezTo>
                    <a:cubicBezTo>
                      <a:pt x="311" y="566"/>
                      <a:pt x="311" y="567"/>
                      <a:pt x="310" y="567"/>
                    </a:cubicBezTo>
                    <a:cubicBezTo>
                      <a:pt x="310" y="568"/>
                      <a:pt x="310" y="568"/>
                      <a:pt x="310" y="569"/>
                    </a:cubicBezTo>
                    <a:cubicBezTo>
                      <a:pt x="310" y="569"/>
                      <a:pt x="310" y="570"/>
                      <a:pt x="310" y="570"/>
                    </a:cubicBezTo>
                    <a:cubicBezTo>
                      <a:pt x="310" y="571"/>
                      <a:pt x="310" y="571"/>
                      <a:pt x="310" y="571"/>
                    </a:cubicBezTo>
                    <a:cubicBezTo>
                      <a:pt x="309" y="572"/>
                      <a:pt x="309" y="573"/>
                      <a:pt x="309" y="573"/>
                    </a:cubicBezTo>
                    <a:cubicBezTo>
                      <a:pt x="309" y="574"/>
                      <a:pt x="310" y="574"/>
                      <a:pt x="310" y="575"/>
                    </a:cubicBezTo>
                    <a:cubicBezTo>
                      <a:pt x="310" y="575"/>
                      <a:pt x="309" y="576"/>
                      <a:pt x="309" y="577"/>
                    </a:cubicBezTo>
                    <a:cubicBezTo>
                      <a:pt x="309" y="578"/>
                      <a:pt x="310" y="578"/>
                      <a:pt x="310" y="579"/>
                    </a:cubicBezTo>
                    <a:cubicBezTo>
                      <a:pt x="310" y="580"/>
                      <a:pt x="310" y="581"/>
                      <a:pt x="310" y="582"/>
                    </a:cubicBezTo>
                    <a:cubicBezTo>
                      <a:pt x="310" y="583"/>
                      <a:pt x="309" y="583"/>
                      <a:pt x="309" y="583"/>
                    </a:cubicBezTo>
                    <a:cubicBezTo>
                      <a:pt x="309" y="584"/>
                      <a:pt x="308" y="584"/>
                      <a:pt x="308" y="584"/>
                    </a:cubicBezTo>
                    <a:cubicBezTo>
                      <a:pt x="307" y="584"/>
                      <a:pt x="307" y="585"/>
                      <a:pt x="307" y="585"/>
                    </a:cubicBezTo>
                    <a:cubicBezTo>
                      <a:pt x="307" y="585"/>
                      <a:pt x="307" y="585"/>
                      <a:pt x="308" y="585"/>
                    </a:cubicBezTo>
                    <a:cubicBezTo>
                      <a:pt x="308" y="585"/>
                      <a:pt x="308" y="584"/>
                      <a:pt x="308" y="584"/>
                    </a:cubicBezTo>
                    <a:cubicBezTo>
                      <a:pt x="308" y="584"/>
                      <a:pt x="308" y="584"/>
                      <a:pt x="309" y="584"/>
                    </a:cubicBezTo>
                    <a:cubicBezTo>
                      <a:pt x="309" y="584"/>
                      <a:pt x="309" y="584"/>
                      <a:pt x="309" y="584"/>
                    </a:cubicBezTo>
                    <a:cubicBezTo>
                      <a:pt x="309" y="584"/>
                      <a:pt x="309" y="584"/>
                      <a:pt x="310" y="584"/>
                    </a:cubicBezTo>
                    <a:cubicBezTo>
                      <a:pt x="310" y="584"/>
                      <a:pt x="310" y="584"/>
                      <a:pt x="310" y="584"/>
                    </a:cubicBezTo>
                    <a:cubicBezTo>
                      <a:pt x="310" y="585"/>
                      <a:pt x="310" y="585"/>
                      <a:pt x="311" y="585"/>
                    </a:cubicBezTo>
                    <a:cubicBezTo>
                      <a:pt x="311" y="585"/>
                      <a:pt x="311" y="585"/>
                      <a:pt x="311" y="585"/>
                    </a:cubicBezTo>
                    <a:cubicBezTo>
                      <a:pt x="311" y="585"/>
                      <a:pt x="311" y="586"/>
                      <a:pt x="311" y="586"/>
                    </a:cubicBezTo>
                    <a:cubicBezTo>
                      <a:pt x="311" y="587"/>
                      <a:pt x="312" y="587"/>
                      <a:pt x="312" y="588"/>
                    </a:cubicBezTo>
                    <a:cubicBezTo>
                      <a:pt x="312" y="588"/>
                      <a:pt x="312" y="588"/>
                      <a:pt x="313" y="588"/>
                    </a:cubicBezTo>
                    <a:cubicBezTo>
                      <a:pt x="313" y="588"/>
                      <a:pt x="313" y="588"/>
                      <a:pt x="314" y="587"/>
                    </a:cubicBezTo>
                    <a:cubicBezTo>
                      <a:pt x="314" y="587"/>
                      <a:pt x="314" y="587"/>
                      <a:pt x="314" y="587"/>
                    </a:cubicBezTo>
                    <a:cubicBezTo>
                      <a:pt x="314" y="587"/>
                      <a:pt x="314" y="588"/>
                      <a:pt x="314" y="588"/>
                    </a:cubicBezTo>
                    <a:cubicBezTo>
                      <a:pt x="314" y="588"/>
                      <a:pt x="314" y="589"/>
                      <a:pt x="314" y="589"/>
                    </a:cubicBezTo>
                    <a:cubicBezTo>
                      <a:pt x="314" y="589"/>
                      <a:pt x="314" y="589"/>
                      <a:pt x="314" y="588"/>
                    </a:cubicBezTo>
                    <a:cubicBezTo>
                      <a:pt x="314" y="588"/>
                      <a:pt x="314" y="588"/>
                      <a:pt x="314" y="588"/>
                    </a:cubicBezTo>
                    <a:cubicBezTo>
                      <a:pt x="314" y="587"/>
                      <a:pt x="314" y="587"/>
                      <a:pt x="314" y="587"/>
                    </a:cubicBezTo>
                    <a:cubicBezTo>
                      <a:pt x="315" y="587"/>
                      <a:pt x="315" y="587"/>
                      <a:pt x="315" y="587"/>
                    </a:cubicBezTo>
                    <a:cubicBezTo>
                      <a:pt x="315" y="588"/>
                      <a:pt x="316" y="588"/>
                      <a:pt x="316" y="588"/>
                    </a:cubicBezTo>
                    <a:cubicBezTo>
                      <a:pt x="317" y="588"/>
                      <a:pt x="317" y="587"/>
                      <a:pt x="317" y="587"/>
                    </a:cubicBezTo>
                    <a:cubicBezTo>
                      <a:pt x="318" y="587"/>
                      <a:pt x="318" y="587"/>
                      <a:pt x="318" y="587"/>
                    </a:cubicBezTo>
                    <a:cubicBezTo>
                      <a:pt x="318" y="587"/>
                      <a:pt x="319" y="587"/>
                      <a:pt x="319" y="587"/>
                    </a:cubicBezTo>
                    <a:cubicBezTo>
                      <a:pt x="319" y="588"/>
                      <a:pt x="319" y="588"/>
                      <a:pt x="319" y="588"/>
                    </a:cubicBezTo>
                    <a:cubicBezTo>
                      <a:pt x="319" y="588"/>
                      <a:pt x="319" y="588"/>
                      <a:pt x="319" y="588"/>
                    </a:cubicBezTo>
                    <a:cubicBezTo>
                      <a:pt x="319" y="588"/>
                      <a:pt x="319" y="588"/>
                      <a:pt x="319" y="588"/>
                    </a:cubicBezTo>
                    <a:cubicBezTo>
                      <a:pt x="320" y="588"/>
                      <a:pt x="320" y="588"/>
                      <a:pt x="320" y="588"/>
                    </a:cubicBezTo>
                    <a:cubicBezTo>
                      <a:pt x="321" y="588"/>
                      <a:pt x="321" y="588"/>
                      <a:pt x="321" y="589"/>
                    </a:cubicBezTo>
                    <a:cubicBezTo>
                      <a:pt x="321" y="589"/>
                      <a:pt x="321" y="589"/>
                      <a:pt x="321" y="590"/>
                    </a:cubicBezTo>
                    <a:cubicBezTo>
                      <a:pt x="321" y="590"/>
                      <a:pt x="321" y="590"/>
                      <a:pt x="321" y="590"/>
                    </a:cubicBezTo>
                    <a:cubicBezTo>
                      <a:pt x="321" y="591"/>
                      <a:pt x="321" y="591"/>
                      <a:pt x="321" y="592"/>
                    </a:cubicBezTo>
                    <a:cubicBezTo>
                      <a:pt x="322" y="593"/>
                      <a:pt x="322" y="594"/>
                      <a:pt x="322" y="594"/>
                    </a:cubicBezTo>
                    <a:cubicBezTo>
                      <a:pt x="322" y="595"/>
                      <a:pt x="322" y="595"/>
                      <a:pt x="323" y="596"/>
                    </a:cubicBezTo>
                    <a:cubicBezTo>
                      <a:pt x="323" y="596"/>
                      <a:pt x="323" y="597"/>
                      <a:pt x="323" y="598"/>
                    </a:cubicBezTo>
                    <a:cubicBezTo>
                      <a:pt x="323" y="599"/>
                      <a:pt x="324" y="601"/>
                      <a:pt x="325" y="602"/>
                    </a:cubicBezTo>
                    <a:cubicBezTo>
                      <a:pt x="325" y="604"/>
                      <a:pt x="326" y="605"/>
                      <a:pt x="326" y="607"/>
                    </a:cubicBezTo>
                    <a:cubicBezTo>
                      <a:pt x="325" y="608"/>
                      <a:pt x="325" y="608"/>
                      <a:pt x="325" y="609"/>
                    </a:cubicBezTo>
                    <a:cubicBezTo>
                      <a:pt x="324" y="609"/>
                      <a:pt x="324" y="610"/>
                      <a:pt x="324" y="610"/>
                    </a:cubicBezTo>
                    <a:cubicBezTo>
                      <a:pt x="323" y="610"/>
                      <a:pt x="322" y="610"/>
                      <a:pt x="322" y="610"/>
                    </a:cubicBezTo>
                    <a:cubicBezTo>
                      <a:pt x="321" y="610"/>
                      <a:pt x="321" y="610"/>
                      <a:pt x="321" y="611"/>
                    </a:cubicBezTo>
                    <a:cubicBezTo>
                      <a:pt x="322" y="611"/>
                      <a:pt x="322" y="611"/>
                      <a:pt x="323" y="611"/>
                    </a:cubicBezTo>
                    <a:cubicBezTo>
                      <a:pt x="324" y="611"/>
                      <a:pt x="324" y="610"/>
                      <a:pt x="325" y="610"/>
                    </a:cubicBezTo>
                    <a:cubicBezTo>
                      <a:pt x="326" y="609"/>
                      <a:pt x="326" y="609"/>
                      <a:pt x="327" y="609"/>
                    </a:cubicBezTo>
                    <a:cubicBezTo>
                      <a:pt x="327" y="609"/>
                      <a:pt x="327" y="609"/>
                      <a:pt x="326" y="609"/>
                    </a:cubicBezTo>
                    <a:cubicBezTo>
                      <a:pt x="326" y="610"/>
                      <a:pt x="326" y="610"/>
                      <a:pt x="326" y="610"/>
                    </a:cubicBezTo>
                    <a:cubicBezTo>
                      <a:pt x="326" y="610"/>
                      <a:pt x="327" y="610"/>
                      <a:pt x="327" y="610"/>
                    </a:cubicBezTo>
                    <a:cubicBezTo>
                      <a:pt x="328" y="609"/>
                      <a:pt x="330" y="609"/>
                      <a:pt x="331" y="608"/>
                    </a:cubicBezTo>
                    <a:cubicBezTo>
                      <a:pt x="333" y="607"/>
                      <a:pt x="334" y="607"/>
                      <a:pt x="336" y="606"/>
                    </a:cubicBezTo>
                    <a:cubicBezTo>
                      <a:pt x="337" y="606"/>
                      <a:pt x="338" y="607"/>
                      <a:pt x="339" y="607"/>
                    </a:cubicBezTo>
                    <a:cubicBezTo>
                      <a:pt x="340" y="608"/>
                      <a:pt x="340" y="609"/>
                      <a:pt x="341" y="609"/>
                    </a:cubicBezTo>
                    <a:cubicBezTo>
                      <a:pt x="342" y="609"/>
                      <a:pt x="342" y="609"/>
                      <a:pt x="342" y="610"/>
                    </a:cubicBezTo>
                    <a:cubicBezTo>
                      <a:pt x="343" y="610"/>
                      <a:pt x="344" y="610"/>
                      <a:pt x="344" y="610"/>
                    </a:cubicBezTo>
                    <a:cubicBezTo>
                      <a:pt x="345" y="611"/>
                      <a:pt x="345" y="611"/>
                      <a:pt x="345" y="611"/>
                    </a:cubicBezTo>
                    <a:cubicBezTo>
                      <a:pt x="346" y="611"/>
                      <a:pt x="346" y="611"/>
                      <a:pt x="347" y="611"/>
                    </a:cubicBezTo>
                    <a:cubicBezTo>
                      <a:pt x="347" y="611"/>
                      <a:pt x="348" y="612"/>
                      <a:pt x="348" y="612"/>
                    </a:cubicBezTo>
                    <a:cubicBezTo>
                      <a:pt x="349" y="612"/>
                      <a:pt x="349" y="612"/>
                      <a:pt x="349" y="612"/>
                    </a:cubicBezTo>
                    <a:cubicBezTo>
                      <a:pt x="350" y="612"/>
                      <a:pt x="350" y="612"/>
                      <a:pt x="351" y="613"/>
                    </a:cubicBezTo>
                    <a:cubicBezTo>
                      <a:pt x="351" y="614"/>
                      <a:pt x="352" y="615"/>
                      <a:pt x="354" y="615"/>
                    </a:cubicBezTo>
                    <a:cubicBezTo>
                      <a:pt x="354" y="616"/>
                      <a:pt x="355" y="616"/>
                      <a:pt x="355" y="616"/>
                    </a:cubicBezTo>
                    <a:cubicBezTo>
                      <a:pt x="355" y="616"/>
                      <a:pt x="356" y="617"/>
                      <a:pt x="356" y="617"/>
                    </a:cubicBezTo>
                    <a:cubicBezTo>
                      <a:pt x="356" y="619"/>
                      <a:pt x="357" y="620"/>
                      <a:pt x="359" y="622"/>
                    </a:cubicBezTo>
                    <a:cubicBezTo>
                      <a:pt x="360" y="623"/>
                      <a:pt x="363" y="623"/>
                      <a:pt x="364" y="624"/>
                    </a:cubicBezTo>
                    <a:cubicBezTo>
                      <a:pt x="365" y="624"/>
                      <a:pt x="366" y="625"/>
                      <a:pt x="367" y="626"/>
                    </a:cubicBezTo>
                    <a:cubicBezTo>
                      <a:pt x="368" y="626"/>
                      <a:pt x="369" y="626"/>
                      <a:pt x="369" y="626"/>
                    </a:cubicBezTo>
                    <a:cubicBezTo>
                      <a:pt x="370" y="626"/>
                      <a:pt x="370" y="627"/>
                      <a:pt x="370" y="627"/>
                    </a:cubicBezTo>
                    <a:cubicBezTo>
                      <a:pt x="371" y="627"/>
                      <a:pt x="371" y="627"/>
                      <a:pt x="371" y="628"/>
                    </a:cubicBezTo>
                    <a:cubicBezTo>
                      <a:pt x="372" y="628"/>
                      <a:pt x="372" y="629"/>
                      <a:pt x="373" y="629"/>
                    </a:cubicBezTo>
                    <a:cubicBezTo>
                      <a:pt x="373" y="629"/>
                      <a:pt x="374" y="629"/>
                      <a:pt x="374" y="630"/>
                    </a:cubicBezTo>
                    <a:cubicBezTo>
                      <a:pt x="374" y="630"/>
                      <a:pt x="375" y="630"/>
                      <a:pt x="375" y="630"/>
                    </a:cubicBezTo>
                    <a:cubicBezTo>
                      <a:pt x="375" y="631"/>
                      <a:pt x="375" y="631"/>
                      <a:pt x="375" y="631"/>
                    </a:cubicBezTo>
                    <a:cubicBezTo>
                      <a:pt x="376" y="631"/>
                      <a:pt x="376" y="631"/>
                      <a:pt x="377" y="631"/>
                    </a:cubicBezTo>
                    <a:cubicBezTo>
                      <a:pt x="377" y="631"/>
                      <a:pt x="378" y="631"/>
                      <a:pt x="379" y="631"/>
                    </a:cubicBezTo>
                    <a:cubicBezTo>
                      <a:pt x="379" y="631"/>
                      <a:pt x="380" y="630"/>
                      <a:pt x="381" y="631"/>
                    </a:cubicBezTo>
                    <a:cubicBezTo>
                      <a:pt x="381" y="631"/>
                      <a:pt x="381" y="631"/>
                      <a:pt x="381" y="631"/>
                    </a:cubicBezTo>
                    <a:cubicBezTo>
                      <a:pt x="382" y="631"/>
                      <a:pt x="382" y="631"/>
                      <a:pt x="382" y="630"/>
                    </a:cubicBezTo>
                    <a:cubicBezTo>
                      <a:pt x="383" y="630"/>
                      <a:pt x="383" y="630"/>
                      <a:pt x="384" y="631"/>
                    </a:cubicBezTo>
                    <a:cubicBezTo>
                      <a:pt x="384" y="631"/>
                      <a:pt x="384" y="631"/>
                      <a:pt x="384" y="631"/>
                    </a:cubicBezTo>
                    <a:cubicBezTo>
                      <a:pt x="384" y="631"/>
                      <a:pt x="384" y="631"/>
                      <a:pt x="384" y="631"/>
                    </a:cubicBezTo>
                    <a:cubicBezTo>
                      <a:pt x="384" y="631"/>
                      <a:pt x="385" y="631"/>
                      <a:pt x="385" y="631"/>
                    </a:cubicBezTo>
                    <a:cubicBezTo>
                      <a:pt x="385" y="631"/>
                      <a:pt x="385" y="631"/>
                      <a:pt x="385" y="631"/>
                    </a:cubicBezTo>
                    <a:cubicBezTo>
                      <a:pt x="386" y="631"/>
                      <a:pt x="386" y="631"/>
                      <a:pt x="387" y="631"/>
                    </a:cubicBezTo>
                    <a:cubicBezTo>
                      <a:pt x="387" y="631"/>
                      <a:pt x="388" y="631"/>
                      <a:pt x="389" y="631"/>
                    </a:cubicBezTo>
                    <a:cubicBezTo>
                      <a:pt x="389" y="631"/>
                      <a:pt x="389" y="631"/>
                      <a:pt x="389" y="631"/>
                    </a:cubicBezTo>
                    <a:cubicBezTo>
                      <a:pt x="390" y="632"/>
                      <a:pt x="390" y="632"/>
                      <a:pt x="390" y="632"/>
                    </a:cubicBezTo>
                    <a:cubicBezTo>
                      <a:pt x="391" y="632"/>
                      <a:pt x="391" y="632"/>
                      <a:pt x="391" y="632"/>
                    </a:cubicBezTo>
                    <a:cubicBezTo>
                      <a:pt x="391" y="632"/>
                      <a:pt x="392" y="632"/>
                      <a:pt x="392" y="632"/>
                    </a:cubicBezTo>
                    <a:cubicBezTo>
                      <a:pt x="393" y="633"/>
                      <a:pt x="393" y="633"/>
                      <a:pt x="393" y="633"/>
                    </a:cubicBezTo>
                    <a:cubicBezTo>
                      <a:pt x="394" y="634"/>
                      <a:pt x="394" y="634"/>
                      <a:pt x="394" y="635"/>
                    </a:cubicBezTo>
                    <a:cubicBezTo>
                      <a:pt x="394" y="635"/>
                      <a:pt x="394" y="636"/>
                      <a:pt x="394" y="637"/>
                    </a:cubicBezTo>
                    <a:cubicBezTo>
                      <a:pt x="394" y="637"/>
                      <a:pt x="394" y="637"/>
                      <a:pt x="394" y="638"/>
                    </a:cubicBezTo>
                    <a:cubicBezTo>
                      <a:pt x="394" y="638"/>
                      <a:pt x="394" y="638"/>
                      <a:pt x="394" y="639"/>
                    </a:cubicBezTo>
                    <a:cubicBezTo>
                      <a:pt x="393" y="639"/>
                      <a:pt x="393" y="640"/>
                      <a:pt x="393" y="641"/>
                    </a:cubicBezTo>
                    <a:cubicBezTo>
                      <a:pt x="393" y="642"/>
                      <a:pt x="393" y="642"/>
                      <a:pt x="393" y="643"/>
                    </a:cubicBezTo>
                    <a:cubicBezTo>
                      <a:pt x="393" y="644"/>
                      <a:pt x="394" y="645"/>
                      <a:pt x="394" y="645"/>
                    </a:cubicBezTo>
                    <a:cubicBezTo>
                      <a:pt x="394" y="646"/>
                      <a:pt x="394" y="646"/>
                      <a:pt x="395" y="646"/>
                    </a:cubicBezTo>
                    <a:cubicBezTo>
                      <a:pt x="395" y="647"/>
                      <a:pt x="395" y="648"/>
                      <a:pt x="395" y="649"/>
                    </a:cubicBezTo>
                    <a:cubicBezTo>
                      <a:pt x="394" y="649"/>
                      <a:pt x="394" y="650"/>
                      <a:pt x="394" y="651"/>
                    </a:cubicBezTo>
                    <a:cubicBezTo>
                      <a:pt x="394" y="651"/>
                      <a:pt x="394" y="651"/>
                      <a:pt x="394" y="652"/>
                    </a:cubicBezTo>
                    <a:cubicBezTo>
                      <a:pt x="395" y="652"/>
                      <a:pt x="395" y="653"/>
                      <a:pt x="394" y="654"/>
                    </a:cubicBezTo>
                    <a:cubicBezTo>
                      <a:pt x="394" y="655"/>
                      <a:pt x="394" y="655"/>
                      <a:pt x="394" y="656"/>
                    </a:cubicBezTo>
                    <a:cubicBezTo>
                      <a:pt x="394" y="657"/>
                      <a:pt x="394" y="658"/>
                      <a:pt x="394" y="658"/>
                    </a:cubicBezTo>
                    <a:cubicBezTo>
                      <a:pt x="395" y="658"/>
                      <a:pt x="395" y="658"/>
                      <a:pt x="395" y="658"/>
                    </a:cubicBezTo>
                    <a:cubicBezTo>
                      <a:pt x="395" y="658"/>
                      <a:pt x="395" y="659"/>
                      <a:pt x="396" y="659"/>
                    </a:cubicBezTo>
                    <a:cubicBezTo>
                      <a:pt x="396" y="660"/>
                      <a:pt x="397" y="661"/>
                      <a:pt x="398" y="662"/>
                    </a:cubicBezTo>
                    <a:cubicBezTo>
                      <a:pt x="398" y="662"/>
                      <a:pt x="398" y="662"/>
                      <a:pt x="398" y="663"/>
                    </a:cubicBezTo>
                    <a:cubicBezTo>
                      <a:pt x="399" y="663"/>
                      <a:pt x="398" y="664"/>
                      <a:pt x="398" y="664"/>
                    </a:cubicBezTo>
                    <a:cubicBezTo>
                      <a:pt x="398" y="664"/>
                      <a:pt x="398" y="664"/>
                      <a:pt x="398" y="664"/>
                    </a:cubicBezTo>
                    <a:cubicBezTo>
                      <a:pt x="398" y="664"/>
                      <a:pt x="398" y="664"/>
                      <a:pt x="398" y="664"/>
                    </a:cubicBezTo>
                    <a:cubicBezTo>
                      <a:pt x="399" y="665"/>
                      <a:pt x="399" y="665"/>
                      <a:pt x="399" y="666"/>
                    </a:cubicBezTo>
                    <a:cubicBezTo>
                      <a:pt x="400" y="666"/>
                      <a:pt x="400" y="666"/>
                      <a:pt x="400" y="666"/>
                    </a:cubicBezTo>
                    <a:cubicBezTo>
                      <a:pt x="400" y="667"/>
                      <a:pt x="401" y="667"/>
                      <a:pt x="402" y="667"/>
                    </a:cubicBezTo>
                    <a:cubicBezTo>
                      <a:pt x="403" y="668"/>
                      <a:pt x="403" y="668"/>
                      <a:pt x="403" y="669"/>
                    </a:cubicBezTo>
                    <a:cubicBezTo>
                      <a:pt x="404" y="669"/>
                      <a:pt x="404" y="669"/>
                      <a:pt x="404" y="669"/>
                    </a:cubicBezTo>
                    <a:cubicBezTo>
                      <a:pt x="404" y="670"/>
                      <a:pt x="404" y="670"/>
                      <a:pt x="405" y="670"/>
                    </a:cubicBezTo>
                    <a:cubicBezTo>
                      <a:pt x="405" y="671"/>
                      <a:pt x="406" y="672"/>
                      <a:pt x="406" y="674"/>
                    </a:cubicBezTo>
                    <a:cubicBezTo>
                      <a:pt x="406" y="674"/>
                      <a:pt x="406" y="674"/>
                      <a:pt x="406" y="674"/>
                    </a:cubicBezTo>
                    <a:cubicBezTo>
                      <a:pt x="406" y="674"/>
                      <a:pt x="406" y="674"/>
                      <a:pt x="407" y="674"/>
                    </a:cubicBezTo>
                    <a:cubicBezTo>
                      <a:pt x="407" y="675"/>
                      <a:pt x="408" y="675"/>
                      <a:pt x="409" y="676"/>
                    </a:cubicBezTo>
                    <a:cubicBezTo>
                      <a:pt x="409" y="676"/>
                      <a:pt x="410" y="676"/>
                      <a:pt x="410" y="676"/>
                    </a:cubicBezTo>
                    <a:cubicBezTo>
                      <a:pt x="410" y="676"/>
                      <a:pt x="411" y="676"/>
                      <a:pt x="411" y="675"/>
                    </a:cubicBezTo>
                    <a:cubicBezTo>
                      <a:pt x="411" y="675"/>
                      <a:pt x="411" y="675"/>
                      <a:pt x="411" y="674"/>
                    </a:cubicBezTo>
                    <a:cubicBezTo>
                      <a:pt x="411" y="674"/>
                      <a:pt x="411" y="674"/>
                      <a:pt x="411" y="674"/>
                    </a:cubicBezTo>
                    <a:cubicBezTo>
                      <a:pt x="412" y="673"/>
                      <a:pt x="412" y="672"/>
                      <a:pt x="412" y="672"/>
                    </a:cubicBezTo>
                    <a:cubicBezTo>
                      <a:pt x="413" y="671"/>
                      <a:pt x="413" y="671"/>
                      <a:pt x="414" y="671"/>
                    </a:cubicBezTo>
                    <a:cubicBezTo>
                      <a:pt x="414" y="672"/>
                      <a:pt x="414" y="672"/>
                      <a:pt x="414" y="673"/>
                    </a:cubicBezTo>
                    <a:cubicBezTo>
                      <a:pt x="414" y="673"/>
                      <a:pt x="415" y="673"/>
                      <a:pt x="415" y="673"/>
                    </a:cubicBezTo>
                    <a:cubicBezTo>
                      <a:pt x="415" y="673"/>
                      <a:pt x="416" y="673"/>
                      <a:pt x="416" y="674"/>
                    </a:cubicBezTo>
                    <a:cubicBezTo>
                      <a:pt x="416" y="674"/>
                      <a:pt x="416" y="675"/>
                      <a:pt x="416" y="675"/>
                    </a:cubicBezTo>
                    <a:cubicBezTo>
                      <a:pt x="416" y="675"/>
                      <a:pt x="416" y="675"/>
                      <a:pt x="416" y="675"/>
                    </a:cubicBezTo>
                    <a:cubicBezTo>
                      <a:pt x="416" y="675"/>
                      <a:pt x="416" y="675"/>
                      <a:pt x="416" y="675"/>
                    </a:cubicBezTo>
                    <a:cubicBezTo>
                      <a:pt x="417" y="674"/>
                      <a:pt x="417" y="672"/>
                      <a:pt x="416" y="671"/>
                    </a:cubicBezTo>
                    <a:cubicBezTo>
                      <a:pt x="416" y="671"/>
                      <a:pt x="415" y="670"/>
                      <a:pt x="415" y="670"/>
                    </a:cubicBezTo>
                    <a:cubicBezTo>
                      <a:pt x="416" y="670"/>
                      <a:pt x="416" y="669"/>
                      <a:pt x="416" y="669"/>
                    </a:cubicBezTo>
                    <a:cubicBezTo>
                      <a:pt x="416" y="669"/>
                      <a:pt x="416" y="668"/>
                      <a:pt x="416" y="668"/>
                    </a:cubicBezTo>
                    <a:cubicBezTo>
                      <a:pt x="417" y="668"/>
                      <a:pt x="417" y="668"/>
                      <a:pt x="417" y="668"/>
                    </a:cubicBezTo>
                    <a:cubicBezTo>
                      <a:pt x="417" y="667"/>
                      <a:pt x="418" y="667"/>
                      <a:pt x="418" y="666"/>
                    </a:cubicBezTo>
                    <a:cubicBezTo>
                      <a:pt x="419" y="665"/>
                      <a:pt x="419" y="664"/>
                      <a:pt x="418" y="663"/>
                    </a:cubicBezTo>
                    <a:cubicBezTo>
                      <a:pt x="418" y="663"/>
                      <a:pt x="418" y="662"/>
                      <a:pt x="418" y="662"/>
                    </a:cubicBezTo>
                    <a:cubicBezTo>
                      <a:pt x="418" y="662"/>
                      <a:pt x="418" y="662"/>
                      <a:pt x="418" y="661"/>
                    </a:cubicBezTo>
                    <a:cubicBezTo>
                      <a:pt x="417" y="661"/>
                      <a:pt x="417" y="660"/>
                      <a:pt x="417" y="659"/>
                    </a:cubicBezTo>
                    <a:cubicBezTo>
                      <a:pt x="417" y="659"/>
                      <a:pt x="417" y="659"/>
                      <a:pt x="417" y="659"/>
                    </a:cubicBezTo>
                    <a:cubicBezTo>
                      <a:pt x="417" y="659"/>
                      <a:pt x="417" y="659"/>
                      <a:pt x="417" y="659"/>
                    </a:cubicBezTo>
                    <a:cubicBezTo>
                      <a:pt x="417" y="658"/>
                      <a:pt x="417" y="658"/>
                      <a:pt x="416" y="658"/>
                    </a:cubicBezTo>
                    <a:cubicBezTo>
                      <a:pt x="416" y="657"/>
                      <a:pt x="416" y="656"/>
                      <a:pt x="416" y="655"/>
                    </a:cubicBezTo>
                    <a:cubicBezTo>
                      <a:pt x="416" y="655"/>
                      <a:pt x="416" y="654"/>
                      <a:pt x="416" y="654"/>
                    </a:cubicBezTo>
                    <a:cubicBezTo>
                      <a:pt x="416" y="653"/>
                      <a:pt x="416" y="653"/>
                      <a:pt x="416" y="653"/>
                    </a:cubicBezTo>
                    <a:cubicBezTo>
                      <a:pt x="416" y="653"/>
                      <a:pt x="416" y="652"/>
                      <a:pt x="416" y="652"/>
                    </a:cubicBezTo>
                    <a:cubicBezTo>
                      <a:pt x="416" y="652"/>
                      <a:pt x="415" y="652"/>
                      <a:pt x="415" y="652"/>
                    </a:cubicBezTo>
                    <a:cubicBezTo>
                      <a:pt x="415" y="652"/>
                      <a:pt x="415" y="651"/>
                      <a:pt x="415" y="651"/>
                    </a:cubicBezTo>
                    <a:cubicBezTo>
                      <a:pt x="415" y="651"/>
                      <a:pt x="415" y="651"/>
                      <a:pt x="415" y="650"/>
                    </a:cubicBezTo>
                    <a:cubicBezTo>
                      <a:pt x="415" y="650"/>
                      <a:pt x="415" y="650"/>
                      <a:pt x="416" y="650"/>
                    </a:cubicBezTo>
                    <a:cubicBezTo>
                      <a:pt x="416" y="650"/>
                      <a:pt x="416" y="650"/>
                      <a:pt x="416" y="650"/>
                    </a:cubicBezTo>
                    <a:cubicBezTo>
                      <a:pt x="416" y="650"/>
                      <a:pt x="416" y="650"/>
                      <a:pt x="416" y="650"/>
                    </a:cubicBezTo>
                    <a:cubicBezTo>
                      <a:pt x="415" y="649"/>
                      <a:pt x="415" y="649"/>
                      <a:pt x="415" y="648"/>
                    </a:cubicBezTo>
                    <a:cubicBezTo>
                      <a:pt x="415" y="648"/>
                      <a:pt x="415" y="648"/>
                      <a:pt x="415" y="648"/>
                    </a:cubicBezTo>
                    <a:cubicBezTo>
                      <a:pt x="415" y="647"/>
                      <a:pt x="415" y="647"/>
                      <a:pt x="415" y="647"/>
                    </a:cubicBezTo>
                    <a:cubicBezTo>
                      <a:pt x="415" y="646"/>
                      <a:pt x="415" y="646"/>
                      <a:pt x="415" y="646"/>
                    </a:cubicBezTo>
                    <a:cubicBezTo>
                      <a:pt x="415" y="646"/>
                      <a:pt x="415" y="645"/>
                      <a:pt x="415" y="645"/>
                    </a:cubicBezTo>
                    <a:cubicBezTo>
                      <a:pt x="415" y="645"/>
                      <a:pt x="415" y="645"/>
                      <a:pt x="415" y="645"/>
                    </a:cubicBezTo>
                    <a:cubicBezTo>
                      <a:pt x="415" y="644"/>
                      <a:pt x="415" y="644"/>
                      <a:pt x="414" y="643"/>
                    </a:cubicBezTo>
                    <a:cubicBezTo>
                      <a:pt x="414" y="643"/>
                      <a:pt x="414" y="643"/>
                      <a:pt x="414" y="643"/>
                    </a:cubicBezTo>
                    <a:cubicBezTo>
                      <a:pt x="414" y="643"/>
                      <a:pt x="414" y="643"/>
                      <a:pt x="414" y="643"/>
                    </a:cubicBezTo>
                    <a:cubicBezTo>
                      <a:pt x="413" y="643"/>
                      <a:pt x="413" y="642"/>
                      <a:pt x="413" y="642"/>
                    </a:cubicBezTo>
                    <a:cubicBezTo>
                      <a:pt x="413" y="641"/>
                      <a:pt x="412" y="641"/>
                      <a:pt x="412" y="640"/>
                    </a:cubicBezTo>
                    <a:cubicBezTo>
                      <a:pt x="412" y="639"/>
                      <a:pt x="412" y="639"/>
                      <a:pt x="411" y="638"/>
                    </a:cubicBezTo>
                    <a:cubicBezTo>
                      <a:pt x="411" y="638"/>
                      <a:pt x="411" y="638"/>
                      <a:pt x="411" y="638"/>
                    </a:cubicBezTo>
                    <a:cubicBezTo>
                      <a:pt x="411" y="637"/>
                      <a:pt x="411" y="637"/>
                      <a:pt x="411" y="637"/>
                    </a:cubicBezTo>
                    <a:cubicBezTo>
                      <a:pt x="412" y="637"/>
                      <a:pt x="412" y="637"/>
                      <a:pt x="412" y="637"/>
                    </a:cubicBezTo>
                    <a:cubicBezTo>
                      <a:pt x="417" y="635"/>
                      <a:pt x="422" y="632"/>
                      <a:pt x="426" y="628"/>
                    </a:cubicBezTo>
                    <a:cubicBezTo>
                      <a:pt x="425" y="628"/>
                      <a:pt x="425" y="628"/>
                      <a:pt x="426" y="628"/>
                    </a:cubicBezTo>
                    <a:cubicBezTo>
                      <a:pt x="426" y="627"/>
                      <a:pt x="426" y="627"/>
                      <a:pt x="426" y="627"/>
                    </a:cubicBezTo>
                    <a:cubicBezTo>
                      <a:pt x="426" y="627"/>
                      <a:pt x="426" y="627"/>
                      <a:pt x="426" y="627"/>
                    </a:cubicBezTo>
                    <a:cubicBezTo>
                      <a:pt x="427" y="627"/>
                      <a:pt x="427" y="627"/>
                      <a:pt x="427" y="626"/>
                    </a:cubicBezTo>
                    <a:cubicBezTo>
                      <a:pt x="428" y="626"/>
                      <a:pt x="428" y="625"/>
                      <a:pt x="428" y="625"/>
                    </a:cubicBezTo>
                    <a:cubicBezTo>
                      <a:pt x="429" y="624"/>
                      <a:pt x="430" y="623"/>
                      <a:pt x="431" y="622"/>
                    </a:cubicBezTo>
                    <a:cubicBezTo>
                      <a:pt x="431" y="621"/>
                      <a:pt x="432" y="620"/>
                      <a:pt x="432" y="619"/>
                    </a:cubicBezTo>
                    <a:cubicBezTo>
                      <a:pt x="433" y="614"/>
                      <a:pt x="432" y="610"/>
                      <a:pt x="431" y="606"/>
                    </a:cubicBezTo>
                    <a:cubicBezTo>
                      <a:pt x="431" y="603"/>
                      <a:pt x="430" y="600"/>
                      <a:pt x="428" y="598"/>
                    </a:cubicBezTo>
                    <a:cubicBezTo>
                      <a:pt x="427" y="596"/>
                      <a:pt x="425" y="595"/>
                      <a:pt x="424" y="593"/>
                    </a:cubicBezTo>
                    <a:cubicBezTo>
                      <a:pt x="423" y="593"/>
                      <a:pt x="423" y="593"/>
                      <a:pt x="423" y="593"/>
                    </a:cubicBezTo>
                    <a:cubicBezTo>
                      <a:pt x="423" y="593"/>
                      <a:pt x="423" y="593"/>
                      <a:pt x="422" y="593"/>
                    </a:cubicBezTo>
                    <a:cubicBezTo>
                      <a:pt x="422" y="592"/>
                      <a:pt x="422" y="592"/>
                      <a:pt x="422" y="592"/>
                    </a:cubicBezTo>
                    <a:cubicBezTo>
                      <a:pt x="422" y="592"/>
                      <a:pt x="422" y="592"/>
                      <a:pt x="422" y="592"/>
                    </a:cubicBezTo>
                    <a:cubicBezTo>
                      <a:pt x="422" y="592"/>
                      <a:pt x="421" y="592"/>
                      <a:pt x="421" y="592"/>
                    </a:cubicBezTo>
                    <a:cubicBezTo>
                      <a:pt x="421" y="592"/>
                      <a:pt x="421" y="591"/>
                      <a:pt x="421" y="591"/>
                    </a:cubicBezTo>
                    <a:cubicBezTo>
                      <a:pt x="421" y="591"/>
                      <a:pt x="421" y="591"/>
                      <a:pt x="420" y="591"/>
                    </a:cubicBezTo>
                    <a:cubicBezTo>
                      <a:pt x="420" y="591"/>
                      <a:pt x="420" y="590"/>
                      <a:pt x="420" y="590"/>
                    </a:cubicBezTo>
                    <a:cubicBezTo>
                      <a:pt x="420" y="590"/>
                      <a:pt x="420" y="590"/>
                      <a:pt x="420" y="590"/>
                    </a:cubicBezTo>
                    <a:cubicBezTo>
                      <a:pt x="421" y="590"/>
                      <a:pt x="421" y="589"/>
                      <a:pt x="421" y="589"/>
                    </a:cubicBezTo>
                    <a:cubicBezTo>
                      <a:pt x="420" y="589"/>
                      <a:pt x="420" y="589"/>
                      <a:pt x="420" y="589"/>
                    </a:cubicBezTo>
                    <a:cubicBezTo>
                      <a:pt x="420" y="589"/>
                      <a:pt x="420" y="589"/>
                      <a:pt x="419" y="589"/>
                    </a:cubicBezTo>
                    <a:cubicBezTo>
                      <a:pt x="419" y="589"/>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8" y="590"/>
                      <a:pt x="418" y="589"/>
                    </a:cubicBezTo>
                    <a:cubicBezTo>
                      <a:pt x="418" y="589"/>
                      <a:pt x="418" y="589"/>
                      <a:pt x="418" y="589"/>
                    </a:cubicBezTo>
                    <a:cubicBezTo>
                      <a:pt x="418" y="589"/>
                      <a:pt x="418" y="589"/>
                      <a:pt x="418" y="589"/>
                    </a:cubicBezTo>
                    <a:cubicBezTo>
                      <a:pt x="418" y="589"/>
                      <a:pt x="418" y="589"/>
                      <a:pt x="418" y="589"/>
                    </a:cubicBezTo>
                    <a:cubicBezTo>
                      <a:pt x="418" y="589"/>
                      <a:pt x="419" y="589"/>
                      <a:pt x="419" y="589"/>
                    </a:cubicBezTo>
                    <a:cubicBezTo>
                      <a:pt x="419" y="589"/>
                      <a:pt x="419" y="589"/>
                      <a:pt x="419" y="589"/>
                    </a:cubicBezTo>
                    <a:cubicBezTo>
                      <a:pt x="419" y="588"/>
                      <a:pt x="419" y="588"/>
                      <a:pt x="419" y="588"/>
                    </a:cubicBezTo>
                    <a:cubicBezTo>
                      <a:pt x="419" y="588"/>
                      <a:pt x="419" y="588"/>
                      <a:pt x="419" y="588"/>
                    </a:cubicBezTo>
                    <a:cubicBezTo>
                      <a:pt x="418" y="588"/>
                      <a:pt x="418" y="588"/>
                      <a:pt x="418" y="587"/>
                    </a:cubicBezTo>
                    <a:cubicBezTo>
                      <a:pt x="418" y="587"/>
                      <a:pt x="418" y="587"/>
                      <a:pt x="418" y="587"/>
                    </a:cubicBezTo>
                    <a:cubicBezTo>
                      <a:pt x="418" y="587"/>
                      <a:pt x="418" y="587"/>
                      <a:pt x="418" y="586"/>
                    </a:cubicBezTo>
                    <a:cubicBezTo>
                      <a:pt x="419" y="586"/>
                      <a:pt x="419" y="586"/>
                      <a:pt x="419" y="586"/>
                    </a:cubicBezTo>
                    <a:cubicBezTo>
                      <a:pt x="418" y="586"/>
                      <a:pt x="418" y="586"/>
                      <a:pt x="418" y="586"/>
                    </a:cubicBezTo>
                    <a:cubicBezTo>
                      <a:pt x="418" y="586"/>
                      <a:pt x="418" y="586"/>
                      <a:pt x="418" y="585"/>
                    </a:cubicBezTo>
                    <a:cubicBezTo>
                      <a:pt x="419" y="585"/>
                      <a:pt x="419" y="585"/>
                      <a:pt x="419" y="585"/>
                    </a:cubicBezTo>
                    <a:cubicBezTo>
                      <a:pt x="419" y="585"/>
                      <a:pt x="420" y="585"/>
                      <a:pt x="420" y="585"/>
                    </a:cubicBezTo>
                    <a:cubicBezTo>
                      <a:pt x="421" y="584"/>
                      <a:pt x="421" y="583"/>
                      <a:pt x="422" y="582"/>
                    </a:cubicBezTo>
                    <a:cubicBezTo>
                      <a:pt x="422" y="581"/>
                      <a:pt x="423" y="581"/>
                      <a:pt x="423" y="580"/>
                    </a:cubicBezTo>
                    <a:cubicBezTo>
                      <a:pt x="423" y="580"/>
                      <a:pt x="424" y="580"/>
                      <a:pt x="424" y="580"/>
                    </a:cubicBezTo>
                    <a:cubicBezTo>
                      <a:pt x="424" y="580"/>
                      <a:pt x="424" y="579"/>
                      <a:pt x="424" y="579"/>
                    </a:cubicBezTo>
                    <a:cubicBezTo>
                      <a:pt x="424" y="579"/>
                      <a:pt x="423" y="579"/>
                      <a:pt x="423" y="579"/>
                    </a:cubicBezTo>
                    <a:cubicBezTo>
                      <a:pt x="423" y="579"/>
                      <a:pt x="423" y="579"/>
                      <a:pt x="423" y="579"/>
                    </a:cubicBezTo>
                    <a:cubicBezTo>
                      <a:pt x="423" y="579"/>
                      <a:pt x="423" y="579"/>
                      <a:pt x="423" y="579"/>
                    </a:cubicBezTo>
                    <a:cubicBezTo>
                      <a:pt x="423" y="579"/>
                      <a:pt x="423" y="579"/>
                      <a:pt x="423" y="578"/>
                    </a:cubicBezTo>
                    <a:cubicBezTo>
                      <a:pt x="423" y="578"/>
                      <a:pt x="423" y="578"/>
                      <a:pt x="423" y="578"/>
                    </a:cubicBezTo>
                    <a:cubicBezTo>
                      <a:pt x="423" y="578"/>
                      <a:pt x="423" y="578"/>
                      <a:pt x="424" y="577"/>
                    </a:cubicBezTo>
                    <a:cubicBezTo>
                      <a:pt x="424" y="577"/>
                      <a:pt x="424" y="577"/>
                      <a:pt x="424" y="577"/>
                    </a:cubicBezTo>
                    <a:cubicBezTo>
                      <a:pt x="424" y="577"/>
                      <a:pt x="424" y="576"/>
                      <a:pt x="424" y="576"/>
                    </a:cubicBezTo>
                    <a:cubicBezTo>
                      <a:pt x="424" y="576"/>
                      <a:pt x="424" y="576"/>
                      <a:pt x="424" y="576"/>
                    </a:cubicBezTo>
                    <a:cubicBezTo>
                      <a:pt x="424" y="576"/>
                      <a:pt x="424" y="576"/>
                      <a:pt x="424" y="575"/>
                    </a:cubicBezTo>
                    <a:cubicBezTo>
                      <a:pt x="424" y="575"/>
                      <a:pt x="424" y="575"/>
                      <a:pt x="425" y="575"/>
                    </a:cubicBezTo>
                    <a:cubicBezTo>
                      <a:pt x="425" y="575"/>
                      <a:pt x="425" y="575"/>
                      <a:pt x="425" y="575"/>
                    </a:cubicBezTo>
                    <a:cubicBezTo>
                      <a:pt x="425" y="575"/>
                      <a:pt x="425" y="575"/>
                      <a:pt x="425" y="575"/>
                    </a:cubicBezTo>
                    <a:cubicBezTo>
                      <a:pt x="425" y="576"/>
                      <a:pt x="425" y="576"/>
                      <a:pt x="425" y="576"/>
                    </a:cubicBezTo>
                    <a:cubicBezTo>
                      <a:pt x="426" y="576"/>
                      <a:pt x="425" y="577"/>
                      <a:pt x="426" y="577"/>
                    </a:cubicBezTo>
                    <a:cubicBezTo>
                      <a:pt x="426" y="577"/>
                      <a:pt x="426" y="577"/>
                      <a:pt x="426" y="577"/>
                    </a:cubicBezTo>
                    <a:cubicBezTo>
                      <a:pt x="426" y="577"/>
                      <a:pt x="426" y="577"/>
                      <a:pt x="426" y="576"/>
                    </a:cubicBezTo>
                    <a:cubicBezTo>
                      <a:pt x="426" y="576"/>
                      <a:pt x="426" y="576"/>
                      <a:pt x="426" y="576"/>
                    </a:cubicBezTo>
                    <a:cubicBezTo>
                      <a:pt x="426" y="576"/>
                      <a:pt x="425" y="575"/>
                      <a:pt x="425" y="575"/>
                    </a:cubicBezTo>
                    <a:cubicBezTo>
                      <a:pt x="425" y="575"/>
                      <a:pt x="425" y="575"/>
                      <a:pt x="425" y="575"/>
                    </a:cubicBezTo>
                    <a:cubicBezTo>
                      <a:pt x="425" y="574"/>
                      <a:pt x="426" y="574"/>
                      <a:pt x="426" y="574"/>
                    </a:cubicBezTo>
                    <a:cubicBezTo>
                      <a:pt x="426" y="574"/>
                      <a:pt x="426" y="574"/>
                      <a:pt x="426" y="574"/>
                    </a:cubicBezTo>
                    <a:cubicBezTo>
                      <a:pt x="427" y="574"/>
                      <a:pt x="427" y="574"/>
                      <a:pt x="427" y="574"/>
                    </a:cubicBezTo>
                    <a:cubicBezTo>
                      <a:pt x="427" y="573"/>
                      <a:pt x="427" y="573"/>
                      <a:pt x="426" y="573"/>
                    </a:cubicBezTo>
                    <a:cubicBezTo>
                      <a:pt x="426" y="573"/>
                      <a:pt x="426" y="573"/>
                      <a:pt x="426" y="573"/>
                    </a:cubicBezTo>
                    <a:cubicBezTo>
                      <a:pt x="426" y="573"/>
                      <a:pt x="426" y="573"/>
                      <a:pt x="426" y="572"/>
                    </a:cubicBezTo>
                    <a:cubicBezTo>
                      <a:pt x="426" y="572"/>
                      <a:pt x="426" y="572"/>
                      <a:pt x="427" y="572"/>
                    </a:cubicBezTo>
                    <a:cubicBezTo>
                      <a:pt x="427" y="572"/>
                      <a:pt x="427" y="572"/>
                      <a:pt x="427" y="571"/>
                    </a:cubicBezTo>
                    <a:cubicBezTo>
                      <a:pt x="427" y="571"/>
                      <a:pt x="427" y="571"/>
                      <a:pt x="427" y="571"/>
                    </a:cubicBezTo>
                    <a:cubicBezTo>
                      <a:pt x="427" y="571"/>
                      <a:pt x="427" y="571"/>
                      <a:pt x="427" y="571"/>
                    </a:cubicBezTo>
                    <a:cubicBezTo>
                      <a:pt x="427" y="571"/>
                      <a:pt x="427" y="571"/>
                      <a:pt x="426" y="571"/>
                    </a:cubicBezTo>
                    <a:cubicBezTo>
                      <a:pt x="426" y="571"/>
                      <a:pt x="426" y="571"/>
                      <a:pt x="426" y="571"/>
                    </a:cubicBezTo>
                    <a:cubicBezTo>
                      <a:pt x="426" y="571"/>
                      <a:pt x="426" y="571"/>
                      <a:pt x="426" y="571"/>
                    </a:cubicBezTo>
                    <a:cubicBezTo>
                      <a:pt x="425" y="571"/>
                      <a:pt x="425" y="571"/>
                      <a:pt x="425" y="570"/>
                    </a:cubicBezTo>
                    <a:cubicBezTo>
                      <a:pt x="425" y="570"/>
                      <a:pt x="425" y="570"/>
                      <a:pt x="425" y="570"/>
                    </a:cubicBezTo>
                    <a:cubicBezTo>
                      <a:pt x="425" y="570"/>
                      <a:pt x="425" y="570"/>
                      <a:pt x="425" y="569"/>
                    </a:cubicBezTo>
                    <a:cubicBezTo>
                      <a:pt x="425" y="569"/>
                      <a:pt x="426" y="569"/>
                      <a:pt x="426" y="569"/>
                    </a:cubicBezTo>
                    <a:cubicBezTo>
                      <a:pt x="426" y="569"/>
                      <a:pt x="426" y="569"/>
                      <a:pt x="426" y="569"/>
                    </a:cubicBezTo>
                    <a:cubicBezTo>
                      <a:pt x="425" y="569"/>
                      <a:pt x="425" y="569"/>
                      <a:pt x="425" y="569"/>
                    </a:cubicBezTo>
                    <a:cubicBezTo>
                      <a:pt x="425" y="569"/>
                      <a:pt x="425" y="568"/>
                      <a:pt x="425" y="568"/>
                    </a:cubicBezTo>
                    <a:cubicBezTo>
                      <a:pt x="425" y="568"/>
                      <a:pt x="425" y="568"/>
                      <a:pt x="425" y="568"/>
                    </a:cubicBezTo>
                    <a:cubicBezTo>
                      <a:pt x="425" y="568"/>
                      <a:pt x="426" y="568"/>
                      <a:pt x="426" y="568"/>
                    </a:cubicBezTo>
                    <a:cubicBezTo>
                      <a:pt x="426" y="568"/>
                      <a:pt x="426" y="568"/>
                      <a:pt x="426" y="568"/>
                    </a:cubicBezTo>
                    <a:cubicBezTo>
                      <a:pt x="426" y="568"/>
                      <a:pt x="426" y="567"/>
                      <a:pt x="426" y="567"/>
                    </a:cubicBezTo>
                    <a:cubicBezTo>
                      <a:pt x="425" y="567"/>
                      <a:pt x="425" y="567"/>
                      <a:pt x="425" y="567"/>
                    </a:cubicBezTo>
                    <a:cubicBezTo>
                      <a:pt x="425" y="567"/>
                      <a:pt x="424" y="566"/>
                      <a:pt x="424" y="566"/>
                    </a:cubicBezTo>
                    <a:cubicBezTo>
                      <a:pt x="424" y="566"/>
                      <a:pt x="424" y="566"/>
                      <a:pt x="424" y="566"/>
                    </a:cubicBezTo>
                    <a:cubicBezTo>
                      <a:pt x="424" y="566"/>
                      <a:pt x="424" y="566"/>
                      <a:pt x="424" y="566"/>
                    </a:cubicBezTo>
                    <a:cubicBezTo>
                      <a:pt x="424" y="566"/>
                      <a:pt x="424" y="565"/>
                      <a:pt x="424" y="565"/>
                    </a:cubicBezTo>
                    <a:cubicBezTo>
                      <a:pt x="425" y="565"/>
                      <a:pt x="425" y="565"/>
                      <a:pt x="425" y="565"/>
                    </a:cubicBezTo>
                    <a:cubicBezTo>
                      <a:pt x="425" y="565"/>
                      <a:pt x="425" y="565"/>
                      <a:pt x="425" y="564"/>
                    </a:cubicBezTo>
                    <a:cubicBezTo>
                      <a:pt x="425" y="564"/>
                      <a:pt x="425" y="564"/>
                      <a:pt x="425" y="564"/>
                    </a:cubicBezTo>
                    <a:cubicBezTo>
                      <a:pt x="425" y="564"/>
                      <a:pt x="425" y="564"/>
                      <a:pt x="425" y="564"/>
                    </a:cubicBezTo>
                    <a:cubicBezTo>
                      <a:pt x="425" y="564"/>
                      <a:pt x="425" y="564"/>
                      <a:pt x="425" y="564"/>
                    </a:cubicBezTo>
                    <a:cubicBezTo>
                      <a:pt x="425" y="564"/>
                      <a:pt x="425" y="564"/>
                      <a:pt x="424" y="564"/>
                    </a:cubicBezTo>
                    <a:cubicBezTo>
                      <a:pt x="424" y="564"/>
                      <a:pt x="424" y="563"/>
                      <a:pt x="424" y="563"/>
                    </a:cubicBezTo>
                    <a:cubicBezTo>
                      <a:pt x="424" y="563"/>
                      <a:pt x="424" y="563"/>
                      <a:pt x="424" y="563"/>
                    </a:cubicBezTo>
                    <a:cubicBezTo>
                      <a:pt x="424" y="563"/>
                      <a:pt x="424" y="563"/>
                      <a:pt x="424" y="563"/>
                    </a:cubicBezTo>
                    <a:cubicBezTo>
                      <a:pt x="424" y="563"/>
                      <a:pt x="424" y="563"/>
                      <a:pt x="424" y="563"/>
                    </a:cubicBezTo>
                    <a:cubicBezTo>
                      <a:pt x="424" y="563"/>
                      <a:pt x="424" y="563"/>
                      <a:pt x="423" y="563"/>
                    </a:cubicBezTo>
                    <a:cubicBezTo>
                      <a:pt x="423" y="562"/>
                      <a:pt x="424" y="562"/>
                      <a:pt x="424" y="562"/>
                    </a:cubicBezTo>
                    <a:cubicBezTo>
                      <a:pt x="424" y="562"/>
                      <a:pt x="424" y="562"/>
                      <a:pt x="424" y="562"/>
                    </a:cubicBezTo>
                    <a:cubicBezTo>
                      <a:pt x="424" y="562"/>
                      <a:pt x="424" y="562"/>
                      <a:pt x="424" y="562"/>
                    </a:cubicBezTo>
                    <a:cubicBezTo>
                      <a:pt x="424" y="562"/>
                      <a:pt x="424" y="562"/>
                      <a:pt x="424" y="562"/>
                    </a:cubicBezTo>
                    <a:cubicBezTo>
                      <a:pt x="424" y="562"/>
                      <a:pt x="424" y="562"/>
                      <a:pt x="424" y="562"/>
                    </a:cubicBezTo>
                    <a:cubicBezTo>
                      <a:pt x="425" y="562"/>
                      <a:pt x="425" y="562"/>
                      <a:pt x="425" y="561"/>
                    </a:cubicBezTo>
                    <a:cubicBezTo>
                      <a:pt x="425" y="561"/>
                      <a:pt x="425" y="561"/>
                      <a:pt x="425" y="561"/>
                    </a:cubicBezTo>
                    <a:cubicBezTo>
                      <a:pt x="424" y="561"/>
                      <a:pt x="424" y="561"/>
                      <a:pt x="424" y="561"/>
                    </a:cubicBezTo>
                    <a:cubicBezTo>
                      <a:pt x="424" y="561"/>
                      <a:pt x="424" y="561"/>
                      <a:pt x="423" y="561"/>
                    </a:cubicBezTo>
                    <a:cubicBezTo>
                      <a:pt x="423" y="561"/>
                      <a:pt x="423" y="561"/>
                      <a:pt x="423" y="561"/>
                    </a:cubicBezTo>
                    <a:cubicBezTo>
                      <a:pt x="423" y="561"/>
                      <a:pt x="422" y="561"/>
                      <a:pt x="422" y="560"/>
                    </a:cubicBezTo>
                    <a:cubicBezTo>
                      <a:pt x="422" y="560"/>
                      <a:pt x="422" y="560"/>
                      <a:pt x="422" y="560"/>
                    </a:cubicBezTo>
                    <a:cubicBezTo>
                      <a:pt x="422" y="560"/>
                      <a:pt x="421" y="560"/>
                      <a:pt x="421" y="560"/>
                    </a:cubicBezTo>
                    <a:cubicBezTo>
                      <a:pt x="421" y="560"/>
                      <a:pt x="421" y="560"/>
                      <a:pt x="421" y="560"/>
                    </a:cubicBezTo>
                    <a:cubicBezTo>
                      <a:pt x="421" y="561"/>
                      <a:pt x="421" y="561"/>
                      <a:pt x="421" y="561"/>
                    </a:cubicBezTo>
                    <a:cubicBezTo>
                      <a:pt x="420" y="561"/>
                      <a:pt x="420" y="561"/>
                      <a:pt x="420" y="561"/>
                    </a:cubicBezTo>
                    <a:cubicBezTo>
                      <a:pt x="420" y="561"/>
                      <a:pt x="419" y="561"/>
                      <a:pt x="419" y="561"/>
                    </a:cubicBezTo>
                    <a:cubicBezTo>
                      <a:pt x="419" y="561"/>
                      <a:pt x="419" y="561"/>
                      <a:pt x="419" y="561"/>
                    </a:cubicBezTo>
                    <a:cubicBezTo>
                      <a:pt x="418" y="561"/>
                      <a:pt x="418" y="561"/>
                      <a:pt x="418" y="561"/>
                    </a:cubicBezTo>
                    <a:cubicBezTo>
                      <a:pt x="418" y="561"/>
                      <a:pt x="418" y="561"/>
                      <a:pt x="418" y="561"/>
                    </a:cubicBezTo>
                    <a:cubicBezTo>
                      <a:pt x="418" y="561"/>
                      <a:pt x="418" y="561"/>
                      <a:pt x="418" y="561"/>
                    </a:cubicBezTo>
                    <a:cubicBezTo>
                      <a:pt x="419" y="561"/>
                      <a:pt x="419" y="560"/>
                      <a:pt x="419" y="560"/>
                    </a:cubicBezTo>
                    <a:cubicBezTo>
                      <a:pt x="420" y="560"/>
                      <a:pt x="420" y="560"/>
                      <a:pt x="421" y="560"/>
                    </a:cubicBezTo>
                    <a:cubicBezTo>
                      <a:pt x="421" y="560"/>
                      <a:pt x="421" y="560"/>
                      <a:pt x="421" y="559"/>
                    </a:cubicBezTo>
                    <a:cubicBezTo>
                      <a:pt x="422" y="559"/>
                      <a:pt x="422" y="559"/>
                      <a:pt x="422" y="558"/>
                    </a:cubicBezTo>
                    <a:cubicBezTo>
                      <a:pt x="422" y="558"/>
                      <a:pt x="422" y="558"/>
                      <a:pt x="422" y="558"/>
                    </a:cubicBezTo>
                    <a:cubicBezTo>
                      <a:pt x="423" y="558"/>
                      <a:pt x="423" y="557"/>
                      <a:pt x="423" y="557"/>
                    </a:cubicBezTo>
                    <a:cubicBezTo>
                      <a:pt x="423" y="557"/>
                      <a:pt x="423" y="557"/>
                      <a:pt x="424" y="557"/>
                    </a:cubicBezTo>
                    <a:cubicBezTo>
                      <a:pt x="424" y="556"/>
                      <a:pt x="424" y="556"/>
                      <a:pt x="424" y="556"/>
                    </a:cubicBezTo>
                    <a:cubicBezTo>
                      <a:pt x="424" y="556"/>
                      <a:pt x="424" y="555"/>
                      <a:pt x="424" y="555"/>
                    </a:cubicBezTo>
                    <a:cubicBezTo>
                      <a:pt x="424" y="555"/>
                      <a:pt x="424" y="555"/>
                      <a:pt x="424" y="555"/>
                    </a:cubicBezTo>
                    <a:cubicBezTo>
                      <a:pt x="424" y="555"/>
                      <a:pt x="424" y="555"/>
                      <a:pt x="424" y="554"/>
                    </a:cubicBezTo>
                    <a:cubicBezTo>
                      <a:pt x="424" y="554"/>
                      <a:pt x="424" y="553"/>
                      <a:pt x="424" y="552"/>
                    </a:cubicBezTo>
                    <a:cubicBezTo>
                      <a:pt x="424" y="552"/>
                      <a:pt x="424" y="552"/>
                      <a:pt x="424" y="552"/>
                    </a:cubicBezTo>
                    <a:cubicBezTo>
                      <a:pt x="424" y="552"/>
                      <a:pt x="424" y="551"/>
                      <a:pt x="424" y="551"/>
                    </a:cubicBezTo>
                    <a:cubicBezTo>
                      <a:pt x="424" y="551"/>
                      <a:pt x="425" y="551"/>
                      <a:pt x="425" y="551"/>
                    </a:cubicBezTo>
                    <a:cubicBezTo>
                      <a:pt x="425" y="551"/>
                      <a:pt x="425" y="551"/>
                      <a:pt x="425" y="551"/>
                    </a:cubicBezTo>
                    <a:cubicBezTo>
                      <a:pt x="425" y="551"/>
                      <a:pt x="425" y="551"/>
                      <a:pt x="425" y="551"/>
                    </a:cubicBezTo>
                    <a:cubicBezTo>
                      <a:pt x="425" y="551"/>
                      <a:pt x="425" y="551"/>
                      <a:pt x="425" y="551"/>
                    </a:cubicBezTo>
                    <a:cubicBezTo>
                      <a:pt x="425" y="551"/>
                      <a:pt x="425" y="550"/>
                      <a:pt x="425" y="550"/>
                    </a:cubicBezTo>
                    <a:cubicBezTo>
                      <a:pt x="425" y="550"/>
                      <a:pt x="424" y="550"/>
                      <a:pt x="424" y="550"/>
                    </a:cubicBezTo>
                    <a:cubicBezTo>
                      <a:pt x="424" y="550"/>
                      <a:pt x="425" y="550"/>
                      <a:pt x="425" y="550"/>
                    </a:cubicBezTo>
                    <a:cubicBezTo>
                      <a:pt x="425" y="550"/>
                      <a:pt x="425" y="550"/>
                      <a:pt x="425" y="549"/>
                    </a:cubicBezTo>
                    <a:cubicBezTo>
                      <a:pt x="425" y="549"/>
                      <a:pt x="425" y="549"/>
                      <a:pt x="424" y="549"/>
                    </a:cubicBezTo>
                    <a:cubicBezTo>
                      <a:pt x="424" y="549"/>
                      <a:pt x="424" y="549"/>
                      <a:pt x="424" y="548"/>
                    </a:cubicBezTo>
                    <a:cubicBezTo>
                      <a:pt x="423" y="548"/>
                      <a:pt x="423" y="548"/>
                      <a:pt x="422" y="548"/>
                    </a:cubicBezTo>
                    <a:cubicBezTo>
                      <a:pt x="422" y="548"/>
                      <a:pt x="422" y="547"/>
                      <a:pt x="422" y="547"/>
                    </a:cubicBezTo>
                    <a:cubicBezTo>
                      <a:pt x="422" y="546"/>
                      <a:pt x="422" y="546"/>
                      <a:pt x="422" y="546"/>
                    </a:cubicBezTo>
                    <a:cubicBezTo>
                      <a:pt x="422" y="546"/>
                      <a:pt x="422" y="545"/>
                      <a:pt x="422" y="545"/>
                    </a:cubicBezTo>
                    <a:cubicBezTo>
                      <a:pt x="422" y="544"/>
                      <a:pt x="421" y="543"/>
                      <a:pt x="421" y="543"/>
                    </a:cubicBezTo>
                    <a:cubicBezTo>
                      <a:pt x="421" y="541"/>
                      <a:pt x="421" y="540"/>
                      <a:pt x="421" y="539"/>
                    </a:cubicBezTo>
                    <a:cubicBezTo>
                      <a:pt x="422" y="538"/>
                      <a:pt x="423" y="538"/>
                      <a:pt x="423" y="537"/>
                    </a:cubicBezTo>
                    <a:cubicBezTo>
                      <a:pt x="424" y="537"/>
                      <a:pt x="424" y="537"/>
                      <a:pt x="425" y="536"/>
                    </a:cubicBezTo>
                    <a:cubicBezTo>
                      <a:pt x="425" y="536"/>
                      <a:pt x="425" y="536"/>
                      <a:pt x="425" y="536"/>
                    </a:cubicBezTo>
                    <a:cubicBezTo>
                      <a:pt x="426" y="535"/>
                      <a:pt x="427" y="536"/>
                      <a:pt x="429" y="536"/>
                    </a:cubicBezTo>
                    <a:cubicBezTo>
                      <a:pt x="429" y="536"/>
                      <a:pt x="429" y="536"/>
                      <a:pt x="430" y="536"/>
                    </a:cubicBezTo>
                    <a:cubicBezTo>
                      <a:pt x="430" y="536"/>
                      <a:pt x="431" y="536"/>
                      <a:pt x="431" y="537"/>
                    </a:cubicBezTo>
                    <a:cubicBezTo>
                      <a:pt x="432" y="537"/>
                      <a:pt x="434" y="537"/>
                      <a:pt x="434" y="538"/>
                    </a:cubicBezTo>
                    <a:cubicBezTo>
                      <a:pt x="435" y="538"/>
                      <a:pt x="435" y="538"/>
                      <a:pt x="435" y="539"/>
                    </a:cubicBezTo>
                    <a:cubicBezTo>
                      <a:pt x="435" y="539"/>
                      <a:pt x="436" y="539"/>
                      <a:pt x="436" y="539"/>
                    </a:cubicBezTo>
                    <a:cubicBezTo>
                      <a:pt x="437" y="539"/>
                      <a:pt x="438" y="539"/>
                      <a:pt x="438" y="540"/>
                    </a:cubicBezTo>
                    <a:cubicBezTo>
                      <a:pt x="438" y="540"/>
                      <a:pt x="437" y="541"/>
                      <a:pt x="436" y="541"/>
                    </a:cubicBezTo>
                    <a:cubicBezTo>
                      <a:pt x="437" y="541"/>
                      <a:pt x="438" y="541"/>
                      <a:pt x="438" y="540"/>
                    </a:cubicBezTo>
                    <a:cubicBezTo>
                      <a:pt x="439" y="540"/>
                      <a:pt x="439" y="539"/>
                      <a:pt x="439" y="539"/>
                    </a:cubicBezTo>
                    <a:cubicBezTo>
                      <a:pt x="440" y="539"/>
                      <a:pt x="440" y="539"/>
                      <a:pt x="440" y="539"/>
                    </a:cubicBezTo>
                    <a:cubicBezTo>
                      <a:pt x="441" y="539"/>
                      <a:pt x="441" y="540"/>
                      <a:pt x="441" y="539"/>
                    </a:cubicBezTo>
                    <a:cubicBezTo>
                      <a:pt x="442" y="540"/>
                      <a:pt x="442" y="540"/>
                      <a:pt x="442" y="540"/>
                    </a:cubicBezTo>
                    <a:cubicBezTo>
                      <a:pt x="442" y="540"/>
                      <a:pt x="443" y="540"/>
                      <a:pt x="444" y="541"/>
                    </a:cubicBezTo>
                    <a:cubicBezTo>
                      <a:pt x="444" y="541"/>
                      <a:pt x="445" y="542"/>
                      <a:pt x="445" y="542"/>
                    </a:cubicBezTo>
                    <a:cubicBezTo>
                      <a:pt x="445" y="541"/>
                      <a:pt x="445" y="541"/>
                      <a:pt x="444" y="541"/>
                    </a:cubicBezTo>
                    <a:cubicBezTo>
                      <a:pt x="444" y="541"/>
                      <a:pt x="444" y="540"/>
                      <a:pt x="444" y="540"/>
                    </a:cubicBezTo>
                    <a:cubicBezTo>
                      <a:pt x="444" y="540"/>
                      <a:pt x="445" y="540"/>
                      <a:pt x="445" y="540"/>
                    </a:cubicBezTo>
                    <a:cubicBezTo>
                      <a:pt x="445" y="540"/>
                      <a:pt x="446" y="540"/>
                      <a:pt x="446" y="540"/>
                    </a:cubicBezTo>
                    <a:cubicBezTo>
                      <a:pt x="447" y="540"/>
                      <a:pt x="447" y="539"/>
                      <a:pt x="448" y="539"/>
                    </a:cubicBezTo>
                    <a:cubicBezTo>
                      <a:pt x="448" y="539"/>
                      <a:pt x="449" y="538"/>
                      <a:pt x="449" y="538"/>
                    </a:cubicBezTo>
                    <a:cubicBezTo>
                      <a:pt x="450" y="538"/>
                      <a:pt x="450" y="537"/>
                      <a:pt x="450" y="537"/>
                    </a:cubicBezTo>
                    <a:cubicBezTo>
                      <a:pt x="451" y="537"/>
                      <a:pt x="451" y="537"/>
                      <a:pt x="451" y="537"/>
                    </a:cubicBezTo>
                    <a:cubicBezTo>
                      <a:pt x="452" y="537"/>
                      <a:pt x="452" y="537"/>
                      <a:pt x="452" y="537"/>
                    </a:cubicBezTo>
                    <a:cubicBezTo>
                      <a:pt x="452" y="538"/>
                      <a:pt x="453" y="538"/>
                      <a:pt x="454" y="538"/>
                    </a:cubicBezTo>
                    <a:cubicBezTo>
                      <a:pt x="455" y="539"/>
                      <a:pt x="455" y="540"/>
                      <a:pt x="456" y="541"/>
                    </a:cubicBezTo>
                    <a:cubicBezTo>
                      <a:pt x="456" y="541"/>
                      <a:pt x="456" y="541"/>
                      <a:pt x="456" y="541"/>
                    </a:cubicBezTo>
                    <a:cubicBezTo>
                      <a:pt x="457" y="542"/>
                      <a:pt x="457" y="542"/>
                      <a:pt x="457" y="542"/>
                    </a:cubicBezTo>
                    <a:cubicBezTo>
                      <a:pt x="457" y="542"/>
                      <a:pt x="457" y="542"/>
                      <a:pt x="457" y="542"/>
                    </a:cubicBezTo>
                    <a:cubicBezTo>
                      <a:pt x="457" y="542"/>
                      <a:pt x="458" y="542"/>
                      <a:pt x="458" y="542"/>
                    </a:cubicBezTo>
                    <a:cubicBezTo>
                      <a:pt x="458" y="542"/>
                      <a:pt x="458" y="542"/>
                      <a:pt x="458" y="542"/>
                    </a:cubicBezTo>
                    <a:cubicBezTo>
                      <a:pt x="458" y="542"/>
                      <a:pt x="458" y="542"/>
                      <a:pt x="458" y="542"/>
                    </a:cubicBezTo>
                    <a:cubicBezTo>
                      <a:pt x="458" y="542"/>
                      <a:pt x="458" y="543"/>
                      <a:pt x="458" y="543"/>
                    </a:cubicBezTo>
                    <a:cubicBezTo>
                      <a:pt x="459" y="543"/>
                      <a:pt x="459" y="543"/>
                      <a:pt x="459" y="543"/>
                    </a:cubicBezTo>
                    <a:cubicBezTo>
                      <a:pt x="459" y="544"/>
                      <a:pt x="459" y="544"/>
                      <a:pt x="458" y="544"/>
                    </a:cubicBezTo>
                    <a:cubicBezTo>
                      <a:pt x="458" y="544"/>
                      <a:pt x="458" y="545"/>
                      <a:pt x="458" y="545"/>
                    </a:cubicBezTo>
                    <a:cubicBezTo>
                      <a:pt x="458" y="545"/>
                      <a:pt x="458" y="545"/>
                      <a:pt x="458" y="545"/>
                    </a:cubicBezTo>
                    <a:cubicBezTo>
                      <a:pt x="458" y="545"/>
                      <a:pt x="458" y="545"/>
                      <a:pt x="458" y="545"/>
                    </a:cubicBezTo>
                    <a:cubicBezTo>
                      <a:pt x="458" y="545"/>
                      <a:pt x="458" y="545"/>
                      <a:pt x="458" y="545"/>
                    </a:cubicBezTo>
                    <a:cubicBezTo>
                      <a:pt x="458" y="545"/>
                      <a:pt x="459" y="545"/>
                      <a:pt x="459" y="544"/>
                    </a:cubicBezTo>
                    <a:cubicBezTo>
                      <a:pt x="459" y="544"/>
                      <a:pt x="459" y="544"/>
                      <a:pt x="459" y="544"/>
                    </a:cubicBezTo>
                    <a:cubicBezTo>
                      <a:pt x="459" y="544"/>
                      <a:pt x="459" y="544"/>
                      <a:pt x="459" y="544"/>
                    </a:cubicBezTo>
                    <a:cubicBezTo>
                      <a:pt x="460" y="545"/>
                      <a:pt x="460" y="545"/>
                      <a:pt x="461" y="545"/>
                    </a:cubicBezTo>
                    <a:cubicBezTo>
                      <a:pt x="461" y="545"/>
                      <a:pt x="461" y="545"/>
                      <a:pt x="461" y="546"/>
                    </a:cubicBezTo>
                    <a:cubicBezTo>
                      <a:pt x="462" y="546"/>
                      <a:pt x="461" y="546"/>
                      <a:pt x="462" y="546"/>
                    </a:cubicBezTo>
                    <a:cubicBezTo>
                      <a:pt x="462" y="546"/>
                      <a:pt x="462" y="546"/>
                      <a:pt x="462" y="546"/>
                    </a:cubicBezTo>
                    <a:cubicBezTo>
                      <a:pt x="462" y="546"/>
                      <a:pt x="462" y="546"/>
                      <a:pt x="462" y="546"/>
                    </a:cubicBezTo>
                    <a:cubicBezTo>
                      <a:pt x="462" y="546"/>
                      <a:pt x="462" y="547"/>
                      <a:pt x="461" y="547"/>
                    </a:cubicBezTo>
                    <a:cubicBezTo>
                      <a:pt x="461" y="547"/>
                      <a:pt x="461" y="547"/>
                      <a:pt x="461" y="547"/>
                    </a:cubicBezTo>
                    <a:cubicBezTo>
                      <a:pt x="461" y="547"/>
                      <a:pt x="461" y="547"/>
                      <a:pt x="461" y="547"/>
                    </a:cubicBezTo>
                    <a:cubicBezTo>
                      <a:pt x="462" y="547"/>
                      <a:pt x="462" y="547"/>
                      <a:pt x="462" y="547"/>
                    </a:cubicBezTo>
                    <a:cubicBezTo>
                      <a:pt x="462" y="547"/>
                      <a:pt x="462" y="547"/>
                      <a:pt x="462" y="547"/>
                    </a:cubicBezTo>
                    <a:cubicBezTo>
                      <a:pt x="463" y="548"/>
                      <a:pt x="463" y="548"/>
                      <a:pt x="463" y="548"/>
                    </a:cubicBezTo>
                    <a:cubicBezTo>
                      <a:pt x="463" y="548"/>
                      <a:pt x="462" y="549"/>
                      <a:pt x="462" y="549"/>
                    </a:cubicBezTo>
                    <a:cubicBezTo>
                      <a:pt x="462" y="549"/>
                      <a:pt x="463" y="549"/>
                      <a:pt x="463" y="549"/>
                    </a:cubicBezTo>
                    <a:cubicBezTo>
                      <a:pt x="463" y="549"/>
                      <a:pt x="463" y="549"/>
                      <a:pt x="463" y="548"/>
                    </a:cubicBezTo>
                    <a:cubicBezTo>
                      <a:pt x="463" y="548"/>
                      <a:pt x="463" y="548"/>
                      <a:pt x="463" y="548"/>
                    </a:cubicBezTo>
                    <a:cubicBezTo>
                      <a:pt x="463" y="548"/>
                      <a:pt x="463" y="548"/>
                      <a:pt x="463" y="548"/>
                    </a:cubicBezTo>
                    <a:cubicBezTo>
                      <a:pt x="464" y="548"/>
                      <a:pt x="464" y="548"/>
                      <a:pt x="464" y="548"/>
                    </a:cubicBezTo>
                    <a:cubicBezTo>
                      <a:pt x="464" y="548"/>
                      <a:pt x="464" y="548"/>
                      <a:pt x="464" y="548"/>
                    </a:cubicBezTo>
                    <a:cubicBezTo>
                      <a:pt x="464" y="548"/>
                      <a:pt x="465" y="548"/>
                      <a:pt x="465" y="548"/>
                    </a:cubicBezTo>
                    <a:cubicBezTo>
                      <a:pt x="465" y="548"/>
                      <a:pt x="465" y="548"/>
                      <a:pt x="465" y="549"/>
                    </a:cubicBezTo>
                    <a:cubicBezTo>
                      <a:pt x="466" y="549"/>
                      <a:pt x="466" y="549"/>
                      <a:pt x="466" y="549"/>
                    </a:cubicBezTo>
                    <a:cubicBezTo>
                      <a:pt x="466" y="549"/>
                      <a:pt x="466" y="550"/>
                      <a:pt x="465" y="550"/>
                    </a:cubicBezTo>
                    <a:cubicBezTo>
                      <a:pt x="465" y="550"/>
                      <a:pt x="465" y="550"/>
                      <a:pt x="465" y="550"/>
                    </a:cubicBezTo>
                    <a:cubicBezTo>
                      <a:pt x="465" y="550"/>
                      <a:pt x="465" y="550"/>
                      <a:pt x="465" y="550"/>
                    </a:cubicBezTo>
                    <a:cubicBezTo>
                      <a:pt x="464" y="550"/>
                      <a:pt x="464" y="551"/>
                      <a:pt x="464" y="551"/>
                    </a:cubicBezTo>
                    <a:cubicBezTo>
                      <a:pt x="464" y="551"/>
                      <a:pt x="464" y="551"/>
                      <a:pt x="464" y="552"/>
                    </a:cubicBezTo>
                    <a:cubicBezTo>
                      <a:pt x="464" y="552"/>
                      <a:pt x="464" y="552"/>
                      <a:pt x="464" y="552"/>
                    </a:cubicBezTo>
                    <a:cubicBezTo>
                      <a:pt x="465" y="552"/>
                      <a:pt x="465" y="552"/>
                      <a:pt x="465" y="552"/>
                    </a:cubicBezTo>
                    <a:cubicBezTo>
                      <a:pt x="465" y="552"/>
                      <a:pt x="465" y="552"/>
                      <a:pt x="465" y="552"/>
                    </a:cubicBezTo>
                    <a:cubicBezTo>
                      <a:pt x="465" y="552"/>
                      <a:pt x="465" y="552"/>
                      <a:pt x="465" y="552"/>
                    </a:cubicBezTo>
                    <a:cubicBezTo>
                      <a:pt x="465" y="552"/>
                      <a:pt x="465" y="552"/>
                      <a:pt x="465" y="552"/>
                    </a:cubicBezTo>
                    <a:cubicBezTo>
                      <a:pt x="465" y="552"/>
                      <a:pt x="465" y="552"/>
                      <a:pt x="465" y="553"/>
                    </a:cubicBezTo>
                    <a:cubicBezTo>
                      <a:pt x="465" y="553"/>
                      <a:pt x="465" y="553"/>
                      <a:pt x="465" y="553"/>
                    </a:cubicBezTo>
                    <a:cubicBezTo>
                      <a:pt x="465" y="553"/>
                      <a:pt x="465" y="553"/>
                      <a:pt x="465" y="553"/>
                    </a:cubicBezTo>
                    <a:cubicBezTo>
                      <a:pt x="465" y="553"/>
                      <a:pt x="465" y="553"/>
                      <a:pt x="465" y="553"/>
                    </a:cubicBezTo>
                    <a:cubicBezTo>
                      <a:pt x="465" y="553"/>
                      <a:pt x="465" y="553"/>
                      <a:pt x="465" y="553"/>
                    </a:cubicBezTo>
                    <a:cubicBezTo>
                      <a:pt x="465" y="553"/>
                      <a:pt x="465" y="553"/>
                      <a:pt x="465" y="554"/>
                    </a:cubicBezTo>
                    <a:cubicBezTo>
                      <a:pt x="465" y="554"/>
                      <a:pt x="465" y="554"/>
                      <a:pt x="465" y="554"/>
                    </a:cubicBezTo>
                    <a:cubicBezTo>
                      <a:pt x="465" y="554"/>
                      <a:pt x="466" y="555"/>
                      <a:pt x="466" y="555"/>
                    </a:cubicBezTo>
                    <a:cubicBezTo>
                      <a:pt x="466" y="555"/>
                      <a:pt x="466" y="555"/>
                      <a:pt x="466" y="555"/>
                    </a:cubicBezTo>
                    <a:cubicBezTo>
                      <a:pt x="466" y="555"/>
                      <a:pt x="466" y="555"/>
                      <a:pt x="466" y="555"/>
                    </a:cubicBezTo>
                    <a:cubicBezTo>
                      <a:pt x="467" y="555"/>
                      <a:pt x="466" y="555"/>
                      <a:pt x="466" y="555"/>
                    </a:cubicBezTo>
                    <a:cubicBezTo>
                      <a:pt x="467" y="555"/>
                      <a:pt x="467" y="555"/>
                      <a:pt x="467" y="555"/>
                    </a:cubicBezTo>
                    <a:cubicBezTo>
                      <a:pt x="467" y="555"/>
                      <a:pt x="467" y="555"/>
                      <a:pt x="468" y="555"/>
                    </a:cubicBezTo>
                    <a:cubicBezTo>
                      <a:pt x="468" y="555"/>
                      <a:pt x="468" y="555"/>
                      <a:pt x="468" y="555"/>
                    </a:cubicBezTo>
                    <a:cubicBezTo>
                      <a:pt x="468" y="556"/>
                      <a:pt x="468" y="556"/>
                      <a:pt x="468" y="556"/>
                    </a:cubicBezTo>
                    <a:cubicBezTo>
                      <a:pt x="468" y="556"/>
                      <a:pt x="468" y="556"/>
                      <a:pt x="468" y="556"/>
                    </a:cubicBezTo>
                    <a:cubicBezTo>
                      <a:pt x="468" y="556"/>
                      <a:pt x="469" y="556"/>
                      <a:pt x="469" y="556"/>
                    </a:cubicBezTo>
                    <a:cubicBezTo>
                      <a:pt x="469" y="556"/>
                      <a:pt x="469" y="556"/>
                      <a:pt x="469" y="556"/>
                    </a:cubicBezTo>
                    <a:cubicBezTo>
                      <a:pt x="470" y="556"/>
                      <a:pt x="470" y="556"/>
                      <a:pt x="470" y="556"/>
                    </a:cubicBezTo>
                    <a:cubicBezTo>
                      <a:pt x="470" y="556"/>
                      <a:pt x="470" y="557"/>
                      <a:pt x="471" y="557"/>
                    </a:cubicBezTo>
                    <a:cubicBezTo>
                      <a:pt x="471" y="557"/>
                      <a:pt x="471" y="557"/>
                      <a:pt x="471" y="557"/>
                    </a:cubicBezTo>
                    <a:cubicBezTo>
                      <a:pt x="471" y="557"/>
                      <a:pt x="471" y="557"/>
                      <a:pt x="471" y="557"/>
                    </a:cubicBezTo>
                    <a:cubicBezTo>
                      <a:pt x="471" y="557"/>
                      <a:pt x="471" y="557"/>
                      <a:pt x="472" y="557"/>
                    </a:cubicBezTo>
                    <a:cubicBezTo>
                      <a:pt x="472" y="557"/>
                      <a:pt x="472" y="557"/>
                      <a:pt x="472" y="557"/>
                    </a:cubicBezTo>
                    <a:cubicBezTo>
                      <a:pt x="472" y="557"/>
                      <a:pt x="472" y="557"/>
                      <a:pt x="473" y="557"/>
                    </a:cubicBezTo>
                    <a:cubicBezTo>
                      <a:pt x="473" y="557"/>
                      <a:pt x="473" y="557"/>
                      <a:pt x="473" y="557"/>
                    </a:cubicBezTo>
                    <a:cubicBezTo>
                      <a:pt x="473" y="557"/>
                      <a:pt x="473" y="557"/>
                      <a:pt x="473" y="557"/>
                    </a:cubicBezTo>
                    <a:cubicBezTo>
                      <a:pt x="473" y="557"/>
                      <a:pt x="473" y="557"/>
                      <a:pt x="474" y="557"/>
                    </a:cubicBezTo>
                    <a:cubicBezTo>
                      <a:pt x="474" y="557"/>
                      <a:pt x="474" y="557"/>
                      <a:pt x="474" y="557"/>
                    </a:cubicBezTo>
                    <a:cubicBezTo>
                      <a:pt x="474" y="557"/>
                      <a:pt x="474" y="557"/>
                      <a:pt x="474" y="557"/>
                    </a:cubicBezTo>
                    <a:cubicBezTo>
                      <a:pt x="474" y="556"/>
                      <a:pt x="475" y="556"/>
                      <a:pt x="475" y="556"/>
                    </a:cubicBezTo>
                    <a:cubicBezTo>
                      <a:pt x="475" y="556"/>
                      <a:pt x="475" y="556"/>
                      <a:pt x="475" y="557"/>
                    </a:cubicBezTo>
                    <a:cubicBezTo>
                      <a:pt x="475" y="557"/>
                      <a:pt x="475" y="557"/>
                      <a:pt x="475" y="557"/>
                    </a:cubicBezTo>
                    <a:cubicBezTo>
                      <a:pt x="475" y="557"/>
                      <a:pt x="475" y="558"/>
                      <a:pt x="475" y="558"/>
                    </a:cubicBezTo>
                    <a:cubicBezTo>
                      <a:pt x="475" y="558"/>
                      <a:pt x="475" y="558"/>
                      <a:pt x="476" y="558"/>
                    </a:cubicBezTo>
                    <a:cubicBezTo>
                      <a:pt x="476" y="558"/>
                      <a:pt x="476" y="558"/>
                      <a:pt x="476" y="558"/>
                    </a:cubicBezTo>
                    <a:cubicBezTo>
                      <a:pt x="476" y="558"/>
                      <a:pt x="476" y="558"/>
                      <a:pt x="476" y="558"/>
                    </a:cubicBezTo>
                    <a:cubicBezTo>
                      <a:pt x="476" y="558"/>
                      <a:pt x="476" y="558"/>
                      <a:pt x="476" y="558"/>
                    </a:cubicBezTo>
                    <a:cubicBezTo>
                      <a:pt x="475" y="558"/>
                      <a:pt x="475" y="559"/>
                      <a:pt x="475" y="559"/>
                    </a:cubicBezTo>
                    <a:cubicBezTo>
                      <a:pt x="475" y="559"/>
                      <a:pt x="475" y="559"/>
                      <a:pt x="475" y="559"/>
                    </a:cubicBezTo>
                    <a:cubicBezTo>
                      <a:pt x="475" y="559"/>
                      <a:pt x="475" y="560"/>
                      <a:pt x="475" y="560"/>
                    </a:cubicBezTo>
                    <a:cubicBezTo>
                      <a:pt x="475" y="560"/>
                      <a:pt x="475" y="560"/>
                      <a:pt x="476" y="560"/>
                    </a:cubicBezTo>
                    <a:cubicBezTo>
                      <a:pt x="476" y="560"/>
                      <a:pt x="476" y="560"/>
                      <a:pt x="476" y="560"/>
                    </a:cubicBezTo>
                    <a:cubicBezTo>
                      <a:pt x="476" y="560"/>
                      <a:pt x="477" y="560"/>
                      <a:pt x="477" y="559"/>
                    </a:cubicBezTo>
                    <a:cubicBezTo>
                      <a:pt x="477" y="559"/>
                      <a:pt x="477" y="559"/>
                      <a:pt x="477" y="559"/>
                    </a:cubicBezTo>
                    <a:cubicBezTo>
                      <a:pt x="478" y="559"/>
                      <a:pt x="478" y="559"/>
                      <a:pt x="478" y="559"/>
                    </a:cubicBezTo>
                    <a:cubicBezTo>
                      <a:pt x="478" y="559"/>
                      <a:pt x="478" y="559"/>
                      <a:pt x="478" y="559"/>
                    </a:cubicBezTo>
                    <a:cubicBezTo>
                      <a:pt x="478" y="559"/>
                      <a:pt x="478" y="559"/>
                      <a:pt x="478" y="558"/>
                    </a:cubicBezTo>
                    <a:cubicBezTo>
                      <a:pt x="478" y="558"/>
                      <a:pt x="478" y="558"/>
                      <a:pt x="478" y="558"/>
                    </a:cubicBezTo>
                    <a:cubicBezTo>
                      <a:pt x="478" y="558"/>
                      <a:pt x="478" y="558"/>
                      <a:pt x="478" y="557"/>
                    </a:cubicBezTo>
                    <a:cubicBezTo>
                      <a:pt x="478" y="557"/>
                      <a:pt x="478" y="557"/>
                      <a:pt x="478" y="557"/>
                    </a:cubicBezTo>
                    <a:cubicBezTo>
                      <a:pt x="479" y="557"/>
                      <a:pt x="479" y="557"/>
                      <a:pt x="479" y="557"/>
                    </a:cubicBezTo>
                    <a:cubicBezTo>
                      <a:pt x="479" y="557"/>
                      <a:pt x="479" y="557"/>
                      <a:pt x="479" y="557"/>
                    </a:cubicBezTo>
                    <a:cubicBezTo>
                      <a:pt x="479" y="557"/>
                      <a:pt x="479" y="557"/>
                      <a:pt x="479" y="557"/>
                    </a:cubicBezTo>
                    <a:cubicBezTo>
                      <a:pt x="479" y="558"/>
                      <a:pt x="479" y="558"/>
                      <a:pt x="479" y="558"/>
                    </a:cubicBezTo>
                    <a:cubicBezTo>
                      <a:pt x="479" y="558"/>
                      <a:pt x="480" y="559"/>
                      <a:pt x="480" y="559"/>
                    </a:cubicBezTo>
                    <a:cubicBezTo>
                      <a:pt x="480" y="559"/>
                      <a:pt x="480" y="559"/>
                      <a:pt x="480" y="559"/>
                    </a:cubicBezTo>
                    <a:cubicBezTo>
                      <a:pt x="480" y="559"/>
                      <a:pt x="480" y="560"/>
                      <a:pt x="480" y="560"/>
                    </a:cubicBezTo>
                    <a:cubicBezTo>
                      <a:pt x="480" y="560"/>
                      <a:pt x="480" y="560"/>
                      <a:pt x="480" y="560"/>
                    </a:cubicBezTo>
                    <a:cubicBezTo>
                      <a:pt x="480" y="560"/>
                      <a:pt x="480" y="560"/>
                      <a:pt x="480" y="561"/>
                    </a:cubicBezTo>
                    <a:cubicBezTo>
                      <a:pt x="480" y="561"/>
                      <a:pt x="480" y="561"/>
                      <a:pt x="480" y="561"/>
                    </a:cubicBezTo>
                    <a:cubicBezTo>
                      <a:pt x="479" y="561"/>
                      <a:pt x="479" y="561"/>
                      <a:pt x="478" y="562"/>
                    </a:cubicBezTo>
                    <a:cubicBezTo>
                      <a:pt x="478" y="562"/>
                      <a:pt x="478" y="562"/>
                      <a:pt x="478" y="562"/>
                    </a:cubicBezTo>
                    <a:cubicBezTo>
                      <a:pt x="478" y="563"/>
                      <a:pt x="478" y="563"/>
                      <a:pt x="478" y="563"/>
                    </a:cubicBezTo>
                    <a:cubicBezTo>
                      <a:pt x="478" y="563"/>
                      <a:pt x="478" y="564"/>
                      <a:pt x="478" y="564"/>
                    </a:cubicBezTo>
                    <a:cubicBezTo>
                      <a:pt x="478" y="564"/>
                      <a:pt x="478" y="564"/>
                      <a:pt x="477" y="564"/>
                    </a:cubicBezTo>
                    <a:cubicBezTo>
                      <a:pt x="477" y="564"/>
                      <a:pt x="477" y="564"/>
                      <a:pt x="477" y="564"/>
                    </a:cubicBezTo>
                    <a:cubicBezTo>
                      <a:pt x="478" y="565"/>
                      <a:pt x="478" y="566"/>
                      <a:pt x="478" y="566"/>
                    </a:cubicBezTo>
                    <a:cubicBezTo>
                      <a:pt x="478" y="566"/>
                      <a:pt x="478" y="567"/>
                      <a:pt x="478" y="567"/>
                    </a:cubicBezTo>
                    <a:cubicBezTo>
                      <a:pt x="478" y="567"/>
                      <a:pt x="478" y="567"/>
                      <a:pt x="478" y="567"/>
                    </a:cubicBezTo>
                    <a:cubicBezTo>
                      <a:pt x="478" y="567"/>
                      <a:pt x="478" y="568"/>
                      <a:pt x="478" y="568"/>
                    </a:cubicBezTo>
                    <a:cubicBezTo>
                      <a:pt x="478" y="568"/>
                      <a:pt x="478" y="568"/>
                      <a:pt x="478" y="568"/>
                    </a:cubicBezTo>
                    <a:cubicBezTo>
                      <a:pt x="479" y="569"/>
                      <a:pt x="479" y="569"/>
                      <a:pt x="478" y="570"/>
                    </a:cubicBezTo>
                    <a:cubicBezTo>
                      <a:pt x="478" y="570"/>
                      <a:pt x="478" y="570"/>
                      <a:pt x="478" y="570"/>
                    </a:cubicBezTo>
                    <a:cubicBezTo>
                      <a:pt x="478" y="571"/>
                      <a:pt x="477" y="571"/>
                      <a:pt x="477" y="571"/>
                    </a:cubicBezTo>
                    <a:cubicBezTo>
                      <a:pt x="477" y="571"/>
                      <a:pt x="477" y="571"/>
                      <a:pt x="476" y="571"/>
                    </a:cubicBezTo>
                    <a:cubicBezTo>
                      <a:pt x="476" y="571"/>
                      <a:pt x="475" y="571"/>
                      <a:pt x="475" y="571"/>
                    </a:cubicBezTo>
                    <a:cubicBezTo>
                      <a:pt x="474" y="571"/>
                      <a:pt x="473" y="571"/>
                      <a:pt x="473" y="571"/>
                    </a:cubicBezTo>
                    <a:cubicBezTo>
                      <a:pt x="473" y="571"/>
                      <a:pt x="473" y="572"/>
                      <a:pt x="474" y="572"/>
                    </a:cubicBezTo>
                    <a:cubicBezTo>
                      <a:pt x="474" y="572"/>
                      <a:pt x="474" y="572"/>
                      <a:pt x="474" y="572"/>
                    </a:cubicBezTo>
                    <a:cubicBezTo>
                      <a:pt x="475" y="572"/>
                      <a:pt x="475" y="572"/>
                      <a:pt x="476" y="572"/>
                    </a:cubicBezTo>
                    <a:cubicBezTo>
                      <a:pt x="476" y="572"/>
                      <a:pt x="477" y="572"/>
                      <a:pt x="477" y="572"/>
                    </a:cubicBezTo>
                    <a:cubicBezTo>
                      <a:pt x="477" y="572"/>
                      <a:pt x="478" y="572"/>
                      <a:pt x="478" y="572"/>
                    </a:cubicBezTo>
                    <a:cubicBezTo>
                      <a:pt x="478" y="572"/>
                      <a:pt x="478" y="572"/>
                      <a:pt x="478" y="572"/>
                    </a:cubicBezTo>
                    <a:cubicBezTo>
                      <a:pt x="478" y="573"/>
                      <a:pt x="478" y="573"/>
                      <a:pt x="478" y="573"/>
                    </a:cubicBezTo>
                    <a:cubicBezTo>
                      <a:pt x="478" y="573"/>
                      <a:pt x="478" y="573"/>
                      <a:pt x="478" y="573"/>
                    </a:cubicBezTo>
                    <a:cubicBezTo>
                      <a:pt x="478" y="573"/>
                      <a:pt x="479" y="573"/>
                      <a:pt x="479" y="573"/>
                    </a:cubicBezTo>
                    <a:cubicBezTo>
                      <a:pt x="479" y="573"/>
                      <a:pt x="479" y="573"/>
                      <a:pt x="479" y="573"/>
                    </a:cubicBezTo>
                    <a:cubicBezTo>
                      <a:pt x="479" y="574"/>
                      <a:pt x="479" y="574"/>
                      <a:pt x="478" y="575"/>
                    </a:cubicBezTo>
                    <a:cubicBezTo>
                      <a:pt x="478" y="575"/>
                      <a:pt x="478" y="575"/>
                      <a:pt x="479" y="576"/>
                    </a:cubicBezTo>
                    <a:cubicBezTo>
                      <a:pt x="479" y="576"/>
                      <a:pt x="479" y="576"/>
                      <a:pt x="479" y="576"/>
                    </a:cubicBezTo>
                    <a:cubicBezTo>
                      <a:pt x="479" y="576"/>
                      <a:pt x="479" y="576"/>
                      <a:pt x="479" y="576"/>
                    </a:cubicBezTo>
                    <a:cubicBezTo>
                      <a:pt x="478" y="577"/>
                      <a:pt x="478" y="577"/>
                      <a:pt x="477" y="578"/>
                    </a:cubicBezTo>
                    <a:cubicBezTo>
                      <a:pt x="477" y="578"/>
                      <a:pt x="478" y="578"/>
                      <a:pt x="478" y="578"/>
                    </a:cubicBezTo>
                    <a:cubicBezTo>
                      <a:pt x="478" y="579"/>
                      <a:pt x="478" y="579"/>
                      <a:pt x="478" y="579"/>
                    </a:cubicBezTo>
                    <a:cubicBezTo>
                      <a:pt x="478" y="579"/>
                      <a:pt x="478" y="579"/>
                      <a:pt x="478" y="579"/>
                    </a:cubicBezTo>
                    <a:cubicBezTo>
                      <a:pt x="478" y="580"/>
                      <a:pt x="478" y="580"/>
                      <a:pt x="478" y="580"/>
                    </a:cubicBezTo>
                    <a:cubicBezTo>
                      <a:pt x="478" y="580"/>
                      <a:pt x="478" y="580"/>
                      <a:pt x="477" y="580"/>
                    </a:cubicBezTo>
                    <a:cubicBezTo>
                      <a:pt x="478" y="580"/>
                      <a:pt x="478" y="581"/>
                      <a:pt x="479" y="580"/>
                    </a:cubicBezTo>
                    <a:cubicBezTo>
                      <a:pt x="479" y="580"/>
                      <a:pt x="479" y="580"/>
                      <a:pt x="479" y="580"/>
                    </a:cubicBezTo>
                    <a:cubicBezTo>
                      <a:pt x="479" y="580"/>
                      <a:pt x="480" y="580"/>
                      <a:pt x="481" y="580"/>
                    </a:cubicBezTo>
                    <a:cubicBezTo>
                      <a:pt x="481" y="580"/>
                      <a:pt x="481" y="580"/>
                      <a:pt x="481" y="581"/>
                    </a:cubicBezTo>
                    <a:cubicBezTo>
                      <a:pt x="481" y="581"/>
                      <a:pt x="480" y="582"/>
                      <a:pt x="480" y="582"/>
                    </a:cubicBezTo>
                    <a:cubicBezTo>
                      <a:pt x="480" y="582"/>
                      <a:pt x="479" y="582"/>
                      <a:pt x="479" y="582"/>
                    </a:cubicBezTo>
                    <a:cubicBezTo>
                      <a:pt x="479" y="582"/>
                      <a:pt x="479" y="582"/>
                      <a:pt x="479" y="583"/>
                    </a:cubicBezTo>
                    <a:cubicBezTo>
                      <a:pt x="479" y="583"/>
                      <a:pt x="479" y="583"/>
                      <a:pt x="479" y="583"/>
                    </a:cubicBezTo>
                    <a:cubicBezTo>
                      <a:pt x="480" y="583"/>
                      <a:pt x="480" y="583"/>
                      <a:pt x="480" y="583"/>
                    </a:cubicBezTo>
                    <a:cubicBezTo>
                      <a:pt x="480" y="583"/>
                      <a:pt x="480" y="583"/>
                      <a:pt x="480" y="584"/>
                    </a:cubicBezTo>
                    <a:cubicBezTo>
                      <a:pt x="480" y="584"/>
                      <a:pt x="480" y="584"/>
                      <a:pt x="480" y="584"/>
                    </a:cubicBezTo>
                    <a:cubicBezTo>
                      <a:pt x="479" y="585"/>
                      <a:pt x="479" y="585"/>
                      <a:pt x="479" y="586"/>
                    </a:cubicBezTo>
                    <a:cubicBezTo>
                      <a:pt x="479" y="586"/>
                      <a:pt x="479" y="586"/>
                      <a:pt x="479" y="586"/>
                    </a:cubicBezTo>
                    <a:cubicBezTo>
                      <a:pt x="479" y="586"/>
                      <a:pt x="479" y="586"/>
                      <a:pt x="479" y="586"/>
                    </a:cubicBezTo>
                    <a:cubicBezTo>
                      <a:pt x="479" y="586"/>
                      <a:pt x="479" y="587"/>
                      <a:pt x="479" y="587"/>
                    </a:cubicBezTo>
                    <a:cubicBezTo>
                      <a:pt x="479" y="587"/>
                      <a:pt x="479" y="587"/>
                      <a:pt x="479" y="587"/>
                    </a:cubicBezTo>
                    <a:cubicBezTo>
                      <a:pt x="478" y="587"/>
                      <a:pt x="478" y="587"/>
                      <a:pt x="478" y="587"/>
                    </a:cubicBezTo>
                    <a:cubicBezTo>
                      <a:pt x="478" y="586"/>
                      <a:pt x="478" y="586"/>
                      <a:pt x="478" y="586"/>
                    </a:cubicBezTo>
                    <a:cubicBezTo>
                      <a:pt x="478" y="586"/>
                      <a:pt x="478" y="586"/>
                      <a:pt x="478" y="586"/>
                    </a:cubicBezTo>
                    <a:cubicBezTo>
                      <a:pt x="478" y="586"/>
                      <a:pt x="478" y="585"/>
                      <a:pt x="478" y="585"/>
                    </a:cubicBezTo>
                    <a:cubicBezTo>
                      <a:pt x="478" y="585"/>
                      <a:pt x="477" y="585"/>
                      <a:pt x="477" y="584"/>
                    </a:cubicBezTo>
                    <a:cubicBezTo>
                      <a:pt x="477" y="584"/>
                      <a:pt x="477" y="584"/>
                      <a:pt x="477" y="584"/>
                    </a:cubicBezTo>
                    <a:cubicBezTo>
                      <a:pt x="477" y="584"/>
                      <a:pt x="477" y="585"/>
                      <a:pt x="477" y="585"/>
                    </a:cubicBezTo>
                    <a:cubicBezTo>
                      <a:pt x="477" y="585"/>
                      <a:pt x="477" y="585"/>
                      <a:pt x="477" y="585"/>
                    </a:cubicBezTo>
                    <a:cubicBezTo>
                      <a:pt x="477" y="586"/>
                      <a:pt x="477" y="586"/>
                      <a:pt x="477" y="587"/>
                    </a:cubicBezTo>
                    <a:cubicBezTo>
                      <a:pt x="477" y="587"/>
                      <a:pt x="477" y="587"/>
                      <a:pt x="477" y="586"/>
                    </a:cubicBezTo>
                    <a:cubicBezTo>
                      <a:pt x="476" y="587"/>
                      <a:pt x="476" y="587"/>
                      <a:pt x="475" y="587"/>
                    </a:cubicBezTo>
                    <a:cubicBezTo>
                      <a:pt x="475" y="587"/>
                      <a:pt x="475" y="587"/>
                      <a:pt x="475" y="587"/>
                    </a:cubicBezTo>
                    <a:cubicBezTo>
                      <a:pt x="475" y="587"/>
                      <a:pt x="475" y="588"/>
                      <a:pt x="475" y="588"/>
                    </a:cubicBezTo>
                    <a:cubicBezTo>
                      <a:pt x="475" y="588"/>
                      <a:pt x="476" y="588"/>
                      <a:pt x="476" y="588"/>
                    </a:cubicBezTo>
                    <a:cubicBezTo>
                      <a:pt x="476" y="588"/>
                      <a:pt x="476" y="588"/>
                      <a:pt x="476" y="588"/>
                    </a:cubicBezTo>
                    <a:cubicBezTo>
                      <a:pt x="477" y="588"/>
                      <a:pt x="477" y="588"/>
                      <a:pt x="477" y="588"/>
                    </a:cubicBezTo>
                    <a:cubicBezTo>
                      <a:pt x="477" y="588"/>
                      <a:pt x="477" y="589"/>
                      <a:pt x="477" y="589"/>
                    </a:cubicBezTo>
                    <a:cubicBezTo>
                      <a:pt x="477" y="589"/>
                      <a:pt x="477" y="589"/>
                      <a:pt x="477" y="590"/>
                    </a:cubicBezTo>
                    <a:cubicBezTo>
                      <a:pt x="477" y="590"/>
                      <a:pt x="477" y="590"/>
                      <a:pt x="477" y="589"/>
                    </a:cubicBezTo>
                    <a:cubicBezTo>
                      <a:pt x="477" y="589"/>
                      <a:pt x="477" y="589"/>
                      <a:pt x="478" y="589"/>
                    </a:cubicBezTo>
                    <a:cubicBezTo>
                      <a:pt x="478" y="589"/>
                      <a:pt x="478" y="589"/>
                      <a:pt x="478" y="589"/>
                    </a:cubicBezTo>
                    <a:cubicBezTo>
                      <a:pt x="478" y="589"/>
                      <a:pt x="478" y="589"/>
                      <a:pt x="478" y="589"/>
                    </a:cubicBezTo>
                    <a:cubicBezTo>
                      <a:pt x="478" y="588"/>
                      <a:pt x="478" y="588"/>
                      <a:pt x="478" y="588"/>
                    </a:cubicBezTo>
                    <a:cubicBezTo>
                      <a:pt x="478" y="588"/>
                      <a:pt x="478" y="588"/>
                      <a:pt x="479" y="588"/>
                    </a:cubicBezTo>
                    <a:cubicBezTo>
                      <a:pt x="479" y="588"/>
                      <a:pt x="479" y="588"/>
                      <a:pt x="479" y="587"/>
                    </a:cubicBezTo>
                    <a:cubicBezTo>
                      <a:pt x="479" y="587"/>
                      <a:pt x="480" y="587"/>
                      <a:pt x="480" y="587"/>
                    </a:cubicBezTo>
                    <a:cubicBezTo>
                      <a:pt x="480" y="586"/>
                      <a:pt x="480" y="586"/>
                      <a:pt x="480" y="586"/>
                    </a:cubicBezTo>
                    <a:cubicBezTo>
                      <a:pt x="480" y="586"/>
                      <a:pt x="480" y="586"/>
                      <a:pt x="480" y="586"/>
                    </a:cubicBezTo>
                    <a:cubicBezTo>
                      <a:pt x="481" y="586"/>
                      <a:pt x="482" y="586"/>
                      <a:pt x="483" y="586"/>
                    </a:cubicBezTo>
                    <a:cubicBezTo>
                      <a:pt x="483" y="586"/>
                      <a:pt x="483" y="586"/>
                      <a:pt x="483" y="586"/>
                    </a:cubicBezTo>
                    <a:cubicBezTo>
                      <a:pt x="484" y="586"/>
                      <a:pt x="484" y="586"/>
                      <a:pt x="484" y="586"/>
                    </a:cubicBezTo>
                    <a:cubicBezTo>
                      <a:pt x="485" y="586"/>
                      <a:pt x="485" y="586"/>
                      <a:pt x="485" y="586"/>
                    </a:cubicBezTo>
                    <a:cubicBezTo>
                      <a:pt x="485" y="586"/>
                      <a:pt x="485" y="586"/>
                      <a:pt x="486" y="587"/>
                    </a:cubicBezTo>
                    <a:cubicBezTo>
                      <a:pt x="486" y="587"/>
                      <a:pt x="486" y="587"/>
                      <a:pt x="487" y="587"/>
                    </a:cubicBezTo>
                    <a:cubicBezTo>
                      <a:pt x="487" y="587"/>
                      <a:pt x="487" y="587"/>
                      <a:pt x="487" y="587"/>
                    </a:cubicBezTo>
                    <a:cubicBezTo>
                      <a:pt x="487" y="588"/>
                      <a:pt x="487" y="589"/>
                      <a:pt x="487" y="589"/>
                    </a:cubicBezTo>
                    <a:cubicBezTo>
                      <a:pt x="487" y="590"/>
                      <a:pt x="487" y="590"/>
                      <a:pt x="488" y="590"/>
                    </a:cubicBezTo>
                    <a:cubicBezTo>
                      <a:pt x="488" y="591"/>
                      <a:pt x="489" y="591"/>
                      <a:pt x="490" y="591"/>
                    </a:cubicBezTo>
                    <a:cubicBezTo>
                      <a:pt x="490" y="591"/>
                      <a:pt x="490" y="591"/>
                      <a:pt x="490" y="591"/>
                    </a:cubicBezTo>
                    <a:cubicBezTo>
                      <a:pt x="490" y="592"/>
                      <a:pt x="490" y="592"/>
                      <a:pt x="490" y="592"/>
                    </a:cubicBezTo>
                    <a:cubicBezTo>
                      <a:pt x="490" y="593"/>
                      <a:pt x="490" y="593"/>
                      <a:pt x="490" y="593"/>
                    </a:cubicBezTo>
                    <a:cubicBezTo>
                      <a:pt x="490" y="594"/>
                      <a:pt x="490" y="594"/>
                      <a:pt x="489" y="595"/>
                    </a:cubicBezTo>
                    <a:cubicBezTo>
                      <a:pt x="489" y="595"/>
                      <a:pt x="488" y="596"/>
                      <a:pt x="489" y="596"/>
                    </a:cubicBezTo>
                    <a:cubicBezTo>
                      <a:pt x="489" y="595"/>
                      <a:pt x="489" y="595"/>
                      <a:pt x="490" y="595"/>
                    </a:cubicBezTo>
                    <a:cubicBezTo>
                      <a:pt x="490" y="595"/>
                      <a:pt x="490" y="594"/>
                      <a:pt x="490" y="594"/>
                    </a:cubicBezTo>
                    <a:cubicBezTo>
                      <a:pt x="491" y="594"/>
                      <a:pt x="491" y="594"/>
                      <a:pt x="491" y="594"/>
                    </a:cubicBezTo>
                    <a:cubicBezTo>
                      <a:pt x="491" y="593"/>
                      <a:pt x="490" y="593"/>
                      <a:pt x="491" y="592"/>
                    </a:cubicBezTo>
                    <a:cubicBezTo>
                      <a:pt x="491" y="592"/>
                      <a:pt x="491" y="592"/>
                      <a:pt x="491" y="591"/>
                    </a:cubicBezTo>
                    <a:cubicBezTo>
                      <a:pt x="491" y="591"/>
                      <a:pt x="491" y="591"/>
                      <a:pt x="491" y="591"/>
                    </a:cubicBezTo>
                    <a:cubicBezTo>
                      <a:pt x="491" y="591"/>
                      <a:pt x="491" y="591"/>
                      <a:pt x="491" y="591"/>
                    </a:cubicBezTo>
                    <a:cubicBezTo>
                      <a:pt x="491" y="592"/>
                      <a:pt x="491" y="592"/>
                      <a:pt x="491" y="593"/>
                    </a:cubicBezTo>
                    <a:cubicBezTo>
                      <a:pt x="491" y="593"/>
                      <a:pt x="491" y="593"/>
                      <a:pt x="491" y="593"/>
                    </a:cubicBezTo>
                    <a:cubicBezTo>
                      <a:pt x="491" y="593"/>
                      <a:pt x="491" y="593"/>
                      <a:pt x="491" y="594"/>
                    </a:cubicBezTo>
                    <a:cubicBezTo>
                      <a:pt x="491" y="594"/>
                      <a:pt x="491" y="594"/>
                      <a:pt x="491" y="594"/>
                    </a:cubicBezTo>
                    <a:cubicBezTo>
                      <a:pt x="491" y="594"/>
                      <a:pt x="491" y="595"/>
                      <a:pt x="491" y="595"/>
                    </a:cubicBezTo>
                    <a:cubicBezTo>
                      <a:pt x="491" y="596"/>
                      <a:pt x="491" y="596"/>
                      <a:pt x="491" y="597"/>
                    </a:cubicBezTo>
                    <a:cubicBezTo>
                      <a:pt x="491" y="597"/>
                      <a:pt x="491" y="597"/>
                      <a:pt x="491" y="597"/>
                    </a:cubicBezTo>
                    <a:cubicBezTo>
                      <a:pt x="491" y="597"/>
                      <a:pt x="492" y="597"/>
                      <a:pt x="492" y="597"/>
                    </a:cubicBezTo>
                    <a:cubicBezTo>
                      <a:pt x="492" y="596"/>
                      <a:pt x="492" y="596"/>
                      <a:pt x="492" y="595"/>
                    </a:cubicBezTo>
                    <a:cubicBezTo>
                      <a:pt x="492" y="595"/>
                      <a:pt x="492" y="594"/>
                      <a:pt x="492" y="594"/>
                    </a:cubicBezTo>
                    <a:cubicBezTo>
                      <a:pt x="493" y="594"/>
                      <a:pt x="493" y="594"/>
                      <a:pt x="494" y="594"/>
                    </a:cubicBezTo>
                    <a:cubicBezTo>
                      <a:pt x="494" y="593"/>
                      <a:pt x="494" y="593"/>
                      <a:pt x="495" y="592"/>
                    </a:cubicBezTo>
                    <a:cubicBezTo>
                      <a:pt x="495" y="592"/>
                      <a:pt x="495" y="593"/>
                      <a:pt x="495" y="593"/>
                    </a:cubicBezTo>
                    <a:cubicBezTo>
                      <a:pt x="495" y="593"/>
                      <a:pt x="496" y="592"/>
                      <a:pt x="496" y="592"/>
                    </a:cubicBezTo>
                    <a:cubicBezTo>
                      <a:pt x="496" y="592"/>
                      <a:pt x="496" y="592"/>
                      <a:pt x="496" y="591"/>
                    </a:cubicBezTo>
                    <a:cubicBezTo>
                      <a:pt x="496" y="591"/>
                      <a:pt x="496" y="591"/>
                      <a:pt x="496" y="591"/>
                    </a:cubicBezTo>
                    <a:cubicBezTo>
                      <a:pt x="497" y="591"/>
                      <a:pt x="497" y="592"/>
                      <a:pt x="497" y="592"/>
                    </a:cubicBezTo>
                    <a:cubicBezTo>
                      <a:pt x="497" y="592"/>
                      <a:pt x="497" y="592"/>
                      <a:pt x="497" y="592"/>
                    </a:cubicBezTo>
                    <a:cubicBezTo>
                      <a:pt x="497" y="591"/>
                      <a:pt x="497" y="591"/>
                      <a:pt x="497" y="591"/>
                    </a:cubicBezTo>
                    <a:cubicBezTo>
                      <a:pt x="498" y="591"/>
                      <a:pt x="498" y="591"/>
                      <a:pt x="498" y="591"/>
                    </a:cubicBezTo>
                    <a:cubicBezTo>
                      <a:pt x="499" y="590"/>
                      <a:pt x="499" y="589"/>
                      <a:pt x="499" y="589"/>
                    </a:cubicBezTo>
                    <a:cubicBezTo>
                      <a:pt x="499" y="588"/>
                      <a:pt x="500" y="588"/>
                      <a:pt x="500" y="587"/>
                    </a:cubicBezTo>
                    <a:cubicBezTo>
                      <a:pt x="500" y="587"/>
                      <a:pt x="500" y="587"/>
                      <a:pt x="500" y="587"/>
                    </a:cubicBezTo>
                    <a:cubicBezTo>
                      <a:pt x="500" y="587"/>
                      <a:pt x="500" y="587"/>
                      <a:pt x="500" y="587"/>
                    </a:cubicBezTo>
                    <a:cubicBezTo>
                      <a:pt x="500" y="587"/>
                      <a:pt x="501" y="587"/>
                      <a:pt x="501" y="587"/>
                    </a:cubicBezTo>
                    <a:cubicBezTo>
                      <a:pt x="501" y="587"/>
                      <a:pt x="502" y="588"/>
                      <a:pt x="502" y="588"/>
                    </a:cubicBezTo>
                    <a:cubicBezTo>
                      <a:pt x="502" y="589"/>
                      <a:pt x="502" y="589"/>
                      <a:pt x="503" y="589"/>
                    </a:cubicBezTo>
                    <a:cubicBezTo>
                      <a:pt x="503" y="589"/>
                      <a:pt x="503" y="590"/>
                      <a:pt x="503" y="590"/>
                    </a:cubicBezTo>
                    <a:cubicBezTo>
                      <a:pt x="503" y="590"/>
                      <a:pt x="503" y="591"/>
                      <a:pt x="503" y="591"/>
                    </a:cubicBezTo>
                    <a:cubicBezTo>
                      <a:pt x="503" y="592"/>
                      <a:pt x="502" y="592"/>
                      <a:pt x="502" y="592"/>
                    </a:cubicBezTo>
                    <a:cubicBezTo>
                      <a:pt x="502" y="593"/>
                      <a:pt x="503" y="592"/>
                      <a:pt x="503" y="592"/>
                    </a:cubicBezTo>
                    <a:cubicBezTo>
                      <a:pt x="503" y="592"/>
                      <a:pt x="503" y="592"/>
                      <a:pt x="503" y="591"/>
                    </a:cubicBezTo>
                    <a:cubicBezTo>
                      <a:pt x="503" y="591"/>
                      <a:pt x="503" y="591"/>
                      <a:pt x="503" y="590"/>
                    </a:cubicBezTo>
                    <a:cubicBezTo>
                      <a:pt x="503" y="590"/>
                      <a:pt x="504" y="590"/>
                      <a:pt x="503" y="589"/>
                    </a:cubicBezTo>
                    <a:cubicBezTo>
                      <a:pt x="503" y="589"/>
                      <a:pt x="503" y="589"/>
                      <a:pt x="503" y="589"/>
                    </a:cubicBezTo>
                    <a:cubicBezTo>
                      <a:pt x="502" y="588"/>
                      <a:pt x="502" y="588"/>
                      <a:pt x="502" y="587"/>
                    </a:cubicBezTo>
                    <a:cubicBezTo>
                      <a:pt x="502" y="587"/>
                      <a:pt x="502" y="586"/>
                      <a:pt x="503" y="586"/>
                    </a:cubicBezTo>
                    <a:cubicBezTo>
                      <a:pt x="503" y="587"/>
                      <a:pt x="503" y="587"/>
                      <a:pt x="503" y="587"/>
                    </a:cubicBezTo>
                    <a:cubicBezTo>
                      <a:pt x="504" y="587"/>
                      <a:pt x="504" y="587"/>
                      <a:pt x="504" y="587"/>
                    </a:cubicBezTo>
                    <a:cubicBezTo>
                      <a:pt x="504" y="587"/>
                      <a:pt x="504" y="587"/>
                      <a:pt x="504" y="587"/>
                    </a:cubicBezTo>
                    <a:cubicBezTo>
                      <a:pt x="504" y="587"/>
                      <a:pt x="504" y="587"/>
                      <a:pt x="504" y="587"/>
                    </a:cubicBezTo>
                    <a:cubicBezTo>
                      <a:pt x="504" y="587"/>
                      <a:pt x="504" y="587"/>
                      <a:pt x="504" y="587"/>
                    </a:cubicBezTo>
                    <a:cubicBezTo>
                      <a:pt x="504" y="586"/>
                      <a:pt x="504" y="586"/>
                      <a:pt x="504" y="586"/>
                    </a:cubicBezTo>
                    <a:cubicBezTo>
                      <a:pt x="504" y="586"/>
                      <a:pt x="504" y="586"/>
                      <a:pt x="504" y="586"/>
                    </a:cubicBezTo>
                    <a:cubicBezTo>
                      <a:pt x="504" y="586"/>
                      <a:pt x="503" y="586"/>
                      <a:pt x="503" y="586"/>
                    </a:cubicBezTo>
                    <a:cubicBezTo>
                      <a:pt x="503" y="586"/>
                      <a:pt x="503" y="586"/>
                      <a:pt x="503" y="586"/>
                    </a:cubicBezTo>
                    <a:cubicBezTo>
                      <a:pt x="503" y="586"/>
                      <a:pt x="503" y="586"/>
                      <a:pt x="503" y="586"/>
                    </a:cubicBezTo>
                    <a:cubicBezTo>
                      <a:pt x="503" y="585"/>
                      <a:pt x="504" y="585"/>
                      <a:pt x="504" y="585"/>
                    </a:cubicBezTo>
                    <a:cubicBezTo>
                      <a:pt x="504" y="585"/>
                      <a:pt x="504" y="585"/>
                      <a:pt x="504" y="585"/>
                    </a:cubicBezTo>
                    <a:cubicBezTo>
                      <a:pt x="504" y="585"/>
                      <a:pt x="504" y="585"/>
                      <a:pt x="505" y="585"/>
                    </a:cubicBezTo>
                    <a:cubicBezTo>
                      <a:pt x="505" y="585"/>
                      <a:pt x="504" y="585"/>
                      <a:pt x="504" y="585"/>
                    </a:cubicBezTo>
                    <a:cubicBezTo>
                      <a:pt x="504" y="585"/>
                      <a:pt x="504" y="585"/>
                      <a:pt x="504" y="585"/>
                    </a:cubicBezTo>
                    <a:cubicBezTo>
                      <a:pt x="504" y="585"/>
                      <a:pt x="504" y="585"/>
                      <a:pt x="504" y="585"/>
                    </a:cubicBezTo>
                    <a:cubicBezTo>
                      <a:pt x="504" y="586"/>
                      <a:pt x="505" y="585"/>
                      <a:pt x="505" y="585"/>
                    </a:cubicBezTo>
                    <a:cubicBezTo>
                      <a:pt x="505" y="585"/>
                      <a:pt x="505" y="585"/>
                      <a:pt x="505" y="585"/>
                    </a:cubicBezTo>
                    <a:cubicBezTo>
                      <a:pt x="505" y="585"/>
                      <a:pt x="505" y="584"/>
                      <a:pt x="505" y="584"/>
                    </a:cubicBezTo>
                    <a:cubicBezTo>
                      <a:pt x="505" y="584"/>
                      <a:pt x="505" y="584"/>
                      <a:pt x="504" y="584"/>
                    </a:cubicBezTo>
                    <a:cubicBezTo>
                      <a:pt x="504" y="584"/>
                      <a:pt x="504" y="584"/>
                      <a:pt x="505" y="584"/>
                    </a:cubicBezTo>
                    <a:cubicBezTo>
                      <a:pt x="505" y="584"/>
                      <a:pt x="505" y="584"/>
                      <a:pt x="505" y="584"/>
                    </a:cubicBezTo>
                    <a:cubicBezTo>
                      <a:pt x="505" y="584"/>
                      <a:pt x="506" y="584"/>
                      <a:pt x="506" y="584"/>
                    </a:cubicBezTo>
                    <a:cubicBezTo>
                      <a:pt x="506" y="585"/>
                      <a:pt x="506" y="585"/>
                      <a:pt x="506" y="585"/>
                    </a:cubicBezTo>
                    <a:cubicBezTo>
                      <a:pt x="506" y="584"/>
                      <a:pt x="506" y="584"/>
                      <a:pt x="506" y="584"/>
                    </a:cubicBezTo>
                    <a:cubicBezTo>
                      <a:pt x="506" y="584"/>
                      <a:pt x="506" y="584"/>
                      <a:pt x="506" y="584"/>
                    </a:cubicBezTo>
                    <a:cubicBezTo>
                      <a:pt x="506" y="584"/>
                      <a:pt x="506" y="584"/>
                      <a:pt x="506" y="584"/>
                    </a:cubicBezTo>
                    <a:cubicBezTo>
                      <a:pt x="506" y="584"/>
                      <a:pt x="506" y="584"/>
                      <a:pt x="506" y="584"/>
                    </a:cubicBezTo>
                    <a:cubicBezTo>
                      <a:pt x="507" y="584"/>
                      <a:pt x="507" y="584"/>
                      <a:pt x="507" y="584"/>
                    </a:cubicBezTo>
                    <a:cubicBezTo>
                      <a:pt x="507" y="584"/>
                      <a:pt x="507" y="584"/>
                      <a:pt x="507" y="583"/>
                    </a:cubicBezTo>
                    <a:cubicBezTo>
                      <a:pt x="506" y="583"/>
                      <a:pt x="506" y="583"/>
                      <a:pt x="506" y="583"/>
                    </a:cubicBezTo>
                    <a:cubicBezTo>
                      <a:pt x="505" y="583"/>
                      <a:pt x="505" y="583"/>
                      <a:pt x="505" y="583"/>
                    </a:cubicBezTo>
                    <a:cubicBezTo>
                      <a:pt x="505" y="583"/>
                      <a:pt x="505" y="583"/>
                      <a:pt x="505" y="583"/>
                    </a:cubicBezTo>
                    <a:cubicBezTo>
                      <a:pt x="505" y="583"/>
                      <a:pt x="505" y="583"/>
                      <a:pt x="505" y="583"/>
                    </a:cubicBezTo>
                    <a:cubicBezTo>
                      <a:pt x="505" y="583"/>
                      <a:pt x="505" y="583"/>
                      <a:pt x="505" y="583"/>
                    </a:cubicBezTo>
                    <a:cubicBezTo>
                      <a:pt x="505" y="583"/>
                      <a:pt x="505" y="582"/>
                      <a:pt x="505" y="582"/>
                    </a:cubicBezTo>
                    <a:cubicBezTo>
                      <a:pt x="505" y="582"/>
                      <a:pt x="505" y="582"/>
                      <a:pt x="505" y="582"/>
                    </a:cubicBezTo>
                    <a:cubicBezTo>
                      <a:pt x="505" y="582"/>
                      <a:pt x="505" y="582"/>
                      <a:pt x="505" y="582"/>
                    </a:cubicBezTo>
                    <a:cubicBezTo>
                      <a:pt x="505" y="582"/>
                      <a:pt x="505" y="582"/>
                      <a:pt x="505" y="582"/>
                    </a:cubicBezTo>
                    <a:cubicBezTo>
                      <a:pt x="505" y="582"/>
                      <a:pt x="505" y="582"/>
                      <a:pt x="506" y="582"/>
                    </a:cubicBezTo>
                    <a:cubicBezTo>
                      <a:pt x="506" y="582"/>
                      <a:pt x="506" y="582"/>
                      <a:pt x="506" y="582"/>
                    </a:cubicBezTo>
                    <a:cubicBezTo>
                      <a:pt x="506" y="582"/>
                      <a:pt x="506" y="582"/>
                      <a:pt x="506" y="582"/>
                    </a:cubicBezTo>
                    <a:cubicBezTo>
                      <a:pt x="506" y="582"/>
                      <a:pt x="506" y="582"/>
                      <a:pt x="506" y="581"/>
                    </a:cubicBezTo>
                    <a:cubicBezTo>
                      <a:pt x="506" y="581"/>
                      <a:pt x="506" y="581"/>
                      <a:pt x="506" y="580"/>
                    </a:cubicBezTo>
                    <a:cubicBezTo>
                      <a:pt x="506" y="580"/>
                      <a:pt x="506" y="580"/>
                      <a:pt x="506" y="580"/>
                    </a:cubicBezTo>
                    <a:cubicBezTo>
                      <a:pt x="506" y="580"/>
                      <a:pt x="506" y="580"/>
                      <a:pt x="506" y="580"/>
                    </a:cubicBezTo>
                    <a:cubicBezTo>
                      <a:pt x="506" y="580"/>
                      <a:pt x="506" y="580"/>
                      <a:pt x="506" y="580"/>
                    </a:cubicBezTo>
                    <a:cubicBezTo>
                      <a:pt x="506" y="580"/>
                      <a:pt x="506" y="580"/>
                      <a:pt x="507" y="580"/>
                    </a:cubicBezTo>
                    <a:cubicBezTo>
                      <a:pt x="507" y="580"/>
                      <a:pt x="507" y="580"/>
                      <a:pt x="507" y="580"/>
                    </a:cubicBezTo>
                    <a:cubicBezTo>
                      <a:pt x="507" y="580"/>
                      <a:pt x="507" y="580"/>
                      <a:pt x="507" y="580"/>
                    </a:cubicBezTo>
                    <a:cubicBezTo>
                      <a:pt x="507" y="580"/>
                      <a:pt x="507" y="579"/>
                      <a:pt x="507" y="579"/>
                    </a:cubicBezTo>
                    <a:cubicBezTo>
                      <a:pt x="506" y="579"/>
                      <a:pt x="506" y="579"/>
                      <a:pt x="506" y="579"/>
                    </a:cubicBezTo>
                    <a:cubicBezTo>
                      <a:pt x="506" y="579"/>
                      <a:pt x="506" y="579"/>
                      <a:pt x="506" y="579"/>
                    </a:cubicBezTo>
                    <a:cubicBezTo>
                      <a:pt x="506" y="578"/>
                      <a:pt x="506" y="578"/>
                      <a:pt x="506" y="579"/>
                    </a:cubicBezTo>
                    <a:cubicBezTo>
                      <a:pt x="507" y="579"/>
                      <a:pt x="507" y="579"/>
                      <a:pt x="507" y="579"/>
                    </a:cubicBezTo>
                    <a:cubicBezTo>
                      <a:pt x="507" y="579"/>
                      <a:pt x="507" y="578"/>
                      <a:pt x="507" y="578"/>
                    </a:cubicBezTo>
                    <a:cubicBezTo>
                      <a:pt x="507" y="578"/>
                      <a:pt x="508" y="578"/>
                      <a:pt x="508" y="578"/>
                    </a:cubicBezTo>
                    <a:cubicBezTo>
                      <a:pt x="508" y="578"/>
                      <a:pt x="508" y="578"/>
                      <a:pt x="508" y="578"/>
                    </a:cubicBezTo>
                    <a:cubicBezTo>
                      <a:pt x="508" y="579"/>
                      <a:pt x="508" y="579"/>
                      <a:pt x="509" y="579"/>
                    </a:cubicBezTo>
                    <a:cubicBezTo>
                      <a:pt x="509" y="579"/>
                      <a:pt x="509" y="579"/>
                      <a:pt x="509" y="579"/>
                    </a:cubicBezTo>
                    <a:cubicBezTo>
                      <a:pt x="509" y="579"/>
                      <a:pt x="509" y="579"/>
                      <a:pt x="509" y="579"/>
                    </a:cubicBezTo>
                    <a:cubicBezTo>
                      <a:pt x="509" y="579"/>
                      <a:pt x="509" y="579"/>
                      <a:pt x="509" y="579"/>
                    </a:cubicBezTo>
                    <a:cubicBezTo>
                      <a:pt x="509" y="579"/>
                      <a:pt x="508" y="579"/>
                      <a:pt x="508" y="578"/>
                    </a:cubicBezTo>
                    <a:cubicBezTo>
                      <a:pt x="508" y="578"/>
                      <a:pt x="508" y="578"/>
                      <a:pt x="508" y="578"/>
                    </a:cubicBezTo>
                    <a:cubicBezTo>
                      <a:pt x="508" y="578"/>
                      <a:pt x="507" y="578"/>
                      <a:pt x="507" y="578"/>
                    </a:cubicBezTo>
                    <a:cubicBezTo>
                      <a:pt x="507" y="578"/>
                      <a:pt x="507" y="577"/>
                      <a:pt x="507" y="577"/>
                    </a:cubicBezTo>
                    <a:cubicBezTo>
                      <a:pt x="507" y="577"/>
                      <a:pt x="506" y="576"/>
                      <a:pt x="506" y="576"/>
                    </a:cubicBezTo>
                    <a:cubicBezTo>
                      <a:pt x="506" y="576"/>
                      <a:pt x="506" y="575"/>
                      <a:pt x="506" y="575"/>
                    </a:cubicBezTo>
                    <a:cubicBezTo>
                      <a:pt x="506" y="575"/>
                      <a:pt x="506" y="574"/>
                      <a:pt x="507" y="574"/>
                    </a:cubicBezTo>
                    <a:cubicBezTo>
                      <a:pt x="507" y="574"/>
                      <a:pt x="507" y="574"/>
                      <a:pt x="507" y="573"/>
                    </a:cubicBezTo>
                    <a:cubicBezTo>
                      <a:pt x="507" y="573"/>
                      <a:pt x="508" y="574"/>
                      <a:pt x="508" y="574"/>
                    </a:cubicBezTo>
                    <a:cubicBezTo>
                      <a:pt x="508" y="574"/>
                      <a:pt x="508" y="574"/>
                      <a:pt x="508" y="574"/>
                    </a:cubicBezTo>
                    <a:cubicBezTo>
                      <a:pt x="508" y="574"/>
                      <a:pt x="508" y="574"/>
                      <a:pt x="508" y="574"/>
                    </a:cubicBezTo>
                    <a:cubicBezTo>
                      <a:pt x="509" y="574"/>
                      <a:pt x="509" y="574"/>
                      <a:pt x="509" y="574"/>
                    </a:cubicBezTo>
                    <a:cubicBezTo>
                      <a:pt x="508" y="574"/>
                      <a:pt x="508" y="574"/>
                      <a:pt x="508" y="574"/>
                    </a:cubicBezTo>
                    <a:cubicBezTo>
                      <a:pt x="508" y="574"/>
                      <a:pt x="508" y="574"/>
                      <a:pt x="508" y="574"/>
                    </a:cubicBezTo>
                    <a:cubicBezTo>
                      <a:pt x="508" y="574"/>
                      <a:pt x="508" y="573"/>
                      <a:pt x="508" y="573"/>
                    </a:cubicBezTo>
                    <a:cubicBezTo>
                      <a:pt x="508" y="572"/>
                      <a:pt x="509" y="572"/>
                      <a:pt x="509" y="572"/>
                    </a:cubicBezTo>
                    <a:cubicBezTo>
                      <a:pt x="509" y="572"/>
                      <a:pt x="509" y="572"/>
                      <a:pt x="509" y="572"/>
                    </a:cubicBezTo>
                    <a:cubicBezTo>
                      <a:pt x="509" y="572"/>
                      <a:pt x="509" y="572"/>
                      <a:pt x="509" y="572"/>
                    </a:cubicBezTo>
                    <a:cubicBezTo>
                      <a:pt x="509" y="572"/>
                      <a:pt x="509" y="572"/>
                      <a:pt x="509" y="571"/>
                    </a:cubicBezTo>
                    <a:cubicBezTo>
                      <a:pt x="509" y="571"/>
                      <a:pt x="508" y="571"/>
                      <a:pt x="509" y="571"/>
                    </a:cubicBezTo>
                    <a:cubicBezTo>
                      <a:pt x="509" y="570"/>
                      <a:pt x="509" y="570"/>
                      <a:pt x="509" y="570"/>
                    </a:cubicBezTo>
                    <a:cubicBezTo>
                      <a:pt x="509" y="570"/>
                      <a:pt x="509" y="570"/>
                      <a:pt x="509" y="569"/>
                    </a:cubicBezTo>
                    <a:cubicBezTo>
                      <a:pt x="509" y="569"/>
                      <a:pt x="509" y="569"/>
                      <a:pt x="509" y="569"/>
                    </a:cubicBezTo>
                    <a:cubicBezTo>
                      <a:pt x="510" y="569"/>
                      <a:pt x="510" y="569"/>
                      <a:pt x="510" y="568"/>
                    </a:cubicBezTo>
                    <a:cubicBezTo>
                      <a:pt x="510" y="568"/>
                      <a:pt x="510" y="568"/>
                      <a:pt x="510" y="568"/>
                    </a:cubicBezTo>
                    <a:cubicBezTo>
                      <a:pt x="510" y="568"/>
                      <a:pt x="510" y="568"/>
                      <a:pt x="510" y="568"/>
                    </a:cubicBezTo>
                    <a:cubicBezTo>
                      <a:pt x="510" y="568"/>
                      <a:pt x="510" y="568"/>
                      <a:pt x="510" y="568"/>
                    </a:cubicBezTo>
                    <a:cubicBezTo>
                      <a:pt x="510" y="568"/>
                      <a:pt x="510" y="568"/>
                      <a:pt x="510" y="568"/>
                    </a:cubicBezTo>
                    <a:cubicBezTo>
                      <a:pt x="510" y="567"/>
                      <a:pt x="510" y="567"/>
                      <a:pt x="510" y="567"/>
                    </a:cubicBezTo>
                    <a:cubicBezTo>
                      <a:pt x="510" y="567"/>
                      <a:pt x="510" y="567"/>
                      <a:pt x="510" y="567"/>
                    </a:cubicBezTo>
                    <a:cubicBezTo>
                      <a:pt x="511" y="567"/>
                      <a:pt x="511" y="567"/>
                      <a:pt x="511" y="567"/>
                    </a:cubicBezTo>
                    <a:cubicBezTo>
                      <a:pt x="511" y="567"/>
                      <a:pt x="511" y="567"/>
                      <a:pt x="511" y="567"/>
                    </a:cubicBezTo>
                    <a:cubicBezTo>
                      <a:pt x="512" y="567"/>
                      <a:pt x="512" y="567"/>
                      <a:pt x="513" y="568"/>
                    </a:cubicBezTo>
                    <a:cubicBezTo>
                      <a:pt x="513" y="568"/>
                      <a:pt x="513" y="568"/>
                      <a:pt x="513" y="569"/>
                    </a:cubicBezTo>
                    <a:cubicBezTo>
                      <a:pt x="513" y="569"/>
                      <a:pt x="513" y="569"/>
                      <a:pt x="513" y="569"/>
                    </a:cubicBezTo>
                    <a:cubicBezTo>
                      <a:pt x="513" y="569"/>
                      <a:pt x="513" y="570"/>
                      <a:pt x="513" y="570"/>
                    </a:cubicBezTo>
                    <a:cubicBezTo>
                      <a:pt x="513" y="570"/>
                      <a:pt x="513" y="570"/>
                      <a:pt x="512" y="570"/>
                    </a:cubicBezTo>
                    <a:cubicBezTo>
                      <a:pt x="512" y="570"/>
                      <a:pt x="512" y="570"/>
                      <a:pt x="512" y="570"/>
                    </a:cubicBezTo>
                    <a:cubicBezTo>
                      <a:pt x="512" y="570"/>
                      <a:pt x="513" y="570"/>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2"/>
                      <a:pt x="513" y="571"/>
                      <a:pt x="513" y="572"/>
                    </a:cubicBezTo>
                    <a:cubicBezTo>
                      <a:pt x="513" y="572"/>
                      <a:pt x="513" y="572"/>
                      <a:pt x="513" y="572"/>
                    </a:cubicBezTo>
                    <a:cubicBezTo>
                      <a:pt x="513" y="572"/>
                      <a:pt x="513" y="572"/>
                      <a:pt x="513" y="572"/>
                    </a:cubicBezTo>
                    <a:cubicBezTo>
                      <a:pt x="513" y="572"/>
                      <a:pt x="514" y="572"/>
                      <a:pt x="514" y="572"/>
                    </a:cubicBezTo>
                    <a:cubicBezTo>
                      <a:pt x="514" y="572"/>
                      <a:pt x="514" y="571"/>
                      <a:pt x="514" y="571"/>
                    </a:cubicBezTo>
                    <a:cubicBezTo>
                      <a:pt x="514" y="571"/>
                      <a:pt x="514" y="571"/>
                      <a:pt x="514" y="571"/>
                    </a:cubicBezTo>
                    <a:cubicBezTo>
                      <a:pt x="514" y="571"/>
                      <a:pt x="514" y="571"/>
                      <a:pt x="514" y="571"/>
                    </a:cubicBezTo>
                    <a:cubicBezTo>
                      <a:pt x="514" y="571"/>
                      <a:pt x="514" y="571"/>
                      <a:pt x="514" y="571"/>
                    </a:cubicBezTo>
                    <a:cubicBezTo>
                      <a:pt x="514" y="571"/>
                      <a:pt x="514" y="571"/>
                      <a:pt x="515" y="571"/>
                    </a:cubicBezTo>
                    <a:cubicBezTo>
                      <a:pt x="515" y="571"/>
                      <a:pt x="515" y="571"/>
                      <a:pt x="515" y="572"/>
                    </a:cubicBezTo>
                    <a:cubicBezTo>
                      <a:pt x="515" y="572"/>
                      <a:pt x="514" y="572"/>
                      <a:pt x="514" y="572"/>
                    </a:cubicBezTo>
                    <a:cubicBezTo>
                      <a:pt x="514" y="572"/>
                      <a:pt x="515" y="572"/>
                      <a:pt x="515" y="572"/>
                    </a:cubicBezTo>
                    <a:cubicBezTo>
                      <a:pt x="515" y="572"/>
                      <a:pt x="515" y="573"/>
                      <a:pt x="515" y="573"/>
                    </a:cubicBezTo>
                    <a:cubicBezTo>
                      <a:pt x="515" y="573"/>
                      <a:pt x="515" y="573"/>
                      <a:pt x="515" y="573"/>
                    </a:cubicBezTo>
                    <a:cubicBezTo>
                      <a:pt x="515" y="573"/>
                      <a:pt x="515" y="574"/>
                      <a:pt x="515" y="574"/>
                    </a:cubicBezTo>
                    <a:cubicBezTo>
                      <a:pt x="515" y="574"/>
                      <a:pt x="514" y="575"/>
                      <a:pt x="515" y="575"/>
                    </a:cubicBezTo>
                    <a:cubicBezTo>
                      <a:pt x="515" y="575"/>
                      <a:pt x="515" y="576"/>
                      <a:pt x="516" y="576"/>
                    </a:cubicBezTo>
                    <a:cubicBezTo>
                      <a:pt x="516" y="576"/>
                      <a:pt x="516" y="576"/>
                      <a:pt x="516" y="576"/>
                    </a:cubicBezTo>
                    <a:cubicBezTo>
                      <a:pt x="516" y="576"/>
                      <a:pt x="516" y="576"/>
                      <a:pt x="516" y="576"/>
                    </a:cubicBezTo>
                    <a:cubicBezTo>
                      <a:pt x="516" y="576"/>
                      <a:pt x="517" y="576"/>
                      <a:pt x="517" y="577"/>
                    </a:cubicBezTo>
                    <a:cubicBezTo>
                      <a:pt x="517" y="577"/>
                      <a:pt x="517" y="577"/>
                      <a:pt x="517" y="577"/>
                    </a:cubicBezTo>
                    <a:cubicBezTo>
                      <a:pt x="517" y="577"/>
                      <a:pt x="517" y="577"/>
                      <a:pt x="517" y="577"/>
                    </a:cubicBezTo>
                    <a:cubicBezTo>
                      <a:pt x="517" y="578"/>
                      <a:pt x="518" y="578"/>
                      <a:pt x="518" y="578"/>
                    </a:cubicBezTo>
                    <a:cubicBezTo>
                      <a:pt x="518" y="578"/>
                      <a:pt x="518" y="579"/>
                      <a:pt x="517" y="579"/>
                    </a:cubicBezTo>
                    <a:cubicBezTo>
                      <a:pt x="517" y="579"/>
                      <a:pt x="517" y="579"/>
                      <a:pt x="517" y="579"/>
                    </a:cubicBezTo>
                    <a:cubicBezTo>
                      <a:pt x="516" y="579"/>
                      <a:pt x="516" y="579"/>
                      <a:pt x="516" y="579"/>
                    </a:cubicBezTo>
                    <a:cubicBezTo>
                      <a:pt x="516" y="579"/>
                      <a:pt x="516" y="579"/>
                      <a:pt x="516" y="579"/>
                    </a:cubicBezTo>
                    <a:cubicBezTo>
                      <a:pt x="516" y="579"/>
                      <a:pt x="516" y="579"/>
                      <a:pt x="516" y="579"/>
                    </a:cubicBezTo>
                    <a:cubicBezTo>
                      <a:pt x="516" y="580"/>
                      <a:pt x="517" y="579"/>
                      <a:pt x="517" y="580"/>
                    </a:cubicBezTo>
                    <a:cubicBezTo>
                      <a:pt x="518" y="580"/>
                      <a:pt x="518" y="580"/>
                      <a:pt x="518" y="581"/>
                    </a:cubicBezTo>
                    <a:cubicBezTo>
                      <a:pt x="517" y="581"/>
                      <a:pt x="517" y="581"/>
                      <a:pt x="517" y="581"/>
                    </a:cubicBezTo>
                    <a:cubicBezTo>
                      <a:pt x="517" y="581"/>
                      <a:pt x="518" y="581"/>
                      <a:pt x="518" y="581"/>
                    </a:cubicBezTo>
                    <a:cubicBezTo>
                      <a:pt x="518" y="581"/>
                      <a:pt x="518" y="580"/>
                      <a:pt x="518" y="580"/>
                    </a:cubicBezTo>
                    <a:cubicBezTo>
                      <a:pt x="518" y="580"/>
                      <a:pt x="519" y="580"/>
                      <a:pt x="519" y="580"/>
                    </a:cubicBezTo>
                    <a:cubicBezTo>
                      <a:pt x="519" y="580"/>
                      <a:pt x="519" y="581"/>
                      <a:pt x="519" y="581"/>
                    </a:cubicBezTo>
                    <a:cubicBezTo>
                      <a:pt x="519" y="581"/>
                      <a:pt x="519" y="581"/>
                      <a:pt x="519" y="581"/>
                    </a:cubicBezTo>
                    <a:cubicBezTo>
                      <a:pt x="519" y="581"/>
                      <a:pt x="520" y="581"/>
                      <a:pt x="520" y="581"/>
                    </a:cubicBezTo>
                    <a:cubicBezTo>
                      <a:pt x="520" y="581"/>
                      <a:pt x="520" y="581"/>
                      <a:pt x="520" y="581"/>
                    </a:cubicBezTo>
                    <a:cubicBezTo>
                      <a:pt x="520" y="581"/>
                      <a:pt x="520" y="582"/>
                      <a:pt x="520" y="582"/>
                    </a:cubicBezTo>
                    <a:cubicBezTo>
                      <a:pt x="520" y="582"/>
                      <a:pt x="520" y="582"/>
                      <a:pt x="520" y="582"/>
                    </a:cubicBezTo>
                    <a:cubicBezTo>
                      <a:pt x="520" y="582"/>
                      <a:pt x="520" y="582"/>
                      <a:pt x="520" y="582"/>
                    </a:cubicBezTo>
                    <a:cubicBezTo>
                      <a:pt x="520" y="583"/>
                      <a:pt x="520" y="583"/>
                      <a:pt x="519" y="583"/>
                    </a:cubicBezTo>
                    <a:cubicBezTo>
                      <a:pt x="519" y="583"/>
                      <a:pt x="519" y="584"/>
                      <a:pt x="518" y="584"/>
                    </a:cubicBezTo>
                    <a:cubicBezTo>
                      <a:pt x="518" y="584"/>
                      <a:pt x="518" y="583"/>
                      <a:pt x="517" y="583"/>
                    </a:cubicBezTo>
                    <a:cubicBezTo>
                      <a:pt x="517" y="583"/>
                      <a:pt x="516" y="584"/>
                      <a:pt x="516" y="585"/>
                    </a:cubicBezTo>
                    <a:cubicBezTo>
                      <a:pt x="516" y="585"/>
                      <a:pt x="516" y="585"/>
                      <a:pt x="517" y="585"/>
                    </a:cubicBezTo>
                    <a:cubicBezTo>
                      <a:pt x="517" y="585"/>
                      <a:pt x="517" y="585"/>
                      <a:pt x="517" y="585"/>
                    </a:cubicBezTo>
                    <a:cubicBezTo>
                      <a:pt x="517" y="585"/>
                      <a:pt x="517" y="585"/>
                      <a:pt x="517" y="584"/>
                    </a:cubicBezTo>
                    <a:cubicBezTo>
                      <a:pt x="517" y="584"/>
                      <a:pt x="518" y="584"/>
                      <a:pt x="518" y="584"/>
                    </a:cubicBezTo>
                    <a:cubicBezTo>
                      <a:pt x="518" y="584"/>
                      <a:pt x="518" y="584"/>
                      <a:pt x="518" y="584"/>
                    </a:cubicBezTo>
                    <a:cubicBezTo>
                      <a:pt x="518" y="584"/>
                      <a:pt x="518" y="584"/>
                      <a:pt x="518" y="584"/>
                    </a:cubicBezTo>
                    <a:cubicBezTo>
                      <a:pt x="519" y="584"/>
                      <a:pt x="519" y="584"/>
                      <a:pt x="520" y="584"/>
                    </a:cubicBezTo>
                    <a:cubicBezTo>
                      <a:pt x="520" y="584"/>
                      <a:pt x="520" y="584"/>
                      <a:pt x="520" y="583"/>
                    </a:cubicBezTo>
                    <a:cubicBezTo>
                      <a:pt x="520" y="583"/>
                      <a:pt x="520" y="583"/>
                      <a:pt x="521" y="583"/>
                    </a:cubicBezTo>
                    <a:cubicBezTo>
                      <a:pt x="521" y="584"/>
                      <a:pt x="521" y="584"/>
                      <a:pt x="521" y="584"/>
                    </a:cubicBezTo>
                    <a:cubicBezTo>
                      <a:pt x="521" y="584"/>
                      <a:pt x="521" y="584"/>
                      <a:pt x="521" y="584"/>
                    </a:cubicBezTo>
                    <a:cubicBezTo>
                      <a:pt x="521" y="584"/>
                      <a:pt x="521" y="584"/>
                      <a:pt x="521" y="584"/>
                    </a:cubicBezTo>
                    <a:cubicBezTo>
                      <a:pt x="521" y="584"/>
                      <a:pt x="521" y="585"/>
                      <a:pt x="521" y="585"/>
                    </a:cubicBezTo>
                    <a:cubicBezTo>
                      <a:pt x="521" y="585"/>
                      <a:pt x="521" y="585"/>
                      <a:pt x="521" y="585"/>
                    </a:cubicBezTo>
                    <a:cubicBezTo>
                      <a:pt x="521" y="585"/>
                      <a:pt x="521" y="585"/>
                      <a:pt x="521" y="585"/>
                    </a:cubicBezTo>
                    <a:cubicBezTo>
                      <a:pt x="521" y="585"/>
                      <a:pt x="521" y="585"/>
                      <a:pt x="521" y="585"/>
                    </a:cubicBezTo>
                    <a:cubicBezTo>
                      <a:pt x="521" y="585"/>
                      <a:pt x="521" y="585"/>
                      <a:pt x="521" y="586"/>
                    </a:cubicBezTo>
                    <a:cubicBezTo>
                      <a:pt x="521" y="586"/>
                      <a:pt x="521" y="586"/>
                      <a:pt x="521" y="586"/>
                    </a:cubicBezTo>
                    <a:cubicBezTo>
                      <a:pt x="521" y="586"/>
                      <a:pt x="521" y="586"/>
                      <a:pt x="521" y="586"/>
                    </a:cubicBezTo>
                    <a:cubicBezTo>
                      <a:pt x="522" y="586"/>
                      <a:pt x="522" y="587"/>
                      <a:pt x="522" y="586"/>
                    </a:cubicBezTo>
                    <a:cubicBezTo>
                      <a:pt x="522" y="586"/>
                      <a:pt x="523" y="586"/>
                      <a:pt x="523" y="586"/>
                    </a:cubicBezTo>
                    <a:cubicBezTo>
                      <a:pt x="523" y="586"/>
                      <a:pt x="523" y="587"/>
                      <a:pt x="523" y="587"/>
                    </a:cubicBezTo>
                    <a:cubicBezTo>
                      <a:pt x="523" y="587"/>
                      <a:pt x="523" y="587"/>
                      <a:pt x="523" y="587"/>
                    </a:cubicBezTo>
                    <a:cubicBezTo>
                      <a:pt x="523" y="587"/>
                      <a:pt x="523" y="587"/>
                      <a:pt x="523" y="588"/>
                    </a:cubicBezTo>
                    <a:cubicBezTo>
                      <a:pt x="523" y="588"/>
                      <a:pt x="523" y="588"/>
                      <a:pt x="522" y="588"/>
                    </a:cubicBezTo>
                    <a:cubicBezTo>
                      <a:pt x="522" y="588"/>
                      <a:pt x="522" y="588"/>
                      <a:pt x="522" y="588"/>
                    </a:cubicBezTo>
                    <a:cubicBezTo>
                      <a:pt x="522" y="588"/>
                      <a:pt x="522" y="588"/>
                      <a:pt x="522" y="588"/>
                    </a:cubicBezTo>
                    <a:cubicBezTo>
                      <a:pt x="522" y="588"/>
                      <a:pt x="523" y="588"/>
                      <a:pt x="523" y="588"/>
                    </a:cubicBezTo>
                    <a:cubicBezTo>
                      <a:pt x="523" y="588"/>
                      <a:pt x="523" y="588"/>
                      <a:pt x="523" y="588"/>
                    </a:cubicBezTo>
                    <a:cubicBezTo>
                      <a:pt x="523" y="588"/>
                      <a:pt x="523" y="588"/>
                      <a:pt x="523" y="589"/>
                    </a:cubicBezTo>
                    <a:cubicBezTo>
                      <a:pt x="523" y="589"/>
                      <a:pt x="523" y="589"/>
                      <a:pt x="523" y="589"/>
                    </a:cubicBezTo>
                    <a:cubicBezTo>
                      <a:pt x="523" y="589"/>
                      <a:pt x="523" y="590"/>
                      <a:pt x="523" y="590"/>
                    </a:cubicBezTo>
                    <a:cubicBezTo>
                      <a:pt x="523" y="590"/>
                      <a:pt x="523" y="590"/>
                      <a:pt x="522" y="590"/>
                    </a:cubicBezTo>
                    <a:cubicBezTo>
                      <a:pt x="522" y="590"/>
                      <a:pt x="522" y="591"/>
                      <a:pt x="521" y="591"/>
                    </a:cubicBezTo>
                    <a:cubicBezTo>
                      <a:pt x="521" y="591"/>
                      <a:pt x="520" y="591"/>
                      <a:pt x="520" y="591"/>
                    </a:cubicBezTo>
                    <a:cubicBezTo>
                      <a:pt x="519" y="591"/>
                      <a:pt x="520" y="591"/>
                      <a:pt x="520" y="591"/>
                    </a:cubicBezTo>
                    <a:cubicBezTo>
                      <a:pt x="520" y="591"/>
                      <a:pt x="520" y="591"/>
                      <a:pt x="520" y="591"/>
                    </a:cubicBezTo>
                    <a:cubicBezTo>
                      <a:pt x="520" y="591"/>
                      <a:pt x="520" y="592"/>
                      <a:pt x="520" y="592"/>
                    </a:cubicBezTo>
                    <a:cubicBezTo>
                      <a:pt x="520" y="592"/>
                      <a:pt x="519" y="592"/>
                      <a:pt x="519" y="593"/>
                    </a:cubicBezTo>
                    <a:cubicBezTo>
                      <a:pt x="519" y="593"/>
                      <a:pt x="519" y="593"/>
                      <a:pt x="519" y="593"/>
                    </a:cubicBezTo>
                    <a:cubicBezTo>
                      <a:pt x="519" y="593"/>
                      <a:pt x="519" y="593"/>
                      <a:pt x="519" y="593"/>
                    </a:cubicBezTo>
                    <a:cubicBezTo>
                      <a:pt x="520" y="593"/>
                      <a:pt x="520" y="592"/>
                      <a:pt x="520" y="592"/>
                    </a:cubicBezTo>
                    <a:cubicBezTo>
                      <a:pt x="521" y="592"/>
                      <a:pt x="521" y="592"/>
                      <a:pt x="521" y="591"/>
                    </a:cubicBezTo>
                    <a:cubicBezTo>
                      <a:pt x="521" y="591"/>
                      <a:pt x="522" y="591"/>
                      <a:pt x="522" y="591"/>
                    </a:cubicBezTo>
                    <a:cubicBezTo>
                      <a:pt x="522" y="592"/>
                      <a:pt x="522" y="592"/>
                      <a:pt x="522" y="592"/>
                    </a:cubicBezTo>
                    <a:cubicBezTo>
                      <a:pt x="522" y="592"/>
                      <a:pt x="522" y="592"/>
                      <a:pt x="522" y="592"/>
                    </a:cubicBezTo>
                    <a:cubicBezTo>
                      <a:pt x="522" y="592"/>
                      <a:pt x="522" y="592"/>
                      <a:pt x="522" y="592"/>
                    </a:cubicBezTo>
                    <a:cubicBezTo>
                      <a:pt x="522" y="592"/>
                      <a:pt x="523" y="592"/>
                      <a:pt x="523" y="592"/>
                    </a:cubicBezTo>
                    <a:cubicBezTo>
                      <a:pt x="523" y="591"/>
                      <a:pt x="524" y="592"/>
                      <a:pt x="524" y="591"/>
                    </a:cubicBezTo>
                    <a:cubicBezTo>
                      <a:pt x="524" y="591"/>
                      <a:pt x="524" y="591"/>
                      <a:pt x="525" y="591"/>
                    </a:cubicBezTo>
                    <a:cubicBezTo>
                      <a:pt x="525" y="591"/>
                      <a:pt x="525" y="591"/>
                      <a:pt x="525" y="591"/>
                    </a:cubicBezTo>
                    <a:cubicBezTo>
                      <a:pt x="525" y="592"/>
                      <a:pt x="525" y="592"/>
                      <a:pt x="525" y="592"/>
                    </a:cubicBezTo>
                    <a:cubicBezTo>
                      <a:pt x="525" y="592"/>
                      <a:pt x="525" y="592"/>
                      <a:pt x="525" y="592"/>
                    </a:cubicBezTo>
                    <a:cubicBezTo>
                      <a:pt x="525" y="593"/>
                      <a:pt x="525" y="593"/>
                      <a:pt x="525" y="593"/>
                    </a:cubicBezTo>
                    <a:cubicBezTo>
                      <a:pt x="525" y="593"/>
                      <a:pt x="525" y="594"/>
                      <a:pt x="525" y="594"/>
                    </a:cubicBezTo>
                    <a:cubicBezTo>
                      <a:pt x="525" y="594"/>
                      <a:pt x="525" y="594"/>
                      <a:pt x="525" y="594"/>
                    </a:cubicBezTo>
                    <a:cubicBezTo>
                      <a:pt x="525" y="594"/>
                      <a:pt x="525" y="594"/>
                      <a:pt x="525" y="594"/>
                    </a:cubicBezTo>
                    <a:cubicBezTo>
                      <a:pt x="525" y="594"/>
                      <a:pt x="525" y="594"/>
                      <a:pt x="525" y="594"/>
                    </a:cubicBezTo>
                    <a:cubicBezTo>
                      <a:pt x="525" y="594"/>
                      <a:pt x="525" y="594"/>
                      <a:pt x="525" y="595"/>
                    </a:cubicBezTo>
                    <a:cubicBezTo>
                      <a:pt x="525" y="595"/>
                      <a:pt x="525" y="595"/>
                      <a:pt x="525" y="595"/>
                    </a:cubicBezTo>
                    <a:cubicBezTo>
                      <a:pt x="525" y="595"/>
                      <a:pt x="525" y="595"/>
                      <a:pt x="525" y="595"/>
                    </a:cubicBezTo>
                    <a:cubicBezTo>
                      <a:pt x="525" y="595"/>
                      <a:pt x="525" y="595"/>
                      <a:pt x="525" y="595"/>
                    </a:cubicBezTo>
                    <a:cubicBezTo>
                      <a:pt x="524" y="595"/>
                      <a:pt x="524" y="595"/>
                      <a:pt x="523" y="595"/>
                    </a:cubicBezTo>
                    <a:cubicBezTo>
                      <a:pt x="522" y="596"/>
                      <a:pt x="522" y="596"/>
                      <a:pt x="522" y="596"/>
                    </a:cubicBezTo>
                    <a:cubicBezTo>
                      <a:pt x="521" y="597"/>
                      <a:pt x="521" y="597"/>
                      <a:pt x="520" y="597"/>
                    </a:cubicBezTo>
                    <a:cubicBezTo>
                      <a:pt x="520" y="597"/>
                      <a:pt x="520" y="598"/>
                      <a:pt x="520" y="598"/>
                    </a:cubicBezTo>
                    <a:cubicBezTo>
                      <a:pt x="520" y="598"/>
                      <a:pt x="520" y="598"/>
                      <a:pt x="520" y="598"/>
                    </a:cubicBezTo>
                    <a:cubicBezTo>
                      <a:pt x="520" y="598"/>
                      <a:pt x="521" y="598"/>
                      <a:pt x="521" y="598"/>
                    </a:cubicBezTo>
                    <a:cubicBezTo>
                      <a:pt x="521" y="598"/>
                      <a:pt x="521" y="598"/>
                      <a:pt x="521" y="597"/>
                    </a:cubicBezTo>
                    <a:cubicBezTo>
                      <a:pt x="522" y="597"/>
                      <a:pt x="522" y="597"/>
                      <a:pt x="522" y="597"/>
                    </a:cubicBezTo>
                    <a:cubicBezTo>
                      <a:pt x="523" y="596"/>
                      <a:pt x="523" y="596"/>
                      <a:pt x="524" y="596"/>
                    </a:cubicBezTo>
                    <a:cubicBezTo>
                      <a:pt x="524" y="596"/>
                      <a:pt x="524" y="596"/>
                      <a:pt x="525" y="596"/>
                    </a:cubicBezTo>
                    <a:cubicBezTo>
                      <a:pt x="525" y="596"/>
                      <a:pt x="526" y="595"/>
                      <a:pt x="526" y="595"/>
                    </a:cubicBezTo>
                    <a:cubicBezTo>
                      <a:pt x="526" y="595"/>
                      <a:pt x="526" y="596"/>
                      <a:pt x="526" y="596"/>
                    </a:cubicBezTo>
                    <a:cubicBezTo>
                      <a:pt x="526" y="596"/>
                      <a:pt x="526" y="596"/>
                      <a:pt x="527" y="596"/>
                    </a:cubicBezTo>
                    <a:cubicBezTo>
                      <a:pt x="527" y="596"/>
                      <a:pt x="527" y="596"/>
                      <a:pt x="527" y="597"/>
                    </a:cubicBezTo>
                    <a:cubicBezTo>
                      <a:pt x="527" y="597"/>
                      <a:pt x="527" y="597"/>
                      <a:pt x="527" y="597"/>
                    </a:cubicBezTo>
                    <a:cubicBezTo>
                      <a:pt x="527" y="597"/>
                      <a:pt x="527" y="597"/>
                      <a:pt x="527" y="597"/>
                    </a:cubicBezTo>
                    <a:cubicBezTo>
                      <a:pt x="526" y="597"/>
                      <a:pt x="526" y="597"/>
                      <a:pt x="526" y="597"/>
                    </a:cubicBezTo>
                    <a:cubicBezTo>
                      <a:pt x="526" y="597"/>
                      <a:pt x="525" y="597"/>
                      <a:pt x="525" y="598"/>
                    </a:cubicBezTo>
                    <a:cubicBezTo>
                      <a:pt x="525" y="598"/>
                      <a:pt x="526" y="598"/>
                      <a:pt x="526" y="598"/>
                    </a:cubicBezTo>
                    <a:cubicBezTo>
                      <a:pt x="526" y="598"/>
                      <a:pt x="526" y="598"/>
                      <a:pt x="526" y="598"/>
                    </a:cubicBezTo>
                    <a:cubicBezTo>
                      <a:pt x="526" y="598"/>
                      <a:pt x="526" y="598"/>
                      <a:pt x="526" y="598"/>
                    </a:cubicBezTo>
                    <a:cubicBezTo>
                      <a:pt x="526" y="599"/>
                      <a:pt x="527" y="599"/>
                      <a:pt x="527" y="599"/>
                    </a:cubicBezTo>
                    <a:cubicBezTo>
                      <a:pt x="527" y="599"/>
                      <a:pt x="527" y="598"/>
                      <a:pt x="527" y="598"/>
                    </a:cubicBezTo>
                    <a:cubicBezTo>
                      <a:pt x="527" y="598"/>
                      <a:pt x="527" y="598"/>
                      <a:pt x="527" y="598"/>
                    </a:cubicBezTo>
                    <a:cubicBezTo>
                      <a:pt x="527" y="599"/>
                      <a:pt x="528" y="598"/>
                      <a:pt x="528" y="598"/>
                    </a:cubicBezTo>
                    <a:cubicBezTo>
                      <a:pt x="528" y="598"/>
                      <a:pt x="528" y="598"/>
                      <a:pt x="528" y="598"/>
                    </a:cubicBezTo>
                    <a:cubicBezTo>
                      <a:pt x="528" y="598"/>
                      <a:pt x="528" y="598"/>
                      <a:pt x="528" y="598"/>
                    </a:cubicBezTo>
                    <a:cubicBezTo>
                      <a:pt x="528" y="598"/>
                      <a:pt x="529" y="598"/>
                      <a:pt x="529" y="598"/>
                    </a:cubicBezTo>
                    <a:cubicBezTo>
                      <a:pt x="529" y="598"/>
                      <a:pt x="529" y="598"/>
                      <a:pt x="529" y="598"/>
                    </a:cubicBezTo>
                    <a:cubicBezTo>
                      <a:pt x="529" y="599"/>
                      <a:pt x="529" y="599"/>
                      <a:pt x="529" y="599"/>
                    </a:cubicBezTo>
                    <a:cubicBezTo>
                      <a:pt x="530" y="599"/>
                      <a:pt x="530" y="599"/>
                      <a:pt x="530" y="599"/>
                    </a:cubicBezTo>
                    <a:cubicBezTo>
                      <a:pt x="530" y="599"/>
                      <a:pt x="530" y="599"/>
                      <a:pt x="530" y="599"/>
                    </a:cubicBezTo>
                    <a:cubicBezTo>
                      <a:pt x="530" y="600"/>
                      <a:pt x="531" y="600"/>
                      <a:pt x="531" y="600"/>
                    </a:cubicBezTo>
                    <a:cubicBezTo>
                      <a:pt x="531" y="600"/>
                      <a:pt x="531" y="600"/>
                      <a:pt x="531" y="600"/>
                    </a:cubicBezTo>
                    <a:cubicBezTo>
                      <a:pt x="531" y="600"/>
                      <a:pt x="531" y="600"/>
                      <a:pt x="531" y="601"/>
                    </a:cubicBezTo>
                    <a:cubicBezTo>
                      <a:pt x="531" y="601"/>
                      <a:pt x="531" y="601"/>
                      <a:pt x="531" y="601"/>
                    </a:cubicBezTo>
                    <a:cubicBezTo>
                      <a:pt x="531" y="601"/>
                      <a:pt x="531" y="601"/>
                      <a:pt x="531" y="601"/>
                    </a:cubicBezTo>
                    <a:cubicBezTo>
                      <a:pt x="530" y="600"/>
                      <a:pt x="530" y="600"/>
                      <a:pt x="529" y="600"/>
                    </a:cubicBezTo>
                    <a:cubicBezTo>
                      <a:pt x="529" y="600"/>
                      <a:pt x="529" y="600"/>
                      <a:pt x="529" y="600"/>
                    </a:cubicBezTo>
                    <a:cubicBezTo>
                      <a:pt x="529" y="600"/>
                      <a:pt x="529" y="600"/>
                      <a:pt x="529" y="600"/>
                    </a:cubicBezTo>
                    <a:cubicBezTo>
                      <a:pt x="529" y="600"/>
                      <a:pt x="529" y="600"/>
                      <a:pt x="529" y="601"/>
                    </a:cubicBezTo>
                    <a:cubicBezTo>
                      <a:pt x="529" y="601"/>
                      <a:pt x="529" y="601"/>
                      <a:pt x="530" y="601"/>
                    </a:cubicBezTo>
                    <a:cubicBezTo>
                      <a:pt x="530" y="601"/>
                      <a:pt x="530" y="601"/>
                      <a:pt x="530" y="602"/>
                    </a:cubicBezTo>
                    <a:cubicBezTo>
                      <a:pt x="530" y="602"/>
                      <a:pt x="530" y="602"/>
                      <a:pt x="530" y="602"/>
                    </a:cubicBezTo>
                    <a:cubicBezTo>
                      <a:pt x="530" y="602"/>
                      <a:pt x="530" y="602"/>
                      <a:pt x="530" y="602"/>
                    </a:cubicBezTo>
                    <a:cubicBezTo>
                      <a:pt x="529" y="602"/>
                      <a:pt x="529" y="602"/>
                      <a:pt x="529" y="602"/>
                    </a:cubicBezTo>
                    <a:cubicBezTo>
                      <a:pt x="529" y="603"/>
                      <a:pt x="529" y="603"/>
                      <a:pt x="528" y="603"/>
                    </a:cubicBezTo>
                    <a:cubicBezTo>
                      <a:pt x="528" y="603"/>
                      <a:pt x="528" y="603"/>
                      <a:pt x="528" y="603"/>
                    </a:cubicBezTo>
                    <a:cubicBezTo>
                      <a:pt x="528" y="603"/>
                      <a:pt x="528" y="604"/>
                      <a:pt x="527" y="604"/>
                    </a:cubicBezTo>
                    <a:cubicBezTo>
                      <a:pt x="527" y="604"/>
                      <a:pt x="527" y="604"/>
                      <a:pt x="527" y="604"/>
                    </a:cubicBezTo>
                    <a:cubicBezTo>
                      <a:pt x="527" y="604"/>
                      <a:pt x="526" y="604"/>
                      <a:pt x="526" y="604"/>
                    </a:cubicBezTo>
                    <a:cubicBezTo>
                      <a:pt x="526" y="604"/>
                      <a:pt x="526" y="604"/>
                      <a:pt x="526" y="604"/>
                    </a:cubicBezTo>
                    <a:cubicBezTo>
                      <a:pt x="526" y="604"/>
                      <a:pt x="526" y="604"/>
                      <a:pt x="526" y="604"/>
                    </a:cubicBezTo>
                    <a:cubicBezTo>
                      <a:pt x="526" y="604"/>
                      <a:pt x="526" y="604"/>
                      <a:pt x="526" y="604"/>
                    </a:cubicBezTo>
                    <a:cubicBezTo>
                      <a:pt x="527" y="604"/>
                      <a:pt x="528" y="604"/>
                      <a:pt x="528" y="604"/>
                    </a:cubicBezTo>
                    <a:cubicBezTo>
                      <a:pt x="529" y="604"/>
                      <a:pt x="529" y="604"/>
                      <a:pt x="529" y="604"/>
                    </a:cubicBezTo>
                    <a:cubicBezTo>
                      <a:pt x="529" y="605"/>
                      <a:pt x="529" y="605"/>
                      <a:pt x="529" y="605"/>
                    </a:cubicBezTo>
                    <a:cubicBezTo>
                      <a:pt x="530" y="605"/>
                      <a:pt x="530" y="605"/>
                      <a:pt x="530" y="605"/>
                    </a:cubicBezTo>
                    <a:cubicBezTo>
                      <a:pt x="530" y="605"/>
                      <a:pt x="530" y="605"/>
                      <a:pt x="530" y="605"/>
                    </a:cubicBezTo>
                    <a:cubicBezTo>
                      <a:pt x="530" y="606"/>
                      <a:pt x="530" y="606"/>
                      <a:pt x="530" y="606"/>
                    </a:cubicBezTo>
                    <a:cubicBezTo>
                      <a:pt x="530" y="606"/>
                      <a:pt x="530" y="607"/>
                      <a:pt x="530" y="607"/>
                    </a:cubicBezTo>
                    <a:cubicBezTo>
                      <a:pt x="530" y="607"/>
                      <a:pt x="530" y="607"/>
                      <a:pt x="530" y="607"/>
                    </a:cubicBezTo>
                    <a:cubicBezTo>
                      <a:pt x="530" y="607"/>
                      <a:pt x="529" y="607"/>
                      <a:pt x="529" y="607"/>
                    </a:cubicBezTo>
                    <a:cubicBezTo>
                      <a:pt x="530" y="607"/>
                      <a:pt x="530" y="607"/>
                      <a:pt x="530" y="607"/>
                    </a:cubicBezTo>
                    <a:cubicBezTo>
                      <a:pt x="530" y="607"/>
                      <a:pt x="530" y="607"/>
                      <a:pt x="530" y="608"/>
                    </a:cubicBezTo>
                    <a:cubicBezTo>
                      <a:pt x="530" y="608"/>
                      <a:pt x="531" y="608"/>
                      <a:pt x="531" y="608"/>
                    </a:cubicBezTo>
                    <a:cubicBezTo>
                      <a:pt x="532" y="608"/>
                      <a:pt x="532" y="608"/>
                      <a:pt x="533" y="608"/>
                    </a:cubicBezTo>
                    <a:cubicBezTo>
                      <a:pt x="533" y="608"/>
                      <a:pt x="533" y="608"/>
                      <a:pt x="533" y="608"/>
                    </a:cubicBezTo>
                    <a:cubicBezTo>
                      <a:pt x="533" y="608"/>
                      <a:pt x="533" y="608"/>
                      <a:pt x="533" y="608"/>
                    </a:cubicBezTo>
                    <a:cubicBezTo>
                      <a:pt x="534" y="609"/>
                      <a:pt x="534" y="609"/>
                      <a:pt x="534" y="610"/>
                    </a:cubicBezTo>
                    <a:cubicBezTo>
                      <a:pt x="534" y="610"/>
                      <a:pt x="534" y="610"/>
                      <a:pt x="534" y="610"/>
                    </a:cubicBezTo>
                    <a:cubicBezTo>
                      <a:pt x="534" y="610"/>
                      <a:pt x="533" y="610"/>
                      <a:pt x="533" y="610"/>
                    </a:cubicBezTo>
                    <a:cubicBezTo>
                      <a:pt x="533" y="610"/>
                      <a:pt x="533" y="610"/>
                      <a:pt x="533" y="610"/>
                    </a:cubicBezTo>
                    <a:cubicBezTo>
                      <a:pt x="533" y="610"/>
                      <a:pt x="532" y="610"/>
                      <a:pt x="532" y="610"/>
                    </a:cubicBezTo>
                    <a:cubicBezTo>
                      <a:pt x="532" y="610"/>
                      <a:pt x="532" y="611"/>
                      <a:pt x="532" y="611"/>
                    </a:cubicBezTo>
                    <a:cubicBezTo>
                      <a:pt x="532" y="611"/>
                      <a:pt x="533" y="611"/>
                      <a:pt x="533" y="611"/>
                    </a:cubicBezTo>
                    <a:cubicBezTo>
                      <a:pt x="534" y="610"/>
                      <a:pt x="534" y="612"/>
                      <a:pt x="533" y="612"/>
                    </a:cubicBezTo>
                    <a:cubicBezTo>
                      <a:pt x="533" y="612"/>
                      <a:pt x="533" y="612"/>
                      <a:pt x="533" y="612"/>
                    </a:cubicBezTo>
                    <a:cubicBezTo>
                      <a:pt x="533" y="612"/>
                      <a:pt x="533" y="612"/>
                      <a:pt x="533" y="612"/>
                    </a:cubicBezTo>
                    <a:cubicBezTo>
                      <a:pt x="534" y="612"/>
                      <a:pt x="534" y="612"/>
                      <a:pt x="534" y="612"/>
                    </a:cubicBezTo>
                    <a:cubicBezTo>
                      <a:pt x="534" y="613"/>
                      <a:pt x="534" y="613"/>
                      <a:pt x="534" y="614"/>
                    </a:cubicBezTo>
                    <a:cubicBezTo>
                      <a:pt x="533" y="614"/>
                      <a:pt x="533" y="614"/>
                      <a:pt x="533" y="614"/>
                    </a:cubicBezTo>
                    <a:cubicBezTo>
                      <a:pt x="533" y="614"/>
                      <a:pt x="533" y="614"/>
                      <a:pt x="533" y="614"/>
                    </a:cubicBezTo>
                    <a:cubicBezTo>
                      <a:pt x="533" y="614"/>
                      <a:pt x="532" y="614"/>
                      <a:pt x="532" y="614"/>
                    </a:cubicBezTo>
                    <a:cubicBezTo>
                      <a:pt x="532" y="614"/>
                      <a:pt x="532" y="614"/>
                      <a:pt x="532" y="614"/>
                    </a:cubicBezTo>
                    <a:cubicBezTo>
                      <a:pt x="531" y="613"/>
                      <a:pt x="531" y="613"/>
                      <a:pt x="532" y="613"/>
                    </a:cubicBezTo>
                    <a:cubicBezTo>
                      <a:pt x="532" y="613"/>
                      <a:pt x="532" y="613"/>
                      <a:pt x="532" y="612"/>
                    </a:cubicBezTo>
                    <a:cubicBezTo>
                      <a:pt x="532" y="612"/>
                      <a:pt x="532" y="612"/>
                      <a:pt x="532" y="612"/>
                    </a:cubicBezTo>
                    <a:cubicBezTo>
                      <a:pt x="532" y="612"/>
                      <a:pt x="531" y="612"/>
                      <a:pt x="531" y="612"/>
                    </a:cubicBezTo>
                    <a:cubicBezTo>
                      <a:pt x="531" y="612"/>
                      <a:pt x="531" y="612"/>
                      <a:pt x="531" y="612"/>
                    </a:cubicBezTo>
                    <a:cubicBezTo>
                      <a:pt x="530" y="612"/>
                      <a:pt x="530" y="612"/>
                      <a:pt x="530" y="613"/>
                    </a:cubicBezTo>
                    <a:cubicBezTo>
                      <a:pt x="530" y="613"/>
                      <a:pt x="530" y="613"/>
                      <a:pt x="530" y="613"/>
                    </a:cubicBezTo>
                    <a:cubicBezTo>
                      <a:pt x="530" y="613"/>
                      <a:pt x="530" y="613"/>
                      <a:pt x="530" y="613"/>
                    </a:cubicBezTo>
                    <a:cubicBezTo>
                      <a:pt x="530" y="613"/>
                      <a:pt x="530" y="613"/>
                      <a:pt x="530" y="613"/>
                    </a:cubicBezTo>
                    <a:cubicBezTo>
                      <a:pt x="531" y="613"/>
                      <a:pt x="531" y="613"/>
                      <a:pt x="531" y="613"/>
                    </a:cubicBezTo>
                    <a:cubicBezTo>
                      <a:pt x="531" y="614"/>
                      <a:pt x="531" y="614"/>
                      <a:pt x="531" y="614"/>
                    </a:cubicBezTo>
                    <a:cubicBezTo>
                      <a:pt x="531" y="614"/>
                      <a:pt x="531" y="614"/>
                      <a:pt x="531" y="614"/>
                    </a:cubicBezTo>
                    <a:cubicBezTo>
                      <a:pt x="531" y="614"/>
                      <a:pt x="531" y="614"/>
                      <a:pt x="530" y="614"/>
                    </a:cubicBezTo>
                    <a:cubicBezTo>
                      <a:pt x="530" y="614"/>
                      <a:pt x="530" y="614"/>
                      <a:pt x="530" y="614"/>
                    </a:cubicBezTo>
                    <a:cubicBezTo>
                      <a:pt x="530" y="614"/>
                      <a:pt x="530" y="614"/>
                      <a:pt x="530" y="614"/>
                    </a:cubicBezTo>
                    <a:cubicBezTo>
                      <a:pt x="530" y="614"/>
                      <a:pt x="530" y="614"/>
                      <a:pt x="530" y="614"/>
                    </a:cubicBezTo>
                    <a:cubicBezTo>
                      <a:pt x="530" y="614"/>
                      <a:pt x="529" y="614"/>
                      <a:pt x="529" y="614"/>
                    </a:cubicBezTo>
                    <a:cubicBezTo>
                      <a:pt x="529" y="614"/>
                      <a:pt x="528" y="614"/>
                      <a:pt x="528" y="613"/>
                    </a:cubicBezTo>
                    <a:cubicBezTo>
                      <a:pt x="528" y="613"/>
                      <a:pt x="528" y="614"/>
                      <a:pt x="528" y="614"/>
                    </a:cubicBezTo>
                    <a:cubicBezTo>
                      <a:pt x="528" y="614"/>
                      <a:pt x="528" y="614"/>
                      <a:pt x="529" y="614"/>
                    </a:cubicBezTo>
                    <a:cubicBezTo>
                      <a:pt x="529" y="614"/>
                      <a:pt x="529" y="614"/>
                      <a:pt x="529" y="614"/>
                    </a:cubicBezTo>
                    <a:cubicBezTo>
                      <a:pt x="529" y="614"/>
                      <a:pt x="529" y="615"/>
                      <a:pt x="529" y="615"/>
                    </a:cubicBezTo>
                    <a:cubicBezTo>
                      <a:pt x="529" y="615"/>
                      <a:pt x="529" y="615"/>
                      <a:pt x="530" y="615"/>
                    </a:cubicBezTo>
                    <a:cubicBezTo>
                      <a:pt x="530" y="615"/>
                      <a:pt x="530" y="615"/>
                      <a:pt x="530" y="615"/>
                    </a:cubicBezTo>
                    <a:cubicBezTo>
                      <a:pt x="531" y="615"/>
                      <a:pt x="531" y="615"/>
                      <a:pt x="532" y="615"/>
                    </a:cubicBezTo>
                    <a:cubicBezTo>
                      <a:pt x="532" y="615"/>
                      <a:pt x="532" y="616"/>
                      <a:pt x="532" y="616"/>
                    </a:cubicBezTo>
                    <a:cubicBezTo>
                      <a:pt x="531" y="616"/>
                      <a:pt x="531" y="616"/>
                      <a:pt x="531" y="616"/>
                    </a:cubicBezTo>
                    <a:cubicBezTo>
                      <a:pt x="530" y="616"/>
                      <a:pt x="530" y="616"/>
                      <a:pt x="529" y="616"/>
                    </a:cubicBezTo>
                    <a:cubicBezTo>
                      <a:pt x="529" y="616"/>
                      <a:pt x="529" y="616"/>
                      <a:pt x="529" y="616"/>
                    </a:cubicBezTo>
                    <a:cubicBezTo>
                      <a:pt x="529" y="616"/>
                      <a:pt x="529" y="616"/>
                      <a:pt x="529" y="616"/>
                    </a:cubicBezTo>
                    <a:cubicBezTo>
                      <a:pt x="529" y="616"/>
                      <a:pt x="529" y="616"/>
                      <a:pt x="529" y="616"/>
                    </a:cubicBezTo>
                    <a:cubicBezTo>
                      <a:pt x="529" y="616"/>
                      <a:pt x="529" y="617"/>
                      <a:pt x="529" y="617"/>
                    </a:cubicBezTo>
                    <a:cubicBezTo>
                      <a:pt x="529" y="617"/>
                      <a:pt x="529" y="617"/>
                      <a:pt x="529" y="617"/>
                    </a:cubicBezTo>
                    <a:cubicBezTo>
                      <a:pt x="529" y="617"/>
                      <a:pt x="529" y="617"/>
                      <a:pt x="529" y="617"/>
                    </a:cubicBezTo>
                    <a:cubicBezTo>
                      <a:pt x="530" y="617"/>
                      <a:pt x="530" y="617"/>
                      <a:pt x="530" y="617"/>
                    </a:cubicBezTo>
                    <a:cubicBezTo>
                      <a:pt x="530" y="617"/>
                      <a:pt x="530" y="617"/>
                      <a:pt x="531" y="617"/>
                    </a:cubicBezTo>
                    <a:cubicBezTo>
                      <a:pt x="531" y="618"/>
                      <a:pt x="531" y="618"/>
                      <a:pt x="531" y="618"/>
                    </a:cubicBezTo>
                    <a:cubicBezTo>
                      <a:pt x="531" y="618"/>
                      <a:pt x="531" y="618"/>
                      <a:pt x="532" y="618"/>
                    </a:cubicBezTo>
                    <a:cubicBezTo>
                      <a:pt x="532" y="618"/>
                      <a:pt x="532" y="618"/>
                      <a:pt x="532" y="619"/>
                    </a:cubicBezTo>
                    <a:cubicBezTo>
                      <a:pt x="532" y="619"/>
                      <a:pt x="532" y="619"/>
                      <a:pt x="532" y="619"/>
                    </a:cubicBezTo>
                    <a:cubicBezTo>
                      <a:pt x="531" y="619"/>
                      <a:pt x="530" y="619"/>
                      <a:pt x="530" y="618"/>
                    </a:cubicBezTo>
                    <a:cubicBezTo>
                      <a:pt x="529" y="618"/>
                      <a:pt x="529" y="618"/>
                      <a:pt x="529" y="618"/>
                    </a:cubicBezTo>
                    <a:cubicBezTo>
                      <a:pt x="529" y="618"/>
                      <a:pt x="529" y="618"/>
                      <a:pt x="529" y="619"/>
                    </a:cubicBezTo>
                    <a:cubicBezTo>
                      <a:pt x="529" y="619"/>
                      <a:pt x="529" y="619"/>
                      <a:pt x="529" y="619"/>
                    </a:cubicBezTo>
                    <a:cubicBezTo>
                      <a:pt x="530" y="619"/>
                      <a:pt x="531" y="619"/>
                      <a:pt x="532" y="619"/>
                    </a:cubicBezTo>
                    <a:cubicBezTo>
                      <a:pt x="533" y="619"/>
                      <a:pt x="533" y="619"/>
                      <a:pt x="533" y="620"/>
                    </a:cubicBezTo>
                    <a:cubicBezTo>
                      <a:pt x="533" y="620"/>
                      <a:pt x="533" y="620"/>
                      <a:pt x="533" y="620"/>
                    </a:cubicBezTo>
                    <a:cubicBezTo>
                      <a:pt x="533" y="621"/>
                      <a:pt x="533" y="621"/>
                      <a:pt x="533" y="621"/>
                    </a:cubicBezTo>
                    <a:cubicBezTo>
                      <a:pt x="534" y="621"/>
                      <a:pt x="534" y="621"/>
                      <a:pt x="534" y="621"/>
                    </a:cubicBezTo>
                    <a:cubicBezTo>
                      <a:pt x="534" y="621"/>
                      <a:pt x="534" y="622"/>
                      <a:pt x="534" y="622"/>
                    </a:cubicBezTo>
                    <a:cubicBezTo>
                      <a:pt x="534" y="622"/>
                      <a:pt x="534" y="622"/>
                      <a:pt x="534" y="622"/>
                    </a:cubicBezTo>
                    <a:cubicBezTo>
                      <a:pt x="533" y="622"/>
                      <a:pt x="533" y="622"/>
                      <a:pt x="532" y="622"/>
                    </a:cubicBezTo>
                    <a:cubicBezTo>
                      <a:pt x="532" y="621"/>
                      <a:pt x="532" y="621"/>
                      <a:pt x="532" y="622"/>
                    </a:cubicBezTo>
                    <a:cubicBezTo>
                      <a:pt x="532" y="622"/>
                      <a:pt x="533" y="622"/>
                      <a:pt x="533" y="622"/>
                    </a:cubicBezTo>
                    <a:cubicBezTo>
                      <a:pt x="534" y="622"/>
                      <a:pt x="534" y="622"/>
                      <a:pt x="534" y="622"/>
                    </a:cubicBezTo>
                    <a:cubicBezTo>
                      <a:pt x="534" y="622"/>
                      <a:pt x="535" y="623"/>
                      <a:pt x="535" y="623"/>
                    </a:cubicBezTo>
                    <a:cubicBezTo>
                      <a:pt x="535" y="623"/>
                      <a:pt x="536" y="623"/>
                      <a:pt x="536" y="623"/>
                    </a:cubicBezTo>
                    <a:cubicBezTo>
                      <a:pt x="536" y="623"/>
                      <a:pt x="535" y="623"/>
                      <a:pt x="535" y="623"/>
                    </a:cubicBezTo>
                    <a:cubicBezTo>
                      <a:pt x="535" y="623"/>
                      <a:pt x="535" y="623"/>
                      <a:pt x="535" y="623"/>
                    </a:cubicBezTo>
                    <a:cubicBezTo>
                      <a:pt x="536" y="624"/>
                      <a:pt x="536" y="624"/>
                      <a:pt x="537" y="624"/>
                    </a:cubicBezTo>
                    <a:cubicBezTo>
                      <a:pt x="537" y="624"/>
                      <a:pt x="537" y="624"/>
                      <a:pt x="538" y="624"/>
                    </a:cubicBezTo>
                    <a:cubicBezTo>
                      <a:pt x="538" y="624"/>
                      <a:pt x="538" y="624"/>
                      <a:pt x="538" y="624"/>
                    </a:cubicBezTo>
                    <a:cubicBezTo>
                      <a:pt x="538" y="625"/>
                      <a:pt x="537" y="625"/>
                      <a:pt x="537" y="625"/>
                    </a:cubicBezTo>
                    <a:cubicBezTo>
                      <a:pt x="537" y="625"/>
                      <a:pt x="537" y="625"/>
                      <a:pt x="538" y="625"/>
                    </a:cubicBezTo>
                    <a:cubicBezTo>
                      <a:pt x="538" y="625"/>
                      <a:pt x="538" y="625"/>
                      <a:pt x="538" y="625"/>
                    </a:cubicBezTo>
                    <a:cubicBezTo>
                      <a:pt x="538" y="625"/>
                      <a:pt x="538" y="624"/>
                      <a:pt x="538" y="624"/>
                    </a:cubicBezTo>
                    <a:cubicBezTo>
                      <a:pt x="538" y="625"/>
                      <a:pt x="538" y="625"/>
                      <a:pt x="538" y="626"/>
                    </a:cubicBezTo>
                    <a:cubicBezTo>
                      <a:pt x="538" y="626"/>
                      <a:pt x="539" y="626"/>
                      <a:pt x="539" y="626"/>
                    </a:cubicBezTo>
                    <a:cubicBezTo>
                      <a:pt x="539" y="626"/>
                      <a:pt x="539" y="625"/>
                      <a:pt x="539" y="624"/>
                    </a:cubicBezTo>
                    <a:cubicBezTo>
                      <a:pt x="540" y="625"/>
                      <a:pt x="540" y="625"/>
                      <a:pt x="540" y="625"/>
                    </a:cubicBezTo>
                    <a:cubicBezTo>
                      <a:pt x="540" y="625"/>
                      <a:pt x="541" y="625"/>
                      <a:pt x="541" y="625"/>
                    </a:cubicBezTo>
                    <a:cubicBezTo>
                      <a:pt x="541" y="625"/>
                      <a:pt x="541" y="625"/>
                      <a:pt x="541" y="625"/>
                    </a:cubicBezTo>
                    <a:cubicBezTo>
                      <a:pt x="541" y="625"/>
                      <a:pt x="540" y="625"/>
                      <a:pt x="540" y="626"/>
                    </a:cubicBezTo>
                    <a:cubicBezTo>
                      <a:pt x="540" y="626"/>
                      <a:pt x="540" y="626"/>
                      <a:pt x="540" y="626"/>
                    </a:cubicBezTo>
                    <a:cubicBezTo>
                      <a:pt x="540" y="626"/>
                      <a:pt x="540" y="626"/>
                      <a:pt x="540" y="626"/>
                    </a:cubicBezTo>
                    <a:cubicBezTo>
                      <a:pt x="540" y="626"/>
                      <a:pt x="540" y="627"/>
                      <a:pt x="540" y="627"/>
                    </a:cubicBezTo>
                    <a:cubicBezTo>
                      <a:pt x="541" y="627"/>
                      <a:pt x="541" y="627"/>
                      <a:pt x="541" y="628"/>
                    </a:cubicBezTo>
                    <a:cubicBezTo>
                      <a:pt x="541" y="628"/>
                      <a:pt x="540" y="628"/>
                      <a:pt x="540" y="628"/>
                    </a:cubicBezTo>
                    <a:cubicBezTo>
                      <a:pt x="540" y="628"/>
                      <a:pt x="541" y="628"/>
                      <a:pt x="541" y="629"/>
                    </a:cubicBezTo>
                    <a:cubicBezTo>
                      <a:pt x="541" y="629"/>
                      <a:pt x="541" y="629"/>
                      <a:pt x="541" y="629"/>
                    </a:cubicBezTo>
                    <a:cubicBezTo>
                      <a:pt x="541" y="629"/>
                      <a:pt x="541" y="629"/>
                      <a:pt x="541" y="629"/>
                    </a:cubicBezTo>
                    <a:cubicBezTo>
                      <a:pt x="540" y="629"/>
                      <a:pt x="540" y="630"/>
                      <a:pt x="540" y="630"/>
                    </a:cubicBezTo>
                    <a:cubicBezTo>
                      <a:pt x="540" y="630"/>
                      <a:pt x="539" y="631"/>
                      <a:pt x="539" y="631"/>
                    </a:cubicBezTo>
                    <a:cubicBezTo>
                      <a:pt x="539" y="631"/>
                      <a:pt x="539" y="632"/>
                      <a:pt x="540" y="632"/>
                    </a:cubicBezTo>
                    <a:cubicBezTo>
                      <a:pt x="540" y="632"/>
                      <a:pt x="540" y="632"/>
                      <a:pt x="540" y="632"/>
                    </a:cubicBezTo>
                    <a:cubicBezTo>
                      <a:pt x="540" y="631"/>
                      <a:pt x="541" y="631"/>
                      <a:pt x="541" y="631"/>
                    </a:cubicBezTo>
                    <a:cubicBezTo>
                      <a:pt x="541" y="630"/>
                      <a:pt x="542" y="631"/>
                      <a:pt x="542" y="631"/>
                    </a:cubicBezTo>
                    <a:cubicBezTo>
                      <a:pt x="542" y="631"/>
                      <a:pt x="542" y="631"/>
                      <a:pt x="542" y="631"/>
                    </a:cubicBezTo>
                    <a:cubicBezTo>
                      <a:pt x="543" y="631"/>
                      <a:pt x="543" y="631"/>
                      <a:pt x="543" y="631"/>
                    </a:cubicBezTo>
                    <a:cubicBezTo>
                      <a:pt x="543" y="631"/>
                      <a:pt x="543" y="631"/>
                      <a:pt x="544" y="630"/>
                    </a:cubicBezTo>
                    <a:cubicBezTo>
                      <a:pt x="544" y="630"/>
                      <a:pt x="544" y="630"/>
                      <a:pt x="544" y="631"/>
                    </a:cubicBezTo>
                    <a:cubicBezTo>
                      <a:pt x="545" y="631"/>
                      <a:pt x="544" y="631"/>
                      <a:pt x="544" y="631"/>
                    </a:cubicBezTo>
                    <a:cubicBezTo>
                      <a:pt x="544" y="631"/>
                      <a:pt x="544" y="632"/>
                      <a:pt x="544" y="632"/>
                    </a:cubicBezTo>
                    <a:cubicBezTo>
                      <a:pt x="544" y="632"/>
                      <a:pt x="545" y="632"/>
                      <a:pt x="546" y="632"/>
                    </a:cubicBezTo>
                    <a:cubicBezTo>
                      <a:pt x="546" y="632"/>
                      <a:pt x="546" y="632"/>
                      <a:pt x="546" y="632"/>
                    </a:cubicBezTo>
                    <a:cubicBezTo>
                      <a:pt x="546" y="632"/>
                      <a:pt x="546" y="632"/>
                      <a:pt x="546" y="632"/>
                    </a:cubicBezTo>
                    <a:cubicBezTo>
                      <a:pt x="546" y="633"/>
                      <a:pt x="546" y="633"/>
                      <a:pt x="546" y="633"/>
                    </a:cubicBezTo>
                    <a:cubicBezTo>
                      <a:pt x="546" y="633"/>
                      <a:pt x="545" y="634"/>
                      <a:pt x="545" y="634"/>
                    </a:cubicBezTo>
                    <a:cubicBezTo>
                      <a:pt x="545" y="634"/>
                      <a:pt x="544" y="635"/>
                      <a:pt x="544" y="635"/>
                    </a:cubicBezTo>
                    <a:cubicBezTo>
                      <a:pt x="544" y="635"/>
                      <a:pt x="545" y="635"/>
                      <a:pt x="545" y="635"/>
                    </a:cubicBezTo>
                    <a:cubicBezTo>
                      <a:pt x="545" y="635"/>
                      <a:pt x="545" y="634"/>
                      <a:pt x="545" y="634"/>
                    </a:cubicBezTo>
                    <a:cubicBezTo>
                      <a:pt x="546" y="634"/>
                      <a:pt x="546" y="633"/>
                      <a:pt x="547" y="633"/>
                    </a:cubicBezTo>
                    <a:cubicBezTo>
                      <a:pt x="547" y="633"/>
                      <a:pt x="548" y="632"/>
                      <a:pt x="548" y="631"/>
                    </a:cubicBezTo>
                    <a:cubicBezTo>
                      <a:pt x="548" y="631"/>
                      <a:pt x="548" y="631"/>
                      <a:pt x="548" y="631"/>
                    </a:cubicBezTo>
                    <a:cubicBezTo>
                      <a:pt x="548" y="631"/>
                      <a:pt x="548" y="631"/>
                      <a:pt x="548" y="631"/>
                    </a:cubicBezTo>
                    <a:cubicBezTo>
                      <a:pt x="548" y="631"/>
                      <a:pt x="549" y="631"/>
                      <a:pt x="549" y="632"/>
                    </a:cubicBezTo>
                    <a:cubicBezTo>
                      <a:pt x="549" y="632"/>
                      <a:pt x="549" y="632"/>
                      <a:pt x="548" y="632"/>
                    </a:cubicBezTo>
                    <a:cubicBezTo>
                      <a:pt x="548" y="633"/>
                      <a:pt x="547" y="633"/>
                      <a:pt x="547" y="634"/>
                    </a:cubicBezTo>
                    <a:cubicBezTo>
                      <a:pt x="547" y="634"/>
                      <a:pt x="548" y="634"/>
                      <a:pt x="548" y="633"/>
                    </a:cubicBezTo>
                    <a:cubicBezTo>
                      <a:pt x="548" y="633"/>
                      <a:pt x="548" y="633"/>
                      <a:pt x="548" y="633"/>
                    </a:cubicBezTo>
                    <a:cubicBezTo>
                      <a:pt x="548" y="633"/>
                      <a:pt x="549" y="633"/>
                      <a:pt x="549" y="633"/>
                    </a:cubicBezTo>
                    <a:cubicBezTo>
                      <a:pt x="549" y="633"/>
                      <a:pt x="549" y="632"/>
                      <a:pt x="549" y="632"/>
                    </a:cubicBezTo>
                    <a:cubicBezTo>
                      <a:pt x="549" y="632"/>
                      <a:pt x="550" y="632"/>
                      <a:pt x="550" y="633"/>
                    </a:cubicBezTo>
                    <a:cubicBezTo>
                      <a:pt x="550" y="633"/>
                      <a:pt x="550" y="633"/>
                      <a:pt x="550" y="633"/>
                    </a:cubicBezTo>
                    <a:cubicBezTo>
                      <a:pt x="549" y="633"/>
                      <a:pt x="549" y="633"/>
                      <a:pt x="549" y="633"/>
                    </a:cubicBezTo>
                    <a:cubicBezTo>
                      <a:pt x="549" y="634"/>
                      <a:pt x="549" y="634"/>
                      <a:pt x="549" y="634"/>
                    </a:cubicBezTo>
                    <a:cubicBezTo>
                      <a:pt x="549" y="634"/>
                      <a:pt x="550" y="634"/>
                      <a:pt x="550" y="634"/>
                    </a:cubicBezTo>
                    <a:cubicBezTo>
                      <a:pt x="550" y="634"/>
                      <a:pt x="549" y="635"/>
                      <a:pt x="549" y="635"/>
                    </a:cubicBezTo>
                    <a:cubicBezTo>
                      <a:pt x="549" y="635"/>
                      <a:pt x="550" y="635"/>
                      <a:pt x="550" y="636"/>
                    </a:cubicBezTo>
                    <a:cubicBezTo>
                      <a:pt x="551" y="636"/>
                      <a:pt x="552" y="636"/>
                      <a:pt x="553" y="636"/>
                    </a:cubicBezTo>
                    <a:cubicBezTo>
                      <a:pt x="553" y="636"/>
                      <a:pt x="553" y="636"/>
                      <a:pt x="553" y="636"/>
                    </a:cubicBezTo>
                    <a:cubicBezTo>
                      <a:pt x="553" y="636"/>
                      <a:pt x="553" y="636"/>
                      <a:pt x="554" y="636"/>
                    </a:cubicBezTo>
                    <a:cubicBezTo>
                      <a:pt x="554" y="636"/>
                      <a:pt x="554" y="636"/>
                      <a:pt x="554" y="636"/>
                    </a:cubicBezTo>
                    <a:cubicBezTo>
                      <a:pt x="555" y="636"/>
                      <a:pt x="555" y="636"/>
                      <a:pt x="555" y="636"/>
                    </a:cubicBezTo>
                    <a:cubicBezTo>
                      <a:pt x="555" y="635"/>
                      <a:pt x="556" y="635"/>
                      <a:pt x="556" y="635"/>
                    </a:cubicBezTo>
                    <a:cubicBezTo>
                      <a:pt x="556" y="635"/>
                      <a:pt x="556" y="635"/>
                      <a:pt x="557" y="635"/>
                    </a:cubicBezTo>
                    <a:cubicBezTo>
                      <a:pt x="557" y="635"/>
                      <a:pt x="557" y="635"/>
                      <a:pt x="557" y="635"/>
                    </a:cubicBezTo>
                    <a:cubicBezTo>
                      <a:pt x="557" y="635"/>
                      <a:pt x="556" y="635"/>
                      <a:pt x="556" y="635"/>
                    </a:cubicBezTo>
                    <a:cubicBezTo>
                      <a:pt x="557" y="635"/>
                      <a:pt x="557" y="636"/>
                      <a:pt x="557" y="636"/>
                    </a:cubicBezTo>
                    <a:cubicBezTo>
                      <a:pt x="557" y="636"/>
                      <a:pt x="556" y="636"/>
                      <a:pt x="556" y="636"/>
                    </a:cubicBezTo>
                    <a:cubicBezTo>
                      <a:pt x="556" y="637"/>
                      <a:pt x="555" y="637"/>
                      <a:pt x="555" y="637"/>
                    </a:cubicBezTo>
                    <a:cubicBezTo>
                      <a:pt x="556" y="637"/>
                      <a:pt x="557" y="637"/>
                      <a:pt x="557" y="637"/>
                    </a:cubicBezTo>
                    <a:cubicBezTo>
                      <a:pt x="557" y="637"/>
                      <a:pt x="558" y="637"/>
                      <a:pt x="558" y="637"/>
                    </a:cubicBezTo>
                    <a:cubicBezTo>
                      <a:pt x="558" y="637"/>
                      <a:pt x="558" y="637"/>
                      <a:pt x="558" y="638"/>
                    </a:cubicBezTo>
                    <a:cubicBezTo>
                      <a:pt x="558" y="638"/>
                      <a:pt x="558" y="638"/>
                      <a:pt x="559" y="638"/>
                    </a:cubicBezTo>
                    <a:cubicBezTo>
                      <a:pt x="559" y="638"/>
                      <a:pt x="560" y="638"/>
                      <a:pt x="560" y="638"/>
                    </a:cubicBezTo>
                    <a:cubicBezTo>
                      <a:pt x="560" y="638"/>
                      <a:pt x="561" y="639"/>
                      <a:pt x="561" y="639"/>
                    </a:cubicBezTo>
                    <a:cubicBezTo>
                      <a:pt x="561" y="639"/>
                      <a:pt x="561" y="639"/>
                      <a:pt x="560" y="640"/>
                    </a:cubicBezTo>
                    <a:cubicBezTo>
                      <a:pt x="560" y="640"/>
                      <a:pt x="559" y="641"/>
                      <a:pt x="559" y="641"/>
                    </a:cubicBezTo>
                    <a:cubicBezTo>
                      <a:pt x="558" y="641"/>
                      <a:pt x="558" y="641"/>
                      <a:pt x="558" y="641"/>
                    </a:cubicBezTo>
                    <a:cubicBezTo>
                      <a:pt x="557" y="641"/>
                      <a:pt x="556" y="641"/>
                      <a:pt x="555" y="642"/>
                    </a:cubicBezTo>
                    <a:cubicBezTo>
                      <a:pt x="555" y="642"/>
                      <a:pt x="554" y="642"/>
                      <a:pt x="554" y="642"/>
                    </a:cubicBezTo>
                    <a:cubicBezTo>
                      <a:pt x="554" y="642"/>
                      <a:pt x="554" y="642"/>
                      <a:pt x="554" y="642"/>
                    </a:cubicBezTo>
                    <a:cubicBezTo>
                      <a:pt x="554" y="643"/>
                      <a:pt x="553" y="643"/>
                      <a:pt x="552" y="643"/>
                    </a:cubicBezTo>
                    <a:cubicBezTo>
                      <a:pt x="553" y="643"/>
                      <a:pt x="553" y="643"/>
                      <a:pt x="553" y="644"/>
                    </a:cubicBezTo>
                    <a:cubicBezTo>
                      <a:pt x="553" y="644"/>
                      <a:pt x="553" y="644"/>
                      <a:pt x="553" y="644"/>
                    </a:cubicBezTo>
                    <a:cubicBezTo>
                      <a:pt x="553" y="644"/>
                      <a:pt x="553" y="644"/>
                      <a:pt x="553" y="644"/>
                    </a:cubicBezTo>
                    <a:cubicBezTo>
                      <a:pt x="552" y="645"/>
                      <a:pt x="551" y="645"/>
                      <a:pt x="550" y="644"/>
                    </a:cubicBezTo>
                    <a:cubicBezTo>
                      <a:pt x="550" y="644"/>
                      <a:pt x="550" y="644"/>
                      <a:pt x="550" y="644"/>
                    </a:cubicBezTo>
                    <a:cubicBezTo>
                      <a:pt x="549" y="644"/>
                      <a:pt x="547" y="645"/>
                      <a:pt x="546" y="645"/>
                    </a:cubicBezTo>
                    <a:cubicBezTo>
                      <a:pt x="547" y="645"/>
                      <a:pt x="547" y="645"/>
                      <a:pt x="548" y="645"/>
                    </a:cubicBezTo>
                    <a:cubicBezTo>
                      <a:pt x="548" y="645"/>
                      <a:pt x="549" y="645"/>
                      <a:pt x="549" y="645"/>
                    </a:cubicBezTo>
                    <a:cubicBezTo>
                      <a:pt x="549" y="645"/>
                      <a:pt x="549" y="645"/>
                      <a:pt x="549" y="645"/>
                    </a:cubicBezTo>
                    <a:cubicBezTo>
                      <a:pt x="549" y="645"/>
                      <a:pt x="549" y="645"/>
                      <a:pt x="549" y="645"/>
                    </a:cubicBezTo>
                    <a:cubicBezTo>
                      <a:pt x="548" y="647"/>
                      <a:pt x="546" y="647"/>
                      <a:pt x="545" y="647"/>
                    </a:cubicBezTo>
                    <a:cubicBezTo>
                      <a:pt x="544" y="648"/>
                      <a:pt x="543" y="648"/>
                      <a:pt x="543" y="648"/>
                    </a:cubicBezTo>
                    <a:cubicBezTo>
                      <a:pt x="542" y="649"/>
                      <a:pt x="542" y="649"/>
                      <a:pt x="542" y="650"/>
                    </a:cubicBezTo>
                    <a:cubicBezTo>
                      <a:pt x="542" y="650"/>
                      <a:pt x="542" y="651"/>
                      <a:pt x="542" y="651"/>
                    </a:cubicBezTo>
                    <a:cubicBezTo>
                      <a:pt x="542" y="651"/>
                      <a:pt x="542" y="651"/>
                      <a:pt x="542" y="651"/>
                    </a:cubicBezTo>
                    <a:cubicBezTo>
                      <a:pt x="542" y="651"/>
                      <a:pt x="542" y="651"/>
                      <a:pt x="542" y="651"/>
                    </a:cubicBezTo>
                    <a:cubicBezTo>
                      <a:pt x="542" y="652"/>
                      <a:pt x="541" y="652"/>
                      <a:pt x="541" y="652"/>
                    </a:cubicBezTo>
                    <a:cubicBezTo>
                      <a:pt x="541" y="652"/>
                      <a:pt x="540" y="652"/>
                      <a:pt x="540" y="652"/>
                    </a:cubicBezTo>
                    <a:cubicBezTo>
                      <a:pt x="540" y="652"/>
                      <a:pt x="541" y="653"/>
                      <a:pt x="541" y="653"/>
                    </a:cubicBezTo>
                    <a:cubicBezTo>
                      <a:pt x="541" y="652"/>
                      <a:pt x="541" y="652"/>
                      <a:pt x="541" y="652"/>
                    </a:cubicBezTo>
                    <a:cubicBezTo>
                      <a:pt x="541" y="652"/>
                      <a:pt x="542" y="652"/>
                      <a:pt x="542" y="652"/>
                    </a:cubicBezTo>
                    <a:cubicBezTo>
                      <a:pt x="542" y="653"/>
                      <a:pt x="542" y="652"/>
                      <a:pt x="543" y="652"/>
                    </a:cubicBezTo>
                    <a:cubicBezTo>
                      <a:pt x="543" y="652"/>
                      <a:pt x="543" y="652"/>
                      <a:pt x="543" y="651"/>
                    </a:cubicBezTo>
                    <a:cubicBezTo>
                      <a:pt x="543" y="651"/>
                      <a:pt x="543" y="651"/>
                      <a:pt x="544" y="651"/>
                    </a:cubicBezTo>
                    <a:cubicBezTo>
                      <a:pt x="544" y="651"/>
                      <a:pt x="544" y="651"/>
                      <a:pt x="544" y="651"/>
                    </a:cubicBezTo>
                    <a:cubicBezTo>
                      <a:pt x="545" y="651"/>
                      <a:pt x="545" y="651"/>
                      <a:pt x="546" y="650"/>
                    </a:cubicBezTo>
                    <a:cubicBezTo>
                      <a:pt x="547" y="650"/>
                      <a:pt x="547" y="649"/>
                      <a:pt x="548" y="649"/>
                    </a:cubicBezTo>
                    <a:cubicBezTo>
                      <a:pt x="549" y="649"/>
                      <a:pt x="549" y="649"/>
                      <a:pt x="549" y="649"/>
                    </a:cubicBezTo>
                    <a:cubicBezTo>
                      <a:pt x="549" y="649"/>
                      <a:pt x="550" y="648"/>
                      <a:pt x="550" y="648"/>
                    </a:cubicBezTo>
                    <a:cubicBezTo>
                      <a:pt x="550" y="648"/>
                      <a:pt x="549" y="648"/>
                      <a:pt x="549" y="648"/>
                    </a:cubicBezTo>
                    <a:cubicBezTo>
                      <a:pt x="549" y="647"/>
                      <a:pt x="550" y="647"/>
                      <a:pt x="550" y="647"/>
                    </a:cubicBezTo>
                    <a:cubicBezTo>
                      <a:pt x="550" y="647"/>
                      <a:pt x="550" y="646"/>
                      <a:pt x="551" y="646"/>
                    </a:cubicBezTo>
                    <a:cubicBezTo>
                      <a:pt x="551" y="646"/>
                      <a:pt x="551" y="646"/>
                      <a:pt x="552" y="646"/>
                    </a:cubicBezTo>
                    <a:cubicBezTo>
                      <a:pt x="553" y="645"/>
                      <a:pt x="554" y="645"/>
                      <a:pt x="555" y="644"/>
                    </a:cubicBezTo>
                    <a:cubicBezTo>
                      <a:pt x="555" y="644"/>
                      <a:pt x="556" y="644"/>
                      <a:pt x="556" y="644"/>
                    </a:cubicBezTo>
                    <a:cubicBezTo>
                      <a:pt x="556" y="644"/>
                      <a:pt x="557" y="645"/>
                      <a:pt x="557" y="644"/>
                    </a:cubicBezTo>
                    <a:cubicBezTo>
                      <a:pt x="556" y="644"/>
                      <a:pt x="556" y="644"/>
                      <a:pt x="555" y="644"/>
                    </a:cubicBezTo>
                    <a:cubicBezTo>
                      <a:pt x="554" y="644"/>
                      <a:pt x="554" y="644"/>
                      <a:pt x="553" y="644"/>
                    </a:cubicBezTo>
                    <a:cubicBezTo>
                      <a:pt x="553" y="643"/>
                      <a:pt x="554" y="643"/>
                      <a:pt x="554" y="643"/>
                    </a:cubicBezTo>
                    <a:cubicBezTo>
                      <a:pt x="555" y="643"/>
                      <a:pt x="556" y="643"/>
                      <a:pt x="557" y="643"/>
                    </a:cubicBezTo>
                    <a:cubicBezTo>
                      <a:pt x="558" y="643"/>
                      <a:pt x="559" y="643"/>
                      <a:pt x="560" y="643"/>
                    </a:cubicBezTo>
                    <a:cubicBezTo>
                      <a:pt x="560" y="643"/>
                      <a:pt x="560" y="643"/>
                      <a:pt x="560" y="644"/>
                    </a:cubicBezTo>
                    <a:cubicBezTo>
                      <a:pt x="560" y="644"/>
                      <a:pt x="560" y="644"/>
                      <a:pt x="560" y="644"/>
                    </a:cubicBezTo>
                    <a:cubicBezTo>
                      <a:pt x="561" y="645"/>
                      <a:pt x="562" y="646"/>
                      <a:pt x="562" y="646"/>
                    </a:cubicBezTo>
                    <a:cubicBezTo>
                      <a:pt x="562" y="647"/>
                      <a:pt x="562" y="647"/>
                      <a:pt x="562" y="647"/>
                    </a:cubicBezTo>
                    <a:cubicBezTo>
                      <a:pt x="562" y="647"/>
                      <a:pt x="562" y="647"/>
                      <a:pt x="562" y="647"/>
                    </a:cubicBezTo>
                    <a:cubicBezTo>
                      <a:pt x="562" y="647"/>
                      <a:pt x="562" y="648"/>
                      <a:pt x="562" y="648"/>
                    </a:cubicBezTo>
                    <a:cubicBezTo>
                      <a:pt x="561" y="649"/>
                      <a:pt x="560" y="649"/>
                      <a:pt x="560" y="650"/>
                    </a:cubicBezTo>
                    <a:cubicBezTo>
                      <a:pt x="560" y="650"/>
                      <a:pt x="561" y="650"/>
                      <a:pt x="561" y="650"/>
                    </a:cubicBezTo>
                    <a:cubicBezTo>
                      <a:pt x="561" y="650"/>
                      <a:pt x="561" y="650"/>
                      <a:pt x="561" y="650"/>
                    </a:cubicBezTo>
                    <a:cubicBezTo>
                      <a:pt x="561" y="651"/>
                      <a:pt x="561" y="651"/>
                      <a:pt x="561" y="651"/>
                    </a:cubicBezTo>
                    <a:cubicBezTo>
                      <a:pt x="562" y="651"/>
                      <a:pt x="562" y="650"/>
                      <a:pt x="562" y="649"/>
                    </a:cubicBezTo>
                    <a:cubicBezTo>
                      <a:pt x="562" y="649"/>
                      <a:pt x="562" y="649"/>
                      <a:pt x="562" y="649"/>
                    </a:cubicBezTo>
                    <a:cubicBezTo>
                      <a:pt x="562" y="649"/>
                      <a:pt x="562" y="649"/>
                      <a:pt x="562" y="649"/>
                    </a:cubicBezTo>
                    <a:cubicBezTo>
                      <a:pt x="563" y="648"/>
                      <a:pt x="564" y="649"/>
                      <a:pt x="566" y="648"/>
                    </a:cubicBezTo>
                    <a:cubicBezTo>
                      <a:pt x="566" y="648"/>
                      <a:pt x="566" y="648"/>
                      <a:pt x="567" y="648"/>
                    </a:cubicBezTo>
                    <a:cubicBezTo>
                      <a:pt x="567" y="648"/>
                      <a:pt x="566" y="648"/>
                      <a:pt x="566" y="648"/>
                    </a:cubicBezTo>
                    <a:cubicBezTo>
                      <a:pt x="566" y="649"/>
                      <a:pt x="566" y="649"/>
                      <a:pt x="566" y="649"/>
                    </a:cubicBezTo>
                    <a:cubicBezTo>
                      <a:pt x="566" y="650"/>
                      <a:pt x="568" y="650"/>
                      <a:pt x="568" y="650"/>
                    </a:cubicBezTo>
                    <a:cubicBezTo>
                      <a:pt x="568" y="650"/>
                      <a:pt x="568" y="650"/>
                      <a:pt x="569" y="650"/>
                    </a:cubicBezTo>
                    <a:cubicBezTo>
                      <a:pt x="569" y="650"/>
                      <a:pt x="569" y="650"/>
                      <a:pt x="569" y="650"/>
                    </a:cubicBezTo>
                    <a:cubicBezTo>
                      <a:pt x="569" y="650"/>
                      <a:pt x="570" y="650"/>
                      <a:pt x="569" y="651"/>
                    </a:cubicBezTo>
                    <a:cubicBezTo>
                      <a:pt x="569" y="651"/>
                      <a:pt x="569" y="651"/>
                      <a:pt x="569" y="651"/>
                    </a:cubicBezTo>
                    <a:cubicBezTo>
                      <a:pt x="569" y="651"/>
                      <a:pt x="569" y="651"/>
                      <a:pt x="569" y="651"/>
                    </a:cubicBezTo>
                    <a:cubicBezTo>
                      <a:pt x="569" y="651"/>
                      <a:pt x="568" y="651"/>
                      <a:pt x="568" y="651"/>
                    </a:cubicBezTo>
                    <a:cubicBezTo>
                      <a:pt x="568" y="651"/>
                      <a:pt x="568" y="651"/>
                      <a:pt x="569" y="651"/>
                    </a:cubicBezTo>
                    <a:cubicBezTo>
                      <a:pt x="569" y="651"/>
                      <a:pt x="569" y="651"/>
                      <a:pt x="569" y="651"/>
                    </a:cubicBezTo>
                    <a:cubicBezTo>
                      <a:pt x="570" y="652"/>
                      <a:pt x="570" y="652"/>
                      <a:pt x="570" y="652"/>
                    </a:cubicBezTo>
                    <a:cubicBezTo>
                      <a:pt x="570" y="652"/>
                      <a:pt x="570" y="653"/>
                      <a:pt x="571" y="653"/>
                    </a:cubicBezTo>
                    <a:cubicBezTo>
                      <a:pt x="571" y="653"/>
                      <a:pt x="571" y="654"/>
                      <a:pt x="571" y="654"/>
                    </a:cubicBezTo>
                    <a:cubicBezTo>
                      <a:pt x="571" y="654"/>
                      <a:pt x="571" y="654"/>
                      <a:pt x="571" y="654"/>
                    </a:cubicBezTo>
                    <a:cubicBezTo>
                      <a:pt x="571" y="654"/>
                      <a:pt x="571" y="654"/>
                      <a:pt x="571" y="654"/>
                    </a:cubicBezTo>
                    <a:cubicBezTo>
                      <a:pt x="571" y="655"/>
                      <a:pt x="571" y="655"/>
                      <a:pt x="571" y="656"/>
                    </a:cubicBezTo>
                    <a:cubicBezTo>
                      <a:pt x="571" y="656"/>
                      <a:pt x="571" y="656"/>
                      <a:pt x="571" y="656"/>
                    </a:cubicBezTo>
                    <a:cubicBezTo>
                      <a:pt x="571" y="656"/>
                      <a:pt x="570" y="656"/>
                      <a:pt x="569" y="656"/>
                    </a:cubicBezTo>
                    <a:cubicBezTo>
                      <a:pt x="570" y="657"/>
                      <a:pt x="570" y="657"/>
                      <a:pt x="570" y="657"/>
                    </a:cubicBezTo>
                    <a:cubicBezTo>
                      <a:pt x="570" y="657"/>
                      <a:pt x="570" y="657"/>
                      <a:pt x="571" y="658"/>
                    </a:cubicBezTo>
                    <a:cubicBezTo>
                      <a:pt x="571" y="658"/>
                      <a:pt x="571" y="658"/>
                      <a:pt x="571" y="658"/>
                    </a:cubicBezTo>
                    <a:cubicBezTo>
                      <a:pt x="571" y="658"/>
                      <a:pt x="571" y="658"/>
                      <a:pt x="571" y="658"/>
                    </a:cubicBezTo>
                    <a:cubicBezTo>
                      <a:pt x="570" y="658"/>
                      <a:pt x="570" y="659"/>
                      <a:pt x="570" y="659"/>
                    </a:cubicBezTo>
                    <a:cubicBezTo>
                      <a:pt x="570" y="659"/>
                      <a:pt x="570" y="659"/>
                      <a:pt x="570" y="659"/>
                    </a:cubicBezTo>
                    <a:cubicBezTo>
                      <a:pt x="570" y="659"/>
                      <a:pt x="570" y="659"/>
                      <a:pt x="570" y="659"/>
                    </a:cubicBezTo>
                    <a:cubicBezTo>
                      <a:pt x="569" y="659"/>
                      <a:pt x="569" y="659"/>
                      <a:pt x="569" y="659"/>
                    </a:cubicBezTo>
                    <a:cubicBezTo>
                      <a:pt x="569" y="659"/>
                      <a:pt x="569" y="659"/>
                      <a:pt x="569" y="659"/>
                    </a:cubicBezTo>
                    <a:cubicBezTo>
                      <a:pt x="569" y="659"/>
                      <a:pt x="569" y="659"/>
                      <a:pt x="569" y="659"/>
                    </a:cubicBezTo>
                    <a:cubicBezTo>
                      <a:pt x="570" y="659"/>
                      <a:pt x="570" y="660"/>
                      <a:pt x="570" y="660"/>
                    </a:cubicBezTo>
                    <a:cubicBezTo>
                      <a:pt x="570" y="660"/>
                      <a:pt x="570" y="660"/>
                      <a:pt x="571" y="660"/>
                    </a:cubicBezTo>
                    <a:cubicBezTo>
                      <a:pt x="571" y="660"/>
                      <a:pt x="571" y="660"/>
                      <a:pt x="571" y="660"/>
                    </a:cubicBezTo>
                    <a:cubicBezTo>
                      <a:pt x="571" y="660"/>
                      <a:pt x="571" y="661"/>
                      <a:pt x="571" y="661"/>
                    </a:cubicBezTo>
                    <a:cubicBezTo>
                      <a:pt x="571" y="661"/>
                      <a:pt x="571" y="662"/>
                      <a:pt x="571" y="662"/>
                    </a:cubicBezTo>
                    <a:cubicBezTo>
                      <a:pt x="571" y="662"/>
                      <a:pt x="570" y="661"/>
                      <a:pt x="569" y="661"/>
                    </a:cubicBezTo>
                    <a:cubicBezTo>
                      <a:pt x="569" y="661"/>
                      <a:pt x="569" y="661"/>
                      <a:pt x="569" y="661"/>
                    </a:cubicBezTo>
                    <a:cubicBezTo>
                      <a:pt x="569" y="661"/>
                      <a:pt x="569" y="662"/>
                      <a:pt x="569" y="662"/>
                    </a:cubicBezTo>
                    <a:cubicBezTo>
                      <a:pt x="570" y="662"/>
                      <a:pt x="570" y="662"/>
                      <a:pt x="571" y="662"/>
                    </a:cubicBezTo>
                    <a:cubicBezTo>
                      <a:pt x="571" y="662"/>
                      <a:pt x="572" y="662"/>
                      <a:pt x="572" y="663"/>
                    </a:cubicBezTo>
                    <a:cubicBezTo>
                      <a:pt x="572" y="663"/>
                      <a:pt x="572" y="663"/>
                      <a:pt x="572" y="6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1" name="Freeform 776">
                <a:extLst>
                  <a:ext uri="{FF2B5EF4-FFF2-40B4-BE49-F238E27FC236}">
                    <a16:creationId xmlns:a16="http://schemas.microsoft.com/office/drawing/2014/main" id="{F5C171AE-C74F-0EE8-0D23-115D80A63F28}"/>
                  </a:ext>
                </a:extLst>
              </p:cNvPr>
              <p:cNvSpPr>
                <a:spLocks noEditPoints="1"/>
              </p:cNvSpPr>
              <p:nvPr/>
            </p:nvSpPr>
            <p:spPr bwMode="auto">
              <a:xfrm>
                <a:off x="3128963" y="4075113"/>
                <a:ext cx="211137" cy="184150"/>
              </a:xfrm>
              <a:custGeom>
                <a:avLst/>
                <a:gdLst>
                  <a:gd name="T0" fmla="*/ 5 w 51"/>
                  <a:gd name="T1" fmla="*/ 16 h 44"/>
                  <a:gd name="T2" fmla="*/ 6 w 51"/>
                  <a:gd name="T3" fmla="*/ 13 h 44"/>
                  <a:gd name="T4" fmla="*/ 8 w 51"/>
                  <a:gd name="T5" fmla="*/ 18 h 44"/>
                  <a:gd name="T6" fmla="*/ 7 w 51"/>
                  <a:gd name="T7" fmla="*/ 20 h 44"/>
                  <a:gd name="T8" fmla="*/ 10 w 51"/>
                  <a:gd name="T9" fmla="*/ 23 h 44"/>
                  <a:gd name="T10" fmla="*/ 8 w 51"/>
                  <a:gd name="T11" fmla="*/ 19 h 44"/>
                  <a:gd name="T12" fmla="*/ 7 w 51"/>
                  <a:gd name="T13" fmla="*/ 21 h 44"/>
                  <a:gd name="T14" fmla="*/ 37 w 51"/>
                  <a:gd name="T15" fmla="*/ 44 h 44"/>
                  <a:gd name="T16" fmla="*/ 40 w 51"/>
                  <a:gd name="T17" fmla="*/ 42 h 44"/>
                  <a:gd name="T18" fmla="*/ 36 w 51"/>
                  <a:gd name="T19" fmla="*/ 43 h 44"/>
                  <a:gd name="T20" fmla="*/ 49 w 51"/>
                  <a:gd name="T21" fmla="*/ 38 h 44"/>
                  <a:gd name="T22" fmla="*/ 40 w 51"/>
                  <a:gd name="T23" fmla="*/ 34 h 44"/>
                  <a:gd name="T24" fmla="*/ 42 w 51"/>
                  <a:gd name="T25" fmla="*/ 34 h 44"/>
                  <a:gd name="T26" fmla="*/ 40 w 51"/>
                  <a:gd name="T27" fmla="*/ 34 h 44"/>
                  <a:gd name="T28" fmla="*/ 50 w 51"/>
                  <a:gd name="T29" fmla="*/ 39 h 44"/>
                  <a:gd name="T30" fmla="*/ 10 w 51"/>
                  <a:gd name="T31" fmla="*/ 14 h 44"/>
                  <a:gd name="T32" fmla="*/ 25 w 51"/>
                  <a:gd name="T33" fmla="*/ 26 h 44"/>
                  <a:gd name="T34" fmla="*/ 27 w 51"/>
                  <a:gd name="T35" fmla="*/ 29 h 44"/>
                  <a:gd name="T36" fmla="*/ 27 w 51"/>
                  <a:gd name="T37" fmla="*/ 29 h 44"/>
                  <a:gd name="T38" fmla="*/ 25 w 51"/>
                  <a:gd name="T39" fmla="*/ 26 h 44"/>
                  <a:gd name="T40" fmla="*/ 2 w 51"/>
                  <a:gd name="T41" fmla="*/ 3 h 44"/>
                  <a:gd name="T42" fmla="*/ 7 w 51"/>
                  <a:gd name="T43" fmla="*/ 2 h 44"/>
                  <a:gd name="T44" fmla="*/ 4 w 51"/>
                  <a:gd name="T45" fmla="*/ 2 h 44"/>
                  <a:gd name="T46" fmla="*/ 1 w 51"/>
                  <a:gd name="T47" fmla="*/ 2 h 44"/>
                  <a:gd name="T48" fmla="*/ 22 w 51"/>
                  <a:gd name="T49" fmla="*/ 26 h 44"/>
                  <a:gd name="T50" fmla="*/ 20 w 51"/>
                  <a:gd name="T51" fmla="*/ 24 h 44"/>
                  <a:gd name="T52" fmla="*/ 30 w 51"/>
                  <a:gd name="T53" fmla="*/ 22 h 44"/>
                  <a:gd name="T54" fmla="*/ 18 w 51"/>
                  <a:gd name="T55" fmla="*/ 12 h 44"/>
                  <a:gd name="T56" fmla="*/ 19 w 51"/>
                  <a:gd name="T57" fmla="*/ 15 h 44"/>
                  <a:gd name="T58" fmla="*/ 19 w 51"/>
                  <a:gd name="T59" fmla="*/ 17 h 44"/>
                  <a:gd name="T60" fmla="*/ 19 w 51"/>
                  <a:gd name="T61" fmla="*/ 14 h 44"/>
                  <a:gd name="T62" fmla="*/ 16 w 51"/>
                  <a:gd name="T63" fmla="*/ 11 h 44"/>
                  <a:gd name="T64" fmla="*/ 15 w 51"/>
                  <a:gd name="T65" fmla="*/ 11 h 44"/>
                  <a:gd name="T66" fmla="*/ 41 w 51"/>
                  <a:gd name="T67" fmla="*/ 40 h 44"/>
                  <a:gd name="T68" fmla="*/ 9 w 51"/>
                  <a:gd name="T69" fmla="*/ 0 h 44"/>
                  <a:gd name="T70" fmla="*/ 12 w 51"/>
                  <a:gd name="T71" fmla="*/ 3 h 44"/>
                  <a:gd name="T72" fmla="*/ 12 w 51"/>
                  <a:gd name="T73" fmla="*/ 6 h 44"/>
                  <a:gd name="T74" fmla="*/ 12 w 51"/>
                  <a:gd name="T75" fmla="*/ 8 h 44"/>
                  <a:gd name="T76" fmla="*/ 12 w 51"/>
                  <a:gd name="T77" fmla="*/ 6 h 44"/>
                  <a:gd name="T78" fmla="*/ 12 w 51"/>
                  <a:gd name="T79" fmla="*/ 3 h 44"/>
                  <a:gd name="T80" fmla="*/ 10 w 51"/>
                  <a:gd name="T81" fmla="*/ 0 h 44"/>
                  <a:gd name="T82" fmla="*/ 9 w 51"/>
                  <a:gd name="T83" fmla="*/ 0 h 44"/>
                  <a:gd name="T84" fmla="*/ 22 w 51"/>
                  <a:gd name="T85" fmla="*/ 26 h 44"/>
                  <a:gd name="T86" fmla="*/ 22 w 51"/>
                  <a:gd name="T87" fmla="*/ 17 h 44"/>
                  <a:gd name="T88" fmla="*/ 24 w 51"/>
                  <a:gd name="T89" fmla="*/ 20 h 44"/>
                  <a:gd name="T90" fmla="*/ 25 w 51"/>
                  <a:gd name="T91" fmla="*/ 21 h 44"/>
                  <a:gd name="T92" fmla="*/ 23 w 51"/>
                  <a:gd name="T93" fmla="*/ 18 h 44"/>
                  <a:gd name="T94" fmla="*/ 32 w 51"/>
                  <a:gd name="T95" fmla="*/ 31 h 44"/>
                  <a:gd name="T96" fmla="*/ 32 w 51"/>
                  <a:gd name="T97" fmla="*/ 31 h 44"/>
                  <a:gd name="T98" fmla="*/ 34 w 51"/>
                  <a:gd name="T99" fmla="*/ 32 h 44"/>
                  <a:gd name="T100" fmla="*/ 34 w 51"/>
                  <a:gd name="T101" fmla="*/ 32 h 44"/>
                  <a:gd name="T102" fmla="*/ 33 w 51"/>
                  <a:gd name="T103" fmla="*/ 34 h 44"/>
                  <a:gd name="T104" fmla="*/ 34 w 51"/>
                  <a:gd name="T105" fmla="*/ 33 h 44"/>
                  <a:gd name="T106" fmla="*/ 34 w 51"/>
                  <a:gd name="T10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44">
                    <a:moveTo>
                      <a:pt x="6" y="19"/>
                    </a:moveTo>
                    <a:cubicBezTo>
                      <a:pt x="6" y="19"/>
                      <a:pt x="6" y="19"/>
                      <a:pt x="5" y="19"/>
                    </a:cubicBezTo>
                    <a:cubicBezTo>
                      <a:pt x="5" y="19"/>
                      <a:pt x="4" y="18"/>
                      <a:pt x="4" y="18"/>
                    </a:cubicBezTo>
                    <a:cubicBezTo>
                      <a:pt x="4" y="17"/>
                      <a:pt x="4" y="17"/>
                      <a:pt x="4" y="17"/>
                    </a:cubicBezTo>
                    <a:cubicBezTo>
                      <a:pt x="4" y="17"/>
                      <a:pt x="5" y="16"/>
                      <a:pt x="5" y="16"/>
                    </a:cubicBezTo>
                    <a:cubicBezTo>
                      <a:pt x="5" y="15"/>
                      <a:pt x="5" y="15"/>
                      <a:pt x="5" y="15"/>
                    </a:cubicBezTo>
                    <a:cubicBezTo>
                      <a:pt x="5" y="15"/>
                      <a:pt x="5" y="14"/>
                      <a:pt x="5" y="14"/>
                    </a:cubicBezTo>
                    <a:cubicBezTo>
                      <a:pt x="5" y="14"/>
                      <a:pt x="5" y="13"/>
                      <a:pt x="5" y="13"/>
                    </a:cubicBezTo>
                    <a:cubicBezTo>
                      <a:pt x="5" y="13"/>
                      <a:pt x="5" y="13"/>
                      <a:pt x="6" y="13"/>
                    </a:cubicBezTo>
                    <a:cubicBezTo>
                      <a:pt x="6" y="13"/>
                      <a:pt x="6" y="13"/>
                      <a:pt x="6" y="13"/>
                    </a:cubicBezTo>
                    <a:cubicBezTo>
                      <a:pt x="6" y="14"/>
                      <a:pt x="7" y="14"/>
                      <a:pt x="7" y="14"/>
                    </a:cubicBezTo>
                    <a:cubicBezTo>
                      <a:pt x="7" y="15"/>
                      <a:pt x="7" y="15"/>
                      <a:pt x="7" y="15"/>
                    </a:cubicBezTo>
                    <a:cubicBezTo>
                      <a:pt x="7" y="15"/>
                      <a:pt x="7" y="16"/>
                      <a:pt x="7" y="16"/>
                    </a:cubicBezTo>
                    <a:cubicBezTo>
                      <a:pt x="8" y="16"/>
                      <a:pt x="8" y="16"/>
                      <a:pt x="8" y="16"/>
                    </a:cubicBezTo>
                    <a:cubicBezTo>
                      <a:pt x="8" y="17"/>
                      <a:pt x="8" y="17"/>
                      <a:pt x="8" y="18"/>
                    </a:cubicBezTo>
                    <a:cubicBezTo>
                      <a:pt x="8" y="18"/>
                      <a:pt x="9" y="18"/>
                      <a:pt x="8" y="18"/>
                    </a:cubicBezTo>
                    <a:cubicBezTo>
                      <a:pt x="8" y="19"/>
                      <a:pt x="8" y="19"/>
                      <a:pt x="8" y="19"/>
                    </a:cubicBezTo>
                    <a:cubicBezTo>
                      <a:pt x="8" y="19"/>
                      <a:pt x="7" y="19"/>
                      <a:pt x="7" y="19"/>
                    </a:cubicBezTo>
                    <a:cubicBezTo>
                      <a:pt x="7" y="19"/>
                      <a:pt x="7" y="19"/>
                      <a:pt x="7" y="19"/>
                    </a:cubicBezTo>
                    <a:cubicBezTo>
                      <a:pt x="7" y="19"/>
                      <a:pt x="7" y="19"/>
                      <a:pt x="7" y="20"/>
                    </a:cubicBezTo>
                    <a:cubicBezTo>
                      <a:pt x="6" y="20"/>
                      <a:pt x="6" y="20"/>
                      <a:pt x="6" y="20"/>
                    </a:cubicBezTo>
                    <a:cubicBezTo>
                      <a:pt x="6" y="19"/>
                      <a:pt x="6" y="19"/>
                      <a:pt x="6" y="19"/>
                    </a:cubicBezTo>
                    <a:close/>
                    <a:moveTo>
                      <a:pt x="8" y="23"/>
                    </a:moveTo>
                    <a:cubicBezTo>
                      <a:pt x="8" y="24"/>
                      <a:pt x="8" y="24"/>
                      <a:pt x="9" y="24"/>
                    </a:cubicBezTo>
                    <a:cubicBezTo>
                      <a:pt x="10" y="24"/>
                      <a:pt x="10" y="24"/>
                      <a:pt x="10" y="23"/>
                    </a:cubicBezTo>
                    <a:cubicBezTo>
                      <a:pt x="10" y="22"/>
                      <a:pt x="10" y="22"/>
                      <a:pt x="10" y="21"/>
                    </a:cubicBezTo>
                    <a:cubicBezTo>
                      <a:pt x="9" y="21"/>
                      <a:pt x="9" y="20"/>
                      <a:pt x="9" y="20"/>
                    </a:cubicBezTo>
                    <a:cubicBezTo>
                      <a:pt x="9" y="20"/>
                      <a:pt x="9" y="20"/>
                      <a:pt x="9" y="20"/>
                    </a:cubicBezTo>
                    <a:cubicBezTo>
                      <a:pt x="9" y="20"/>
                      <a:pt x="9" y="20"/>
                      <a:pt x="9" y="20"/>
                    </a:cubicBezTo>
                    <a:cubicBezTo>
                      <a:pt x="9" y="19"/>
                      <a:pt x="9" y="19"/>
                      <a:pt x="8" y="19"/>
                    </a:cubicBezTo>
                    <a:cubicBezTo>
                      <a:pt x="8" y="19"/>
                      <a:pt x="8" y="19"/>
                      <a:pt x="8" y="20"/>
                    </a:cubicBezTo>
                    <a:cubicBezTo>
                      <a:pt x="8" y="20"/>
                      <a:pt x="8" y="20"/>
                      <a:pt x="8" y="20"/>
                    </a:cubicBezTo>
                    <a:cubicBezTo>
                      <a:pt x="8" y="20"/>
                      <a:pt x="7" y="20"/>
                      <a:pt x="7" y="20"/>
                    </a:cubicBezTo>
                    <a:cubicBezTo>
                      <a:pt x="7" y="20"/>
                      <a:pt x="7" y="20"/>
                      <a:pt x="7" y="20"/>
                    </a:cubicBezTo>
                    <a:cubicBezTo>
                      <a:pt x="7" y="21"/>
                      <a:pt x="7" y="21"/>
                      <a:pt x="7" y="21"/>
                    </a:cubicBezTo>
                    <a:cubicBezTo>
                      <a:pt x="8" y="21"/>
                      <a:pt x="8" y="22"/>
                      <a:pt x="8" y="22"/>
                    </a:cubicBezTo>
                    <a:cubicBezTo>
                      <a:pt x="8" y="22"/>
                      <a:pt x="8" y="22"/>
                      <a:pt x="8" y="22"/>
                    </a:cubicBezTo>
                    <a:cubicBezTo>
                      <a:pt x="8" y="22"/>
                      <a:pt x="8" y="23"/>
                      <a:pt x="8" y="23"/>
                    </a:cubicBezTo>
                    <a:close/>
                    <a:moveTo>
                      <a:pt x="36" y="44"/>
                    </a:moveTo>
                    <a:cubicBezTo>
                      <a:pt x="36" y="44"/>
                      <a:pt x="36" y="44"/>
                      <a:pt x="37" y="44"/>
                    </a:cubicBezTo>
                    <a:cubicBezTo>
                      <a:pt x="37" y="44"/>
                      <a:pt x="37" y="44"/>
                      <a:pt x="37" y="44"/>
                    </a:cubicBezTo>
                    <a:cubicBezTo>
                      <a:pt x="37" y="44"/>
                      <a:pt x="38" y="44"/>
                      <a:pt x="38" y="44"/>
                    </a:cubicBezTo>
                    <a:cubicBezTo>
                      <a:pt x="39" y="44"/>
                      <a:pt x="39" y="44"/>
                      <a:pt x="39" y="43"/>
                    </a:cubicBezTo>
                    <a:cubicBezTo>
                      <a:pt x="40" y="43"/>
                      <a:pt x="40" y="42"/>
                      <a:pt x="40" y="41"/>
                    </a:cubicBezTo>
                    <a:cubicBezTo>
                      <a:pt x="40" y="41"/>
                      <a:pt x="40" y="41"/>
                      <a:pt x="40" y="42"/>
                    </a:cubicBezTo>
                    <a:cubicBezTo>
                      <a:pt x="39" y="42"/>
                      <a:pt x="39" y="42"/>
                      <a:pt x="39" y="43"/>
                    </a:cubicBezTo>
                    <a:cubicBezTo>
                      <a:pt x="39" y="43"/>
                      <a:pt x="38" y="43"/>
                      <a:pt x="38" y="42"/>
                    </a:cubicBezTo>
                    <a:cubicBezTo>
                      <a:pt x="38" y="42"/>
                      <a:pt x="37" y="42"/>
                      <a:pt x="37" y="42"/>
                    </a:cubicBezTo>
                    <a:cubicBezTo>
                      <a:pt x="37" y="42"/>
                      <a:pt x="36" y="43"/>
                      <a:pt x="36" y="43"/>
                    </a:cubicBezTo>
                    <a:cubicBezTo>
                      <a:pt x="36" y="43"/>
                      <a:pt x="36" y="43"/>
                      <a:pt x="36" y="43"/>
                    </a:cubicBezTo>
                    <a:cubicBezTo>
                      <a:pt x="35" y="44"/>
                      <a:pt x="36" y="44"/>
                      <a:pt x="36" y="44"/>
                    </a:cubicBezTo>
                    <a:cubicBezTo>
                      <a:pt x="36" y="44"/>
                      <a:pt x="36" y="44"/>
                      <a:pt x="36" y="44"/>
                    </a:cubicBezTo>
                    <a:close/>
                    <a:moveTo>
                      <a:pt x="48" y="38"/>
                    </a:moveTo>
                    <a:cubicBezTo>
                      <a:pt x="48" y="39"/>
                      <a:pt x="49" y="39"/>
                      <a:pt x="49" y="38"/>
                    </a:cubicBezTo>
                    <a:cubicBezTo>
                      <a:pt x="49" y="38"/>
                      <a:pt x="49" y="38"/>
                      <a:pt x="49" y="38"/>
                    </a:cubicBezTo>
                    <a:cubicBezTo>
                      <a:pt x="48" y="38"/>
                      <a:pt x="48" y="38"/>
                      <a:pt x="48" y="37"/>
                    </a:cubicBezTo>
                    <a:cubicBezTo>
                      <a:pt x="48" y="37"/>
                      <a:pt x="47" y="37"/>
                      <a:pt x="47" y="37"/>
                    </a:cubicBezTo>
                    <a:cubicBezTo>
                      <a:pt x="47" y="37"/>
                      <a:pt x="47" y="37"/>
                      <a:pt x="47" y="37"/>
                    </a:cubicBezTo>
                    <a:cubicBezTo>
                      <a:pt x="47" y="38"/>
                      <a:pt x="48" y="38"/>
                      <a:pt x="48" y="38"/>
                    </a:cubicBezTo>
                    <a:close/>
                    <a:moveTo>
                      <a:pt x="40" y="34"/>
                    </a:moveTo>
                    <a:cubicBezTo>
                      <a:pt x="40" y="34"/>
                      <a:pt x="40" y="34"/>
                      <a:pt x="40" y="34"/>
                    </a:cubicBezTo>
                    <a:cubicBezTo>
                      <a:pt x="40" y="34"/>
                      <a:pt x="40" y="34"/>
                      <a:pt x="41" y="34"/>
                    </a:cubicBezTo>
                    <a:cubicBezTo>
                      <a:pt x="41" y="34"/>
                      <a:pt x="41" y="34"/>
                      <a:pt x="42" y="34"/>
                    </a:cubicBezTo>
                    <a:cubicBezTo>
                      <a:pt x="42" y="34"/>
                      <a:pt x="42" y="34"/>
                      <a:pt x="42" y="34"/>
                    </a:cubicBezTo>
                    <a:cubicBezTo>
                      <a:pt x="42" y="34"/>
                      <a:pt x="42" y="34"/>
                      <a:pt x="42" y="34"/>
                    </a:cubicBezTo>
                    <a:cubicBezTo>
                      <a:pt x="42" y="34"/>
                      <a:pt x="42" y="34"/>
                      <a:pt x="42" y="34"/>
                    </a:cubicBezTo>
                    <a:cubicBezTo>
                      <a:pt x="42" y="34"/>
                      <a:pt x="41" y="34"/>
                      <a:pt x="41" y="34"/>
                    </a:cubicBezTo>
                    <a:cubicBezTo>
                      <a:pt x="41" y="34"/>
                      <a:pt x="40" y="33"/>
                      <a:pt x="40" y="33"/>
                    </a:cubicBezTo>
                    <a:cubicBezTo>
                      <a:pt x="39" y="33"/>
                      <a:pt x="39" y="33"/>
                      <a:pt x="39" y="33"/>
                    </a:cubicBezTo>
                    <a:cubicBezTo>
                      <a:pt x="39" y="34"/>
                      <a:pt x="39" y="34"/>
                      <a:pt x="40" y="34"/>
                    </a:cubicBezTo>
                    <a:close/>
                    <a:moveTo>
                      <a:pt x="50" y="39"/>
                    </a:moveTo>
                    <a:cubicBezTo>
                      <a:pt x="50" y="39"/>
                      <a:pt x="50" y="39"/>
                      <a:pt x="50" y="39"/>
                    </a:cubicBezTo>
                    <a:cubicBezTo>
                      <a:pt x="51" y="39"/>
                      <a:pt x="51" y="39"/>
                      <a:pt x="50" y="39"/>
                    </a:cubicBezTo>
                    <a:cubicBezTo>
                      <a:pt x="50" y="38"/>
                      <a:pt x="50" y="38"/>
                      <a:pt x="49" y="38"/>
                    </a:cubicBezTo>
                    <a:cubicBezTo>
                      <a:pt x="49" y="39"/>
                      <a:pt x="49" y="39"/>
                      <a:pt x="50" y="39"/>
                    </a:cubicBezTo>
                    <a:close/>
                    <a:moveTo>
                      <a:pt x="11" y="14"/>
                    </a:moveTo>
                    <a:cubicBezTo>
                      <a:pt x="12" y="14"/>
                      <a:pt x="12" y="14"/>
                      <a:pt x="11" y="14"/>
                    </a:cubicBezTo>
                    <a:cubicBezTo>
                      <a:pt x="11" y="14"/>
                      <a:pt x="11" y="14"/>
                      <a:pt x="10" y="14"/>
                    </a:cubicBezTo>
                    <a:cubicBezTo>
                      <a:pt x="10" y="14"/>
                      <a:pt x="10" y="14"/>
                      <a:pt x="10" y="14"/>
                    </a:cubicBezTo>
                    <a:cubicBezTo>
                      <a:pt x="10" y="14"/>
                      <a:pt x="10" y="14"/>
                      <a:pt x="10" y="14"/>
                    </a:cubicBezTo>
                    <a:cubicBezTo>
                      <a:pt x="10" y="15"/>
                      <a:pt x="10" y="15"/>
                      <a:pt x="10" y="15"/>
                    </a:cubicBezTo>
                    <a:cubicBezTo>
                      <a:pt x="11" y="15"/>
                      <a:pt x="11" y="15"/>
                      <a:pt x="11" y="14"/>
                    </a:cubicBezTo>
                    <a:close/>
                    <a:moveTo>
                      <a:pt x="25" y="24"/>
                    </a:moveTo>
                    <a:cubicBezTo>
                      <a:pt x="24" y="24"/>
                      <a:pt x="24" y="25"/>
                      <a:pt x="25" y="25"/>
                    </a:cubicBezTo>
                    <a:cubicBezTo>
                      <a:pt x="25" y="25"/>
                      <a:pt x="25" y="26"/>
                      <a:pt x="25" y="26"/>
                    </a:cubicBezTo>
                    <a:cubicBezTo>
                      <a:pt x="26" y="26"/>
                      <a:pt x="26" y="27"/>
                      <a:pt x="26" y="28"/>
                    </a:cubicBezTo>
                    <a:cubicBezTo>
                      <a:pt x="26" y="28"/>
                      <a:pt x="26" y="28"/>
                      <a:pt x="26" y="28"/>
                    </a:cubicBezTo>
                    <a:cubicBezTo>
                      <a:pt x="26" y="28"/>
                      <a:pt x="26" y="28"/>
                      <a:pt x="25" y="28"/>
                    </a:cubicBezTo>
                    <a:cubicBezTo>
                      <a:pt x="26" y="28"/>
                      <a:pt x="26" y="28"/>
                      <a:pt x="26" y="29"/>
                    </a:cubicBezTo>
                    <a:cubicBezTo>
                      <a:pt x="27" y="29"/>
                      <a:pt x="27" y="29"/>
                      <a:pt x="27" y="29"/>
                    </a:cubicBezTo>
                    <a:cubicBezTo>
                      <a:pt x="27" y="29"/>
                      <a:pt x="27" y="30"/>
                      <a:pt x="27" y="30"/>
                    </a:cubicBezTo>
                    <a:cubicBezTo>
                      <a:pt x="27" y="30"/>
                      <a:pt x="27" y="30"/>
                      <a:pt x="27" y="30"/>
                    </a:cubicBezTo>
                    <a:cubicBezTo>
                      <a:pt x="28" y="30"/>
                      <a:pt x="28" y="30"/>
                      <a:pt x="28" y="30"/>
                    </a:cubicBezTo>
                    <a:cubicBezTo>
                      <a:pt x="28" y="30"/>
                      <a:pt x="28" y="30"/>
                      <a:pt x="28" y="30"/>
                    </a:cubicBezTo>
                    <a:cubicBezTo>
                      <a:pt x="28" y="30"/>
                      <a:pt x="28" y="29"/>
                      <a:pt x="27" y="29"/>
                    </a:cubicBezTo>
                    <a:cubicBezTo>
                      <a:pt x="27" y="29"/>
                      <a:pt x="27" y="28"/>
                      <a:pt x="26" y="28"/>
                    </a:cubicBezTo>
                    <a:cubicBezTo>
                      <a:pt x="26" y="28"/>
                      <a:pt x="26" y="28"/>
                      <a:pt x="26" y="28"/>
                    </a:cubicBezTo>
                    <a:cubicBezTo>
                      <a:pt x="26" y="28"/>
                      <a:pt x="26" y="28"/>
                      <a:pt x="26" y="28"/>
                    </a:cubicBezTo>
                    <a:cubicBezTo>
                      <a:pt x="26" y="28"/>
                      <a:pt x="26" y="27"/>
                      <a:pt x="26" y="27"/>
                    </a:cubicBezTo>
                    <a:cubicBezTo>
                      <a:pt x="26" y="26"/>
                      <a:pt x="26" y="26"/>
                      <a:pt x="25" y="26"/>
                    </a:cubicBezTo>
                    <a:cubicBezTo>
                      <a:pt x="26" y="25"/>
                      <a:pt x="25" y="25"/>
                      <a:pt x="25" y="24"/>
                    </a:cubicBezTo>
                    <a:cubicBezTo>
                      <a:pt x="25" y="24"/>
                      <a:pt x="25" y="24"/>
                      <a:pt x="25" y="24"/>
                    </a:cubicBezTo>
                    <a:close/>
                    <a:moveTo>
                      <a:pt x="1" y="3"/>
                    </a:moveTo>
                    <a:cubicBezTo>
                      <a:pt x="1" y="3"/>
                      <a:pt x="1" y="3"/>
                      <a:pt x="2" y="3"/>
                    </a:cubicBezTo>
                    <a:cubicBezTo>
                      <a:pt x="2" y="3"/>
                      <a:pt x="2" y="3"/>
                      <a:pt x="2" y="3"/>
                    </a:cubicBezTo>
                    <a:cubicBezTo>
                      <a:pt x="2" y="3"/>
                      <a:pt x="3" y="3"/>
                      <a:pt x="3" y="3"/>
                    </a:cubicBezTo>
                    <a:cubicBezTo>
                      <a:pt x="4" y="2"/>
                      <a:pt x="5" y="2"/>
                      <a:pt x="6" y="2"/>
                    </a:cubicBezTo>
                    <a:cubicBezTo>
                      <a:pt x="6" y="2"/>
                      <a:pt x="6" y="2"/>
                      <a:pt x="6" y="2"/>
                    </a:cubicBezTo>
                    <a:cubicBezTo>
                      <a:pt x="6" y="2"/>
                      <a:pt x="6" y="2"/>
                      <a:pt x="6" y="2"/>
                    </a:cubicBezTo>
                    <a:cubicBezTo>
                      <a:pt x="6" y="2"/>
                      <a:pt x="7" y="2"/>
                      <a:pt x="7" y="2"/>
                    </a:cubicBezTo>
                    <a:cubicBezTo>
                      <a:pt x="7" y="2"/>
                      <a:pt x="7" y="3"/>
                      <a:pt x="8" y="3"/>
                    </a:cubicBezTo>
                    <a:cubicBezTo>
                      <a:pt x="8" y="3"/>
                      <a:pt x="8" y="3"/>
                      <a:pt x="8" y="2"/>
                    </a:cubicBezTo>
                    <a:cubicBezTo>
                      <a:pt x="8" y="2"/>
                      <a:pt x="7" y="1"/>
                      <a:pt x="7" y="2"/>
                    </a:cubicBezTo>
                    <a:cubicBezTo>
                      <a:pt x="7" y="2"/>
                      <a:pt x="6" y="2"/>
                      <a:pt x="6" y="2"/>
                    </a:cubicBezTo>
                    <a:cubicBezTo>
                      <a:pt x="5" y="2"/>
                      <a:pt x="5" y="2"/>
                      <a:pt x="4" y="2"/>
                    </a:cubicBezTo>
                    <a:cubicBezTo>
                      <a:pt x="3" y="2"/>
                      <a:pt x="3" y="1"/>
                      <a:pt x="3" y="1"/>
                    </a:cubicBezTo>
                    <a:cubicBezTo>
                      <a:pt x="3" y="2"/>
                      <a:pt x="2" y="2"/>
                      <a:pt x="2" y="3"/>
                    </a:cubicBezTo>
                    <a:cubicBezTo>
                      <a:pt x="2" y="3"/>
                      <a:pt x="2" y="3"/>
                      <a:pt x="2" y="3"/>
                    </a:cubicBezTo>
                    <a:cubicBezTo>
                      <a:pt x="2" y="3"/>
                      <a:pt x="2" y="3"/>
                      <a:pt x="1" y="3"/>
                    </a:cubicBezTo>
                    <a:cubicBezTo>
                      <a:pt x="1" y="2"/>
                      <a:pt x="1" y="2"/>
                      <a:pt x="1" y="2"/>
                    </a:cubicBezTo>
                    <a:cubicBezTo>
                      <a:pt x="0" y="2"/>
                      <a:pt x="0" y="2"/>
                      <a:pt x="0" y="2"/>
                    </a:cubicBezTo>
                    <a:cubicBezTo>
                      <a:pt x="0" y="2"/>
                      <a:pt x="0" y="3"/>
                      <a:pt x="1" y="3"/>
                    </a:cubicBezTo>
                    <a:close/>
                    <a:moveTo>
                      <a:pt x="20" y="25"/>
                    </a:moveTo>
                    <a:cubicBezTo>
                      <a:pt x="20" y="25"/>
                      <a:pt x="21" y="25"/>
                      <a:pt x="21" y="25"/>
                    </a:cubicBezTo>
                    <a:cubicBezTo>
                      <a:pt x="21" y="25"/>
                      <a:pt x="22" y="26"/>
                      <a:pt x="22" y="26"/>
                    </a:cubicBezTo>
                    <a:cubicBezTo>
                      <a:pt x="21" y="25"/>
                      <a:pt x="21" y="25"/>
                      <a:pt x="21" y="25"/>
                    </a:cubicBezTo>
                    <a:cubicBezTo>
                      <a:pt x="20" y="24"/>
                      <a:pt x="20" y="24"/>
                      <a:pt x="20" y="24"/>
                    </a:cubicBezTo>
                    <a:cubicBezTo>
                      <a:pt x="20" y="24"/>
                      <a:pt x="20" y="24"/>
                      <a:pt x="20" y="24"/>
                    </a:cubicBezTo>
                    <a:cubicBezTo>
                      <a:pt x="20" y="24"/>
                      <a:pt x="20" y="24"/>
                      <a:pt x="20" y="24"/>
                    </a:cubicBezTo>
                    <a:cubicBezTo>
                      <a:pt x="20" y="24"/>
                      <a:pt x="20" y="24"/>
                      <a:pt x="20" y="24"/>
                    </a:cubicBezTo>
                    <a:cubicBezTo>
                      <a:pt x="20" y="24"/>
                      <a:pt x="20" y="25"/>
                      <a:pt x="20" y="25"/>
                    </a:cubicBezTo>
                    <a:close/>
                    <a:moveTo>
                      <a:pt x="30" y="21"/>
                    </a:moveTo>
                    <a:cubicBezTo>
                      <a:pt x="30" y="21"/>
                      <a:pt x="30" y="21"/>
                      <a:pt x="30" y="21"/>
                    </a:cubicBezTo>
                    <a:cubicBezTo>
                      <a:pt x="30" y="21"/>
                      <a:pt x="30" y="21"/>
                      <a:pt x="30" y="21"/>
                    </a:cubicBezTo>
                    <a:cubicBezTo>
                      <a:pt x="30" y="21"/>
                      <a:pt x="30" y="22"/>
                      <a:pt x="30" y="22"/>
                    </a:cubicBezTo>
                    <a:cubicBezTo>
                      <a:pt x="30" y="22"/>
                      <a:pt x="31" y="22"/>
                      <a:pt x="30" y="21"/>
                    </a:cubicBezTo>
                    <a:close/>
                    <a:moveTo>
                      <a:pt x="15" y="11"/>
                    </a:moveTo>
                    <a:cubicBezTo>
                      <a:pt x="15" y="11"/>
                      <a:pt x="16" y="11"/>
                      <a:pt x="16" y="11"/>
                    </a:cubicBezTo>
                    <a:cubicBezTo>
                      <a:pt x="16" y="12"/>
                      <a:pt x="17" y="12"/>
                      <a:pt x="17" y="12"/>
                    </a:cubicBezTo>
                    <a:cubicBezTo>
                      <a:pt x="17" y="12"/>
                      <a:pt x="17" y="12"/>
                      <a:pt x="18" y="12"/>
                    </a:cubicBezTo>
                    <a:cubicBezTo>
                      <a:pt x="18" y="13"/>
                      <a:pt x="18" y="13"/>
                      <a:pt x="19" y="13"/>
                    </a:cubicBezTo>
                    <a:cubicBezTo>
                      <a:pt x="19" y="13"/>
                      <a:pt x="19" y="14"/>
                      <a:pt x="19" y="14"/>
                    </a:cubicBezTo>
                    <a:cubicBezTo>
                      <a:pt x="19" y="14"/>
                      <a:pt x="19" y="14"/>
                      <a:pt x="19" y="14"/>
                    </a:cubicBezTo>
                    <a:cubicBezTo>
                      <a:pt x="19" y="14"/>
                      <a:pt x="19" y="15"/>
                      <a:pt x="19" y="15"/>
                    </a:cubicBezTo>
                    <a:cubicBezTo>
                      <a:pt x="19" y="15"/>
                      <a:pt x="19" y="15"/>
                      <a:pt x="19" y="15"/>
                    </a:cubicBezTo>
                    <a:cubicBezTo>
                      <a:pt x="19" y="15"/>
                      <a:pt x="19" y="16"/>
                      <a:pt x="19" y="16"/>
                    </a:cubicBezTo>
                    <a:cubicBezTo>
                      <a:pt x="18" y="16"/>
                      <a:pt x="18" y="16"/>
                      <a:pt x="18" y="16"/>
                    </a:cubicBezTo>
                    <a:cubicBezTo>
                      <a:pt x="18" y="16"/>
                      <a:pt x="18" y="16"/>
                      <a:pt x="18" y="16"/>
                    </a:cubicBezTo>
                    <a:cubicBezTo>
                      <a:pt x="18" y="16"/>
                      <a:pt x="18" y="16"/>
                      <a:pt x="18" y="16"/>
                    </a:cubicBezTo>
                    <a:cubicBezTo>
                      <a:pt x="18" y="16"/>
                      <a:pt x="19" y="17"/>
                      <a:pt x="19" y="17"/>
                    </a:cubicBezTo>
                    <a:cubicBezTo>
                      <a:pt x="19" y="17"/>
                      <a:pt x="19" y="17"/>
                      <a:pt x="19" y="17"/>
                    </a:cubicBezTo>
                    <a:cubicBezTo>
                      <a:pt x="19" y="17"/>
                      <a:pt x="19" y="16"/>
                      <a:pt x="19" y="16"/>
                    </a:cubicBezTo>
                    <a:cubicBezTo>
                      <a:pt x="19" y="16"/>
                      <a:pt x="19" y="16"/>
                      <a:pt x="19" y="16"/>
                    </a:cubicBezTo>
                    <a:cubicBezTo>
                      <a:pt x="19" y="16"/>
                      <a:pt x="19" y="16"/>
                      <a:pt x="19" y="15"/>
                    </a:cubicBezTo>
                    <a:cubicBezTo>
                      <a:pt x="19" y="15"/>
                      <a:pt x="19" y="15"/>
                      <a:pt x="19" y="14"/>
                    </a:cubicBezTo>
                    <a:cubicBezTo>
                      <a:pt x="19" y="14"/>
                      <a:pt x="19" y="14"/>
                      <a:pt x="19" y="14"/>
                    </a:cubicBezTo>
                    <a:cubicBezTo>
                      <a:pt x="19" y="14"/>
                      <a:pt x="19" y="13"/>
                      <a:pt x="19" y="13"/>
                    </a:cubicBezTo>
                    <a:cubicBezTo>
                      <a:pt x="18" y="13"/>
                      <a:pt x="18" y="13"/>
                      <a:pt x="18" y="13"/>
                    </a:cubicBezTo>
                    <a:cubicBezTo>
                      <a:pt x="18" y="12"/>
                      <a:pt x="18" y="12"/>
                      <a:pt x="17" y="12"/>
                    </a:cubicBezTo>
                    <a:cubicBezTo>
                      <a:pt x="17" y="12"/>
                      <a:pt x="16" y="12"/>
                      <a:pt x="16" y="11"/>
                    </a:cubicBezTo>
                    <a:cubicBezTo>
                      <a:pt x="16" y="11"/>
                      <a:pt x="16" y="11"/>
                      <a:pt x="16" y="11"/>
                    </a:cubicBezTo>
                    <a:cubicBezTo>
                      <a:pt x="16" y="11"/>
                      <a:pt x="15" y="11"/>
                      <a:pt x="15" y="10"/>
                    </a:cubicBezTo>
                    <a:cubicBezTo>
                      <a:pt x="15" y="10"/>
                      <a:pt x="15" y="10"/>
                      <a:pt x="15" y="10"/>
                    </a:cubicBezTo>
                    <a:cubicBezTo>
                      <a:pt x="15" y="10"/>
                      <a:pt x="15" y="10"/>
                      <a:pt x="15" y="10"/>
                    </a:cubicBezTo>
                    <a:cubicBezTo>
                      <a:pt x="15" y="11"/>
                      <a:pt x="15" y="11"/>
                      <a:pt x="15" y="11"/>
                    </a:cubicBezTo>
                    <a:cubicBezTo>
                      <a:pt x="15" y="11"/>
                      <a:pt x="15" y="11"/>
                      <a:pt x="15" y="11"/>
                    </a:cubicBezTo>
                    <a:close/>
                    <a:moveTo>
                      <a:pt x="40" y="40"/>
                    </a:moveTo>
                    <a:cubicBezTo>
                      <a:pt x="40" y="40"/>
                      <a:pt x="40" y="40"/>
                      <a:pt x="40" y="40"/>
                    </a:cubicBezTo>
                    <a:cubicBezTo>
                      <a:pt x="40" y="40"/>
                      <a:pt x="40" y="41"/>
                      <a:pt x="40" y="41"/>
                    </a:cubicBezTo>
                    <a:cubicBezTo>
                      <a:pt x="40" y="41"/>
                      <a:pt x="41" y="41"/>
                      <a:pt x="41" y="40"/>
                    </a:cubicBezTo>
                    <a:cubicBezTo>
                      <a:pt x="41" y="40"/>
                      <a:pt x="40" y="40"/>
                      <a:pt x="40" y="40"/>
                    </a:cubicBezTo>
                    <a:close/>
                    <a:moveTo>
                      <a:pt x="46" y="38"/>
                    </a:moveTo>
                    <a:cubicBezTo>
                      <a:pt x="45" y="38"/>
                      <a:pt x="45" y="38"/>
                      <a:pt x="45" y="38"/>
                    </a:cubicBezTo>
                    <a:cubicBezTo>
                      <a:pt x="45" y="38"/>
                      <a:pt x="45" y="38"/>
                      <a:pt x="46" y="38"/>
                    </a:cubicBezTo>
                    <a:close/>
                    <a:moveTo>
                      <a:pt x="9" y="0"/>
                    </a:moveTo>
                    <a:cubicBezTo>
                      <a:pt x="9" y="0"/>
                      <a:pt x="9" y="0"/>
                      <a:pt x="10" y="0"/>
                    </a:cubicBezTo>
                    <a:cubicBezTo>
                      <a:pt x="10" y="1"/>
                      <a:pt x="10" y="1"/>
                      <a:pt x="10" y="1"/>
                    </a:cubicBezTo>
                    <a:cubicBezTo>
                      <a:pt x="10" y="2"/>
                      <a:pt x="10" y="2"/>
                      <a:pt x="11" y="2"/>
                    </a:cubicBezTo>
                    <a:cubicBezTo>
                      <a:pt x="11" y="2"/>
                      <a:pt x="11" y="2"/>
                      <a:pt x="11" y="2"/>
                    </a:cubicBezTo>
                    <a:cubicBezTo>
                      <a:pt x="11" y="2"/>
                      <a:pt x="11" y="3"/>
                      <a:pt x="12" y="3"/>
                    </a:cubicBezTo>
                    <a:cubicBezTo>
                      <a:pt x="12" y="3"/>
                      <a:pt x="12" y="3"/>
                      <a:pt x="12" y="3"/>
                    </a:cubicBezTo>
                    <a:cubicBezTo>
                      <a:pt x="12" y="3"/>
                      <a:pt x="12" y="3"/>
                      <a:pt x="12" y="4"/>
                    </a:cubicBezTo>
                    <a:cubicBezTo>
                      <a:pt x="12" y="4"/>
                      <a:pt x="12" y="5"/>
                      <a:pt x="12" y="5"/>
                    </a:cubicBezTo>
                    <a:cubicBezTo>
                      <a:pt x="12" y="6"/>
                      <a:pt x="12" y="6"/>
                      <a:pt x="12" y="6"/>
                    </a:cubicBezTo>
                    <a:cubicBezTo>
                      <a:pt x="12" y="6"/>
                      <a:pt x="12" y="6"/>
                      <a:pt x="12" y="6"/>
                    </a:cubicBezTo>
                    <a:cubicBezTo>
                      <a:pt x="11" y="6"/>
                      <a:pt x="11" y="6"/>
                      <a:pt x="11" y="7"/>
                    </a:cubicBezTo>
                    <a:cubicBezTo>
                      <a:pt x="11" y="7"/>
                      <a:pt x="11" y="7"/>
                      <a:pt x="11" y="7"/>
                    </a:cubicBezTo>
                    <a:cubicBezTo>
                      <a:pt x="11" y="7"/>
                      <a:pt x="11" y="7"/>
                      <a:pt x="10" y="7"/>
                    </a:cubicBezTo>
                    <a:cubicBezTo>
                      <a:pt x="10" y="7"/>
                      <a:pt x="10" y="7"/>
                      <a:pt x="11" y="7"/>
                    </a:cubicBezTo>
                    <a:cubicBezTo>
                      <a:pt x="11" y="7"/>
                      <a:pt x="11" y="7"/>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6"/>
                      <a:pt x="12" y="6"/>
                    </a:cubicBezTo>
                    <a:cubicBezTo>
                      <a:pt x="12" y="5"/>
                      <a:pt x="12" y="5"/>
                      <a:pt x="13" y="5"/>
                    </a:cubicBezTo>
                    <a:cubicBezTo>
                      <a:pt x="13" y="5"/>
                      <a:pt x="13" y="4"/>
                      <a:pt x="13" y="4"/>
                    </a:cubicBezTo>
                    <a:cubicBezTo>
                      <a:pt x="13" y="4"/>
                      <a:pt x="13" y="4"/>
                      <a:pt x="13" y="3"/>
                    </a:cubicBezTo>
                    <a:cubicBezTo>
                      <a:pt x="13" y="3"/>
                      <a:pt x="13" y="3"/>
                      <a:pt x="13" y="3"/>
                    </a:cubicBezTo>
                    <a:cubicBezTo>
                      <a:pt x="13" y="3"/>
                      <a:pt x="12" y="3"/>
                      <a:pt x="12" y="3"/>
                    </a:cubicBezTo>
                    <a:cubicBezTo>
                      <a:pt x="12" y="2"/>
                      <a:pt x="12" y="2"/>
                      <a:pt x="11" y="2"/>
                    </a:cubicBezTo>
                    <a:cubicBezTo>
                      <a:pt x="11" y="2"/>
                      <a:pt x="11" y="2"/>
                      <a:pt x="11" y="2"/>
                    </a:cubicBezTo>
                    <a:cubicBezTo>
                      <a:pt x="10" y="1"/>
                      <a:pt x="10" y="1"/>
                      <a:pt x="10" y="0"/>
                    </a:cubicBezTo>
                    <a:cubicBezTo>
                      <a:pt x="10" y="0"/>
                      <a:pt x="10" y="0"/>
                      <a:pt x="10" y="0"/>
                    </a:cubicBezTo>
                    <a:cubicBezTo>
                      <a:pt x="10" y="0"/>
                      <a:pt x="10" y="0"/>
                      <a:pt x="10" y="0"/>
                    </a:cubicBezTo>
                    <a:cubicBezTo>
                      <a:pt x="10" y="0"/>
                      <a:pt x="9" y="0"/>
                      <a:pt x="9" y="0"/>
                    </a:cubicBezTo>
                    <a:cubicBezTo>
                      <a:pt x="9" y="0"/>
                      <a:pt x="8" y="0"/>
                      <a:pt x="8" y="0"/>
                    </a:cubicBezTo>
                    <a:cubicBezTo>
                      <a:pt x="8" y="0"/>
                      <a:pt x="8" y="0"/>
                      <a:pt x="8" y="0"/>
                    </a:cubicBezTo>
                    <a:cubicBezTo>
                      <a:pt x="8" y="0"/>
                      <a:pt x="8" y="0"/>
                      <a:pt x="9" y="0"/>
                    </a:cubicBezTo>
                    <a:cubicBezTo>
                      <a:pt x="9" y="0"/>
                      <a:pt x="9" y="0"/>
                      <a:pt x="9" y="0"/>
                    </a:cubicBezTo>
                    <a:close/>
                    <a:moveTo>
                      <a:pt x="28" y="24"/>
                    </a:moveTo>
                    <a:cubicBezTo>
                      <a:pt x="28" y="24"/>
                      <a:pt x="28" y="24"/>
                      <a:pt x="27" y="24"/>
                    </a:cubicBezTo>
                    <a:cubicBezTo>
                      <a:pt x="28" y="24"/>
                      <a:pt x="28" y="24"/>
                      <a:pt x="28" y="24"/>
                    </a:cubicBezTo>
                    <a:cubicBezTo>
                      <a:pt x="28" y="25"/>
                      <a:pt x="28" y="24"/>
                      <a:pt x="28" y="24"/>
                    </a:cubicBezTo>
                    <a:close/>
                    <a:moveTo>
                      <a:pt x="22" y="26"/>
                    </a:moveTo>
                    <a:cubicBezTo>
                      <a:pt x="22" y="26"/>
                      <a:pt x="23" y="26"/>
                      <a:pt x="23" y="26"/>
                    </a:cubicBezTo>
                    <a:cubicBezTo>
                      <a:pt x="23" y="26"/>
                      <a:pt x="23" y="26"/>
                      <a:pt x="23" y="26"/>
                    </a:cubicBezTo>
                    <a:cubicBezTo>
                      <a:pt x="23" y="26"/>
                      <a:pt x="22" y="26"/>
                      <a:pt x="22" y="26"/>
                    </a:cubicBezTo>
                    <a:close/>
                    <a:moveTo>
                      <a:pt x="22" y="17"/>
                    </a:moveTo>
                    <a:cubicBezTo>
                      <a:pt x="22" y="17"/>
                      <a:pt x="22" y="17"/>
                      <a:pt x="22" y="17"/>
                    </a:cubicBezTo>
                    <a:cubicBezTo>
                      <a:pt x="22" y="18"/>
                      <a:pt x="22" y="18"/>
                      <a:pt x="23" y="18"/>
                    </a:cubicBezTo>
                    <a:cubicBezTo>
                      <a:pt x="23" y="18"/>
                      <a:pt x="23" y="19"/>
                      <a:pt x="23" y="19"/>
                    </a:cubicBezTo>
                    <a:cubicBezTo>
                      <a:pt x="23" y="19"/>
                      <a:pt x="23" y="19"/>
                      <a:pt x="23" y="19"/>
                    </a:cubicBezTo>
                    <a:cubicBezTo>
                      <a:pt x="23" y="19"/>
                      <a:pt x="23" y="19"/>
                      <a:pt x="23" y="19"/>
                    </a:cubicBezTo>
                    <a:cubicBezTo>
                      <a:pt x="24" y="19"/>
                      <a:pt x="24" y="19"/>
                      <a:pt x="24" y="20"/>
                    </a:cubicBezTo>
                    <a:cubicBezTo>
                      <a:pt x="24" y="20"/>
                      <a:pt x="24" y="20"/>
                      <a:pt x="24" y="20"/>
                    </a:cubicBezTo>
                    <a:cubicBezTo>
                      <a:pt x="24" y="20"/>
                      <a:pt x="24" y="20"/>
                      <a:pt x="24" y="20"/>
                    </a:cubicBezTo>
                    <a:cubicBezTo>
                      <a:pt x="23" y="20"/>
                      <a:pt x="23" y="20"/>
                      <a:pt x="23" y="21"/>
                    </a:cubicBezTo>
                    <a:cubicBezTo>
                      <a:pt x="23" y="21"/>
                      <a:pt x="23" y="21"/>
                      <a:pt x="23" y="21"/>
                    </a:cubicBezTo>
                    <a:cubicBezTo>
                      <a:pt x="24" y="21"/>
                      <a:pt x="24" y="21"/>
                      <a:pt x="25" y="21"/>
                    </a:cubicBezTo>
                    <a:cubicBezTo>
                      <a:pt x="25" y="21"/>
                      <a:pt x="25" y="20"/>
                      <a:pt x="25" y="20"/>
                    </a:cubicBezTo>
                    <a:cubicBezTo>
                      <a:pt x="24" y="20"/>
                      <a:pt x="24" y="19"/>
                      <a:pt x="23" y="19"/>
                    </a:cubicBezTo>
                    <a:cubicBezTo>
                      <a:pt x="23" y="19"/>
                      <a:pt x="23" y="19"/>
                      <a:pt x="23" y="19"/>
                    </a:cubicBezTo>
                    <a:cubicBezTo>
                      <a:pt x="23" y="18"/>
                      <a:pt x="23" y="18"/>
                      <a:pt x="23" y="18"/>
                    </a:cubicBezTo>
                    <a:cubicBezTo>
                      <a:pt x="23" y="18"/>
                      <a:pt x="23" y="18"/>
                      <a:pt x="23" y="18"/>
                    </a:cubicBezTo>
                    <a:cubicBezTo>
                      <a:pt x="23" y="18"/>
                      <a:pt x="22" y="17"/>
                      <a:pt x="22" y="17"/>
                    </a:cubicBezTo>
                    <a:cubicBezTo>
                      <a:pt x="22" y="17"/>
                      <a:pt x="22" y="17"/>
                      <a:pt x="22" y="17"/>
                    </a:cubicBezTo>
                    <a:cubicBezTo>
                      <a:pt x="22" y="17"/>
                      <a:pt x="22" y="17"/>
                      <a:pt x="22" y="17"/>
                    </a:cubicBezTo>
                    <a:close/>
                    <a:moveTo>
                      <a:pt x="31" y="31"/>
                    </a:moveTo>
                    <a:cubicBezTo>
                      <a:pt x="31" y="31"/>
                      <a:pt x="32" y="31"/>
                      <a:pt x="32" y="31"/>
                    </a:cubicBezTo>
                    <a:cubicBezTo>
                      <a:pt x="32" y="32"/>
                      <a:pt x="33" y="32"/>
                      <a:pt x="33" y="31"/>
                    </a:cubicBezTo>
                    <a:cubicBezTo>
                      <a:pt x="33" y="31"/>
                      <a:pt x="33" y="31"/>
                      <a:pt x="33" y="31"/>
                    </a:cubicBezTo>
                    <a:cubicBezTo>
                      <a:pt x="33" y="31"/>
                      <a:pt x="33" y="31"/>
                      <a:pt x="33" y="31"/>
                    </a:cubicBezTo>
                    <a:cubicBezTo>
                      <a:pt x="33" y="31"/>
                      <a:pt x="33" y="31"/>
                      <a:pt x="33" y="31"/>
                    </a:cubicBezTo>
                    <a:cubicBezTo>
                      <a:pt x="32" y="31"/>
                      <a:pt x="32" y="31"/>
                      <a:pt x="32" y="31"/>
                    </a:cubicBezTo>
                    <a:cubicBezTo>
                      <a:pt x="32" y="31"/>
                      <a:pt x="32" y="31"/>
                      <a:pt x="32" y="31"/>
                    </a:cubicBezTo>
                    <a:cubicBezTo>
                      <a:pt x="32" y="31"/>
                      <a:pt x="32" y="31"/>
                      <a:pt x="32" y="31"/>
                    </a:cubicBezTo>
                    <a:cubicBezTo>
                      <a:pt x="32" y="30"/>
                      <a:pt x="31" y="30"/>
                      <a:pt x="31" y="31"/>
                    </a:cubicBezTo>
                    <a:cubicBezTo>
                      <a:pt x="31" y="31"/>
                      <a:pt x="31" y="31"/>
                      <a:pt x="31" y="31"/>
                    </a:cubicBezTo>
                    <a:close/>
                    <a:moveTo>
                      <a:pt x="34" y="32"/>
                    </a:moveTo>
                    <a:cubicBezTo>
                      <a:pt x="34" y="32"/>
                      <a:pt x="34" y="32"/>
                      <a:pt x="34" y="32"/>
                    </a:cubicBezTo>
                    <a:cubicBezTo>
                      <a:pt x="34" y="32"/>
                      <a:pt x="34" y="32"/>
                      <a:pt x="34" y="32"/>
                    </a:cubicBezTo>
                    <a:cubicBezTo>
                      <a:pt x="34" y="32"/>
                      <a:pt x="33" y="32"/>
                      <a:pt x="33" y="32"/>
                    </a:cubicBezTo>
                    <a:cubicBezTo>
                      <a:pt x="33" y="32"/>
                      <a:pt x="34" y="32"/>
                      <a:pt x="34" y="32"/>
                    </a:cubicBezTo>
                    <a:cubicBezTo>
                      <a:pt x="34" y="32"/>
                      <a:pt x="34" y="32"/>
                      <a:pt x="34" y="32"/>
                    </a:cubicBezTo>
                    <a:cubicBezTo>
                      <a:pt x="34" y="33"/>
                      <a:pt x="34" y="33"/>
                      <a:pt x="34" y="33"/>
                    </a:cubicBezTo>
                    <a:cubicBezTo>
                      <a:pt x="34" y="33"/>
                      <a:pt x="34" y="33"/>
                      <a:pt x="34" y="33"/>
                    </a:cubicBezTo>
                    <a:cubicBezTo>
                      <a:pt x="34" y="33"/>
                      <a:pt x="34" y="33"/>
                      <a:pt x="34" y="33"/>
                    </a:cubicBezTo>
                    <a:cubicBezTo>
                      <a:pt x="34" y="33"/>
                      <a:pt x="33" y="33"/>
                      <a:pt x="33" y="33"/>
                    </a:cubicBezTo>
                    <a:cubicBezTo>
                      <a:pt x="33" y="33"/>
                      <a:pt x="33" y="34"/>
                      <a:pt x="33" y="34"/>
                    </a:cubicBezTo>
                    <a:cubicBezTo>
                      <a:pt x="33" y="34"/>
                      <a:pt x="33" y="34"/>
                      <a:pt x="33" y="34"/>
                    </a:cubicBezTo>
                    <a:cubicBezTo>
                      <a:pt x="32" y="34"/>
                      <a:pt x="32" y="35"/>
                      <a:pt x="31" y="35"/>
                    </a:cubicBezTo>
                    <a:cubicBezTo>
                      <a:pt x="32" y="35"/>
                      <a:pt x="32" y="35"/>
                      <a:pt x="33" y="34"/>
                    </a:cubicBezTo>
                    <a:cubicBezTo>
                      <a:pt x="33" y="34"/>
                      <a:pt x="33" y="34"/>
                      <a:pt x="34" y="34"/>
                    </a:cubicBezTo>
                    <a:cubicBezTo>
                      <a:pt x="34" y="34"/>
                      <a:pt x="34" y="34"/>
                      <a:pt x="34" y="33"/>
                    </a:cubicBezTo>
                    <a:cubicBezTo>
                      <a:pt x="34" y="33"/>
                      <a:pt x="34" y="33"/>
                      <a:pt x="34" y="33"/>
                    </a:cubicBezTo>
                    <a:cubicBezTo>
                      <a:pt x="34" y="33"/>
                      <a:pt x="34" y="33"/>
                      <a:pt x="34" y="33"/>
                    </a:cubicBezTo>
                    <a:cubicBezTo>
                      <a:pt x="34" y="33"/>
                      <a:pt x="35" y="33"/>
                      <a:pt x="35" y="33"/>
                    </a:cubicBezTo>
                    <a:cubicBezTo>
                      <a:pt x="34" y="32"/>
                      <a:pt x="35" y="32"/>
                      <a:pt x="34" y="31"/>
                    </a:cubicBezTo>
                    <a:cubicBezTo>
                      <a:pt x="34" y="31"/>
                      <a:pt x="34" y="31"/>
                      <a:pt x="34" y="32"/>
                    </a:cubicBezTo>
                    <a:cubicBezTo>
                      <a:pt x="34" y="31"/>
                      <a:pt x="34" y="31"/>
                      <a:pt x="33" y="31"/>
                    </a:cubicBezTo>
                    <a:cubicBezTo>
                      <a:pt x="34" y="31"/>
                      <a:pt x="34" y="31"/>
                      <a:pt x="34" y="3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4" name="Asia">
              <a:extLst>
                <a:ext uri="{FF2B5EF4-FFF2-40B4-BE49-F238E27FC236}">
                  <a16:creationId xmlns:a16="http://schemas.microsoft.com/office/drawing/2014/main" id="{0970E46D-762D-96F9-E451-25F766773E30}"/>
                </a:ext>
              </a:extLst>
            </p:cNvPr>
            <p:cNvGrpSpPr/>
            <p:nvPr/>
          </p:nvGrpSpPr>
          <p:grpSpPr>
            <a:xfrm>
              <a:off x="5934075" y="614363"/>
              <a:ext cx="4873625" cy="4589463"/>
              <a:chOff x="5934075" y="614363"/>
              <a:chExt cx="4873625" cy="4589463"/>
            </a:xfrm>
            <a:grpFill/>
          </p:grpSpPr>
          <p:sp>
            <p:nvSpPr>
              <p:cNvPr id="230" name="Freeform 824">
                <a:extLst>
                  <a:ext uri="{FF2B5EF4-FFF2-40B4-BE49-F238E27FC236}">
                    <a16:creationId xmlns:a16="http://schemas.microsoft.com/office/drawing/2014/main" id="{975B47BC-0DB0-8F88-61EE-963A0AA91047}"/>
                  </a:ext>
                </a:extLst>
              </p:cNvPr>
              <p:cNvSpPr>
                <a:spLocks noEditPoints="1"/>
              </p:cNvSpPr>
              <p:nvPr/>
            </p:nvSpPr>
            <p:spPr bwMode="auto">
              <a:xfrm>
                <a:off x="6583363" y="4346575"/>
                <a:ext cx="331787" cy="187325"/>
              </a:xfrm>
              <a:custGeom>
                <a:avLst/>
                <a:gdLst>
                  <a:gd name="T0" fmla="*/ 80 w 80"/>
                  <a:gd name="T1" fmla="*/ 44 h 45"/>
                  <a:gd name="T2" fmla="*/ 74 w 80"/>
                  <a:gd name="T3" fmla="*/ 45 h 45"/>
                  <a:gd name="T4" fmla="*/ 73 w 80"/>
                  <a:gd name="T5" fmla="*/ 43 h 45"/>
                  <a:gd name="T6" fmla="*/ 75 w 80"/>
                  <a:gd name="T7" fmla="*/ 43 h 45"/>
                  <a:gd name="T8" fmla="*/ 76 w 80"/>
                  <a:gd name="T9" fmla="*/ 43 h 45"/>
                  <a:gd name="T10" fmla="*/ 80 w 80"/>
                  <a:gd name="T11" fmla="*/ 44 h 45"/>
                  <a:gd name="T12" fmla="*/ 41 w 80"/>
                  <a:gd name="T13" fmla="*/ 3 h 45"/>
                  <a:gd name="T14" fmla="*/ 36 w 80"/>
                  <a:gd name="T15" fmla="*/ 6 h 45"/>
                  <a:gd name="T16" fmla="*/ 30 w 80"/>
                  <a:gd name="T17" fmla="*/ 14 h 45"/>
                  <a:gd name="T18" fmla="*/ 25 w 80"/>
                  <a:gd name="T19" fmla="*/ 12 h 45"/>
                  <a:gd name="T20" fmla="*/ 14 w 80"/>
                  <a:gd name="T21" fmla="*/ 11 h 45"/>
                  <a:gd name="T22" fmla="*/ 4 w 80"/>
                  <a:gd name="T23" fmla="*/ 11 h 45"/>
                  <a:gd name="T24" fmla="*/ 3 w 80"/>
                  <a:gd name="T25" fmla="*/ 15 h 45"/>
                  <a:gd name="T26" fmla="*/ 3 w 80"/>
                  <a:gd name="T27" fmla="*/ 17 h 45"/>
                  <a:gd name="T28" fmla="*/ 0 w 80"/>
                  <a:gd name="T29" fmla="*/ 19 h 45"/>
                  <a:gd name="T30" fmla="*/ 0 w 80"/>
                  <a:gd name="T31" fmla="*/ 19 h 45"/>
                  <a:gd name="T32" fmla="*/ 1 w 80"/>
                  <a:gd name="T33" fmla="*/ 30 h 45"/>
                  <a:gd name="T34" fmla="*/ 2 w 80"/>
                  <a:gd name="T35" fmla="*/ 36 h 45"/>
                  <a:gd name="T36" fmla="*/ 3 w 80"/>
                  <a:gd name="T37" fmla="*/ 41 h 45"/>
                  <a:gd name="T38" fmla="*/ 6 w 80"/>
                  <a:gd name="T39" fmla="*/ 43 h 45"/>
                  <a:gd name="T40" fmla="*/ 11 w 80"/>
                  <a:gd name="T41" fmla="*/ 43 h 45"/>
                  <a:gd name="T42" fmla="*/ 14 w 80"/>
                  <a:gd name="T43" fmla="*/ 42 h 45"/>
                  <a:gd name="T44" fmla="*/ 20 w 80"/>
                  <a:gd name="T45" fmla="*/ 38 h 45"/>
                  <a:gd name="T46" fmla="*/ 27 w 80"/>
                  <a:gd name="T47" fmla="*/ 37 h 45"/>
                  <a:gd name="T48" fmla="*/ 31 w 80"/>
                  <a:gd name="T49" fmla="*/ 36 h 45"/>
                  <a:gd name="T50" fmla="*/ 33 w 80"/>
                  <a:gd name="T51" fmla="*/ 35 h 45"/>
                  <a:gd name="T52" fmla="*/ 38 w 80"/>
                  <a:gd name="T53" fmla="*/ 34 h 45"/>
                  <a:gd name="T54" fmla="*/ 42 w 80"/>
                  <a:gd name="T55" fmla="*/ 32 h 45"/>
                  <a:gd name="T56" fmla="*/ 44 w 80"/>
                  <a:gd name="T57" fmla="*/ 30 h 45"/>
                  <a:gd name="T58" fmla="*/ 49 w 80"/>
                  <a:gd name="T59" fmla="*/ 28 h 45"/>
                  <a:gd name="T60" fmla="*/ 53 w 80"/>
                  <a:gd name="T61" fmla="*/ 27 h 45"/>
                  <a:gd name="T62" fmla="*/ 55 w 80"/>
                  <a:gd name="T63" fmla="*/ 26 h 45"/>
                  <a:gd name="T64" fmla="*/ 61 w 80"/>
                  <a:gd name="T65" fmla="*/ 24 h 45"/>
                  <a:gd name="T66" fmla="*/ 64 w 80"/>
                  <a:gd name="T67" fmla="*/ 23 h 45"/>
                  <a:gd name="T68" fmla="*/ 65 w 80"/>
                  <a:gd name="T69" fmla="*/ 21 h 45"/>
                  <a:gd name="T70" fmla="*/ 65 w 80"/>
                  <a:gd name="T71" fmla="*/ 18 h 45"/>
                  <a:gd name="T72" fmla="*/ 69 w 80"/>
                  <a:gd name="T73" fmla="*/ 15 h 45"/>
                  <a:gd name="T74" fmla="*/ 62 w 80"/>
                  <a:gd name="T75" fmla="*/ 0 h 45"/>
                  <a:gd name="T76" fmla="*/ 51 w 80"/>
                  <a:gd name="T77" fmla="*/ 2 h 45"/>
                  <a:gd name="T78" fmla="*/ 41 w 80"/>
                  <a:gd name="T79"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45">
                    <a:moveTo>
                      <a:pt x="80" y="44"/>
                    </a:moveTo>
                    <a:cubicBezTo>
                      <a:pt x="78" y="45"/>
                      <a:pt x="76" y="45"/>
                      <a:pt x="74" y="45"/>
                    </a:cubicBezTo>
                    <a:cubicBezTo>
                      <a:pt x="74" y="45"/>
                      <a:pt x="73" y="45"/>
                      <a:pt x="73" y="43"/>
                    </a:cubicBezTo>
                    <a:cubicBezTo>
                      <a:pt x="73" y="42"/>
                      <a:pt x="74" y="43"/>
                      <a:pt x="75" y="43"/>
                    </a:cubicBezTo>
                    <a:cubicBezTo>
                      <a:pt x="75" y="43"/>
                      <a:pt x="76" y="44"/>
                      <a:pt x="76" y="43"/>
                    </a:cubicBezTo>
                    <a:cubicBezTo>
                      <a:pt x="78" y="42"/>
                      <a:pt x="79" y="43"/>
                      <a:pt x="80" y="44"/>
                    </a:cubicBezTo>
                    <a:close/>
                    <a:moveTo>
                      <a:pt x="41" y="3"/>
                    </a:moveTo>
                    <a:cubicBezTo>
                      <a:pt x="41" y="3"/>
                      <a:pt x="37" y="6"/>
                      <a:pt x="36" y="6"/>
                    </a:cubicBezTo>
                    <a:cubicBezTo>
                      <a:pt x="36" y="6"/>
                      <a:pt x="30" y="14"/>
                      <a:pt x="30" y="14"/>
                    </a:cubicBezTo>
                    <a:cubicBezTo>
                      <a:pt x="30" y="15"/>
                      <a:pt x="25" y="12"/>
                      <a:pt x="25" y="12"/>
                    </a:cubicBezTo>
                    <a:cubicBezTo>
                      <a:pt x="24" y="12"/>
                      <a:pt x="14" y="11"/>
                      <a:pt x="14" y="11"/>
                    </a:cubicBezTo>
                    <a:cubicBezTo>
                      <a:pt x="4" y="11"/>
                      <a:pt x="4" y="11"/>
                      <a:pt x="4" y="11"/>
                    </a:cubicBezTo>
                    <a:cubicBezTo>
                      <a:pt x="4" y="11"/>
                      <a:pt x="3" y="15"/>
                      <a:pt x="3" y="15"/>
                    </a:cubicBezTo>
                    <a:cubicBezTo>
                      <a:pt x="3" y="16"/>
                      <a:pt x="3" y="17"/>
                      <a:pt x="3" y="17"/>
                    </a:cubicBezTo>
                    <a:cubicBezTo>
                      <a:pt x="3" y="17"/>
                      <a:pt x="1" y="18"/>
                      <a:pt x="0" y="19"/>
                    </a:cubicBezTo>
                    <a:cubicBezTo>
                      <a:pt x="0" y="19"/>
                      <a:pt x="0" y="19"/>
                      <a:pt x="0" y="19"/>
                    </a:cubicBezTo>
                    <a:cubicBezTo>
                      <a:pt x="1" y="23"/>
                      <a:pt x="0" y="26"/>
                      <a:pt x="1" y="30"/>
                    </a:cubicBezTo>
                    <a:cubicBezTo>
                      <a:pt x="1" y="31"/>
                      <a:pt x="2" y="35"/>
                      <a:pt x="2" y="36"/>
                    </a:cubicBezTo>
                    <a:cubicBezTo>
                      <a:pt x="3" y="37"/>
                      <a:pt x="3" y="40"/>
                      <a:pt x="3" y="41"/>
                    </a:cubicBezTo>
                    <a:cubicBezTo>
                      <a:pt x="4" y="42"/>
                      <a:pt x="5" y="43"/>
                      <a:pt x="6" y="43"/>
                    </a:cubicBezTo>
                    <a:cubicBezTo>
                      <a:pt x="7" y="43"/>
                      <a:pt x="10" y="44"/>
                      <a:pt x="11" y="43"/>
                    </a:cubicBezTo>
                    <a:cubicBezTo>
                      <a:pt x="12" y="43"/>
                      <a:pt x="14" y="42"/>
                      <a:pt x="14" y="42"/>
                    </a:cubicBezTo>
                    <a:cubicBezTo>
                      <a:pt x="16" y="42"/>
                      <a:pt x="18" y="40"/>
                      <a:pt x="20" y="38"/>
                    </a:cubicBezTo>
                    <a:cubicBezTo>
                      <a:pt x="22" y="37"/>
                      <a:pt x="25" y="37"/>
                      <a:pt x="27" y="37"/>
                    </a:cubicBezTo>
                    <a:cubicBezTo>
                      <a:pt x="28" y="37"/>
                      <a:pt x="30" y="37"/>
                      <a:pt x="31" y="36"/>
                    </a:cubicBezTo>
                    <a:cubicBezTo>
                      <a:pt x="32" y="36"/>
                      <a:pt x="33" y="36"/>
                      <a:pt x="33" y="35"/>
                    </a:cubicBezTo>
                    <a:cubicBezTo>
                      <a:pt x="35" y="34"/>
                      <a:pt x="36" y="33"/>
                      <a:pt x="38" y="34"/>
                    </a:cubicBezTo>
                    <a:cubicBezTo>
                      <a:pt x="39" y="34"/>
                      <a:pt x="41" y="34"/>
                      <a:pt x="42" y="32"/>
                    </a:cubicBezTo>
                    <a:cubicBezTo>
                      <a:pt x="43" y="32"/>
                      <a:pt x="43" y="30"/>
                      <a:pt x="44" y="30"/>
                    </a:cubicBezTo>
                    <a:cubicBezTo>
                      <a:pt x="46" y="29"/>
                      <a:pt x="47" y="28"/>
                      <a:pt x="49" y="28"/>
                    </a:cubicBezTo>
                    <a:cubicBezTo>
                      <a:pt x="51" y="28"/>
                      <a:pt x="52" y="27"/>
                      <a:pt x="53" y="27"/>
                    </a:cubicBezTo>
                    <a:cubicBezTo>
                      <a:pt x="53" y="26"/>
                      <a:pt x="54" y="26"/>
                      <a:pt x="55" y="26"/>
                    </a:cubicBezTo>
                    <a:cubicBezTo>
                      <a:pt x="57" y="26"/>
                      <a:pt x="59" y="25"/>
                      <a:pt x="61" y="24"/>
                    </a:cubicBezTo>
                    <a:cubicBezTo>
                      <a:pt x="62" y="24"/>
                      <a:pt x="63" y="23"/>
                      <a:pt x="64" y="23"/>
                    </a:cubicBezTo>
                    <a:cubicBezTo>
                      <a:pt x="65" y="22"/>
                      <a:pt x="65" y="22"/>
                      <a:pt x="65" y="21"/>
                    </a:cubicBezTo>
                    <a:cubicBezTo>
                      <a:pt x="64" y="20"/>
                      <a:pt x="64" y="19"/>
                      <a:pt x="65" y="18"/>
                    </a:cubicBezTo>
                    <a:cubicBezTo>
                      <a:pt x="67" y="17"/>
                      <a:pt x="68" y="16"/>
                      <a:pt x="69" y="15"/>
                    </a:cubicBezTo>
                    <a:cubicBezTo>
                      <a:pt x="62" y="0"/>
                      <a:pt x="62" y="0"/>
                      <a:pt x="62" y="0"/>
                    </a:cubicBezTo>
                    <a:cubicBezTo>
                      <a:pt x="62" y="0"/>
                      <a:pt x="51" y="2"/>
                      <a:pt x="51" y="2"/>
                    </a:cubicBezTo>
                    <a:cubicBezTo>
                      <a:pt x="51" y="2"/>
                      <a:pt x="41" y="3"/>
                      <a:pt x="4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1" name="Freeform 829">
                <a:extLst>
                  <a:ext uri="{FF2B5EF4-FFF2-40B4-BE49-F238E27FC236}">
                    <a16:creationId xmlns:a16="http://schemas.microsoft.com/office/drawing/2014/main" id="{64FB757D-F057-5AA8-E5B4-C2D602D10819}"/>
                  </a:ext>
                </a:extLst>
              </p:cNvPr>
              <p:cNvSpPr>
                <a:spLocks noEditPoints="1"/>
              </p:cNvSpPr>
              <p:nvPr/>
            </p:nvSpPr>
            <p:spPr bwMode="auto">
              <a:xfrm>
                <a:off x="6100763" y="3575050"/>
                <a:ext cx="536575" cy="230188"/>
              </a:xfrm>
              <a:custGeom>
                <a:avLst/>
                <a:gdLst>
                  <a:gd name="T0" fmla="*/ 16 w 129"/>
                  <a:gd name="T1" fmla="*/ 4 h 55"/>
                  <a:gd name="T2" fmla="*/ 22 w 129"/>
                  <a:gd name="T3" fmla="*/ 10 h 55"/>
                  <a:gd name="T4" fmla="*/ 15 w 129"/>
                  <a:gd name="T5" fmla="*/ 10 h 55"/>
                  <a:gd name="T6" fmla="*/ 11 w 129"/>
                  <a:gd name="T7" fmla="*/ 12 h 55"/>
                  <a:gd name="T8" fmla="*/ 4 w 129"/>
                  <a:gd name="T9" fmla="*/ 18 h 55"/>
                  <a:gd name="T10" fmla="*/ 8 w 129"/>
                  <a:gd name="T11" fmla="*/ 13 h 55"/>
                  <a:gd name="T12" fmla="*/ 4 w 129"/>
                  <a:gd name="T13" fmla="*/ 11 h 55"/>
                  <a:gd name="T14" fmla="*/ 6 w 129"/>
                  <a:gd name="T15" fmla="*/ 7 h 55"/>
                  <a:gd name="T16" fmla="*/ 4 w 129"/>
                  <a:gd name="T17" fmla="*/ 3 h 55"/>
                  <a:gd name="T18" fmla="*/ 10 w 129"/>
                  <a:gd name="T19" fmla="*/ 1 h 55"/>
                  <a:gd name="T20" fmla="*/ 13 w 129"/>
                  <a:gd name="T21" fmla="*/ 2 h 55"/>
                  <a:gd name="T22" fmla="*/ 126 w 129"/>
                  <a:gd name="T23" fmla="*/ 19 h 55"/>
                  <a:gd name="T24" fmla="*/ 122 w 129"/>
                  <a:gd name="T25" fmla="*/ 12 h 55"/>
                  <a:gd name="T26" fmla="*/ 118 w 129"/>
                  <a:gd name="T27" fmla="*/ 7 h 55"/>
                  <a:gd name="T28" fmla="*/ 114 w 129"/>
                  <a:gd name="T29" fmla="*/ 5 h 55"/>
                  <a:gd name="T30" fmla="*/ 107 w 129"/>
                  <a:gd name="T31" fmla="*/ 5 h 55"/>
                  <a:gd name="T32" fmla="*/ 95 w 129"/>
                  <a:gd name="T33" fmla="*/ 10 h 55"/>
                  <a:gd name="T34" fmla="*/ 89 w 129"/>
                  <a:gd name="T35" fmla="*/ 10 h 55"/>
                  <a:gd name="T36" fmla="*/ 83 w 129"/>
                  <a:gd name="T37" fmla="*/ 10 h 55"/>
                  <a:gd name="T38" fmla="*/ 77 w 129"/>
                  <a:gd name="T39" fmla="*/ 8 h 55"/>
                  <a:gd name="T40" fmla="*/ 71 w 129"/>
                  <a:gd name="T41" fmla="*/ 5 h 55"/>
                  <a:gd name="T42" fmla="*/ 64 w 129"/>
                  <a:gd name="T43" fmla="*/ 2 h 55"/>
                  <a:gd name="T44" fmla="*/ 55 w 129"/>
                  <a:gd name="T45" fmla="*/ 1 h 55"/>
                  <a:gd name="T46" fmla="*/ 41 w 129"/>
                  <a:gd name="T47" fmla="*/ 6 h 55"/>
                  <a:gd name="T48" fmla="*/ 34 w 129"/>
                  <a:gd name="T49" fmla="*/ 9 h 55"/>
                  <a:gd name="T50" fmla="*/ 24 w 129"/>
                  <a:gd name="T51" fmla="*/ 8 h 55"/>
                  <a:gd name="T52" fmla="*/ 27 w 129"/>
                  <a:gd name="T53" fmla="*/ 12 h 55"/>
                  <a:gd name="T54" fmla="*/ 23 w 129"/>
                  <a:gd name="T55" fmla="*/ 15 h 55"/>
                  <a:gd name="T56" fmla="*/ 15 w 129"/>
                  <a:gd name="T57" fmla="*/ 16 h 55"/>
                  <a:gd name="T58" fmla="*/ 6 w 129"/>
                  <a:gd name="T59" fmla="*/ 16 h 55"/>
                  <a:gd name="T60" fmla="*/ 3 w 129"/>
                  <a:gd name="T61" fmla="*/ 20 h 55"/>
                  <a:gd name="T62" fmla="*/ 7 w 129"/>
                  <a:gd name="T63" fmla="*/ 25 h 55"/>
                  <a:gd name="T64" fmla="*/ 9 w 129"/>
                  <a:gd name="T65" fmla="*/ 29 h 55"/>
                  <a:gd name="T66" fmla="*/ 7 w 129"/>
                  <a:gd name="T67" fmla="*/ 32 h 55"/>
                  <a:gd name="T68" fmla="*/ 6 w 129"/>
                  <a:gd name="T69" fmla="*/ 33 h 55"/>
                  <a:gd name="T70" fmla="*/ 9 w 129"/>
                  <a:gd name="T71" fmla="*/ 36 h 55"/>
                  <a:gd name="T72" fmla="*/ 10 w 129"/>
                  <a:gd name="T73" fmla="*/ 39 h 55"/>
                  <a:gd name="T74" fmla="*/ 12 w 129"/>
                  <a:gd name="T75" fmla="*/ 42 h 55"/>
                  <a:gd name="T76" fmla="*/ 18 w 129"/>
                  <a:gd name="T77" fmla="*/ 44 h 55"/>
                  <a:gd name="T78" fmla="*/ 18 w 129"/>
                  <a:gd name="T79" fmla="*/ 46 h 55"/>
                  <a:gd name="T80" fmla="*/ 23 w 129"/>
                  <a:gd name="T81" fmla="*/ 48 h 55"/>
                  <a:gd name="T82" fmla="*/ 31 w 129"/>
                  <a:gd name="T83" fmla="*/ 51 h 55"/>
                  <a:gd name="T84" fmla="*/ 35 w 129"/>
                  <a:gd name="T85" fmla="*/ 46 h 55"/>
                  <a:gd name="T86" fmla="*/ 51 w 129"/>
                  <a:gd name="T87" fmla="*/ 52 h 55"/>
                  <a:gd name="T88" fmla="*/ 57 w 129"/>
                  <a:gd name="T89" fmla="*/ 49 h 55"/>
                  <a:gd name="T90" fmla="*/ 66 w 129"/>
                  <a:gd name="T91" fmla="*/ 48 h 55"/>
                  <a:gd name="T92" fmla="*/ 71 w 129"/>
                  <a:gd name="T93" fmla="*/ 46 h 55"/>
                  <a:gd name="T94" fmla="*/ 70 w 129"/>
                  <a:gd name="T95" fmla="*/ 54 h 55"/>
                  <a:gd name="T96" fmla="*/ 74 w 129"/>
                  <a:gd name="T97" fmla="*/ 51 h 55"/>
                  <a:gd name="T98" fmla="*/ 76 w 129"/>
                  <a:gd name="T99" fmla="*/ 47 h 55"/>
                  <a:gd name="T100" fmla="*/ 85 w 129"/>
                  <a:gd name="T101" fmla="*/ 46 h 55"/>
                  <a:gd name="T102" fmla="*/ 101 w 129"/>
                  <a:gd name="T103" fmla="*/ 44 h 55"/>
                  <a:gd name="T104" fmla="*/ 112 w 129"/>
                  <a:gd name="T105" fmla="*/ 43 h 55"/>
                  <a:gd name="T106" fmla="*/ 120 w 129"/>
                  <a:gd name="T107" fmla="*/ 42 h 55"/>
                  <a:gd name="T108" fmla="*/ 125 w 129"/>
                  <a:gd name="T109" fmla="*/ 45 h 55"/>
                  <a:gd name="T110" fmla="*/ 129 w 129"/>
                  <a:gd name="T111" fmla="*/ 42 h 55"/>
                  <a:gd name="T112" fmla="*/ 127 w 129"/>
                  <a:gd name="T113" fmla="*/ 39 h 55"/>
                  <a:gd name="T114" fmla="*/ 126 w 129"/>
                  <a:gd name="T115" fmla="*/ 34 h 55"/>
                  <a:gd name="T116" fmla="*/ 124 w 129"/>
                  <a:gd name="T117" fmla="*/ 26 h 55"/>
                  <a:gd name="T118" fmla="*/ 129 w 129"/>
                  <a:gd name="T119" fmla="*/ 22 h 55"/>
                  <a:gd name="T120" fmla="*/ 0 w 129"/>
                  <a:gd name="T121" fmla="*/ 17 h 55"/>
                  <a:gd name="T122" fmla="*/ 1 w 129"/>
                  <a:gd name="T123" fmla="*/ 17 h 55"/>
                  <a:gd name="T124" fmla="*/ 12 w 129"/>
                  <a:gd name="T125"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55">
                    <a:moveTo>
                      <a:pt x="15" y="1"/>
                    </a:moveTo>
                    <a:cubicBezTo>
                      <a:pt x="15" y="1"/>
                      <a:pt x="15" y="1"/>
                      <a:pt x="16" y="1"/>
                    </a:cubicBezTo>
                    <a:cubicBezTo>
                      <a:pt x="16" y="2"/>
                      <a:pt x="16" y="2"/>
                      <a:pt x="16" y="2"/>
                    </a:cubicBezTo>
                    <a:cubicBezTo>
                      <a:pt x="16" y="3"/>
                      <a:pt x="16" y="4"/>
                      <a:pt x="16" y="4"/>
                    </a:cubicBezTo>
                    <a:cubicBezTo>
                      <a:pt x="17" y="5"/>
                      <a:pt x="19" y="6"/>
                      <a:pt x="20" y="7"/>
                    </a:cubicBezTo>
                    <a:cubicBezTo>
                      <a:pt x="21" y="7"/>
                      <a:pt x="22" y="7"/>
                      <a:pt x="22" y="8"/>
                    </a:cubicBezTo>
                    <a:cubicBezTo>
                      <a:pt x="23" y="8"/>
                      <a:pt x="23" y="8"/>
                      <a:pt x="23" y="9"/>
                    </a:cubicBezTo>
                    <a:cubicBezTo>
                      <a:pt x="22" y="9"/>
                      <a:pt x="22" y="10"/>
                      <a:pt x="22" y="10"/>
                    </a:cubicBezTo>
                    <a:cubicBezTo>
                      <a:pt x="21" y="10"/>
                      <a:pt x="20" y="10"/>
                      <a:pt x="20" y="10"/>
                    </a:cubicBezTo>
                    <a:cubicBezTo>
                      <a:pt x="20" y="10"/>
                      <a:pt x="19" y="10"/>
                      <a:pt x="18" y="10"/>
                    </a:cubicBezTo>
                    <a:cubicBezTo>
                      <a:pt x="18" y="9"/>
                      <a:pt x="17" y="9"/>
                      <a:pt x="16" y="9"/>
                    </a:cubicBezTo>
                    <a:cubicBezTo>
                      <a:pt x="16" y="10"/>
                      <a:pt x="16" y="10"/>
                      <a:pt x="15" y="10"/>
                    </a:cubicBezTo>
                    <a:cubicBezTo>
                      <a:pt x="15" y="10"/>
                      <a:pt x="15" y="10"/>
                      <a:pt x="14" y="10"/>
                    </a:cubicBezTo>
                    <a:cubicBezTo>
                      <a:pt x="14" y="10"/>
                      <a:pt x="13" y="10"/>
                      <a:pt x="12" y="10"/>
                    </a:cubicBezTo>
                    <a:cubicBezTo>
                      <a:pt x="12" y="10"/>
                      <a:pt x="12" y="11"/>
                      <a:pt x="12" y="11"/>
                    </a:cubicBezTo>
                    <a:cubicBezTo>
                      <a:pt x="12" y="12"/>
                      <a:pt x="11" y="12"/>
                      <a:pt x="11" y="12"/>
                    </a:cubicBezTo>
                    <a:cubicBezTo>
                      <a:pt x="10" y="13"/>
                      <a:pt x="10" y="13"/>
                      <a:pt x="9" y="14"/>
                    </a:cubicBezTo>
                    <a:cubicBezTo>
                      <a:pt x="8" y="14"/>
                      <a:pt x="7" y="14"/>
                      <a:pt x="7" y="15"/>
                    </a:cubicBezTo>
                    <a:cubicBezTo>
                      <a:pt x="6" y="15"/>
                      <a:pt x="6" y="16"/>
                      <a:pt x="5" y="17"/>
                    </a:cubicBezTo>
                    <a:cubicBezTo>
                      <a:pt x="5" y="17"/>
                      <a:pt x="4" y="18"/>
                      <a:pt x="4" y="18"/>
                    </a:cubicBezTo>
                    <a:cubicBezTo>
                      <a:pt x="3" y="18"/>
                      <a:pt x="3" y="18"/>
                      <a:pt x="4" y="17"/>
                    </a:cubicBezTo>
                    <a:cubicBezTo>
                      <a:pt x="4" y="17"/>
                      <a:pt x="4" y="16"/>
                      <a:pt x="4" y="16"/>
                    </a:cubicBezTo>
                    <a:cubicBezTo>
                      <a:pt x="5" y="15"/>
                      <a:pt x="6" y="15"/>
                      <a:pt x="6" y="14"/>
                    </a:cubicBezTo>
                    <a:cubicBezTo>
                      <a:pt x="7" y="14"/>
                      <a:pt x="8" y="14"/>
                      <a:pt x="8" y="13"/>
                    </a:cubicBezTo>
                    <a:cubicBezTo>
                      <a:pt x="7" y="13"/>
                      <a:pt x="6" y="13"/>
                      <a:pt x="6" y="13"/>
                    </a:cubicBezTo>
                    <a:cubicBezTo>
                      <a:pt x="5" y="14"/>
                      <a:pt x="5" y="14"/>
                      <a:pt x="4" y="14"/>
                    </a:cubicBezTo>
                    <a:cubicBezTo>
                      <a:pt x="3" y="14"/>
                      <a:pt x="3" y="13"/>
                      <a:pt x="3" y="12"/>
                    </a:cubicBezTo>
                    <a:cubicBezTo>
                      <a:pt x="3" y="12"/>
                      <a:pt x="3" y="11"/>
                      <a:pt x="4" y="11"/>
                    </a:cubicBezTo>
                    <a:cubicBezTo>
                      <a:pt x="4" y="10"/>
                      <a:pt x="5" y="11"/>
                      <a:pt x="5" y="10"/>
                    </a:cubicBezTo>
                    <a:cubicBezTo>
                      <a:pt x="5" y="9"/>
                      <a:pt x="4" y="9"/>
                      <a:pt x="4" y="8"/>
                    </a:cubicBezTo>
                    <a:cubicBezTo>
                      <a:pt x="5" y="8"/>
                      <a:pt x="5" y="8"/>
                      <a:pt x="6" y="7"/>
                    </a:cubicBezTo>
                    <a:cubicBezTo>
                      <a:pt x="6" y="7"/>
                      <a:pt x="6" y="7"/>
                      <a:pt x="6" y="7"/>
                    </a:cubicBezTo>
                    <a:cubicBezTo>
                      <a:pt x="6" y="7"/>
                      <a:pt x="6" y="7"/>
                      <a:pt x="6" y="7"/>
                    </a:cubicBezTo>
                    <a:cubicBezTo>
                      <a:pt x="7" y="7"/>
                      <a:pt x="7" y="6"/>
                      <a:pt x="7" y="6"/>
                    </a:cubicBezTo>
                    <a:cubicBezTo>
                      <a:pt x="6" y="5"/>
                      <a:pt x="6" y="5"/>
                      <a:pt x="6" y="4"/>
                    </a:cubicBezTo>
                    <a:cubicBezTo>
                      <a:pt x="5" y="4"/>
                      <a:pt x="5" y="4"/>
                      <a:pt x="4" y="3"/>
                    </a:cubicBezTo>
                    <a:cubicBezTo>
                      <a:pt x="4" y="3"/>
                      <a:pt x="5" y="3"/>
                      <a:pt x="6" y="3"/>
                    </a:cubicBezTo>
                    <a:cubicBezTo>
                      <a:pt x="6" y="2"/>
                      <a:pt x="6" y="2"/>
                      <a:pt x="6" y="2"/>
                    </a:cubicBezTo>
                    <a:cubicBezTo>
                      <a:pt x="7" y="1"/>
                      <a:pt x="9" y="2"/>
                      <a:pt x="10" y="0"/>
                    </a:cubicBezTo>
                    <a:cubicBezTo>
                      <a:pt x="10" y="0"/>
                      <a:pt x="10" y="0"/>
                      <a:pt x="10" y="1"/>
                    </a:cubicBezTo>
                    <a:cubicBezTo>
                      <a:pt x="11" y="1"/>
                      <a:pt x="11" y="0"/>
                      <a:pt x="11" y="0"/>
                    </a:cubicBezTo>
                    <a:cubicBezTo>
                      <a:pt x="11" y="0"/>
                      <a:pt x="11" y="0"/>
                      <a:pt x="11" y="0"/>
                    </a:cubicBezTo>
                    <a:cubicBezTo>
                      <a:pt x="12" y="1"/>
                      <a:pt x="12" y="1"/>
                      <a:pt x="12" y="1"/>
                    </a:cubicBezTo>
                    <a:cubicBezTo>
                      <a:pt x="12" y="1"/>
                      <a:pt x="12" y="2"/>
                      <a:pt x="13" y="2"/>
                    </a:cubicBezTo>
                    <a:cubicBezTo>
                      <a:pt x="13" y="2"/>
                      <a:pt x="13" y="2"/>
                      <a:pt x="14" y="1"/>
                    </a:cubicBezTo>
                    <a:cubicBezTo>
                      <a:pt x="14" y="1"/>
                      <a:pt x="14" y="2"/>
                      <a:pt x="15" y="1"/>
                    </a:cubicBezTo>
                    <a:close/>
                    <a:moveTo>
                      <a:pt x="128" y="20"/>
                    </a:moveTo>
                    <a:cubicBezTo>
                      <a:pt x="127" y="20"/>
                      <a:pt x="127" y="19"/>
                      <a:pt x="126" y="19"/>
                    </a:cubicBezTo>
                    <a:cubicBezTo>
                      <a:pt x="126" y="18"/>
                      <a:pt x="125" y="19"/>
                      <a:pt x="124" y="19"/>
                    </a:cubicBezTo>
                    <a:cubicBezTo>
                      <a:pt x="122" y="19"/>
                      <a:pt x="122" y="18"/>
                      <a:pt x="121" y="16"/>
                    </a:cubicBezTo>
                    <a:cubicBezTo>
                      <a:pt x="121" y="16"/>
                      <a:pt x="121" y="15"/>
                      <a:pt x="121" y="14"/>
                    </a:cubicBezTo>
                    <a:cubicBezTo>
                      <a:pt x="121" y="13"/>
                      <a:pt x="122" y="13"/>
                      <a:pt x="122" y="12"/>
                    </a:cubicBezTo>
                    <a:cubicBezTo>
                      <a:pt x="121" y="11"/>
                      <a:pt x="121" y="11"/>
                      <a:pt x="120" y="10"/>
                    </a:cubicBezTo>
                    <a:cubicBezTo>
                      <a:pt x="120" y="10"/>
                      <a:pt x="120" y="9"/>
                      <a:pt x="120" y="8"/>
                    </a:cubicBezTo>
                    <a:cubicBezTo>
                      <a:pt x="119" y="8"/>
                      <a:pt x="118" y="9"/>
                      <a:pt x="118" y="8"/>
                    </a:cubicBezTo>
                    <a:cubicBezTo>
                      <a:pt x="118" y="8"/>
                      <a:pt x="118" y="7"/>
                      <a:pt x="118" y="7"/>
                    </a:cubicBezTo>
                    <a:cubicBezTo>
                      <a:pt x="118" y="7"/>
                      <a:pt x="117" y="7"/>
                      <a:pt x="117" y="7"/>
                    </a:cubicBezTo>
                    <a:cubicBezTo>
                      <a:pt x="117" y="6"/>
                      <a:pt x="116" y="6"/>
                      <a:pt x="116" y="5"/>
                    </a:cubicBezTo>
                    <a:cubicBezTo>
                      <a:pt x="115" y="5"/>
                      <a:pt x="116" y="5"/>
                      <a:pt x="116" y="5"/>
                    </a:cubicBezTo>
                    <a:cubicBezTo>
                      <a:pt x="115" y="5"/>
                      <a:pt x="115" y="5"/>
                      <a:pt x="114" y="5"/>
                    </a:cubicBezTo>
                    <a:cubicBezTo>
                      <a:pt x="114" y="5"/>
                      <a:pt x="114" y="5"/>
                      <a:pt x="113" y="6"/>
                    </a:cubicBezTo>
                    <a:cubicBezTo>
                      <a:pt x="113" y="6"/>
                      <a:pt x="112" y="6"/>
                      <a:pt x="112" y="6"/>
                    </a:cubicBezTo>
                    <a:cubicBezTo>
                      <a:pt x="111" y="5"/>
                      <a:pt x="110" y="6"/>
                      <a:pt x="109" y="6"/>
                    </a:cubicBezTo>
                    <a:cubicBezTo>
                      <a:pt x="108" y="6"/>
                      <a:pt x="108" y="6"/>
                      <a:pt x="107" y="5"/>
                    </a:cubicBezTo>
                    <a:cubicBezTo>
                      <a:pt x="106" y="7"/>
                      <a:pt x="104" y="8"/>
                      <a:pt x="102" y="9"/>
                    </a:cubicBezTo>
                    <a:cubicBezTo>
                      <a:pt x="101" y="9"/>
                      <a:pt x="100" y="10"/>
                      <a:pt x="99" y="10"/>
                    </a:cubicBezTo>
                    <a:cubicBezTo>
                      <a:pt x="98" y="11"/>
                      <a:pt x="97" y="10"/>
                      <a:pt x="96" y="10"/>
                    </a:cubicBezTo>
                    <a:cubicBezTo>
                      <a:pt x="96" y="10"/>
                      <a:pt x="95" y="10"/>
                      <a:pt x="95" y="10"/>
                    </a:cubicBezTo>
                    <a:cubicBezTo>
                      <a:pt x="95" y="10"/>
                      <a:pt x="94" y="10"/>
                      <a:pt x="94" y="9"/>
                    </a:cubicBezTo>
                    <a:cubicBezTo>
                      <a:pt x="93" y="9"/>
                      <a:pt x="92" y="9"/>
                      <a:pt x="92" y="9"/>
                    </a:cubicBezTo>
                    <a:cubicBezTo>
                      <a:pt x="91" y="9"/>
                      <a:pt x="91" y="9"/>
                      <a:pt x="90" y="10"/>
                    </a:cubicBezTo>
                    <a:cubicBezTo>
                      <a:pt x="90" y="10"/>
                      <a:pt x="89" y="10"/>
                      <a:pt x="89" y="10"/>
                    </a:cubicBezTo>
                    <a:cubicBezTo>
                      <a:pt x="88" y="10"/>
                      <a:pt x="88" y="10"/>
                      <a:pt x="87" y="10"/>
                    </a:cubicBezTo>
                    <a:cubicBezTo>
                      <a:pt x="87" y="10"/>
                      <a:pt x="87" y="11"/>
                      <a:pt x="86" y="11"/>
                    </a:cubicBezTo>
                    <a:cubicBezTo>
                      <a:pt x="86" y="11"/>
                      <a:pt x="86" y="11"/>
                      <a:pt x="86" y="11"/>
                    </a:cubicBezTo>
                    <a:cubicBezTo>
                      <a:pt x="85" y="11"/>
                      <a:pt x="84" y="10"/>
                      <a:pt x="83" y="10"/>
                    </a:cubicBezTo>
                    <a:cubicBezTo>
                      <a:pt x="83" y="10"/>
                      <a:pt x="82" y="10"/>
                      <a:pt x="82" y="9"/>
                    </a:cubicBezTo>
                    <a:cubicBezTo>
                      <a:pt x="81" y="9"/>
                      <a:pt x="81" y="10"/>
                      <a:pt x="80" y="10"/>
                    </a:cubicBezTo>
                    <a:cubicBezTo>
                      <a:pt x="79" y="10"/>
                      <a:pt x="79" y="9"/>
                      <a:pt x="78" y="9"/>
                    </a:cubicBezTo>
                    <a:cubicBezTo>
                      <a:pt x="77" y="9"/>
                      <a:pt x="78" y="9"/>
                      <a:pt x="77" y="8"/>
                    </a:cubicBezTo>
                    <a:cubicBezTo>
                      <a:pt x="77" y="8"/>
                      <a:pt x="76" y="7"/>
                      <a:pt x="76" y="7"/>
                    </a:cubicBezTo>
                    <a:cubicBezTo>
                      <a:pt x="75" y="7"/>
                      <a:pt x="74" y="7"/>
                      <a:pt x="74" y="7"/>
                    </a:cubicBezTo>
                    <a:cubicBezTo>
                      <a:pt x="73" y="7"/>
                      <a:pt x="74" y="8"/>
                      <a:pt x="73" y="8"/>
                    </a:cubicBezTo>
                    <a:cubicBezTo>
                      <a:pt x="72" y="8"/>
                      <a:pt x="71" y="6"/>
                      <a:pt x="71" y="5"/>
                    </a:cubicBezTo>
                    <a:cubicBezTo>
                      <a:pt x="70" y="4"/>
                      <a:pt x="70" y="3"/>
                      <a:pt x="69" y="4"/>
                    </a:cubicBezTo>
                    <a:cubicBezTo>
                      <a:pt x="68" y="4"/>
                      <a:pt x="68" y="4"/>
                      <a:pt x="67" y="4"/>
                    </a:cubicBezTo>
                    <a:cubicBezTo>
                      <a:pt x="66" y="4"/>
                      <a:pt x="66" y="4"/>
                      <a:pt x="65" y="3"/>
                    </a:cubicBezTo>
                    <a:cubicBezTo>
                      <a:pt x="65" y="3"/>
                      <a:pt x="64" y="3"/>
                      <a:pt x="64" y="2"/>
                    </a:cubicBezTo>
                    <a:cubicBezTo>
                      <a:pt x="64" y="1"/>
                      <a:pt x="64" y="1"/>
                      <a:pt x="64" y="1"/>
                    </a:cubicBezTo>
                    <a:cubicBezTo>
                      <a:pt x="64" y="1"/>
                      <a:pt x="64" y="0"/>
                      <a:pt x="63" y="0"/>
                    </a:cubicBezTo>
                    <a:cubicBezTo>
                      <a:pt x="62" y="1"/>
                      <a:pt x="62" y="1"/>
                      <a:pt x="61" y="1"/>
                    </a:cubicBezTo>
                    <a:cubicBezTo>
                      <a:pt x="59" y="1"/>
                      <a:pt x="57" y="1"/>
                      <a:pt x="55" y="1"/>
                    </a:cubicBezTo>
                    <a:cubicBezTo>
                      <a:pt x="55" y="1"/>
                      <a:pt x="54" y="1"/>
                      <a:pt x="53" y="1"/>
                    </a:cubicBezTo>
                    <a:cubicBezTo>
                      <a:pt x="52" y="1"/>
                      <a:pt x="51" y="1"/>
                      <a:pt x="50" y="2"/>
                    </a:cubicBezTo>
                    <a:cubicBezTo>
                      <a:pt x="48" y="2"/>
                      <a:pt x="46" y="3"/>
                      <a:pt x="45" y="4"/>
                    </a:cubicBezTo>
                    <a:cubicBezTo>
                      <a:pt x="43" y="4"/>
                      <a:pt x="42" y="6"/>
                      <a:pt x="41" y="6"/>
                    </a:cubicBezTo>
                    <a:cubicBezTo>
                      <a:pt x="40" y="7"/>
                      <a:pt x="39" y="7"/>
                      <a:pt x="39" y="7"/>
                    </a:cubicBezTo>
                    <a:cubicBezTo>
                      <a:pt x="39" y="8"/>
                      <a:pt x="39" y="9"/>
                      <a:pt x="38" y="9"/>
                    </a:cubicBezTo>
                    <a:cubicBezTo>
                      <a:pt x="37" y="9"/>
                      <a:pt x="36" y="9"/>
                      <a:pt x="36" y="9"/>
                    </a:cubicBezTo>
                    <a:cubicBezTo>
                      <a:pt x="35" y="9"/>
                      <a:pt x="34" y="9"/>
                      <a:pt x="34" y="9"/>
                    </a:cubicBezTo>
                    <a:cubicBezTo>
                      <a:pt x="33" y="9"/>
                      <a:pt x="32" y="8"/>
                      <a:pt x="32" y="8"/>
                    </a:cubicBezTo>
                    <a:cubicBezTo>
                      <a:pt x="31" y="8"/>
                      <a:pt x="30" y="9"/>
                      <a:pt x="29" y="8"/>
                    </a:cubicBezTo>
                    <a:cubicBezTo>
                      <a:pt x="28" y="8"/>
                      <a:pt x="27" y="8"/>
                      <a:pt x="26" y="8"/>
                    </a:cubicBezTo>
                    <a:cubicBezTo>
                      <a:pt x="25" y="8"/>
                      <a:pt x="24" y="8"/>
                      <a:pt x="24" y="8"/>
                    </a:cubicBezTo>
                    <a:cubicBezTo>
                      <a:pt x="23" y="8"/>
                      <a:pt x="23" y="9"/>
                      <a:pt x="23" y="10"/>
                    </a:cubicBezTo>
                    <a:cubicBezTo>
                      <a:pt x="23" y="10"/>
                      <a:pt x="24" y="11"/>
                      <a:pt x="24" y="11"/>
                    </a:cubicBezTo>
                    <a:cubicBezTo>
                      <a:pt x="26" y="12"/>
                      <a:pt x="27" y="12"/>
                      <a:pt x="29" y="12"/>
                    </a:cubicBezTo>
                    <a:cubicBezTo>
                      <a:pt x="28" y="13"/>
                      <a:pt x="28" y="12"/>
                      <a:pt x="27" y="12"/>
                    </a:cubicBezTo>
                    <a:cubicBezTo>
                      <a:pt x="27" y="12"/>
                      <a:pt x="26" y="13"/>
                      <a:pt x="25" y="13"/>
                    </a:cubicBezTo>
                    <a:cubicBezTo>
                      <a:pt x="25" y="13"/>
                      <a:pt x="24" y="13"/>
                      <a:pt x="23" y="13"/>
                    </a:cubicBezTo>
                    <a:cubicBezTo>
                      <a:pt x="22" y="13"/>
                      <a:pt x="21" y="14"/>
                      <a:pt x="21" y="14"/>
                    </a:cubicBezTo>
                    <a:cubicBezTo>
                      <a:pt x="22" y="15"/>
                      <a:pt x="23" y="15"/>
                      <a:pt x="23" y="15"/>
                    </a:cubicBezTo>
                    <a:cubicBezTo>
                      <a:pt x="23" y="15"/>
                      <a:pt x="23" y="16"/>
                      <a:pt x="23" y="16"/>
                    </a:cubicBezTo>
                    <a:cubicBezTo>
                      <a:pt x="22" y="16"/>
                      <a:pt x="22" y="15"/>
                      <a:pt x="22" y="15"/>
                    </a:cubicBezTo>
                    <a:cubicBezTo>
                      <a:pt x="21" y="15"/>
                      <a:pt x="20" y="16"/>
                      <a:pt x="19" y="15"/>
                    </a:cubicBezTo>
                    <a:cubicBezTo>
                      <a:pt x="18" y="15"/>
                      <a:pt x="16" y="16"/>
                      <a:pt x="15" y="16"/>
                    </a:cubicBezTo>
                    <a:cubicBezTo>
                      <a:pt x="14" y="16"/>
                      <a:pt x="12" y="16"/>
                      <a:pt x="11" y="15"/>
                    </a:cubicBezTo>
                    <a:cubicBezTo>
                      <a:pt x="10" y="15"/>
                      <a:pt x="10" y="15"/>
                      <a:pt x="9" y="15"/>
                    </a:cubicBezTo>
                    <a:cubicBezTo>
                      <a:pt x="9" y="15"/>
                      <a:pt x="8" y="15"/>
                      <a:pt x="8" y="15"/>
                    </a:cubicBezTo>
                    <a:cubicBezTo>
                      <a:pt x="7" y="15"/>
                      <a:pt x="7" y="16"/>
                      <a:pt x="6" y="16"/>
                    </a:cubicBezTo>
                    <a:cubicBezTo>
                      <a:pt x="6" y="17"/>
                      <a:pt x="5" y="17"/>
                      <a:pt x="5" y="17"/>
                    </a:cubicBezTo>
                    <a:cubicBezTo>
                      <a:pt x="5" y="18"/>
                      <a:pt x="5" y="18"/>
                      <a:pt x="5" y="18"/>
                    </a:cubicBezTo>
                    <a:cubicBezTo>
                      <a:pt x="5" y="18"/>
                      <a:pt x="5" y="19"/>
                      <a:pt x="4" y="19"/>
                    </a:cubicBezTo>
                    <a:cubicBezTo>
                      <a:pt x="4" y="19"/>
                      <a:pt x="3" y="19"/>
                      <a:pt x="3" y="20"/>
                    </a:cubicBezTo>
                    <a:cubicBezTo>
                      <a:pt x="3" y="20"/>
                      <a:pt x="4" y="21"/>
                      <a:pt x="4" y="22"/>
                    </a:cubicBezTo>
                    <a:cubicBezTo>
                      <a:pt x="3" y="22"/>
                      <a:pt x="3" y="22"/>
                      <a:pt x="3" y="23"/>
                    </a:cubicBezTo>
                    <a:cubicBezTo>
                      <a:pt x="3" y="25"/>
                      <a:pt x="8" y="22"/>
                      <a:pt x="8" y="23"/>
                    </a:cubicBezTo>
                    <a:cubicBezTo>
                      <a:pt x="9" y="23"/>
                      <a:pt x="7" y="25"/>
                      <a:pt x="7" y="25"/>
                    </a:cubicBezTo>
                    <a:cubicBezTo>
                      <a:pt x="6" y="26"/>
                      <a:pt x="8" y="26"/>
                      <a:pt x="8" y="27"/>
                    </a:cubicBezTo>
                    <a:cubicBezTo>
                      <a:pt x="8" y="27"/>
                      <a:pt x="8" y="28"/>
                      <a:pt x="8" y="28"/>
                    </a:cubicBezTo>
                    <a:cubicBezTo>
                      <a:pt x="9" y="28"/>
                      <a:pt x="9" y="28"/>
                      <a:pt x="10" y="28"/>
                    </a:cubicBezTo>
                    <a:cubicBezTo>
                      <a:pt x="9" y="29"/>
                      <a:pt x="9" y="29"/>
                      <a:pt x="9" y="29"/>
                    </a:cubicBezTo>
                    <a:cubicBezTo>
                      <a:pt x="8" y="30"/>
                      <a:pt x="8" y="30"/>
                      <a:pt x="8" y="30"/>
                    </a:cubicBezTo>
                    <a:cubicBezTo>
                      <a:pt x="7" y="31"/>
                      <a:pt x="8" y="32"/>
                      <a:pt x="9" y="32"/>
                    </a:cubicBezTo>
                    <a:cubicBezTo>
                      <a:pt x="10" y="32"/>
                      <a:pt x="11" y="32"/>
                      <a:pt x="10" y="33"/>
                    </a:cubicBezTo>
                    <a:cubicBezTo>
                      <a:pt x="9" y="33"/>
                      <a:pt x="7" y="34"/>
                      <a:pt x="7" y="32"/>
                    </a:cubicBezTo>
                    <a:cubicBezTo>
                      <a:pt x="7" y="32"/>
                      <a:pt x="7" y="33"/>
                      <a:pt x="7" y="33"/>
                    </a:cubicBezTo>
                    <a:cubicBezTo>
                      <a:pt x="7" y="33"/>
                      <a:pt x="6" y="32"/>
                      <a:pt x="6" y="31"/>
                    </a:cubicBezTo>
                    <a:cubicBezTo>
                      <a:pt x="6" y="31"/>
                      <a:pt x="6" y="30"/>
                      <a:pt x="6" y="30"/>
                    </a:cubicBezTo>
                    <a:cubicBezTo>
                      <a:pt x="4" y="31"/>
                      <a:pt x="6" y="32"/>
                      <a:pt x="6" y="33"/>
                    </a:cubicBezTo>
                    <a:cubicBezTo>
                      <a:pt x="5" y="33"/>
                      <a:pt x="4" y="33"/>
                      <a:pt x="4" y="34"/>
                    </a:cubicBezTo>
                    <a:cubicBezTo>
                      <a:pt x="5" y="34"/>
                      <a:pt x="5" y="35"/>
                      <a:pt x="6" y="35"/>
                    </a:cubicBezTo>
                    <a:cubicBezTo>
                      <a:pt x="6" y="35"/>
                      <a:pt x="7" y="34"/>
                      <a:pt x="7" y="35"/>
                    </a:cubicBezTo>
                    <a:cubicBezTo>
                      <a:pt x="8" y="35"/>
                      <a:pt x="9" y="35"/>
                      <a:pt x="9" y="36"/>
                    </a:cubicBezTo>
                    <a:cubicBezTo>
                      <a:pt x="9" y="36"/>
                      <a:pt x="11" y="36"/>
                      <a:pt x="11" y="37"/>
                    </a:cubicBezTo>
                    <a:cubicBezTo>
                      <a:pt x="11" y="37"/>
                      <a:pt x="11" y="38"/>
                      <a:pt x="11" y="38"/>
                    </a:cubicBezTo>
                    <a:cubicBezTo>
                      <a:pt x="11" y="39"/>
                      <a:pt x="10" y="39"/>
                      <a:pt x="10" y="39"/>
                    </a:cubicBezTo>
                    <a:cubicBezTo>
                      <a:pt x="10" y="39"/>
                      <a:pt x="10" y="39"/>
                      <a:pt x="10" y="39"/>
                    </a:cubicBezTo>
                    <a:cubicBezTo>
                      <a:pt x="10" y="39"/>
                      <a:pt x="10" y="40"/>
                      <a:pt x="10" y="40"/>
                    </a:cubicBezTo>
                    <a:cubicBezTo>
                      <a:pt x="11" y="40"/>
                      <a:pt x="11" y="40"/>
                      <a:pt x="11" y="40"/>
                    </a:cubicBezTo>
                    <a:cubicBezTo>
                      <a:pt x="11" y="41"/>
                      <a:pt x="11" y="41"/>
                      <a:pt x="11" y="41"/>
                    </a:cubicBezTo>
                    <a:cubicBezTo>
                      <a:pt x="11" y="41"/>
                      <a:pt x="12" y="42"/>
                      <a:pt x="12" y="42"/>
                    </a:cubicBezTo>
                    <a:cubicBezTo>
                      <a:pt x="12" y="42"/>
                      <a:pt x="14" y="43"/>
                      <a:pt x="13" y="43"/>
                    </a:cubicBezTo>
                    <a:cubicBezTo>
                      <a:pt x="12" y="44"/>
                      <a:pt x="11" y="43"/>
                      <a:pt x="11" y="44"/>
                    </a:cubicBezTo>
                    <a:cubicBezTo>
                      <a:pt x="11" y="45"/>
                      <a:pt x="12" y="45"/>
                      <a:pt x="13" y="45"/>
                    </a:cubicBezTo>
                    <a:cubicBezTo>
                      <a:pt x="15" y="44"/>
                      <a:pt x="16" y="44"/>
                      <a:pt x="18" y="44"/>
                    </a:cubicBezTo>
                    <a:cubicBezTo>
                      <a:pt x="17" y="45"/>
                      <a:pt x="16" y="45"/>
                      <a:pt x="16" y="45"/>
                    </a:cubicBezTo>
                    <a:cubicBezTo>
                      <a:pt x="16" y="46"/>
                      <a:pt x="16" y="46"/>
                      <a:pt x="16" y="46"/>
                    </a:cubicBezTo>
                    <a:cubicBezTo>
                      <a:pt x="16" y="47"/>
                      <a:pt x="16" y="47"/>
                      <a:pt x="16" y="48"/>
                    </a:cubicBezTo>
                    <a:cubicBezTo>
                      <a:pt x="16" y="47"/>
                      <a:pt x="17" y="47"/>
                      <a:pt x="18" y="46"/>
                    </a:cubicBezTo>
                    <a:cubicBezTo>
                      <a:pt x="18" y="46"/>
                      <a:pt x="19" y="46"/>
                      <a:pt x="19" y="46"/>
                    </a:cubicBezTo>
                    <a:cubicBezTo>
                      <a:pt x="20" y="47"/>
                      <a:pt x="21" y="48"/>
                      <a:pt x="21" y="47"/>
                    </a:cubicBezTo>
                    <a:cubicBezTo>
                      <a:pt x="22" y="47"/>
                      <a:pt x="22" y="47"/>
                      <a:pt x="23" y="47"/>
                    </a:cubicBezTo>
                    <a:cubicBezTo>
                      <a:pt x="23" y="48"/>
                      <a:pt x="23" y="48"/>
                      <a:pt x="23" y="48"/>
                    </a:cubicBezTo>
                    <a:cubicBezTo>
                      <a:pt x="23" y="49"/>
                      <a:pt x="23" y="49"/>
                      <a:pt x="24" y="50"/>
                    </a:cubicBezTo>
                    <a:cubicBezTo>
                      <a:pt x="25" y="51"/>
                      <a:pt x="26" y="51"/>
                      <a:pt x="28" y="51"/>
                    </a:cubicBezTo>
                    <a:cubicBezTo>
                      <a:pt x="29" y="51"/>
                      <a:pt x="29" y="51"/>
                      <a:pt x="30" y="51"/>
                    </a:cubicBezTo>
                    <a:cubicBezTo>
                      <a:pt x="30" y="51"/>
                      <a:pt x="31" y="50"/>
                      <a:pt x="31" y="51"/>
                    </a:cubicBezTo>
                    <a:cubicBezTo>
                      <a:pt x="31" y="51"/>
                      <a:pt x="32" y="51"/>
                      <a:pt x="32" y="51"/>
                    </a:cubicBezTo>
                    <a:cubicBezTo>
                      <a:pt x="33" y="51"/>
                      <a:pt x="33" y="48"/>
                      <a:pt x="33" y="48"/>
                    </a:cubicBezTo>
                    <a:cubicBezTo>
                      <a:pt x="33" y="47"/>
                      <a:pt x="33" y="46"/>
                      <a:pt x="33" y="46"/>
                    </a:cubicBezTo>
                    <a:cubicBezTo>
                      <a:pt x="34" y="45"/>
                      <a:pt x="35" y="46"/>
                      <a:pt x="35" y="46"/>
                    </a:cubicBezTo>
                    <a:cubicBezTo>
                      <a:pt x="37" y="46"/>
                      <a:pt x="38" y="47"/>
                      <a:pt x="40" y="48"/>
                    </a:cubicBezTo>
                    <a:cubicBezTo>
                      <a:pt x="41" y="48"/>
                      <a:pt x="43" y="49"/>
                      <a:pt x="44" y="50"/>
                    </a:cubicBezTo>
                    <a:cubicBezTo>
                      <a:pt x="45" y="52"/>
                      <a:pt x="46" y="53"/>
                      <a:pt x="48" y="52"/>
                    </a:cubicBezTo>
                    <a:cubicBezTo>
                      <a:pt x="49" y="52"/>
                      <a:pt x="50" y="52"/>
                      <a:pt x="51" y="52"/>
                    </a:cubicBezTo>
                    <a:cubicBezTo>
                      <a:pt x="52" y="52"/>
                      <a:pt x="53" y="52"/>
                      <a:pt x="54" y="51"/>
                    </a:cubicBezTo>
                    <a:cubicBezTo>
                      <a:pt x="54" y="51"/>
                      <a:pt x="54" y="51"/>
                      <a:pt x="55" y="51"/>
                    </a:cubicBezTo>
                    <a:cubicBezTo>
                      <a:pt x="55" y="51"/>
                      <a:pt x="55" y="51"/>
                      <a:pt x="56" y="51"/>
                    </a:cubicBezTo>
                    <a:cubicBezTo>
                      <a:pt x="57" y="51"/>
                      <a:pt x="57" y="50"/>
                      <a:pt x="57" y="49"/>
                    </a:cubicBezTo>
                    <a:cubicBezTo>
                      <a:pt x="58" y="49"/>
                      <a:pt x="59" y="48"/>
                      <a:pt x="60" y="47"/>
                    </a:cubicBezTo>
                    <a:cubicBezTo>
                      <a:pt x="60" y="47"/>
                      <a:pt x="60" y="46"/>
                      <a:pt x="61" y="46"/>
                    </a:cubicBezTo>
                    <a:cubicBezTo>
                      <a:pt x="63" y="47"/>
                      <a:pt x="64" y="47"/>
                      <a:pt x="65" y="48"/>
                    </a:cubicBezTo>
                    <a:cubicBezTo>
                      <a:pt x="65" y="48"/>
                      <a:pt x="66" y="48"/>
                      <a:pt x="66" y="48"/>
                    </a:cubicBezTo>
                    <a:cubicBezTo>
                      <a:pt x="67" y="48"/>
                      <a:pt x="67" y="47"/>
                      <a:pt x="67" y="47"/>
                    </a:cubicBezTo>
                    <a:cubicBezTo>
                      <a:pt x="68" y="47"/>
                      <a:pt x="68" y="47"/>
                      <a:pt x="69" y="46"/>
                    </a:cubicBezTo>
                    <a:cubicBezTo>
                      <a:pt x="69" y="46"/>
                      <a:pt x="70" y="45"/>
                      <a:pt x="70" y="45"/>
                    </a:cubicBezTo>
                    <a:cubicBezTo>
                      <a:pt x="70" y="45"/>
                      <a:pt x="71" y="46"/>
                      <a:pt x="71" y="46"/>
                    </a:cubicBezTo>
                    <a:cubicBezTo>
                      <a:pt x="71" y="47"/>
                      <a:pt x="71" y="48"/>
                      <a:pt x="71" y="48"/>
                    </a:cubicBezTo>
                    <a:cubicBezTo>
                      <a:pt x="70" y="49"/>
                      <a:pt x="70" y="49"/>
                      <a:pt x="69" y="49"/>
                    </a:cubicBezTo>
                    <a:cubicBezTo>
                      <a:pt x="69" y="50"/>
                      <a:pt x="68" y="50"/>
                      <a:pt x="68" y="51"/>
                    </a:cubicBezTo>
                    <a:cubicBezTo>
                      <a:pt x="69" y="51"/>
                      <a:pt x="69" y="53"/>
                      <a:pt x="70" y="54"/>
                    </a:cubicBezTo>
                    <a:cubicBezTo>
                      <a:pt x="70" y="55"/>
                      <a:pt x="71" y="54"/>
                      <a:pt x="71" y="54"/>
                    </a:cubicBezTo>
                    <a:cubicBezTo>
                      <a:pt x="71" y="53"/>
                      <a:pt x="72" y="53"/>
                      <a:pt x="72" y="53"/>
                    </a:cubicBezTo>
                    <a:cubicBezTo>
                      <a:pt x="72" y="53"/>
                      <a:pt x="72" y="52"/>
                      <a:pt x="72" y="52"/>
                    </a:cubicBezTo>
                    <a:cubicBezTo>
                      <a:pt x="72" y="51"/>
                      <a:pt x="73" y="52"/>
                      <a:pt x="74" y="51"/>
                    </a:cubicBezTo>
                    <a:cubicBezTo>
                      <a:pt x="74" y="51"/>
                      <a:pt x="74" y="50"/>
                      <a:pt x="74" y="50"/>
                    </a:cubicBezTo>
                    <a:cubicBezTo>
                      <a:pt x="73" y="49"/>
                      <a:pt x="74" y="49"/>
                      <a:pt x="74" y="49"/>
                    </a:cubicBezTo>
                    <a:cubicBezTo>
                      <a:pt x="74" y="48"/>
                      <a:pt x="74" y="46"/>
                      <a:pt x="74" y="46"/>
                    </a:cubicBezTo>
                    <a:cubicBezTo>
                      <a:pt x="75" y="46"/>
                      <a:pt x="76" y="47"/>
                      <a:pt x="76" y="47"/>
                    </a:cubicBezTo>
                    <a:cubicBezTo>
                      <a:pt x="77" y="47"/>
                      <a:pt x="79" y="48"/>
                      <a:pt x="80" y="47"/>
                    </a:cubicBezTo>
                    <a:cubicBezTo>
                      <a:pt x="80" y="47"/>
                      <a:pt x="81" y="47"/>
                      <a:pt x="81" y="47"/>
                    </a:cubicBezTo>
                    <a:cubicBezTo>
                      <a:pt x="82" y="47"/>
                      <a:pt x="82" y="46"/>
                      <a:pt x="83" y="46"/>
                    </a:cubicBezTo>
                    <a:cubicBezTo>
                      <a:pt x="83" y="46"/>
                      <a:pt x="85" y="46"/>
                      <a:pt x="85" y="46"/>
                    </a:cubicBezTo>
                    <a:cubicBezTo>
                      <a:pt x="86" y="46"/>
                      <a:pt x="87" y="47"/>
                      <a:pt x="88" y="47"/>
                    </a:cubicBezTo>
                    <a:cubicBezTo>
                      <a:pt x="89" y="47"/>
                      <a:pt x="90" y="47"/>
                      <a:pt x="91" y="47"/>
                    </a:cubicBezTo>
                    <a:cubicBezTo>
                      <a:pt x="93" y="47"/>
                      <a:pt x="94" y="47"/>
                      <a:pt x="95" y="46"/>
                    </a:cubicBezTo>
                    <a:cubicBezTo>
                      <a:pt x="97" y="46"/>
                      <a:pt x="99" y="44"/>
                      <a:pt x="101" y="44"/>
                    </a:cubicBezTo>
                    <a:cubicBezTo>
                      <a:pt x="102" y="43"/>
                      <a:pt x="103" y="44"/>
                      <a:pt x="104" y="44"/>
                    </a:cubicBezTo>
                    <a:cubicBezTo>
                      <a:pt x="105" y="44"/>
                      <a:pt x="106" y="43"/>
                      <a:pt x="108" y="43"/>
                    </a:cubicBezTo>
                    <a:cubicBezTo>
                      <a:pt x="109" y="43"/>
                      <a:pt x="109" y="43"/>
                      <a:pt x="110" y="43"/>
                    </a:cubicBezTo>
                    <a:cubicBezTo>
                      <a:pt x="111" y="42"/>
                      <a:pt x="111" y="42"/>
                      <a:pt x="112" y="43"/>
                    </a:cubicBezTo>
                    <a:cubicBezTo>
                      <a:pt x="113" y="43"/>
                      <a:pt x="113" y="44"/>
                      <a:pt x="114" y="43"/>
                    </a:cubicBezTo>
                    <a:cubicBezTo>
                      <a:pt x="115" y="43"/>
                      <a:pt x="115" y="42"/>
                      <a:pt x="116" y="42"/>
                    </a:cubicBezTo>
                    <a:cubicBezTo>
                      <a:pt x="117" y="41"/>
                      <a:pt x="118" y="42"/>
                      <a:pt x="119" y="42"/>
                    </a:cubicBezTo>
                    <a:cubicBezTo>
                      <a:pt x="119" y="42"/>
                      <a:pt x="120" y="42"/>
                      <a:pt x="120" y="42"/>
                    </a:cubicBezTo>
                    <a:cubicBezTo>
                      <a:pt x="121" y="42"/>
                      <a:pt x="121" y="43"/>
                      <a:pt x="122" y="43"/>
                    </a:cubicBezTo>
                    <a:cubicBezTo>
                      <a:pt x="123" y="43"/>
                      <a:pt x="123" y="42"/>
                      <a:pt x="124" y="42"/>
                    </a:cubicBezTo>
                    <a:cubicBezTo>
                      <a:pt x="125" y="42"/>
                      <a:pt x="125" y="43"/>
                      <a:pt x="125" y="44"/>
                    </a:cubicBezTo>
                    <a:cubicBezTo>
                      <a:pt x="125" y="44"/>
                      <a:pt x="125" y="44"/>
                      <a:pt x="125" y="45"/>
                    </a:cubicBezTo>
                    <a:cubicBezTo>
                      <a:pt x="126" y="45"/>
                      <a:pt x="126" y="44"/>
                      <a:pt x="126" y="44"/>
                    </a:cubicBezTo>
                    <a:cubicBezTo>
                      <a:pt x="126" y="44"/>
                      <a:pt x="127" y="43"/>
                      <a:pt x="127" y="43"/>
                    </a:cubicBezTo>
                    <a:cubicBezTo>
                      <a:pt x="128" y="43"/>
                      <a:pt x="128" y="44"/>
                      <a:pt x="128" y="43"/>
                    </a:cubicBezTo>
                    <a:cubicBezTo>
                      <a:pt x="128" y="43"/>
                      <a:pt x="129" y="43"/>
                      <a:pt x="129" y="42"/>
                    </a:cubicBezTo>
                    <a:cubicBezTo>
                      <a:pt x="129" y="41"/>
                      <a:pt x="128" y="41"/>
                      <a:pt x="127" y="41"/>
                    </a:cubicBezTo>
                    <a:cubicBezTo>
                      <a:pt x="127" y="41"/>
                      <a:pt x="128" y="40"/>
                      <a:pt x="128" y="40"/>
                    </a:cubicBezTo>
                    <a:cubicBezTo>
                      <a:pt x="128" y="40"/>
                      <a:pt x="127" y="40"/>
                      <a:pt x="127" y="40"/>
                    </a:cubicBezTo>
                    <a:cubicBezTo>
                      <a:pt x="127" y="39"/>
                      <a:pt x="127" y="39"/>
                      <a:pt x="127" y="39"/>
                    </a:cubicBezTo>
                    <a:cubicBezTo>
                      <a:pt x="127" y="38"/>
                      <a:pt x="127" y="38"/>
                      <a:pt x="127" y="38"/>
                    </a:cubicBezTo>
                    <a:cubicBezTo>
                      <a:pt x="126" y="37"/>
                      <a:pt x="126" y="37"/>
                      <a:pt x="125" y="37"/>
                    </a:cubicBezTo>
                    <a:cubicBezTo>
                      <a:pt x="125" y="36"/>
                      <a:pt x="125" y="36"/>
                      <a:pt x="126" y="36"/>
                    </a:cubicBezTo>
                    <a:cubicBezTo>
                      <a:pt x="126" y="35"/>
                      <a:pt x="126" y="35"/>
                      <a:pt x="126" y="34"/>
                    </a:cubicBezTo>
                    <a:cubicBezTo>
                      <a:pt x="127" y="33"/>
                      <a:pt x="126" y="33"/>
                      <a:pt x="126" y="32"/>
                    </a:cubicBezTo>
                    <a:cubicBezTo>
                      <a:pt x="125" y="32"/>
                      <a:pt x="126" y="31"/>
                      <a:pt x="125" y="31"/>
                    </a:cubicBezTo>
                    <a:cubicBezTo>
                      <a:pt x="125" y="30"/>
                      <a:pt x="125" y="29"/>
                      <a:pt x="125" y="29"/>
                    </a:cubicBezTo>
                    <a:cubicBezTo>
                      <a:pt x="125" y="28"/>
                      <a:pt x="125" y="27"/>
                      <a:pt x="124" y="26"/>
                    </a:cubicBezTo>
                    <a:cubicBezTo>
                      <a:pt x="124" y="26"/>
                      <a:pt x="123" y="25"/>
                      <a:pt x="124" y="24"/>
                    </a:cubicBezTo>
                    <a:cubicBezTo>
                      <a:pt x="124" y="24"/>
                      <a:pt x="125" y="24"/>
                      <a:pt x="126" y="24"/>
                    </a:cubicBezTo>
                    <a:cubicBezTo>
                      <a:pt x="127" y="24"/>
                      <a:pt x="126" y="23"/>
                      <a:pt x="127" y="22"/>
                    </a:cubicBezTo>
                    <a:cubicBezTo>
                      <a:pt x="127" y="21"/>
                      <a:pt x="128" y="21"/>
                      <a:pt x="129" y="22"/>
                    </a:cubicBezTo>
                    <a:cubicBezTo>
                      <a:pt x="129" y="21"/>
                      <a:pt x="129" y="21"/>
                      <a:pt x="128" y="20"/>
                    </a:cubicBezTo>
                    <a:cubicBezTo>
                      <a:pt x="128" y="20"/>
                      <a:pt x="129" y="21"/>
                      <a:pt x="128" y="20"/>
                    </a:cubicBezTo>
                    <a:close/>
                    <a:moveTo>
                      <a:pt x="1" y="17"/>
                    </a:moveTo>
                    <a:cubicBezTo>
                      <a:pt x="1" y="17"/>
                      <a:pt x="0" y="17"/>
                      <a:pt x="0" y="17"/>
                    </a:cubicBezTo>
                    <a:cubicBezTo>
                      <a:pt x="0" y="18"/>
                      <a:pt x="0" y="18"/>
                      <a:pt x="1" y="18"/>
                    </a:cubicBezTo>
                    <a:cubicBezTo>
                      <a:pt x="1" y="18"/>
                      <a:pt x="2" y="18"/>
                      <a:pt x="2" y="18"/>
                    </a:cubicBezTo>
                    <a:cubicBezTo>
                      <a:pt x="3" y="17"/>
                      <a:pt x="2" y="17"/>
                      <a:pt x="1" y="17"/>
                    </a:cubicBezTo>
                    <a:cubicBezTo>
                      <a:pt x="1" y="17"/>
                      <a:pt x="2" y="17"/>
                      <a:pt x="1" y="17"/>
                    </a:cubicBezTo>
                    <a:close/>
                    <a:moveTo>
                      <a:pt x="15" y="46"/>
                    </a:moveTo>
                    <a:cubicBezTo>
                      <a:pt x="15" y="46"/>
                      <a:pt x="14" y="46"/>
                      <a:pt x="14" y="46"/>
                    </a:cubicBezTo>
                    <a:cubicBezTo>
                      <a:pt x="13" y="46"/>
                      <a:pt x="13" y="47"/>
                      <a:pt x="13" y="47"/>
                    </a:cubicBezTo>
                    <a:cubicBezTo>
                      <a:pt x="13" y="47"/>
                      <a:pt x="12" y="47"/>
                      <a:pt x="12" y="47"/>
                    </a:cubicBezTo>
                    <a:cubicBezTo>
                      <a:pt x="12" y="47"/>
                      <a:pt x="12" y="47"/>
                      <a:pt x="12" y="47"/>
                    </a:cubicBezTo>
                    <a:cubicBezTo>
                      <a:pt x="13" y="48"/>
                      <a:pt x="13" y="47"/>
                      <a:pt x="14" y="47"/>
                    </a:cubicBezTo>
                    <a:cubicBezTo>
                      <a:pt x="14" y="47"/>
                      <a:pt x="16" y="47"/>
                      <a:pt x="15"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2" name="Freeform 836">
                <a:extLst>
                  <a:ext uri="{FF2B5EF4-FFF2-40B4-BE49-F238E27FC236}">
                    <a16:creationId xmlns:a16="http://schemas.microsoft.com/office/drawing/2014/main" id="{7DA99358-234F-D9C4-D48E-C53297D8E67B}"/>
                  </a:ext>
                </a:extLst>
              </p:cNvPr>
              <p:cNvSpPr>
                <a:spLocks/>
              </p:cNvSpPr>
              <p:nvPr/>
            </p:nvSpPr>
            <p:spPr bwMode="auto">
              <a:xfrm>
                <a:off x="6353175" y="3929063"/>
                <a:ext cx="592137" cy="496888"/>
              </a:xfrm>
              <a:custGeom>
                <a:avLst/>
                <a:gdLst>
                  <a:gd name="T0" fmla="*/ 121 w 142"/>
                  <a:gd name="T1" fmla="*/ 71 h 119"/>
                  <a:gd name="T2" fmla="*/ 115 w 142"/>
                  <a:gd name="T3" fmla="*/ 58 h 119"/>
                  <a:gd name="T4" fmla="*/ 113 w 142"/>
                  <a:gd name="T5" fmla="*/ 59 h 119"/>
                  <a:gd name="T6" fmla="*/ 109 w 142"/>
                  <a:gd name="T7" fmla="*/ 58 h 119"/>
                  <a:gd name="T8" fmla="*/ 109 w 142"/>
                  <a:gd name="T9" fmla="*/ 55 h 119"/>
                  <a:gd name="T10" fmla="*/ 106 w 142"/>
                  <a:gd name="T11" fmla="*/ 46 h 119"/>
                  <a:gd name="T12" fmla="*/ 105 w 142"/>
                  <a:gd name="T13" fmla="*/ 42 h 119"/>
                  <a:gd name="T14" fmla="*/ 97 w 142"/>
                  <a:gd name="T15" fmla="*/ 34 h 119"/>
                  <a:gd name="T16" fmla="*/ 95 w 142"/>
                  <a:gd name="T17" fmla="*/ 28 h 119"/>
                  <a:gd name="T18" fmla="*/ 88 w 142"/>
                  <a:gd name="T19" fmla="*/ 26 h 119"/>
                  <a:gd name="T20" fmla="*/ 81 w 142"/>
                  <a:gd name="T21" fmla="*/ 24 h 119"/>
                  <a:gd name="T22" fmla="*/ 49 w 142"/>
                  <a:gd name="T23" fmla="*/ 8 h 119"/>
                  <a:gd name="T24" fmla="*/ 31 w 142"/>
                  <a:gd name="T25" fmla="*/ 0 h 119"/>
                  <a:gd name="T26" fmla="*/ 25 w 142"/>
                  <a:gd name="T27" fmla="*/ 3 h 119"/>
                  <a:gd name="T28" fmla="*/ 23 w 142"/>
                  <a:gd name="T29" fmla="*/ 13 h 119"/>
                  <a:gd name="T30" fmla="*/ 19 w 142"/>
                  <a:gd name="T31" fmla="*/ 17 h 119"/>
                  <a:gd name="T32" fmla="*/ 14 w 142"/>
                  <a:gd name="T33" fmla="*/ 18 h 119"/>
                  <a:gd name="T34" fmla="*/ 2 w 142"/>
                  <a:gd name="T35" fmla="*/ 22 h 119"/>
                  <a:gd name="T36" fmla="*/ 0 w 142"/>
                  <a:gd name="T37" fmla="*/ 29 h 119"/>
                  <a:gd name="T38" fmla="*/ 2 w 142"/>
                  <a:gd name="T39" fmla="*/ 32 h 119"/>
                  <a:gd name="T40" fmla="*/ 8 w 142"/>
                  <a:gd name="T41" fmla="*/ 42 h 119"/>
                  <a:gd name="T42" fmla="*/ 17 w 142"/>
                  <a:gd name="T43" fmla="*/ 53 h 119"/>
                  <a:gd name="T44" fmla="*/ 18 w 142"/>
                  <a:gd name="T45" fmla="*/ 61 h 119"/>
                  <a:gd name="T46" fmla="*/ 25 w 142"/>
                  <a:gd name="T47" fmla="*/ 66 h 119"/>
                  <a:gd name="T48" fmla="*/ 28 w 142"/>
                  <a:gd name="T49" fmla="*/ 71 h 119"/>
                  <a:gd name="T50" fmla="*/ 34 w 142"/>
                  <a:gd name="T51" fmla="*/ 89 h 119"/>
                  <a:gd name="T52" fmla="*/ 44 w 142"/>
                  <a:gd name="T53" fmla="*/ 100 h 119"/>
                  <a:gd name="T54" fmla="*/ 45 w 142"/>
                  <a:gd name="T55" fmla="*/ 105 h 119"/>
                  <a:gd name="T56" fmla="*/ 55 w 142"/>
                  <a:gd name="T57" fmla="*/ 119 h 119"/>
                  <a:gd name="T58" fmla="*/ 58 w 142"/>
                  <a:gd name="T59" fmla="*/ 115 h 119"/>
                  <a:gd name="T60" fmla="*/ 69 w 142"/>
                  <a:gd name="T61" fmla="*/ 111 h 119"/>
                  <a:gd name="T62" fmla="*/ 85 w 142"/>
                  <a:gd name="T63" fmla="*/ 114 h 119"/>
                  <a:gd name="T64" fmla="*/ 96 w 142"/>
                  <a:gd name="T65" fmla="*/ 103 h 119"/>
                  <a:gd name="T66" fmla="*/ 117 w 142"/>
                  <a:gd name="T67" fmla="*/ 100 h 119"/>
                  <a:gd name="T68" fmla="*/ 138 w 142"/>
                  <a:gd name="T69" fmla="*/ 92 h 119"/>
                  <a:gd name="T70" fmla="*/ 139 w 142"/>
                  <a:gd name="T71"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19">
                    <a:moveTo>
                      <a:pt x="139" y="73"/>
                    </a:moveTo>
                    <a:cubicBezTo>
                      <a:pt x="121" y="71"/>
                      <a:pt x="121" y="71"/>
                      <a:pt x="121" y="71"/>
                    </a:cubicBezTo>
                    <a:cubicBezTo>
                      <a:pt x="115" y="60"/>
                      <a:pt x="115" y="60"/>
                      <a:pt x="115" y="60"/>
                    </a:cubicBezTo>
                    <a:cubicBezTo>
                      <a:pt x="114" y="60"/>
                      <a:pt x="114" y="59"/>
                      <a:pt x="115" y="58"/>
                    </a:cubicBezTo>
                    <a:cubicBezTo>
                      <a:pt x="115" y="58"/>
                      <a:pt x="115" y="58"/>
                      <a:pt x="115" y="58"/>
                    </a:cubicBezTo>
                    <a:cubicBezTo>
                      <a:pt x="113" y="59"/>
                      <a:pt x="113" y="59"/>
                      <a:pt x="113" y="59"/>
                    </a:cubicBezTo>
                    <a:cubicBezTo>
                      <a:pt x="111" y="59"/>
                      <a:pt x="111" y="59"/>
                      <a:pt x="111" y="59"/>
                    </a:cubicBezTo>
                    <a:cubicBezTo>
                      <a:pt x="109" y="58"/>
                      <a:pt x="109" y="58"/>
                      <a:pt x="109" y="58"/>
                    </a:cubicBezTo>
                    <a:cubicBezTo>
                      <a:pt x="110" y="56"/>
                      <a:pt x="110" y="56"/>
                      <a:pt x="110" y="56"/>
                    </a:cubicBezTo>
                    <a:cubicBezTo>
                      <a:pt x="110" y="56"/>
                      <a:pt x="110" y="55"/>
                      <a:pt x="109" y="55"/>
                    </a:cubicBezTo>
                    <a:cubicBezTo>
                      <a:pt x="109" y="52"/>
                      <a:pt x="106" y="49"/>
                      <a:pt x="105" y="46"/>
                    </a:cubicBezTo>
                    <a:cubicBezTo>
                      <a:pt x="105" y="46"/>
                      <a:pt x="106" y="47"/>
                      <a:pt x="106" y="46"/>
                    </a:cubicBezTo>
                    <a:cubicBezTo>
                      <a:pt x="107" y="46"/>
                      <a:pt x="106" y="45"/>
                      <a:pt x="106" y="44"/>
                    </a:cubicBezTo>
                    <a:cubicBezTo>
                      <a:pt x="106" y="44"/>
                      <a:pt x="105" y="43"/>
                      <a:pt x="105" y="42"/>
                    </a:cubicBezTo>
                    <a:cubicBezTo>
                      <a:pt x="105" y="41"/>
                      <a:pt x="104" y="40"/>
                      <a:pt x="103" y="40"/>
                    </a:cubicBezTo>
                    <a:cubicBezTo>
                      <a:pt x="101" y="38"/>
                      <a:pt x="100" y="35"/>
                      <a:pt x="97" y="34"/>
                    </a:cubicBezTo>
                    <a:cubicBezTo>
                      <a:pt x="97" y="34"/>
                      <a:pt x="97" y="34"/>
                      <a:pt x="97" y="34"/>
                    </a:cubicBezTo>
                    <a:cubicBezTo>
                      <a:pt x="97" y="32"/>
                      <a:pt x="95" y="30"/>
                      <a:pt x="95" y="28"/>
                    </a:cubicBezTo>
                    <a:cubicBezTo>
                      <a:pt x="88" y="29"/>
                      <a:pt x="88" y="29"/>
                      <a:pt x="88" y="29"/>
                    </a:cubicBezTo>
                    <a:cubicBezTo>
                      <a:pt x="88" y="26"/>
                      <a:pt x="88" y="26"/>
                      <a:pt x="88" y="26"/>
                    </a:cubicBezTo>
                    <a:cubicBezTo>
                      <a:pt x="86" y="25"/>
                      <a:pt x="86" y="25"/>
                      <a:pt x="86" y="25"/>
                    </a:cubicBezTo>
                    <a:cubicBezTo>
                      <a:pt x="86" y="25"/>
                      <a:pt x="80" y="24"/>
                      <a:pt x="81" y="24"/>
                    </a:cubicBezTo>
                    <a:cubicBezTo>
                      <a:pt x="68" y="23"/>
                      <a:pt x="68" y="23"/>
                      <a:pt x="68" y="23"/>
                    </a:cubicBezTo>
                    <a:cubicBezTo>
                      <a:pt x="49" y="8"/>
                      <a:pt x="49" y="8"/>
                      <a:pt x="49" y="8"/>
                    </a:cubicBezTo>
                    <a:cubicBezTo>
                      <a:pt x="38" y="1"/>
                      <a:pt x="38" y="1"/>
                      <a:pt x="38" y="1"/>
                    </a:cubicBezTo>
                    <a:cubicBezTo>
                      <a:pt x="31" y="0"/>
                      <a:pt x="31" y="0"/>
                      <a:pt x="31" y="0"/>
                    </a:cubicBezTo>
                    <a:cubicBezTo>
                      <a:pt x="29" y="2"/>
                      <a:pt x="29" y="2"/>
                      <a:pt x="29" y="2"/>
                    </a:cubicBezTo>
                    <a:cubicBezTo>
                      <a:pt x="29" y="2"/>
                      <a:pt x="25" y="3"/>
                      <a:pt x="25" y="3"/>
                    </a:cubicBezTo>
                    <a:cubicBezTo>
                      <a:pt x="24" y="3"/>
                      <a:pt x="16" y="5"/>
                      <a:pt x="16" y="5"/>
                    </a:cubicBezTo>
                    <a:cubicBezTo>
                      <a:pt x="23" y="13"/>
                      <a:pt x="23" y="13"/>
                      <a:pt x="23" y="13"/>
                    </a:cubicBezTo>
                    <a:cubicBezTo>
                      <a:pt x="20" y="15"/>
                      <a:pt x="20" y="15"/>
                      <a:pt x="20" y="15"/>
                    </a:cubicBezTo>
                    <a:cubicBezTo>
                      <a:pt x="19" y="17"/>
                      <a:pt x="19" y="17"/>
                      <a:pt x="19" y="17"/>
                    </a:cubicBezTo>
                    <a:cubicBezTo>
                      <a:pt x="17" y="18"/>
                      <a:pt x="17" y="18"/>
                      <a:pt x="17" y="18"/>
                    </a:cubicBezTo>
                    <a:cubicBezTo>
                      <a:pt x="14" y="18"/>
                      <a:pt x="14" y="18"/>
                      <a:pt x="14" y="18"/>
                    </a:cubicBezTo>
                    <a:cubicBezTo>
                      <a:pt x="10" y="23"/>
                      <a:pt x="10" y="23"/>
                      <a:pt x="10" y="23"/>
                    </a:cubicBezTo>
                    <a:cubicBezTo>
                      <a:pt x="2" y="22"/>
                      <a:pt x="2" y="22"/>
                      <a:pt x="2" y="22"/>
                    </a:cubicBezTo>
                    <a:cubicBezTo>
                      <a:pt x="2" y="23"/>
                      <a:pt x="2" y="23"/>
                      <a:pt x="2" y="23"/>
                    </a:cubicBezTo>
                    <a:cubicBezTo>
                      <a:pt x="0" y="29"/>
                      <a:pt x="0" y="29"/>
                      <a:pt x="0" y="29"/>
                    </a:cubicBezTo>
                    <a:cubicBezTo>
                      <a:pt x="0" y="31"/>
                      <a:pt x="0" y="31"/>
                      <a:pt x="0" y="31"/>
                    </a:cubicBezTo>
                    <a:cubicBezTo>
                      <a:pt x="2" y="32"/>
                      <a:pt x="2" y="32"/>
                      <a:pt x="2" y="32"/>
                    </a:cubicBezTo>
                    <a:cubicBezTo>
                      <a:pt x="4" y="34"/>
                      <a:pt x="5" y="36"/>
                      <a:pt x="6" y="37"/>
                    </a:cubicBezTo>
                    <a:cubicBezTo>
                      <a:pt x="7" y="39"/>
                      <a:pt x="8" y="40"/>
                      <a:pt x="8" y="42"/>
                    </a:cubicBezTo>
                    <a:cubicBezTo>
                      <a:pt x="9" y="43"/>
                      <a:pt x="9" y="44"/>
                      <a:pt x="10" y="45"/>
                    </a:cubicBezTo>
                    <a:cubicBezTo>
                      <a:pt x="11" y="48"/>
                      <a:pt x="14" y="50"/>
                      <a:pt x="17" y="53"/>
                    </a:cubicBezTo>
                    <a:cubicBezTo>
                      <a:pt x="17" y="55"/>
                      <a:pt x="17" y="57"/>
                      <a:pt x="18" y="60"/>
                    </a:cubicBezTo>
                    <a:cubicBezTo>
                      <a:pt x="18" y="60"/>
                      <a:pt x="18" y="61"/>
                      <a:pt x="18" y="61"/>
                    </a:cubicBezTo>
                    <a:cubicBezTo>
                      <a:pt x="19" y="62"/>
                      <a:pt x="19" y="62"/>
                      <a:pt x="20" y="62"/>
                    </a:cubicBezTo>
                    <a:cubicBezTo>
                      <a:pt x="22" y="62"/>
                      <a:pt x="24" y="64"/>
                      <a:pt x="25" y="66"/>
                    </a:cubicBezTo>
                    <a:cubicBezTo>
                      <a:pt x="26" y="68"/>
                      <a:pt x="26" y="69"/>
                      <a:pt x="27" y="70"/>
                    </a:cubicBezTo>
                    <a:cubicBezTo>
                      <a:pt x="27" y="70"/>
                      <a:pt x="28" y="71"/>
                      <a:pt x="28" y="71"/>
                    </a:cubicBezTo>
                    <a:cubicBezTo>
                      <a:pt x="29" y="73"/>
                      <a:pt x="29" y="76"/>
                      <a:pt x="29" y="78"/>
                    </a:cubicBezTo>
                    <a:cubicBezTo>
                      <a:pt x="30" y="82"/>
                      <a:pt x="30" y="86"/>
                      <a:pt x="34" y="89"/>
                    </a:cubicBezTo>
                    <a:cubicBezTo>
                      <a:pt x="35" y="90"/>
                      <a:pt x="37" y="91"/>
                      <a:pt x="39" y="92"/>
                    </a:cubicBezTo>
                    <a:cubicBezTo>
                      <a:pt x="41" y="94"/>
                      <a:pt x="43" y="97"/>
                      <a:pt x="44" y="100"/>
                    </a:cubicBezTo>
                    <a:cubicBezTo>
                      <a:pt x="44" y="101"/>
                      <a:pt x="44" y="102"/>
                      <a:pt x="44" y="103"/>
                    </a:cubicBezTo>
                    <a:cubicBezTo>
                      <a:pt x="44" y="103"/>
                      <a:pt x="45" y="104"/>
                      <a:pt x="45" y="105"/>
                    </a:cubicBezTo>
                    <a:cubicBezTo>
                      <a:pt x="48" y="107"/>
                      <a:pt x="50" y="110"/>
                      <a:pt x="52" y="113"/>
                    </a:cubicBezTo>
                    <a:cubicBezTo>
                      <a:pt x="53" y="115"/>
                      <a:pt x="54" y="117"/>
                      <a:pt x="55" y="119"/>
                    </a:cubicBezTo>
                    <a:cubicBezTo>
                      <a:pt x="56" y="118"/>
                      <a:pt x="58" y="117"/>
                      <a:pt x="58" y="117"/>
                    </a:cubicBezTo>
                    <a:cubicBezTo>
                      <a:pt x="58" y="117"/>
                      <a:pt x="58" y="116"/>
                      <a:pt x="58" y="115"/>
                    </a:cubicBezTo>
                    <a:cubicBezTo>
                      <a:pt x="58" y="115"/>
                      <a:pt x="59" y="111"/>
                      <a:pt x="59" y="111"/>
                    </a:cubicBezTo>
                    <a:cubicBezTo>
                      <a:pt x="69" y="111"/>
                      <a:pt x="69" y="111"/>
                      <a:pt x="69" y="111"/>
                    </a:cubicBezTo>
                    <a:cubicBezTo>
                      <a:pt x="69" y="111"/>
                      <a:pt x="79" y="112"/>
                      <a:pt x="80" y="112"/>
                    </a:cubicBezTo>
                    <a:cubicBezTo>
                      <a:pt x="80" y="112"/>
                      <a:pt x="85" y="115"/>
                      <a:pt x="85" y="114"/>
                    </a:cubicBezTo>
                    <a:cubicBezTo>
                      <a:pt x="85" y="114"/>
                      <a:pt x="91" y="106"/>
                      <a:pt x="91" y="106"/>
                    </a:cubicBezTo>
                    <a:cubicBezTo>
                      <a:pt x="92" y="106"/>
                      <a:pt x="96" y="103"/>
                      <a:pt x="96" y="103"/>
                    </a:cubicBezTo>
                    <a:cubicBezTo>
                      <a:pt x="96" y="103"/>
                      <a:pt x="106" y="102"/>
                      <a:pt x="106" y="102"/>
                    </a:cubicBezTo>
                    <a:cubicBezTo>
                      <a:pt x="106" y="102"/>
                      <a:pt x="117" y="100"/>
                      <a:pt x="117" y="100"/>
                    </a:cubicBezTo>
                    <a:cubicBezTo>
                      <a:pt x="130" y="95"/>
                      <a:pt x="130" y="95"/>
                      <a:pt x="130" y="95"/>
                    </a:cubicBezTo>
                    <a:cubicBezTo>
                      <a:pt x="138" y="92"/>
                      <a:pt x="138" y="92"/>
                      <a:pt x="138" y="92"/>
                    </a:cubicBezTo>
                    <a:cubicBezTo>
                      <a:pt x="142" y="78"/>
                      <a:pt x="142" y="78"/>
                      <a:pt x="142" y="78"/>
                    </a:cubicBezTo>
                    <a:lnTo>
                      <a:pt x="139"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3" name="Freeform 862">
                <a:extLst>
                  <a:ext uri="{FF2B5EF4-FFF2-40B4-BE49-F238E27FC236}">
                    <a16:creationId xmlns:a16="http://schemas.microsoft.com/office/drawing/2014/main" id="{B23B0B85-8C9D-5738-4EF2-2F935720EB8D}"/>
                  </a:ext>
                </a:extLst>
              </p:cNvPr>
              <p:cNvSpPr>
                <a:spLocks noEditPoints="1"/>
              </p:cNvSpPr>
              <p:nvPr/>
            </p:nvSpPr>
            <p:spPr bwMode="auto">
              <a:xfrm>
                <a:off x="8081963" y="4741863"/>
                <a:ext cx="1273175" cy="461963"/>
              </a:xfrm>
              <a:custGeom>
                <a:avLst/>
                <a:gdLst>
                  <a:gd name="T0" fmla="*/ 144 w 306"/>
                  <a:gd name="T1" fmla="*/ 97 h 111"/>
                  <a:gd name="T2" fmla="*/ 149 w 306"/>
                  <a:gd name="T3" fmla="*/ 93 h 111"/>
                  <a:gd name="T4" fmla="*/ 172 w 306"/>
                  <a:gd name="T5" fmla="*/ 47 h 111"/>
                  <a:gd name="T6" fmla="*/ 179 w 306"/>
                  <a:gd name="T7" fmla="*/ 53 h 111"/>
                  <a:gd name="T8" fmla="*/ 174 w 306"/>
                  <a:gd name="T9" fmla="*/ 62 h 111"/>
                  <a:gd name="T10" fmla="*/ 164 w 306"/>
                  <a:gd name="T11" fmla="*/ 64 h 111"/>
                  <a:gd name="T12" fmla="*/ 182 w 306"/>
                  <a:gd name="T13" fmla="*/ 31 h 111"/>
                  <a:gd name="T14" fmla="*/ 35 w 306"/>
                  <a:gd name="T15" fmla="*/ 59 h 111"/>
                  <a:gd name="T16" fmla="*/ 187 w 306"/>
                  <a:gd name="T17" fmla="*/ 64 h 111"/>
                  <a:gd name="T18" fmla="*/ 141 w 306"/>
                  <a:gd name="T19" fmla="*/ 65 h 111"/>
                  <a:gd name="T20" fmla="*/ 64 w 306"/>
                  <a:gd name="T21" fmla="*/ 31 h 111"/>
                  <a:gd name="T22" fmla="*/ 59 w 306"/>
                  <a:gd name="T23" fmla="*/ 32 h 111"/>
                  <a:gd name="T24" fmla="*/ 61 w 306"/>
                  <a:gd name="T25" fmla="*/ 36 h 111"/>
                  <a:gd name="T26" fmla="*/ 48 w 306"/>
                  <a:gd name="T27" fmla="*/ 29 h 111"/>
                  <a:gd name="T28" fmla="*/ 54 w 306"/>
                  <a:gd name="T29" fmla="*/ 34 h 111"/>
                  <a:gd name="T30" fmla="*/ 18 w 306"/>
                  <a:gd name="T31" fmla="*/ 33 h 111"/>
                  <a:gd name="T32" fmla="*/ 203 w 306"/>
                  <a:gd name="T33" fmla="*/ 50 h 111"/>
                  <a:gd name="T34" fmla="*/ 222 w 306"/>
                  <a:gd name="T35" fmla="*/ 43 h 111"/>
                  <a:gd name="T36" fmla="*/ 219 w 306"/>
                  <a:gd name="T37" fmla="*/ 32 h 111"/>
                  <a:gd name="T38" fmla="*/ 222 w 306"/>
                  <a:gd name="T39" fmla="*/ 22 h 111"/>
                  <a:gd name="T40" fmla="*/ 222 w 306"/>
                  <a:gd name="T41" fmla="*/ 62 h 111"/>
                  <a:gd name="T42" fmla="*/ 214 w 306"/>
                  <a:gd name="T43" fmla="*/ 60 h 111"/>
                  <a:gd name="T44" fmla="*/ 254 w 306"/>
                  <a:gd name="T45" fmla="*/ 75 h 111"/>
                  <a:gd name="T46" fmla="*/ 264 w 306"/>
                  <a:gd name="T47" fmla="*/ 81 h 111"/>
                  <a:gd name="T48" fmla="*/ 219 w 306"/>
                  <a:gd name="T49" fmla="*/ 59 h 111"/>
                  <a:gd name="T50" fmla="*/ 235 w 306"/>
                  <a:gd name="T51" fmla="*/ 39 h 111"/>
                  <a:gd name="T52" fmla="*/ 238 w 306"/>
                  <a:gd name="T53" fmla="*/ 46 h 111"/>
                  <a:gd name="T54" fmla="*/ 253 w 306"/>
                  <a:gd name="T55" fmla="*/ 42 h 111"/>
                  <a:gd name="T56" fmla="*/ 244 w 306"/>
                  <a:gd name="T57" fmla="*/ 49 h 111"/>
                  <a:gd name="T58" fmla="*/ 255 w 306"/>
                  <a:gd name="T59" fmla="*/ 55 h 111"/>
                  <a:gd name="T60" fmla="*/ 250 w 306"/>
                  <a:gd name="T61" fmla="*/ 64 h 111"/>
                  <a:gd name="T62" fmla="*/ 258 w 306"/>
                  <a:gd name="T63" fmla="*/ 63 h 111"/>
                  <a:gd name="T64" fmla="*/ 274 w 306"/>
                  <a:gd name="T65" fmla="*/ 45 h 111"/>
                  <a:gd name="T66" fmla="*/ 290 w 306"/>
                  <a:gd name="T67" fmla="*/ 84 h 111"/>
                  <a:gd name="T68" fmla="*/ 305 w 306"/>
                  <a:gd name="T69" fmla="*/ 80 h 111"/>
                  <a:gd name="T70" fmla="*/ 264 w 306"/>
                  <a:gd name="T71" fmla="*/ 57 h 111"/>
                  <a:gd name="T72" fmla="*/ 281 w 306"/>
                  <a:gd name="T73" fmla="*/ 72 h 111"/>
                  <a:gd name="T74" fmla="*/ 288 w 306"/>
                  <a:gd name="T75" fmla="*/ 76 h 111"/>
                  <a:gd name="T76" fmla="*/ 294 w 306"/>
                  <a:gd name="T77" fmla="*/ 93 h 111"/>
                  <a:gd name="T78" fmla="*/ 243 w 306"/>
                  <a:gd name="T79" fmla="*/ 86 h 111"/>
                  <a:gd name="T80" fmla="*/ 41 w 306"/>
                  <a:gd name="T81" fmla="*/ 56 h 111"/>
                  <a:gd name="T82" fmla="*/ 0 w 306"/>
                  <a:gd name="T83" fmla="*/ 1 h 111"/>
                  <a:gd name="T84" fmla="*/ 41 w 306"/>
                  <a:gd name="T85" fmla="*/ 25 h 111"/>
                  <a:gd name="T86" fmla="*/ 63 w 306"/>
                  <a:gd name="T87" fmla="*/ 50 h 111"/>
                  <a:gd name="T88" fmla="*/ 188 w 306"/>
                  <a:gd name="T89" fmla="*/ 109 h 111"/>
                  <a:gd name="T90" fmla="*/ 192 w 306"/>
                  <a:gd name="T91" fmla="*/ 101 h 111"/>
                  <a:gd name="T92" fmla="*/ 164 w 306"/>
                  <a:gd name="T93" fmla="*/ 95 h 111"/>
                  <a:gd name="T94" fmla="*/ 190 w 306"/>
                  <a:gd name="T95" fmla="*/ 94 h 111"/>
                  <a:gd name="T96" fmla="*/ 177 w 306"/>
                  <a:gd name="T97" fmla="*/ 109 h 111"/>
                  <a:gd name="T98" fmla="*/ 177 w 306"/>
                  <a:gd name="T99" fmla="*/ 95 h 111"/>
                  <a:gd name="T100" fmla="*/ 179 w 306"/>
                  <a:gd name="T101" fmla="*/ 97 h 111"/>
                  <a:gd name="T102" fmla="*/ 128 w 306"/>
                  <a:gd name="T103" fmla="*/ 96 h 111"/>
                  <a:gd name="T104" fmla="*/ 74 w 306"/>
                  <a:gd name="T105" fmla="*/ 86 h 111"/>
                  <a:gd name="T106" fmla="*/ 103 w 306"/>
                  <a:gd name="T107" fmla="*/ 83 h 111"/>
                  <a:gd name="T108" fmla="*/ 124 w 306"/>
                  <a:gd name="T109" fmla="*/ 85 h 111"/>
                  <a:gd name="T110" fmla="*/ 78 w 306"/>
                  <a:gd name="T111" fmla="*/ 57 h 111"/>
                  <a:gd name="T112" fmla="*/ 129 w 306"/>
                  <a:gd name="T113" fmla="*/ 92 h 111"/>
                  <a:gd name="T114" fmla="*/ 99 w 306"/>
                  <a:gd name="T115" fmla="*/ 27 h 111"/>
                  <a:gd name="T116" fmla="*/ 101 w 306"/>
                  <a:gd name="T117" fmla="*/ 58 h 111"/>
                  <a:gd name="T118" fmla="*/ 139 w 306"/>
                  <a:gd name="T119" fmla="*/ 61 h 111"/>
                  <a:gd name="T120" fmla="*/ 144 w 306"/>
                  <a:gd name="T121" fmla="*/ 45 h 111"/>
                  <a:gd name="T122" fmla="*/ 152 w 306"/>
                  <a:gd name="T123" fmla="*/ 31 h 111"/>
                  <a:gd name="T124" fmla="*/ 150 w 306"/>
                  <a:gd name="T125" fmla="*/ 1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111">
                    <a:moveTo>
                      <a:pt x="159" y="96"/>
                    </a:moveTo>
                    <a:cubicBezTo>
                      <a:pt x="159" y="96"/>
                      <a:pt x="159" y="96"/>
                      <a:pt x="159" y="96"/>
                    </a:cubicBezTo>
                    <a:cubicBezTo>
                      <a:pt x="159" y="96"/>
                      <a:pt x="158" y="96"/>
                      <a:pt x="158" y="96"/>
                    </a:cubicBezTo>
                    <a:cubicBezTo>
                      <a:pt x="158" y="96"/>
                      <a:pt x="158" y="96"/>
                      <a:pt x="158" y="96"/>
                    </a:cubicBezTo>
                    <a:cubicBezTo>
                      <a:pt x="158" y="96"/>
                      <a:pt x="158" y="96"/>
                      <a:pt x="158" y="97"/>
                    </a:cubicBezTo>
                    <a:cubicBezTo>
                      <a:pt x="158" y="97"/>
                      <a:pt x="158" y="96"/>
                      <a:pt x="157" y="96"/>
                    </a:cubicBezTo>
                    <a:cubicBezTo>
                      <a:pt x="157" y="96"/>
                      <a:pt x="157" y="96"/>
                      <a:pt x="157" y="96"/>
                    </a:cubicBezTo>
                    <a:cubicBezTo>
                      <a:pt x="157" y="96"/>
                      <a:pt x="157" y="96"/>
                      <a:pt x="158" y="96"/>
                    </a:cubicBezTo>
                    <a:cubicBezTo>
                      <a:pt x="158" y="96"/>
                      <a:pt x="158" y="96"/>
                      <a:pt x="158" y="96"/>
                    </a:cubicBezTo>
                    <a:cubicBezTo>
                      <a:pt x="158" y="96"/>
                      <a:pt x="158" y="96"/>
                      <a:pt x="158" y="96"/>
                    </a:cubicBezTo>
                    <a:cubicBezTo>
                      <a:pt x="158" y="96"/>
                      <a:pt x="158" y="96"/>
                      <a:pt x="158" y="96"/>
                    </a:cubicBezTo>
                    <a:cubicBezTo>
                      <a:pt x="158" y="96"/>
                      <a:pt x="158" y="96"/>
                      <a:pt x="158" y="96"/>
                    </a:cubicBezTo>
                    <a:cubicBezTo>
                      <a:pt x="158" y="96"/>
                      <a:pt x="158" y="96"/>
                      <a:pt x="159" y="96"/>
                    </a:cubicBezTo>
                    <a:cubicBezTo>
                      <a:pt x="159" y="96"/>
                      <a:pt x="159" y="96"/>
                      <a:pt x="159" y="96"/>
                    </a:cubicBezTo>
                    <a:cubicBezTo>
                      <a:pt x="159" y="96"/>
                      <a:pt x="159" y="96"/>
                      <a:pt x="159" y="96"/>
                    </a:cubicBezTo>
                    <a:cubicBezTo>
                      <a:pt x="159" y="96"/>
                      <a:pt x="159" y="96"/>
                      <a:pt x="159" y="96"/>
                    </a:cubicBezTo>
                    <a:cubicBezTo>
                      <a:pt x="159" y="96"/>
                      <a:pt x="159" y="96"/>
                      <a:pt x="159" y="96"/>
                    </a:cubicBezTo>
                    <a:cubicBezTo>
                      <a:pt x="159" y="96"/>
                      <a:pt x="159" y="96"/>
                      <a:pt x="160" y="96"/>
                    </a:cubicBezTo>
                    <a:cubicBezTo>
                      <a:pt x="160" y="96"/>
                      <a:pt x="160" y="96"/>
                      <a:pt x="160" y="96"/>
                    </a:cubicBezTo>
                    <a:cubicBezTo>
                      <a:pt x="160" y="96"/>
                      <a:pt x="160" y="96"/>
                      <a:pt x="160" y="96"/>
                    </a:cubicBezTo>
                    <a:cubicBezTo>
                      <a:pt x="160" y="96"/>
                      <a:pt x="160" y="96"/>
                      <a:pt x="160" y="96"/>
                    </a:cubicBezTo>
                    <a:cubicBezTo>
                      <a:pt x="160" y="96"/>
                      <a:pt x="160" y="96"/>
                      <a:pt x="160" y="96"/>
                    </a:cubicBezTo>
                    <a:cubicBezTo>
                      <a:pt x="160" y="96"/>
                      <a:pt x="160" y="96"/>
                      <a:pt x="161" y="96"/>
                    </a:cubicBezTo>
                    <a:cubicBezTo>
                      <a:pt x="161" y="96"/>
                      <a:pt x="161" y="96"/>
                      <a:pt x="161" y="96"/>
                    </a:cubicBezTo>
                    <a:cubicBezTo>
                      <a:pt x="161" y="96"/>
                      <a:pt x="161" y="96"/>
                      <a:pt x="161" y="96"/>
                    </a:cubicBezTo>
                    <a:cubicBezTo>
                      <a:pt x="161" y="95"/>
                      <a:pt x="161" y="95"/>
                      <a:pt x="161" y="95"/>
                    </a:cubicBezTo>
                    <a:cubicBezTo>
                      <a:pt x="161" y="95"/>
                      <a:pt x="161" y="95"/>
                      <a:pt x="161" y="95"/>
                    </a:cubicBezTo>
                    <a:cubicBezTo>
                      <a:pt x="161" y="95"/>
                      <a:pt x="160" y="95"/>
                      <a:pt x="160" y="95"/>
                    </a:cubicBezTo>
                    <a:cubicBezTo>
                      <a:pt x="160" y="95"/>
                      <a:pt x="160" y="95"/>
                      <a:pt x="160" y="95"/>
                    </a:cubicBezTo>
                    <a:cubicBezTo>
                      <a:pt x="160" y="95"/>
                      <a:pt x="160" y="96"/>
                      <a:pt x="160" y="96"/>
                    </a:cubicBezTo>
                    <a:cubicBezTo>
                      <a:pt x="160" y="96"/>
                      <a:pt x="160" y="96"/>
                      <a:pt x="160" y="96"/>
                    </a:cubicBezTo>
                    <a:cubicBezTo>
                      <a:pt x="160" y="95"/>
                      <a:pt x="160" y="95"/>
                      <a:pt x="160" y="95"/>
                    </a:cubicBezTo>
                    <a:cubicBezTo>
                      <a:pt x="160" y="95"/>
                      <a:pt x="160" y="95"/>
                      <a:pt x="160" y="95"/>
                    </a:cubicBezTo>
                    <a:cubicBezTo>
                      <a:pt x="160" y="95"/>
                      <a:pt x="160" y="95"/>
                      <a:pt x="160" y="95"/>
                    </a:cubicBezTo>
                    <a:cubicBezTo>
                      <a:pt x="160" y="95"/>
                      <a:pt x="160" y="95"/>
                      <a:pt x="160" y="95"/>
                    </a:cubicBezTo>
                    <a:cubicBezTo>
                      <a:pt x="160" y="95"/>
                      <a:pt x="160" y="94"/>
                      <a:pt x="160" y="94"/>
                    </a:cubicBezTo>
                    <a:cubicBezTo>
                      <a:pt x="160" y="94"/>
                      <a:pt x="160" y="94"/>
                      <a:pt x="160" y="94"/>
                    </a:cubicBezTo>
                    <a:cubicBezTo>
                      <a:pt x="160" y="94"/>
                      <a:pt x="159" y="94"/>
                      <a:pt x="159" y="94"/>
                    </a:cubicBezTo>
                    <a:cubicBezTo>
                      <a:pt x="159" y="94"/>
                      <a:pt x="159" y="94"/>
                      <a:pt x="159" y="94"/>
                    </a:cubicBezTo>
                    <a:cubicBezTo>
                      <a:pt x="159" y="93"/>
                      <a:pt x="159" y="93"/>
                      <a:pt x="159" y="93"/>
                    </a:cubicBezTo>
                    <a:cubicBezTo>
                      <a:pt x="159" y="93"/>
                      <a:pt x="159" y="93"/>
                      <a:pt x="159" y="93"/>
                    </a:cubicBezTo>
                    <a:cubicBezTo>
                      <a:pt x="159" y="93"/>
                      <a:pt x="159" y="93"/>
                      <a:pt x="159" y="93"/>
                    </a:cubicBezTo>
                    <a:cubicBezTo>
                      <a:pt x="158" y="93"/>
                      <a:pt x="158" y="93"/>
                      <a:pt x="158" y="93"/>
                    </a:cubicBezTo>
                    <a:cubicBezTo>
                      <a:pt x="158" y="93"/>
                      <a:pt x="158" y="93"/>
                      <a:pt x="158" y="93"/>
                    </a:cubicBezTo>
                    <a:cubicBezTo>
                      <a:pt x="158" y="93"/>
                      <a:pt x="158" y="93"/>
                      <a:pt x="158" y="93"/>
                    </a:cubicBezTo>
                    <a:cubicBezTo>
                      <a:pt x="158" y="94"/>
                      <a:pt x="158" y="94"/>
                      <a:pt x="158" y="94"/>
                    </a:cubicBezTo>
                    <a:cubicBezTo>
                      <a:pt x="158" y="94"/>
                      <a:pt x="158" y="94"/>
                      <a:pt x="158" y="94"/>
                    </a:cubicBezTo>
                    <a:cubicBezTo>
                      <a:pt x="158" y="94"/>
                      <a:pt x="158" y="94"/>
                      <a:pt x="157" y="95"/>
                    </a:cubicBezTo>
                    <a:cubicBezTo>
                      <a:pt x="157" y="95"/>
                      <a:pt x="157" y="95"/>
                      <a:pt x="157" y="95"/>
                    </a:cubicBezTo>
                    <a:cubicBezTo>
                      <a:pt x="157" y="95"/>
                      <a:pt x="157" y="95"/>
                      <a:pt x="157" y="95"/>
                    </a:cubicBezTo>
                    <a:cubicBezTo>
                      <a:pt x="157" y="95"/>
                      <a:pt x="157" y="95"/>
                      <a:pt x="157" y="94"/>
                    </a:cubicBezTo>
                    <a:cubicBezTo>
                      <a:pt x="157" y="94"/>
                      <a:pt x="157" y="94"/>
                      <a:pt x="157" y="94"/>
                    </a:cubicBezTo>
                    <a:cubicBezTo>
                      <a:pt x="157" y="94"/>
                      <a:pt x="157" y="94"/>
                      <a:pt x="157" y="94"/>
                    </a:cubicBezTo>
                    <a:cubicBezTo>
                      <a:pt x="157" y="93"/>
                      <a:pt x="157" y="93"/>
                      <a:pt x="157" y="93"/>
                    </a:cubicBezTo>
                    <a:cubicBezTo>
                      <a:pt x="157" y="93"/>
                      <a:pt x="157" y="93"/>
                      <a:pt x="157" y="93"/>
                    </a:cubicBezTo>
                    <a:cubicBezTo>
                      <a:pt x="157" y="93"/>
                      <a:pt x="157" y="93"/>
                      <a:pt x="157" y="93"/>
                    </a:cubicBezTo>
                    <a:cubicBezTo>
                      <a:pt x="156" y="93"/>
                      <a:pt x="156" y="93"/>
                      <a:pt x="156" y="93"/>
                    </a:cubicBezTo>
                    <a:cubicBezTo>
                      <a:pt x="156" y="93"/>
                      <a:pt x="156" y="93"/>
                      <a:pt x="156" y="93"/>
                    </a:cubicBezTo>
                    <a:cubicBezTo>
                      <a:pt x="156" y="93"/>
                      <a:pt x="156" y="93"/>
                      <a:pt x="156" y="93"/>
                    </a:cubicBezTo>
                    <a:cubicBezTo>
                      <a:pt x="156" y="93"/>
                      <a:pt x="156" y="93"/>
                      <a:pt x="156" y="93"/>
                    </a:cubicBezTo>
                    <a:cubicBezTo>
                      <a:pt x="156" y="93"/>
                      <a:pt x="155" y="93"/>
                      <a:pt x="155" y="94"/>
                    </a:cubicBezTo>
                    <a:cubicBezTo>
                      <a:pt x="155" y="94"/>
                      <a:pt x="155" y="94"/>
                      <a:pt x="155" y="94"/>
                    </a:cubicBezTo>
                    <a:cubicBezTo>
                      <a:pt x="154" y="94"/>
                      <a:pt x="154" y="94"/>
                      <a:pt x="154" y="93"/>
                    </a:cubicBezTo>
                    <a:cubicBezTo>
                      <a:pt x="154" y="93"/>
                      <a:pt x="154" y="93"/>
                      <a:pt x="154" y="93"/>
                    </a:cubicBezTo>
                    <a:cubicBezTo>
                      <a:pt x="154" y="93"/>
                      <a:pt x="154" y="93"/>
                      <a:pt x="154" y="93"/>
                    </a:cubicBezTo>
                    <a:cubicBezTo>
                      <a:pt x="154" y="93"/>
                      <a:pt x="154" y="93"/>
                      <a:pt x="154" y="93"/>
                    </a:cubicBezTo>
                    <a:cubicBezTo>
                      <a:pt x="154" y="93"/>
                      <a:pt x="154" y="93"/>
                      <a:pt x="154" y="93"/>
                    </a:cubicBezTo>
                    <a:cubicBezTo>
                      <a:pt x="154" y="92"/>
                      <a:pt x="154" y="92"/>
                      <a:pt x="154" y="92"/>
                    </a:cubicBezTo>
                    <a:cubicBezTo>
                      <a:pt x="154" y="92"/>
                      <a:pt x="154" y="92"/>
                      <a:pt x="153" y="92"/>
                    </a:cubicBezTo>
                    <a:cubicBezTo>
                      <a:pt x="153" y="92"/>
                      <a:pt x="153" y="92"/>
                      <a:pt x="153" y="92"/>
                    </a:cubicBezTo>
                    <a:cubicBezTo>
                      <a:pt x="153" y="92"/>
                      <a:pt x="153" y="92"/>
                      <a:pt x="153" y="92"/>
                    </a:cubicBezTo>
                    <a:cubicBezTo>
                      <a:pt x="153" y="92"/>
                      <a:pt x="153" y="92"/>
                      <a:pt x="153" y="92"/>
                    </a:cubicBezTo>
                    <a:cubicBezTo>
                      <a:pt x="152" y="92"/>
                      <a:pt x="152" y="92"/>
                      <a:pt x="152" y="92"/>
                    </a:cubicBezTo>
                    <a:cubicBezTo>
                      <a:pt x="152" y="92"/>
                      <a:pt x="152" y="92"/>
                      <a:pt x="152" y="92"/>
                    </a:cubicBezTo>
                    <a:cubicBezTo>
                      <a:pt x="152" y="92"/>
                      <a:pt x="152" y="92"/>
                      <a:pt x="152" y="92"/>
                    </a:cubicBezTo>
                    <a:cubicBezTo>
                      <a:pt x="151" y="92"/>
                      <a:pt x="151" y="92"/>
                      <a:pt x="151" y="92"/>
                    </a:cubicBezTo>
                    <a:cubicBezTo>
                      <a:pt x="151" y="92"/>
                      <a:pt x="151" y="92"/>
                      <a:pt x="151" y="92"/>
                    </a:cubicBezTo>
                    <a:cubicBezTo>
                      <a:pt x="151" y="92"/>
                      <a:pt x="151" y="93"/>
                      <a:pt x="151" y="93"/>
                    </a:cubicBezTo>
                    <a:cubicBezTo>
                      <a:pt x="151" y="93"/>
                      <a:pt x="151" y="93"/>
                      <a:pt x="151" y="93"/>
                    </a:cubicBezTo>
                    <a:cubicBezTo>
                      <a:pt x="151" y="93"/>
                      <a:pt x="151" y="93"/>
                      <a:pt x="151" y="93"/>
                    </a:cubicBezTo>
                    <a:cubicBezTo>
                      <a:pt x="151" y="93"/>
                      <a:pt x="151" y="94"/>
                      <a:pt x="152" y="94"/>
                    </a:cubicBezTo>
                    <a:cubicBezTo>
                      <a:pt x="152" y="94"/>
                      <a:pt x="152" y="94"/>
                      <a:pt x="152" y="94"/>
                    </a:cubicBezTo>
                    <a:cubicBezTo>
                      <a:pt x="152" y="94"/>
                      <a:pt x="153" y="94"/>
                      <a:pt x="153" y="94"/>
                    </a:cubicBezTo>
                    <a:cubicBezTo>
                      <a:pt x="153" y="94"/>
                      <a:pt x="153" y="94"/>
                      <a:pt x="153" y="94"/>
                    </a:cubicBezTo>
                    <a:cubicBezTo>
                      <a:pt x="153" y="95"/>
                      <a:pt x="154" y="95"/>
                      <a:pt x="154" y="95"/>
                    </a:cubicBezTo>
                    <a:cubicBezTo>
                      <a:pt x="154" y="95"/>
                      <a:pt x="154" y="95"/>
                      <a:pt x="154" y="95"/>
                    </a:cubicBezTo>
                    <a:cubicBezTo>
                      <a:pt x="154" y="95"/>
                      <a:pt x="155" y="95"/>
                      <a:pt x="155" y="95"/>
                    </a:cubicBezTo>
                    <a:cubicBezTo>
                      <a:pt x="155" y="96"/>
                      <a:pt x="154" y="96"/>
                      <a:pt x="154" y="96"/>
                    </a:cubicBezTo>
                    <a:cubicBezTo>
                      <a:pt x="154" y="96"/>
                      <a:pt x="154" y="96"/>
                      <a:pt x="154" y="96"/>
                    </a:cubicBezTo>
                    <a:cubicBezTo>
                      <a:pt x="154" y="96"/>
                      <a:pt x="154" y="96"/>
                      <a:pt x="153" y="96"/>
                    </a:cubicBezTo>
                    <a:cubicBezTo>
                      <a:pt x="153" y="96"/>
                      <a:pt x="153" y="96"/>
                      <a:pt x="153" y="96"/>
                    </a:cubicBezTo>
                    <a:cubicBezTo>
                      <a:pt x="152" y="96"/>
                      <a:pt x="153" y="96"/>
                      <a:pt x="153"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1" y="96"/>
                      <a:pt x="151" y="96"/>
                    </a:cubicBezTo>
                    <a:cubicBezTo>
                      <a:pt x="151" y="96"/>
                      <a:pt x="151" y="96"/>
                      <a:pt x="151" y="96"/>
                    </a:cubicBezTo>
                    <a:cubicBezTo>
                      <a:pt x="151" y="96"/>
                      <a:pt x="151" y="96"/>
                      <a:pt x="151" y="96"/>
                    </a:cubicBezTo>
                    <a:cubicBezTo>
                      <a:pt x="151" y="96"/>
                      <a:pt x="151" y="95"/>
                      <a:pt x="151" y="95"/>
                    </a:cubicBezTo>
                    <a:cubicBezTo>
                      <a:pt x="151" y="95"/>
                      <a:pt x="151" y="95"/>
                      <a:pt x="151" y="95"/>
                    </a:cubicBezTo>
                    <a:cubicBezTo>
                      <a:pt x="151" y="95"/>
                      <a:pt x="151" y="95"/>
                      <a:pt x="151" y="95"/>
                    </a:cubicBezTo>
                    <a:cubicBezTo>
                      <a:pt x="151" y="95"/>
                      <a:pt x="150" y="95"/>
                      <a:pt x="150" y="95"/>
                    </a:cubicBezTo>
                    <a:cubicBezTo>
                      <a:pt x="150" y="95"/>
                      <a:pt x="150" y="95"/>
                      <a:pt x="150" y="95"/>
                    </a:cubicBezTo>
                    <a:cubicBezTo>
                      <a:pt x="150" y="95"/>
                      <a:pt x="150" y="94"/>
                      <a:pt x="150" y="94"/>
                    </a:cubicBezTo>
                    <a:cubicBezTo>
                      <a:pt x="150" y="94"/>
                      <a:pt x="150" y="94"/>
                      <a:pt x="150" y="94"/>
                    </a:cubicBezTo>
                    <a:cubicBezTo>
                      <a:pt x="150" y="94"/>
                      <a:pt x="150" y="95"/>
                      <a:pt x="150" y="95"/>
                    </a:cubicBezTo>
                    <a:cubicBezTo>
                      <a:pt x="150" y="95"/>
                      <a:pt x="150" y="95"/>
                      <a:pt x="150" y="95"/>
                    </a:cubicBezTo>
                    <a:cubicBezTo>
                      <a:pt x="150" y="95"/>
                      <a:pt x="150" y="94"/>
                      <a:pt x="150" y="94"/>
                    </a:cubicBezTo>
                    <a:cubicBezTo>
                      <a:pt x="150" y="94"/>
                      <a:pt x="150" y="94"/>
                      <a:pt x="150" y="94"/>
                    </a:cubicBezTo>
                    <a:cubicBezTo>
                      <a:pt x="149" y="94"/>
                      <a:pt x="149" y="94"/>
                      <a:pt x="149" y="94"/>
                    </a:cubicBezTo>
                    <a:cubicBezTo>
                      <a:pt x="149" y="94"/>
                      <a:pt x="149" y="94"/>
                      <a:pt x="149" y="94"/>
                    </a:cubicBezTo>
                    <a:cubicBezTo>
                      <a:pt x="149" y="94"/>
                      <a:pt x="149" y="94"/>
                      <a:pt x="149" y="94"/>
                    </a:cubicBezTo>
                    <a:cubicBezTo>
                      <a:pt x="148" y="94"/>
                      <a:pt x="148" y="94"/>
                      <a:pt x="148" y="94"/>
                    </a:cubicBezTo>
                    <a:cubicBezTo>
                      <a:pt x="148" y="94"/>
                      <a:pt x="148" y="94"/>
                      <a:pt x="147" y="94"/>
                    </a:cubicBezTo>
                    <a:cubicBezTo>
                      <a:pt x="147" y="94"/>
                      <a:pt x="147" y="94"/>
                      <a:pt x="147" y="94"/>
                    </a:cubicBezTo>
                    <a:cubicBezTo>
                      <a:pt x="147" y="94"/>
                      <a:pt x="147" y="94"/>
                      <a:pt x="147" y="94"/>
                    </a:cubicBezTo>
                    <a:cubicBezTo>
                      <a:pt x="146" y="94"/>
                      <a:pt x="147" y="94"/>
                      <a:pt x="147" y="94"/>
                    </a:cubicBezTo>
                    <a:cubicBezTo>
                      <a:pt x="146" y="94"/>
                      <a:pt x="146" y="94"/>
                      <a:pt x="146" y="94"/>
                    </a:cubicBezTo>
                    <a:cubicBezTo>
                      <a:pt x="146" y="94"/>
                      <a:pt x="146" y="94"/>
                      <a:pt x="146" y="95"/>
                    </a:cubicBezTo>
                    <a:cubicBezTo>
                      <a:pt x="146" y="95"/>
                      <a:pt x="146" y="95"/>
                      <a:pt x="146" y="95"/>
                    </a:cubicBezTo>
                    <a:cubicBezTo>
                      <a:pt x="146" y="95"/>
                      <a:pt x="146" y="95"/>
                      <a:pt x="146" y="95"/>
                    </a:cubicBezTo>
                    <a:cubicBezTo>
                      <a:pt x="146" y="95"/>
                      <a:pt x="145" y="95"/>
                      <a:pt x="145" y="95"/>
                    </a:cubicBezTo>
                    <a:cubicBezTo>
                      <a:pt x="145" y="95"/>
                      <a:pt x="145" y="95"/>
                      <a:pt x="145" y="95"/>
                    </a:cubicBezTo>
                    <a:cubicBezTo>
                      <a:pt x="145" y="95"/>
                      <a:pt x="145" y="95"/>
                      <a:pt x="145" y="95"/>
                    </a:cubicBezTo>
                    <a:cubicBezTo>
                      <a:pt x="144" y="95"/>
                      <a:pt x="145" y="95"/>
                      <a:pt x="144" y="95"/>
                    </a:cubicBezTo>
                    <a:cubicBezTo>
                      <a:pt x="144" y="95"/>
                      <a:pt x="144" y="96"/>
                      <a:pt x="144" y="96"/>
                    </a:cubicBezTo>
                    <a:cubicBezTo>
                      <a:pt x="144" y="96"/>
                      <a:pt x="144" y="96"/>
                      <a:pt x="144" y="96"/>
                    </a:cubicBezTo>
                    <a:cubicBezTo>
                      <a:pt x="144" y="96"/>
                      <a:pt x="144" y="96"/>
                      <a:pt x="145" y="96"/>
                    </a:cubicBezTo>
                    <a:cubicBezTo>
                      <a:pt x="145" y="96"/>
                      <a:pt x="144" y="96"/>
                      <a:pt x="144" y="96"/>
                    </a:cubicBezTo>
                    <a:cubicBezTo>
                      <a:pt x="144" y="96"/>
                      <a:pt x="144" y="96"/>
                      <a:pt x="144" y="96"/>
                    </a:cubicBezTo>
                    <a:cubicBezTo>
                      <a:pt x="144" y="96"/>
                      <a:pt x="145" y="96"/>
                      <a:pt x="145" y="97"/>
                    </a:cubicBezTo>
                    <a:cubicBezTo>
                      <a:pt x="145" y="97"/>
                      <a:pt x="145" y="97"/>
                      <a:pt x="145" y="97"/>
                    </a:cubicBezTo>
                    <a:cubicBezTo>
                      <a:pt x="145" y="97"/>
                      <a:pt x="144" y="97"/>
                      <a:pt x="144" y="97"/>
                    </a:cubicBezTo>
                    <a:cubicBezTo>
                      <a:pt x="144" y="97"/>
                      <a:pt x="144" y="97"/>
                      <a:pt x="144" y="97"/>
                    </a:cubicBezTo>
                    <a:cubicBezTo>
                      <a:pt x="144" y="97"/>
                      <a:pt x="144" y="97"/>
                      <a:pt x="144" y="97"/>
                    </a:cubicBezTo>
                    <a:cubicBezTo>
                      <a:pt x="144" y="97"/>
                      <a:pt x="144" y="97"/>
                      <a:pt x="144" y="98"/>
                    </a:cubicBezTo>
                    <a:cubicBezTo>
                      <a:pt x="144" y="98"/>
                      <a:pt x="144" y="98"/>
                      <a:pt x="144" y="98"/>
                    </a:cubicBezTo>
                    <a:cubicBezTo>
                      <a:pt x="144" y="98"/>
                      <a:pt x="144" y="98"/>
                      <a:pt x="144" y="98"/>
                    </a:cubicBezTo>
                    <a:cubicBezTo>
                      <a:pt x="144" y="98"/>
                      <a:pt x="144" y="98"/>
                      <a:pt x="144" y="98"/>
                    </a:cubicBezTo>
                    <a:cubicBezTo>
                      <a:pt x="144" y="98"/>
                      <a:pt x="145" y="98"/>
                      <a:pt x="145" y="98"/>
                    </a:cubicBezTo>
                    <a:cubicBezTo>
                      <a:pt x="145" y="98"/>
                      <a:pt x="145" y="98"/>
                      <a:pt x="145" y="98"/>
                    </a:cubicBezTo>
                    <a:cubicBezTo>
                      <a:pt x="145" y="98"/>
                      <a:pt x="145" y="98"/>
                      <a:pt x="146" y="98"/>
                    </a:cubicBezTo>
                    <a:cubicBezTo>
                      <a:pt x="146" y="98"/>
                      <a:pt x="146" y="99"/>
                      <a:pt x="146" y="99"/>
                    </a:cubicBezTo>
                    <a:cubicBezTo>
                      <a:pt x="146" y="99"/>
                      <a:pt x="146" y="99"/>
                      <a:pt x="147" y="99"/>
                    </a:cubicBezTo>
                    <a:cubicBezTo>
                      <a:pt x="147" y="99"/>
                      <a:pt x="147" y="98"/>
                      <a:pt x="147" y="98"/>
                    </a:cubicBezTo>
                    <a:cubicBezTo>
                      <a:pt x="147" y="98"/>
                      <a:pt x="147" y="98"/>
                      <a:pt x="147" y="98"/>
                    </a:cubicBezTo>
                    <a:cubicBezTo>
                      <a:pt x="147" y="98"/>
                      <a:pt x="147" y="98"/>
                      <a:pt x="148" y="98"/>
                    </a:cubicBezTo>
                    <a:cubicBezTo>
                      <a:pt x="148" y="98"/>
                      <a:pt x="148" y="98"/>
                      <a:pt x="148" y="98"/>
                    </a:cubicBezTo>
                    <a:cubicBezTo>
                      <a:pt x="148" y="98"/>
                      <a:pt x="149" y="98"/>
                      <a:pt x="149" y="98"/>
                    </a:cubicBezTo>
                    <a:cubicBezTo>
                      <a:pt x="149" y="98"/>
                      <a:pt x="149" y="98"/>
                      <a:pt x="149" y="98"/>
                    </a:cubicBezTo>
                    <a:cubicBezTo>
                      <a:pt x="149" y="98"/>
                      <a:pt x="149" y="98"/>
                      <a:pt x="150" y="98"/>
                    </a:cubicBezTo>
                    <a:cubicBezTo>
                      <a:pt x="150" y="98"/>
                      <a:pt x="150" y="98"/>
                      <a:pt x="150" y="98"/>
                    </a:cubicBezTo>
                    <a:cubicBezTo>
                      <a:pt x="150" y="98"/>
                      <a:pt x="151" y="98"/>
                      <a:pt x="151" y="97"/>
                    </a:cubicBezTo>
                    <a:cubicBezTo>
                      <a:pt x="151" y="97"/>
                      <a:pt x="151" y="97"/>
                      <a:pt x="151" y="98"/>
                    </a:cubicBezTo>
                    <a:cubicBezTo>
                      <a:pt x="151" y="98"/>
                      <a:pt x="151" y="98"/>
                      <a:pt x="151" y="97"/>
                    </a:cubicBezTo>
                    <a:cubicBezTo>
                      <a:pt x="151" y="97"/>
                      <a:pt x="151" y="97"/>
                      <a:pt x="151" y="97"/>
                    </a:cubicBezTo>
                    <a:cubicBezTo>
                      <a:pt x="151" y="97"/>
                      <a:pt x="152" y="97"/>
                      <a:pt x="152" y="98"/>
                    </a:cubicBezTo>
                    <a:cubicBezTo>
                      <a:pt x="152" y="98"/>
                      <a:pt x="152" y="98"/>
                      <a:pt x="152" y="98"/>
                    </a:cubicBezTo>
                    <a:cubicBezTo>
                      <a:pt x="152" y="98"/>
                      <a:pt x="152" y="98"/>
                      <a:pt x="152" y="97"/>
                    </a:cubicBezTo>
                    <a:cubicBezTo>
                      <a:pt x="152" y="97"/>
                      <a:pt x="152" y="97"/>
                      <a:pt x="152" y="97"/>
                    </a:cubicBezTo>
                    <a:cubicBezTo>
                      <a:pt x="153" y="97"/>
                      <a:pt x="153" y="97"/>
                      <a:pt x="153" y="97"/>
                    </a:cubicBezTo>
                    <a:cubicBezTo>
                      <a:pt x="153" y="97"/>
                      <a:pt x="153" y="97"/>
                      <a:pt x="153" y="97"/>
                    </a:cubicBezTo>
                    <a:cubicBezTo>
                      <a:pt x="153" y="97"/>
                      <a:pt x="153" y="97"/>
                      <a:pt x="153" y="97"/>
                    </a:cubicBezTo>
                    <a:cubicBezTo>
                      <a:pt x="153" y="97"/>
                      <a:pt x="153" y="97"/>
                      <a:pt x="153" y="97"/>
                    </a:cubicBezTo>
                    <a:cubicBezTo>
                      <a:pt x="154" y="97"/>
                      <a:pt x="154" y="97"/>
                      <a:pt x="154" y="97"/>
                    </a:cubicBezTo>
                    <a:cubicBezTo>
                      <a:pt x="154" y="97"/>
                      <a:pt x="154" y="97"/>
                      <a:pt x="154" y="97"/>
                    </a:cubicBezTo>
                    <a:cubicBezTo>
                      <a:pt x="154" y="97"/>
                      <a:pt x="154" y="97"/>
                      <a:pt x="154" y="97"/>
                    </a:cubicBezTo>
                    <a:cubicBezTo>
                      <a:pt x="154" y="97"/>
                      <a:pt x="154" y="97"/>
                      <a:pt x="154" y="96"/>
                    </a:cubicBezTo>
                    <a:cubicBezTo>
                      <a:pt x="155" y="96"/>
                      <a:pt x="155" y="96"/>
                      <a:pt x="155" y="96"/>
                    </a:cubicBezTo>
                    <a:cubicBezTo>
                      <a:pt x="155" y="96"/>
                      <a:pt x="155" y="96"/>
                      <a:pt x="155" y="96"/>
                    </a:cubicBezTo>
                    <a:cubicBezTo>
                      <a:pt x="155" y="96"/>
                      <a:pt x="155" y="96"/>
                      <a:pt x="155" y="96"/>
                    </a:cubicBezTo>
                    <a:cubicBezTo>
                      <a:pt x="155" y="96"/>
                      <a:pt x="155" y="96"/>
                      <a:pt x="155" y="95"/>
                    </a:cubicBezTo>
                    <a:cubicBezTo>
                      <a:pt x="155" y="95"/>
                      <a:pt x="155" y="95"/>
                      <a:pt x="155" y="95"/>
                    </a:cubicBezTo>
                    <a:cubicBezTo>
                      <a:pt x="155" y="95"/>
                      <a:pt x="156" y="95"/>
                      <a:pt x="156" y="95"/>
                    </a:cubicBezTo>
                    <a:cubicBezTo>
                      <a:pt x="156" y="96"/>
                      <a:pt x="156" y="96"/>
                      <a:pt x="156" y="96"/>
                    </a:cubicBezTo>
                    <a:cubicBezTo>
                      <a:pt x="156" y="96"/>
                      <a:pt x="156" y="96"/>
                      <a:pt x="156" y="96"/>
                    </a:cubicBezTo>
                    <a:cubicBezTo>
                      <a:pt x="156" y="96"/>
                      <a:pt x="155" y="96"/>
                      <a:pt x="155" y="96"/>
                    </a:cubicBezTo>
                    <a:cubicBezTo>
                      <a:pt x="155" y="96"/>
                      <a:pt x="155" y="96"/>
                      <a:pt x="155" y="96"/>
                    </a:cubicBezTo>
                    <a:cubicBezTo>
                      <a:pt x="155" y="97"/>
                      <a:pt x="155" y="97"/>
                      <a:pt x="155" y="97"/>
                    </a:cubicBezTo>
                    <a:cubicBezTo>
                      <a:pt x="155" y="97"/>
                      <a:pt x="155" y="97"/>
                      <a:pt x="155" y="97"/>
                    </a:cubicBezTo>
                    <a:cubicBezTo>
                      <a:pt x="156" y="97"/>
                      <a:pt x="156" y="97"/>
                      <a:pt x="156" y="97"/>
                    </a:cubicBezTo>
                    <a:cubicBezTo>
                      <a:pt x="156" y="97"/>
                      <a:pt x="156" y="97"/>
                      <a:pt x="156" y="97"/>
                    </a:cubicBezTo>
                    <a:cubicBezTo>
                      <a:pt x="157" y="97"/>
                      <a:pt x="157" y="97"/>
                      <a:pt x="157" y="97"/>
                    </a:cubicBezTo>
                    <a:cubicBezTo>
                      <a:pt x="157" y="97"/>
                      <a:pt x="157" y="97"/>
                      <a:pt x="157" y="97"/>
                    </a:cubicBezTo>
                    <a:cubicBezTo>
                      <a:pt x="157" y="97"/>
                      <a:pt x="157" y="97"/>
                      <a:pt x="158" y="97"/>
                    </a:cubicBezTo>
                    <a:cubicBezTo>
                      <a:pt x="158" y="97"/>
                      <a:pt x="158" y="97"/>
                      <a:pt x="158" y="97"/>
                    </a:cubicBezTo>
                    <a:cubicBezTo>
                      <a:pt x="158" y="97"/>
                      <a:pt x="158" y="97"/>
                      <a:pt x="158" y="97"/>
                    </a:cubicBezTo>
                    <a:cubicBezTo>
                      <a:pt x="158" y="97"/>
                      <a:pt x="159" y="97"/>
                      <a:pt x="159" y="97"/>
                    </a:cubicBezTo>
                    <a:cubicBezTo>
                      <a:pt x="159" y="97"/>
                      <a:pt x="159" y="97"/>
                      <a:pt x="159" y="97"/>
                    </a:cubicBezTo>
                    <a:cubicBezTo>
                      <a:pt x="159" y="97"/>
                      <a:pt x="159" y="97"/>
                      <a:pt x="159" y="97"/>
                    </a:cubicBezTo>
                    <a:cubicBezTo>
                      <a:pt x="159" y="96"/>
                      <a:pt x="159" y="97"/>
                      <a:pt x="159" y="96"/>
                    </a:cubicBezTo>
                    <a:close/>
                    <a:moveTo>
                      <a:pt x="144" y="93"/>
                    </a:moveTo>
                    <a:cubicBezTo>
                      <a:pt x="144" y="93"/>
                      <a:pt x="144" y="93"/>
                      <a:pt x="144" y="93"/>
                    </a:cubicBezTo>
                    <a:cubicBezTo>
                      <a:pt x="143" y="93"/>
                      <a:pt x="143" y="93"/>
                      <a:pt x="143" y="93"/>
                    </a:cubicBezTo>
                    <a:cubicBezTo>
                      <a:pt x="143" y="93"/>
                      <a:pt x="143" y="93"/>
                      <a:pt x="143" y="93"/>
                    </a:cubicBezTo>
                    <a:cubicBezTo>
                      <a:pt x="143" y="93"/>
                      <a:pt x="143" y="93"/>
                      <a:pt x="143" y="93"/>
                    </a:cubicBezTo>
                    <a:cubicBezTo>
                      <a:pt x="142" y="93"/>
                      <a:pt x="142" y="93"/>
                      <a:pt x="142" y="93"/>
                    </a:cubicBezTo>
                    <a:cubicBezTo>
                      <a:pt x="142" y="93"/>
                      <a:pt x="142" y="93"/>
                      <a:pt x="142" y="93"/>
                    </a:cubicBezTo>
                    <a:cubicBezTo>
                      <a:pt x="141" y="93"/>
                      <a:pt x="141" y="93"/>
                      <a:pt x="141" y="93"/>
                    </a:cubicBezTo>
                    <a:cubicBezTo>
                      <a:pt x="141" y="93"/>
                      <a:pt x="141" y="93"/>
                      <a:pt x="140" y="93"/>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39" y="94"/>
                      <a:pt x="139" y="94"/>
                      <a:pt x="139" y="94"/>
                    </a:cubicBezTo>
                    <a:cubicBezTo>
                      <a:pt x="139" y="95"/>
                      <a:pt x="140" y="95"/>
                      <a:pt x="140" y="95"/>
                    </a:cubicBezTo>
                    <a:cubicBezTo>
                      <a:pt x="140" y="95"/>
                      <a:pt x="140" y="96"/>
                      <a:pt x="140" y="96"/>
                    </a:cubicBezTo>
                    <a:cubicBezTo>
                      <a:pt x="140" y="96"/>
                      <a:pt x="140" y="96"/>
                      <a:pt x="140" y="96"/>
                    </a:cubicBezTo>
                    <a:cubicBezTo>
                      <a:pt x="140" y="96"/>
                      <a:pt x="139" y="96"/>
                      <a:pt x="139" y="96"/>
                    </a:cubicBezTo>
                    <a:cubicBezTo>
                      <a:pt x="139" y="96"/>
                      <a:pt x="139" y="96"/>
                      <a:pt x="139" y="96"/>
                    </a:cubicBezTo>
                    <a:cubicBezTo>
                      <a:pt x="139" y="96"/>
                      <a:pt x="139" y="96"/>
                      <a:pt x="139" y="96"/>
                    </a:cubicBezTo>
                    <a:cubicBezTo>
                      <a:pt x="139" y="96"/>
                      <a:pt x="139" y="96"/>
                      <a:pt x="139" y="96"/>
                    </a:cubicBezTo>
                    <a:cubicBezTo>
                      <a:pt x="139" y="96"/>
                      <a:pt x="139" y="96"/>
                      <a:pt x="139" y="96"/>
                    </a:cubicBezTo>
                    <a:cubicBezTo>
                      <a:pt x="138" y="96"/>
                      <a:pt x="138" y="96"/>
                      <a:pt x="138" y="96"/>
                    </a:cubicBezTo>
                    <a:cubicBezTo>
                      <a:pt x="138" y="96"/>
                      <a:pt x="138" y="96"/>
                      <a:pt x="138" y="96"/>
                    </a:cubicBezTo>
                    <a:cubicBezTo>
                      <a:pt x="138" y="96"/>
                      <a:pt x="138" y="96"/>
                      <a:pt x="138" y="97"/>
                    </a:cubicBezTo>
                    <a:cubicBezTo>
                      <a:pt x="138" y="97"/>
                      <a:pt x="138" y="97"/>
                      <a:pt x="138" y="97"/>
                    </a:cubicBezTo>
                    <a:cubicBezTo>
                      <a:pt x="139" y="97"/>
                      <a:pt x="139" y="97"/>
                      <a:pt x="139" y="97"/>
                    </a:cubicBezTo>
                    <a:cubicBezTo>
                      <a:pt x="139" y="97"/>
                      <a:pt x="139" y="97"/>
                      <a:pt x="139" y="97"/>
                    </a:cubicBezTo>
                    <a:cubicBezTo>
                      <a:pt x="139" y="97"/>
                      <a:pt x="139" y="97"/>
                      <a:pt x="139" y="97"/>
                    </a:cubicBezTo>
                    <a:cubicBezTo>
                      <a:pt x="139" y="97"/>
                      <a:pt x="139" y="97"/>
                      <a:pt x="139" y="97"/>
                    </a:cubicBezTo>
                    <a:cubicBezTo>
                      <a:pt x="139" y="97"/>
                      <a:pt x="139"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1" y="97"/>
                      <a:pt x="141" y="97"/>
                    </a:cubicBezTo>
                    <a:cubicBezTo>
                      <a:pt x="141" y="97"/>
                      <a:pt x="141" y="97"/>
                      <a:pt x="141" y="97"/>
                    </a:cubicBezTo>
                    <a:cubicBezTo>
                      <a:pt x="141" y="97"/>
                      <a:pt x="141" y="97"/>
                      <a:pt x="141" y="97"/>
                    </a:cubicBezTo>
                    <a:cubicBezTo>
                      <a:pt x="141" y="97"/>
                      <a:pt x="141" y="97"/>
                      <a:pt x="142" y="97"/>
                    </a:cubicBezTo>
                    <a:cubicBezTo>
                      <a:pt x="142" y="97"/>
                      <a:pt x="142" y="97"/>
                      <a:pt x="142" y="97"/>
                    </a:cubicBezTo>
                    <a:cubicBezTo>
                      <a:pt x="142" y="97"/>
                      <a:pt x="142" y="98"/>
                      <a:pt x="142" y="98"/>
                    </a:cubicBezTo>
                    <a:cubicBezTo>
                      <a:pt x="142" y="98"/>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2" y="97"/>
                      <a:pt x="143" y="97"/>
                      <a:pt x="143" y="97"/>
                    </a:cubicBezTo>
                    <a:cubicBezTo>
                      <a:pt x="143" y="97"/>
                      <a:pt x="143" y="97"/>
                      <a:pt x="143" y="97"/>
                    </a:cubicBezTo>
                    <a:cubicBezTo>
                      <a:pt x="143" y="96"/>
                      <a:pt x="143" y="96"/>
                      <a:pt x="143" y="96"/>
                    </a:cubicBezTo>
                    <a:cubicBezTo>
                      <a:pt x="143" y="96"/>
                      <a:pt x="143" y="96"/>
                      <a:pt x="143" y="96"/>
                    </a:cubicBezTo>
                    <a:cubicBezTo>
                      <a:pt x="143" y="96"/>
                      <a:pt x="143" y="95"/>
                      <a:pt x="143" y="95"/>
                    </a:cubicBezTo>
                    <a:cubicBezTo>
                      <a:pt x="144" y="95"/>
                      <a:pt x="144" y="95"/>
                      <a:pt x="144" y="95"/>
                    </a:cubicBezTo>
                    <a:cubicBezTo>
                      <a:pt x="144" y="95"/>
                      <a:pt x="144" y="95"/>
                      <a:pt x="144" y="95"/>
                    </a:cubicBezTo>
                    <a:cubicBezTo>
                      <a:pt x="144" y="95"/>
                      <a:pt x="144" y="94"/>
                      <a:pt x="144" y="94"/>
                    </a:cubicBezTo>
                    <a:cubicBezTo>
                      <a:pt x="144" y="94"/>
                      <a:pt x="144" y="94"/>
                      <a:pt x="144" y="94"/>
                    </a:cubicBezTo>
                    <a:cubicBezTo>
                      <a:pt x="144" y="94"/>
                      <a:pt x="144" y="94"/>
                      <a:pt x="144" y="93"/>
                    </a:cubicBezTo>
                    <a:close/>
                    <a:moveTo>
                      <a:pt x="149" y="93"/>
                    </a:moveTo>
                    <a:cubicBezTo>
                      <a:pt x="149" y="93"/>
                      <a:pt x="149" y="94"/>
                      <a:pt x="149" y="94"/>
                    </a:cubicBezTo>
                    <a:cubicBezTo>
                      <a:pt x="149" y="94"/>
                      <a:pt x="149" y="94"/>
                      <a:pt x="149" y="94"/>
                    </a:cubicBezTo>
                    <a:cubicBezTo>
                      <a:pt x="149" y="94"/>
                      <a:pt x="150" y="94"/>
                      <a:pt x="150" y="94"/>
                    </a:cubicBezTo>
                    <a:cubicBezTo>
                      <a:pt x="150" y="94"/>
                      <a:pt x="150" y="93"/>
                      <a:pt x="150" y="93"/>
                    </a:cubicBezTo>
                    <a:cubicBezTo>
                      <a:pt x="150" y="93"/>
                      <a:pt x="150" y="93"/>
                      <a:pt x="150" y="93"/>
                    </a:cubicBezTo>
                    <a:cubicBezTo>
                      <a:pt x="150" y="93"/>
                      <a:pt x="150" y="93"/>
                      <a:pt x="150" y="93"/>
                    </a:cubicBezTo>
                    <a:cubicBezTo>
                      <a:pt x="150" y="93"/>
                      <a:pt x="150" y="93"/>
                      <a:pt x="150" y="93"/>
                    </a:cubicBezTo>
                    <a:cubicBezTo>
                      <a:pt x="151" y="92"/>
                      <a:pt x="150" y="92"/>
                      <a:pt x="150" y="92"/>
                    </a:cubicBezTo>
                    <a:cubicBezTo>
                      <a:pt x="150" y="92"/>
                      <a:pt x="150" y="92"/>
                      <a:pt x="150" y="92"/>
                    </a:cubicBezTo>
                    <a:cubicBezTo>
                      <a:pt x="150" y="92"/>
                      <a:pt x="150" y="92"/>
                      <a:pt x="150" y="92"/>
                    </a:cubicBezTo>
                    <a:cubicBezTo>
                      <a:pt x="150" y="92"/>
                      <a:pt x="150" y="92"/>
                      <a:pt x="150" y="92"/>
                    </a:cubicBezTo>
                    <a:cubicBezTo>
                      <a:pt x="150" y="92"/>
                      <a:pt x="150" y="92"/>
                      <a:pt x="149" y="92"/>
                    </a:cubicBezTo>
                    <a:cubicBezTo>
                      <a:pt x="149" y="92"/>
                      <a:pt x="149" y="92"/>
                      <a:pt x="149" y="93"/>
                    </a:cubicBezTo>
                    <a:cubicBezTo>
                      <a:pt x="149" y="93"/>
                      <a:pt x="149" y="93"/>
                      <a:pt x="149" y="93"/>
                    </a:cubicBezTo>
                    <a:cubicBezTo>
                      <a:pt x="149" y="93"/>
                      <a:pt x="149" y="93"/>
                      <a:pt x="149" y="93"/>
                    </a:cubicBezTo>
                    <a:cubicBezTo>
                      <a:pt x="149" y="93"/>
                      <a:pt x="149" y="93"/>
                      <a:pt x="149" y="93"/>
                    </a:cubicBezTo>
                    <a:cubicBezTo>
                      <a:pt x="149" y="93"/>
                      <a:pt x="149" y="93"/>
                      <a:pt x="149" y="93"/>
                    </a:cubicBezTo>
                    <a:close/>
                    <a:moveTo>
                      <a:pt x="160" y="92"/>
                    </a:moveTo>
                    <a:cubicBezTo>
                      <a:pt x="160" y="92"/>
                      <a:pt x="160" y="92"/>
                      <a:pt x="160" y="92"/>
                    </a:cubicBezTo>
                    <a:cubicBezTo>
                      <a:pt x="160" y="92"/>
                      <a:pt x="160" y="92"/>
                      <a:pt x="160" y="92"/>
                    </a:cubicBezTo>
                    <a:cubicBezTo>
                      <a:pt x="160" y="92"/>
                      <a:pt x="160" y="92"/>
                      <a:pt x="160" y="92"/>
                    </a:cubicBezTo>
                    <a:cubicBezTo>
                      <a:pt x="160" y="92"/>
                      <a:pt x="160" y="92"/>
                      <a:pt x="160" y="92"/>
                    </a:cubicBezTo>
                    <a:cubicBezTo>
                      <a:pt x="160" y="92"/>
                      <a:pt x="159" y="92"/>
                      <a:pt x="159" y="92"/>
                    </a:cubicBezTo>
                    <a:cubicBezTo>
                      <a:pt x="159" y="92"/>
                      <a:pt x="159" y="93"/>
                      <a:pt x="159" y="93"/>
                    </a:cubicBezTo>
                    <a:cubicBezTo>
                      <a:pt x="159" y="93"/>
                      <a:pt x="160" y="93"/>
                      <a:pt x="160" y="93"/>
                    </a:cubicBezTo>
                    <a:cubicBezTo>
                      <a:pt x="160" y="93"/>
                      <a:pt x="160" y="93"/>
                      <a:pt x="160" y="93"/>
                    </a:cubicBezTo>
                    <a:cubicBezTo>
                      <a:pt x="160" y="93"/>
                      <a:pt x="160" y="93"/>
                      <a:pt x="160" y="93"/>
                    </a:cubicBezTo>
                    <a:cubicBezTo>
                      <a:pt x="160" y="93"/>
                      <a:pt x="160" y="93"/>
                      <a:pt x="160" y="93"/>
                    </a:cubicBezTo>
                    <a:cubicBezTo>
                      <a:pt x="160" y="93"/>
                      <a:pt x="160" y="93"/>
                      <a:pt x="160" y="92"/>
                    </a:cubicBezTo>
                    <a:cubicBezTo>
                      <a:pt x="160" y="92"/>
                      <a:pt x="160" y="92"/>
                      <a:pt x="160" y="92"/>
                    </a:cubicBezTo>
                    <a:cubicBezTo>
                      <a:pt x="160" y="92"/>
                      <a:pt x="160" y="92"/>
                      <a:pt x="160" y="92"/>
                    </a:cubicBezTo>
                    <a:close/>
                    <a:moveTo>
                      <a:pt x="202" y="28"/>
                    </a:moveTo>
                    <a:cubicBezTo>
                      <a:pt x="202" y="28"/>
                      <a:pt x="201" y="28"/>
                      <a:pt x="201" y="28"/>
                    </a:cubicBezTo>
                    <a:cubicBezTo>
                      <a:pt x="201" y="28"/>
                      <a:pt x="201" y="28"/>
                      <a:pt x="201" y="29"/>
                    </a:cubicBezTo>
                    <a:cubicBezTo>
                      <a:pt x="201" y="29"/>
                      <a:pt x="201" y="29"/>
                      <a:pt x="201" y="29"/>
                    </a:cubicBezTo>
                    <a:cubicBezTo>
                      <a:pt x="201" y="29"/>
                      <a:pt x="201" y="29"/>
                      <a:pt x="201" y="29"/>
                    </a:cubicBezTo>
                    <a:cubicBezTo>
                      <a:pt x="201" y="30"/>
                      <a:pt x="200" y="30"/>
                      <a:pt x="200" y="30"/>
                    </a:cubicBezTo>
                    <a:cubicBezTo>
                      <a:pt x="200" y="30"/>
                      <a:pt x="200" y="31"/>
                      <a:pt x="200" y="31"/>
                    </a:cubicBezTo>
                    <a:cubicBezTo>
                      <a:pt x="200" y="31"/>
                      <a:pt x="199" y="31"/>
                      <a:pt x="199" y="31"/>
                    </a:cubicBezTo>
                    <a:cubicBezTo>
                      <a:pt x="199" y="31"/>
                      <a:pt x="199" y="31"/>
                      <a:pt x="199" y="31"/>
                    </a:cubicBezTo>
                    <a:cubicBezTo>
                      <a:pt x="199" y="32"/>
                      <a:pt x="199" y="32"/>
                      <a:pt x="198" y="32"/>
                    </a:cubicBezTo>
                    <a:cubicBezTo>
                      <a:pt x="198" y="32"/>
                      <a:pt x="198" y="32"/>
                      <a:pt x="198" y="32"/>
                    </a:cubicBezTo>
                    <a:cubicBezTo>
                      <a:pt x="198" y="32"/>
                      <a:pt x="198" y="32"/>
                      <a:pt x="198" y="32"/>
                    </a:cubicBezTo>
                    <a:cubicBezTo>
                      <a:pt x="198" y="33"/>
                      <a:pt x="198" y="33"/>
                      <a:pt x="198" y="33"/>
                    </a:cubicBezTo>
                    <a:cubicBezTo>
                      <a:pt x="198" y="33"/>
                      <a:pt x="198" y="33"/>
                      <a:pt x="198" y="33"/>
                    </a:cubicBezTo>
                    <a:cubicBezTo>
                      <a:pt x="198" y="33"/>
                      <a:pt x="197" y="33"/>
                      <a:pt x="197" y="33"/>
                    </a:cubicBezTo>
                    <a:cubicBezTo>
                      <a:pt x="197" y="33"/>
                      <a:pt x="197" y="33"/>
                      <a:pt x="197" y="33"/>
                    </a:cubicBezTo>
                    <a:cubicBezTo>
                      <a:pt x="197" y="34"/>
                      <a:pt x="197" y="34"/>
                      <a:pt x="197" y="34"/>
                    </a:cubicBezTo>
                    <a:cubicBezTo>
                      <a:pt x="197" y="34"/>
                      <a:pt x="197" y="34"/>
                      <a:pt x="197" y="34"/>
                    </a:cubicBezTo>
                    <a:cubicBezTo>
                      <a:pt x="197" y="34"/>
                      <a:pt x="197" y="34"/>
                      <a:pt x="197" y="34"/>
                    </a:cubicBezTo>
                    <a:cubicBezTo>
                      <a:pt x="197" y="34"/>
                      <a:pt x="197" y="34"/>
                      <a:pt x="197" y="34"/>
                    </a:cubicBezTo>
                    <a:cubicBezTo>
                      <a:pt x="197" y="35"/>
                      <a:pt x="197" y="35"/>
                      <a:pt x="197" y="35"/>
                    </a:cubicBezTo>
                    <a:cubicBezTo>
                      <a:pt x="197" y="35"/>
                      <a:pt x="197" y="35"/>
                      <a:pt x="197" y="35"/>
                    </a:cubicBezTo>
                    <a:cubicBezTo>
                      <a:pt x="196" y="35"/>
                      <a:pt x="196" y="35"/>
                      <a:pt x="196" y="35"/>
                    </a:cubicBezTo>
                    <a:cubicBezTo>
                      <a:pt x="196" y="35"/>
                      <a:pt x="196" y="35"/>
                      <a:pt x="196" y="35"/>
                    </a:cubicBezTo>
                    <a:cubicBezTo>
                      <a:pt x="196" y="35"/>
                      <a:pt x="196" y="35"/>
                      <a:pt x="195" y="35"/>
                    </a:cubicBezTo>
                    <a:cubicBezTo>
                      <a:pt x="195" y="35"/>
                      <a:pt x="195" y="35"/>
                      <a:pt x="195" y="35"/>
                    </a:cubicBezTo>
                    <a:cubicBezTo>
                      <a:pt x="195" y="35"/>
                      <a:pt x="195" y="35"/>
                      <a:pt x="194" y="35"/>
                    </a:cubicBezTo>
                    <a:cubicBezTo>
                      <a:pt x="194" y="35"/>
                      <a:pt x="194" y="35"/>
                      <a:pt x="193" y="35"/>
                    </a:cubicBezTo>
                    <a:cubicBezTo>
                      <a:pt x="193" y="35"/>
                      <a:pt x="193" y="35"/>
                      <a:pt x="193" y="35"/>
                    </a:cubicBezTo>
                    <a:cubicBezTo>
                      <a:pt x="193" y="35"/>
                      <a:pt x="193" y="35"/>
                      <a:pt x="193" y="35"/>
                    </a:cubicBezTo>
                    <a:cubicBezTo>
                      <a:pt x="193" y="35"/>
                      <a:pt x="192" y="35"/>
                      <a:pt x="192" y="35"/>
                    </a:cubicBezTo>
                    <a:cubicBezTo>
                      <a:pt x="192" y="36"/>
                      <a:pt x="192" y="36"/>
                      <a:pt x="192" y="36"/>
                    </a:cubicBezTo>
                    <a:cubicBezTo>
                      <a:pt x="191" y="36"/>
                      <a:pt x="191" y="36"/>
                      <a:pt x="191" y="36"/>
                    </a:cubicBezTo>
                    <a:cubicBezTo>
                      <a:pt x="191" y="36"/>
                      <a:pt x="191" y="36"/>
                      <a:pt x="191" y="36"/>
                    </a:cubicBezTo>
                    <a:cubicBezTo>
                      <a:pt x="191" y="35"/>
                      <a:pt x="190" y="36"/>
                      <a:pt x="190" y="35"/>
                    </a:cubicBezTo>
                    <a:cubicBezTo>
                      <a:pt x="190" y="35"/>
                      <a:pt x="190" y="35"/>
                      <a:pt x="190" y="35"/>
                    </a:cubicBezTo>
                    <a:cubicBezTo>
                      <a:pt x="190" y="35"/>
                      <a:pt x="189" y="36"/>
                      <a:pt x="189" y="35"/>
                    </a:cubicBezTo>
                    <a:cubicBezTo>
                      <a:pt x="189" y="35"/>
                      <a:pt x="188" y="35"/>
                      <a:pt x="188" y="35"/>
                    </a:cubicBezTo>
                    <a:cubicBezTo>
                      <a:pt x="188" y="35"/>
                      <a:pt x="188" y="35"/>
                      <a:pt x="188" y="35"/>
                    </a:cubicBezTo>
                    <a:cubicBezTo>
                      <a:pt x="188" y="35"/>
                      <a:pt x="188" y="35"/>
                      <a:pt x="188" y="34"/>
                    </a:cubicBezTo>
                    <a:cubicBezTo>
                      <a:pt x="187" y="34"/>
                      <a:pt x="187" y="34"/>
                      <a:pt x="187" y="34"/>
                    </a:cubicBezTo>
                    <a:cubicBezTo>
                      <a:pt x="187" y="34"/>
                      <a:pt x="187" y="34"/>
                      <a:pt x="187" y="34"/>
                    </a:cubicBezTo>
                    <a:cubicBezTo>
                      <a:pt x="187" y="34"/>
                      <a:pt x="187" y="34"/>
                      <a:pt x="187" y="34"/>
                    </a:cubicBezTo>
                    <a:cubicBezTo>
                      <a:pt x="187" y="34"/>
                      <a:pt x="187" y="34"/>
                      <a:pt x="186" y="34"/>
                    </a:cubicBezTo>
                    <a:cubicBezTo>
                      <a:pt x="186" y="34"/>
                      <a:pt x="186" y="34"/>
                      <a:pt x="185" y="34"/>
                    </a:cubicBezTo>
                    <a:cubicBezTo>
                      <a:pt x="185" y="34"/>
                      <a:pt x="185" y="34"/>
                      <a:pt x="185" y="34"/>
                    </a:cubicBezTo>
                    <a:cubicBezTo>
                      <a:pt x="185" y="34"/>
                      <a:pt x="185" y="34"/>
                      <a:pt x="185" y="34"/>
                    </a:cubicBezTo>
                    <a:cubicBezTo>
                      <a:pt x="185" y="34"/>
                      <a:pt x="185" y="34"/>
                      <a:pt x="185" y="34"/>
                    </a:cubicBezTo>
                    <a:cubicBezTo>
                      <a:pt x="185" y="34"/>
                      <a:pt x="184" y="34"/>
                      <a:pt x="184" y="34"/>
                    </a:cubicBezTo>
                    <a:cubicBezTo>
                      <a:pt x="184" y="34"/>
                      <a:pt x="184" y="34"/>
                      <a:pt x="184" y="34"/>
                    </a:cubicBezTo>
                    <a:cubicBezTo>
                      <a:pt x="184" y="34"/>
                      <a:pt x="184" y="34"/>
                      <a:pt x="183" y="34"/>
                    </a:cubicBezTo>
                    <a:cubicBezTo>
                      <a:pt x="183" y="34"/>
                      <a:pt x="183" y="34"/>
                      <a:pt x="183" y="34"/>
                    </a:cubicBezTo>
                    <a:cubicBezTo>
                      <a:pt x="182" y="34"/>
                      <a:pt x="182" y="34"/>
                      <a:pt x="182" y="34"/>
                    </a:cubicBezTo>
                    <a:cubicBezTo>
                      <a:pt x="182" y="34"/>
                      <a:pt x="182" y="34"/>
                      <a:pt x="182" y="34"/>
                    </a:cubicBezTo>
                    <a:cubicBezTo>
                      <a:pt x="181" y="34"/>
                      <a:pt x="181" y="35"/>
                      <a:pt x="181" y="34"/>
                    </a:cubicBezTo>
                    <a:cubicBezTo>
                      <a:pt x="181" y="34"/>
                      <a:pt x="181" y="34"/>
                      <a:pt x="181" y="34"/>
                    </a:cubicBezTo>
                    <a:cubicBezTo>
                      <a:pt x="180" y="35"/>
                      <a:pt x="180" y="35"/>
                      <a:pt x="179" y="35"/>
                    </a:cubicBezTo>
                    <a:cubicBezTo>
                      <a:pt x="179" y="35"/>
                      <a:pt x="179" y="35"/>
                      <a:pt x="179" y="35"/>
                    </a:cubicBezTo>
                    <a:cubicBezTo>
                      <a:pt x="179" y="35"/>
                      <a:pt x="179" y="35"/>
                      <a:pt x="179" y="34"/>
                    </a:cubicBezTo>
                    <a:cubicBezTo>
                      <a:pt x="179" y="34"/>
                      <a:pt x="178" y="34"/>
                      <a:pt x="178" y="34"/>
                    </a:cubicBezTo>
                    <a:cubicBezTo>
                      <a:pt x="178" y="34"/>
                      <a:pt x="178" y="34"/>
                      <a:pt x="178" y="34"/>
                    </a:cubicBezTo>
                    <a:cubicBezTo>
                      <a:pt x="178" y="34"/>
                      <a:pt x="178" y="34"/>
                      <a:pt x="178" y="34"/>
                    </a:cubicBezTo>
                    <a:cubicBezTo>
                      <a:pt x="177" y="34"/>
                      <a:pt x="177" y="34"/>
                      <a:pt x="177" y="34"/>
                    </a:cubicBezTo>
                    <a:cubicBezTo>
                      <a:pt x="177" y="34"/>
                      <a:pt x="177" y="34"/>
                      <a:pt x="177" y="34"/>
                    </a:cubicBezTo>
                    <a:cubicBezTo>
                      <a:pt x="177" y="34"/>
                      <a:pt x="177" y="34"/>
                      <a:pt x="177" y="34"/>
                    </a:cubicBezTo>
                    <a:cubicBezTo>
                      <a:pt x="177" y="34"/>
                      <a:pt x="176" y="34"/>
                      <a:pt x="176" y="34"/>
                    </a:cubicBezTo>
                    <a:cubicBezTo>
                      <a:pt x="176" y="34"/>
                      <a:pt x="176" y="34"/>
                      <a:pt x="176" y="34"/>
                    </a:cubicBezTo>
                    <a:cubicBezTo>
                      <a:pt x="176" y="34"/>
                      <a:pt x="176" y="34"/>
                      <a:pt x="176" y="34"/>
                    </a:cubicBezTo>
                    <a:cubicBezTo>
                      <a:pt x="176" y="34"/>
                      <a:pt x="175" y="34"/>
                      <a:pt x="175" y="34"/>
                    </a:cubicBezTo>
                    <a:cubicBezTo>
                      <a:pt x="175" y="34"/>
                      <a:pt x="175" y="35"/>
                      <a:pt x="175" y="35"/>
                    </a:cubicBezTo>
                    <a:cubicBezTo>
                      <a:pt x="175" y="35"/>
                      <a:pt x="175" y="35"/>
                      <a:pt x="175" y="35"/>
                    </a:cubicBezTo>
                    <a:cubicBezTo>
                      <a:pt x="175" y="35"/>
                      <a:pt x="175" y="35"/>
                      <a:pt x="175" y="35"/>
                    </a:cubicBezTo>
                    <a:cubicBezTo>
                      <a:pt x="174" y="35"/>
                      <a:pt x="174" y="35"/>
                      <a:pt x="174" y="35"/>
                    </a:cubicBezTo>
                    <a:cubicBezTo>
                      <a:pt x="174" y="35"/>
                      <a:pt x="174" y="35"/>
                      <a:pt x="174" y="35"/>
                    </a:cubicBezTo>
                    <a:cubicBezTo>
                      <a:pt x="174" y="35"/>
                      <a:pt x="174" y="35"/>
                      <a:pt x="174" y="35"/>
                    </a:cubicBezTo>
                    <a:cubicBezTo>
                      <a:pt x="174" y="35"/>
                      <a:pt x="174" y="35"/>
                      <a:pt x="173" y="35"/>
                    </a:cubicBezTo>
                    <a:cubicBezTo>
                      <a:pt x="173" y="35"/>
                      <a:pt x="173" y="35"/>
                      <a:pt x="173" y="35"/>
                    </a:cubicBezTo>
                    <a:cubicBezTo>
                      <a:pt x="173" y="35"/>
                      <a:pt x="173" y="35"/>
                      <a:pt x="173" y="35"/>
                    </a:cubicBezTo>
                    <a:cubicBezTo>
                      <a:pt x="173" y="35"/>
                      <a:pt x="173" y="35"/>
                      <a:pt x="173" y="35"/>
                    </a:cubicBezTo>
                    <a:cubicBezTo>
                      <a:pt x="173" y="35"/>
                      <a:pt x="173" y="35"/>
                      <a:pt x="173" y="35"/>
                    </a:cubicBezTo>
                    <a:cubicBezTo>
                      <a:pt x="172" y="35"/>
                      <a:pt x="172" y="35"/>
                      <a:pt x="172" y="35"/>
                    </a:cubicBezTo>
                    <a:cubicBezTo>
                      <a:pt x="172" y="35"/>
                      <a:pt x="172" y="35"/>
                      <a:pt x="172" y="34"/>
                    </a:cubicBezTo>
                    <a:cubicBezTo>
                      <a:pt x="172" y="34"/>
                      <a:pt x="172" y="34"/>
                      <a:pt x="172" y="34"/>
                    </a:cubicBezTo>
                    <a:cubicBezTo>
                      <a:pt x="171" y="34"/>
                      <a:pt x="171" y="34"/>
                      <a:pt x="171" y="34"/>
                    </a:cubicBezTo>
                    <a:cubicBezTo>
                      <a:pt x="170" y="34"/>
                      <a:pt x="170" y="34"/>
                      <a:pt x="170" y="34"/>
                    </a:cubicBezTo>
                    <a:cubicBezTo>
                      <a:pt x="170" y="34"/>
                      <a:pt x="170" y="34"/>
                      <a:pt x="170" y="35"/>
                    </a:cubicBezTo>
                    <a:cubicBezTo>
                      <a:pt x="169" y="35"/>
                      <a:pt x="169" y="35"/>
                      <a:pt x="169" y="35"/>
                    </a:cubicBezTo>
                    <a:cubicBezTo>
                      <a:pt x="169" y="35"/>
                      <a:pt x="169" y="35"/>
                      <a:pt x="169" y="35"/>
                    </a:cubicBezTo>
                    <a:cubicBezTo>
                      <a:pt x="169" y="35"/>
                      <a:pt x="169" y="35"/>
                      <a:pt x="169" y="35"/>
                    </a:cubicBezTo>
                    <a:cubicBezTo>
                      <a:pt x="168" y="36"/>
                      <a:pt x="168" y="36"/>
                      <a:pt x="168" y="36"/>
                    </a:cubicBezTo>
                    <a:cubicBezTo>
                      <a:pt x="168" y="36"/>
                      <a:pt x="168" y="36"/>
                      <a:pt x="168" y="36"/>
                    </a:cubicBezTo>
                    <a:cubicBezTo>
                      <a:pt x="168" y="36"/>
                      <a:pt x="168" y="37"/>
                      <a:pt x="168" y="37"/>
                    </a:cubicBezTo>
                    <a:cubicBezTo>
                      <a:pt x="168" y="37"/>
                      <a:pt x="168" y="37"/>
                      <a:pt x="168" y="38"/>
                    </a:cubicBezTo>
                    <a:cubicBezTo>
                      <a:pt x="168" y="38"/>
                      <a:pt x="167" y="38"/>
                      <a:pt x="167" y="38"/>
                    </a:cubicBezTo>
                    <a:cubicBezTo>
                      <a:pt x="167" y="38"/>
                      <a:pt x="167" y="38"/>
                      <a:pt x="167" y="39"/>
                    </a:cubicBezTo>
                    <a:cubicBezTo>
                      <a:pt x="167" y="39"/>
                      <a:pt x="167" y="39"/>
                      <a:pt x="167" y="39"/>
                    </a:cubicBezTo>
                    <a:cubicBezTo>
                      <a:pt x="167" y="39"/>
                      <a:pt x="167" y="39"/>
                      <a:pt x="167" y="39"/>
                    </a:cubicBezTo>
                    <a:cubicBezTo>
                      <a:pt x="167" y="40"/>
                      <a:pt x="167" y="40"/>
                      <a:pt x="167" y="40"/>
                    </a:cubicBezTo>
                    <a:cubicBezTo>
                      <a:pt x="167" y="40"/>
                      <a:pt x="167" y="40"/>
                      <a:pt x="167" y="41"/>
                    </a:cubicBezTo>
                    <a:cubicBezTo>
                      <a:pt x="167" y="41"/>
                      <a:pt x="167" y="41"/>
                      <a:pt x="167" y="41"/>
                    </a:cubicBezTo>
                    <a:cubicBezTo>
                      <a:pt x="167" y="41"/>
                      <a:pt x="167" y="41"/>
                      <a:pt x="167" y="41"/>
                    </a:cubicBezTo>
                    <a:cubicBezTo>
                      <a:pt x="167" y="42"/>
                      <a:pt x="167" y="42"/>
                      <a:pt x="167" y="42"/>
                    </a:cubicBezTo>
                    <a:cubicBezTo>
                      <a:pt x="168" y="42"/>
                      <a:pt x="168" y="42"/>
                      <a:pt x="168" y="43"/>
                    </a:cubicBezTo>
                    <a:cubicBezTo>
                      <a:pt x="168" y="43"/>
                      <a:pt x="168" y="43"/>
                      <a:pt x="168" y="43"/>
                    </a:cubicBezTo>
                    <a:cubicBezTo>
                      <a:pt x="168" y="43"/>
                      <a:pt x="169" y="43"/>
                      <a:pt x="169" y="43"/>
                    </a:cubicBezTo>
                    <a:cubicBezTo>
                      <a:pt x="169" y="43"/>
                      <a:pt x="169" y="44"/>
                      <a:pt x="169" y="44"/>
                    </a:cubicBezTo>
                    <a:cubicBezTo>
                      <a:pt x="169" y="44"/>
                      <a:pt x="169" y="44"/>
                      <a:pt x="169" y="44"/>
                    </a:cubicBezTo>
                    <a:cubicBezTo>
                      <a:pt x="169" y="44"/>
                      <a:pt x="169" y="44"/>
                      <a:pt x="169" y="44"/>
                    </a:cubicBezTo>
                    <a:cubicBezTo>
                      <a:pt x="169" y="44"/>
                      <a:pt x="169" y="44"/>
                      <a:pt x="169" y="44"/>
                    </a:cubicBezTo>
                    <a:cubicBezTo>
                      <a:pt x="169" y="44"/>
                      <a:pt x="170" y="44"/>
                      <a:pt x="170" y="44"/>
                    </a:cubicBezTo>
                    <a:cubicBezTo>
                      <a:pt x="170" y="44"/>
                      <a:pt x="170" y="44"/>
                      <a:pt x="170" y="44"/>
                    </a:cubicBezTo>
                    <a:cubicBezTo>
                      <a:pt x="170" y="44"/>
                      <a:pt x="170" y="44"/>
                      <a:pt x="170" y="44"/>
                    </a:cubicBezTo>
                    <a:cubicBezTo>
                      <a:pt x="170" y="44"/>
                      <a:pt x="170" y="44"/>
                      <a:pt x="170" y="44"/>
                    </a:cubicBezTo>
                    <a:cubicBezTo>
                      <a:pt x="170" y="44"/>
                      <a:pt x="171" y="44"/>
                      <a:pt x="171" y="45"/>
                    </a:cubicBezTo>
                    <a:cubicBezTo>
                      <a:pt x="171" y="45"/>
                      <a:pt x="171" y="45"/>
                      <a:pt x="171" y="45"/>
                    </a:cubicBezTo>
                    <a:cubicBezTo>
                      <a:pt x="171" y="45"/>
                      <a:pt x="171" y="45"/>
                      <a:pt x="171" y="46"/>
                    </a:cubicBezTo>
                    <a:cubicBezTo>
                      <a:pt x="171" y="46"/>
                      <a:pt x="171" y="46"/>
                      <a:pt x="171" y="46"/>
                    </a:cubicBezTo>
                    <a:cubicBezTo>
                      <a:pt x="171" y="46"/>
                      <a:pt x="171" y="46"/>
                      <a:pt x="171" y="46"/>
                    </a:cubicBezTo>
                    <a:cubicBezTo>
                      <a:pt x="171" y="46"/>
                      <a:pt x="171" y="46"/>
                      <a:pt x="171" y="46"/>
                    </a:cubicBezTo>
                    <a:cubicBezTo>
                      <a:pt x="171" y="46"/>
                      <a:pt x="171" y="46"/>
                      <a:pt x="171" y="47"/>
                    </a:cubicBezTo>
                    <a:cubicBezTo>
                      <a:pt x="171" y="47"/>
                      <a:pt x="171" y="47"/>
                      <a:pt x="172" y="47"/>
                    </a:cubicBezTo>
                    <a:cubicBezTo>
                      <a:pt x="172" y="47"/>
                      <a:pt x="172" y="47"/>
                      <a:pt x="172" y="47"/>
                    </a:cubicBezTo>
                    <a:cubicBezTo>
                      <a:pt x="172" y="47"/>
                      <a:pt x="172" y="47"/>
                      <a:pt x="172" y="47"/>
                    </a:cubicBezTo>
                    <a:cubicBezTo>
                      <a:pt x="172" y="47"/>
                      <a:pt x="172" y="47"/>
                      <a:pt x="172" y="47"/>
                    </a:cubicBezTo>
                    <a:cubicBezTo>
                      <a:pt x="172" y="47"/>
                      <a:pt x="172" y="47"/>
                      <a:pt x="172" y="47"/>
                    </a:cubicBezTo>
                    <a:cubicBezTo>
                      <a:pt x="173" y="47"/>
                      <a:pt x="173" y="47"/>
                      <a:pt x="173" y="47"/>
                    </a:cubicBezTo>
                    <a:cubicBezTo>
                      <a:pt x="173" y="47"/>
                      <a:pt x="173" y="47"/>
                      <a:pt x="173" y="47"/>
                    </a:cubicBezTo>
                    <a:cubicBezTo>
                      <a:pt x="173" y="47"/>
                      <a:pt x="173" y="47"/>
                      <a:pt x="173" y="47"/>
                    </a:cubicBezTo>
                    <a:cubicBezTo>
                      <a:pt x="173" y="47"/>
                      <a:pt x="173" y="47"/>
                      <a:pt x="173" y="47"/>
                    </a:cubicBezTo>
                    <a:cubicBezTo>
                      <a:pt x="173" y="47"/>
                      <a:pt x="174" y="47"/>
                      <a:pt x="174" y="47"/>
                    </a:cubicBezTo>
                    <a:cubicBezTo>
                      <a:pt x="174" y="47"/>
                      <a:pt x="174" y="47"/>
                      <a:pt x="174" y="47"/>
                    </a:cubicBezTo>
                    <a:cubicBezTo>
                      <a:pt x="174" y="47"/>
                      <a:pt x="174" y="47"/>
                      <a:pt x="174" y="47"/>
                    </a:cubicBezTo>
                    <a:cubicBezTo>
                      <a:pt x="174" y="47"/>
                      <a:pt x="174" y="47"/>
                      <a:pt x="175" y="47"/>
                    </a:cubicBezTo>
                    <a:cubicBezTo>
                      <a:pt x="175" y="47"/>
                      <a:pt x="175" y="47"/>
                      <a:pt x="175" y="47"/>
                    </a:cubicBezTo>
                    <a:cubicBezTo>
                      <a:pt x="175" y="47"/>
                      <a:pt x="175" y="46"/>
                      <a:pt x="175" y="46"/>
                    </a:cubicBezTo>
                    <a:cubicBezTo>
                      <a:pt x="175" y="46"/>
                      <a:pt x="175" y="46"/>
                      <a:pt x="175" y="46"/>
                    </a:cubicBezTo>
                    <a:cubicBezTo>
                      <a:pt x="175" y="45"/>
                      <a:pt x="176" y="45"/>
                      <a:pt x="176" y="45"/>
                    </a:cubicBezTo>
                    <a:cubicBezTo>
                      <a:pt x="176" y="45"/>
                      <a:pt x="176" y="45"/>
                      <a:pt x="176" y="45"/>
                    </a:cubicBezTo>
                    <a:cubicBezTo>
                      <a:pt x="176" y="45"/>
                      <a:pt x="176" y="45"/>
                      <a:pt x="176" y="45"/>
                    </a:cubicBezTo>
                    <a:cubicBezTo>
                      <a:pt x="176" y="45"/>
                      <a:pt x="176" y="44"/>
                      <a:pt x="176" y="44"/>
                    </a:cubicBezTo>
                    <a:cubicBezTo>
                      <a:pt x="176" y="44"/>
                      <a:pt x="176" y="44"/>
                      <a:pt x="176" y="44"/>
                    </a:cubicBezTo>
                    <a:cubicBezTo>
                      <a:pt x="176" y="44"/>
                      <a:pt x="177" y="44"/>
                      <a:pt x="177" y="44"/>
                    </a:cubicBezTo>
                    <a:cubicBezTo>
                      <a:pt x="177" y="44"/>
                      <a:pt x="177" y="44"/>
                      <a:pt x="177" y="44"/>
                    </a:cubicBezTo>
                    <a:cubicBezTo>
                      <a:pt x="177" y="44"/>
                      <a:pt x="177" y="44"/>
                      <a:pt x="177" y="44"/>
                    </a:cubicBezTo>
                    <a:cubicBezTo>
                      <a:pt x="177" y="44"/>
                      <a:pt x="177" y="43"/>
                      <a:pt x="177" y="43"/>
                    </a:cubicBezTo>
                    <a:cubicBezTo>
                      <a:pt x="177" y="43"/>
                      <a:pt x="177" y="43"/>
                      <a:pt x="178" y="43"/>
                    </a:cubicBezTo>
                    <a:cubicBezTo>
                      <a:pt x="178" y="43"/>
                      <a:pt x="178" y="43"/>
                      <a:pt x="178" y="43"/>
                    </a:cubicBezTo>
                    <a:cubicBezTo>
                      <a:pt x="178" y="43"/>
                      <a:pt x="178" y="43"/>
                      <a:pt x="178" y="43"/>
                    </a:cubicBezTo>
                    <a:cubicBezTo>
                      <a:pt x="178" y="43"/>
                      <a:pt x="178" y="43"/>
                      <a:pt x="178" y="43"/>
                    </a:cubicBezTo>
                    <a:cubicBezTo>
                      <a:pt x="178" y="43"/>
                      <a:pt x="178" y="43"/>
                      <a:pt x="178" y="44"/>
                    </a:cubicBezTo>
                    <a:cubicBezTo>
                      <a:pt x="178" y="44"/>
                      <a:pt x="178" y="44"/>
                      <a:pt x="178" y="44"/>
                    </a:cubicBezTo>
                    <a:cubicBezTo>
                      <a:pt x="179" y="44"/>
                      <a:pt x="179" y="44"/>
                      <a:pt x="179" y="44"/>
                    </a:cubicBezTo>
                    <a:cubicBezTo>
                      <a:pt x="179" y="44"/>
                      <a:pt x="179" y="44"/>
                      <a:pt x="179" y="44"/>
                    </a:cubicBezTo>
                    <a:cubicBezTo>
                      <a:pt x="180" y="44"/>
                      <a:pt x="180" y="44"/>
                      <a:pt x="180" y="44"/>
                    </a:cubicBezTo>
                    <a:cubicBezTo>
                      <a:pt x="180" y="44"/>
                      <a:pt x="180" y="44"/>
                      <a:pt x="180" y="44"/>
                    </a:cubicBezTo>
                    <a:cubicBezTo>
                      <a:pt x="180" y="44"/>
                      <a:pt x="180" y="44"/>
                      <a:pt x="180" y="44"/>
                    </a:cubicBezTo>
                    <a:cubicBezTo>
                      <a:pt x="181" y="44"/>
                      <a:pt x="181" y="44"/>
                      <a:pt x="181" y="44"/>
                    </a:cubicBezTo>
                    <a:cubicBezTo>
                      <a:pt x="181" y="44"/>
                      <a:pt x="181" y="44"/>
                      <a:pt x="181" y="44"/>
                    </a:cubicBezTo>
                    <a:cubicBezTo>
                      <a:pt x="181" y="44"/>
                      <a:pt x="181" y="44"/>
                      <a:pt x="181" y="44"/>
                    </a:cubicBezTo>
                    <a:cubicBezTo>
                      <a:pt x="181" y="44"/>
                      <a:pt x="181" y="44"/>
                      <a:pt x="181" y="44"/>
                    </a:cubicBezTo>
                    <a:cubicBezTo>
                      <a:pt x="181" y="43"/>
                      <a:pt x="181" y="43"/>
                      <a:pt x="181" y="43"/>
                    </a:cubicBezTo>
                    <a:cubicBezTo>
                      <a:pt x="181" y="43"/>
                      <a:pt x="182" y="43"/>
                      <a:pt x="182" y="43"/>
                    </a:cubicBezTo>
                    <a:cubicBezTo>
                      <a:pt x="182" y="43"/>
                      <a:pt x="182" y="43"/>
                      <a:pt x="182" y="43"/>
                    </a:cubicBezTo>
                    <a:cubicBezTo>
                      <a:pt x="183" y="43"/>
                      <a:pt x="183" y="43"/>
                      <a:pt x="183" y="43"/>
                    </a:cubicBezTo>
                    <a:cubicBezTo>
                      <a:pt x="183" y="43"/>
                      <a:pt x="183" y="43"/>
                      <a:pt x="184" y="43"/>
                    </a:cubicBezTo>
                    <a:cubicBezTo>
                      <a:pt x="184" y="43"/>
                      <a:pt x="184" y="43"/>
                      <a:pt x="184" y="43"/>
                    </a:cubicBezTo>
                    <a:cubicBezTo>
                      <a:pt x="184" y="43"/>
                      <a:pt x="184" y="43"/>
                      <a:pt x="185" y="43"/>
                    </a:cubicBezTo>
                    <a:cubicBezTo>
                      <a:pt x="185" y="43"/>
                      <a:pt x="185" y="43"/>
                      <a:pt x="185" y="43"/>
                    </a:cubicBezTo>
                    <a:cubicBezTo>
                      <a:pt x="185" y="43"/>
                      <a:pt x="185" y="43"/>
                      <a:pt x="185" y="43"/>
                    </a:cubicBezTo>
                    <a:cubicBezTo>
                      <a:pt x="185" y="43"/>
                      <a:pt x="185" y="43"/>
                      <a:pt x="185" y="43"/>
                    </a:cubicBezTo>
                    <a:cubicBezTo>
                      <a:pt x="186" y="43"/>
                      <a:pt x="186" y="43"/>
                      <a:pt x="186" y="43"/>
                    </a:cubicBezTo>
                    <a:cubicBezTo>
                      <a:pt x="186" y="43"/>
                      <a:pt x="186" y="43"/>
                      <a:pt x="186" y="43"/>
                    </a:cubicBezTo>
                    <a:cubicBezTo>
                      <a:pt x="186" y="43"/>
                      <a:pt x="187" y="43"/>
                      <a:pt x="187" y="43"/>
                    </a:cubicBezTo>
                    <a:cubicBezTo>
                      <a:pt x="187" y="42"/>
                      <a:pt x="186" y="43"/>
                      <a:pt x="186" y="43"/>
                    </a:cubicBezTo>
                    <a:cubicBezTo>
                      <a:pt x="186" y="43"/>
                      <a:pt x="186" y="42"/>
                      <a:pt x="186" y="42"/>
                    </a:cubicBezTo>
                    <a:cubicBezTo>
                      <a:pt x="186" y="42"/>
                      <a:pt x="186" y="42"/>
                      <a:pt x="186" y="42"/>
                    </a:cubicBezTo>
                    <a:cubicBezTo>
                      <a:pt x="185" y="42"/>
                      <a:pt x="185" y="42"/>
                      <a:pt x="185" y="42"/>
                    </a:cubicBezTo>
                    <a:cubicBezTo>
                      <a:pt x="185" y="42"/>
                      <a:pt x="185" y="42"/>
                      <a:pt x="185" y="42"/>
                    </a:cubicBezTo>
                    <a:cubicBezTo>
                      <a:pt x="185" y="42"/>
                      <a:pt x="186" y="42"/>
                      <a:pt x="186" y="42"/>
                    </a:cubicBezTo>
                    <a:cubicBezTo>
                      <a:pt x="186" y="42"/>
                      <a:pt x="186" y="42"/>
                      <a:pt x="186" y="42"/>
                    </a:cubicBezTo>
                    <a:cubicBezTo>
                      <a:pt x="186" y="42"/>
                      <a:pt x="186" y="42"/>
                      <a:pt x="186" y="42"/>
                    </a:cubicBezTo>
                    <a:cubicBezTo>
                      <a:pt x="186" y="42"/>
                      <a:pt x="186" y="42"/>
                      <a:pt x="187" y="42"/>
                    </a:cubicBezTo>
                    <a:cubicBezTo>
                      <a:pt x="187" y="42"/>
                      <a:pt x="187" y="42"/>
                      <a:pt x="187" y="42"/>
                    </a:cubicBezTo>
                    <a:cubicBezTo>
                      <a:pt x="187" y="42"/>
                      <a:pt x="187" y="42"/>
                      <a:pt x="187" y="42"/>
                    </a:cubicBezTo>
                    <a:cubicBezTo>
                      <a:pt x="187" y="42"/>
                      <a:pt x="187" y="41"/>
                      <a:pt x="188" y="41"/>
                    </a:cubicBezTo>
                    <a:cubicBezTo>
                      <a:pt x="188" y="41"/>
                      <a:pt x="188" y="41"/>
                      <a:pt x="188" y="41"/>
                    </a:cubicBezTo>
                    <a:cubicBezTo>
                      <a:pt x="189" y="41"/>
                      <a:pt x="189" y="41"/>
                      <a:pt x="189" y="41"/>
                    </a:cubicBezTo>
                    <a:cubicBezTo>
                      <a:pt x="189" y="42"/>
                      <a:pt x="189" y="42"/>
                      <a:pt x="189" y="42"/>
                    </a:cubicBezTo>
                    <a:cubicBezTo>
                      <a:pt x="189" y="42"/>
                      <a:pt x="190" y="42"/>
                      <a:pt x="190" y="42"/>
                    </a:cubicBezTo>
                    <a:cubicBezTo>
                      <a:pt x="190" y="42"/>
                      <a:pt x="190" y="42"/>
                      <a:pt x="190" y="42"/>
                    </a:cubicBezTo>
                    <a:cubicBezTo>
                      <a:pt x="190" y="42"/>
                      <a:pt x="190" y="42"/>
                      <a:pt x="190" y="42"/>
                    </a:cubicBezTo>
                    <a:cubicBezTo>
                      <a:pt x="190" y="43"/>
                      <a:pt x="190" y="43"/>
                      <a:pt x="190" y="43"/>
                    </a:cubicBezTo>
                    <a:cubicBezTo>
                      <a:pt x="190" y="43"/>
                      <a:pt x="190" y="43"/>
                      <a:pt x="190" y="43"/>
                    </a:cubicBezTo>
                    <a:cubicBezTo>
                      <a:pt x="190" y="43"/>
                      <a:pt x="190" y="43"/>
                      <a:pt x="190" y="43"/>
                    </a:cubicBezTo>
                    <a:cubicBezTo>
                      <a:pt x="189" y="44"/>
                      <a:pt x="190" y="44"/>
                      <a:pt x="189" y="44"/>
                    </a:cubicBezTo>
                    <a:cubicBezTo>
                      <a:pt x="189" y="44"/>
                      <a:pt x="189" y="44"/>
                      <a:pt x="189" y="45"/>
                    </a:cubicBezTo>
                    <a:cubicBezTo>
                      <a:pt x="189" y="45"/>
                      <a:pt x="189" y="45"/>
                      <a:pt x="189" y="44"/>
                    </a:cubicBezTo>
                    <a:cubicBezTo>
                      <a:pt x="189" y="44"/>
                      <a:pt x="189" y="44"/>
                      <a:pt x="189" y="44"/>
                    </a:cubicBezTo>
                    <a:cubicBezTo>
                      <a:pt x="189" y="44"/>
                      <a:pt x="189" y="44"/>
                      <a:pt x="188" y="44"/>
                    </a:cubicBezTo>
                    <a:cubicBezTo>
                      <a:pt x="188" y="44"/>
                      <a:pt x="188" y="44"/>
                      <a:pt x="188" y="44"/>
                    </a:cubicBezTo>
                    <a:cubicBezTo>
                      <a:pt x="188" y="44"/>
                      <a:pt x="188" y="44"/>
                      <a:pt x="188" y="44"/>
                    </a:cubicBezTo>
                    <a:cubicBezTo>
                      <a:pt x="188" y="44"/>
                      <a:pt x="188" y="43"/>
                      <a:pt x="188" y="43"/>
                    </a:cubicBezTo>
                    <a:cubicBezTo>
                      <a:pt x="188" y="43"/>
                      <a:pt x="188" y="43"/>
                      <a:pt x="187" y="43"/>
                    </a:cubicBezTo>
                    <a:cubicBezTo>
                      <a:pt x="187" y="44"/>
                      <a:pt x="187" y="44"/>
                      <a:pt x="187" y="44"/>
                    </a:cubicBezTo>
                    <a:cubicBezTo>
                      <a:pt x="187" y="44"/>
                      <a:pt x="187" y="44"/>
                      <a:pt x="187" y="44"/>
                    </a:cubicBezTo>
                    <a:cubicBezTo>
                      <a:pt x="186" y="44"/>
                      <a:pt x="186" y="44"/>
                      <a:pt x="186" y="44"/>
                    </a:cubicBezTo>
                    <a:cubicBezTo>
                      <a:pt x="186" y="44"/>
                      <a:pt x="186" y="44"/>
                      <a:pt x="186" y="44"/>
                    </a:cubicBezTo>
                    <a:cubicBezTo>
                      <a:pt x="186" y="44"/>
                      <a:pt x="186" y="44"/>
                      <a:pt x="186" y="44"/>
                    </a:cubicBezTo>
                    <a:cubicBezTo>
                      <a:pt x="186" y="44"/>
                      <a:pt x="185" y="45"/>
                      <a:pt x="185" y="45"/>
                    </a:cubicBezTo>
                    <a:cubicBezTo>
                      <a:pt x="185" y="45"/>
                      <a:pt x="185" y="45"/>
                      <a:pt x="185" y="45"/>
                    </a:cubicBezTo>
                    <a:cubicBezTo>
                      <a:pt x="185" y="45"/>
                      <a:pt x="185" y="45"/>
                      <a:pt x="185" y="45"/>
                    </a:cubicBezTo>
                    <a:cubicBezTo>
                      <a:pt x="185" y="45"/>
                      <a:pt x="185" y="45"/>
                      <a:pt x="185" y="45"/>
                    </a:cubicBezTo>
                    <a:cubicBezTo>
                      <a:pt x="185" y="46"/>
                      <a:pt x="184" y="46"/>
                      <a:pt x="184" y="46"/>
                    </a:cubicBezTo>
                    <a:cubicBezTo>
                      <a:pt x="184" y="46"/>
                      <a:pt x="184" y="46"/>
                      <a:pt x="184" y="46"/>
                    </a:cubicBezTo>
                    <a:cubicBezTo>
                      <a:pt x="184" y="46"/>
                      <a:pt x="184" y="46"/>
                      <a:pt x="184" y="46"/>
                    </a:cubicBezTo>
                    <a:cubicBezTo>
                      <a:pt x="184" y="46"/>
                      <a:pt x="184" y="46"/>
                      <a:pt x="184" y="46"/>
                    </a:cubicBezTo>
                    <a:cubicBezTo>
                      <a:pt x="184" y="46"/>
                      <a:pt x="184" y="47"/>
                      <a:pt x="184" y="47"/>
                    </a:cubicBezTo>
                    <a:cubicBezTo>
                      <a:pt x="183" y="47"/>
                      <a:pt x="183" y="47"/>
                      <a:pt x="183" y="47"/>
                    </a:cubicBezTo>
                    <a:cubicBezTo>
                      <a:pt x="183" y="47"/>
                      <a:pt x="183" y="47"/>
                      <a:pt x="183" y="47"/>
                    </a:cubicBezTo>
                    <a:cubicBezTo>
                      <a:pt x="183" y="48"/>
                      <a:pt x="183" y="48"/>
                      <a:pt x="183" y="48"/>
                    </a:cubicBezTo>
                    <a:cubicBezTo>
                      <a:pt x="183" y="48"/>
                      <a:pt x="182" y="48"/>
                      <a:pt x="182" y="48"/>
                    </a:cubicBezTo>
                    <a:cubicBezTo>
                      <a:pt x="182" y="48"/>
                      <a:pt x="182" y="48"/>
                      <a:pt x="182" y="48"/>
                    </a:cubicBezTo>
                    <a:cubicBezTo>
                      <a:pt x="181" y="48"/>
                      <a:pt x="181" y="48"/>
                      <a:pt x="181" y="48"/>
                    </a:cubicBezTo>
                    <a:cubicBezTo>
                      <a:pt x="181" y="48"/>
                      <a:pt x="180" y="48"/>
                      <a:pt x="180" y="48"/>
                    </a:cubicBezTo>
                    <a:cubicBezTo>
                      <a:pt x="180" y="49"/>
                      <a:pt x="180" y="49"/>
                      <a:pt x="180" y="49"/>
                    </a:cubicBezTo>
                    <a:cubicBezTo>
                      <a:pt x="180" y="49"/>
                      <a:pt x="180" y="49"/>
                      <a:pt x="180" y="49"/>
                    </a:cubicBezTo>
                    <a:cubicBezTo>
                      <a:pt x="180" y="49"/>
                      <a:pt x="179" y="49"/>
                      <a:pt x="179" y="49"/>
                    </a:cubicBezTo>
                    <a:cubicBezTo>
                      <a:pt x="179" y="49"/>
                      <a:pt x="179" y="50"/>
                      <a:pt x="179" y="50"/>
                    </a:cubicBezTo>
                    <a:cubicBezTo>
                      <a:pt x="179" y="50"/>
                      <a:pt x="178" y="51"/>
                      <a:pt x="178" y="51"/>
                    </a:cubicBezTo>
                    <a:cubicBezTo>
                      <a:pt x="178" y="51"/>
                      <a:pt x="178" y="51"/>
                      <a:pt x="177" y="51"/>
                    </a:cubicBezTo>
                    <a:cubicBezTo>
                      <a:pt x="177" y="51"/>
                      <a:pt x="177" y="51"/>
                      <a:pt x="177" y="50"/>
                    </a:cubicBezTo>
                    <a:cubicBezTo>
                      <a:pt x="177" y="50"/>
                      <a:pt x="177" y="50"/>
                      <a:pt x="177" y="50"/>
                    </a:cubicBezTo>
                    <a:cubicBezTo>
                      <a:pt x="177" y="50"/>
                      <a:pt x="177" y="50"/>
                      <a:pt x="177" y="50"/>
                    </a:cubicBezTo>
                    <a:cubicBezTo>
                      <a:pt x="177" y="50"/>
                      <a:pt x="177" y="50"/>
                      <a:pt x="177" y="50"/>
                    </a:cubicBezTo>
                    <a:cubicBezTo>
                      <a:pt x="177" y="50"/>
                      <a:pt x="177" y="50"/>
                      <a:pt x="177" y="50"/>
                    </a:cubicBezTo>
                    <a:cubicBezTo>
                      <a:pt x="177" y="50"/>
                      <a:pt x="177" y="50"/>
                      <a:pt x="176" y="50"/>
                    </a:cubicBezTo>
                    <a:cubicBezTo>
                      <a:pt x="176" y="50"/>
                      <a:pt x="176" y="50"/>
                      <a:pt x="176" y="50"/>
                    </a:cubicBezTo>
                    <a:cubicBezTo>
                      <a:pt x="176" y="50"/>
                      <a:pt x="176" y="49"/>
                      <a:pt x="176" y="49"/>
                    </a:cubicBezTo>
                    <a:cubicBezTo>
                      <a:pt x="176" y="49"/>
                      <a:pt x="176" y="50"/>
                      <a:pt x="176" y="50"/>
                    </a:cubicBezTo>
                    <a:cubicBezTo>
                      <a:pt x="176" y="50"/>
                      <a:pt x="176" y="50"/>
                      <a:pt x="176" y="50"/>
                    </a:cubicBezTo>
                    <a:cubicBezTo>
                      <a:pt x="176" y="50"/>
                      <a:pt x="176" y="50"/>
                      <a:pt x="176" y="50"/>
                    </a:cubicBezTo>
                    <a:cubicBezTo>
                      <a:pt x="176" y="50"/>
                      <a:pt x="176" y="50"/>
                      <a:pt x="176" y="50"/>
                    </a:cubicBezTo>
                    <a:cubicBezTo>
                      <a:pt x="176" y="50"/>
                      <a:pt x="176" y="51"/>
                      <a:pt x="176" y="51"/>
                    </a:cubicBezTo>
                    <a:cubicBezTo>
                      <a:pt x="176" y="51"/>
                      <a:pt x="176" y="51"/>
                      <a:pt x="176" y="51"/>
                    </a:cubicBezTo>
                    <a:cubicBezTo>
                      <a:pt x="176" y="51"/>
                      <a:pt x="176" y="51"/>
                      <a:pt x="176" y="51"/>
                    </a:cubicBezTo>
                    <a:cubicBezTo>
                      <a:pt x="176" y="51"/>
                      <a:pt x="176" y="51"/>
                      <a:pt x="176" y="50"/>
                    </a:cubicBezTo>
                    <a:cubicBezTo>
                      <a:pt x="176" y="50"/>
                      <a:pt x="176" y="50"/>
                      <a:pt x="176" y="50"/>
                    </a:cubicBezTo>
                    <a:cubicBezTo>
                      <a:pt x="176" y="50"/>
                      <a:pt x="176" y="50"/>
                      <a:pt x="176" y="50"/>
                    </a:cubicBezTo>
                    <a:cubicBezTo>
                      <a:pt x="176" y="51"/>
                      <a:pt x="176" y="51"/>
                      <a:pt x="177" y="51"/>
                    </a:cubicBezTo>
                    <a:cubicBezTo>
                      <a:pt x="177" y="51"/>
                      <a:pt x="177" y="51"/>
                      <a:pt x="177" y="51"/>
                    </a:cubicBezTo>
                    <a:cubicBezTo>
                      <a:pt x="177" y="51"/>
                      <a:pt x="177" y="51"/>
                      <a:pt x="177" y="51"/>
                    </a:cubicBezTo>
                    <a:cubicBezTo>
                      <a:pt x="177" y="51"/>
                      <a:pt x="177" y="51"/>
                      <a:pt x="177" y="52"/>
                    </a:cubicBezTo>
                    <a:cubicBezTo>
                      <a:pt x="177" y="52"/>
                      <a:pt x="177" y="52"/>
                      <a:pt x="178" y="52"/>
                    </a:cubicBezTo>
                    <a:cubicBezTo>
                      <a:pt x="178" y="52"/>
                      <a:pt x="178" y="52"/>
                      <a:pt x="178" y="52"/>
                    </a:cubicBezTo>
                    <a:cubicBezTo>
                      <a:pt x="178" y="52"/>
                      <a:pt x="178" y="52"/>
                      <a:pt x="178" y="52"/>
                    </a:cubicBezTo>
                    <a:cubicBezTo>
                      <a:pt x="178" y="52"/>
                      <a:pt x="178" y="52"/>
                      <a:pt x="178" y="52"/>
                    </a:cubicBezTo>
                    <a:cubicBezTo>
                      <a:pt x="179" y="52"/>
                      <a:pt x="179" y="52"/>
                      <a:pt x="179" y="53"/>
                    </a:cubicBezTo>
                    <a:cubicBezTo>
                      <a:pt x="179" y="53"/>
                      <a:pt x="179" y="53"/>
                      <a:pt x="179" y="53"/>
                    </a:cubicBezTo>
                    <a:cubicBezTo>
                      <a:pt x="179" y="53"/>
                      <a:pt x="179" y="53"/>
                      <a:pt x="179" y="53"/>
                    </a:cubicBezTo>
                    <a:cubicBezTo>
                      <a:pt x="179" y="53"/>
                      <a:pt x="179" y="53"/>
                      <a:pt x="179" y="53"/>
                    </a:cubicBezTo>
                    <a:cubicBezTo>
                      <a:pt x="179" y="53"/>
                      <a:pt x="179" y="53"/>
                      <a:pt x="179" y="53"/>
                    </a:cubicBezTo>
                    <a:cubicBezTo>
                      <a:pt x="180" y="54"/>
                      <a:pt x="180" y="54"/>
                      <a:pt x="180" y="54"/>
                    </a:cubicBezTo>
                    <a:cubicBezTo>
                      <a:pt x="180" y="54"/>
                      <a:pt x="180" y="54"/>
                      <a:pt x="180" y="54"/>
                    </a:cubicBezTo>
                    <a:cubicBezTo>
                      <a:pt x="180" y="54"/>
                      <a:pt x="180" y="55"/>
                      <a:pt x="180" y="55"/>
                    </a:cubicBezTo>
                    <a:cubicBezTo>
                      <a:pt x="180" y="55"/>
                      <a:pt x="180" y="55"/>
                      <a:pt x="180" y="55"/>
                    </a:cubicBezTo>
                    <a:cubicBezTo>
                      <a:pt x="180" y="55"/>
                      <a:pt x="180" y="55"/>
                      <a:pt x="180" y="55"/>
                    </a:cubicBezTo>
                    <a:cubicBezTo>
                      <a:pt x="180" y="55"/>
                      <a:pt x="180" y="55"/>
                      <a:pt x="180" y="55"/>
                    </a:cubicBezTo>
                    <a:cubicBezTo>
                      <a:pt x="181" y="55"/>
                      <a:pt x="180" y="55"/>
                      <a:pt x="180" y="55"/>
                    </a:cubicBezTo>
                    <a:cubicBezTo>
                      <a:pt x="180" y="56"/>
                      <a:pt x="180" y="56"/>
                      <a:pt x="180" y="56"/>
                    </a:cubicBezTo>
                    <a:cubicBezTo>
                      <a:pt x="181" y="56"/>
                      <a:pt x="181" y="56"/>
                      <a:pt x="181" y="56"/>
                    </a:cubicBezTo>
                    <a:cubicBezTo>
                      <a:pt x="181" y="56"/>
                      <a:pt x="181" y="56"/>
                      <a:pt x="181" y="56"/>
                    </a:cubicBezTo>
                    <a:cubicBezTo>
                      <a:pt x="181" y="56"/>
                      <a:pt x="181" y="56"/>
                      <a:pt x="181" y="56"/>
                    </a:cubicBezTo>
                    <a:cubicBezTo>
                      <a:pt x="181" y="56"/>
                      <a:pt x="181" y="56"/>
                      <a:pt x="181" y="56"/>
                    </a:cubicBezTo>
                    <a:cubicBezTo>
                      <a:pt x="181" y="56"/>
                      <a:pt x="182" y="56"/>
                      <a:pt x="182" y="56"/>
                    </a:cubicBezTo>
                    <a:cubicBezTo>
                      <a:pt x="182" y="56"/>
                      <a:pt x="182" y="56"/>
                      <a:pt x="182" y="56"/>
                    </a:cubicBezTo>
                    <a:cubicBezTo>
                      <a:pt x="182" y="57"/>
                      <a:pt x="182" y="57"/>
                      <a:pt x="182" y="57"/>
                    </a:cubicBezTo>
                    <a:cubicBezTo>
                      <a:pt x="182" y="57"/>
                      <a:pt x="182" y="57"/>
                      <a:pt x="182" y="57"/>
                    </a:cubicBezTo>
                    <a:cubicBezTo>
                      <a:pt x="182" y="57"/>
                      <a:pt x="182" y="57"/>
                      <a:pt x="182" y="57"/>
                    </a:cubicBezTo>
                    <a:cubicBezTo>
                      <a:pt x="182" y="57"/>
                      <a:pt x="182" y="57"/>
                      <a:pt x="182" y="58"/>
                    </a:cubicBezTo>
                    <a:cubicBezTo>
                      <a:pt x="182" y="58"/>
                      <a:pt x="182" y="58"/>
                      <a:pt x="182" y="58"/>
                    </a:cubicBezTo>
                    <a:cubicBezTo>
                      <a:pt x="182" y="58"/>
                      <a:pt x="182" y="58"/>
                      <a:pt x="182" y="58"/>
                    </a:cubicBezTo>
                    <a:cubicBezTo>
                      <a:pt x="183" y="58"/>
                      <a:pt x="183" y="58"/>
                      <a:pt x="183" y="58"/>
                    </a:cubicBezTo>
                    <a:cubicBezTo>
                      <a:pt x="183" y="58"/>
                      <a:pt x="183" y="58"/>
                      <a:pt x="183" y="58"/>
                    </a:cubicBezTo>
                    <a:cubicBezTo>
                      <a:pt x="183" y="58"/>
                      <a:pt x="183" y="58"/>
                      <a:pt x="183" y="59"/>
                    </a:cubicBezTo>
                    <a:cubicBezTo>
                      <a:pt x="183" y="59"/>
                      <a:pt x="183" y="59"/>
                      <a:pt x="183" y="59"/>
                    </a:cubicBezTo>
                    <a:cubicBezTo>
                      <a:pt x="183" y="59"/>
                      <a:pt x="183" y="59"/>
                      <a:pt x="183" y="59"/>
                    </a:cubicBezTo>
                    <a:cubicBezTo>
                      <a:pt x="183" y="59"/>
                      <a:pt x="183" y="59"/>
                      <a:pt x="183" y="59"/>
                    </a:cubicBezTo>
                    <a:cubicBezTo>
                      <a:pt x="183" y="59"/>
                      <a:pt x="183" y="59"/>
                      <a:pt x="182" y="59"/>
                    </a:cubicBezTo>
                    <a:cubicBezTo>
                      <a:pt x="182" y="59"/>
                      <a:pt x="182" y="59"/>
                      <a:pt x="182" y="59"/>
                    </a:cubicBezTo>
                    <a:cubicBezTo>
                      <a:pt x="182" y="59"/>
                      <a:pt x="182" y="59"/>
                      <a:pt x="182" y="59"/>
                    </a:cubicBezTo>
                    <a:cubicBezTo>
                      <a:pt x="182" y="60"/>
                      <a:pt x="182" y="60"/>
                      <a:pt x="182" y="60"/>
                    </a:cubicBezTo>
                    <a:cubicBezTo>
                      <a:pt x="182" y="60"/>
                      <a:pt x="182" y="60"/>
                      <a:pt x="182" y="60"/>
                    </a:cubicBezTo>
                    <a:cubicBezTo>
                      <a:pt x="182" y="60"/>
                      <a:pt x="182" y="60"/>
                      <a:pt x="182" y="60"/>
                    </a:cubicBezTo>
                    <a:cubicBezTo>
                      <a:pt x="182" y="60"/>
                      <a:pt x="182" y="60"/>
                      <a:pt x="182" y="60"/>
                    </a:cubicBezTo>
                    <a:cubicBezTo>
                      <a:pt x="182" y="60"/>
                      <a:pt x="182" y="60"/>
                      <a:pt x="182" y="61"/>
                    </a:cubicBezTo>
                    <a:cubicBezTo>
                      <a:pt x="182" y="61"/>
                      <a:pt x="182" y="61"/>
                      <a:pt x="182" y="61"/>
                    </a:cubicBezTo>
                    <a:cubicBezTo>
                      <a:pt x="182" y="61"/>
                      <a:pt x="182" y="61"/>
                      <a:pt x="182" y="61"/>
                    </a:cubicBezTo>
                    <a:cubicBezTo>
                      <a:pt x="182" y="61"/>
                      <a:pt x="182" y="61"/>
                      <a:pt x="182" y="61"/>
                    </a:cubicBezTo>
                    <a:cubicBezTo>
                      <a:pt x="182" y="61"/>
                      <a:pt x="182" y="61"/>
                      <a:pt x="182" y="62"/>
                    </a:cubicBezTo>
                    <a:cubicBezTo>
                      <a:pt x="182" y="62"/>
                      <a:pt x="182" y="62"/>
                      <a:pt x="182" y="62"/>
                    </a:cubicBezTo>
                    <a:cubicBezTo>
                      <a:pt x="182" y="62"/>
                      <a:pt x="182" y="62"/>
                      <a:pt x="182" y="62"/>
                    </a:cubicBezTo>
                    <a:cubicBezTo>
                      <a:pt x="182" y="62"/>
                      <a:pt x="182" y="62"/>
                      <a:pt x="182" y="62"/>
                    </a:cubicBezTo>
                    <a:cubicBezTo>
                      <a:pt x="182" y="62"/>
                      <a:pt x="182" y="62"/>
                      <a:pt x="182" y="62"/>
                    </a:cubicBezTo>
                    <a:cubicBezTo>
                      <a:pt x="182" y="62"/>
                      <a:pt x="183" y="63"/>
                      <a:pt x="183" y="63"/>
                    </a:cubicBezTo>
                    <a:cubicBezTo>
                      <a:pt x="183" y="63"/>
                      <a:pt x="183" y="62"/>
                      <a:pt x="183" y="63"/>
                    </a:cubicBezTo>
                    <a:cubicBezTo>
                      <a:pt x="183" y="63"/>
                      <a:pt x="183" y="63"/>
                      <a:pt x="183" y="63"/>
                    </a:cubicBezTo>
                    <a:cubicBezTo>
                      <a:pt x="183" y="63"/>
                      <a:pt x="183" y="63"/>
                      <a:pt x="183" y="63"/>
                    </a:cubicBezTo>
                    <a:cubicBezTo>
                      <a:pt x="184" y="63"/>
                      <a:pt x="184" y="63"/>
                      <a:pt x="184" y="63"/>
                    </a:cubicBezTo>
                    <a:cubicBezTo>
                      <a:pt x="184" y="63"/>
                      <a:pt x="184" y="64"/>
                      <a:pt x="184" y="64"/>
                    </a:cubicBezTo>
                    <a:cubicBezTo>
                      <a:pt x="184" y="64"/>
                      <a:pt x="184" y="64"/>
                      <a:pt x="184" y="64"/>
                    </a:cubicBezTo>
                    <a:cubicBezTo>
                      <a:pt x="184" y="64"/>
                      <a:pt x="185" y="63"/>
                      <a:pt x="185" y="64"/>
                    </a:cubicBezTo>
                    <a:cubicBezTo>
                      <a:pt x="185" y="64"/>
                      <a:pt x="185" y="64"/>
                      <a:pt x="185" y="64"/>
                    </a:cubicBezTo>
                    <a:cubicBezTo>
                      <a:pt x="185" y="64"/>
                      <a:pt x="185" y="64"/>
                      <a:pt x="185" y="64"/>
                    </a:cubicBezTo>
                    <a:cubicBezTo>
                      <a:pt x="184" y="64"/>
                      <a:pt x="184" y="64"/>
                      <a:pt x="184" y="64"/>
                    </a:cubicBezTo>
                    <a:cubicBezTo>
                      <a:pt x="184" y="64"/>
                      <a:pt x="184" y="64"/>
                      <a:pt x="184" y="64"/>
                    </a:cubicBezTo>
                    <a:cubicBezTo>
                      <a:pt x="184" y="64"/>
                      <a:pt x="184" y="64"/>
                      <a:pt x="184" y="64"/>
                    </a:cubicBezTo>
                    <a:cubicBezTo>
                      <a:pt x="185" y="64"/>
                      <a:pt x="185" y="64"/>
                      <a:pt x="185" y="64"/>
                    </a:cubicBezTo>
                    <a:cubicBezTo>
                      <a:pt x="185" y="65"/>
                      <a:pt x="185" y="65"/>
                      <a:pt x="185" y="65"/>
                    </a:cubicBezTo>
                    <a:cubicBezTo>
                      <a:pt x="185" y="65"/>
                      <a:pt x="185" y="65"/>
                      <a:pt x="185" y="65"/>
                    </a:cubicBezTo>
                    <a:cubicBezTo>
                      <a:pt x="185" y="65"/>
                      <a:pt x="185" y="65"/>
                      <a:pt x="185" y="65"/>
                    </a:cubicBezTo>
                    <a:cubicBezTo>
                      <a:pt x="185" y="65"/>
                      <a:pt x="186" y="65"/>
                      <a:pt x="186" y="65"/>
                    </a:cubicBezTo>
                    <a:cubicBezTo>
                      <a:pt x="186" y="65"/>
                      <a:pt x="185" y="65"/>
                      <a:pt x="185" y="65"/>
                    </a:cubicBezTo>
                    <a:cubicBezTo>
                      <a:pt x="186" y="65"/>
                      <a:pt x="186" y="65"/>
                      <a:pt x="186" y="65"/>
                    </a:cubicBezTo>
                    <a:cubicBezTo>
                      <a:pt x="186" y="65"/>
                      <a:pt x="186" y="65"/>
                      <a:pt x="186" y="65"/>
                    </a:cubicBezTo>
                    <a:cubicBezTo>
                      <a:pt x="186" y="65"/>
                      <a:pt x="186" y="65"/>
                      <a:pt x="186" y="65"/>
                    </a:cubicBezTo>
                    <a:cubicBezTo>
                      <a:pt x="186" y="65"/>
                      <a:pt x="186" y="66"/>
                      <a:pt x="186" y="66"/>
                    </a:cubicBezTo>
                    <a:cubicBezTo>
                      <a:pt x="186" y="66"/>
                      <a:pt x="186" y="66"/>
                      <a:pt x="186" y="66"/>
                    </a:cubicBezTo>
                    <a:cubicBezTo>
                      <a:pt x="186" y="66"/>
                      <a:pt x="186" y="66"/>
                      <a:pt x="186" y="67"/>
                    </a:cubicBezTo>
                    <a:cubicBezTo>
                      <a:pt x="186" y="67"/>
                      <a:pt x="186" y="67"/>
                      <a:pt x="186" y="67"/>
                    </a:cubicBezTo>
                    <a:cubicBezTo>
                      <a:pt x="186" y="67"/>
                      <a:pt x="186" y="67"/>
                      <a:pt x="186" y="67"/>
                    </a:cubicBezTo>
                    <a:cubicBezTo>
                      <a:pt x="186" y="67"/>
                      <a:pt x="186" y="67"/>
                      <a:pt x="186" y="67"/>
                    </a:cubicBezTo>
                    <a:cubicBezTo>
                      <a:pt x="185" y="67"/>
                      <a:pt x="185" y="67"/>
                      <a:pt x="185" y="67"/>
                    </a:cubicBezTo>
                    <a:cubicBezTo>
                      <a:pt x="185" y="67"/>
                      <a:pt x="185" y="66"/>
                      <a:pt x="185" y="66"/>
                    </a:cubicBezTo>
                    <a:cubicBezTo>
                      <a:pt x="185" y="66"/>
                      <a:pt x="185" y="66"/>
                      <a:pt x="185" y="67"/>
                    </a:cubicBezTo>
                    <a:cubicBezTo>
                      <a:pt x="185" y="67"/>
                      <a:pt x="185" y="67"/>
                      <a:pt x="185" y="67"/>
                    </a:cubicBezTo>
                    <a:cubicBezTo>
                      <a:pt x="185" y="67"/>
                      <a:pt x="185" y="67"/>
                      <a:pt x="185" y="67"/>
                    </a:cubicBezTo>
                    <a:cubicBezTo>
                      <a:pt x="185" y="67"/>
                      <a:pt x="185" y="68"/>
                      <a:pt x="185" y="68"/>
                    </a:cubicBezTo>
                    <a:cubicBezTo>
                      <a:pt x="185" y="68"/>
                      <a:pt x="185" y="67"/>
                      <a:pt x="185" y="67"/>
                    </a:cubicBezTo>
                    <a:cubicBezTo>
                      <a:pt x="185" y="67"/>
                      <a:pt x="185" y="68"/>
                      <a:pt x="185" y="68"/>
                    </a:cubicBezTo>
                    <a:cubicBezTo>
                      <a:pt x="185" y="68"/>
                      <a:pt x="185" y="67"/>
                      <a:pt x="185" y="67"/>
                    </a:cubicBezTo>
                    <a:cubicBezTo>
                      <a:pt x="185" y="67"/>
                      <a:pt x="185" y="67"/>
                      <a:pt x="185" y="67"/>
                    </a:cubicBezTo>
                    <a:cubicBezTo>
                      <a:pt x="185" y="67"/>
                      <a:pt x="185" y="67"/>
                      <a:pt x="185" y="67"/>
                    </a:cubicBezTo>
                    <a:cubicBezTo>
                      <a:pt x="184" y="67"/>
                      <a:pt x="184" y="67"/>
                      <a:pt x="184" y="67"/>
                    </a:cubicBezTo>
                    <a:cubicBezTo>
                      <a:pt x="184" y="67"/>
                      <a:pt x="184" y="67"/>
                      <a:pt x="184" y="67"/>
                    </a:cubicBezTo>
                    <a:cubicBezTo>
                      <a:pt x="184" y="67"/>
                      <a:pt x="184" y="67"/>
                      <a:pt x="184" y="67"/>
                    </a:cubicBezTo>
                    <a:cubicBezTo>
                      <a:pt x="183" y="67"/>
                      <a:pt x="183" y="67"/>
                      <a:pt x="183" y="67"/>
                    </a:cubicBezTo>
                    <a:cubicBezTo>
                      <a:pt x="183" y="67"/>
                      <a:pt x="183" y="67"/>
                      <a:pt x="183" y="67"/>
                    </a:cubicBezTo>
                    <a:cubicBezTo>
                      <a:pt x="183" y="67"/>
                      <a:pt x="183" y="67"/>
                      <a:pt x="183" y="67"/>
                    </a:cubicBezTo>
                    <a:cubicBezTo>
                      <a:pt x="183" y="67"/>
                      <a:pt x="183" y="67"/>
                      <a:pt x="182" y="67"/>
                    </a:cubicBezTo>
                    <a:cubicBezTo>
                      <a:pt x="182" y="67"/>
                      <a:pt x="182" y="68"/>
                      <a:pt x="182" y="67"/>
                    </a:cubicBezTo>
                    <a:cubicBezTo>
                      <a:pt x="182" y="67"/>
                      <a:pt x="182" y="67"/>
                      <a:pt x="182" y="67"/>
                    </a:cubicBezTo>
                    <a:cubicBezTo>
                      <a:pt x="182" y="67"/>
                      <a:pt x="182" y="67"/>
                      <a:pt x="182" y="68"/>
                    </a:cubicBezTo>
                    <a:cubicBezTo>
                      <a:pt x="182" y="68"/>
                      <a:pt x="181" y="68"/>
                      <a:pt x="181" y="68"/>
                    </a:cubicBezTo>
                    <a:cubicBezTo>
                      <a:pt x="181" y="68"/>
                      <a:pt x="181" y="68"/>
                      <a:pt x="181" y="68"/>
                    </a:cubicBezTo>
                    <a:cubicBezTo>
                      <a:pt x="181" y="68"/>
                      <a:pt x="181" y="68"/>
                      <a:pt x="181" y="68"/>
                    </a:cubicBezTo>
                    <a:cubicBezTo>
                      <a:pt x="181" y="69"/>
                      <a:pt x="180" y="69"/>
                      <a:pt x="180" y="69"/>
                    </a:cubicBezTo>
                    <a:cubicBezTo>
                      <a:pt x="180" y="69"/>
                      <a:pt x="181" y="69"/>
                      <a:pt x="181" y="69"/>
                    </a:cubicBezTo>
                    <a:cubicBezTo>
                      <a:pt x="181" y="69"/>
                      <a:pt x="181" y="70"/>
                      <a:pt x="181" y="70"/>
                    </a:cubicBezTo>
                    <a:cubicBezTo>
                      <a:pt x="181" y="70"/>
                      <a:pt x="181" y="70"/>
                      <a:pt x="181" y="70"/>
                    </a:cubicBezTo>
                    <a:cubicBezTo>
                      <a:pt x="181" y="70"/>
                      <a:pt x="181" y="70"/>
                      <a:pt x="181" y="70"/>
                    </a:cubicBezTo>
                    <a:cubicBezTo>
                      <a:pt x="181" y="70"/>
                      <a:pt x="181" y="70"/>
                      <a:pt x="181" y="70"/>
                    </a:cubicBezTo>
                    <a:cubicBezTo>
                      <a:pt x="180" y="70"/>
                      <a:pt x="180" y="70"/>
                      <a:pt x="180" y="70"/>
                    </a:cubicBezTo>
                    <a:cubicBezTo>
                      <a:pt x="180" y="70"/>
                      <a:pt x="180" y="70"/>
                      <a:pt x="180" y="70"/>
                    </a:cubicBezTo>
                    <a:cubicBezTo>
                      <a:pt x="180" y="70"/>
                      <a:pt x="180" y="70"/>
                      <a:pt x="180" y="70"/>
                    </a:cubicBezTo>
                    <a:cubicBezTo>
                      <a:pt x="180" y="70"/>
                      <a:pt x="179" y="70"/>
                      <a:pt x="179" y="70"/>
                    </a:cubicBezTo>
                    <a:cubicBezTo>
                      <a:pt x="179" y="70"/>
                      <a:pt x="179" y="70"/>
                      <a:pt x="178" y="70"/>
                    </a:cubicBezTo>
                    <a:cubicBezTo>
                      <a:pt x="178" y="70"/>
                      <a:pt x="178" y="70"/>
                      <a:pt x="178" y="70"/>
                    </a:cubicBezTo>
                    <a:cubicBezTo>
                      <a:pt x="178" y="70"/>
                      <a:pt x="178" y="70"/>
                      <a:pt x="178" y="70"/>
                    </a:cubicBezTo>
                    <a:cubicBezTo>
                      <a:pt x="178" y="70"/>
                      <a:pt x="178" y="70"/>
                      <a:pt x="178" y="70"/>
                    </a:cubicBezTo>
                    <a:cubicBezTo>
                      <a:pt x="177" y="69"/>
                      <a:pt x="177" y="69"/>
                      <a:pt x="177" y="69"/>
                    </a:cubicBezTo>
                    <a:cubicBezTo>
                      <a:pt x="177" y="69"/>
                      <a:pt x="177" y="69"/>
                      <a:pt x="177" y="69"/>
                    </a:cubicBezTo>
                    <a:cubicBezTo>
                      <a:pt x="177" y="69"/>
                      <a:pt x="177" y="69"/>
                      <a:pt x="177" y="69"/>
                    </a:cubicBezTo>
                    <a:cubicBezTo>
                      <a:pt x="177" y="69"/>
                      <a:pt x="177" y="69"/>
                      <a:pt x="177" y="69"/>
                    </a:cubicBezTo>
                    <a:cubicBezTo>
                      <a:pt x="177" y="69"/>
                      <a:pt x="177" y="69"/>
                      <a:pt x="177" y="68"/>
                    </a:cubicBezTo>
                    <a:cubicBezTo>
                      <a:pt x="177" y="68"/>
                      <a:pt x="177" y="68"/>
                      <a:pt x="177" y="67"/>
                    </a:cubicBezTo>
                    <a:cubicBezTo>
                      <a:pt x="177" y="67"/>
                      <a:pt x="177" y="67"/>
                      <a:pt x="177" y="67"/>
                    </a:cubicBezTo>
                    <a:cubicBezTo>
                      <a:pt x="177" y="67"/>
                      <a:pt x="177" y="66"/>
                      <a:pt x="177" y="66"/>
                    </a:cubicBezTo>
                    <a:cubicBezTo>
                      <a:pt x="177" y="66"/>
                      <a:pt x="177" y="66"/>
                      <a:pt x="177" y="66"/>
                    </a:cubicBezTo>
                    <a:cubicBezTo>
                      <a:pt x="177" y="66"/>
                      <a:pt x="177" y="66"/>
                      <a:pt x="177" y="66"/>
                    </a:cubicBezTo>
                    <a:cubicBezTo>
                      <a:pt x="178" y="66"/>
                      <a:pt x="178" y="66"/>
                      <a:pt x="178" y="66"/>
                    </a:cubicBezTo>
                    <a:cubicBezTo>
                      <a:pt x="178" y="65"/>
                      <a:pt x="178" y="65"/>
                      <a:pt x="178" y="65"/>
                    </a:cubicBezTo>
                    <a:cubicBezTo>
                      <a:pt x="178" y="65"/>
                      <a:pt x="178" y="65"/>
                      <a:pt x="178" y="65"/>
                    </a:cubicBezTo>
                    <a:cubicBezTo>
                      <a:pt x="178" y="65"/>
                      <a:pt x="178" y="65"/>
                      <a:pt x="178" y="65"/>
                    </a:cubicBezTo>
                    <a:cubicBezTo>
                      <a:pt x="177" y="65"/>
                      <a:pt x="177" y="64"/>
                      <a:pt x="177" y="64"/>
                    </a:cubicBezTo>
                    <a:cubicBezTo>
                      <a:pt x="177" y="64"/>
                      <a:pt x="177" y="64"/>
                      <a:pt x="176" y="64"/>
                    </a:cubicBezTo>
                    <a:cubicBezTo>
                      <a:pt x="176" y="64"/>
                      <a:pt x="176" y="64"/>
                      <a:pt x="176" y="64"/>
                    </a:cubicBezTo>
                    <a:cubicBezTo>
                      <a:pt x="176" y="64"/>
                      <a:pt x="176" y="63"/>
                      <a:pt x="176" y="63"/>
                    </a:cubicBezTo>
                    <a:cubicBezTo>
                      <a:pt x="175" y="63"/>
                      <a:pt x="175" y="64"/>
                      <a:pt x="175" y="64"/>
                    </a:cubicBezTo>
                    <a:cubicBezTo>
                      <a:pt x="175" y="64"/>
                      <a:pt x="175" y="64"/>
                      <a:pt x="175" y="64"/>
                    </a:cubicBezTo>
                    <a:cubicBezTo>
                      <a:pt x="175" y="64"/>
                      <a:pt x="175" y="64"/>
                      <a:pt x="175" y="64"/>
                    </a:cubicBezTo>
                    <a:cubicBezTo>
                      <a:pt x="175" y="63"/>
                      <a:pt x="175" y="63"/>
                      <a:pt x="175" y="63"/>
                    </a:cubicBezTo>
                    <a:cubicBezTo>
                      <a:pt x="175" y="63"/>
                      <a:pt x="175" y="63"/>
                      <a:pt x="175" y="63"/>
                    </a:cubicBezTo>
                    <a:cubicBezTo>
                      <a:pt x="175" y="63"/>
                      <a:pt x="175" y="63"/>
                      <a:pt x="175" y="63"/>
                    </a:cubicBezTo>
                    <a:cubicBezTo>
                      <a:pt x="175" y="63"/>
                      <a:pt x="175" y="63"/>
                      <a:pt x="174" y="63"/>
                    </a:cubicBezTo>
                    <a:cubicBezTo>
                      <a:pt x="174" y="62"/>
                      <a:pt x="174" y="62"/>
                      <a:pt x="174" y="62"/>
                    </a:cubicBezTo>
                    <a:cubicBezTo>
                      <a:pt x="174" y="62"/>
                      <a:pt x="174" y="62"/>
                      <a:pt x="174" y="62"/>
                    </a:cubicBezTo>
                    <a:cubicBezTo>
                      <a:pt x="174" y="62"/>
                      <a:pt x="173" y="62"/>
                      <a:pt x="173" y="62"/>
                    </a:cubicBezTo>
                    <a:cubicBezTo>
                      <a:pt x="173" y="62"/>
                      <a:pt x="173" y="62"/>
                      <a:pt x="173" y="61"/>
                    </a:cubicBezTo>
                    <a:cubicBezTo>
                      <a:pt x="173" y="61"/>
                      <a:pt x="173" y="61"/>
                      <a:pt x="173" y="61"/>
                    </a:cubicBezTo>
                    <a:cubicBezTo>
                      <a:pt x="173" y="60"/>
                      <a:pt x="173" y="60"/>
                      <a:pt x="173" y="60"/>
                    </a:cubicBezTo>
                    <a:cubicBezTo>
                      <a:pt x="173" y="60"/>
                      <a:pt x="173" y="60"/>
                      <a:pt x="173" y="60"/>
                    </a:cubicBezTo>
                    <a:cubicBezTo>
                      <a:pt x="173" y="59"/>
                      <a:pt x="174" y="59"/>
                      <a:pt x="174" y="59"/>
                    </a:cubicBezTo>
                    <a:cubicBezTo>
                      <a:pt x="174" y="59"/>
                      <a:pt x="174" y="59"/>
                      <a:pt x="174" y="59"/>
                    </a:cubicBezTo>
                    <a:cubicBezTo>
                      <a:pt x="174" y="59"/>
                      <a:pt x="174" y="59"/>
                      <a:pt x="174" y="59"/>
                    </a:cubicBezTo>
                    <a:cubicBezTo>
                      <a:pt x="174" y="59"/>
                      <a:pt x="174" y="58"/>
                      <a:pt x="174" y="58"/>
                    </a:cubicBezTo>
                    <a:cubicBezTo>
                      <a:pt x="174" y="58"/>
                      <a:pt x="174" y="58"/>
                      <a:pt x="174" y="58"/>
                    </a:cubicBezTo>
                    <a:cubicBezTo>
                      <a:pt x="174" y="58"/>
                      <a:pt x="174" y="58"/>
                      <a:pt x="174" y="58"/>
                    </a:cubicBezTo>
                    <a:cubicBezTo>
                      <a:pt x="174" y="58"/>
                      <a:pt x="174" y="58"/>
                      <a:pt x="174" y="58"/>
                    </a:cubicBezTo>
                    <a:cubicBezTo>
                      <a:pt x="174" y="57"/>
                      <a:pt x="174" y="57"/>
                      <a:pt x="174" y="57"/>
                    </a:cubicBezTo>
                    <a:cubicBezTo>
                      <a:pt x="174" y="57"/>
                      <a:pt x="174" y="57"/>
                      <a:pt x="174" y="57"/>
                    </a:cubicBezTo>
                    <a:cubicBezTo>
                      <a:pt x="174" y="57"/>
                      <a:pt x="174" y="57"/>
                      <a:pt x="174" y="57"/>
                    </a:cubicBezTo>
                    <a:cubicBezTo>
                      <a:pt x="174" y="57"/>
                      <a:pt x="174" y="57"/>
                      <a:pt x="174" y="57"/>
                    </a:cubicBezTo>
                    <a:cubicBezTo>
                      <a:pt x="174" y="56"/>
                      <a:pt x="174" y="57"/>
                      <a:pt x="174" y="56"/>
                    </a:cubicBezTo>
                    <a:cubicBezTo>
                      <a:pt x="174" y="56"/>
                      <a:pt x="173" y="56"/>
                      <a:pt x="173" y="56"/>
                    </a:cubicBezTo>
                    <a:cubicBezTo>
                      <a:pt x="173" y="56"/>
                      <a:pt x="174" y="56"/>
                      <a:pt x="174" y="56"/>
                    </a:cubicBezTo>
                    <a:cubicBezTo>
                      <a:pt x="174" y="56"/>
                      <a:pt x="174" y="56"/>
                      <a:pt x="174" y="56"/>
                    </a:cubicBezTo>
                    <a:cubicBezTo>
                      <a:pt x="174" y="56"/>
                      <a:pt x="174" y="56"/>
                      <a:pt x="174" y="56"/>
                    </a:cubicBezTo>
                    <a:cubicBezTo>
                      <a:pt x="174" y="56"/>
                      <a:pt x="174" y="56"/>
                      <a:pt x="174" y="56"/>
                    </a:cubicBezTo>
                    <a:cubicBezTo>
                      <a:pt x="174" y="56"/>
                      <a:pt x="174" y="56"/>
                      <a:pt x="174" y="56"/>
                    </a:cubicBezTo>
                    <a:cubicBezTo>
                      <a:pt x="174" y="55"/>
                      <a:pt x="174" y="55"/>
                      <a:pt x="174" y="55"/>
                    </a:cubicBezTo>
                    <a:cubicBezTo>
                      <a:pt x="174" y="55"/>
                      <a:pt x="174" y="55"/>
                      <a:pt x="174" y="55"/>
                    </a:cubicBezTo>
                    <a:cubicBezTo>
                      <a:pt x="174" y="55"/>
                      <a:pt x="173" y="55"/>
                      <a:pt x="173" y="55"/>
                    </a:cubicBezTo>
                    <a:cubicBezTo>
                      <a:pt x="173" y="55"/>
                      <a:pt x="173" y="55"/>
                      <a:pt x="173" y="55"/>
                    </a:cubicBezTo>
                    <a:cubicBezTo>
                      <a:pt x="173" y="55"/>
                      <a:pt x="173" y="55"/>
                      <a:pt x="173" y="55"/>
                    </a:cubicBezTo>
                    <a:cubicBezTo>
                      <a:pt x="173" y="55"/>
                      <a:pt x="173" y="55"/>
                      <a:pt x="173" y="55"/>
                    </a:cubicBezTo>
                    <a:cubicBezTo>
                      <a:pt x="173" y="55"/>
                      <a:pt x="173" y="55"/>
                      <a:pt x="173" y="55"/>
                    </a:cubicBezTo>
                    <a:cubicBezTo>
                      <a:pt x="172" y="55"/>
                      <a:pt x="172" y="55"/>
                      <a:pt x="172" y="55"/>
                    </a:cubicBezTo>
                    <a:cubicBezTo>
                      <a:pt x="172" y="55"/>
                      <a:pt x="172" y="55"/>
                      <a:pt x="172" y="55"/>
                    </a:cubicBezTo>
                    <a:cubicBezTo>
                      <a:pt x="172" y="55"/>
                      <a:pt x="172" y="55"/>
                      <a:pt x="172" y="55"/>
                    </a:cubicBezTo>
                    <a:cubicBezTo>
                      <a:pt x="172" y="55"/>
                      <a:pt x="172" y="55"/>
                      <a:pt x="172" y="55"/>
                    </a:cubicBezTo>
                    <a:cubicBezTo>
                      <a:pt x="171" y="55"/>
                      <a:pt x="171" y="55"/>
                      <a:pt x="171" y="55"/>
                    </a:cubicBezTo>
                    <a:cubicBezTo>
                      <a:pt x="171" y="56"/>
                      <a:pt x="171" y="55"/>
                      <a:pt x="171" y="56"/>
                    </a:cubicBezTo>
                    <a:cubicBezTo>
                      <a:pt x="171" y="56"/>
                      <a:pt x="171" y="56"/>
                      <a:pt x="171" y="56"/>
                    </a:cubicBezTo>
                    <a:cubicBezTo>
                      <a:pt x="170" y="56"/>
                      <a:pt x="170" y="56"/>
                      <a:pt x="170" y="56"/>
                    </a:cubicBezTo>
                    <a:cubicBezTo>
                      <a:pt x="170" y="57"/>
                      <a:pt x="170" y="57"/>
                      <a:pt x="170" y="57"/>
                    </a:cubicBezTo>
                    <a:cubicBezTo>
                      <a:pt x="169" y="57"/>
                      <a:pt x="169" y="57"/>
                      <a:pt x="169" y="57"/>
                    </a:cubicBezTo>
                    <a:cubicBezTo>
                      <a:pt x="169" y="57"/>
                      <a:pt x="169" y="57"/>
                      <a:pt x="168" y="57"/>
                    </a:cubicBezTo>
                    <a:cubicBezTo>
                      <a:pt x="168" y="57"/>
                      <a:pt x="168" y="57"/>
                      <a:pt x="168" y="57"/>
                    </a:cubicBezTo>
                    <a:cubicBezTo>
                      <a:pt x="168" y="58"/>
                      <a:pt x="168" y="58"/>
                      <a:pt x="168" y="58"/>
                    </a:cubicBezTo>
                    <a:cubicBezTo>
                      <a:pt x="169" y="58"/>
                      <a:pt x="169" y="58"/>
                      <a:pt x="169" y="58"/>
                    </a:cubicBezTo>
                    <a:cubicBezTo>
                      <a:pt x="169" y="58"/>
                      <a:pt x="169" y="58"/>
                      <a:pt x="169" y="58"/>
                    </a:cubicBezTo>
                    <a:cubicBezTo>
                      <a:pt x="169" y="58"/>
                      <a:pt x="169" y="59"/>
                      <a:pt x="169" y="59"/>
                    </a:cubicBezTo>
                    <a:cubicBezTo>
                      <a:pt x="169" y="59"/>
                      <a:pt x="169" y="59"/>
                      <a:pt x="169" y="59"/>
                    </a:cubicBezTo>
                    <a:cubicBezTo>
                      <a:pt x="169" y="59"/>
                      <a:pt x="169" y="59"/>
                      <a:pt x="169" y="59"/>
                    </a:cubicBezTo>
                    <a:cubicBezTo>
                      <a:pt x="169" y="59"/>
                      <a:pt x="170" y="59"/>
                      <a:pt x="170" y="59"/>
                    </a:cubicBezTo>
                    <a:cubicBezTo>
                      <a:pt x="170" y="59"/>
                      <a:pt x="170" y="59"/>
                      <a:pt x="170" y="59"/>
                    </a:cubicBezTo>
                    <a:cubicBezTo>
                      <a:pt x="170" y="59"/>
                      <a:pt x="170" y="59"/>
                      <a:pt x="170" y="59"/>
                    </a:cubicBezTo>
                    <a:cubicBezTo>
                      <a:pt x="170" y="60"/>
                      <a:pt x="170" y="60"/>
                      <a:pt x="170" y="60"/>
                    </a:cubicBezTo>
                    <a:cubicBezTo>
                      <a:pt x="170" y="60"/>
                      <a:pt x="170" y="60"/>
                      <a:pt x="170" y="61"/>
                    </a:cubicBezTo>
                    <a:cubicBezTo>
                      <a:pt x="170" y="61"/>
                      <a:pt x="170" y="61"/>
                      <a:pt x="170" y="61"/>
                    </a:cubicBezTo>
                    <a:cubicBezTo>
                      <a:pt x="170" y="61"/>
                      <a:pt x="170" y="61"/>
                      <a:pt x="170" y="61"/>
                    </a:cubicBezTo>
                    <a:cubicBezTo>
                      <a:pt x="170" y="61"/>
                      <a:pt x="170" y="61"/>
                      <a:pt x="170" y="61"/>
                    </a:cubicBezTo>
                    <a:cubicBezTo>
                      <a:pt x="170" y="61"/>
                      <a:pt x="170" y="62"/>
                      <a:pt x="170" y="62"/>
                    </a:cubicBezTo>
                    <a:cubicBezTo>
                      <a:pt x="170" y="62"/>
                      <a:pt x="170" y="62"/>
                      <a:pt x="170" y="62"/>
                    </a:cubicBezTo>
                    <a:cubicBezTo>
                      <a:pt x="170" y="62"/>
                      <a:pt x="170" y="62"/>
                      <a:pt x="170" y="62"/>
                    </a:cubicBezTo>
                    <a:cubicBezTo>
                      <a:pt x="170" y="63"/>
                      <a:pt x="170" y="63"/>
                      <a:pt x="170" y="63"/>
                    </a:cubicBezTo>
                    <a:cubicBezTo>
                      <a:pt x="170" y="63"/>
                      <a:pt x="170" y="63"/>
                      <a:pt x="170" y="63"/>
                    </a:cubicBezTo>
                    <a:cubicBezTo>
                      <a:pt x="170" y="63"/>
                      <a:pt x="169" y="63"/>
                      <a:pt x="169" y="63"/>
                    </a:cubicBezTo>
                    <a:cubicBezTo>
                      <a:pt x="169" y="63"/>
                      <a:pt x="169" y="64"/>
                      <a:pt x="169" y="64"/>
                    </a:cubicBezTo>
                    <a:cubicBezTo>
                      <a:pt x="169" y="64"/>
                      <a:pt x="169" y="64"/>
                      <a:pt x="169" y="64"/>
                    </a:cubicBezTo>
                    <a:cubicBezTo>
                      <a:pt x="169" y="64"/>
                      <a:pt x="169" y="64"/>
                      <a:pt x="169" y="64"/>
                    </a:cubicBezTo>
                    <a:cubicBezTo>
                      <a:pt x="169" y="64"/>
                      <a:pt x="169" y="64"/>
                      <a:pt x="169" y="65"/>
                    </a:cubicBezTo>
                    <a:cubicBezTo>
                      <a:pt x="169" y="65"/>
                      <a:pt x="169" y="65"/>
                      <a:pt x="169" y="65"/>
                    </a:cubicBezTo>
                    <a:cubicBezTo>
                      <a:pt x="169" y="65"/>
                      <a:pt x="170" y="65"/>
                      <a:pt x="170" y="65"/>
                    </a:cubicBezTo>
                    <a:cubicBezTo>
                      <a:pt x="170" y="66"/>
                      <a:pt x="170" y="66"/>
                      <a:pt x="170" y="66"/>
                    </a:cubicBezTo>
                    <a:cubicBezTo>
                      <a:pt x="169" y="66"/>
                      <a:pt x="169" y="66"/>
                      <a:pt x="169" y="66"/>
                    </a:cubicBezTo>
                    <a:cubicBezTo>
                      <a:pt x="169" y="66"/>
                      <a:pt x="170" y="66"/>
                      <a:pt x="170" y="66"/>
                    </a:cubicBezTo>
                    <a:cubicBezTo>
                      <a:pt x="170" y="67"/>
                      <a:pt x="169" y="67"/>
                      <a:pt x="169" y="67"/>
                    </a:cubicBezTo>
                    <a:cubicBezTo>
                      <a:pt x="169" y="67"/>
                      <a:pt x="170" y="67"/>
                      <a:pt x="170" y="67"/>
                    </a:cubicBezTo>
                    <a:cubicBezTo>
                      <a:pt x="170" y="67"/>
                      <a:pt x="170" y="67"/>
                      <a:pt x="170" y="68"/>
                    </a:cubicBezTo>
                    <a:cubicBezTo>
                      <a:pt x="170" y="68"/>
                      <a:pt x="170" y="68"/>
                      <a:pt x="170" y="68"/>
                    </a:cubicBezTo>
                    <a:cubicBezTo>
                      <a:pt x="170" y="68"/>
                      <a:pt x="170" y="68"/>
                      <a:pt x="170" y="68"/>
                    </a:cubicBezTo>
                    <a:cubicBezTo>
                      <a:pt x="170" y="68"/>
                      <a:pt x="170" y="68"/>
                      <a:pt x="170" y="68"/>
                    </a:cubicBezTo>
                    <a:cubicBezTo>
                      <a:pt x="170" y="69"/>
                      <a:pt x="170" y="69"/>
                      <a:pt x="170" y="69"/>
                    </a:cubicBezTo>
                    <a:cubicBezTo>
                      <a:pt x="170" y="69"/>
                      <a:pt x="170" y="69"/>
                      <a:pt x="170" y="69"/>
                    </a:cubicBezTo>
                    <a:cubicBezTo>
                      <a:pt x="170" y="69"/>
                      <a:pt x="170" y="69"/>
                      <a:pt x="170" y="69"/>
                    </a:cubicBezTo>
                    <a:cubicBezTo>
                      <a:pt x="170" y="70"/>
                      <a:pt x="170" y="70"/>
                      <a:pt x="170" y="70"/>
                    </a:cubicBezTo>
                    <a:cubicBezTo>
                      <a:pt x="169" y="70"/>
                      <a:pt x="169" y="70"/>
                      <a:pt x="169" y="70"/>
                    </a:cubicBezTo>
                    <a:cubicBezTo>
                      <a:pt x="169" y="70"/>
                      <a:pt x="169" y="70"/>
                      <a:pt x="169" y="70"/>
                    </a:cubicBezTo>
                    <a:cubicBezTo>
                      <a:pt x="169" y="71"/>
                      <a:pt x="169" y="71"/>
                      <a:pt x="169" y="71"/>
                    </a:cubicBezTo>
                    <a:cubicBezTo>
                      <a:pt x="169" y="71"/>
                      <a:pt x="169" y="71"/>
                      <a:pt x="169" y="72"/>
                    </a:cubicBezTo>
                    <a:cubicBezTo>
                      <a:pt x="169" y="72"/>
                      <a:pt x="169" y="72"/>
                      <a:pt x="169" y="72"/>
                    </a:cubicBezTo>
                    <a:cubicBezTo>
                      <a:pt x="169" y="72"/>
                      <a:pt x="169" y="72"/>
                      <a:pt x="169" y="72"/>
                    </a:cubicBezTo>
                    <a:cubicBezTo>
                      <a:pt x="169" y="72"/>
                      <a:pt x="169" y="73"/>
                      <a:pt x="169" y="73"/>
                    </a:cubicBezTo>
                    <a:cubicBezTo>
                      <a:pt x="169" y="73"/>
                      <a:pt x="169" y="73"/>
                      <a:pt x="169" y="73"/>
                    </a:cubicBezTo>
                    <a:cubicBezTo>
                      <a:pt x="169" y="73"/>
                      <a:pt x="169" y="73"/>
                      <a:pt x="169" y="73"/>
                    </a:cubicBezTo>
                    <a:cubicBezTo>
                      <a:pt x="170" y="73"/>
                      <a:pt x="170" y="73"/>
                      <a:pt x="170" y="73"/>
                    </a:cubicBezTo>
                    <a:cubicBezTo>
                      <a:pt x="170" y="73"/>
                      <a:pt x="170" y="74"/>
                      <a:pt x="170" y="74"/>
                    </a:cubicBezTo>
                    <a:cubicBezTo>
                      <a:pt x="170" y="74"/>
                      <a:pt x="170" y="74"/>
                      <a:pt x="170" y="74"/>
                    </a:cubicBezTo>
                    <a:cubicBezTo>
                      <a:pt x="170" y="74"/>
                      <a:pt x="170" y="75"/>
                      <a:pt x="170" y="75"/>
                    </a:cubicBezTo>
                    <a:cubicBezTo>
                      <a:pt x="170" y="75"/>
                      <a:pt x="170" y="75"/>
                      <a:pt x="170" y="74"/>
                    </a:cubicBezTo>
                    <a:cubicBezTo>
                      <a:pt x="169" y="74"/>
                      <a:pt x="169" y="74"/>
                      <a:pt x="169" y="74"/>
                    </a:cubicBezTo>
                    <a:cubicBezTo>
                      <a:pt x="168" y="75"/>
                      <a:pt x="168" y="75"/>
                      <a:pt x="168" y="75"/>
                    </a:cubicBezTo>
                    <a:cubicBezTo>
                      <a:pt x="167" y="75"/>
                      <a:pt x="167" y="75"/>
                      <a:pt x="167" y="75"/>
                    </a:cubicBezTo>
                    <a:cubicBezTo>
                      <a:pt x="167" y="75"/>
                      <a:pt x="167" y="74"/>
                      <a:pt x="167"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6"/>
                      <a:pt x="165" y="76"/>
                      <a:pt x="165" y="76"/>
                    </a:cubicBezTo>
                    <a:cubicBezTo>
                      <a:pt x="165" y="76"/>
                      <a:pt x="165" y="76"/>
                      <a:pt x="165" y="75"/>
                    </a:cubicBezTo>
                    <a:cubicBezTo>
                      <a:pt x="165" y="75"/>
                      <a:pt x="165" y="75"/>
                      <a:pt x="165"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3" y="75"/>
                      <a:pt x="163" y="75"/>
                      <a:pt x="163" y="74"/>
                    </a:cubicBezTo>
                    <a:cubicBezTo>
                      <a:pt x="163" y="74"/>
                      <a:pt x="163" y="74"/>
                      <a:pt x="163" y="73"/>
                    </a:cubicBezTo>
                    <a:cubicBezTo>
                      <a:pt x="163" y="73"/>
                      <a:pt x="163" y="73"/>
                      <a:pt x="163" y="73"/>
                    </a:cubicBezTo>
                    <a:cubicBezTo>
                      <a:pt x="163" y="73"/>
                      <a:pt x="163" y="72"/>
                      <a:pt x="163" y="72"/>
                    </a:cubicBezTo>
                    <a:cubicBezTo>
                      <a:pt x="163" y="72"/>
                      <a:pt x="163" y="72"/>
                      <a:pt x="163" y="72"/>
                    </a:cubicBezTo>
                    <a:cubicBezTo>
                      <a:pt x="163" y="72"/>
                      <a:pt x="163" y="72"/>
                      <a:pt x="163" y="72"/>
                    </a:cubicBezTo>
                    <a:cubicBezTo>
                      <a:pt x="164" y="71"/>
                      <a:pt x="164" y="71"/>
                      <a:pt x="164" y="71"/>
                    </a:cubicBezTo>
                    <a:cubicBezTo>
                      <a:pt x="164" y="71"/>
                      <a:pt x="164" y="71"/>
                      <a:pt x="164" y="71"/>
                    </a:cubicBezTo>
                    <a:cubicBezTo>
                      <a:pt x="164" y="71"/>
                      <a:pt x="164" y="71"/>
                      <a:pt x="164" y="71"/>
                    </a:cubicBezTo>
                    <a:cubicBezTo>
                      <a:pt x="164" y="71"/>
                      <a:pt x="164" y="70"/>
                      <a:pt x="164" y="70"/>
                    </a:cubicBezTo>
                    <a:cubicBezTo>
                      <a:pt x="164" y="70"/>
                      <a:pt x="164" y="70"/>
                      <a:pt x="164" y="70"/>
                    </a:cubicBezTo>
                    <a:cubicBezTo>
                      <a:pt x="164" y="70"/>
                      <a:pt x="164" y="70"/>
                      <a:pt x="164" y="70"/>
                    </a:cubicBezTo>
                    <a:cubicBezTo>
                      <a:pt x="164" y="69"/>
                      <a:pt x="164" y="69"/>
                      <a:pt x="164" y="69"/>
                    </a:cubicBezTo>
                    <a:cubicBezTo>
                      <a:pt x="164" y="69"/>
                      <a:pt x="164" y="69"/>
                      <a:pt x="164" y="68"/>
                    </a:cubicBezTo>
                    <a:cubicBezTo>
                      <a:pt x="164" y="68"/>
                      <a:pt x="164" y="68"/>
                      <a:pt x="164" y="67"/>
                    </a:cubicBezTo>
                    <a:cubicBezTo>
                      <a:pt x="164" y="67"/>
                      <a:pt x="164" y="67"/>
                      <a:pt x="165" y="67"/>
                    </a:cubicBezTo>
                    <a:cubicBezTo>
                      <a:pt x="165" y="67"/>
                      <a:pt x="165" y="66"/>
                      <a:pt x="165" y="66"/>
                    </a:cubicBezTo>
                    <a:cubicBezTo>
                      <a:pt x="165" y="66"/>
                      <a:pt x="164" y="66"/>
                      <a:pt x="164" y="66"/>
                    </a:cubicBezTo>
                    <a:cubicBezTo>
                      <a:pt x="164" y="66"/>
                      <a:pt x="165" y="66"/>
                      <a:pt x="165" y="66"/>
                    </a:cubicBezTo>
                    <a:cubicBezTo>
                      <a:pt x="165" y="65"/>
                      <a:pt x="165" y="65"/>
                      <a:pt x="165" y="65"/>
                    </a:cubicBezTo>
                    <a:cubicBezTo>
                      <a:pt x="164" y="65"/>
                      <a:pt x="165" y="65"/>
                      <a:pt x="165" y="64"/>
                    </a:cubicBezTo>
                    <a:cubicBezTo>
                      <a:pt x="165" y="64"/>
                      <a:pt x="165" y="64"/>
                      <a:pt x="164" y="64"/>
                    </a:cubicBezTo>
                    <a:cubicBezTo>
                      <a:pt x="164" y="64"/>
                      <a:pt x="164" y="64"/>
                      <a:pt x="164" y="64"/>
                    </a:cubicBezTo>
                    <a:cubicBezTo>
                      <a:pt x="164" y="64"/>
                      <a:pt x="164" y="64"/>
                      <a:pt x="164" y="63"/>
                    </a:cubicBezTo>
                    <a:cubicBezTo>
                      <a:pt x="164" y="63"/>
                      <a:pt x="164" y="63"/>
                      <a:pt x="164" y="63"/>
                    </a:cubicBezTo>
                    <a:cubicBezTo>
                      <a:pt x="164" y="63"/>
                      <a:pt x="163" y="63"/>
                      <a:pt x="163" y="62"/>
                    </a:cubicBezTo>
                    <a:cubicBezTo>
                      <a:pt x="163" y="62"/>
                      <a:pt x="164" y="62"/>
                      <a:pt x="164" y="62"/>
                    </a:cubicBezTo>
                    <a:cubicBezTo>
                      <a:pt x="164" y="61"/>
                      <a:pt x="164" y="61"/>
                      <a:pt x="163" y="61"/>
                    </a:cubicBezTo>
                    <a:cubicBezTo>
                      <a:pt x="163" y="61"/>
                      <a:pt x="163" y="61"/>
                      <a:pt x="163" y="61"/>
                    </a:cubicBezTo>
                    <a:cubicBezTo>
                      <a:pt x="163" y="61"/>
                      <a:pt x="163" y="60"/>
                      <a:pt x="162" y="60"/>
                    </a:cubicBezTo>
                    <a:cubicBezTo>
                      <a:pt x="162" y="60"/>
                      <a:pt x="162" y="61"/>
                      <a:pt x="162" y="61"/>
                    </a:cubicBezTo>
                    <a:cubicBezTo>
                      <a:pt x="162" y="61"/>
                      <a:pt x="162" y="61"/>
                      <a:pt x="161" y="61"/>
                    </a:cubicBezTo>
                    <a:cubicBezTo>
                      <a:pt x="161" y="61"/>
                      <a:pt x="161" y="61"/>
                      <a:pt x="161" y="61"/>
                    </a:cubicBezTo>
                    <a:cubicBezTo>
                      <a:pt x="161" y="61"/>
                      <a:pt x="161" y="61"/>
                      <a:pt x="161" y="61"/>
                    </a:cubicBezTo>
                    <a:cubicBezTo>
                      <a:pt x="161" y="61"/>
                      <a:pt x="160" y="61"/>
                      <a:pt x="160" y="61"/>
                    </a:cubicBezTo>
                    <a:cubicBezTo>
                      <a:pt x="160" y="61"/>
                      <a:pt x="160" y="61"/>
                      <a:pt x="160" y="61"/>
                    </a:cubicBezTo>
                    <a:cubicBezTo>
                      <a:pt x="160" y="60"/>
                      <a:pt x="159" y="60"/>
                      <a:pt x="159" y="60"/>
                    </a:cubicBezTo>
                    <a:cubicBezTo>
                      <a:pt x="159" y="59"/>
                      <a:pt x="159" y="59"/>
                      <a:pt x="159" y="59"/>
                    </a:cubicBezTo>
                    <a:cubicBezTo>
                      <a:pt x="159" y="58"/>
                      <a:pt x="159" y="58"/>
                      <a:pt x="159" y="58"/>
                    </a:cubicBezTo>
                    <a:cubicBezTo>
                      <a:pt x="159" y="58"/>
                      <a:pt x="159" y="58"/>
                      <a:pt x="159" y="58"/>
                    </a:cubicBezTo>
                    <a:cubicBezTo>
                      <a:pt x="159" y="58"/>
                      <a:pt x="159" y="57"/>
                      <a:pt x="159" y="57"/>
                    </a:cubicBezTo>
                    <a:cubicBezTo>
                      <a:pt x="159" y="57"/>
                      <a:pt x="159" y="57"/>
                      <a:pt x="159" y="57"/>
                    </a:cubicBezTo>
                    <a:cubicBezTo>
                      <a:pt x="159" y="56"/>
                      <a:pt x="159" y="57"/>
                      <a:pt x="159" y="56"/>
                    </a:cubicBezTo>
                    <a:cubicBezTo>
                      <a:pt x="159" y="56"/>
                      <a:pt x="159" y="56"/>
                      <a:pt x="159" y="56"/>
                    </a:cubicBezTo>
                    <a:cubicBezTo>
                      <a:pt x="159" y="56"/>
                      <a:pt x="159" y="55"/>
                      <a:pt x="159" y="55"/>
                    </a:cubicBezTo>
                    <a:cubicBezTo>
                      <a:pt x="159" y="55"/>
                      <a:pt x="159" y="55"/>
                      <a:pt x="159" y="55"/>
                    </a:cubicBezTo>
                    <a:cubicBezTo>
                      <a:pt x="160" y="55"/>
                      <a:pt x="160" y="55"/>
                      <a:pt x="160" y="55"/>
                    </a:cubicBezTo>
                    <a:cubicBezTo>
                      <a:pt x="160" y="55"/>
                      <a:pt x="160" y="55"/>
                      <a:pt x="161" y="55"/>
                    </a:cubicBezTo>
                    <a:cubicBezTo>
                      <a:pt x="161" y="54"/>
                      <a:pt x="161" y="54"/>
                      <a:pt x="161" y="54"/>
                    </a:cubicBezTo>
                    <a:cubicBezTo>
                      <a:pt x="161" y="54"/>
                      <a:pt x="161" y="54"/>
                      <a:pt x="161" y="53"/>
                    </a:cubicBezTo>
                    <a:cubicBezTo>
                      <a:pt x="161" y="53"/>
                      <a:pt x="161" y="53"/>
                      <a:pt x="161" y="53"/>
                    </a:cubicBezTo>
                    <a:cubicBezTo>
                      <a:pt x="161" y="53"/>
                      <a:pt x="161" y="53"/>
                      <a:pt x="161" y="53"/>
                    </a:cubicBezTo>
                    <a:cubicBezTo>
                      <a:pt x="161" y="52"/>
                      <a:pt x="161" y="52"/>
                      <a:pt x="161" y="52"/>
                    </a:cubicBezTo>
                    <a:cubicBezTo>
                      <a:pt x="162" y="52"/>
                      <a:pt x="162" y="52"/>
                      <a:pt x="162" y="51"/>
                    </a:cubicBezTo>
                    <a:cubicBezTo>
                      <a:pt x="162" y="51"/>
                      <a:pt x="162" y="51"/>
                      <a:pt x="163" y="51"/>
                    </a:cubicBezTo>
                    <a:cubicBezTo>
                      <a:pt x="163" y="51"/>
                      <a:pt x="163" y="50"/>
                      <a:pt x="163" y="50"/>
                    </a:cubicBezTo>
                    <a:cubicBezTo>
                      <a:pt x="162" y="50"/>
                      <a:pt x="162" y="49"/>
                      <a:pt x="162" y="49"/>
                    </a:cubicBezTo>
                    <a:cubicBezTo>
                      <a:pt x="162" y="49"/>
                      <a:pt x="162" y="49"/>
                      <a:pt x="162" y="48"/>
                    </a:cubicBezTo>
                    <a:cubicBezTo>
                      <a:pt x="162" y="48"/>
                      <a:pt x="162" y="48"/>
                      <a:pt x="162" y="47"/>
                    </a:cubicBezTo>
                    <a:cubicBezTo>
                      <a:pt x="162" y="47"/>
                      <a:pt x="162" y="47"/>
                      <a:pt x="162" y="47"/>
                    </a:cubicBezTo>
                    <a:cubicBezTo>
                      <a:pt x="162" y="47"/>
                      <a:pt x="162" y="47"/>
                      <a:pt x="162" y="47"/>
                    </a:cubicBezTo>
                    <a:cubicBezTo>
                      <a:pt x="163" y="47"/>
                      <a:pt x="163" y="47"/>
                      <a:pt x="163" y="47"/>
                    </a:cubicBezTo>
                    <a:cubicBezTo>
                      <a:pt x="163" y="46"/>
                      <a:pt x="162" y="46"/>
                      <a:pt x="163" y="46"/>
                    </a:cubicBezTo>
                    <a:cubicBezTo>
                      <a:pt x="163" y="46"/>
                      <a:pt x="163" y="45"/>
                      <a:pt x="163" y="45"/>
                    </a:cubicBezTo>
                    <a:cubicBezTo>
                      <a:pt x="163" y="45"/>
                      <a:pt x="163" y="45"/>
                      <a:pt x="163" y="45"/>
                    </a:cubicBezTo>
                    <a:cubicBezTo>
                      <a:pt x="163" y="45"/>
                      <a:pt x="163" y="45"/>
                      <a:pt x="163" y="45"/>
                    </a:cubicBezTo>
                    <a:cubicBezTo>
                      <a:pt x="163" y="45"/>
                      <a:pt x="163" y="45"/>
                      <a:pt x="164" y="44"/>
                    </a:cubicBezTo>
                    <a:cubicBezTo>
                      <a:pt x="164" y="44"/>
                      <a:pt x="164" y="44"/>
                      <a:pt x="164" y="44"/>
                    </a:cubicBezTo>
                    <a:cubicBezTo>
                      <a:pt x="164" y="44"/>
                      <a:pt x="164" y="43"/>
                      <a:pt x="164" y="43"/>
                    </a:cubicBezTo>
                    <a:cubicBezTo>
                      <a:pt x="164" y="43"/>
                      <a:pt x="164" y="43"/>
                      <a:pt x="164" y="43"/>
                    </a:cubicBezTo>
                    <a:cubicBezTo>
                      <a:pt x="164" y="44"/>
                      <a:pt x="164" y="44"/>
                      <a:pt x="164" y="44"/>
                    </a:cubicBezTo>
                    <a:cubicBezTo>
                      <a:pt x="164" y="43"/>
                      <a:pt x="164" y="43"/>
                      <a:pt x="164" y="43"/>
                    </a:cubicBezTo>
                    <a:cubicBezTo>
                      <a:pt x="164" y="43"/>
                      <a:pt x="164" y="43"/>
                      <a:pt x="164" y="43"/>
                    </a:cubicBezTo>
                    <a:cubicBezTo>
                      <a:pt x="164" y="43"/>
                      <a:pt x="164" y="43"/>
                      <a:pt x="165" y="43"/>
                    </a:cubicBezTo>
                    <a:cubicBezTo>
                      <a:pt x="165" y="43"/>
                      <a:pt x="165" y="43"/>
                      <a:pt x="165" y="42"/>
                    </a:cubicBezTo>
                    <a:cubicBezTo>
                      <a:pt x="165" y="42"/>
                      <a:pt x="165" y="42"/>
                      <a:pt x="165" y="42"/>
                    </a:cubicBezTo>
                    <a:cubicBezTo>
                      <a:pt x="165" y="42"/>
                      <a:pt x="165" y="42"/>
                      <a:pt x="165" y="42"/>
                    </a:cubicBezTo>
                    <a:cubicBezTo>
                      <a:pt x="165" y="42"/>
                      <a:pt x="166" y="43"/>
                      <a:pt x="166" y="43"/>
                    </a:cubicBezTo>
                    <a:cubicBezTo>
                      <a:pt x="166" y="43"/>
                      <a:pt x="166" y="43"/>
                      <a:pt x="166" y="43"/>
                    </a:cubicBezTo>
                    <a:cubicBezTo>
                      <a:pt x="166" y="44"/>
                      <a:pt x="166" y="43"/>
                      <a:pt x="166" y="43"/>
                    </a:cubicBezTo>
                    <a:cubicBezTo>
                      <a:pt x="166" y="43"/>
                      <a:pt x="166" y="43"/>
                      <a:pt x="166" y="42"/>
                    </a:cubicBezTo>
                    <a:cubicBezTo>
                      <a:pt x="166" y="42"/>
                      <a:pt x="166" y="42"/>
                      <a:pt x="166" y="42"/>
                    </a:cubicBezTo>
                    <a:cubicBezTo>
                      <a:pt x="165" y="41"/>
                      <a:pt x="165" y="41"/>
                      <a:pt x="165" y="40"/>
                    </a:cubicBezTo>
                    <a:cubicBezTo>
                      <a:pt x="166" y="40"/>
                      <a:pt x="166" y="40"/>
                      <a:pt x="166" y="39"/>
                    </a:cubicBezTo>
                    <a:cubicBezTo>
                      <a:pt x="166" y="39"/>
                      <a:pt x="166" y="39"/>
                      <a:pt x="166" y="39"/>
                    </a:cubicBezTo>
                    <a:cubicBezTo>
                      <a:pt x="166" y="38"/>
                      <a:pt x="165" y="39"/>
                      <a:pt x="165" y="39"/>
                    </a:cubicBezTo>
                    <a:cubicBezTo>
                      <a:pt x="165" y="39"/>
                      <a:pt x="165" y="38"/>
                      <a:pt x="165" y="38"/>
                    </a:cubicBezTo>
                    <a:cubicBezTo>
                      <a:pt x="165" y="38"/>
                      <a:pt x="164" y="38"/>
                      <a:pt x="164" y="38"/>
                    </a:cubicBezTo>
                    <a:cubicBezTo>
                      <a:pt x="165" y="38"/>
                      <a:pt x="165" y="38"/>
                      <a:pt x="165" y="38"/>
                    </a:cubicBezTo>
                    <a:cubicBezTo>
                      <a:pt x="165" y="38"/>
                      <a:pt x="165" y="38"/>
                      <a:pt x="165" y="38"/>
                    </a:cubicBezTo>
                    <a:cubicBezTo>
                      <a:pt x="165" y="37"/>
                      <a:pt x="165" y="38"/>
                      <a:pt x="165" y="38"/>
                    </a:cubicBezTo>
                    <a:cubicBezTo>
                      <a:pt x="165" y="38"/>
                      <a:pt x="166" y="39"/>
                      <a:pt x="166" y="38"/>
                    </a:cubicBezTo>
                    <a:cubicBezTo>
                      <a:pt x="166" y="38"/>
                      <a:pt x="166" y="38"/>
                      <a:pt x="166" y="38"/>
                    </a:cubicBezTo>
                    <a:cubicBezTo>
                      <a:pt x="166" y="38"/>
                      <a:pt x="166" y="38"/>
                      <a:pt x="166" y="38"/>
                    </a:cubicBezTo>
                    <a:cubicBezTo>
                      <a:pt x="166" y="37"/>
                      <a:pt x="166" y="37"/>
                      <a:pt x="166" y="37"/>
                    </a:cubicBezTo>
                    <a:cubicBezTo>
                      <a:pt x="166" y="37"/>
                      <a:pt x="166" y="37"/>
                      <a:pt x="166" y="36"/>
                    </a:cubicBezTo>
                    <a:cubicBezTo>
                      <a:pt x="166" y="36"/>
                      <a:pt x="166" y="36"/>
                      <a:pt x="166" y="36"/>
                    </a:cubicBezTo>
                    <a:cubicBezTo>
                      <a:pt x="166" y="36"/>
                      <a:pt x="166" y="36"/>
                      <a:pt x="166" y="36"/>
                    </a:cubicBezTo>
                    <a:cubicBezTo>
                      <a:pt x="166" y="36"/>
                      <a:pt x="166" y="36"/>
                      <a:pt x="166" y="36"/>
                    </a:cubicBezTo>
                    <a:cubicBezTo>
                      <a:pt x="167" y="36"/>
                      <a:pt x="166" y="36"/>
                      <a:pt x="166" y="35"/>
                    </a:cubicBezTo>
                    <a:cubicBezTo>
                      <a:pt x="166" y="35"/>
                      <a:pt x="166" y="35"/>
                      <a:pt x="166" y="35"/>
                    </a:cubicBezTo>
                    <a:cubicBezTo>
                      <a:pt x="166" y="35"/>
                      <a:pt x="166" y="35"/>
                      <a:pt x="166" y="35"/>
                    </a:cubicBezTo>
                    <a:cubicBezTo>
                      <a:pt x="166" y="34"/>
                      <a:pt x="167" y="35"/>
                      <a:pt x="167" y="34"/>
                    </a:cubicBezTo>
                    <a:cubicBezTo>
                      <a:pt x="168" y="34"/>
                      <a:pt x="167" y="34"/>
                      <a:pt x="167" y="33"/>
                    </a:cubicBezTo>
                    <a:cubicBezTo>
                      <a:pt x="167" y="33"/>
                      <a:pt x="168" y="33"/>
                      <a:pt x="168" y="33"/>
                    </a:cubicBezTo>
                    <a:cubicBezTo>
                      <a:pt x="168" y="33"/>
                      <a:pt x="169" y="33"/>
                      <a:pt x="169" y="32"/>
                    </a:cubicBezTo>
                    <a:cubicBezTo>
                      <a:pt x="169" y="32"/>
                      <a:pt x="169" y="32"/>
                      <a:pt x="169" y="32"/>
                    </a:cubicBezTo>
                    <a:cubicBezTo>
                      <a:pt x="169" y="32"/>
                      <a:pt x="169" y="32"/>
                      <a:pt x="169" y="32"/>
                    </a:cubicBezTo>
                    <a:cubicBezTo>
                      <a:pt x="169" y="32"/>
                      <a:pt x="169" y="32"/>
                      <a:pt x="169" y="31"/>
                    </a:cubicBezTo>
                    <a:cubicBezTo>
                      <a:pt x="169" y="31"/>
                      <a:pt x="169" y="31"/>
                      <a:pt x="169" y="31"/>
                    </a:cubicBezTo>
                    <a:cubicBezTo>
                      <a:pt x="169" y="31"/>
                      <a:pt x="169" y="31"/>
                      <a:pt x="169" y="31"/>
                    </a:cubicBezTo>
                    <a:cubicBezTo>
                      <a:pt x="169" y="31"/>
                      <a:pt x="169" y="31"/>
                      <a:pt x="169" y="31"/>
                    </a:cubicBezTo>
                    <a:cubicBezTo>
                      <a:pt x="169" y="31"/>
                      <a:pt x="169" y="32"/>
                      <a:pt x="169" y="32"/>
                    </a:cubicBezTo>
                    <a:cubicBezTo>
                      <a:pt x="169" y="32"/>
                      <a:pt x="169" y="32"/>
                      <a:pt x="169" y="32"/>
                    </a:cubicBezTo>
                    <a:cubicBezTo>
                      <a:pt x="169" y="32"/>
                      <a:pt x="169" y="32"/>
                      <a:pt x="169" y="32"/>
                    </a:cubicBezTo>
                    <a:cubicBezTo>
                      <a:pt x="169" y="32"/>
                      <a:pt x="170" y="32"/>
                      <a:pt x="170" y="32"/>
                    </a:cubicBezTo>
                    <a:cubicBezTo>
                      <a:pt x="170" y="32"/>
                      <a:pt x="170" y="32"/>
                      <a:pt x="170" y="32"/>
                    </a:cubicBezTo>
                    <a:cubicBezTo>
                      <a:pt x="170" y="32"/>
                      <a:pt x="170" y="32"/>
                      <a:pt x="170" y="32"/>
                    </a:cubicBezTo>
                    <a:cubicBezTo>
                      <a:pt x="170" y="32"/>
                      <a:pt x="170" y="32"/>
                      <a:pt x="171" y="32"/>
                    </a:cubicBezTo>
                    <a:cubicBezTo>
                      <a:pt x="171" y="32"/>
                      <a:pt x="171" y="33"/>
                      <a:pt x="171" y="33"/>
                    </a:cubicBezTo>
                    <a:cubicBezTo>
                      <a:pt x="171" y="33"/>
                      <a:pt x="171" y="33"/>
                      <a:pt x="171" y="32"/>
                    </a:cubicBezTo>
                    <a:cubicBezTo>
                      <a:pt x="171" y="32"/>
                      <a:pt x="171" y="32"/>
                      <a:pt x="171" y="32"/>
                    </a:cubicBezTo>
                    <a:cubicBezTo>
                      <a:pt x="171" y="32"/>
                      <a:pt x="171" y="32"/>
                      <a:pt x="171" y="32"/>
                    </a:cubicBezTo>
                    <a:cubicBezTo>
                      <a:pt x="171" y="32"/>
                      <a:pt x="171" y="31"/>
                      <a:pt x="171" y="31"/>
                    </a:cubicBezTo>
                    <a:cubicBezTo>
                      <a:pt x="172" y="31"/>
                      <a:pt x="172" y="31"/>
                      <a:pt x="172" y="31"/>
                    </a:cubicBezTo>
                    <a:cubicBezTo>
                      <a:pt x="172" y="31"/>
                      <a:pt x="172" y="31"/>
                      <a:pt x="172" y="31"/>
                    </a:cubicBezTo>
                    <a:cubicBezTo>
                      <a:pt x="172" y="31"/>
                      <a:pt x="172" y="31"/>
                      <a:pt x="172" y="31"/>
                    </a:cubicBezTo>
                    <a:cubicBezTo>
                      <a:pt x="172" y="31"/>
                      <a:pt x="172" y="30"/>
                      <a:pt x="172" y="30"/>
                    </a:cubicBezTo>
                    <a:cubicBezTo>
                      <a:pt x="172" y="30"/>
                      <a:pt x="172" y="30"/>
                      <a:pt x="172" y="30"/>
                    </a:cubicBezTo>
                    <a:cubicBezTo>
                      <a:pt x="172" y="30"/>
                      <a:pt x="172" y="30"/>
                      <a:pt x="173" y="30"/>
                    </a:cubicBezTo>
                    <a:cubicBezTo>
                      <a:pt x="173" y="30"/>
                      <a:pt x="172" y="30"/>
                      <a:pt x="172" y="29"/>
                    </a:cubicBezTo>
                    <a:cubicBezTo>
                      <a:pt x="172" y="29"/>
                      <a:pt x="172" y="29"/>
                      <a:pt x="172" y="29"/>
                    </a:cubicBezTo>
                    <a:cubicBezTo>
                      <a:pt x="172" y="29"/>
                      <a:pt x="172" y="29"/>
                      <a:pt x="173" y="29"/>
                    </a:cubicBezTo>
                    <a:cubicBezTo>
                      <a:pt x="173" y="29"/>
                      <a:pt x="173" y="29"/>
                      <a:pt x="173" y="29"/>
                    </a:cubicBezTo>
                    <a:cubicBezTo>
                      <a:pt x="173" y="29"/>
                      <a:pt x="173" y="29"/>
                      <a:pt x="173" y="29"/>
                    </a:cubicBezTo>
                    <a:cubicBezTo>
                      <a:pt x="173" y="29"/>
                      <a:pt x="173" y="29"/>
                      <a:pt x="173" y="29"/>
                    </a:cubicBezTo>
                    <a:cubicBezTo>
                      <a:pt x="174" y="29"/>
                      <a:pt x="174" y="29"/>
                      <a:pt x="174" y="29"/>
                    </a:cubicBezTo>
                    <a:cubicBezTo>
                      <a:pt x="174" y="29"/>
                      <a:pt x="174" y="29"/>
                      <a:pt x="174" y="29"/>
                    </a:cubicBezTo>
                    <a:cubicBezTo>
                      <a:pt x="174" y="29"/>
                      <a:pt x="174" y="29"/>
                      <a:pt x="175" y="29"/>
                    </a:cubicBezTo>
                    <a:cubicBezTo>
                      <a:pt x="175" y="29"/>
                      <a:pt x="175" y="29"/>
                      <a:pt x="175" y="29"/>
                    </a:cubicBezTo>
                    <a:cubicBezTo>
                      <a:pt x="175" y="29"/>
                      <a:pt x="175" y="29"/>
                      <a:pt x="175" y="29"/>
                    </a:cubicBezTo>
                    <a:cubicBezTo>
                      <a:pt x="176" y="29"/>
                      <a:pt x="176" y="29"/>
                      <a:pt x="176" y="29"/>
                    </a:cubicBezTo>
                    <a:cubicBezTo>
                      <a:pt x="176" y="29"/>
                      <a:pt x="176" y="29"/>
                      <a:pt x="176" y="29"/>
                    </a:cubicBezTo>
                    <a:cubicBezTo>
                      <a:pt x="176" y="29"/>
                      <a:pt x="177" y="29"/>
                      <a:pt x="177" y="29"/>
                    </a:cubicBezTo>
                    <a:cubicBezTo>
                      <a:pt x="177" y="29"/>
                      <a:pt x="177" y="29"/>
                      <a:pt x="177" y="29"/>
                    </a:cubicBezTo>
                    <a:cubicBezTo>
                      <a:pt x="177" y="29"/>
                      <a:pt x="177" y="29"/>
                      <a:pt x="177" y="29"/>
                    </a:cubicBezTo>
                    <a:cubicBezTo>
                      <a:pt x="177" y="29"/>
                      <a:pt x="177" y="29"/>
                      <a:pt x="177" y="29"/>
                    </a:cubicBezTo>
                    <a:cubicBezTo>
                      <a:pt x="176" y="30"/>
                      <a:pt x="177" y="30"/>
                      <a:pt x="177" y="30"/>
                    </a:cubicBezTo>
                    <a:cubicBezTo>
                      <a:pt x="177" y="31"/>
                      <a:pt x="178" y="31"/>
                      <a:pt x="178" y="31"/>
                    </a:cubicBezTo>
                    <a:cubicBezTo>
                      <a:pt x="179" y="31"/>
                      <a:pt x="179" y="30"/>
                      <a:pt x="179" y="30"/>
                    </a:cubicBezTo>
                    <a:cubicBezTo>
                      <a:pt x="179" y="30"/>
                      <a:pt x="179" y="30"/>
                      <a:pt x="180" y="30"/>
                    </a:cubicBezTo>
                    <a:cubicBezTo>
                      <a:pt x="180" y="30"/>
                      <a:pt x="180" y="30"/>
                      <a:pt x="180" y="30"/>
                    </a:cubicBezTo>
                    <a:cubicBezTo>
                      <a:pt x="180" y="31"/>
                      <a:pt x="180" y="31"/>
                      <a:pt x="180" y="31"/>
                    </a:cubicBezTo>
                    <a:cubicBezTo>
                      <a:pt x="180" y="31"/>
                      <a:pt x="181" y="31"/>
                      <a:pt x="181" y="31"/>
                    </a:cubicBezTo>
                    <a:cubicBezTo>
                      <a:pt x="181" y="31"/>
                      <a:pt x="181" y="31"/>
                      <a:pt x="181" y="31"/>
                    </a:cubicBezTo>
                    <a:cubicBezTo>
                      <a:pt x="181" y="31"/>
                      <a:pt x="181" y="31"/>
                      <a:pt x="181" y="31"/>
                    </a:cubicBezTo>
                    <a:cubicBezTo>
                      <a:pt x="181" y="31"/>
                      <a:pt x="181"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4" y="31"/>
                      <a:pt x="184" y="31"/>
                    </a:cubicBezTo>
                    <a:cubicBezTo>
                      <a:pt x="184" y="31"/>
                      <a:pt x="184" y="31"/>
                      <a:pt x="185" y="31"/>
                    </a:cubicBezTo>
                    <a:cubicBezTo>
                      <a:pt x="185" y="32"/>
                      <a:pt x="185" y="32"/>
                      <a:pt x="185" y="32"/>
                    </a:cubicBezTo>
                    <a:cubicBezTo>
                      <a:pt x="185" y="32"/>
                      <a:pt x="185"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7" y="32"/>
                      <a:pt x="186" y="32"/>
                      <a:pt x="187" y="32"/>
                    </a:cubicBezTo>
                    <a:cubicBezTo>
                      <a:pt x="187" y="32"/>
                      <a:pt x="187" y="32"/>
                      <a:pt x="187" y="31"/>
                    </a:cubicBezTo>
                    <a:cubicBezTo>
                      <a:pt x="187" y="31"/>
                      <a:pt x="187" y="31"/>
                      <a:pt x="187" y="31"/>
                    </a:cubicBezTo>
                    <a:cubicBezTo>
                      <a:pt x="187" y="31"/>
                      <a:pt x="187" y="31"/>
                      <a:pt x="187" y="31"/>
                    </a:cubicBezTo>
                    <a:cubicBezTo>
                      <a:pt x="187" y="31"/>
                      <a:pt x="187" y="31"/>
                      <a:pt x="187" y="31"/>
                    </a:cubicBezTo>
                    <a:cubicBezTo>
                      <a:pt x="187" y="31"/>
                      <a:pt x="187" y="31"/>
                      <a:pt x="188" y="31"/>
                    </a:cubicBezTo>
                    <a:cubicBezTo>
                      <a:pt x="188" y="31"/>
                      <a:pt x="188" y="31"/>
                      <a:pt x="188" y="31"/>
                    </a:cubicBezTo>
                    <a:cubicBezTo>
                      <a:pt x="188" y="31"/>
                      <a:pt x="188" y="32"/>
                      <a:pt x="188" y="32"/>
                    </a:cubicBezTo>
                    <a:cubicBezTo>
                      <a:pt x="188" y="32"/>
                      <a:pt x="188" y="31"/>
                      <a:pt x="188" y="31"/>
                    </a:cubicBezTo>
                    <a:cubicBezTo>
                      <a:pt x="188" y="31"/>
                      <a:pt x="189" y="31"/>
                      <a:pt x="189" y="31"/>
                    </a:cubicBezTo>
                    <a:cubicBezTo>
                      <a:pt x="189" y="32"/>
                      <a:pt x="189" y="32"/>
                      <a:pt x="189" y="32"/>
                    </a:cubicBezTo>
                    <a:cubicBezTo>
                      <a:pt x="189" y="32"/>
                      <a:pt x="189" y="32"/>
                      <a:pt x="189" y="32"/>
                    </a:cubicBezTo>
                    <a:cubicBezTo>
                      <a:pt x="190" y="32"/>
                      <a:pt x="190" y="32"/>
                      <a:pt x="190" y="32"/>
                    </a:cubicBezTo>
                    <a:cubicBezTo>
                      <a:pt x="190" y="32"/>
                      <a:pt x="190" y="32"/>
                      <a:pt x="190" y="32"/>
                    </a:cubicBezTo>
                    <a:cubicBezTo>
                      <a:pt x="190" y="32"/>
                      <a:pt x="190" y="32"/>
                      <a:pt x="191" y="32"/>
                    </a:cubicBezTo>
                    <a:cubicBezTo>
                      <a:pt x="191" y="32"/>
                      <a:pt x="191" y="32"/>
                      <a:pt x="191" y="32"/>
                    </a:cubicBezTo>
                    <a:cubicBezTo>
                      <a:pt x="191" y="32"/>
                      <a:pt x="192" y="32"/>
                      <a:pt x="192" y="32"/>
                    </a:cubicBezTo>
                    <a:cubicBezTo>
                      <a:pt x="192" y="32"/>
                      <a:pt x="192" y="32"/>
                      <a:pt x="192" y="32"/>
                    </a:cubicBezTo>
                    <a:cubicBezTo>
                      <a:pt x="192" y="32"/>
                      <a:pt x="192" y="32"/>
                      <a:pt x="192" y="32"/>
                    </a:cubicBezTo>
                    <a:cubicBezTo>
                      <a:pt x="192" y="32"/>
                      <a:pt x="193" y="32"/>
                      <a:pt x="193" y="32"/>
                    </a:cubicBezTo>
                    <a:cubicBezTo>
                      <a:pt x="193" y="32"/>
                      <a:pt x="193" y="32"/>
                      <a:pt x="193" y="32"/>
                    </a:cubicBezTo>
                    <a:cubicBezTo>
                      <a:pt x="193" y="32"/>
                      <a:pt x="193" y="32"/>
                      <a:pt x="193" y="32"/>
                    </a:cubicBezTo>
                    <a:cubicBezTo>
                      <a:pt x="193" y="32"/>
                      <a:pt x="193" y="32"/>
                      <a:pt x="194" y="32"/>
                    </a:cubicBezTo>
                    <a:cubicBezTo>
                      <a:pt x="194" y="32"/>
                      <a:pt x="194" y="32"/>
                      <a:pt x="194" y="32"/>
                    </a:cubicBezTo>
                    <a:cubicBezTo>
                      <a:pt x="194" y="32"/>
                      <a:pt x="194" y="32"/>
                      <a:pt x="195" y="31"/>
                    </a:cubicBezTo>
                    <a:cubicBezTo>
                      <a:pt x="195" y="31"/>
                      <a:pt x="195" y="31"/>
                      <a:pt x="195" y="31"/>
                    </a:cubicBezTo>
                    <a:cubicBezTo>
                      <a:pt x="195" y="31"/>
                      <a:pt x="195" y="31"/>
                      <a:pt x="196" y="31"/>
                    </a:cubicBezTo>
                    <a:cubicBezTo>
                      <a:pt x="196" y="31"/>
                      <a:pt x="196" y="30"/>
                      <a:pt x="196" y="30"/>
                    </a:cubicBezTo>
                    <a:cubicBezTo>
                      <a:pt x="196" y="30"/>
                      <a:pt x="196" y="30"/>
                      <a:pt x="196" y="30"/>
                    </a:cubicBezTo>
                    <a:cubicBezTo>
                      <a:pt x="196" y="30"/>
                      <a:pt x="196" y="30"/>
                      <a:pt x="196" y="30"/>
                    </a:cubicBezTo>
                    <a:cubicBezTo>
                      <a:pt x="196" y="30"/>
                      <a:pt x="197" y="30"/>
                      <a:pt x="197" y="30"/>
                    </a:cubicBezTo>
                    <a:cubicBezTo>
                      <a:pt x="197" y="30"/>
                      <a:pt x="197" y="30"/>
                      <a:pt x="197" y="30"/>
                    </a:cubicBezTo>
                    <a:cubicBezTo>
                      <a:pt x="197" y="30"/>
                      <a:pt x="197" y="30"/>
                      <a:pt x="197" y="30"/>
                    </a:cubicBezTo>
                    <a:cubicBezTo>
                      <a:pt x="197" y="30"/>
                      <a:pt x="197" y="30"/>
                      <a:pt x="197" y="30"/>
                    </a:cubicBezTo>
                    <a:cubicBezTo>
                      <a:pt x="197" y="30"/>
                      <a:pt x="198" y="30"/>
                      <a:pt x="198" y="30"/>
                    </a:cubicBezTo>
                    <a:cubicBezTo>
                      <a:pt x="198" y="29"/>
                      <a:pt x="198" y="29"/>
                      <a:pt x="198" y="29"/>
                    </a:cubicBezTo>
                    <a:cubicBezTo>
                      <a:pt x="198" y="29"/>
                      <a:pt x="198" y="29"/>
                      <a:pt x="197" y="29"/>
                    </a:cubicBezTo>
                    <a:cubicBezTo>
                      <a:pt x="197" y="29"/>
                      <a:pt x="197" y="29"/>
                      <a:pt x="197" y="29"/>
                    </a:cubicBezTo>
                    <a:cubicBezTo>
                      <a:pt x="197" y="29"/>
                      <a:pt x="197" y="29"/>
                      <a:pt x="197" y="29"/>
                    </a:cubicBezTo>
                    <a:cubicBezTo>
                      <a:pt x="197" y="29"/>
                      <a:pt x="197" y="29"/>
                      <a:pt x="197" y="29"/>
                    </a:cubicBezTo>
                    <a:cubicBezTo>
                      <a:pt x="197" y="29"/>
                      <a:pt x="197" y="29"/>
                      <a:pt x="197" y="28"/>
                    </a:cubicBezTo>
                    <a:cubicBezTo>
                      <a:pt x="197" y="28"/>
                      <a:pt x="197" y="28"/>
                      <a:pt x="197" y="28"/>
                    </a:cubicBezTo>
                    <a:cubicBezTo>
                      <a:pt x="198" y="28"/>
                      <a:pt x="198" y="28"/>
                      <a:pt x="198" y="28"/>
                    </a:cubicBezTo>
                    <a:cubicBezTo>
                      <a:pt x="198" y="28"/>
                      <a:pt x="198" y="28"/>
                      <a:pt x="198" y="28"/>
                    </a:cubicBezTo>
                    <a:cubicBezTo>
                      <a:pt x="198" y="28"/>
                      <a:pt x="198" y="28"/>
                      <a:pt x="199" y="28"/>
                    </a:cubicBezTo>
                    <a:cubicBezTo>
                      <a:pt x="199" y="28"/>
                      <a:pt x="199" y="28"/>
                      <a:pt x="199" y="28"/>
                    </a:cubicBezTo>
                    <a:cubicBezTo>
                      <a:pt x="199" y="28"/>
                      <a:pt x="199" y="28"/>
                      <a:pt x="199" y="28"/>
                    </a:cubicBezTo>
                    <a:cubicBezTo>
                      <a:pt x="199" y="28"/>
                      <a:pt x="199" y="28"/>
                      <a:pt x="199" y="28"/>
                    </a:cubicBezTo>
                    <a:cubicBezTo>
                      <a:pt x="199" y="28"/>
                      <a:pt x="199" y="28"/>
                      <a:pt x="199" y="28"/>
                    </a:cubicBezTo>
                    <a:cubicBezTo>
                      <a:pt x="199" y="27"/>
                      <a:pt x="199" y="27"/>
                      <a:pt x="199" y="27"/>
                    </a:cubicBezTo>
                    <a:cubicBezTo>
                      <a:pt x="199" y="27"/>
                      <a:pt x="199" y="27"/>
                      <a:pt x="199" y="27"/>
                    </a:cubicBezTo>
                    <a:cubicBezTo>
                      <a:pt x="199" y="27"/>
                      <a:pt x="199" y="27"/>
                      <a:pt x="199" y="27"/>
                    </a:cubicBezTo>
                    <a:cubicBezTo>
                      <a:pt x="199" y="27"/>
                      <a:pt x="199" y="27"/>
                      <a:pt x="199" y="27"/>
                    </a:cubicBezTo>
                    <a:cubicBezTo>
                      <a:pt x="200" y="27"/>
                      <a:pt x="200" y="27"/>
                      <a:pt x="200" y="27"/>
                    </a:cubicBezTo>
                    <a:cubicBezTo>
                      <a:pt x="200" y="26"/>
                      <a:pt x="200" y="26"/>
                      <a:pt x="200" y="26"/>
                    </a:cubicBezTo>
                    <a:cubicBezTo>
                      <a:pt x="200" y="26"/>
                      <a:pt x="200" y="26"/>
                      <a:pt x="200" y="26"/>
                    </a:cubicBezTo>
                    <a:cubicBezTo>
                      <a:pt x="200" y="26"/>
                      <a:pt x="200" y="26"/>
                      <a:pt x="200" y="26"/>
                    </a:cubicBezTo>
                    <a:cubicBezTo>
                      <a:pt x="200" y="26"/>
                      <a:pt x="200" y="26"/>
                      <a:pt x="200" y="26"/>
                    </a:cubicBezTo>
                    <a:cubicBezTo>
                      <a:pt x="201" y="26"/>
                      <a:pt x="201" y="26"/>
                      <a:pt x="201" y="26"/>
                    </a:cubicBezTo>
                    <a:cubicBezTo>
                      <a:pt x="201" y="26"/>
                      <a:pt x="201" y="27"/>
                      <a:pt x="201" y="27"/>
                    </a:cubicBezTo>
                    <a:cubicBezTo>
                      <a:pt x="201" y="27"/>
                      <a:pt x="201" y="26"/>
                      <a:pt x="201" y="26"/>
                    </a:cubicBezTo>
                    <a:cubicBezTo>
                      <a:pt x="201" y="27"/>
                      <a:pt x="201" y="27"/>
                      <a:pt x="201" y="27"/>
                    </a:cubicBezTo>
                    <a:cubicBezTo>
                      <a:pt x="201" y="27"/>
                      <a:pt x="201" y="27"/>
                      <a:pt x="201" y="27"/>
                    </a:cubicBezTo>
                    <a:cubicBezTo>
                      <a:pt x="202" y="27"/>
                      <a:pt x="202" y="27"/>
                      <a:pt x="202" y="27"/>
                    </a:cubicBezTo>
                    <a:cubicBezTo>
                      <a:pt x="202" y="28"/>
                      <a:pt x="202" y="28"/>
                      <a:pt x="202" y="28"/>
                    </a:cubicBezTo>
                    <a:close/>
                    <a:moveTo>
                      <a:pt x="27" y="49"/>
                    </a:move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6" y="48"/>
                      <a:pt x="26" y="47"/>
                      <a:pt x="26" y="47"/>
                    </a:cubicBezTo>
                    <a:cubicBezTo>
                      <a:pt x="26" y="47"/>
                      <a:pt x="26" y="47"/>
                      <a:pt x="27" y="47"/>
                    </a:cubicBezTo>
                    <a:cubicBezTo>
                      <a:pt x="27" y="47"/>
                      <a:pt x="26" y="47"/>
                      <a:pt x="26" y="47"/>
                    </a:cubicBezTo>
                    <a:cubicBezTo>
                      <a:pt x="26" y="47"/>
                      <a:pt x="26" y="47"/>
                      <a:pt x="26" y="47"/>
                    </a:cubicBezTo>
                    <a:cubicBezTo>
                      <a:pt x="26" y="47"/>
                      <a:pt x="26" y="47"/>
                      <a:pt x="26" y="47"/>
                    </a:cubicBezTo>
                    <a:cubicBezTo>
                      <a:pt x="26" y="47"/>
                      <a:pt x="26" y="47"/>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5"/>
                      <a:pt x="25" y="45"/>
                      <a:pt x="25" y="45"/>
                    </a:cubicBezTo>
                    <a:cubicBezTo>
                      <a:pt x="25" y="45"/>
                      <a:pt x="25" y="45"/>
                      <a:pt x="25" y="45"/>
                    </a:cubicBezTo>
                    <a:cubicBezTo>
                      <a:pt x="25" y="45"/>
                      <a:pt x="25" y="45"/>
                      <a:pt x="25" y="45"/>
                    </a:cubicBezTo>
                    <a:cubicBezTo>
                      <a:pt x="25" y="45"/>
                      <a:pt x="25" y="45"/>
                      <a:pt x="25" y="44"/>
                    </a:cubicBezTo>
                    <a:cubicBezTo>
                      <a:pt x="25" y="44"/>
                      <a:pt x="25" y="44"/>
                      <a:pt x="25" y="44"/>
                    </a:cubicBezTo>
                    <a:cubicBezTo>
                      <a:pt x="25" y="44"/>
                      <a:pt x="25" y="44"/>
                      <a:pt x="25" y="44"/>
                    </a:cubicBezTo>
                    <a:cubicBezTo>
                      <a:pt x="25" y="44"/>
                      <a:pt x="25" y="44"/>
                      <a:pt x="25" y="44"/>
                    </a:cubicBezTo>
                    <a:cubicBezTo>
                      <a:pt x="25" y="44"/>
                      <a:pt x="25" y="44"/>
                      <a:pt x="25" y="44"/>
                    </a:cubicBezTo>
                    <a:cubicBezTo>
                      <a:pt x="25" y="44"/>
                      <a:pt x="25" y="44"/>
                      <a:pt x="24" y="44"/>
                    </a:cubicBezTo>
                    <a:cubicBezTo>
                      <a:pt x="24" y="44"/>
                      <a:pt x="24" y="44"/>
                      <a:pt x="24" y="44"/>
                    </a:cubicBezTo>
                    <a:cubicBezTo>
                      <a:pt x="24" y="44"/>
                      <a:pt x="24" y="44"/>
                      <a:pt x="23" y="44"/>
                    </a:cubicBezTo>
                    <a:cubicBezTo>
                      <a:pt x="23" y="44"/>
                      <a:pt x="23" y="44"/>
                      <a:pt x="23" y="44"/>
                    </a:cubicBezTo>
                    <a:cubicBezTo>
                      <a:pt x="23" y="44"/>
                      <a:pt x="23" y="44"/>
                      <a:pt x="23" y="44"/>
                    </a:cubicBezTo>
                    <a:cubicBezTo>
                      <a:pt x="23" y="45"/>
                      <a:pt x="23" y="45"/>
                      <a:pt x="23" y="45"/>
                    </a:cubicBezTo>
                    <a:cubicBezTo>
                      <a:pt x="23" y="45"/>
                      <a:pt x="23" y="45"/>
                      <a:pt x="23" y="45"/>
                    </a:cubicBezTo>
                    <a:cubicBezTo>
                      <a:pt x="23" y="45"/>
                      <a:pt x="23" y="46"/>
                      <a:pt x="23" y="46"/>
                    </a:cubicBezTo>
                    <a:cubicBezTo>
                      <a:pt x="23" y="46"/>
                      <a:pt x="23" y="46"/>
                      <a:pt x="23" y="46"/>
                    </a:cubicBezTo>
                    <a:cubicBezTo>
                      <a:pt x="23" y="46"/>
                      <a:pt x="23" y="46"/>
                      <a:pt x="23" y="46"/>
                    </a:cubicBezTo>
                    <a:cubicBezTo>
                      <a:pt x="23" y="47"/>
                      <a:pt x="23" y="47"/>
                      <a:pt x="24" y="47"/>
                    </a:cubicBezTo>
                    <a:cubicBezTo>
                      <a:pt x="24" y="47"/>
                      <a:pt x="24" y="47"/>
                      <a:pt x="24" y="48"/>
                    </a:cubicBezTo>
                    <a:cubicBezTo>
                      <a:pt x="24" y="48"/>
                      <a:pt x="24" y="48"/>
                      <a:pt x="24" y="48"/>
                    </a:cubicBezTo>
                    <a:cubicBezTo>
                      <a:pt x="24" y="48"/>
                      <a:pt x="24" y="48"/>
                      <a:pt x="24" y="48"/>
                    </a:cubicBezTo>
                    <a:cubicBezTo>
                      <a:pt x="24" y="48"/>
                      <a:pt x="24" y="48"/>
                      <a:pt x="24" y="48"/>
                    </a:cubicBezTo>
                    <a:cubicBezTo>
                      <a:pt x="24" y="49"/>
                      <a:pt x="24" y="49"/>
                      <a:pt x="25" y="49"/>
                    </a:cubicBezTo>
                    <a:cubicBezTo>
                      <a:pt x="25" y="49"/>
                      <a:pt x="25" y="49"/>
                      <a:pt x="26" y="50"/>
                    </a:cubicBezTo>
                    <a:cubicBezTo>
                      <a:pt x="26" y="50"/>
                      <a:pt x="26" y="50"/>
                      <a:pt x="26" y="50"/>
                    </a:cubicBezTo>
                    <a:cubicBezTo>
                      <a:pt x="26" y="50"/>
                      <a:pt x="26" y="50"/>
                      <a:pt x="26" y="50"/>
                    </a:cubicBezTo>
                    <a:cubicBezTo>
                      <a:pt x="27" y="50"/>
                      <a:pt x="27" y="49"/>
                      <a:pt x="27" y="50"/>
                    </a:cubicBezTo>
                    <a:cubicBezTo>
                      <a:pt x="27" y="50"/>
                      <a:pt x="27" y="50"/>
                      <a:pt x="27" y="50"/>
                    </a:cubicBezTo>
                    <a:cubicBezTo>
                      <a:pt x="27" y="50"/>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lose/>
                    <a:moveTo>
                      <a:pt x="35" y="59"/>
                    </a:moveTo>
                    <a:cubicBezTo>
                      <a:pt x="35" y="59"/>
                      <a:pt x="35" y="59"/>
                      <a:pt x="35" y="58"/>
                    </a:cubicBezTo>
                    <a:cubicBezTo>
                      <a:pt x="35" y="58"/>
                      <a:pt x="35" y="58"/>
                      <a:pt x="35" y="58"/>
                    </a:cubicBezTo>
                    <a:cubicBezTo>
                      <a:pt x="35" y="58"/>
                      <a:pt x="35" y="58"/>
                      <a:pt x="35" y="58"/>
                    </a:cubicBezTo>
                    <a:cubicBezTo>
                      <a:pt x="35" y="58"/>
                      <a:pt x="35" y="58"/>
                      <a:pt x="35" y="58"/>
                    </a:cubicBezTo>
                    <a:cubicBezTo>
                      <a:pt x="35" y="58"/>
                      <a:pt x="35" y="58"/>
                      <a:pt x="35" y="57"/>
                    </a:cubicBezTo>
                    <a:cubicBezTo>
                      <a:pt x="35" y="57"/>
                      <a:pt x="34" y="57"/>
                      <a:pt x="34" y="57"/>
                    </a:cubicBezTo>
                    <a:cubicBezTo>
                      <a:pt x="34" y="57"/>
                      <a:pt x="34" y="57"/>
                      <a:pt x="34" y="57"/>
                    </a:cubicBezTo>
                    <a:cubicBezTo>
                      <a:pt x="34" y="57"/>
                      <a:pt x="34" y="57"/>
                      <a:pt x="34" y="57"/>
                    </a:cubicBezTo>
                    <a:cubicBezTo>
                      <a:pt x="34" y="57"/>
                      <a:pt x="34" y="56"/>
                      <a:pt x="34" y="56"/>
                    </a:cubicBezTo>
                    <a:cubicBezTo>
                      <a:pt x="34" y="56"/>
                      <a:pt x="33" y="56"/>
                      <a:pt x="33" y="56"/>
                    </a:cubicBezTo>
                    <a:cubicBezTo>
                      <a:pt x="33" y="56"/>
                      <a:pt x="33" y="57"/>
                      <a:pt x="33" y="57"/>
                    </a:cubicBezTo>
                    <a:cubicBezTo>
                      <a:pt x="33" y="57"/>
                      <a:pt x="33" y="57"/>
                      <a:pt x="33" y="57"/>
                    </a:cubicBezTo>
                    <a:cubicBezTo>
                      <a:pt x="33" y="57"/>
                      <a:pt x="33" y="57"/>
                      <a:pt x="33" y="57"/>
                    </a:cubicBezTo>
                    <a:cubicBezTo>
                      <a:pt x="33" y="58"/>
                      <a:pt x="33" y="58"/>
                      <a:pt x="33" y="58"/>
                    </a:cubicBezTo>
                    <a:cubicBezTo>
                      <a:pt x="33" y="58"/>
                      <a:pt x="33" y="58"/>
                      <a:pt x="33" y="58"/>
                    </a:cubicBezTo>
                    <a:cubicBezTo>
                      <a:pt x="33" y="58"/>
                      <a:pt x="34" y="58"/>
                      <a:pt x="34" y="58"/>
                    </a:cubicBezTo>
                    <a:cubicBezTo>
                      <a:pt x="34" y="58"/>
                      <a:pt x="34" y="58"/>
                      <a:pt x="34" y="58"/>
                    </a:cubicBezTo>
                    <a:cubicBezTo>
                      <a:pt x="34" y="58"/>
                      <a:pt x="34" y="58"/>
                      <a:pt x="34" y="58"/>
                    </a:cubicBezTo>
                    <a:cubicBezTo>
                      <a:pt x="34" y="58"/>
                      <a:pt x="34" y="58"/>
                      <a:pt x="34" y="58"/>
                    </a:cubicBezTo>
                    <a:cubicBezTo>
                      <a:pt x="34" y="58"/>
                      <a:pt x="34" y="59"/>
                      <a:pt x="34" y="59"/>
                    </a:cubicBezTo>
                    <a:cubicBezTo>
                      <a:pt x="34" y="59"/>
                      <a:pt x="34" y="59"/>
                      <a:pt x="34" y="59"/>
                    </a:cubicBezTo>
                    <a:cubicBezTo>
                      <a:pt x="34" y="59"/>
                      <a:pt x="34" y="59"/>
                      <a:pt x="34" y="59"/>
                    </a:cubicBezTo>
                    <a:cubicBezTo>
                      <a:pt x="34" y="59"/>
                      <a:pt x="34" y="59"/>
                      <a:pt x="34" y="59"/>
                    </a:cubicBezTo>
                    <a:cubicBezTo>
                      <a:pt x="35" y="59"/>
                      <a:pt x="35" y="60"/>
                      <a:pt x="35" y="60"/>
                    </a:cubicBezTo>
                    <a:cubicBezTo>
                      <a:pt x="35" y="60"/>
                      <a:pt x="35" y="60"/>
                      <a:pt x="35" y="60"/>
                    </a:cubicBezTo>
                    <a:cubicBezTo>
                      <a:pt x="35" y="60"/>
                      <a:pt x="35" y="59"/>
                      <a:pt x="35" y="59"/>
                    </a:cubicBezTo>
                    <a:cubicBezTo>
                      <a:pt x="35" y="59"/>
                      <a:pt x="35" y="59"/>
                      <a:pt x="35" y="59"/>
                    </a:cubicBezTo>
                    <a:cubicBezTo>
                      <a:pt x="35" y="59"/>
                      <a:pt x="35" y="59"/>
                      <a:pt x="35" y="59"/>
                    </a:cubicBezTo>
                    <a:cubicBezTo>
                      <a:pt x="35" y="59"/>
                      <a:pt x="35" y="59"/>
                      <a:pt x="35" y="59"/>
                    </a:cubicBezTo>
                    <a:cubicBezTo>
                      <a:pt x="35" y="59"/>
                      <a:pt x="35" y="59"/>
                      <a:pt x="35" y="59"/>
                    </a:cubicBezTo>
                    <a:close/>
                    <a:moveTo>
                      <a:pt x="31" y="53"/>
                    </a:moveTo>
                    <a:cubicBezTo>
                      <a:pt x="31" y="53"/>
                      <a:pt x="31" y="53"/>
                      <a:pt x="31" y="53"/>
                    </a:cubicBezTo>
                    <a:cubicBezTo>
                      <a:pt x="31" y="53"/>
                      <a:pt x="31" y="53"/>
                      <a:pt x="30" y="53"/>
                    </a:cubicBezTo>
                    <a:cubicBezTo>
                      <a:pt x="30" y="53"/>
                      <a:pt x="30" y="52"/>
                      <a:pt x="30" y="52"/>
                    </a:cubicBezTo>
                    <a:cubicBezTo>
                      <a:pt x="30" y="52"/>
                      <a:pt x="30" y="52"/>
                      <a:pt x="30" y="52"/>
                    </a:cubicBezTo>
                    <a:cubicBezTo>
                      <a:pt x="30" y="52"/>
                      <a:pt x="30" y="51"/>
                      <a:pt x="30" y="51"/>
                    </a:cubicBezTo>
                    <a:cubicBezTo>
                      <a:pt x="30" y="51"/>
                      <a:pt x="29" y="51"/>
                      <a:pt x="29" y="51"/>
                    </a:cubicBezTo>
                    <a:cubicBezTo>
                      <a:pt x="29" y="51"/>
                      <a:pt x="29" y="52"/>
                      <a:pt x="29" y="52"/>
                    </a:cubicBezTo>
                    <a:cubicBezTo>
                      <a:pt x="29" y="52"/>
                      <a:pt x="29" y="52"/>
                      <a:pt x="29" y="52"/>
                    </a:cubicBezTo>
                    <a:cubicBezTo>
                      <a:pt x="29" y="52"/>
                      <a:pt x="29" y="52"/>
                      <a:pt x="29" y="52"/>
                    </a:cubicBezTo>
                    <a:cubicBezTo>
                      <a:pt x="29" y="52"/>
                      <a:pt x="29" y="52"/>
                      <a:pt x="29" y="52"/>
                    </a:cubicBezTo>
                    <a:cubicBezTo>
                      <a:pt x="29" y="53"/>
                      <a:pt x="29" y="53"/>
                      <a:pt x="29" y="53"/>
                    </a:cubicBezTo>
                    <a:cubicBezTo>
                      <a:pt x="29" y="53"/>
                      <a:pt x="29" y="53"/>
                      <a:pt x="29" y="53"/>
                    </a:cubicBezTo>
                    <a:cubicBezTo>
                      <a:pt x="30" y="53"/>
                      <a:pt x="30" y="53"/>
                      <a:pt x="30" y="53"/>
                    </a:cubicBezTo>
                    <a:cubicBezTo>
                      <a:pt x="30" y="53"/>
                      <a:pt x="30" y="53"/>
                      <a:pt x="30" y="53"/>
                    </a:cubicBezTo>
                    <a:cubicBezTo>
                      <a:pt x="30" y="53"/>
                      <a:pt x="30" y="53"/>
                      <a:pt x="30" y="53"/>
                    </a:cubicBezTo>
                    <a:cubicBezTo>
                      <a:pt x="30" y="53"/>
                      <a:pt x="30" y="53"/>
                      <a:pt x="31" y="53"/>
                    </a:cubicBezTo>
                    <a:cubicBezTo>
                      <a:pt x="31" y="53"/>
                      <a:pt x="31" y="53"/>
                      <a:pt x="31" y="53"/>
                    </a:cubicBezTo>
                    <a:cubicBezTo>
                      <a:pt x="31" y="53"/>
                      <a:pt x="31" y="54"/>
                      <a:pt x="31" y="54"/>
                    </a:cubicBezTo>
                    <a:cubicBezTo>
                      <a:pt x="31" y="54"/>
                      <a:pt x="31" y="54"/>
                      <a:pt x="31" y="53"/>
                    </a:cubicBezTo>
                    <a:cubicBezTo>
                      <a:pt x="31" y="53"/>
                      <a:pt x="31" y="53"/>
                      <a:pt x="31" y="53"/>
                    </a:cubicBezTo>
                    <a:close/>
                    <a:moveTo>
                      <a:pt x="33" y="56"/>
                    </a:moveTo>
                    <a:cubicBezTo>
                      <a:pt x="33" y="56"/>
                      <a:pt x="33" y="56"/>
                      <a:pt x="33" y="56"/>
                    </a:cubicBezTo>
                    <a:cubicBezTo>
                      <a:pt x="33" y="55"/>
                      <a:pt x="33" y="55"/>
                      <a:pt x="33" y="55"/>
                    </a:cubicBezTo>
                    <a:cubicBezTo>
                      <a:pt x="33" y="55"/>
                      <a:pt x="33" y="55"/>
                      <a:pt x="33" y="55"/>
                    </a:cubicBezTo>
                    <a:cubicBezTo>
                      <a:pt x="33" y="55"/>
                      <a:pt x="32" y="55"/>
                      <a:pt x="32" y="55"/>
                    </a:cubicBezTo>
                    <a:cubicBezTo>
                      <a:pt x="32" y="55"/>
                      <a:pt x="32" y="54"/>
                      <a:pt x="32" y="54"/>
                    </a:cubicBezTo>
                    <a:cubicBezTo>
                      <a:pt x="32" y="54"/>
                      <a:pt x="32" y="54"/>
                      <a:pt x="32" y="54"/>
                    </a:cubicBezTo>
                    <a:cubicBezTo>
                      <a:pt x="32" y="54"/>
                      <a:pt x="32" y="54"/>
                      <a:pt x="32" y="54"/>
                    </a:cubicBezTo>
                    <a:cubicBezTo>
                      <a:pt x="32" y="54"/>
                      <a:pt x="32" y="54"/>
                      <a:pt x="32" y="55"/>
                    </a:cubicBezTo>
                    <a:cubicBezTo>
                      <a:pt x="32" y="55"/>
                      <a:pt x="32" y="55"/>
                      <a:pt x="32" y="55"/>
                    </a:cubicBezTo>
                    <a:cubicBezTo>
                      <a:pt x="32" y="55"/>
                      <a:pt x="32" y="55"/>
                      <a:pt x="32" y="55"/>
                    </a:cubicBezTo>
                    <a:cubicBezTo>
                      <a:pt x="32" y="55"/>
                      <a:pt x="32" y="55"/>
                      <a:pt x="32" y="55"/>
                    </a:cubicBezTo>
                    <a:cubicBezTo>
                      <a:pt x="32" y="55"/>
                      <a:pt x="32" y="55"/>
                      <a:pt x="32" y="55"/>
                    </a:cubicBezTo>
                    <a:cubicBezTo>
                      <a:pt x="32" y="56"/>
                      <a:pt x="32" y="56"/>
                      <a:pt x="32" y="56"/>
                    </a:cubicBezTo>
                    <a:cubicBezTo>
                      <a:pt x="32" y="56"/>
                      <a:pt x="32" y="56"/>
                      <a:pt x="32" y="56"/>
                    </a:cubicBezTo>
                    <a:cubicBezTo>
                      <a:pt x="32" y="56"/>
                      <a:pt x="32" y="56"/>
                      <a:pt x="32" y="56"/>
                    </a:cubicBezTo>
                    <a:cubicBezTo>
                      <a:pt x="32" y="56"/>
                      <a:pt x="32" y="57"/>
                      <a:pt x="32" y="57"/>
                    </a:cubicBezTo>
                    <a:cubicBezTo>
                      <a:pt x="32" y="57"/>
                      <a:pt x="32" y="56"/>
                      <a:pt x="32" y="56"/>
                    </a:cubicBezTo>
                    <a:cubicBezTo>
                      <a:pt x="33" y="56"/>
                      <a:pt x="33" y="56"/>
                      <a:pt x="33" y="56"/>
                    </a:cubicBezTo>
                    <a:cubicBezTo>
                      <a:pt x="33" y="56"/>
                      <a:pt x="33" y="56"/>
                      <a:pt x="33" y="56"/>
                    </a:cubicBezTo>
                    <a:cubicBezTo>
                      <a:pt x="33" y="56"/>
                      <a:pt x="33" y="56"/>
                      <a:pt x="33" y="56"/>
                    </a:cubicBezTo>
                    <a:cubicBezTo>
                      <a:pt x="33" y="56"/>
                      <a:pt x="33" y="56"/>
                      <a:pt x="33" y="56"/>
                    </a:cubicBezTo>
                    <a:close/>
                    <a:moveTo>
                      <a:pt x="184" y="74"/>
                    </a:moveTo>
                    <a:cubicBezTo>
                      <a:pt x="184" y="74"/>
                      <a:pt x="184" y="74"/>
                      <a:pt x="184" y="74"/>
                    </a:cubicBezTo>
                    <a:cubicBezTo>
                      <a:pt x="184" y="74"/>
                      <a:pt x="184" y="74"/>
                      <a:pt x="184" y="74"/>
                    </a:cubicBezTo>
                    <a:cubicBezTo>
                      <a:pt x="184" y="74"/>
                      <a:pt x="184" y="73"/>
                      <a:pt x="184" y="73"/>
                    </a:cubicBezTo>
                    <a:cubicBezTo>
                      <a:pt x="184" y="73"/>
                      <a:pt x="185" y="73"/>
                      <a:pt x="185" y="73"/>
                    </a:cubicBezTo>
                    <a:cubicBezTo>
                      <a:pt x="185" y="73"/>
                      <a:pt x="185" y="73"/>
                      <a:pt x="185" y="73"/>
                    </a:cubicBezTo>
                    <a:cubicBezTo>
                      <a:pt x="185" y="73"/>
                      <a:pt x="184" y="73"/>
                      <a:pt x="184" y="73"/>
                    </a:cubicBezTo>
                    <a:cubicBezTo>
                      <a:pt x="184" y="72"/>
                      <a:pt x="185" y="72"/>
                      <a:pt x="184" y="72"/>
                    </a:cubicBezTo>
                    <a:cubicBezTo>
                      <a:pt x="184" y="72"/>
                      <a:pt x="184" y="72"/>
                      <a:pt x="184" y="72"/>
                    </a:cubicBezTo>
                    <a:cubicBezTo>
                      <a:pt x="184" y="72"/>
                      <a:pt x="184" y="72"/>
                      <a:pt x="184" y="72"/>
                    </a:cubicBezTo>
                    <a:cubicBezTo>
                      <a:pt x="185" y="71"/>
                      <a:pt x="185" y="71"/>
                      <a:pt x="185" y="71"/>
                    </a:cubicBezTo>
                    <a:cubicBezTo>
                      <a:pt x="185" y="71"/>
                      <a:pt x="185" y="71"/>
                      <a:pt x="185" y="71"/>
                    </a:cubicBezTo>
                    <a:cubicBezTo>
                      <a:pt x="185" y="71"/>
                      <a:pt x="185" y="70"/>
                      <a:pt x="185" y="70"/>
                    </a:cubicBezTo>
                    <a:cubicBezTo>
                      <a:pt x="185" y="70"/>
                      <a:pt x="185" y="70"/>
                      <a:pt x="185" y="70"/>
                    </a:cubicBezTo>
                    <a:cubicBezTo>
                      <a:pt x="185" y="70"/>
                      <a:pt x="185" y="70"/>
                      <a:pt x="185" y="70"/>
                    </a:cubicBezTo>
                    <a:cubicBezTo>
                      <a:pt x="185" y="70"/>
                      <a:pt x="185" y="69"/>
                      <a:pt x="185" y="69"/>
                    </a:cubicBezTo>
                    <a:cubicBezTo>
                      <a:pt x="185" y="69"/>
                      <a:pt x="185" y="69"/>
                      <a:pt x="185" y="69"/>
                    </a:cubicBezTo>
                    <a:cubicBezTo>
                      <a:pt x="185" y="68"/>
                      <a:pt x="185" y="68"/>
                      <a:pt x="185" y="68"/>
                    </a:cubicBezTo>
                    <a:cubicBezTo>
                      <a:pt x="185" y="68"/>
                      <a:pt x="185" y="68"/>
                      <a:pt x="184" y="68"/>
                    </a:cubicBezTo>
                    <a:cubicBezTo>
                      <a:pt x="184" y="69"/>
                      <a:pt x="184" y="69"/>
                      <a:pt x="184" y="69"/>
                    </a:cubicBezTo>
                    <a:cubicBezTo>
                      <a:pt x="184" y="69"/>
                      <a:pt x="184" y="69"/>
                      <a:pt x="184" y="69"/>
                    </a:cubicBezTo>
                    <a:cubicBezTo>
                      <a:pt x="183" y="69"/>
                      <a:pt x="183" y="69"/>
                      <a:pt x="183" y="69"/>
                    </a:cubicBezTo>
                    <a:cubicBezTo>
                      <a:pt x="183" y="69"/>
                      <a:pt x="183" y="69"/>
                      <a:pt x="183" y="69"/>
                    </a:cubicBezTo>
                    <a:cubicBezTo>
                      <a:pt x="183" y="69"/>
                      <a:pt x="183" y="69"/>
                      <a:pt x="183" y="70"/>
                    </a:cubicBezTo>
                    <a:cubicBezTo>
                      <a:pt x="182" y="70"/>
                      <a:pt x="182" y="70"/>
                      <a:pt x="183" y="70"/>
                    </a:cubicBezTo>
                    <a:cubicBezTo>
                      <a:pt x="183" y="70"/>
                      <a:pt x="183" y="71"/>
                      <a:pt x="183" y="71"/>
                    </a:cubicBezTo>
                    <a:cubicBezTo>
                      <a:pt x="183" y="71"/>
                      <a:pt x="183" y="71"/>
                      <a:pt x="183" y="71"/>
                    </a:cubicBezTo>
                    <a:cubicBezTo>
                      <a:pt x="183" y="71"/>
                      <a:pt x="183" y="71"/>
                      <a:pt x="183" y="71"/>
                    </a:cubicBezTo>
                    <a:cubicBezTo>
                      <a:pt x="183" y="71"/>
                      <a:pt x="183" y="71"/>
                      <a:pt x="182" y="72"/>
                    </a:cubicBezTo>
                    <a:cubicBezTo>
                      <a:pt x="182" y="72"/>
                      <a:pt x="182" y="72"/>
                      <a:pt x="182" y="72"/>
                    </a:cubicBezTo>
                    <a:cubicBezTo>
                      <a:pt x="182" y="72"/>
                      <a:pt x="182" y="72"/>
                      <a:pt x="182" y="72"/>
                    </a:cubicBezTo>
                    <a:cubicBezTo>
                      <a:pt x="182" y="72"/>
                      <a:pt x="182" y="73"/>
                      <a:pt x="182" y="73"/>
                    </a:cubicBezTo>
                    <a:cubicBezTo>
                      <a:pt x="182" y="73"/>
                      <a:pt x="182" y="73"/>
                      <a:pt x="182" y="73"/>
                    </a:cubicBezTo>
                    <a:cubicBezTo>
                      <a:pt x="182" y="73"/>
                      <a:pt x="182" y="73"/>
                      <a:pt x="182" y="73"/>
                    </a:cubicBezTo>
                    <a:cubicBezTo>
                      <a:pt x="182" y="74"/>
                      <a:pt x="183" y="73"/>
                      <a:pt x="183" y="73"/>
                    </a:cubicBezTo>
                    <a:cubicBezTo>
                      <a:pt x="183" y="73"/>
                      <a:pt x="183" y="73"/>
                      <a:pt x="183" y="73"/>
                    </a:cubicBezTo>
                    <a:cubicBezTo>
                      <a:pt x="183" y="73"/>
                      <a:pt x="183" y="73"/>
                      <a:pt x="183" y="73"/>
                    </a:cubicBezTo>
                    <a:cubicBezTo>
                      <a:pt x="183" y="74"/>
                      <a:pt x="183" y="74"/>
                      <a:pt x="183" y="73"/>
                    </a:cubicBezTo>
                    <a:cubicBezTo>
                      <a:pt x="184" y="73"/>
                      <a:pt x="184" y="73"/>
                      <a:pt x="184" y="73"/>
                    </a:cubicBezTo>
                    <a:cubicBezTo>
                      <a:pt x="184" y="73"/>
                      <a:pt x="183" y="73"/>
                      <a:pt x="183" y="73"/>
                    </a:cubicBezTo>
                    <a:cubicBezTo>
                      <a:pt x="184" y="73"/>
                      <a:pt x="184" y="73"/>
                      <a:pt x="184" y="73"/>
                    </a:cubicBezTo>
                    <a:cubicBezTo>
                      <a:pt x="184" y="73"/>
                      <a:pt x="184" y="73"/>
                      <a:pt x="184" y="73"/>
                    </a:cubicBezTo>
                    <a:cubicBezTo>
                      <a:pt x="184" y="73"/>
                      <a:pt x="184" y="73"/>
                      <a:pt x="184" y="74"/>
                    </a:cubicBezTo>
                    <a:cubicBezTo>
                      <a:pt x="184" y="74"/>
                      <a:pt x="184" y="74"/>
                      <a:pt x="184" y="74"/>
                    </a:cubicBezTo>
                    <a:close/>
                    <a:moveTo>
                      <a:pt x="181" y="72"/>
                    </a:moveTo>
                    <a:cubicBezTo>
                      <a:pt x="181" y="72"/>
                      <a:pt x="181" y="72"/>
                      <a:pt x="181" y="72"/>
                    </a:cubicBezTo>
                    <a:cubicBezTo>
                      <a:pt x="181" y="72"/>
                      <a:pt x="180" y="72"/>
                      <a:pt x="180" y="72"/>
                    </a:cubicBezTo>
                    <a:cubicBezTo>
                      <a:pt x="180" y="72"/>
                      <a:pt x="180" y="72"/>
                      <a:pt x="180" y="71"/>
                    </a:cubicBezTo>
                    <a:cubicBezTo>
                      <a:pt x="180" y="71"/>
                      <a:pt x="180" y="72"/>
                      <a:pt x="180" y="72"/>
                    </a:cubicBezTo>
                    <a:cubicBezTo>
                      <a:pt x="180" y="71"/>
                      <a:pt x="180" y="71"/>
                      <a:pt x="179" y="71"/>
                    </a:cubicBezTo>
                    <a:cubicBezTo>
                      <a:pt x="179" y="71"/>
                      <a:pt x="179" y="71"/>
                      <a:pt x="179" y="72"/>
                    </a:cubicBezTo>
                    <a:cubicBezTo>
                      <a:pt x="179" y="72"/>
                      <a:pt x="179" y="72"/>
                      <a:pt x="179" y="72"/>
                    </a:cubicBezTo>
                    <a:cubicBezTo>
                      <a:pt x="180" y="72"/>
                      <a:pt x="179" y="72"/>
                      <a:pt x="179" y="72"/>
                    </a:cubicBezTo>
                    <a:cubicBezTo>
                      <a:pt x="179" y="72"/>
                      <a:pt x="179" y="72"/>
                      <a:pt x="179" y="72"/>
                    </a:cubicBezTo>
                    <a:cubicBezTo>
                      <a:pt x="179" y="72"/>
                      <a:pt x="179" y="72"/>
                      <a:pt x="179" y="72"/>
                    </a:cubicBezTo>
                    <a:cubicBezTo>
                      <a:pt x="179" y="73"/>
                      <a:pt x="179" y="73"/>
                      <a:pt x="179" y="73"/>
                    </a:cubicBezTo>
                    <a:cubicBezTo>
                      <a:pt x="179" y="73"/>
                      <a:pt x="179" y="73"/>
                      <a:pt x="180" y="73"/>
                    </a:cubicBezTo>
                    <a:cubicBezTo>
                      <a:pt x="180" y="74"/>
                      <a:pt x="180" y="74"/>
                      <a:pt x="180" y="74"/>
                    </a:cubicBezTo>
                    <a:cubicBezTo>
                      <a:pt x="180" y="74"/>
                      <a:pt x="180" y="74"/>
                      <a:pt x="180" y="74"/>
                    </a:cubicBezTo>
                    <a:cubicBezTo>
                      <a:pt x="180" y="74"/>
                      <a:pt x="180" y="74"/>
                      <a:pt x="180" y="74"/>
                    </a:cubicBezTo>
                    <a:cubicBezTo>
                      <a:pt x="181" y="74"/>
                      <a:pt x="181" y="74"/>
                      <a:pt x="181" y="74"/>
                    </a:cubicBezTo>
                    <a:cubicBezTo>
                      <a:pt x="181" y="73"/>
                      <a:pt x="181" y="73"/>
                      <a:pt x="181" y="73"/>
                    </a:cubicBezTo>
                    <a:cubicBezTo>
                      <a:pt x="181" y="73"/>
                      <a:pt x="181" y="73"/>
                      <a:pt x="181" y="72"/>
                    </a:cubicBezTo>
                    <a:close/>
                    <a:moveTo>
                      <a:pt x="187" y="64"/>
                    </a:moveTo>
                    <a:cubicBezTo>
                      <a:pt x="187" y="65"/>
                      <a:pt x="187" y="65"/>
                      <a:pt x="187" y="65"/>
                    </a:cubicBezTo>
                    <a:cubicBezTo>
                      <a:pt x="187" y="65"/>
                      <a:pt x="187" y="65"/>
                      <a:pt x="187" y="65"/>
                    </a:cubicBezTo>
                    <a:cubicBezTo>
                      <a:pt x="187" y="65"/>
                      <a:pt x="187" y="65"/>
                      <a:pt x="187" y="66"/>
                    </a:cubicBezTo>
                    <a:cubicBezTo>
                      <a:pt x="187" y="66"/>
                      <a:pt x="187" y="66"/>
                      <a:pt x="187" y="66"/>
                    </a:cubicBezTo>
                    <a:cubicBezTo>
                      <a:pt x="188" y="66"/>
                      <a:pt x="188" y="66"/>
                      <a:pt x="188" y="66"/>
                    </a:cubicBezTo>
                    <a:cubicBezTo>
                      <a:pt x="188" y="66"/>
                      <a:pt x="188" y="66"/>
                      <a:pt x="188" y="66"/>
                    </a:cubicBezTo>
                    <a:cubicBezTo>
                      <a:pt x="188" y="65"/>
                      <a:pt x="188" y="65"/>
                      <a:pt x="188" y="65"/>
                    </a:cubicBezTo>
                    <a:cubicBezTo>
                      <a:pt x="189" y="65"/>
                      <a:pt x="189" y="65"/>
                      <a:pt x="189" y="65"/>
                    </a:cubicBezTo>
                    <a:cubicBezTo>
                      <a:pt x="188" y="64"/>
                      <a:pt x="188" y="64"/>
                      <a:pt x="188" y="64"/>
                    </a:cubicBezTo>
                    <a:cubicBezTo>
                      <a:pt x="188" y="64"/>
                      <a:pt x="188" y="64"/>
                      <a:pt x="187" y="64"/>
                    </a:cubicBezTo>
                    <a:cubicBezTo>
                      <a:pt x="187" y="64"/>
                      <a:pt x="187" y="64"/>
                      <a:pt x="187" y="64"/>
                    </a:cubicBezTo>
                    <a:cubicBezTo>
                      <a:pt x="187" y="64"/>
                      <a:pt x="187" y="64"/>
                      <a:pt x="187" y="64"/>
                    </a:cubicBezTo>
                    <a:close/>
                    <a:moveTo>
                      <a:pt x="186" y="74"/>
                    </a:moveTo>
                    <a:cubicBezTo>
                      <a:pt x="186" y="74"/>
                      <a:pt x="187" y="74"/>
                      <a:pt x="187" y="74"/>
                    </a:cubicBezTo>
                    <a:cubicBezTo>
                      <a:pt x="187" y="74"/>
                      <a:pt x="187" y="74"/>
                      <a:pt x="187" y="74"/>
                    </a:cubicBezTo>
                    <a:cubicBezTo>
                      <a:pt x="187" y="74"/>
                      <a:pt x="187" y="74"/>
                      <a:pt x="187" y="74"/>
                    </a:cubicBezTo>
                    <a:cubicBezTo>
                      <a:pt x="187" y="74"/>
                      <a:pt x="188" y="74"/>
                      <a:pt x="188" y="74"/>
                    </a:cubicBezTo>
                    <a:cubicBezTo>
                      <a:pt x="188" y="73"/>
                      <a:pt x="188" y="73"/>
                      <a:pt x="188" y="73"/>
                    </a:cubicBezTo>
                    <a:cubicBezTo>
                      <a:pt x="188" y="73"/>
                      <a:pt x="188" y="73"/>
                      <a:pt x="188" y="73"/>
                    </a:cubicBezTo>
                    <a:cubicBezTo>
                      <a:pt x="188" y="73"/>
                      <a:pt x="188" y="73"/>
                      <a:pt x="188" y="73"/>
                    </a:cubicBezTo>
                    <a:cubicBezTo>
                      <a:pt x="188" y="73"/>
                      <a:pt x="188" y="73"/>
                      <a:pt x="188" y="73"/>
                    </a:cubicBezTo>
                    <a:cubicBezTo>
                      <a:pt x="188" y="73"/>
                      <a:pt x="188" y="72"/>
                      <a:pt x="188" y="72"/>
                    </a:cubicBezTo>
                    <a:cubicBezTo>
                      <a:pt x="188" y="72"/>
                      <a:pt x="187" y="72"/>
                      <a:pt x="187" y="72"/>
                    </a:cubicBezTo>
                    <a:cubicBezTo>
                      <a:pt x="187" y="72"/>
                      <a:pt x="187" y="72"/>
                      <a:pt x="187" y="72"/>
                    </a:cubicBezTo>
                    <a:cubicBezTo>
                      <a:pt x="187" y="72"/>
                      <a:pt x="187" y="72"/>
                      <a:pt x="187" y="72"/>
                    </a:cubicBezTo>
                    <a:cubicBezTo>
                      <a:pt x="187" y="72"/>
                      <a:pt x="187" y="72"/>
                      <a:pt x="187" y="72"/>
                    </a:cubicBezTo>
                    <a:cubicBezTo>
                      <a:pt x="187" y="72"/>
                      <a:pt x="187" y="72"/>
                      <a:pt x="187" y="71"/>
                    </a:cubicBezTo>
                    <a:cubicBezTo>
                      <a:pt x="187" y="71"/>
                      <a:pt x="187" y="71"/>
                      <a:pt x="187" y="71"/>
                    </a:cubicBezTo>
                    <a:cubicBezTo>
                      <a:pt x="187" y="71"/>
                      <a:pt x="187" y="71"/>
                      <a:pt x="187" y="71"/>
                    </a:cubicBezTo>
                    <a:cubicBezTo>
                      <a:pt x="187" y="71"/>
                      <a:pt x="187" y="71"/>
                      <a:pt x="187" y="71"/>
                    </a:cubicBezTo>
                    <a:cubicBezTo>
                      <a:pt x="187" y="70"/>
                      <a:pt x="187" y="70"/>
                      <a:pt x="187" y="70"/>
                    </a:cubicBezTo>
                    <a:cubicBezTo>
                      <a:pt x="187" y="70"/>
                      <a:pt x="187" y="70"/>
                      <a:pt x="187" y="70"/>
                    </a:cubicBezTo>
                    <a:cubicBezTo>
                      <a:pt x="187" y="70"/>
                      <a:pt x="187" y="70"/>
                      <a:pt x="187" y="70"/>
                    </a:cubicBezTo>
                    <a:cubicBezTo>
                      <a:pt x="187" y="69"/>
                      <a:pt x="187" y="69"/>
                      <a:pt x="187" y="69"/>
                    </a:cubicBezTo>
                    <a:cubicBezTo>
                      <a:pt x="187" y="69"/>
                      <a:pt x="187" y="69"/>
                      <a:pt x="187" y="69"/>
                    </a:cubicBezTo>
                    <a:cubicBezTo>
                      <a:pt x="187" y="69"/>
                      <a:pt x="187" y="70"/>
                      <a:pt x="187" y="70"/>
                    </a:cubicBezTo>
                    <a:cubicBezTo>
                      <a:pt x="187" y="70"/>
                      <a:pt x="187" y="70"/>
                      <a:pt x="188" y="70"/>
                    </a:cubicBezTo>
                    <a:cubicBezTo>
                      <a:pt x="188" y="70"/>
                      <a:pt x="188" y="69"/>
                      <a:pt x="188" y="69"/>
                    </a:cubicBezTo>
                    <a:cubicBezTo>
                      <a:pt x="188" y="69"/>
                      <a:pt x="188" y="69"/>
                      <a:pt x="188" y="69"/>
                    </a:cubicBezTo>
                    <a:cubicBezTo>
                      <a:pt x="188" y="70"/>
                      <a:pt x="188" y="70"/>
                      <a:pt x="188" y="70"/>
                    </a:cubicBezTo>
                    <a:cubicBezTo>
                      <a:pt x="188" y="70"/>
                      <a:pt x="188" y="70"/>
                      <a:pt x="188" y="69"/>
                    </a:cubicBezTo>
                    <a:cubicBezTo>
                      <a:pt x="188" y="69"/>
                      <a:pt x="188" y="69"/>
                      <a:pt x="188" y="69"/>
                    </a:cubicBezTo>
                    <a:cubicBezTo>
                      <a:pt x="188" y="69"/>
                      <a:pt x="188" y="69"/>
                      <a:pt x="188" y="69"/>
                    </a:cubicBezTo>
                    <a:cubicBezTo>
                      <a:pt x="188" y="68"/>
                      <a:pt x="188" y="68"/>
                      <a:pt x="188" y="68"/>
                    </a:cubicBezTo>
                    <a:cubicBezTo>
                      <a:pt x="188" y="68"/>
                      <a:pt x="188" y="68"/>
                      <a:pt x="188" y="68"/>
                    </a:cubicBezTo>
                    <a:cubicBezTo>
                      <a:pt x="188" y="68"/>
                      <a:pt x="188" y="68"/>
                      <a:pt x="188" y="68"/>
                    </a:cubicBezTo>
                    <a:cubicBezTo>
                      <a:pt x="188" y="67"/>
                      <a:pt x="188" y="67"/>
                      <a:pt x="188" y="67"/>
                    </a:cubicBezTo>
                    <a:cubicBezTo>
                      <a:pt x="188" y="67"/>
                      <a:pt x="188" y="67"/>
                      <a:pt x="188"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6" y="67"/>
                      <a:pt x="186" y="68"/>
                      <a:pt x="186" y="69"/>
                    </a:cubicBezTo>
                    <a:cubicBezTo>
                      <a:pt x="186" y="69"/>
                      <a:pt x="186" y="69"/>
                      <a:pt x="186" y="69"/>
                    </a:cubicBezTo>
                    <a:cubicBezTo>
                      <a:pt x="186" y="69"/>
                      <a:pt x="186" y="70"/>
                      <a:pt x="186" y="70"/>
                    </a:cubicBezTo>
                    <a:cubicBezTo>
                      <a:pt x="186" y="70"/>
                      <a:pt x="186" y="70"/>
                      <a:pt x="186" y="70"/>
                    </a:cubicBezTo>
                    <a:cubicBezTo>
                      <a:pt x="186" y="70"/>
                      <a:pt x="186" y="70"/>
                      <a:pt x="186" y="70"/>
                    </a:cubicBezTo>
                    <a:cubicBezTo>
                      <a:pt x="186" y="70"/>
                      <a:pt x="186" y="70"/>
                      <a:pt x="186" y="70"/>
                    </a:cubicBezTo>
                    <a:cubicBezTo>
                      <a:pt x="186" y="71"/>
                      <a:pt x="186" y="71"/>
                      <a:pt x="186" y="71"/>
                    </a:cubicBezTo>
                    <a:cubicBezTo>
                      <a:pt x="185" y="71"/>
                      <a:pt x="185" y="71"/>
                      <a:pt x="185" y="71"/>
                    </a:cubicBezTo>
                    <a:cubicBezTo>
                      <a:pt x="185" y="71"/>
                      <a:pt x="185" y="71"/>
                      <a:pt x="186" y="71"/>
                    </a:cubicBezTo>
                    <a:cubicBezTo>
                      <a:pt x="186" y="71"/>
                      <a:pt x="186" y="71"/>
                      <a:pt x="185" y="71"/>
                    </a:cubicBezTo>
                    <a:cubicBezTo>
                      <a:pt x="185" y="71"/>
                      <a:pt x="185" y="71"/>
                      <a:pt x="185" y="72"/>
                    </a:cubicBezTo>
                    <a:cubicBezTo>
                      <a:pt x="186" y="72"/>
                      <a:pt x="186" y="72"/>
                      <a:pt x="186" y="72"/>
                    </a:cubicBezTo>
                    <a:cubicBezTo>
                      <a:pt x="186" y="72"/>
                      <a:pt x="185" y="72"/>
                      <a:pt x="185" y="72"/>
                    </a:cubicBezTo>
                    <a:cubicBezTo>
                      <a:pt x="185" y="72"/>
                      <a:pt x="185" y="72"/>
                      <a:pt x="185" y="72"/>
                    </a:cubicBezTo>
                    <a:cubicBezTo>
                      <a:pt x="185" y="72"/>
                      <a:pt x="185" y="72"/>
                      <a:pt x="186" y="72"/>
                    </a:cubicBezTo>
                    <a:cubicBezTo>
                      <a:pt x="186" y="72"/>
                      <a:pt x="186" y="72"/>
                      <a:pt x="185" y="73"/>
                    </a:cubicBezTo>
                    <a:cubicBezTo>
                      <a:pt x="185" y="73"/>
                      <a:pt x="185" y="73"/>
                      <a:pt x="185" y="73"/>
                    </a:cubicBezTo>
                    <a:cubicBezTo>
                      <a:pt x="185" y="74"/>
                      <a:pt x="185" y="74"/>
                      <a:pt x="185" y="74"/>
                    </a:cubicBezTo>
                    <a:cubicBezTo>
                      <a:pt x="185" y="74"/>
                      <a:pt x="184" y="74"/>
                      <a:pt x="184" y="74"/>
                    </a:cubicBezTo>
                    <a:cubicBezTo>
                      <a:pt x="184" y="74"/>
                      <a:pt x="184" y="75"/>
                      <a:pt x="184" y="75"/>
                    </a:cubicBezTo>
                    <a:cubicBezTo>
                      <a:pt x="184" y="75"/>
                      <a:pt x="184" y="75"/>
                      <a:pt x="185" y="75"/>
                    </a:cubicBezTo>
                    <a:cubicBezTo>
                      <a:pt x="185" y="75"/>
                      <a:pt x="185" y="75"/>
                      <a:pt x="185" y="75"/>
                    </a:cubicBezTo>
                    <a:cubicBezTo>
                      <a:pt x="185" y="75"/>
                      <a:pt x="185" y="75"/>
                      <a:pt x="185" y="75"/>
                    </a:cubicBezTo>
                    <a:cubicBezTo>
                      <a:pt x="185" y="75"/>
                      <a:pt x="185" y="75"/>
                      <a:pt x="185" y="75"/>
                    </a:cubicBezTo>
                    <a:cubicBezTo>
                      <a:pt x="185" y="75"/>
                      <a:pt x="185" y="76"/>
                      <a:pt x="186" y="76"/>
                    </a:cubicBezTo>
                    <a:cubicBezTo>
                      <a:pt x="186" y="76"/>
                      <a:pt x="186" y="75"/>
                      <a:pt x="186" y="75"/>
                    </a:cubicBezTo>
                    <a:cubicBezTo>
                      <a:pt x="186" y="75"/>
                      <a:pt x="186" y="75"/>
                      <a:pt x="186" y="75"/>
                    </a:cubicBezTo>
                    <a:cubicBezTo>
                      <a:pt x="186" y="75"/>
                      <a:pt x="186" y="74"/>
                      <a:pt x="186" y="74"/>
                    </a:cubicBezTo>
                    <a:cubicBezTo>
                      <a:pt x="186" y="74"/>
                      <a:pt x="186" y="74"/>
                      <a:pt x="186" y="74"/>
                    </a:cubicBezTo>
                    <a:cubicBezTo>
                      <a:pt x="186" y="74"/>
                      <a:pt x="186" y="74"/>
                      <a:pt x="186" y="74"/>
                    </a:cubicBezTo>
                    <a:close/>
                    <a:moveTo>
                      <a:pt x="170" y="77"/>
                    </a:moveTo>
                    <a:cubicBezTo>
                      <a:pt x="170" y="77"/>
                      <a:pt x="170" y="76"/>
                      <a:pt x="170" y="76"/>
                    </a:cubicBezTo>
                    <a:cubicBezTo>
                      <a:pt x="170" y="76"/>
                      <a:pt x="170" y="76"/>
                      <a:pt x="170" y="77"/>
                    </a:cubicBezTo>
                    <a:cubicBezTo>
                      <a:pt x="170" y="77"/>
                      <a:pt x="170" y="77"/>
                      <a:pt x="170" y="77"/>
                    </a:cubicBezTo>
                    <a:cubicBezTo>
                      <a:pt x="170" y="77"/>
                      <a:pt x="170" y="78"/>
                      <a:pt x="170" y="79"/>
                    </a:cubicBezTo>
                    <a:cubicBezTo>
                      <a:pt x="170" y="79"/>
                      <a:pt x="170" y="79"/>
                      <a:pt x="170" y="79"/>
                    </a:cubicBezTo>
                    <a:cubicBezTo>
                      <a:pt x="170" y="80"/>
                      <a:pt x="170" y="80"/>
                      <a:pt x="170" y="81"/>
                    </a:cubicBezTo>
                    <a:cubicBezTo>
                      <a:pt x="170" y="81"/>
                      <a:pt x="170" y="81"/>
                      <a:pt x="170" y="81"/>
                    </a:cubicBezTo>
                    <a:cubicBezTo>
                      <a:pt x="170" y="81"/>
                      <a:pt x="170" y="80"/>
                      <a:pt x="170" y="80"/>
                    </a:cubicBezTo>
                    <a:cubicBezTo>
                      <a:pt x="170" y="80"/>
                      <a:pt x="170" y="80"/>
                      <a:pt x="170" y="80"/>
                    </a:cubicBezTo>
                    <a:cubicBezTo>
                      <a:pt x="171" y="80"/>
                      <a:pt x="170" y="79"/>
                      <a:pt x="171" y="79"/>
                    </a:cubicBezTo>
                    <a:cubicBezTo>
                      <a:pt x="171" y="78"/>
                      <a:pt x="171" y="77"/>
                      <a:pt x="170" y="77"/>
                    </a:cubicBezTo>
                    <a:close/>
                    <a:moveTo>
                      <a:pt x="143" y="62"/>
                    </a:moveTo>
                    <a:cubicBezTo>
                      <a:pt x="143" y="62"/>
                      <a:pt x="143" y="62"/>
                      <a:pt x="143" y="61"/>
                    </a:cubicBezTo>
                    <a:cubicBezTo>
                      <a:pt x="143" y="61"/>
                      <a:pt x="143" y="61"/>
                      <a:pt x="143" y="61"/>
                    </a:cubicBezTo>
                    <a:cubicBezTo>
                      <a:pt x="143" y="61"/>
                      <a:pt x="143" y="61"/>
                      <a:pt x="143" y="60"/>
                    </a:cubicBezTo>
                    <a:cubicBezTo>
                      <a:pt x="143" y="60"/>
                      <a:pt x="143" y="60"/>
                      <a:pt x="143" y="60"/>
                    </a:cubicBezTo>
                    <a:cubicBezTo>
                      <a:pt x="143" y="60"/>
                      <a:pt x="143" y="60"/>
                      <a:pt x="143" y="60"/>
                    </a:cubicBezTo>
                    <a:cubicBezTo>
                      <a:pt x="143" y="60"/>
                      <a:pt x="143" y="60"/>
                      <a:pt x="143" y="60"/>
                    </a:cubicBezTo>
                    <a:cubicBezTo>
                      <a:pt x="143" y="61"/>
                      <a:pt x="143" y="61"/>
                      <a:pt x="143" y="61"/>
                    </a:cubicBezTo>
                    <a:cubicBezTo>
                      <a:pt x="143" y="61"/>
                      <a:pt x="143" y="61"/>
                      <a:pt x="143" y="61"/>
                    </a:cubicBezTo>
                    <a:cubicBezTo>
                      <a:pt x="143" y="61"/>
                      <a:pt x="143" y="61"/>
                      <a:pt x="143" y="61"/>
                    </a:cubicBezTo>
                    <a:cubicBezTo>
                      <a:pt x="143" y="61"/>
                      <a:pt x="143" y="62"/>
                      <a:pt x="143" y="62"/>
                    </a:cubicBezTo>
                    <a:close/>
                    <a:moveTo>
                      <a:pt x="142" y="63"/>
                    </a:moveTo>
                    <a:cubicBezTo>
                      <a:pt x="142" y="63"/>
                      <a:pt x="143" y="63"/>
                      <a:pt x="143" y="62"/>
                    </a:cubicBezTo>
                    <a:cubicBezTo>
                      <a:pt x="143" y="62"/>
                      <a:pt x="143" y="62"/>
                      <a:pt x="142" y="62"/>
                    </a:cubicBezTo>
                    <a:cubicBezTo>
                      <a:pt x="142" y="62"/>
                      <a:pt x="142" y="62"/>
                      <a:pt x="142" y="62"/>
                    </a:cubicBezTo>
                    <a:cubicBezTo>
                      <a:pt x="142" y="62"/>
                      <a:pt x="142" y="62"/>
                      <a:pt x="142" y="61"/>
                    </a:cubicBezTo>
                    <a:cubicBezTo>
                      <a:pt x="142" y="61"/>
                      <a:pt x="142" y="61"/>
                      <a:pt x="142" y="61"/>
                    </a:cubicBezTo>
                    <a:cubicBezTo>
                      <a:pt x="142" y="61"/>
                      <a:pt x="143" y="61"/>
                      <a:pt x="143" y="61"/>
                    </a:cubicBezTo>
                    <a:cubicBezTo>
                      <a:pt x="143" y="61"/>
                      <a:pt x="143" y="61"/>
                      <a:pt x="142" y="60"/>
                    </a:cubicBezTo>
                    <a:cubicBezTo>
                      <a:pt x="142" y="60"/>
                      <a:pt x="142" y="60"/>
                      <a:pt x="142" y="60"/>
                    </a:cubicBezTo>
                    <a:cubicBezTo>
                      <a:pt x="142" y="60"/>
                      <a:pt x="142" y="60"/>
                      <a:pt x="142" y="60"/>
                    </a:cubicBezTo>
                    <a:cubicBezTo>
                      <a:pt x="142" y="60"/>
                      <a:pt x="142" y="60"/>
                      <a:pt x="142" y="59"/>
                    </a:cubicBezTo>
                    <a:cubicBezTo>
                      <a:pt x="142" y="59"/>
                      <a:pt x="142" y="59"/>
                      <a:pt x="142" y="59"/>
                    </a:cubicBezTo>
                    <a:cubicBezTo>
                      <a:pt x="142" y="59"/>
                      <a:pt x="142" y="59"/>
                      <a:pt x="142" y="59"/>
                    </a:cubicBezTo>
                    <a:cubicBezTo>
                      <a:pt x="142" y="59"/>
                      <a:pt x="142" y="59"/>
                      <a:pt x="142" y="59"/>
                    </a:cubicBezTo>
                    <a:cubicBezTo>
                      <a:pt x="142" y="60"/>
                      <a:pt x="141" y="60"/>
                      <a:pt x="141" y="60"/>
                    </a:cubicBezTo>
                    <a:cubicBezTo>
                      <a:pt x="141" y="60"/>
                      <a:pt x="141" y="60"/>
                      <a:pt x="141" y="60"/>
                    </a:cubicBezTo>
                    <a:cubicBezTo>
                      <a:pt x="141" y="60"/>
                      <a:pt x="141" y="60"/>
                      <a:pt x="141" y="60"/>
                    </a:cubicBezTo>
                    <a:cubicBezTo>
                      <a:pt x="141" y="61"/>
                      <a:pt x="141" y="61"/>
                      <a:pt x="141" y="61"/>
                    </a:cubicBezTo>
                    <a:cubicBezTo>
                      <a:pt x="141" y="61"/>
                      <a:pt x="141" y="61"/>
                      <a:pt x="141" y="62"/>
                    </a:cubicBezTo>
                    <a:cubicBezTo>
                      <a:pt x="141" y="62"/>
                      <a:pt x="141" y="62"/>
                      <a:pt x="140" y="62"/>
                    </a:cubicBezTo>
                    <a:cubicBezTo>
                      <a:pt x="140" y="62"/>
                      <a:pt x="140" y="62"/>
                      <a:pt x="141" y="62"/>
                    </a:cubicBezTo>
                    <a:cubicBezTo>
                      <a:pt x="141" y="62"/>
                      <a:pt x="141" y="62"/>
                      <a:pt x="141" y="62"/>
                    </a:cubicBezTo>
                    <a:cubicBezTo>
                      <a:pt x="141" y="63"/>
                      <a:pt x="141" y="63"/>
                      <a:pt x="141" y="63"/>
                    </a:cubicBezTo>
                    <a:cubicBezTo>
                      <a:pt x="141" y="63"/>
                      <a:pt x="141" y="63"/>
                      <a:pt x="141" y="63"/>
                    </a:cubicBezTo>
                    <a:cubicBezTo>
                      <a:pt x="141" y="63"/>
                      <a:pt x="141" y="63"/>
                      <a:pt x="141" y="63"/>
                    </a:cubicBezTo>
                    <a:cubicBezTo>
                      <a:pt x="141" y="64"/>
                      <a:pt x="141" y="64"/>
                      <a:pt x="141" y="64"/>
                    </a:cubicBezTo>
                    <a:cubicBezTo>
                      <a:pt x="141" y="64"/>
                      <a:pt x="141" y="64"/>
                      <a:pt x="141" y="64"/>
                    </a:cubicBezTo>
                    <a:cubicBezTo>
                      <a:pt x="141" y="64"/>
                      <a:pt x="141" y="64"/>
                      <a:pt x="141" y="65"/>
                    </a:cubicBezTo>
                    <a:cubicBezTo>
                      <a:pt x="141" y="65"/>
                      <a:pt x="141" y="65"/>
                      <a:pt x="141" y="65"/>
                    </a:cubicBezTo>
                    <a:cubicBezTo>
                      <a:pt x="141" y="65"/>
                      <a:pt x="141" y="65"/>
                      <a:pt x="141" y="65"/>
                    </a:cubicBezTo>
                    <a:cubicBezTo>
                      <a:pt x="141" y="65"/>
                      <a:pt x="141" y="65"/>
                      <a:pt x="141" y="65"/>
                    </a:cubicBezTo>
                    <a:cubicBezTo>
                      <a:pt x="141" y="65"/>
                      <a:pt x="141" y="65"/>
                      <a:pt x="141" y="64"/>
                    </a:cubicBezTo>
                    <a:cubicBezTo>
                      <a:pt x="141"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3" y="64"/>
                      <a:pt x="143" y="64"/>
                      <a:pt x="143" y="63"/>
                    </a:cubicBezTo>
                    <a:cubicBezTo>
                      <a:pt x="142" y="63"/>
                      <a:pt x="142" y="63"/>
                      <a:pt x="142" y="63"/>
                    </a:cubicBezTo>
                    <a:cubicBezTo>
                      <a:pt x="142" y="63"/>
                      <a:pt x="142" y="63"/>
                      <a:pt x="142" y="63"/>
                    </a:cubicBezTo>
                    <a:cubicBezTo>
                      <a:pt x="142" y="63"/>
                      <a:pt x="142" y="63"/>
                      <a:pt x="142" y="63"/>
                    </a:cubicBezTo>
                    <a:cubicBezTo>
                      <a:pt x="142" y="63"/>
                      <a:pt x="142" y="63"/>
                      <a:pt x="142" y="63"/>
                    </a:cubicBezTo>
                    <a:close/>
                    <a:moveTo>
                      <a:pt x="57" y="31"/>
                    </a:moveTo>
                    <a:cubicBezTo>
                      <a:pt x="57" y="31"/>
                      <a:pt x="57" y="31"/>
                      <a:pt x="57" y="31"/>
                    </a:cubicBezTo>
                    <a:cubicBezTo>
                      <a:pt x="57" y="31"/>
                      <a:pt x="57" y="31"/>
                      <a:pt x="57" y="31"/>
                    </a:cubicBezTo>
                    <a:cubicBezTo>
                      <a:pt x="57" y="31"/>
                      <a:pt x="57" y="31"/>
                      <a:pt x="57" y="31"/>
                    </a:cubicBezTo>
                    <a:cubicBezTo>
                      <a:pt x="57" y="31"/>
                      <a:pt x="57" y="31"/>
                      <a:pt x="57" y="31"/>
                    </a:cubicBezTo>
                    <a:cubicBezTo>
                      <a:pt x="57" y="31"/>
                      <a:pt x="57" y="31"/>
                      <a:pt x="57" y="31"/>
                    </a:cubicBezTo>
                    <a:close/>
                    <a:moveTo>
                      <a:pt x="58" y="32"/>
                    </a:moveTo>
                    <a:cubicBezTo>
                      <a:pt x="58" y="32"/>
                      <a:pt x="58" y="32"/>
                      <a:pt x="58" y="32"/>
                    </a:cubicBezTo>
                    <a:cubicBezTo>
                      <a:pt x="58" y="32"/>
                      <a:pt x="58" y="32"/>
                      <a:pt x="58" y="33"/>
                    </a:cubicBezTo>
                    <a:cubicBezTo>
                      <a:pt x="58" y="33"/>
                      <a:pt x="58" y="33"/>
                      <a:pt x="58" y="33"/>
                    </a:cubicBezTo>
                    <a:cubicBezTo>
                      <a:pt x="58" y="32"/>
                      <a:pt x="58" y="32"/>
                      <a:pt x="58" y="32"/>
                    </a:cubicBezTo>
                    <a:cubicBezTo>
                      <a:pt x="58" y="32"/>
                      <a:pt x="58" y="32"/>
                      <a:pt x="58" y="32"/>
                    </a:cubicBezTo>
                    <a:cubicBezTo>
                      <a:pt x="58" y="32"/>
                      <a:pt x="58" y="32"/>
                      <a:pt x="58" y="32"/>
                    </a:cubicBezTo>
                    <a:cubicBezTo>
                      <a:pt x="57" y="32"/>
                      <a:pt x="57" y="32"/>
                      <a:pt x="57" y="32"/>
                    </a:cubicBezTo>
                    <a:cubicBezTo>
                      <a:pt x="57" y="32"/>
                      <a:pt x="57" y="32"/>
                      <a:pt x="57" y="32"/>
                    </a:cubicBezTo>
                    <a:cubicBezTo>
                      <a:pt x="57" y="32"/>
                      <a:pt x="58" y="32"/>
                      <a:pt x="58" y="32"/>
                    </a:cubicBezTo>
                    <a:close/>
                    <a:moveTo>
                      <a:pt x="57" y="32"/>
                    </a:moveTo>
                    <a:cubicBezTo>
                      <a:pt x="57" y="32"/>
                      <a:pt x="57" y="33"/>
                      <a:pt x="57" y="33"/>
                    </a:cubicBezTo>
                    <a:cubicBezTo>
                      <a:pt x="57" y="33"/>
                      <a:pt x="57" y="33"/>
                      <a:pt x="58" y="33"/>
                    </a:cubicBezTo>
                    <a:cubicBezTo>
                      <a:pt x="58" y="33"/>
                      <a:pt x="58" y="32"/>
                      <a:pt x="58" y="32"/>
                    </a:cubicBezTo>
                    <a:cubicBezTo>
                      <a:pt x="58" y="32"/>
                      <a:pt x="58"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lose/>
                    <a:moveTo>
                      <a:pt x="58" y="31"/>
                    </a:moveTo>
                    <a:cubicBezTo>
                      <a:pt x="58" y="31"/>
                      <a:pt x="58" y="31"/>
                      <a:pt x="58" y="31"/>
                    </a:cubicBezTo>
                    <a:cubicBezTo>
                      <a:pt x="58" y="31"/>
                      <a:pt x="58" y="31"/>
                      <a:pt x="58" y="31"/>
                    </a:cubicBezTo>
                    <a:cubicBezTo>
                      <a:pt x="58" y="32"/>
                      <a:pt x="58" y="32"/>
                      <a:pt x="58" y="32"/>
                    </a:cubicBezTo>
                    <a:cubicBezTo>
                      <a:pt x="58" y="32"/>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lose/>
                    <a:moveTo>
                      <a:pt x="63" y="33"/>
                    </a:moveTo>
                    <a:cubicBezTo>
                      <a:pt x="63" y="33"/>
                      <a:pt x="63" y="33"/>
                      <a:pt x="63" y="33"/>
                    </a:cubicBezTo>
                    <a:cubicBezTo>
                      <a:pt x="63" y="33"/>
                      <a:pt x="64" y="33"/>
                      <a:pt x="64" y="33"/>
                    </a:cubicBezTo>
                    <a:cubicBezTo>
                      <a:pt x="64" y="33"/>
                      <a:pt x="63" y="33"/>
                      <a:pt x="63" y="33"/>
                    </a:cubicBezTo>
                    <a:cubicBezTo>
                      <a:pt x="63" y="33"/>
                      <a:pt x="64" y="33"/>
                      <a:pt x="64" y="33"/>
                    </a:cubicBezTo>
                    <a:cubicBezTo>
                      <a:pt x="64" y="33"/>
                      <a:pt x="64" y="33"/>
                      <a:pt x="64" y="33"/>
                    </a:cubicBezTo>
                    <a:cubicBezTo>
                      <a:pt x="64" y="32"/>
                      <a:pt x="64" y="32"/>
                      <a:pt x="63" y="32"/>
                    </a:cubicBezTo>
                    <a:cubicBezTo>
                      <a:pt x="63" y="32"/>
                      <a:pt x="63" y="32"/>
                      <a:pt x="63" y="32"/>
                    </a:cubicBezTo>
                    <a:cubicBezTo>
                      <a:pt x="63" y="32"/>
                      <a:pt x="63" y="33"/>
                      <a:pt x="63" y="33"/>
                    </a:cubicBezTo>
                    <a:cubicBezTo>
                      <a:pt x="63" y="33"/>
                      <a:pt x="63" y="33"/>
                      <a:pt x="63" y="33"/>
                    </a:cubicBezTo>
                    <a:cubicBezTo>
                      <a:pt x="63" y="33"/>
                      <a:pt x="63" y="33"/>
                      <a:pt x="63" y="33"/>
                    </a:cubicBezTo>
                    <a:close/>
                    <a:moveTo>
                      <a:pt x="58" y="31"/>
                    </a:moveTo>
                    <a:cubicBezTo>
                      <a:pt x="58" y="31"/>
                      <a:pt x="58" y="31"/>
                      <a:pt x="58" y="31"/>
                    </a:cubicBezTo>
                    <a:cubicBezTo>
                      <a:pt x="58" y="31"/>
                      <a:pt x="58" y="31"/>
                      <a:pt x="58"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60" y="31"/>
                    </a:cubicBezTo>
                    <a:cubicBezTo>
                      <a:pt x="60" y="31"/>
                      <a:pt x="60" y="31"/>
                      <a:pt x="60" y="31"/>
                    </a:cubicBezTo>
                    <a:cubicBezTo>
                      <a:pt x="60" y="30"/>
                      <a:pt x="60" y="30"/>
                      <a:pt x="60" y="30"/>
                    </a:cubicBezTo>
                    <a:cubicBezTo>
                      <a:pt x="60"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8" y="30"/>
                    </a:cubicBezTo>
                    <a:cubicBezTo>
                      <a:pt x="58" y="30"/>
                      <a:pt x="58" y="30"/>
                      <a:pt x="58" y="30"/>
                    </a:cubicBezTo>
                    <a:cubicBezTo>
                      <a:pt x="58" y="30"/>
                      <a:pt x="58" y="30"/>
                      <a:pt x="58" y="30"/>
                    </a:cubicBezTo>
                    <a:cubicBezTo>
                      <a:pt x="58" y="30"/>
                      <a:pt x="58" y="30"/>
                      <a:pt x="58" y="30"/>
                    </a:cubicBezTo>
                    <a:cubicBezTo>
                      <a:pt x="58" y="30"/>
                      <a:pt x="58" y="31"/>
                      <a:pt x="58" y="31"/>
                    </a:cubicBezTo>
                    <a:close/>
                    <a:moveTo>
                      <a:pt x="60" y="19"/>
                    </a:moveTo>
                    <a:cubicBezTo>
                      <a:pt x="60" y="19"/>
                      <a:pt x="60" y="20"/>
                      <a:pt x="60" y="20"/>
                    </a:cubicBezTo>
                    <a:cubicBezTo>
                      <a:pt x="60" y="20"/>
                      <a:pt x="60" y="19"/>
                      <a:pt x="60" y="19"/>
                    </a:cubicBezTo>
                    <a:cubicBezTo>
                      <a:pt x="60" y="19"/>
                      <a:pt x="60" y="19"/>
                      <a:pt x="60" y="19"/>
                    </a:cubicBezTo>
                    <a:cubicBezTo>
                      <a:pt x="60" y="19"/>
                      <a:pt x="60" y="19"/>
                      <a:pt x="60" y="19"/>
                    </a:cubicBezTo>
                    <a:cubicBezTo>
                      <a:pt x="60" y="18"/>
                      <a:pt x="60" y="18"/>
                      <a:pt x="60" y="19"/>
                    </a:cubicBezTo>
                    <a:cubicBezTo>
                      <a:pt x="60" y="19"/>
                      <a:pt x="60" y="19"/>
                      <a:pt x="60" y="19"/>
                    </a:cubicBezTo>
                    <a:cubicBezTo>
                      <a:pt x="60" y="19"/>
                      <a:pt x="60" y="19"/>
                      <a:pt x="60" y="19"/>
                    </a:cubicBezTo>
                    <a:cubicBezTo>
                      <a:pt x="59" y="19"/>
                      <a:pt x="59" y="19"/>
                      <a:pt x="60" y="19"/>
                    </a:cubicBezTo>
                    <a:close/>
                    <a:moveTo>
                      <a:pt x="73" y="16"/>
                    </a:moveTo>
                    <a:cubicBezTo>
                      <a:pt x="73" y="16"/>
                      <a:pt x="73" y="16"/>
                      <a:pt x="73" y="16"/>
                    </a:cubicBezTo>
                    <a:cubicBezTo>
                      <a:pt x="73" y="16"/>
                      <a:pt x="73" y="16"/>
                      <a:pt x="73" y="16"/>
                    </a:cubicBezTo>
                    <a:cubicBezTo>
                      <a:pt x="73" y="16"/>
                      <a:pt x="73" y="15"/>
                      <a:pt x="73" y="15"/>
                    </a:cubicBezTo>
                    <a:cubicBezTo>
                      <a:pt x="73" y="15"/>
                      <a:pt x="73" y="15"/>
                      <a:pt x="73" y="15"/>
                    </a:cubicBezTo>
                    <a:cubicBezTo>
                      <a:pt x="73" y="15"/>
                      <a:pt x="73" y="16"/>
                      <a:pt x="73" y="16"/>
                    </a:cubicBezTo>
                    <a:cubicBezTo>
                      <a:pt x="73" y="16"/>
                      <a:pt x="73" y="16"/>
                      <a:pt x="73" y="16"/>
                    </a:cubicBezTo>
                    <a:close/>
                    <a:moveTo>
                      <a:pt x="73" y="16"/>
                    </a:moveTo>
                    <a:cubicBezTo>
                      <a:pt x="73" y="16"/>
                      <a:pt x="73" y="16"/>
                      <a:pt x="73" y="16"/>
                    </a:cubicBezTo>
                    <a:cubicBezTo>
                      <a:pt x="73" y="17"/>
                      <a:pt x="73" y="17"/>
                      <a:pt x="74" y="17"/>
                    </a:cubicBezTo>
                    <a:cubicBezTo>
                      <a:pt x="74" y="17"/>
                      <a:pt x="74" y="17"/>
                      <a:pt x="74" y="16"/>
                    </a:cubicBezTo>
                    <a:cubicBezTo>
                      <a:pt x="74" y="16"/>
                      <a:pt x="74" y="16"/>
                      <a:pt x="73" y="16"/>
                    </a:cubicBezTo>
                    <a:close/>
                    <a:moveTo>
                      <a:pt x="70" y="19"/>
                    </a:moveTo>
                    <a:cubicBezTo>
                      <a:pt x="70" y="19"/>
                      <a:pt x="70" y="19"/>
                      <a:pt x="70" y="19"/>
                    </a:cubicBezTo>
                    <a:cubicBezTo>
                      <a:pt x="70" y="19"/>
                      <a:pt x="70" y="19"/>
                      <a:pt x="70" y="19"/>
                    </a:cubicBezTo>
                    <a:cubicBezTo>
                      <a:pt x="70" y="19"/>
                      <a:pt x="70" y="19"/>
                      <a:pt x="70" y="18"/>
                    </a:cubicBezTo>
                    <a:cubicBezTo>
                      <a:pt x="70" y="18"/>
                      <a:pt x="70" y="18"/>
                      <a:pt x="70" y="18"/>
                    </a:cubicBezTo>
                    <a:cubicBezTo>
                      <a:pt x="71" y="18"/>
                      <a:pt x="71" y="18"/>
                      <a:pt x="71" y="18"/>
                    </a:cubicBezTo>
                    <a:cubicBezTo>
                      <a:pt x="71" y="18"/>
                      <a:pt x="71" y="18"/>
                      <a:pt x="71" y="18"/>
                    </a:cubicBezTo>
                    <a:cubicBezTo>
                      <a:pt x="71" y="18"/>
                      <a:pt x="71" y="18"/>
                      <a:pt x="71" y="18"/>
                    </a:cubicBezTo>
                    <a:cubicBezTo>
                      <a:pt x="71" y="18"/>
                      <a:pt x="71" y="18"/>
                      <a:pt x="71" y="18"/>
                    </a:cubicBezTo>
                    <a:cubicBezTo>
                      <a:pt x="71" y="18"/>
                      <a:pt x="70" y="18"/>
                      <a:pt x="70" y="18"/>
                    </a:cubicBezTo>
                    <a:cubicBezTo>
                      <a:pt x="70" y="18"/>
                      <a:pt x="70" y="18"/>
                      <a:pt x="70" y="18"/>
                    </a:cubicBezTo>
                    <a:cubicBezTo>
                      <a:pt x="70" y="18"/>
                      <a:pt x="70" y="17"/>
                      <a:pt x="70" y="18"/>
                    </a:cubicBezTo>
                    <a:cubicBezTo>
                      <a:pt x="70" y="18"/>
                      <a:pt x="70" y="18"/>
                      <a:pt x="70" y="18"/>
                    </a:cubicBezTo>
                    <a:cubicBezTo>
                      <a:pt x="70" y="18"/>
                      <a:pt x="70" y="18"/>
                      <a:pt x="70" y="18"/>
                    </a:cubicBezTo>
                    <a:cubicBezTo>
                      <a:pt x="70" y="18"/>
                      <a:pt x="70" y="18"/>
                      <a:pt x="70" y="18"/>
                    </a:cubicBezTo>
                    <a:cubicBezTo>
                      <a:pt x="70" y="18"/>
                      <a:pt x="70" y="18"/>
                      <a:pt x="70" y="19"/>
                    </a:cubicBezTo>
                    <a:cubicBezTo>
                      <a:pt x="70" y="19"/>
                      <a:pt x="70" y="19"/>
                      <a:pt x="70" y="19"/>
                    </a:cubicBezTo>
                    <a:close/>
                    <a:moveTo>
                      <a:pt x="64" y="31"/>
                    </a:move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lose/>
                    <a:moveTo>
                      <a:pt x="85" y="11"/>
                    </a:moveTo>
                    <a:cubicBezTo>
                      <a:pt x="85" y="11"/>
                      <a:pt x="85" y="11"/>
                      <a:pt x="85" y="11"/>
                    </a:cubicBezTo>
                    <a:cubicBezTo>
                      <a:pt x="85" y="12"/>
                      <a:pt x="85" y="12"/>
                      <a:pt x="85" y="12"/>
                    </a:cubicBezTo>
                    <a:cubicBezTo>
                      <a:pt x="85" y="12"/>
                      <a:pt x="85" y="12"/>
                      <a:pt x="85" y="12"/>
                    </a:cubicBezTo>
                    <a:cubicBezTo>
                      <a:pt x="85" y="12"/>
                      <a:pt x="85" y="12"/>
                      <a:pt x="85" y="12"/>
                    </a:cubicBezTo>
                    <a:cubicBezTo>
                      <a:pt x="85" y="12"/>
                      <a:pt x="85" y="12"/>
                      <a:pt x="86" y="12"/>
                    </a:cubicBezTo>
                    <a:cubicBezTo>
                      <a:pt x="86" y="12"/>
                      <a:pt x="86" y="12"/>
                      <a:pt x="86" y="12"/>
                    </a:cubicBezTo>
                    <a:cubicBezTo>
                      <a:pt x="86" y="12"/>
                      <a:pt x="86" y="12"/>
                      <a:pt x="86" y="12"/>
                    </a:cubicBezTo>
                    <a:cubicBezTo>
                      <a:pt x="86" y="12"/>
                      <a:pt x="86" y="12"/>
                      <a:pt x="87" y="12"/>
                    </a:cubicBezTo>
                    <a:cubicBezTo>
                      <a:pt x="87" y="12"/>
                      <a:pt x="87" y="12"/>
                      <a:pt x="87" y="13"/>
                    </a:cubicBezTo>
                    <a:cubicBezTo>
                      <a:pt x="87" y="13"/>
                      <a:pt x="87" y="13"/>
                      <a:pt x="87" y="13"/>
                    </a:cubicBezTo>
                    <a:cubicBezTo>
                      <a:pt x="87" y="13"/>
                      <a:pt x="87" y="13"/>
                      <a:pt x="87" y="13"/>
                    </a:cubicBezTo>
                    <a:cubicBezTo>
                      <a:pt x="87" y="13"/>
                      <a:pt x="87" y="13"/>
                      <a:pt x="86" y="13"/>
                    </a:cubicBezTo>
                    <a:cubicBezTo>
                      <a:pt x="86" y="13"/>
                      <a:pt x="86" y="13"/>
                      <a:pt x="86" y="13"/>
                    </a:cubicBezTo>
                    <a:cubicBezTo>
                      <a:pt x="86" y="13"/>
                      <a:pt x="86" y="13"/>
                      <a:pt x="86" y="13"/>
                    </a:cubicBezTo>
                    <a:cubicBezTo>
                      <a:pt x="86" y="13"/>
                      <a:pt x="86" y="13"/>
                      <a:pt x="86" y="13"/>
                    </a:cubicBezTo>
                    <a:cubicBezTo>
                      <a:pt x="86" y="13"/>
                      <a:pt x="86" y="13"/>
                      <a:pt x="86" y="13"/>
                    </a:cubicBezTo>
                    <a:cubicBezTo>
                      <a:pt x="86" y="13"/>
                      <a:pt x="86" y="14"/>
                      <a:pt x="86" y="14"/>
                    </a:cubicBezTo>
                    <a:cubicBezTo>
                      <a:pt x="87" y="13"/>
                      <a:pt x="87" y="13"/>
                      <a:pt x="87" y="13"/>
                    </a:cubicBezTo>
                    <a:cubicBezTo>
                      <a:pt x="87" y="13"/>
                      <a:pt x="87" y="13"/>
                      <a:pt x="87" y="13"/>
                    </a:cubicBezTo>
                    <a:cubicBezTo>
                      <a:pt x="87" y="13"/>
                      <a:pt x="87" y="13"/>
                      <a:pt x="87" y="13"/>
                    </a:cubicBezTo>
                    <a:cubicBezTo>
                      <a:pt x="87" y="13"/>
                      <a:pt x="88" y="13"/>
                      <a:pt x="88" y="13"/>
                    </a:cubicBezTo>
                    <a:cubicBezTo>
                      <a:pt x="88" y="13"/>
                      <a:pt x="88" y="13"/>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1"/>
                      <a:pt x="88" y="11"/>
                    </a:cubicBezTo>
                    <a:cubicBezTo>
                      <a:pt x="88" y="11"/>
                      <a:pt x="88" y="11"/>
                      <a:pt x="88" y="11"/>
                    </a:cubicBezTo>
                    <a:cubicBezTo>
                      <a:pt x="87" y="11"/>
                      <a:pt x="87" y="11"/>
                      <a:pt x="87" y="11"/>
                    </a:cubicBezTo>
                    <a:cubicBezTo>
                      <a:pt x="87" y="11"/>
                      <a:pt x="87" y="11"/>
                      <a:pt x="87" y="11"/>
                    </a:cubicBezTo>
                    <a:cubicBezTo>
                      <a:pt x="87" y="10"/>
                      <a:pt x="87" y="10"/>
                      <a:pt x="87" y="10"/>
                    </a:cubicBezTo>
                    <a:cubicBezTo>
                      <a:pt x="87" y="10"/>
                      <a:pt x="87" y="10"/>
                      <a:pt x="87" y="10"/>
                    </a:cubicBezTo>
                    <a:cubicBezTo>
                      <a:pt x="87" y="10"/>
                      <a:pt x="87" y="10"/>
                      <a:pt x="87" y="10"/>
                    </a:cubicBezTo>
                    <a:cubicBezTo>
                      <a:pt x="87" y="10"/>
                      <a:pt x="87" y="10"/>
                      <a:pt x="87" y="10"/>
                    </a:cubicBezTo>
                    <a:cubicBezTo>
                      <a:pt x="86" y="10"/>
                      <a:pt x="86" y="10"/>
                      <a:pt x="86" y="10"/>
                    </a:cubicBezTo>
                    <a:cubicBezTo>
                      <a:pt x="86" y="10"/>
                      <a:pt x="86" y="10"/>
                      <a:pt x="86" y="10"/>
                    </a:cubicBezTo>
                    <a:cubicBezTo>
                      <a:pt x="86" y="10"/>
                      <a:pt x="86" y="10"/>
                      <a:pt x="86" y="11"/>
                    </a:cubicBezTo>
                    <a:cubicBezTo>
                      <a:pt x="86" y="11"/>
                      <a:pt x="86" y="11"/>
                      <a:pt x="85" y="11"/>
                    </a:cubicBezTo>
                    <a:cubicBezTo>
                      <a:pt x="85" y="11"/>
                      <a:pt x="85" y="11"/>
                      <a:pt x="85" y="11"/>
                    </a:cubicBezTo>
                    <a:cubicBezTo>
                      <a:pt x="85" y="11"/>
                      <a:pt x="85" y="11"/>
                      <a:pt x="85" y="11"/>
                    </a:cubicBezTo>
                    <a:cubicBezTo>
                      <a:pt x="85" y="11"/>
                      <a:pt x="85" y="11"/>
                      <a:pt x="85" y="11"/>
                    </a:cubicBezTo>
                    <a:cubicBezTo>
                      <a:pt x="85" y="11"/>
                      <a:pt x="85" y="11"/>
                      <a:pt x="85" y="11"/>
                    </a:cubicBezTo>
                    <a:close/>
                    <a:moveTo>
                      <a:pt x="74" y="16"/>
                    </a:moveTo>
                    <a:cubicBezTo>
                      <a:pt x="74" y="16"/>
                      <a:pt x="74" y="16"/>
                      <a:pt x="74" y="16"/>
                    </a:cubicBezTo>
                    <a:cubicBezTo>
                      <a:pt x="74" y="16"/>
                      <a:pt x="74" y="16"/>
                      <a:pt x="74" y="16"/>
                    </a:cubicBezTo>
                    <a:cubicBezTo>
                      <a:pt x="74" y="16"/>
                      <a:pt x="74" y="16"/>
                      <a:pt x="74" y="16"/>
                    </a:cubicBezTo>
                    <a:cubicBezTo>
                      <a:pt x="74" y="16"/>
                      <a:pt x="74" y="15"/>
                      <a:pt x="74" y="15"/>
                    </a:cubicBezTo>
                    <a:cubicBezTo>
                      <a:pt x="74" y="15"/>
                      <a:pt x="74" y="15"/>
                      <a:pt x="74" y="15"/>
                    </a:cubicBezTo>
                    <a:cubicBezTo>
                      <a:pt x="74" y="15"/>
                      <a:pt x="74" y="15"/>
                      <a:pt x="74" y="15"/>
                    </a:cubicBezTo>
                    <a:cubicBezTo>
                      <a:pt x="74" y="15"/>
                      <a:pt x="74" y="15"/>
                      <a:pt x="74" y="15"/>
                    </a:cubicBezTo>
                    <a:cubicBezTo>
                      <a:pt x="74" y="16"/>
                      <a:pt x="74" y="16"/>
                      <a:pt x="74" y="16"/>
                    </a:cubicBezTo>
                    <a:cubicBezTo>
                      <a:pt x="73" y="16"/>
                      <a:pt x="74" y="16"/>
                      <a:pt x="74" y="16"/>
                    </a:cubicBezTo>
                    <a:close/>
                    <a:moveTo>
                      <a:pt x="91" y="19"/>
                    </a:moveTo>
                    <a:cubicBezTo>
                      <a:pt x="91" y="19"/>
                      <a:pt x="91" y="19"/>
                      <a:pt x="91" y="19"/>
                    </a:cubicBezTo>
                    <a:cubicBezTo>
                      <a:pt x="91" y="18"/>
                      <a:pt x="91" y="18"/>
                      <a:pt x="91" y="18"/>
                    </a:cubicBezTo>
                    <a:cubicBezTo>
                      <a:pt x="91" y="18"/>
                      <a:pt x="91" y="18"/>
                      <a:pt x="91" y="18"/>
                    </a:cubicBezTo>
                    <a:cubicBezTo>
                      <a:pt x="91" y="18"/>
                      <a:pt x="91" y="17"/>
                      <a:pt x="91" y="17"/>
                    </a:cubicBezTo>
                    <a:cubicBezTo>
                      <a:pt x="91" y="17"/>
                      <a:pt x="91" y="18"/>
                      <a:pt x="91" y="18"/>
                    </a:cubicBezTo>
                    <a:cubicBezTo>
                      <a:pt x="91" y="18"/>
                      <a:pt x="91" y="18"/>
                      <a:pt x="91" y="18"/>
                    </a:cubicBezTo>
                    <a:cubicBezTo>
                      <a:pt x="91" y="18"/>
                      <a:pt x="90" y="18"/>
                      <a:pt x="90" y="18"/>
                    </a:cubicBezTo>
                    <a:cubicBezTo>
                      <a:pt x="90" y="19"/>
                      <a:pt x="91" y="19"/>
                      <a:pt x="91" y="19"/>
                    </a:cubicBezTo>
                    <a:close/>
                    <a:moveTo>
                      <a:pt x="92" y="21"/>
                    </a:moveTo>
                    <a:cubicBezTo>
                      <a:pt x="92" y="21"/>
                      <a:pt x="92" y="21"/>
                      <a:pt x="92" y="21"/>
                    </a:cubicBezTo>
                    <a:cubicBezTo>
                      <a:pt x="92" y="21"/>
                      <a:pt x="92" y="21"/>
                      <a:pt x="92" y="21"/>
                    </a:cubicBezTo>
                    <a:cubicBezTo>
                      <a:pt x="92" y="21"/>
                      <a:pt x="92" y="21"/>
                      <a:pt x="92" y="21"/>
                    </a:cubicBezTo>
                    <a:cubicBezTo>
                      <a:pt x="93" y="21"/>
                      <a:pt x="93" y="21"/>
                      <a:pt x="92" y="21"/>
                    </a:cubicBezTo>
                    <a:cubicBezTo>
                      <a:pt x="92" y="21"/>
                      <a:pt x="92" y="21"/>
                      <a:pt x="92" y="21"/>
                    </a:cubicBezTo>
                    <a:cubicBezTo>
                      <a:pt x="92" y="21"/>
                      <a:pt x="92" y="21"/>
                      <a:pt x="92" y="21"/>
                    </a:cubicBezTo>
                    <a:cubicBezTo>
                      <a:pt x="92" y="21"/>
                      <a:pt x="92" y="21"/>
                      <a:pt x="92" y="21"/>
                    </a:cubicBezTo>
                    <a:cubicBezTo>
                      <a:pt x="92" y="21"/>
                      <a:pt x="92" y="21"/>
                      <a:pt x="92" y="21"/>
                    </a:cubicBezTo>
                    <a:close/>
                    <a:moveTo>
                      <a:pt x="64" y="39"/>
                    </a:moveTo>
                    <a:cubicBezTo>
                      <a:pt x="63" y="39"/>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9"/>
                      <a:pt x="62" y="39"/>
                    </a:cubicBezTo>
                    <a:cubicBezTo>
                      <a:pt x="62" y="39"/>
                      <a:pt x="62" y="39"/>
                      <a:pt x="62" y="39"/>
                    </a:cubicBezTo>
                    <a:cubicBezTo>
                      <a:pt x="62" y="39"/>
                      <a:pt x="62" y="39"/>
                      <a:pt x="62" y="39"/>
                    </a:cubicBezTo>
                    <a:cubicBezTo>
                      <a:pt x="62" y="39"/>
                      <a:pt x="61" y="39"/>
                      <a:pt x="61" y="39"/>
                    </a:cubicBezTo>
                    <a:cubicBezTo>
                      <a:pt x="61" y="39"/>
                      <a:pt x="61" y="39"/>
                      <a:pt x="62" y="39"/>
                    </a:cubicBezTo>
                    <a:cubicBezTo>
                      <a:pt x="62" y="39"/>
                      <a:pt x="62" y="39"/>
                      <a:pt x="62" y="39"/>
                    </a:cubicBezTo>
                    <a:cubicBezTo>
                      <a:pt x="62" y="39"/>
                      <a:pt x="62" y="39"/>
                      <a:pt x="62" y="39"/>
                    </a:cubicBezTo>
                    <a:cubicBezTo>
                      <a:pt x="62" y="39"/>
                      <a:pt x="62" y="39"/>
                      <a:pt x="62" y="39"/>
                    </a:cubicBezTo>
                    <a:cubicBezTo>
                      <a:pt x="62" y="39"/>
                      <a:pt x="62" y="39"/>
                      <a:pt x="62" y="39"/>
                    </a:cubicBezTo>
                    <a:cubicBezTo>
                      <a:pt x="62" y="40"/>
                      <a:pt x="62" y="39"/>
                      <a:pt x="62" y="39"/>
                    </a:cubicBezTo>
                    <a:cubicBezTo>
                      <a:pt x="62" y="39"/>
                      <a:pt x="62" y="39"/>
                      <a:pt x="62" y="39"/>
                    </a:cubicBezTo>
                    <a:cubicBezTo>
                      <a:pt x="62"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4" y="39"/>
                    </a:cubicBezTo>
                    <a:cubicBezTo>
                      <a:pt x="64" y="39"/>
                      <a:pt x="64" y="39"/>
                      <a:pt x="64" y="39"/>
                    </a:cubicBezTo>
                    <a:cubicBezTo>
                      <a:pt x="64" y="39"/>
                      <a:pt x="64" y="39"/>
                      <a:pt x="64" y="39"/>
                    </a:cubicBezTo>
                    <a:cubicBezTo>
                      <a:pt x="64" y="39"/>
                      <a:pt x="64" y="39"/>
                      <a:pt x="64" y="40"/>
                    </a:cubicBezTo>
                    <a:cubicBezTo>
                      <a:pt x="64" y="40"/>
                      <a:pt x="64" y="40"/>
                      <a:pt x="64" y="40"/>
                    </a:cubicBezTo>
                    <a:cubicBezTo>
                      <a:pt x="64" y="40"/>
                      <a:pt x="64" y="40"/>
                      <a:pt x="64" y="40"/>
                    </a:cubicBezTo>
                    <a:cubicBezTo>
                      <a:pt x="64" y="40"/>
                      <a:pt x="64" y="40"/>
                      <a:pt x="64" y="40"/>
                    </a:cubicBezTo>
                    <a:cubicBezTo>
                      <a:pt x="64" y="40"/>
                      <a:pt x="64" y="40"/>
                      <a:pt x="64" y="40"/>
                    </a:cubicBezTo>
                    <a:cubicBezTo>
                      <a:pt x="64"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39"/>
                      <a:pt x="65" y="39"/>
                      <a:pt x="65" y="39"/>
                    </a:cubicBezTo>
                    <a:cubicBezTo>
                      <a:pt x="65" y="39"/>
                      <a:pt x="65" y="39"/>
                      <a:pt x="65" y="39"/>
                    </a:cubicBezTo>
                    <a:cubicBezTo>
                      <a:pt x="65"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lose/>
                    <a:moveTo>
                      <a:pt x="59" y="32"/>
                    </a:moveTo>
                    <a:cubicBezTo>
                      <a:pt x="59" y="32"/>
                      <a:pt x="59" y="32"/>
                      <a:pt x="59" y="32"/>
                    </a:cubicBezTo>
                    <a:cubicBezTo>
                      <a:pt x="60" y="32"/>
                      <a:pt x="60" y="32"/>
                      <a:pt x="60" y="32"/>
                    </a:cubicBezTo>
                    <a:cubicBezTo>
                      <a:pt x="60" y="32"/>
                      <a:pt x="60" y="32"/>
                      <a:pt x="60" y="32"/>
                    </a:cubicBezTo>
                    <a:cubicBezTo>
                      <a:pt x="60" y="32"/>
                      <a:pt x="60" y="32"/>
                      <a:pt x="60" y="33"/>
                    </a:cubicBezTo>
                    <a:cubicBezTo>
                      <a:pt x="60" y="33"/>
                      <a:pt x="60" y="33"/>
                      <a:pt x="60" y="33"/>
                    </a:cubicBezTo>
                    <a:cubicBezTo>
                      <a:pt x="60" y="33"/>
                      <a:pt x="60" y="33"/>
                      <a:pt x="60" y="33"/>
                    </a:cubicBezTo>
                    <a:cubicBezTo>
                      <a:pt x="60" y="33"/>
                      <a:pt x="60" y="34"/>
                      <a:pt x="60" y="33"/>
                    </a:cubicBezTo>
                    <a:cubicBezTo>
                      <a:pt x="61" y="33"/>
                      <a:pt x="60" y="33"/>
                      <a:pt x="60" y="33"/>
                    </a:cubicBezTo>
                    <a:cubicBezTo>
                      <a:pt x="60" y="33"/>
                      <a:pt x="60" y="33"/>
                      <a:pt x="60" y="33"/>
                    </a:cubicBezTo>
                    <a:cubicBezTo>
                      <a:pt x="60" y="33"/>
                      <a:pt x="60" y="33"/>
                      <a:pt x="60" y="33"/>
                    </a:cubicBezTo>
                    <a:cubicBezTo>
                      <a:pt x="60" y="33"/>
                      <a:pt x="60" y="33"/>
                      <a:pt x="61" y="33"/>
                    </a:cubicBezTo>
                    <a:cubicBezTo>
                      <a:pt x="61" y="33"/>
                      <a:pt x="61" y="33"/>
                      <a:pt x="61" y="33"/>
                    </a:cubicBezTo>
                    <a:cubicBezTo>
                      <a:pt x="61" y="33"/>
                      <a:pt x="60" y="33"/>
                      <a:pt x="60" y="33"/>
                    </a:cubicBezTo>
                    <a:cubicBezTo>
                      <a:pt x="60" y="33"/>
                      <a:pt x="60" y="33"/>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1"/>
                      <a:pt x="60" y="31"/>
                    </a:cubicBezTo>
                    <a:cubicBezTo>
                      <a:pt x="60" y="31"/>
                      <a:pt x="60" y="32"/>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2"/>
                      <a:pt x="59" y="32"/>
                      <a:pt x="59" y="32"/>
                    </a:cubicBezTo>
                    <a:cubicBezTo>
                      <a:pt x="59" y="32"/>
                      <a:pt x="59" y="32"/>
                      <a:pt x="59" y="32"/>
                    </a:cubicBezTo>
                    <a:cubicBezTo>
                      <a:pt x="59" y="32"/>
                      <a:pt x="59" y="32"/>
                      <a:pt x="59" y="32"/>
                    </a:cubicBezTo>
                    <a:close/>
                    <a:moveTo>
                      <a:pt x="63" y="33"/>
                    </a:moveTo>
                    <a:cubicBezTo>
                      <a:pt x="63" y="33"/>
                      <a:pt x="63" y="33"/>
                      <a:pt x="63" y="33"/>
                    </a:cubicBezTo>
                    <a:cubicBezTo>
                      <a:pt x="63" y="33"/>
                      <a:pt x="63" y="33"/>
                      <a:pt x="63" y="33"/>
                    </a:cubicBezTo>
                    <a:cubicBezTo>
                      <a:pt x="63" y="33"/>
                      <a:pt x="63" y="33"/>
                      <a:pt x="63" y="33"/>
                    </a:cubicBezTo>
                    <a:cubicBezTo>
                      <a:pt x="63" y="33"/>
                      <a:pt x="63" y="33"/>
                      <a:pt x="63" y="33"/>
                    </a:cubicBezTo>
                    <a:cubicBezTo>
                      <a:pt x="63" y="33"/>
                      <a:pt x="63" y="33"/>
                      <a:pt x="63" y="33"/>
                    </a:cubicBezTo>
                    <a:close/>
                    <a:moveTo>
                      <a:pt x="62" y="37"/>
                    </a:moveTo>
                    <a:cubicBezTo>
                      <a:pt x="62" y="37"/>
                      <a:pt x="62"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2" y="37"/>
                      <a:pt x="62" y="37"/>
                      <a:pt x="62" y="37"/>
                    </a:cubicBezTo>
                    <a:cubicBezTo>
                      <a:pt x="62" y="37"/>
                      <a:pt x="62" y="37"/>
                      <a:pt x="62" y="37"/>
                    </a:cubicBezTo>
                    <a:cubicBezTo>
                      <a:pt x="62" y="37"/>
                      <a:pt x="62" y="38"/>
                      <a:pt x="62" y="38"/>
                    </a:cubicBezTo>
                    <a:cubicBezTo>
                      <a:pt x="62" y="37"/>
                      <a:pt x="62" y="37"/>
                      <a:pt x="62" y="37"/>
                    </a:cubicBezTo>
                    <a:cubicBezTo>
                      <a:pt x="62" y="37"/>
                      <a:pt x="62" y="37"/>
                      <a:pt x="62" y="37"/>
                    </a:cubicBezTo>
                    <a:cubicBezTo>
                      <a:pt x="62" y="37"/>
                      <a:pt x="62" y="37"/>
                      <a:pt x="62" y="37"/>
                    </a:cubicBezTo>
                    <a:cubicBezTo>
                      <a:pt x="62" y="37"/>
                      <a:pt x="62" y="37"/>
                      <a:pt x="62" y="37"/>
                    </a:cubicBezTo>
                    <a:close/>
                    <a:moveTo>
                      <a:pt x="63" y="32"/>
                    </a:moveTo>
                    <a:cubicBezTo>
                      <a:pt x="63" y="32"/>
                      <a:pt x="62" y="33"/>
                      <a:pt x="62" y="33"/>
                    </a:cubicBezTo>
                    <a:cubicBezTo>
                      <a:pt x="62" y="33"/>
                      <a:pt x="63" y="33"/>
                      <a:pt x="63" y="33"/>
                    </a:cubicBezTo>
                    <a:cubicBezTo>
                      <a:pt x="63" y="33"/>
                      <a:pt x="63" y="33"/>
                      <a:pt x="63" y="33"/>
                    </a:cubicBezTo>
                    <a:cubicBezTo>
                      <a:pt x="63" y="32"/>
                      <a:pt x="63" y="32"/>
                      <a:pt x="63" y="32"/>
                    </a:cubicBezTo>
                    <a:close/>
                    <a:moveTo>
                      <a:pt x="61" y="40"/>
                    </a:moveTo>
                    <a:cubicBezTo>
                      <a:pt x="61" y="40"/>
                      <a:pt x="61" y="40"/>
                      <a:pt x="61" y="40"/>
                    </a:cubicBezTo>
                    <a:cubicBezTo>
                      <a:pt x="61" y="40"/>
                      <a:pt x="61" y="40"/>
                      <a:pt x="62" y="40"/>
                    </a:cubicBezTo>
                    <a:cubicBezTo>
                      <a:pt x="62" y="40"/>
                      <a:pt x="62" y="40"/>
                      <a:pt x="62" y="40"/>
                    </a:cubicBezTo>
                    <a:cubicBezTo>
                      <a:pt x="62" y="40"/>
                      <a:pt x="62" y="40"/>
                      <a:pt x="62" y="40"/>
                    </a:cubicBezTo>
                    <a:cubicBezTo>
                      <a:pt x="62" y="40"/>
                      <a:pt x="61" y="40"/>
                      <a:pt x="61" y="40"/>
                    </a:cubicBezTo>
                    <a:cubicBezTo>
                      <a:pt x="61" y="40"/>
                      <a:pt x="61" y="40"/>
                      <a:pt x="61" y="40"/>
                    </a:cubicBezTo>
                    <a:close/>
                    <a:moveTo>
                      <a:pt x="62" y="36"/>
                    </a:moveTo>
                    <a:cubicBezTo>
                      <a:pt x="62" y="36"/>
                      <a:pt x="62" y="36"/>
                      <a:pt x="62" y="36"/>
                    </a:cubicBezTo>
                    <a:cubicBezTo>
                      <a:pt x="62" y="36"/>
                      <a:pt x="62" y="36"/>
                      <a:pt x="62" y="37"/>
                    </a:cubicBezTo>
                    <a:cubicBezTo>
                      <a:pt x="62" y="37"/>
                      <a:pt x="62" y="37"/>
                      <a:pt x="62" y="37"/>
                    </a:cubicBezTo>
                    <a:cubicBezTo>
                      <a:pt x="62" y="37"/>
                      <a:pt x="63" y="37"/>
                      <a:pt x="63" y="37"/>
                    </a:cubicBezTo>
                    <a:cubicBezTo>
                      <a:pt x="63" y="37"/>
                      <a:pt x="63" y="37"/>
                      <a:pt x="63" y="37"/>
                    </a:cubicBezTo>
                    <a:cubicBezTo>
                      <a:pt x="63" y="37"/>
                      <a:pt x="63" y="37"/>
                      <a:pt x="63" y="37"/>
                    </a:cubicBezTo>
                    <a:cubicBezTo>
                      <a:pt x="63" y="37"/>
                      <a:pt x="63" y="37"/>
                      <a:pt x="63" y="38"/>
                    </a:cubicBezTo>
                    <a:cubicBezTo>
                      <a:pt x="63" y="38"/>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2" y="36"/>
                      <a:pt x="62" y="36"/>
                    </a:cubicBezTo>
                    <a:cubicBezTo>
                      <a:pt x="62" y="36"/>
                      <a:pt x="62" y="36"/>
                      <a:pt x="62" y="36"/>
                    </a:cubicBezTo>
                    <a:cubicBezTo>
                      <a:pt x="62" y="36"/>
                      <a:pt x="62" y="36"/>
                      <a:pt x="62" y="36"/>
                    </a:cubicBezTo>
                    <a:close/>
                    <a:moveTo>
                      <a:pt x="61" y="41"/>
                    </a:moveTo>
                    <a:cubicBezTo>
                      <a:pt x="61" y="41"/>
                      <a:pt x="61" y="42"/>
                      <a:pt x="61" y="42"/>
                    </a:cubicBezTo>
                    <a:cubicBezTo>
                      <a:pt x="61" y="42"/>
                      <a:pt x="61" y="42"/>
                      <a:pt x="61" y="42"/>
                    </a:cubicBezTo>
                    <a:cubicBezTo>
                      <a:pt x="61" y="42"/>
                      <a:pt x="61" y="42"/>
                      <a:pt x="61" y="42"/>
                    </a:cubicBezTo>
                    <a:cubicBezTo>
                      <a:pt x="61" y="42"/>
                      <a:pt x="61" y="42"/>
                      <a:pt x="61" y="42"/>
                    </a:cubicBezTo>
                    <a:cubicBezTo>
                      <a:pt x="61" y="42"/>
                      <a:pt x="61" y="42"/>
                      <a:pt x="61" y="42"/>
                    </a:cubicBezTo>
                    <a:cubicBezTo>
                      <a:pt x="61" y="42"/>
                      <a:pt x="62" y="42"/>
                      <a:pt x="62" y="42"/>
                    </a:cubicBezTo>
                    <a:cubicBezTo>
                      <a:pt x="62" y="42"/>
                      <a:pt x="62" y="42"/>
                      <a:pt x="62" y="42"/>
                    </a:cubicBezTo>
                    <a:cubicBezTo>
                      <a:pt x="62" y="42"/>
                      <a:pt x="62" y="42"/>
                      <a:pt x="62" y="41"/>
                    </a:cubicBezTo>
                    <a:cubicBezTo>
                      <a:pt x="62" y="41"/>
                      <a:pt x="62" y="41"/>
                      <a:pt x="62" y="41"/>
                    </a:cubicBezTo>
                    <a:cubicBezTo>
                      <a:pt x="63" y="41"/>
                      <a:pt x="63" y="41"/>
                      <a:pt x="63" y="41"/>
                    </a:cubicBezTo>
                    <a:cubicBezTo>
                      <a:pt x="63" y="41"/>
                      <a:pt x="62" y="41"/>
                      <a:pt x="62" y="41"/>
                    </a:cubicBezTo>
                    <a:cubicBezTo>
                      <a:pt x="62" y="40"/>
                      <a:pt x="62" y="40"/>
                      <a:pt x="62" y="40"/>
                    </a:cubicBezTo>
                    <a:cubicBezTo>
                      <a:pt x="62" y="40"/>
                      <a:pt x="62" y="40"/>
                      <a:pt x="62" y="40"/>
                    </a:cubicBezTo>
                    <a:cubicBezTo>
                      <a:pt x="62" y="40"/>
                      <a:pt x="62" y="40"/>
                      <a:pt x="62" y="40"/>
                    </a:cubicBezTo>
                    <a:cubicBezTo>
                      <a:pt x="62" y="40"/>
                      <a:pt x="62" y="40"/>
                      <a:pt x="62" y="40"/>
                    </a:cubicBezTo>
                    <a:cubicBezTo>
                      <a:pt x="61" y="40"/>
                      <a:pt x="61" y="40"/>
                      <a:pt x="61" y="40"/>
                    </a:cubicBezTo>
                    <a:cubicBezTo>
                      <a:pt x="61" y="40"/>
                      <a:pt x="61" y="40"/>
                      <a:pt x="61" y="40"/>
                    </a:cubicBezTo>
                    <a:cubicBezTo>
                      <a:pt x="61" y="40"/>
                      <a:pt x="61" y="40"/>
                      <a:pt x="61" y="40"/>
                    </a:cubicBezTo>
                    <a:cubicBezTo>
                      <a:pt x="61" y="40"/>
                      <a:pt x="61" y="40"/>
                      <a:pt x="61" y="40"/>
                    </a:cubicBezTo>
                    <a:cubicBezTo>
                      <a:pt x="61" y="41"/>
                      <a:pt x="61" y="41"/>
                      <a:pt x="61" y="41"/>
                    </a:cubicBezTo>
                    <a:cubicBezTo>
                      <a:pt x="61" y="41"/>
                      <a:pt x="61" y="40"/>
                      <a:pt x="61" y="40"/>
                    </a:cubicBezTo>
                    <a:cubicBezTo>
                      <a:pt x="61" y="40"/>
                      <a:pt x="61" y="40"/>
                      <a:pt x="61" y="40"/>
                    </a:cubicBezTo>
                    <a:cubicBezTo>
                      <a:pt x="61" y="40"/>
                      <a:pt x="61" y="40"/>
                      <a:pt x="61" y="40"/>
                    </a:cubicBezTo>
                    <a:cubicBezTo>
                      <a:pt x="61" y="40"/>
                      <a:pt x="61" y="40"/>
                      <a:pt x="61" y="40"/>
                    </a:cubicBezTo>
                    <a:cubicBezTo>
                      <a:pt x="61" y="40"/>
                      <a:pt x="61" y="40"/>
                      <a:pt x="61" y="40"/>
                    </a:cubicBezTo>
                    <a:cubicBezTo>
                      <a:pt x="61" y="40"/>
                      <a:pt x="60" y="40"/>
                      <a:pt x="60" y="40"/>
                    </a:cubicBezTo>
                    <a:cubicBezTo>
                      <a:pt x="60" y="40"/>
                      <a:pt x="60" y="41"/>
                      <a:pt x="60" y="41"/>
                    </a:cubicBezTo>
                    <a:cubicBezTo>
                      <a:pt x="60" y="41"/>
                      <a:pt x="60" y="41"/>
                      <a:pt x="60" y="41"/>
                    </a:cubicBezTo>
                    <a:cubicBezTo>
                      <a:pt x="60" y="41"/>
                      <a:pt x="60" y="41"/>
                      <a:pt x="60" y="41"/>
                    </a:cubicBezTo>
                    <a:cubicBezTo>
                      <a:pt x="61" y="41"/>
                      <a:pt x="61" y="41"/>
                      <a:pt x="61" y="41"/>
                    </a:cubicBezTo>
                    <a:close/>
                    <a:moveTo>
                      <a:pt x="61" y="35"/>
                    </a:moveTo>
                    <a:cubicBezTo>
                      <a:pt x="61" y="35"/>
                      <a:pt x="61" y="35"/>
                      <a:pt x="61" y="35"/>
                    </a:cubicBezTo>
                    <a:cubicBezTo>
                      <a:pt x="61" y="35"/>
                      <a:pt x="61" y="35"/>
                      <a:pt x="61" y="35"/>
                    </a:cubicBezTo>
                    <a:cubicBezTo>
                      <a:pt x="61" y="35"/>
                      <a:pt x="61" y="35"/>
                      <a:pt x="61" y="35"/>
                    </a:cubicBezTo>
                    <a:cubicBezTo>
                      <a:pt x="61" y="35"/>
                      <a:pt x="61" y="35"/>
                      <a:pt x="61" y="35"/>
                    </a:cubicBezTo>
                    <a:cubicBezTo>
                      <a:pt x="61" y="35"/>
                      <a:pt x="61" y="35"/>
                      <a:pt x="61" y="35"/>
                    </a:cubicBezTo>
                    <a:cubicBezTo>
                      <a:pt x="61" y="36"/>
                      <a:pt x="61" y="36"/>
                      <a:pt x="61" y="36"/>
                    </a:cubicBezTo>
                    <a:cubicBezTo>
                      <a:pt x="61" y="36"/>
                      <a:pt x="61" y="36"/>
                      <a:pt x="61" y="36"/>
                    </a:cubicBezTo>
                    <a:cubicBezTo>
                      <a:pt x="61" y="36"/>
                      <a:pt x="61" y="36"/>
                      <a:pt x="61" y="36"/>
                    </a:cubicBezTo>
                    <a:cubicBezTo>
                      <a:pt x="61" y="36"/>
                      <a:pt x="61" y="36"/>
                      <a:pt x="61" y="36"/>
                    </a:cubicBezTo>
                    <a:cubicBezTo>
                      <a:pt x="61" y="35"/>
                      <a:pt x="61" y="35"/>
                      <a:pt x="61" y="35"/>
                    </a:cubicBezTo>
                    <a:close/>
                    <a:moveTo>
                      <a:pt x="62" y="35"/>
                    </a:move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lose/>
                    <a:moveTo>
                      <a:pt x="60" y="31"/>
                    </a:moveTo>
                    <a:cubicBezTo>
                      <a:pt x="60" y="31"/>
                      <a:pt x="60" y="31"/>
                      <a:pt x="60" y="31"/>
                    </a:cubicBezTo>
                    <a:cubicBezTo>
                      <a:pt x="60" y="31"/>
                      <a:pt x="60"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1" y="31"/>
                      <a:pt x="61" y="31"/>
                    </a:cubicBezTo>
                    <a:cubicBezTo>
                      <a:pt x="61" y="31"/>
                      <a:pt x="61" y="31"/>
                      <a:pt x="61" y="31"/>
                    </a:cubicBezTo>
                    <a:cubicBezTo>
                      <a:pt x="61" y="31"/>
                      <a:pt x="61" y="31"/>
                      <a:pt x="62" y="31"/>
                    </a:cubicBezTo>
                    <a:cubicBezTo>
                      <a:pt x="62" y="31"/>
                      <a:pt x="62" y="31"/>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0"/>
                      <a:pt x="63" y="30"/>
                      <a:pt x="63" y="30"/>
                    </a:cubicBezTo>
                    <a:cubicBezTo>
                      <a:pt x="63" y="30"/>
                      <a:pt x="63" y="30"/>
                      <a:pt x="63" y="30"/>
                    </a:cubicBezTo>
                    <a:cubicBezTo>
                      <a:pt x="63"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29"/>
                      <a:pt x="62" y="29"/>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0" y="30"/>
                    </a:cubicBezTo>
                    <a:cubicBezTo>
                      <a:pt x="60" y="30"/>
                      <a:pt x="60" y="30"/>
                      <a:pt x="60" y="30"/>
                    </a:cubicBezTo>
                    <a:cubicBezTo>
                      <a:pt x="60" y="30"/>
                      <a:pt x="60" y="30"/>
                      <a:pt x="60" y="30"/>
                    </a:cubicBezTo>
                    <a:cubicBezTo>
                      <a:pt x="60" y="30"/>
                      <a:pt x="60" y="30"/>
                      <a:pt x="60" y="31"/>
                    </a:cubicBezTo>
                    <a:cubicBezTo>
                      <a:pt x="60" y="31"/>
                      <a:pt x="60" y="31"/>
                      <a:pt x="60" y="31"/>
                    </a:cubicBezTo>
                    <a:cubicBezTo>
                      <a:pt x="60" y="31"/>
                      <a:pt x="60" y="31"/>
                      <a:pt x="60" y="31"/>
                    </a:cubicBezTo>
                    <a:close/>
                    <a:moveTo>
                      <a:pt x="54" y="41"/>
                    </a:moveTo>
                    <a:cubicBezTo>
                      <a:pt x="54"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6" y="41"/>
                      <a:pt x="56" y="41"/>
                      <a:pt x="56" y="41"/>
                    </a:cubicBezTo>
                    <a:cubicBezTo>
                      <a:pt x="56" y="41"/>
                      <a:pt x="56" y="41"/>
                      <a:pt x="56" y="41"/>
                    </a:cubicBezTo>
                    <a:cubicBezTo>
                      <a:pt x="56" y="41"/>
                      <a:pt x="56" y="41"/>
                      <a:pt x="56" y="41"/>
                    </a:cubicBezTo>
                    <a:cubicBezTo>
                      <a:pt x="56" y="41"/>
                      <a:pt x="56" y="41"/>
                      <a:pt x="56" y="41"/>
                    </a:cubicBezTo>
                    <a:cubicBezTo>
                      <a:pt x="56" y="40"/>
                      <a:pt x="56" y="40"/>
                      <a:pt x="56" y="40"/>
                    </a:cubicBezTo>
                    <a:cubicBezTo>
                      <a:pt x="56" y="40"/>
                      <a:pt x="55" y="40"/>
                      <a:pt x="55" y="40"/>
                    </a:cubicBezTo>
                    <a:cubicBezTo>
                      <a:pt x="55" y="40"/>
                      <a:pt x="55" y="40"/>
                      <a:pt x="55" y="40"/>
                    </a:cubicBezTo>
                    <a:cubicBezTo>
                      <a:pt x="55" y="40"/>
                      <a:pt x="55" y="40"/>
                      <a:pt x="55" y="40"/>
                    </a:cubicBezTo>
                    <a:cubicBezTo>
                      <a:pt x="55" y="40"/>
                      <a:pt x="54" y="40"/>
                      <a:pt x="54" y="40"/>
                    </a:cubicBezTo>
                    <a:cubicBezTo>
                      <a:pt x="54" y="40"/>
                      <a:pt x="54" y="40"/>
                      <a:pt x="54" y="40"/>
                    </a:cubicBezTo>
                    <a:cubicBezTo>
                      <a:pt x="54" y="41"/>
                      <a:pt x="54" y="41"/>
                      <a:pt x="54" y="41"/>
                    </a:cubicBezTo>
                    <a:close/>
                    <a:moveTo>
                      <a:pt x="47" y="31"/>
                    </a:moveTo>
                    <a:cubicBezTo>
                      <a:pt x="47" y="31"/>
                      <a:pt x="47" y="31"/>
                      <a:pt x="47" y="31"/>
                    </a:cubicBezTo>
                    <a:cubicBezTo>
                      <a:pt x="47" y="31"/>
                      <a:pt x="48" y="31"/>
                      <a:pt x="48" y="31"/>
                    </a:cubicBezTo>
                    <a:cubicBezTo>
                      <a:pt x="48" y="32"/>
                      <a:pt x="48" y="32"/>
                      <a:pt x="48" y="32"/>
                    </a:cubicBezTo>
                    <a:cubicBezTo>
                      <a:pt x="48" y="31"/>
                      <a:pt x="48" y="31"/>
                      <a:pt x="48" y="31"/>
                    </a:cubicBezTo>
                    <a:cubicBezTo>
                      <a:pt x="48" y="31"/>
                      <a:pt x="48" y="31"/>
                      <a:pt x="48" y="31"/>
                    </a:cubicBezTo>
                    <a:cubicBezTo>
                      <a:pt x="49" y="31"/>
                      <a:pt x="48" y="31"/>
                      <a:pt x="48" y="31"/>
                    </a:cubicBezTo>
                    <a:cubicBezTo>
                      <a:pt x="48" y="31"/>
                      <a:pt x="48" y="31"/>
                      <a:pt x="48" y="30"/>
                    </a:cubicBezTo>
                    <a:cubicBezTo>
                      <a:pt x="48" y="30"/>
                      <a:pt x="48" y="30"/>
                      <a:pt x="48" y="30"/>
                    </a:cubicBezTo>
                    <a:cubicBezTo>
                      <a:pt x="48" y="30"/>
                      <a:pt x="48" y="30"/>
                      <a:pt x="48" y="30"/>
                    </a:cubicBezTo>
                    <a:cubicBezTo>
                      <a:pt x="48" y="30"/>
                      <a:pt x="48" y="30"/>
                      <a:pt x="48" y="30"/>
                    </a:cubicBezTo>
                    <a:cubicBezTo>
                      <a:pt x="48" y="29"/>
                      <a:pt x="48" y="29"/>
                      <a:pt x="48" y="29"/>
                    </a:cubicBezTo>
                    <a:cubicBezTo>
                      <a:pt x="48" y="29"/>
                      <a:pt x="48" y="29"/>
                      <a:pt x="47" y="29"/>
                    </a:cubicBezTo>
                    <a:cubicBezTo>
                      <a:pt x="47" y="29"/>
                      <a:pt x="47" y="28"/>
                      <a:pt x="47" y="28"/>
                    </a:cubicBezTo>
                    <a:cubicBezTo>
                      <a:pt x="47" y="28"/>
                      <a:pt x="47" y="29"/>
                      <a:pt x="47" y="29"/>
                    </a:cubicBezTo>
                    <a:cubicBezTo>
                      <a:pt x="47" y="29"/>
                      <a:pt x="47" y="29"/>
                      <a:pt x="47" y="29"/>
                    </a:cubicBezTo>
                    <a:cubicBezTo>
                      <a:pt x="47" y="29"/>
                      <a:pt x="47" y="29"/>
                      <a:pt x="47" y="29"/>
                    </a:cubicBezTo>
                    <a:cubicBezTo>
                      <a:pt x="47" y="29"/>
                      <a:pt x="47" y="29"/>
                      <a:pt x="47" y="30"/>
                    </a:cubicBezTo>
                    <a:cubicBezTo>
                      <a:pt x="47" y="30"/>
                      <a:pt x="47" y="30"/>
                      <a:pt x="47" y="30"/>
                    </a:cubicBezTo>
                    <a:cubicBezTo>
                      <a:pt x="47" y="30"/>
                      <a:pt x="47" y="31"/>
                      <a:pt x="47" y="31"/>
                    </a:cubicBezTo>
                    <a:close/>
                    <a:moveTo>
                      <a:pt x="46" y="28"/>
                    </a:moveTo>
                    <a:cubicBezTo>
                      <a:pt x="46" y="28"/>
                      <a:pt x="47" y="28"/>
                      <a:pt x="47" y="28"/>
                    </a:cubicBezTo>
                    <a:cubicBezTo>
                      <a:pt x="47" y="28"/>
                      <a:pt x="47" y="28"/>
                      <a:pt x="48" y="28"/>
                    </a:cubicBezTo>
                    <a:cubicBezTo>
                      <a:pt x="48" y="29"/>
                      <a:pt x="48" y="29"/>
                      <a:pt x="48" y="29"/>
                    </a:cubicBezTo>
                    <a:cubicBezTo>
                      <a:pt x="48" y="29"/>
                      <a:pt x="48" y="29"/>
                      <a:pt x="49" y="29"/>
                    </a:cubicBezTo>
                    <a:cubicBezTo>
                      <a:pt x="49" y="29"/>
                      <a:pt x="49" y="29"/>
                      <a:pt x="49" y="28"/>
                    </a:cubicBezTo>
                    <a:cubicBezTo>
                      <a:pt x="49" y="28"/>
                      <a:pt x="48" y="28"/>
                      <a:pt x="48" y="28"/>
                    </a:cubicBezTo>
                    <a:cubicBezTo>
                      <a:pt x="48" y="27"/>
                      <a:pt x="48" y="27"/>
                      <a:pt x="47" y="27"/>
                    </a:cubicBezTo>
                    <a:cubicBezTo>
                      <a:pt x="47" y="27"/>
                      <a:pt x="47" y="27"/>
                      <a:pt x="46" y="27"/>
                    </a:cubicBezTo>
                    <a:cubicBezTo>
                      <a:pt x="46" y="27"/>
                      <a:pt x="46" y="27"/>
                      <a:pt x="45" y="27"/>
                    </a:cubicBezTo>
                    <a:cubicBezTo>
                      <a:pt x="45" y="27"/>
                      <a:pt x="46" y="27"/>
                      <a:pt x="46" y="27"/>
                    </a:cubicBezTo>
                    <a:cubicBezTo>
                      <a:pt x="46" y="28"/>
                      <a:pt x="46" y="28"/>
                      <a:pt x="46" y="28"/>
                    </a:cubicBezTo>
                    <a:close/>
                    <a:moveTo>
                      <a:pt x="42" y="26"/>
                    </a:moveTo>
                    <a:cubicBezTo>
                      <a:pt x="42" y="26"/>
                      <a:pt x="42" y="26"/>
                      <a:pt x="42" y="26"/>
                    </a:cubicBezTo>
                    <a:cubicBezTo>
                      <a:pt x="42" y="26"/>
                      <a:pt x="42" y="26"/>
                      <a:pt x="42" y="26"/>
                    </a:cubicBezTo>
                    <a:cubicBezTo>
                      <a:pt x="42" y="26"/>
                      <a:pt x="42" y="26"/>
                      <a:pt x="42" y="26"/>
                    </a:cubicBezTo>
                    <a:cubicBezTo>
                      <a:pt x="42" y="26"/>
                      <a:pt x="43" y="26"/>
                      <a:pt x="43" y="26"/>
                    </a:cubicBezTo>
                    <a:cubicBezTo>
                      <a:pt x="43" y="26"/>
                      <a:pt x="43" y="26"/>
                      <a:pt x="43" y="26"/>
                    </a:cubicBezTo>
                    <a:cubicBezTo>
                      <a:pt x="43" y="26"/>
                      <a:pt x="43" y="26"/>
                      <a:pt x="43" y="26"/>
                    </a:cubicBezTo>
                    <a:cubicBezTo>
                      <a:pt x="44" y="26"/>
                      <a:pt x="44" y="26"/>
                      <a:pt x="44" y="26"/>
                    </a:cubicBezTo>
                    <a:cubicBezTo>
                      <a:pt x="44" y="25"/>
                      <a:pt x="44" y="25"/>
                      <a:pt x="44" y="25"/>
                    </a:cubicBezTo>
                    <a:cubicBezTo>
                      <a:pt x="44" y="25"/>
                      <a:pt x="44" y="25"/>
                      <a:pt x="44" y="25"/>
                    </a:cubicBezTo>
                    <a:cubicBezTo>
                      <a:pt x="44" y="25"/>
                      <a:pt x="44" y="24"/>
                      <a:pt x="44" y="24"/>
                    </a:cubicBezTo>
                    <a:cubicBezTo>
                      <a:pt x="44" y="24"/>
                      <a:pt x="44" y="24"/>
                      <a:pt x="44"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1" y="24"/>
                    </a:cubicBezTo>
                    <a:cubicBezTo>
                      <a:pt x="41" y="24"/>
                      <a:pt x="41" y="25"/>
                      <a:pt x="41" y="25"/>
                    </a:cubicBezTo>
                    <a:cubicBezTo>
                      <a:pt x="41" y="25"/>
                      <a:pt x="41" y="25"/>
                      <a:pt x="41" y="25"/>
                    </a:cubicBezTo>
                    <a:cubicBezTo>
                      <a:pt x="41" y="25"/>
                      <a:pt x="42" y="26"/>
                      <a:pt x="42" y="26"/>
                    </a:cubicBezTo>
                    <a:close/>
                    <a:moveTo>
                      <a:pt x="56" y="40"/>
                    </a:moveTo>
                    <a:cubicBezTo>
                      <a:pt x="56" y="40"/>
                      <a:pt x="57" y="40"/>
                      <a:pt x="57" y="40"/>
                    </a:cubicBezTo>
                    <a:cubicBezTo>
                      <a:pt x="57" y="40"/>
                      <a:pt x="57" y="40"/>
                      <a:pt x="57" y="40"/>
                    </a:cubicBezTo>
                    <a:cubicBezTo>
                      <a:pt x="57" y="40"/>
                      <a:pt x="57" y="40"/>
                      <a:pt x="57" y="40"/>
                    </a:cubicBezTo>
                    <a:cubicBezTo>
                      <a:pt x="57" y="40"/>
                      <a:pt x="57" y="40"/>
                      <a:pt x="57" y="40"/>
                    </a:cubicBezTo>
                    <a:cubicBezTo>
                      <a:pt x="57" y="40"/>
                      <a:pt x="57" y="40"/>
                      <a:pt x="57" y="39"/>
                    </a:cubicBezTo>
                    <a:cubicBezTo>
                      <a:pt x="57" y="39"/>
                      <a:pt x="57" y="39"/>
                      <a:pt x="56" y="39"/>
                    </a:cubicBezTo>
                    <a:cubicBezTo>
                      <a:pt x="56" y="39"/>
                      <a:pt x="56" y="39"/>
                      <a:pt x="56" y="39"/>
                    </a:cubicBezTo>
                    <a:cubicBezTo>
                      <a:pt x="56" y="39"/>
                      <a:pt x="56" y="39"/>
                      <a:pt x="56" y="39"/>
                    </a:cubicBezTo>
                    <a:cubicBezTo>
                      <a:pt x="56" y="39"/>
                      <a:pt x="56" y="39"/>
                      <a:pt x="55" y="39"/>
                    </a:cubicBezTo>
                    <a:cubicBezTo>
                      <a:pt x="55" y="39"/>
                      <a:pt x="55" y="40"/>
                      <a:pt x="55" y="40"/>
                    </a:cubicBezTo>
                    <a:cubicBezTo>
                      <a:pt x="55" y="40"/>
                      <a:pt x="55" y="40"/>
                      <a:pt x="55" y="40"/>
                    </a:cubicBezTo>
                    <a:cubicBezTo>
                      <a:pt x="55" y="40"/>
                      <a:pt x="55" y="40"/>
                      <a:pt x="55" y="40"/>
                    </a:cubicBezTo>
                    <a:cubicBezTo>
                      <a:pt x="55" y="40"/>
                      <a:pt x="55" y="40"/>
                      <a:pt x="56" y="40"/>
                    </a:cubicBezTo>
                    <a:cubicBezTo>
                      <a:pt x="56" y="40"/>
                      <a:pt x="56" y="40"/>
                      <a:pt x="56" y="40"/>
                    </a:cubicBezTo>
                    <a:cubicBezTo>
                      <a:pt x="56" y="40"/>
                      <a:pt x="56" y="40"/>
                      <a:pt x="56" y="40"/>
                    </a:cubicBezTo>
                    <a:cubicBezTo>
                      <a:pt x="56" y="40"/>
                      <a:pt x="56" y="40"/>
                      <a:pt x="56" y="40"/>
                    </a:cubicBezTo>
                    <a:close/>
                    <a:moveTo>
                      <a:pt x="48" y="30"/>
                    </a:moveTo>
                    <a:cubicBezTo>
                      <a:pt x="48" y="31"/>
                      <a:pt x="49" y="31"/>
                      <a:pt x="49" y="31"/>
                    </a:cubicBezTo>
                    <a:cubicBezTo>
                      <a:pt x="49" y="31"/>
                      <a:pt x="49" y="31"/>
                      <a:pt x="48" y="32"/>
                    </a:cubicBezTo>
                    <a:cubicBezTo>
                      <a:pt x="48" y="32"/>
                      <a:pt x="48" y="32"/>
                      <a:pt x="48" y="32"/>
                    </a:cubicBezTo>
                    <a:cubicBezTo>
                      <a:pt x="48" y="32"/>
                      <a:pt x="48" y="32"/>
                      <a:pt x="48" y="32"/>
                    </a:cubicBezTo>
                    <a:cubicBezTo>
                      <a:pt x="48" y="32"/>
                      <a:pt x="48" y="32"/>
                      <a:pt x="49" y="32"/>
                    </a:cubicBezTo>
                    <a:cubicBezTo>
                      <a:pt x="49" y="33"/>
                      <a:pt x="49" y="33"/>
                      <a:pt x="50" y="33"/>
                    </a:cubicBezTo>
                    <a:cubicBezTo>
                      <a:pt x="50" y="32"/>
                      <a:pt x="50" y="32"/>
                      <a:pt x="51" y="32"/>
                    </a:cubicBezTo>
                    <a:cubicBezTo>
                      <a:pt x="51" y="32"/>
                      <a:pt x="51" y="32"/>
                      <a:pt x="51" y="32"/>
                    </a:cubicBezTo>
                    <a:cubicBezTo>
                      <a:pt x="51" y="33"/>
                      <a:pt x="51" y="33"/>
                      <a:pt x="51" y="33"/>
                    </a:cubicBezTo>
                    <a:cubicBezTo>
                      <a:pt x="52" y="33"/>
                      <a:pt x="52" y="33"/>
                      <a:pt x="52" y="33"/>
                    </a:cubicBezTo>
                    <a:cubicBezTo>
                      <a:pt x="52" y="33"/>
                      <a:pt x="52" y="32"/>
                      <a:pt x="52" y="32"/>
                    </a:cubicBezTo>
                    <a:cubicBezTo>
                      <a:pt x="52" y="32"/>
                      <a:pt x="52" y="32"/>
                      <a:pt x="52" y="32"/>
                    </a:cubicBezTo>
                    <a:cubicBezTo>
                      <a:pt x="51" y="32"/>
                      <a:pt x="51" y="32"/>
                      <a:pt x="51" y="32"/>
                    </a:cubicBezTo>
                    <a:cubicBezTo>
                      <a:pt x="51" y="31"/>
                      <a:pt x="51" y="31"/>
                      <a:pt x="51" y="31"/>
                    </a:cubicBezTo>
                    <a:cubicBezTo>
                      <a:pt x="50" y="31"/>
                      <a:pt x="50" y="31"/>
                      <a:pt x="50" y="31"/>
                    </a:cubicBezTo>
                    <a:cubicBezTo>
                      <a:pt x="50" y="31"/>
                      <a:pt x="50" y="31"/>
                      <a:pt x="50" y="31"/>
                    </a:cubicBezTo>
                    <a:cubicBezTo>
                      <a:pt x="49" y="31"/>
                      <a:pt x="49" y="31"/>
                      <a:pt x="49" y="31"/>
                    </a:cubicBezTo>
                    <a:cubicBezTo>
                      <a:pt x="49" y="31"/>
                      <a:pt x="49" y="30"/>
                      <a:pt x="49" y="30"/>
                    </a:cubicBezTo>
                    <a:cubicBezTo>
                      <a:pt x="49" y="30"/>
                      <a:pt x="49" y="30"/>
                      <a:pt x="48" y="30"/>
                    </a:cubicBezTo>
                    <a:close/>
                    <a:moveTo>
                      <a:pt x="55" y="40"/>
                    </a:moveTo>
                    <a:cubicBezTo>
                      <a:pt x="55" y="40"/>
                      <a:pt x="55" y="40"/>
                      <a:pt x="55" y="40"/>
                    </a:cubicBezTo>
                    <a:cubicBezTo>
                      <a:pt x="55" y="40"/>
                      <a:pt x="55" y="40"/>
                      <a:pt x="55" y="40"/>
                    </a:cubicBezTo>
                    <a:cubicBezTo>
                      <a:pt x="55" y="39"/>
                      <a:pt x="55" y="39"/>
                      <a:pt x="55" y="39"/>
                    </a:cubicBezTo>
                    <a:cubicBezTo>
                      <a:pt x="55" y="39"/>
                      <a:pt x="55" y="39"/>
                      <a:pt x="55" y="39"/>
                    </a:cubicBezTo>
                    <a:cubicBezTo>
                      <a:pt x="55" y="39"/>
                      <a:pt x="55" y="39"/>
                      <a:pt x="56" y="39"/>
                    </a:cubicBezTo>
                    <a:cubicBezTo>
                      <a:pt x="56" y="39"/>
                      <a:pt x="55" y="39"/>
                      <a:pt x="55" y="39"/>
                    </a:cubicBezTo>
                    <a:cubicBezTo>
                      <a:pt x="55" y="39"/>
                      <a:pt x="55" y="39"/>
                      <a:pt x="55" y="39"/>
                    </a:cubicBezTo>
                    <a:cubicBezTo>
                      <a:pt x="55" y="39"/>
                      <a:pt x="55" y="39"/>
                      <a:pt x="55" y="39"/>
                    </a:cubicBezTo>
                    <a:cubicBezTo>
                      <a:pt x="55" y="39"/>
                      <a:pt x="54" y="39"/>
                      <a:pt x="54" y="39"/>
                    </a:cubicBezTo>
                    <a:cubicBezTo>
                      <a:pt x="54" y="39"/>
                      <a:pt x="54" y="39"/>
                      <a:pt x="54" y="39"/>
                    </a:cubicBezTo>
                    <a:cubicBezTo>
                      <a:pt x="54" y="40"/>
                      <a:pt x="54" y="40"/>
                      <a:pt x="54" y="40"/>
                    </a:cubicBezTo>
                    <a:cubicBezTo>
                      <a:pt x="54" y="40"/>
                      <a:pt x="54" y="40"/>
                      <a:pt x="54" y="40"/>
                    </a:cubicBezTo>
                    <a:cubicBezTo>
                      <a:pt x="54" y="40"/>
                      <a:pt x="54" y="40"/>
                      <a:pt x="55" y="40"/>
                    </a:cubicBezTo>
                    <a:close/>
                    <a:moveTo>
                      <a:pt x="55" y="32"/>
                    </a:moveTo>
                    <a:cubicBezTo>
                      <a:pt x="55" y="32"/>
                      <a:pt x="55" y="32"/>
                      <a:pt x="55" y="32"/>
                    </a:cubicBezTo>
                    <a:cubicBezTo>
                      <a:pt x="55" y="32"/>
                      <a:pt x="55" y="32"/>
                      <a:pt x="55" y="32"/>
                    </a:cubicBezTo>
                    <a:cubicBezTo>
                      <a:pt x="54" y="32"/>
                      <a:pt x="54" y="32"/>
                      <a:pt x="54" y="32"/>
                    </a:cubicBezTo>
                    <a:cubicBezTo>
                      <a:pt x="54" y="32"/>
                      <a:pt x="54" y="32"/>
                      <a:pt x="54" y="32"/>
                    </a:cubicBezTo>
                    <a:cubicBezTo>
                      <a:pt x="54" y="32"/>
                      <a:pt x="54" y="32"/>
                      <a:pt x="54" y="32"/>
                    </a:cubicBezTo>
                    <a:cubicBezTo>
                      <a:pt x="54" y="33"/>
                      <a:pt x="54" y="33"/>
                      <a:pt x="54" y="33"/>
                    </a:cubicBezTo>
                    <a:cubicBezTo>
                      <a:pt x="54" y="33"/>
                      <a:pt x="54" y="33"/>
                      <a:pt x="54"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2"/>
                    </a:cubicBezTo>
                    <a:cubicBezTo>
                      <a:pt x="55" y="32"/>
                      <a:pt x="55" y="32"/>
                      <a:pt x="55" y="32"/>
                    </a:cubicBezTo>
                    <a:cubicBezTo>
                      <a:pt x="55" y="32"/>
                      <a:pt x="55" y="33"/>
                      <a:pt x="56" y="33"/>
                    </a:cubicBezTo>
                    <a:cubicBezTo>
                      <a:pt x="56" y="33"/>
                      <a:pt x="55" y="32"/>
                      <a:pt x="55" y="32"/>
                    </a:cubicBezTo>
                    <a:cubicBezTo>
                      <a:pt x="55" y="32"/>
                      <a:pt x="55" y="32"/>
                      <a:pt x="55" y="32"/>
                    </a:cubicBezTo>
                    <a:cubicBezTo>
                      <a:pt x="55" y="32"/>
                      <a:pt x="55" y="31"/>
                      <a:pt x="55" y="31"/>
                    </a:cubicBezTo>
                    <a:cubicBezTo>
                      <a:pt x="55" y="31"/>
                      <a:pt x="55" y="31"/>
                      <a:pt x="55" y="31"/>
                    </a:cubicBezTo>
                    <a:cubicBezTo>
                      <a:pt x="55" y="31"/>
                      <a:pt x="55" y="31"/>
                      <a:pt x="55" y="32"/>
                    </a:cubicBezTo>
                    <a:close/>
                    <a:moveTo>
                      <a:pt x="50" y="31"/>
                    </a:moveTo>
                    <a:cubicBezTo>
                      <a:pt x="50" y="31"/>
                      <a:pt x="50" y="31"/>
                      <a:pt x="51" y="31"/>
                    </a:cubicBezTo>
                    <a:cubicBezTo>
                      <a:pt x="51" y="31"/>
                      <a:pt x="51" y="31"/>
                      <a:pt x="51" y="31"/>
                    </a:cubicBezTo>
                    <a:cubicBezTo>
                      <a:pt x="51" y="31"/>
                      <a:pt x="51" y="31"/>
                      <a:pt x="51" y="31"/>
                    </a:cubicBezTo>
                    <a:cubicBezTo>
                      <a:pt x="52" y="32"/>
                      <a:pt x="52" y="32"/>
                      <a:pt x="52" y="32"/>
                    </a:cubicBezTo>
                    <a:cubicBezTo>
                      <a:pt x="52" y="32"/>
                      <a:pt x="52" y="32"/>
                      <a:pt x="52" y="32"/>
                    </a:cubicBezTo>
                    <a:cubicBezTo>
                      <a:pt x="52" y="32"/>
                      <a:pt x="52" y="32"/>
                      <a:pt x="53" y="32"/>
                    </a:cubicBezTo>
                    <a:cubicBezTo>
                      <a:pt x="53" y="32"/>
                      <a:pt x="53" y="32"/>
                      <a:pt x="53" y="32"/>
                    </a:cubicBezTo>
                    <a:cubicBezTo>
                      <a:pt x="53" y="32"/>
                      <a:pt x="53" y="32"/>
                      <a:pt x="53" y="32"/>
                    </a:cubicBezTo>
                    <a:cubicBezTo>
                      <a:pt x="53" y="32"/>
                      <a:pt x="53" y="31"/>
                      <a:pt x="53" y="31"/>
                    </a:cubicBezTo>
                    <a:cubicBezTo>
                      <a:pt x="52" y="31"/>
                      <a:pt x="52" y="31"/>
                      <a:pt x="52" y="31"/>
                    </a:cubicBezTo>
                    <a:cubicBezTo>
                      <a:pt x="52" y="30"/>
                      <a:pt x="52" y="30"/>
                      <a:pt x="51" y="30"/>
                    </a:cubicBezTo>
                    <a:cubicBezTo>
                      <a:pt x="51" y="30"/>
                      <a:pt x="51" y="30"/>
                      <a:pt x="51" y="30"/>
                    </a:cubicBezTo>
                    <a:cubicBezTo>
                      <a:pt x="51" y="30"/>
                      <a:pt x="51" y="30"/>
                      <a:pt x="51" y="30"/>
                    </a:cubicBezTo>
                    <a:cubicBezTo>
                      <a:pt x="50" y="30"/>
                      <a:pt x="50" y="30"/>
                      <a:pt x="50" y="30"/>
                    </a:cubicBezTo>
                    <a:cubicBezTo>
                      <a:pt x="50" y="30"/>
                      <a:pt x="50" y="30"/>
                      <a:pt x="50" y="30"/>
                    </a:cubicBezTo>
                    <a:cubicBezTo>
                      <a:pt x="50" y="30"/>
                      <a:pt x="50" y="30"/>
                      <a:pt x="50" y="31"/>
                    </a:cubicBezTo>
                    <a:cubicBezTo>
                      <a:pt x="50" y="31"/>
                      <a:pt x="50" y="31"/>
                      <a:pt x="50" y="31"/>
                    </a:cubicBezTo>
                    <a:cubicBezTo>
                      <a:pt x="50" y="31"/>
                      <a:pt x="50" y="31"/>
                      <a:pt x="50" y="31"/>
                    </a:cubicBezTo>
                    <a:close/>
                    <a:moveTo>
                      <a:pt x="52" y="34"/>
                    </a:moveTo>
                    <a:cubicBezTo>
                      <a:pt x="52" y="33"/>
                      <a:pt x="52" y="33"/>
                      <a:pt x="52" y="33"/>
                    </a:cubicBezTo>
                    <a:cubicBezTo>
                      <a:pt x="52" y="33"/>
                      <a:pt x="52" y="33"/>
                      <a:pt x="52" y="33"/>
                    </a:cubicBezTo>
                    <a:cubicBezTo>
                      <a:pt x="52" y="33"/>
                      <a:pt x="52" y="33"/>
                      <a:pt x="52" y="33"/>
                    </a:cubicBezTo>
                    <a:cubicBezTo>
                      <a:pt x="52" y="33"/>
                      <a:pt x="52" y="34"/>
                      <a:pt x="52" y="34"/>
                    </a:cubicBezTo>
                    <a:cubicBezTo>
                      <a:pt x="52" y="34"/>
                      <a:pt x="52" y="34"/>
                      <a:pt x="52" y="34"/>
                    </a:cubicBezTo>
                    <a:cubicBezTo>
                      <a:pt x="52" y="34"/>
                      <a:pt x="52" y="34"/>
                      <a:pt x="52" y="34"/>
                    </a:cubicBezTo>
                    <a:cubicBezTo>
                      <a:pt x="53" y="34"/>
                      <a:pt x="53" y="34"/>
                      <a:pt x="53" y="34"/>
                    </a:cubicBezTo>
                    <a:cubicBezTo>
                      <a:pt x="53" y="34"/>
                      <a:pt x="53" y="34"/>
                      <a:pt x="52" y="34"/>
                    </a:cubicBezTo>
                    <a:cubicBezTo>
                      <a:pt x="52" y="34"/>
                      <a:pt x="52" y="34"/>
                      <a:pt x="52" y="34"/>
                    </a:cubicBezTo>
                    <a:close/>
                    <a:moveTo>
                      <a:pt x="53" y="33"/>
                    </a:moveTo>
                    <a:cubicBezTo>
                      <a:pt x="53" y="34"/>
                      <a:pt x="53" y="34"/>
                      <a:pt x="53" y="34"/>
                    </a:cubicBezTo>
                    <a:cubicBezTo>
                      <a:pt x="53" y="34"/>
                      <a:pt x="53" y="34"/>
                      <a:pt x="53" y="34"/>
                    </a:cubicBezTo>
                    <a:cubicBezTo>
                      <a:pt x="53" y="34"/>
                      <a:pt x="53" y="34"/>
                      <a:pt x="53" y="34"/>
                    </a:cubicBezTo>
                    <a:cubicBezTo>
                      <a:pt x="53" y="34"/>
                      <a:pt x="54" y="34"/>
                      <a:pt x="54" y="34"/>
                    </a:cubicBezTo>
                    <a:cubicBezTo>
                      <a:pt x="54" y="34"/>
                      <a:pt x="54" y="34"/>
                      <a:pt x="54" y="34"/>
                    </a:cubicBezTo>
                    <a:cubicBezTo>
                      <a:pt x="54" y="34"/>
                      <a:pt x="54" y="34"/>
                      <a:pt x="54" y="33"/>
                    </a:cubicBezTo>
                    <a:cubicBezTo>
                      <a:pt x="54" y="33"/>
                      <a:pt x="54" y="33"/>
                      <a:pt x="54" y="33"/>
                    </a:cubicBezTo>
                    <a:cubicBezTo>
                      <a:pt x="53" y="33"/>
                      <a:pt x="53" y="33"/>
                      <a:pt x="53" y="33"/>
                    </a:cubicBezTo>
                    <a:cubicBezTo>
                      <a:pt x="53" y="33"/>
                      <a:pt x="53" y="33"/>
                      <a:pt x="53" y="33"/>
                    </a:cubicBezTo>
                    <a:cubicBezTo>
                      <a:pt x="53" y="33"/>
                      <a:pt x="53" y="33"/>
                      <a:pt x="53" y="33"/>
                    </a:cubicBezTo>
                    <a:close/>
                    <a:moveTo>
                      <a:pt x="54" y="31"/>
                    </a:moveTo>
                    <a:cubicBezTo>
                      <a:pt x="54" y="31"/>
                      <a:pt x="54" y="31"/>
                      <a:pt x="55" y="31"/>
                    </a:cubicBezTo>
                    <a:cubicBezTo>
                      <a:pt x="55" y="31"/>
                      <a:pt x="55" y="31"/>
                      <a:pt x="55" y="31"/>
                    </a:cubicBezTo>
                    <a:cubicBezTo>
                      <a:pt x="55" y="31"/>
                      <a:pt x="55" y="31"/>
                      <a:pt x="55" y="31"/>
                    </a:cubicBezTo>
                    <a:cubicBezTo>
                      <a:pt x="55" y="31"/>
                      <a:pt x="55" y="31"/>
                      <a:pt x="55" y="30"/>
                    </a:cubicBezTo>
                    <a:cubicBezTo>
                      <a:pt x="55" y="30"/>
                      <a:pt x="54" y="30"/>
                      <a:pt x="54" y="30"/>
                    </a:cubicBezTo>
                    <a:cubicBezTo>
                      <a:pt x="54" y="30"/>
                      <a:pt x="54" y="30"/>
                      <a:pt x="54" y="30"/>
                    </a:cubicBezTo>
                    <a:cubicBezTo>
                      <a:pt x="54" y="30"/>
                      <a:pt x="54" y="30"/>
                      <a:pt x="54" y="30"/>
                    </a:cubicBezTo>
                    <a:cubicBezTo>
                      <a:pt x="54" y="30"/>
                      <a:pt x="54" y="30"/>
                      <a:pt x="54" y="31"/>
                    </a:cubicBezTo>
                    <a:cubicBezTo>
                      <a:pt x="54" y="31"/>
                      <a:pt x="54" y="31"/>
                      <a:pt x="54" y="31"/>
                    </a:cubicBezTo>
                    <a:close/>
                    <a:moveTo>
                      <a:pt x="22" y="39"/>
                    </a:moveTo>
                    <a:cubicBezTo>
                      <a:pt x="22" y="39"/>
                      <a:pt x="22" y="39"/>
                      <a:pt x="22" y="39"/>
                    </a:cubicBezTo>
                    <a:cubicBezTo>
                      <a:pt x="22" y="39"/>
                      <a:pt x="22" y="39"/>
                      <a:pt x="22" y="40"/>
                    </a:cubicBezTo>
                    <a:cubicBezTo>
                      <a:pt x="22" y="40"/>
                      <a:pt x="21" y="40"/>
                      <a:pt x="21" y="40"/>
                    </a:cubicBezTo>
                    <a:cubicBezTo>
                      <a:pt x="21" y="40"/>
                      <a:pt x="21" y="40"/>
                      <a:pt x="21" y="40"/>
                    </a:cubicBezTo>
                    <a:cubicBezTo>
                      <a:pt x="21" y="40"/>
                      <a:pt x="21" y="40"/>
                      <a:pt x="21" y="40"/>
                    </a:cubicBezTo>
                    <a:cubicBezTo>
                      <a:pt x="21" y="40"/>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2"/>
                      <a:pt x="21" y="42"/>
                    </a:cubicBezTo>
                    <a:cubicBezTo>
                      <a:pt x="21" y="42"/>
                      <a:pt x="21"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0"/>
                      <a:pt x="22" y="40"/>
                      <a:pt x="22" y="40"/>
                    </a:cubicBezTo>
                    <a:cubicBezTo>
                      <a:pt x="22" y="40"/>
                      <a:pt x="22" y="40"/>
                      <a:pt x="22" y="40"/>
                    </a:cubicBezTo>
                    <a:cubicBezTo>
                      <a:pt x="22" y="40"/>
                      <a:pt x="22" y="40"/>
                      <a:pt x="22" y="39"/>
                    </a:cubicBezTo>
                    <a:close/>
                    <a:moveTo>
                      <a:pt x="23" y="37"/>
                    </a:moveTo>
                    <a:cubicBezTo>
                      <a:pt x="23"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6"/>
                      <a:pt x="24" y="37"/>
                      <a:pt x="24" y="37"/>
                    </a:cubicBezTo>
                    <a:cubicBezTo>
                      <a:pt x="24" y="37"/>
                      <a:pt x="24" y="37"/>
                      <a:pt x="24" y="37"/>
                    </a:cubicBezTo>
                    <a:cubicBezTo>
                      <a:pt x="24" y="37"/>
                      <a:pt x="23" y="37"/>
                      <a:pt x="23" y="37"/>
                    </a:cubicBezTo>
                    <a:cubicBezTo>
                      <a:pt x="23" y="37"/>
                      <a:pt x="23" y="37"/>
                      <a:pt x="23" y="37"/>
                    </a:cubicBezTo>
                    <a:cubicBezTo>
                      <a:pt x="23" y="37"/>
                      <a:pt x="23" y="36"/>
                      <a:pt x="23" y="36"/>
                    </a:cubicBezTo>
                    <a:cubicBezTo>
                      <a:pt x="23" y="36"/>
                      <a:pt x="23" y="36"/>
                      <a:pt x="23" y="36"/>
                    </a:cubicBezTo>
                    <a:cubicBezTo>
                      <a:pt x="23" y="36"/>
                      <a:pt x="22" y="37"/>
                      <a:pt x="22" y="37"/>
                    </a:cubicBezTo>
                    <a:cubicBezTo>
                      <a:pt x="22" y="37"/>
                      <a:pt x="22" y="37"/>
                      <a:pt x="22" y="37"/>
                    </a:cubicBezTo>
                    <a:cubicBezTo>
                      <a:pt x="23" y="37"/>
                      <a:pt x="23" y="37"/>
                      <a:pt x="23" y="37"/>
                    </a:cubicBezTo>
                    <a:cubicBezTo>
                      <a:pt x="23" y="37"/>
                      <a:pt x="23" y="37"/>
                      <a:pt x="23" y="37"/>
                    </a:cubicBezTo>
                    <a:cubicBezTo>
                      <a:pt x="23" y="37"/>
                      <a:pt x="23" y="37"/>
                      <a:pt x="23" y="37"/>
                    </a:cubicBezTo>
                    <a:close/>
                    <a:moveTo>
                      <a:pt x="22" y="40"/>
                    </a:moveTo>
                    <a:cubicBezTo>
                      <a:pt x="22" y="39"/>
                      <a:pt x="22" y="39"/>
                      <a:pt x="22" y="39"/>
                    </a:cubicBezTo>
                    <a:cubicBezTo>
                      <a:pt x="22" y="39"/>
                      <a:pt x="22" y="39"/>
                      <a:pt x="22" y="39"/>
                    </a:cubicBezTo>
                    <a:cubicBezTo>
                      <a:pt x="22" y="39"/>
                      <a:pt x="22" y="39"/>
                      <a:pt x="22" y="39"/>
                    </a:cubicBezTo>
                    <a:cubicBezTo>
                      <a:pt x="22" y="39"/>
                      <a:pt x="22" y="39"/>
                      <a:pt x="22" y="39"/>
                    </a:cubicBezTo>
                    <a:cubicBezTo>
                      <a:pt x="22" y="38"/>
                      <a:pt x="22" y="38"/>
                      <a:pt x="22" y="38"/>
                    </a:cubicBezTo>
                    <a:cubicBezTo>
                      <a:pt x="22" y="38"/>
                      <a:pt x="22" y="38"/>
                      <a:pt x="22" y="38"/>
                    </a:cubicBezTo>
                    <a:cubicBezTo>
                      <a:pt x="22" y="38"/>
                      <a:pt x="22"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9"/>
                      <a:pt x="21" y="39"/>
                      <a:pt x="21" y="39"/>
                    </a:cubicBezTo>
                    <a:cubicBezTo>
                      <a:pt x="21" y="39"/>
                      <a:pt x="22" y="39"/>
                      <a:pt x="22" y="39"/>
                    </a:cubicBezTo>
                    <a:cubicBezTo>
                      <a:pt x="22" y="39"/>
                      <a:pt x="22" y="39"/>
                      <a:pt x="22" y="39"/>
                    </a:cubicBezTo>
                    <a:cubicBezTo>
                      <a:pt x="22" y="39"/>
                      <a:pt x="22" y="39"/>
                      <a:pt x="22" y="39"/>
                    </a:cubicBezTo>
                    <a:cubicBezTo>
                      <a:pt x="22" y="39"/>
                      <a:pt x="22" y="39"/>
                      <a:pt x="22" y="39"/>
                    </a:cubicBezTo>
                    <a:cubicBezTo>
                      <a:pt x="22" y="39"/>
                      <a:pt x="22" y="40"/>
                      <a:pt x="22" y="40"/>
                    </a:cubicBezTo>
                    <a:cubicBezTo>
                      <a:pt x="22" y="40"/>
                      <a:pt x="22" y="40"/>
                      <a:pt x="22" y="40"/>
                    </a:cubicBezTo>
                    <a:cubicBezTo>
                      <a:pt x="22" y="40"/>
                      <a:pt x="23" y="40"/>
                      <a:pt x="23" y="40"/>
                    </a:cubicBezTo>
                    <a:cubicBezTo>
                      <a:pt x="23" y="40"/>
                      <a:pt x="22" y="40"/>
                      <a:pt x="22" y="40"/>
                    </a:cubicBezTo>
                    <a:close/>
                    <a:moveTo>
                      <a:pt x="18" y="38"/>
                    </a:move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lose/>
                    <a:moveTo>
                      <a:pt x="18" y="31"/>
                    </a:moveTo>
                    <a:cubicBezTo>
                      <a:pt x="18" y="31"/>
                      <a:pt x="18" y="31"/>
                      <a:pt x="18" y="31"/>
                    </a:cubicBezTo>
                    <a:cubicBezTo>
                      <a:pt x="18" y="30"/>
                      <a:pt x="18" y="30"/>
                      <a:pt x="17" y="30"/>
                    </a:cubicBezTo>
                    <a:cubicBezTo>
                      <a:pt x="17" y="30"/>
                      <a:pt x="17" y="30"/>
                      <a:pt x="17" y="30"/>
                    </a:cubicBezTo>
                    <a:cubicBezTo>
                      <a:pt x="17" y="30"/>
                      <a:pt x="17" y="30"/>
                      <a:pt x="17" y="30"/>
                    </a:cubicBezTo>
                    <a:cubicBezTo>
                      <a:pt x="17" y="30"/>
                      <a:pt x="16" y="29"/>
                      <a:pt x="16" y="29"/>
                    </a:cubicBezTo>
                    <a:cubicBezTo>
                      <a:pt x="16" y="29"/>
                      <a:pt x="16" y="29"/>
                      <a:pt x="16" y="29"/>
                    </a:cubicBezTo>
                    <a:cubicBezTo>
                      <a:pt x="16" y="29"/>
                      <a:pt x="16" y="29"/>
                      <a:pt x="16" y="29"/>
                    </a:cubicBezTo>
                    <a:cubicBezTo>
                      <a:pt x="16" y="29"/>
                      <a:pt x="16" y="29"/>
                      <a:pt x="16" y="28"/>
                    </a:cubicBezTo>
                    <a:cubicBezTo>
                      <a:pt x="16" y="28"/>
                      <a:pt x="16" y="28"/>
                      <a:pt x="16" y="28"/>
                    </a:cubicBezTo>
                    <a:cubicBezTo>
                      <a:pt x="16" y="28"/>
                      <a:pt x="16" y="28"/>
                      <a:pt x="16"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7"/>
                      <a:pt x="15" y="27"/>
                      <a:pt x="14" y="27"/>
                    </a:cubicBezTo>
                    <a:cubicBezTo>
                      <a:pt x="14" y="28"/>
                      <a:pt x="14" y="28"/>
                      <a:pt x="14" y="28"/>
                    </a:cubicBezTo>
                    <a:cubicBezTo>
                      <a:pt x="14" y="28"/>
                      <a:pt x="14" y="28"/>
                      <a:pt x="14" y="28"/>
                    </a:cubicBezTo>
                    <a:cubicBezTo>
                      <a:pt x="14" y="28"/>
                      <a:pt x="14" y="28"/>
                      <a:pt x="14" y="28"/>
                    </a:cubicBezTo>
                    <a:cubicBezTo>
                      <a:pt x="14" y="28"/>
                      <a:pt x="14" y="28"/>
                      <a:pt x="14" y="28"/>
                    </a:cubicBezTo>
                    <a:cubicBezTo>
                      <a:pt x="14" y="28"/>
                      <a:pt x="14" y="28"/>
                      <a:pt x="14" y="28"/>
                    </a:cubicBezTo>
                    <a:cubicBezTo>
                      <a:pt x="13" y="28"/>
                      <a:pt x="13" y="28"/>
                      <a:pt x="13" y="28"/>
                    </a:cubicBezTo>
                    <a:cubicBezTo>
                      <a:pt x="13" y="28"/>
                      <a:pt x="13" y="28"/>
                      <a:pt x="13" y="28"/>
                    </a:cubicBezTo>
                    <a:cubicBezTo>
                      <a:pt x="13" y="28"/>
                      <a:pt x="13" y="28"/>
                      <a:pt x="13" y="28"/>
                    </a:cubicBezTo>
                    <a:cubicBezTo>
                      <a:pt x="13" y="29"/>
                      <a:pt x="13" y="29"/>
                      <a:pt x="13" y="29"/>
                    </a:cubicBezTo>
                    <a:cubicBezTo>
                      <a:pt x="13" y="29"/>
                      <a:pt x="13" y="29"/>
                      <a:pt x="13" y="29"/>
                    </a:cubicBezTo>
                    <a:cubicBezTo>
                      <a:pt x="14" y="29"/>
                      <a:pt x="14" y="29"/>
                      <a:pt x="14" y="29"/>
                    </a:cubicBezTo>
                    <a:cubicBezTo>
                      <a:pt x="14" y="29"/>
                      <a:pt x="14" y="30"/>
                      <a:pt x="14" y="30"/>
                    </a:cubicBezTo>
                    <a:cubicBezTo>
                      <a:pt x="14" y="30"/>
                      <a:pt x="14" y="30"/>
                      <a:pt x="14" y="30"/>
                    </a:cubicBezTo>
                    <a:cubicBezTo>
                      <a:pt x="14" y="30"/>
                      <a:pt x="14" y="30"/>
                      <a:pt x="15" y="31"/>
                    </a:cubicBezTo>
                    <a:cubicBezTo>
                      <a:pt x="15" y="31"/>
                      <a:pt x="15" y="31"/>
                      <a:pt x="15" y="31"/>
                    </a:cubicBezTo>
                    <a:cubicBezTo>
                      <a:pt x="15" y="31"/>
                      <a:pt x="15" y="31"/>
                      <a:pt x="15" y="31"/>
                    </a:cubicBezTo>
                    <a:cubicBezTo>
                      <a:pt x="15" y="31"/>
                      <a:pt x="15" y="31"/>
                      <a:pt x="15" y="31"/>
                    </a:cubicBezTo>
                    <a:cubicBezTo>
                      <a:pt x="15" y="32"/>
                      <a:pt x="15" y="31"/>
                      <a:pt x="15" y="32"/>
                    </a:cubicBezTo>
                    <a:cubicBezTo>
                      <a:pt x="16" y="32"/>
                      <a:pt x="16" y="32"/>
                      <a:pt x="16" y="32"/>
                    </a:cubicBezTo>
                    <a:cubicBezTo>
                      <a:pt x="16" y="32"/>
                      <a:pt x="16" y="32"/>
                      <a:pt x="16" y="33"/>
                    </a:cubicBezTo>
                    <a:cubicBezTo>
                      <a:pt x="16" y="33"/>
                      <a:pt x="16" y="33"/>
                      <a:pt x="17" y="33"/>
                    </a:cubicBezTo>
                    <a:cubicBezTo>
                      <a:pt x="17" y="33"/>
                      <a:pt x="17" y="33"/>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8" y="34"/>
                      <a:pt x="18" y="34"/>
                      <a:pt x="18" y="34"/>
                    </a:cubicBezTo>
                    <a:cubicBezTo>
                      <a:pt x="18" y="34"/>
                      <a:pt x="18" y="34"/>
                      <a:pt x="18" y="34"/>
                    </a:cubicBezTo>
                    <a:cubicBezTo>
                      <a:pt x="18" y="33"/>
                      <a:pt x="18" y="33"/>
                      <a:pt x="18" y="33"/>
                    </a:cubicBezTo>
                    <a:cubicBezTo>
                      <a:pt x="18" y="33"/>
                      <a:pt x="18" y="33"/>
                      <a:pt x="18" y="33"/>
                    </a:cubicBezTo>
                    <a:cubicBezTo>
                      <a:pt x="18" y="33"/>
                      <a:pt x="18" y="33"/>
                      <a:pt x="18" y="33"/>
                    </a:cubicBezTo>
                    <a:cubicBezTo>
                      <a:pt x="18" y="32"/>
                      <a:pt x="18" y="32"/>
                      <a:pt x="18" y="32"/>
                    </a:cubicBezTo>
                    <a:cubicBezTo>
                      <a:pt x="18" y="32"/>
                      <a:pt x="18" y="32"/>
                      <a:pt x="18" y="32"/>
                    </a:cubicBezTo>
                    <a:cubicBezTo>
                      <a:pt x="18" y="32"/>
                      <a:pt x="18" y="32"/>
                      <a:pt x="18" y="32"/>
                    </a:cubicBezTo>
                    <a:cubicBezTo>
                      <a:pt x="18" y="32"/>
                      <a:pt x="18" y="32"/>
                      <a:pt x="18" y="32"/>
                    </a:cubicBezTo>
                    <a:cubicBezTo>
                      <a:pt x="18" y="31"/>
                      <a:pt x="18" y="31"/>
                      <a:pt x="18" y="31"/>
                    </a:cubicBezTo>
                    <a:cubicBezTo>
                      <a:pt x="18" y="31"/>
                      <a:pt x="18" y="31"/>
                      <a:pt x="18" y="31"/>
                    </a:cubicBezTo>
                    <a:close/>
                    <a:moveTo>
                      <a:pt x="203" y="20"/>
                    </a:moveTo>
                    <a:cubicBezTo>
                      <a:pt x="203" y="20"/>
                      <a:pt x="203" y="20"/>
                      <a:pt x="203" y="20"/>
                    </a:cubicBezTo>
                    <a:cubicBezTo>
                      <a:pt x="203" y="20"/>
                      <a:pt x="203" y="20"/>
                      <a:pt x="203" y="20"/>
                    </a:cubicBezTo>
                    <a:cubicBezTo>
                      <a:pt x="203" y="20"/>
                      <a:pt x="203" y="20"/>
                      <a:pt x="203" y="20"/>
                    </a:cubicBezTo>
                    <a:cubicBezTo>
                      <a:pt x="203" y="19"/>
                      <a:pt x="203" y="19"/>
                      <a:pt x="203" y="19"/>
                    </a:cubicBezTo>
                    <a:cubicBezTo>
                      <a:pt x="203" y="19"/>
                      <a:pt x="203" y="19"/>
                      <a:pt x="203" y="19"/>
                    </a:cubicBezTo>
                    <a:cubicBezTo>
                      <a:pt x="203" y="19"/>
                      <a:pt x="203" y="19"/>
                      <a:pt x="203" y="20"/>
                    </a:cubicBezTo>
                    <a:cubicBezTo>
                      <a:pt x="203" y="20"/>
                      <a:pt x="203" y="20"/>
                      <a:pt x="203" y="20"/>
                    </a:cubicBezTo>
                    <a:close/>
                    <a:moveTo>
                      <a:pt x="203" y="13"/>
                    </a:moveTo>
                    <a:cubicBezTo>
                      <a:pt x="203" y="14"/>
                      <a:pt x="204" y="14"/>
                      <a:pt x="204" y="14"/>
                    </a:cubicBezTo>
                    <a:cubicBezTo>
                      <a:pt x="204" y="14"/>
                      <a:pt x="204" y="14"/>
                      <a:pt x="204" y="14"/>
                    </a:cubicBezTo>
                    <a:cubicBezTo>
                      <a:pt x="204" y="15"/>
                      <a:pt x="204" y="15"/>
                      <a:pt x="204" y="15"/>
                    </a:cubicBezTo>
                    <a:cubicBezTo>
                      <a:pt x="204" y="15"/>
                      <a:pt x="204" y="15"/>
                      <a:pt x="204" y="15"/>
                    </a:cubicBezTo>
                    <a:cubicBezTo>
                      <a:pt x="204" y="15"/>
                      <a:pt x="204" y="15"/>
                      <a:pt x="204" y="15"/>
                    </a:cubicBezTo>
                    <a:cubicBezTo>
                      <a:pt x="205" y="15"/>
                      <a:pt x="205" y="15"/>
                      <a:pt x="205" y="14"/>
                    </a:cubicBezTo>
                    <a:cubicBezTo>
                      <a:pt x="205" y="14"/>
                      <a:pt x="204" y="14"/>
                      <a:pt x="204" y="14"/>
                    </a:cubicBezTo>
                    <a:cubicBezTo>
                      <a:pt x="204" y="14"/>
                      <a:pt x="204" y="14"/>
                      <a:pt x="204" y="14"/>
                    </a:cubicBezTo>
                    <a:cubicBezTo>
                      <a:pt x="204" y="13"/>
                      <a:pt x="204" y="13"/>
                      <a:pt x="204" y="13"/>
                    </a:cubicBezTo>
                    <a:cubicBezTo>
                      <a:pt x="203" y="13"/>
                      <a:pt x="203" y="13"/>
                      <a:pt x="203" y="13"/>
                    </a:cubicBezTo>
                    <a:cubicBezTo>
                      <a:pt x="203" y="13"/>
                      <a:pt x="203" y="13"/>
                      <a:pt x="203" y="13"/>
                    </a:cubicBezTo>
                    <a:close/>
                    <a:moveTo>
                      <a:pt x="212" y="12"/>
                    </a:moveTo>
                    <a:cubicBezTo>
                      <a:pt x="212" y="12"/>
                      <a:pt x="212" y="12"/>
                      <a:pt x="212" y="11"/>
                    </a:cubicBezTo>
                    <a:cubicBezTo>
                      <a:pt x="212" y="11"/>
                      <a:pt x="211" y="11"/>
                      <a:pt x="211" y="11"/>
                    </a:cubicBezTo>
                    <a:cubicBezTo>
                      <a:pt x="211" y="11"/>
                      <a:pt x="211" y="10"/>
                      <a:pt x="211" y="11"/>
                    </a:cubicBezTo>
                    <a:cubicBezTo>
                      <a:pt x="211" y="11"/>
                      <a:pt x="211" y="11"/>
                      <a:pt x="211" y="11"/>
                    </a:cubicBezTo>
                    <a:cubicBezTo>
                      <a:pt x="211" y="12"/>
                      <a:pt x="211" y="12"/>
                      <a:pt x="212" y="12"/>
                    </a:cubicBezTo>
                    <a:close/>
                    <a:moveTo>
                      <a:pt x="212" y="11"/>
                    </a:moveTo>
                    <a:cubicBezTo>
                      <a:pt x="212" y="11"/>
                      <a:pt x="212" y="11"/>
                      <a:pt x="212" y="11"/>
                    </a:cubicBezTo>
                    <a:cubicBezTo>
                      <a:pt x="212" y="11"/>
                      <a:pt x="212" y="11"/>
                      <a:pt x="212" y="10"/>
                    </a:cubicBezTo>
                    <a:cubicBezTo>
                      <a:pt x="212" y="10"/>
                      <a:pt x="212" y="10"/>
                      <a:pt x="212" y="10"/>
                    </a:cubicBezTo>
                    <a:cubicBezTo>
                      <a:pt x="212" y="10"/>
                      <a:pt x="212" y="10"/>
                      <a:pt x="213" y="10"/>
                    </a:cubicBezTo>
                    <a:cubicBezTo>
                      <a:pt x="213" y="10"/>
                      <a:pt x="213" y="9"/>
                      <a:pt x="213" y="9"/>
                    </a:cubicBezTo>
                    <a:cubicBezTo>
                      <a:pt x="213" y="9"/>
                      <a:pt x="213" y="9"/>
                      <a:pt x="213" y="9"/>
                    </a:cubicBezTo>
                    <a:cubicBezTo>
                      <a:pt x="213" y="8"/>
                      <a:pt x="213" y="8"/>
                      <a:pt x="213" y="8"/>
                    </a:cubicBezTo>
                    <a:cubicBezTo>
                      <a:pt x="213" y="8"/>
                      <a:pt x="212" y="7"/>
                      <a:pt x="212" y="7"/>
                    </a:cubicBezTo>
                    <a:cubicBezTo>
                      <a:pt x="212" y="7"/>
                      <a:pt x="212" y="7"/>
                      <a:pt x="212" y="7"/>
                    </a:cubicBezTo>
                    <a:cubicBezTo>
                      <a:pt x="212" y="7"/>
                      <a:pt x="212" y="8"/>
                      <a:pt x="212" y="8"/>
                    </a:cubicBezTo>
                    <a:cubicBezTo>
                      <a:pt x="212" y="8"/>
                      <a:pt x="212" y="8"/>
                      <a:pt x="212" y="8"/>
                    </a:cubicBezTo>
                    <a:cubicBezTo>
                      <a:pt x="212" y="8"/>
                      <a:pt x="212" y="9"/>
                      <a:pt x="212" y="9"/>
                    </a:cubicBezTo>
                    <a:cubicBezTo>
                      <a:pt x="212" y="9"/>
                      <a:pt x="212" y="9"/>
                      <a:pt x="212" y="9"/>
                    </a:cubicBezTo>
                    <a:cubicBezTo>
                      <a:pt x="212" y="9"/>
                      <a:pt x="212" y="9"/>
                      <a:pt x="212" y="9"/>
                    </a:cubicBezTo>
                    <a:cubicBezTo>
                      <a:pt x="212" y="10"/>
                      <a:pt x="212" y="10"/>
                      <a:pt x="212" y="10"/>
                    </a:cubicBezTo>
                    <a:cubicBezTo>
                      <a:pt x="212" y="10"/>
                      <a:pt x="211" y="10"/>
                      <a:pt x="212" y="11"/>
                    </a:cubicBezTo>
                    <a:close/>
                    <a:moveTo>
                      <a:pt x="212" y="12"/>
                    </a:moveTo>
                    <a:cubicBezTo>
                      <a:pt x="212" y="12"/>
                      <a:pt x="212" y="13"/>
                      <a:pt x="212" y="13"/>
                    </a:cubicBezTo>
                    <a:cubicBezTo>
                      <a:pt x="213" y="13"/>
                      <a:pt x="213" y="12"/>
                      <a:pt x="213" y="12"/>
                    </a:cubicBezTo>
                    <a:cubicBezTo>
                      <a:pt x="212" y="12"/>
                      <a:pt x="212" y="12"/>
                      <a:pt x="212" y="12"/>
                    </a:cubicBezTo>
                    <a:close/>
                    <a:moveTo>
                      <a:pt x="214" y="41"/>
                    </a:moveTo>
                    <a:cubicBezTo>
                      <a:pt x="214" y="41"/>
                      <a:pt x="214" y="41"/>
                      <a:pt x="215" y="41"/>
                    </a:cubicBezTo>
                    <a:cubicBezTo>
                      <a:pt x="215" y="41"/>
                      <a:pt x="215" y="41"/>
                      <a:pt x="215" y="41"/>
                    </a:cubicBezTo>
                    <a:cubicBezTo>
                      <a:pt x="215" y="41"/>
                      <a:pt x="215" y="41"/>
                      <a:pt x="215" y="41"/>
                    </a:cubicBezTo>
                    <a:cubicBezTo>
                      <a:pt x="215" y="41"/>
                      <a:pt x="215" y="41"/>
                      <a:pt x="215" y="41"/>
                    </a:cubicBezTo>
                    <a:cubicBezTo>
                      <a:pt x="215" y="40"/>
                      <a:pt x="215" y="40"/>
                      <a:pt x="215" y="40"/>
                    </a:cubicBezTo>
                    <a:cubicBezTo>
                      <a:pt x="215" y="40"/>
                      <a:pt x="215" y="40"/>
                      <a:pt x="215" y="40"/>
                    </a:cubicBezTo>
                    <a:cubicBezTo>
                      <a:pt x="215" y="40"/>
                      <a:pt x="215" y="40"/>
                      <a:pt x="215" y="40"/>
                    </a:cubicBezTo>
                    <a:cubicBezTo>
                      <a:pt x="215" y="39"/>
                      <a:pt x="215" y="39"/>
                      <a:pt x="215" y="39"/>
                    </a:cubicBezTo>
                    <a:cubicBezTo>
                      <a:pt x="215" y="39"/>
                      <a:pt x="215" y="39"/>
                      <a:pt x="215" y="39"/>
                    </a:cubicBezTo>
                    <a:cubicBezTo>
                      <a:pt x="214" y="40"/>
                      <a:pt x="214" y="40"/>
                      <a:pt x="214" y="40"/>
                    </a:cubicBezTo>
                    <a:cubicBezTo>
                      <a:pt x="214" y="40"/>
                      <a:pt x="214" y="40"/>
                      <a:pt x="214" y="40"/>
                    </a:cubicBezTo>
                    <a:cubicBezTo>
                      <a:pt x="214" y="40"/>
                      <a:pt x="214" y="40"/>
                      <a:pt x="214" y="41"/>
                    </a:cubicBezTo>
                    <a:cubicBezTo>
                      <a:pt x="214" y="41"/>
                      <a:pt x="214" y="41"/>
                      <a:pt x="214" y="41"/>
                    </a:cubicBezTo>
                    <a:close/>
                    <a:moveTo>
                      <a:pt x="215" y="42"/>
                    </a:moveTo>
                    <a:cubicBezTo>
                      <a:pt x="215" y="42"/>
                      <a:pt x="216"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3"/>
                      <a:pt x="215" y="43"/>
                      <a:pt x="215" y="43"/>
                    </a:cubicBezTo>
                    <a:cubicBezTo>
                      <a:pt x="215" y="43"/>
                      <a:pt x="215" y="43"/>
                      <a:pt x="215" y="43"/>
                    </a:cubicBezTo>
                    <a:cubicBezTo>
                      <a:pt x="215" y="43"/>
                      <a:pt x="215" y="43"/>
                      <a:pt x="215" y="43"/>
                    </a:cubicBezTo>
                    <a:cubicBezTo>
                      <a:pt x="215" y="43"/>
                      <a:pt x="215" y="43"/>
                      <a:pt x="215" y="43"/>
                    </a:cubicBezTo>
                    <a:cubicBezTo>
                      <a:pt x="215" y="43"/>
                      <a:pt x="216" y="43"/>
                      <a:pt x="216" y="43"/>
                    </a:cubicBezTo>
                    <a:cubicBezTo>
                      <a:pt x="216" y="43"/>
                      <a:pt x="215" y="43"/>
                      <a:pt x="215" y="42"/>
                    </a:cubicBezTo>
                    <a:close/>
                    <a:moveTo>
                      <a:pt x="206" y="52"/>
                    </a:moveTo>
                    <a:cubicBezTo>
                      <a:pt x="206" y="52"/>
                      <a:pt x="206" y="52"/>
                      <a:pt x="206" y="52"/>
                    </a:cubicBezTo>
                    <a:cubicBezTo>
                      <a:pt x="206" y="53"/>
                      <a:pt x="207" y="53"/>
                      <a:pt x="207" y="53"/>
                    </a:cubicBezTo>
                    <a:cubicBezTo>
                      <a:pt x="207" y="53"/>
                      <a:pt x="207" y="53"/>
                      <a:pt x="207" y="53"/>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3"/>
                      <a:pt x="207" y="53"/>
                      <a:pt x="207" y="53"/>
                    </a:cubicBezTo>
                    <a:cubicBezTo>
                      <a:pt x="207" y="53"/>
                      <a:pt x="207" y="53"/>
                      <a:pt x="207" y="52"/>
                    </a:cubicBezTo>
                    <a:cubicBezTo>
                      <a:pt x="207" y="52"/>
                      <a:pt x="207" y="52"/>
                      <a:pt x="207" y="52"/>
                    </a:cubicBezTo>
                    <a:cubicBezTo>
                      <a:pt x="207" y="52"/>
                      <a:pt x="207" y="52"/>
                      <a:pt x="207" y="52"/>
                    </a:cubicBezTo>
                    <a:cubicBezTo>
                      <a:pt x="207" y="51"/>
                      <a:pt x="207" y="51"/>
                      <a:pt x="207" y="51"/>
                    </a:cubicBezTo>
                    <a:cubicBezTo>
                      <a:pt x="207" y="51"/>
                      <a:pt x="207" y="51"/>
                      <a:pt x="207" y="51"/>
                    </a:cubicBezTo>
                    <a:cubicBezTo>
                      <a:pt x="207" y="51"/>
                      <a:pt x="207" y="51"/>
                      <a:pt x="207" y="51"/>
                    </a:cubicBezTo>
                    <a:cubicBezTo>
                      <a:pt x="207" y="51"/>
                      <a:pt x="207" y="51"/>
                      <a:pt x="207" y="51"/>
                    </a:cubicBezTo>
                    <a:cubicBezTo>
                      <a:pt x="207" y="51"/>
                      <a:pt x="206" y="51"/>
                      <a:pt x="206" y="51"/>
                    </a:cubicBezTo>
                    <a:cubicBezTo>
                      <a:pt x="206" y="51"/>
                      <a:pt x="206" y="51"/>
                      <a:pt x="206" y="51"/>
                    </a:cubicBezTo>
                    <a:cubicBezTo>
                      <a:pt x="206" y="51"/>
                      <a:pt x="206" y="51"/>
                      <a:pt x="206" y="51"/>
                    </a:cubicBezTo>
                    <a:cubicBezTo>
                      <a:pt x="206" y="51"/>
                      <a:pt x="206" y="51"/>
                      <a:pt x="206" y="51"/>
                    </a:cubicBezTo>
                    <a:cubicBezTo>
                      <a:pt x="206" y="51"/>
                      <a:pt x="206" y="51"/>
                      <a:pt x="206" y="51"/>
                    </a:cubicBezTo>
                    <a:cubicBezTo>
                      <a:pt x="206" y="52"/>
                      <a:pt x="206" y="52"/>
                      <a:pt x="206" y="52"/>
                    </a:cubicBezTo>
                    <a:close/>
                    <a:moveTo>
                      <a:pt x="206" y="50"/>
                    </a:moveTo>
                    <a:cubicBezTo>
                      <a:pt x="206" y="50"/>
                      <a:pt x="206" y="50"/>
                      <a:pt x="206" y="50"/>
                    </a:cubicBezTo>
                    <a:cubicBezTo>
                      <a:pt x="206" y="50"/>
                      <a:pt x="206" y="51"/>
                      <a:pt x="206" y="51"/>
                    </a:cubicBezTo>
                    <a:cubicBezTo>
                      <a:pt x="206" y="51"/>
                      <a:pt x="206" y="50"/>
                      <a:pt x="207" y="50"/>
                    </a:cubicBezTo>
                    <a:cubicBezTo>
                      <a:pt x="207" y="50"/>
                      <a:pt x="207" y="50"/>
                      <a:pt x="207" y="50"/>
                    </a:cubicBezTo>
                    <a:cubicBezTo>
                      <a:pt x="207" y="50"/>
                      <a:pt x="207" y="50"/>
                      <a:pt x="208" y="50"/>
                    </a:cubicBezTo>
                    <a:cubicBezTo>
                      <a:pt x="208" y="50"/>
                      <a:pt x="208" y="50"/>
                      <a:pt x="208" y="50"/>
                    </a:cubicBezTo>
                    <a:cubicBezTo>
                      <a:pt x="208" y="50"/>
                      <a:pt x="208" y="50"/>
                      <a:pt x="208" y="50"/>
                    </a:cubicBezTo>
                    <a:cubicBezTo>
                      <a:pt x="209" y="50"/>
                      <a:pt x="209" y="50"/>
                      <a:pt x="209" y="50"/>
                    </a:cubicBezTo>
                    <a:cubicBezTo>
                      <a:pt x="209" y="50"/>
                      <a:pt x="209" y="50"/>
                      <a:pt x="209" y="50"/>
                    </a:cubicBezTo>
                    <a:cubicBezTo>
                      <a:pt x="209" y="50"/>
                      <a:pt x="208" y="50"/>
                      <a:pt x="208" y="50"/>
                    </a:cubicBezTo>
                    <a:cubicBezTo>
                      <a:pt x="208" y="50"/>
                      <a:pt x="208" y="50"/>
                      <a:pt x="208" y="50"/>
                    </a:cubicBezTo>
                    <a:cubicBezTo>
                      <a:pt x="208" y="50"/>
                      <a:pt x="208" y="50"/>
                      <a:pt x="208" y="50"/>
                    </a:cubicBezTo>
                    <a:cubicBezTo>
                      <a:pt x="208" y="50"/>
                      <a:pt x="207" y="50"/>
                      <a:pt x="207" y="50"/>
                    </a:cubicBezTo>
                    <a:cubicBezTo>
                      <a:pt x="207" y="50"/>
                      <a:pt x="207" y="50"/>
                      <a:pt x="206" y="50"/>
                    </a:cubicBezTo>
                    <a:cubicBezTo>
                      <a:pt x="206" y="50"/>
                      <a:pt x="206" y="50"/>
                      <a:pt x="206" y="50"/>
                    </a:cubicBezTo>
                    <a:cubicBezTo>
                      <a:pt x="206" y="50"/>
                      <a:pt x="206" y="50"/>
                      <a:pt x="205" y="50"/>
                    </a:cubicBezTo>
                    <a:cubicBezTo>
                      <a:pt x="205" y="50"/>
                      <a:pt x="205" y="50"/>
                      <a:pt x="205" y="50"/>
                    </a:cubicBezTo>
                    <a:cubicBezTo>
                      <a:pt x="205" y="50"/>
                      <a:pt x="205" y="50"/>
                      <a:pt x="205" y="50"/>
                    </a:cubicBezTo>
                    <a:cubicBezTo>
                      <a:pt x="204" y="50"/>
                      <a:pt x="204" y="50"/>
                      <a:pt x="204" y="50"/>
                    </a:cubicBezTo>
                    <a:cubicBezTo>
                      <a:pt x="204" y="50"/>
                      <a:pt x="204" y="50"/>
                      <a:pt x="204" y="50"/>
                    </a:cubicBezTo>
                    <a:cubicBezTo>
                      <a:pt x="204" y="50"/>
                      <a:pt x="204" y="50"/>
                      <a:pt x="204" y="50"/>
                    </a:cubicBezTo>
                    <a:cubicBezTo>
                      <a:pt x="204" y="50"/>
                      <a:pt x="203" y="50"/>
                      <a:pt x="203" y="50"/>
                    </a:cubicBezTo>
                    <a:cubicBezTo>
                      <a:pt x="203" y="50"/>
                      <a:pt x="203" y="49"/>
                      <a:pt x="203" y="49"/>
                    </a:cubicBezTo>
                    <a:cubicBezTo>
                      <a:pt x="203" y="49"/>
                      <a:pt x="203" y="49"/>
                      <a:pt x="203" y="49"/>
                    </a:cubicBezTo>
                    <a:cubicBezTo>
                      <a:pt x="203" y="49"/>
                      <a:pt x="203" y="49"/>
                      <a:pt x="203" y="50"/>
                    </a:cubicBezTo>
                    <a:cubicBezTo>
                      <a:pt x="203" y="50"/>
                      <a:pt x="203" y="50"/>
                      <a:pt x="203" y="50"/>
                    </a:cubicBezTo>
                    <a:cubicBezTo>
                      <a:pt x="203" y="50"/>
                      <a:pt x="203" y="49"/>
                      <a:pt x="203" y="49"/>
                    </a:cubicBezTo>
                    <a:cubicBezTo>
                      <a:pt x="203" y="49"/>
                      <a:pt x="203" y="50"/>
                      <a:pt x="203" y="50"/>
                    </a:cubicBezTo>
                    <a:cubicBezTo>
                      <a:pt x="202" y="50"/>
                      <a:pt x="202"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1"/>
                      <a:pt x="203" y="51"/>
                      <a:pt x="203" y="51"/>
                    </a:cubicBezTo>
                    <a:cubicBezTo>
                      <a:pt x="203" y="51"/>
                      <a:pt x="203" y="50"/>
                      <a:pt x="203" y="50"/>
                    </a:cubicBezTo>
                    <a:cubicBezTo>
                      <a:pt x="203" y="50"/>
                      <a:pt x="203" y="50"/>
                      <a:pt x="204" y="51"/>
                    </a:cubicBezTo>
                    <a:cubicBezTo>
                      <a:pt x="204" y="51"/>
                      <a:pt x="204" y="51"/>
                      <a:pt x="204" y="51"/>
                    </a:cubicBezTo>
                    <a:cubicBezTo>
                      <a:pt x="204" y="51"/>
                      <a:pt x="204" y="51"/>
                      <a:pt x="204" y="50"/>
                    </a:cubicBezTo>
                    <a:cubicBezTo>
                      <a:pt x="204" y="50"/>
                      <a:pt x="204" y="50"/>
                      <a:pt x="204" y="50"/>
                    </a:cubicBezTo>
                    <a:cubicBezTo>
                      <a:pt x="204" y="50"/>
                      <a:pt x="205" y="50"/>
                      <a:pt x="205" y="50"/>
                    </a:cubicBezTo>
                    <a:cubicBezTo>
                      <a:pt x="205" y="50"/>
                      <a:pt x="205" y="50"/>
                      <a:pt x="205" y="50"/>
                    </a:cubicBezTo>
                    <a:cubicBezTo>
                      <a:pt x="205" y="50"/>
                      <a:pt x="205" y="50"/>
                      <a:pt x="206" y="50"/>
                    </a:cubicBezTo>
                    <a:cubicBezTo>
                      <a:pt x="206" y="50"/>
                      <a:pt x="206" y="50"/>
                      <a:pt x="206" y="50"/>
                    </a:cubicBezTo>
                    <a:close/>
                    <a:moveTo>
                      <a:pt x="202" y="50"/>
                    </a:moveTo>
                    <a:cubicBezTo>
                      <a:pt x="202" y="49"/>
                      <a:pt x="202" y="49"/>
                      <a:pt x="202" y="49"/>
                    </a:cubicBezTo>
                    <a:cubicBezTo>
                      <a:pt x="202" y="49"/>
                      <a:pt x="202" y="49"/>
                      <a:pt x="202" y="49"/>
                    </a:cubicBezTo>
                    <a:cubicBezTo>
                      <a:pt x="202" y="49"/>
                      <a:pt x="202" y="49"/>
                      <a:pt x="202" y="49"/>
                    </a:cubicBezTo>
                    <a:cubicBezTo>
                      <a:pt x="202" y="49"/>
                      <a:pt x="202" y="49"/>
                      <a:pt x="202" y="49"/>
                    </a:cubicBezTo>
                    <a:cubicBezTo>
                      <a:pt x="202" y="49"/>
                      <a:pt x="202" y="49"/>
                      <a:pt x="202" y="50"/>
                    </a:cubicBezTo>
                    <a:cubicBezTo>
                      <a:pt x="201" y="50"/>
                      <a:pt x="202" y="49"/>
                      <a:pt x="202" y="49"/>
                    </a:cubicBezTo>
                    <a:cubicBezTo>
                      <a:pt x="202" y="49"/>
                      <a:pt x="202" y="49"/>
                      <a:pt x="202" y="49"/>
                    </a:cubicBezTo>
                    <a:cubicBezTo>
                      <a:pt x="202" y="49"/>
                      <a:pt x="202"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0" y="49"/>
                    </a:cubicBezTo>
                    <a:cubicBezTo>
                      <a:pt x="200" y="49"/>
                      <a:pt x="200" y="49"/>
                      <a:pt x="200" y="49"/>
                    </a:cubicBezTo>
                    <a:cubicBezTo>
                      <a:pt x="200" y="49"/>
                      <a:pt x="200" y="49"/>
                      <a:pt x="200" y="49"/>
                    </a:cubicBezTo>
                    <a:cubicBezTo>
                      <a:pt x="200" y="49"/>
                      <a:pt x="200" y="49"/>
                      <a:pt x="200" y="49"/>
                    </a:cubicBezTo>
                    <a:cubicBezTo>
                      <a:pt x="200" y="49"/>
                      <a:pt x="200" y="49"/>
                      <a:pt x="199" y="49"/>
                    </a:cubicBezTo>
                    <a:cubicBezTo>
                      <a:pt x="199" y="49"/>
                      <a:pt x="199" y="49"/>
                      <a:pt x="199" y="49"/>
                    </a:cubicBezTo>
                    <a:cubicBezTo>
                      <a:pt x="199" y="49"/>
                      <a:pt x="199" y="49"/>
                      <a:pt x="199" y="49"/>
                    </a:cubicBezTo>
                    <a:cubicBezTo>
                      <a:pt x="199" y="49"/>
                      <a:pt x="198" y="49"/>
                      <a:pt x="198" y="49"/>
                    </a:cubicBezTo>
                    <a:cubicBezTo>
                      <a:pt x="198" y="49"/>
                      <a:pt x="197" y="49"/>
                      <a:pt x="197" y="49"/>
                    </a:cubicBezTo>
                    <a:cubicBezTo>
                      <a:pt x="197" y="49"/>
                      <a:pt x="197" y="49"/>
                      <a:pt x="197" y="49"/>
                    </a:cubicBezTo>
                    <a:cubicBezTo>
                      <a:pt x="196" y="49"/>
                      <a:pt x="196" y="49"/>
                      <a:pt x="196" y="49"/>
                    </a:cubicBezTo>
                    <a:cubicBezTo>
                      <a:pt x="196" y="49"/>
                      <a:pt x="196" y="49"/>
                      <a:pt x="196" y="49"/>
                    </a:cubicBezTo>
                    <a:cubicBezTo>
                      <a:pt x="196" y="49"/>
                      <a:pt x="196" y="49"/>
                      <a:pt x="196" y="49"/>
                    </a:cubicBezTo>
                    <a:cubicBezTo>
                      <a:pt x="196" y="50"/>
                      <a:pt x="196" y="50"/>
                      <a:pt x="196" y="50"/>
                    </a:cubicBezTo>
                    <a:cubicBezTo>
                      <a:pt x="196" y="50"/>
                      <a:pt x="196" y="50"/>
                      <a:pt x="196" y="51"/>
                    </a:cubicBezTo>
                    <a:cubicBezTo>
                      <a:pt x="196" y="51"/>
                      <a:pt x="196" y="51"/>
                      <a:pt x="196" y="51"/>
                    </a:cubicBezTo>
                    <a:cubicBezTo>
                      <a:pt x="197" y="51"/>
                      <a:pt x="197" y="51"/>
                      <a:pt x="197" y="51"/>
                    </a:cubicBezTo>
                    <a:cubicBezTo>
                      <a:pt x="197" y="51"/>
                      <a:pt x="198" y="51"/>
                      <a:pt x="198" y="51"/>
                    </a:cubicBezTo>
                    <a:cubicBezTo>
                      <a:pt x="198" y="51"/>
                      <a:pt x="198" y="51"/>
                      <a:pt x="198" y="51"/>
                    </a:cubicBezTo>
                    <a:cubicBezTo>
                      <a:pt x="199" y="50"/>
                      <a:pt x="199" y="50"/>
                      <a:pt x="199" y="50"/>
                    </a:cubicBezTo>
                    <a:cubicBezTo>
                      <a:pt x="199" y="50"/>
                      <a:pt x="199" y="50"/>
                      <a:pt x="199" y="50"/>
                    </a:cubicBezTo>
                    <a:cubicBezTo>
                      <a:pt x="200" y="50"/>
                      <a:pt x="200" y="50"/>
                      <a:pt x="200" y="50"/>
                    </a:cubicBezTo>
                    <a:cubicBezTo>
                      <a:pt x="200" y="51"/>
                      <a:pt x="200" y="51"/>
                      <a:pt x="200" y="50"/>
                    </a:cubicBezTo>
                    <a:cubicBezTo>
                      <a:pt x="200" y="50"/>
                      <a:pt x="201" y="50"/>
                      <a:pt x="201" y="50"/>
                    </a:cubicBezTo>
                    <a:cubicBezTo>
                      <a:pt x="201" y="50"/>
                      <a:pt x="201" y="50"/>
                      <a:pt x="201" y="50"/>
                    </a:cubicBezTo>
                    <a:cubicBezTo>
                      <a:pt x="201" y="50"/>
                      <a:pt x="201" y="50"/>
                      <a:pt x="201" y="50"/>
                    </a:cubicBezTo>
                    <a:cubicBezTo>
                      <a:pt x="201" y="50"/>
                      <a:pt x="201" y="50"/>
                      <a:pt x="201" y="50"/>
                    </a:cubicBezTo>
                    <a:cubicBezTo>
                      <a:pt x="201" y="50"/>
                      <a:pt x="201" y="50"/>
                      <a:pt x="201" y="50"/>
                    </a:cubicBezTo>
                    <a:cubicBezTo>
                      <a:pt x="202" y="50"/>
                      <a:pt x="202" y="50"/>
                      <a:pt x="202" y="50"/>
                    </a:cubicBezTo>
                    <a:cubicBezTo>
                      <a:pt x="202" y="50"/>
                      <a:pt x="202" y="50"/>
                      <a:pt x="202" y="50"/>
                    </a:cubicBezTo>
                    <a:cubicBezTo>
                      <a:pt x="202" y="50"/>
                      <a:pt x="202" y="50"/>
                      <a:pt x="202" y="50"/>
                    </a:cubicBezTo>
                    <a:cubicBezTo>
                      <a:pt x="202" y="49"/>
                      <a:pt x="202" y="50"/>
                      <a:pt x="202" y="50"/>
                    </a:cubicBezTo>
                    <a:close/>
                    <a:moveTo>
                      <a:pt x="216" y="42"/>
                    </a:moveTo>
                    <a:cubicBezTo>
                      <a:pt x="217" y="42"/>
                      <a:pt x="217" y="42"/>
                      <a:pt x="217" y="42"/>
                    </a:cubicBezTo>
                    <a:cubicBezTo>
                      <a:pt x="217" y="42"/>
                      <a:pt x="217" y="42"/>
                      <a:pt x="217" y="43"/>
                    </a:cubicBezTo>
                    <a:cubicBezTo>
                      <a:pt x="216" y="43"/>
                      <a:pt x="217" y="43"/>
                      <a:pt x="217" y="43"/>
                    </a:cubicBezTo>
                    <a:cubicBezTo>
                      <a:pt x="217" y="43"/>
                      <a:pt x="217" y="43"/>
                      <a:pt x="217" y="43"/>
                    </a:cubicBezTo>
                    <a:cubicBezTo>
                      <a:pt x="217" y="43"/>
                      <a:pt x="217" y="43"/>
                      <a:pt x="217" y="43"/>
                    </a:cubicBezTo>
                    <a:cubicBezTo>
                      <a:pt x="217" y="43"/>
                      <a:pt x="218" y="42"/>
                      <a:pt x="218" y="43"/>
                    </a:cubicBezTo>
                    <a:cubicBezTo>
                      <a:pt x="218" y="43"/>
                      <a:pt x="218" y="43"/>
                      <a:pt x="218" y="43"/>
                    </a:cubicBezTo>
                    <a:cubicBezTo>
                      <a:pt x="218" y="43"/>
                      <a:pt x="218" y="43"/>
                      <a:pt x="218" y="43"/>
                    </a:cubicBezTo>
                    <a:cubicBezTo>
                      <a:pt x="218" y="43"/>
                      <a:pt x="218" y="43"/>
                      <a:pt x="218" y="43"/>
                    </a:cubicBezTo>
                    <a:cubicBezTo>
                      <a:pt x="218" y="43"/>
                      <a:pt x="219" y="43"/>
                      <a:pt x="219" y="43"/>
                    </a:cubicBezTo>
                    <a:cubicBezTo>
                      <a:pt x="219" y="43"/>
                      <a:pt x="219" y="43"/>
                      <a:pt x="219" y="43"/>
                    </a:cubicBezTo>
                    <a:cubicBezTo>
                      <a:pt x="219" y="43"/>
                      <a:pt x="219" y="43"/>
                      <a:pt x="219" y="43"/>
                    </a:cubicBezTo>
                    <a:cubicBezTo>
                      <a:pt x="219" y="43"/>
                      <a:pt x="219" y="43"/>
                      <a:pt x="219" y="43"/>
                    </a:cubicBezTo>
                    <a:cubicBezTo>
                      <a:pt x="219" y="43"/>
                      <a:pt x="219" y="42"/>
                      <a:pt x="219" y="42"/>
                    </a:cubicBezTo>
                    <a:cubicBezTo>
                      <a:pt x="219" y="42"/>
                      <a:pt x="219" y="42"/>
                      <a:pt x="218" y="42"/>
                    </a:cubicBezTo>
                    <a:cubicBezTo>
                      <a:pt x="218" y="42"/>
                      <a:pt x="218" y="42"/>
                      <a:pt x="218" y="42"/>
                    </a:cubicBezTo>
                    <a:cubicBezTo>
                      <a:pt x="218" y="42"/>
                      <a:pt x="218" y="42"/>
                      <a:pt x="218" y="42"/>
                    </a:cubicBezTo>
                    <a:cubicBezTo>
                      <a:pt x="218" y="42"/>
                      <a:pt x="218" y="42"/>
                      <a:pt x="218" y="42"/>
                    </a:cubicBezTo>
                    <a:cubicBezTo>
                      <a:pt x="217" y="41"/>
                      <a:pt x="219" y="41"/>
                      <a:pt x="218" y="41"/>
                    </a:cubicBezTo>
                    <a:cubicBezTo>
                      <a:pt x="218" y="41"/>
                      <a:pt x="218" y="40"/>
                      <a:pt x="218" y="40"/>
                    </a:cubicBezTo>
                    <a:cubicBezTo>
                      <a:pt x="218" y="40"/>
                      <a:pt x="218" y="40"/>
                      <a:pt x="218" y="40"/>
                    </a:cubicBezTo>
                    <a:cubicBezTo>
                      <a:pt x="217" y="40"/>
                      <a:pt x="217" y="40"/>
                      <a:pt x="217" y="40"/>
                    </a:cubicBezTo>
                    <a:cubicBezTo>
                      <a:pt x="217" y="40"/>
                      <a:pt x="217" y="40"/>
                      <a:pt x="217" y="40"/>
                    </a:cubicBezTo>
                    <a:cubicBezTo>
                      <a:pt x="217" y="40"/>
                      <a:pt x="217" y="40"/>
                      <a:pt x="217" y="40"/>
                    </a:cubicBezTo>
                    <a:cubicBezTo>
                      <a:pt x="217" y="40"/>
                      <a:pt x="217" y="40"/>
                      <a:pt x="217" y="40"/>
                    </a:cubicBezTo>
                    <a:cubicBezTo>
                      <a:pt x="216" y="40"/>
                      <a:pt x="216" y="40"/>
                      <a:pt x="216" y="40"/>
                    </a:cubicBezTo>
                    <a:cubicBezTo>
                      <a:pt x="216" y="40"/>
                      <a:pt x="216" y="40"/>
                      <a:pt x="216" y="40"/>
                    </a:cubicBezTo>
                    <a:cubicBezTo>
                      <a:pt x="216" y="40"/>
                      <a:pt x="216" y="40"/>
                      <a:pt x="216" y="40"/>
                    </a:cubicBezTo>
                    <a:cubicBezTo>
                      <a:pt x="216" y="40"/>
                      <a:pt x="216" y="40"/>
                      <a:pt x="216" y="41"/>
                    </a:cubicBezTo>
                    <a:cubicBezTo>
                      <a:pt x="215" y="41"/>
                      <a:pt x="216" y="41"/>
                      <a:pt x="216" y="41"/>
                    </a:cubicBezTo>
                    <a:cubicBezTo>
                      <a:pt x="216" y="41"/>
                      <a:pt x="216" y="41"/>
                      <a:pt x="216" y="41"/>
                    </a:cubicBezTo>
                    <a:cubicBezTo>
                      <a:pt x="216" y="42"/>
                      <a:pt x="216" y="42"/>
                      <a:pt x="216" y="42"/>
                    </a:cubicBezTo>
                    <a:close/>
                    <a:moveTo>
                      <a:pt x="216" y="31"/>
                    </a:moveTo>
                    <a:cubicBezTo>
                      <a:pt x="216" y="31"/>
                      <a:pt x="216" y="31"/>
                      <a:pt x="217" y="31"/>
                    </a:cubicBezTo>
                    <a:cubicBezTo>
                      <a:pt x="217" y="31"/>
                      <a:pt x="217" y="31"/>
                      <a:pt x="217" y="31"/>
                    </a:cubicBezTo>
                    <a:cubicBezTo>
                      <a:pt x="217" y="31"/>
                      <a:pt x="217" y="31"/>
                      <a:pt x="217" y="31"/>
                    </a:cubicBezTo>
                    <a:cubicBezTo>
                      <a:pt x="217" y="31"/>
                      <a:pt x="217" y="32"/>
                      <a:pt x="217" y="32"/>
                    </a:cubicBezTo>
                    <a:cubicBezTo>
                      <a:pt x="217" y="32"/>
                      <a:pt x="218" y="32"/>
                      <a:pt x="218" y="32"/>
                    </a:cubicBezTo>
                    <a:cubicBezTo>
                      <a:pt x="218" y="32"/>
                      <a:pt x="217" y="32"/>
                      <a:pt x="217" y="33"/>
                    </a:cubicBezTo>
                    <a:cubicBezTo>
                      <a:pt x="217" y="33"/>
                      <a:pt x="217" y="33"/>
                      <a:pt x="217" y="33"/>
                    </a:cubicBezTo>
                    <a:cubicBezTo>
                      <a:pt x="217" y="34"/>
                      <a:pt x="217" y="34"/>
                      <a:pt x="217" y="34"/>
                    </a:cubicBezTo>
                    <a:cubicBezTo>
                      <a:pt x="217" y="34"/>
                      <a:pt x="217" y="34"/>
                      <a:pt x="217" y="34"/>
                    </a:cubicBezTo>
                    <a:cubicBezTo>
                      <a:pt x="217" y="35"/>
                      <a:pt x="217" y="35"/>
                      <a:pt x="217" y="35"/>
                    </a:cubicBezTo>
                    <a:cubicBezTo>
                      <a:pt x="217" y="35"/>
                      <a:pt x="218" y="35"/>
                      <a:pt x="218" y="35"/>
                    </a:cubicBezTo>
                    <a:cubicBezTo>
                      <a:pt x="218" y="35"/>
                      <a:pt x="218" y="35"/>
                      <a:pt x="218" y="35"/>
                    </a:cubicBezTo>
                    <a:cubicBezTo>
                      <a:pt x="218" y="35"/>
                      <a:pt x="218" y="35"/>
                      <a:pt x="218" y="36"/>
                    </a:cubicBezTo>
                    <a:cubicBezTo>
                      <a:pt x="218" y="36"/>
                      <a:pt x="218" y="36"/>
                      <a:pt x="218" y="36"/>
                    </a:cubicBezTo>
                    <a:cubicBezTo>
                      <a:pt x="218" y="37"/>
                      <a:pt x="218" y="37"/>
                      <a:pt x="218" y="37"/>
                    </a:cubicBezTo>
                    <a:cubicBezTo>
                      <a:pt x="218" y="37"/>
                      <a:pt x="218" y="37"/>
                      <a:pt x="218" y="37"/>
                    </a:cubicBezTo>
                    <a:cubicBezTo>
                      <a:pt x="218" y="37"/>
                      <a:pt x="218" y="38"/>
                      <a:pt x="218" y="38"/>
                    </a:cubicBezTo>
                    <a:cubicBezTo>
                      <a:pt x="218" y="38"/>
                      <a:pt x="218" y="38"/>
                      <a:pt x="218" y="38"/>
                    </a:cubicBezTo>
                    <a:cubicBezTo>
                      <a:pt x="218" y="39"/>
                      <a:pt x="218" y="39"/>
                      <a:pt x="218" y="39"/>
                    </a:cubicBezTo>
                    <a:cubicBezTo>
                      <a:pt x="218" y="39"/>
                      <a:pt x="218" y="39"/>
                      <a:pt x="218" y="40"/>
                    </a:cubicBezTo>
                    <a:cubicBezTo>
                      <a:pt x="219" y="40"/>
                      <a:pt x="219" y="40"/>
                      <a:pt x="219" y="40"/>
                    </a:cubicBezTo>
                    <a:cubicBezTo>
                      <a:pt x="219" y="40"/>
                      <a:pt x="219" y="40"/>
                      <a:pt x="219" y="40"/>
                    </a:cubicBezTo>
                    <a:cubicBezTo>
                      <a:pt x="219" y="40"/>
                      <a:pt x="219" y="40"/>
                      <a:pt x="219" y="40"/>
                    </a:cubicBezTo>
                    <a:cubicBezTo>
                      <a:pt x="220" y="41"/>
                      <a:pt x="220" y="41"/>
                      <a:pt x="220" y="41"/>
                    </a:cubicBezTo>
                    <a:cubicBezTo>
                      <a:pt x="220" y="41"/>
                      <a:pt x="220" y="41"/>
                      <a:pt x="220" y="41"/>
                    </a:cubicBezTo>
                    <a:cubicBezTo>
                      <a:pt x="220" y="41"/>
                      <a:pt x="220" y="41"/>
                      <a:pt x="220" y="41"/>
                    </a:cubicBezTo>
                    <a:cubicBezTo>
                      <a:pt x="220" y="41"/>
                      <a:pt x="220" y="41"/>
                      <a:pt x="220" y="42"/>
                    </a:cubicBezTo>
                    <a:cubicBezTo>
                      <a:pt x="220" y="42"/>
                      <a:pt x="220" y="42"/>
                      <a:pt x="220" y="42"/>
                    </a:cubicBezTo>
                    <a:cubicBezTo>
                      <a:pt x="220" y="42"/>
                      <a:pt x="220" y="42"/>
                      <a:pt x="221" y="42"/>
                    </a:cubicBezTo>
                    <a:cubicBezTo>
                      <a:pt x="221" y="42"/>
                      <a:pt x="221"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3" y="44"/>
                    </a:cubicBezTo>
                    <a:cubicBezTo>
                      <a:pt x="223" y="44"/>
                      <a:pt x="223" y="44"/>
                      <a:pt x="223" y="44"/>
                    </a:cubicBezTo>
                    <a:cubicBezTo>
                      <a:pt x="223" y="44"/>
                      <a:pt x="223" y="44"/>
                      <a:pt x="223" y="44"/>
                    </a:cubicBezTo>
                    <a:cubicBezTo>
                      <a:pt x="223" y="44"/>
                      <a:pt x="223" y="44"/>
                      <a:pt x="223" y="44"/>
                    </a:cubicBezTo>
                    <a:cubicBezTo>
                      <a:pt x="223" y="43"/>
                      <a:pt x="223" y="43"/>
                      <a:pt x="223" y="43"/>
                    </a:cubicBezTo>
                    <a:cubicBezTo>
                      <a:pt x="223" y="43"/>
                      <a:pt x="222" y="43"/>
                      <a:pt x="222" y="43"/>
                    </a:cubicBezTo>
                    <a:cubicBezTo>
                      <a:pt x="222" y="43"/>
                      <a:pt x="222" y="43"/>
                      <a:pt x="222" y="43"/>
                    </a:cubicBezTo>
                    <a:cubicBezTo>
                      <a:pt x="222" y="43"/>
                      <a:pt x="222" y="43"/>
                      <a:pt x="222" y="43"/>
                    </a:cubicBezTo>
                    <a:cubicBezTo>
                      <a:pt x="222" y="42"/>
                      <a:pt x="222" y="42"/>
                      <a:pt x="222" y="42"/>
                    </a:cubicBezTo>
                    <a:cubicBezTo>
                      <a:pt x="222" y="42"/>
                      <a:pt x="222" y="42"/>
                      <a:pt x="222" y="42"/>
                    </a:cubicBezTo>
                    <a:cubicBezTo>
                      <a:pt x="222" y="42"/>
                      <a:pt x="222" y="42"/>
                      <a:pt x="221" y="42"/>
                    </a:cubicBezTo>
                    <a:cubicBezTo>
                      <a:pt x="221" y="42"/>
                      <a:pt x="221" y="42"/>
                      <a:pt x="221" y="42"/>
                    </a:cubicBezTo>
                    <a:cubicBezTo>
                      <a:pt x="221" y="41"/>
                      <a:pt x="221" y="41"/>
                      <a:pt x="221" y="41"/>
                    </a:cubicBezTo>
                    <a:cubicBezTo>
                      <a:pt x="221" y="40"/>
                      <a:pt x="220" y="40"/>
                      <a:pt x="220" y="40"/>
                    </a:cubicBezTo>
                    <a:cubicBezTo>
                      <a:pt x="220" y="40"/>
                      <a:pt x="220" y="40"/>
                      <a:pt x="220" y="40"/>
                    </a:cubicBezTo>
                    <a:cubicBezTo>
                      <a:pt x="220" y="39"/>
                      <a:pt x="220" y="39"/>
                      <a:pt x="220" y="39"/>
                    </a:cubicBezTo>
                    <a:cubicBezTo>
                      <a:pt x="220" y="39"/>
                      <a:pt x="220" y="39"/>
                      <a:pt x="220" y="39"/>
                    </a:cubicBezTo>
                    <a:cubicBezTo>
                      <a:pt x="220" y="39"/>
                      <a:pt x="220" y="38"/>
                      <a:pt x="220" y="38"/>
                    </a:cubicBezTo>
                    <a:cubicBezTo>
                      <a:pt x="220" y="38"/>
                      <a:pt x="220" y="38"/>
                      <a:pt x="220" y="38"/>
                    </a:cubicBezTo>
                    <a:cubicBezTo>
                      <a:pt x="219" y="38"/>
                      <a:pt x="219" y="38"/>
                      <a:pt x="219" y="38"/>
                    </a:cubicBezTo>
                    <a:cubicBezTo>
                      <a:pt x="219" y="37"/>
                      <a:pt x="220" y="37"/>
                      <a:pt x="219" y="37"/>
                    </a:cubicBezTo>
                    <a:cubicBezTo>
                      <a:pt x="219" y="37"/>
                      <a:pt x="219" y="37"/>
                      <a:pt x="220" y="37"/>
                    </a:cubicBezTo>
                    <a:cubicBezTo>
                      <a:pt x="220" y="37"/>
                      <a:pt x="220" y="37"/>
                      <a:pt x="220" y="37"/>
                    </a:cubicBezTo>
                    <a:cubicBezTo>
                      <a:pt x="220" y="37"/>
                      <a:pt x="220" y="37"/>
                      <a:pt x="220" y="37"/>
                    </a:cubicBezTo>
                    <a:cubicBezTo>
                      <a:pt x="220" y="37"/>
                      <a:pt x="220" y="36"/>
                      <a:pt x="220" y="36"/>
                    </a:cubicBezTo>
                    <a:cubicBezTo>
                      <a:pt x="220" y="36"/>
                      <a:pt x="220" y="36"/>
                      <a:pt x="220" y="36"/>
                    </a:cubicBezTo>
                    <a:cubicBezTo>
                      <a:pt x="220" y="36"/>
                      <a:pt x="220" y="36"/>
                      <a:pt x="220" y="36"/>
                    </a:cubicBezTo>
                    <a:cubicBezTo>
                      <a:pt x="220" y="36"/>
                      <a:pt x="220" y="36"/>
                      <a:pt x="220" y="36"/>
                    </a:cubicBezTo>
                    <a:cubicBezTo>
                      <a:pt x="219" y="36"/>
                      <a:pt x="219" y="36"/>
                      <a:pt x="219" y="36"/>
                    </a:cubicBezTo>
                    <a:cubicBezTo>
                      <a:pt x="219" y="35"/>
                      <a:pt x="219" y="35"/>
                      <a:pt x="219" y="35"/>
                    </a:cubicBezTo>
                    <a:cubicBezTo>
                      <a:pt x="219" y="35"/>
                      <a:pt x="220" y="35"/>
                      <a:pt x="220" y="35"/>
                    </a:cubicBezTo>
                    <a:cubicBezTo>
                      <a:pt x="220" y="35"/>
                      <a:pt x="219" y="35"/>
                      <a:pt x="220" y="35"/>
                    </a:cubicBezTo>
                    <a:cubicBezTo>
                      <a:pt x="220" y="35"/>
                      <a:pt x="220" y="35"/>
                      <a:pt x="220" y="34"/>
                    </a:cubicBezTo>
                    <a:cubicBezTo>
                      <a:pt x="220" y="34"/>
                      <a:pt x="220" y="34"/>
                      <a:pt x="220" y="34"/>
                    </a:cubicBezTo>
                    <a:cubicBezTo>
                      <a:pt x="220" y="34"/>
                      <a:pt x="220" y="34"/>
                      <a:pt x="221" y="34"/>
                    </a:cubicBezTo>
                    <a:cubicBezTo>
                      <a:pt x="221" y="34"/>
                      <a:pt x="221" y="35"/>
                      <a:pt x="221" y="35"/>
                    </a:cubicBezTo>
                    <a:cubicBezTo>
                      <a:pt x="221" y="35"/>
                      <a:pt x="221" y="35"/>
                      <a:pt x="221" y="35"/>
                    </a:cubicBezTo>
                    <a:cubicBezTo>
                      <a:pt x="221" y="35"/>
                      <a:pt x="221" y="35"/>
                      <a:pt x="221" y="35"/>
                    </a:cubicBezTo>
                    <a:cubicBezTo>
                      <a:pt x="221" y="35"/>
                      <a:pt x="221" y="35"/>
                      <a:pt x="221" y="35"/>
                    </a:cubicBezTo>
                    <a:cubicBezTo>
                      <a:pt x="221" y="35"/>
                      <a:pt x="222" y="35"/>
                      <a:pt x="222" y="35"/>
                    </a:cubicBezTo>
                    <a:cubicBezTo>
                      <a:pt x="222" y="35"/>
                      <a:pt x="222" y="35"/>
                      <a:pt x="222" y="35"/>
                    </a:cubicBezTo>
                    <a:cubicBezTo>
                      <a:pt x="222" y="35"/>
                      <a:pt x="223" y="35"/>
                      <a:pt x="223" y="35"/>
                    </a:cubicBezTo>
                    <a:cubicBezTo>
                      <a:pt x="223" y="35"/>
                      <a:pt x="223" y="35"/>
                      <a:pt x="223" y="35"/>
                    </a:cubicBezTo>
                    <a:cubicBezTo>
                      <a:pt x="223" y="35"/>
                      <a:pt x="223" y="35"/>
                      <a:pt x="223" y="35"/>
                    </a:cubicBezTo>
                    <a:cubicBezTo>
                      <a:pt x="224" y="35"/>
                      <a:pt x="224" y="35"/>
                      <a:pt x="224" y="35"/>
                    </a:cubicBezTo>
                    <a:cubicBezTo>
                      <a:pt x="224" y="36"/>
                      <a:pt x="224" y="36"/>
                      <a:pt x="225" y="36"/>
                    </a:cubicBezTo>
                    <a:cubicBezTo>
                      <a:pt x="225" y="36"/>
                      <a:pt x="225"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4"/>
                      <a:pt x="225" y="34"/>
                    </a:cubicBezTo>
                    <a:cubicBezTo>
                      <a:pt x="225" y="34"/>
                      <a:pt x="225" y="34"/>
                      <a:pt x="225" y="34"/>
                    </a:cubicBezTo>
                    <a:cubicBezTo>
                      <a:pt x="225" y="34"/>
                      <a:pt x="224" y="34"/>
                      <a:pt x="224" y="34"/>
                    </a:cubicBezTo>
                    <a:cubicBezTo>
                      <a:pt x="224" y="34"/>
                      <a:pt x="224" y="34"/>
                      <a:pt x="224" y="34"/>
                    </a:cubicBezTo>
                    <a:cubicBezTo>
                      <a:pt x="224" y="34"/>
                      <a:pt x="224" y="34"/>
                      <a:pt x="224" y="34"/>
                    </a:cubicBezTo>
                    <a:cubicBezTo>
                      <a:pt x="224" y="34"/>
                      <a:pt x="224" y="34"/>
                      <a:pt x="223" y="34"/>
                    </a:cubicBezTo>
                    <a:cubicBezTo>
                      <a:pt x="223" y="34"/>
                      <a:pt x="223" y="34"/>
                      <a:pt x="223" y="34"/>
                    </a:cubicBezTo>
                    <a:cubicBezTo>
                      <a:pt x="223" y="34"/>
                      <a:pt x="223" y="34"/>
                      <a:pt x="223" y="34"/>
                    </a:cubicBezTo>
                    <a:cubicBezTo>
                      <a:pt x="223" y="33"/>
                      <a:pt x="223" y="33"/>
                      <a:pt x="223" y="33"/>
                    </a:cubicBezTo>
                    <a:cubicBezTo>
                      <a:pt x="223" y="33"/>
                      <a:pt x="223" y="33"/>
                      <a:pt x="223" y="33"/>
                    </a:cubicBezTo>
                    <a:cubicBezTo>
                      <a:pt x="223" y="33"/>
                      <a:pt x="223"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3" y="32"/>
                      <a:pt x="223" y="32"/>
                      <a:pt x="223" y="31"/>
                    </a:cubicBezTo>
                    <a:cubicBezTo>
                      <a:pt x="223" y="31"/>
                      <a:pt x="223" y="31"/>
                      <a:pt x="223" y="31"/>
                    </a:cubicBezTo>
                    <a:cubicBezTo>
                      <a:pt x="224" y="31"/>
                      <a:pt x="224" y="31"/>
                      <a:pt x="224" y="31"/>
                    </a:cubicBezTo>
                    <a:cubicBezTo>
                      <a:pt x="224" y="31"/>
                      <a:pt x="224" y="31"/>
                      <a:pt x="224" y="31"/>
                    </a:cubicBezTo>
                    <a:cubicBezTo>
                      <a:pt x="224" y="31"/>
                      <a:pt x="224" y="31"/>
                      <a:pt x="224" y="31"/>
                    </a:cubicBezTo>
                    <a:cubicBezTo>
                      <a:pt x="224" y="31"/>
                      <a:pt x="224" y="31"/>
                      <a:pt x="225" y="31"/>
                    </a:cubicBezTo>
                    <a:cubicBezTo>
                      <a:pt x="225" y="31"/>
                      <a:pt x="225" y="31"/>
                      <a:pt x="225" y="30"/>
                    </a:cubicBezTo>
                    <a:cubicBezTo>
                      <a:pt x="225" y="30"/>
                      <a:pt x="225" y="30"/>
                      <a:pt x="225" y="30"/>
                    </a:cubicBezTo>
                    <a:cubicBezTo>
                      <a:pt x="225" y="30"/>
                      <a:pt x="225" y="30"/>
                      <a:pt x="225" y="30"/>
                    </a:cubicBezTo>
                    <a:cubicBezTo>
                      <a:pt x="225" y="30"/>
                      <a:pt x="225" y="30"/>
                      <a:pt x="225" y="30"/>
                    </a:cubicBezTo>
                    <a:cubicBezTo>
                      <a:pt x="225" y="30"/>
                      <a:pt x="225" y="30"/>
                      <a:pt x="225" y="30"/>
                    </a:cubicBezTo>
                    <a:cubicBezTo>
                      <a:pt x="225" y="30"/>
                      <a:pt x="225" y="29"/>
                      <a:pt x="225" y="29"/>
                    </a:cubicBezTo>
                    <a:cubicBezTo>
                      <a:pt x="225" y="29"/>
                      <a:pt x="225" y="29"/>
                      <a:pt x="225" y="29"/>
                    </a:cubicBezTo>
                    <a:cubicBezTo>
                      <a:pt x="225" y="29"/>
                      <a:pt x="225" y="29"/>
                      <a:pt x="225" y="29"/>
                    </a:cubicBezTo>
                    <a:cubicBezTo>
                      <a:pt x="225" y="29"/>
                      <a:pt x="225" y="29"/>
                      <a:pt x="225" y="29"/>
                    </a:cubicBezTo>
                    <a:cubicBezTo>
                      <a:pt x="225" y="29"/>
                      <a:pt x="225" y="29"/>
                      <a:pt x="225" y="29"/>
                    </a:cubicBezTo>
                    <a:cubicBezTo>
                      <a:pt x="225" y="29"/>
                      <a:pt x="225" y="29"/>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7"/>
                      <a:pt x="225" y="27"/>
                      <a:pt x="225" y="27"/>
                    </a:cubicBezTo>
                    <a:cubicBezTo>
                      <a:pt x="225" y="27"/>
                      <a:pt x="225" y="27"/>
                      <a:pt x="225" y="27"/>
                    </a:cubicBezTo>
                    <a:cubicBezTo>
                      <a:pt x="225" y="27"/>
                      <a:pt x="225" y="27"/>
                      <a:pt x="225"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3" y="27"/>
                      <a:pt x="223" y="27"/>
                      <a:pt x="223" y="27"/>
                    </a:cubicBezTo>
                    <a:cubicBezTo>
                      <a:pt x="223" y="27"/>
                      <a:pt x="223" y="27"/>
                      <a:pt x="223" y="27"/>
                    </a:cubicBezTo>
                    <a:cubicBezTo>
                      <a:pt x="223" y="28"/>
                      <a:pt x="223" y="28"/>
                      <a:pt x="222" y="28"/>
                    </a:cubicBezTo>
                    <a:cubicBezTo>
                      <a:pt x="222" y="28"/>
                      <a:pt x="222" y="28"/>
                      <a:pt x="222" y="28"/>
                    </a:cubicBezTo>
                    <a:cubicBezTo>
                      <a:pt x="222" y="28"/>
                      <a:pt x="222" y="28"/>
                      <a:pt x="222" y="28"/>
                    </a:cubicBezTo>
                    <a:cubicBezTo>
                      <a:pt x="222" y="28"/>
                      <a:pt x="222" y="28"/>
                      <a:pt x="222" y="28"/>
                    </a:cubicBezTo>
                    <a:cubicBezTo>
                      <a:pt x="221" y="28"/>
                      <a:pt x="221" y="28"/>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2" y="29"/>
                      <a:pt x="222" y="30"/>
                    </a:cubicBezTo>
                    <a:cubicBezTo>
                      <a:pt x="222" y="30"/>
                      <a:pt x="221" y="30"/>
                      <a:pt x="221" y="30"/>
                    </a:cubicBezTo>
                    <a:cubicBezTo>
                      <a:pt x="221" y="30"/>
                      <a:pt x="221" y="30"/>
                      <a:pt x="221" y="30"/>
                    </a:cubicBezTo>
                    <a:cubicBezTo>
                      <a:pt x="221" y="30"/>
                      <a:pt x="221" y="30"/>
                      <a:pt x="220" y="30"/>
                    </a:cubicBezTo>
                    <a:cubicBezTo>
                      <a:pt x="220" y="30"/>
                      <a:pt x="220" y="30"/>
                      <a:pt x="220" y="30"/>
                    </a:cubicBezTo>
                    <a:cubicBezTo>
                      <a:pt x="220" y="30"/>
                      <a:pt x="220" y="31"/>
                      <a:pt x="220" y="31"/>
                    </a:cubicBezTo>
                    <a:cubicBezTo>
                      <a:pt x="220" y="31"/>
                      <a:pt x="220" y="31"/>
                      <a:pt x="220" y="31"/>
                    </a:cubicBezTo>
                    <a:cubicBezTo>
                      <a:pt x="220" y="31"/>
                      <a:pt x="220" y="31"/>
                      <a:pt x="220" y="32"/>
                    </a:cubicBezTo>
                    <a:cubicBezTo>
                      <a:pt x="220" y="32"/>
                      <a:pt x="220" y="32"/>
                      <a:pt x="220" y="32"/>
                    </a:cubicBezTo>
                    <a:cubicBezTo>
                      <a:pt x="220" y="32"/>
                      <a:pt x="220"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9" y="31"/>
                      <a:pt x="219" y="31"/>
                    </a:cubicBezTo>
                    <a:cubicBezTo>
                      <a:pt x="219" y="31"/>
                      <a:pt x="219" y="30"/>
                      <a:pt x="219" y="30"/>
                    </a:cubicBezTo>
                    <a:cubicBezTo>
                      <a:pt x="219" y="30"/>
                      <a:pt x="219" y="30"/>
                      <a:pt x="219" y="30"/>
                    </a:cubicBezTo>
                    <a:cubicBezTo>
                      <a:pt x="219" y="30"/>
                      <a:pt x="219" y="30"/>
                      <a:pt x="219" y="30"/>
                    </a:cubicBezTo>
                    <a:cubicBezTo>
                      <a:pt x="219" y="30"/>
                      <a:pt x="219" y="30"/>
                      <a:pt x="219" y="30"/>
                    </a:cubicBezTo>
                    <a:cubicBezTo>
                      <a:pt x="219" y="30"/>
                      <a:pt x="219" y="30"/>
                      <a:pt x="220" y="30"/>
                    </a:cubicBezTo>
                    <a:cubicBezTo>
                      <a:pt x="220" y="30"/>
                      <a:pt x="220" y="30"/>
                      <a:pt x="220" y="30"/>
                    </a:cubicBezTo>
                    <a:cubicBezTo>
                      <a:pt x="220" y="30"/>
                      <a:pt x="220" y="30"/>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7"/>
                      <a:pt x="220" y="27"/>
                    </a:cubicBezTo>
                    <a:cubicBezTo>
                      <a:pt x="220" y="27"/>
                      <a:pt x="220" y="27"/>
                      <a:pt x="220" y="27"/>
                    </a:cubicBezTo>
                    <a:cubicBezTo>
                      <a:pt x="220" y="27"/>
                      <a:pt x="220" y="27"/>
                      <a:pt x="220" y="27"/>
                    </a:cubicBezTo>
                    <a:cubicBezTo>
                      <a:pt x="220" y="27"/>
                      <a:pt x="220" y="27"/>
                      <a:pt x="220" y="27"/>
                    </a:cubicBezTo>
                    <a:cubicBezTo>
                      <a:pt x="220" y="27"/>
                      <a:pt x="220" y="27"/>
                      <a:pt x="220" y="27"/>
                    </a:cubicBezTo>
                    <a:cubicBezTo>
                      <a:pt x="220" y="27"/>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19" y="26"/>
                      <a:pt x="219" y="26"/>
                      <a:pt x="219" y="26"/>
                    </a:cubicBezTo>
                    <a:cubicBezTo>
                      <a:pt x="219" y="26"/>
                      <a:pt x="219" y="26"/>
                      <a:pt x="219" y="25"/>
                    </a:cubicBezTo>
                    <a:cubicBezTo>
                      <a:pt x="219" y="25"/>
                      <a:pt x="219" y="25"/>
                      <a:pt x="219" y="25"/>
                    </a:cubicBezTo>
                    <a:cubicBezTo>
                      <a:pt x="219" y="25"/>
                      <a:pt x="219" y="25"/>
                      <a:pt x="219" y="25"/>
                    </a:cubicBezTo>
                    <a:cubicBezTo>
                      <a:pt x="219" y="25"/>
                      <a:pt x="219" y="25"/>
                      <a:pt x="219" y="25"/>
                    </a:cubicBezTo>
                    <a:cubicBezTo>
                      <a:pt x="219" y="25"/>
                      <a:pt x="220" y="25"/>
                      <a:pt x="220" y="25"/>
                    </a:cubicBezTo>
                    <a:cubicBezTo>
                      <a:pt x="220" y="25"/>
                      <a:pt x="220" y="25"/>
                      <a:pt x="220" y="24"/>
                    </a:cubicBezTo>
                    <a:cubicBezTo>
                      <a:pt x="220" y="24"/>
                      <a:pt x="220" y="24"/>
                      <a:pt x="220" y="24"/>
                    </a:cubicBezTo>
                    <a:cubicBezTo>
                      <a:pt x="220" y="24"/>
                      <a:pt x="220" y="24"/>
                      <a:pt x="220" y="24"/>
                    </a:cubicBezTo>
                    <a:cubicBezTo>
                      <a:pt x="220" y="24"/>
                      <a:pt x="220" y="24"/>
                      <a:pt x="220" y="24"/>
                    </a:cubicBezTo>
                    <a:cubicBezTo>
                      <a:pt x="220" y="23"/>
                      <a:pt x="220" y="23"/>
                      <a:pt x="221" y="23"/>
                    </a:cubicBezTo>
                    <a:cubicBezTo>
                      <a:pt x="221" y="23"/>
                      <a:pt x="221" y="23"/>
                      <a:pt x="221" y="23"/>
                    </a:cubicBezTo>
                    <a:cubicBezTo>
                      <a:pt x="220" y="23"/>
                      <a:pt x="220" y="23"/>
                      <a:pt x="220" y="23"/>
                    </a:cubicBezTo>
                    <a:cubicBezTo>
                      <a:pt x="220" y="23"/>
                      <a:pt x="220" y="23"/>
                      <a:pt x="220" y="23"/>
                    </a:cubicBezTo>
                    <a:cubicBezTo>
                      <a:pt x="220" y="23"/>
                      <a:pt x="220" y="23"/>
                      <a:pt x="220" y="23"/>
                    </a:cubicBezTo>
                    <a:cubicBezTo>
                      <a:pt x="220" y="23"/>
                      <a:pt x="220" y="23"/>
                      <a:pt x="220" y="23"/>
                    </a:cubicBezTo>
                    <a:cubicBezTo>
                      <a:pt x="220" y="23"/>
                      <a:pt x="220" y="23"/>
                      <a:pt x="219" y="24"/>
                    </a:cubicBezTo>
                    <a:cubicBezTo>
                      <a:pt x="219" y="24"/>
                      <a:pt x="219" y="24"/>
                      <a:pt x="219" y="24"/>
                    </a:cubicBezTo>
                    <a:cubicBezTo>
                      <a:pt x="219" y="24"/>
                      <a:pt x="219" y="24"/>
                      <a:pt x="219" y="24"/>
                    </a:cubicBezTo>
                    <a:cubicBezTo>
                      <a:pt x="219" y="25"/>
                      <a:pt x="218" y="25"/>
                      <a:pt x="218" y="25"/>
                    </a:cubicBezTo>
                    <a:cubicBezTo>
                      <a:pt x="218" y="25"/>
                      <a:pt x="218" y="25"/>
                      <a:pt x="218" y="25"/>
                    </a:cubicBezTo>
                    <a:cubicBezTo>
                      <a:pt x="218" y="25"/>
                      <a:pt x="218" y="25"/>
                      <a:pt x="218" y="26"/>
                    </a:cubicBezTo>
                    <a:cubicBezTo>
                      <a:pt x="218" y="26"/>
                      <a:pt x="217" y="26"/>
                      <a:pt x="217" y="26"/>
                    </a:cubicBezTo>
                    <a:cubicBezTo>
                      <a:pt x="217" y="26"/>
                      <a:pt x="217" y="26"/>
                      <a:pt x="217" y="26"/>
                    </a:cubicBezTo>
                    <a:cubicBezTo>
                      <a:pt x="217" y="26"/>
                      <a:pt x="217" y="26"/>
                      <a:pt x="217" y="27"/>
                    </a:cubicBezTo>
                    <a:cubicBezTo>
                      <a:pt x="217" y="27"/>
                      <a:pt x="217" y="26"/>
                      <a:pt x="217" y="27"/>
                    </a:cubicBezTo>
                    <a:cubicBezTo>
                      <a:pt x="217" y="27"/>
                      <a:pt x="217" y="27"/>
                      <a:pt x="217" y="27"/>
                    </a:cubicBezTo>
                    <a:cubicBezTo>
                      <a:pt x="217" y="27"/>
                      <a:pt x="217" y="27"/>
                      <a:pt x="217" y="27"/>
                    </a:cubicBezTo>
                    <a:cubicBezTo>
                      <a:pt x="217" y="27"/>
                      <a:pt x="217" y="27"/>
                      <a:pt x="217" y="27"/>
                    </a:cubicBezTo>
                    <a:cubicBezTo>
                      <a:pt x="217" y="27"/>
                      <a:pt x="217" y="27"/>
                      <a:pt x="217" y="28"/>
                    </a:cubicBezTo>
                    <a:cubicBezTo>
                      <a:pt x="217" y="28"/>
                      <a:pt x="217" y="28"/>
                      <a:pt x="217" y="28"/>
                    </a:cubicBezTo>
                    <a:cubicBezTo>
                      <a:pt x="217" y="28"/>
                      <a:pt x="217" y="28"/>
                      <a:pt x="217" y="28"/>
                    </a:cubicBezTo>
                    <a:cubicBezTo>
                      <a:pt x="217" y="28"/>
                      <a:pt x="217" y="28"/>
                      <a:pt x="217" y="28"/>
                    </a:cubicBezTo>
                    <a:cubicBezTo>
                      <a:pt x="217" y="29"/>
                      <a:pt x="217" y="29"/>
                      <a:pt x="216" y="29"/>
                    </a:cubicBezTo>
                    <a:cubicBezTo>
                      <a:pt x="216" y="30"/>
                      <a:pt x="216" y="30"/>
                      <a:pt x="216" y="30"/>
                    </a:cubicBezTo>
                    <a:cubicBezTo>
                      <a:pt x="216" y="30"/>
                      <a:pt x="216" y="30"/>
                      <a:pt x="216" y="30"/>
                    </a:cubicBezTo>
                    <a:cubicBezTo>
                      <a:pt x="216" y="30"/>
                      <a:pt x="216" y="30"/>
                      <a:pt x="216" y="31"/>
                    </a:cubicBezTo>
                    <a:close/>
                    <a:moveTo>
                      <a:pt x="218" y="49"/>
                    </a:moveTo>
                    <a:cubicBezTo>
                      <a:pt x="218" y="49"/>
                      <a:pt x="218" y="49"/>
                      <a:pt x="218" y="49"/>
                    </a:cubicBezTo>
                    <a:cubicBezTo>
                      <a:pt x="218" y="49"/>
                      <a:pt x="219" y="49"/>
                      <a:pt x="219" y="49"/>
                    </a:cubicBezTo>
                    <a:cubicBezTo>
                      <a:pt x="219" y="49"/>
                      <a:pt x="220" y="49"/>
                      <a:pt x="220" y="49"/>
                    </a:cubicBezTo>
                    <a:cubicBezTo>
                      <a:pt x="220" y="49"/>
                      <a:pt x="220" y="49"/>
                      <a:pt x="220" y="49"/>
                    </a:cubicBezTo>
                    <a:cubicBezTo>
                      <a:pt x="220" y="49"/>
                      <a:pt x="220" y="49"/>
                      <a:pt x="220" y="49"/>
                    </a:cubicBezTo>
                    <a:cubicBezTo>
                      <a:pt x="221" y="49"/>
                      <a:pt x="221" y="49"/>
                      <a:pt x="221" y="49"/>
                    </a:cubicBezTo>
                    <a:cubicBezTo>
                      <a:pt x="221" y="49"/>
                      <a:pt x="221" y="49"/>
                      <a:pt x="221" y="48"/>
                    </a:cubicBezTo>
                    <a:cubicBezTo>
                      <a:pt x="221" y="48"/>
                      <a:pt x="221" y="48"/>
                      <a:pt x="221" y="48"/>
                    </a:cubicBezTo>
                    <a:cubicBezTo>
                      <a:pt x="221" y="48"/>
                      <a:pt x="221" y="48"/>
                      <a:pt x="221" y="48"/>
                    </a:cubicBezTo>
                    <a:cubicBezTo>
                      <a:pt x="221" y="48"/>
                      <a:pt x="221" y="48"/>
                      <a:pt x="221" y="48"/>
                    </a:cubicBezTo>
                    <a:cubicBezTo>
                      <a:pt x="220" y="48"/>
                      <a:pt x="220" y="48"/>
                      <a:pt x="220" y="48"/>
                    </a:cubicBezTo>
                    <a:cubicBezTo>
                      <a:pt x="220" y="47"/>
                      <a:pt x="220" y="47"/>
                      <a:pt x="220" y="47"/>
                    </a:cubicBezTo>
                    <a:cubicBezTo>
                      <a:pt x="220" y="47"/>
                      <a:pt x="220" y="47"/>
                      <a:pt x="219" y="47"/>
                    </a:cubicBezTo>
                    <a:cubicBezTo>
                      <a:pt x="219" y="47"/>
                      <a:pt x="219" y="47"/>
                      <a:pt x="219" y="47"/>
                    </a:cubicBezTo>
                    <a:cubicBezTo>
                      <a:pt x="219" y="47"/>
                      <a:pt x="219" y="47"/>
                      <a:pt x="219" y="47"/>
                    </a:cubicBezTo>
                    <a:cubicBezTo>
                      <a:pt x="219" y="47"/>
                      <a:pt x="219" y="47"/>
                      <a:pt x="219" y="47"/>
                    </a:cubicBezTo>
                    <a:cubicBezTo>
                      <a:pt x="219" y="46"/>
                      <a:pt x="218" y="46"/>
                      <a:pt x="218" y="46"/>
                    </a:cubicBezTo>
                    <a:cubicBezTo>
                      <a:pt x="218" y="47"/>
                      <a:pt x="218" y="46"/>
                      <a:pt x="218" y="47"/>
                    </a:cubicBezTo>
                    <a:cubicBezTo>
                      <a:pt x="218" y="47"/>
                      <a:pt x="217" y="47"/>
                      <a:pt x="217" y="47"/>
                    </a:cubicBezTo>
                    <a:cubicBezTo>
                      <a:pt x="217" y="47"/>
                      <a:pt x="217" y="47"/>
                      <a:pt x="217" y="47"/>
                    </a:cubicBezTo>
                    <a:cubicBezTo>
                      <a:pt x="217" y="47"/>
                      <a:pt x="217" y="47"/>
                      <a:pt x="216" y="47"/>
                    </a:cubicBezTo>
                    <a:cubicBezTo>
                      <a:pt x="216" y="47"/>
                      <a:pt x="216" y="47"/>
                      <a:pt x="216" y="48"/>
                    </a:cubicBezTo>
                    <a:cubicBezTo>
                      <a:pt x="216" y="48"/>
                      <a:pt x="216" y="48"/>
                      <a:pt x="216" y="48"/>
                    </a:cubicBezTo>
                    <a:cubicBezTo>
                      <a:pt x="216" y="48"/>
                      <a:pt x="216" y="48"/>
                      <a:pt x="216" y="49"/>
                    </a:cubicBezTo>
                    <a:cubicBezTo>
                      <a:pt x="216" y="49"/>
                      <a:pt x="217" y="49"/>
                      <a:pt x="217" y="49"/>
                    </a:cubicBezTo>
                    <a:cubicBezTo>
                      <a:pt x="217" y="49"/>
                      <a:pt x="217" y="49"/>
                      <a:pt x="217" y="49"/>
                    </a:cubicBezTo>
                    <a:cubicBezTo>
                      <a:pt x="217" y="49"/>
                      <a:pt x="218" y="49"/>
                      <a:pt x="218" y="49"/>
                    </a:cubicBezTo>
                    <a:close/>
                    <a:moveTo>
                      <a:pt x="222" y="23"/>
                    </a:moveTo>
                    <a:cubicBezTo>
                      <a:pt x="222" y="23"/>
                      <a:pt x="222" y="23"/>
                      <a:pt x="222" y="23"/>
                    </a:cubicBezTo>
                    <a:cubicBezTo>
                      <a:pt x="222" y="23"/>
                      <a:pt x="222" y="23"/>
                      <a:pt x="222" y="24"/>
                    </a:cubicBezTo>
                    <a:cubicBezTo>
                      <a:pt x="222" y="24"/>
                      <a:pt x="222" y="24"/>
                      <a:pt x="222" y="24"/>
                    </a:cubicBezTo>
                    <a:cubicBezTo>
                      <a:pt x="222" y="24"/>
                      <a:pt x="222" y="24"/>
                      <a:pt x="222" y="24"/>
                    </a:cubicBezTo>
                    <a:cubicBezTo>
                      <a:pt x="222" y="24"/>
                      <a:pt x="222" y="24"/>
                      <a:pt x="222" y="24"/>
                    </a:cubicBezTo>
                    <a:cubicBezTo>
                      <a:pt x="223" y="24"/>
                      <a:pt x="223" y="24"/>
                      <a:pt x="223" y="24"/>
                    </a:cubicBezTo>
                    <a:cubicBezTo>
                      <a:pt x="223" y="24"/>
                      <a:pt x="224" y="24"/>
                      <a:pt x="224" y="24"/>
                    </a:cubicBezTo>
                    <a:cubicBezTo>
                      <a:pt x="224" y="24"/>
                      <a:pt x="224" y="24"/>
                      <a:pt x="224" y="24"/>
                    </a:cubicBezTo>
                    <a:cubicBezTo>
                      <a:pt x="224" y="23"/>
                      <a:pt x="224" y="23"/>
                      <a:pt x="224" y="23"/>
                    </a:cubicBezTo>
                    <a:cubicBezTo>
                      <a:pt x="224" y="23"/>
                      <a:pt x="224" y="23"/>
                      <a:pt x="224" y="23"/>
                    </a:cubicBezTo>
                    <a:cubicBezTo>
                      <a:pt x="224" y="23"/>
                      <a:pt x="224" y="22"/>
                      <a:pt x="224" y="22"/>
                    </a:cubicBezTo>
                    <a:cubicBezTo>
                      <a:pt x="224" y="22"/>
                      <a:pt x="224" y="22"/>
                      <a:pt x="224" y="22"/>
                    </a:cubicBezTo>
                    <a:cubicBezTo>
                      <a:pt x="225" y="22"/>
                      <a:pt x="225" y="22"/>
                      <a:pt x="225" y="21"/>
                    </a:cubicBezTo>
                    <a:cubicBezTo>
                      <a:pt x="225" y="21"/>
                      <a:pt x="225" y="21"/>
                      <a:pt x="225" y="21"/>
                    </a:cubicBezTo>
                    <a:cubicBezTo>
                      <a:pt x="225" y="21"/>
                      <a:pt x="224" y="21"/>
                      <a:pt x="224" y="21"/>
                    </a:cubicBezTo>
                    <a:cubicBezTo>
                      <a:pt x="224" y="20"/>
                      <a:pt x="224" y="20"/>
                      <a:pt x="224" y="20"/>
                    </a:cubicBezTo>
                    <a:cubicBezTo>
                      <a:pt x="224" y="20"/>
                      <a:pt x="224" y="20"/>
                      <a:pt x="224" y="20"/>
                    </a:cubicBezTo>
                    <a:cubicBezTo>
                      <a:pt x="224" y="20"/>
                      <a:pt x="224" y="20"/>
                      <a:pt x="224" y="20"/>
                    </a:cubicBezTo>
                    <a:cubicBezTo>
                      <a:pt x="224" y="20"/>
                      <a:pt x="223" y="20"/>
                      <a:pt x="223" y="20"/>
                    </a:cubicBezTo>
                    <a:cubicBezTo>
                      <a:pt x="223" y="20"/>
                      <a:pt x="223" y="21"/>
                      <a:pt x="223" y="21"/>
                    </a:cubicBezTo>
                    <a:cubicBezTo>
                      <a:pt x="223" y="21"/>
                      <a:pt x="223" y="21"/>
                      <a:pt x="223" y="21"/>
                    </a:cubicBezTo>
                    <a:cubicBezTo>
                      <a:pt x="222" y="21"/>
                      <a:pt x="222" y="21"/>
                      <a:pt x="222" y="21"/>
                    </a:cubicBezTo>
                    <a:cubicBezTo>
                      <a:pt x="222" y="22"/>
                      <a:pt x="222" y="22"/>
                      <a:pt x="222" y="22"/>
                    </a:cubicBezTo>
                    <a:cubicBezTo>
                      <a:pt x="222" y="22"/>
                      <a:pt x="222" y="22"/>
                      <a:pt x="222" y="22"/>
                    </a:cubicBezTo>
                    <a:cubicBezTo>
                      <a:pt x="222" y="22"/>
                      <a:pt x="222" y="22"/>
                      <a:pt x="222" y="23"/>
                    </a:cubicBezTo>
                    <a:close/>
                    <a:moveTo>
                      <a:pt x="151" y="10"/>
                    </a:moveTo>
                    <a:cubicBezTo>
                      <a:pt x="151" y="11"/>
                      <a:pt x="151" y="11"/>
                      <a:pt x="151" y="11"/>
                    </a:cubicBezTo>
                    <a:cubicBezTo>
                      <a:pt x="151" y="11"/>
                      <a:pt x="151" y="11"/>
                      <a:pt x="151" y="11"/>
                    </a:cubicBezTo>
                    <a:cubicBezTo>
                      <a:pt x="151" y="11"/>
                      <a:pt x="151" y="11"/>
                      <a:pt x="152" y="11"/>
                    </a:cubicBezTo>
                    <a:cubicBezTo>
                      <a:pt x="152" y="11"/>
                      <a:pt x="152" y="11"/>
                      <a:pt x="152" y="11"/>
                    </a:cubicBezTo>
                    <a:cubicBezTo>
                      <a:pt x="152" y="11"/>
                      <a:pt x="152" y="11"/>
                      <a:pt x="152" y="11"/>
                    </a:cubicBezTo>
                    <a:cubicBezTo>
                      <a:pt x="152" y="11"/>
                      <a:pt x="152" y="11"/>
                      <a:pt x="152" y="11"/>
                    </a:cubicBezTo>
                    <a:cubicBezTo>
                      <a:pt x="152" y="11"/>
                      <a:pt x="152" y="10"/>
                      <a:pt x="152" y="10"/>
                    </a:cubicBezTo>
                    <a:cubicBezTo>
                      <a:pt x="152" y="10"/>
                      <a:pt x="152" y="10"/>
                      <a:pt x="152" y="10"/>
                    </a:cubicBezTo>
                    <a:cubicBezTo>
                      <a:pt x="151" y="10"/>
                      <a:pt x="151" y="10"/>
                      <a:pt x="151" y="10"/>
                    </a:cubicBezTo>
                    <a:cubicBezTo>
                      <a:pt x="151" y="10"/>
                      <a:pt x="151" y="10"/>
                      <a:pt x="151" y="10"/>
                    </a:cubicBezTo>
                    <a:cubicBezTo>
                      <a:pt x="151" y="10"/>
                      <a:pt x="151" y="10"/>
                      <a:pt x="151" y="10"/>
                    </a:cubicBezTo>
                    <a:close/>
                    <a:moveTo>
                      <a:pt x="152" y="10"/>
                    </a:moveTo>
                    <a:cubicBezTo>
                      <a:pt x="152" y="10"/>
                      <a:pt x="152" y="10"/>
                      <a:pt x="152" y="10"/>
                    </a:cubicBezTo>
                    <a:cubicBezTo>
                      <a:pt x="152" y="10"/>
                      <a:pt x="152" y="10"/>
                      <a:pt x="153" y="11"/>
                    </a:cubicBezTo>
                    <a:cubicBezTo>
                      <a:pt x="153" y="11"/>
                      <a:pt x="153" y="11"/>
                      <a:pt x="153" y="11"/>
                    </a:cubicBezTo>
                    <a:cubicBezTo>
                      <a:pt x="153" y="11"/>
                      <a:pt x="153" y="11"/>
                      <a:pt x="153" y="11"/>
                    </a:cubicBezTo>
                    <a:cubicBezTo>
                      <a:pt x="153" y="11"/>
                      <a:pt x="153" y="11"/>
                      <a:pt x="153" y="10"/>
                    </a:cubicBezTo>
                    <a:cubicBezTo>
                      <a:pt x="153" y="10"/>
                      <a:pt x="153" y="10"/>
                      <a:pt x="153" y="10"/>
                    </a:cubicBezTo>
                    <a:cubicBezTo>
                      <a:pt x="152" y="10"/>
                      <a:pt x="152" y="10"/>
                      <a:pt x="152" y="10"/>
                    </a:cubicBezTo>
                    <a:cubicBezTo>
                      <a:pt x="152" y="10"/>
                      <a:pt x="152" y="10"/>
                      <a:pt x="152" y="10"/>
                    </a:cubicBezTo>
                    <a:cubicBezTo>
                      <a:pt x="152" y="10"/>
                      <a:pt x="152" y="10"/>
                      <a:pt x="152" y="10"/>
                    </a:cubicBezTo>
                    <a:close/>
                    <a:moveTo>
                      <a:pt x="153" y="14"/>
                    </a:moveTo>
                    <a:cubicBezTo>
                      <a:pt x="153" y="14"/>
                      <a:pt x="153"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3" y="15"/>
                      <a:pt x="153" y="15"/>
                      <a:pt x="153" y="15"/>
                    </a:cubicBezTo>
                    <a:cubicBezTo>
                      <a:pt x="153" y="15"/>
                      <a:pt x="153" y="15"/>
                      <a:pt x="153" y="15"/>
                    </a:cubicBezTo>
                    <a:cubicBezTo>
                      <a:pt x="153" y="15"/>
                      <a:pt x="153" y="15"/>
                      <a:pt x="153" y="14"/>
                    </a:cubicBezTo>
                    <a:cubicBezTo>
                      <a:pt x="153" y="14"/>
                      <a:pt x="153" y="14"/>
                      <a:pt x="153" y="14"/>
                    </a:cubicBezTo>
                    <a:cubicBezTo>
                      <a:pt x="153" y="14"/>
                      <a:pt x="153" y="14"/>
                      <a:pt x="153" y="14"/>
                    </a:cubicBezTo>
                    <a:cubicBezTo>
                      <a:pt x="153" y="14"/>
                      <a:pt x="153" y="14"/>
                      <a:pt x="153" y="14"/>
                    </a:cubicBezTo>
                    <a:close/>
                    <a:moveTo>
                      <a:pt x="152" y="15"/>
                    </a:moveTo>
                    <a:cubicBezTo>
                      <a:pt x="152" y="15"/>
                      <a:pt x="152" y="15"/>
                      <a:pt x="151" y="15"/>
                    </a:cubicBezTo>
                    <a:cubicBezTo>
                      <a:pt x="151" y="15"/>
                      <a:pt x="151" y="15"/>
                      <a:pt x="151" y="15"/>
                    </a:cubicBezTo>
                    <a:cubicBezTo>
                      <a:pt x="151" y="15"/>
                      <a:pt x="151" y="15"/>
                      <a:pt x="151" y="15"/>
                    </a:cubicBezTo>
                    <a:cubicBezTo>
                      <a:pt x="151" y="15"/>
                      <a:pt x="150" y="15"/>
                      <a:pt x="151" y="15"/>
                    </a:cubicBezTo>
                    <a:cubicBezTo>
                      <a:pt x="151" y="15"/>
                      <a:pt x="151" y="15"/>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5"/>
                      <a:pt x="151" y="15"/>
                    </a:cubicBezTo>
                    <a:cubicBezTo>
                      <a:pt x="152" y="15"/>
                      <a:pt x="152" y="15"/>
                      <a:pt x="152" y="15"/>
                    </a:cubicBezTo>
                    <a:close/>
                    <a:moveTo>
                      <a:pt x="151" y="14"/>
                    </a:moveTo>
                    <a:cubicBezTo>
                      <a:pt x="151" y="15"/>
                      <a:pt x="151" y="14"/>
                      <a:pt x="151" y="14"/>
                    </a:cubicBezTo>
                    <a:cubicBezTo>
                      <a:pt x="151" y="14"/>
                      <a:pt x="151" y="14"/>
                      <a:pt x="151" y="14"/>
                    </a:cubicBezTo>
                    <a:cubicBezTo>
                      <a:pt x="151" y="14"/>
                      <a:pt x="151" y="14"/>
                      <a:pt x="150" y="14"/>
                    </a:cubicBezTo>
                    <a:cubicBezTo>
                      <a:pt x="150" y="14"/>
                      <a:pt x="150" y="14"/>
                      <a:pt x="150" y="14"/>
                    </a:cubicBezTo>
                    <a:cubicBezTo>
                      <a:pt x="150" y="14"/>
                      <a:pt x="150" y="14"/>
                      <a:pt x="150" y="14"/>
                    </a:cubicBezTo>
                    <a:cubicBezTo>
                      <a:pt x="151" y="14"/>
                      <a:pt x="151" y="14"/>
                      <a:pt x="151" y="14"/>
                    </a:cubicBezTo>
                    <a:close/>
                    <a:moveTo>
                      <a:pt x="149" y="14"/>
                    </a:moveTo>
                    <a:cubicBezTo>
                      <a:pt x="149" y="14"/>
                      <a:pt x="149" y="14"/>
                      <a:pt x="149" y="14"/>
                    </a:cubicBezTo>
                    <a:cubicBezTo>
                      <a:pt x="149" y="14"/>
                      <a:pt x="149" y="14"/>
                      <a:pt x="149" y="14"/>
                    </a:cubicBezTo>
                    <a:cubicBezTo>
                      <a:pt x="149" y="14"/>
                      <a:pt x="149" y="14"/>
                      <a:pt x="150" y="14"/>
                    </a:cubicBezTo>
                    <a:cubicBezTo>
                      <a:pt x="150" y="15"/>
                      <a:pt x="150" y="15"/>
                      <a:pt x="150" y="15"/>
                    </a:cubicBezTo>
                    <a:cubicBezTo>
                      <a:pt x="150" y="15"/>
                      <a:pt x="150" y="15"/>
                      <a:pt x="150" y="15"/>
                    </a:cubicBezTo>
                    <a:cubicBezTo>
                      <a:pt x="150" y="14"/>
                      <a:pt x="150" y="14"/>
                      <a:pt x="150" y="14"/>
                    </a:cubicBezTo>
                    <a:cubicBezTo>
                      <a:pt x="150" y="14"/>
                      <a:pt x="150" y="14"/>
                      <a:pt x="150" y="14"/>
                    </a:cubicBezTo>
                    <a:cubicBezTo>
                      <a:pt x="150" y="14"/>
                      <a:pt x="149" y="14"/>
                      <a:pt x="149" y="14"/>
                    </a:cubicBezTo>
                    <a:cubicBezTo>
                      <a:pt x="149" y="14"/>
                      <a:pt x="149" y="14"/>
                      <a:pt x="149" y="14"/>
                    </a:cubicBezTo>
                    <a:cubicBezTo>
                      <a:pt x="149" y="14"/>
                      <a:pt x="149" y="14"/>
                      <a:pt x="149" y="14"/>
                    </a:cubicBezTo>
                    <a:cubicBezTo>
                      <a:pt x="149" y="14"/>
                      <a:pt x="149" y="14"/>
                      <a:pt x="149" y="14"/>
                    </a:cubicBezTo>
                    <a:close/>
                    <a:moveTo>
                      <a:pt x="239" y="88"/>
                    </a:moveTo>
                    <a:cubicBezTo>
                      <a:pt x="239" y="88"/>
                      <a:pt x="239" y="88"/>
                      <a:pt x="239" y="88"/>
                    </a:cubicBezTo>
                    <a:cubicBezTo>
                      <a:pt x="239" y="88"/>
                      <a:pt x="239" y="88"/>
                      <a:pt x="239" y="88"/>
                    </a:cubicBezTo>
                    <a:cubicBezTo>
                      <a:pt x="239" y="88"/>
                      <a:pt x="239" y="88"/>
                      <a:pt x="239" y="88"/>
                    </a:cubicBezTo>
                    <a:cubicBezTo>
                      <a:pt x="239"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39" y="88"/>
                      <a:pt x="239" y="88"/>
                    </a:cubicBezTo>
                    <a:close/>
                    <a:moveTo>
                      <a:pt x="221" y="92"/>
                    </a:moveTo>
                    <a:cubicBezTo>
                      <a:pt x="221" y="92"/>
                      <a:pt x="221" y="92"/>
                      <a:pt x="221" y="92"/>
                    </a:cubicBezTo>
                    <a:cubicBezTo>
                      <a:pt x="220" y="92"/>
                      <a:pt x="220" y="92"/>
                      <a:pt x="220" y="92"/>
                    </a:cubicBezTo>
                    <a:cubicBezTo>
                      <a:pt x="220" y="92"/>
                      <a:pt x="220" y="92"/>
                      <a:pt x="220" y="92"/>
                    </a:cubicBezTo>
                    <a:cubicBezTo>
                      <a:pt x="220" y="92"/>
                      <a:pt x="220" y="92"/>
                      <a:pt x="220" y="92"/>
                    </a:cubicBezTo>
                    <a:cubicBezTo>
                      <a:pt x="220" y="92"/>
                      <a:pt x="220"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3"/>
                    </a:cubicBezTo>
                    <a:cubicBezTo>
                      <a:pt x="219" y="93"/>
                      <a:pt x="219" y="93"/>
                      <a:pt x="219" y="93"/>
                    </a:cubicBezTo>
                    <a:cubicBezTo>
                      <a:pt x="219" y="93"/>
                      <a:pt x="220" y="93"/>
                      <a:pt x="220" y="93"/>
                    </a:cubicBezTo>
                    <a:cubicBezTo>
                      <a:pt x="220" y="93"/>
                      <a:pt x="220" y="93"/>
                      <a:pt x="220" y="93"/>
                    </a:cubicBezTo>
                    <a:cubicBezTo>
                      <a:pt x="220" y="93"/>
                      <a:pt x="220" y="93"/>
                      <a:pt x="220" y="93"/>
                    </a:cubicBezTo>
                    <a:cubicBezTo>
                      <a:pt x="220" y="93"/>
                      <a:pt x="220" y="93"/>
                      <a:pt x="220" y="93"/>
                    </a:cubicBezTo>
                    <a:cubicBezTo>
                      <a:pt x="220" y="93"/>
                      <a:pt x="220" y="93"/>
                      <a:pt x="220" y="93"/>
                    </a:cubicBezTo>
                    <a:cubicBezTo>
                      <a:pt x="221" y="93"/>
                      <a:pt x="221" y="93"/>
                      <a:pt x="221" y="93"/>
                    </a:cubicBezTo>
                    <a:cubicBezTo>
                      <a:pt x="221" y="93"/>
                      <a:pt x="221" y="92"/>
                      <a:pt x="221" y="92"/>
                    </a:cubicBezTo>
                    <a:cubicBezTo>
                      <a:pt x="221" y="92"/>
                      <a:pt x="221" y="92"/>
                      <a:pt x="221" y="92"/>
                    </a:cubicBezTo>
                    <a:close/>
                    <a:moveTo>
                      <a:pt x="223" y="61"/>
                    </a:moveTo>
                    <a:cubicBezTo>
                      <a:pt x="223" y="61"/>
                      <a:pt x="223"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1" y="61"/>
                      <a:pt x="221" y="61"/>
                      <a:pt x="221" y="61"/>
                    </a:cubicBezTo>
                    <a:cubicBezTo>
                      <a:pt x="221" y="62"/>
                      <a:pt x="221" y="61"/>
                      <a:pt x="221" y="62"/>
                    </a:cubicBezTo>
                    <a:cubicBezTo>
                      <a:pt x="221"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3"/>
                      <a:pt x="220" y="63"/>
                      <a:pt x="220" y="63"/>
                    </a:cubicBezTo>
                    <a:cubicBezTo>
                      <a:pt x="220" y="63"/>
                      <a:pt x="220" y="63"/>
                      <a:pt x="220" y="63"/>
                    </a:cubicBezTo>
                    <a:cubicBezTo>
                      <a:pt x="220" y="63"/>
                      <a:pt x="220" y="63"/>
                      <a:pt x="220" y="63"/>
                    </a:cubicBezTo>
                    <a:cubicBezTo>
                      <a:pt x="220" y="63"/>
                      <a:pt x="220" y="63"/>
                      <a:pt x="220" y="63"/>
                    </a:cubicBezTo>
                    <a:cubicBezTo>
                      <a:pt x="220" y="63"/>
                      <a:pt x="220" y="62"/>
                      <a:pt x="220" y="62"/>
                    </a:cubicBezTo>
                    <a:cubicBezTo>
                      <a:pt x="221" y="62"/>
                      <a:pt x="221" y="62"/>
                      <a:pt x="221" y="62"/>
                    </a:cubicBezTo>
                    <a:cubicBezTo>
                      <a:pt x="221" y="62"/>
                      <a:pt x="221" y="62"/>
                      <a:pt x="221" y="62"/>
                    </a:cubicBezTo>
                    <a:cubicBezTo>
                      <a:pt x="221" y="62"/>
                      <a:pt x="221" y="62"/>
                      <a:pt x="221" y="62"/>
                    </a:cubicBezTo>
                    <a:cubicBezTo>
                      <a:pt x="222" y="62"/>
                      <a:pt x="222" y="62"/>
                      <a:pt x="222" y="62"/>
                    </a:cubicBezTo>
                    <a:cubicBezTo>
                      <a:pt x="222" y="62"/>
                      <a:pt x="222" y="62"/>
                      <a:pt x="222" y="62"/>
                    </a:cubicBezTo>
                    <a:cubicBezTo>
                      <a:pt x="222" y="62"/>
                      <a:pt x="221" y="62"/>
                      <a:pt x="221" y="62"/>
                    </a:cubicBezTo>
                    <a:cubicBezTo>
                      <a:pt x="221" y="62"/>
                      <a:pt x="221" y="62"/>
                      <a:pt x="221" y="63"/>
                    </a:cubicBezTo>
                    <a:cubicBezTo>
                      <a:pt x="221" y="63"/>
                      <a:pt x="221" y="63"/>
                      <a:pt x="221" y="63"/>
                    </a:cubicBezTo>
                    <a:cubicBezTo>
                      <a:pt x="221" y="63"/>
                      <a:pt x="221" y="63"/>
                      <a:pt x="221" y="63"/>
                    </a:cubicBezTo>
                    <a:cubicBezTo>
                      <a:pt x="221" y="63"/>
                      <a:pt x="221" y="63"/>
                      <a:pt x="222" y="63"/>
                    </a:cubicBezTo>
                    <a:cubicBezTo>
                      <a:pt x="222" y="63"/>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3" y="62"/>
                      <a:pt x="223" y="62"/>
                    </a:cubicBezTo>
                    <a:cubicBezTo>
                      <a:pt x="223" y="62"/>
                      <a:pt x="222" y="62"/>
                      <a:pt x="222" y="62"/>
                    </a:cubicBezTo>
                    <a:cubicBezTo>
                      <a:pt x="222" y="62"/>
                      <a:pt x="222" y="62"/>
                      <a:pt x="222" y="61"/>
                    </a:cubicBezTo>
                    <a:cubicBezTo>
                      <a:pt x="222" y="61"/>
                      <a:pt x="222" y="61"/>
                      <a:pt x="222" y="61"/>
                    </a:cubicBezTo>
                    <a:cubicBezTo>
                      <a:pt x="222" y="61"/>
                      <a:pt x="222" y="61"/>
                      <a:pt x="222" y="61"/>
                    </a:cubicBezTo>
                    <a:cubicBezTo>
                      <a:pt x="222" y="61"/>
                      <a:pt x="223" y="61"/>
                      <a:pt x="223" y="61"/>
                    </a:cubicBezTo>
                    <a:close/>
                    <a:moveTo>
                      <a:pt x="222" y="93"/>
                    </a:moveTo>
                    <a:cubicBezTo>
                      <a:pt x="222" y="93"/>
                      <a:pt x="222" y="93"/>
                      <a:pt x="222" y="93"/>
                    </a:cubicBezTo>
                    <a:cubicBezTo>
                      <a:pt x="222" y="93"/>
                      <a:pt x="222" y="93"/>
                      <a:pt x="222"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2" y="93"/>
                    </a:cubicBezTo>
                    <a:cubicBezTo>
                      <a:pt x="222" y="93"/>
                      <a:pt x="222" y="93"/>
                      <a:pt x="222" y="93"/>
                    </a:cubicBezTo>
                    <a:cubicBezTo>
                      <a:pt x="222" y="93"/>
                      <a:pt x="222" y="93"/>
                      <a:pt x="222" y="93"/>
                    </a:cubicBezTo>
                    <a:close/>
                    <a:moveTo>
                      <a:pt x="225" y="61"/>
                    </a:moveTo>
                    <a:cubicBezTo>
                      <a:pt x="225" y="61"/>
                      <a:pt x="225" y="61"/>
                      <a:pt x="225" y="61"/>
                    </a:cubicBezTo>
                    <a:cubicBezTo>
                      <a:pt x="225" y="61"/>
                      <a:pt x="225" y="61"/>
                      <a:pt x="225" y="61"/>
                    </a:cubicBezTo>
                    <a:cubicBezTo>
                      <a:pt x="225" y="61"/>
                      <a:pt x="224" y="61"/>
                      <a:pt x="224" y="61"/>
                    </a:cubicBezTo>
                    <a:cubicBezTo>
                      <a:pt x="224" y="61"/>
                      <a:pt x="224" y="61"/>
                      <a:pt x="224" y="61"/>
                    </a:cubicBezTo>
                    <a:cubicBezTo>
                      <a:pt x="224" y="61"/>
                      <a:pt x="224" y="61"/>
                      <a:pt x="224" y="61"/>
                    </a:cubicBezTo>
                    <a:cubicBezTo>
                      <a:pt x="224" y="61"/>
                      <a:pt x="224" y="61"/>
                      <a:pt x="224" y="61"/>
                    </a:cubicBezTo>
                    <a:cubicBezTo>
                      <a:pt x="224" y="61"/>
                      <a:pt x="224" y="61"/>
                      <a:pt x="224" y="61"/>
                    </a:cubicBezTo>
                    <a:cubicBezTo>
                      <a:pt x="224" y="61"/>
                      <a:pt x="224" y="62"/>
                      <a:pt x="224" y="62"/>
                    </a:cubicBezTo>
                    <a:cubicBezTo>
                      <a:pt x="225" y="62"/>
                      <a:pt x="225" y="62"/>
                      <a:pt x="225" y="62"/>
                    </a:cubicBezTo>
                    <a:cubicBezTo>
                      <a:pt x="225" y="62"/>
                      <a:pt x="225" y="61"/>
                      <a:pt x="225" y="62"/>
                    </a:cubicBezTo>
                    <a:cubicBezTo>
                      <a:pt x="225" y="62"/>
                      <a:pt x="225" y="62"/>
                      <a:pt x="225" y="62"/>
                    </a:cubicBezTo>
                    <a:cubicBezTo>
                      <a:pt x="225" y="62"/>
                      <a:pt x="225" y="62"/>
                      <a:pt x="225" y="62"/>
                    </a:cubicBezTo>
                    <a:cubicBezTo>
                      <a:pt x="225" y="62"/>
                      <a:pt x="225" y="62"/>
                      <a:pt x="225" y="62"/>
                    </a:cubicBezTo>
                    <a:cubicBezTo>
                      <a:pt x="225" y="61"/>
                      <a:pt x="225" y="61"/>
                      <a:pt x="225" y="61"/>
                    </a:cubicBezTo>
                    <a:close/>
                    <a:moveTo>
                      <a:pt x="224" y="61"/>
                    </a:moveTo>
                    <a:cubicBezTo>
                      <a:pt x="224" y="61"/>
                      <a:pt x="224" y="61"/>
                      <a:pt x="223" y="61"/>
                    </a:cubicBezTo>
                    <a:cubicBezTo>
                      <a:pt x="223" y="61"/>
                      <a:pt x="223" y="61"/>
                      <a:pt x="223" y="61"/>
                    </a:cubicBezTo>
                    <a:cubicBezTo>
                      <a:pt x="223" y="61"/>
                      <a:pt x="223" y="61"/>
                      <a:pt x="223" y="61"/>
                    </a:cubicBezTo>
                    <a:cubicBezTo>
                      <a:pt x="223" y="61"/>
                      <a:pt x="223" y="61"/>
                      <a:pt x="223" y="62"/>
                    </a:cubicBezTo>
                    <a:cubicBezTo>
                      <a:pt x="223" y="62"/>
                      <a:pt x="223" y="62"/>
                      <a:pt x="223" y="62"/>
                    </a:cubicBezTo>
                    <a:cubicBezTo>
                      <a:pt x="223" y="62"/>
                      <a:pt x="223" y="62"/>
                      <a:pt x="223" y="62"/>
                    </a:cubicBezTo>
                    <a:cubicBezTo>
                      <a:pt x="223" y="62"/>
                      <a:pt x="223" y="62"/>
                      <a:pt x="223" y="62"/>
                    </a:cubicBezTo>
                    <a:cubicBezTo>
                      <a:pt x="224" y="62"/>
                      <a:pt x="224" y="62"/>
                      <a:pt x="224" y="62"/>
                    </a:cubicBezTo>
                    <a:cubicBezTo>
                      <a:pt x="224" y="62"/>
                      <a:pt x="224" y="62"/>
                      <a:pt x="224" y="61"/>
                    </a:cubicBezTo>
                    <a:cubicBezTo>
                      <a:pt x="224" y="61"/>
                      <a:pt x="224" y="61"/>
                      <a:pt x="224" y="61"/>
                    </a:cubicBezTo>
                    <a:cubicBezTo>
                      <a:pt x="224" y="61"/>
                      <a:pt x="224" y="61"/>
                      <a:pt x="224" y="61"/>
                    </a:cubicBezTo>
                    <a:close/>
                    <a:moveTo>
                      <a:pt x="232" y="90"/>
                    </a:moveTo>
                    <a:cubicBezTo>
                      <a:pt x="232" y="90"/>
                      <a:pt x="232" y="90"/>
                      <a:pt x="232" y="90"/>
                    </a:cubicBezTo>
                    <a:cubicBezTo>
                      <a:pt x="232" y="90"/>
                      <a:pt x="232" y="90"/>
                      <a:pt x="231" y="90"/>
                    </a:cubicBezTo>
                    <a:cubicBezTo>
                      <a:pt x="231" y="90"/>
                      <a:pt x="231" y="90"/>
                      <a:pt x="231" y="90"/>
                    </a:cubicBezTo>
                    <a:cubicBezTo>
                      <a:pt x="231" y="90"/>
                      <a:pt x="231" y="90"/>
                      <a:pt x="231" y="90"/>
                    </a:cubicBezTo>
                    <a:cubicBezTo>
                      <a:pt x="231" y="90"/>
                      <a:pt x="231" y="90"/>
                      <a:pt x="231" y="90"/>
                    </a:cubicBezTo>
                    <a:cubicBezTo>
                      <a:pt x="231" y="90"/>
                      <a:pt x="231" y="90"/>
                      <a:pt x="231" y="90"/>
                    </a:cubicBezTo>
                    <a:cubicBezTo>
                      <a:pt x="231" y="90"/>
                      <a:pt x="231" y="90"/>
                      <a:pt x="231" y="91"/>
                    </a:cubicBezTo>
                    <a:cubicBezTo>
                      <a:pt x="231" y="91"/>
                      <a:pt x="231" y="91"/>
                      <a:pt x="231" y="91"/>
                    </a:cubicBezTo>
                    <a:cubicBezTo>
                      <a:pt x="231" y="91"/>
                      <a:pt x="231" y="91"/>
                      <a:pt x="231" y="91"/>
                    </a:cubicBezTo>
                    <a:cubicBezTo>
                      <a:pt x="231" y="91"/>
                      <a:pt x="231" y="91"/>
                      <a:pt x="232" y="92"/>
                    </a:cubicBezTo>
                    <a:cubicBezTo>
                      <a:pt x="232" y="92"/>
                      <a:pt x="232" y="92"/>
                      <a:pt x="232" y="91"/>
                    </a:cubicBezTo>
                    <a:cubicBezTo>
                      <a:pt x="232" y="91"/>
                      <a:pt x="232" y="91"/>
                      <a:pt x="232" y="91"/>
                    </a:cubicBezTo>
                    <a:cubicBezTo>
                      <a:pt x="233" y="91"/>
                      <a:pt x="233" y="91"/>
                      <a:pt x="232" y="91"/>
                    </a:cubicBezTo>
                    <a:cubicBezTo>
                      <a:pt x="232" y="90"/>
                      <a:pt x="232" y="90"/>
                      <a:pt x="232" y="90"/>
                    </a:cubicBezTo>
                    <a:close/>
                    <a:moveTo>
                      <a:pt x="218" y="92"/>
                    </a:moveTo>
                    <a:cubicBezTo>
                      <a:pt x="218" y="92"/>
                      <a:pt x="218" y="92"/>
                      <a:pt x="218" y="92"/>
                    </a:cubicBezTo>
                    <a:cubicBezTo>
                      <a:pt x="218" y="92"/>
                      <a:pt x="218" y="92"/>
                      <a:pt x="218" y="92"/>
                    </a:cubicBezTo>
                    <a:cubicBezTo>
                      <a:pt x="218" y="92"/>
                      <a:pt x="218" y="92"/>
                      <a:pt x="218" y="92"/>
                    </a:cubicBezTo>
                    <a:cubicBezTo>
                      <a:pt x="218" y="93"/>
                      <a:pt x="218" y="93"/>
                      <a:pt x="218" y="93"/>
                    </a:cubicBezTo>
                    <a:cubicBezTo>
                      <a:pt x="218" y="93"/>
                      <a:pt x="218" y="93"/>
                      <a:pt x="218" y="93"/>
                    </a:cubicBezTo>
                    <a:cubicBezTo>
                      <a:pt x="218" y="93"/>
                      <a:pt x="218" y="93"/>
                      <a:pt x="218" y="93"/>
                    </a:cubicBezTo>
                    <a:cubicBezTo>
                      <a:pt x="218" y="93"/>
                      <a:pt x="219" y="93"/>
                      <a:pt x="218" y="93"/>
                    </a:cubicBezTo>
                    <a:cubicBezTo>
                      <a:pt x="218" y="92"/>
                      <a:pt x="218" y="92"/>
                      <a:pt x="218" y="92"/>
                    </a:cubicBezTo>
                    <a:close/>
                    <a:moveTo>
                      <a:pt x="212" y="89"/>
                    </a:moveTo>
                    <a:cubicBezTo>
                      <a:pt x="212" y="89"/>
                      <a:pt x="212" y="89"/>
                      <a:pt x="212" y="89"/>
                    </a:cubicBezTo>
                    <a:cubicBezTo>
                      <a:pt x="212" y="89"/>
                      <a:pt x="212" y="89"/>
                      <a:pt x="211" y="89"/>
                    </a:cubicBezTo>
                    <a:cubicBezTo>
                      <a:pt x="211" y="89"/>
                      <a:pt x="211" y="89"/>
                      <a:pt x="211" y="89"/>
                    </a:cubicBezTo>
                    <a:cubicBezTo>
                      <a:pt x="211" y="89"/>
                      <a:pt x="211" y="89"/>
                      <a:pt x="211" y="89"/>
                    </a:cubicBezTo>
                    <a:cubicBezTo>
                      <a:pt x="211" y="89"/>
                      <a:pt x="211" y="89"/>
                      <a:pt x="211" y="89"/>
                    </a:cubicBezTo>
                    <a:cubicBezTo>
                      <a:pt x="211" y="89"/>
                      <a:pt x="211" y="88"/>
                      <a:pt x="211" y="88"/>
                    </a:cubicBezTo>
                    <a:cubicBezTo>
                      <a:pt x="211" y="88"/>
                      <a:pt x="211" y="88"/>
                      <a:pt x="211" y="88"/>
                    </a:cubicBezTo>
                    <a:cubicBezTo>
                      <a:pt x="211" y="88"/>
                      <a:pt x="211" y="88"/>
                      <a:pt x="210" y="88"/>
                    </a:cubicBezTo>
                    <a:cubicBezTo>
                      <a:pt x="210" y="88"/>
                      <a:pt x="210" y="88"/>
                      <a:pt x="210" y="88"/>
                    </a:cubicBezTo>
                    <a:cubicBezTo>
                      <a:pt x="210" y="88"/>
                      <a:pt x="210" y="88"/>
                      <a:pt x="210" y="89"/>
                    </a:cubicBezTo>
                    <a:cubicBezTo>
                      <a:pt x="210" y="89"/>
                      <a:pt x="210" y="89"/>
                      <a:pt x="210" y="89"/>
                    </a:cubicBezTo>
                    <a:cubicBezTo>
                      <a:pt x="210" y="89"/>
                      <a:pt x="210" y="89"/>
                      <a:pt x="209" y="89"/>
                    </a:cubicBezTo>
                    <a:cubicBezTo>
                      <a:pt x="209" y="89"/>
                      <a:pt x="209" y="89"/>
                      <a:pt x="209" y="89"/>
                    </a:cubicBezTo>
                    <a:cubicBezTo>
                      <a:pt x="209" y="89"/>
                      <a:pt x="209" y="89"/>
                      <a:pt x="209" y="89"/>
                    </a:cubicBezTo>
                    <a:cubicBezTo>
                      <a:pt x="209" y="89"/>
                      <a:pt x="209" y="89"/>
                      <a:pt x="208" y="89"/>
                    </a:cubicBezTo>
                    <a:cubicBezTo>
                      <a:pt x="208" y="89"/>
                      <a:pt x="208" y="89"/>
                      <a:pt x="208" y="89"/>
                    </a:cubicBezTo>
                    <a:cubicBezTo>
                      <a:pt x="208" y="89"/>
                      <a:pt x="208" y="89"/>
                      <a:pt x="208" y="89"/>
                    </a:cubicBezTo>
                    <a:cubicBezTo>
                      <a:pt x="208" y="89"/>
                      <a:pt x="208" y="89"/>
                      <a:pt x="208" y="89"/>
                    </a:cubicBezTo>
                    <a:cubicBezTo>
                      <a:pt x="208" y="89"/>
                      <a:pt x="208" y="89"/>
                      <a:pt x="208"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6" y="89"/>
                      <a:pt x="206" y="89"/>
                    </a:cubicBezTo>
                    <a:cubicBezTo>
                      <a:pt x="206" y="89"/>
                      <a:pt x="206" y="89"/>
                      <a:pt x="206" y="89"/>
                    </a:cubicBezTo>
                    <a:cubicBezTo>
                      <a:pt x="206" y="89"/>
                      <a:pt x="206" y="89"/>
                      <a:pt x="206" y="89"/>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5" y="90"/>
                      <a:pt x="205" y="90"/>
                    </a:cubicBezTo>
                    <a:cubicBezTo>
                      <a:pt x="205" y="90"/>
                      <a:pt x="205" y="90"/>
                      <a:pt x="205" y="90"/>
                    </a:cubicBezTo>
                    <a:cubicBezTo>
                      <a:pt x="205" y="91"/>
                      <a:pt x="206" y="91"/>
                      <a:pt x="206" y="91"/>
                    </a:cubicBezTo>
                    <a:cubicBezTo>
                      <a:pt x="206" y="91"/>
                      <a:pt x="205" y="91"/>
                      <a:pt x="205" y="91"/>
                    </a:cubicBezTo>
                    <a:cubicBezTo>
                      <a:pt x="205" y="91"/>
                      <a:pt x="205" y="91"/>
                      <a:pt x="205" y="91"/>
                    </a:cubicBezTo>
                    <a:cubicBezTo>
                      <a:pt x="205" y="91"/>
                      <a:pt x="205" y="91"/>
                      <a:pt x="205" y="91"/>
                    </a:cubicBezTo>
                    <a:cubicBezTo>
                      <a:pt x="205" y="91"/>
                      <a:pt x="206" y="91"/>
                      <a:pt x="206" y="91"/>
                    </a:cubicBezTo>
                    <a:cubicBezTo>
                      <a:pt x="206" y="91"/>
                      <a:pt x="206" y="91"/>
                      <a:pt x="206" y="91"/>
                    </a:cubicBezTo>
                    <a:cubicBezTo>
                      <a:pt x="206" y="91"/>
                      <a:pt x="206" y="91"/>
                      <a:pt x="206" y="91"/>
                    </a:cubicBezTo>
                    <a:cubicBezTo>
                      <a:pt x="206" y="91"/>
                      <a:pt x="206" y="91"/>
                      <a:pt x="206" y="91"/>
                    </a:cubicBezTo>
                    <a:cubicBezTo>
                      <a:pt x="206" y="91"/>
                      <a:pt x="206" y="91"/>
                      <a:pt x="207" y="91"/>
                    </a:cubicBezTo>
                    <a:cubicBezTo>
                      <a:pt x="207" y="91"/>
                      <a:pt x="207" y="90"/>
                      <a:pt x="207" y="90"/>
                    </a:cubicBezTo>
                    <a:cubicBezTo>
                      <a:pt x="207" y="90"/>
                      <a:pt x="207" y="90"/>
                      <a:pt x="207" y="90"/>
                    </a:cubicBezTo>
                    <a:cubicBezTo>
                      <a:pt x="207" y="90"/>
                      <a:pt x="208" y="91"/>
                      <a:pt x="208" y="91"/>
                    </a:cubicBezTo>
                    <a:cubicBezTo>
                      <a:pt x="208" y="91"/>
                      <a:pt x="208" y="91"/>
                      <a:pt x="208" y="91"/>
                    </a:cubicBezTo>
                    <a:cubicBezTo>
                      <a:pt x="208" y="91"/>
                      <a:pt x="208" y="91"/>
                      <a:pt x="208" y="91"/>
                    </a:cubicBezTo>
                    <a:cubicBezTo>
                      <a:pt x="208" y="91"/>
                      <a:pt x="208" y="91"/>
                      <a:pt x="209" y="91"/>
                    </a:cubicBezTo>
                    <a:cubicBezTo>
                      <a:pt x="209" y="91"/>
                      <a:pt x="209" y="91"/>
                      <a:pt x="209" y="91"/>
                    </a:cubicBezTo>
                    <a:cubicBezTo>
                      <a:pt x="209" y="91"/>
                      <a:pt x="209" y="91"/>
                      <a:pt x="209" y="91"/>
                    </a:cubicBezTo>
                    <a:cubicBezTo>
                      <a:pt x="210" y="91"/>
                      <a:pt x="210" y="91"/>
                      <a:pt x="210" y="91"/>
                    </a:cubicBezTo>
                    <a:cubicBezTo>
                      <a:pt x="210" y="91"/>
                      <a:pt x="210" y="91"/>
                      <a:pt x="210" y="91"/>
                    </a:cubicBezTo>
                    <a:cubicBezTo>
                      <a:pt x="210" y="90"/>
                      <a:pt x="210" y="90"/>
                      <a:pt x="210" y="90"/>
                    </a:cubicBezTo>
                    <a:cubicBezTo>
                      <a:pt x="211" y="90"/>
                      <a:pt x="211" y="90"/>
                      <a:pt x="211" y="90"/>
                    </a:cubicBezTo>
                    <a:cubicBezTo>
                      <a:pt x="211" y="89"/>
                      <a:pt x="212" y="89"/>
                      <a:pt x="212" y="89"/>
                    </a:cubicBezTo>
                    <a:cubicBezTo>
                      <a:pt x="212" y="89"/>
                      <a:pt x="212" y="90"/>
                      <a:pt x="212" y="89"/>
                    </a:cubicBezTo>
                    <a:cubicBezTo>
                      <a:pt x="212" y="89"/>
                      <a:pt x="212" y="89"/>
                      <a:pt x="212" y="89"/>
                    </a:cubicBezTo>
                    <a:cubicBezTo>
                      <a:pt x="212" y="89"/>
                      <a:pt x="212" y="89"/>
                      <a:pt x="212" y="89"/>
                    </a:cubicBezTo>
                    <a:close/>
                    <a:moveTo>
                      <a:pt x="215" y="60"/>
                    </a:moveTo>
                    <a:cubicBezTo>
                      <a:pt x="215" y="60"/>
                      <a:pt x="215" y="60"/>
                      <a:pt x="215" y="60"/>
                    </a:cubicBezTo>
                    <a:cubicBezTo>
                      <a:pt x="215" y="60"/>
                      <a:pt x="215" y="60"/>
                      <a:pt x="214" y="60"/>
                    </a:cubicBezTo>
                    <a:cubicBezTo>
                      <a:pt x="214" y="60"/>
                      <a:pt x="214" y="60"/>
                      <a:pt x="214" y="60"/>
                    </a:cubicBezTo>
                    <a:cubicBezTo>
                      <a:pt x="214" y="60"/>
                      <a:pt x="214" y="60"/>
                      <a:pt x="214" y="60"/>
                    </a:cubicBezTo>
                    <a:cubicBezTo>
                      <a:pt x="214" y="60"/>
                      <a:pt x="214" y="60"/>
                      <a:pt x="214" y="60"/>
                    </a:cubicBezTo>
                    <a:cubicBezTo>
                      <a:pt x="214" y="60"/>
                      <a:pt x="214" y="60"/>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8"/>
                      <a:pt x="213" y="59"/>
                      <a:pt x="213" y="59"/>
                    </a:cubicBezTo>
                    <a:cubicBezTo>
                      <a:pt x="213" y="59"/>
                      <a:pt x="213" y="58"/>
                      <a:pt x="213" y="58"/>
                    </a:cubicBezTo>
                    <a:cubicBezTo>
                      <a:pt x="213" y="58"/>
                      <a:pt x="213" y="58"/>
                      <a:pt x="213" y="58"/>
                    </a:cubicBezTo>
                    <a:cubicBezTo>
                      <a:pt x="212" y="58"/>
                      <a:pt x="212" y="58"/>
                      <a:pt x="212" y="58"/>
                    </a:cubicBezTo>
                    <a:cubicBezTo>
                      <a:pt x="212" y="58"/>
                      <a:pt x="211" y="58"/>
                      <a:pt x="211" y="58"/>
                    </a:cubicBezTo>
                    <a:cubicBezTo>
                      <a:pt x="211" y="58"/>
                      <a:pt x="210" y="58"/>
                      <a:pt x="210" y="58"/>
                    </a:cubicBezTo>
                    <a:cubicBezTo>
                      <a:pt x="210" y="58"/>
                      <a:pt x="209" y="58"/>
                      <a:pt x="209" y="58"/>
                    </a:cubicBezTo>
                    <a:cubicBezTo>
                      <a:pt x="209" y="58"/>
                      <a:pt x="209" y="58"/>
                      <a:pt x="209" y="58"/>
                    </a:cubicBezTo>
                    <a:cubicBezTo>
                      <a:pt x="209" y="58"/>
                      <a:pt x="209" y="58"/>
                      <a:pt x="209" y="58"/>
                    </a:cubicBezTo>
                    <a:cubicBezTo>
                      <a:pt x="209" y="59"/>
                      <a:pt x="209" y="59"/>
                      <a:pt x="208" y="59"/>
                    </a:cubicBezTo>
                    <a:cubicBezTo>
                      <a:pt x="208" y="59"/>
                      <a:pt x="208" y="59"/>
                      <a:pt x="208" y="59"/>
                    </a:cubicBezTo>
                    <a:cubicBezTo>
                      <a:pt x="208" y="59"/>
                      <a:pt x="208" y="59"/>
                      <a:pt x="208" y="58"/>
                    </a:cubicBezTo>
                    <a:cubicBezTo>
                      <a:pt x="208" y="58"/>
                      <a:pt x="208" y="58"/>
                      <a:pt x="208" y="58"/>
                    </a:cubicBezTo>
                    <a:cubicBezTo>
                      <a:pt x="207" y="58"/>
                      <a:pt x="207" y="58"/>
                      <a:pt x="207" y="59"/>
                    </a:cubicBezTo>
                    <a:cubicBezTo>
                      <a:pt x="207" y="59"/>
                      <a:pt x="207" y="59"/>
                      <a:pt x="207" y="59"/>
                    </a:cubicBezTo>
                    <a:cubicBezTo>
                      <a:pt x="207" y="59"/>
                      <a:pt x="207" y="59"/>
                      <a:pt x="207" y="59"/>
                    </a:cubicBezTo>
                    <a:cubicBezTo>
                      <a:pt x="207" y="59"/>
                      <a:pt x="207" y="59"/>
                      <a:pt x="207" y="59"/>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1"/>
                      <a:pt x="207" y="61"/>
                      <a:pt x="207" y="61"/>
                    </a:cubicBezTo>
                    <a:cubicBezTo>
                      <a:pt x="208" y="61"/>
                      <a:pt x="208" y="61"/>
                      <a:pt x="208" y="61"/>
                    </a:cubicBezTo>
                    <a:cubicBezTo>
                      <a:pt x="208" y="61"/>
                      <a:pt x="208" y="61"/>
                      <a:pt x="208" y="61"/>
                    </a:cubicBezTo>
                    <a:cubicBezTo>
                      <a:pt x="208" y="61"/>
                      <a:pt x="208" y="62"/>
                      <a:pt x="208" y="62"/>
                    </a:cubicBezTo>
                    <a:cubicBezTo>
                      <a:pt x="208" y="62"/>
                      <a:pt x="208" y="62"/>
                      <a:pt x="208" y="62"/>
                    </a:cubicBezTo>
                    <a:cubicBezTo>
                      <a:pt x="209" y="62"/>
                      <a:pt x="209" y="62"/>
                      <a:pt x="209" y="62"/>
                    </a:cubicBezTo>
                    <a:cubicBezTo>
                      <a:pt x="209" y="62"/>
                      <a:pt x="209" y="62"/>
                      <a:pt x="209" y="62"/>
                    </a:cubicBezTo>
                    <a:cubicBezTo>
                      <a:pt x="209" y="62"/>
                      <a:pt x="209" y="62"/>
                      <a:pt x="209" y="62"/>
                    </a:cubicBezTo>
                    <a:cubicBezTo>
                      <a:pt x="209" y="62"/>
                      <a:pt x="209" y="62"/>
                      <a:pt x="210" y="62"/>
                    </a:cubicBezTo>
                    <a:cubicBezTo>
                      <a:pt x="210" y="62"/>
                      <a:pt x="210" y="63"/>
                      <a:pt x="210" y="63"/>
                    </a:cubicBezTo>
                    <a:cubicBezTo>
                      <a:pt x="210" y="63"/>
                      <a:pt x="210" y="63"/>
                      <a:pt x="211" y="63"/>
                    </a:cubicBezTo>
                    <a:cubicBezTo>
                      <a:pt x="211" y="63"/>
                      <a:pt x="211" y="63"/>
                      <a:pt x="211" y="63"/>
                    </a:cubicBezTo>
                    <a:cubicBezTo>
                      <a:pt x="211" y="63"/>
                      <a:pt x="211" y="63"/>
                      <a:pt x="211" y="63"/>
                    </a:cubicBezTo>
                    <a:cubicBezTo>
                      <a:pt x="212" y="63"/>
                      <a:pt x="212" y="63"/>
                      <a:pt x="212" y="63"/>
                    </a:cubicBezTo>
                    <a:cubicBezTo>
                      <a:pt x="212" y="63"/>
                      <a:pt x="212" y="63"/>
                      <a:pt x="212" y="63"/>
                    </a:cubicBezTo>
                    <a:cubicBezTo>
                      <a:pt x="212" y="63"/>
                      <a:pt x="213" y="63"/>
                      <a:pt x="213" y="63"/>
                    </a:cubicBezTo>
                    <a:cubicBezTo>
                      <a:pt x="213" y="63"/>
                      <a:pt x="213" y="63"/>
                      <a:pt x="213" y="63"/>
                    </a:cubicBezTo>
                    <a:cubicBezTo>
                      <a:pt x="213" y="62"/>
                      <a:pt x="214" y="62"/>
                      <a:pt x="214" y="62"/>
                    </a:cubicBezTo>
                    <a:cubicBezTo>
                      <a:pt x="214" y="62"/>
                      <a:pt x="214" y="62"/>
                      <a:pt x="214" y="62"/>
                    </a:cubicBezTo>
                    <a:cubicBezTo>
                      <a:pt x="214" y="62"/>
                      <a:pt x="214" y="62"/>
                      <a:pt x="215" y="62"/>
                    </a:cubicBezTo>
                    <a:cubicBezTo>
                      <a:pt x="215" y="62"/>
                      <a:pt x="215" y="62"/>
                      <a:pt x="215" y="62"/>
                    </a:cubicBezTo>
                    <a:cubicBezTo>
                      <a:pt x="215" y="62"/>
                      <a:pt x="215" y="62"/>
                      <a:pt x="215" y="61"/>
                    </a:cubicBezTo>
                    <a:cubicBezTo>
                      <a:pt x="215" y="61"/>
                      <a:pt x="215" y="61"/>
                      <a:pt x="215" y="60"/>
                    </a:cubicBezTo>
                    <a:cubicBezTo>
                      <a:pt x="215" y="60"/>
                      <a:pt x="215" y="60"/>
                      <a:pt x="215" y="60"/>
                    </a:cubicBezTo>
                    <a:cubicBezTo>
                      <a:pt x="215" y="60"/>
                      <a:pt x="215" y="60"/>
                      <a:pt x="215" y="60"/>
                    </a:cubicBezTo>
                    <a:close/>
                    <a:moveTo>
                      <a:pt x="218" y="60"/>
                    </a:moveTo>
                    <a:cubicBezTo>
                      <a:pt x="218" y="60"/>
                      <a:pt x="218" y="60"/>
                      <a:pt x="218" y="60"/>
                    </a:cubicBezTo>
                    <a:cubicBezTo>
                      <a:pt x="218" y="60"/>
                      <a:pt x="218" y="60"/>
                      <a:pt x="218" y="60"/>
                    </a:cubicBezTo>
                    <a:cubicBezTo>
                      <a:pt x="218" y="60"/>
                      <a:pt x="218" y="60"/>
                      <a:pt x="218" y="59"/>
                    </a:cubicBezTo>
                    <a:cubicBezTo>
                      <a:pt x="217" y="59"/>
                      <a:pt x="217" y="59"/>
                      <a:pt x="217" y="59"/>
                    </a:cubicBezTo>
                    <a:cubicBezTo>
                      <a:pt x="217" y="59"/>
                      <a:pt x="217" y="59"/>
                      <a:pt x="217" y="59"/>
                    </a:cubicBezTo>
                    <a:cubicBezTo>
                      <a:pt x="217" y="59"/>
                      <a:pt x="217" y="59"/>
                      <a:pt x="217" y="60"/>
                    </a:cubicBezTo>
                    <a:cubicBezTo>
                      <a:pt x="217" y="60"/>
                      <a:pt x="217" y="60"/>
                      <a:pt x="217" y="60"/>
                    </a:cubicBezTo>
                    <a:cubicBezTo>
                      <a:pt x="217" y="60"/>
                      <a:pt x="217" y="60"/>
                      <a:pt x="217" y="60"/>
                    </a:cubicBezTo>
                    <a:cubicBezTo>
                      <a:pt x="217" y="60"/>
                      <a:pt x="217" y="60"/>
                      <a:pt x="218" y="60"/>
                    </a:cubicBezTo>
                    <a:cubicBezTo>
                      <a:pt x="218" y="60"/>
                      <a:pt x="218" y="60"/>
                      <a:pt x="218" y="60"/>
                    </a:cubicBezTo>
                    <a:close/>
                    <a:moveTo>
                      <a:pt x="204" y="92"/>
                    </a:moveTo>
                    <a:cubicBezTo>
                      <a:pt x="204" y="92"/>
                      <a:pt x="204" y="92"/>
                      <a:pt x="204" y="92"/>
                    </a:cubicBezTo>
                    <a:cubicBezTo>
                      <a:pt x="204" y="93"/>
                      <a:pt x="204" y="93"/>
                      <a:pt x="204" y="93"/>
                    </a:cubicBezTo>
                    <a:cubicBezTo>
                      <a:pt x="203" y="93"/>
                      <a:pt x="203" y="93"/>
                      <a:pt x="203" y="93"/>
                    </a:cubicBezTo>
                    <a:cubicBezTo>
                      <a:pt x="203" y="93"/>
                      <a:pt x="203" y="93"/>
                      <a:pt x="203" y="93"/>
                    </a:cubicBezTo>
                    <a:cubicBezTo>
                      <a:pt x="203" y="93"/>
                      <a:pt x="204" y="93"/>
                      <a:pt x="204" y="93"/>
                    </a:cubicBezTo>
                    <a:cubicBezTo>
                      <a:pt x="204" y="93"/>
                      <a:pt x="204" y="93"/>
                      <a:pt x="204" y="93"/>
                    </a:cubicBezTo>
                    <a:cubicBezTo>
                      <a:pt x="204" y="93"/>
                      <a:pt x="204" y="93"/>
                      <a:pt x="204" y="93"/>
                    </a:cubicBezTo>
                    <a:cubicBezTo>
                      <a:pt x="204" y="93"/>
                      <a:pt x="204" y="93"/>
                      <a:pt x="204" y="93"/>
                    </a:cubicBezTo>
                    <a:cubicBezTo>
                      <a:pt x="204" y="93"/>
                      <a:pt x="204" y="93"/>
                      <a:pt x="204" y="92"/>
                    </a:cubicBezTo>
                    <a:cubicBezTo>
                      <a:pt x="204" y="92"/>
                      <a:pt x="204" y="92"/>
                      <a:pt x="204" y="92"/>
                    </a:cubicBezTo>
                    <a:cubicBezTo>
                      <a:pt x="204" y="92"/>
                      <a:pt x="204" y="92"/>
                      <a:pt x="204" y="92"/>
                    </a:cubicBezTo>
                    <a:close/>
                    <a:moveTo>
                      <a:pt x="220" y="57"/>
                    </a:moveTo>
                    <a:cubicBezTo>
                      <a:pt x="220" y="57"/>
                      <a:pt x="220" y="57"/>
                      <a:pt x="220" y="57"/>
                    </a:cubicBezTo>
                    <a:cubicBezTo>
                      <a:pt x="219" y="57"/>
                      <a:pt x="219" y="57"/>
                      <a:pt x="219" y="57"/>
                    </a:cubicBezTo>
                    <a:cubicBezTo>
                      <a:pt x="219" y="58"/>
                      <a:pt x="219" y="58"/>
                      <a:pt x="219" y="58"/>
                    </a:cubicBezTo>
                    <a:cubicBezTo>
                      <a:pt x="219" y="58"/>
                      <a:pt x="219" y="58"/>
                      <a:pt x="219" y="58"/>
                    </a:cubicBezTo>
                    <a:cubicBezTo>
                      <a:pt x="219" y="58"/>
                      <a:pt x="219" y="58"/>
                      <a:pt x="220" y="58"/>
                    </a:cubicBezTo>
                    <a:cubicBezTo>
                      <a:pt x="220" y="58"/>
                      <a:pt x="220" y="58"/>
                      <a:pt x="220" y="58"/>
                    </a:cubicBezTo>
                    <a:cubicBezTo>
                      <a:pt x="220" y="57"/>
                      <a:pt x="220" y="57"/>
                      <a:pt x="220" y="57"/>
                    </a:cubicBezTo>
                    <a:cubicBezTo>
                      <a:pt x="220" y="57"/>
                      <a:pt x="220" y="57"/>
                      <a:pt x="220" y="57"/>
                    </a:cubicBezTo>
                    <a:cubicBezTo>
                      <a:pt x="220" y="57"/>
                      <a:pt x="220" y="57"/>
                      <a:pt x="220" y="57"/>
                    </a:cubicBezTo>
                    <a:close/>
                    <a:moveTo>
                      <a:pt x="216" y="88"/>
                    </a:moveTo>
                    <a:cubicBezTo>
                      <a:pt x="216" y="88"/>
                      <a:pt x="216" y="88"/>
                      <a:pt x="216" y="88"/>
                    </a:cubicBezTo>
                    <a:cubicBezTo>
                      <a:pt x="216" y="88"/>
                      <a:pt x="216" y="88"/>
                      <a:pt x="216" y="88"/>
                    </a:cubicBezTo>
                    <a:cubicBezTo>
                      <a:pt x="216" y="88"/>
                      <a:pt x="216" y="88"/>
                      <a:pt x="216" y="89"/>
                    </a:cubicBezTo>
                    <a:cubicBezTo>
                      <a:pt x="216" y="89"/>
                      <a:pt x="216" y="89"/>
                      <a:pt x="216" y="89"/>
                    </a:cubicBezTo>
                    <a:cubicBezTo>
                      <a:pt x="216" y="89"/>
                      <a:pt x="216" y="89"/>
                      <a:pt x="216" y="89"/>
                    </a:cubicBezTo>
                    <a:cubicBezTo>
                      <a:pt x="216" y="89"/>
                      <a:pt x="216" y="89"/>
                      <a:pt x="216" y="88"/>
                    </a:cubicBezTo>
                    <a:cubicBezTo>
                      <a:pt x="216" y="88"/>
                      <a:pt x="216" y="88"/>
                      <a:pt x="217" y="88"/>
                    </a:cubicBezTo>
                    <a:cubicBezTo>
                      <a:pt x="217" y="88"/>
                      <a:pt x="217" y="88"/>
                      <a:pt x="217" y="88"/>
                    </a:cubicBezTo>
                    <a:cubicBezTo>
                      <a:pt x="217" y="88"/>
                      <a:pt x="217" y="88"/>
                      <a:pt x="217" y="88"/>
                    </a:cubicBezTo>
                    <a:cubicBezTo>
                      <a:pt x="217" y="88"/>
                      <a:pt x="217" y="88"/>
                      <a:pt x="216" y="88"/>
                    </a:cubicBezTo>
                    <a:close/>
                    <a:moveTo>
                      <a:pt x="265" y="82"/>
                    </a:moveTo>
                    <a:cubicBezTo>
                      <a:pt x="265" y="82"/>
                      <a:pt x="265" y="82"/>
                      <a:pt x="265" y="82"/>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3"/>
                      <a:pt x="264" y="83"/>
                      <a:pt x="264" y="83"/>
                    </a:cubicBezTo>
                    <a:cubicBezTo>
                      <a:pt x="264" y="83"/>
                      <a:pt x="264" y="83"/>
                      <a:pt x="264" y="83"/>
                    </a:cubicBezTo>
                    <a:cubicBezTo>
                      <a:pt x="264" y="83"/>
                      <a:pt x="264"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2"/>
                      <a:pt x="265" y="82"/>
                      <a:pt x="265" y="82"/>
                    </a:cubicBezTo>
                    <a:cubicBezTo>
                      <a:pt x="265" y="82"/>
                      <a:pt x="265" y="82"/>
                      <a:pt x="265" y="82"/>
                    </a:cubicBezTo>
                    <a:cubicBezTo>
                      <a:pt x="265" y="82"/>
                      <a:pt x="265" y="82"/>
                      <a:pt x="265" y="82"/>
                    </a:cubicBezTo>
                    <a:cubicBezTo>
                      <a:pt x="265" y="82"/>
                      <a:pt x="265" y="82"/>
                      <a:pt x="265" y="82"/>
                    </a:cubicBezTo>
                    <a:close/>
                    <a:moveTo>
                      <a:pt x="265" y="81"/>
                    </a:moveTo>
                    <a:cubicBezTo>
                      <a:pt x="265" y="81"/>
                      <a:pt x="265" y="81"/>
                      <a:pt x="265" y="81"/>
                    </a:cubicBezTo>
                    <a:cubicBezTo>
                      <a:pt x="265" y="81"/>
                      <a:pt x="265" y="81"/>
                      <a:pt x="265" y="81"/>
                    </a:cubicBezTo>
                    <a:cubicBezTo>
                      <a:pt x="265" y="81"/>
                      <a:pt x="264" y="81"/>
                      <a:pt x="265" y="81"/>
                    </a:cubicBezTo>
                    <a:cubicBezTo>
                      <a:pt x="265" y="81"/>
                      <a:pt x="265" y="81"/>
                      <a:pt x="265" y="81"/>
                    </a:cubicBezTo>
                    <a:cubicBezTo>
                      <a:pt x="265" y="81"/>
                      <a:pt x="265" y="81"/>
                      <a:pt x="265" y="81"/>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1"/>
                      <a:pt x="265" y="81"/>
                      <a:pt x="265" y="81"/>
                    </a:cubicBezTo>
                    <a:cubicBezTo>
                      <a:pt x="265" y="81"/>
                      <a:pt x="265" y="81"/>
                      <a:pt x="265" y="81"/>
                    </a:cubicBezTo>
                    <a:cubicBezTo>
                      <a:pt x="265" y="81"/>
                      <a:pt x="265" y="81"/>
                      <a:pt x="265" y="81"/>
                    </a:cubicBezTo>
                    <a:cubicBezTo>
                      <a:pt x="265" y="81"/>
                      <a:pt x="265" y="81"/>
                      <a:pt x="265" y="81"/>
                    </a:cubicBezTo>
                    <a:close/>
                    <a:moveTo>
                      <a:pt x="255" y="73"/>
                    </a:moveTo>
                    <a:cubicBezTo>
                      <a:pt x="254" y="73"/>
                      <a:pt x="254" y="73"/>
                      <a:pt x="254" y="73"/>
                    </a:cubicBezTo>
                    <a:cubicBezTo>
                      <a:pt x="254" y="73"/>
                      <a:pt x="254" y="73"/>
                      <a:pt x="254" y="73"/>
                    </a:cubicBezTo>
                    <a:cubicBezTo>
                      <a:pt x="254" y="73"/>
                      <a:pt x="254" y="74"/>
                      <a:pt x="254" y="74"/>
                    </a:cubicBezTo>
                    <a:cubicBezTo>
                      <a:pt x="254" y="74"/>
                      <a:pt x="254" y="74"/>
                      <a:pt x="254" y="75"/>
                    </a:cubicBezTo>
                    <a:cubicBezTo>
                      <a:pt x="254" y="75"/>
                      <a:pt x="254" y="75"/>
                      <a:pt x="254" y="75"/>
                    </a:cubicBezTo>
                    <a:cubicBezTo>
                      <a:pt x="254" y="75"/>
                      <a:pt x="253" y="75"/>
                      <a:pt x="253" y="76"/>
                    </a:cubicBezTo>
                    <a:cubicBezTo>
                      <a:pt x="253" y="76"/>
                      <a:pt x="253" y="76"/>
                      <a:pt x="253" y="76"/>
                    </a:cubicBezTo>
                    <a:cubicBezTo>
                      <a:pt x="253" y="76"/>
                      <a:pt x="253" y="76"/>
                      <a:pt x="253" y="77"/>
                    </a:cubicBezTo>
                    <a:cubicBezTo>
                      <a:pt x="253" y="77"/>
                      <a:pt x="253" y="77"/>
                      <a:pt x="253" y="77"/>
                    </a:cubicBezTo>
                    <a:cubicBezTo>
                      <a:pt x="253" y="77"/>
                      <a:pt x="253" y="77"/>
                      <a:pt x="253" y="77"/>
                    </a:cubicBezTo>
                    <a:cubicBezTo>
                      <a:pt x="253" y="77"/>
                      <a:pt x="253" y="77"/>
                      <a:pt x="253" y="78"/>
                    </a:cubicBezTo>
                    <a:cubicBezTo>
                      <a:pt x="252" y="78"/>
                      <a:pt x="252" y="78"/>
                      <a:pt x="252" y="78"/>
                    </a:cubicBezTo>
                    <a:cubicBezTo>
                      <a:pt x="253" y="78"/>
                      <a:pt x="253" y="78"/>
                      <a:pt x="253" y="77"/>
                    </a:cubicBezTo>
                    <a:cubicBezTo>
                      <a:pt x="253" y="77"/>
                      <a:pt x="253" y="77"/>
                      <a:pt x="253" y="77"/>
                    </a:cubicBezTo>
                    <a:cubicBezTo>
                      <a:pt x="253" y="77"/>
                      <a:pt x="253" y="77"/>
                      <a:pt x="253" y="77"/>
                    </a:cubicBezTo>
                    <a:cubicBezTo>
                      <a:pt x="253" y="77"/>
                      <a:pt x="253" y="77"/>
                      <a:pt x="253" y="77"/>
                    </a:cubicBezTo>
                    <a:cubicBezTo>
                      <a:pt x="253" y="77"/>
                      <a:pt x="253" y="77"/>
                      <a:pt x="253" y="77"/>
                    </a:cubicBezTo>
                    <a:cubicBezTo>
                      <a:pt x="253" y="76"/>
                      <a:pt x="253" y="76"/>
                      <a:pt x="253" y="76"/>
                    </a:cubicBezTo>
                    <a:cubicBezTo>
                      <a:pt x="254" y="76"/>
                      <a:pt x="254" y="76"/>
                      <a:pt x="254" y="76"/>
                    </a:cubicBezTo>
                    <a:cubicBezTo>
                      <a:pt x="254" y="75"/>
                      <a:pt x="254" y="75"/>
                      <a:pt x="254" y="75"/>
                    </a:cubicBezTo>
                    <a:cubicBezTo>
                      <a:pt x="254" y="75"/>
                      <a:pt x="254" y="74"/>
                      <a:pt x="255" y="74"/>
                    </a:cubicBezTo>
                    <a:cubicBezTo>
                      <a:pt x="255" y="74"/>
                      <a:pt x="255" y="74"/>
                      <a:pt x="255" y="73"/>
                    </a:cubicBezTo>
                    <a:cubicBezTo>
                      <a:pt x="255" y="73"/>
                      <a:pt x="255" y="73"/>
                      <a:pt x="255" y="73"/>
                    </a:cubicBezTo>
                    <a:cubicBezTo>
                      <a:pt x="255" y="73"/>
                      <a:pt x="255" y="73"/>
                      <a:pt x="255" y="73"/>
                    </a:cubicBezTo>
                    <a:close/>
                    <a:moveTo>
                      <a:pt x="265" y="78"/>
                    </a:moveTo>
                    <a:cubicBezTo>
                      <a:pt x="265" y="78"/>
                      <a:pt x="265" y="78"/>
                      <a:pt x="264" y="77"/>
                    </a:cubicBezTo>
                    <a:cubicBezTo>
                      <a:pt x="265" y="77"/>
                      <a:pt x="265" y="77"/>
                      <a:pt x="265" y="77"/>
                    </a:cubicBezTo>
                    <a:cubicBezTo>
                      <a:pt x="265" y="77"/>
                      <a:pt x="265" y="78"/>
                      <a:pt x="265" y="78"/>
                    </a:cubicBezTo>
                    <a:cubicBezTo>
                      <a:pt x="265" y="78"/>
                      <a:pt x="265" y="77"/>
                      <a:pt x="265" y="77"/>
                    </a:cubicBezTo>
                    <a:cubicBezTo>
                      <a:pt x="265" y="77"/>
                      <a:pt x="265" y="77"/>
                      <a:pt x="265" y="77"/>
                    </a:cubicBezTo>
                    <a:cubicBezTo>
                      <a:pt x="265" y="77"/>
                      <a:pt x="265" y="77"/>
                      <a:pt x="265" y="77"/>
                    </a:cubicBezTo>
                    <a:cubicBezTo>
                      <a:pt x="265" y="77"/>
                      <a:pt x="265" y="77"/>
                      <a:pt x="265" y="77"/>
                    </a:cubicBezTo>
                    <a:cubicBezTo>
                      <a:pt x="265" y="77"/>
                      <a:pt x="265" y="77"/>
                      <a:pt x="265" y="77"/>
                    </a:cubicBezTo>
                    <a:cubicBezTo>
                      <a:pt x="265" y="77"/>
                      <a:pt x="265" y="77"/>
                      <a:pt x="265" y="76"/>
                    </a:cubicBezTo>
                    <a:cubicBezTo>
                      <a:pt x="265" y="76"/>
                      <a:pt x="265" y="76"/>
                      <a:pt x="265" y="76"/>
                    </a:cubicBezTo>
                    <a:cubicBezTo>
                      <a:pt x="265" y="76"/>
                      <a:pt x="265" y="76"/>
                      <a:pt x="265" y="76"/>
                    </a:cubicBezTo>
                    <a:cubicBezTo>
                      <a:pt x="265" y="76"/>
                      <a:pt x="265" y="76"/>
                      <a:pt x="265" y="76"/>
                    </a:cubicBezTo>
                    <a:cubicBezTo>
                      <a:pt x="265" y="76"/>
                      <a:pt x="265" y="76"/>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4"/>
                      <a:pt x="264" y="74"/>
                      <a:pt x="264" y="74"/>
                    </a:cubicBezTo>
                    <a:cubicBezTo>
                      <a:pt x="264" y="74"/>
                      <a:pt x="264" y="74"/>
                      <a:pt x="264" y="74"/>
                    </a:cubicBezTo>
                    <a:cubicBezTo>
                      <a:pt x="264" y="74"/>
                      <a:pt x="263" y="74"/>
                      <a:pt x="263" y="74"/>
                    </a:cubicBezTo>
                    <a:cubicBezTo>
                      <a:pt x="264" y="74"/>
                      <a:pt x="263" y="74"/>
                      <a:pt x="263" y="74"/>
                    </a:cubicBezTo>
                    <a:cubicBezTo>
                      <a:pt x="263" y="75"/>
                      <a:pt x="264" y="74"/>
                      <a:pt x="264" y="75"/>
                    </a:cubicBezTo>
                    <a:cubicBezTo>
                      <a:pt x="264" y="75"/>
                      <a:pt x="264" y="75"/>
                      <a:pt x="264"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6"/>
                    </a:cubicBezTo>
                    <a:cubicBezTo>
                      <a:pt x="263" y="76"/>
                      <a:pt x="263" y="76"/>
                      <a:pt x="263" y="76"/>
                    </a:cubicBezTo>
                    <a:cubicBezTo>
                      <a:pt x="263" y="76"/>
                      <a:pt x="263" y="76"/>
                      <a:pt x="263"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3" y="76"/>
                      <a:pt x="263" y="76"/>
                    </a:cubicBezTo>
                    <a:cubicBezTo>
                      <a:pt x="263" y="76"/>
                      <a:pt x="263" y="76"/>
                      <a:pt x="263" y="76"/>
                    </a:cubicBezTo>
                    <a:cubicBezTo>
                      <a:pt x="263" y="76"/>
                      <a:pt x="263" y="76"/>
                      <a:pt x="263" y="76"/>
                    </a:cubicBezTo>
                    <a:cubicBezTo>
                      <a:pt x="263" y="77"/>
                      <a:pt x="263" y="77"/>
                      <a:pt x="263" y="77"/>
                    </a:cubicBezTo>
                    <a:cubicBezTo>
                      <a:pt x="263" y="77"/>
                      <a:pt x="263" y="77"/>
                      <a:pt x="262" y="77"/>
                    </a:cubicBezTo>
                    <a:cubicBezTo>
                      <a:pt x="262" y="77"/>
                      <a:pt x="262" y="77"/>
                      <a:pt x="262" y="77"/>
                    </a:cubicBezTo>
                    <a:cubicBezTo>
                      <a:pt x="262" y="77"/>
                      <a:pt x="262" y="77"/>
                      <a:pt x="262" y="77"/>
                    </a:cubicBezTo>
                    <a:cubicBezTo>
                      <a:pt x="262" y="77"/>
                      <a:pt x="262" y="77"/>
                      <a:pt x="262" y="77"/>
                    </a:cubicBezTo>
                    <a:cubicBezTo>
                      <a:pt x="262" y="77"/>
                      <a:pt x="262" y="78"/>
                      <a:pt x="262" y="78"/>
                    </a:cubicBezTo>
                    <a:cubicBezTo>
                      <a:pt x="262" y="78"/>
                      <a:pt x="262" y="78"/>
                      <a:pt x="262" y="78"/>
                    </a:cubicBezTo>
                    <a:cubicBezTo>
                      <a:pt x="262" y="78"/>
                      <a:pt x="262" y="78"/>
                      <a:pt x="262" y="78"/>
                    </a:cubicBezTo>
                    <a:cubicBezTo>
                      <a:pt x="262" y="78"/>
                      <a:pt x="262" y="79"/>
                      <a:pt x="262" y="79"/>
                    </a:cubicBezTo>
                    <a:cubicBezTo>
                      <a:pt x="262" y="79"/>
                      <a:pt x="262" y="79"/>
                      <a:pt x="262" y="79"/>
                    </a:cubicBezTo>
                    <a:cubicBezTo>
                      <a:pt x="262" y="79"/>
                      <a:pt x="262" y="78"/>
                      <a:pt x="262" y="78"/>
                    </a:cubicBezTo>
                    <a:cubicBezTo>
                      <a:pt x="262" y="78"/>
                      <a:pt x="262" y="78"/>
                      <a:pt x="262" y="78"/>
                    </a:cubicBezTo>
                    <a:cubicBezTo>
                      <a:pt x="262" y="78"/>
                      <a:pt x="262" y="78"/>
                      <a:pt x="262" y="78"/>
                    </a:cubicBezTo>
                    <a:cubicBezTo>
                      <a:pt x="262" y="78"/>
                      <a:pt x="261" y="78"/>
                      <a:pt x="261" y="78"/>
                    </a:cubicBezTo>
                    <a:cubicBezTo>
                      <a:pt x="261" y="78"/>
                      <a:pt x="261" y="78"/>
                      <a:pt x="261" y="78"/>
                    </a:cubicBezTo>
                    <a:cubicBezTo>
                      <a:pt x="261" y="78"/>
                      <a:pt x="261" y="78"/>
                      <a:pt x="261" y="79"/>
                    </a:cubicBezTo>
                    <a:cubicBezTo>
                      <a:pt x="261" y="79"/>
                      <a:pt x="261" y="79"/>
                      <a:pt x="261" y="79"/>
                    </a:cubicBezTo>
                    <a:cubicBezTo>
                      <a:pt x="261" y="79"/>
                      <a:pt x="261" y="79"/>
                      <a:pt x="261" y="79"/>
                    </a:cubicBezTo>
                    <a:cubicBezTo>
                      <a:pt x="261" y="79"/>
                      <a:pt x="262" y="79"/>
                      <a:pt x="262" y="79"/>
                    </a:cubicBezTo>
                    <a:cubicBezTo>
                      <a:pt x="262" y="79"/>
                      <a:pt x="262" y="79"/>
                      <a:pt x="262" y="79"/>
                    </a:cubicBezTo>
                    <a:cubicBezTo>
                      <a:pt x="262" y="79"/>
                      <a:pt x="262" y="79"/>
                      <a:pt x="262" y="80"/>
                    </a:cubicBezTo>
                    <a:cubicBezTo>
                      <a:pt x="262" y="80"/>
                      <a:pt x="262" y="80"/>
                      <a:pt x="262"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1"/>
                      <a:pt x="262" y="80"/>
                    </a:cubicBezTo>
                    <a:cubicBezTo>
                      <a:pt x="262" y="80"/>
                      <a:pt x="262" y="80"/>
                      <a:pt x="262" y="80"/>
                    </a:cubicBezTo>
                    <a:cubicBezTo>
                      <a:pt x="262" y="80"/>
                      <a:pt x="262" y="80"/>
                      <a:pt x="262" y="80"/>
                    </a:cubicBezTo>
                    <a:cubicBezTo>
                      <a:pt x="262" y="80"/>
                      <a:pt x="262" y="80"/>
                      <a:pt x="262" y="79"/>
                    </a:cubicBezTo>
                    <a:cubicBezTo>
                      <a:pt x="262" y="79"/>
                      <a:pt x="262" y="79"/>
                      <a:pt x="262" y="79"/>
                    </a:cubicBezTo>
                    <a:cubicBezTo>
                      <a:pt x="261" y="79"/>
                      <a:pt x="261" y="79"/>
                      <a:pt x="261" y="79"/>
                    </a:cubicBezTo>
                    <a:cubicBezTo>
                      <a:pt x="261" y="79"/>
                      <a:pt x="261" y="79"/>
                      <a:pt x="261" y="79"/>
                    </a:cubicBezTo>
                    <a:cubicBezTo>
                      <a:pt x="261" y="79"/>
                      <a:pt x="261" y="79"/>
                      <a:pt x="261" y="79"/>
                    </a:cubicBezTo>
                    <a:cubicBezTo>
                      <a:pt x="261" y="79"/>
                      <a:pt x="261" y="80"/>
                      <a:pt x="261" y="80"/>
                    </a:cubicBezTo>
                    <a:cubicBezTo>
                      <a:pt x="261" y="80"/>
                      <a:pt x="261" y="80"/>
                      <a:pt x="261" y="80"/>
                    </a:cubicBezTo>
                    <a:cubicBezTo>
                      <a:pt x="261" y="80"/>
                      <a:pt x="261" y="81"/>
                      <a:pt x="261" y="81"/>
                    </a:cubicBezTo>
                    <a:cubicBezTo>
                      <a:pt x="261" y="81"/>
                      <a:pt x="261" y="81"/>
                      <a:pt x="261" y="81"/>
                    </a:cubicBezTo>
                    <a:cubicBezTo>
                      <a:pt x="261" y="81"/>
                      <a:pt x="261" y="81"/>
                      <a:pt x="261" y="81"/>
                    </a:cubicBezTo>
                    <a:cubicBezTo>
                      <a:pt x="261" y="81"/>
                      <a:pt x="261" y="81"/>
                      <a:pt x="262" y="81"/>
                    </a:cubicBezTo>
                    <a:cubicBezTo>
                      <a:pt x="262" y="81"/>
                      <a:pt x="262" y="81"/>
                      <a:pt x="262" y="81"/>
                    </a:cubicBezTo>
                    <a:cubicBezTo>
                      <a:pt x="262" y="81"/>
                      <a:pt x="262" y="82"/>
                      <a:pt x="262" y="81"/>
                    </a:cubicBezTo>
                    <a:cubicBezTo>
                      <a:pt x="261" y="81"/>
                      <a:pt x="261" y="81"/>
                      <a:pt x="261" y="81"/>
                    </a:cubicBezTo>
                    <a:cubicBezTo>
                      <a:pt x="261" y="81"/>
                      <a:pt x="261" y="81"/>
                      <a:pt x="261" y="81"/>
                    </a:cubicBezTo>
                    <a:cubicBezTo>
                      <a:pt x="261" y="81"/>
                      <a:pt x="261" y="81"/>
                      <a:pt x="261" y="81"/>
                    </a:cubicBezTo>
                    <a:cubicBezTo>
                      <a:pt x="261" y="81"/>
                      <a:pt x="261" y="81"/>
                      <a:pt x="261" y="81"/>
                    </a:cubicBezTo>
                    <a:cubicBezTo>
                      <a:pt x="261" y="82"/>
                      <a:pt x="261" y="82"/>
                      <a:pt x="261" y="82"/>
                    </a:cubicBezTo>
                    <a:cubicBezTo>
                      <a:pt x="261" y="82"/>
                      <a:pt x="261" y="83"/>
                      <a:pt x="261" y="83"/>
                    </a:cubicBezTo>
                    <a:cubicBezTo>
                      <a:pt x="261" y="83"/>
                      <a:pt x="261" y="83"/>
                      <a:pt x="261" y="83"/>
                    </a:cubicBezTo>
                    <a:cubicBezTo>
                      <a:pt x="261" y="83"/>
                      <a:pt x="261" y="83"/>
                      <a:pt x="261" y="84"/>
                    </a:cubicBezTo>
                    <a:cubicBezTo>
                      <a:pt x="261" y="84"/>
                      <a:pt x="261" y="84"/>
                      <a:pt x="261" y="84"/>
                    </a:cubicBezTo>
                    <a:cubicBezTo>
                      <a:pt x="261" y="84"/>
                      <a:pt x="261" y="84"/>
                      <a:pt x="262" y="84"/>
                    </a:cubicBezTo>
                    <a:cubicBezTo>
                      <a:pt x="262" y="84"/>
                      <a:pt x="262" y="84"/>
                      <a:pt x="262" y="84"/>
                    </a:cubicBezTo>
                    <a:cubicBezTo>
                      <a:pt x="262" y="84"/>
                      <a:pt x="262" y="84"/>
                      <a:pt x="262" y="84"/>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2"/>
                      <a:pt x="263" y="82"/>
                      <a:pt x="263" y="82"/>
                    </a:cubicBezTo>
                    <a:cubicBezTo>
                      <a:pt x="263" y="82"/>
                      <a:pt x="263" y="82"/>
                      <a:pt x="263" y="82"/>
                    </a:cubicBezTo>
                    <a:cubicBezTo>
                      <a:pt x="264" y="82"/>
                      <a:pt x="264" y="82"/>
                      <a:pt x="264" y="82"/>
                    </a:cubicBezTo>
                    <a:cubicBezTo>
                      <a:pt x="264" y="82"/>
                      <a:pt x="264" y="82"/>
                      <a:pt x="264" y="82"/>
                    </a:cubicBezTo>
                    <a:cubicBezTo>
                      <a:pt x="264" y="82"/>
                      <a:pt x="264" y="82"/>
                      <a:pt x="263" y="82"/>
                    </a:cubicBezTo>
                    <a:cubicBezTo>
                      <a:pt x="263" y="82"/>
                      <a:pt x="264" y="81"/>
                      <a:pt x="263" y="81"/>
                    </a:cubicBezTo>
                    <a:cubicBezTo>
                      <a:pt x="263" y="81"/>
                      <a:pt x="263" y="81"/>
                      <a:pt x="263" y="81"/>
                    </a:cubicBezTo>
                    <a:cubicBezTo>
                      <a:pt x="264" y="81"/>
                      <a:pt x="264" y="81"/>
                      <a:pt x="264" y="81"/>
                    </a:cubicBezTo>
                    <a:cubicBezTo>
                      <a:pt x="264" y="81"/>
                      <a:pt x="264" y="81"/>
                      <a:pt x="264" y="81"/>
                    </a:cubicBezTo>
                    <a:cubicBezTo>
                      <a:pt x="264" y="81"/>
                      <a:pt x="264" y="82"/>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0"/>
                      <a:pt x="264" y="80"/>
                      <a:pt x="264" y="80"/>
                    </a:cubicBezTo>
                    <a:cubicBezTo>
                      <a:pt x="264" y="80"/>
                      <a:pt x="264" y="80"/>
                      <a:pt x="264" y="80"/>
                    </a:cubicBezTo>
                    <a:cubicBezTo>
                      <a:pt x="264" y="80"/>
                      <a:pt x="263" y="80"/>
                      <a:pt x="264" y="80"/>
                    </a:cubicBezTo>
                    <a:cubicBezTo>
                      <a:pt x="264" y="80"/>
                      <a:pt x="264" y="80"/>
                      <a:pt x="264" y="80"/>
                    </a:cubicBezTo>
                    <a:cubicBezTo>
                      <a:pt x="264" y="80"/>
                      <a:pt x="264" y="80"/>
                      <a:pt x="264" y="80"/>
                    </a:cubicBezTo>
                    <a:cubicBezTo>
                      <a:pt x="264" y="80"/>
                      <a:pt x="264" y="80"/>
                      <a:pt x="265" y="80"/>
                    </a:cubicBezTo>
                    <a:cubicBezTo>
                      <a:pt x="265" y="80"/>
                      <a:pt x="265" y="80"/>
                      <a:pt x="265" y="80"/>
                    </a:cubicBezTo>
                    <a:cubicBezTo>
                      <a:pt x="265" y="80"/>
                      <a:pt x="265" y="80"/>
                      <a:pt x="265" y="80"/>
                    </a:cubicBezTo>
                    <a:cubicBezTo>
                      <a:pt x="265" y="80"/>
                      <a:pt x="265" y="79"/>
                      <a:pt x="265" y="79"/>
                    </a:cubicBezTo>
                    <a:cubicBezTo>
                      <a:pt x="265" y="79"/>
                      <a:pt x="265" y="79"/>
                      <a:pt x="265" y="79"/>
                    </a:cubicBezTo>
                    <a:cubicBezTo>
                      <a:pt x="265" y="79"/>
                      <a:pt x="265" y="79"/>
                      <a:pt x="265" y="79"/>
                    </a:cubicBezTo>
                    <a:cubicBezTo>
                      <a:pt x="265" y="79"/>
                      <a:pt x="265" y="79"/>
                      <a:pt x="265" y="79"/>
                    </a:cubicBezTo>
                    <a:cubicBezTo>
                      <a:pt x="265" y="79"/>
                      <a:pt x="265" y="79"/>
                      <a:pt x="265" y="79"/>
                    </a:cubicBezTo>
                    <a:cubicBezTo>
                      <a:pt x="265" y="78"/>
                      <a:pt x="265" y="78"/>
                      <a:pt x="265" y="78"/>
                    </a:cubicBezTo>
                    <a:cubicBezTo>
                      <a:pt x="265" y="78"/>
                      <a:pt x="265" y="78"/>
                      <a:pt x="265" y="78"/>
                    </a:cubicBezTo>
                    <a:close/>
                    <a:moveTo>
                      <a:pt x="266" y="80"/>
                    </a:moveTo>
                    <a:cubicBezTo>
                      <a:pt x="266" y="80"/>
                      <a:pt x="266" y="80"/>
                      <a:pt x="266" y="80"/>
                    </a:cubicBezTo>
                    <a:cubicBezTo>
                      <a:pt x="266" y="80"/>
                      <a:pt x="266" y="80"/>
                      <a:pt x="266" y="80"/>
                    </a:cubicBezTo>
                    <a:cubicBezTo>
                      <a:pt x="266" y="80"/>
                      <a:pt x="266" y="80"/>
                      <a:pt x="266" y="80"/>
                    </a:cubicBezTo>
                    <a:cubicBezTo>
                      <a:pt x="266" y="80"/>
                      <a:pt x="266" y="80"/>
                      <a:pt x="266" y="80"/>
                    </a:cubicBezTo>
                    <a:cubicBezTo>
                      <a:pt x="266" y="80"/>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0"/>
                      <a:pt x="266" y="80"/>
                    </a:cubicBezTo>
                    <a:cubicBezTo>
                      <a:pt x="266" y="80"/>
                      <a:pt x="266" y="80"/>
                      <a:pt x="266" y="80"/>
                    </a:cubicBezTo>
                    <a:cubicBezTo>
                      <a:pt x="266" y="80"/>
                      <a:pt x="266" y="80"/>
                      <a:pt x="266" y="80"/>
                    </a:cubicBezTo>
                    <a:cubicBezTo>
                      <a:pt x="266" y="80"/>
                      <a:pt x="266" y="80"/>
                      <a:pt x="266" y="80"/>
                    </a:cubicBezTo>
                    <a:cubicBezTo>
                      <a:pt x="266" y="80"/>
                      <a:pt x="266" y="80"/>
                      <a:pt x="266" y="80"/>
                    </a:cubicBezTo>
                    <a:close/>
                    <a:moveTo>
                      <a:pt x="239" y="63"/>
                    </a:moveTo>
                    <a:cubicBezTo>
                      <a:pt x="239" y="63"/>
                      <a:pt x="239" y="63"/>
                      <a:pt x="239" y="63"/>
                    </a:cubicBezTo>
                    <a:cubicBezTo>
                      <a:pt x="239" y="63"/>
                      <a:pt x="239" y="63"/>
                      <a:pt x="239" y="63"/>
                    </a:cubicBezTo>
                    <a:cubicBezTo>
                      <a:pt x="239" y="63"/>
                      <a:pt x="239" y="63"/>
                      <a:pt x="239" y="63"/>
                    </a:cubicBezTo>
                    <a:cubicBezTo>
                      <a:pt x="239" y="63"/>
                      <a:pt x="239" y="63"/>
                      <a:pt x="239" y="62"/>
                    </a:cubicBezTo>
                    <a:cubicBezTo>
                      <a:pt x="239" y="62"/>
                      <a:pt x="239" y="62"/>
                      <a:pt x="239" y="62"/>
                    </a:cubicBezTo>
                    <a:cubicBezTo>
                      <a:pt x="239" y="62"/>
                      <a:pt x="239" y="62"/>
                      <a:pt x="239" y="62"/>
                    </a:cubicBezTo>
                    <a:cubicBezTo>
                      <a:pt x="239" y="62"/>
                      <a:pt x="239" y="62"/>
                      <a:pt x="239" y="62"/>
                    </a:cubicBezTo>
                    <a:cubicBezTo>
                      <a:pt x="239" y="62"/>
                      <a:pt x="239" y="62"/>
                      <a:pt x="239" y="62"/>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0"/>
                      <a:pt x="239" y="60"/>
                      <a:pt x="239" y="60"/>
                    </a:cubicBezTo>
                    <a:cubicBezTo>
                      <a:pt x="239" y="60"/>
                      <a:pt x="239" y="60"/>
                      <a:pt x="239" y="60"/>
                    </a:cubicBezTo>
                    <a:cubicBezTo>
                      <a:pt x="239" y="60"/>
                      <a:pt x="238" y="60"/>
                      <a:pt x="238" y="60"/>
                    </a:cubicBezTo>
                    <a:cubicBezTo>
                      <a:pt x="238" y="60"/>
                      <a:pt x="238" y="60"/>
                      <a:pt x="238" y="60"/>
                    </a:cubicBezTo>
                    <a:cubicBezTo>
                      <a:pt x="238" y="60"/>
                      <a:pt x="238" y="60"/>
                      <a:pt x="238" y="60"/>
                    </a:cubicBezTo>
                    <a:cubicBezTo>
                      <a:pt x="238" y="60"/>
                      <a:pt x="238" y="60"/>
                      <a:pt x="238" y="60"/>
                    </a:cubicBezTo>
                    <a:cubicBezTo>
                      <a:pt x="238" y="60"/>
                      <a:pt x="238" y="60"/>
                      <a:pt x="238" y="60"/>
                    </a:cubicBezTo>
                    <a:cubicBezTo>
                      <a:pt x="238" y="59"/>
                      <a:pt x="238" y="59"/>
                      <a:pt x="238" y="59"/>
                    </a:cubicBezTo>
                    <a:cubicBezTo>
                      <a:pt x="237" y="59"/>
                      <a:pt x="237" y="59"/>
                      <a:pt x="237" y="58"/>
                    </a:cubicBezTo>
                    <a:cubicBezTo>
                      <a:pt x="237" y="58"/>
                      <a:pt x="237" y="58"/>
                      <a:pt x="237" y="58"/>
                    </a:cubicBezTo>
                    <a:cubicBezTo>
                      <a:pt x="237" y="58"/>
                      <a:pt x="237" y="58"/>
                      <a:pt x="237" y="58"/>
                    </a:cubicBezTo>
                    <a:cubicBezTo>
                      <a:pt x="237" y="58"/>
                      <a:pt x="237" y="58"/>
                      <a:pt x="237" y="58"/>
                    </a:cubicBezTo>
                    <a:cubicBezTo>
                      <a:pt x="237" y="58"/>
                      <a:pt x="237" y="58"/>
                      <a:pt x="236" y="58"/>
                    </a:cubicBezTo>
                    <a:cubicBezTo>
                      <a:pt x="236" y="58"/>
                      <a:pt x="236" y="58"/>
                      <a:pt x="236" y="58"/>
                    </a:cubicBezTo>
                    <a:cubicBezTo>
                      <a:pt x="236" y="57"/>
                      <a:pt x="235" y="57"/>
                      <a:pt x="235" y="58"/>
                    </a:cubicBezTo>
                    <a:cubicBezTo>
                      <a:pt x="235" y="58"/>
                      <a:pt x="235" y="58"/>
                      <a:pt x="235" y="57"/>
                    </a:cubicBezTo>
                    <a:cubicBezTo>
                      <a:pt x="235" y="57"/>
                      <a:pt x="235" y="57"/>
                      <a:pt x="234" y="57"/>
                    </a:cubicBezTo>
                    <a:cubicBezTo>
                      <a:pt x="234" y="58"/>
                      <a:pt x="234" y="58"/>
                      <a:pt x="234" y="58"/>
                    </a:cubicBezTo>
                    <a:cubicBezTo>
                      <a:pt x="234" y="58"/>
                      <a:pt x="234" y="58"/>
                      <a:pt x="234" y="58"/>
                    </a:cubicBezTo>
                    <a:cubicBezTo>
                      <a:pt x="234" y="58"/>
                      <a:pt x="234" y="58"/>
                      <a:pt x="234" y="58"/>
                    </a:cubicBezTo>
                    <a:cubicBezTo>
                      <a:pt x="234" y="58"/>
                      <a:pt x="234" y="58"/>
                      <a:pt x="234" y="58"/>
                    </a:cubicBezTo>
                    <a:cubicBezTo>
                      <a:pt x="234" y="58"/>
                      <a:pt x="234" y="58"/>
                      <a:pt x="234" y="57"/>
                    </a:cubicBezTo>
                    <a:cubicBezTo>
                      <a:pt x="233" y="57"/>
                      <a:pt x="233" y="57"/>
                      <a:pt x="233" y="57"/>
                    </a:cubicBezTo>
                    <a:cubicBezTo>
                      <a:pt x="233" y="57"/>
                      <a:pt x="233" y="57"/>
                      <a:pt x="233" y="57"/>
                    </a:cubicBezTo>
                    <a:cubicBezTo>
                      <a:pt x="233" y="57"/>
                      <a:pt x="233" y="57"/>
                      <a:pt x="233" y="57"/>
                    </a:cubicBezTo>
                    <a:cubicBezTo>
                      <a:pt x="233" y="57"/>
                      <a:pt x="233" y="57"/>
                      <a:pt x="233" y="57"/>
                    </a:cubicBezTo>
                    <a:cubicBezTo>
                      <a:pt x="233"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1" y="56"/>
                      <a:pt x="231" y="56"/>
                    </a:cubicBezTo>
                    <a:cubicBezTo>
                      <a:pt x="231" y="56"/>
                      <a:pt x="231" y="56"/>
                      <a:pt x="231" y="56"/>
                    </a:cubicBezTo>
                    <a:cubicBezTo>
                      <a:pt x="231" y="56"/>
                      <a:pt x="231" y="56"/>
                      <a:pt x="231" y="56"/>
                    </a:cubicBezTo>
                    <a:cubicBezTo>
                      <a:pt x="231" y="56"/>
                      <a:pt x="231" y="56"/>
                      <a:pt x="231" y="56"/>
                    </a:cubicBezTo>
                    <a:cubicBezTo>
                      <a:pt x="231" y="56"/>
                      <a:pt x="231" y="56"/>
                      <a:pt x="231" y="56"/>
                    </a:cubicBezTo>
                    <a:cubicBezTo>
                      <a:pt x="230" y="56"/>
                      <a:pt x="230" y="56"/>
                      <a:pt x="230" y="56"/>
                    </a:cubicBezTo>
                    <a:cubicBezTo>
                      <a:pt x="230" y="56"/>
                      <a:pt x="230" y="56"/>
                      <a:pt x="230" y="56"/>
                    </a:cubicBezTo>
                    <a:cubicBezTo>
                      <a:pt x="230" y="56"/>
                      <a:pt x="230" y="56"/>
                      <a:pt x="230" y="56"/>
                    </a:cubicBezTo>
                    <a:cubicBezTo>
                      <a:pt x="230" y="56"/>
                      <a:pt x="230" y="56"/>
                      <a:pt x="230" y="56"/>
                    </a:cubicBezTo>
                    <a:cubicBezTo>
                      <a:pt x="230" y="56"/>
                      <a:pt x="229" y="56"/>
                      <a:pt x="229" y="56"/>
                    </a:cubicBezTo>
                    <a:cubicBezTo>
                      <a:pt x="229" y="56"/>
                      <a:pt x="229" y="56"/>
                      <a:pt x="229" y="56"/>
                    </a:cubicBezTo>
                    <a:cubicBezTo>
                      <a:pt x="229" y="56"/>
                      <a:pt x="229" y="56"/>
                      <a:pt x="229" y="57"/>
                    </a:cubicBezTo>
                    <a:cubicBezTo>
                      <a:pt x="229" y="57"/>
                      <a:pt x="229" y="57"/>
                      <a:pt x="229" y="57"/>
                    </a:cubicBezTo>
                    <a:cubicBezTo>
                      <a:pt x="229" y="57"/>
                      <a:pt x="229" y="57"/>
                      <a:pt x="229" y="57"/>
                    </a:cubicBezTo>
                    <a:cubicBezTo>
                      <a:pt x="229" y="57"/>
                      <a:pt x="228" y="57"/>
                      <a:pt x="228" y="57"/>
                    </a:cubicBezTo>
                    <a:cubicBezTo>
                      <a:pt x="228" y="57"/>
                      <a:pt x="228" y="57"/>
                      <a:pt x="228" y="57"/>
                    </a:cubicBezTo>
                    <a:cubicBezTo>
                      <a:pt x="228" y="57"/>
                      <a:pt x="228" y="57"/>
                      <a:pt x="228" y="57"/>
                    </a:cubicBezTo>
                    <a:cubicBezTo>
                      <a:pt x="227" y="57"/>
                      <a:pt x="227" y="57"/>
                      <a:pt x="227" y="57"/>
                    </a:cubicBezTo>
                    <a:cubicBezTo>
                      <a:pt x="227" y="57"/>
                      <a:pt x="227" y="57"/>
                      <a:pt x="227" y="56"/>
                    </a:cubicBezTo>
                    <a:cubicBezTo>
                      <a:pt x="227" y="56"/>
                      <a:pt x="227" y="56"/>
                      <a:pt x="227" y="56"/>
                    </a:cubicBezTo>
                    <a:cubicBezTo>
                      <a:pt x="227" y="56"/>
                      <a:pt x="227" y="56"/>
                      <a:pt x="227" y="56"/>
                    </a:cubicBezTo>
                    <a:cubicBezTo>
                      <a:pt x="227" y="56"/>
                      <a:pt x="226" y="57"/>
                      <a:pt x="226" y="57"/>
                    </a:cubicBezTo>
                    <a:cubicBezTo>
                      <a:pt x="226" y="57"/>
                      <a:pt x="226" y="57"/>
                      <a:pt x="226" y="57"/>
                    </a:cubicBezTo>
                    <a:cubicBezTo>
                      <a:pt x="226" y="57"/>
                      <a:pt x="225" y="57"/>
                      <a:pt x="225" y="57"/>
                    </a:cubicBezTo>
                    <a:cubicBezTo>
                      <a:pt x="225" y="57"/>
                      <a:pt x="225" y="57"/>
                      <a:pt x="225" y="57"/>
                    </a:cubicBezTo>
                    <a:cubicBezTo>
                      <a:pt x="225" y="57"/>
                      <a:pt x="225" y="57"/>
                      <a:pt x="225" y="57"/>
                    </a:cubicBezTo>
                    <a:cubicBezTo>
                      <a:pt x="225" y="57"/>
                      <a:pt x="225" y="57"/>
                      <a:pt x="225" y="57"/>
                    </a:cubicBezTo>
                    <a:cubicBezTo>
                      <a:pt x="225" y="56"/>
                      <a:pt x="224" y="57"/>
                      <a:pt x="224" y="57"/>
                    </a:cubicBezTo>
                    <a:cubicBezTo>
                      <a:pt x="224" y="57"/>
                      <a:pt x="224" y="57"/>
                      <a:pt x="224" y="57"/>
                    </a:cubicBezTo>
                    <a:cubicBezTo>
                      <a:pt x="224" y="57"/>
                      <a:pt x="224" y="57"/>
                      <a:pt x="223" y="57"/>
                    </a:cubicBezTo>
                    <a:cubicBezTo>
                      <a:pt x="223" y="57"/>
                      <a:pt x="223" y="57"/>
                      <a:pt x="223" y="57"/>
                    </a:cubicBezTo>
                    <a:cubicBezTo>
                      <a:pt x="223" y="57"/>
                      <a:pt x="223" y="57"/>
                      <a:pt x="223" y="57"/>
                    </a:cubicBezTo>
                    <a:cubicBezTo>
                      <a:pt x="223" y="57"/>
                      <a:pt x="223" y="57"/>
                      <a:pt x="223" y="57"/>
                    </a:cubicBezTo>
                    <a:cubicBezTo>
                      <a:pt x="223" y="57"/>
                      <a:pt x="222" y="57"/>
                      <a:pt x="222" y="57"/>
                    </a:cubicBezTo>
                    <a:cubicBezTo>
                      <a:pt x="222" y="57"/>
                      <a:pt x="222" y="57"/>
                      <a:pt x="222" y="57"/>
                    </a:cubicBezTo>
                    <a:cubicBezTo>
                      <a:pt x="222" y="57"/>
                      <a:pt x="221" y="57"/>
                      <a:pt x="221" y="57"/>
                    </a:cubicBezTo>
                    <a:cubicBezTo>
                      <a:pt x="221" y="57"/>
                      <a:pt x="221" y="57"/>
                      <a:pt x="221" y="57"/>
                    </a:cubicBezTo>
                    <a:cubicBezTo>
                      <a:pt x="221" y="57"/>
                      <a:pt x="221" y="57"/>
                      <a:pt x="221" y="57"/>
                    </a:cubicBezTo>
                    <a:cubicBezTo>
                      <a:pt x="221" y="57"/>
                      <a:pt x="221" y="57"/>
                      <a:pt x="221" y="57"/>
                    </a:cubicBezTo>
                    <a:cubicBezTo>
                      <a:pt x="221" y="57"/>
                      <a:pt x="221" y="57"/>
                      <a:pt x="221" y="57"/>
                    </a:cubicBezTo>
                    <a:cubicBezTo>
                      <a:pt x="221" y="57"/>
                      <a:pt x="221" y="58"/>
                      <a:pt x="221" y="58"/>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1"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9"/>
                      <a:pt x="220" y="59"/>
                    </a:cubicBezTo>
                    <a:cubicBezTo>
                      <a:pt x="220" y="59"/>
                      <a:pt x="220" y="59"/>
                      <a:pt x="219" y="59"/>
                    </a:cubicBezTo>
                    <a:cubicBezTo>
                      <a:pt x="219" y="59"/>
                      <a:pt x="219" y="59"/>
                      <a:pt x="219" y="59"/>
                    </a:cubicBezTo>
                    <a:cubicBezTo>
                      <a:pt x="219" y="59"/>
                      <a:pt x="219" y="59"/>
                      <a:pt x="219" y="59"/>
                    </a:cubicBezTo>
                    <a:cubicBezTo>
                      <a:pt x="219" y="59"/>
                      <a:pt x="219" y="59"/>
                      <a:pt x="219" y="59"/>
                    </a:cubicBezTo>
                    <a:cubicBezTo>
                      <a:pt x="220" y="59"/>
                      <a:pt x="220" y="60"/>
                      <a:pt x="220" y="60"/>
                    </a:cubicBezTo>
                    <a:cubicBezTo>
                      <a:pt x="220" y="60"/>
                      <a:pt x="220" y="60"/>
                      <a:pt x="220" y="60"/>
                    </a:cubicBezTo>
                    <a:cubicBezTo>
                      <a:pt x="220" y="60"/>
                      <a:pt x="220" y="61"/>
                      <a:pt x="219" y="61"/>
                    </a:cubicBezTo>
                    <a:cubicBezTo>
                      <a:pt x="219" y="61"/>
                      <a:pt x="220" y="61"/>
                      <a:pt x="220" y="61"/>
                    </a:cubicBezTo>
                    <a:cubicBezTo>
                      <a:pt x="220" y="61"/>
                      <a:pt x="220" y="61"/>
                      <a:pt x="220" y="61"/>
                    </a:cubicBezTo>
                    <a:cubicBezTo>
                      <a:pt x="220" y="61"/>
                      <a:pt x="220" y="61"/>
                      <a:pt x="220" y="61"/>
                    </a:cubicBezTo>
                    <a:cubicBezTo>
                      <a:pt x="220" y="61"/>
                      <a:pt x="220" y="60"/>
                      <a:pt x="220" y="60"/>
                    </a:cubicBezTo>
                    <a:cubicBezTo>
                      <a:pt x="220" y="60"/>
                      <a:pt x="220" y="60"/>
                      <a:pt x="220" y="60"/>
                    </a:cubicBezTo>
                    <a:cubicBezTo>
                      <a:pt x="220" y="60"/>
                      <a:pt x="220" y="60"/>
                      <a:pt x="220" y="60"/>
                    </a:cubicBezTo>
                    <a:cubicBezTo>
                      <a:pt x="220" y="60"/>
                      <a:pt x="220" y="60"/>
                      <a:pt x="221" y="60"/>
                    </a:cubicBezTo>
                    <a:cubicBezTo>
                      <a:pt x="221" y="60"/>
                      <a:pt x="221" y="59"/>
                      <a:pt x="221" y="59"/>
                    </a:cubicBezTo>
                    <a:cubicBezTo>
                      <a:pt x="221" y="59"/>
                      <a:pt x="221" y="59"/>
                      <a:pt x="221" y="59"/>
                    </a:cubicBezTo>
                    <a:cubicBezTo>
                      <a:pt x="221" y="59"/>
                      <a:pt x="221" y="59"/>
                      <a:pt x="221" y="59"/>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2" y="58"/>
                      <a:pt x="222" y="58"/>
                      <a:pt x="222" y="58"/>
                    </a:cubicBezTo>
                    <a:cubicBezTo>
                      <a:pt x="221" y="59"/>
                      <a:pt x="221" y="59"/>
                      <a:pt x="221" y="59"/>
                    </a:cubicBezTo>
                    <a:cubicBezTo>
                      <a:pt x="221" y="59"/>
                      <a:pt x="221" y="59"/>
                      <a:pt x="221" y="59"/>
                    </a:cubicBezTo>
                    <a:cubicBezTo>
                      <a:pt x="221" y="59"/>
                      <a:pt x="222" y="59"/>
                      <a:pt x="222" y="59"/>
                    </a:cubicBezTo>
                    <a:cubicBezTo>
                      <a:pt x="222" y="59"/>
                      <a:pt x="222" y="59"/>
                      <a:pt x="222" y="59"/>
                    </a:cubicBezTo>
                    <a:cubicBezTo>
                      <a:pt x="222" y="59"/>
                      <a:pt x="222" y="59"/>
                      <a:pt x="222" y="59"/>
                    </a:cubicBezTo>
                    <a:cubicBezTo>
                      <a:pt x="222" y="60"/>
                      <a:pt x="222" y="60"/>
                      <a:pt x="222" y="60"/>
                    </a:cubicBezTo>
                    <a:cubicBezTo>
                      <a:pt x="222" y="60"/>
                      <a:pt x="222" y="60"/>
                      <a:pt x="223" y="60"/>
                    </a:cubicBezTo>
                    <a:cubicBezTo>
                      <a:pt x="223" y="60"/>
                      <a:pt x="223" y="60"/>
                      <a:pt x="223" y="60"/>
                    </a:cubicBezTo>
                    <a:cubicBezTo>
                      <a:pt x="223" y="60"/>
                      <a:pt x="223" y="60"/>
                      <a:pt x="223" y="60"/>
                    </a:cubicBezTo>
                    <a:cubicBezTo>
                      <a:pt x="223" y="60"/>
                      <a:pt x="223" y="61"/>
                      <a:pt x="223" y="61"/>
                    </a:cubicBezTo>
                    <a:cubicBezTo>
                      <a:pt x="223" y="61"/>
                      <a:pt x="223" y="61"/>
                      <a:pt x="224" y="61"/>
                    </a:cubicBezTo>
                    <a:cubicBezTo>
                      <a:pt x="224" y="61"/>
                      <a:pt x="224" y="60"/>
                      <a:pt x="224" y="60"/>
                    </a:cubicBezTo>
                    <a:cubicBezTo>
                      <a:pt x="224" y="60"/>
                      <a:pt x="224" y="60"/>
                      <a:pt x="224" y="60"/>
                    </a:cubicBezTo>
                    <a:cubicBezTo>
                      <a:pt x="225" y="60"/>
                      <a:pt x="225" y="61"/>
                      <a:pt x="225" y="60"/>
                    </a:cubicBezTo>
                    <a:cubicBezTo>
                      <a:pt x="225" y="60"/>
                      <a:pt x="225" y="60"/>
                      <a:pt x="225" y="60"/>
                    </a:cubicBezTo>
                    <a:cubicBezTo>
                      <a:pt x="225" y="60"/>
                      <a:pt x="225" y="60"/>
                      <a:pt x="225" y="60"/>
                    </a:cubicBezTo>
                    <a:cubicBezTo>
                      <a:pt x="225" y="60"/>
                      <a:pt x="225" y="60"/>
                      <a:pt x="225" y="60"/>
                    </a:cubicBezTo>
                    <a:cubicBezTo>
                      <a:pt x="225" y="59"/>
                      <a:pt x="225"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7" y="59"/>
                      <a:pt x="227" y="59"/>
                      <a:pt x="227" y="59"/>
                    </a:cubicBezTo>
                    <a:cubicBezTo>
                      <a:pt x="227" y="60"/>
                      <a:pt x="226" y="60"/>
                      <a:pt x="226" y="60"/>
                    </a:cubicBezTo>
                    <a:cubicBezTo>
                      <a:pt x="226" y="60"/>
                      <a:pt x="226" y="60"/>
                      <a:pt x="226" y="60"/>
                    </a:cubicBezTo>
                    <a:cubicBezTo>
                      <a:pt x="226" y="60"/>
                      <a:pt x="227" y="60"/>
                      <a:pt x="227" y="60"/>
                    </a:cubicBezTo>
                    <a:cubicBezTo>
                      <a:pt x="227" y="60"/>
                      <a:pt x="227" y="60"/>
                      <a:pt x="227" y="60"/>
                    </a:cubicBezTo>
                    <a:cubicBezTo>
                      <a:pt x="227" y="60"/>
                      <a:pt x="227" y="60"/>
                      <a:pt x="227" y="60"/>
                    </a:cubicBezTo>
                    <a:cubicBezTo>
                      <a:pt x="228" y="60"/>
                      <a:pt x="228" y="60"/>
                      <a:pt x="228" y="60"/>
                    </a:cubicBezTo>
                    <a:cubicBezTo>
                      <a:pt x="228" y="60"/>
                      <a:pt x="228" y="60"/>
                      <a:pt x="229" y="60"/>
                    </a:cubicBezTo>
                    <a:cubicBezTo>
                      <a:pt x="229" y="60"/>
                      <a:pt x="229" y="60"/>
                      <a:pt x="229" y="60"/>
                    </a:cubicBezTo>
                    <a:cubicBezTo>
                      <a:pt x="230" y="60"/>
                      <a:pt x="230" y="60"/>
                      <a:pt x="230" y="60"/>
                    </a:cubicBezTo>
                    <a:cubicBezTo>
                      <a:pt x="230" y="61"/>
                      <a:pt x="230" y="61"/>
                      <a:pt x="230" y="61"/>
                    </a:cubicBezTo>
                    <a:cubicBezTo>
                      <a:pt x="230" y="61"/>
                      <a:pt x="230" y="61"/>
                      <a:pt x="231" y="61"/>
                    </a:cubicBezTo>
                    <a:cubicBezTo>
                      <a:pt x="231" y="60"/>
                      <a:pt x="231" y="60"/>
                      <a:pt x="231" y="60"/>
                    </a:cubicBezTo>
                    <a:cubicBezTo>
                      <a:pt x="230" y="60"/>
                      <a:pt x="230" y="60"/>
                      <a:pt x="230" y="60"/>
                    </a:cubicBezTo>
                    <a:cubicBezTo>
                      <a:pt x="230" y="60"/>
                      <a:pt x="230" y="60"/>
                      <a:pt x="230" y="60"/>
                    </a:cubicBezTo>
                    <a:cubicBezTo>
                      <a:pt x="230" y="60"/>
                      <a:pt x="230" y="60"/>
                      <a:pt x="230" y="60"/>
                    </a:cubicBezTo>
                    <a:cubicBezTo>
                      <a:pt x="230" y="60"/>
                      <a:pt x="231" y="60"/>
                      <a:pt x="231" y="60"/>
                    </a:cubicBezTo>
                    <a:cubicBezTo>
                      <a:pt x="231" y="60"/>
                      <a:pt x="231" y="60"/>
                      <a:pt x="231" y="60"/>
                    </a:cubicBezTo>
                    <a:cubicBezTo>
                      <a:pt x="232" y="60"/>
                      <a:pt x="232" y="60"/>
                      <a:pt x="232" y="60"/>
                    </a:cubicBezTo>
                    <a:cubicBezTo>
                      <a:pt x="232" y="60"/>
                      <a:pt x="232" y="60"/>
                      <a:pt x="233" y="60"/>
                    </a:cubicBezTo>
                    <a:cubicBezTo>
                      <a:pt x="233" y="60"/>
                      <a:pt x="233" y="60"/>
                      <a:pt x="233" y="60"/>
                    </a:cubicBezTo>
                    <a:cubicBezTo>
                      <a:pt x="233" y="60"/>
                      <a:pt x="233" y="60"/>
                      <a:pt x="233" y="60"/>
                    </a:cubicBezTo>
                    <a:cubicBezTo>
                      <a:pt x="233" y="60"/>
                      <a:pt x="233" y="60"/>
                      <a:pt x="233" y="60"/>
                    </a:cubicBezTo>
                    <a:cubicBezTo>
                      <a:pt x="233" y="60"/>
                      <a:pt x="233" y="60"/>
                      <a:pt x="233" y="61"/>
                    </a:cubicBezTo>
                    <a:cubicBezTo>
                      <a:pt x="234" y="61"/>
                      <a:pt x="234" y="61"/>
                      <a:pt x="234" y="61"/>
                    </a:cubicBezTo>
                    <a:cubicBezTo>
                      <a:pt x="234" y="61"/>
                      <a:pt x="234" y="61"/>
                      <a:pt x="234" y="61"/>
                    </a:cubicBezTo>
                    <a:cubicBezTo>
                      <a:pt x="234" y="61"/>
                      <a:pt x="235" y="61"/>
                      <a:pt x="235" y="61"/>
                    </a:cubicBezTo>
                    <a:cubicBezTo>
                      <a:pt x="235" y="61"/>
                      <a:pt x="235" y="61"/>
                      <a:pt x="235" y="61"/>
                    </a:cubicBezTo>
                    <a:cubicBezTo>
                      <a:pt x="235" y="61"/>
                      <a:pt x="235" y="61"/>
                      <a:pt x="235" y="62"/>
                    </a:cubicBezTo>
                    <a:cubicBezTo>
                      <a:pt x="236" y="62"/>
                      <a:pt x="236" y="62"/>
                      <a:pt x="236" y="62"/>
                    </a:cubicBezTo>
                    <a:cubicBezTo>
                      <a:pt x="236" y="62"/>
                      <a:pt x="236" y="62"/>
                      <a:pt x="236" y="62"/>
                    </a:cubicBezTo>
                    <a:cubicBezTo>
                      <a:pt x="236" y="62"/>
                      <a:pt x="237" y="62"/>
                      <a:pt x="237" y="62"/>
                    </a:cubicBezTo>
                    <a:cubicBezTo>
                      <a:pt x="237" y="62"/>
                      <a:pt x="237" y="62"/>
                      <a:pt x="237" y="62"/>
                    </a:cubicBezTo>
                    <a:cubicBezTo>
                      <a:pt x="237" y="62"/>
                      <a:pt x="237" y="62"/>
                      <a:pt x="237" y="62"/>
                    </a:cubicBezTo>
                    <a:cubicBezTo>
                      <a:pt x="237" y="63"/>
                      <a:pt x="237" y="63"/>
                      <a:pt x="237" y="63"/>
                    </a:cubicBezTo>
                    <a:cubicBezTo>
                      <a:pt x="237" y="63"/>
                      <a:pt x="238" y="63"/>
                      <a:pt x="238" y="63"/>
                    </a:cubicBezTo>
                    <a:cubicBezTo>
                      <a:pt x="238" y="63"/>
                      <a:pt x="238" y="63"/>
                      <a:pt x="238" y="63"/>
                    </a:cubicBezTo>
                    <a:cubicBezTo>
                      <a:pt x="238" y="63"/>
                      <a:pt x="238" y="63"/>
                      <a:pt x="239" y="63"/>
                    </a:cubicBezTo>
                    <a:cubicBezTo>
                      <a:pt x="239" y="63"/>
                      <a:pt x="239" y="63"/>
                      <a:pt x="239" y="63"/>
                    </a:cubicBezTo>
                    <a:close/>
                    <a:moveTo>
                      <a:pt x="233" y="51"/>
                    </a:moveTo>
                    <a:cubicBezTo>
                      <a:pt x="233" y="51"/>
                      <a:pt x="233" y="51"/>
                      <a:pt x="233" y="51"/>
                    </a:cubicBezTo>
                    <a:cubicBezTo>
                      <a:pt x="233" y="51"/>
                      <a:pt x="233" y="51"/>
                      <a:pt x="233" y="51"/>
                    </a:cubicBezTo>
                    <a:cubicBezTo>
                      <a:pt x="233" y="51"/>
                      <a:pt x="232" y="51"/>
                      <a:pt x="232" y="51"/>
                    </a:cubicBezTo>
                    <a:cubicBezTo>
                      <a:pt x="232" y="51"/>
                      <a:pt x="232" y="51"/>
                      <a:pt x="232" y="51"/>
                    </a:cubicBezTo>
                    <a:cubicBezTo>
                      <a:pt x="232" y="51"/>
                      <a:pt x="232" y="51"/>
                      <a:pt x="231" y="51"/>
                    </a:cubicBezTo>
                    <a:cubicBezTo>
                      <a:pt x="231" y="51"/>
                      <a:pt x="231" y="51"/>
                      <a:pt x="231" y="51"/>
                    </a:cubicBezTo>
                    <a:cubicBezTo>
                      <a:pt x="231" y="51"/>
                      <a:pt x="231" y="51"/>
                      <a:pt x="231" y="51"/>
                    </a:cubicBezTo>
                    <a:cubicBezTo>
                      <a:pt x="230" y="51"/>
                      <a:pt x="230" y="51"/>
                      <a:pt x="230" y="51"/>
                    </a:cubicBezTo>
                    <a:cubicBezTo>
                      <a:pt x="230" y="51"/>
                      <a:pt x="230" y="50"/>
                      <a:pt x="230" y="50"/>
                    </a:cubicBezTo>
                    <a:cubicBezTo>
                      <a:pt x="230" y="50"/>
                      <a:pt x="229" y="50"/>
                      <a:pt x="229" y="50"/>
                    </a:cubicBezTo>
                    <a:cubicBezTo>
                      <a:pt x="229" y="50"/>
                      <a:pt x="229" y="50"/>
                      <a:pt x="229" y="50"/>
                    </a:cubicBezTo>
                    <a:cubicBezTo>
                      <a:pt x="229" y="50"/>
                      <a:pt x="229" y="50"/>
                      <a:pt x="229" y="50"/>
                    </a:cubicBezTo>
                    <a:cubicBezTo>
                      <a:pt x="229" y="50"/>
                      <a:pt x="230" y="50"/>
                      <a:pt x="230" y="50"/>
                    </a:cubicBezTo>
                    <a:cubicBezTo>
                      <a:pt x="230" y="50"/>
                      <a:pt x="230" y="49"/>
                      <a:pt x="230" y="49"/>
                    </a:cubicBezTo>
                    <a:cubicBezTo>
                      <a:pt x="230" y="49"/>
                      <a:pt x="230" y="49"/>
                      <a:pt x="231" y="49"/>
                    </a:cubicBezTo>
                    <a:cubicBezTo>
                      <a:pt x="231" y="49"/>
                      <a:pt x="231" y="49"/>
                      <a:pt x="231" y="49"/>
                    </a:cubicBezTo>
                    <a:cubicBezTo>
                      <a:pt x="231" y="49"/>
                      <a:pt x="231" y="49"/>
                      <a:pt x="231" y="49"/>
                    </a:cubicBezTo>
                    <a:cubicBezTo>
                      <a:pt x="231" y="49"/>
                      <a:pt x="231" y="49"/>
                      <a:pt x="231" y="49"/>
                    </a:cubicBezTo>
                    <a:cubicBezTo>
                      <a:pt x="232" y="49"/>
                      <a:pt x="232" y="49"/>
                      <a:pt x="232" y="49"/>
                    </a:cubicBezTo>
                    <a:cubicBezTo>
                      <a:pt x="232" y="49"/>
                      <a:pt x="232" y="49"/>
                      <a:pt x="232" y="49"/>
                    </a:cubicBezTo>
                    <a:cubicBezTo>
                      <a:pt x="232" y="49"/>
                      <a:pt x="233" y="49"/>
                      <a:pt x="233" y="49"/>
                    </a:cubicBezTo>
                    <a:cubicBezTo>
                      <a:pt x="233" y="49"/>
                      <a:pt x="233" y="49"/>
                      <a:pt x="233" y="49"/>
                    </a:cubicBezTo>
                    <a:cubicBezTo>
                      <a:pt x="233" y="49"/>
                      <a:pt x="233" y="49"/>
                      <a:pt x="233" y="49"/>
                    </a:cubicBezTo>
                    <a:cubicBezTo>
                      <a:pt x="233" y="49"/>
                      <a:pt x="233" y="49"/>
                      <a:pt x="233" y="49"/>
                    </a:cubicBezTo>
                    <a:cubicBezTo>
                      <a:pt x="233" y="49"/>
                      <a:pt x="233" y="49"/>
                      <a:pt x="233" y="49"/>
                    </a:cubicBezTo>
                    <a:cubicBezTo>
                      <a:pt x="233" y="49"/>
                      <a:pt x="234" y="49"/>
                      <a:pt x="234" y="49"/>
                    </a:cubicBezTo>
                    <a:cubicBezTo>
                      <a:pt x="234" y="49"/>
                      <a:pt x="234" y="50"/>
                      <a:pt x="233" y="50"/>
                    </a:cubicBezTo>
                    <a:cubicBezTo>
                      <a:pt x="233" y="50"/>
                      <a:pt x="233" y="50"/>
                      <a:pt x="233" y="50"/>
                    </a:cubicBezTo>
                    <a:cubicBezTo>
                      <a:pt x="233" y="50"/>
                      <a:pt x="233" y="50"/>
                      <a:pt x="233" y="50"/>
                    </a:cubicBezTo>
                    <a:cubicBezTo>
                      <a:pt x="233" y="50"/>
                      <a:pt x="233" y="50"/>
                      <a:pt x="233" y="51"/>
                    </a:cubicBezTo>
                    <a:cubicBezTo>
                      <a:pt x="233" y="51"/>
                      <a:pt x="234" y="51"/>
                      <a:pt x="234" y="51"/>
                    </a:cubicBezTo>
                    <a:cubicBezTo>
                      <a:pt x="234" y="51"/>
                      <a:pt x="234" y="51"/>
                      <a:pt x="234" y="51"/>
                    </a:cubicBezTo>
                    <a:cubicBezTo>
                      <a:pt x="234" y="51"/>
                      <a:pt x="234" y="51"/>
                      <a:pt x="234" y="51"/>
                    </a:cubicBezTo>
                    <a:cubicBezTo>
                      <a:pt x="234" y="51"/>
                      <a:pt x="233" y="51"/>
                      <a:pt x="233" y="51"/>
                    </a:cubicBezTo>
                    <a:cubicBezTo>
                      <a:pt x="233" y="51"/>
                      <a:pt x="233" y="51"/>
                      <a:pt x="233" y="51"/>
                    </a:cubicBezTo>
                    <a:close/>
                    <a:moveTo>
                      <a:pt x="234" y="40"/>
                    </a:moveTo>
                    <a:cubicBezTo>
                      <a:pt x="234" y="40"/>
                      <a:pt x="234" y="40"/>
                      <a:pt x="234" y="41"/>
                    </a:cubicBezTo>
                    <a:cubicBezTo>
                      <a:pt x="234" y="41"/>
                      <a:pt x="234" y="41"/>
                      <a:pt x="234" y="41"/>
                    </a:cubicBezTo>
                    <a:cubicBezTo>
                      <a:pt x="234" y="41"/>
                      <a:pt x="234" y="41"/>
                      <a:pt x="234" y="41"/>
                    </a:cubicBezTo>
                    <a:cubicBezTo>
                      <a:pt x="234" y="41"/>
                      <a:pt x="234" y="41"/>
                      <a:pt x="235" y="41"/>
                    </a:cubicBezTo>
                    <a:cubicBezTo>
                      <a:pt x="235" y="41"/>
                      <a:pt x="235" y="40"/>
                      <a:pt x="235" y="40"/>
                    </a:cubicBezTo>
                    <a:cubicBezTo>
                      <a:pt x="235" y="40"/>
                      <a:pt x="235" y="40"/>
                      <a:pt x="235" y="41"/>
                    </a:cubicBezTo>
                    <a:cubicBezTo>
                      <a:pt x="235" y="41"/>
                      <a:pt x="235" y="41"/>
                      <a:pt x="235" y="41"/>
                    </a:cubicBezTo>
                    <a:cubicBezTo>
                      <a:pt x="235" y="41"/>
                      <a:pt x="235" y="41"/>
                      <a:pt x="235" y="41"/>
                    </a:cubicBezTo>
                    <a:cubicBezTo>
                      <a:pt x="235" y="41"/>
                      <a:pt x="235" y="41"/>
                      <a:pt x="235" y="41"/>
                    </a:cubicBezTo>
                    <a:cubicBezTo>
                      <a:pt x="235" y="41"/>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39"/>
                      <a:pt x="235" y="39"/>
                      <a:pt x="235" y="39"/>
                    </a:cubicBezTo>
                    <a:cubicBezTo>
                      <a:pt x="235" y="39"/>
                      <a:pt x="235" y="39"/>
                      <a:pt x="235" y="39"/>
                    </a:cubicBezTo>
                    <a:cubicBezTo>
                      <a:pt x="235" y="39"/>
                      <a:pt x="235" y="39"/>
                      <a:pt x="235" y="40"/>
                    </a:cubicBezTo>
                    <a:cubicBezTo>
                      <a:pt x="235" y="40"/>
                      <a:pt x="235" y="40"/>
                      <a:pt x="235" y="40"/>
                    </a:cubicBezTo>
                    <a:cubicBezTo>
                      <a:pt x="235" y="40"/>
                      <a:pt x="235" y="40"/>
                      <a:pt x="235" y="40"/>
                    </a:cubicBezTo>
                    <a:cubicBezTo>
                      <a:pt x="235" y="40"/>
                      <a:pt x="236" y="40"/>
                      <a:pt x="236" y="40"/>
                    </a:cubicBezTo>
                    <a:cubicBezTo>
                      <a:pt x="236" y="40"/>
                      <a:pt x="236" y="40"/>
                      <a:pt x="236" y="40"/>
                    </a:cubicBezTo>
                    <a:cubicBezTo>
                      <a:pt x="236" y="40"/>
                      <a:pt x="236" y="40"/>
                      <a:pt x="237" y="40"/>
                    </a:cubicBezTo>
                    <a:cubicBezTo>
                      <a:pt x="237" y="40"/>
                      <a:pt x="237" y="40"/>
                      <a:pt x="237" y="40"/>
                    </a:cubicBezTo>
                    <a:cubicBezTo>
                      <a:pt x="237" y="40"/>
                      <a:pt x="237" y="40"/>
                      <a:pt x="237" y="40"/>
                    </a:cubicBezTo>
                    <a:cubicBezTo>
                      <a:pt x="237" y="40"/>
                      <a:pt x="237" y="40"/>
                      <a:pt x="237" y="40"/>
                    </a:cubicBezTo>
                    <a:cubicBezTo>
                      <a:pt x="237" y="39"/>
                      <a:pt x="237" y="39"/>
                      <a:pt x="236" y="39"/>
                    </a:cubicBezTo>
                    <a:cubicBezTo>
                      <a:pt x="236" y="39"/>
                      <a:pt x="236" y="39"/>
                      <a:pt x="236" y="39"/>
                    </a:cubicBezTo>
                    <a:cubicBezTo>
                      <a:pt x="236" y="39"/>
                      <a:pt x="236" y="39"/>
                      <a:pt x="236" y="39"/>
                    </a:cubicBezTo>
                    <a:cubicBezTo>
                      <a:pt x="236" y="39"/>
                      <a:pt x="236" y="39"/>
                      <a:pt x="236" y="39"/>
                    </a:cubicBezTo>
                    <a:cubicBezTo>
                      <a:pt x="236" y="39"/>
                      <a:pt x="235" y="38"/>
                      <a:pt x="235" y="38"/>
                    </a:cubicBezTo>
                    <a:cubicBezTo>
                      <a:pt x="235" y="38"/>
                      <a:pt x="235" y="38"/>
                      <a:pt x="235" y="38"/>
                    </a:cubicBezTo>
                    <a:cubicBezTo>
                      <a:pt x="235" y="38"/>
                      <a:pt x="235" y="38"/>
                      <a:pt x="235" y="38"/>
                    </a:cubicBezTo>
                    <a:cubicBezTo>
                      <a:pt x="235" y="38"/>
                      <a:pt x="235" y="38"/>
                      <a:pt x="235" y="38"/>
                    </a:cubicBezTo>
                    <a:cubicBezTo>
                      <a:pt x="235" y="38"/>
                      <a:pt x="235" y="38"/>
                      <a:pt x="235" y="38"/>
                    </a:cubicBezTo>
                    <a:cubicBezTo>
                      <a:pt x="236" y="38"/>
                      <a:pt x="236" y="38"/>
                      <a:pt x="236" y="38"/>
                    </a:cubicBezTo>
                    <a:cubicBezTo>
                      <a:pt x="236" y="38"/>
                      <a:pt x="236" y="38"/>
                      <a:pt x="236" y="38"/>
                    </a:cubicBezTo>
                    <a:cubicBezTo>
                      <a:pt x="236" y="38"/>
                      <a:pt x="236" y="38"/>
                      <a:pt x="236" y="38"/>
                    </a:cubicBezTo>
                    <a:cubicBezTo>
                      <a:pt x="236" y="39"/>
                      <a:pt x="236" y="39"/>
                      <a:pt x="236" y="39"/>
                    </a:cubicBezTo>
                    <a:cubicBezTo>
                      <a:pt x="236" y="39"/>
                      <a:pt x="236" y="39"/>
                      <a:pt x="236" y="39"/>
                    </a:cubicBezTo>
                    <a:cubicBezTo>
                      <a:pt x="236" y="39"/>
                      <a:pt x="237" y="39"/>
                      <a:pt x="237" y="39"/>
                    </a:cubicBezTo>
                    <a:cubicBezTo>
                      <a:pt x="237" y="39"/>
                      <a:pt x="237" y="39"/>
                      <a:pt x="237" y="39"/>
                    </a:cubicBezTo>
                    <a:cubicBezTo>
                      <a:pt x="237" y="39"/>
                      <a:pt x="237" y="39"/>
                      <a:pt x="237" y="39"/>
                    </a:cubicBezTo>
                    <a:cubicBezTo>
                      <a:pt x="237" y="39"/>
                      <a:pt x="237" y="39"/>
                      <a:pt x="237" y="39"/>
                    </a:cubicBezTo>
                    <a:cubicBezTo>
                      <a:pt x="237" y="40"/>
                      <a:pt x="237" y="40"/>
                      <a:pt x="237" y="40"/>
                    </a:cubicBezTo>
                    <a:cubicBezTo>
                      <a:pt x="238" y="40"/>
                      <a:pt x="238" y="40"/>
                      <a:pt x="238" y="39"/>
                    </a:cubicBezTo>
                    <a:cubicBezTo>
                      <a:pt x="238" y="39"/>
                      <a:pt x="238" y="40"/>
                      <a:pt x="239" y="40"/>
                    </a:cubicBezTo>
                    <a:cubicBezTo>
                      <a:pt x="239" y="40"/>
                      <a:pt x="239" y="40"/>
                      <a:pt x="239" y="40"/>
                    </a:cubicBezTo>
                    <a:cubicBezTo>
                      <a:pt x="239" y="40"/>
                      <a:pt x="239" y="40"/>
                      <a:pt x="239" y="40"/>
                    </a:cubicBezTo>
                    <a:cubicBezTo>
                      <a:pt x="239" y="39"/>
                      <a:pt x="240" y="39"/>
                      <a:pt x="240" y="39"/>
                    </a:cubicBezTo>
                    <a:cubicBezTo>
                      <a:pt x="240" y="39"/>
                      <a:pt x="239" y="39"/>
                      <a:pt x="240" y="39"/>
                    </a:cubicBezTo>
                    <a:cubicBezTo>
                      <a:pt x="240" y="39"/>
                      <a:pt x="240" y="38"/>
                      <a:pt x="239" y="38"/>
                    </a:cubicBezTo>
                    <a:cubicBezTo>
                      <a:pt x="239" y="38"/>
                      <a:pt x="239" y="38"/>
                      <a:pt x="239" y="38"/>
                    </a:cubicBezTo>
                    <a:cubicBezTo>
                      <a:pt x="239" y="38"/>
                      <a:pt x="239" y="38"/>
                      <a:pt x="239" y="38"/>
                    </a:cubicBezTo>
                    <a:cubicBezTo>
                      <a:pt x="239" y="38"/>
                      <a:pt x="238" y="38"/>
                      <a:pt x="238" y="38"/>
                    </a:cubicBezTo>
                    <a:cubicBezTo>
                      <a:pt x="238" y="38"/>
                      <a:pt x="238" y="38"/>
                      <a:pt x="238" y="38"/>
                    </a:cubicBezTo>
                    <a:cubicBezTo>
                      <a:pt x="238" y="38"/>
                      <a:pt x="238" y="37"/>
                      <a:pt x="238" y="37"/>
                    </a:cubicBezTo>
                    <a:cubicBezTo>
                      <a:pt x="238" y="37"/>
                      <a:pt x="238" y="37"/>
                      <a:pt x="238" y="38"/>
                    </a:cubicBezTo>
                    <a:cubicBezTo>
                      <a:pt x="237" y="38"/>
                      <a:pt x="237" y="38"/>
                      <a:pt x="237" y="38"/>
                    </a:cubicBezTo>
                    <a:cubicBezTo>
                      <a:pt x="237" y="38"/>
                      <a:pt x="237" y="38"/>
                      <a:pt x="237" y="38"/>
                    </a:cubicBezTo>
                    <a:cubicBezTo>
                      <a:pt x="237" y="37"/>
                      <a:pt x="237" y="37"/>
                      <a:pt x="237" y="37"/>
                    </a:cubicBezTo>
                    <a:cubicBezTo>
                      <a:pt x="237" y="37"/>
                      <a:pt x="237" y="37"/>
                      <a:pt x="237" y="37"/>
                    </a:cubicBezTo>
                    <a:cubicBezTo>
                      <a:pt x="237" y="37"/>
                      <a:pt x="236" y="37"/>
                      <a:pt x="236" y="37"/>
                    </a:cubicBezTo>
                    <a:cubicBezTo>
                      <a:pt x="236" y="37"/>
                      <a:pt x="236" y="37"/>
                      <a:pt x="236" y="37"/>
                    </a:cubicBezTo>
                    <a:cubicBezTo>
                      <a:pt x="236" y="37"/>
                      <a:pt x="236" y="37"/>
                      <a:pt x="236" y="38"/>
                    </a:cubicBezTo>
                    <a:cubicBezTo>
                      <a:pt x="236" y="38"/>
                      <a:pt x="236" y="38"/>
                      <a:pt x="236" y="37"/>
                    </a:cubicBezTo>
                    <a:cubicBezTo>
                      <a:pt x="236" y="37"/>
                      <a:pt x="235" y="38"/>
                      <a:pt x="235" y="38"/>
                    </a:cubicBezTo>
                    <a:cubicBezTo>
                      <a:pt x="235" y="38"/>
                      <a:pt x="235" y="38"/>
                      <a:pt x="235" y="38"/>
                    </a:cubicBezTo>
                    <a:cubicBezTo>
                      <a:pt x="235" y="38"/>
                      <a:pt x="235" y="38"/>
                      <a:pt x="235" y="38"/>
                    </a:cubicBezTo>
                    <a:cubicBezTo>
                      <a:pt x="235" y="38"/>
                      <a:pt x="235" y="38"/>
                      <a:pt x="235" y="38"/>
                    </a:cubicBezTo>
                    <a:cubicBezTo>
                      <a:pt x="235" y="38"/>
                      <a:pt x="234" y="38"/>
                      <a:pt x="234" y="38"/>
                    </a:cubicBezTo>
                    <a:cubicBezTo>
                      <a:pt x="234" y="38"/>
                      <a:pt x="234" y="38"/>
                      <a:pt x="234" y="38"/>
                    </a:cubicBezTo>
                    <a:cubicBezTo>
                      <a:pt x="234" y="38"/>
                      <a:pt x="234" y="38"/>
                      <a:pt x="234" y="38"/>
                    </a:cubicBezTo>
                    <a:cubicBezTo>
                      <a:pt x="234" y="38"/>
                      <a:pt x="234"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4" y="38"/>
                      <a:pt x="234" y="38"/>
                    </a:cubicBezTo>
                    <a:cubicBezTo>
                      <a:pt x="234" y="38"/>
                      <a:pt x="234" y="38"/>
                      <a:pt x="234" y="38"/>
                    </a:cubicBezTo>
                    <a:cubicBezTo>
                      <a:pt x="234" y="38"/>
                      <a:pt x="234" y="38"/>
                      <a:pt x="234" y="38"/>
                    </a:cubicBezTo>
                    <a:cubicBezTo>
                      <a:pt x="234" y="38"/>
                      <a:pt x="234" y="39"/>
                      <a:pt x="234" y="39"/>
                    </a:cubicBezTo>
                    <a:cubicBezTo>
                      <a:pt x="234" y="39"/>
                      <a:pt x="234" y="39"/>
                      <a:pt x="234" y="39"/>
                    </a:cubicBezTo>
                    <a:cubicBezTo>
                      <a:pt x="234" y="39"/>
                      <a:pt x="233" y="39"/>
                      <a:pt x="233" y="39"/>
                    </a:cubicBezTo>
                    <a:cubicBezTo>
                      <a:pt x="233" y="39"/>
                      <a:pt x="233" y="39"/>
                      <a:pt x="233" y="39"/>
                    </a:cubicBezTo>
                    <a:cubicBezTo>
                      <a:pt x="233" y="39"/>
                      <a:pt x="233" y="39"/>
                      <a:pt x="233" y="39"/>
                    </a:cubicBezTo>
                    <a:cubicBezTo>
                      <a:pt x="233" y="39"/>
                      <a:pt x="233" y="39"/>
                      <a:pt x="233" y="39"/>
                    </a:cubicBezTo>
                    <a:cubicBezTo>
                      <a:pt x="233" y="39"/>
                      <a:pt x="232" y="39"/>
                      <a:pt x="232" y="39"/>
                    </a:cubicBezTo>
                    <a:cubicBezTo>
                      <a:pt x="232" y="39"/>
                      <a:pt x="233" y="39"/>
                      <a:pt x="233" y="39"/>
                    </a:cubicBezTo>
                    <a:cubicBezTo>
                      <a:pt x="233" y="39"/>
                      <a:pt x="233" y="39"/>
                      <a:pt x="233" y="39"/>
                    </a:cubicBezTo>
                    <a:cubicBezTo>
                      <a:pt x="233" y="39"/>
                      <a:pt x="233" y="39"/>
                      <a:pt x="233" y="39"/>
                    </a:cubicBezTo>
                    <a:cubicBezTo>
                      <a:pt x="233" y="39"/>
                      <a:pt x="233" y="39"/>
                      <a:pt x="233"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40"/>
                      <a:pt x="234" y="40"/>
                    </a:cubicBezTo>
                    <a:cubicBezTo>
                      <a:pt x="234" y="40"/>
                      <a:pt x="234" y="40"/>
                      <a:pt x="234" y="40"/>
                    </a:cubicBezTo>
                    <a:cubicBezTo>
                      <a:pt x="234" y="40"/>
                      <a:pt x="234" y="40"/>
                      <a:pt x="234" y="40"/>
                    </a:cubicBezTo>
                    <a:close/>
                    <a:moveTo>
                      <a:pt x="234" y="43"/>
                    </a:moveTo>
                    <a:cubicBezTo>
                      <a:pt x="234" y="43"/>
                      <a:pt x="234" y="43"/>
                      <a:pt x="234" y="43"/>
                    </a:cubicBezTo>
                    <a:cubicBezTo>
                      <a:pt x="234" y="43"/>
                      <a:pt x="235" y="43"/>
                      <a:pt x="235" y="43"/>
                    </a:cubicBezTo>
                    <a:cubicBezTo>
                      <a:pt x="235" y="43"/>
                      <a:pt x="235" y="43"/>
                      <a:pt x="236" y="43"/>
                    </a:cubicBezTo>
                    <a:cubicBezTo>
                      <a:pt x="236" y="43"/>
                      <a:pt x="236" y="43"/>
                      <a:pt x="236" y="43"/>
                    </a:cubicBezTo>
                    <a:cubicBezTo>
                      <a:pt x="236" y="43"/>
                      <a:pt x="236" y="43"/>
                      <a:pt x="236" y="43"/>
                    </a:cubicBezTo>
                    <a:cubicBezTo>
                      <a:pt x="237" y="43"/>
                      <a:pt x="237" y="43"/>
                      <a:pt x="237" y="43"/>
                    </a:cubicBezTo>
                    <a:cubicBezTo>
                      <a:pt x="237" y="43"/>
                      <a:pt x="237" y="43"/>
                      <a:pt x="237" y="43"/>
                    </a:cubicBezTo>
                    <a:cubicBezTo>
                      <a:pt x="237" y="43"/>
                      <a:pt x="237" y="43"/>
                      <a:pt x="237" y="43"/>
                    </a:cubicBezTo>
                    <a:cubicBezTo>
                      <a:pt x="237" y="43"/>
                      <a:pt x="237" y="43"/>
                      <a:pt x="237" y="43"/>
                    </a:cubicBezTo>
                    <a:cubicBezTo>
                      <a:pt x="237" y="43"/>
                      <a:pt x="236" y="42"/>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lose/>
                    <a:moveTo>
                      <a:pt x="236" y="45"/>
                    </a:moveTo>
                    <a:cubicBezTo>
                      <a:pt x="236" y="45"/>
                      <a:pt x="236" y="45"/>
                      <a:pt x="236" y="45"/>
                    </a:cubicBezTo>
                    <a:cubicBezTo>
                      <a:pt x="236" y="46"/>
                      <a:pt x="236" y="46"/>
                      <a:pt x="236" y="46"/>
                    </a:cubicBezTo>
                    <a:cubicBezTo>
                      <a:pt x="236" y="46"/>
                      <a:pt x="236" y="46"/>
                      <a:pt x="236" y="46"/>
                    </a:cubicBezTo>
                    <a:cubicBezTo>
                      <a:pt x="236" y="46"/>
                      <a:pt x="236"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8" y="46"/>
                      <a:pt x="238" y="46"/>
                      <a:pt x="238" y="46"/>
                    </a:cubicBezTo>
                    <a:cubicBezTo>
                      <a:pt x="238" y="46"/>
                      <a:pt x="238" y="46"/>
                      <a:pt x="238" y="46"/>
                    </a:cubicBezTo>
                    <a:cubicBezTo>
                      <a:pt x="238" y="46"/>
                      <a:pt x="238" y="46"/>
                      <a:pt x="238" y="46"/>
                    </a:cubicBezTo>
                    <a:cubicBezTo>
                      <a:pt x="238" y="45"/>
                      <a:pt x="238" y="45"/>
                      <a:pt x="238" y="45"/>
                    </a:cubicBezTo>
                    <a:cubicBezTo>
                      <a:pt x="238" y="45"/>
                      <a:pt x="238" y="44"/>
                      <a:pt x="238" y="44"/>
                    </a:cubicBezTo>
                    <a:cubicBezTo>
                      <a:pt x="238" y="44"/>
                      <a:pt x="238" y="44"/>
                      <a:pt x="238" y="44"/>
                    </a:cubicBezTo>
                    <a:cubicBezTo>
                      <a:pt x="238" y="44"/>
                      <a:pt x="238" y="43"/>
                      <a:pt x="238" y="43"/>
                    </a:cubicBezTo>
                    <a:cubicBezTo>
                      <a:pt x="238" y="43"/>
                      <a:pt x="238" y="43"/>
                      <a:pt x="237" y="43"/>
                    </a:cubicBezTo>
                    <a:cubicBezTo>
                      <a:pt x="237" y="44"/>
                      <a:pt x="237" y="44"/>
                      <a:pt x="237" y="44"/>
                    </a:cubicBezTo>
                    <a:cubicBezTo>
                      <a:pt x="237" y="43"/>
                      <a:pt x="237" y="43"/>
                      <a:pt x="237" y="43"/>
                    </a:cubicBezTo>
                    <a:cubicBezTo>
                      <a:pt x="237" y="43"/>
                      <a:pt x="237" y="43"/>
                      <a:pt x="237" y="43"/>
                    </a:cubicBezTo>
                    <a:cubicBezTo>
                      <a:pt x="237" y="43"/>
                      <a:pt x="237" y="43"/>
                      <a:pt x="236" y="43"/>
                    </a:cubicBezTo>
                    <a:cubicBezTo>
                      <a:pt x="236" y="43"/>
                      <a:pt x="236" y="43"/>
                      <a:pt x="236" y="43"/>
                    </a:cubicBezTo>
                    <a:cubicBezTo>
                      <a:pt x="236" y="43"/>
                      <a:pt x="236" y="44"/>
                      <a:pt x="236" y="44"/>
                    </a:cubicBezTo>
                    <a:cubicBezTo>
                      <a:pt x="236" y="44"/>
                      <a:pt x="236" y="44"/>
                      <a:pt x="236" y="44"/>
                    </a:cubicBezTo>
                    <a:cubicBezTo>
                      <a:pt x="235" y="44"/>
                      <a:pt x="235" y="44"/>
                      <a:pt x="235" y="44"/>
                    </a:cubicBezTo>
                    <a:cubicBezTo>
                      <a:pt x="235" y="44"/>
                      <a:pt x="235" y="44"/>
                      <a:pt x="235" y="44"/>
                    </a:cubicBezTo>
                    <a:cubicBezTo>
                      <a:pt x="235" y="44"/>
                      <a:pt x="235" y="44"/>
                      <a:pt x="236" y="44"/>
                    </a:cubicBezTo>
                    <a:cubicBezTo>
                      <a:pt x="236" y="44"/>
                      <a:pt x="236" y="45"/>
                      <a:pt x="235" y="45"/>
                    </a:cubicBezTo>
                    <a:cubicBezTo>
                      <a:pt x="235" y="45"/>
                      <a:pt x="235" y="45"/>
                      <a:pt x="235" y="45"/>
                    </a:cubicBezTo>
                    <a:cubicBezTo>
                      <a:pt x="235" y="45"/>
                      <a:pt x="236" y="45"/>
                      <a:pt x="236" y="45"/>
                    </a:cubicBezTo>
                    <a:close/>
                    <a:moveTo>
                      <a:pt x="255" y="54"/>
                    </a:move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4" y="54"/>
                      <a:pt x="254" y="54"/>
                    </a:cubicBezTo>
                    <a:cubicBezTo>
                      <a:pt x="254" y="54"/>
                      <a:pt x="255" y="54"/>
                      <a:pt x="255" y="54"/>
                    </a:cubicBezTo>
                    <a:close/>
                    <a:moveTo>
                      <a:pt x="257" y="52"/>
                    </a:moveTo>
                    <a:cubicBezTo>
                      <a:pt x="257" y="52"/>
                      <a:pt x="257" y="52"/>
                      <a:pt x="256" y="52"/>
                    </a:cubicBezTo>
                    <a:cubicBezTo>
                      <a:pt x="256" y="52"/>
                      <a:pt x="256" y="52"/>
                      <a:pt x="256" y="53"/>
                    </a:cubicBezTo>
                    <a:cubicBezTo>
                      <a:pt x="256" y="53"/>
                      <a:pt x="256" y="53"/>
                      <a:pt x="256" y="53"/>
                    </a:cubicBezTo>
                    <a:cubicBezTo>
                      <a:pt x="257" y="53"/>
                      <a:pt x="257" y="53"/>
                      <a:pt x="257" y="53"/>
                    </a:cubicBezTo>
                    <a:cubicBezTo>
                      <a:pt x="257" y="53"/>
                      <a:pt x="257" y="53"/>
                      <a:pt x="257" y="53"/>
                    </a:cubicBezTo>
                    <a:cubicBezTo>
                      <a:pt x="257" y="53"/>
                      <a:pt x="257" y="53"/>
                      <a:pt x="257" y="53"/>
                    </a:cubicBezTo>
                    <a:cubicBezTo>
                      <a:pt x="257" y="53"/>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lose/>
                    <a:moveTo>
                      <a:pt x="253" y="65"/>
                    </a:moveTo>
                    <a:cubicBezTo>
                      <a:pt x="253" y="65"/>
                      <a:pt x="253" y="65"/>
                      <a:pt x="253" y="66"/>
                    </a:cubicBezTo>
                    <a:cubicBezTo>
                      <a:pt x="254" y="66"/>
                      <a:pt x="254" y="66"/>
                      <a:pt x="254" y="66"/>
                    </a:cubicBezTo>
                    <a:cubicBezTo>
                      <a:pt x="254" y="66"/>
                      <a:pt x="254" y="66"/>
                      <a:pt x="254" y="66"/>
                    </a:cubicBezTo>
                    <a:cubicBezTo>
                      <a:pt x="254" y="66"/>
                      <a:pt x="254" y="66"/>
                      <a:pt x="254"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4" y="66"/>
                      <a:pt x="254" y="66"/>
                    </a:cubicBezTo>
                    <a:cubicBezTo>
                      <a:pt x="254" y="66"/>
                      <a:pt x="254" y="66"/>
                      <a:pt x="254" y="66"/>
                    </a:cubicBezTo>
                    <a:cubicBezTo>
                      <a:pt x="254" y="66"/>
                      <a:pt x="254" y="65"/>
                      <a:pt x="254" y="65"/>
                    </a:cubicBezTo>
                    <a:cubicBezTo>
                      <a:pt x="254" y="65"/>
                      <a:pt x="254" y="65"/>
                      <a:pt x="254" y="65"/>
                    </a:cubicBezTo>
                    <a:cubicBezTo>
                      <a:pt x="254" y="65"/>
                      <a:pt x="253" y="65"/>
                      <a:pt x="253" y="65"/>
                    </a:cubicBezTo>
                    <a:close/>
                    <a:moveTo>
                      <a:pt x="266" y="63"/>
                    </a:moveTo>
                    <a:cubicBezTo>
                      <a:pt x="264" y="62"/>
                      <a:pt x="264" y="62"/>
                      <a:pt x="264" y="62"/>
                    </a:cubicBezTo>
                    <a:cubicBezTo>
                      <a:pt x="262" y="61"/>
                      <a:pt x="262" y="61"/>
                      <a:pt x="262" y="61"/>
                    </a:cubicBezTo>
                    <a:cubicBezTo>
                      <a:pt x="262" y="61"/>
                      <a:pt x="262" y="61"/>
                      <a:pt x="262" y="61"/>
                    </a:cubicBezTo>
                    <a:cubicBezTo>
                      <a:pt x="263" y="60"/>
                      <a:pt x="263" y="60"/>
                      <a:pt x="263" y="60"/>
                    </a:cubicBezTo>
                    <a:cubicBezTo>
                      <a:pt x="263" y="60"/>
                      <a:pt x="263" y="60"/>
                      <a:pt x="263" y="60"/>
                    </a:cubicBezTo>
                    <a:cubicBezTo>
                      <a:pt x="263" y="60"/>
                      <a:pt x="263" y="60"/>
                      <a:pt x="263" y="60"/>
                    </a:cubicBezTo>
                    <a:cubicBezTo>
                      <a:pt x="262" y="54"/>
                      <a:pt x="262" y="54"/>
                      <a:pt x="262" y="54"/>
                    </a:cubicBezTo>
                    <a:cubicBezTo>
                      <a:pt x="262" y="54"/>
                      <a:pt x="262" y="54"/>
                      <a:pt x="262" y="54"/>
                    </a:cubicBezTo>
                    <a:cubicBezTo>
                      <a:pt x="262" y="54"/>
                      <a:pt x="262" y="54"/>
                      <a:pt x="262" y="54"/>
                    </a:cubicBezTo>
                    <a:cubicBezTo>
                      <a:pt x="262" y="54"/>
                      <a:pt x="261" y="54"/>
                      <a:pt x="261" y="54"/>
                    </a:cubicBezTo>
                    <a:cubicBezTo>
                      <a:pt x="261" y="54"/>
                      <a:pt x="261" y="54"/>
                      <a:pt x="261" y="54"/>
                    </a:cubicBezTo>
                    <a:cubicBezTo>
                      <a:pt x="261" y="55"/>
                      <a:pt x="261" y="55"/>
                      <a:pt x="261" y="55"/>
                    </a:cubicBezTo>
                    <a:cubicBezTo>
                      <a:pt x="261" y="55"/>
                      <a:pt x="261" y="55"/>
                      <a:pt x="261" y="55"/>
                    </a:cubicBezTo>
                    <a:cubicBezTo>
                      <a:pt x="261" y="55"/>
                      <a:pt x="261" y="55"/>
                      <a:pt x="261" y="56"/>
                    </a:cubicBezTo>
                    <a:cubicBezTo>
                      <a:pt x="261" y="56"/>
                      <a:pt x="261" y="56"/>
                      <a:pt x="261" y="56"/>
                    </a:cubicBezTo>
                    <a:cubicBezTo>
                      <a:pt x="261" y="56"/>
                      <a:pt x="261" y="57"/>
                      <a:pt x="261" y="57"/>
                    </a:cubicBezTo>
                    <a:cubicBezTo>
                      <a:pt x="261" y="57"/>
                      <a:pt x="261" y="57"/>
                      <a:pt x="261" y="57"/>
                    </a:cubicBezTo>
                    <a:cubicBezTo>
                      <a:pt x="261" y="57"/>
                      <a:pt x="261" y="56"/>
                      <a:pt x="261" y="56"/>
                    </a:cubicBezTo>
                    <a:cubicBezTo>
                      <a:pt x="261" y="56"/>
                      <a:pt x="261" y="56"/>
                      <a:pt x="261" y="56"/>
                    </a:cubicBezTo>
                    <a:cubicBezTo>
                      <a:pt x="261" y="56"/>
                      <a:pt x="261" y="56"/>
                      <a:pt x="260" y="55"/>
                    </a:cubicBezTo>
                    <a:cubicBezTo>
                      <a:pt x="260" y="55"/>
                      <a:pt x="260" y="55"/>
                      <a:pt x="260" y="55"/>
                    </a:cubicBezTo>
                    <a:cubicBezTo>
                      <a:pt x="260" y="55"/>
                      <a:pt x="260" y="55"/>
                      <a:pt x="260" y="55"/>
                    </a:cubicBezTo>
                    <a:cubicBezTo>
                      <a:pt x="260" y="55"/>
                      <a:pt x="260" y="55"/>
                      <a:pt x="260" y="55"/>
                    </a:cubicBezTo>
                    <a:cubicBezTo>
                      <a:pt x="260" y="55"/>
                      <a:pt x="260" y="54"/>
                      <a:pt x="260" y="54"/>
                    </a:cubicBezTo>
                    <a:cubicBezTo>
                      <a:pt x="260" y="54"/>
                      <a:pt x="260" y="54"/>
                      <a:pt x="260" y="54"/>
                    </a:cubicBezTo>
                    <a:cubicBezTo>
                      <a:pt x="260" y="54"/>
                      <a:pt x="260" y="54"/>
                      <a:pt x="260" y="54"/>
                    </a:cubicBezTo>
                    <a:cubicBezTo>
                      <a:pt x="260" y="54"/>
                      <a:pt x="260" y="54"/>
                      <a:pt x="259" y="54"/>
                    </a:cubicBezTo>
                    <a:cubicBezTo>
                      <a:pt x="259" y="54"/>
                      <a:pt x="259" y="54"/>
                      <a:pt x="259" y="53"/>
                    </a:cubicBezTo>
                    <a:cubicBezTo>
                      <a:pt x="259" y="53"/>
                      <a:pt x="259" y="53"/>
                      <a:pt x="259" y="53"/>
                    </a:cubicBezTo>
                    <a:cubicBezTo>
                      <a:pt x="259" y="53"/>
                      <a:pt x="259" y="53"/>
                      <a:pt x="259" y="53"/>
                    </a:cubicBezTo>
                    <a:cubicBezTo>
                      <a:pt x="259" y="52"/>
                      <a:pt x="259" y="52"/>
                      <a:pt x="259" y="52"/>
                    </a:cubicBezTo>
                    <a:cubicBezTo>
                      <a:pt x="259" y="52"/>
                      <a:pt x="259" y="52"/>
                      <a:pt x="259" y="52"/>
                    </a:cubicBezTo>
                    <a:cubicBezTo>
                      <a:pt x="258" y="52"/>
                      <a:pt x="258" y="51"/>
                      <a:pt x="259" y="51"/>
                    </a:cubicBezTo>
                    <a:cubicBezTo>
                      <a:pt x="259" y="51"/>
                      <a:pt x="259" y="51"/>
                      <a:pt x="259" y="51"/>
                    </a:cubicBezTo>
                    <a:cubicBezTo>
                      <a:pt x="259" y="50"/>
                      <a:pt x="259" y="50"/>
                      <a:pt x="259" y="50"/>
                    </a:cubicBezTo>
                    <a:cubicBezTo>
                      <a:pt x="259" y="50"/>
                      <a:pt x="258" y="50"/>
                      <a:pt x="258" y="50"/>
                    </a:cubicBezTo>
                    <a:cubicBezTo>
                      <a:pt x="258" y="50"/>
                      <a:pt x="258" y="49"/>
                      <a:pt x="258" y="49"/>
                    </a:cubicBezTo>
                    <a:cubicBezTo>
                      <a:pt x="258" y="49"/>
                      <a:pt x="258" y="49"/>
                      <a:pt x="258" y="49"/>
                    </a:cubicBezTo>
                    <a:cubicBezTo>
                      <a:pt x="258" y="49"/>
                      <a:pt x="258" y="49"/>
                      <a:pt x="258" y="49"/>
                    </a:cubicBezTo>
                    <a:cubicBezTo>
                      <a:pt x="258" y="49"/>
                      <a:pt x="258" y="49"/>
                      <a:pt x="258" y="48"/>
                    </a:cubicBezTo>
                    <a:cubicBezTo>
                      <a:pt x="258" y="48"/>
                      <a:pt x="258" y="48"/>
                      <a:pt x="258"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7"/>
                    </a:cubicBezTo>
                    <a:cubicBezTo>
                      <a:pt x="259" y="47"/>
                      <a:pt x="259" y="47"/>
                      <a:pt x="259" y="47"/>
                    </a:cubicBezTo>
                    <a:cubicBezTo>
                      <a:pt x="259" y="47"/>
                      <a:pt x="259" y="47"/>
                      <a:pt x="259" y="47"/>
                    </a:cubicBezTo>
                    <a:cubicBezTo>
                      <a:pt x="259" y="47"/>
                      <a:pt x="259" y="47"/>
                      <a:pt x="259" y="46"/>
                    </a:cubicBezTo>
                    <a:cubicBezTo>
                      <a:pt x="260" y="46"/>
                      <a:pt x="260" y="46"/>
                      <a:pt x="260" y="46"/>
                    </a:cubicBezTo>
                    <a:cubicBezTo>
                      <a:pt x="260" y="46"/>
                      <a:pt x="259" y="46"/>
                      <a:pt x="259" y="46"/>
                    </a:cubicBezTo>
                    <a:cubicBezTo>
                      <a:pt x="259" y="46"/>
                      <a:pt x="259" y="46"/>
                      <a:pt x="259" y="46"/>
                    </a:cubicBezTo>
                    <a:cubicBezTo>
                      <a:pt x="259" y="46"/>
                      <a:pt x="259" y="46"/>
                      <a:pt x="259" y="46"/>
                    </a:cubicBezTo>
                    <a:cubicBezTo>
                      <a:pt x="259" y="45"/>
                      <a:pt x="259" y="45"/>
                      <a:pt x="259" y="45"/>
                    </a:cubicBezTo>
                    <a:cubicBezTo>
                      <a:pt x="259" y="45"/>
                      <a:pt x="259" y="45"/>
                      <a:pt x="259" y="45"/>
                    </a:cubicBezTo>
                    <a:cubicBezTo>
                      <a:pt x="259" y="45"/>
                      <a:pt x="259" y="45"/>
                      <a:pt x="258" y="45"/>
                    </a:cubicBezTo>
                    <a:cubicBezTo>
                      <a:pt x="258" y="45"/>
                      <a:pt x="258" y="45"/>
                      <a:pt x="258" y="44"/>
                    </a:cubicBezTo>
                    <a:cubicBezTo>
                      <a:pt x="258" y="44"/>
                      <a:pt x="258" y="44"/>
                      <a:pt x="258" y="44"/>
                    </a:cubicBezTo>
                    <a:cubicBezTo>
                      <a:pt x="258" y="44"/>
                      <a:pt x="258" y="44"/>
                      <a:pt x="258" y="44"/>
                    </a:cubicBezTo>
                    <a:cubicBezTo>
                      <a:pt x="258" y="44"/>
                      <a:pt x="258" y="44"/>
                      <a:pt x="258" y="44"/>
                    </a:cubicBezTo>
                    <a:cubicBezTo>
                      <a:pt x="258" y="44"/>
                      <a:pt x="258" y="44"/>
                      <a:pt x="258" y="43"/>
                    </a:cubicBezTo>
                    <a:cubicBezTo>
                      <a:pt x="258" y="43"/>
                      <a:pt x="258" y="43"/>
                      <a:pt x="258" y="43"/>
                    </a:cubicBezTo>
                    <a:cubicBezTo>
                      <a:pt x="258" y="43"/>
                      <a:pt x="258" y="43"/>
                      <a:pt x="258" y="43"/>
                    </a:cubicBezTo>
                    <a:cubicBezTo>
                      <a:pt x="258" y="43"/>
                      <a:pt x="259" y="43"/>
                      <a:pt x="259" y="43"/>
                    </a:cubicBezTo>
                    <a:cubicBezTo>
                      <a:pt x="259" y="43"/>
                      <a:pt x="258" y="43"/>
                      <a:pt x="258" y="43"/>
                    </a:cubicBezTo>
                    <a:cubicBezTo>
                      <a:pt x="258" y="43"/>
                      <a:pt x="258" y="43"/>
                      <a:pt x="258" y="42"/>
                    </a:cubicBezTo>
                    <a:cubicBezTo>
                      <a:pt x="258" y="42"/>
                      <a:pt x="258" y="42"/>
                      <a:pt x="258" y="42"/>
                    </a:cubicBezTo>
                    <a:cubicBezTo>
                      <a:pt x="258" y="42"/>
                      <a:pt x="258" y="42"/>
                      <a:pt x="258" y="42"/>
                    </a:cubicBezTo>
                    <a:cubicBezTo>
                      <a:pt x="257" y="42"/>
                      <a:pt x="257" y="42"/>
                      <a:pt x="257" y="42"/>
                    </a:cubicBezTo>
                    <a:cubicBezTo>
                      <a:pt x="257" y="42"/>
                      <a:pt x="257" y="42"/>
                      <a:pt x="257" y="42"/>
                    </a:cubicBezTo>
                    <a:cubicBezTo>
                      <a:pt x="256" y="42"/>
                      <a:pt x="256" y="42"/>
                      <a:pt x="256" y="42"/>
                    </a:cubicBezTo>
                    <a:cubicBezTo>
                      <a:pt x="256" y="42"/>
                      <a:pt x="256" y="42"/>
                      <a:pt x="256" y="42"/>
                    </a:cubicBezTo>
                    <a:cubicBezTo>
                      <a:pt x="256" y="42"/>
                      <a:pt x="256" y="42"/>
                      <a:pt x="255" y="42"/>
                    </a:cubicBezTo>
                    <a:cubicBezTo>
                      <a:pt x="255" y="42"/>
                      <a:pt x="255" y="42"/>
                      <a:pt x="255" y="42"/>
                    </a:cubicBezTo>
                    <a:cubicBezTo>
                      <a:pt x="255" y="42"/>
                      <a:pt x="255" y="42"/>
                      <a:pt x="255" y="42"/>
                    </a:cubicBezTo>
                    <a:cubicBezTo>
                      <a:pt x="255" y="42"/>
                      <a:pt x="255" y="42"/>
                      <a:pt x="255" y="42"/>
                    </a:cubicBezTo>
                    <a:cubicBezTo>
                      <a:pt x="255" y="42"/>
                      <a:pt x="255" y="42"/>
                      <a:pt x="255" y="42"/>
                    </a:cubicBezTo>
                    <a:cubicBezTo>
                      <a:pt x="254" y="42"/>
                      <a:pt x="254" y="42"/>
                      <a:pt x="254" y="42"/>
                    </a:cubicBezTo>
                    <a:cubicBezTo>
                      <a:pt x="253" y="42"/>
                      <a:pt x="253" y="42"/>
                      <a:pt x="253" y="42"/>
                    </a:cubicBezTo>
                    <a:cubicBezTo>
                      <a:pt x="253" y="42"/>
                      <a:pt x="253" y="42"/>
                      <a:pt x="253" y="41"/>
                    </a:cubicBezTo>
                    <a:cubicBezTo>
                      <a:pt x="253" y="41"/>
                      <a:pt x="253"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1" y="41"/>
                      <a:pt x="251" y="41"/>
                      <a:pt x="251" y="41"/>
                    </a:cubicBezTo>
                    <a:cubicBezTo>
                      <a:pt x="251" y="41"/>
                      <a:pt x="251" y="41"/>
                      <a:pt x="251" y="41"/>
                    </a:cubicBezTo>
                    <a:cubicBezTo>
                      <a:pt x="251" y="41"/>
                      <a:pt x="251" y="41"/>
                      <a:pt x="251" y="41"/>
                    </a:cubicBezTo>
                    <a:cubicBezTo>
                      <a:pt x="251" y="41"/>
                      <a:pt x="251" y="40"/>
                      <a:pt x="251" y="40"/>
                    </a:cubicBezTo>
                    <a:cubicBezTo>
                      <a:pt x="251" y="40"/>
                      <a:pt x="251" y="40"/>
                      <a:pt x="250" y="40"/>
                    </a:cubicBezTo>
                    <a:cubicBezTo>
                      <a:pt x="250" y="40"/>
                      <a:pt x="250" y="40"/>
                      <a:pt x="250" y="40"/>
                    </a:cubicBezTo>
                    <a:cubicBezTo>
                      <a:pt x="250" y="40"/>
                      <a:pt x="250" y="40"/>
                      <a:pt x="249" y="40"/>
                    </a:cubicBezTo>
                    <a:cubicBezTo>
                      <a:pt x="249" y="40"/>
                      <a:pt x="249" y="40"/>
                      <a:pt x="249" y="40"/>
                    </a:cubicBezTo>
                    <a:cubicBezTo>
                      <a:pt x="249" y="40"/>
                      <a:pt x="249" y="40"/>
                      <a:pt x="249" y="40"/>
                    </a:cubicBezTo>
                    <a:cubicBezTo>
                      <a:pt x="248" y="40"/>
                      <a:pt x="248" y="40"/>
                      <a:pt x="248" y="40"/>
                    </a:cubicBezTo>
                    <a:cubicBezTo>
                      <a:pt x="248" y="40"/>
                      <a:pt x="248" y="40"/>
                      <a:pt x="248" y="40"/>
                    </a:cubicBezTo>
                    <a:cubicBezTo>
                      <a:pt x="248" y="40"/>
                      <a:pt x="248" y="40"/>
                      <a:pt x="247" y="40"/>
                    </a:cubicBezTo>
                    <a:cubicBezTo>
                      <a:pt x="247" y="40"/>
                      <a:pt x="247" y="40"/>
                      <a:pt x="247" y="40"/>
                    </a:cubicBezTo>
                    <a:cubicBezTo>
                      <a:pt x="247" y="40"/>
                      <a:pt x="246" y="40"/>
                      <a:pt x="246" y="40"/>
                    </a:cubicBezTo>
                    <a:cubicBezTo>
                      <a:pt x="246" y="40"/>
                      <a:pt x="246" y="40"/>
                      <a:pt x="246" y="40"/>
                    </a:cubicBezTo>
                    <a:cubicBezTo>
                      <a:pt x="246" y="40"/>
                      <a:pt x="246" y="40"/>
                      <a:pt x="246" y="40"/>
                    </a:cubicBezTo>
                    <a:cubicBezTo>
                      <a:pt x="245" y="40"/>
                      <a:pt x="245" y="40"/>
                      <a:pt x="245" y="40"/>
                    </a:cubicBezTo>
                    <a:cubicBezTo>
                      <a:pt x="245" y="40"/>
                      <a:pt x="245" y="41"/>
                      <a:pt x="245" y="41"/>
                    </a:cubicBezTo>
                    <a:cubicBezTo>
                      <a:pt x="245" y="41"/>
                      <a:pt x="245" y="41"/>
                      <a:pt x="245" y="41"/>
                    </a:cubicBezTo>
                    <a:cubicBezTo>
                      <a:pt x="244" y="41"/>
                      <a:pt x="244" y="41"/>
                      <a:pt x="244" y="41"/>
                    </a:cubicBezTo>
                    <a:cubicBezTo>
                      <a:pt x="244" y="41"/>
                      <a:pt x="244" y="42"/>
                      <a:pt x="243" y="42"/>
                    </a:cubicBezTo>
                    <a:cubicBezTo>
                      <a:pt x="243" y="42"/>
                      <a:pt x="243" y="42"/>
                      <a:pt x="243" y="42"/>
                    </a:cubicBezTo>
                    <a:cubicBezTo>
                      <a:pt x="243" y="42"/>
                      <a:pt x="242" y="42"/>
                      <a:pt x="242" y="42"/>
                    </a:cubicBezTo>
                    <a:cubicBezTo>
                      <a:pt x="242" y="42"/>
                      <a:pt x="242" y="42"/>
                      <a:pt x="242" y="42"/>
                    </a:cubicBezTo>
                    <a:cubicBezTo>
                      <a:pt x="242" y="42"/>
                      <a:pt x="241" y="42"/>
                      <a:pt x="241" y="42"/>
                    </a:cubicBezTo>
                    <a:cubicBezTo>
                      <a:pt x="241" y="43"/>
                      <a:pt x="241" y="43"/>
                      <a:pt x="241" y="42"/>
                    </a:cubicBezTo>
                    <a:cubicBezTo>
                      <a:pt x="241" y="42"/>
                      <a:pt x="241" y="42"/>
                      <a:pt x="241" y="42"/>
                    </a:cubicBezTo>
                    <a:cubicBezTo>
                      <a:pt x="241" y="42"/>
                      <a:pt x="241" y="42"/>
                      <a:pt x="241" y="42"/>
                    </a:cubicBezTo>
                    <a:cubicBezTo>
                      <a:pt x="241" y="42"/>
                      <a:pt x="240" y="42"/>
                      <a:pt x="240" y="43"/>
                    </a:cubicBezTo>
                    <a:cubicBezTo>
                      <a:pt x="240" y="43"/>
                      <a:pt x="240" y="43"/>
                      <a:pt x="240" y="43"/>
                    </a:cubicBezTo>
                    <a:cubicBezTo>
                      <a:pt x="239" y="43"/>
                      <a:pt x="239" y="43"/>
                      <a:pt x="239" y="43"/>
                    </a:cubicBezTo>
                    <a:cubicBezTo>
                      <a:pt x="239" y="43"/>
                      <a:pt x="239" y="43"/>
                      <a:pt x="239" y="43"/>
                    </a:cubicBezTo>
                    <a:cubicBezTo>
                      <a:pt x="239" y="43"/>
                      <a:pt x="239" y="43"/>
                      <a:pt x="239" y="43"/>
                    </a:cubicBezTo>
                    <a:cubicBezTo>
                      <a:pt x="239" y="44"/>
                      <a:pt x="239" y="44"/>
                      <a:pt x="239" y="44"/>
                    </a:cubicBezTo>
                    <a:cubicBezTo>
                      <a:pt x="239" y="44"/>
                      <a:pt x="239" y="44"/>
                      <a:pt x="239" y="44"/>
                    </a:cubicBezTo>
                    <a:cubicBezTo>
                      <a:pt x="239" y="44"/>
                      <a:pt x="239" y="44"/>
                      <a:pt x="239" y="45"/>
                    </a:cubicBezTo>
                    <a:cubicBezTo>
                      <a:pt x="239" y="45"/>
                      <a:pt x="239" y="45"/>
                      <a:pt x="239" y="45"/>
                    </a:cubicBezTo>
                    <a:cubicBezTo>
                      <a:pt x="239" y="45"/>
                      <a:pt x="239" y="45"/>
                      <a:pt x="239" y="45"/>
                    </a:cubicBezTo>
                    <a:cubicBezTo>
                      <a:pt x="239" y="45"/>
                      <a:pt x="239" y="45"/>
                      <a:pt x="239" y="45"/>
                    </a:cubicBezTo>
                    <a:cubicBezTo>
                      <a:pt x="239" y="45"/>
                      <a:pt x="239" y="45"/>
                      <a:pt x="239" y="45"/>
                    </a:cubicBezTo>
                    <a:cubicBezTo>
                      <a:pt x="239" y="46"/>
                      <a:pt x="239" y="46"/>
                      <a:pt x="238" y="46"/>
                    </a:cubicBezTo>
                    <a:cubicBezTo>
                      <a:pt x="238" y="46"/>
                      <a:pt x="238" y="46"/>
                      <a:pt x="238" y="46"/>
                    </a:cubicBezTo>
                    <a:cubicBezTo>
                      <a:pt x="238" y="46"/>
                      <a:pt x="238" y="46"/>
                      <a:pt x="238" y="46"/>
                    </a:cubicBezTo>
                    <a:cubicBezTo>
                      <a:pt x="238" y="46"/>
                      <a:pt x="238" y="46"/>
                      <a:pt x="238" y="46"/>
                    </a:cubicBezTo>
                    <a:cubicBezTo>
                      <a:pt x="238" y="46"/>
                      <a:pt x="238" y="46"/>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8" y="47"/>
                      <a:pt x="238" y="47"/>
                      <a:pt x="238" y="47"/>
                    </a:cubicBezTo>
                    <a:cubicBezTo>
                      <a:pt x="238" y="47"/>
                      <a:pt x="238" y="47"/>
                      <a:pt x="239" y="47"/>
                    </a:cubicBezTo>
                    <a:cubicBezTo>
                      <a:pt x="239" y="47"/>
                      <a:pt x="239" y="47"/>
                      <a:pt x="239" y="47"/>
                    </a:cubicBezTo>
                    <a:cubicBezTo>
                      <a:pt x="239" y="48"/>
                      <a:pt x="239" y="48"/>
                      <a:pt x="239" y="48"/>
                    </a:cubicBezTo>
                    <a:cubicBezTo>
                      <a:pt x="239" y="48"/>
                      <a:pt x="239"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8"/>
                      <a:pt x="242" y="48"/>
                      <a:pt x="242" y="48"/>
                    </a:cubicBezTo>
                    <a:cubicBezTo>
                      <a:pt x="242" y="48"/>
                      <a:pt x="242" y="48"/>
                      <a:pt x="242" y="48"/>
                    </a:cubicBezTo>
                    <a:cubicBezTo>
                      <a:pt x="242" y="48"/>
                      <a:pt x="242" y="48"/>
                      <a:pt x="242" y="48"/>
                    </a:cubicBezTo>
                    <a:cubicBezTo>
                      <a:pt x="242" y="48"/>
                      <a:pt x="242" y="47"/>
                      <a:pt x="242" y="47"/>
                    </a:cubicBezTo>
                    <a:cubicBezTo>
                      <a:pt x="243" y="47"/>
                      <a:pt x="242" y="47"/>
                      <a:pt x="243" y="47"/>
                    </a:cubicBezTo>
                    <a:cubicBezTo>
                      <a:pt x="243" y="47"/>
                      <a:pt x="243" y="47"/>
                      <a:pt x="243" y="47"/>
                    </a:cubicBezTo>
                    <a:cubicBezTo>
                      <a:pt x="243" y="47"/>
                      <a:pt x="243" y="47"/>
                      <a:pt x="243" y="48"/>
                    </a:cubicBezTo>
                    <a:cubicBezTo>
                      <a:pt x="243" y="48"/>
                      <a:pt x="242" y="48"/>
                      <a:pt x="242" y="48"/>
                    </a:cubicBezTo>
                    <a:cubicBezTo>
                      <a:pt x="242" y="48"/>
                      <a:pt x="242" y="48"/>
                      <a:pt x="242" y="48"/>
                    </a:cubicBezTo>
                    <a:cubicBezTo>
                      <a:pt x="242" y="48"/>
                      <a:pt x="242" y="48"/>
                      <a:pt x="242"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4" y="48"/>
                      <a:pt x="244" y="48"/>
                    </a:cubicBezTo>
                    <a:cubicBezTo>
                      <a:pt x="244" y="48"/>
                      <a:pt x="244" y="48"/>
                      <a:pt x="244" y="48"/>
                    </a:cubicBezTo>
                    <a:cubicBezTo>
                      <a:pt x="244" y="48"/>
                      <a:pt x="244" y="48"/>
                      <a:pt x="244" y="48"/>
                    </a:cubicBezTo>
                    <a:cubicBezTo>
                      <a:pt x="244" y="48"/>
                      <a:pt x="244" y="48"/>
                      <a:pt x="244" y="48"/>
                    </a:cubicBezTo>
                    <a:cubicBezTo>
                      <a:pt x="244" y="48"/>
                      <a:pt x="244" y="48"/>
                      <a:pt x="244" y="47"/>
                    </a:cubicBezTo>
                    <a:cubicBezTo>
                      <a:pt x="244" y="47"/>
                      <a:pt x="244" y="47"/>
                      <a:pt x="244" y="47"/>
                    </a:cubicBezTo>
                    <a:cubicBezTo>
                      <a:pt x="244" y="47"/>
                      <a:pt x="244" y="47"/>
                      <a:pt x="244" y="47"/>
                    </a:cubicBezTo>
                    <a:cubicBezTo>
                      <a:pt x="244" y="47"/>
                      <a:pt x="244" y="47"/>
                      <a:pt x="244" y="47"/>
                    </a:cubicBezTo>
                    <a:cubicBezTo>
                      <a:pt x="244" y="47"/>
                      <a:pt x="244" y="47"/>
                      <a:pt x="244" y="47"/>
                    </a:cubicBezTo>
                    <a:cubicBezTo>
                      <a:pt x="244" y="48"/>
                      <a:pt x="244" y="48"/>
                      <a:pt x="244" y="48"/>
                    </a:cubicBezTo>
                    <a:cubicBezTo>
                      <a:pt x="244" y="48"/>
                      <a:pt x="244" y="48"/>
                      <a:pt x="244" y="48"/>
                    </a:cubicBezTo>
                    <a:cubicBezTo>
                      <a:pt x="244" y="48"/>
                      <a:pt x="244" y="48"/>
                      <a:pt x="244" y="48"/>
                    </a:cubicBezTo>
                    <a:cubicBezTo>
                      <a:pt x="244" y="48"/>
                      <a:pt x="244" y="48"/>
                      <a:pt x="244" y="48"/>
                    </a:cubicBezTo>
                    <a:cubicBezTo>
                      <a:pt x="244" y="48"/>
                      <a:pt x="243" y="48"/>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5" y="49"/>
                      <a:pt x="245" y="49"/>
                      <a:pt x="245" y="49"/>
                    </a:cubicBezTo>
                    <a:cubicBezTo>
                      <a:pt x="245" y="49"/>
                      <a:pt x="245" y="48"/>
                      <a:pt x="245" y="48"/>
                    </a:cubicBezTo>
                    <a:cubicBezTo>
                      <a:pt x="245" y="48"/>
                      <a:pt x="245" y="48"/>
                      <a:pt x="245" y="48"/>
                    </a:cubicBezTo>
                    <a:cubicBezTo>
                      <a:pt x="245" y="48"/>
                      <a:pt x="245" y="48"/>
                      <a:pt x="245" y="48"/>
                    </a:cubicBezTo>
                    <a:cubicBezTo>
                      <a:pt x="245" y="48"/>
                      <a:pt x="245" y="48"/>
                      <a:pt x="245" y="49"/>
                    </a:cubicBezTo>
                    <a:cubicBezTo>
                      <a:pt x="245" y="49"/>
                      <a:pt x="245" y="49"/>
                      <a:pt x="245" y="49"/>
                    </a:cubicBezTo>
                    <a:cubicBezTo>
                      <a:pt x="245" y="49"/>
                      <a:pt x="245" y="49"/>
                      <a:pt x="245" y="49"/>
                    </a:cubicBezTo>
                    <a:cubicBezTo>
                      <a:pt x="245" y="49"/>
                      <a:pt x="244" y="49"/>
                      <a:pt x="244" y="49"/>
                    </a:cubicBezTo>
                    <a:cubicBezTo>
                      <a:pt x="245" y="49"/>
                      <a:pt x="245" y="49"/>
                      <a:pt x="245" y="49"/>
                    </a:cubicBezTo>
                    <a:cubicBezTo>
                      <a:pt x="245" y="49"/>
                      <a:pt x="245" y="49"/>
                      <a:pt x="245" y="49"/>
                    </a:cubicBezTo>
                    <a:cubicBezTo>
                      <a:pt x="244" y="49"/>
                      <a:pt x="244" y="49"/>
                      <a:pt x="244" y="49"/>
                    </a:cubicBezTo>
                    <a:cubicBezTo>
                      <a:pt x="244" y="49"/>
                      <a:pt x="244" y="49"/>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1"/>
                    </a:cubicBezTo>
                    <a:cubicBezTo>
                      <a:pt x="244" y="51"/>
                      <a:pt x="244" y="51"/>
                      <a:pt x="244" y="51"/>
                    </a:cubicBezTo>
                    <a:cubicBezTo>
                      <a:pt x="244" y="51"/>
                      <a:pt x="244" y="51"/>
                      <a:pt x="244" y="51"/>
                    </a:cubicBezTo>
                    <a:cubicBezTo>
                      <a:pt x="244" y="51"/>
                      <a:pt x="245" y="51"/>
                      <a:pt x="245" y="51"/>
                    </a:cubicBezTo>
                    <a:cubicBezTo>
                      <a:pt x="245" y="51"/>
                      <a:pt x="245" y="51"/>
                      <a:pt x="245" y="51"/>
                    </a:cubicBezTo>
                    <a:cubicBezTo>
                      <a:pt x="245" y="51"/>
                      <a:pt x="245" y="51"/>
                      <a:pt x="245" y="51"/>
                    </a:cubicBezTo>
                    <a:cubicBezTo>
                      <a:pt x="245" y="50"/>
                      <a:pt x="245" y="50"/>
                      <a:pt x="245" y="50"/>
                    </a:cubicBezTo>
                    <a:cubicBezTo>
                      <a:pt x="245" y="50"/>
                      <a:pt x="245" y="51"/>
                      <a:pt x="245" y="51"/>
                    </a:cubicBezTo>
                    <a:cubicBezTo>
                      <a:pt x="245" y="51"/>
                      <a:pt x="245" y="51"/>
                      <a:pt x="245" y="51"/>
                    </a:cubicBezTo>
                    <a:cubicBezTo>
                      <a:pt x="245" y="51"/>
                      <a:pt x="245" y="51"/>
                      <a:pt x="245" y="51"/>
                    </a:cubicBezTo>
                    <a:cubicBezTo>
                      <a:pt x="245" y="51"/>
                      <a:pt x="245" y="51"/>
                      <a:pt x="245" y="51"/>
                    </a:cubicBezTo>
                    <a:cubicBezTo>
                      <a:pt x="245" y="51"/>
                      <a:pt x="245" y="51"/>
                      <a:pt x="245" y="51"/>
                    </a:cubicBezTo>
                    <a:cubicBezTo>
                      <a:pt x="245" y="51"/>
                      <a:pt x="245" y="52"/>
                      <a:pt x="245" y="52"/>
                    </a:cubicBezTo>
                    <a:cubicBezTo>
                      <a:pt x="245" y="52"/>
                      <a:pt x="245" y="52"/>
                      <a:pt x="245" y="52"/>
                    </a:cubicBezTo>
                    <a:cubicBezTo>
                      <a:pt x="245" y="52"/>
                      <a:pt x="245" y="52"/>
                      <a:pt x="245" y="52"/>
                    </a:cubicBezTo>
                    <a:cubicBezTo>
                      <a:pt x="245" y="52"/>
                      <a:pt x="246" y="52"/>
                      <a:pt x="246" y="52"/>
                    </a:cubicBezTo>
                    <a:cubicBezTo>
                      <a:pt x="246" y="52"/>
                      <a:pt x="246" y="52"/>
                      <a:pt x="246" y="52"/>
                    </a:cubicBezTo>
                    <a:cubicBezTo>
                      <a:pt x="246" y="52"/>
                      <a:pt x="246" y="52"/>
                      <a:pt x="246" y="52"/>
                    </a:cubicBezTo>
                    <a:cubicBezTo>
                      <a:pt x="246" y="53"/>
                      <a:pt x="246" y="53"/>
                      <a:pt x="246" y="53"/>
                    </a:cubicBezTo>
                    <a:cubicBezTo>
                      <a:pt x="246" y="53"/>
                      <a:pt x="247" y="53"/>
                      <a:pt x="247" y="53"/>
                    </a:cubicBezTo>
                    <a:cubicBezTo>
                      <a:pt x="247" y="53"/>
                      <a:pt x="247" y="53"/>
                      <a:pt x="247" y="53"/>
                    </a:cubicBezTo>
                    <a:cubicBezTo>
                      <a:pt x="247" y="53"/>
                      <a:pt x="247" y="53"/>
                      <a:pt x="247" y="53"/>
                    </a:cubicBezTo>
                    <a:cubicBezTo>
                      <a:pt x="247" y="52"/>
                      <a:pt x="248" y="52"/>
                      <a:pt x="248" y="52"/>
                    </a:cubicBezTo>
                    <a:cubicBezTo>
                      <a:pt x="248" y="52"/>
                      <a:pt x="248" y="52"/>
                      <a:pt x="248" y="52"/>
                    </a:cubicBezTo>
                    <a:cubicBezTo>
                      <a:pt x="248" y="52"/>
                      <a:pt x="248" y="52"/>
                      <a:pt x="248" y="52"/>
                    </a:cubicBezTo>
                    <a:cubicBezTo>
                      <a:pt x="248" y="52"/>
                      <a:pt x="248" y="52"/>
                      <a:pt x="248" y="52"/>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50" y="53"/>
                      <a:pt x="250" y="53"/>
                    </a:cubicBezTo>
                    <a:cubicBezTo>
                      <a:pt x="250" y="53"/>
                      <a:pt x="250" y="53"/>
                      <a:pt x="250" y="53"/>
                    </a:cubicBezTo>
                    <a:cubicBezTo>
                      <a:pt x="250" y="53"/>
                      <a:pt x="250" y="53"/>
                      <a:pt x="251" y="53"/>
                    </a:cubicBezTo>
                    <a:cubicBezTo>
                      <a:pt x="251" y="53"/>
                      <a:pt x="251" y="53"/>
                      <a:pt x="251" y="53"/>
                    </a:cubicBezTo>
                    <a:cubicBezTo>
                      <a:pt x="251" y="53"/>
                      <a:pt x="251" y="53"/>
                      <a:pt x="251" y="53"/>
                    </a:cubicBezTo>
                    <a:cubicBezTo>
                      <a:pt x="251" y="53"/>
                      <a:pt x="251" y="53"/>
                      <a:pt x="251" y="53"/>
                    </a:cubicBezTo>
                    <a:cubicBezTo>
                      <a:pt x="251" y="53"/>
                      <a:pt x="251" y="53"/>
                      <a:pt x="251" y="53"/>
                    </a:cubicBezTo>
                    <a:cubicBezTo>
                      <a:pt x="251" y="53"/>
                      <a:pt x="252" y="52"/>
                      <a:pt x="252" y="52"/>
                    </a:cubicBezTo>
                    <a:cubicBezTo>
                      <a:pt x="252" y="52"/>
                      <a:pt x="252" y="52"/>
                      <a:pt x="252" y="52"/>
                    </a:cubicBezTo>
                    <a:cubicBezTo>
                      <a:pt x="252" y="52"/>
                      <a:pt x="252" y="52"/>
                      <a:pt x="252" y="52"/>
                    </a:cubicBezTo>
                    <a:cubicBezTo>
                      <a:pt x="252" y="52"/>
                      <a:pt x="252" y="52"/>
                      <a:pt x="252" y="52"/>
                    </a:cubicBezTo>
                    <a:cubicBezTo>
                      <a:pt x="252" y="52"/>
                      <a:pt x="252" y="52"/>
                      <a:pt x="253" y="52"/>
                    </a:cubicBezTo>
                    <a:cubicBezTo>
                      <a:pt x="253" y="52"/>
                      <a:pt x="253" y="52"/>
                      <a:pt x="253" y="52"/>
                    </a:cubicBezTo>
                    <a:cubicBezTo>
                      <a:pt x="253" y="52"/>
                      <a:pt x="253" y="52"/>
                      <a:pt x="253" y="52"/>
                    </a:cubicBezTo>
                    <a:cubicBezTo>
                      <a:pt x="253" y="52"/>
                      <a:pt x="253" y="52"/>
                      <a:pt x="253" y="52"/>
                    </a:cubicBezTo>
                    <a:cubicBezTo>
                      <a:pt x="253" y="52"/>
                      <a:pt x="254" y="52"/>
                      <a:pt x="254" y="52"/>
                    </a:cubicBezTo>
                    <a:cubicBezTo>
                      <a:pt x="254" y="52"/>
                      <a:pt x="254" y="52"/>
                      <a:pt x="254" y="52"/>
                    </a:cubicBezTo>
                    <a:cubicBezTo>
                      <a:pt x="254" y="52"/>
                      <a:pt x="254" y="52"/>
                      <a:pt x="254" y="52"/>
                    </a:cubicBezTo>
                    <a:cubicBezTo>
                      <a:pt x="254" y="53"/>
                      <a:pt x="254" y="52"/>
                      <a:pt x="254"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8" y="52"/>
                      <a:pt x="258" y="52"/>
                    </a:cubicBezTo>
                    <a:cubicBezTo>
                      <a:pt x="258" y="52"/>
                      <a:pt x="258" y="52"/>
                      <a:pt x="258" y="52"/>
                    </a:cubicBezTo>
                    <a:cubicBezTo>
                      <a:pt x="258" y="52"/>
                      <a:pt x="258" y="52"/>
                      <a:pt x="258" y="52"/>
                    </a:cubicBezTo>
                    <a:cubicBezTo>
                      <a:pt x="258" y="52"/>
                      <a:pt x="258" y="52"/>
                      <a:pt x="258" y="52"/>
                    </a:cubicBezTo>
                    <a:cubicBezTo>
                      <a:pt x="258" y="52"/>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8" y="53"/>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8" y="53"/>
                      <a:pt x="258" y="54"/>
                    </a:cubicBezTo>
                    <a:cubicBezTo>
                      <a:pt x="258" y="54"/>
                      <a:pt x="258" y="54"/>
                      <a:pt x="258" y="54"/>
                    </a:cubicBezTo>
                    <a:cubicBezTo>
                      <a:pt x="258" y="54"/>
                      <a:pt x="258" y="54"/>
                      <a:pt x="258" y="54"/>
                    </a:cubicBezTo>
                    <a:cubicBezTo>
                      <a:pt x="258" y="54"/>
                      <a:pt x="257" y="54"/>
                      <a:pt x="257" y="54"/>
                    </a:cubicBezTo>
                    <a:cubicBezTo>
                      <a:pt x="257" y="54"/>
                      <a:pt x="257" y="54"/>
                      <a:pt x="257" y="54"/>
                    </a:cubicBezTo>
                    <a:cubicBezTo>
                      <a:pt x="257" y="54"/>
                      <a:pt x="257" y="54"/>
                      <a:pt x="257" y="54"/>
                    </a:cubicBezTo>
                    <a:cubicBezTo>
                      <a:pt x="257" y="54"/>
                      <a:pt x="256" y="54"/>
                      <a:pt x="256" y="54"/>
                    </a:cubicBezTo>
                    <a:cubicBezTo>
                      <a:pt x="256" y="54"/>
                      <a:pt x="256" y="54"/>
                      <a:pt x="256" y="54"/>
                    </a:cubicBezTo>
                    <a:cubicBezTo>
                      <a:pt x="256" y="54"/>
                      <a:pt x="256" y="54"/>
                      <a:pt x="256" y="54"/>
                    </a:cubicBezTo>
                    <a:cubicBezTo>
                      <a:pt x="256" y="54"/>
                      <a:pt x="256" y="54"/>
                      <a:pt x="256" y="54"/>
                    </a:cubicBezTo>
                    <a:cubicBezTo>
                      <a:pt x="256" y="54"/>
                      <a:pt x="256" y="54"/>
                      <a:pt x="257" y="54"/>
                    </a:cubicBezTo>
                    <a:cubicBezTo>
                      <a:pt x="257" y="54"/>
                      <a:pt x="257" y="54"/>
                      <a:pt x="257" y="54"/>
                    </a:cubicBezTo>
                    <a:cubicBezTo>
                      <a:pt x="257" y="54"/>
                      <a:pt x="256" y="54"/>
                      <a:pt x="256" y="54"/>
                    </a:cubicBezTo>
                    <a:cubicBezTo>
                      <a:pt x="256" y="54"/>
                      <a:pt x="257" y="54"/>
                      <a:pt x="257" y="54"/>
                    </a:cubicBezTo>
                    <a:cubicBezTo>
                      <a:pt x="257" y="55"/>
                      <a:pt x="257" y="55"/>
                      <a:pt x="257" y="55"/>
                    </a:cubicBezTo>
                    <a:cubicBezTo>
                      <a:pt x="257" y="55"/>
                      <a:pt x="257" y="55"/>
                      <a:pt x="257" y="55"/>
                    </a:cubicBezTo>
                    <a:cubicBezTo>
                      <a:pt x="257" y="55"/>
                      <a:pt x="256" y="54"/>
                      <a:pt x="256" y="54"/>
                    </a:cubicBezTo>
                    <a:cubicBezTo>
                      <a:pt x="256" y="54"/>
                      <a:pt x="256" y="55"/>
                      <a:pt x="256" y="55"/>
                    </a:cubicBezTo>
                    <a:cubicBezTo>
                      <a:pt x="256" y="55"/>
                      <a:pt x="256"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6" y="55"/>
                      <a:pt x="256" y="55"/>
                      <a:pt x="256" y="55"/>
                    </a:cubicBezTo>
                    <a:cubicBezTo>
                      <a:pt x="256" y="55"/>
                      <a:pt x="256" y="55"/>
                      <a:pt x="256" y="55"/>
                    </a:cubicBezTo>
                    <a:cubicBezTo>
                      <a:pt x="256" y="55"/>
                      <a:pt x="256" y="54"/>
                      <a:pt x="256" y="54"/>
                    </a:cubicBezTo>
                    <a:cubicBezTo>
                      <a:pt x="256" y="54"/>
                      <a:pt x="256" y="54"/>
                      <a:pt x="256" y="54"/>
                    </a:cubicBezTo>
                    <a:cubicBezTo>
                      <a:pt x="256" y="54"/>
                      <a:pt x="256" y="54"/>
                      <a:pt x="256" y="54"/>
                    </a:cubicBezTo>
                    <a:cubicBezTo>
                      <a:pt x="256" y="55"/>
                      <a:pt x="256" y="55"/>
                      <a:pt x="256" y="55"/>
                    </a:cubicBezTo>
                    <a:cubicBezTo>
                      <a:pt x="256" y="55"/>
                      <a:pt x="256" y="55"/>
                      <a:pt x="256" y="55"/>
                    </a:cubicBezTo>
                    <a:cubicBezTo>
                      <a:pt x="256" y="55"/>
                      <a:pt x="256" y="55"/>
                      <a:pt x="256" y="55"/>
                    </a:cubicBezTo>
                    <a:cubicBezTo>
                      <a:pt x="256" y="55"/>
                      <a:pt x="256" y="56"/>
                      <a:pt x="256" y="56"/>
                    </a:cubicBezTo>
                    <a:cubicBezTo>
                      <a:pt x="256" y="56"/>
                      <a:pt x="256" y="56"/>
                      <a:pt x="256" y="56"/>
                    </a:cubicBezTo>
                    <a:cubicBezTo>
                      <a:pt x="256" y="56"/>
                      <a:pt x="256" y="56"/>
                      <a:pt x="256" y="56"/>
                    </a:cubicBezTo>
                    <a:cubicBezTo>
                      <a:pt x="256" y="56"/>
                      <a:pt x="256" y="56"/>
                      <a:pt x="256" y="56"/>
                    </a:cubicBezTo>
                    <a:cubicBezTo>
                      <a:pt x="256" y="55"/>
                      <a:pt x="256" y="55"/>
                      <a:pt x="256" y="55"/>
                    </a:cubicBezTo>
                    <a:cubicBezTo>
                      <a:pt x="256" y="55"/>
                      <a:pt x="256" y="55"/>
                      <a:pt x="256" y="55"/>
                    </a:cubicBezTo>
                    <a:cubicBezTo>
                      <a:pt x="256"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4" y="55"/>
                    </a:cubicBezTo>
                    <a:cubicBezTo>
                      <a:pt x="254" y="55"/>
                      <a:pt x="255" y="55"/>
                      <a:pt x="255" y="55"/>
                    </a:cubicBezTo>
                    <a:cubicBezTo>
                      <a:pt x="255" y="55"/>
                      <a:pt x="255" y="55"/>
                      <a:pt x="255" y="55"/>
                    </a:cubicBezTo>
                    <a:cubicBezTo>
                      <a:pt x="254" y="55"/>
                      <a:pt x="254" y="55"/>
                      <a:pt x="254" y="55"/>
                    </a:cubicBezTo>
                    <a:cubicBezTo>
                      <a:pt x="254" y="55"/>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4"/>
                      <a:pt x="254" y="54"/>
                      <a:pt x="254" y="54"/>
                    </a:cubicBezTo>
                    <a:cubicBezTo>
                      <a:pt x="254" y="54"/>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6"/>
                      <a:pt x="254" y="56"/>
                    </a:cubicBezTo>
                    <a:cubicBezTo>
                      <a:pt x="254" y="55"/>
                      <a:pt x="254" y="55"/>
                      <a:pt x="254" y="55"/>
                    </a:cubicBezTo>
                    <a:cubicBezTo>
                      <a:pt x="254" y="55"/>
                      <a:pt x="254" y="55"/>
                      <a:pt x="254" y="55"/>
                    </a:cubicBezTo>
                    <a:cubicBezTo>
                      <a:pt x="254" y="55"/>
                      <a:pt x="254" y="55"/>
                      <a:pt x="254" y="54"/>
                    </a:cubicBezTo>
                    <a:cubicBezTo>
                      <a:pt x="254" y="54"/>
                      <a:pt x="253" y="54"/>
                      <a:pt x="253" y="54"/>
                    </a:cubicBezTo>
                    <a:cubicBezTo>
                      <a:pt x="253" y="54"/>
                      <a:pt x="253" y="54"/>
                      <a:pt x="253" y="54"/>
                    </a:cubicBezTo>
                    <a:cubicBezTo>
                      <a:pt x="253" y="54"/>
                      <a:pt x="253" y="54"/>
                      <a:pt x="253" y="54"/>
                    </a:cubicBezTo>
                    <a:cubicBezTo>
                      <a:pt x="253" y="54"/>
                      <a:pt x="253" y="54"/>
                      <a:pt x="253" y="54"/>
                    </a:cubicBezTo>
                    <a:cubicBezTo>
                      <a:pt x="253" y="54"/>
                      <a:pt x="253" y="54"/>
                      <a:pt x="253" y="54"/>
                    </a:cubicBezTo>
                    <a:cubicBezTo>
                      <a:pt x="252" y="54"/>
                      <a:pt x="252" y="54"/>
                      <a:pt x="252" y="54"/>
                    </a:cubicBezTo>
                    <a:cubicBezTo>
                      <a:pt x="252" y="54"/>
                      <a:pt x="252" y="54"/>
                      <a:pt x="252" y="54"/>
                    </a:cubicBezTo>
                    <a:cubicBezTo>
                      <a:pt x="251" y="54"/>
                      <a:pt x="251" y="54"/>
                      <a:pt x="251" y="55"/>
                    </a:cubicBezTo>
                    <a:cubicBezTo>
                      <a:pt x="251" y="55"/>
                      <a:pt x="251" y="55"/>
                      <a:pt x="251" y="55"/>
                    </a:cubicBezTo>
                    <a:cubicBezTo>
                      <a:pt x="251" y="55"/>
                      <a:pt x="251" y="55"/>
                      <a:pt x="251" y="55"/>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8" y="56"/>
                    </a:cubicBezTo>
                    <a:cubicBezTo>
                      <a:pt x="248" y="56"/>
                      <a:pt x="248" y="56"/>
                      <a:pt x="248" y="56"/>
                    </a:cubicBezTo>
                    <a:cubicBezTo>
                      <a:pt x="248" y="56"/>
                      <a:pt x="248" y="55"/>
                      <a:pt x="248" y="56"/>
                    </a:cubicBezTo>
                    <a:cubicBezTo>
                      <a:pt x="248" y="56"/>
                      <a:pt x="248" y="56"/>
                      <a:pt x="248" y="56"/>
                    </a:cubicBezTo>
                    <a:cubicBezTo>
                      <a:pt x="248" y="56"/>
                      <a:pt x="247" y="56"/>
                      <a:pt x="247" y="56"/>
                    </a:cubicBezTo>
                    <a:cubicBezTo>
                      <a:pt x="247" y="56"/>
                      <a:pt x="247" y="56"/>
                      <a:pt x="247" y="56"/>
                    </a:cubicBezTo>
                    <a:cubicBezTo>
                      <a:pt x="247" y="56"/>
                      <a:pt x="247" y="56"/>
                      <a:pt x="247" y="56"/>
                    </a:cubicBezTo>
                    <a:cubicBezTo>
                      <a:pt x="247" y="56"/>
                      <a:pt x="247" y="56"/>
                      <a:pt x="247" y="55"/>
                    </a:cubicBezTo>
                    <a:cubicBezTo>
                      <a:pt x="247" y="55"/>
                      <a:pt x="247" y="55"/>
                      <a:pt x="247" y="55"/>
                    </a:cubicBezTo>
                    <a:cubicBezTo>
                      <a:pt x="247" y="55"/>
                      <a:pt x="247" y="55"/>
                      <a:pt x="247" y="55"/>
                    </a:cubicBezTo>
                    <a:cubicBezTo>
                      <a:pt x="247" y="55"/>
                      <a:pt x="246" y="55"/>
                      <a:pt x="246" y="55"/>
                    </a:cubicBezTo>
                    <a:cubicBezTo>
                      <a:pt x="246" y="55"/>
                      <a:pt x="246" y="55"/>
                      <a:pt x="246" y="55"/>
                    </a:cubicBezTo>
                    <a:cubicBezTo>
                      <a:pt x="245" y="55"/>
                      <a:pt x="245" y="55"/>
                      <a:pt x="245" y="56"/>
                    </a:cubicBezTo>
                    <a:cubicBezTo>
                      <a:pt x="245" y="56"/>
                      <a:pt x="245" y="56"/>
                      <a:pt x="245" y="56"/>
                    </a:cubicBezTo>
                    <a:cubicBezTo>
                      <a:pt x="245" y="56"/>
                      <a:pt x="245" y="56"/>
                      <a:pt x="246" y="56"/>
                    </a:cubicBezTo>
                    <a:cubicBezTo>
                      <a:pt x="246" y="56"/>
                      <a:pt x="246" y="56"/>
                      <a:pt x="245" y="56"/>
                    </a:cubicBezTo>
                    <a:cubicBezTo>
                      <a:pt x="245" y="56"/>
                      <a:pt x="245" y="56"/>
                      <a:pt x="245" y="56"/>
                    </a:cubicBezTo>
                    <a:cubicBezTo>
                      <a:pt x="245" y="56"/>
                      <a:pt x="245" y="56"/>
                      <a:pt x="245" y="56"/>
                    </a:cubicBezTo>
                    <a:cubicBezTo>
                      <a:pt x="245" y="56"/>
                      <a:pt x="245" y="56"/>
                      <a:pt x="245" y="56"/>
                    </a:cubicBezTo>
                    <a:cubicBezTo>
                      <a:pt x="245" y="56"/>
                      <a:pt x="245" y="56"/>
                      <a:pt x="245" y="56"/>
                    </a:cubicBezTo>
                    <a:cubicBezTo>
                      <a:pt x="245" y="56"/>
                      <a:pt x="244" y="56"/>
                      <a:pt x="244" y="56"/>
                    </a:cubicBezTo>
                    <a:cubicBezTo>
                      <a:pt x="244" y="56"/>
                      <a:pt x="244" y="56"/>
                      <a:pt x="244" y="56"/>
                    </a:cubicBezTo>
                    <a:cubicBezTo>
                      <a:pt x="244" y="56"/>
                      <a:pt x="244" y="56"/>
                      <a:pt x="244" y="56"/>
                    </a:cubicBezTo>
                    <a:cubicBezTo>
                      <a:pt x="244" y="56"/>
                      <a:pt x="245" y="56"/>
                      <a:pt x="245" y="56"/>
                    </a:cubicBezTo>
                    <a:cubicBezTo>
                      <a:pt x="245" y="56"/>
                      <a:pt x="245" y="56"/>
                      <a:pt x="245" y="56"/>
                    </a:cubicBezTo>
                    <a:cubicBezTo>
                      <a:pt x="244" y="56"/>
                      <a:pt x="244" y="56"/>
                      <a:pt x="244" y="57"/>
                    </a:cubicBezTo>
                    <a:cubicBezTo>
                      <a:pt x="244" y="57"/>
                      <a:pt x="244" y="57"/>
                      <a:pt x="245" y="57"/>
                    </a:cubicBezTo>
                    <a:cubicBezTo>
                      <a:pt x="245" y="57"/>
                      <a:pt x="245" y="57"/>
                      <a:pt x="245"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6" y="57"/>
                      <a:pt x="246" y="57"/>
                      <a:pt x="246" y="57"/>
                    </a:cubicBezTo>
                    <a:cubicBezTo>
                      <a:pt x="246" y="57"/>
                      <a:pt x="246" y="57"/>
                      <a:pt x="246" y="57"/>
                    </a:cubicBezTo>
                    <a:cubicBezTo>
                      <a:pt x="246" y="57"/>
                      <a:pt x="247" y="57"/>
                      <a:pt x="247" y="57"/>
                    </a:cubicBezTo>
                    <a:cubicBezTo>
                      <a:pt x="247" y="57"/>
                      <a:pt x="247" y="57"/>
                      <a:pt x="247" y="57"/>
                    </a:cubicBezTo>
                    <a:cubicBezTo>
                      <a:pt x="247" y="57"/>
                      <a:pt x="247" y="57"/>
                      <a:pt x="247" y="57"/>
                    </a:cubicBezTo>
                    <a:cubicBezTo>
                      <a:pt x="247" y="57"/>
                      <a:pt x="247" y="57"/>
                      <a:pt x="247" y="57"/>
                    </a:cubicBezTo>
                    <a:cubicBezTo>
                      <a:pt x="247" y="57"/>
                      <a:pt x="247" y="57"/>
                      <a:pt x="247" y="58"/>
                    </a:cubicBezTo>
                    <a:cubicBezTo>
                      <a:pt x="247" y="58"/>
                      <a:pt x="247" y="58"/>
                      <a:pt x="247" y="58"/>
                    </a:cubicBezTo>
                    <a:cubicBezTo>
                      <a:pt x="248" y="58"/>
                      <a:pt x="248" y="58"/>
                      <a:pt x="248" y="58"/>
                    </a:cubicBezTo>
                    <a:cubicBezTo>
                      <a:pt x="248" y="58"/>
                      <a:pt x="248" y="59"/>
                      <a:pt x="248" y="59"/>
                    </a:cubicBezTo>
                    <a:cubicBezTo>
                      <a:pt x="248" y="59"/>
                      <a:pt x="248" y="59"/>
                      <a:pt x="249" y="59"/>
                    </a:cubicBezTo>
                    <a:cubicBezTo>
                      <a:pt x="249" y="59"/>
                      <a:pt x="249" y="59"/>
                      <a:pt x="249" y="59"/>
                    </a:cubicBezTo>
                    <a:cubicBezTo>
                      <a:pt x="249" y="59"/>
                      <a:pt x="249" y="59"/>
                      <a:pt x="249" y="59"/>
                    </a:cubicBezTo>
                    <a:cubicBezTo>
                      <a:pt x="248" y="59"/>
                      <a:pt x="248" y="59"/>
                      <a:pt x="248" y="59"/>
                    </a:cubicBezTo>
                    <a:cubicBezTo>
                      <a:pt x="248" y="59"/>
                      <a:pt x="248" y="59"/>
                      <a:pt x="248" y="59"/>
                    </a:cubicBezTo>
                    <a:cubicBezTo>
                      <a:pt x="249" y="59"/>
                      <a:pt x="249" y="59"/>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50" y="60"/>
                    </a:cubicBezTo>
                    <a:cubicBezTo>
                      <a:pt x="250" y="59"/>
                      <a:pt x="250" y="59"/>
                      <a:pt x="250" y="59"/>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1"/>
                      <a:pt x="250" y="61"/>
                    </a:cubicBezTo>
                    <a:cubicBezTo>
                      <a:pt x="250" y="61"/>
                      <a:pt x="250" y="61"/>
                      <a:pt x="250" y="61"/>
                    </a:cubicBezTo>
                    <a:cubicBezTo>
                      <a:pt x="250" y="61"/>
                      <a:pt x="250" y="61"/>
                      <a:pt x="250" y="61"/>
                    </a:cubicBezTo>
                    <a:cubicBezTo>
                      <a:pt x="250" y="61"/>
                      <a:pt x="250" y="61"/>
                      <a:pt x="250" y="61"/>
                    </a:cubicBezTo>
                    <a:cubicBezTo>
                      <a:pt x="250" y="61"/>
                      <a:pt x="250" y="61"/>
                      <a:pt x="250" y="61"/>
                    </a:cubicBezTo>
                    <a:cubicBezTo>
                      <a:pt x="251" y="61"/>
                      <a:pt x="251" y="61"/>
                      <a:pt x="251" y="62"/>
                    </a:cubicBezTo>
                    <a:cubicBezTo>
                      <a:pt x="251" y="62"/>
                      <a:pt x="251"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49" y="62"/>
                      <a:pt x="249" y="62"/>
                    </a:cubicBezTo>
                    <a:cubicBezTo>
                      <a:pt x="249" y="62"/>
                      <a:pt x="249" y="62"/>
                      <a:pt x="249" y="62"/>
                    </a:cubicBezTo>
                    <a:cubicBezTo>
                      <a:pt x="249" y="63"/>
                      <a:pt x="250" y="63"/>
                      <a:pt x="250" y="63"/>
                    </a:cubicBezTo>
                    <a:cubicBezTo>
                      <a:pt x="250" y="63"/>
                      <a:pt x="250" y="63"/>
                      <a:pt x="250" y="63"/>
                    </a:cubicBezTo>
                    <a:cubicBezTo>
                      <a:pt x="250" y="63"/>
                      <a:pt x="250" y="63"/>
                      <a:pt x="250" y="63"/>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5"/>
                    </a:cubicBezTo>
                    <a:cubicBezTo>
                      <a:pt x="250" y="65"/>
                      <a:pt x="250" y="65"/>
                      <a:pt x="250" y="65"/>
                    </a:cubicBezTo>
                    <a:cubicBezTo>
                      <a:pt x="250" y="65"/>
                      <a:pt x="250" y="65"/>
                      <a:pt x="251" y="65"/>
                    </a:cubicBezTo>
                    <a:cubicBezTo>
                      <a:pt x="251" y="65"/>
                      <a:pt x="251" y="65"/>
                      <a:pt x="251" y="65"/>
                    </a:cubicBezTo>
                    <a:cubicBezTo>
                      <a:pt x="251" y="65"/>
                      <a:pt x="251" y="65"/>
                      <a:pt x="251" y="65"/>
                    </a:cubicBezTo>
                    <a:cubicBezTo>
                      <a:pt x="251" y="65"/>
                      <a:pt x="251" y="65"/>
                      <a:pt x="251" y="65"/>
                    </a:cubicBezTo>
                    <a:cubicBezTo>
                      <a:pt x="251" y="65"/>
                      <a:pt x="251" y="65"/>
                      <a:pt x="252" y="65"/>
                    </a:cubicBezTo>
                    <a:cubicBezTo>
                      <a:pt x="252" y="65"/>
                      <a:pt x="252" y="65"/>
                      <a:pt x="252" y="65"/>
                    </a:cubicBezTo>
                    <a:cubicBezTo>
                      <a:pt x="252" y="65"/>
                      <a:pt x="252" y="65"/>
                      <a:pt x="252" y="65"/>
                    </a:cubicBezTo>
                    <a:cubicBezTo>
                      <a:pt x="252" y="65"/>
                      <a:pt x="252" y="65"/>
                      <a:pt x="252" y="65"/>
                    </a:cubicBezTo>
                    <a:cubicBezTo>
                      <a:pt x="253" y="65"/>
                      <a:pt x="253" y="65"/>
                      <a:pt x="253" y="65"/>
                    </a:cubicBezTo>
                    <a:cubicBezTo>
                      <a:pt x="253" y="65"/>
                      <a:pt x="253" y="65"/>
                      <a:pt x="253" y="65"/>
                    </a:cubicBezTo>
                    <a:cubicBezTo>
                      <a:pt x="253" y="65"/>
                      <a:pt x="253" y="65"/>
                      <a:pt x="253" y="64"/>
                    </a:cubicBezTo>
                    <a:cubicBezTo>
                      <a:pt x="253" y="64"/>
                      <a:pt x="253" y="64"/>
                      <a:pt x="253" y="64"/>
                    </a:cubicBezTo>
                    <a:cubicBezTo>
                      <a:pt x="253" y="64"/>
                      <a:pt x="253" y="64"/>
                      <a:pt x="253"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3" y="64"/>
                      <a:pt x="253" y="64"/>
                      <a:pt x="253" y="64"/>
                    </a:cubicBezTo>
                    <a:cubicBezTo>
                      <a:pt x="253" y="64"/>
                      <a:pt x="253" y="64"/>
                      <a:pt x="253" y="63"/>
                    </a:cubicBezTo>
                    <a:cubicBezTo>
                      <a:pt x="253" y="64"/>
                      <a:pt x="253" y="64"/>
                      <a:pt x="254"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4" y="64"/>
                      <a:pt x="254" y="63"/>
                      <a:pt x="254" y="63"/>
                    </a:cubicBezTo>
                    <a:cubicBezTo>
                      <a:pt x="254" y="63"/>
                      <a:pt x="254" y="63"/>
                      <a:pt x="254" y="63"/>
                    </a:cubicBezTo>
                    <a:cubicBezTo>
                      <a:pt x="254" y="63"/>
                      <a:pt x="254" y="63"/>
                      <a:pt x="254" y="63"/>
                    </a:cubicBezTo>
                    <a:cubicBezTo>
                      <a:pt x="254" y="63"/>
                      <a:pt x="254" y="63"/>
                      <a:pt x="254" y="63"/>
                    </a:cubicBezTo>
                    <a:cubicBezTo>
                      <a:pt x="254" y="63"/>
                      <a:pt x="254" y="63"/>
                      <a:pt x="254" y="63"/>
                    </a:cubicBezTo>
                    <a:cubicBezTo>
                      <a:pt x="254" y="63"/>
                      <a:pt x="254" y="63"/>
                      <a:pt x="254" y="62"/>
                    </a:cubicBezTo>
                    <a:cubicBezTo>
                      <a:pt x="254" y="62"/>
                      <a:pt x="254" y="62"/>
                      <a:pt x="254" y="62"/>
                    </a:cubicBezTo>
                    <a:cubicBezTo>
                      <a:pt x="254" y="62"/>
                      <a:pt x="254" y="62"/>
                      <a:pt x="254" y="62"/>
                    </a:cubicBezTo>
                    <a:cubicBezTo>
                      <a:pt x="254" y="62"/>
                      <a:pt x="253" y="62"/>
                      <a:pt x="253" y="62"/>
                    </a:cubicBezTo>
                    <a:cubicBezTo>
                      <a:pt x="253" y="62"/>
                      <a:pt x="253" y="62"/>
                      <a:pt x="254" y="62"/>
                    </a:cubicBezTo>
                    <a:cubicBezTo>
                      <a:pt x="254" y="62"/>
                      <a:pt x="254" y="62"/>
                      <a:pt x="254" y="62"/>
                    </a:cubicBezTo>
                    <a:cubicBezTo>
                      <a:pt x="254" y="62"/>
                      <a:pt x="254" y="62"/>
                      <a:pt x="254" y="62"/>
                    </a:cubicBezTo>
                    <a:cubicBezTo>
                      <a:pt x="254" y="62"/>
                      <a:pt x="254" y="62"/>
                      <a:pt x="254" y="61"/>
                    </a:cubicBezTo>
                    <a:cubicBezTo>
                      <a:pt x="254" y="62"/>
                      <a:pt x="254" y="62"/>
                      <a:pt x="254" y="62"/>
                    </a:cubicBezTo>
                    <a:cubicBezTo>
                      <a:pt x="254" y="62"/>
                      <a:pt x="254" y="62"/>
                      <a:pt x="254" y="62"/>
                    </a:cubicBezTo>
                    <a:cubicBezTo>
                      <a:pt x="254" y="62"/>
                      <a:pt x="254" y="62"/>
                      <a:pt x="254" y="62"/>
                    </a:cubicBezTo>
                    <a:cubicBezTo>
                      <a:pt x="254" y="62"/>
                      <a:pt x="254" y="62"/>
                      <a:pt x="254" y="62"/>
                    </a:cubicBezTo>
                    <a:cubicBezTo>
                      <a:pt x="254" y="62"/>
                      <a:pt x="254" y="62"/>
                      <a:pt x="255" y="62"/>
                    </a:cubicBezTo>
                    <a:cubicBezTo>
                      <a:pt x="255" y="62"/>
                      <a:pt x="255" y="62"/>
                      <a:pt x="255" y="62"/>
                    </a:cubicBezTo>
                    <a:cubicBezTo>
                      <a:pt x="255" y="62"/>
                      <a:pt x="255" y="62"/>
                      <a:pt x="255" y="61"/>
                    </a:cubicBezTo>
                    <a:cubicBezTo>
                      <a:pt x="255" y="61"/>
                      <a:pt x="255" y="61"/>
                      <a:pt x="255" y="61"/>
                    </a:cubicBezTo>
                    <a:cubicBezTo>
                      <a:pt x="255" y="61"/>
                      <a:pt x="255" y="61"/>
                      <a:pt x="255" y="61"/>
                    </a:cubicBezTo>
                    <a:cubicBezTo>
                      <a:pt x="255" y="61"/>
                      <a:pt x="255" y="61"/>
                      <a:pt x="254" y="61"/>
                    </a:cubicBezTo>
                    <a:cubicBezTo>
                      <a:pt x="254" y="61"/>
                      <a:pt x="254" y="61"/>
                      <a:pt x="254" y="61"/>
                    </a:cubicBezTo>
                    <a:cubicBezTo>
                      <a:pt x="254" y="61"/>
                      <a:pt x="254" y="61"/>
                      <a:pt x="254" y="60"/>
                    </a:cubicBezTo>
                    <a:cubicBezTo>
                      <a:pt x="254" y="60"/>
                      <a:pt x="254" y="60"/>
                      <a:pt x="254" y="60"/>
                    </a:cubicBezTo>
                    <a:cubicBezTo>
                      <a:pt x="254" y="60"/>
                      <a:pt x="254" y="60"/>
                      <a:pt x="254" y="60"/>
                    </a:cubicBezTo>
                    <a:cubicBezTo>
                      <a:pt x="254" y="60"/>
                      <a:pt x="254" y="60"/>
                      <a:pt x="254" y="60"/>
                    </a:cubicBezTo>
                    <a:cubicBezTo>
                      <a:pt x="254" y="60"/>
                      <a:pt x="254" y="60"/>
                      <a:pt x="254" y="60"/>
                    </a:cubicBezTo>
                    <a:cubicBezTo>
                      <a:pt x="254" y="60"/>
                      <a:pt x="254" y="61"/>
                      <a:pt x="254" y="61"/>
                    </a:cubicBezTo>
                    <a:cubicBezTo>
                      <a:pt x="254" y="61"/>
                      <a:pt x="255" y="61"/>
                      <a:pt x="255" y="61"/>
                    </a:cubicBezTo>
                    <a:cubicBezTo>
                      <a:pt x="255" y="60"/>
                      <a:pt x="254" y="60"/>
                      <a:pt x="254" y="60"/>
                    </a:cubicBezTo>
                    <a:cubicBezTo>
                      <a:pt x="254" y="60"/>
                      <a:pt x="255" y="60"/>
                      <a:pt x="255" y="60"/>
                    </a:cubicBezTo>
                    <a:cubicBezTo>
                      <a:pt x="255" y="60"/>
                      <a:pt x="255" y="60"/>
                      <a:pt x="255" y="60"/>
                    </a:cubicBezTo>
                    <a:cubicBezTo>
                      <a:pt x="255" y="60"/>
                      <a:pt x="255" y="60"/>
                      <a:pt x="255" y="60"/>
                    </a:cubicBezTo>
                    <a:cubicBezTo>
                      <a:pt x="255" y="60"/>
                      <a:pt x="255" y="60"/>
                      <a:pt x="255" y="61"/>
                    </a:cubicBezTo>
                    <a:cubicBezTo>
                      <a:pt x="255" y="61"/>
                      <a:pt x="255" y="61"/>
                      <a:pt x="255" y="61"/>
                    </a:cubicBezTo>
                    <a:cubicBezTo>
                      <a:pt x="255" y="61"/>
                      <a:pt x="255" y="60"/>
                      <a:pt x="255" y="60"/>
                    </a:cubicBezTo>
                    <a:cubicBezTo>
                      <a:pt x="255" y="60"/>
                      <a:pt x="256" y="60"/>
                      <a:pt x="256" y="60"/>
                    </a:cubicBezTo>
                    <a:cubicBezTo>
                      <a:pt x="256" y="60"/>
                      <a:pt x="256" y="60"/>
                      <a:pt x="256" y="60"/>
                    </a:cubicBezTo>
                    <a:cubicBezTo>
                      <a:pt x="256" y="60"/>
                      <a:pt x="256" y="60"/>
                      <a:pt x="256" y="60"/>
                    </a:cubicBezTo>
                    <a:cubicBezTo>
                      <a:pt x="256" y="60"/>
                      <a:pt x="255" y="59"/>
                      <a:pt x="256" y="59"/>
                    </a:cubicBezTo>
                    <a:cubicBezTo>
                      <a:pt x="256" y="59"/>
                      <a:pt x="256" y="59"/>
                      <a:pt x="256" y="59"/>
                    </a:cubicBezTo>
                    <a:cubicBezTo>
                      <a:pt x="256" y="59"/>
                      <a:pt x="256" y="59"/>
                      <a:pt x="256" y="59"/>
                    </a:cubicBezTo>
                    <a:cubicBezTo>
                      <a:pt x="256" y="59"/>
                      <a:pt x="256" y="59"/>
                      <a:pt x="256" y="59"/>
                    </a:cubicBezTo>
                    <a:cubicBezTo>
                      <a:pt x="256" y="59"/>
                      <a:pt x="256" y="58"/>
                      <a:pt x="256" y="58"/>
                    </a:cubicBezTo>
                    <a:cubicBezTo>
                      <a:pt x="256" y="58"/>
                      <a:pt x="256" y="58"/>
                      <a:pt x="256" y="58"/>
                    </a:cubicBezTo>
                    <a:cubicBezTo>
                      <a:pt x="256" y="58"/>
                      <a:pt x="256" y="58"/>
                      <a:pt x="256" y="58"/>
                    </a:cubicBezTo>
                    <a:cubicBezTo>
                      <a:pt x="256" y="58"/>
                      <a:pt x="256" y="58"/>
                      <a:pt x="256" y="58"/>
                    </a:cubicBezTo>
                    <a:cubicBezTo>
                      <a:pt x="256" y="58"/>
                      <a:pt x="257" y="58"/>
                      <a:pt x="257" y="58"/>
                    </a:cubicBezTo>
                    <a:cubicBezTo>
                      <a:pt x="257" y="58"/>
                      <a:pt x="257" y="58"/>
                      <a:pt x="257" y="58"/>
                    </a:cubicBezTo>
                    <a:cubicBezTo>
                      <a:pt x="257" y="58"/>
                      <a:pt x="257" y="58"/>
                      <a:pt x="257" y="58"/>
                    </a:cubicBezTo>
                    <a:cubicBezTo>
                      <a:pt x="257" y="57"/>
                      <a:pt x="257" y="57"/>
                      <a:pt x="257" y="57"/>
                    </a:cubicBezTo>
                    <a:cubicBezTo>
                      <a:pt x="257" y="57"/>
                      <a:pt x="257" y="57"/>
                      <a:pt x="257" y="57"/>
                    </a:cubicBezTo>
                    <a:cubicBezTo>
                      <a:pt x="257" y="57"/>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6" y="58"/>
                      <a:pt x="256" y="58"/>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60"/>
                      <a:pt x="256" y="60"/>
                      <a:pt x="256" y="60"/>
                    </a:cubicBezTo>
                    <a:cubicBezTo>
                      <a:pt x="256" y="60"/>
                      <a:pt x="256" y="60"/>
                      <a:pt x="256" y="60"/>
                    </a:cubicBezTo>
                    <a:cubicBezTo>
                      <a:pt x="256" y="60"/>
                      <a:pt x="256" y="60"/>
                      <a:pt x="256" y="60"/>
                    </a:cubicBezTo>
                    <a:cubicBezTo>
                      <a:pt x="256" y="60"/>
                      <a:pt x="256" y="61"/>
                      <a:pt x="256" y="61"/>
                    </a:cubicBezTo>
                    <a:cubicBezTo>
                      <a:pt x="256" y="61"/>
                      <a:pt x="256" y="61"/>
                      <a:pt x="256" y="61"/>
                    </a:cubicBezTo>
                    <a:cubicBezTo>
                      <a:pt x="255" y="61"/>
                      <a:pt x="255" y="61"/>
                      <a:pt x="255" y="61"/>
                    </a:cubicBezTo>
                    <a:cubicBezTo>
                      <a:pt x="255" y="61"/>
                      <a:pt x="255" y="61"/>
                      <a:pt x="255" y="61"/>
                    </a:cubicBezTo>
                    <a:cubicBezTo>
                      <a:pt x="255" y="61"/>
                      <a:pt x="255" y="61"/>
                      <a:pt x="256" y="61"/>
                    </a:cubicBezTo>
                    <a:cubicBezTo>
                      <a:pt x="256" y="61"/>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7" y="63"/>
                      <a:pt x="257" y="63"/>
                      <a:pt x="257" y="63"/>
                    </a:cubicBezTo>
                    <a:cubicBezTo>
                      <a:pt x="257" y="62"/>
                      <a:pt x="257" y="62"/>
                      <a:pt x="257" y="62"/>
                    </a:cubicBezTo>
                    <a:cubicBezTo>
                      <a:pt x="257" y="62"/>
                      <a:pt x="256" y="62"/>
                      <a:pt x="256" y="62"/>
                    </a:cubicBezTo>
                    <a:cubicBezTo>
                      <a:pt x="256" y="62"/>
                      <a:pt x="257" y="62"/>
                      <a:pt x="257" y="61"/>
                    </a:cubicBezTo>
                    <a:cubicBezTo>
                      <a:pt x="257" y="62"/>
                      <a:pt x="257" y="62"/>
                      <a:pt x="257" y="62"/>
                    </a:cubicBezTo>
                    <a:cubicBezTo>
                      <a:pt x="257" y="62"/>
                      <a:pt x="257" y="62"/>
                      <a:pt x="257" y="62"/>
                    </a:cubicBezTo>
                    <a:cubicBezTo>
                      <a:pt x="257" y="62"/>
                      <a:pt x="257" y="62"/>
                      <a:pt x="257" y="62"/>
                    </a:cubicBezTo>
                    <a:cubicBezTo>
                      <a:pt x="257" y="62"/>
                      <a:pt x="257" y="62"/>
                      <a:pt x="257" y="63"/>
                    </a:cubicBezTo>
                    <a:cubicBezTo>
                      <a:pt x="257" y="63"/>
                      <a:pt x="257" y="63"/>
                      <a:pt x="257" y="63"/>
                    </a:cubicBezTo>
                    <a:cubicBezTo>
                      <a:pt x="257" y="63"/>
                      <a:pt x="257" y="63"/>
                      <a:pt x="257" y="63"/>
                    </a:cubicBezTo>
                    <a:cubicBezTo>
                      <a:pt x="257" y="63"/>
                      <a:pt x="257" y="63"/>
                      <a:pt x="257" y="63"/>
                    </a:cubicBezTo>
                    <a:cubicBezTo>
                      <a:pt x="257" y="63"/>
                      <a:pt x="257"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60" y="64"/>
                    </a:cubicBezTo>
                    <a:cubicBezTo>
                      <a:pt x="260" y="64"/>
                      <a:pt x="260" y="64"/>
                      <a:pt x="260" y="65"/>
                    </a:cubicBezTo>
                    <a:cubicBezTo>
                      <a:pt x="260" y="65"/>
                      <a:pt x="260" y="65"/>
                      <a:pt x="260" y="65"/>
                    </a:cubicBezTo>
                    <a:cubicBezTo>
                      <a:pt x="260" y="65"/>
                      <a:pt x="260" y="65"/>
                      <a:pt x="260" y="65"/>
                    </a:cubicBezTo>
                    <a:cubicBezTo>
                      <a:pt x="260" y="65"/>
                      <a:pt x="260" y="65"/>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1" y="64"/>
                      <a:pt x="261" y="64"/>
                    </a:cubicBezTo>
                    <a:cubicBezTo>
                      <a:pt x="261" y="64"/>
                      <a:pt x="261" y="64"/>
                      <a:pt x="261" y="64"/>
                    </a:cubicBezTo>
                    <a:cubicBezTo>
                      <a:pt x="261" y="64"/>
                      <a:pt x="261" y="64"/>
                      <a:pt x="261" y="64"/>
                    </a:cubicBezTo>
                    <a:cubicBezTo>
                      <a:pt x="261" y="64"/>
                      <a:pt x="261" y="64"/>
                      <a:pt x="261" y="64"/>
                    </a:cubicBezTo>
                    <a:cubicBezTo>
                      <a:pt x="261" y="64"/>
                      <a:pt x="261" y="64"/>
                      <a:pt x="261" y="65"/>
                    </a:cubicBezTo>
                    <a:cubicBezTo>
                      <a:pt x="261" y="65"/>
                      <a:pt x="261" y="65"/>
                      <a:pt x="261" y="65"/>
                    </a:cubicBezTo>
                    <a:cubicBezTo>
                      <a:pt x="261" y="65"/>
                      <a:pt x="261" y="65"/>
                      <a:pt x="261" y="65"/>
                    </a:cubicBezTo>
                    <a:cubicBezTo>
                      <a:pt x="262" y="65"/>
                      <a:pt x="262" y="65"/>
                      <a:pt x="262" y="65"/>
                    </a:cubicBezTo>
                    <a:cubicBezTo>
                      <a:pt x="262" y="64"/>
                      <a:pt x="262" y="65"/>
                      <a:pt x="262" y="64"/>
                    </a:cubicBezTo>
                    <a:cubicBezTo>
                      <a:pt x="262" y="64"/>
                      <a:pt x="262" y="64"/>
                      <a:pt x="262" y="64"/>
                    </a:cubicBezTo>
                    <a:cubicBezTo>
                      <a:pt x="262" y="64"/>
                      <a:pt x="262" y="64"/>
                      <a:pt x="262" y="64"/>
                    </a:cubicBezTo>
                    <a:cubicBezTo>
                      <a:pt x="262" y="64"/>
                      <a:pt x="262" y="64"/>
                      <a:pt x="263" y="64"/>
                    </a:cubicBezTo>
                    <a:cubicBezTo>
                      <a:pt x="263" y="64"/>
                      <a:pt x="263" y="64"/>
                      <a:pt x="263" y="64"/>
                    </a:cubicBezTo>
                    <a:cubicBezTo>
                      <a:pt x="263" y="64"/>
                      <a:pt x="263" y="64"/>
                      <a:pt x="263" y="64"/>
                    </a:cubicBezTo>
                    <a:cubicBezTo>
                      <a:pt x="263" y="64"/>
                      <a:pt x="263" y="64"/>
                      <a:pt x="263" y="64"/>
                    </a:cubicBezTo>
                    <a:cubicBezTo>
                      <a:pt x="263" y="64"/>
                      <a:pt x="263"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2" y="64"/>
                      <a:pt x="262" y="64"/>
                    </a:cubicBezTo>
                    <a:cubicBezTo>
                      <a:pt x="262" y="64"/>
                      <a:pt x="262" y="64"/>
                      <a:pt x="262" y="65"/>
                    </a:cubicBezTo>
                    <a:cubicBezTo>
                      <a:pt x="262" y="65"/>
                      <a:pt x="262" y="65"/>
                      <a:pt x="262" y="65"/>
                    </a:cubicBezTo>
                    <a:cubicBezTo>
                      <a:pt x="262" y="65"/>
                      <a:pt x="263" y="65"/>
                      <a:pt x="263" y="65"/>
                    </a:cubicBezTo>
                    <a:cubicBezTo>
                      <a:pt x="263" y="65"/>
                      <a:pt x="263" y="65"/>
                      <a:pt x="263" y="65"/>
                    </a:cubicBezTo>
                    <a:cubicBezTo>
                      <a:pt x="263" y="65"/>
                      <a:pt x="263" y="65"/>
                      <a:pt x="263"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3" y="65"/>
                      <a:pt x="263" y="65"/>
                      <a:pt x="263" y="65"/>
                    </a:cubicBezTo>
                    <a:cubicBezTo>
                      <a:pt x="263" y="66"/>
                      <a:pt x="263" y="66"/>
                      <a:pt x="263" y="66"/>
                    </a:cubicBezTo>
                    <a:cubicBezTo>
                      <a:pt x="263" y="66"/>
                      <a:pt x="263" y="66"/>
                      <a:pt x="263" y="66"/>
                    </a:cubicBezTo>
                    <a:cubicBezTo>
                      <a:pt x="263" y="66"/>
                      <a:pt x="263" y="66"/>
                      <a:pt x="263" y="66"/>
                    </a:cubicBezTo>
                    <a:cubicBezTo>
                      <a:pt x="263" y="66"/>
                      <a:pt x="264" y="66"/>
                      <a:pt x="264" y="66"/>
                    </a:cubicBezTo>
                    <a:cubicBezTo>
                      <a:pt x="264" y="66"/>
                      <a:pt x="264" y="66"/>
                      <a:pt x="264" y="66"/>
                    </a:cubicBezTo>
                    <a:cubicBezTo>
                      <a:pt x="264" y="66"/>
                      <a:pt x="264" y="66"/>
                      <a:pt x="264" y="66"/>
                    </a:cubicBezTo>
                    <a:lnTo>
                      <a:pt x="266" y="63"/>
                    </a:lnTo>
                    <a:close/>
                    <a:moveTo>
                      <a:pt x="291" y="94"/>
                    </a:moveTo>
                    <a:cubicBezTo>
                      <a:pt x="291" y="94"/>
                      <a:pt x="291" y="94"/>
                      <a:pt x="291" y="94"/>
                    </a:cubicBezTo>
                    <a:cubicBezTo>
                      <a:pt x="291" y="94"/>
                      <a:pt x="291" y="94"/>
                      <a:pt x="291" y="94"/>
                    </a:cubicBezTo>
                    <a:cubicBezTo>
                      <a:pt x="291" y="95"/>
                      <a:pt x="291" y="94"/>
                      <a:pt x="290" y="94"/>
                    </a:cubicBezTo>
                    <a:cubicBezTo>
                      <a:pt x="290" y="94"/>
                      <a:pt x="290" y="94"/>
                      <a:pt x="289" y="94"/>
                    </a:cubicBezTo>
                    <a:cubicBezTo>
                      <a:pt x="289" y="94"/>
                      <a:pt x="289" y="94"/>
                      <a:pt x="289" y="94"/>
                    </a:cubicBezTo>
                    <a:cubicBezTo>
                      <a:pt x="289" y="94"/>
                      <a:pt x="289" y="94"/>
                      <a:pt x="289" y="94"/>
                    </a:cubicBezTo>
                    <a:cubicBezTo>
                      <a:pt x="289" y="94"/>
                      <a:pt x="289" y="94"/>
                      <a:pt x="289" y="94"/>
                    </a:cubicBezTo>
                    <a:cubicBezTo>
                      <a:pt x="290" y="93"/>
                      <a:pt x="290" y="93"/>
                      <a:pt x="290" y="93"/>
                    </a:cubicBezTo>
                    <a:cubicBezTo>
                      <a:pt x="290" y="93"/>
                      <a:pt x="290" y="93"/>
                      <a:pt x="290" y="93"/>
                    </a:cubicBezTo>
                    <a:cubicBezTo>
                      <a:pt x="290" y="93"/>
                      <a:pt x="290" y="93"/>
                      <a:pt x="290" y="93"/>
                    </a:cubicBezTo>
                    <a:cubicBezTo>
                      <a:pt x="291" y="93"/>
                      <a:pt x="291" y="94"/>
                      <a:pt x="291" y="94"/>
                    </a:cubicBezTo>
                    <a:close/>
                    <a:moveTo>
                      <a:pt x="291" y="92"/>
                    </a:moveTo>
                    <a:cubicBezTo>
                      <a:pt x="291" y="92"/>
                      <a:pt x="291" y="92"/>
                      <a:pt x="291" y="92"/>
                    </a:cubicBezTo>
                    <a:cubicBezTo>
                      <a:pt x="291" y="92"/>
                      <a:pt x="291" y="92"/>
                      <a:pt x="291" y="91"/>
                    </a:cubicBezTo>
                    <a:cubicBezTo>
                      <a:pt x="291" y="91"/>
                      <a:pt x="291" y="91"/>
                      <a:pt x="292" y="91"/>
                    </a:cubicBezTo>
                    <a:cubicBezTo>
                      <a:pt x="292" y="91"/>
                      <a:pt x="292" y="91"/>
                      <a:pt x="292" y="91"/>
                    </a:cubicBezTo>
                    <a:cubicBezTo>
                      <a:pt x="292" y="91"/>
                      <a:pt x="292" y="91"/>
                      <a:pt x="292" y="90"/>
                    </a:cubicBezTo>
                    <a:cubicBezTo>
                      <a:pt x="292" y="90"/>
                      <a:pt x="292" y="90"/>
                      <a:pt x="292" y="90"/>
                    </a:cubicBezTo>
                    <a:cubicBezTo>
                      <a:pt x="292" y="90"/>
                      <a:pt x="292" y="90"/>
                      <a:pt x="292" y="90"/>
                    </a:cubicBezTo>
                    <a:cubicBezTo>
                      <a:pt x="292" y="89"/>
                      <a:pt x="292" y="89"/>
                      <a:pt x="292" y="89"/>
                    </a:cubicBezTo>
                    <a:cubicBezTo>
                      <a:pt x="292" y="89"/>
                      <a:pt x="292" y="89"/>
                      <a:pt x="292" y="89"/>
                    </a:cubicBezTo>
                    <a:cubicBezTo>
                      <a:pt x="292" y="89"/>
                      <a:pt x="292" y="89"/>
                      <a:pt x="292" y="89"/>
                    </a:cubicBezTo>
                    <a:cubicBezTo>
                      <a:pt x="292" y="89"/>
                      <a:pt x="292" y="89"/>
                      <a:pt x="292" y="89"/>
                    </a:cubicBezTo>
                    <a:cubicBezTo>
                      <a:pt x="292" y="89"/>
                      <a:pt x="292" y="89"/>
                      <a:pt x="291" y="89"/>
                    </a:cubicBezTo>
                    <a:cubicBezTo>
                      <a:pt x="291" y="88"/>
                      <a:pt x="291" y="88"/>
                      <a:pt x="291" y="88"/>
                    </a:cubicBezTo>
                    <a:cubicBezTo>
                      <a:pt x="291" y="88"/>
                      <a:pt x="291" y="88"/>
                      <a:pt x="290" y="88"/>
                    </a:cubicBezTo>
                    <a:cubicBezTo>
                      <a:pt x="290" y="87"/>
                      <a:pt x="290" y="88"/>
                      <a:pt x="289" y="88"/>
                    </a:cubicBezTo>
                    <a:cubicBezTo>
                      <a:pt x="289" y="88"/>
                      <a:pt x="288" y="88"/>
                      <a:pt x="288" y="88"/>
                    </a:cubicBezTo>
                    <a:cubicBezTo>
                      <a:pt x="287" y="88"/>
                      <a:pt x="287" y="88"/>
                      <a:pt x="286" y="88"/>
                    </a:cubicBezTo>
                    <a:cubicBezTo>
                      <a:pt x="286" y="89"/>
                      <a:pt x="286" y="89"/>
                      <a:pt x="285" y="89"/>
                    </a:cubicBezTo>
                    <a:cubicBezTo>
                      <a:pt x="285" y="89"/>
                      <a:pt x="285" y="90"/>
                      <a:pt x="285" y="90"/>
                    </a:cubicBezTo>
                    <a:cubicBezTo>
                      <a:pt x="284" y="90"/>
                      <a:pt x="284" y="91"/>
                      <a:pt x="284" y="92"/>
                    </a:cubicBezTo>
                    <a:cubicBezTo>
                      <a:pt x="284" y="92"/>
                      <a:pt x="284" y="92"/>
                      <a:pt x="284" y="92"/>
                    </a:cubicBezTo>
                    <a:cubicBezTo>
                      <a:pt x="284" y="92"/>
                      <a:pt x="283" y="93"/>
                      <a:pt x="283" y="93"/>
                    </a:cubicBezTo>
                    <a:cubicBezTo>
                      <a:pt x="283" y="93"/>
                      <a:pt x="283" y="93"/>
                      <a:pt x="283" y="93"/>
                    </a:cubicBezTo>
                    <a:cubicBezTo>
                      <a:pt x="283" y="94"/>
                      <a:pt x="283" y="94"/>
                      <a:pt x="283" y="94"/>
                    </a:cubicBezTo>
                    <a:cubicBezTo>
                      <a:pt x="283" y="94"/>
                      <a:pt x="283" y="95"/>
                      <a:pt x="283" y="95"/>
                    </a:cubicBezTo>
                    <a:cubicBezTo>
                      <a:pt x="283" y="95"/>
                      <a:pt x="283" y="95"/>
                      <a:pt x="283" y="95"/>
                    </a:cubicBezTo>
                    <a:cubicBezTo>
                      <a:pt x="283" y="95"/>
                      <a:pt x="284" y="95"/>
                      <a:pt x="284" y="94"/>
                    </a:cubicBezTo>
                    <a:cubicBezTo>
                      <a:pt x="284" y="94"/>
                      <a:pt x="284" y="94"/>
                      <a:pt x="285" y="94"/>
                    </a:cubicBezTo>
                    <a:cubicBezTo>
                      <a:pt x="285" y="94"/>
                      <a:pt x="286" y="94"/>
                      <a:pt x="287" y="94"/>
                    </a:cubicBezTo>
                    <a:cubicBezTo>
                      <a:pt x="287" y="95"/>
                      <a:pt x="287" y="94"/>
                      <a:pt x="288" y="94"/>
                    </a:cubicBezTo>
                    <a:cubicBezTo>
                      <a:pt x="288" y="94"/>
                      <a:pt x="288" y="94"/>
                      <a:pt x="288" y="94"/>
                    </a:cubicBezTo>
                    <a:cubicBezTo>
                      <a:pt x="289" y="94"/>
                      <a:pt x="289" y="94"/>
                      <a:pt x="289" y="94"/>
                    </a:cubicBezTo>
                    <a:cubicBezTo>
                      <a:pt x="289" y="93"/>
                      <a:pt x="289" y="93"/>
                      <a:pt x="289" y="93"/>
                    </a:cubicBezTo>
                    <a:cubicBezTo>
                      <a:pt x="290" y="93"/>
                      <a:pt x="290" y="93"/>
                      <a:pt x="290" y="93"/>
                    </a:cubicBezTo>
                    <a:cubicBezTo>
                      <a:pt x="290" y="93"/>
                      <a:pt x="290" y="93"/>
                      <a:pt x="290" y="93"/>
                    </a:cubicBezTo>
                    <a:cubicBezTo>
                      <a:pt x="291" y="92"/>
                      <a:pt x="291" y="92"/>
                      <a:pt x="291" y="92"/>
                    </a:cubicBezTo>
                    <a:cubicBezTo>
                      <a:pt x="291" y="92"/>
                      <a:pt x="291" y="92"/>
                      <a:pt x="291" y="92"/>
                    </a:cubicBezTo>
                    <a:close/>
                    <a:moveTo>
                      <a:pt x="270" y="43"/>
                    </a:moveTo>
                    <a:cubicBezTo>
                      <a:pt x="270" y="43"/>
                      <a:pt x="270" y="43"/>
                      <a:pt x="270" y="43"/>
                    </a:cubicBezTo>
                    <a:cubicBezTo>
                      <a:pt x="270" y="43"/>
                      <a:pt x="270" y="43"/>
                      <a:pt x="270" y="43"/>
                    </a:cubicBezTo>
                    <a:cubicBezTo>
                      <a:pt x="270" y="44"/>
                      <a:pt x="270" y="44"/>
                      <a:pt x="270" y="44"/>
                    </a:cubicBezTo>
                    <a:cubicBezTo>
                      <a:pt x="270" y="44"/>
                      <a:pt x="270" y="44"/>
                      <a:pt x="270" y="45"/>
                    </a:cubicBezTo>
                    <a:cubicBezTo>
                      <a:pt x="270" y="45"/>
                      <a:pt x="270" y="45"/>
                      <a:pt x="270" y="45"/>
                    </a:cubicBezTo>
                    <a:cubicBezTo>
                      <a:pt x="271" y="45"/>
                      <a:pt x="271" y="45"/>
                      <a:pt x="271" y="45"/>
                    </a:cubicBezTo>
                    <a:cubicBezTo>
                      <a:pt x="271" y="45"/>
                      <a:pt x="272" y="45"/>
                      <a:pt x="272" y="45"/>
                    </a:cubicBezTo>
                    <a:cubicBezTo>
                      <a:pt x="272" y="45"/>
                      <a:pt x="272" y="45"/>
                      <a:pt x="272" y="45"/>
                    </a:cubicBezTo>
                    <a:cubicBezTo>
                      <a:pt x="272" y="45"/>
                      <a:pt x="273" y="45"/>
                      <a:pt x="273" y="45"/>
                    </a:cubicBezTo>
                    <a:cubicBezTo>
                      <a:pt x="273" y="45"/>
                      <a:pt x="273" y="45"/>
                      <a:pt x="273" y="45"/>
                    </a:cubicBezTo>
                    <a:cubicBezTo>
                      <a:pt x="273" y="45"/>
                      <a:pt x="273" y="45"/>
                      <a:pt x="274" y="45"/>
                    </a:cubicBezTo>
                    <a:cubicBezTo>
                      <a:pt x="274" y="45"/>
                      <a:pt x="274" y="45"/>
                      <a:pt x="274" y="45"/>
                    </a:cubicBezTo>
                    <a:cubicBezTo>
                      <a:pt x="274" y="45"/>
                      <a:pt x="274" y="45"/>
                      <a:pt x="274" y="44"/>
                    </a:cubicBezTo>
                    <a:cubicBezTo>
                      <a:pt x="273" y="44"/>
                      <a:pt x="274" y="44"/>
                      <a:pt x="273" y="44"/>
                    </a:cubicBezTo>
                    <a:cubicBezTo>
                      <a:pt x="273" y="44"/>
                      <a:pt x="273" y="44"/>
                      <a:pt x="273" y="44"/>
                    </a:cubicBezTo>
                    <a:cubicBezTo>
                      <a:pt x="273" y="44"/>
                      <a:pt x="273" y="44"/>
                      <a:pt x="272" y="44"/>
                    </a:cubicBezTo>
                    <a:cubicBezTo>
                      <a:pt x="272" y="44"/>
                      <a:pt x="272" y="44"/>
                      <a:pt x="272" y="44"/>
                    </a:cubicBezTo>
                    <a:cubicBezTo>
                      <a:pt x="272" y="44"/>
                      <a:pt x="272" y="44"/>
                      <a:pt x="272" y="44"/>
                    </a:cubicBezTo>
                    <a:cubicBezTo>
                      <a:pt x="272" y="44"/>
                      <a:pt x="272" y="44"/>
                      <a:pt x="272" y="43"/>
                    </a:cubicBezTo>
                    <a:cubicBezTo>
                      <a:pt x="272" y="43"/>
                      <a:pt x="272" y="43"/>
                      <a:pt x="272" y="43"/>
                    </a:cubicBezTo>
                    <a:cubicBezTo>
                      <a:pt x="272" y="43"/>
                      <a:pt x="272" y="43"/>
                      <a:pt x="272" y="43"/>
                    </a:cubicBezTo>
                    <a:cubicBezTo>
                      <a:pt x="272" y="43"/>
                      <a:pt x="271" y="43"/>
                      <a:pt x="271" y="43"/>
                    </a:cubicBezTo>
                    <a:cubicBezTo>
                      <a:pt x="271" y="43"/>
                      <a:pt x="271" y="43"/>
                      <a:pt x="271" y="43"/>
                    </a:cubicBezTo>
                    <a:cubicBezTo>
                      <a:pt x="271" y="42"/>
                      <a:pt x="271" y="42"/>
                      <a:pt x="271" y="42"/>
                    </a:cubicBezTo>
                    <a:cubicBezTo>
                      <a:pt x="271" y="42"/>
                      <a:pt x="271" y="42"/>
                      <a:pt x="271" y="42"/>
                    </a:cubicBezTo>
                    <a:cubicBezTo>
                      <a:pt x="270" y="42"/>
                      <a:pt x="270" y="42"/>
                      <a:pt x="270" y="42"/>
                    </a:cubicBezTo>
                    <a:cubicBezTo>
                      <a:pt x="270" y="42"/>
                      <a:pt x="270" y="42"/>
                      <a:pt x="270" y="42"/>
                    </a:cubicBezTo>
                    <a:cubicBezTo>
                      <a:pt x="270" y="42"/>
                      <a:pt x="270" y="42"/>
                      <a:pt x="270" y="42"/>
                    </a:cubicBezTo>
                    <a:cubicBezTo>
                      <a:pt x="270" y="42"/>
                      <a:pt x="269" y="42"/>
                      <a:pt x="269" y="42"/>
                    </a:cubicBezTo>
                    <a:cubicBezTo>
                      <a:pt x="269" y="42"/>
                      <a:pt x="269" y="42"/>
                      <a:pt x="269" y="42"/>
                    </a:cubicBezTo>
                    <a:cubicBezTo>
                      <a:pt x="269" y="42"/>
                      <a:pt x="269" y="42"/>
                      <a:pt x="269" y="42"/>
                    </a:cubicBezTo>
                    <a:cubicBezTo>
                      <a:pt x="269" y="42"/>
                      <a:pt x="269" y="42"/>
                      <a:pt x="269" y="42"/>
                    </a:cubicBezTo>
                    <a:cubicBezTo>
                      <a:pt x="269" y="42"/>
                      <a:pt x="269" y="42"/>
                      <a:pt x="269" y="42"/>
                    </a:cubicBezTo>
                    <a:cubicBezTo>
                      <a:pt x="269" y="42"/>
                      <a:pt x="268" y="42"/>
                      <a:pt x="268" y="42"/>
                    </a:cubicBezTo>
                    <a:cubicBezTo>
                      <a:pt x="268" y="42"/>
                      <a:pt x="268" y="42"/>
                      <a:pt x="268" y="42"/>
                    </a:cubicBezTo>
                    <a:cubicBezTo>
                      <a:pt x="268" y="42"/>
                      <a:pt x="268" y="42"/>
                      <a:pt x="267" y="42"/>
                    </a:cubicBezTo>
                    <a:cubicBezTo>
                      <a:pt x="267" y="42"/>
                      <a:pt x="267" y="41"/>
                      <a:pt x="267" y="42"/>
                    </a:cubicBezTo>
                    <a:cubicBezTo>
                      <a:pt x="267" y="42"/>
                      <a:pt x="267" y="42"/>
                      <a:pt x="267" y="42"/>
                    </a:cubicBezTo>
                    <a:cubicBezTo>
                      <a:pt x="267" y="42"/>
                      <a:pt x="267" y="42"/>
                      <a:pt x="267" y="42"/>
                    </a:cubicBezTo>
                    <a:cubicBezTo>
                      <a:pt x="267" y="42"/>
                      <a:pt x="268" y="42"/>
                      <a:pt x="268" y="43"/>
                    </a:cubicBezTo>
                    <a:cubicBezTo>
                      <a:pt x="268" y="43"/>
                      <a:pt x="268" y="43"/>
                      <a:pt x="268" y="43"/>
                    </a:cubicBezTo>
                    <a:cubicBezTo>
                      <a:pt x="268" y="43"/>
                      <a:pt x="268" y="43"/>
                      <a:pt x="268" y="43"/>
                    </a:cubicBezTo>
                    <a:cubicBezTo>
                      <a:pt x="268" y="43"/>
                      <a:pt x="268" y="43"/>
                      <a:pt x="268" y="43"/>
                    </a:cubicBezTo>
                    <a:cubicBezTo>
                      <a:pt x="268" y="43"/>
                      <a:pt x="268" y="43"/>
                      <a:pt x="268" y="42"/>
                    </a:cubicBezTo>
                    <a:cubicBezTo>
                      <a:pt x="268" y="43"/>
                      <a:pt x="269" y="43"/>
                      <a:pt x="269" y="43"/>
                    </a:cubicBezTo>
                    <a:cubicBezTo>
                      <a:pt x="269" y="43"/>
                      <a:pt x="269" y="43"/>
                      <a:pt x="269" y="43"/>
                    </a:cubicBezTo>
                    <a:cubicBezTo>
                      <a:pt x="269" y="43"/>
                      <a:pt x="269" y="43"/>
                      <a:pt x="270" y="43"/>
                    </a:cubicBezTo>
                    <a:close/>
                    <a:moveTo>
                      <a:pt x="277" y="50"/>
                    </a:moveTo>
                    <a:cubicBezTo>
                      <a:pt x="277" y="50"/>
                      <a:pt x="277" y="50"/>
                      <a:pt x="278" y="50"/>
                    </a:cubicBezTo>
                    <a:cubicBezTo>
                      <a:pt x="278" y="49"/>
                      <a:pt x="277" y="49"/>
                      <a:pt x="277" y="49"/>
                    </a:cubicBezTo>
                    <a:cubicBezTo>
                      <a:pt x="277" y="49"/>
                      <a:pt x="277" y="49"/>
                      <a:pt x="277" y="49"/>
                    </a:cubicBezTo>
                    <a:cubicBezTo>
                      <a:pt x="277" y="49"/>
                      <a:pt x="277" y="49"/>
                      <a:pt x="277" y="49"/>
                    </a:cubicBezTo>
                    <a:cubicBezTo>
                      <a:pt x="276" y="49"/>
                      <a:pt x="276" y="49"/>
                      <a:pt x="276" y="49"/>
                    </a:cubicBezTo>
                    <a:cubicBezTo>
                      <a:pt x="276" y="49"/>
                      <a:pt x="275" y="49"/>
                      <a:pt x="275" y="49"/>
                    </a:cubicBezTo>
                    <a:cubicBezTo>
                      <a:pt x="275" y="49"/>
                      <a:pt x="275" y="49"/>
                      <a:pt x="275" y="49"/>
                    </a:cubicBezTo>
                    <a:cubicBezTo>
                      <a:pt x="275" y="49"/>
                      <a:pt x="275" y="49"/>
                      <a:pt x="275" y="49"/>
                    </a:cubicBezTo>
                    <a:cubicBezTo>
                      <a:pt x="274" y="49"/>
                      <a:pt x="274" y="49"/>
                      <a:pt x="274" y="49"/>
                    </a:cubicBezTo>
                    <a:cubicBezTo>
                      <a:pt x="274" y="49"/>
                      <a:pt x="274" y="49"/>
                      <a:pt x="274" y="49"/>
                    </a:cubicBezTo>
                    <a:cubicBezTo>
                      <a:pt x="274" y="49"/>
                      <a:pt x="273" y="49"/>
                      <a:pt x="273" y="49"/>
                    </a:cubicBezTo>
                    <a:cubicBezTo>
                      <a:pt x="273" y="49"/>
                      <a:pt x="273" y="49"/>
                      <a:pt x="273" y="49"/>
                    </a:cubicBezTo>
                    <a:cubicBezTo>
                      <a:pt x="273" y="48"/>
                      <a:pt x="272" y="49"/>
                      <a:pt x="272" y="49"/>
                    </a:cubicBezTo>
                    <a:cubicBezTo>
                      <a:pt x="272" y="49"/>
                      <a:pt x="272" y="48"/>
                      <a:pt x="272" y="48"/>
                    </a:cubicBezTo>
                    <a:cubicBezTo>
                      <a:pt x="271" y="48"/>
                      <a:pt x="271" y="48"/>
                      <a:pt x="270" y="48"/>
                    </a:cubicBezTo>
                    <a:cubicBezTo>
                      <a:pt x="270" y="48"/>
                      <a:pt x="270" y="48"/>
                      <a:pt x="270" y="48"/>
                    </a:cubicBezTo>
                    <a:cubicBezTo>
                      <a:pt x="270" y="48"/>
                      <a:pt x="270" y="48"/>
                      <a:pt x="269" y="48"/>
                    </a:cubicBezTo>
                    <a:cubicBezTo>
                      <a:pt x="269" y="48"/>
                      <a:pt x="269" y="48"/>
                      <a:pt x="269" y="48"/>
                    </a:cubicBezTo>
                    <a:cubicBezTo>
                      <a:pt x="269" y="48"/>
                      <a:pt x="269" y="48"/>
                      <a:pt x="268" y="48"/>
                    </a:cubicBezTo>
                    <a:cubicBezTo>
                      <a:pt x="268" y="48"/>
                      <a:pt x="268" y="48"/>
                      <a:pt x="268" y="48"/>
                    </a:cubicBezTo>
                    <a:cubicBezTo>
                      <a:pt x="268" y="48"/>
                      <a:pt x="268" y="48"/>
                      <a:pt x="268" y="48"/>
                    </a:cubicBezTo>
                    <a:cubicBezTo>
                      <a:pt x="268" y="48"/>
                      <a:pt x="268" y="49"/>
                      <a:pt x="268" y="49"/>
                    </a:cubicBezTo>
                    <a:cubicBezTo>
                      <a:pt x="268" y="49"/>
                      <a:pt x="268" y="49"/>
                      <a:pt x="268" y="49"/>
                    </a:cubicBezTo>
                    <a:cubicBezTo>
                      <a:pt x="268" y="49"/>
                      <a:pt x="268" y="49"/>
                      <a:pt x="268" y="49"/>
                    </a:cubicBezTo>
                    <a:cubicBezTo>
                      <a:pt x="269" y="49"/>
                      <a:pt x="269" y="49"/>
                      <a:pt x="269" y="49"/>
                    </a:cubicBezTo>
                    <a:cubicBezTo>
                      <a:pt x="269" y="49"/>
                      <a:pt x="269" y="49"/>
                      <a:pt x="269" y="49"/>
                    </a:cubicBezTo>
                    <a:cubicBezTo>
                      <a:pt x="269" y="49"/>
                      <a:pt x="269" y="49"/>
                      <a:pt x="269" y="49"/>
                    </a:cubicBezTo>
                    <a:cubicBezTo>
                      <a:pt x="270" y="49"/>
                      <a:pt x="270" y="49"/>
                      <a:pt x="270" y="49"/>
                    </a:cubicBezTo>
                    <a:cubicBezTo>
                      <a:pt x="270" y="49"/>
                      <a:pt x="270" y="49"/>
                      <a:pt x="270" y="49"/>
                    </a:cubicBezTo>
                    <a:cubicBezTo>
                      <a:pt x="270" y="49"/>
                      <a:pt x="270" y="49"/>
                      <a:pt x="271" y="49"/>
                    </a:cubicBezTo>
                    <a:cubicBezTo>
                      <a:pt x="271" y="49"/>
                      <a:pt x="271" y="49"/>
                      <a:pt x="271" y="49"/>
                    </a:cubicBezTo>
                    <a:cubicBezTo>
                      <a:pt x="271" y="49"/>
                      <a:pt x="271" y="49"/>
                      <a:pt x="271" y="49"/>
                    </a:cubicBezTo>
                    <a:cubicBezTo>
                      <a:pt x="271" y="49"/>
                      <a:pt x="271" y="49"/>
                      <a:pt x="271" y="49"/>
                    </a:cubicBezTo>
                    <a:cubicBezTo>
                      <a:pt x="271" y="50"/>
                      <a:pt x="271" y="50"/>
                      <a:pt x="272" y="50"/>
                    </a:cubicBezTo>
                    <a:cubicBezTo>
                      <a:pt x="272" y="50"/>
                      <a:pt x="272" y="50"/>
                      <a:pt x="272" y="50"/>
                    </a:cubicBezTo>
                    <a:cubicBezTo>
                      <a:pt x="273" y="50"/>
                      <a:pt x="273" y="50"/>
                      <a:pt x="273" y="50"/>
                    </a:cubicBezTo>
                    <a:cubicBezTo>
                      <a:pt x="273" y="50"/>
                      <a:pt x="273" y="50"/>
                      <a:pt x="273" y="50"/>
                    </a:cubicBezTo>
                    <a:cubicBezTo>
                      <a:pt x="273" y="50"/>
                      <a:pt x="273" y="50"/>
                      <a:pt x="273" y="50"/>
                    </a:cubicBezTo>
                    <a:cubicBezTo>
                      <a:pt x="274" y="50"/>
                      <a:pt x="274" y="50"/>
                      <a:pt x="274" y="50"/>
                    </a:cubicBezTo>
                    <a:cubicBezTo>
                      <a:pt x="274" y="50"/>
                      <a:pt x="274" y="50"/>
                      <a:pt x="274" y="50"/>
                    </a:cubicBezTo>
                    <a:cubicBezTo>
                      <a:pt x="274" y="50"/>
                      <a:pt x="274" y="50"/>
                      <a:pt x="275" y="50"/>
                    </a:cubicBezTo>
                    <a:cubicBezTo>
                      <a:pt x="275" y="50"/>
                      <a:pt x="275" y="50"/>
                      <a:pt x="275" y="50"/>
                    </a:cubicBezTo>
                    <a:cubicBezTo>
                      <a:pt x="275" y="50"/>
                      <a:pt x="275" y="50"/>
                      <a:pt x="275" y="50"/>
                    </a:cubicBezTo>
                    <a:cubicBezTo>
                      <a:pt x="275" y="50"/>
                      <a:pt x="275" y="50"/>
                      <a:pt x="275" y="50"/>
                    </a:cubicBezTo>
                    <a:cubicBezTo>
                      <a:pt x="275" y="50"/>
                      <a:pt x="276" y="50"/>
                      <a:pt x="276" y="50"/>
                    </a:cubicBezTo>
                    <a:cubicBezTo>
                      <a:pt x="276" y="50"/>
                      <a:pt x="276" y="50"/>
                      <a:pt x="276" y="50"/>
                    </a:cubicBezTo>
                    <a:cubicBezTo>
                      <a:pt x="276" y="50"/>
                      <a:pt x="276" y="50"/>
                      <a:pt x="276" y="50"/>
                    </a:cubicBezTo>
                    <a:cubicBezTo>
                      <a:pt x="277" y="50"/>
                      <a:pt x="277" y="50"/>
                      <a:pt x="277" y="50"/>
                    </a:cubicBezTo>
                    <a:close/>
                    <a:moveTo>
                      <a:pt x="264" y="44"/>
                    </a:moveTo>
                    <a:cubicBezTo>
                      <a:pt x="264" y="44"/>
                      <a:pt x="264" y="44"/>
                      <a:pt x="264" y="44"/>
                    </a:cubicBezTo>
                    <a:cubicBezTo>
                      <a:pt x="264" y="44"/>
                      <a:pt x="264" y="44"/>
                      <a:pt x="264" y="44"/>
                    </a:cubicBezTo>
                    <a:cubicBezTo>
                      <a:pt x="263" y="44"/>
                      <a:pt x="263" y="44"/>
                      <a:pt x="263" y="44"/>
                    </a:cubicBezTo>
                    <a:cubicBezTo>
                      <a:pt x="263" y="44"/>
                      <a:pt x="263" y="44"/>
                      <a:pt x="263" y="44"/>
                    </a:cubicBezTo>
                    <a:cubicBezTo>
                      <a:pt x="263" y="44"/>
                      <a:pt x="263" y="44"/>
                      <a:pt x="264" y="45"/>
                    </a:cubicBezTo>
                    <a:cubicBezTo>
                      <a:pt x="264" y="45"/>
                      <a:pt x="264" y="45"/>
                      <a:pt x="264" y="45"/>
                    </a:cubicBezTo>
                    <a:cubicBezTo>
                      <a:pt x="264" y="45"/>
                      <a:pt x="264" y="45"/>
                      <a:pt x="264" y="45"/>
                    </a:cubicBezTo>
                    <a:cubicBezTo>
                      <a:pt x="264" y="45"/>
                      <a:pt x="264" y="45"/>
                      <a:pt x="264" y="45"/>
                    </a:cubicBezTo>
                    <a:cubicBezTo>
                      <a:pt x="265" y="45"/>
                      <a:pt x="265" y="44"/>
                      <a:pt x="265" y="44"/>
                    </a:cubicBezTo>
                    <a:cubicBezTo>
                      <a:pt x="264" y="44"/>
                      <a:pt x="264" y="45"/>
                      <a:pt x="264" y="44"/>
                    </a:cubicBezTo>
                    <a:cubicBezTo>
                      <a:pt x="264" y="44"/>
                      <a:pt x="264" y="44"/>
                      <a:pt x="264" y="44"/>
                    </a:cubicBezTo>
                    <a:close/>
                    <a:moveTo>
                      <a:pt x="290" y="84"/>
                    </a:moveTo>
                    <a:cubicBezTo>
                      <a:pt x="290" y="84"/>
                      <a:pt x="290" y="84"/>
                      <a:pt x="290" y="84"/>
                    </a:cubicBezTo>
                    <a:cubicBezTo>
                      <a:pt x="290" y="84"/>
                      <a:pt x="290" y="84"/>
                      <a:pt x="290" y="84"/>
                    </a:cubicBezTo>
                    <a:cubicBezTo>
                      <a:pt x="289" y="84"/>
                      <a:pt x="289" y="84"/>
                      <a:pt x="289" y="84"/>
                    </a:cubicBezTo>
                    <a:cubicBezTo>
                      <a:pt x="289" y="84"/>
                      <a:pt x="289" y="84"/>
                      <a:pt x="289" y="85"/>
                    </a:cubicBezTo>
                    <a:cubicBezTo>
                      <a:pt x="289" y="85"/>
                      <a:pt x="289" y="85"/>
                      <a:pt x="289" y="85"/>
                    </a:cubicBezTo>
                    <a:cubicBezTo>
                      <a:pt x="289" y="85"/>
                      <a:pt x="289" y="85"/>
                      <a:pt x="290" y="85"/>
                    </a:cubicBezTo>
                    <a:cubicBezTo>
                      <a:pt x="290" y="85"/>
                      <a:pt x="290" y="86"/>
                      <a:pt x="291" y="86"/>
                    </a:cubicBezTo>
                    <a:cubicBezTo>
                      <a:pt x="291" y="86"/>
                      <a:pt x="291" y="86"/>
                      <a:pt x="291" y="86"/>
                    </a:cubicBezTo>
                    <a:cubicBezTo>
                      <a:pt x="292" y="86"/>
                      <a:pt x="292" y="86"/>
                      <a:pt x="292" y="86"/>
                    </a:cubicBezTo>
                    <a:cubicBezTo>
                      <a:pt x="292" y="86"/>
                      <a:pt x="293" y="87"/>
                      <a:pt x="293" y="86"/>
                    </a:cubicBezTo>
                    <a:cubicBezTo>
                      <a:pt x="293" y="86"/>
                      <a:pt x="293"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5"/>
                      <a:pt x="294" y="85"/>
                    </a:cubicBezTo>
                    <a:cubicBezTo>
                      <a:pt x="294" y="85"/>
                      <a:pt x="294" y="85"/>
                      <a:pt x="294" y="85"/>
                    </a:cubicBezTo>
                    <a:cubicBezTo>
                      <a:pt x="293" y="85"/>
                      <a:pt x="293" y="85"/>
                      <a:pt x="293" y="85"/>
                    </a:cubicBezTo>
                    <a:cubicBezTo>
                      <a:pt x="293" y="85"/>
                      <a:pt x="293" y="85"/>
                      <a:pt x="293" y="85"/>
                    </a:cubicBezTo>
                    <a:cubicBezTo>
                      <a:pt x="293" y="85"/>
                      <a:pt x="293" y="85"/>
                      <a:pt x="293" y="85"/>
                    </a:cubicBezTo>
                    <a:cubicBezTo>
                      <a:pt x="292" y="85"/>
                      <a:pt x="292" y="84"/>
                      <a:pt x="292" y="84"/>
                    </a:cubicBezTo>
                    <a:cubicBezTo>
                      <a:pt x="292" y="84"/>
                      <a:pt x="292" y="84"/>
                      <a:pt x="291" y="84"/>
                    </a:cubicBezTo>
                    <a:cubicBezTo>
                      <a:pt x="291" y="84"/>
                      <a:pt x="291" y="84"/>
                      <a:pt x="291" y="84"/>
                    </a:cubicBezTo>
                    <a:cubicBezTo>
                      <a:pt x="290" y="84"/>
                      <a:pt x="290" y="84"/>
                      <a:pt x="290" y="84"/>
                    </a:cubicBezTo>
                    <a:close/>
                    <a:moveTo>
                      <a:pt x="290" y="84"/>
                    </a:moveTo>
                    <a:cubicBezTo>
                      <a:pt x="290" y="84"/>
                      <a:pt x="290" y="84"/>
                      <a:pt x="290" y="84"/>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89" y="83"/>
                      <a:pt x="289" y="83"/>
                    </a:cubicBezTo>
                    <a:cubicBezTo>
                      <a:pt x="289" y="83"/>
                      <a:pt x="289" y="83"/>
                      <a:pt x="289" y="83"/>
                    </a:cubicBezTo>
                    <a:cubicBezTo>
                      <a:pt x="289" y="84"/>
                      <a:pt x="289" y="84"/>
                      <a:pt x="289" y="84"/>
                    </a:cubicBezTo>
                    <a:cubicBezTo>
                      <a:pt x="289"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lose/>
                    <a:moveTo>
                      <a:pt x="291" y="84"/>
                    </a:moveTo>
                    <a:cubicBezTo>
                      <a:pt x="291" y="84"/>
                      <a:pt x="291" y="84"/>
                      <a:pt x="291" y="84"/>
                    </a:cubicBezTo>
                    <a:cubicBezTo>
                      <a:pt x="291" y="84"/>
                      <a:pt x="291" y="84"/>
                      <a:pt x="291" y="84"/>
                    </a:cubicBezTo>
                    <a:cubicBezTo>
                      <a:pt x="291" y="84"/>
                      <a:pt x="291" y="84"/>
                      <a:pt x="291" y="84"/>
                    </a:cubicBezTo>
                    <a:cubicBezTo>
                      <a:pt x="291" y="84"/>
                      <a:pt x="291" y="84"/>
                      <a:pt x="291" y="83"/>
                    </a:cubicBezTo>
                    <a:cubicBezTo>
                      <a:pt x="291" y="83"/>
                      <a:pt x="291" y="83"/>
                      <a:pt x="291" y="83"/>
                    </a:cubicBezTo>
                    <a:cubicBezTo>
                      <a:pt x="291" y="83"/>
                      <a:pt x="291" y="83"/>
                      <a:pt x="291" y="83"/>
                    </a:cubicBezTo>
                    <a:cubicBezTo>
                      <a:pt x="291" y="83"/>
                      <a:pt x="291" y="83"/>
                      <a:pt x="290" y="83"/>
                    </a:cubicBezTo>
                    <a:cubicBezTo>
                      <a:pt x="290" y="83"/>
                      <a:pt x="290" y="83"/>
                      <a:pt x="290" y="83"/>
                    </a:cubicBezTo>
                    <a:cubicBezTo>
                      <a:pt x="290" y="83"/>
                      <a:pt x="290" y="83"/>
                      <a:pt x="290" y="83"/>
                    </a:cubicBezTo>
                    <a:cubicBezTo>
                      <a:pt x="290" y="83"/>
                      <a:pt x="290" y="82"/>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1" y="84"/>
                      <a:pt x="291" y="84"/>
                      <a:pt x="291" y="84"/>
                    </a:cubicBezTo>
                    <a:cubicBezTo>
                      <a:pt x="291" y="84"/>
                      <a:pt x="291" y="84"/>
                      <a:pt x="291" y="84"/>
                    </a:cubicBezTo>
                    <a:cubicBezTo>
                      <a:pt x="291" y="84"/>
                      <a:pt x="291" y="84"/>
                      <a:pt x="291" y="84"/>
                    </a:cubicBezTo>
                    <a:close/>
                    <a:moveTo>
                      <a:pt x="282" y="48"/>
                    </a:moveTo>
                    <a:cubicBezTo>
                      <a:pt x="282" y="48"/>
                      <a:pt x="282" y="48"/>
                      <a:pt x="282" y="48"/>
                    </a:cubicBezTo>
                    <a:cubicBezTo>
                      <a:pt x="282" y="48"/>
                      <a:pt x="282" y="48"/>
                      <a:pt x="282" y="48"/>
                    </a:cubicBezTo>
                    <a:cubicBezTo>
                      <a:pt x="282" y="48"/>
                      <a:pt x="282" y="48"/>
                      <a:pt x="282" y="48"/>
                    </a:cubicBezTo>
                    <a:cubicBezTo>
                      <a:pt x="282" y="48"/>
                      <a:pt x="282" y="48"/>
                      <a:pt x="282" y="48"/>
                    </a:cubicBezTo>
                    <a:close/>
                    <a:moveTo>
                      <a:pt x="306" y="84"/>
                    </a:moveTo>
                    <a:cubicBezTo>
                      <a:pt x="306" y="84"/>
                      <a:pt x="306" y="84"/>
                      <a:pt x="306"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3"/>
                      <a:pt x="305" y="83"/>
                    </a:cubicBezTo>
                    <a:cubicBezTo>
                      <a:pt x="305" y="83"/>
                      <a:pt x="305" y="83"/>
                      <a:pt x="305" y="83"/>
                    </a:cubicBezTo>
                    <a:cubicBezTo>
                      <a:pt x="305"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5" y="83"/>
                      <a:pt x="305" y="83"/>
                      <a:pt x="305" y="83"/>
                    </a:cubicBezTo>
                    <a:cubicBezTo>
                      <a:pt x="305" y="83"/>
                      <a:pt x="305" y="83"/>
                      <a:pt x="305" y="83"/>
                    </a:cubicBezTo>
                    <a:cubicBezTo>
                      <a:pt x="305" y="83"/>
                      <a:pt x="305" y="83"/>
                      <a:pt x="305" y="83"/>
                    </a:cubicBezTo>
                    <a:cubicBezTo>
                      <a:pt x="305" y="83"/>
                      <a:pt x="305" y="83"/>
                      <a:pt x="305" y="83"/>
                    </a:cubicBezTo>
                    <a:cubicBezTo>
                      <a:pt x="305" y="83"/>
                      <a:pt x="305" y="83"/>
                      <a:pt x="304" y="83"/>
                    </a:cubicBezTo>
                    <a:cubicBezTo>
                      <a:pt x="304" y="83"/>
                      <a:pt x="304" y="83"/>
                      <a:pt x="304" y="83"/>
                    </a:cubicBezTo>
                    <a:cubicBezTo>
                      <a:pt x="305" y="83"/>
                      <a:pt x="305" y="82"/>
                      <a:pt x="305" y="82"/>
                    </a:cubicBezTo>
                    <a:cubicBezTo>
                      <a:pt x="305" y="82"/>
                      <a:pt x="305" y="82"/>
                      <a:pt x="305" y="82"/>
                    </a:cubicBezTo>
                    <a:cubicBezTo>
                      <a:pt x="305" y="82"/>
                      <a:pt x="305" y="82"/>
                      <a:pt x="305" y="82"/>
                    </a:cubicBezTo>
                    <a:cubicBezTo>
                      <a:pt x="305" y="82"/>
                      <a:pt x="305" y="82"/>
                      <a:pt x="305" y="82"/>
                    </a:cubicBezTo>
                    <a:cubicBezTo>
                      <a:pt x="305" y="82"/>
                      <a:pt x="305" y="82"/>
                      <a:pt x="304" y="82"/>
                    </a:cubicBezTo>
                    <a:cubicBezTo>
                      <a:pt x="304" y="82"/>
                      <a:pt x="304" y="82"/>
                      <a:pt x="304" y="82"/>
                    </a:cubicBezTo>
                    <a:cubicBezTo>
                      <a:pt x="304" y="82"/>
                      <a:pt x="304" y="82"/>
                      <a:pt x="304" y="82"/>
                    </a:cubicBezTo>
                    <a:cubicBezTo>
                      <a:pt x="304" y="82"/>
                      <a:pt x="304" y="82"/>
                      <a:pt x="304" y="82"/>
                    </a:cubicBezTo>
                    <a:cubicBezTo>
                      <a:pt x="304" y="82"/>
                      <a:pt x="304" y="82"/>
                      <a:pt x="304" y="82"/>
                    </a:cubicBezTo>
                    <a:cubicBezTo>
                      <a:pt x="304"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71"/>
                      <a:pt x="305" y="71"/>
                      <a:pt x="305" y="71"/>
                    </a:cubicBezTo>
                    <a:cubicBezTo>
                      <a:pt x="305" y="55"/>
                      <a:pt x="305" y="55"/>
                      <a:pt x="305" y="55"/>
                    </a:cubicBezTo>
                    <a:cubicBezTo>
                      <a:pt x="305" y="55"/>
                      <a:pt x="305" y="55"/>
                      <a:pt x="305" y="55"/>
                    </a:cubicBezTo>
                    <a:cubicBezTo>
                      <a:pt x="305" y="55"/>
                      <a:pt x="305" y="55"/>
                      <a:pt x="305" y="55"/>
                    </a:cubicBezTo>
                    <a:cubicBezTo>
                      <a:pt x="305" y="55"/>
                      <a:pt x="305" y="55"/>
                      <a:pt x="304" y="55"/>
                    </a:cubicBezTo>
                    <a:cubicBezTo>
                      <a:pt x="304" y="55"/>
                      <a:pt x="304" y="55"/>
                      <a:pt x="304" y="55"/>
                    </a:cubicBezTo>
                    <a:cubicBezTo>
                      <a:pt x="304" y="55"/>
                      <a:pt x="304" y="55"/>
                      <a:pt x="304" y="55"/>
                    </a:cubicBezTo>
                    <a:cubicBezTo>
                      <a:pt x="304" y="55"/>
                      <a:pt x="303" y="55"/>
                      <a:pt x="303" y="55"/>
                    </a:cubicBezTo>
                    <a:cubicBezTo>
                      <a:pt x="303" y="55"/>
                      <a:pt x="303" y="55"/>
                      <a:pt x="303" y="55"/>
                    </a:cubicBezTo>
                    <a:cubicBezTo>
                      <a:pt x="304" y="55"/>
                      <a:pt x="304" y="54"/>
                      <a:pt x="304" y="54"/>
                    </a:cubicBezTo>
                    <a:cubicBezTo>
                      <a:pt x="304" y="54"/>
                      <a:pt x="303" y="54"/>
                      <a:pt x="303" y="54"/>
                    </a:cubicBezTo>
                    <a:cubicBezTo>
                      <a:pt x="303" y="54"/>
                      <a:pt x="303" y="54"/>
                      <a:pt x="303" y="54"/>
                    </a:cubicBezTo>
                    <a:cubicBezTo>
                      <a:pt x="303" y="54"/>
                      <a:pt x="303" y="54"/>
                      <a:pt x="303" y="54"/>
                    </a:cubicBezTo>
                    <a:cubicBezTo>
                      <a:pt x="303" y="54"/>
                      <a:pt x="303" y="54"/>
                      <a:pt x="303" y="54"/>
                    </a:cubicBezTo>
                    <a:cubicBezTo>
                      <a:pt x="302" y="54"/>
                      <a:pt x="302" y="54"/>
                      <a:pt x="302" y="54"/>
                    </a:cubicBezTo>
                    <a:cubicBezTo>
                      <a:pt x="302" y="54"/>
                      <a:pt x="302" y="54"/>
                      <a:pt x="302" y="54"/>
                    </a:cubicBezTo>
                    <a:cubicBezTo>
                      <a:pt x="302" y="54"/>
                      <a:pt x="302"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0" y="54"/>
                      <a:pt x="300" y="54"/>
                      <a:pt x="300" y="54"/>
                    </a:cubicBezTo>
                    <a:cubicBezTo>
                      <a:pt x="300" y="54"/>
                      <a:pt x="300" y="54"/>
                      <a:pt x="300" y="54"/>
                    </a:cubicBezTo>
                    <a:cubicBezTo>
                      <a:pt x="300" y="53"/>
                      <a:pt x="300" y="53"/>
                      <a:pt x="300" y="53"/>
                    </a:cubicBezTo>
                    <a:cubicBezTo>
                      <a:pt x="300" y="53"/>
                      <a:pt x="300" y="53"/>
                      <a:pt x="299" y="53"/>
                    </a:cubicBezTo>
                    <a:cubicBezTo>
                      <a:pt x="299" y="53"/>
                      <a:pt x="299" y="53"/>
                      <a:pt x="299" y="53"/>
                    </a:cubicBezTo>
                    <a:cubicBezTo>
                      <a:pt x="299" y="53"/>
                      <a:pt x="298" y="53"/>
                      <a:pt x="298" y="53"/>
                    </a:cubicBezTo>
                    <a:cubicBezTo>
                      <a:pt x="298" y="53"/>
                      <a:pt x="297" y="53"/>
                      <a:pt x="297" y="53"/>
                    </a:cubicBezTo>
                    <a:cubicBezTo>
                      <a:pt x="297" y="53"/>
                      <a:pt x="297" y="53"/>
                      <a:pt x="297" y="53"/>
                    </a:cubicBezTo>
                    <a:cubicBezTo>
                      <a:pt x="297" y="53"/>
                      <a:pt x="297" y="53"/>
                      <a:pt x="296" y="53"/>
                    </a:cubicBezTo>
                    <a:cubicBezTo>
                      <a:pt x="296" y="53"/>
                      <a:pt x="296" y="53"/>
                      <a:pt x="296" y="53"/>
                    </a:cubicBezTo>
                    <a:cubicBezTo>
                      <a:pt x="296" y="53"/>
                      <a:pt x="296" y="53"/>
                      <a:pt x="295" y="52"/>
                    </a:cubicBezTo>
                    <a:cubicBezTo>
                      <a:pt x="295" y="52"/>
                      <a:pt x="295" y="52"/>
                      <a:pt x="295" y="52"/>
                    </a:cubicBezTo>
                    <a:cubicBezTo>
                      <a:pt x="295" y="52"/>
                      <a:pt x="294" y="52"/>
                      <a:pt x="294" y="52"/>
                    </a:cubicBezTo>
                    <a:cubicBezTo>
                      <a:pt x="293" y="52"/>
                      <a:pt x="293" y="51"/>
                      <a:pt x="293" y="51"/>
                    </a:cubicBezTo>
                    <a:cubicBezTo>
                      <a:pt x="293" y="51"/>
                      <a:pt x="292" y="51"/>
                      <a:pt x="292" y="51"/>
                    </a:cubicBezTo>
                    <a:cubicBezTo>
                      <a:pt x="292" y="51"/>
                      <a:pt x="292" y="51"/>
                      <a:pt x="292" y="51"/>
                    </a:cubicBezTo>
                    <a:cubicBezTo>
                      <a:pt x="292" y="51"/>
                      <a:pt x="292" y="51"/>
                      <a:pt x="292" y="51"/>
                    </a:cubicBezTo>
                    <a:cubicBezTo>
                      <a:pt x="292" y="51"/>
                      <a:pt x="291" y="51"/>
                      <a:pt x="291" y="51"/>
                    </a:cubicBezTo>
                    <a:cubicBezTo>
                      <a:pt x="291" y="51"/>
                      <a:pt x="291" y="51"/>
                      <a:pt x="291" y="51"/>
                    </a:cubicBezTo>
                    <a:cubicBezTo>
                      <a:pt x="291" y="51"/>
                      <a:pt x="291" y="50"/>
                      <a:pt x="290" y="50"/>
                    </a:cubicBezTo>
                    <a:cubicBezTo>
                      <a:pt x="290" y="50"/>
                      <a:pt x="290" y="50"/>
                      <a:pt x="290" y="50"/>
                    </a:cubicBezTo>
                    <a:cubicBezTo>
                      <a:pt x="290" y="50"/>
                      <a:pt x="290" y="50"/>
                      <a:pt x="290" y="50"/>
                    </a:cubicBezTo>
                    <a:cubicBezTo>
                      <a:pt x="290" y="50"/>
                      <a:pt x="290" y="50"/>
                      <a:pt x="290" y="50"/>
                    </a:cubicBezTo>
                    <a:cubicBezTo>
                      <a:pt x="290" y="50"/>
                      <a:pt x="290" y="50"/>
                      <a:pt x="289" y="49"/>
                    </a:cubicBezTo>
                    <a:cubicBezTo>
                      <a:pt x="289" y="49"/>
                      <a:pt x="289" y="49"/>
                      <a:pt x="289" y="49"/>
                    </a:cubicBezTo>
                    <a:cubicBezTo>
                      <a:pt x="289" y="49"/>
                      <a:pt x="289" y="49"/>
                      <a:pt x="288" y="49"/>
                    </a:cubicBezTo>
                    <a:cubicBezTo>
                      <a:pt x="288" y="49"/>
                      <a:pt x="288" y="49"/>
                      <a:pt x="287" y="49"/>
                    </a:cubicBezTo>
                    <a:cubicBezTo>
                      <a:pt x="287" y="49"/>
                      <a:pt x="287" y="49"/>
                      <a:pt x="287" y="49"/>
                    </a:cubicBezTo>
                    <a:cubicBezTo>
                      <a:pt x="287" y="49"/>
                      <a:pt x="287" y="48"/>
                      <a:pt x="287" y="48"/>
                    </a:cubicBezTo>
                    <a:cubicBezTo>
                      <a:pt x="286" y="48"/>
                      <a:pt x="286" y="48"/>
                      <a:pt x="286" y="48"/>
                    </a:cubicBezTo>
                    <a:cubicBezTo>
                      <a:pt x="286" y="48"/>
                      <a:pt x="285" y="48"/>
                      <a:pt x="285" y="48"/>
                    </a:cubicBezTo>
                    <a:cubicBezTo>
                      <a:pt x="285" y="48"/>
                      <a:pt x="285" y="48"/>
                      <a:pt x="285" y="48"/>
                    </a:cubicBezTo>
                    <a:cubicBezTo>
                      <a:pt x="285" y="48"/>
                      <a:pt x="285" y="48"/>
                      <a:pt x="285" y="48"/>
                    </a:cubicBezTo>
                    <a:cubicBezTo>
                      <a:pt x="285" y="48"/>
                      <a:pt x="285" y="48"/>
                      <a:pt x="285" y="48"/>
                    </a:cubicBezTo>
                    <a:cubicBezTo>
                      <a:pt x="285" y="47"/>
                      <a:pt x="285" y="47"/>
                      <a:pt x="285" y="47"/>
                    </a:cubicBezTo>
                    <a:cubicBezTo>
                      <a:pt x="284" y="47"/>
                      <a:pt x="284" y="47"/>
                      <a:pt x="284" y="47"/>
                    </a:cubicBezTo>
                    <a:cubicBezTo>
                      <a:pt x="284" y="47"/>
                      <a:pt x="284" y="47"/>
                      <a:pt x="284" y="47"/>
                    </a:cubicBezTo>
                    <a:cubicBezTo>
                      <a:pt x="284" y="47"/>
                      <a:pt x="284" y="47"/>
                      <a:pt x="284" y="47"/>
                    </a:cubicBezTo>
                    <a:cubicBezTo>
                      <a:pt x="284" y="47"/>
                      <a:pt x="283" y="47"/>
                      <a:pt x="283" y="47"/>
                    </a:cubicBezTo>
                    <a:cubicBezTo>
                      <a:pt x="283" y="48"/>
                      <a:pt x="283" y="48"/>
                      <a:pt x="282" y="48"/>
                    </a:cubicBezTo>
                    <a:cubicBezTo>
                      <a:pt x="282" y="48"/>
                      <a:pt x="282" y="48"/>
                      <a:pt x="282" y="48"/>
                    </a:cubicBezTo>
                    <a:cubicBezTo>
                      <a:pt x="282" y="48"/>
                      <a:pt x="281" y="48"/>
                      <a:pt x="281" y="48"/>
                    </a:cubicBezTo>
                    <a:cubicBezTo>
                      <a:pt x="281" y="49"/>
                      <a:pt x="281" y="49"/>
                      <a:pt x="280" y="49"/>
                    </a:cubicBezTo>
                    <a:cubicBezTo>
                      <a:pt x="280" y="49"/>
                      <a:pt x="280" y="49"/>
                      <a:pt x="280" y="49"/>
                    </a:cubicBezTo>
                    <a:cubicBezTo>
                      <a:pt x="280" y="49"/>
                      <a:pt x="281" y="49"/>
                      <a:pt x="281" y="50"/>
                    </a:cubicBezTo>
                    <a:cubicBezTo>
                      <a:pt x="281" y="50"/>
                      <a:pt x="280" y="50"/>
                      <a:pt x="280" y="50"/>
                    </a:cubicBezTo>
                    <a:cubicBezTo>
                      <a:pt x="280" y="49"/>
                      <a:pt x="280" y="49"/>
                      <a:pt x="280" y="49"/>
                    </a:cubicBezTo>
                    <a:cubicBezTo>
                      <a:pt x="280" y="49"/>
                      <a:pt x="280" y="49"/>
                      <a:pt x="280" y="49"/>
                    </a:cubicBezTo>
                    <a:cubicBezTo>
                      <a:pt x="280" y="49"/>
                      <a:pt x="280" y="50"/>
                      <a:pt x="280" y="50"/>
                    </a:cubicBezTo>
                    <a:cubicBezTo>
                      <a:pt x="279" y="50"/>
                      <a:pt x="279" y="50"/>
                      <a:pt x="279" y="50"/>
                    </a:cubicBezTo>
                    <a:cubicBezTo>
                      <a:pt x="279" y="50"/>
                      <a:pt x="279" y="50"/>
                      <a:pt x="279" y="50"/>
                    </a:cubicBezTo>
                    <a:cubicBezTo>
                      <a:pt x="279" y="49"/>
                      <a:pt x="279" y="49"/>
                      <a:pt x="279" y="49"/>
                    </a:cubicBezTo>
                    <a:cubicBezTo>
                      <a:pt x="279" y="49"/>
                      <a:pt x="279" y="50"/>
                      <a:pt x="279" y="50"/>
                    </a:cubicBezTo>
                    <a:cubicBezTo>
                      <a:pt x="279" y="50"/>
                      <a:pt x="279" y="50"/>
                      <a:pt x="279" y="50"/>
                    </a:cubicBezTo>
                    <a:cubicBezTo>
                      <a:pt x="279" y="50"/>
                      <a:pt x="279" y="50"/>
                      <a:pt x="279" y="50"/>
                    </a:cubicBezTo>
                    <a:cubicBezTo>
                      <a:pt x="279" y="50"/>
                      <a:pt x="279" y="50"/>
                      <a:pt x="279" y="50"/>
                    </a:cubicBezTo>
                    <a:cubicBezTo>
                      <a:pt x="280" y="51"/>
                      <a:pt x="280" y="51"/>
                      <a:pt x="280" y="51"/>
                    </a:cubicBezTo>
                    <a:cubicBezTo>
                      <a:pt x="280" y="51"/>
                      <a:pt x="280" y="51"/>
                      <a:pt x="280" y="51"/>
                    </a:cubicBezTo>
                    <a:cubicBezTo>
                      <a:pt x="280" y="51"/>
                      <a:pt x="280" y="51"/>
                      <a:pt x="279" y="51"/>
                    </a:cubicBezTo>
                    <a:cubicBezTo>
                      <a:pt x="279" y="51"/>
                      <a:pt x="279" y="52"/>
                      <a:pt x="279" y="52"/>
                    </a:cubicBezTo>
                    <a:cubicBezTo>
                      <a:pt x="279" y="52"/>
                      <a:pt x="279" y="52"/>
                      <a:pt x="278" y="52"/>
                    </a:cubicBezTo>
                    <a:cubicBezTo>
                      <a:pt x="278" y="52"/>
                      <a:pt x="278" y="52"/>
                      <a:pt x="278" y="52"/>
                    </a:cubicBezTo>
                    <a:cubicBezTo>
                      <a:pt x="277" y="52"/>
                      <a:pt x="277" y="52"/>
                      <a:pt x="277" y="52"/>
                    </a:cubicBezTo>
                    <a:cubicBezTo>
                      <a:pt x="277" y="52"/>
                      <a:pt x="277" y="52"/>
                      <a:pt x="277" y="52"/>
                    </a:cubicBezTo>
                    <a:cubicBezTo>
                      <a:pt x="277" y="52"/>
                      <a:pt x="277" y="52"/>
                      <a:pt x="277" y="53"/>
                    </a:cubicBezTo>
                    <a:cubicBezTo>
                      <a:pt x="276" y="52"/>
                      <a:pt x="276" y="52"/>
                      <a:pt x="276" y="53"/>
                    </a:cubicBezTo>
                    <a:cubicBezTo>
                      <a:pt x="276" y="53"/>
                      <a:pt x="276" y="53"/>
                      <a:pt x="276" y="53"/>
                    </a:cubicBezTo>
                    <a:cubicBezTo>
                      <a:pt x="276" y="53"/>
                      <a:pt x="276" y="53"/>
                      <a:pt x="276" y="52"/>
                    </a:cubicBezTo>
                    <a:cubicBezTo>
                      <a:pt x="275" y="52"/>
                      <a:pt x="275" y="52"/>
                      <a:pt x="275" y="52"/>
                    </a:cubicBezTo>
                    <a:cubicBezTo>
                      <a:pt x="275" y="52"/>
                      <a:pt x="275" y="52"/>
                      <a:pt x="275" y="52"/>
                    </a:cubicBezTo>
                    <a:cubicBezTo>
                      <a:pt x="275" y="52"/>
                      <a:pt x="274" y="52"/>
                      <a:pt x="274" y="52"/>
                    </a:cubicBezTo>
                    <a:cubicBezTo>
                      <a:pt x="274" y="52"/>
                      <a:pt x="274" y="53"/>
                      <a:pt x="274" y="53"/>
                    </a:cubicBezTo>
                    <a:cubicBezTo>
                      <a:pt x="274" y="53"/>
                      <a:pt x="274" y="53"/>
                      <a:pt x="274" y="53"/>
                    </a:cubicBezTo>
                    <a:cubicBezTo>
                      <a:pt x="274" y="54"/>
                      <a:pt x="274" y="54"/>
                      <a:pt x="274" y="54"/>
                    </a:cubicBezTo>
                    <a:cubicBezTo>
                      <a:pt x="273" y="54"/>
                      <a:pt x="273" y="55"/>
                      <a:pt x="273" y="55"/>
                    </a:cubicBezTo>
                    <a:cubicBezTo>
                      <a:pt x="273" y="55"/>
                      <a:pt x="272" y="55"/>
                      <a:pt x="272" y="56"/>
                    </a:cubicBezTo>
                    <a:cubicBezTo>
                      <a:pt x="272" y="56"/>
                      <a:pt x="272" y="56"/>
                      <a:pt x="271" y="56"/>
                    </a:cubicBezTo>
                    <a:cubicBezTo>
                      <a:pt x="271" y="56"/>
                      <a:pt x="271" y="56"/>
                      <a:pt x="271" y="56"/>
                    </a:cubicBezTo>
                    <a:cubicBezTo>
                      <a:pt x="271" y="56"/>
                      <a:pt x="271" y="56"/>
                      <a:pt x="271" y="56"/>
                    </a:cubicBezTo>
                    <a:cubicBezTo>
                      <a:pt x="271" y="57"/>
                      <a:pt x="271" y="57"/>
                      <a:pt x="271" y="57"/>
                    </a:cubicBezTo>
                    <a:cubicBezTo>
                      <a:pt x="271" y="57"/>
                      <a:pt x="271" y="57"/>
                      <a:pt x="271" y="57"/>
                    </a:cubicBezTo>
                    <a:cubicBezTo>
                      <a:pt x="271" y="57"/>
                      <a:pt x="271" y="57"/>
                      <a:pt x="271" y="58"/>
                    </a:cubicBezTo>
                    <a:cubicBezTo>
                      <a:pt x="271" y="58"/>
                      <a:pt x="271" y="58"/>
                      <a:pt x="270" y="58"/>
                    </a:cubicBezTo>
                    <a:cubicBezTo>
                      <a:pt x="270" y="58"/>
                      <a:pt x="270" y="58"/>
                      <a:pt x="270" y="58"/>
                    </a:cubicBezTo>
                    <a:cubicBezTo>
                      <a:pt x="270" y="58"/>
                      <a:pt x="270" y="58"/>
                      <a:pt x="270" y="58"/>
                    </a:cubicBezTo>
                    <a:cubicBezTo>
                      <a:pt x="270" y="58"/>
                      <a:pt x="270" y="58"/>
                      <a:pt x="270" y="58"/>
                    </a:cubicBezTo>
                    <a:cubicBezTo>
                      <a:pt x="270" y="59"/>
                      <a:pt x="269" y="59"/>
                      <a:pt x="269" y="59"/>
                    </a:cubicBezTo>
                    <a:cubicBezTo>
                      <a:pt x="269" y="59"/>
                      <a:pt x="269" y="59"/>
                      <a:pt x="268" y="60"/>
                    </a:cubicBezTo>
                    <a:cubicBezTo>
                      <a:pt x="268" y="60"/>
                      <a:pt x="268" y="60"/>
                      <a:pt x="268" y="60"/>
                    </a:cubicBezTo>
                    <a:cubicBezTo>
                      <a:pt x="268" y="60"/>
                      <a:pt x="268" y="60"/>
                      <a:pt x="268" y="60"/>
                    </a:cubicBezTo>
                    <a:cubicBezTo>
                      <a:pt x="267" y="60"/>
                      <a:pt x="267" y="60"/>
                      <a:pt x="267" y="60"/>
                    </a:cubicBezTo>
                    <a:cubicBezTo>
                      <a:pt x="267" y="60"/>
                      <a:pt x="267" y="60"/>
                      <a:pt x="267" y="60"/>
                    </a:cubicBezTo>
                    <a:cubicBezTo>
                      <a:pt x="267" y="60"/>
                      <a:pt x="266" y="60"/>
                      <a:pt x="266" y="60"/>
                    </a:cubicBezTo>
                    <a:cubicBezTo>
                      <a:pt x="266" y="60"/>
                      <a:pt x="266" y="60"/>
                      <a:pt x="266" y="60"/>
                    </a:cubicBezTo>
                    <a:cubicBezTo>
                      <a:pt x="266" y="60"/>
                      <a:pt x="266" y="60"/>
                      <a:pt x="266" y="60"/>
                    </a:cubicBezTo>
                    <a:cubicBezTo>
                      <a:pt x="265" y="60"/>
                      <a:pt x="265" y="60"/>
                      <a:pt x="265" y="60"/>
                    </a:cubicBezTo>
                    <a:cubicBezTo>
                      <a:pt x="265" y="60"/>
                      <a:pt x="265" y="60"/>
                      <a:pt x="265" y="60"/>
                    </a:cubicBezTo>
                    <a:cubicBezTo>
                      <a:pt x="265" y="60"/>
                      <a:pt x="265" y="60"/>
                      <a:pt x="264" y="60"/>
                    </a:cubicBezTo>
                    <a:cubicBezTo>
                      <a:pt x="264" y="60"/>
                      <a:pt x="264" y="60"/>
                      <a:pt x="264" y="60"/>
                    </a:cubicBezTo>
                    <a:cubicBezTo>
                      <a:pt x="264" y="60"/>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3" y="59"/>
                      <a:pt x="263" y="59"/>
                    </a:cubicBezTo>
                    <a:cubicBezTo>
                      <a:pt x="263" y="58"/>
                      <a:pt x="263" y="58"/>
                      <a:pt x="263" y="58"/>
                    </a:cubicBezTo>
                    <a:cubicBezTo>
                      <a:pt x="263" y="58"/>
                      <a:pt x="263" y="58"/>
                      <a:pt x="263" y="58"/>
                    </a:cubicBezTo>
                    <a:cubicBezTo>
                      <a:pt x="263" y="58"/>
                      <a:pt x="264" y="58"/>
                      <a:pt x="264" y="58"/>
                    </a:cubicBezTo>
                    <a:cubicBezTo>
                      <a:pt x="264" y="58"/>
                      <a:pt x="264" y="58"/>
                      <a:pt x="264" y="57"/>
                    </a:cubicBezTo>
                    <a:cubicBezTo>
                      <a:pt x="264" y="57"/>
                      <a:pt x="264" y="57"/>
                      <a:pt x="264" y="57"/>
                    </a:cubicBezTo>
                    <a:cubicBezTo>
                      <a:pt x="264" y="57"/>
                      <a:pt x="264" y="57"/>
                      <a:pt x="263" y="57"/>
                    </a:cubicBezTo>
                    <a:cubicBezTo>
                      <a:pt x="263" y="57"/>
                      <a:pt x="264" y="57"/>
                      <a:pt x="264" y="57"/>
                    </a:cubicBezTo>
                    <a:cubicBezTo>
                      <a:pt x="263" y="57"/>
                      <a:pt x="264" y="57"/>
                      <a:pt x="263" y="57"/>
                    </a:cubicBezTo>
                    <a:cubicBezTo>
                      <a:pt x="263" y="57"/>
                      <a:pt x="263" y="57"/>
                      <a:pt x="263" y="57"/>
                    </a:cubicBezTo>
                    <a:cubicBezTo>
                      <a:pt x="263" y="57"/>
                      <a:pt x="263" y="58"/>
                      <a:pt x="263" y="58"/>
                    </a:cubicBezTo>
                    <a:cubicBezTo>
                      <a:pt x="263" y="58"/>
                      <a:pt x="263" y="58"/>
                      <a:pt x="263" y="58"/>
                    </a:cubicBezTo>
                    <a:cubicBezTo>
                      <a:pt x="263" y="57"/>
                      <a:pt x="263" y="57"/>
                      <a:pt x="263" y="57"/>
                    </a:cubicBezTo>
                    <a:cubicBezTo>
                      <a:pt x="262" y="57"/>
                      <a:pt x="263" y="57"/>
                      <a:pt x="263" y="57"/>
                    </a:cubicBezTo>
                    <a:cubicBezTo>
                      <a:pt x="263" y="57"/>
                      <a:pt x="263" y="57"/>
                      <a:pt x="262" y="57"/>
                    </a:cubicBezTo>
                    <a:cubicBezTo>
                      <a:pt x="262" y="57"/>
                      <a:pt x="262" y="56"/>
                      <a:pt x="262" y="56"/>
                    </a:cubicBezTo>
                    <a:cubicBezTo>
                      <a:pt x="262" y="56"/>
                      <a:pt x="262" y="56"/>
                      <a:pt x="262" y="56"/>
                    </a:cubicBezTo>
                    <a:cubicBezTo>
                      <a:pt x="262" y="55"/>
                      <a:pt x="262" y="55"/>
                      <a:pt x="262" y="55"/>
                    </a:cubicBezTo>
                    <a:cubicBezTo>
                      <a:pt x="262" y="55"/>
                      <a:pt x="262" y="55"/>
                      <a:pt x="262" y="54"/>
                    </a:cubicBezTo>
                    <a:cubicBezTo>
                      <a:pt x="262" y="54"/>
                      <a:pt x="262" y="54"/>
                      <a:pt x="262" y="54"/>
                    </a:cubicBezTo>
                    <a:cubicBezTo>
                      <a:pt x="263" y="60"/>
                      <a:pt x="263" y="60"/>
                      <a:pt x="263" y="60"/>
                    </a:cubicBezTo>
                    <a:cubicBezTo>
                      <a:pt x="263" y="60"/>
                      <a:pt x="263" y="60"/>
                      <a:pt x="263" y="60"/>
                    </a:cubicBezTo>
                    <a:cubicBezTo>
                      <a:pt x="263" y="60"/>
                      <a:pt x="263" y="60"/>
                      <a:pt x="263" y="60"/>
                    </a:cubicBezTo>
                    <a:cubicBezTo>
                      <a:pt x="262" y="61"/>
                      <a:pt x="262" y="61"/>
                      <a:pt x="262" y="61"/>
                    </a:cubicBezTo>
                    <a:cubicBezTo>
                      <a:pt x="262" y="61"/>
                      <a:pt x="262" y="61"/>
                      <a:pt x="262" y="61"/>
                    </a:cubicBezTo>
                    <a:cubicBezTo>
                      <a:pt x="264" y="62"/>
                      <a:pt x="264" y="62"/>
                      <a:pt x="264" y="62"/>
                    </a:cubicBezTo>
                    <a:cubicBezTo>
                      <a:pt x="266" y="63"/>
                      <a:pt x="266" y="63"/>
                      <a:pt x="266" y="63"/>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7"/>
                      <a:pt x="264" y="67"/>
                    </a:cubicBezTo>
                    <a:cubicBezTo>
                      <a:pt x="265" y="67"/>
                      <a:pt x="265" y="67"/>
                      <a:pt x="265" y="67"/>
                    </a:cubicBezTo>
                    <a:cubicBezTo>
                      <a:pt x="265" y="67"/>
                      <a:pt x="265" y="67"/>
                      <a:pt x="265" y="67"/>
                    </a:cubicBezTo>
                    <a:cubicBezTo>
                      <a:pt x="265" y="67"/>
                      <a:pt x="265" y="67"/>
                      <a:pt x="265" y="67"/>
                    </a:cubicBezTo>
                    <a:cubicBezTo>
                      <a:pt x="266" y="67"/>
                      <a:pt x="266" y="67"/>
                      <a:pt x="266" y="67"/>
                    </a:cubicBezTo>
                    <a:cubicBezTo>
                      <a:pt x="266" y="68"/>
                      <a:pt x="266" y="68"/>
                      <a:pt x="266" y="68"/>
                    </a:cubicBezTo>
                    <a:cubicBezTo>
                      <a:pt x="266" y="68"/>
                      <a:pt x="266" y="68"/>
                      <a:pt x="267" y="68"/>
                    </a:cubicBezTo>
                    <a:cubicBezTo>
                      <a:pt x="267" y="67"/>
                      <a:pt x="268" y="67"/>
                      <a:pt x="268" y="68"/>
                    </a:cubicBezTo>
                    <a:cubicBezTo>
                      <a:pt x="268" y="68"/>
                      <a:pt x="269" y="68"/>
                      <a:pt x="269" y="68"/>
                    </a:cubicBezTo>
                    <a:cubicBezTo>
                      <a:pt x="269" y="68"/>
                      <a:pt x="269" y="68"/>
                      <a:pt x="270" y="68"/>
                    </a:cubicBezTo>
                    <a:cubicBezTo>
                      <a:pt x="270" y="68"/>
                      <a:pt x="270" y="68"/>
                      <a:pt x="270" y="68"/>
                    </a:cubicBezTo>
                    <a:cubicBezTo>
                      <a:pt x="270" y="68"/>
                      <a:pt x="270"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2" y="68"/>
                      <a:pt x="272" y="68"/>
                      <a:pt x="272" y="68"/>
                    </a:cubicBezTo>
                    <a:cubicBezTo>
                      <a:pt x="272" y="68"/>
                      <a:pt x="272" y="68"/>
                      <a:pt x="272" y="69"/>
                    </a:cubicBezTo>
                    <a:cubicBezTo>
                      <a:pt x="272" y="69"/>
                      <a:pt x="272" y="69"/>
                      <a:pt x="272" y="69"/>
                    </a:cubicBezTo>
                    <a:cubicBezTo>
                      <a:pt x="272" y="69"/>
                      <a:pt x="272" y="69"/>
                      <a:pt x="272" y="69"/>
                    </a:cubicBezTo>
                    <a:cubicBezTo>
                      <a:pt x="272" y="69"/>
                      <a:pt x="272" y="69"/>
                      <a:pt x="272" y="69"/>
                    </a:cubicBezTo>
                    <a:cubicBezTo>
                      <a:pt x="272" y="69"/>
                      <a:pt x="273" y="69"/>
                      <a:pt x="273" y="69"/>
                    </a:cubicBezTo>
                    <a:cubicBezTo>
                      <a:pt x="273" y="69"/>
                      <a:pt x="273" y="69"/>
                      <a:pt x="273"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5" y="69"/>
                      <a:pt x="275" y="69"/>
                    </a:cubicBezTo>
                    <a:cubicBezTo>
                      <a:pt x="275" y="69"/>
                      <a:pt x="275" y="69"/>
                      <a:pt x="275" y="70"/>
                    </a:cubicBezTo>
                    <a:cubicBezTo>
                      <a:pt x="275" y="70"/>
                      <a:pt x="275" y="70"/>
                      <a:pt x="275" y="70"/>
                    </a:cubicBezTo>
                    <a:cubicBezTo>
                      <a:pt x="275" y="70"/>
                      <a:pt x="275" y="70"/>
                      <a:pt x="275" y="70"/>
                    </a:cubicBezTo>
                    <a:cubicBezTo>
                      <a:pt x="275" y="70"/>
                      <a:pt x="275" y="70"/>
                      <a:pt x="276" y="70"/>
                    </a:cubicBezTo>
                    <a:cubicBezTo>
                      <a:pt x="276" y="70"/>
                      <a:pt x="276" y="70"/>
                      <a:pt x="276" y="70"/>
                    </a:cubicBezTo>
                    <a:cubicBezTo>
                      <a:pt x="276" y="70"/>
                      <a:pt x="276" y="70"/>
                      <a:pt x="276" y="70"/>
                    </a:cubicBezTo>
                    <a:cubicBezTo>
                      <a:pt x="276" y="70"/>
                      <a:pt x="276" y="70"/>
                      <a:pt x="276"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1"/>
                    </a:cubicBezTo>
                    <a:cubicBezTo>
                      <a:pt x="277" y="71"/>
                      <a:pt x="277" y="71"/>
                      <a:pt x="277" y="71"/>
                    </a:cubicBezTo>
                    <a:cubicBezTo>
                      <a:pt x="277" y="71"/>
                      <a:pt x="277" y="71"/>
                      <a:pt x="277" y="71"/>
                    </a:cubicBezTo>
                    <a:cubicBezTo>
                      <a:pt x="277" y="71"/>
                      <a:pt x="277" y="71"/>
                      <a:pt x="277" y="71"/>
                    </a:cubicBezTo>
                    <a:cubicBezTo>
                      <a:pt x="277" y="71"/>
                      <a:pt x="278" y="71"/>
                      <a:pt x="278" y="71"/>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1"/>
                    </a:cubicBezTo>
                    <a:cubicBezTo>
                      <a:pt x="278" y="71"/>
                      <a:pt x="278" y="71"/>
                      <a:pt x="278" y="71"/>
                    </a:cubicBezTo>
                    <a:cubicBezTo>
                      <a:pt x="278" y="71"/>
                      <a:pt x="278" y="70"/>
                      <a:pt x="278" y="70"/>
                    </a:cubicBezTo>
                    <a:cubicBezTo>
                      <a:pt x="278" y="70"/>
                      <a:pt x="278" y="70"/>
                      <a:pt x="278" y="71"/>
                    </a:cubicBezTo>
                    <a:cubicBezTo>
                      <a:pt x="278" y="71"/>
                      <a:pt x="278" y="71"/>
                      <a:pt x="278" y="71"/>
                    </a:cubicBezTo>
                    <a:cubicBezTo>
                      <a:pt x="278" y="71"/>
                      <a:pt x="278" y="71"/>
                      <a:pt x="278" y="71"/>
                    </a:cubicBezTo>
                    <a:cubicBezTo>
                      <a:pt x="278" y="71"/>
                      <a:pt x="278"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1" y="71"/>
                      <a:pt x="281" y="71"/>
                    </a:cubicBezTo>
                    <a:cubicBezTo>
                      <a:pt x="281" y="71"/>
                      <a:pt x="281" y="71"/>
                      <a:pt x="281" y="71"/>
                    </a:cubicBezTo>
                    <a:cubicBezTo>
                      <a:pt x="280" y="71"/>
                      <a:pt x="280" y="71"/>
                      <a:pt x="280" y="71"/>
                    </a:cubicBezTo>
                    <a:cubicBezTo>
                      <a:pt x="280" y="71"/>
                      <a:pt x="280" y="71"/>
                      <a:pt x="280" y="71"/>
                    </a:cubicBezTo>
                    <a:cubicBezTo>
                      <a:pt x="281" y="71"/>
                      <a:pt x="281" y="72"/>
                      <a:pt x="281" y="71"/>
                    </a:cubicBezTo>
                    <a:cubicBezTo>
                      <a:pt x="281" y="71"/>
                      <a:pt x="281" y="71"/>
                      <a:pt x="281" y="71"/>
                    </a:cubicBezTo>
                    <a:cubicBezTo>
                      <a:pt x="281" y="71"/>
                      <a:pt x="281" y="71"/>
                      <a:pt x="281" y="71"/>
                    </a:cubicBezTo>
                    <a:cubicBezTo>
                      <a:pt x="281" y="71"/>
                      <a:pt x="281" y="71"/>
                      <a:pt x="281" y="71"/>
                    </a:cubicBezTo>
                    <a:cubicBezTo>
                      <a:pt x="281" y="71"/>
                      <a:pt x="281" y="71"/>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1"/>
                      <a:pt x="282" y="71"/>
                    </a:cubicBezTo>
                    <a:cubicBezTo>
                      <a:pt x="282" y="72"/>
                      <a:pt x="282" y="72"/>
                      <a:pt x="282" y="72"/>
                    </a:cubicBezTo>
                    <a:cubicBezTo>
                      <a:pt x="282" y="72"/>
                      <a:pt x="282" y="72"/>
                      <a:pt x="282" y="72"/>
                    </a:cubicBezTo>
                    <a:cubicBezTo>
                      <a:pt x="282" y="72"/>
                      <a:pt x="281" y="72"/>
                      <a:pt x="281" y="72"/>
                    </a:cubicBezTo>
                    <a:cubicBezTo>
                      <a:pt x="281" y="72"/>
                      <a:pt x="281" y="72"/>
                      <a:pt x="281" y="72"/>
                    </a:cubicBezTo>
                    <a:cubicBezTo>
                      <a:pt x="281"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1"/>
                      <a:pt x="282" y="71"/>
                    </a:cubicBezTo>
                    <a:cubicBezTo>
                      <a:pt x="282" y="71"/>
                      <a:pt x="282" y="71"/>
                      <a:pt x="282" y="71"/>
                    </a:cubicBezTo>
                    <a:cubicBezTo>
                      <a:pt x="282" y="71"/>
                      <a:pt x="282" y="71"/>
                      <a:pt x="282" y="71"/>
                    </a:cubicBezTo>
                    <a:cubicBezTo>
                      <a:pt x="282" y="71"/>
                      <a:pt x="282" y="71"/>
                      <a:pt x="283" y="71"/>
                    </a:cubicBezTo>
                    <a:cubicBezTo>
                      <a:pt x="283" y="71"/>
                      <a:pt x="283" y="71"/>
                      <a:pt x="283" y="71"/>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3" y="72"/>
                      <a:pt x="283" y="72"/>
                    </a:cubicBezTo>
                    <a:cubicBezTo>
                      <a:pt x="283" y="72"/>
                      <a:pt x="283" y="72"/>
                      <a:pt x="283" y="72"/>
                    </a:cubicBezTo>
                    <a:cubicBezTo>
                      <a:pt x="283" y="72"/>
                      <a:pt x="283" y="72"/>
                      <a:pt x="283" y="72"/>
                    </a:cubicBezTo>
                    <a:cubicBezTo>
                      <a:pt x="283" y="72"/>
                      <a:pt x="283" y="72"/>
                      <a:pt x="283" y="72"/>
                    </a:cubicBezTo>
                    <a:cubicBezTo>
                      <a:pt x="283" y="72"/>
                      <a:pt x="283" y="72"/>
                      <a:pt x="282" y="72"/>
                    </a:cubicBezTo>
                    <a:cubicBezTo>
                      <a:pt x="282" y="72"/>
                      <a:pt x="282" y="72"/>
                      <a:pt x="282" y="72"/>
                    </a:cubicBezTo>
                    <a:cubicBezTo>
                      <a:pt x="282" y="73"/>
                      <a:pt x="283" y="73"/>
                      <a:pt x="283" y="73"/>
                    </a:cubicBezTo>
                    <a:cubicBezTo>
                      <a:pt x="283" y="73"/>
                      <a:pt x="283" y="73"/>
                      <a:pt x="283" y="73"/>
                    </a:cubicBezTo>
                    <a:cubicBezTo>
                      <a:pt x="283" y="72"/>
                      <a:pt x="283" y="72"/>
                      <a:pt x="283" y="72"/>
                    </a:cubicBezTo>
                    <a:cubicBezTo>
                      <a:pt x="283" y="72"/>
                      <a:pt x="283" y="72"/>
                      <a:pt x="283" y="72"/>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4" y="73"/>
                      <a:pt x="284" y="73"/>
                      <a:pt x="283" y="73"/>
                    </a:cubicBezTo>
                    <a:cubicBezTo>
                      <a:pt x="283" y="73"/>
                      <a:pt x="283" y="73"/>
                      <a:pt x="283" y="73"/>
                    </a:cubicBezTo>
                    <a:cubicBezTo>
                      <a:pt x="283" y="74"/>
                      <a:pt x="283" y="74"/>
                      <a:pt x="283" y="74"/>
                    </a:cubicBezTo>
                    <a:cubicBezTo>
                      <a:pt x="283" y="74"/>
                      <a:pt x="283" y="74"/>
                      <a:pt x="283" y="74"/>
                    </a:cubicBezTo>
                    <a:cubicBezTo>
                      <a:pt x="283" y="74"/>
                      <a:pt x="283" y="74"/>
                      <a:pt x="283" y="74"/>
                    </a:cubicBezTo>
                    <a:cubicBezTo>
                      <a:pt x="283" y="74"/>
                      <a:pt x="284" y="74"/>
                      <a:pt x="284" y="73"/>
                    </a:cubicBezTo>
                    <a:cubicBezTo>
                      <a:pt x="284" y="73"/>
                      <a:pt x="284" y="73"/>
                      <a:pt x="284" y="73"/>
                    </a:cubicBezTo>
                    <a:cubicBezTo>
                      <a:pt x="284" y="74"/>
                      <a:pt x="284" y="74"/>
                      <a:pt x="284" y="74"/>
                    </a:cubicBezTo>
                    <a:cubicBezTo>
                      <a:pt x="284" y="74"/>
                      <a:pt x="284" y="74"/>
                      <a:pt x="284" y="74"/>
                    </a:cubicBezTo>
                    <a:cubicBezTo>
                      <a:pt x="284" y="74"/>
                      <a:pt x="284" y="74"/>
                      <a:pt x="284" y="74"/>
                    </a:cubicBezTo>
                    <a:cubicBezTo>
                      <a:pt x="284" y="74"/>
                      <a:pt x="284" y="74"/>
                      <a:pt x="284" y="74"/>
                    </a:cubicBezTo>
                    <a:cubicBezTo>
                      <a:pt x="284" y="73"/>
                      <a:pt x="284"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4"/>
                      <a:pt x="285" y="74"/>
                    </a:cubicBezTo>
                    <a:cubicBezTo>
                      <a:pt x="284" y="74"/>
                      <a:pt x="284" y="74"/>
                      <a:pt x="284" y="74"/>
                    </a:cubicBezTo>
                    <a:cubicBezTo>
                      <a:pt x="284" y="74"/>
                      <a:pt x="284" y="74"/>
                      <a:pt x="284" y="74"/>
                    </a:cubicBezTo>
                    <a:cubicBezTo>
                      <a:pt x="284" y="74"/>
                      <a:pt x="285" y="74"/>
                      <a:pt x="285" y="74"/>
                    </a:cubicBezTo>
                    <a:cubicBezTo>
                      <a:pt x="285" y="74"/>
                      <a:pt x="285" y="74"/>
                      <a:pt x="285" y="74"/>
                    </a:cubicBezTo>
                    <a:cubicBezTo>
                      <a:pt x="285" y="74"/>
                      <a:pt x="285" y="74"/>
                      <a:pt x="285" y="74"/>
                    </a:cubicBezTo>
                    <a:cubicBezTo>
                      <a:pt x="285" y="75"/>
                      <a:pt x="285" y="75"/>
                      <a:pt x="285" y="75"/>
                    </a:cubicBezTo>
                    <a:cubicBezTo>
                      <a:pt x="285" y="75"/>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5" y="74"/>
                      <a:pt x="285" y="75"/>
                    </a:cubicBezTo>
                    <a:cubicBezTo>
                      <a:pt x="285" y="75"/>
                      <a:pt x="285" y="75"/>
                      <a:pt x="286" y="75"/>
                    </a:cubicBezTo>
                    <a:cubicBezTo>
                      <a:pt x="286" y="75"/>
                      <a:pt x="286" y="75"/>
                      <a:pt x="286" y="75"/>
                    </a:cubicBezTo>
                    <a:cubicBezTo>
                      <a:pt x="286" y="75"/>
                      <a:pt x="286" y="75"/>
                      <a:pt x="286" y="75"/>
                    </a:cubicBezTo>
                    <a:cubicBezTo>
                      <a:pt x="286" y="75"/>
                      <a:pt x="286" y="75"/>
                      <a:pt x="286" y="74"/>
                    </a:cubicBezTo>
                    <a:cubicBezTo>
                      <a:pt x="286" y="74"/>
                      <a:pt x="286" y="74"/>
                      <a:pt x="286" y="74"/>
                    </a:cubicBezTo>
                    <a:cubicBezTo>
                      <a:pt x="286" y="74"/>
                      <a:pt x="286" y="74"/>
                      <a:pt x="286"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6" y="75"/>
                      <a:pt x="286" y="75"/>
                      <a:pt x="286" y="75"/>
                    </a:cubicBezTo>
                    <a:cubicBezTo>
                      <a:pt x="286" y="74"/>
                      <a:pt x="286" y="75"/>
                      <a:pt x="286" y="75"/>
                    </a:cubicBezTo>
                    <a:cubicBezTo>
                      <a:pt x="286" y="75"/>
                      <a:pt x="286" y="75"/>
                      <a:pt x="286" y="75"/>
                    </a:cubicBezTo>
                    <a:cubicBezTo>
                      <a:pt x="286" y="75"/>
                      <a:pt x="286" y="75"/>
                      <a:pt x="286" y="75"/>
                    </a:cubicBezTo>
                    <a:cubicBezTo>
                      <a:pt x="286" y="75"/>
                      <a:pt x="285" y="75"/>
                      <a:pt x="285" y="75"/>
                    </a:cubicBezTo>
                    <a:cubicBezTo>
                      <a:pt x="285" y="76"/>
                      <a:pt x="285" y="76"/>
                      <a:pt x="285" y="76"/>
                    </a:cubicBezTo>
                    <a:cubicBezTo>
                      <a:pt x="285" y="76"/>
                      <a:pt x="286" y="76"/>
                      <a:pt x="286" y="76"/>
                    </a:cubicBezTo>
                    <a:cubicBezTo>
                      <a:pt x="286" y="76"/>
                      <a:pt x="286" y="76"/>
                      <a:pt x="286" y="76"/>
                    </a:cubicBezTo>
                    <a:cubicBezTo>
                      <a:pt x="286" y="76"/>
                      <a:pt x="286" y="76"/>
                      <a:pt x="286" y="76"/>
                    </a:cubicBezTo>
                    <a:cubicBezTo>
                      <a:pt x="286" y="76"/>
                      <a:pt x="286" y="76"/>
                      <a:pt x="286" y="76"/>
                    </a:cubicBezTo>
                    <a:cubicBezTo>
                      <a:pt x="286" y="76"/>
                      <a:pt x="286"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8" y="76"/>
                      <a:pt x="288" y="76"/>
                    </a:cubicBezTo>
                    <a:cubicBezTo>
                      <a:pt x="288" y="76"/>
                      <a:pt x="288" y="75"/>
                      <a:pt x="288" y="75"/>
                    </a:cubicBezTo>
                    <a:cubicBezTo>
                      <a:pt x="288" y="75"/>
                      <a:pt x="288" y="75"/>
                      <a:pt x="289" y="75"/>
                    </a:cubicBezTo>
                    <a:cubicBezTo>
                      <a:pt x="289" y="75"/>
                      <a:pt x="289" y="75"/>
                      <a:pt x="289" y="76"/>
                    </a:cubicBezTo>
                    <a:cubicBezTo>
                      <a:pt x="289" y="76"/>
                      <a:pt x="289" y="75"/>
                      <a:pt x="289" y="75"/>
                    </a:cubicBezTo>
                    <a:cubicBezTo>
                      <a:pt x="289" y="75"/>
                      <a:pt x="289" y="75"/>
                      <a:pt x="289" y="75"/>
                    </a:cubicBezTo>
                    <a:cubicBezTo>
                      <a:pt x="289" y="75"/>
                      <a:pt x="288" y="75"/>
                      <a:pt x="288" y="75"/>
                    </a:cubicBezTo>
                    <a:cubicBezTo>
                      <a:pt x="288" y="75"/>
                      <a:pt x="288" y="75"/>
                      <a:pt x="288" y="76"/>
                    </a:cubicBezTo>
                    <a:cubicBezTo>
                      <a:pt x="288" y="76"/>
                      <a:pt x="288" y="76"/>
                      <a:pt x="288" y="76"/>
                    </a:cubicBezTo>
                    <a:cubicBezTo>
                      <a:pt x="288" y="76"/>
                      <a:pt x="288" y="76"/>
                      <a:pt x="287" y="76"/>
                    </a:cubicBezTo>
                    <a:cubicBezTo>
                      <a:pt x="287" y="76"/>
                      <a:pt x="287" y="76"/>
                      <a:pt x="287" y="76"/>
                    </a:cubicBezTo>
                    <a:cubicBezTo>
                      <a:pt x="287" y="76"/>
                      <a:pt x="287" y="76"/>
                      <a:pt x="287" y="76"/>
                    </a:cubicBezTo>
                    <a:cubicBezTo>
                      <a:pt x="286" y="76"/>
                      <a:pt x="286" y="76"/>
                      <a:pt x="286" y="76"/>
                    </a:cubicBezTo>
                    <a:cubicBezTo>
                      <a:pt x="286" y="77"/>
                      <a:pt x="286" y="77"/>
                      <a:pt x="286" y="77"/>
                    </a:cubicBezTo>
                    <a:cubicBezTo>
                      <a:pt x="286" y="77"/>
                      <a:pt x="287" y="77"/>
                      <a:pt x="287" y="77"/>
                    </a:cubicBezTo>
                    <a:cubicBezTo>
                      <a:pt x="287" y="77"/>
                      <a:pt x="288" y="77"/>
                      <a:pt x="288" y="77"/>
                    </a:cubicBezTo>
                    <a:cubicBezTo>
                      <a:pt x="288" y="77"/>
                      <a:pt x="288" y="77"/>
                      <a:pt x="288" y="77"/>
                    </a:cubicBezTo>
                    <a:cubicBezTo>
                      <a:pt x="288" y="76"/>
                      <a:pt x="288" y="76"/>
                      <a:pt x="288" y="76"/>
                    </a:cubicBezTo>
                    <a:cubicBezTo>
                      <a:pt x="288" y="76"/>
                      <a:pt x="288" y="76"/>
                      <a:pt x="288" y="76"/>
                    </a:cubicBezTo>
                    <a:cubicBezTo>
                      <a:pt x="288" y="76"/>
                      <a:pt x="288" y="76"/>
                      <a:pt x="288" y="76"/>
                    </a:cubicBezTo>
                    <a:cubicBezTo>
                      <a:pt x="288" y="76"/>
                      <a:pt x="288" y="76"/>
                      <a:pt x="288" y="76"/>
                    </a:cubicBezTo>
                    <a:cubicBezTo>
                      <a:pt x="288" y="76"/>
                      <a:pt x="288" y="76"/>
                      <a:pt x="289" y="76"/>
                    </a:cubicBezTo>
                    <a:cubicBezTo>
                      <a:pt x="289" y="76"/>
                      <a:pt x="289" y="76"/>
                      <a:pt x="289" y="76"/>
                    </a:cubicBezTo>
                    <a:cubicBezTo>
                      <a:pt x="289" y="76"/>
                      <a:pt x="289" y="76"/>
                      <a:pt x="289" y="76"/>
                    </a:cubicBezTo>
                    <a:cubicBezTo>
                      <a:pt x="289" y="76"/>
                      <a:pt x="288" y="76"/>
                      <a:pt x="288" y="76"/>
                    </a:cubicBezTo>
                    <a:cubicBezTo>
                      <a:pt x="288" y="76"/>
                      <a:pt x="288" y="76"/>
                      <a:pt x="288" y="76"/>
                    </a:cubicBezTo>
                    <a:cubicBezTo>
                      <a:pt x="288" y="76"/>
                      <a:pt x="288" y="76"/>
                      <a:pt x="288" y="76"/>
                    </a:cubicBezTo>
                    <a:cubicBezTo>
                      <a:pt x="288" y="76"/>
                      <a:pt x="288" y="76"/>
                      <a:pt x="288" y="76"/>
                    </a:cubicBezTo>
                    <a:cubicBezTo>
                      <a:pt x="288" y="76"/>
                      <a:pt x="288" y="76"/>
                      <a:pt x="288" y="77"/>
                    </a:cubicBezTo>
                    <a:cubicBezTo>
                      <a:pt x="288" y="77"/>
                      <a:pt x="288" y="77"/>
                      <a:pt x="288" y="77"/>
                    </a:cubicBezTo>
                    <a:cubicBezTo>
                      <a:pt x="288" y="77"/>
                      <a:pt x="288" y="77"/>
                      <a:pt x="288" y="77"/>
                    </a:cubicBezTo>
                    <a:cubicBezTo>
                      <a:pt x="287" y="77"/>
                      <a:pt x="287" y="77"/>
                      <a:pt x="287" y="77"/>
                    </a:cubicBezTo>
                    <a:cubicBezTo>
                      <a:pt x="287" y="77"/>
                      <a:pt x="287" y="77"/>
                      <a:pt x="287" y="77"/>
                    </a:cubicBezTo>
                    <a:cubicBezTo>
                      <a:pt x="287" y="77"/>
                      <a:pt x="287" y="77"/>
                      <a:pt x="287" y="78"/>
                    </a:cubicBezTo>
                    <a:cubicBezTo>
                      <a:pt x="287" y="78"/>
                      <a:pt x="287" y="78"/>
                      <a:pt x="287" y="78"/>
                    </a:cubicBezTo>
                    <a:cubicBezTo>
                      <a:pt x="287" y="78"/>
                      <a:pt x="287" y="78"/>
                      <a:pt x="287" y="78"/>
                    </a:cubicBezTo>
                    <a:cubicBezTo>
                      <a:pt x="287" y="78"/>
                      <a:pt x="287" y="79"/>
                      <a:pt x="287" y="79"/>
                    </a:cubicBezTo>
                    <a:cubicBezTo>
                      <a:pt x="288" y="79"/>
                      <a:pt x="288" y="79"/>
                      <a:pt x="288" y="79"/>
                    </a:cubicBezTo>
                    <a:cubicBezTo>
                      <a:pt x="288" y="79"/>
                      <a:pt x="288" y="79"/>
                      <a:pt x="288" y="79"/>
                    </a:cubicBezTo>
                    <a:cubicBezTo>
                      <a:pt x="288" y="79"/>
                      <a:pt x="288" y="79"/>
                      <a:pt x="288" y="80"/>
                    </a:cubicBezTo>
                    <a:cubicBezTo>
                      <a:pt x="288" y="80"/>
                      <a:pt x="288" y="80"/>
                      <a:pt x="288" y="80"/>
                    </a:cubicBezTo>
                    <a:cubicBezTo>
                      <a:pt x="288" y="80"/>
                      <a:pt x="288" y="80"/>
                      <a:pt x="288" y="80"/>
                    </a:cubicBezTo>
                    <a:cubicBezTo>
                      <a:pt x="288" y="80"/>
                      <a:pt x="288" y="80"/>
                      <a:pt x="288" y="81"/>
                    </a:cubicBezTo>
                    <a:cubicBezTo>
                      <a:pt x="288" y="81"/>
                      <a:pt x="288" y="81"/>
                      <a:pt x="288" y="81"/>
                    </a:cubicBezTo>
                    <a:cubicBezTo>
                      <a:pt x="288" y="81"/>
                      <a:pt x="289" y="81"/>
                      <a:pt x="289" y="81"/>
                    </a:cubicBezTo>
                    <a:cubicBezTo>
                      <a:pt x="289" y="82"/>
                      <a:pt x="289" y="82"/>
                      <a:pt x="289" y="82"/>
                    </a:cubicBezTo>
                    <a:cubicBezTo>
                      <a:pt x="290" y="82"/>
                      <a:pt x="290" y="82"/>
                      <a:pt x="290" y="82"/>
                    </a:cubicBezTo>
                    <a:cubicBezTo>
                      <a:pt x="290" y="82"/>
                      <a:pt x="290" y="83"/>
                      <a:pt x="291" y="83"/>
                    </a:cubicBezTo>
                    <a:cubicBezTo>
                      <a:pt x="291" y="83"/>
                      <a:pt x="291" y="83"/>
                      <a:pt x="291" y="83"/>
                    </a:cubicBezTo>
                    <a:cubicBezTo>
                      <a:pt x="291" y="83"/>
                      <a:pt x="291" y="83"/>
                      <a:pt x="291" y="83"/>
                    </a:cubicBezTo>
                    <a:cubicBezTo>
                      <a:pt x="291" y="83"/>
                      <a:pt x="291" y="83"/>
                      <a:pt x="291" y="83"/>
                    </a:cubicBezTo>
                    <a:cubicBezTo>
                      <a:pt x="291" y="84"/>
                      <a:pt x="291" y="84"/>
                      <a:pt x="291" y="84"/>
                    </a:cubicBezTo>
                    <a:cubicBezTo>
                      <a:pt x="291" y="84"/>
                      <a:pt x="291" y="84"/>
                      <a:pt x="292" y="84"/>
                    </a:cubicBezTo>
                    <a:cubicBezTo>
                      <a:pt x="292" y="84"/>
                      <a:pt x="292" y="84"/>
                      <a:pt x="292" y="84"/>
                    </a:cubicBezTo>
                    <a:cubicBezTo>
                      <a:pt x="292" y="84"/>
                      <a:pt x="292" y="84"/>
                      <a:pt x="292" y="84"/>
                    </a:cubicBezTo>
                    <a:cubicBezTo>
                      <a:pt x="292" y="84"/>
                      <a:pt x="292" y="84"/>
                      <a:pt x="292" y="84"/>
                    </a:cubicBezTo>
                    <a:cubicBezTo>
                      <a:pt x="293" y="84"/>
                      <a:pt x="293" y="84"/>
                      <a:pt x="293" y="85"/>
                    </a:cubicBezTo>
                    <a:cubicBezTo>
                      <a:pt x="293" y="85"/>
                      <a:pt x="293" y="85"/>
                      <a:pt x="293" y="85"/>
                    </a:cubicBezTo>
                    <a:cubicBezTo>
                      <a:pt x="293" y="85"/>
                      <a:pt x="293" y="85"/>
                      <a:pt x="293" y="85"/>
                    </a:cubicBezTo>
                    <a:cubicBezTo>
                      <a:pt x="294" y="85"/>
                      <a:pt x="294" y="85"/>
                      <a:pt x="294" y="85"/>
                    </a:cubicBezTo>
                    <a:cubicBezTo>
                      <a:pt x="294" y="85"/>
                      <a:pt x="294" y="85"/>
                      <a:pt x="294" y="86"/>
                    </a:cubicBezTo>
                    <a:cubicBezTo>
                      <a:pt x="295" y="86"/>
                      <a:pt x="295" y="86"/>
                      <a:pt x="295" y="86"/>
                    </a:cubicBezTo>
                    <a:cubicBezTo>
                      <a:pt x="295" y="86"/>
                      <a:pt x="295" y="86"/>
                      <a:pt x="295" y="86"/>
                    </a:cubicBezTo>
                    <a:cubicBezTo>
                      <a:pt x="295" y="86"/>
                      <a:pt x="295" y="86"/>
                      <a:pt x="295" y="86"/>
                    </a:cubicBezTo>
                    <a:cubicBezTo>
                      <a:pt x="295" y="86"/>
                      <a:pt x="295" y="86"/>
                      <a:pt x="295" y="86"/>
                    </a:cubicBezTo>
                    <a:cubicBezTo>
                      <a:pt x="295" y="87"/>
                      <a:pt x="295" y="87"/>
                      <a:pt x="295" y="87"/>
                    </a:cubicBezTo>
                    <a:cubicBezTo>
                      <a:pt x="295" y="87"/>
                      <a:pt x="296" y="87"/>
                      <a:pt x="296" y="87"/>
                    </a:cubicBezTo>
                    <a:cubicBezTo>
                      <a:pt x="296" y="86"/>
                      <a:pt x="296" y="86"/>
                      <a:pt x="296" y="86"/>
                    </a:cubicBezTo>
                    <a:cubicBezTo>
                      <a:pt x="296" y="86"/>
                      <a:pt x="296" y="86"/>
                      <a:pt x="296" y="86"/>
                    </a:cubicBezTo>
                    <a:cubicBezTo>
                      <a:pt x="296" y="86"/>
                      <a:pt x="296" y="87"/>
                      <a:pt x="297" y="87"/>
                    </a:cubicBezTo>
                    <a:cubicBezTo>
                      <a:pt x="297" y="87"/>
                      <a:pt x="297" y="86"/>
                      <a:pt x="297" y="86"/>
                    </a:cubicBezTo>
                    <a:cubicBezTo>
                      <a:pt x="297" y="86"/>
                      <a:pt x="297" y="86"/>
                      <a:pt x="297" y="86"/>
                    </a:cubicBezTo>
                    <a:cubicBezTo>
                      <a:pt x="297" y="86"/>
                      <a:pt x="297" y="86"/>
                      <a:pt x="297" y="86"/>
                    </a:cubicBezTo>
                    <a:cubicBezTo>
                      <a:pt x="297" y="86"/>
                      <a:pt x="297" y="86"/>
                      <a:pt x="297" y="86"/>
                    </a:cubicBezTo>
                    <a:cubicBezTo>
                      <a:pt x="297" y="86"/>
                      <a:pt x="298" y="86"/>
                      <a:pt x="298" y="86"/>
                    </a:cubicBezTo>
                    <a:cubicBezTo>
                      <a:pt x="298" y="86"/>
                      <a:pt x="297" y="86"/>
                      <a:pt x="297" y="86"/>
                    </a:cubicBezTo>
                    <a:cubicBezTo>
                      <a:pt x="297" y="86"/>
                      <a:pt x="297" y="86"/>
                      <a:pt x="297" y="86"/>
                    </a:cubicBezTo>
                    <a:cubicBezTo>
                      <a:pt x="297" y="86"/>
                      <a:pt x="297" y="86"/>
                      <a:pt x="297" y="87"/>
                    </a:cubicBezTo>
                    <a:cubicBezTo>
                      <a:pt x="297" y="87"/>
                      <a:pt x="297" y="87"/>
                      <a:pt x="297" y="87"/>
                    </a:cubicBezTo>
                    <a:cubicBezTo>
                      <a:pt x="297" y="87"/>
                      <a:pt x="297" y="87"/>
                      <a:pt x="296" y="87"/>
                    </a:cubicBezTo>
                    <a:cubicBezTo>
                      <a:pt x="296" y="87"/>
                      <a:pt x="296" y="87"/>
                      <a:pt x="296" y="87"/>
                    </a:cubicBezTo>
                    <a:cubicBezTo>
                      <a:pt x="296" y="87"/>
                      <a:pt x="296" y="87"/>
                      <a:pt x="296" y="87"/>
                    </a:cubicBezTo>
                    <a:cubicBezTo>
                      <a:pt x="296" y="86"/>
                      <a:pt x="296" y="86"/>
                      <a:pt x="296" y="86"/>
                    </a:cubicBezTo>
                    <a:cubicBezTo>
                      <a:pt x="296" y="86"/>
                      <a:pt x="296" y="87"/>
                      <a:pt x="296" y="87"/>
                    </a:cubicBezTo>
                    <a:cubicBezTo>
                      <a:pt x="296" y="87"/>
                      <a:pt x="296" y="87"/>
                      <a:pt x="296" y="87"/>
                    </a:cubicBezTo>
                    <a:cubicBezTo>
                      <a:pt x="296" y="87"/>
                      <a:pt x="296" y="87"/>
                      <a:pt x="295" y="87"/>
                    </a:cubicBezTo>
                    <a:cubicBezTo>
                      <a:pt x="295" y="87"/>
                      <a:pt x="295" y="87"/>
                      <a:pt x="295" y="87"/>
                    </a:cubicBezTo>
                    <a:cubicBezTo>
                      <a:pt x="295" y="87"/>
                      <a:pt x="295" y="86"/>
                      <a:pt x="295" y="86"/>
                    </a:cubicBezTo>
                    <a:cubicBezTo>
                      <a:pt x="295" y="86"/>
                      <a:pt x="295" y="86"/>
                      <a:pt x="295" y="86"/>
                    </a:cubicBezTo>
                    <a:cubicBezTo>
                      <a:pt x="295" y="86"/>
                      <a:pt x="294" y="86"/>
                      <a:pt x="294" y="86"/>
                    </a:cubicBezTo>
                    <a:cubicBezTo>
                      <a:pt x="294" y="86"/>
                      <a:pt x="295" y="86"/>
                      <a:pt x="295" y="86"/>
                    </a:cubicBezTo>
                    <a:cubicBezTo>
                      <a:pt x="295" y="86"/>
                      <a:pt x="295" y="86"/>
                      <a:pt x="295" y="86"/>
                    </a:cubicBezTo>
                    <a:cubicBezTo>
                      <a:pt x="295" y="87"/>
                      <a:pt x="295" y="87"/>
                      <a:pt x="295" y="87"/>
                    </a:cubicBezTo>
                    <a:cubicBezTo>
                      <a:pt x="295" y="87"/>
                      <a:pt x="294" y="87"/>
                      <a:pt x="294" y="87"/>
                    </a:cubicBezTo>
                    <a:cubicBezTo>
                      <a:pt x="294" y="87"/>
                      <a:pt x="294" y="87"/>
                      <a:pt x="294" y="87"/>
                    </a:cubicBezTo>
                    <a:cubicBezTo>
                      <a:pt x="294" y="87"/>
                      <a:pt x="294" y="86"/>
                      <a:pt x="294" y="86"/>
                    </a:cubicBezTo>
                    <a:cubicBezTo>
                      <a:pt x="294" y="86"/>
                      <a:pt x="294" y="86"/>
                      <a:pt x="294" y="86"/>
                    </a:cubicBezTo>
                    <a:cubicBezTo>
                      <a:pt x="294" y="86"/>
                      <a:pt x="294" y="86"/>
                      <a:pt x="294" y="86"/>
                    </a:cubicBezTo>
                    <a:cubicBezTo>
                      <a:pt x="293" y="86"/>
                      <a:pt x="293" y="86"/>
                      <a:pt x="293" y="86"/>
                    </a:cubicBezTo>
                    <a:cubicBezTo>
                      <a:pt x="293" y="87"/>
                      <a:pt x="293" y="87"/>
                      <a:pt x="293" y="87"/>
                    </a:cubicBezTo>
                    <a:cubicBezTo>
                      <a:pt x="293" y="87"/>
                      <a:pt x="292" y="87"/>
                      <a:pt x="292" y="87"/>
                    </a:cubicBezTo>
                    <a:cubicBezTo>
                      <a:pt x="292" y="87"/>
                      <a:pt x="292" y="87"/>
                      <a:pt x="292" y="86"/>
                    </a:cubicBezTo>
                    <a:cubicBezTo>
                      <a:pt x="292" y="86"/>
                      <a:pt x="292" y="86"/>
                      <a:pt x="292" y="86"/>
                    </a:cubicBezTo>
                    <a:cubicBezTo>
                      <a:pt x="292" y="86"/>
                      <a:pt x="291" y="86"/>
                      <a:pt x="291" y="86"/>
                    </a:cubicBezTo>
                    <a:cubicBezTo>
                      <a:pt x="291" y="86"/>
                      <a:pt x="291" y="86"/>
                      <a:pt x="291" y="86"/>
                    </a:cubicBezTo>
                    <a:cubicBezTo>
                      <a:pt x="291" y="86"/>
                      <a:pt x="291" y="86"/>
                      <a:pt x="291"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7"/>
                      <a:pt x="290" y="87"/>
                      <a:pt x="290" y="87"/>
                    </a:cubicBezTo>
                    <a:cubicBezTo>
                      <a:pt x="290" y="87"/>
                      <a:pt x="290" y="87"/>
                      <a:pt x="291" y="87"/>
                    </a:cubicBezTo>
                    <a:cubicBezTo>
                      <a:pt x="291" y="87"/>
                      <a:pt x="291" y="87"/>
                      <a:pt x="291" y="87"/>
                    </a:cubicBezTo>
                    <a:cubicBezTo>
                      <a:pt x="291" y="87"/>
                      <a:pt x="291" y="87"/>
                      <a:pt x="291" y="87"/>
                    </a:cubicBezTo>
                    <a:cubicBezTo>
                      <a:pt x="291" y="88"/>
                      <a:pt x="292" y="88"/>
                      <a:pt x="292" y="88"/>
                    </a:cubicBezTo>
                    <a:cubicBezTo>
                      <a:pt x="292" y="89"/>
                      <a:pt x="292" y="89"/>
                      <a:pt x="292" y="89"/>
                    </a:cubicBezTo>
                    <a:cubicBezTo>
                      <a:pt x="292" y="89"/>
                      <a:pt x="292" y="89"/>
                      <a:pt x="292" y="89"/>
                    </a:cubicBezTo>
                    <a:cubicBezTo>
                      <a:pt x="292" y="89"/>
                      <a:pt x="292" y="89"/>
                      <a:pt x="293" y="89"/>
                    </a:cubicBezTo>
                    <a:cubicBezTo>
                      <a:pt x="293" y="89"/>
                      <a:pt x="293" y="89"/>
                      <a:pt x="293" y="89"/>
                    </a:cubicBezTo>
                    <a:cubicBezTo>
                      <a:pt x="293" y="89"/>
                      <a:pt x="292" y="89"/>
                      <a:pt x="292" y="89"/>
                    </a:cubicBezTo>
                    <a:cubicBezTo>
                      <a:pt x="292" y="89"/>
                      <a:pt x="292" y="90"/>
                      <a:pt x="292" y="90"/>
                    </a:cubicBezTo>
                    <a:cubicBezTo>
                      <a:pt x="292" y="90"/>
                      <a:pt x="292" y="90"/>
                      <a:pt x="292" y="90"/>
                    </a:cubicBezTo>
                    <a:cubicBezTo>
                      <a:pt x="292" y="90"/>
                      <a:pt x="292" y="90"/>
                      <a:pt x="292" y="90"/>
                    </a:cubicBezTo>
                    <a:cubicBezTo>
                      <a:pt x="292" y="90"/>
                      <a:pt x="292" y="91"/>
                      <a:pt x="292" y="91"/>
                    </a:cubicBezTo>
                    <a:cubicBezTo>
                      <a:pt x="292" y="91"/>
                      <a:pt x="292" y="91"/>
                      <a:pt x="292" y="91"/>
                    </a:cubicBezTo>
                    <a:cubicBezTo>
                      <a:pt x="292" y="91"/>
                      <a:pt x="291" y="91"/>
                      <a:pt x="291" y="91"/>
                    </a:cubicBezTo>
                    <a:cubicBezTo>
                      <a:pt x="291" y="91"/>
                      <a:pt x="291" y="92"/>
                      <a:pt x="291" y="92"/>
                    </a:cubicBezTo>
                    <a:cubicBezTo>
                      <a:pt x="291" y="92"/>
                      <a:pt x="291" y="92"/>
                      <a:pt x="291" y="92"/>
                    </a:cubicBezTo>
                    <a:cubicBezTo>
                      <a:pt x="291" y="92"/>
                      <a:pt x="291" y="92"/>
                      <a:pt x="291" y="92"/>
                    </a:cubicBezTo>
                    <a:cubicBezTo>
                      <a:pt x="291" y="92"/>
                      <a:pt x="291" y="92"/>
                      <a:pt x="291" y="92"/>
                    </a:cubicBezTo>
                    <a:cubicBezTo>
                      <a:pt x="291" y="92"/>
                      <a:pt x="291" y="92"/>
                      <a:pt x="291" y="92"/>
                    </a:cubicBezTo>
                    <a:cubicBezTo>
                      <a:pt x="291" y="93"/>
                      <a:pt x="291" y="92"/>
                      <a:pt x="291" y="93"/>
                    </a:cubicBezTo>
                    <a:cubicBezTo>
                      <a:pt x="291" y="93"/>
                      <a:pt x="291" y="93"/>
                      <a:pt x="291" y="93"/>
                    </a:cubicBezTo>
                    <a:cubicBezTo>
                      <a:pt x="291" y="93"/>
                      <a:pt x="291" y="93"/>
                      <a:pt x="291" y="94"/>
                    </a:cubicBezTo>
                    <a:cubicBezTo>
                      <a:pt x="291" y="94"/>
                      <a:pt x="291" y="94"/>
                      <a:pt x="292" y="94"/>
                    </a:cubicBezTo>
                    <a:cubicBezTo>
                      <a:pt x="292" y="94"/>
                      <a:pt x="292" y="94"/>
                      <a:pt x="292" y="94"/>
                    </a:cubicBezTo>
                    <a:cubicBezTo>
                      <a:pt x="292" y="94"/>
                      <a:pt x="292" y="94"/>
                      <a:pt x="292" y="94"/>
                    </a:cubicBezTo>
                    <a:cubicBezTo>
                      <a:pt x="292" y="94"/>
                      <a:pt x="292" y="94"/>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3" y="93"/>
                      <a:pt x="293" y="93"/>
                      <a:pt x="293" y="93"/>
                    </a:cubicBezTo>
                    <a:cubicBezTo>
                      <a:pt x="293" y="93"/>
                      <a:pt x="293" y="93"/>
                      <a:pt x="293" y="93"/>
                    </a:cubicBezTo>
                    <a:cubicBezTo>
                      <a:pt x="293" y="92"/>
                      <a:pt x="293" y="92"/>
                      <a:pt x="293" y="92"/>
                    </a:cubicBezTo>
                    <a:cubicBezTo>
                      <a:pt x="293" y="92"/>
                      <a:pt x="293" y="92"/>
                      <a:pt x="293" y="92"/>
                    </a:cubicBezTo>
                    <a:cubicBezTo>
                      <a:pt x="293" y="92"/>
                      <a:pt x="293" y="92"/>
                      <a:pt x="294" y="92"/>
                    </a:cubicBezTo>
                    <a:cubicBezTo>
                      <a:pt x="294" y="92"/>
                      <a:pt x="294" y="92"/>
                      <a:pt x="294" y="92"/>
                    </a:cubicBezTo>
                    <a:cubicBezTo>
                      <a:pt x="294" y="92"/>
                      <a:pt x="294" y="92"/>
                      <a:pt x="294" y="92"/>
                    </a:cubicBezTo>
                    <a:cubicBezTo>
                      <a:pt x="294" y="92"/>
                      <a:pt x="293" y="93"/>
                      <a:pt x="293" y="93"/>
                    </a:cubicBezTo>
                    <a:cubicBezTo>
                      <a:pt x="294" y="93"/>
                      <a:pt x="294" y="93"/>
                      <a:pt x="294" y="93"/>
                    </a:cubicBezTo>
                    <a:cubicBezTo>
                      <a:pt x="294" y="93"/>
                      <a:pt x="294" y="93"/>
                      <a:pt x="294" y="93"/>
                    </a:cubicBezTo>
                    <a:cubicBezTo>
                      <a:pt x="294" y="93"/>
                      <a:pt x="294" y="93"/>
                      <a:pt x="294" y="93"/>
                    </a:cubicBezTo>
                    <a:cubicBezTo>
                      <a:pt x="294" y="93"/>
                      <a:pt x="294" y="93"/>
                      <a:pt x="294" y="93"/>
                    </a:cubicBezTo>
                    <a:cubicBezTo>
                      <a:pt x="294" y="93"/>
                      <a:pt x="295" y="93"/>
                      <a:pt x="295" y="93"/>
                    </a:cubicBezTo>
                    <a:cubicBezTo>
                      <a:pt x="295" y="93"/>
                      <a:pt x="295" y="93"/>
                      <a:pt x="295" y="93"/>
                    </a:cubicBezTo>
                    <a:cubicBezTo>
                      <a:pt x="295" y="93"/>
                      <a:pt x="296" y="93"/>
                      <a:pt x="296" y="93"/>
                    </a:cubicBezTo>
                    <a:cubicBezTo>
                      <a:pt x="296" y="93"/>
                      <a:pt x="296" y="93"/>
                      <a:pt x="296" y="93"/>
                    </a:cubicBezTo>
                    <a:cubicBezTo>
                      <a:pt x="296" y="93"/>
                      <a:pt x="296" y="93"/>
                      <a:pt x="296" y="93"/>
                    </a:cubicBezTo>
                    <a:cubicBezTo>
                      <a:pt x="297" y="93"/>
                      <a:pt x="297" y="93"/>
                      <a:pt x="298" y="93"/>
                    </a:cubicBezTo>
                    <a:cubicBezTo>
                      <a:pt x="298" y="93"/>
                      <a:pt x="298" y="93"/>
                      <a:pt x="298" y="93"/>
                    </a:cubicBezTo>
                    <a:cubicBezTo>
                      <a:pt x="298" y="93"/>
                      <a:pt x="298" y="93"/>
                      <a:pt x="298" y="93"/>
                    </a:cubicBezTo>
                    <a:cubicBezTo>
                      <a:pt x="298" y="93"/>
                      <a:pt x="298"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1"/>
                      <a:pt x="299" y="91"/>
                    </a:cubicBezTo>
                    <a:cubicBezTo>
                      <a:pt x="299" y="91"/>
                      <a:pt x="299" y="91"/>
                      <a:pt x="299" y="91"/>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3"/>
                    </a:cubicBezTo>
                    <a:cubicBezTo>
                      <a:pt x="299" y="93"/>
                      <a:pt x="299" y="93"/>
                      <a:pt x="298" y="93"/>
                    </a:cubicBezTo>
                    <a:cubicBezTo>
                      <a:pt x="298" y="93"/>
                      <a:pt x="298" y="93"/>
                      <a:pt x="298" y="93"/>
                    </a:cubicBezTo>
                    <a:cubicBezTo>
                      <a:pt x="298" y="93"/>
                      <a:pt x="298" y="93"/>
                      <a:pt x="298" y="93"/>
                    </a:cubicBezTo>
                    <a:cubicBezTo>
                      <a:pt x="298" y="93"/>
                      <a:pt x="299" y="93"/>
                      <a:pt x="299" y="93"/>
                    </a:cubicBezTo>
                    <a:cubicBezTo>
                      <a:pt x="299" y="93"/>
                      <a:pt x="299" y="93"/>
                      <a:pt x="299" y="94"/>
                    </a:cubicBezTo>
                    <a:cubicBezTo>
                      <a:pt x="299" y="94"/>
                      <a:pt x="299" y="94"/>
                      <a:pt x="300" y="94"/>
                    </a:cubicBezTo>
                    <a:cubicBezTo>
                      <a:pt x="300" y="94"/>
                      <a:pt x="300" y="94"/>
                      <a:pt x="300" y="94"/>
                    </a:cubicBezTo>
                    <a:cubicBezTo>
                      <a:pt x="300" y="94"/>
                      <a:pt x="300" y="94"/>
                      <a:pt x="300" y="94"/>
                    </a:cubicBezTo>
                    <a:cubicBezTo>
                      <a:pt x="300" y="94"/>
                      <a:pt x="300" y="94"/>
                      <a:pt x="300" y="94"/>
                    </a:cubicBezTo>
                    <a:cubicBezTo>
                      <a:pt x="300" y="94"/>
                      <a:pt x="300" y="94"/>
                      <a:pt x="300" y="94"/>
                    </a:cubicBezTo>
                    <a:cubicBezTo>
                      <a:pt x="300" y="94"/>
                      <a:pt x="300" y="95"/>
                      <a:pt x="300" y="95"/>
                    </a:cubicBezTo>
                    <a:cubicBezTo>
                      <a:pt x="300" y="95"/>
                      <a:pt x="301" y="95"/>
                      <a:pt x="301" y="95"/>
                    </a:cubicBezTo>
                    <a:cubicBezTo>
                      <a:pt x="301" y="95"/>
                      <a:pt x="301" y="95"/>
                      <a:pt x="301" y="95"/>
                    </a:cubicBezTo>
                    <a:cubicBezTo>
                      <a:pt x="301" y="95"/>
                      <a:pt x="301" y="95"/>
                      <a:pt x="301" y="95"/>
                    </a:cubicBezTo>
                    <a:cubicBezTo>
                      <a:pt x="301" y="95"/>
                      <a:pt x="301" y="95"/>
                      <a:pt x="301" y="95"/>
                    </a:cubicBezTo>
                    <a:cubicBezTo>
                      <a:pt x="302" y="95"/>
                      <a:pt x="302" y="95"/>
                      <a:pt x="302" y="95"/>
                    </a:cubicBezTo>
                    <a:cubicBezTo>
                      <a:pt x="302" y="95"/>
                      <a:pt x="302" y="95"/>
                      <a:pt x="302" y="95"/>
                    </a:cubicBezTo>
                    <a:cubicBezTo>
                      <a:pt x="302" y="95"/>
                      <a:pt x="302" y="95"/>
                      <a:pt x="302" y="95"/>
                    </a:cubicBezTo>
                    <a:cubicBezTo>
                      <a:pt x="302" y="95"/>
                      <a:pt x="302" y="95"/>
                      <a:pt x="301" y="95"/>
                    </a:cubicBezTo>
                    <a:cubicBezTo>
                      <a:pt x="301" y="95"/>
                      <a:pt x="301" y="95"/>
                      <a:pt x="301" y="95"/>
                    </a:cubicBezTo>
                    <a:cubicBezTo>
                      <a:pt x="301" y="95"/>
                      <a:pt x="301" y="96"/>
                      <a:pt x="302" y="96"/>
                    </a:cubicBezTo>
                    <a:cubicBezTo>
                      <a:pt x="302" y="96"/>
                      <a:pt x="302" y="96"/>
                      <a:pt x="302" y="96"/>
                    </a:cubicBezTo>
                    <a:cubicBezTo>
                      <a:pt x="302" y="97"/>
                      <a:pt x="302" y="97"/>
                      <a:pt x="303" y="97"/>
                    </a:cubicBezTo>
                    <a:cubicBezTo>
                      <a:pt x="303" y="97"/>
                      <a:pt x="303" y="97"/>
                      <a:pt x="303" y="98"/>
                    </a:cubicBezTo>
                    <a:cubicBezTo>
                      <a:pt x="303" y="98"/>
                      <a:pt x="303" y="98"/>
                      <a:pt x="304" y="98"/>
                    </a:cubicBezTo>
                    <a:cubicBezTo>
                      <a:pt x="304" y="98"/>
                      <a:pt x="304" y="98"/>
                      <a:pt x="304" y="99"/>
                    </a:cubicBezTo>
                    <a:cubicBezTo>
                      <a:pt x="304" y="99"/>
                      <a:pt x="304" y="99"/>
                      <a:pt x="305" y="99"/>
                    </a:cubicBezTo>
                    <a:cubicBezTo>
                      <a:pt x="305" y="99"/>
                      <a:pt x="305" y="99"/>
                      <a:pt x="305" y="99"/>
                    </a:cubicBezTo>
                    <a:cubicBezTo>
                      <a:pt x="305" y="99"/>
                      <a:pt x="305" y="99"/>
                      <a:pt x="306" y="100"/>
                    </a:cubicBezTo>
                    <a:lnTo>
                      <a:pt x="306" y="84"/>
                    </a:lnTo>
                    <a:close/>
                    <a:moveTo>
                      <a:pt x="241" y="92"/>
                    </a:moveTo>
                    <a:cubicBezTo>
                      <a:pt x="241" y="92"/>
                      <a:pt x="241" y="92"/>
                      <a:pt x="241" y="92"/>
                    </a:cubicBezTo>
                    <a:cubicBezTo>
                      <a:pt x="241" y="92"/>
                      <a:pt x="241" y="92"/>
                      <a:pt x="241" y="92"/>
                    </a:cubicBezTo>
                    <a:cubicBezTo>
                      <a:pt x="241" y="92"/>
                      <a:pt x="241" y="92"/>
                      <a:pt x="240" y="92"/>
                    </a:cubicBezTo>
                    <a:cubicBezTo>
                      <a:pt x="240" y="92"/>
                      <a:pt x="240" y="92"/>
                      <a:pt x="240" y="92"/>
                    </a:cubicBezTo>
                    <a:cubicBezTo>
                      <a:pt x="240" y="92"/>
                      <a:pt x="240" y="92"/>
                      <a:pt x="240" y="92"/>
                    </a:cubicBezTo>
                    <a:cubicBezTo>
                      <a:pt x="240" y="92"/>
                      <a:pt x="240" y="92"/>
                      <a:pt x="240" y="92"/>
                    </a:cubicBezTo>
                    <a:cubicBezTo>
                      <a:pt x="240" y="92"/>
                      <a:pt x="240" y="92"/>
                      <a:pt x="240" y="92"/>
                    </a:cubicBezTo>
                    <a:cubicBezTo>
                      <a:pt x="240" y="93"/>
                      <a:pt x="240" y="93"/>
                      <a:pt x="240" y="93"/>
                    </a:cubicBezTo>
                    <a:cubicBezTo>
                      <a:pt x="240" y="93"/>
                      <a:pt x="239" y="93"/>
                      <a:pt x="239" y="93"/>
                    </a:cubicBezTo>
                    <a:cubicBezTo>
                      <a:pt x="239" y="93"/>
                      <a:pt x="239" y="93"/>
                      <a:pt x="239" y="93"/>
                    </a:cubicBezTo>
                    <a:cubicBezTo>
                      <a:pt x="239" y="93"/>
                      <a:pt x="239" y="93"/>
                      <a:pt x="239" y="93"/>
                    </a:cubicBezTo>
                    <a:cubicBezTo>
                      <a:pt x="239" y="93"/>
                      <a:pt x="239" y="93"/>
                      <a:pt x="239" y="93"/>
                    </a:cubicBezTo>
                    <a:cubicBezTo>
                      <a:pt x="239" y="94"/>
                      <a:pt x="239" y="94"/>
                      <a:pt x="239" y="94"/>
                    </a:cubicBezTo>
                    <a:cubicBezTo>
                      <a:pt x="239" y="94"/>
                      <a:pt x="239" y="94"/>
                      <a:pt x="239" y="94"/>
                    </a:cubicBezTo>
                    <a:cubicBezTo>
                      <a:pt x="239" y="94"/>
                      <a:pt x="239" y="94"/>
                      <a:pt x="239" y="93"/>
                    </a:cubicBezTo>
                    <a:cubicBezTo>
                      <a:pt x="239" y="93"/>
                      <a:pt x="239" y="93"/>
                      <a:pt x="239" y="93"/>
                    </a:cubicBezTo>
                    <a:cubicBezTo>
                      <a:pt x="239" y="93"/>
                      <a:pt x="239" y="93"/>
                      <a:pt x="239" y="93"/>
                    </a:cubicBezTo>
                    <a:cubicBezTo>
                      <a:pt x="239" y="93"/>
                      <a:pt x="239" y="93"/>
                      <a:pt x="240" y="93"/>
                    </a:cubicBezTo>
                    <a:cubicBezTo>
                      <a:pt x="240" y="93"/>
                      <a:pt x="240" y="93"/>
                      <a:pt x="240" y="93"/>
                    </a:cubicBezTo>
                    <a:cubicBezTo>
                      <a:pt x="240" y="93"/>
                      <a:pt x="240" y="93"/>
                      <a:pt x="240" y="93"/>
                    </a:cubicBezTo>
                    <a:cubicBezTo>
                      <a:pt x="241" y="93"/>
                      <a:pt x="241" y="93"/>
                      <a:pt x="241" y="92"/>
                    </a:cubicBezTo>
                    <a:cubicBezTo>
                      <a:pt x="241" y="92"/>
                      <a:pt x="241" y="92"/>
                      <a:pt x="241" y="92"/>
                    </a:cubicBezTo>
                    <a:cubicBezTo>
                      <a:pt x="241" y="92"/>
                      <a:pt x="241" y="92"/>
                      <a:pt x="241" y="92"/>
                    </a:cubicBezTo>
                    <a:close/>
                    <a:moveTo>
                      <a:pt x="240" y="88"/>
                    </a:moveTo>
                    <a:cubicBezTo>
                      <a:pt x="241" y="88"/>
                      <a:pt x="241" y="88"/>
                      <a:pt x="241" y="88"/>
                    </a:cubicBezTo>
                    <a:cubicBezTo>
                      <a:pt x="241" y="88"/>
                      <a:pt x="241" y="88"/>
                      <a:pt x="241" y="87"/>
                    </a:cubicBezTo>
                    <a:cubicBezTo>
                      <a:pt x="241" y="87"/>
                      <a:pt x="241" y="87"/>
                      <a:pt x="241" y="87"/>
                    </a:cubicBezTo>
                    <a:cubicBezTo>
                      <a:pt x="241" y="87"/>
                      <a:pt x="241" y="87"/>
                      <a:pt x="241" y="87"/>
                    </a:cubicBezTo>
                    <a:cubicBezTo>
                      <a:pt x="240" y="87"/>
                      <a:pt x="240" y="87"/>
                      <a:pt x="240" y="87"/>
                    </a:cubicBezTo>
                    <a:cubicBezTo>
                      <a:pt x="240" y="87"/>
                      <a:pt x="240" y="87"/>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lose/>
                    <a:moveTo>
                      <a:pt x="252" y="75"/>
                    </a:moveTo>
                    <a:cubicBezTo>
                      <a:pt x="252" y="75"/>
                      <a:pt x="252" y="75"/>
                      <a:pt x="252" y="75"/>
                    </a:cubicBezTo>
                    <a:cubicBezTo>
                      <a:pt x="252" y="75"/>
                      <a:pt x="252" y="75"/>
                      <a:pt x="252" y="75"/>
                    </a:cubicBezTo>
                    <a:cubicBezTo>
                      <a:pt x="252" y="75"/>
                      <a:pt x="252" y="75"/>
                      <a:pt x="252" y="75"/>
                    </a:cubicBezTo>
                    <a:cubicBezTo>
                      <a:pt x="252" y="75"/>
                      <a:pt x="252" y="75"/>
                      <a:pt x="252" y="75"/>
                    </a:cubicBezTo>
                    <a:cubicBezTo>
                      <a:pt x="252" y="75"/>
                      <a:pt x="251" y="75"/>
                      <a:pt x="251" y="75"/>
                    </a:cubicBezTo>
                    <a:cubicBezTo>
                      <a:pt x="251" y="75"/>
                      <a:pt x="251" y="75"/>
                      <a:pt x="251" y="75"/>
                    </a:cubicBezTo>
                    <a:cubicBezTo>
                      <a:pt x="251" y="75"/>
                      <a:pt x="251" y="75"/>
                      <a:pt x="251" y="75"/>
                    </a:cubicBezTo>
                    <a:cubicBezTo>
                      <a:pt x="251" y="75"/>
                      <a:pt x="251" y="75"/>
                      <a:pt x="251" y="75"/>
                    </a:cubicBezTo>
                    <a:cubicBezTo>
                      <a:pt x="251" y="76"/>
                      <a:pt x="251" y="76"/>
                      <a:pt x="251" y="76"/>
                    </a:cubicBezTo>
                    <a:cubicBezTo>
                      <a:pt x="251" y="76"/>
                      <a:pt x="251" y="76"/>
                      <a:pt x="251" y="76"/>
                    </a:cubicBezTo>
                    <a:cubicBezTo>
                      <a:pt x="251" y="76"/>
                      <a:pt x="251" y="76"/>
                      <a:pt x="251" y="76"/>
                    </a:cubicBezTo>
                    <a:cubicBezTo>
                      <a:pt x="251" y="76"/>
                      <a:pt x="251" y="76"/>
                      <a:pt x="251" y="76"/>
                    </a:cubicBezTo>
                    <a:cubicBezTo>
                      <a:pt x="252" y="76"/>
                      <a:pt x="252" y="76"/>
                      <a:pt x="252" y="76"/>
                    </a:cubicBezTo>
                    <a:cubicBezTo>
                      <a:pt x="252" y="77"/>
                      <a:pt x="252" y="77"/>
                      <a:pt x="252" y="77"/>
                    </a:cubicBezTo>
                    <a:cubicBezTo>
                      <a:pt x="251" y="77"/>
                      <a:pt x="251" y="76"/>
                      <a:pt x="251" y="76"/>
                    </a:cubicBezTo>
                    <a:cubicBezTo>
                      <a:pt x="251" y="76"/>
                      <a:pt x="251" y="76"/>
                      <a:pt x="251" y="77"/>
                    </a:cubicBezTo>
                    <a:cubicBezTo>
                      <a:pt x="251" y="77"/>
                      <a:pt x="251" y="77"/>
                      <a:pt x="251" y="77"/>
                    </a:cubicBezTo>
                    <a:cubicBezTo>
                      <a:pt x="251" y="77"/>
                      <a:pt x="251" y="77"/>
                      <a:pt x="251" y="77"/>
                    </a:cubicBezTo>
                    <a:cubicBezTo>
                      <a:pt x="251" y="77"/>
                      <a:pt x="251" y="77"/>
                      <a:pt x="251" y="77"/>
                    </a:cubicBezTo>
                    <a:cubicBezTo>
                      <a:pt x="251" y="77"/>
                      <a:pt x="251" y="77"/>
                      <a:pt x="251" y="77"/>
                    </a:cubicBezTo>
                    <a:cubicBezTo>
                      <a:pt x="251" y="77"/>
                      <a:pt x="251"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5"/>
                      <a:pt x="252" y="75"/>
                    </a:cubicBezTo>
                    <a:cubicBezTo>
                      <a:pt x="252" y="75"/>
                      <a:pt x="252" y="75"/>
                      <a:pt x="252" y="75"/>
                    </a:cubicBezTo>
                    <a:close/>
                    <a:moveTo>
                      <a:pt x="246" y="85"/>
                    </a:moveTo>
                    <a:cubicBezTo>
                      <a:pt x="246" y="85"/>
                      <a:pt x="246" y="85"/>
                      <a:pt x="246" y="85"/>
                    </a:cubicBezTo>
                    <a:cubicBezTo>
                      <a:pt x="246" y="85"/>
                      <a:pt x="246" y="85"/>
                      <a:pt x="245" y="85"/>
                    </a:cubicBezTo>
                    <a:cubicBezTo>
                      <a:pt x="245" y="85"/>
                      <a:pt x="245" y="86"/>
                      <a:pt x="245" y="86"/>
                    </a:cubicBezTo>
                    <a:cubicBezTo>
                      <a:pt x="244" y="86"/>
                      <a:pt x="244" y="86"/>
                      <a:pt x="245" y="85"/>
                    </a:cubicBezTo>
                    <a:cubicBezTo>
                      <a:pt x="244" y="85"/>
                      <a:pt x="244" y="85"/>
                      <a:pt x="244" y="86"/>
                    </a:cubicBezTo>
                    <a:cubicBezTo>
                      <a:pt x="244" y="86"/>
                      <a:pt x="244" y="86"/>
                      <a:pt x="244" y="86"/>
                    </a:cubicBezTo>
                    <a:cubicBezTo>
                      <a:pt x="244" y="86"/>
                      <a:pt x="243" y="86"/>
                      <a:pt x="243" y="86"/>
                    </a:cubicBezTo>
                    <a:cubicBezTo>
                      <a:pt x="243" y="86"/>
                      <a:pt x="243" y="86"/>
                      <a:pt x="243" y="86"/>
                    </a:cubicBezTo>
                    <a:cubicBezTo>
                      <a:pt x="243" y="86"/>
                      <a:pt x="243" y="87"/>
                      <a:pt x="243" y="87"/>
                    </a:cubicBezTo>
                    <a:cubicBezTo>
                      <a:pt x="243" y="87"/>
                      <a:pt x="243" y="87"/>
                      <a:pt x="243" y="87"/>
                    </a:cubicBezTo>
                    <a:cubicBezTo>
                      <a:pt x="243" y="87"/>
                      <a:pt x="243" y="88"/>
                      <a:pt x="242" y="88"/>
                    </a:cubicBezTo>
                    <a:cubicBezTo>
                      <a:pt x="242" y="87"/>
                      <a:pt x="242" y="87"/>
                      <a:pt x="242" y="87"/>
                    </a:cubicBezTo>
                    <a:cubicBezTo>
                      <a:pt x="242" y="88"/>
                      <a:pt x="242" y="88"/>
                      <a:pt x="242" y="88"/>
                    </a:cubicBezTo>
                    <a:cubicBezTo>
                      <a:pt x="242" y="88"/>
                      <a:pt x="242" y="88"/>
                      <a:pt x="241" y="88"/>
                    </a:cubicBezTo>
                    <a:cubicBezTo>
                      <a:pt x="241" y="89"/>
                      <a:pt x="241" y="89"/>
                      <a:pt x="241" y="89"/>
                    </a:cubicBezTo>
                    <a:cubicBezTo>
                      <a:pt x="242" y="89"/>
                      <a:pt x="242" y="89"/>
                      <a:pt x="242" y="89"/>
                    </a:cubicBezTo>
                    <a:cubicBezTo>
                      <a:pt x="242" y="89"/>
                      <a:pt x="241" y="89"/>
                      <a:pt x="241" y="89"/>
                    </a:cubicBezTo>
                    <a:cubicBezTo>
                      <a:pt x="241" y="89"/>
                      <a:pt x="241" y="89"/>
                      <a:pt x="241" y="90"/>
                    </a:cubicBezTo>
                    <a:cubicBezTo>
                      <a:pt x="241" y="90"/>
                      <a:pt x="241" y="90"/>
                      <a:pt x="241" y="90"/>
                    </a:cubicBezTo>
                    <a:cubicBezTo>
                      <a:pt x="241" y="90"/>
                      <a:pt x="241" y="90"/>
                      <a:pt x="241" y="90"/>
                    </a:cubicBezTo>
                    <a:cubicBezTo>
                      <a:pt x="241" y="90"/>
                      <a:pt x="241" y="90"/>
                      <a:pt x="241" y="90"/>
                    </a:cubicBezTo>
                    <a:cubicBezTo>
                      <a:pt x="241" y="90"/>
                      <a:pt x="241" y="90"/>
                      <a:pt x="241" y="90"/>
                    </a:cubicBezTo>
                    <a:cubicBezTo>
                      <a:pt x="241" y="91"/>
                      <a:pt x="241" y="91"/>
                      <a:pt x="241" y="91"/>
                    </a:cubicBezTo>
                    <a:cubicBezTo>
                      <a:pt x="241" y="91"/>
                      <a:pt x="241" y="91"/>
                      <a:pt x="241" y="91"/>
                    </a:cubicBezTo>
                    <a:cubicBezTo>
                      <a:pt x="241" y="91"/>
                      <a:pt x="242" y="91"/>
                      <a:pt x="242" y="91"/>
                    </a:cubicBezTo>
                    <a:cubicBezTo>
                      <a:pt x="242" y="91"/>
                      <a:pt x="242" y="91"/>
                      <a:pt x="242" y="91"/>
                    </a:cubicBezTo>
                    <a:cubicBezTo>
                      <a:pt x="242" y="91"/>
                      <a:pt x="242" y="91"/>
                      <a:pt x="242" y="92"/>
                    </a:cubicBezTo>
                    <a:cubicBezTo>
                      <a:pt x="242" y="92"/>
                      <a:pt x="242" y="91"/>
                      <a:pt x="242" y="91"/>
                    </a:cubicBezTo>
                    <a:cubicBezTo>
                      <a:pt x="242" y="91"/>
                      <a:pt x="242" y="91"/>
                      <a:pt x="243" y="91"/>
                    </a:cubicBezTo>
                    <a:cubicBezTo>
                      <a:pt x="243" y="90"/>
                      <a:pt x="243" y="90"/>
                      <a:pt x="243" y="90"/>
                    </a:cubicBezTo>
                    <a:cubicBezTo>
                      <a:pt x="243" y="90"/>
                      <a:pt x="243" y="90"/>
                      <a:pt x="243" y="90"/>
                    </a:cubicBezTo>
                    <a:cubicBezTo>
                      <a:pt x="244" y="89"/>
                      <a:pt x="244" y="89"/>
                      <a:pt x="244" y="89"/>
                    </a:cubicBezTo>
                    <a:cubicBezTo>
                      <a:pt x="244" y="89"/>
                      <a:pt x="244" y="89"/>
                      <a:pt x="244" y="89"/>
                    </a:cubicBezTo>
                    <a:cubicBezTo>
                      <a:pt x="244" y="89"/>
                      <a:pt x="244" y="88"/>
                      <a:pt x="244" y="88"/>
                    </a:cubicBezTo>
                    <a:cubicBezTo>
                      <a:pt x="245" y="88"/>
                      <a:pt x="244" y="88"/>
                      <a:pt x="245" y="88"/>
                    </a:cubicBezTo>
                    <a:cubicBezTo>
                      <a:pt x="245" y="88"/>
                      <a:pt x="245" y="88"/>
                      <a:pt x="245" y="88"/>
                    </a:cubicBezTo>
                    <a:cubicBezTo>
                      <a:pt x="245" y="87"/>
                      <a:pt x="245" y="88"/>
                      <a:pt x="245" y="87"/>
                    </a:cubicBezTo>
                    <a:cubicBezTo>
                      <a:pt x="245" y="87"/>
                      <a:pt x="245" y="87"/>
                      <a:pt x="245" y="87"/>
                    </a:cubicBezTo>
                    <a:cubicBezTo>
                      <a:pt x="245" y="87"/>
                      <a:pt x="245" y="87"/>
                      <a:pt x="245" y="87"/>
                    </a:cubicBezTo>
                    <a:cubicBezTo>
                      <a:pt x="245" y="87"/>
                      <a:pt x="245" y="87"/>
                      <a:pt x="244" y="87"/>
                    </a:cubicBezTo>
                    <a:cubicBezTo>
                      <a:pt x="244" y="86"/>
                      <a:pt x="245" y="86"/>
                      <a:pt x="245" y="86"/>
                    </a:cubicBezTo>
                    <a:cubicBezTo>
                      <a:pt x="245" y="86"/>
                      <a:pt x="245" y="86"/>
                      <a:pt x="245" y="86"/>
                    </a:cubicBezTo>
                    <a:cubicBezTo>
                      <a:pt x="245" y="86"/>
                      <a:pt x="245" y="86"/>
                      <a:pt x="245" y="86"/>
                    </a:cubicBezTo>
                    <a:cubicBezTo>
                      <a:pt x="245" y="86"/>
                      <a:pt x="245" y="86"/>
                      <a:pt x="246" y="86"/>
                    </a:cubicBezTo>
                    <a:cubicBezTo>
                      <a:pt x="246" y="86"/>
                      <a:pt x="246" y="86"/>
                      <a:pt x="246" y="86"/>
                    </a:cubicBezTo>
                    <a:cubicBezTo>
                      <a:pt x="246" y="86"/>
                      <a:pt x="247" y="86"/>
                      <a:pt x="247" y="86"/>
                    </a:cubicBezTo>
                    <a:cubicBezTo>
                      <a:pt x="247" y="86"/>
                      <a:pt x="246" y="86"/>
                      <a:pt x="246" y="86"/>
                    </a:cubicBezTo>
                    <a:cubicBezTo>
                      <a:pt x="246" y="85"/>
                      <a:pt x="246" y="85"/>
                      <a:pt x="246" y="85"/>
                    </a:cubicBezTo>
                    <a:close/>
                    <a:moveTo>
                      <a:pt x="219" y="59"/>
                    </a:moveTo>
                    <a:cubicBezTo>
                      <a:pt x="218" y="59"/>
                      <a:pt x="218" y="59"/>
                      <a:pt x="218" y="59"/>
                    </a:cubicBezTo>
                    <a:cubicBezTo>
                      <a:pt x="218" y="59"/>
                      <a:pt x="218" y="59"/>
                      <a:pt x="218" y="59"/>
                    </a:cubicBezTo>
                    <a:cubicBezTo>
                      <a:pt x="218" y="59"/>
                      <a:pt x="218" y="59"/>
                      <a:pt x="218" y="59"/>
                    </a:cubicBezTo>
                    <a:cubicBezTo>
                      <a:pt x="218" y="59"/>
                      <a:pt x="219" y="59"/>
                      <a:pt x="219" y="59"/>
                    </a:cubicBezTo>
                    <a:cubicBezTo>
                      <a:pt x="219" y="59"/>
                      <a:pt x="219" y="59"/>
                      <a:pt x="219" y="59"/>
                    </a:cubicBezTo>
                    <a:cubicBezTo>
                      <a:pt x="219" y="59"/>
                      <a:pt x="219" y="59"/>
                      <a:pt x="219" y="59"/>
                    </a:cubicBezTo>
                    <a:cubicBezTo>
                      <a:pt x="219" y="59"/>
                      <a:pt x="219" y="58"/>
                      <a:pt x="219" y="59"/>
                    </a:cubicBezTo>
                    <a:close/>
                    <a:moveTo>
                      <a:pt x="66" y="76"/>
                    </a:moveTo>
                    <a:cubicBezTo>
                      <a:pt x="66" y="76"/>
                      <a:pt x="66" y="76"/>
                      <a:pt x="66" y="76"/>
                    </a:cubicBezTo>
                    <a:cubicBezTo>
                      <a:pt x="65" y="76"/>
                      <a:pt x="65" y="76"/>
                      <a:pt x="65" y="76"/>
                    </a:cubicBezTo>
                    <a:cubicBezTo>
                      <a:pt x="65" y="76"/>
                      <a:pt x="65" y="76"/>
                      <a:pt x="65" y="76"/>
                    </a:cubicBezTo>
                    <a:cubicBezTo>
                      <a:pt x="65" y="75"/>
                      <a:pt x="64" y="75"/>
                      <a:pt x="64" y="75"/>
                    </a:cubicBezTo>
                    <a:cubicBezTo>
                      <a:pt x="64" y="75"/>
                      <a:pt x="64" y="75"/>
                      <a:pt x="64" y="75"/>
                    </a:cubicBezTo>
                    <a:cubicBezTo>
                      <a:pt x="64" y="75"/>
                      <a:pt x="64" y="75"/>
                      <a:pt x="64" y="75"/>
                    </a:cubicBezTo>
                    <a:cubicBezTo>
                      <a:pt x="63" y="75"/>
                      <a:pt x="63" y="75"/>
                      <a:pt x="63" y="74"/>
                    </a:cubicBezTo>
                    <a:cubicBezTo>
                      <a:pt x="63" y="74"/>
                      <a:pt x="63" y="74"/>
                      <a:pt x="63" y="74"/>
                    </a:cubicBezTo>
                    <a:cubicBezTo>
                      <a:pt x="63" y="74"/>
                      <a:pt x="63" y="74"/>
                      <a:pt x="62" y="74"/>
                    </a:cubicBezTo>
                    <a:cubicBezTo>
                      <a:pt x="62" y="74"/>
                      <a:pt x="62" y="74"/>
                      <a:pt x="62" y="75"/>
                    </a:cubicBezTo>
                    <a:cubicBezTo>
                      <a:pt x="62" y="75"/>
                      <a:pt x="62" y="75"/>
                      <a:pt x="62" y="75"/>
                    </a:cubicBezTo>
                    <a:cubicBezTo>
                      <a:pt x="62" y="75"/>
                      <a:pt x="62" y="75"/>
                      <a:pt x="62" y="75"/>
                    </a:cubicBezTo>
                    <a:cubicBezTo>
                      <a:pt x="63" y="75"/>
                      <a:pt x="63" y="76"/>
                      <a:pt x="63" y="76"/>
                    </a:cubicBezTo>
                    <a:cubicBezTo>
                      <a:pt x="63" y="76"/>
                      <a:pt x="63" y="76"/>
                      <a:pt x="63" y="76"/>
                    </a:cubicBezTo>
                    <a:cubicBezTo>
                      <a:pt x="63" y="76"/>
                      <a:pt x="63" y="76"/>
                      <a:pt x="63" y="76"/>
                    </a:cubicBezTo>
                    <a:cubicBezTo>
                      <a:pt x="63" y="76"/>
                      <a:pt x="63" y="76"/>
                      <a:pt x="63" y="76"/>
                    </a:cubicBezTo>
                    <a:cubicBezTo>
                      <a:pt x="63" y="76"/>
                      <a:pt x="63" y="76"/>
                      <a:pt x="63" y="76"/>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2" y="77"/>
                      <a:pt x="62" y="77"/>
                    </a:cubicBezTo>
                    <a:cubicBezTo>
                      <a:pt x="62" y="77"/>
                      <a:pt x="62" y="76"/>
                      <a:pt x="62" y="76"/>
                    </a:cubicBezTo>
                    <a:cubicBezTo>
                      <a:pt x="62" y="76"/>
                      <a:pt x="61" y="76"/>
                      <a:pt x="61" y="76"/>
                    </a:cubicBezTo>
                    <a:cubicBezTo>
                      <a:pt x="61" y="76"/>
                      <a:pt x="61" y="76"/>
                      <a:pt x="61" y="76"/>
                    </a:cubicBezTo>
                    <a:cubicBezTo>
                      <a:pt x="61" y="76"/>
                      <a:pt x="61" y="75"/>
                      <a:pt x="61" y="75"/>
                    </a:cubicBezTo>
                    <a:cubicBezTo>
                      <a:pt x="61" y="75"/>
                      <a:pt x="61" y="75"/>
                      <a:pt x="61" y="75"/>
                    </a:cubicBezTo>
                    <a:cubicBezTo>
                      <a:pt x="61" y="75"/>
                      <a:pt x="61" y="75"/>
                      <a:pt x="61" y="75"/>
                    </a:cubicBezTo>
                    <a:cubicBezTo>
                      <a:pt x="61" y="75"/>
                      <a:pt x="61" y="75"/>
                      <a:pt x="61" y="75"/>
                    </a:cubicBezTo>
                    <a:cubicBezTo>
                      <a:pt x="61" y="75"/>
                      <a:pt x="61" y="75"/>
                      <a:pt x="60" y="75"/>
                    </a:cubicBezTo>
                    <a:cubicBezTo>
                      <a:pt x="60" y="75"/>
                      <a:pt x="60" y="74"/>
                      <a:pt x="60" y="74"/>
                    </a:cubicBezTo>
                    <a:cubicBezTo>
                      <a:pt x="60" y="74"/>
                      <a:pt x="60" y="74"/>
                      <a:pt x="59" y="74"/>
                    </a:cubicBezTo>
                    <a:cubicBezTo>
                      <a:pt x="59" y="74"/>
                      <a:pt x="59" y="74"/>
                      <a:pt x="59" y="74"/>
                    </a:cubicBezTo>
                    <a:cubicBezTo>
                      <a:pt x="59" y="74"/>
                      <a:pt x="59" y="73"/>
                      <a:pt x="59" y="73"/>
                    </a:cubicBezTo>
                    <a:cubicBezTo>
                      <a:pt x="59" y="73"/>
                      <a:pt x="59" y="73"/>
                      <a:pt x="59" y="73"/>
                    </a:cubicBezTo>
                    <a:cubicBezTo>
                      <a:pt x="59" y="73"/>
                      <a:pt x="58" y="73"/>
                      <a:pt x="58" y="73"/>
                    </a:cubicBezTo>
                    <a:cubicBezTo>
                      <a:pt x="58" y="72"/>
                      <a:pt x="58" y="72"/>
                      <a:pt x="58" y="72"/>
                    </a:cubicBezTo>
                    <a:cubicBezTo>
                      <a:pt x="58" y="72"/>
                      <a:pt x="58" y="72"/>
                      <a:pt x="58" y="72"/>
                    </a:cubicBezTo>
                    <a:cubicBezTo>
                      <a:pt x="58" y="72"/>
                      <a:pt x="58" y="72"/>
                      <a:pt x="58" y="72"/>
                    </a:cubicBezTo>
                    <a:cubicBezTo>
                      <a:pt x="58" y="72"/>
                      <a:pt x="58" y="72"/>
                      <a:pt x="58" y="72"/>
                    </a:cubicBezTo>
                    <a:cubicBezTo>
                      <a:pt x="58" y="72"/>
                      <a:pt x="57" y="71"/>
                      <a:pt x="57" y="71"/>
                    </a:cubicBezTo>
                    <a:cubicBezTo>
                      <a:pt x="57" y="71"/>
                      <a:pt x="57" y="71"/>
                      <a:pt x="57" y="71"/>
                    </a:cubicBezTo>
                    <a:cubicBezTo>
                      <a:pt x="57" y="71"/>
                      <a:pt x="57" y="71"/>
                      <a:pt x="57" y="71"/>
                    </a:cubicBezTo>
                    <a:cubicBezTo>
                      <a:pt x="57" y="71"/>
                      <a:pt x="57" y="71"/>
                      <a:pt x="57" y="71"/>
                    </a:cubicBezTo>
                    <a:cubicBezTo>
                      <a:pt x="56" y="71"/>
                      <a:pt x="56" y="71"/>
                      <a:pt x="56" y="71"/>
                    </a:cubicBezTo>
                    <a:cubicBezTo>
                      <a:pt x="56" y="71"/>
                      <a:pt x="56" y="71"/>
                      <a:pt x="56" y="71"/>
                    </a:cubicBezTo>
                    <a:cubicBezTo>
                      <a:pt x="56" y="71"/>
                      <a:pt x="56" y="71"/>
                      <a:pt x="56" y="71"/>
                    </a:cubicBezTo>
                    <a:cubicBezTo>
                      <a:pt x="56" y="71"/>
                      <a:pt x="56" y="71"/>
                      <a:pt x="56" y="70"/>
                    </a:cubicBezTo>
                    <a:cubicBezTo>
                      <a:pt x="56" y="70"/>
                      <a:pt x="56" y="70"/>
                      <a:pt x="56" y="70"/>
                    </a:cubicBezTo>
                    <a:cubicBezTo>
                      <a:pt x="56" y="70"/>
                      <a:pt x="56" y="70"/>
                      <a:pt x="56" y="70"/>
                    </a:cubicBezTo>
                    <a:cubicBezTo>
                      <a:pt x="56" y="70"/>
                      <a:pt x="56" y="70"/>
                      <a:pt x="56" y="70"/>
                    </a:cubicBezTo>
                    <a:cubicBezTo>
                      <a:pt x="56" y="70"/>
                      <a:pt x="55" y="70"/>
                      <a:pt x="55" y="70"/>
                    </a:cubicBezTo>
                    <a:cubicBezTo>
                      <a:pt x="55" y="70"/>
                      <a:pt x="55" y="70"/>
                      <a:pt x="55" y="70"/>
                    </a:cubicBezTo>
                    <a:cubicBezTo>
                      <a:pt x="55" y="70"/>
                      <a:pt x="55" y="70"/>
                      <a:pt x="55" y="70"/>
                    </a:cubicBezTo>
                    <a:cubicBezTo>
                      <a:pt x="55" y="70"/>
                      <a:pt x="54" y="70"/>
                      <a:pt x="54" y="70"/>
                    </a:cubicBezTo>
                    <a:cubicBezTo>
                      <a:pt x="54" y="70"/>
                      <a:pt x="54" y="70"/>
                      <a:pt x="54" y="70"/>
                    </a:cubicBezTo>
                    <a:cubicBezTo>
                      <a:pt x="54" y="70"/>
                      <a:pt x="54" y="69"/>
                      <a:pt x="54" y="69"/>
                    </a:cubicBezTo>
                    <a:cubicBezTo>
                      <a:pt x="54" y="69"/>
                      <a:pt x="54" y="69"/>
                      <a:pt x="54" y="69"/>
                    </a:cubicBezTo>
                    <a:cubicBezTo>
                      <a:pt x="54" y="69"/>
                      <a:pt x="53" y="68"/>
                      <a:pt x="53" y="68"/>
                    </a:cubicBezTo>
                    <a:cubicBezTo>
                      <a:pt x="53" y="68"/>
                      <a:pt x="52" y="68"/>
                      <a:pt x="52" y="68"/>
                    </a:cubicBezTo>
                    <a:cubicBezTo>
                      <a:pt x="52" y="68"/>
                      <a:pt x="52" y="68"/>
                      <a:pt x="52" y="68"/>
                    </a:cubicBezTo>
                    <a:cubicBezTo>
                      <a:pt x="52" y="68"/>
                      <a:pt x="52" y="68"/>
                      <a:pt x="51" y="68"/>
                    </a:cubicBezTo>
                    <a:cubicBezTo>
                      <a:pt x="51" y="68"/>
                      <a:pt x="51" y="67"/>
                      <a:pt x="51" y="67"/>
                    </a:cubicBezTo>
                    <a:cubicBezTo>
                      <a:pt x="51" y="67"/>
                      <a:pt x="51" y="67"/>
                      <a:pt x="51" y="67"/>
                    </a:cubicBezTo>
                    <a:cubicBezTo>
                      <a:pt x="51" y="67"/>
                      <a:pt x="50" y="67"/>
                      <a:pt x="50" y="66"/>
                    </a:cubicBezTo>
                    <a:cubicBezTo>
                      <a:pt x="50" y="66"/>
                      <a:pt x="50" y="66"/>
                      <a:pt x="50" y="66"/>
                    </a:cubicBezTo>
                    <a:cubicBezTo>
                      <a:pt x="50" y="66"/>
                      <a:pt x="49" y="66"/>
                      <a:pt x="49" y="66"/>
                    </a:cubicBezTo>
                    <a:cubicBezTo>
                      <a:pt x="49" y="65"/>
                      <a:pt x="49" y="65"/>
                      <a:pt x="49" y="65"/>
                    </a:cubicBezTo>
                    <a:cubicBezTo>
                      <a:pt x="49" y="65"/>
                      <a:pt x="48" y="65"/>
                      <a:pt x="48" y="65"/>
                    </a:cubicBezTo>
                    <a:cubicBezTo>
                      <a:pt x="48" y="64"/>
                      <a:pt x="47" y="64"/>
                      <a:pt x="47" y="64"/>
                    </a:cubicBezTo>
                    <a:cubicBezTo>
                      <a:pt x="47" y="64"/>
                      <a:pt x="47" y="64"/>
                      <a:pt x="47" y="64"/>
                    </a:cubicBezTo>
                    <a:cubicBezTo>
                      <a:pt x="47" y="64"/>
                      <a:pt x="47" y="64"/>
                      <a:pt x="47" y="64"/>
                    </a:cubicBezTo>
                    <a:cubicBezTo>
                      <a:pt x="47" y="64"/>
                      <a:pt x="47" y="64"/>
                      <a:pt x="47" y="64"/>
                    </a:cubicBezTo>
                    <a:cubicBezTo>
                      <a:pt x="47" y="63"/>
                      <a:pt x="47" y="63"/>
                      <a:pt x="47" y="63"/>
                    </a:cubicBezTo>
                    <a:cubicBezTo>
                      <a:pt x="47" y="63"/>
                      <a:pt x="47" y="63"/>
                      <a:pt x="47" y="63"/>
                    </a:cubicBezTo>
                    <a:cubicBezTo>
                      <a:pt x="47" y="63"/>
                      <a:pt x="47" y="63"/>
                      <a:pt x="47" y="63"/>
                    </a:cubicBezTo>
                    <a:cubicBezTo>
                      <a:pt x="47" y="62"/>
                      <a:pt x="47" y="62"/>
                      <a:pt x="47" y="62"/>
                    </a:cubicBezTo>
                    <a:cubicBezTo>
                      <a:pt x="47" y="62"/>
                      <a:pt x="46" y="62"/>
                      <a:pt x="46" y="62"/>
                    </a:cubicBezTo>
                    <a:cubicBezTo>
                      <a:pt x="46" y="62"/>
                      <a:pt x="46" y="61"/>
                      <a:pt x="46" y="61"/>
                    </a:cubicBezTo>
                    <a:cubicBezTo>
                      <a:pt x="46" y="61"/>
                      <a:pt x="45" y="61"/>
                      <a:pt x="45" y="61"/>
                    </a:cubicBezTo>
                    <a:cubicBezTo>
                      <a:pt x="45" y="61"/>
                      <a:pt x="44" y="60"/>
                      <a:pt x="44" y="60"/>
                    </a:cubicBezTo>
                    <a:cubicBezTo>
                      <a:pt x="44" y="60"/>
                      <a:pt x="44" y="60"/>
                      <a:pt x="44" y="60"/>
                    </a:cubicBezTo>
                    <a:cubicBezTo>
                      <a:pt x="44" y="60"/>
                      <a:pt x="43" y="59"/>
                      <a:pt x="43" y="59"/>
                    </a:cubicBezTo>
                    <a:cubicBezTo>
                      <a:pt x="43" y="59"/>
                      <a:pt x="42" y="59"/>
                      <a:pt x="42" y="59"/>
                    </a:cubicBezTo>
                    <a:cubicBezTo>
                      <a:pt x="42" y="59"/>
                      <a:pt x="42" y="58"/>
                      <a:pt x="42" y="58"/>
                    </a:cubicBezTo>
                    <a:cubicBezTo>
                      <a:pt x="42" y="58"/>
                      <a:pt x="42" y="58"/>
                      <a:pt x="42" y="58"/>
                    </a:cubicBezTo>
                    <a:cubicBezTo>
                      <a:pt x="42" y="58"/>
                      <a:pt x="41" y="57"/>
                      <a:pt x="41" y="57"/>
                    </a:cubicBezTo>
                    <a:cubicBezTo>
                      <a:pt x="41" y="57"/>
                      <a:pt x="41" y="57"/>
                      <a:pt x="41" y="56"/>
                    </a:cubicBezTo>
                    <a:cubicBezTo>
                      <a:pt x="41" y="56"/>
                      <a:pt x="41" y="56"/>
                      <a:pt x="41" y="56"/>
                    </a:cubicBezTo>
                    <a:cubicBezTo>
                      <a:pt x="41" y="56"/>
                      <a:pt x="41" y="56"/>
                      <a:pt x="40" y="56"/>
                    </a:cubicBezTo>
                    <a:cubicBezTo>
                      <a:pt x="40" y="55"/>
                      <a:pt x="40" y="55"/>
                      <a:pt x="39" y="55"/>
                    </a:cubicBezTo>
                    <a:cubicBezTo>
                      <a:pt x="39" y="55"/>
                      <a:pt x="39" y="55"/>
                      <a:pt x="39" y="54"/>
                    </a:cubicBezTo>
                    <a:cubicBezTo>
                      <a:pt x="39" y="54"/>
                      <a:pt x="38" y="54"/>
                      <a:pt x="38" y="54"/>
                    </a:cubicBezTo>
                    <a:cubicBezTo>
                      <a:pt x="38" y="54"/>
                      <a:pt x="38" y="53"/>
                      <a:pt x="38" y="53"/>
                    </a:cubicBezTo>
                    <a:cubicBezTo>
                      <a:pt x="38" y="53"/>
                      <a:pt x="38" y="53"/>
                      <a:pt x="38" y="53"/>
                    </a:cubicBezTo>
                    <a:cubicBezTo>
                      <a:pt x="38" y="53"/>
                      <a:pt x="38" y="52"/>
                      <a:pt x="38" y="52"/>
                    </a:cubicBezTo>
                    <a:cubicBezTo>
                      <a:pt x="38" y="52"/>
                      <a:pt x="37" y="52"/>
                      <a:pt x="37" y="52"/>
                    </a:cubicBezTo>
                    <a:cubicBezTo>
                      <a:pt x="38" y="52"/>
                      <a:pt x="38" y="52"/>
                      <a:pt x="38" y="52"/>
                    </a:cubicBezTo>
                    <a:cubicBezTo>
                      <a:pt x="38" y="52"/>
                      <a:pt x="38" y="52"/>
                      <a:pt x="38" y="52"/>
                    </a:cubicBezTo>
                    <a:cubicBezTo>
                      <a:pt x="38" y="51"/>
                      <a:pt x="38" y="51"/>
                      <a:pt x="38" y="51"/>
                    </a:cubicBezTo>
                    <a:cubicBezTo>
                      <a:pt x="38" y="51"/>
                      <a:pt x="38" y="51"/>
                      <a:pt x="38" y="51"/>
                    </a:cubicBezTo>
                    <a:cubicBezTo>
                      <a:pt x="38" y="51"/>
                      <a:pt x="38" y="50"/>
                      <a:pt x="38" y="50"/>
                    </a:cubicBezTo>
                    <a:cubicBezTo>
                      <a:pt x="38" y="50"/>
                      <a:pt x="37" y="50"/>
                      <a:pt x="37" y="49"/>
                    </a:cubicBezTo>
                    <a:cubicBezTo>
                      <a:pt x="37" y="49"/>
                      <a:pt x="36" y="49"/>
                      <a:pt x="36" y="48"/>
                    </a:cubicBezTo>
                    <a:cubicBezTo>
                      <a:pt x="36" y="48"/>
                      <a:pt x="36" y="48"/>
                      <a:pt x="36" y="48"/>
                    </a:cubicBezTo>
                    <a:cubicBezTo>
                      <a:pt x="36" y="48"/>
                      <a:pt x="36" y="47"/>
                      <a:pt x="36" y="47"/>
                    </a:cubicBezTo>
                    <a:cubicBezTo>
                      <a:pt x="36" y="47"/>
                      <a:pt x="36" y="47"/>
                      <a:pt x="36" y="47"/>
                    </a:cubicBezTo>
                    <a:cubicBezTo>
                      <a:pt x="36" y="47"/>
                      <a:pt x="36" y="46"/>
                      <a:pt x="36" y="46"/>
                    </a:cubicBezTo>
                    <a:cubicBezTo>
                      <a:pt x="35" y="46"/>
                      <a:pt x="35" y="46"/>
                      <a:pt x="35" y="46"/>
                    </a:cubicBezTo>
                    <a:cubicBezTo>
                      <a:pt x="35" y="46"/>
                      <a:pt x="35" y="46"/>
                      <a:pt x="35" y="46"/>
                    </a:cubicBezTo>
                    <a:cubicBezTo>
                      <a:pt x="35" y="46"/>
                      <a:pt x="35" y="46"/>
                      <a:pt x="35" y="46"/>
                    </a:cubicBezTo>
                    <a:cubicBezTo>
                      <a:pt x="35" y="46"/>
                      <a:pt x="35" y="45"/>
                      <a:pt x="35" y="45"/>
                    </a:cubicBezTo>
                    <a:cubicBezTo>
                      <a:pt x="35" y="45"/>
                      <a:pt x="34" y="45"/>
                      <a:pt x="35" y="45"/>
                    </a:cubicBezTo>
                    <a:cubicBezTo>
                      <a:pt x="35" y="45"/>
                      <a:pt x="34" y="45"/>
                      <a:pt x="34" y="45"/>
                    </a:cubicBezTo>
                    <a:cubicBezTo>
                      <a:pt x="35" y="45"/>
                      <a:pt x="35" y="45"/>
                      <a:pt x="35" y="45"/>
                    </a:cubicBezTo>
                    <a:cubicBezTo>
                      <a:pt x="35" y="45"/>
                      <a:pt x="35" y="45"/>
                      <a:pt x="35" y="45"/>
                    </a:cubicBezTo>
                    <a:cubicBezTo>
                      <a:pt x="35" y="44"/>
                      <a:pt x="35" y="44"/>
                      <a:pt x="35" y="44"/>
                    </a:cubicBezTo>
                    <a:cubicBezTo>
                      <a:pt x="34" y="44"/>
                      <a:pt x="34" y="44"/>
                      <a:pt x="34" y="44"/>
                    </a:cubicBezTo>
                    <a:cubicBezTo>
                      <a:pt x="34" y="44"/>
                      <a:pt x="34" y="44"/>
                      <a:pt x="34" y="43"/>
                    </a:cubicBezTo>
                    <a:cubicBezTo>
                      <a:pt x="34" y="43"/>
                      <a:pt x="34" y="43"/>
                      <a:pt x="34" y="43"/>
                    </a:cubicBezTo>
                    <a:cubicBezTo>
                      <a:pt x="34" y="43"/>
                      <a:pt x="33" y="42"/>
                      <a:pt x="33" y="42"/>
                    </a:cubicBezTo>
                    <a:cubicBezTo>
                      <a:pt x="33" y="42"/>
                      <a:pt x="33" y="42"/>
                      <a:pt x="33" y="41"/>
                    </a:cubicBezTo>
                    <a:cubicBezTo>
                      <a:pt x="32" y="41"/>
                      <a:pt x="32" y="41"/>
                      <a:pt x="32" y="41"/>
                    </a:cubicBezTo>
                    <a:cubicBezTo>
                      <a:pt x="32" y="40"/>
                      <a:pt x="31" y="40"/>
                      <a:pt x="31" y="40"/>
                    </a:cubicBezTo>
                    <a:cubicBezTo>
                      <a:pt x="31" y="40"/>
                      <a:pt x="31" y="40"/>
                      <a:pt x="31" y="40"/>
                    </a:cubicBezTo>
                    <a:cubicBezTo>
                      <a:pt x="31" y="40"/>
                      <a:pt x="31" y="39"/>
                      <a:pt x="31" y="39"/>
                    </a:cubicBezTo>
                    <a:cubicBezTo>
                      <a:pt x="31" y="39"/>
                      <a:pt x="30" y="39"/>
                      <a:pt x="30" y="39"/>
                    </a:cubicBezTo>
                    <a:cubicBezTo>
                      <a:pt x="30" y="39"/>
                      <a:pt x="31" y="39"/>
                      <a:pt x="30" y="38"/>
                    </a:cubicBezTo>
                    <a:cubicBezTo>
                      <a:pt x="30" y="38"/>
                      <a:pt x="30" y="38"/>
                      <a:pt x="30" y="38"/>
                    </a:cubicBezTo>
                    <a:cubicBezTo>
                      <a:pt x="30" y="38"/>
                      <a:pt x="29" y="37"/>
                      <a:pt x="29" y="37"/>
                    </a:cubicBezTo>
                    <a:cubicBezTo>
                      <a:pt x="29" y="37"/>
                      <a:pt x="29" y="37"/>
                      <a:pt x="29" y="37"/>
                    </a:cubicBezTo>
                    <a:cubicBezTo>
                      <a:pt x="28" y="37"/>
                      <a:pt x="28" y="37"/>
                      <a:pt x="28" y="37"/>
                    </a:cubicBezTo>
                    <a:cubicBezTo>
                      <a:pt x="28" y="36"/>
                      <a:pt x="28" y="36"/>
                      <a:pt x="28" y="36"/>
                    </a:cubicBezTo>
                    <a:cubicBezTo>
                      <a:pt x="28" y="36"/>
                      <a:pt x="27" y="36"/>
                      <a:pt x="27" y="36"/>
                    </a:cubicBezTo>
                    <a:cubicBezTo>
                      <a:pt x="27" y="36"/>
                      <a:pt x="27" y="36"/>
                      <a:pt x="27" y="36"/>
                    </a:cubicBezTo>
                    <a:cubicBezTo>
                      <a:pt x="27" y="36"/>
                      <a:pt x="27" y="36"/>
                      <a:pt x="26" y="36"/>
                    </a:cubicBezTo>
                    <a:cubicBezTo>
                      <a:pt x="26" y="36"/>
                      <a:pt x="26" y="36"/>
                      <a:pt x="26" y="36"/>
                    </a:cubicBezTo>
                    <a:cubicBezTo>
                      <a:pt x="26" y="36"/>
                      <a:pt x="26" y="35"/>
                      <a:pt x="26" y="35"/>
                    </a:cubicBezTo>
                    <a:cubicBezTo>
                      <a:pt x="26" y="35"/>
                      <a:pt x="26" y="35"/>
                      <a:pt x="26" y="35"/>
                    </a:cubicBezTo>
                    <a:cubicBezTo>
                      <a:pt x="26" y="35"/>
                      <a:pt x="26" y="34"/>
                      <a:pt x="26" y="34"/>
                    </a:cubicBezTo>
                    <a:cubicBezTo>
                      <a:pt x="26" y="34"/>
                      <a:pt x="26" y="34"/>
                      <a:pt x="26" y="34"/>
                    </a:cubicBezTo>
                    <a:cubicBezTo>
                      <a:pt x="26" y="34"/>
                      <a:pt x="26" y="34"/>
                      <a:pt x="26" y="34"/>
                    </a:cubicBezTo>
                    <a:cubicBezTo>
                      <a:pt x="26" y="33"/>
                      <a:pt x="26" y="33"/>
                      <a:pt x="26" y="33"/>
                    </a:cubicBezTo>
                    <a:cubicBezTo>
                      <a:pt x="26" y="33"/>
                      <a:pt x="26" y="33"/>
                      <a:pt x="26" y="33"/>
                    </a:cubicBezTo>
                    <a:cubicBezTo>
                      <a:pt x="26" y="33"/>
                      <a:pt x="26" y="33"/>
                      <a:pt x="26" y="32"/>
                    </a:cubicBezTo>
                    <a:cubicBezTo>
                      <a:pt x="26" y="32"/>
                      <a:pt x="26" y="32"/>
                      <a:pt x="25" y="32"/>
                    </a:cubicBezTo>
                    <a:cubicBezTo>
                      <a:pt x="25" y="32"/>
                      <a:pt x="25" y="32"/>
                      <a:pt x="25" y="32"/>
                    </a:cubicBezTo>
                    <a:cubicBezTo>
                      <a:pt x="25" y="32"/>
                      <a:pt x="25" y="31"/>
                      <a:pt x="25" y="31"/>
                    </a:cubicBezTo>
                    <a:cubicBezTo>
                      <a:pt x="25" y="31"/>
                      <a:pt x="25" y="31"/>
                      <a:pt x="25" y="30"/>
                    </a:cubicBezTo>
                    <a:cubicBezTo>
                      <a:pt x="25" y="30"/>
                      <a:pt x="25" y="30"/>
                      <a:pt x="25" y="30"/>
                    </a:cubicBezTo>
                    <a:cubicBezTo>
                      <a:pt x="25" y="30"/>
                      <a:pt x="24" y="30"/>
                      <a:pt x="24" y="29"/>
                    </a:cubicBezTo>
                    <a:cubicBezTo>
                      <a:pt x="24" y="29"/>
                      <a:pt x="24" y="29"/>
                      <a:pt x="24" y="29"/>
                    </a:cubicBezTo>
                    <a:cubicBezTo>
                      <a:pt x="24" y="29"/>
                      <a:pt x="24" y="28"/>
                      <a:pt x="24" y="28"/>
                    </a:cubicBezTo>
                    <a:cubicBezTo>
                      <a:pt x="24" y="28"/>
                      <a:pt x="24" y="28"/>
                      <a:pt x="24" y="28"/>
                    </a:cubicBezTo>
                    <a:cubicBezTo>
                      <a:pt x="24" y="28"/>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3" y="26"/>
                      <a:pt x="23" y="26"/>
                    </a:cubicBezTo>
                    <a:cubicBezTo>
                      <a:pt x="23" y="26"/>
                      <a:pt x="23" y="26"/>
                      <a:pt x="23" y="26"/>
                    </a:cubicBezTo>
                    <a:cubicBezTo>
                      <a:pt x="23" y="26"/>
                      <a:pt x="22" y="25"/>
                      <a:pt x="22" y="25"/>
                    </a:cubicBezTo>
                    <a:cubicBezTo>
                      <a:pt x="22" y="25"/>
                      <a:pt x="22" y="25"/>
                      <a:pt x="22" y="25"/>
                    </a:cubicBezTo>
                    <a:cubicBezTo>
                      <a:pt x="22" y="25"/>
                      <a:pt x="22" y="25"/>
                      <a:pt x="22" y="24"/>
                    </a:cubicBezTo>
                    <a:cubicBezTo>
                      <a:pt x="22" y="24"/>
                      <a:pt x="22" y="24"/>
                      <a:pt x="21" y="24"/>
                    </a:cubicBezTo>
                    <a:cubicBezTo>
                      <a:pt x="21" y="24"/>
                      <a:pt x="21" y="24"/>
                      <a:pt x="21" y="24"/>
                    </a:cubicBezTo>
                    <a:cubicBezTo>
                      <a:pt x="21" y="24"/>
                      <a:pt x="21" y="24"/>
                      <a:pt x="21" y="24"/>
                    </a:cubicBezTo>
                    <a:cubicBezTo>
                      <a:pt x="21" y="24"/>
                      <a:pt x="21" y="24"/>
                      <a:pt x="21" y="24"/>
                    </a:cubicBezTo>
                    <a:cubicBezTo>
                      <a:pt x="20" y="24"/>
                      <a:pt x="20" y="24"/>
                      <a:pt x="20" y="24"/>
                    </a:cubicBezTo>
                    <a:cubicBezTo>
                      <a:pt x="20" y="24"/>
                      <a:pt x="20" y="23"/>
                      <a:pt x="20" y="23"/>
                    </a:cubicBezTo>
                    <a:cubicBezTo>
                      <a:pt x="20" y="23"/>
                      <a:pt x="20" y="23"/>
                      <a:pt x="20" y="23"/>
                    </a:cubicBezTo>
                    <a:cubicBezTo>
                      <a:pt x="19" y="23"/>
                      <a:pt x="19" y="23"/>
                      <a:pt x="19" y="23"/>
                    </a:cubicBezTo>
                    <a:cubicBezTo>
                      <a:pt x="19" y="23"/>
                      <a:pt x="19" y="23"/>
                      <a:pt x="18" y="23"/>
                    </a:cubicBezTo>
                    <a:cubicBezTo>
                      <a:pt x="18" y="23"/>
                      <a:pt x="18" y="23"/>
                      <a:pt x="18" y="23"/>
                    </a:cubicBezTo>
                    <a:cubicBezTo>
                      <a:pt x="18" y="23"/>
                      <a:pt x="18" y="23"/>
                      <a:pt x="18" y="23"/>
                    </a:cubicBezTo>
                    <a:cubicBezTo>
                      <a:pt x="18" y="23"/>
                      <a:pt x="18" y="23"/>
                      <a:pt x="18" y="23"/>
                    </a:cubicBezTo>
                    <a:cubicBezTo>
                      <a:pt x="18" y="23"/>
                      <a:pt x="18" y="23"/>
                      <a:pt x="17" y="23"/>
                    </a:cubicBezTo>
                    <a:cubicBezTo>
                      <a:pt x="17" y="23"/>
                      <a:pt x="17" y="23"/>
                      <a:pt x="17" y="23"/>
                    </a:cubicBezTo>
                    <a:cubicBezTo>
                      <a:pt x="17" y="22"/>
                      <a:pt x="17" y="22"/>
                      <a:pt x="17" y="22"/>
                    </a:cubicBezTo>
                    <a:cubicBezTo>
                      <a:pt x="17" y="22"/>
                      <a:pt x="16" y="22"/>
                      <a:pt x="16" y="22"/>
                    </a:cubicBezTo>
                    <a:cubicBezTo>
                      <a:pt x="16" y="22"/>
                      <a:pt x="16" y="21"/>
                      <a:pt x="16" y="21"/>
                    </a:cubicBezTo>
                    <a:cubicBezTo>
                      <a:pt x="16" y="21"/>
                      <a:pt x="16" y="20"/>
                      <a:pt x="16" y="20"/>
                    </a:cubicBezTo>
                    <a:cubicBezTo>
                      <a:pt x="16" y="20"/>
                      <a:pt x="16" y="19"/>
                      <a:pt x="16" y="19"/>
                    </a:cubicBezTo>
                    <a:cubicBezTo>
                      <a:pt x="16" y="19"/>
                      <a:pt x="16" y="19"/>
                      <a:pt x="16" y="19"/>
                    </a:cubicBezTo>
                    <a:cubicBezTo>
                      <a:pt x="16" y="18"/>
                      <a:pt x="16" y="18"/>
                      <a:pt x="16" y="18"/>
                    </a:cubicBezTo>
                    <a:cubicBezTo>
                      <a:pt x="16" y="18"/>
                      <a:pt x="16" y="19"/>
                      <a:pt x="15" y="18"/>
                    </a:cubicBezTo>
                    <a:cubicBezTo>
                      <a:pt x="15" y="18"/>
                      <a:pt x="16" y="18"/>
                      <a:pt x="15" y="18"/>
                    </a:cubicBezTo>
                    <a:cubicBezTo>
                      <a:pt x="15" y="18"/>
                      <a:pt x="15" y="18"/>
                      <a:pt x="15" y="18"/>
                    </a:cubicBezTo>
                    <a:cubicBezTo>
                      <a:pt x="15" y="18"/>
                      <a:pt x="14" y="18"/>
                      <a:pt x="14" y="18"/>
                    </a:cubicBezTo>
                    <a:cubicBezTo>
                      <a:pt x="14" y="17"/>
                      <a:pt x="14" y="17"/>
                      <a:pt x="14" y="17"/>
                    </a:cubicBezTo>
                    <a:cubicBezTo>
                      <a:pt x="14" y="17"/>
                      <a:pt x="14" y="17"/>
                      <a:pt x="14" y="17"/>
                    </a:cubicBezTo>
                    <a:cubicBezTo>
                      <a:pt x="14" y="16"/>
                      <a:pt x="14" y="16"/>
                      <a:pt x="13" y="16"/>
                    </a:cubicBezTo>
                    <a:cubicBezTo>
                      <a:pt x="13" y="16"/>
                      <a:pt x="13" y="16"/>
                      <a:pt x="13" y="16"/>
                    </a:cubicBezTo>
                    <a:cubicBezTo>
                      <a:pt x="13" y="16"/>
                      <a:pt x="13" y="15"/>
                      <a:pt x="13" y="15"/>
                    </a:cubicBezTo>
                    <a:cubicBezTo>
                      <a:pt x="13" y="15"/>
                      <a:pt x="12" y="15"/>
                      <a:pt x="12" y="15"/>
                    </a:cubicBezTo>
                    <a:cubicBezTo>
                      <a:pt x="12" y="15"/>
                      <a:pt x="12" y="14"/>
                      <a:pt x="12" y="14"/>
                    </a:cubicBezTo>
                    <a:cubicBezTo>
                      <a:pt x="12" y="14"/>
                      <a:pt x="12" y="14"/>
                      <a:pt x="12" y="14"/>
                    </a:cubicBezTo>
                    <a:cubicBezTo>
                      <a:pt x="12" y="14"/>
                      <a:pt x="12" y="14"/>
                      <a:pt x="11" y="13"/>
                    </a:cubicBezTo>
                    <a:cubicBezTo>
                      <a:pt x="11" y="13"/>
                      <a:pt x="11" y="13"/>
                      <a:pt x="11" y="13"/>
                    </a:cubicBezTo>
                    <a:cubicBezTo>
                      <a:pt x="11" y="13"/>
                      <a:pt x="11" y="13"/>
                      <a:pt x="11" y="13"/>
                    </a:cubicBezTo>
                    <a:cubicBezTo>
                      <a:pt x="11" y="13"/>
                      <a:pt x="10" y="13"/>
                      <a:pt x="10" y="13"/>
                    </a:cubicBezTo>
                    <a:cubicBezTo>
                      <a:pt x="10" y="13"/>
                      <a:pt x="9" y="13"/>
                      <a:pt x="9" y="13"/>
                    </a:cubicBezTo>
                    <a:cubicBezTo>
                      <a:pt x="9" y="13"/>
                      <a:pt x="9" y="13"/>
                      <a:pt x="8" y="13"/>
                    </a:cubicBezTo>
                    <a:cubicBezTo>
                      <a:pt x="8" y="12"/>
                      <a:pt x="8" y="12"/>
                      <a:pt x="8" y="12"/>
                    </a:cubicBezTo>
                    <a:cubicBezTo>
                      <a:pt x="8" y="12"/>
                      <a:pt x="8" y="12"/>
                      <a:pt x="8" y="12"/>
                    </a:cubicBezTo>
                    <a:cubicBezTo>
                      <a:pt x="8" y="12"/>
                      <a:pt x="7" y="10"/>
                      <a:pt x="7" y="10"/>
                    </a:cubicBezTo>
                    <a:cubicBezTo>
                      <a:pt x="6" y="10"/>
                      <a:pt x="6" y="10"/>
                      <a:pt x="6" y="10"/>
                    </a:cubicBezTo>
                    <a:cubicBezTo>
                      <a:pt x="6" y="10"/>
                      <a:pt x="5" y="9"/>
                      <a:pt x="5" y="9"/>
                    </a:cubicBezTo>
                    <a:cubicBezTo>
                      <a:pt x="5" y="9"/>
                      <a:pt x="4" y="8"/>
                      <a:pt x="4" y="8"/>
                    </a:cubicBezTo>
                    <a:cubicBezTo>
                      <a:pt x="3" y="7"/>
                      <a:pt x="3" y="7"/>
                      <a:pt x="3" y="7"/>
                    </a:cubicBezTo>
                    <a:cubicBezTo>
                      <a:pt x="2" y="6"/>
                      <a:pt x="2" y="6"/>
                      <a:pt x="2" y="6"/>
                    </a:cubicBezTo>
                    <a:cubicBezTo>
                      <a:pt x="1" y="5"/>
                      <a:pt x="1" y="5"/>
                      <a:pt x="1" y="5"/>
                    </a:cubicBezTo>
                    <a:cubicBezTo>
                      <a:pt x="1" y="5"/>
                      <a:pt x="1" y="4"/>
                      <a:pt x="1" y="4"/>
                    </a:cubicBezTo>
                    <a:cubicBezTo>
                      <a:pt x="1" y="4"/>
                      <a:pt x="1" y="4"/>
                      <a:pt x="1" y="4"/>
                    </a:cubicBezTo>
                    <a:cubicBezTo>
                      <a:pt x="1" y="4"/>
                      <a:pt x="1" y="3"/>
                      <a:pt x="1" y="3"/>
                    </a:cubicBezTo>
                    <a:cubicBezTo>
                      <a:pt x="1" y="3"/>
                      <a:pt x="0" y="2"/>
                      <a:pt x="0" y="2"/>
                    </a:cubicBezTo>
                    <a:cubicBezTo>
                      <a:pt x="0" y="2"/>
                      <a:pt x="0" y="2"/>
                      <a:pt x="0" y="2"/>
                    </a:cubicBezTo>
                    <a:cubicBezTo>
                      <a:pt x="0" y="2"/>
                      <a:pt x="0" y="1"/>
                      <a:pt x="0" y="1"/>
                    </a:cubicBezTo>
                    <a:cubicBezTo>
                      <a:pt x="0" y="1"/>
                      <a:pt x="0" y="1"/>
                      <a:pt x="0" y="1"/>
                    </a:cubicBezTo>
                    <a:cubicBezTo>
                      <a:pt x="0" y="1"/>
                      <a:pt x="0" y="1"/>
                      <a:pt x="0" y="1"/>
                    </a:cubicBezTo>
                    <a:cubicBezTo>
                      <a:pt x="1" y="1"/>
                      <a:pt x="1" y="1"/>
                      <a:pt x="1" y="1"/>
                    </a:cubicBezTo>
                    <a:cubicBezTo>
                      <a:pt x="1" y="1"/>
                      <a:pt x="1" y="0"/>
                      <a:pt x="1" y="0"/>
                    </a:cubicBezTo>
                    <a:cubicBezTo>
                      <a:pt x="1" y="0"/>
                      <a:pt x="2" y="0"/>
                      <a:pt x="2" y="0"/>
                    </a:cubicBezTo>
                    <a:cubicBezTo>
                      <a:pt x="2" y="0"/>
                      <a:pt x="2" y="0"/>
                      <a:pt x="2" y="0"/>
                    </a:cubicBezTo>
                    <a:cubicBezTo>
                      <a:pt x="2" y="0"/>
                      <a:pt x="2" y="0"/>
                      <a:pt x="3" y="0"/>
                    </a:cubicBezTo>
                    <a:cubicBezTo>
                      <a:pt x="3" y="0"/>
                      <a:pt x="3" y="0"/>
                      <a:pt x="3" y="0"/>
                    </a:cubicBezTo>
                    <a:cubicBezTo>
                      <a:pt x="4" y="1"/>
                      <a:pt x="4" y="1"/>
                      <a:pt x="4" y="1"/>
                    </a:cubicBezTo>
                    <a:cubicBezTo>
                      <a:pt x="4" y="1"/>
                      <a:pt x="5" y="1"/>
                      <a:pt x="5" y="1"/>
                    </a:cubicBezTo>
                    <a:cubicBezTo>
                      <a:pt x="5" y="2"/>
                      <a:pt x="5" y="2"/>
                      <a:pt x="5" y="2"/>
                    </a:cubicBezTo>
                    <a:cubicBezTo>
                      <a:pt x="5" y="2"/>
                      <a:pt x="6" y="3"/>
                      <a:pt x="6" y="3"/>
                    </a:cubicBezTo>
                    <a:cubicBezTo>
                      <a:pt x="6" y="3"/>
                      <a:pt x="7" y="3"/>
                      <a:pt x="7" y="3"/>
                    </a:cubicBezTo>
                    <a:cubicBezTo>
                      <a:pt x="7" y="3"/>
                      <a:pt x="7" y="3"/>
                      <a:pt x="7" y="3"/>
                    </a:cubicBezTo>
                    <a:cubicBezTo>
                      <a:pt x="8" y="3"/>
                      <a:pt x="8" y="3"/>
                      <a:pt x="8" y="3"/>
                    </a:cubicBezTo>
                    <a:cubicBezTo>
                      <a:pt x="8" y="3"/>
                      <a:pt x="8" y="3"/>
                      <a:pt x="8" y="3"/>
                    </a:cubicBezTo>
                    <a:cubicBezTo>
                      <a:pt x="9" y="3"/>
                      <a:pt x="9" y="3"/>
                      <a:pt x="9" y="3"/>
                    </a:cubicBezTo>
                    <a:cubicBezTo>
                      <a:pt x="9" y="3"/>
                      <a:pt x="10" y="3"/>
                      <a:pt x="10" y="3"/>
                    </a:cubicBezTo>
                    <a:cubicBezTo>
                      <a:pt x="10" y="3"/>
                      <a:pt x="10"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3" y="3"/>
                      <a:pt x="13" y="3"/>
                    </a:cubicBezTo>
                    <a:cubicBezTo>
                      <a:pt x="13" y="3"/>
                      <a:pt x="13" y="3"/>
                      <a:pt x="13" y="3"/>
                    </a:cubicBezTo>
                    <a:cubicBezTo>
                      <a:pt x="13" y="3"/>
                      <a:pt x="13" y="3"/>
                      <a:pt x="14" y="3"/>
                    </a:cubicBezTo>
                    <a:cubicBezTo>
                      <a:pt x="14" y="3"/>
                      <a:pt x="14" y="3"/>
                      <a:pt x="15" y="3"/>
                    </a:cubicBezTo>
                    <a:cubicBezTo>
                      <a:pt x="15" y="3"/>
                      <a:pt x="15"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8" y="5"/>
                      <a:pt x="18" y="5"/>
                      <a:pt x="18" y="5"/>
                    </a:cubicBezTo>
                    <a:cubicBezTo>
                      <a:pt x="18" y="5"/>
                      <a:pt x="18" y="5"/>
                      <a:pt x="18" y="5"/>
                    </a:cubicBezTo>
                    <a:cubicBezTo>
                      <a:pt x="18" y="5"/>
                      <a:pt x="18" y="5"/>
                      <a:pt x="18" y="5"/>
                    </a:cubicBezTo>
                    <a:cubicBezTo>
                      <a:pt x="18" y="5"/>
                      <a:pt x="18" y="6"/>
                      <a:pt x="18" y="6"/>
                    </a:cubicBezTo>
                    <a:cubicBezTo>
                      <a:pt x="18" y="6"/>
                      <a:pt x="18" y="6"/>
                      <a:pt x="18" y="6"/>
                    </a:cubicBezTo>
                    <a:cubicBezTo>
                      <a:pt x="18" y="7"/>
                      <a:pt x="18" y="7"/>
                      <a:pt x="18" y="7"/>
                    </a:cubicBezTo>
                    <a:cubicBezTo>
                      <a:pt x="19" y="7"/>
                      <a:pt x="19" y="7"/>
                      <a:pt x="19" y="7"/>
                    </a:cubicBezTo>
                    <a:cubicBezTo>
                      <a:pt x="19" y="7"/>
                      <a:pt x="19" y="7"/>
                      <a:pt x="19" y="7"/>
                    </a:cubicBezTo>
                    <a:cubicBezTo>
                      <a:pt x="19" y="7"/>
                      <a:pt x="19" y="8"/>
                      <a:pt x="19" y="8"/>
                    </a:cubicBezTo>
                    <a:cubicBezTo>
                      <a:pt x="19" y="8"/>
                      <a:pt x="19" y="7"/>
                      <a:pt x="19" y="8"/>
                    </a:cubicBezTo>
                    <a:cubicBezTo>
                      <a:pt x="19" y="8"/>
                      <a:pt x="19" y="8"/>
                      <a:pt x="19" y="8"/>
                    </a:cubicBezTo>
                    <a:cubicBezTo>
                      <a:pt x="19" y="8"/>
                      <a:pt x="19" y="8"/>
                      <a:pt x="19" y="8"/>
                    </a:cubicBezTo>
                    <a:cubicBezTo>
                      <a:pt x="19" y="8"/>
                      <a:pt x="20" y="8"/>
                      <a:pt x="20" y="8"/>
                    </a:cubicBezTo>
                    <a:cubicBezTo>
                      <a:pt x="20" y="8"/>
                      <a:pt x="20" y="8"/>
                      <a:pt x="20" y="8"/>
                    </a:cubicBezTo>
                    <a:cubicBezTo>
                      <a:pt x="20" y="8"/>
                      <a:pt x="20" y="8"/>
                      <a:pt x="21" y="8"/>
                    </a:cubicBezTo>
                    <a:cubicBezTo>
                      <a:pt x="21" y="8"/>
                      <a:pt x="21" y="9"/>
                      <a:pt x="21" y="9"/>
                    </a:cubicBezTo>
                    <a:cubicBezTo>
                      <a:pt x="20" y="9"/>
                      <a:pt x="20" y="9"/>
                      <a:pt x="20" y="9"/>
                    </a:cubicBezTo>
                    <a:cubicBezTo>
                      <a:pt x="20" y="9"/>
                      <a:pt x="20" y="9"/>
                      <a:pt x="20" y="9"/>
                    </a:cubicBezTo>
                    <a:cubicBezTo>
                      <a:pt x="20" y="9"/>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1" y="10"/>
                    </a:cubicBezTo>
                    <a:cubicBezTo>
                      <a:pt x="21" y="11"/>
                      <a:pt x="21" y="11"/>
                      <a:pt x="21" y="11"/>
                    </a:cubicBezTo>
                    <a:cubicBezTo>
                      <a:pt x="21" y="11"/>
                      <a:pt x="21" y="11"/>
                      <a:pt x="21" y="11"/>
                    </a:cubicBezTo>
                    <a:cubicBezTo>
                      <a:pt x="21" y="11"/>
                      <a:pt x="22" y="11"/>
                      <a:pt x="22" y="11"/>
                    </a:cubicBezTo>
                    <a:cubicBezTo>
                      <a:pt x="22" y="11"/>
                      <a:pt x="22" y="11"/>
                      <a:pt x="22" y="11"/>
                    </a:cubicBezTo>
                    <a:cubicBezTo>
                      <a:pt x="22" y="11"/>
                      <a:pt x="22" y="11"/>
                      <a:pt x="22" y="11"/>
                    </a:cubicBezTo>
                    <a:cubicBezTo>
                      <a:pt x="22" y="11"/>
                      <a:pt x="22" y="11"/>
                      <a:pt x="22" y="11"/>
                    </a:cubicBezTo>
                    <a:cubicBezTo>
                      <a:pt x="22" y="11"/>
                      <a:pt x="23" y="12"/>
                      <a:pt x="23" y="12"/>
                    </a:cubicBezTo>
                    <a:cubicBezTo>
                      <a:pt x="23" y="12"/>
                      <a:pt x="23" y="12"/>
                      <a:pt x="23" y="12"/>
                    </a:cubicBezTo>
                    <a:cubicBezTo>
                      <a:pt x="23" y="12"/>
                      <a:pt x="23" y="12"/>
                      <a:pt x="23" y="12"/>
                    </a:cubicBezTo>
                    <a:cubicBezTo>
                      <a:pt x="23" y="12"/>
                      <a:pt x="24" y="12"/>
                      <a:pt x="23" y="12"/>
                    </a:cubicBezTo>
                    <a:cubicBezTo>
                      <a:pt x="23" y="12"/>
                      <a:pt x="23" y="12"/>
                      <a:pt x="23" y="12"/>
                    </a:cubicBezTo>
                    <a:cubicBezTo>
                      <a:pt x="23" y="13"/>
                      <a:pt x="23" y="13"/>
                      <a:pt x="23" y="13"/>
                    </a:cubicBezTo>
                    <a:cubicBezTo>
                      <a:pt x="23" y="13"/>
                      <a:pt x="23" y="13"/>
                      <a:pt x="23" y="13"/>
                    </a:cubicBezTo>
                    <a:cubicBezTo>
                      <a:pt x="24" y="13"/>
                      <a:pt x="24" y="13"/>
                      <a:pt x="24" y="13"/>
                    </a:cubicBezTo>
                    <a:cubicBezTo>
                      <a:pt x="24" y="13"/>
                      <a:pt x="24" y="13"/>
                      <a:pt x="24" y="13"/>
                    </a:cubicBezTo>
                    <a:cubicBezTo>
                      <a:pt x="24" y="13"/>
                      <a:pt x="25" y="13"/>
                      <a:pt x="25" y="13"/>
                    </a:cubicBezTo>
                    <a:cubicBezTo>
                      <a:pt x="25" y="13"/>
                      <a:pt x="26" y="14"/>
                      <a:pt x="26" y="14"/>
                    </a:cubicBezTo>
                    <a:cubicBezTo>
                      <a:pt x="26" y="14"/>
                      <a:pt x="26" y="14"/>
                      <a:pt x="26" y="14"/>
                    </a:cubicBezTo>
                    <a:cubicBezTo>
                      <a:pt x="27" y="14"/>
                      <a:pt x="27" y="14"/>
                      <a:pt x="27" y="14"/>
                    </a:cubicBezTo>
                    <a:cubicBezTo>
                      <a:pt x="27" y="15"/>
                      <a:pt x="27" y="15"/>
                      <a:pt x="27" y="15"/>
                    </a:cubicBezTo>
                    <a:cubicBezTo>
                      <a:pt x="28" y="15"/>
                      <a:pt x="28" y="15"/>
                      <a:pt x="28" y="15"/>
                    </a:cubicBezTo>
                    <a:cubicBezTo>
                      <a:pt x="28" y="15"/>
                      <a:pt x="28" y="15"/>
                      <a:pt x="29" y="16"/>
                    </a:cubicBezTo>
                    <a:cubicBezTo>
                      <a:pt x="29" y="16"/>
                      <a:pt x="29" y="16"/>
                      <a:pt x="29" y="16"/>
                    </a:cubicBezTo>
                    <a:cubicBezTo>
                      <a:pt x="29" y="16"/>
                      <a:pt x="29" y="16"/>
                      <a:pt x="30" y="16"/>
                    </a:cubicBezTo>
                    <a:cubicBezTo>
                      <a:pt x="30" y="16"/>
                      <a:pt x="30" y="16"/>
                      <a:pt x="30" y="16"/>
                    </a:cubicBezTo>
                    <a:cubicBezTo>
                      <a:pt x="30" y="16"/>
                      <a:pt x="30" y="17"/>
                      <a:pt x="31" y="17"/>
                    </a:cubicBezTo>
                    <a:cubicBezTo>
                      <a:pt x="31" y="17"/>
                      <a:pt x="31" y="17"/>
                      <a:pt x="31" y="17"/>
                    </a:cubicBezTo>
                    <a:cubicBezTo>
                      <a:pt x="31" y="18"/>
                      <a:pt x="31" y="18"/>
                      <a:pt x="31" y="18"/>
                    </a:cubicBezTo>
                    <a:cubicBezTo>
                      <a:pt x="31" y="17"/>
                      <a:pt x="31" y="17"/>
                      <a:pt x="31" y="17"/>
                    </a:cubicBezTo>
                    <a:cubicBezTo>
                      <a:pt x="31" y="17"/>
                      <a:pt x="31" y="18"/>
                      <a:pt x="31" y="18"/>
                    </a:cubicBezTo>
                    <a:cubicBezTo>
                      <a:pt x="32" y="18"/>
                      <a:pt x="32" y="18"/>
                      <a:pt x="32" y="18"/>
                    </a:cubicBezTo>
                    <a:cubicBezTo>
                      <a:pt x="32" y="19"/>
                      <a:pt x="32" y="19"/>
                      <a:pt x="32" y="19"/>
                    </a:cubicBezTo>
                    <a:cubicBezTo>
                      <a:pt x="32" y="19"/>
                      <a:pt x="32" y="19"/>
                      <a:pt x="32" y="19"/>
                    </a:cubicBezTo>
                    <a:cubicBezTo>
                      <a:pt x="32" y="20"/>
                      <a:pt x="33" y="20"/>
                      <a:pt x="33" y="20"/>
                    </a:cubicBezTo>
                    <a:cubicBezTo>
                      <a:pt x="33" y="20"/>
                      <a:pt x="33" y="20"/>
                      <a:pt x="33" y="20"/>
                    </a:cubicBezTo>
                    <a:cubicBezTo>
                      <a:pt x="33" y="20"/>
                      <a:pt x="33" y="20"/>
                      <a:pt x="33" y="20"/>
                    </a:cubicBezTo>
                    <a:cubicBezTo>
                      <a:pt x="33" y="21"/>
                      <a:pt x="33" y="21"/>
                      <a:pt x="33" y="21"/>
                    </a:cubicBezTo>
                    <a:cubicBezTo>
                      <a:pt x="33" y="21"/>
                      <a:pt x="33" y="21"/>
                      <a:pt x="33" y="21"/>
                    </a:cubicBezTo>
                    <a:cubicBezTo>
                      <a:pt x="33" y="21"/>
                      <a:pt x="33" y="21"/>
                      <a:pt x="33" y="21"/>
                    </a:cubicBezTo>
                    <a:cubicBezTo>
                      <a:pt x="33" y="21"/>
                      <a:pt x="33" y="21"/>
                      <a:pt x="33" y="20"/>
                    </a:cubicBezTo>
                    <a:cubicBezTo>
                      <a:pt x="33" y="20"/>
                      <a:pt x="33" y="20"/>
                      <a:pt x="33" y="20"/>
                    </a:cubicBezTo>
                    <a:cubicBezTo>
                      <a:pt x="33" y="20"/>
                      <a:pt x="33" y="20"/>
                      <a:pt x="33" y="20"/>
                    </a:cubicBezTo>
                    <a:cubicBezTo>
                      <a:pt x="33" y="20"/>
                      <a:pt x="33" y="20"/>
                      <a:pt x="33" y="20"/>
                    </a:cubicBezTo>
                    <a:cubicBezTo>
                      <a:pt x="33" y="20"/>
                      <a:pt x="34" y="20"/>
                      <a:pt x="34" y="20"/>
                    </a:cubicBezTo>
                    <a:cubicBezTo>
                      <a:pt x="34" y="20"/>
                      <a:pt x="34" y="20"/>
                      <a:pt x="34" y="20"/>
                    </a:cubicBezTo>
                    <a:cubicBezTo>
                      <a:pt x="34" y="20"/>
                      <a:pt x="34" y="20"/>
                      <a:pt x="34" y="20"/>
                    </a:cubicBezTo>
                    <a:cubicBezTo>
                      <a:pt x="34" y="21"/>
                      <a:pt x="34" y="21"/>
                      <a:pt x="34" y="21"/>
                    </a:cubicBezTo>
                    <a:cubicBezTo>
                      <a:pt x="34" y="21"/>
                      <a:pt x="34" y="21"/>
                      <a:pt x="34" y="21"/>
                    </a:cubicBezTo>
                    <a:cubicBezTo>
                      <a:pt x="34" y="21"/>
                      <a:pt x="34" y="21"/>
                      <a:pt x="34" y="21"/>
                    </a:cubicBezTo>
                    <a:cubicBezTo>
                      <a:pt x="34" y="22"/>
                      <a:pt x="34" y="22"/>
                      <a:pt x="35" y="22"/>
                    </a:cubicBezTo>
                    <a:cubicBezTo>
                      <a:pt x="35" y="22"/>
                      <a:pt x="35" y="23"/>
                      <a:pt x="35" y="23"/>
                    </a:cubicBezTo>
                    <a:cubicBezTo>
                      <a:pt x="35" y="23"/>
                      <a:pt x="36" y="23"/>
                      <a:pt x="36" y="23"/>
                    </a:cubicBezTo>
                    <a:cubicBezTo>
                      <a:pt x="36" y="23"/>
                      <a:pt x="36" y="24"/>
                      <a:pt x="36" y="24"/>
                    </a:cubicBezTo>
                    <a:cubicBezTo>
                      <a:pt x="36" y="24"/>
                      <a:pt x="37" y="24"/>
                      <a:pt x="37" y="24"/>
                    </a:cubicBezTo>
                    <a:cubicBezTo>
                      <a:pt x="37" y="24"/>
                      <a:pt x="38" y="24"/>
                      <a:pt x="38" y="24"/>
                    </a:cubicBezTo>
                    <a:cubicBezTo>
                      <a:pt x="38" y="24"/>
                      <a:pt x="38" y="25"/>
                      <a:pt x="38" y="25"/>
                    </a:cubicBezTo>
                    <a:cubicBezTo>
                      <a:pt x="38" y="25"/>
                      <a:pt x="38" y="25"/>
                      <a:pt x="38" y="25"/>
                    </a:cubicBezTo>
                    <a:cubicBezTo>
                      <a:pt x="38" y="25"/>
                      <a:pt x="38" y="25"/>
                      <a:pt x="38" y="25"/>
                    </a:cubicBezTo>
                    <a:cubicBezTo>
                      <a:pt x="38" y="25"/>
                      <a:pt x="38" y="25"/>
                      <a:pt x="38" y="26"/>
                    </a:cubicBezTo>
                    <a:cubicBezTo>
                      <a:pt x="38" y="26"/>
                      <a:pt x="38" y="26"/>
                      <a:pt x="38" y="26"/>
                    </a:cubicBezTo>
                    <a:cubicBezTo>
                      <a:pt x="38" y="26"/>
                      <a:pt x="38" y="26"/>
                      <a:pt x="38" y="26"/>
                    </a:cubicBezTo>
                    <a:cubicBezTo>
                      <a:pt x="38" y="26"/>
                      <a:pt x="38" y="25"/>
                      <a:pt x="38" y="25"/>
                    </a:cubicBezTo>
                    <a:cubicBezTo>
                      <a:pt x="38" y="25"/>
                      <a:pt x="38" y="25"/>
                      <a:pt x="38" y="25"/>
                    </a:cubicBezTo>
                    <a:cubicBezTo>
                      <a:pt x="38" y="25"/>
                      <a:pt x="38" y="24"/>
                      <a:pt x="38" y="24"/>
                    </a:cubicBezTo>
                    <a:cubicBezTo>
                      <a:pt x="38" y="24"/>
                      <a:pt x="38" y="24"/>
                      <a:pt x="38" y="24"/>
                    </a:cubicBezTo>
                    <a:cubicBezTo>
                      <a:pt x="38" y="24"/>
                      <a:pt x="37" y="24"/>
                      <a:pt x="37" y="23"/>
                    </a:cubicBezTo>
                    <a:cubicBezTo>
                      <a:pt x="37" y="23"/>
                      <a:pt x="37" y="23"/>
                      <a:pt x="37" y="23"/>
                    </a:cubicBezTo>
                    <a:cubicBezTo>
                      <a:pt x="37" y="23"/>
                      <a:pt x="37" y="23"/>
                      <a:pt x="37" y="23"/>
                    </a:cubicBezTo>
                    <a:cubicBezTo>
                      <a:pt x="37" y="23"/>
                      <a:pt x="37" y="23"/>
                      <a:pt x="37" y="23"/>
                    </a:cubicBezTo>
                    <a:cubicBezTo>
                      <a:pt x="37" y="23"/>
                      <a:pt x="37" y="23"/>
                      <a:pt x="37" y="23"/>
                    </a:cubicBezTo>
                    <a:cubicBezTo>
                      <a:pt x="37" y="23"/>
                      <a:pt x="38" y="23"/>
                      <a:pt x="38" y="22"/>
                    </a:cubicBezTo>
                    <a:cubicBezTo>
                      <a:pt x="38" y="22"/>
                      <a:pt x="38" y="22"/>
                      <a:pt x="38" y="22"/>
                    </a:cubicBezTo>
                    <a:cubicBezTo>
                      <a:pt x="38" y="22"/>
                      <a:pt x="38" y="22"/>
                      <a:pt x="39" y="22"/>
                    </a:cubicBezTo>
                    <a:cubicBezTo>
                      <a:pt x="39" y="22"/>
                      <a:pt x="39" y="22"/>
                      <a:pt x="39" y="23"/>
                    </a:cubicBezTo>
                    <a:cubicBezTo>
                      <a:pt x="39" y="23"/>
                      <a:pt x="39" y="23"/>
                      <a:pt x="39" y="23"/>
                    </a:cubicBezTo>
                    <a:cubicBezTo>
                      <a:pt x="39" y="23"/>
                      <a:pt x="39" y="23"/>
                      <a:pt x="40" y="23"/>
                    </a:cubicBezTo>
                    <a:cubicBezTo>
                      <a:pt x="40" y="24"/>
                      <a:pt x="40" y="24"/>
                      <a:pt x="40" y="24"/>
                    </a:cubicBezTo>
                    <a:cubicBezTo>
                      <a:pt x="41" y="24"/>
                      <a:pt x="41" y="24"/>
                      <a:pt x="41" y="24"/>
                    </a:cubicBezTo>
                    <a:cubicBezTo>
                      <a:pt x="41" y="24"/>
                      <a:pt x="41" y="25"/>
                      <a:pt x="41" y="25"/>
                    </a:cubicBezTo>
                    <a:cubicBezTo>
                      <a:pt x="41" y="25"/>
                      <a:pt x="41" y="25"/>
                      <a:pt x="41" y="25"/>
                    </a:cubicBezTo>
                    <a:cubicBezTo>
                      <a:pt x="41" y="25"/>
                      <a:pt x="41" y="26"/>
                      <a:pt x="41" y="26"/>
                    </a:cubicBezTo>
                    <a:cubicBezTo>
                      <a:pt x="41" y="26"/>
                      <a:pt x="41" y="26"/>
                      <a:pt x="41" y="26"/>
                    </a:cubicBezTo>
                    <a:cubicBezTo>
                      <a:pt x="42" y="27"/>
                      <a:pt x="42" y="27"/>
                      <a:pt x="42" y="27"/>
                    </a:cubicBezTo>
                    <a:cubicBezTo>
                      <a:pt x="42" y="27"/>
                      <a:pt x="42" y="27"/>
                      <a:pt x="42" y="27"/>
                    </a:cubicBezTo>
                    <a:cubicBezTo>
                      <a:pt x="42" y="27"/>
                      <a:pt x="43" y="27"/>
                      <a:pt x="43" y="27"/>
                    </a:cubicBezTo>
                    <a:cubicBezTo>
                      <a:pt x="43" y="27"/>
                      <a:pt x="43" y="27"/>
                      <a:pt x="43" y="27"/>
                    </a:cubicBezTo>
                    <a:cubicBezTo>
                      <a:pt x="43" y="27"/>
                      <a:pt x="44" y="27"/>
                      <a:pt x="44" y="27"/>
                    </a:cubicBezTo>
                    <a:cubicBezTo>
                      <a:pt x="44" y="27"/>
                      <a:pt x="45" y="27"/>
                      <a:pt x="45" y="28"/>
                    </a:cubicBezTo>
                    <a:cubicBezTo>
                      <a:pt x="45" y="28"/>
                      <a:pt x="45" y="28"/>
                      <a:pt x="46" y="28"/>
                    </a:cubicBezTo>
                    <a:cubicBezTo>
                      <a:pt x="46" y="28"/>
                      <a:pt x="46" y="29"/>
                      <a:pt x="46" y="29"/>
                    </a:cubicBezTo>
                    <a:cubicBezTo>
                      <a:pt x="46" y="29"/>
                      <a:pt x="46" y="29"/>
                      <a:pt x="46" y="29"/>
                    </a:cubicBezTo>
                    <a:cubicBezTo>
                      <a:pt x="46" y="29"/>
                      <a:pt x="46" y="29"/>
                      <a:pt x="46" y="29"/>
                    </a:cubicBezTo>
                    <a:cubicBezTo>
                      <a:pt x="46" y="29"/>
                      <a:pt x="46" y="30"/>
                      <a:pt x="46" y="30"/>
                    </a:cubicBezTo>
                    <a:cubicBezTo>
                      <a:pt x="46" y="30"/>
                      <a:pt x="46" y="30"/>
                      <a:pt x="46" y="30"/>
                    </a:cubicBezTo>
                    <a:cubicBezTo>
                      <a:pt x="46" y="30"/>
                      <a:pt x="46" y="30"/>
                      <a:pt x="46" y="30"/>
                    </a:cubicBezTo>
                    <a:cubicBezTo>
                      <a:pt x="46" y="30"/>
                      <a:pt x="46" y="30"/>
                      <a:pt x="46" y="30"/>
                    </a:cubicBezTo>
                    <a:cubicBezTo>
                      <a:pt x="46" y="30"/>
                      <a:pt x="47" y="30"/>
                      <a:pt x="47" y="30"/>
                    </a:cubicBezTo>
                    <a:cubicBezTo>
                      <a:pt x="47" y="30"/>
                      <a:pt x="47" y="30"/>
                      <a:pt x="47" y="30"/>
                    </a:cubicBezTo>
                    <a:cubicBezTo>
                      <a:pt x="47" y="30"/>
                      <a:pt x="47" y="30"/>
                      <a:pt x="47" y="30"/>
                    </a:cubicBezTo>
                    <a:cubicBezTo>
                      <a:pt x="47" y="30"/>
                      <a:pt x="47" y="30"/>
                      <a:pt x="47" y="31"/>
                    </a:cubicBezTo>
                    <a:cubicBezTo>
                      <a:pt x="47" y="31"/>
                      <a:pt x="47" y="31"/>
                      <a:pt x="47" y="31"/>
                    </a:cubicBezTo>
                    <a:cubicBezTo>
                      <a:pt x="47" y="31"/>
                      <a:pt x="48" y="32"/>
                      <a:pt x="48" y="32"/>
                    </a:cubicBezTo>
                    <a:cubicBezTo>
                      <a:pt x="48" y="32"/>
                      <a:pt x="48" y="32"/>
                      <a:pt x="48" y="32"/>
                    </a:cubicBezTo>
                    <a:cubicBezTo>
                      <a:pt x="48" y="32"/>
                      <a:pt x="48" y="32"/>
                      <a:pt x="48" y="33"/>
                    </a:cubicBezTo>
                    <a:cubicBezTo>
                      <a:pt x="48" y="33"/>
                      <a:pt x="49" y="33"/>
                      <a:pt x="49" y="33"/>
                    </a:cubicBezTo>
                    <a:cubicBezTo>
                      <a:pt x="49" y="33"/>
                      <a:pt x="50" y="33"/>
                      <a:pt x="50" y="33"/>
                    </a:cubicBezTo>
                    <a:cubicBezTo>
                      <a:pt x="50" y="33"/>
                      <a:pt x="50" y="33"/>
                      <a:pt x="50" y="33"/>
                    </a:cubicBezTo>
                    <a:cubicBezTo>
                      <a:pt x="50" y="33"/>
                      <a:pt x="51" y="33"/>
                      <a:pt x="51" y="33"/>
                    </a:cubicBezTo>
                    <a:cubicBezTo>
                      <a:pt x="51" y="33"/>
                      <a:pt x="51" y="33"/>
                      <a:pt x="51" y="33"/>
                    </a:cubicBezTo>
                    <a:cubicBezTo>
                      <a:pt x="51" y="33"/>
                      <a:pt x="52" y="33"/>
                      <a:pt x="52" y="33"/>
                    </a:cubicBezTo>
                    <a:cubicBezTo>
                      <a:pt x="52" y="34"/>
                      <a:pt x="52" y="34"/>
                      <a:pt x="52" y="34"/>
                    </a:cubicBezTo>
                    <a:cubicBezTo>
                      <a:pt x="52" y="34"/>
                      <a:pt x="53" y="34"/>
                      <a:pt x="53" y="34"/>
                    </a:cubicBezTo>
                    <a:cubicBezTo>
                      <a:pt x="53" y="35"/>
                      <a:pt x="53" y="35"/>
                      <a:pt x="53" y="35"/>
                    </a:cubicBezTo>
                    <a:cubicBezTo>
                      <a:pt x="53" y="35"/>
                      <a:pt x="52" y="35"/>
                      <a:pt x="51" y="35"/>
                    </a:cubicBezTo>
                    <a:cubicBezTo>
                      <a:pt x="51" y="35"/>
                      <a:pt x="51" y="36"/>
                      <a:pt x="50" y="36"/>
                    </a:cubicBezTo>
                    <a:cubicBezTo>
                      <a:pt x="50" y="36"/>
                      <a:pt x="50" y="36"/>
                      <a:pt x="50" y="36"/>
                    </a:cubicBezTo>
                    <a:cubicBezTo>
                      <a:pt x="50" y="36"/>
                      <a:pt x="50" y="36"/>
                      <a:pt x="49" y="36"/>
                    </a:cubicBezTo>
                    <a:cubicBezTo>
                      <a:pt x="49" y="36"/>
                      <a:pt x="49" y="36"/>
                      <a:pt x="49" y="36"/>
                    </a:cubicBezTo>
                    <a:cubicBezTo>
                      <a:pt x="49" y="36"/>
                      <a:pt x="49" y="36"/>
                      <a:pt x="49" y="36"/>
                    </a:cubicBezTo>
                    <a:cubicBezTo>
                      <a:pt x="49" y="36"/>
                      <a:pt x="49" y="36"/>
                      <a:pt x="49" y="36"/>
                    </a:cubicBezTo>
                    <a:cubicBezTo>
                      <a:pt x="49" y="37"/>
                      <a:pt x="49" y="37"/>
                      <a:pt x="49" y="37"/>
                    </a:cubicBezTo>
                    <a:cubicBezTo>
                      <a:pt x="49" y="37"/>
                      <a:pt x="50" y="36"/>
                      <a:pt x="50" y="36"/>
                    </a:cubicBezTo>
                    <a:cubicBezTo>
                      <a:pt x="50" y="36"/>
                      <a:pt x="50" y="36"/>
                      <a:pt x="50" y="36"/>
                    </a:cubicBezTo>
                    <a:cubicBezTo>
                      <a:pt x="51" y="36"/>
                      <a:pt x="51" y="36"/>
                      <a:pt x="51" y="36"/>
                    </a:cubicBezTo>
                    <a:cubicBezTo>
                      <a:pt x="51" y="36"/>
                      <a:pt x="51" y="36"/>
                      <a:pt x="52" y="36"/>
                    </a:cubicBezTo>
                    <a:cubicBezTo>
                      <a:pt x="52" y="36"/>
                      <a:pt x="53" y="35"/>
                      <a:pt x="53" y="35"/>
                    </a:cubicBezTo>
                    <a:cubicBezTo>
                      <a:pt x="53" y="35"/>
                      <a:pt x="53" y="35"/>
                      <a:pt x="53" y="35"/>
                    </a:cubicBezTo>
                    <a:cubicBezTo>
                      <a:pt x="53" y="35"/>
                      <a:pt x="53" y="35"/>
                      <a:pt x="53" y="35"/>
                    </a:cubicBezTo>
                    <a:cubicBezTo>
                      <a:pt x="53" y="34"/>
                      <a:pt x="53" y="34"/>
                      <a:pt x="54" y="34"/>
                    </a:cubicBezTo>
                    <a:cubicBezTo>
                      <a:pt x="54" y="34"/>
                      <a:pt x="54" y="34"/>
                      <a:pt x="54" y="34"/>
                    </a:cubicBezTo>
                    <a:cubicBezTo>
                      <a:pt x="54" y="34"/>
                      <a:pt x="55" y="34"/>
                      <a:pt x="55" y="34"/>
                    </a:cubicBezTo>
                    <a:cubicBezTo>
                      <a:pt x="55" y="34"/>
                      <a:pt x="55" y="35"/>
                      <a:pt x="55" y="35"/>
                    </a:cubicBezTo>
                    <a:cubicBezTo>
                      <a:pt x="55" y="35"/>
                      <a:pt x="56" y="35"/>
                      <a:pt x="56" y="35"/>
                    </a:cubicBezTo>
                    <a:cubicBezTo>
                      <a:pt x="56" y="35"/>
                      <a:pt x="56" y="35"/>
                      <a:pt x="56" y="35"/>
                    </a:cubicBezTo>
                    <a:cubicBezTo>
                      <a:pt x="56" y="35"/>
                      <a:pt x="56" y="35"/>
                      <a:pt x="56" y="35"/>
                    </a:cubicBezTo>
                    <a:cubicBezTo>
                      <a:pt x="56" y="35"/>
                      <a:pt x="57" y="35"/>
                      <a:pt x="57" y="36"/>
                    </a:cubicBezTo>
                    <a:cubicBezTo>
                      <a:pt x="57" y="36"/>
                      <a:pt x="57" y="36"/>
                      <a:pt x="57" y="36"/>
                    </a:cubicBezTo>
                    <a:cubicBezTo>
                      <a:pt x="57" y="37"/>
                      <a:pt x="57" y="37"/>
                      <a:pt x="57" y="37"/>
                    </a:cubicBezTo>
                    <a:cubicBezTo>
                      <a:pt x="57" y="37"/>
                      <a:pt x="57" y="37"/>
                      <a:pt x="57" y="37"/>
                    </a:cubicBezTo>
                    <a:cubicBezTo>
                      <a:pt x="57" y="38"/>
                      <a:pt x="57" y="38"/>
                      <a:pt x="57" y="38"/>
                    </a:cubicBezTo>
                    <a:cubicBezTo>
                      <a:pt x="57" y="38"/>
                      <a:pt x="57" y="38"/>
                      <a:pt x="57" y="38"/>
                    </a:cubicBezTo>
                    <a:cubicBezTo>
                      <a:pt x="57" y="38"/>
                      <a:pt x="57" y="38"/>
                      <a:pt x="57"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5" y="38"/>
                      <a:pt x="55" y="38"/>
                    </a:cubicBezTo>
                    <a:cubicBezTo>
                      <a:pt x="55" y="38"/>
                      <a:pt x="55" y="38"/>
                      <a:pt x="55" y="38"/>
                    </a:cubicBezTo>
                    <a:cubicBezTo>
                      <a:pt x="55" y="39"/>
                      <a:pt x="55" y="39"/>
                      <a:pt x="55" y="39"/>
                    </a:cubicBezTo>
                    <a:cubicBezTo>
                      <a:pt x="55" y="39"/>
                      <a:pt x="55" y="39"/>
                      <a:pt x="55" y="39"/>
                    </a:cubicBezTo>
                    <a:cubicBezTo>
                      <a:pt x="55" y="39"/>
                      <a:pt x="55" y="39"/>
                      <a:pt x="55" y="39"/>
                    </a:cubicBezTo>
                    <a:cubicBezTo>
                      <a:pt x="54" y="39"/>
                      <a:pt x="54" y="39"/>
                      <a:pt x="54" y="39"/>
                    </a:cubicBezTo>
                    <a:cubicBezTo>
                      <a:pt x="54" y="39"/>
                      <a:pt x="54" y="39"/>
                      <a:pt x="54" y="39"/>
                    </a:cubicBezTo>
                    <a:cubicBezTo>
                      <a:pt x="54" y="39"/>
                      <a:pt x="54" y="39"/>
                      <a:pt x="54" y="39"/>
                    </a:cubicBezTo>
                    <a:cubicBezTo>
                      <a:pt x="54" y="40"/>
                      <a:pt x="54" y="40"/>
                      <a:pt x="54" y="40"/>
                    </a:cubicBezTo>
                    <a:cubicBezTo>
                      <a:pt x="54" y="40"/>
                      <a:pt x="54" y="40"/>
                      <a:pt x="54" y="40"/>
                    </a:cubicBezTo>
                    <a:cubicBezTo>
                      <a:pt x="54" y="40"/>
                      <a:pt x="54" y="40"/>
                      <a:pt x="54" y="40"/>
                    </a:cubicBezTo>
                    <a:cubicBezTo>
                      <a:pt x="54" y="40"/>
                      <a:pt x="54" y="41"/>
                      <a:pt x="54" y="41"/>
                    </a:cubicBezTo>
                    <a:cubicBezTo>
                      <a:pt x="54" y="41"/>
                      <a:pt x="54" y="41"/>
                      <a:pt x="54" y="41"/>
                    </a:cubicBezTo>
                    <a:cubicBezTo>
                      <a:pt x="54" y="41"/>
                      <a:pt x="54" y="41"/>
                      <a:pt x="54" y="41"/>
                    </a:cubicBezTo>
                    <a:cubicBezTo>
                      <a:pt x="54" y="41"/>
                      <a:pt x="55" y="41"/>
                      <a:pt x="55" y="41"/>
                    </a:cubicBezTo>
                    <a:cubicBezTo>
                      <a:pt x="55" y="41"/>
                      <a:pt x="55" y="41"/>
                      <a:pt x="55" y="41"/>
                    </a:cubicBezTo>
                    <a:cubicBezTo>
                      <a:pt x="55" y="41"/>
                      <a:pt x="55" y="42"/>
                      <a:pt x="55" y="42"/>
                    </a:cubicBezTo>
                    <a:cubicBezTo>
                      <a:pt x="55" y="42"/>
                      <a:pt x="55" y="42"/>
                      <a:pt x="55" y="42"/>
                    </a:cubicBezTo>
                    <a:cubicBezTo>
                      <a:pt x="55" y="42"/>
                      <a:pt x="55" y="42"/>
                      <a:pt x="55" y="42"/>
                    </a:cubicBezTo>
                    <a:cubicBezTo>
                      <a:pt x="55" y="42"/>
                      <a:pt x="54" y="42"/>
                      <a:pt x="54" y="42"/>
                    </a:cubicBezTo>
                    <a:cubicBezTo>
                      <a:pt x="54" y="42"/>
                      <a:pt x="55" y="42"/>
                      <a:pt x="55" y="42"/>
                    </a:cubicBezTo>
                    <a:cubicBezTo>
                      <a:pt x="55" y="43"/>
                      <a:pt x="55" y="43"/>
                      <a:pt x="55" y="43"/>
                    </a:cubicBezTo>
                    <a:cubicBezTo>
                      <a:pt x="55" y="43"/>
                      <a:pt x="55" y="43"/>
                      <a:pt x="55" y="43"/>
                    </a:cubicBezTo>
                    <a:cubicBezTo>
                      <a:pt x="55" y="43"/>
                      <a:pt x="55" y="43"/>
                      <a:pt x="55" y="43"/>
                    </a:cubicBezTo>
                    <a:cubicBezTo>
                      <a:pt x="55" y="43"/>
                      <a:pt x="55" y="43"/>
                      <a:pt x="55" y="43"/>
                    </a:cubicBezTo>
                    <a:cubicBezTo>
                      <a:pt x="55" y="43"/>
                      <a:pt x="56" y="43"/>
                      <a:pt x="56" y="43"/>
                    </a:cubicBezTo>
                    <a:cubicBezTo>
                      <a:pt x="56" y="43"/>
                      <a:pt x="56" y="43"/>
                      <a:pt x="56" y="44"/>
                    </a:cubicBezTo>
                    <a:cubicBezTo>
                      <a:pt x="56" y="44"/>
                      <a:pt x="56" y="43"/>
                      <a:pt x="56" y="44"/>
                    </a:cubicBezTo>
                    <a:cubicBezTo>
                      <a:pt x="56" y="44"/>
                      <a:pt x="57" y="44"/>
                      <a:pt x="57" y="44"/>
                    </a:cubicBezTo>
                    <a:cubicBezTo>
                      <a:pt x="57" y="44"/>
                      <a:pt x="57" y="44"/>
                      <a:pt x="57" y="44"/>
                    </a:cubicBezTo>
                    <a:cubicBezTo>
                      <a:pt x="57" y="44"/>
                      <a:pt x="57" y="44"/>
                      <a:pt x="57" y="44"/>
                    </a:cubicBezTo>
                    <a:cubicBezTo>
                      <a:pt x="57" y="44"/>
                      <a:pt x="57" y="45"/>
                      <a:pt x="57" y="45"/>
                    </a:cubicBezTo>
                    <a:cubicBezTo>
                      <a:pt x="57" y="45"/>
                      <a:pt x="58" y="45"/>
                      <a:pt x="58" y="45"/>
                    </a:cubicBezTo>
                    <a:cubicBezTo>
                      <a:pt x="58" y="45"/>
                      <a:pt x="58" y="45"/>
                      <a:pt x="58" y="44"/>
                    </a:cubicBezTo>
                    <a:cubicBezTo>
                      <a:pt x="58" y="44"/>
                      <a:pt x="58" y="44"/>
                      <a:pt x="58" y="44"/>
                    </a:cubicBezTo>
                    <a:cubicBezTo>
                      <a:pt x="58" y="44"/>
                      <a:pt x="58" y="44"/>
                      <a:pt x="58" y="44"/>
                    </a:cubicBezTo>
                    <a:cubicBezTo>
                      <a:pt x="58" y="44"/>
                      <a:pt x="59" y="44"/>
                      <a:pt x="59" y="44"/>
                    </a:cubicBezTo>
                    <a:cubicBezTo>
                      <a:pt x="59" y="44"/>
                      <a:pt x="59" y="44"/>
                      <a:pt x="59" y="45"/>
                    </a:cubicBezTo>
                    <a:cubicBezTo>
                      <a:pt x="59" y="45"/>
                      <a:pt x="60" y="45"/>
                      <a:pt x="60" y="45"/>
                    </a:cubicBezTo>
                    <a:cubicBezTo>
                      <a:pt x="60" y="45"/>
                      <a:pt x="60" y="45"/>
                      <a:pt x="60" y="45"/>
                    </a:cubicBezTo>
                    <a:cubicBezTo>
                      <a:pt x="60" y="45"/>
                      <a:pt x="60" y="45"/>
                      <a:pt x="60" y="45"/>
                    </a:cubicBezTo>
                    <a:cubicBezTo>
                      <a:pt x="60" y="45"/>
                      <a:pt x="60" y="45"/>
                      <a:pt x="60" y="45"/>
                    </a:cubicBezTo>
                    <a:cubicBezTo>
                      <a:pt x="60" y="45"/>
                      <a:pt x="60" y="45"/>
                      <a:pt x="60" y="45"/>
                    </a:cubicBezTo>
                    <a:cubicBezTo>
                      <a:pt x="61" y="45"/>
                      <a:pt x="61" y="44"/>
                      <a:pt x="61" y="44"/>
                    </a:cubicBezTo>
                    <a:cubicBezTo>
                      <a:pt x="61" y="44"/>
                      <a:pt x="61" y="44"/>
                      <a:pt x="61" y="44"/>
                    </a:cubicBezTo>
                    <a:cubicBezTo>
                      <a:pt x="61" y="45"/>
                      <a:pt x="61" y="45"/>
                      <a:pt x="61" y="45"/>
                    </a:cubicBezTo>
                    <a:cubicBezTo>
                      <a:pt x="61" y="45"/>
                      <a:pt x="61" y="45"/>
                      <a:pt x="61" y="46"/>
                    </a:cubicBezTo>
                    <a:cubicBezTo>
                      <a:pt x="61" y="46"/>
                      <a:pt x="61" y="46"/>
                      <a:pt x="61" y="46"/>
                    </a:cubicBezTo>
                    <a:cubicBezTo>
                      <a:pt x="61" y="46"/>
                      <a:pt x="62" y="46"/>
                      <a:pt x="62" y="46"/>
                    </a:cubicBezTo>
                    <a:cubicBezTo>
                      <a:pt x="62" y="47"/>
                      <a:pt x="62" y="47"/>
                      <a:pt x="62" y="47"/>
                    </a:cubicBezTo>
                    <a:cubicBezTo>
                      <a:pt x="62" y="47"/>
                      <a:pt x="62" y="47"/>
                      <a:pt x="62" y="47"/>
                    </a:cubicBezTo>
                    <a:cubicBezTo>
                      <a:pt x="62" y="47"/>
                      <a:pt x="62" y="48"/>
                      <a:pt x="62" y="48"/>
                    </a:cubicBezTo>
                    <a:cubicBezTo>
                      <a:pt x="62" y="48"/>
                      <a:pt x="62" y="48"/>
                      <a:pt x="62" y="48"/>
                    </a:cubicBezTo>
                    <a:cubicBezTo>
                      <a:pt x="62" y="48"/>
                      <a:pt x="62" y="48"/>
                      <a:pt x="62" y="48"/>
                    </a:cubicBezTo>
                    <a:cubicBezTo>
                      <a:pt x="61" y="48"/>
                      <a:pt x="61" y="48"/>
                      <a:pt x="61" y="48"/>
                    </a:cubicBezTo>
                    <a:cubicBezTo>
                      <a:pt x="61" y="48"/>
                      <a:pt x="61" y="48"/>
                      <a:pt x="61" y="48"/>
                    </a:cubicBezTo>
                    <a:cubicBezTo>
                      <a:pt x="61" y="48"/>
                      <a:pt x="61" y="48"/>
                      <a:pt x="61" y="48"/>
                    </a:cubicBezTo>
                    <a:cubicBezTo>
                      <a:pt x="61" y="49"/>
                      <a:pt x="61" y="49"/>
                      <a:pt x="61" y="49"/>
                    </a:cubicBezTo>
                    <a:cubicBezTo>
                      <a:pt x="61" y="49"/>
                      <a:pt x="61" y="48"/>
                      <a:pt x="62" y="49"/>
                    </a:cubicBezTo>
                    <a:cubicBezTo>
                      <a:pt x="62" y="49"/>
                      <a:pt x="62" y="49"/>
                      <a:pt x="62" y="49"/>
                    </a:cubicBezTo>
                    <a:cubicBezTo>
                      <a:pt x="62" y="49"/>
                      <a:pt x="62" y="49"/>
                      <a:pt x="62" y="49"/>
                    </a:cubicBezTo>
                    <a:cubicBezTo>
                      <a:pt x="62" y="49"/>
                      <a:pt x="62" y="50"/>
                      <a:pt x="62" y="50"/>
                    </a:cubicBezTo>
                    <a:cubicBezTo>
                      <a:pt x="62" y="50"/>
                      <a:pt x="62" y="50"/>
                      <a:pt x="62" y="50"/>
                    </a:cubicBezTo>
                    <a:cubicBezTo>
                      <a:pt x="62" y="50"/>
                      <a:pt x="62" y="50"/>
                      <a:pt x="62" y="50"/>
                    </a:cubicBezTo>
                    <a:cubicBezTo>
                      <a:pt x="62" y="50"/>
                      <a:pt x="62" y="51"/>
                      <a:pt x="62" y="51"/>
                    </a:cubicBezTo>
                    <a:cubicBezTo>
                      <a:pt x="62" y="51"/>
                      <a:pt x="62" y="50"/>
                      <a:pt x="62" y="50"/>
                    </a:cubicBezTo>
                    <a:cubicBezTo>
                      <a:pt x="62" y="50"/>
                      <a:pt x="62" y="50"/>
                      <a:pt x="62" y="50"/>
                    </a:cubicBezTo>
                    <a:cubicBezTo>
                      <a:pt x="62" y="50"/>
                      <a:pt x="62" y="50"/>
                      <a:pt x="63" y="50"/>
                    </a:cubicBezTo>
                    <a:cubicBezTo>
                      <a:pt x="63" y="50"/>
                      <a:pt x="63" y="50"/>
                      <a:pt x="63" y="50"/>
                    </a:cubicBezTo>
                    <a:cubicBezTo>
                      <a:pt x="63" y="51"/>
                      <a:pt x="63" y="51"/>
                      <a:pt x="63" y="51"/>
                    </a:cubicBezTo>
                    <a:cubicBezTo>
                      <a:pt x="63" y="51"/>
                      <a:pt x="63" y="51"/>
                      <a:pt x="63" y="51"/>
                    </a:cubicBezTo>
                    <a:cubicBezTo>
                      <a:pt x="63" y="51"/>
                      <a:pt x="63" y="51"/>
                      <a:pt x="63" y="51"/>
                    </a:cubicBezTo>
                    <a:cubicBezTo>
                      <a:pt x="63" y="51"/>
                      <a:pt x="63" y="51"/>
                      <a:pt x="63" y="51"/>
                    </a:cubicBezTo>
                    <a:cubicBezTo>
                      <a:pt x="63" y="51"/>
                      <a:pt x="63" y="51"/>
                      <a:pt x="64" y="51"/>
                    </a:cubicBezTo>
                    <a:cubicBezTo>
                      <a:pt x="64" y="51"/>
                      <a:pt x="64" y="51"/>
                      <a:pt x="64" y="51"/>
                    </a:cubicBezTo>
                    <a:cubicBezTo>
                      <a:pt x="64" y="51"/>
                      <a:pt x="64" y="51"/>
                      <a:pt x="64" y="51"/>
                    </a:cubicBezTo>
                    <a:cubicBezTo>
                      <a:pt x="64" y="51"/>
                      <a:pt x="65" y="52"/>
                      <a:pt x="65" y="52"/>
                    </a:cubicBezTo>
                    <a:cubicBezTo>
                      <a:pt x="65" y="52"/>
                      <a:pt x="65" y="52"/>
                      <a:pt x="65" y="52"/>
                    </a:cubicBezTo>
                    <a:cubicBezTo>
                      <a:pt x="64" y="52"/>
                      <a:pt x="64" y="52"/>
                      <a:pt x="64" y="53"/>
                    </a:cubicBezTo>
                    <a:cubicBezTo>
                      <a:pt x="64" y="53"/>
                      <a:pt x="64" y="53"/>
                      <a:pt x="64" y="53"/>
                    </a:cubicBezTo>
                    <a:cubicBezTo>
                      <a:pt x="64" y="53"/>
                      <a:pt x="64" y="53"/>
                      <a:pt x="64" y="53"/>
                    </a:cubicBezTo>
                    <a:cubicBezTo>
                      <a:pt x="64" y="53"/>
                      <a:pt x="63" y="53"/>
                      <a:pt x="63" y="53"/>
                    </a:cubicBezTo>
                    <a:cubicBezTo>
                      <a:pt x="63" y="53"/>
                      <a:pt x="63" y="53"/>
                      <a:pt x="63" y="53"/>
                    </a:cubicBezTo>
                    <a:cubicBezTo>
                      <a:pt x="63" y="53"/>
                      <a:pt x="63" y="53"/>
                      <a:pt x="63" y="53"/>
                    </a:cubicBezTo>
                    <a:cubicBezTo>
                      <a:pt x="63" y="54"/>
                      <a:pt x="63" y="54"/>
                      <a:pt x="63" y="54"/>
                    </a:cubicBezTo>
                    <a:cubicBezTo>
                      <a:pt x="63" y="53"/>
                      <a:pt x="63" y="53"/>
                      <a:pt x="63" y="53"/>
                    </a:cubicBezTo>
                    <a:cubicBezTo>
                      <a:pt x="63" y="53"/>
                      <a:pt x="63" y="53"/>
                      <a:pt x="63" y="53"/>
                    </a:cubicBezTo>
                    <a:cubicBezTo>
                      <a:pt x="63" y="53"/>
                      <a:pt x="64" y="54"/>
                      <a:pt x="64" y="54"/>
                    </a:cubicBezTo>
                    <a:cubicBezTo>
                      <a:pt x="64" y="54"/>
                      <a:pt x="64" y="54"/>
                      <a:pt x="64" y="54"/>
                    </a:cubicBezTo>
                    <a:cubicBezTo>
                      <a:pt x="64" y="53"/>
                      <a:pt x="64" y="53"/>
                      <a:pt x="64" y="53"/>
                    </a:cubicBezTo>
                    <a:cubicBezTo>
                      <a:pt x="64" y="53"/>
                      <a:pt x="64" y="53"/>
                      <a:pt x="64" y="53"/>
                    </a:cubicBezTo>
                    <a:cubicBezTo>
                      <a:pt x="64" y="53"/>
                      <a:pt x="64" y="53"/>
                      <a:pt x="64" y="53"/>
                    </a:cubicBezTo>
                    <a:cubicBezTo>
                      <a:pt x="64" y="53"/>
                      <a:pt x="65" y="53"/>
                      <a:pt x="65" y="53"/>
                    </a:cubicBezTo>
                    <a:cubicBezTo>
                      <a:pt x="65" y="53"/>
                      <a:pt x="65" y="53"/>
                      <a:pt x="65" y="53"/>
                    </a:cubicBezTo>
                    <a:cubicBezTo>
                      <a:pt x="65" y="53"/>
                      <a:pt x="65" y="53"/>
                      <a:pt x="65" y="53"/>
                    </a:cubicBezTo>
                    <a:cubicBezTo>
                      <a:pt x="65" y="53"/>
                      <a:pt x="65" y="53"/>
                      <a:pt x="65" y="54"/>
                    </a:cubicBezTo>
                    <a:cubicBezTo>
                      <a:pt x="65" y="54"/>
                      <a:pt x="65" y="53"/>
                      <a:pt x="65" y="53"/>
                    </a:cubicBezTo>
                    <a:cubicBezTo>
                      <a:pt x="65" y="53"/>
                      <a:pt x="65" y="53"/>
                      <a:pt x="65" y="53"/>
                    </a:cubicBezTo>
                    <a:cubicBezTo>
                      <a:pt x="65" y="53"/>
                      <a:pt x="65" y="53"/>
                      <a:pt x="65" y="53"/>
                    </a:cubicBezTo>
                    <a:cubicBezTo>
                      <a:pt x="66" y="54"/>
                      <a:pt x="66" y="54"/>
                      <a:pt x="66" y="54"/>
                    </a:cubicBezTo>
                    <a:cubicBezTo>
                      <a:pt x="66" y="53"/>
                      <a:pt x="66" y="53"/>
                      <a:pt x="66" y="53"/>
                    </a:cubicBezTo>
                    <a:cubicBezTo>
                      <a:pt x="66" y="53"/>
                      <a:pt x="66" y="53"/>
                      <a:pt x="66" y="53"/>
                    </a:cubicBezTo>
                    <a:cubicBezTo>
                      <a:pt x="66" y="53"/>
                      <a:pt x="66" y="54"/>
                      <a:pt x="66" y="54"/>
                    </a:cubicBezTo>
                    <a:cubicBezTo>
                      <a:pt x="66" y="53"/>
                      <a:pt x="66" y="53"/>
                      <a:pt x="66" y="53"/>
                    </a:cubicBezTo>
                    <a:cubicBezTo>
                      <a:pt x="66" y="53"/>
                      <a:pt x="66" y="53"/>
                      <a:pt x="66" y="53"/>
                    </a:cubicBezTo>
                    <a:cubicBezTo>
                      <a:pt x="66" y="53"/>
                      <a:pt x="67" y="53"/>
                      <a:pt x="67" y="53"/>
                    </a:cubicBezTo>
                    <a:cubicBezTo>
                      <a:pt x="67" y="53"/>
                      <a:pt x="67" y="53"/>
                      <a:pt x="67" y="53"/>
                    </a:cubicBezTo>
                    <a:cubicBezTo>
                      <a:pt x="67" y="53"/>
                      <a:pt x="67" y="53"/>
                      <a:pt x="67" y="53"/>
                    </a:cubicBezTo>
                    <a:cubicBezTo>
                      <a:pt x="67" y="53"/>
                      <a:pt x="68" y="54"/>
                      <a:pt x="68" y="54"/>
                    </a:cubicBezTo>
                    <a:cubicBezTo>
                      <a:pt x="68"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5"/>
                      <a:pt x="70" y="56"/>
                    </a:cubicBezTo>
                    <a:cubicBezTo>
                      <a:pt x="70" y="55"/>
                      <a:pt x="70" y="55"/>
                      <a:pt x="70" y="55"/>
                    </a:cubicBezTo>
                    <a:cubicBezTo>
                      <a:pt x="70" y="55"/>
                      <a:pt x="70" y="55"/>
                      <a:pt x="71" y="56"/>
                    </a:cubicBezTo>
                    <a:cubicBezTo>
                      <a:pt x="71" y="56"/>
                      <a:pt x="71" y="56"/>
                      <a:pt x="71" y="56"/>
                    </a:cubicBezTo>
                    <a:cubicBezTo>
                      <a:pt x="70" y="56"/>
                      <a:pt x="70" y="57"/>
                      <a:pt x="70" y="57"/>
                    </a:cubicBezTo>
                    <a:cubicBezTo>
                      <a:pt x="71" y="57"/>
                      <a:pt x="71" y="57"/>
                      <a:pt x="71" y="57"/>
                    </a:cubicBezTo>
                    <a:cubicBezTo>
                      <a:pt x="71" y="57"/>
                      <a:pt x="71" y="57"/>
                      <a:pt x="71" y="57"/>
                    </a:cubicBezTo>
                    <a:cubicBezTo>
                      <a:pt x="71" y="57"/>
                      <a:pt x="72" y="57"/>
                      <a:pt x="72" y="57"/>
                    </a:cubicBezTo>
                    <a:cubicBezTo>
                      <a:pt x="72" y="57"/>
                      <a:pt x="72" y="57"/>
                      <a:pt x="72" y="57"/>
                    </a:cubicBezTo>
                    <a:cubicBezTo>
                      <a:pt x="72" y="57"/>
                      <a:pt x="72" y="57"/>
                      <a:pt x="72" y="57"/>
                    </a:cubicBezTo>
                    <a:cubicBezTo>
                      <a:pt x="72" y="57"/>
                      <a:pt x="72" y="57"/>
                      <a:pt x="72" y="58"/>
                    </a:cubicBezTo>
                    <a:cubicBezTo>
                      <a:pt x="72" y="58"/>
                      <a:pt x="72" y="58"/>
                      <a:pt x="72" y="58"/>
                    </a:cubicBezTo>
                    <a:cubicBezTo>
                      <a:pt x="72" y="58"/>
                      <a:pt x="72" y="59"/>
                      <a:pt x="72" y="59"/>
                    </a:cubicBezTo>
                    <a:cubicBezTo>
                      <a:pt x="72" y="59"/>
                      <a:pt x="73" y="59"/>
                      <a:pt x="73" y="59"/>
                    </a:cubicBezTo>
                    <a:cubicBezTo>
                      <a:pt x="73" y="59"/>
                      <a:pt x="73" y="59"/>
                      <a:pt x="73" y="59"/>
                    </a:cubicBezTo>
                    <a:cubicBezTo>
                      <a:pt x="72" y="59"/>
                      <a:pt x="71" y="60"/>
                      <a:pt x="71" y="61"/>
                    </a:cubicBezTo>
                    <a:cubicBezTo>
                      <a:pt x="71" y="61"/>
                      <a:pt x="71" y="61"/>
                      <a:pt x="71" y="61"/>
                    </a:cubicBezTo>
                    <a:cubicBezTo>
                      <a:pt x="71" y="61"/>
                      <a:pt x="71" y="62"/>
                      <a:pt x="71" y="62"/>
                    </a:cubicBezTo>
                    <a:cubicBezTo>
                      <a:pt x="71" y="62"/>
                      <a:pt x="71" y="62"/>
                      <a:pt x="71" y="62"/>
                    </a:cubicBezTo>
                    <a:cubicBezTo>
                      <a:pt x="71" y="63"/>
                      <a:pt x="71" y="63"/>
                      <a:pt x="71" y="63"/>
                    </a:cubicBezTo>
                    <a:cubicBezTo>
                      <a:pt x="71" y="63"/>
                      <a:pt x="72" y="63"/>
                      <a:pt x="72" y="63"/>
                    </a:cubicBezTo>
                    <a:cubicBezTo>
                      <a:pt x="72" y="63"/>
                      <a:pt x="72" y="63"/>
                      <a:pt x="71" y="64"/>
                    </a:cubicBezTo>
                    <a:cubicBezTo>
                      <a:pt x="71" y="64"/>
                      <a:pt x="71" y="64"/>
                      <a:pt x="71" y="64"/>
                    </a:cubicBezTo>
                    <a:cubicBezTo>
                      <a:pt x="71" y="64"/>
                      <a:pt x="71" y="64"/>
                      <a:pt x="71" y="65"/>
                    </a:cubicBezTo>
                    <a:cubicBezTo>
                      <a:pt x="71" y="65"/>
                      <a:pt x="71" y="65"/>
                      <a:pt x="71" y="65"/>
                    </a:cubicBezTo>
                    <a:cubicBezTo>
                      <a:pt x="71" y="65"/>
                      <a:pt x="71" y="65"/>
                      <a:pt x="71" y="65"/>
                    </a:cubicBezTo>
                    <a:cubicBezTo>
                      <a:pt x="71" y="65"/>
                      <a:pt x="71" y="65"/>
                      <a:pt x="71" y="65"/>
                    </a:cubicBezTo>
                    <a:cubicBezTo>
                      <a:pt x="71" y="65"/>
                      <a:pt x="71" y="65"/>
                      <a:pt x="71" y="66"/>
                    </a:cubicBezTo>
                    <a:cubicBezTo>
                      <a:pt x="71" y="66"/>
                      <a:pt x="71" y="66"/>
                      <a:pt x="71" y="66"/>
                    </a:cubicBezTo>
                    <a:cubicBezTo>
                      <a:pt x="71" y="67"/>
                      <a:pt x="71" y="67"/>
                      <a:pt x="71" y="67"/>
                    </a:cubicBezTo>
                    <a:cubicBezTo>
                      <a:pt x="71" y="67"/>
                      <a:pt x="71" y="67"/>
                      <a:pt x="71" y="67"/>
                    </a:cubicBezTo>
                    <a:cubicBezTo>
                      <a:pt x="71" y="67"/>
                      <a:pt x="71" y="67"/>
                      <a:pt x="71" y="67"/>
                    </a:cubicBezTo>
                    <a:cubicBezTo>
                      <a:pt x="71" y="67"/>
                      <a:pt x="71" y="68"/>
                      <a:pt x="71" y="68"/>
                    </a:cubicBezTo>
                    <a:cubicBezTo>
                      <a:pt x="71" y="68"/>
                      <a:pt x="71" y="68"/>
                      <a:pt x="71" y="68"/>
                    </a:cubicBezTo>
                    <a:cubicBezTo>
                      <a:pt x="71" y="68"/>
                      <a:pt x="71" y="68"/>
                      <a:pt x="71" y="68"/>
                    </a:cubicBezTo>
                    <a:cubicBezTo>
                      <a:pt x="71" y="68"/>
                      <a:pt x="71" y="69"/>
                      <a:pt x="71" y="69"/>
                    </a:cubicBezTo>
                    <a:cubicBezTo>
                      <a:pt x="71" y="69"/>
                      <a:pt x="71" y="69"/>
                      <a:pt x="71" y="69"/>
                    </a:cubicBezTo>
                    <a:cubicBezTo>
                      <a:pt x="71" y="69"/>
                      <a:pt x="71" y="69"/>
                      <a:pt x="71" y="69"/>
                    </a:cubicBezTo>
                    <a:cubicBezTo>
                      <a:pt x="71" y="69"/>
                      <a:pt x="71" y="69"/>
                      <a:pt x="71" y="70"/>
                    </a:cubicBezTo>
                    <a:cubicBezTo>
                      <a:pt x="71" y="70"/>
                      <a:pt x="71" y="70"/>
                      <a:pt x="71" y="70"/>
                    </a:cubicBezTo>
                    <a:cubicBezTo>
                      <a:pt x="71" y="70"/>
                      <a:pt x="71" y="70"/>
                      <a:pt x="71" y="70"/>
                    </a:cubicBezTo>
                    <a:cubicBezTo>
                      <a:pt x="71" y="71"/>
                      <a:pt x="71" y="71"/>
                      <a:pt x="71" y="71"/>
                    </a:cubicBezTo>
                    <a:cubicBezTo>
                      <a:pt x="71" y="71"/>
                      <a:pt x="71" y="71"/>
                      <a:pt x="71" y="72"/>
                    </a:cubicBezTo>
                    <a:cubicBezTo>
                      <a:pt x="71" y="72"/>
                      <a:pt x="71" y="72"/>
                      <a:pt x="71" y="72"/>
                    </a:cubicBezTo>
                    <a:cubicBezTo>
                      <a:pt x="71" y="72"/>
                      <a:pt x="71" y="73"/>
                      <a:pt x="71" y="73"/>
                    </a:cubicBezTo>
                    <a:cubicBezTo>
                      <a:pt x="71" y="73"/>
                      <a:pt x="71" y="73"/>
                      <a:pt x="71" y="73"/>
                    </a:cubicBezTo>
                    <a:cubicBezTo>
                      <a:pt x="71" y="73"/>
                      <a:pt x="71" y="74"/>
                      <a:pt x="71" y="74"/>
                    </a:cubicBezTo>
                    <a:cubicBezTo>
                      <a:pt x="71" y="74"/>
                      <a:pt x="71" y="74"/>
                      <a:pt x="71" y="75"/>
                    </a:cubicBezTo>
                    <a:cubicBezTo>
                      <a:pt x="71" y="75"/>
                      <a:pt x="71" y="75"/>
                      <a:pt x="71" y="75"/>
                    </a:cubicBezTo>
                    <a:cubicBezTo>
                      <a:pt x="71" y="75"/>
                      <a:pt x="71" y="75"/>
                      <a:pt x="71" y="75"/>
                    </a:cubicBezTo>
                    <a:cubicBezTo>
                      <a:pt x="71" y="75"/>
                      <a:pt x="71" y="75"/>
                      <a:pt x="71" y="76"/>
                    </a:cubicBezTo>
                    <a:cubicBezTo>
                      <a:pt x="71" y="76"/>
                      <a:pt x="71" y="76"/>
                      <a:pt x="70" y="76"/>
                    </a:cubicBezTo>
                    <a:cubicBezTo>
                      <a:pt x="70" y="76"/>
                      <a:pt x="70" y="77"/>
                      <a:pt x="70" y="77"/>
                    </a:cubicBezTo>
                    <a:cubicBezTo>
                      <a:pt x="70" y="77"/>
                      <a:pt x="70" y="77"/>
                      <a:pt x="70" y="77"/>
                    </a:cubicBezTo>
                    <a:cubicBezTo>
                      <a:pt x="70" y="77"/>
                      <a:pt x="70" y="77"/>
                      <a:pt x="70" y="77"/>
                    </a:cubicBezTo>
                    <a:cubicBezTo>
                      <a:pt x="70" y="77"/>
                      <a:pt x="70" y="76"/>
                      <a:pt x="69" y="76"/>
                    </a:cubicBezTo>
                    <a:cubicBezTo>
                      <a:pt x="69" y="76"/>
                      <a:pt x="69" y="76"/>
                      <a:pt x="69" y="76"/>
                    </a:cubicBezTo>
                    <a:cubicBezTo>
                      <a:pt x="69" y="76"/>
                      <a:pt x="69" y="76"/>
                      <a:pt x="69" y="76"/>
                    </a:cubicBezTo>
                    <a:cubicBezTo>
                      <a:pt x="69" y="76"/>
                      <a:pt x="69" y="76"/>
                      <a:pt x="69" y="75"/>
                    </a:cubicBezTo>
                    <a:cubicBezTo>
                      <a:pt x="68" y="75"/>
                      <a:pt x="68" y="75"/>
                      <a:pt x="68" y="75"/>
                    </a:cubicBezTo>
                    <a:cubicBezTo>
                      <a:pt x="68" y="74"/>
                      <a:pt x="68" y="74"/>
                      <a:pt x="67" y="74"/>
                    </a:cubicBezTo>
                    <a:cubicBezTo>
                      <a:pt x="67" y="74"/>
                      <a:pt x="67" y="74"/>
                      <a:pt x="67" y="74"/>
                    </a:cubicBezTo>
                    <a:cubicBezTo>
                      <a:pt x="67" y="74"/>
                      <a:pt x="67" y="74"/>
                      <a:pt x="67" y="74"/>
                    </a:cubicBezTo>
                    <a:cubicBezTo>
                      <a:pt x="67" y="74"/>
                      <a:pt x="67" y="74"/>
                      <a:pt x="67" y="74"/>
                    </a:cubicBezTo>
                    <a:cubicBezTo>
                      <a:pt x="67" y="75"/>
                      <a:pt x="67" y="75"/>
                      <a:pt x="67" y="75"/>
                    </a:cubicBezTo>
                    <a:cubicBezTo>
                      <a:pt x="67" y="75"/>
                      <a:pt x="67" y="75"/>
                      <a:pt x="67" y="75"/>
                    </a:cubicBezTo>
                    <a:cubicBezTo>
                      <a:pt x="67" y="75"/>
                      <a:pt x="66" y="75"/>
                      <a:pt x="66" y="75"/>
                    </a:cubicBezTo>
                    <a:cubicBezTo>
                      <a:pt x="66" y="75"/>
                      <a:pt x="66" y="75"/>
                      <a:pt x="67" y="75"/>
                    </a:cubicBezTo>
                    <a:cubicBezTo>
                      <a:pt x="67" y="75"/>
                      <a:pt x="66" y="75"/>
                      <a:pt x="66" y="76"/>
                    </a:cubicBezTo>
                    <a:cubicBezTo>
                      <a:pt x="67" y="76"/>
                      <a:pt x="67" y="76"/>
                      <a:pt x="67" y="76"/>
                    </a:cubicBezTo>
                    <a:cubicBezTo>
                      <a:pt x="67" y="76"/>
                      <a:pt x="66" y="76"/>
                      <a:pt x="66" y="76"/>
                    </a:cubicBezTo>
                    <a:cubicBezTo>
                      <a:pt x="66" y="76"/>
                      <a:pt x="66" y="76"/>
                      <a:pt x="66" y="76"/>
                    </a:cubicBezTo>
                    <a:cubicBezTo>
                      <a:pt x="66" y="76"/>
                      <a:pt x="66" y="76"/>
                      <a:pt x="66" y="76"/>
                    </a:cubicBezTo>
                    <a:cubicBezTo>
                      <a:pt x="67" y="76"/>
                      <a:pt x="67" y="76"/>
                      <a:pt x="67" y="76"/>
                    </a:cubicBezTo>
                    <a:cubicBezTo>
                      <a:pt x="67" y="76"/>
                      <a:pt x="67" y="76"/>
                      <a:pt x="66" y="76"/>
                    </a:cubicBezTo>
                    <a:cubicBezTo>
                      <a:pt x="66" y="76"/>
                      <a:pt x="66" y="76"/>
                      <a:pt x="66" y="76"/>
                    </a:cubicBezTo>
                    <a:close/>
                    <a:moveTo>
                      <a:pt x="189" y="109"/>
                    </a:moveTo>
                    <a:cubicBezTo>
                      <a:pt x="189" y="109"/>
                      <a:pt x="189" y="109"/>
                      <a:pt x="189" y="109"/>
                    </a:cubicBezTo>
                    <a:cubicBezTo>
                      <a:pt x="189" y="109"/>
                      <a:pt x="189" y="109"/>
                      <a:pt x="189" y="109"/>
                    </a:cubicBezTo>
                    <a:cubicBezTo>
                      <a:pt x="189" y="109"/>
                      <a:pt x="189" y="109"/>
                      <a:pt x="189" y="109"/>
                    </a:cubicBezTo>
                    <a:cubicBezTo>
                      <a:pt x="189" y="108"/>
                      <a:pt x="189" y="108"/>
                      <a:pt x="189" y="108"/>
                    </a:cubicBezTo>
                    <a:cubicBezTo>
                      <a:pt x="189" y="108"/>
                      <a:pt x="189" y="108"/>
                      <a:pt x="189" y="108"/>
                    </a:cubicBezTo>
                    <a:cubicBezTo>
                      <a:pt x="189" y="108"/>
                      <a:pt x="189" y="109"/>
                      <a:pt x="189" y="109"/>
                    </a:cubicBezTo>
                    <a:cubicBezTo>
                      <a:pt x="189" y="109"/>
                      <a:pt x="189" y="108"/>
                      <a:pt x="189" y="108"/>
                    </a:cubicBezTo>
                    <a:cubicBezTo>
                      <a:pt x="189" y="108"/>
                      <a:pt x="189" y="108"/>
                      <a:pt x="189" y="108"/>
                    </a:cubicBezTo>
                    <a:cubicBezTo>
                      <a:pt x="189" y="108"/>
                      <a:pt x="189" y="108"/>
                      <a:pt x="189" y="108"/>
                    </a:cubicBezTo>
                    <a:cubicBezTo>
                      <a:pt x="189" y="108"/>
                      <a:pt x="189" y="108"/>
                      <a:pt x="189" y="108"/>
                    </a:cubicBezTo>
                    <a:cubicBezTo>
                      <a:pt x="189" y="108"/>
                      <a:pt x="188" y="108"/>
                      <a:pt x="188" y="108"/>
                    </a:cubicBezTo>
                    <a:cubicBezTo>
                      <a:pt x="188" y="108"/>
                      <a:pt x="188" y="109"/>
                      <a:pt x="188" y="109"/>
                    </a:cubicBezTo>
                    <a:cubicBezTo>
                      <a:pt x="188" y="109"/>
                      <a:pt x="188" y="109"/>
                      <a:pt x="188" y="109"/>
                    </a:cubicBezTo>
                    <a:cubicBezTo>
                      <a:pt x="188" y="109"/>
                      <a:pt x="188" y="109"/>
                      <a:pt x="188" y="109"/>
                    </a:cubicBezTo>
                    <a:cubicBezTo>
                      <a:pt x="188" y="109"/>
                      <a:pt x="188" y="109"/>
                      <a:pt x="188" y="109"/>
                    </a:cubicBezTo>
                    <a:cubicBezTo>
                      <a:pt x="188" y="109"/>
                      <a:pt x="188" y="109"/>
                      <a:pt x="188" y="109"/>
                    </a:cubicBezTo>
                    <a:cubicBezTo>
                      <a:pt x="188" y="109"/>
                      <a:pt x="187" y="109"/>
                      <a:pt x="187" y="110"/>
                    </a:cubicBezTo>
                    <a:cubicBezTo>
                      <a:pt x="187" y="110"/>
                      <a:pt x="187" y="110"/>
                      <a:pt x="187" y="110"/>
                    </a:cubicBezTo>
                    <a:cubicBezTo>
                      <a:pt x="186" y="110"/>
                      <a:pt x="186" y="110"/>
                      <a:pt x="186" y="110"/>
                    </a:cubicBezTo>
                    <a:cubicBezTo>
                      <a:pt x="186" y="110"/>
                      <a:pt x="185" y="110"/>
                      <a:pt x="185" y="110"/>
                    </a:cubicBezTo>
                    <a:cubicBezTo>
                      <a:pt x="185" y="110"/>
                      <a:pt x="185" y="110"/>
                      <a:pt x="185" y="110"/>
                    </a:cubicBezTo>
                    <a:cubicBezTo>
                      <a:pt x="185" y="110"/>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7" y="111"/>
                      <a:pt x="187" y="111"/>
                    </a:cubicBezTo>
                    <a:cubicBezTo>
                      <a:pt x="187" y="111"/>
                      <a:pt x="187" y="111"/>
                      <a:pt x="187" y="111"/>
                    </a:cubicBezTo>
                    <a:cubicBezTo>
                      <a:pt x="187" y="111"/>
                      <a:pt x="187" y="111"/>
                      <a:pt x="187" y="111"/>
                    </a:cubicBezTo>
                    <a:cubicBezTo>
                      <a:pt x="187" y="111"/>
                      <a:pt x="187" y="111"/>
                      <a:pt x="187" y="110"/>
                    </a:cubicBezTo>
                    <a:cubicBezTo>
                      <a:pt x="188" y="110"/>
                      <a:pt x="188" y="111"/>
                      <a:pt x="188" y="111"/>
                    </a:cubicBezTo>
                    <a:cubicBezTo>
                      <a:pt x="188" y="111"/>
                      <a:pt x="188" y="111"/>
                      <a:pt x="188" y="111"/>
                    </a:cubicBezTo>
                    <a:cubicBezTo>
                      <a:pt x="188" y="111"/>
                      <a:pt x="188" y="111"/>
                      <a:pt x="188" y="111"/>
                    </a:cubicBezTo>
                    <a:cubicBezTo>
                      <a:pt x="188" y="111"/>
                      <a:pt x="188" y="110"/>
                      <a:pt x="188" y="110"/>
                    </a:cubicBezTo>
                    <a:cubicBezTo>
                      <a:pt x="188" y="110"/>
                      <a:pt x="188" y="110"/>
                      <a:pt x="188" y="110"/>
                    </a:cubicBezTo>
                    <a:cubicBezTo>
                      <a:pt x="188" y="110"/>
                      <a:pt x="188" y="110"/>
                      <a:pt x="188" y="110"/>
                    </a:cubicBezTo>
                    <a:cubicBezTo>
                      <a:pt x="188" y="110"/>
                      <a:pt x="188" y="110"/>
                      <a:pt x="188" y="110"/>
                    </a:cubicBezTo>
                    <a:cubicBezTo>
                      <a:pt x="188" y="110"/>
                      <a:pt x="188" y="110"/>
                      <a:pt x="188" y="110"/>
                    </a:cubicBezTo>
                    <a:cubicBezTo>
                      <a:pt x="188" y="110"/>
                      <a:pt x="189" y="110"/>
                      <a:pt x="189" y="110"/>
                    </a:cubicBezTo>
                    <a:cubicBezTo>
                      <a:pt x="189" y="110"/>
                      <a:pt x="189" y="110"/>
                      <a:pt x="189" y="110"/>
                    </a:cubicBezTo>
                    <a:cubicBezTo>
                      <a:pt x="189" y="110"/>
                      <a:pt x="189" y="110"/>
                      <a:pt x="189" y="110"/>
                    </a:cubicBezTo>
                    <a:cubicBezTo>
                      <a:pt x="189" y="110"/>
                      <a:pt x="189" y="109"/>
                      <a:pt x="189" y="109"/>
                    </a:cubicBezTo>
                    <a:cubicBezTo>
                      <a:pt x="189" y="109"/>
                      <a:pt x="189" y="109"/>
                      <a:pt x="189" y="109"/>
                    </a:cubicBezTo>
                    <a:cubicBezTo>
                      <a:pt x="189" y="109"/>
                      <a:pt x="189" y="109"/>
                      <a:pt x="189" y="109"/>
                    </a:cubicBezTo>
                    <a:close/>
                    <a:moveTo>
                      <a:pt x="201" y="93"/>
                    </a:moveTo>
                    <a:cubicBezTo>
                      <a:pt x="201" y="93"/>
                      <a:pt x="201" y="93"/>
                      <a:pt x="201" y="92"/>
                    </a:cubicBezTo>
                    <a:cubicBezTo>
                      <a:pt x="201" y="92"/>
                      <a:pt x="201" y="92"/>
                      <a:pt x="201" y="92"/>
                    </a:cubicBezTo>
                    <a:cubicBezTo>
                      <a:pt x="201" y="92"/>
                      <a:pt x="200" y="92"/>
                      <a:pt x="200" y="92"/>
                    </a:cubicBezTo>
                    <a:cubicBezTo>
                      <a:pt x="200" y="92"/>
                      <a:pt x="200" y="92"/>
                      <a:pt x="200" y="92"/>
                    </a:cubicBezTo>
                    <a:cubicBezTo>
                      <a:pt x="200" y="92"/>
                      <a:pt x="200" y="92"/>
                      <a:pt x="200" y="92"/>
                    </a:cubicBezTo>
                    <a:cubicBezTo>
                      <a:pt x="199" y="92"/>
                      <a:pt x="199" y="92"/>
                      <a:pt x="199" y="92"/>
                    </a:cubicBezTo>
                    <a:cubicBezTo>
                      <a:pt x="199" y="92"/>
                      <a:pt x="198" y="92"/>
                      <a:pt x="198" y="92"/>
                    </a:cubicBezTo>
                    <a:cubicBezTo>
                      <a:pt x="198" y="92"/>
                      <a:pt x="198" y="92"/>
                      <a:pt x="198" y="92"/>
                    </a:cubicBezTo>
                    <a:cubicBezTo>
                      <a:pt x="198" y="92"/>
                      <a:pt x="198" y="92"/>
                      <a:pt x="198" y="92"/>
                    </a:cubicBezTo>
                    <a:cubicBezTo>
                      <a:pt x="198" y="92"/>
                      <a:pt x="198" y="92"/>
                      <a:pt x="198" y="92"/>
                    </a:cubicBezTo>
                    <a:cubicBezTo>
                      <a:pt x="198" y="92"/>
                      <a:pt x="198" y="92"/>
                      <a:pt x="198" y="92"/>
                    </a:cubicBezTo>
                    <a:cubicBezTo>
                      <a:pt x="197" y="92"/>
                      <a:pt x="197" y="92"/>
                      <a:pt x="197" y="92"/>
                    </a:cubicBezTo>
                    <a:cubicBezTo>
                      <a:pt x="197" y="92"/>
                      <a:pt x="197" y="92"/>
                      <a:pt x="197" y="92"/>
                    </a:cubicBezTo>
                    <a:cubicBezTo>
                      <a:pt x="197" y="92"/>
                      <a:pt x="197" y="92"/>
                      <a:pt x="197" y="92"/>
                    </a:cubicBezTo>
                    <a:cubicBezTo>
                      <a:pt x="197" y="92"/>
                      <a:pt x="197" y="92"/>
                      <a:pt x="197" y="92"/>
                    </a:cubicBezTo>
                    <a:cubicBezTo>
                      <a:pt x="196" y="92"/>
                      <a:pt x="196" y="92"/>
                      <a:pt x="196" y="92"/>
                    </a:cubicBezTo>
                    <a:cubicBezTo>
                      <a:pt x="196" y="92"/>
                      <a:pt x="196" y="93"/>
                      <a:pt x="196" y="93"/>
                    </a:cubicBezTo>
                    <a:cubicBezTo>
                      <a:pt x="196" y="93"/>
                      <a:pt x="196" y="93"/>
                      <a:pt x="196" y="93"/>
                    </a:cubicBezTo>
                    <a:cubicBezTo>
                      <a:pt x="196" y="93"/>
                      <a:pt x="196" y="93"/>
                      <a:pt x="196" y="93"/>
                    </a:cubicBezTo>
                    <a:cubicBezTo>
                      <a:pt x="196" y="93"/>
                      <a:pt x="197" y="93"/>
                      <a:pt x="197" y="93"/>
                    </a:cubicBezTo>
                    <a:cubicBezTo>
                      <a:pt x="197" y="93"/>
                      <a:pt x="197" y="93"/>
                      <a:pt x="197" y="93"/>
                    </a:cubicBezTo>
                    <a:cubicBezTo>
                      <a:pt x="197" y="93"/>
                      <a:pt x="197" y="93"/>
                      <a:pt x="197" y="93"/>
                    </a:cubicBezTo>
                    <a:cubicBezTo>
                      <a:pt x="197" y="93"/>
                      <a:pt x="197" y="93"/>
                      <a:pt x="196" y="93"/>
                    </a:cubicBezTo>
                    <a:cubicBezTo>
                      <a:pt x="196" y="93"/>
                      <a:pt x="196" y="93"/>
                      <a:pt x="196" y="93"/>
                    </a:cubicBezTo>
                    <a:cubicBezTo>
                      <a:pt x="196" y="93"/>
                      <a:pt x="196" y="93"/>
                      <a:pt x="196" y="93"/>
                    </a:cubicBezTo>
                    <a:cubicBezTo>
                      <a:pt x="196" y="93"/>
                      <a:pt x="196" y="93"/>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7" y="94"/>
                      <a:pt x="197" y="94"/>
                    </a:cubicBezTo>
                    <a:cubicBezTo>
                      <a:pt x="197" y="94"/>
                      <a:pt x="197" y="94"/>
                      <a:pt x="197" y="94"/>
                    </a:cubicBezTo>
                    <a:cubicBezTo>
                      <a:pt x="197" y="94"/>
                      <a:pt x="197" y="94"/>
                      <a:pt x="197" y="94"/>
                    </a:cubicBezTo>
                    <a:cubicBezTo>
                      <a:pt x="197" y="94"/>
                      <a:pt x="197" y="94"/>
                      <a:pt x="197" y="94"/>
                    </a:cubicBezTo>
                    <a:cubicBezTo>
                      <a:pt x="197" y="94"/>
                      <a:pt x="197" y="94"/>
                      <a:pt x="198" y="94"/>
                    </a:cubicBezTo>
                    <a:cubicBezTo>
                      <a:pt x="198" y="94"/>
                      <a:pt x="198" y="94"/>
                      <a:pt x="198" y="94"/>
                    </a:cubicBezTo>
                    <a:cubicBezTo>
                      <a:pt x="198" y="94"/>
                      <a:pt x="198" y="94"/>
                      <a:pt x="199" y="94"/>
                    </a:cubicBezTo>
                    <a:cubicBezTo>
                      <a:pt x="199" y="94"/>
                      <a:pt x="199" y="94"/>
                      <a:pt x="199" y="94"/>
                    </a:cubicBezTo>
                    <a:cubicBezTo>
                      <a:pt x="199" y="94"/>
                      <a:pt x="199" y="94"/>
                      <a:pt x="199" y="94"/>
                    </a:cubicBezTo>
                    <a:cubicBezTo>
                      <a:pt x="200" y="94"/>
                      <a:pt x="200" y="94"/>
                      <a:pt x="200" y="94"/>
                    </a:cubicBezTo>
                    <a:cubicBezTo>
                      <a:pt x="200" y="94"/>
                      <a:pt x="201" y="94"/>
                      <a:pt x="201" y="93"/>
                    </a:cubicBezTo>
                    <a:cubicBezTo>
                      <a:pt x="201" y="93"/>
                      <a:pt x="201" y="93"/>
                      <a:pt x="201" y="93"/>
                    </a:cubicBezTo>
                    <a:cubicBezTo>
                      <a:pt x="201" y="93"/>
                      <a:pt x="201" y="93"/>
                      <a:pt x="201" y="93"/>
                    </a:cubicBezTo>
                    <a:close/>
                    <a:moveTo>
                      <a:pt x="201" y="99"/>
                    </a:moveTo>
                    <a:cubicBezTo>
                      <a:pt x="201" y="99"/>
                      <a:pt x="201" y="99"/>
                      <a:pt x="201" y="99"/>
                    </a:cubicBezTo>
                    <a:cubicBezTo>
                      <a:pt x="201" y="99"/>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0" y="98"/>
                      <a:pt x="200" y="98"/>
                      <a:pt x="200" y="98"/>
                    </a:cubicBezTo>
                    <a:cubicBezTo>
                      <a:pt x="200" y="98"/>
                      <a:pt x="200" y="98"/>
                      <a:pt x="200" y="98"/>
                    </a:cubicBezTo>
                    <a:cubicBezTo>
                      <a:pt x="200" y="98"/>
                      <a:pt x="200" y="98"/>
                      <a:pt x="200" y="98"/>
                    </a:cubicBezTo>
                    <a:cubicBezTo>
                      <a:pt x="200" y="98"/>
                      <a:pt x="200" y="98"/>
                      <a:pt x="200" y="98"/>
                    </a:cubicBezTo>
                    <a:cubicBezTo>
                      <a:pt x="199" y="98"/>
                      <a:pt x="199" y="98"/>
                      <a:pt x="200" y="98"/>
                    </a:cubicBezTo>
                    <a:cubicBezTo>
                      <a:pt x="200" y="98"/>
                      <a:pt x="200" y="98"/>
                      <a:pt x="200" y="98"/>
                    </a:cubicBezTo>
                    <a:cubicBezTo>
                      <a:pt x="200" y="98"/>
                      <a:pt x="199" y="98"/>
                      <a:pt x="199" y="98"/>
                    </a:cubicBezTo>
                    <a:cubicBezTo>
                      <a:pt x="199" y="98"/>
                      <a:pt x="199" y="98"/>
                      <a:pt x="199" y="98"/>
                    </a:cubicBezTo>
                    <a:cubicBezTo>
                      <a:pt x="199" y="98"/>
                      <a:pt x="199" y="98"/>
                      <a:pt x="199" y="98"/>
                    </a:cubicBezTo>
                    <a:cubicBezTo>
                      <a:pt x="199" y="98"/>
                      <a:pt x="199" y="98"/>
                      <a:pt x="199" y="98"/>
                    </a:cubicBezTo>
                    <a:cubicBezTo>
                      <a:pt x="199" y="98"/>
                      <a:pt x="199" y="98"/>
                      <a:pt x="199" y="98"/>
                    </a:cubicBezTo>
                    <a:cubicBezTo>
                      <a:pt x="199" y="98"/>
                      <a:pt x="198" y="98"/>
                      <a:pt x="198" y="98"/>
                    </a:cubicBezTo>
                    <a:cubicBezTo>
                      <a:pt x="198" y="98"/>
                      <a:pt x="198" y="98"/>
                      <a:pt x="198" y="98"/>
                    </a:cubicBezTo>
                    <a:cubicBezTo>
                      <a:pt x="198" y="98"/>
                      <a:pt x="198" y="98"/>
                      <a:pt x="198" y="98"/>
                    </a:cubicBezTo>
                    <a:cubicBezTo>
                      <a:pt x="198" y="98"/>
                      <a:pt x="198" y="99"/>
                      <a:pt x="198" y="99"/>
                    </a:cubicBezTo>
                    <a:cubicBezTo>
                      <a:pt x="198" y="99"/>
                      <a:pt x="198" y="99"/>
                      <a:pt x="197" y="99"/>
                    </a:cubicBezTo>
                    <a:cubicBezTo>
                      <a:pt x="197" y="99"/>
                      <a:pt x="197" y="99"/>
                      <a:pt x="197" y="99"/>
                    </a:cubicBezTo>
                    <a:cubicBezTo>
                      <a:pt x="197" y="99"/>
                      <a:pt x="197" y="99"/>
                      <a:pt x="197" y="99"/>
                    </a:cubicBezTo>
                    <a:cubicBezTo>
                      <a:pt x="197" y="99"/>
                      <a:pt x="197" y="99"/>
                      <a:pt x="197" y="99"/>
                    </a:cubicBezTo>
                    <a:cubicBezTo>
                      <a:pt x="197" y="99"/>
                      <a:pt x="196" y="99"/>
                      <a:pt x="196" y="99"/>
                    </a:cubicBezTo>
                    <a:cubicBezTo>
                      <a:pt x="196" y="99"/>
                      <a:pt x="196" y="99"/>
                      <a:pt x="196" y="99"/>
                    </a:cubicBezTo>
                    <a:cubicBezTo>
                      <a:pt x="196" y="99"/>
                      <a:pt x="196" y="99"/>
                      <a:pt x="196" y="99"/>
                    </a:cubicBezTo>
                    <a:cubicBezTo>
                      <a:pt x="196" y="99"/>
                      <a:pt x="196" y="100"/>
                      <a:pt x="196" y="100"/>
                    </a:cubicBezTo>
                    <a:cubicBezTo>
                      <a:pt x="196" y="100"/>
                      <a:pt x="196" y="100"/>
                      <a:pt x="196" y="100"/>
                    </a:cubicBezTo>
                    <a:cubicBezTo>
                      <a:pt x="196" y="100"/>
                      <a:pt x="196" y="100"/>
                      <a:pt x="196" y="100"/>
                    </a:cubicBezTo>
                    <a:cubicBezTo>
                      <a:pt x="196" y="100"/>
                      <a:pt x="196" y="100"/>
                      <a:pt x="196" y="100"/>
                    </a:cubicBezTo>
                    <a:cubicBezTo>
                      <a:pt x="196" y="100"/>
                      <a:pt x="196" y="100"/>
                      <a:pt x="196" y="100"/>
                    </a:cubicBezTo>
                    <a:cubicBezTo>
                      <a:pt x="196" y="100"/>
                      <a:pt x="196" y="101"/>
                      <a:pt x="196" y="101"/>
                    </a:cubicBezTo>
                    <a:cubicBezTo>
                      <a:pt x="196" y="101"/>
                      <a:pt x="196" y="101"/>
                      <a:pt x="196" y="101"/>
                    </a:cubicBezTo>
                    <a:cubicBezTo>
                      <a:pt x="196" y="101"/>
                      <a:pt x="196" y="101"/>
                      <a:pt x="196" y="101"/>
                    </a:cubicBezTo>
                    <a:cubicBezTo>
                      <a:pt x="196" y="101"/>
                      <a:pt x="196" y="101"/>
                      <a:pt x="196" y="101"/>
                    </a:cubicBezTo>
                    <a:cubicBezTo>
                      <a:pt x="196"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4" y="101"/>
                      <a:pt x="194" y="101"/>
                      <a:pt x="194" y="101"/>
                    </a:cubicBezTo>
                    <a:cubicBezTo>
                      <a:pt x="194" y="101"/>
                      <a:pt x="194" y="101"/>
                      <a:pt x="194" y="101"/>
                    </a:cubicBezTo>
                    <a:cubicBezTo>
                      <a:pt x="194" y="101"/>
                      <a:pt x="194" y="101"/>
                      <a:pt x="194" y="101"/>
                    </a:cubicBezTo>
                    <a:cubicBezTo>
                      <a:pt x="194" y="101"/>
                      <a:pt x="194" y="101"/>
                      <a:pt x="194" y="101"/>
                    </a:cubicBezTo>
                    <a:cubicBezTo>
                      <a:pt x="194" y="100"/>
                      <a:pt x="193" y="100"/>
                      <a:pt x="193" y="100"/>
                    </a:cubicBezTo>
                    <a:cubicBezTo>
                      <a:pt x="193" y="100"/>
                      <a:pt x="193" y="100"/>
                      <a:pt x="193" y="100"/>
                    </a:cubicBezTo>
                    <a:cubicBezTo>
                      <a:pt x="193" y="100"/>
                      <a:pt x="193" y="100"/>
                      <a:pt x="193" y="100"/>
                    </a:cubicBezTo>
                    <a:cubicBezTo>
                      <a:pt x="193" y="100"/>
                      <a:pt x="193" y="101"/>
                      <a:pt x="193" y="101"/>
                    </a:cubicBezTo>
                    <a:cubicBezTo>
                      <a:pt x="193" y="101"/>
                      <a:pt x="193" y="101"/>
                      <a:pt x="192" y="101"/>
                    </a:cubicBezTo>
                    <a:cubicBezTo>
                      <a:pt x="192" y="101"/>
                      <a:pt x="192" y="101"/>
                      <a:pt x="192" y="101"/>
                    </a:cubicBezTo>
                    <a:cubicBezTo>
                      <a:pt x="192" y="101"/>
                      <a:pt x="192" y="101"/>
                      <a:pt x="192" y="101"/>
                    </a:cubicBezTo>
                    <a:cubicBezTo>
                      <a:pt x="192" y="101"/>
                      <a:pt x="192" y="101"/>
                      <a:pt x="192" y="101"/>
                    </a:cubicBezTo>
                    <a:cubicBezTo>
                      <a:pt x="192" y="101"/>
                      <a:pt x="192" y="101"/>
                      <a:pt x="192" y="101"/>
                    </a:cubicBezTo>
                    <a:cubicBezTo>
                      <a:pt x="192" y="101"/>
                      <a:pt x="192" y="102"/>
                      <a:pt x="192" y="102"/>
                    </a:cubicBezTo>
                    <a:cubicBezTo>
                      <a:pt x="192" y="102"/>
                      <a:pt x="192" y="102"/>
                      <a:pt x="192" y="102"/>
                    </a:cubicBezTo>
                    <a:cubicBezTo>
                      <a:pt x="192" y="102"/>
                      <a:pt x="191" y="102"/>
                      <a:pt x="191" y="102"/>
                    </a:cubicBezTo>
                    <a:cubicBezTo>
                      <a:pt x="191" y="102"/>
                      <a:pt x="191" y="102"/>
                      <a:pt x="191" y="102"/>
                    </a:cubicBezTo>
                    <a:cubicBezTo>
                      <a:pt x="191" y="102"/>
                      <a:pt x="191" y="102"/>
                      <a:pt x="191" y="102"/>
                    </a:cubicBezTo>
                    <a:cubicBezTo>
                      <a:pt x="191" y="102"/>
                      <a:pt x="191" y="102"/>
                      <a:pt x="191" y="103"/>
                    </a:cubicBezTo>
                    <a:cubicBezTo>
                      <a:pt x="191" y="103"/>
                      <a:pt x="191" y="103"/>
                      <a:pt x="191" y="103"/>
                    </a:cubicBezTo>
                    <a:cubicBezTo>
                      <a:pt x="191" y="103"/>
                      <a:pt x="191" y="103"/>
                      <a:pt x="191" y="103"/>
                    </a:cubicBezTo>
                    <a:cubicBezTo>
                      <a:pt x="191" y="103"/>
                      <a:pt x="191" y="103"/>
                      <a:pt x="191" y="103"/>
                    </a:cubicBezTo>
                    <a:cubicBezTo>
                      <a:pt x="191" y="103"/>
                      <a:pt x="191" y="103"/>
                      <a:pt x="191" y="104"/>
                    </a:cubicBezTo>
                    <a:cubicBezTo>
                      <a:pt x="191" y="104"/>
                      <a:pt x="191" y="104"/>
                      <a:pt x="191" y="104"/>
                    </a:cubicBezTo>
                    <a:cubicBezTo>
                      <a:pt x="191" y="104"/>
                      <a:pt x="191" y="104"/>
                      <a:pt x="191" y="104"/>
                    </a:cubicBezTo>
                    <a:cubicBezTo>
                      <a:pt x="191" y="104"/>
                      <a:pt x="190" y="104"/>
                      <a:pt x="190" y="104"/>
                    </a:cubicBezTo>
                    <a:cubicBezTo>
                      <a:pt x="190" y="104"/>
                      <a:pt x="190" y="104"/>
                      <a:pt x="190" y="104"/>
                    </a:cubicBezTo>
                    <a:cubicBezTo>
                      <a:pt x="190" y="104"/>
                      <a:pt x="190" y="105"/>
                      <a:pt x="190" y="105"/>
                    </a:cubicBezTo>
                    <a:cubicBezTo>
                      <a:pt x="190" y="105"/>
                      <a:pt x="191" y="105"/>
                      <a:pt x="191" y="105"/>
                    </a:cubicBezTo>
                    <a:cubicBezTo>
                      <a:pt x="191" y="105"/>
                      <a:pt x="191" y="105"/>
                      <a:pt x="191" y="105"/>
                    </a:cubicBezTo>
                    <a:cubicBezTo>
                      <a:pt x="191" y="105"/>
                      <a:pt x="191" y="105"/>
                      <a:pt x="191" y="105"/>
                    </a:cubicBezTo>
                    <a:cubicBezTo>
                      <a:pt x="192" y="105"/>
                      <a:pt x="192" y="105"/>
                      <a:pt x="192" y="105"/>
                    </a:cubicBezTo>
                    <a:cubicBezTo>
                      <a:pt x="191" y="106"/>
                      <a:pt x="191" y="106"/>
                      <a:pt x="191" y="106"/>
                    </a:cubicBezTo>
                    <a:cubicBezTo>
                      <a:pt x="191" y="106"/>
                      <a:pt x="191" y="106"/>
                      <a:pt x="191" y="106"/>
                    </a:cubicBezTo>
                    <a:cubicBezTo>
                      <a:pt x="191" y="106"/>
                      <a:pt x="190" y="106"/>
                      <a:pt x="190" y="106"/>
                    </a:cubicBezTo>
                    <a:cubicBezTo>
                      <a:pt x="190" y="106"/>
                      <a:pt x="190" y="106"/>
                      <a:pt x="190" y="106"/>
                    </a:cubicBezTo>
                    <a:cubicBezTo>
                      <a:pt x="190" y="106"/>
                      <a:pt x="190" y="106"/>
                      <a:pt x="190" y="106"/>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1" y="107"/>
                      <a:pt x="191" y="107"/>
                    </a:cubicBezTo>
                    <a:cubicBezTo>
                      <a:pt x="191" y="107"/>
                      <a:pt x="191" y="107"/>
                      <a:pt x="191" y="107"/>
                    </a:cubicBezTo>
                    <a:cubicBezTo>
                      <a:pt x="191" y="107"/>
                      <a:pt x="191" y="107"/>
                      <a:pt x="191" y="107"/>
                    </a:cubicBezTo>
                    <a:cubicBezTo>
                      <a:pt x="191" y="107"/>
                      <a:pt x="191" y="107"/>
                      <a:pt x="191" y="107"/>
                    </a:cubicBezTo>
                    <a:cubicBezTo>
                      <a:pt x="191" y="107"/>
                      <a:pt x="192" y="107"/>
                      <a:pt x="192" y="107"/>
                    </a:cubicBezTo>
                    <a:cubicBezTo>
                      <a:pt x="192" y="107"/>
                      <a:pt x="193" y="107"/>
                      <a:pt x="193" y="107"/>
                    </a:cubicBezTo>
                    <a:cubicBezTo>
                      <a:pt x="193" y="107"/>
                      <a:pt x="193" y="107"/>
                      <a:pt x="193" y="107"/>
                    </a:cubicBezTo>
                    <a:cubicBezTo>
                      <a:pt x="193" y="107"/>
                      <a:pt x="193" y="107"/>
                      <a:pt x="193" y="107"/>
                    </a:cubicBezTo>
                    <a:cubicBezTo>
                      <a:pt x="194" y="106"/>
                      <a:pt x="194" y="106"/>
                      <a:pt x="194" y="106"/>
                    </a:cubicBezTo>
                    <a:cubicBezTo>
                      <a:pt x="194" y="106"/>
                      <a:pt x="194" y="106"/>
                      <a:pt x="194" y="106"/>
                    </a:cubicBezTo>
                    <a:cubicBezTo>
                      <a:pt x="194" y="106"/>
                      <a:pt x="195" y="106"/>
                      <a:pt x="195" y="106"/>
                    </a:cubicBezTo>
                    <a:cubicBezTo>
                      <a:pt x="195" y="106"/>
                      <a:pt x="196" y="106"/>
                      <a:pt x="196" y="106"/>
                    </a:cubicBezTo>
                    <a:cubicBezTo>
                      <a:pt x="196" y="106"/>
                      <a:pt x="196" y="106"/>
                      <a:pt x="196" y="106"/>
                    </a:cubicBezTo>
                    <a:cubicBezTo>
                      <a:pt x="197" y="105"/>
                      <a:pt x="197" y="105"/>
                      <a:pt x="197" y="105"/>
                    </a:cubicBezTo>
                    <a:cubicBezTo>
                      <a:pt x="197" y="105"/>
                      <a:pt x="197" y="105"/>
                      <a:pt x="197" y="105"/>
                    </a:cubicBezTo>
                    <a:cubicBezTo>
                      <a:pt x="197" y="105"/>
                      <a:pt x="197" y="105"/>
                      <a:pt x="197" y="105"/>
                    </a:cubicBezTo>
                    <a:cubicBezTo>
                      <a:pt x="198" y="104"/>
                      <a:pt x="198" y="104"/>
                      <a:pt x="198" y="104"/>
                    </a:cubicBezTo>
                    <a:cubicBezTo>
                      <a:pt x="198" y="104"/>
                      <a:pt x="198" y="104"/>
                      <a:pt x="198" y="104"/>
                    </a:cubicBezTo>
                    <a:cubicBezTo>
                      <a:pt x="198" y="104"/>
                      <a:pt x="198" y="104"/>
                      <a:pt x="198" y="104"/>
                    </a:cubicBezTo>
                    <a:cubicBezTo>
                      <a:pt x="199" y="104"/>
                      <a:pt x="199" y="103"/>
                      <a:pt x="199" y="103"/>
                    </a:cubicBezTo>
                    <a:cubicBezTo>
                      <a:pt x="199" y="103"/>
                      <a:pt x="199" y="103"/>
                      <a:pt x="199" y="103"/>
                    </a:cubicBezTo>
                    <a:cubicBezTo>
                      <a:pt x="199" y="103"/>
                      <a:pt x="200" y="103"/>
                      <a:pt x="200" y="103"/>
                    </a:cubicBezTo>
                    <a:cubicBezTo>
                      <a:pt x="200" y="103"/>
                      <a:pt x="200" y="102"/>
                      <a:pt x="200" y="102"/>
                    </a:cubicBezTo>
                    <a:cubicBezTo>
                      <a:pt x="200" y="102"/>
                      <a:pt x="200" y="102"/>
                      <a:pt x="200" y="102"/>
                    </a:cubicBezTo>
                    <a:cubicBezTo>
                      <a:pt x="200" y="102"/>
                      <a:pt x="200" y="102"/>
                      <a:pt x="200" y="102"/>
                    </a:cubicBezTo>
                    <a:cubicBezTo>
                      <a:pt x="200" y="101"/>
                      <a:pt x="200" y="101"/>
                      <a:pt x="200" y="101"/>
                    </a:cubicBezTo>
                    <a:cubicBezTo>
                      <a:pt x="200" y="101"/>
                      <a:pt x="200" y="101"/>
                      <a:pt x="201" y="101"/>
                    </a:cubicBezTo>
                    <a:cubicBezTo>
                      <a:pt x="201" y="101"/>
                      <a:pt x="200" y="101"/>
                      <a:pt x="200" y="101"/>
                    </a:cubicBezTo>
                    <a:cubicBezTo>
                      <a:pt x="200" y="101"/>
                      <a:pt x="200" y="101"/>
                      <a:pt x="200" y="101"/>
                    </a:cubicBezTo>
                    <a:cubicBezTo>
                      <a:pt x="200" y="101"/>
                      <a:pt x="200" y="101"/>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99"/>
                      <a:pt x="200" y="99"/>
                    </a:cubicBezTo>
                    <a:cubicBezTo>
                      <a:pt x="200" y="99"/>
                      <a:pt x="200" y="99"/>
                      <a:pt x="200" y="99"/>
                    </a:cubicBezTo>
                    <a:cubicBezTo>
                      <a:pt x="200" y="99"/>
                      <a:pt x="200" y="99"/>
                      <a:pt x="200" y="99"/>
                    </a:cubicBezTo>
                    <a:cubicBezTo>
                      <a:pt x="200" y="99"/>
                      <a:pt x="200" y="99"/>
                      <a:pt x="200" y="99"/>
                    </a:cubicBezTo>
                    <a:cubicBezTo>
                      <a:pt x="200" y="99"/>
                      <a:pt x="201" y="99"/>
                      <a:pt x="201" y="99"/>
                    </a:cubicBezTo>
                    <a:cubicBezTo>
                      <a:pt x="201" y="99"/>
                      <a:pt x="201" y="99"/>
                      <a:pt x="201" y="99"/>
                    </a:cubicBezTo>
                    <a:cubicBezTo>
                      <a:pt x="201" y="99"/>
                      <a:pt x="201" y="99"/>
                      <a:pt x="201" y="99"/>
                    </a:cubicBezTo>
                    <a:cubicBezTo>
                      <a:pt x="201" y="99"/>
                      <a:pt x="201" y="99"/>
                      <a:pt x="201" y="99"/>
                    </a:cubicBezTo>
                    <a:cubicBezTo>
                      <a:pt x="201" y="99"/>
                      <a:pt x="201" y="99"/>
                      <a:pt x="201" y="99"/>
                    </a:cubicBezTo>
                    <a:close/>
                    <a:moveTo>
                      <a:pt x="195" y="93"/>
                    </a:moveTo>
                    <a:cubicBezTo>
                      <a:pt x="195" y="93"/>
                      <a:pt x="195" y="93"/>
                      <a:pt x="195" y="93"/>
                    </a:cubicBezTo>
                    <a:cubicBezTo>
                      <a:pt x="195" y="92"/>
                      <a:pt x="195" y="92"/>
                      <a:pt x="195" y="92"/>
                    </a:cubicBezTo>
                    <a:cubicBezTo>
                      <a:pt x="195" y="92"/>
                      <a:pt x="195" y="92"/>
                      <a:pt x="195" y="92"/>
                    </a:cubicBezTo>
                    <a:cubicBezTo>
                      <a:pt x="195" y="92"/>
                      <a:pt x="195" y="92"/>
                      <a:pt x="195" y="92"/>
                    </a:cubicBezTo>
                    <a:cubicBezTo>
                      <a:pt x="195" y="92"/>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4" y="93"/>
                    </a:cubicBezTo>
                    <a:cubicBezTo>
                      <a:pt x="194" y="93"/>
                      <a:pt x="194" y="93"/>
                      <a:pt x="194" y="93"/>
                    </a:cubicBezTo>
                    <a:cubicBezTo>
                      <a:pt x="194" y="93"/>
                      <a:pt x="194" y="93"/>
                      <a:pt x="194" y="93"/>
                    </a:cubicBezTo>
                    <a:cubicBezTo>
                      <a:pt x="194" y="93"/>
                      <a:pt x="194" y="93"/>
                      <a:pt x="194" y="93"/>
                    </a:cubicBezTo>
                    <a:cubicBezTo>
                      <a:pt x="194" y="93"/>
                      <a:pt x="194" y="93"/>
                      <a:pt x="194" y="94"/>
                    </a:cubicBezTo>
                    <a:cubicBezTo>
                      <a:pt x="194" y="94"/>
                      <a:pt x="194" y="94"/>
                      <a:pt x="194" y="94"/>
                    </a:cubicBezTo>
                    <a:cubicBezTo>
                      <a:pt x="194" y="94"/>
                      <a:pt x="194" y="94"/>
                      <a:pt x="194" y="94"/>
                    </a:cubicBezTo>
                    <a:cubicBezTo>
                      <a:pt x="194" y="94"/>
                      <a:pt x="194" y="94"/>
                      <a:pt x="194" y="94"/>
                    </a:cubicBezTo>
                    <a:cubicBezTo>
                      <a:pt x="194" y="94"/>
                      <a:pt x="194" y="94"/>
                      <a:pt x="194" y="94"/>
                    </a:cubicBezTo>
                    <a:cubicBezTo>
                      <a:pt x="194" y="93"/>
                      <a:pt x="194" y="93"/>
                      <a:pt x="194" y="93"/>
                    </a:cubicBezTo>
                    <a:cubicBezTo>
                      <a:pt x="194" y="93"/>
                      <a:pt x="193" y="93"/>
                      <a:pt x="193" y="93"/>
                    </a:cubicBezTo>
                    <a:cubicBezTo>
                      <a:pt x="193" y="93"/>
                      <a:pt x="193" y="93"/>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4" y="94"/>
                      <a:pt x="194" y="94"/>
                    </a:cubicBezTo>
                    <a:cubicBezTo>
                      <a:pt x="194" y="94"/>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5" y="95"/>
                      <a:pt x="195" y="94"/>
                    </a:cubicBezTo>
                    <a:cubicBezTo>
                      <a:pt x="195" y="94"/>
                      <a:pt x="195" y="94"/>
                      <a:pt x="195" y="94"/>
                    </a:cubicBezTo>
                    <a:cubicBezTo>
                      <a:pt x="195" y="94"/>
                      <a:pt x="195" y="94"/>
                      <a:pt x="195" y="94"/>
                    </a:cubicBezTo>
                    <a:cubicBezTo>
                      <a:pt x="195" y="94"/>
                      <a:pt x="195" y="94"/>
                      <a:pt x="195" y="94"/>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lose/>
                    <a:moveTo>
                      <a:pt x="164" y="96"/>
                    </a:moveTo>
                    <a:cubicBezTo>
                      <a:pt x="164" y="96"/>
                      <a:pt x="164" y="96"/>
                      <a:pt x="164" y="96"/>
                    </a:cubicBezTo>
                    <a:cubicBezTo>
                      <a:pt x="164" y="96"/>
                      <a:pt x="165" y="96"/>
                      <a:pt x="165" y="96"/>
                    </a:cubicBezTo>
                    <a:cubicBezTo>
                      <a:pt x="165" y="96"/>
                      <a:pt x="165" y="96"/>
                      <a:pt x="165" y="96"/>
                    </a:cubicBezTo>
                    <a:cubicBezTo>
                      <a:pt x="165" y="95"/>
                      <a:pt x="165" y="95"/>
                      <a:pt x="165" y="95"/>
                    </a:cubicBezTo>
                    <a:cubicBezTo>
                      <a:pt x="165" y="95"/>
                      <a:pt x="165" y="95"/>
                      <a:pt x="165" y="95"/>
                    </a:cubicBezTo>
                    <a:cubicBezTo>
                      <a:pt x="165"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5"/>
                      <a:pt x="164" y="95"/>
                    </a:cubicBezTo>
                    <a:cubicBezTo>
                      <a:pt x="164" y="95"/>
                      <a:pt x="164" y="95"/>
                      <a:pt x="164" y="95"/>
                    </a:cubicBezTo>
                    <a:cubicBezTo>
                      <a:pt x="164"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7"/>
                    </a:cubicBezTo>
                    <a:cubicBezTo>
                      <a:pt x="164" y="97"/>
                      <a:pt x="164" y="97"/>
                      <a:pt x="164" y="97"/>
                    </a:cubicBezTo>
                    <a:cubicBezTo>
                      <a:pt x="164" y="97"/>
                      <a:pt x="164" y="97"/>
                      <a:pt x="164" y="97"/>
                    </a:cubicBezTo>
                    <a:cubicBezTo>
                      <a:pt x="164" y="97"/>
                      <a:pt x="164" y="96"/>
                      <a:pt x="164" y="96"/>
                    </a:cubicBezTo>
                    <a:cubicBezTo>
                      <a:pt x="164" y="96"/>
                      <a:pt x="164" y="96"/>
                      <a:pt x="164" y="96"/>
                    </a:cubicBezTo>
                    <a:cubicBezTo>
                      <a:pt x="164" y="96"/>
                      <a:pt x="164" y="96"/>
                      <a:pt x="164" y="96"/>
                    </a:cubicBezTo>
                    <a:cubicBezTo>
                      <a:pt x="164" y="96"/>
                      <a:pt x="164" y="96"/>
                      <a:pt x="164" y="96"/>
                    </a:cubicBezTo>
                    <a:close/>
                    <a:moveTo>
                      <a:pt x="188" y="94"/>
                    </a:moveTo>
                    <a:cubicBezTo>
                      <a:pt x="188" y="94"/>
                      <a:pt x="188" y="94"/>
                      <a:pt x="188" y="94"/>
                    </a:cubicBezTo>
                    <a:cubicBezTo>
                      <a:pt x="188" y="94"/>
                      <a:pt x="188" y="93"/>
                      <a:pt x="188" y="93"/>
                    </a:cubicBezTo>
                    <a:cubicBezTo>
                      <a:pt x="189" y="93"/>
                      <a:pt x="189" y="93"/>
                      <a:pt x="189" y="93"/>
                    </a:cubicBezTo>
                    <a:cubicBezTo>
                      <a:pt x="189" y="93"/>
                      <a:pt x="188" y="93"/>
                      <a:pt x="188" y="93"/>
                    </a:cubicBezTo>
                    <a:cubicBezTo>
                      <a:pt x="188" y="93"/>
                      <a:pt x="188" y="93"/>
                      <a:pt x="188" y="93"/>
                    </a:cubicBezTo>
                    <a:cubicBezTo>
                      <a:pt x="188" y="93"/>
                      <a:pt x="188" y="93"/>
                      <a:pt x="188" y="93"/>
                    </a:cubicBezTo>
                    <a:cubicBezTo>
                      <a:pt x="188" y="93"/>
                      <a:pt x="188" y="93"/>
                      <a:pt x="188" y="93"/>
                    </a:cubicBezTo>
                    <a:cubicBezTo>
                      <a:pt x="188" y="93"/>
                      <a:pt x="188" y="93"/>
                      <a:pt x="188" y="93"/>
                    </a:cubicBezTo>
                    <a:cubicBezTo>
                      <a:pt x="188" y="93"/>
                      <a:pt x="187" y="93"/>
                      <a:pt x="187" y="93"/>
                    </a:cubicBezTo>
                    <a:cubicBezTo>
                      <a:pt x="187" y="93"/>
                      <a:pt x="187" y="93"/>
                      <a:pt x="187" y="93"/>
                    </a:cubicBezTo>
                    <a:cubicBezTo>
                      <a:pt x="187" y="93"/>
                      <a:pt x="187" y="93"/>
                      <a:pt x="187" y="93"/>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8" y="94"/>
                    </a:cubicBezTo>
                    <a:cubicBezTo>
                      <a:pt x="188" y="94"/>
                      <a:pt x="188" y="94"/>
                      <a:pt x="188" y="94"/>
                    </a:cubicBezTo>
                    <a:close/>
                    <a:moveTo>
                      <a:pt x="187" y="94"/>
                    </a:moveTo>
                    <a:cubicBezTo>
                      <a:pt x="187" y="94"/>
                      <a:pt x="187" y="94"/>
                      <a:pt x="187" y="94"/>
                    </a:cubicBezTo>
                    <a:cubicBezTo>
                      <a:pt x="187" y="94"/>
                      <a:pt x="187" y="94"/>
                      <a:pt x="187" y="94"/>
                    </a:cubicBezTo>
                    <a:cubicBezTo>
                      <a:pt x="187" y="94"/>
                      <a:pt x="187" y="94"/>
                      <a:pt x="187" y="94"/>
                    </a:cubicBezTo>
                    <a:cubicBezTo>
                      <a:pt x="187" y="94"/>
                      <a:pt x="187" y="94"/>
                      <a:pt x="186" y="94"/>
                    </a:cubicBezTo>
                    <a:cubicBezTo>
                      <a:pt x="186" y="94"/>
                      <a:pt x="186" y="94"/>
                      <a:pt x="186" y="94"/>
                    </a:cubicBezTo>
                    <a:cubicBezTo>
                      <a:pt x="186" y="94"/>
                      <a:pt x="186" y="94"/>
                      <a:pt x="186" y="94"/>
                    </a:cubicBezTo>
                    <a:cubicBezTo>
                      <a:pt x="186" y="94"/>
                      <a:pt x="186" y="94"/>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7" y="95"/>
                    </a:cubicBezTo>
                    <a:cubicBezTo>
                      <a:pt x="187" y="95"/>
                      <a:pt x="187" y="95"/>
                      <a:pt x="187" y="95"/>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7" y="94"/>
                    </a:cubicBezTo>
                    <a:close/>
                    <a:moveTo>
                      <a:pt x="190" y="94"/>
                    </a:move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3"/>
                      <a:pt x="191" y="93"/>
                      <a:pt x="192" y="93"/>
                    </a:cubicBezTo>
                    <a:cubicBezTo>
                      <a:pt x="192" y="93"/>
                      <a:pt x="192" y="93"/>
                      <a:pt x="192" y="93"/>
                    </a:cubicBezTo>
                    <a:cubicBezTo>
                      <a:pt x="192" y="93"/>
                      <a:pt x="192" y="93"/>
                      <a:pt x="192" y="93"/>
                    </a:cubicBezTo>
                    <a:cubicBezTo>
                      <a:pt x="192" y="93"/>
                      <a:pt x="192" y="93"/>
                      <a:pt x="192" y="93"/>
                    </a:cubicBezTo>
                    <a:cubicBezTo>
                      <a:pt x="192" y="93"/>
                      <a:pt x="192" y="93"/>
                      <a:pt x="193" y="93"/>
                    </a:cubicBezTo>
                    <a:cubicBezTo>
                      <a:pt x="193" y="93"/>
                      <a:pt x="193" y="93"/>
                      <a:pt x="193" y="93"/>
                    </a:cubicBezTo>
                    <a:cubicBezTo>
                      <a:pt x="193" y="93"/>
                      <a:pt x="193" y="93"/>
                      <a:pt x="193" y="93"/>
                    </a:cubicBezTo>
                    <a:cubicBezTo>
                      <a:pt x="193" y="93"/>
                      <a:pt x="193" y="93"/>
                      <a:pt x="193" y="93"/>
                    </a:cubicBezTo>
                    <a:cubicBezTo>
                      <a:pt x="192" y="93"/>
                      <a:pt x="192" y="93"/>
                      <a:pt x="192" y="93"/>
                    </a:cubicBezTo>
                    <a:cubicBezTo>
                      <a:pt x="192" y="93"/>
                      <a:pt x="192" y="93"/>
                      <a:pt x="192" y="93"/>
                    </a:cubicBezTo>
                    <a:cubicBezTo>
                      <a:pt x="192" y="93"/>
                      <a:pt x="192" y="93"/>
                      <a:pt x="192" y="93"/>
                    </a:cubicBezTo>
                    <a:cubicBezTo>
                      <a:pt x="192" y="93"/>
                      <a:pt x="192" y="93"/>
                      <a:pt x="192" y="92"/>
                    </a:cubicBezTo>
                    <a:cubicBezTo>
                      <a:pt x="192" y="92"/>
                      <a:pt x="192" y="92"/>
                      <a:pt x="192" y="92"/>
                    </a:cubicBezTo>
                    <a:cubicBezTo>
                      <a:pt x="192" y="92"/>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0" y="93"/>
                      <a:pt x="191" y="93"/>
                      <a:pt x="191" y="93"/>
                    </a:cubicBezTo>
                    <a:cubicBezTo>
                      <a:pt x="191" y="93"/>
                      <a:pt x="191" y="93"/>
                      <a:pt x="191" y="93"/>
                    </a:cubicBezTo>
                    <a:cubicBezTo>
                      <a:pt x="191" y="93"/>
                      <a:pt x="191" y="93"/>
                      <a:pt x="191" y="93"/>
                    </a:cubicBezTo>
                    <a:cubicBezTo>
                      <a:pt x="190" y="93"/>
                      <a:pt x="191" y="93"/>
                      <a:pt x="190" y="93"/>
                    </a:cubicBezTo>
                    <a:cubicBezTo>
                      <a:pt x="190" y="93"/>
                      <a:pt x="190" y="93"/>
                      <a:pt x="190" y="93"/>
                    </a:cubicBezTo>
                    <a:cubicBezTo>
                      <a:pt x="190" y="93"/>
                      <a:pt x="190" y="93"/>
                      <a:pt x="190" y="93"/>
                    </a:cubicBezTo>
                    <a:cubicBezTo>
                      <a:pt x="190" y="93"/>
                      <a:pt x="190" y="93"/>
                      <a:pt x="190" y="94"/>
                    </a:cubicBezTo>
                    <a:cubicBezTo>
                      <a:pt x="190" y="94"/>
                      <a:pt x="190" y="94"/>
                      <a:pt x="190" y="94"/>
                    </a:cubicBezTo>
                    <a:cubicBezTo>
                      <a:pt x="190" y="94"/>
                      <a:pt x="190" y="94"/>
                      <a:pt x="190" y="94"/>
                    </a:cubicBezTo>
                    <a:cubicBezTo>
                      <a:pt x="190" y="94"/>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90" y="93"/>
                    </a:cubicBezTo>
                    <a:cubicBezTo>
                      <a:pt x="190" y="93"/>
                      <a:pt x="190" y="93"/>
                      <a:pt x="190" y="94"/>
                    </a:cubicBezTo>
                    <a:cubicBezTo>
                      <a:pt x="190" y="94"/>
                      <a:pt x="189" y="94"/>
                      <a:pt x="189" y="94"/>
                    </a:cubicBezTo>
                    <a:cubicBezTo>
                      <a:pt x="189" y="94"/>
                      <a:pt x="189" y="94"/>
                      <a:pt x="189" y="94"/>
                    </a:cubicBezTo>
                    <a:cubicBezTo>
                      <a:pt x="189" y="94"/>
                      <a:pt x="189" y="94"/>
                      <a:pt x="189" y="94"/>
                    </a:cubicBezTo>
                    <a:cubicBezTo>
                      <a:pt x="189" y="94"/>
                      <a:pt x="189" y="94"/>
                      <a:pt x="189" y="94"/>
                    </a:cubicBezTo>
                    <a:cubicBezTo>
                      <a:pt x="189" y="94"/>
                      <a:pt x="189" y="94"/>
                      <a:pt x="188" y="94"/>
                    </a:cubicBezTo>
                    <a:cubicBezTo>
                      <a:pt x="188" y="94"/>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4"/>
                    </a:cubicBezTo>
                    <a:cubicBezTo>
                      <a:pt x="190" y="94"/>
                      <a:pt x="190" y="94"/>
                      <a:pt x="190" y="94"/>
                    </a:cubicBezTo>
                    <a:close/>
                    <a:moveTo>
                      <a:pt x="189" y="106"/>
                    </a:moveTo>
                    <a:cubicBezTo>
                      <a:pt x="189" y="106"/>
                      <a:pt x="190" y="106"/>
                      <a:pt x="190" y="106"/>
                    </a:cubicBezTo>
                    <a:cubicBezTo>
                      <a:pt x="190" y="106"/>
                      <a:pt x="190" y="106"/>
                      <a:pt x="190" y="106"/>
                    </a:cubicBezTo>
                    <a:cubicBezTo>
                      <a:pt x="190" y="106"/>
                      <a:pt x="190" y="106"/>
                      <a:pt x="190" y="106"/>
                    </a:cubicBezTo>
                    <a:cubicBezTo>
                      <a:pt x="190" y="106"/>
                      <a:pt x="190" y="106"/>
                      <a:pt x="190" y="106"/>
                    </a:cubicBezTo>
                    <a:cubicBezTo>
                      <a:pt x="190" y="106"/>
                      <a:pt x="190" y="106"/>
                      <a:pt x="189" y="106"/>
                    </a:cubicBezTo>
                    <a:cubicBezTo>
                      <a:pt x="189" y="106"/>
                      <a:pt x="189" y="106"/>
                      <a:pt x="189" y="106"/>
                    </a:cubicBezTo>
                    <a:cubicBezTo>
                      <a:pt x="189" y="106"/>
                      <a:pt x="189" y="106"/>
                      <a:pt x="189" y="106"/>
                    </a:cubicBezTo>
                    <a:cubicBezTo>
                      <a:pt x="189" y="106"/>
                      <a:pt x="189" y="106"/>
                      <a:pt x="189" y="106"/>
                    </a:cubicBezTo>
                    <a:cubicBezTo>
                      <a:pt x="189" y="106"/>
                      <a:pt x="189" y="106"/>
                      <a:pt x="189" y="107"/>
                    </a:cubicBezTo>
                    <a:cubicBezTo>
                      <a:pt x="189" y="107"/>
                      <a:pt x="189" y="107"/>
                      <a:pt x="189" y="107"/>
                    </a:cubicBezTo>
                    <a:cubicBezTo>
                      <a:pt x="188"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6"/>
                    </a:cubicBezTo>
                    <a:cubicBezTo>
                      <a:pt x="189" y="106"/>
                      <a:pt x="189" y="106"/>
                      <a:pt x="189" y="106"/>
                    </a:cubicBezTo>
                    <a:close/>
                    <a:moveTo>
                      <a:pt x="172" y="105"/>
                    </a:moveTo>
                    <a:cubicBezTo>
                      <a:pt x="172" y="105"/>
                      <a:pt x="171" y="104"/>
                      <a:pt x="171" y="104"/>
                    </a:cubicBezTo>
                    <a:cubicBezTo>
                      <a:pt x="171" y="104"/>
                      <a:pt x="171" y="104"/>
                      <a:pt x="171" y="104"/>
                    </a:cubicBezTo>
                    <a:cubicBezTo>
                      <a:pt x="171" y="104"/>
                      <a:pt x="171" y="104"/>
                      <a:pt x="171" y="104"/>
                    </a:cubicBezTo>
                    <a:cubicBezTo>
                      <a:pt x="171" y="104"/>
                      <a:pt x="171" y="104"/>
                      <a:pt x="171" y="104"/>
                    </a:cubicBezTo>
                    <a:cubicBezTo>
                      <a:pt x="171" y="104"/>
                      <a:pt x="170" y="104"/>
                      <a:pt x="170" y="104"/>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2"/>
                      <a:pt x="170" y="102"/>
                    </a:cubicBezTo>
                    <a:cubicBezTo>
                      <a:pt x="170" y="102"/>
                      <a:pt x="169" y="102"/>
                      <a:pt x="169" y="102"/>
                    </a:cubicBezTo>
                    <a:cubicBezTo>
                      <a:pt x="169" y="102"/>
                      <a:pt x="169" y="102"/>
                      <a:pt x="169" y="102"/>
                    </a:cubicBezTo>
                    <a:cubicBezTo>
                      <a:pt x="169" y="102"/>
                      <a:pt x="169" y="102"/>
                      <a:pt x="169" y="103"/>
                    </a:cubicBezTo>
                    <a:cubicBezTo>
                      <a:pt x="169" y="103"/>
                      <a:pt x="168" y="103"/>
                      <a:pt x="168" y="103"/>
                    </a:cubicBezTo>
                    <a:cubicBezTo>
                      <a:pt x="168" y="102"/>
                      <a:pt x="168" y="102"/>
                      <a:pt x="168" y="102"/>
                    </a:cubicBezTo>
                    <a:cubicBezTo>
                      <a:pt x="168" y="102"/>
                      <a:pt x="168" y="102"/>
                      <a:pt x="168" y="102"/>
                    </a:cubicBezTo>
                    <a:cubicBezTo>
                      <a:pt x="168" y="102"/>
                      <a:pt x="168" y="102"/>
                      <a:pt x="168" y="102"/>
                    </a:cubicBezTo>
                    <a:cubicBezTo>
                      <a:pt x="168" y="102"/>
                      <a:pt x="168" y="102"/>
                      <a:pt x="168" y="102"/>
                    </a:cubicBezTo>
                    <a:cubicBezTo>
                      <a:pt x="168" y="102"/>
                      <a:pt x="168" y="101"/>
                      <a:pt x="168" y="101"/>
                    </a:cubicBezTo>
                    <a:cubicBezTo>
                      <a:pt x="168" y="101"/>
                      <a:pt x="168" y="101"/>
                      <a:pt x="167" y="101"/>
                    </a:cubicBezTo>
                    <a:cubicBezTo>
                      <a:pt x="167" y="101"/>
                      <a:pt x="167" y="101"/>
                      <a:pt x="167" y="101"/>
                    </a:cubicBezTo>
                    <a:cubicBezTo>
                      <a:pt x="167" y="101"/>
                      <a:pt x="167" y="101"/>
                      <a:pt x="167" y="101"/>
                    </a:cubicBezTo>
                    <a:cubicBezTo>
                      <a:pt x="167" y="101"/>
                      <a:pt x="167" y="101"/>
                      <a:pt x="167" y="101"/>
                    </a:cubicBezTo>
                    <a:cubicBezTo>
                      <a:pt x="167" y="101"/>
                      <a:pt x="166" y="100"/>
                      <a:pt x="166" y="100"/>
                    </a:cubicBezTo>
                    <a:cubicBezTo>
                      <a:pt x="166" y="100"/>
                      <a:pt x="166" y="100"/>
                      <a:pt x="166" y="100"/>
                    </a:cubicBezTo>
                    <a:cubicBezTo>
                      <a:pt x="166" y="100"/>
                      <a:pt x="165" y="101"/>
                      <a:pt x="165" y="101"/>
                    </a:cubicBezTo>
                    <a:cubicBezTo>
                      <a:pt x="165" y="101"/>
                      <a:pt x="165" y="101"/>
                      <a:pt x="164" y="101"/>
                    </a:cubicBezTo>
                    <a:cubicBezTo>
                      <a:pt x="164" y="101"/>
                      <a:pt x="164" y="101"/>
                      <a:pt x="164" y="101"/>
                    </a:cubicBezTo>
                    <a:cubicBezTo>
                      <a:pt x="164" y="101"/>
                      <a:pt x="164" y="100"/>
                      <a:pt x="164" y="100"/>
                    </a:cubicBezTo>
                    <a:cubicBezTo>
                      <a:pt x="164" y="100"/>
                      <a:pt x="164" y="100"/>
                      <a:pt x="164" y="100"/>
                    </a:cubicBezTo>
                    <a:cubicBezTo>
                      <a:pt x="164" y="100"/>
                      <a:pt x="163" y="100"/>
                      <a:pt x="163" y="100"/>
                    </a:cubicBezTo>
                    <a:cubicBezTo>
                      <a:pt x="163" y="100"/>
                      <a:pt x="163" y="101"/>
                      <a:pt x="163" y="101"/>
                    </a:cubicBezTo>
                    <a:cubicBezTo>
                      <a:pt x="163" y="101"/>
                      <a:pt x="163" y="101"/>
                      <a:pt x="163" y="101"/>
                    </a:cubicBezTo>
                    <a:cubicBezTo>
                      <a:pt x="163" y="101"/>
                      <a:pt x="163" y="100"/>
                      <a:pt x="163" y="100"/>
                    </a:cubicBezTo>
                    <a:cubicBezTo>
                      <a:pt x="163" y="100"/>
                      <a:pt x="162" y="100"/>
                      <a:pt x="162" y="100"/>
                    </a:cubicBezTo>
                    <a:cubicBezTo>
                      <a:pt x="162" y="100"/>
                      <a:pt x="162" y="101"/>
                      <a:pt x="162" y="101"/>
                    </a:cubicBezTo>
                    <a:cubicBezTo>
                      <a:pt x="162" y="101"/>
                      <a:pt x="162" y="101"/>
                      <a:pt x="162" y="101"/>
                    </a:cubicBezTo>
                    <a:cubicBezTo>
                      <a:pt x="162" y="101"/>
                      <a:pt x="162" y="101"/>
                      <a:pt x="162" y="101"/>
                    </a:cubicBezTo>
                    <a:cubicBezTo>
                      <a:pt x="162" y="101"/>
                      <a:pt x="162" y="100"/>
                      <a:pt x="162" y="100"/>
                    </a:cubicBezTo>
                    <a:cubicBezTo>
                      <a:pt x="162" y="100"/>
                      <a:pt x="161" y="100"/>
                      <a:pt x="161" y="100"/>
                    </a:cubicBezTo>
                    <a:cubicBezTo>
                      <a:pt x="161" y="101"/>
                      <a:pt x="161" y="101"/>
                      <a:pt x="161" y="101"/>
                    </a:cubicBezTo>
                    <a:cubicBezTo>
                      <a:pt x="161" y="101"/>
                      <a:pt x="161" y="101"/>
                      <a:pt x="161" y="101"/>
                    </a:cubicBezTo>
                    <a:cubicBezTo>
                      <a:pt x="161" y="101"/>
                      <a:pt x="161" y="101"/>
                      <a:pt x="161" y="101"/>
                    </a:cubicBezTo>
                    <a:cubicBezTo>
                      <a:pt x="161" y="101"/>
                      <a:pt x="160" y="101"/>
                      <a:pt x="160" y="101"/>
                    </a:cubicBezTo>
                    <a:cubicBezTo>
                      <a:pt x="160" y="101"/>
                      <a:pt x="160" y="101"/>
                      <a:pt x="160" y="101"/>
                    </a:cubicBezTo>
                    <a:cubicBezTo>
                      <a:pt x="160" y="101"/>
                      <a:pt x="160" y="101"/>
                      <a:pt x="160" y="101"/>
                    </a:cubicBezTo>
                    <a:cubicBezTo>
                      <a:pt x="160" y="101"/>
                      <a:pt x="160" y="101"/>
                      <a:pt x="160" y="101"/>
                    </a:cubicBezTo>
                    <a:cubicBezTo>
                      <a:pt x="159" y="101"/>
                      <a:pt x="159" y="101"/>
                      <a:pt x="159" y="101"/>
                    </a:cubicBezTo>
                    <a:cubicBezTo>
                      <a:pt x="159" y="101"/>
                      <a:pt x="159" y="101"/>
                      <a:pt x="159" y="102"/>
                    </a:cubicBezTo>
                    <a:cubicBezTo>
                      <a:pt x="159" y="102"/>
                      <a:pt x="159" y="102"/>
                      <a:pt x="159" y="102"/>
                    </a:cubicBezTo>
                    <a:cubicBezTo>
                      <a:pt x="159" y="102"/>
                      <a:pt x="159" y="102"/>
                      <a:pt x="159" y="102"/>
                    </a:cubicBezTo>
                    <a:cubicBezTo>
                      <a:pt x="159" y="102"/>
                      <a:pt x="159" y="102"/>
                      <a:pt x="160" y="102"/>
                    </a:cubicBezTo>
                    <a:cubicBezTo>
                      <a:pt x="160" y="103"/>
                      <a:pt x="160" y="103"/>
                      <a:pt x="160" y="103"/>
                    </a:cubicBezTo>
                    <a:cubicBezTo>
                      <a:pt x="160" y="103"/>
                      <a:pt x="160" y="103"/>
                      <a:pt x="160" y="103"/>
                    </a:cubicBezTo>
                    <a:cubicBezTo>
                      <a:pt x="160" y="103"/>
                      <a:pt x="161" y="103"/>
                      <a:pt x="161" y="103"/>
                    </a:cubicBezTo>
                    <a:cubicBezTo>
                      <a:pt x="161" y="103"/>
                      <a:pt x="161" y="103"/>
                      <a:pt x="161" y="103"/>
                    </a:cubicBezTo>
                    <a:cubicBezTo>
                      <a:pt x="162" y="103"/>
                      <a:pt x="161" y="103"/>
                      <a:pt x="161" y="103"/>
                    </a:cubicBezTo>
                    <a:cubicBezTo>
                      <a:pt x="161"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3" y="103"/>
                    </a:cubicBezTo>
                    <a:cubicBezTo>
                      <a:pt x="163" y="103"/>
                      <a:pt x="163" y="103"/>
                      <a:pt x="163" y="103"/>
                    </a:cubicBezTo>
                    <a:cubicBezTo>
                      <a:pt x="163" y="103"/>
                      <a:pt x="163" y="103"/>
                      <a:pt x="163" y="103"/>
                    </a:cubicBezTo>
                    <a:cubicBezTo>
                      <a:pt x="163" y="103"/>
                      <a:pt x="163" y="103"/>
                      <a:pt x="163" y="103"/>
                    </a:cubicBezTo>
                    <a:cubicBezTo>
                      <a:pt x="163" y="103"/>
                      <a:pt x="163" y="103"/>
                      <a:pt x="164" y="103"/>
                    </a:cubicBezTo>
                    <a:cubicBezTo>
                      <a:pt x="164" y="103"/>
                      <a:pt x="164" y="104"/>
                      <a:pt x="164" y="104"/>
                    </a:cubicBezTo>
                    <a:cubicBezTo>
                      <a:pt x="164" y="104"/>
                      <a:pt x="164" y="103"/>
                      <a:pt x="164" y="103"/>
                    </a:cubicBezTo>
                    <a:cubicBezTo>
                      <a:pt x="164" y="103"/>
                      <a:pt x="164" y="103"/>
                      <a:pt x="164" y="103"/>
                    </a:cubicBezTo>
                    <a:cubicBezTo>
                      <a:pt x="164" y="103"/>
                      <a:pt x="164" y="104"/>
                      <a:pt x="164" y="104"/>
                    </a:cubicBezTo>
                    <a:cubicBezTo>
                      <a:pt x="164" y="104"/>
                      <a:pt x="164" y="104"/>
                      <a:pt x="164" y="104"/>
                    </a:cubicBezTo>
                    <a:cubicBezTo>
                      <a:pt x="164" y="104"/>
                      <a:pt x="165" y="104"/>
                      <a:pt x="165" y="104"/>
                    </a:cubicBezTo>
                    <a:cubicBezTo>
                      <a:pt x="165" y="104"/>
                      <a:pt x="165" y="104"/>
                      <a:pt x="165" y="104"/>
                    </a:cubicBezTo>
                    <a:cubicBezTo>
                      <a:pt x="165" y="104"/>
                      <a:pt x="165" y="104"/>
                      <a:pt x="165" y="104"/>
                    </a:cubicBezTo>
                    <a:cubicBezTo>
                      <a:pt x="165" y="104"/>
                      <a:pt x="165" y="105"/>
                      <a:pt x="165" y="105"/>
                    </a:cubicBezTo>
                    <a:cubicBezTo>
                      <a:pt x="165"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6"/>
                      <a:pt x="166" y="106"/>
                    </a:cubicBezTo>
                    <a:cubicBezTo>
                      <a:pt x="166" y="106"/>
                      <a:pt x="166" y="106"/>
                      <a:pt x="166" y="106"/>
                    </a:cubicBezTo>
                    <a:cubicBezTo>
                      <a:pt x="166" y="106"/>
                      <a:pt x="166" y="106"/>
                      <a:pt x="166" y="106"/>
                    </a:cubicBezTo>
                    <a:cubicBezTo>
                      <a:pt x="167" y="106"/>
                      <a:pt x="167" y="106"/>
                      <a:pt x="167" y="106"/>
                    </a:cubicBezTo>
                    <a:cubicBezTo>
                      <a:pt x="167" y="106"/>
                      <a:pt x="167" y="106"/>
                      <a:pt x="167" y="106"/>
                    </a:cubicBezTo>
                    <a:cubicBezTo>
                      <a:pt x="167" y="106"/>
                      <a:pt x="167" y="106"/>
                      <a:pt x="167" y="106"/>
                    </a:cubicBezTo>
                    <a:cubicBezTo>
                      <a:pt x="167" y="106"/>
                      <a:pt x="168" y="107"/>
                      <a:pt x="168" y="107"/>
                    </a:cubicBezTo>
                    <a:cubicBezTo>
                      <a:pt x="168" y="107"/>
                      <a:pt x="168" y="107"/>
                      <a:pt x="168" y="107"/>
                    </a:cubicBezTo>
                    <a:cubicBezTo>
                      <a:pt x="168" y="107"/>
                      <a:pt x="168" y="107"/>
                      <a:pt x="168"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69" y="107"/>
                      <a:pt x="170" y="107"/>
                      <a:pt x="170" y="107"/>
                    </a:cubicBezTo>
                    <a:cubicBezTo>
                      <a:pt x="170" y="107"/>
                      <a:pt x="170" y="107"/>
                      <a:pt x="170" y="107"/>
                    </a:cubicBezTo>
                    <a:cubicBezTo>
                      <a:pt x="170" y="107"/>
                      <a:pt x="170" y="107"/>
                      <a:pt x="170" y="106"/>
                    </a:cubicBezTo>
                    <a:cubicBezTo>
                      <a:pt x="170" y="106"/>
                      <a:pt x="170" y="106"/>
                      <a:pt x="170" y="107"/>
                    </a:cubicBezTo>
                    <a:cubicBezTo>
                      <a:pt x="170" y="107"/>
                      <a:pt x="170" y="107"/>
                      <a:pt x="170" y="107"/>
                    </a:cubicBezTo>
                    <a:cubicBezTo>
                      <a:pt x="170" y="107"/>
                      <a:pt x="170" y="107"/>
                      <a:pt x="170" y="107"/>
                    </a:cubicBezTo>
                    <a:cubicBezTo>
                      <a:pt x="170" y="107"/>
                      <a:pt x="171" y="106"/>
                      <a:pt x="171" y="106"/>
                    </a:cubicBezTo>
                    <a:cubicBezTo>
                      <a:pt x="171" y="106"/>
                      <a:pt x="171" y="106"/>
                      <a:pt x="171" y="106"/>
                    </a:cubicBezTo>
                    <a:cubicBezTo>
                      <a:pt x="171" y="106"/>
                      <a:pt x="171" y="106"/>
                      <a:pt x="171" y="106"/>
                    </a:cubicBezTo>
                    <a:cubicBezTo>
                      <a:pt x="171" y="106"/>
                      <a:pt x="171" y="106"/>
                      <a:pt x="171" y="106"/>
                    </a:cubicBezTo>
                    <a:cubicBezTo>
                      <a:pt x="171" y="106"/>
                      <a:pt x="171" y="106"/>
                      <a:pt x="172" y="106"/>
                    </a:cubicBezTo>
                    <a:cubicBezTo>
                      <a:pt x="172" y="106"/>
                      <a:pt x="172" y="106"/>
                      <a:pt x="172" y="106"/>
                    </a:cubicBezTo>
                    <a:cubicBezTo>
                      <a:pt x="172" y="106"/>
                      <a:pt x="172" y="105"/>
                      <a:pt x="172" y="105"/>
                    </a:cubicBezTo>
                    <a:cubicBezTo>
                      <a:pt x="172" y="105"/>
                      <a:pt x="172" y="105"/>
                      <a:pt x="172" y="105"/>
                    </a:cubicBezTo>
                    <a:cubicBezTo>
                      <a:pt x="172" y="105"/>
                      <a:pt x="172" y="105"/>
                      <a:pt x="172" y="105"/>
                    </a:cubicBezTo>
                    <a:close/>
                    <a:moveTo>
                      <a:pt x="177" y="109"/>
                    </a:moveTo>
                    <a:cubicBezTo>
                      <a:pt x="177" y="109"/>
                      <a:pt x="177" y="109"/>
                      <a:pt x="177" y="109"/>
                    </a:cubicBezTo>
                    <a:cubicBezTo>
                      <a:pt x="177" y="109"/>
                      <a:pt x="177" y="109"/>
                      <a:pt x="177" y="109"/>
                    </a:cubicBezTo>
                    <a:cubicBezTo>
                      <a:pt x="177" y="109"/>
                      <a:pt x="177" y="109"/>
                      <a:pt x="177" y="109"/>
                    </a:cubicBezTo>
                    <a:cubicBezTo>
                      <a:pt x="177" y="109"/>
                      <a:pt x="177" y="109"/>
                      <a:pt x="177" y="109"/>
                    </a:cubicBezTo>
                    <a:cubicBezTo>
                      <a:pt x="177" y="109"/>
                      <a:pt x="177" y="109"/>
                      <a:pt x="177" y="109"/>
                    </a:cubicBezTo>
                    <a:close/>
                    <a:moveTo>
                      <a:pt x="180" y="108"/>
                    </a:moveTo>
                    <a:cubicBezTo>
                      <a:pt x="180" y="108"/>
                      <a:pt x="179" y="108"/>
                      <a:pt x="179" y="108"/>
                    </a:cubicBezTo>
                    <a:cubicBezTo>
                      <a:pt x="179" y="108"/>
                      <a:pt x="179" y="108"/>
                      <a:pt x="179" y="108"/>
                    </a:cubicBezTo>
                    <a:cubicBezTo>
                      <a:pt x="179" y="108"/>
                      <a:pt x="179" y="108"/>
                      <a:pt x="179" y="108"/>
                    </a:cubicBezTo>
                    <a:cubicBezTo>
                      <a:pt x="179" y="108"/>
                      <a:pt x="179" y="108"/>
                      <a:pt x="179" y="108"/>
                    </a:cubicBezTo>
                    <a:cubicBezTo>
                      <a:pt x="179" y="108"/>
                      <a:pt x="179" y="108"/>
                      <a:pt x="179" y="108"/>
                    </a:cubicBezTo>
                    <a:cubicBezTo>
                      <a:pt x="179" y="108"/>
                      <a:pt x="178" y="108"/>
                      <a:pt x="178" y="108"/>
                    </a:cubicBezTo>
                    <a:cubicBezTo>
                      <a:pt x="178" y="108"/>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9" y="109"/>
                    </a:cubicBezTo>
                    <a:cubicBezTo>
                      <a:pt x="179" y="109"/>
                      <a:pt x="179" y="109"/>
                      <a:pt x="179" y="109"/>
                    </a:cubicBezTo>
                    <a:cubicBezTo>
                      <a:pt x="179" y="109"/>
                      <a:pt x="179" y="109"/>
                      <a:pt x="179" y="109"/>
                    </a:cubicBezTo>
                    <a:cubicBezTo>
                      <a:pt x="179" y="109"/>
                      <a:pt x="179" y="109"/>
                      <a:pt x="179" y="109"/>
                    </a:cubicBezTo>
                    <a:cubicBezTo>
                      <a:pt x="179" y="109"/>
                      <a:pt x="180" y="109"/>
                      <a:pt x="180" y="109"/>
                    </a:cubicBezTo>
                    <a:cubicBezTo>
                      <a:pt x="180" y="108"/>
                      <a:pt x="180" y="108"/>
                      <a:pt x="180" y="108"/>
                    </a:cubicBezTo>
                    <a:cubicBezTo>
                      <a:pt x="180" y="108"/>
                      <a:pt x="180" y="108"/>
                      <a:pt x="180" y="108"/>
                    </a:cubicBezTo>
                    <a:cubicBezTo>
                      <a:pt x="180" y="108"/>
                      <a:pt x="180" y="108"/>
                      <a:pt x="180" y="108"/>
                    </a:cubicBezTo>
                    <a:close/>
                    <a:moveTo>
                      <a:pt x="163" y="95"/>
                    </a:moveTo>
                    <a:cubicBezTo>
                      <a:pt x="163" y="95"/>
                      <a:pt x="163" y="95"/>
                      <a:pt x="163" y="95"/>
                    </a:cubicBezTo>
                    <a:cubicBezTo>
                      <a:pt x="163" y="95"/>
                      <a:pt x="163" y="95"/>
                      <a:pt x="163" y="95"/>
                    </a:cubicBezTo>
                    <a:cubicBezTo>
                      <a:pt x="163" y="95"/>
                      <a:pt x="163" y="94"/>
                      <a:pt x="163" y="94"/>
                    </a:cubicBezTo>
                    <a:cubicBezTo>
                      <a:pt x="163" y="94"/>
                      <a:pt x="163" y="94"/>
                      <a:pt x="163" y="94"/>
                    </a:cubicBezTo>
                    <a:cubicBezTo>
                      <a:pt x="163" y="94"/>
                      <a:pt x="162" y="94"/>
                      <a:pt x="162" y="94"/>
                    </a:cubicBezTo>
                    <a:cubicBezTo>
                      <a:pt x="162" y="94"/>
                      <a:pt x="162" y="94"/>
                      <a:pt x="162" y="94"/>
                    </a:cubicBezTo>
                    <a:cubicBezTo>
                      <a:pt x="162" y="94"/>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3" y="96"/>
                      <a:pt x="163" y="96"/>
                    </a:cubicBezTo>
                    <a:cubicBezTo>
                      <a:pt x="163" y="96"/>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lose/>
                    <a:moveTo>
                      <a:pt x="185" y="95"/>
                    </a:moveTo>
                    <a:cubicBezTo>
                      <a:pt x="185" y="95"/>
                      <a:pt x="185" y="95"/>
                      <a:pt x="185" y="95"/>
                    </a:cubicBezTo>
                    <a:cubicBezTo>
                      <a:pt x="185" y="95"/>
                      <a:pt x="185" y="95"/>
                      <a:pt x="185" y="95"/>
                    </a:cubicBezTo>
                    <a:cubicBezTo>
                      <a:pt x="185" y="95"/>
                      <a:pt x="185" y="95"/>
                      <a:pt x="185" y="95"/>
                    </a:cubicBezTo>
                    <a:cubicBezTo>
                      <a:pt x="185" y="95"/>
                      <a:pt x="185" y="94"/>
                      <a:pt x="185" y="94"/>
                    </a:cubicBezTo>
                    <a:cubicBezTo>
                      <a:pt x="185" y="94"/>
                      <a:pt x="185" y="94"/>
                      <a:pt x="185" y="94"/>
                    </a:cubicBezTo>
                    <a:cubicBezTo>
                      <a:pt x="185" y="94"/>
                      <a:pt x="185" y="94"/>
                      <a:pt x="185" y="94"/>
                    </a:cubicBezTo>
                    <a:cubicBezTo>
                      <a:pt x="185" y="94"/>
                      <a:pt x="186" y="94"/>
                      <a:pt x="186" y="94"/>
                    </a:cubicBezTo>
                    <a:cubicBezTo>
                      <a:pt x="186" y="94"/>
                      <a:pt x="186" y="94"/>
                      <a:pt x="186" y="94"/>
                    </a:cubicBezTo>
                    <a:cubicBezTo>
                      <a:pt x="186" y="94"/>
                      <a:pt x="186" y="94"/>
                      <a:pt x="186" y="94"/>
                    </a:cubicBezTo>
                    <a:cubicBezTo>
                      <a:pt x="186" y="94"/>
                      <a:pt x="186" y="94"/>
                      <a:pt x="186" y="94"/>
                    </a:cubicBezTo>
                    <a:cubicBezTo>
                      <a:pt x="186" y="94"/>
                      <a:pt x="186" y="94"/>
                      <a:pt x="186" y="94"/>
                    </a:cubicBezTo>
                    <a:cubicBezTo>
                      <a:pt x="186" y="94"/>
                      <a:pt x="186" y="93"/>
                      <a:pt x="186" y="93"/>
                    </a:cubicBezTo>
                    <a:cubicBezTo>
                      <a:pt x="186" y="93"/>
                      <a:pt x="186" y="93"/>
                      <a:pt x="186" y="94"/>
                    </a:cubicBezTo>
                    <a:cubicBezTo>
                      <a:pt x="186" y="94"/>
                      <a:pt x="186" y="94"/>
                      <a:pt x="186" y="94"/>
                    </a:cubicBezTo>
                    <a:cubicBezTo>
                      <a:pt x="186" y="94"/>
                      <a:pt x="186" y="93"/>
                      <a:pt x="186" y="93"/>
                    </a:cubicBezTo>
                    <a:cubicBezTo>
                      <a:pt x="187" y="93"/>
                      <a:pt x="187" y="93"/>
                      <a:pt x="187" y="93"/>
                    </a:cubicBezTo>
                    <a:cubicBezTo>
                      <a:pt x="187" y="93"/>
                      <a:pt x="187" y="93"/>
                      <a:pt x="186" y="93"/>
                    </a:cubicBezTo>
                    <a:cubicBezTo>
                      <a:pt x="186" y="93"/>
                      <a:pt x="186" y="93"/>
                      <a:pt x="186" y="93"/>
                    </a:cubicBezTo>
                    <a:cubicBezTo>
                      <a:pt x="186" y="93"/>
                      <a:pt x="186" y="93"/>
                      <a:pt x="186" y="93"/>
                    </a:cubicBezTo>
                    <a:cubicBezTo>
                      <a:pt x="186" y="93"/>
                      <a:pt x="186" y="93"/>
                      <a:pt x="186" y="93"/>
                    </a:cubicBezTo>
                    <a:cubicBezTo>
                      <a:pt x="186" y="93"/>
                      <a:pt x="186" y="93"/>
                      <a:pt x="186" y="93"/>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5" y="92"/>
                      <a:pt x="185" y="92"/>
                    </a:cubicBezTo>
                    <a:cubicBezTo>
                      <a:pt x="185" y="92"/>
                      <a:pt x="185" y="92"/>
                      <a:pt x="185" y="92"/>
                    </a:cubicBezTo>
                    <a:cubicBezTo>
                      <a:pt x="185" y="92"/>
                      <a:pt x="185" y="92"/>
                      <a:pt x="185" y="92"/>
                    </a:cubicBezTo>
                    <a:cubicBezTo>
                      <a:pt x="185" y="92"/>
                      <a:pt x="185" y="92"/>
                      <a:pt x="185" y="92"/>
                    </a:cubicBezTo>
                    <a:cubicBezTo>
                      <a:pt x="185" y="92"/>
                      <a:pt x="185" y="92"/>
                      <a:pt x="185" y="92"/>
                    </a:cubicBezTo>
                    <a:cubicBezTo>
                      <a:pt x="185" y="92"/>
                      <a:pt x="185" y="93"/>
                      <a:pt x="185" y="93"/>
                    </a:cubicBezTo>
                    <a:cubicBezTo>
                      <a:pt x="185" y="93"/>
                      <a:pt x="185" y="93"/>
                      <a:pt x="185" y="93"/>
                    </a:cubicBezTo>
                    <a:cubicBezTo>
                      <a:pt x="185" y="93"/>
                      <a:pt x="185" y="93"/>
                      <a:pt x="185" y="92"/>
                    </a:cubicBezTo>
                    <a:cubicBezTo>
                      <a:pt x="185" y="92"/>
                      <a:pt x="185" y="92"/>
                      <a:pt x="185" y="92"/>
                    </a:cubicBezTo>
                    <a:cubicBezTo>
                      <a:pt x="185" y="92"/>
                      <a:pt x="186" y="92"/>
                      <a:pt x="186" y="92"/>
                    </a:cubicBezTo>
                    <a:cubicBezTo>
                      <a:pt x="186" y="92"/>
                      <a:pt x="186" y="93"/>
                      <a:pt x="186" y="93"/>
                    </a:cubicBezTo>
                    <a:cubicBezTo>
                      <a:pt x="186" y="93"/>
                      <a:pt x="186" y="93"/>
                      <a:pt x="186" y="93"/>
                    </a:cubicBezTo>
                    <a:cubicBezTo>
                      <a:pt x="186" y="93"/>
                      <a:pt x="186" y="93"/>
                      <a:pt x="186" y="93"/>
                    </a:cubicBezTo>
                    <a:cubicBezTo>
                      <a:pt x="186" y="93"/>
                      <a:pt x="186" y="93"/>
                      <a:pt x="186" y="93"/>
                    </a:cubicBezTo>
                    <a:cubicBezTo>
                      <a:pt x="186" y="93"/>
                      <a:pt x="185" y="93"/>
                      <a:pt x="185" y="93"/>
                    </a:cubicBezTo>
                    <a:cubicBezTo>
                      <a:pt x="185" y="93"/>
                      <a:pt x="185" y="93"/>
                      <a:pt x="185" y="93"/>
                    </a:cubicBezTo>
                    <a:cubicBezTo>
                      <a:pt x="185" y="93"/>
                      <a:pt x="185" y="94"/>
                      <a:pt x="185" y="94"/>
                    </a:cubicBezTo>
                    <a:cubicBezTo>
                      <a:pt x="185" y="94"/>
                      <a:pt x="185" y="94"/>
                      <a:pt x="185" y="94"/>
                    </a:cubicBezTo>
                    <a:cubicBezTo>
                      <a:pt x="185" y="94"/>
                      <a:pt x="184" y="94"/>
                      <a:pt x="184" y="94"/>
                    </a:cubicBezTo>
                    <a:cubicBezTo>
                      <a:pt x="184" y="94"/>
                      <a:pt x="184" y="94"/>
                      <a:pt x="184" y="94"/>
                    </a:cubicBezTo>
                    <a:cubicBezTo>
                      <a:pt x="184" y="94"/>
                      <a:pt x="184" y="94"/>
                      <a:pt x="184" y="94"/>
                    </a:cubicBezTo>
                    <a:cubicBezTo>
                      <a:pt x="184" y="94"/>
                      <a:pt x="184" y="94"/>
                      <a:pt x="184" y="94"/>
                    </a:cubicBezTo>
                    <a:cubicBezTo>
                      <a:pt x="183" y="94"/>
                      <a:pt x="183" y="94"/>
                      <a:pt x="183" y="94"/>
                    </a:cubicBezTo>
                    <a:cubicBezTo>
                      <a:pt x="183" y="94"/>
                      <a:pt x="183" y="94"/>
                      <a:pt x="183" y="94"/>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2" y="95"/>
                      <a:pt x="182" y="95"/>
                    </a:cubicBezTo>
                    <a:cubicBezTo>
                      <a:pt x="182" y="95"/>
                      <a:pt x="182" y="95"/>
                      <a:pt x="182" y="95"/>
                    </a:cubicBezTo>
                    <a:cubicBezTo>
                      <a:pt x="182" y="95"/>
                      <a:pt x="182" y="95"/>
                      <a:pt x="182" y="95"/>
                    </a:cubicBezTo>
                    <a:cubicBezTo>
                      <a:pt x="182" y="96"/>
                      <a:pt x="182" y="96"/>
                      <a:pt x="182" y="96"/>
                    </a:cubicBezTo>
                    <a:cubicBezTo>
                      <a:pt x="182" y="96"/>
                      <a:pt x="181" y="96"/>
                      <a:pt x="181" y="96"/>
                    </a:cubicBezTo>
                    <a:cubicBezTo>
                      <a:pt x="181" y="95"/>
                      <a:pt x="181" y="95"/>
                      <a:pt x="181" y="95"/>
                    </a:cubicBezTo>
                    <a:cubicBezTo>
                      <a:pt x="181"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4"/>
                    </a:cubicBezTo>
                    <a:cubicBezTo>
                      <a:pt x="180" y="94"/>
                      <a:pt x="180" y="94"/>
                      <a:pt x="180" y="94"/>
                    </a:cubicBezTo>
                    <a:cubicBezTo>
                      <a:pt x="180" y="94"/>
                      <a:pt x="180" y="94"/>
                      <a:pt x="180" y="94"/>
                    </a:cubicBezTo>
                    <a:cubicBezTo>
                      <a:pt x="180" y="94"/>
                      <a:pt x="180" y="94"/>
                      <a:pt x="180" y="94"/>
                    </a:cubicBezTo>
                    <a:cubicBezTo>
                      <a:pt x="180" y="94"/>
                      <a:pt x="179" y="94"/>
                      <a:pt x="179" y="94"/>
                    </a:cubicBezTo>
                    <a:cubicBezTo>
                      <a:pt x="179" y="94"/>
                      <a:pt x="179" y="95"/>
                      <a:pt x="179" y="95"/>
                    </a:cubicBezTo>
                    <a:cubicBezTo>
                      <a:pt x="179" y="95"/>
                      <a:pt x="179" y="95"/>
                      <a:pt x="179" y="95"/>
                    </a:cubicBezTo>
                    <a:cubicBezTo>
                      <a:pt x="179" y="95"/>
                      <a:pt x="179" y="95"/>
                      <a:pt x="179" y="95"/>
                    </a:cubicBezTo>
                    <a:cubicBezTo>
                      <a:pt x="179" y="95"/>
                      <a:pt x="179" y="95"/>
                      <a:pt x="179" y="95"/>
                    </a:cubicBezTo>
                    <a:cubicBezTo>
                      <a:pt x="179" y="95"/>
                      <a:pt x="178" y="95"/>
                      <a:pt x="178" y="95"/>
                    </a:cubicBezTo>
                    <a:cubicBezTo>
                      <a:pt x="178" y="95"/>
                      <a:pt x="178" y="95"/>
                      <a:pt x="178" y="95"/>
                    </a:cubicBezTo>
                    <a:cubicBezTo>
                      <a:pt x="178" y="95"/>
                      <a:pt x="178" y="95"/>
                      <a:pt x="178" y="95"/>
                    </a:cubicBezTo>
                    <a:cubicBezTo>
                      <a:pt x="178" y="95"/>
                      <a:pt x="178" y="95"/>
                      <a:pt x="177" y="95"/>
                    </a:cubicBezTo>
                    <a:cubicBezTo>
                      <a:pt x="177" y="95"/>
                      <a:pt x="177" y="95"/>
                      <a:pt x="177" y="95"/>
                    </a:cubicBezTo>
                    <a:cubicBezTo>
                      <a:pt x="177" y="95"/>
                      <a:pt x="177" y="95"/>
                      <a:pt x="177" y="94"/>
                    </a:cubicBezTo>
                    <a:cubicBezTo>
                      <a:pt x="177" y="94"/>
                      <a:pt x="177" y="94"/>
                      <a:pt x="177" y="94"/>
                    </a:cubicBezTo>
                    <a:cubicBezTo>
                      <a:pt x="177" y="94"/>
                      <a:pt x="177" y="94"/>
                      <a:pt x="177" y="94"/>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5" y="95"/>
                      <a:pt x="175" y="95"/>
                    </a:cubicBezTo>
                    <a:cubicBezTo>
                      <a:pt x="175" y="95"/>
                      <a:pt x="175" y="95"/>
                      <a:pt x="175" y="95"/>
                    </a:cubicBezTo>
                    <a:cubicBezTo>
                      <a:pt x="175" y="95"/>
                      <a:pt x="175" y="95"/>
                      <a:pt x="175" y="95"/>
                    </a:cubicBezTo>
                    <a:cubicBezTo>
                      <a:pt x="175" y="95"/>
                      <a:pt x="175" y="94"/>
                      <a:pt x="175" y="94"/>
                    </a:cubicBezTo>
                    <a:cubicBezTo>
                      <a:pt x="175" y="94"/>
                      <a:pt x="175" y="94"/>
                      <a:pt x="175" y="94"/>
                    </a:cubicBezTo>
                    <a:cubicBezTo>
                      <a:pt x="175" y="94"/>
                      <a:pt x="174" y="94"/>
                      <a:pt x="174" y="94"/>
                    </a:cubicBezTo>
                    <a:cubicBezTo>
                      <a:pt x="174" y="94"/>
                      <a:pt x="174" y="94"/>
                      <a:pt x="174" y="94"/>
                    </a:cubicBezTo>
                    <a:cubicBezTo>
                      <a:pt x="174" y="94"/>
                      <a:pt x="174" y="94"/>
                      <a:pt x="174" y="94"/>
                    </a:cubicBezTo>
                    <a:cubicBezTo>
                      <a:pt x="174" y="94"/>
                      <a:pt x="174" y="94"/>
                      <a:pt x="173" y="94"/>
                    </a:cubicBezTo>
                    <a:cubicBezTo>
                      <a:pt x="173" y="94"/>
                      <a:pt x="173" y="94"/>
                      <a:pt x="173" y="94"/>
                    </a:cubicBezTo>
                    <a:cubicBezTo>
                      <a:pt x="173" y="94"/>
                      <a:pt x="173" y="94"/>
                      <a:pt x="173" y="94"/>
                    </a:cubicBezTo>
                    <a:cubicBezTo>
                      <a:pt x="173" y="94"/>
                      <a:pt x="173" y="94"/>
                      <a:pt x="173" y="94"/>
                    </a:cubicBezTo>
                    <a:cubicBezTo>
                      <a:pt x="173" y="94"/>
                      <a:pt x="173" y="93"/>
                      <a:pt x="173" y="93"/>
                    </a:cubicBezTo>
                    <a:cubicBezTo>
                      <a:pt x="173" y="94"/>
                      <a:pt x="173" y="94"/>
                      <a:pt x="173" y="94"/>
                    </a:cubicBezTo>
                    <a:cubicBezTo>
                      <a:pt x="173" y="94"/>
                      <a:pt x="172" y="94"/>
                      <a:pt x="172" y="94"/>
                    </a:cubicBezTo>
                    <a:cubicBezTo>
                      <a:pt x="172" y="94"/>
                      <a:pt x="172" y="94"/>
                      <a:pt x="172" y="94"/>
                    </a:cubicBezTo>
                    <a:cubicBezTo>
                      <a:pt x="172" y="94"/>
                      <a:pt x="171" y="94"/>
                      <a:pt x="171" y="94"/>
                    </a:cubicBezTo>
                    <a:cubicBezTo>
                      <a:pt x="171" y="94"/>
                      <a:pt x="171" y="93"/>
                      <a:pt x="171" y="93"/>
                    </a:cubicBezTo>
                    <a:cubicBezTo>
                      <a:pt x="171" y="93"/>
                      <a:pt x="171" y="93"/>
                      <a:pt x="171" y="93"/>
                    </a:cubicBezTo>
                    <a:cubicBezTo>
                      <a:pt x="171"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8" y="93"/>
                      <a:pt x="168" y="93"/>
                    </a:cubicBezTo>
                    <a:cubicBezTo>
                      <a:pt x="168" y="93"/>
                      <a:pt x="168" y="93"/>
                      <a:pt x="168" y="93"/>
                    </a:cubicBezTo>
                    <a:cubicBezTo>
                      <a:pt x="168" y="93"/>
                      <a:pt x="168" y="93"/>
                      <a:pt x="168" y="93"/>
                    </a:cubicBezTo>
                    <a:cubicBezTo>
                      <a:pt x="168" y="93"/>
                      <a:pt x="168" y="93"/>
                      <a:pt x="168" y="93"/>
                    </a:cubicBezTo>
                    <a:cubicBezTo>
                      <a:pt x="168" y="93"/>
                      <a:pt x="167" y="93"/>
                      <a:pt x="167" y="93"/>
                    </a:cubicBezTo>
                    <a:cubicBezTo>
                      <a:pt x="167" y="93"/>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5" y="94"/>
                      <a:pt x="165" y="94"/>
                    </a:cubicBezTo>
                    <a:cubicBezTo>
                      <a:pt x="165" y="94"/>
                      <a:pt x="165" y="94"/>
                      <a:pt x="165" y="94"/>
                    </a:cubicBezTo>
                    <a:cubicBezTo>
                      <a:pt x="165" y="94"/>
                      <a:pt x="165" y="94"/>
                      <a:pt x="165" y="94"/>
                    </a:cubicBezTo>
                    <a:cubicBezTo>
                      <a:pt x="165" y="95"/>
                      <a:pt x="165" y="95"/>
                      <a:pt x="165" y="95"/>
                    </a:cubicBezTo>
                    <a:cubicBezTo>
                      <a:pt x="165" y="95"/>
                      <a:pt x="165" y="95"/>
                      <a:pt x="165" y="95"/>
                    </a:cubicBezTo>
                    <a:cubicBezTo>
                      <a:pt x="165" y="95"/>
                      <a:pt x="165" y="95"/>
                      <a:pt x="165" y="95"/>
                    </a:cubicBezTo>
                    <a:cubicBezTo>
                      <a:pt x="165" y="95"/>
                      <a:pt x="165" y="95"/>
                      <a:pt x="165" y="96"/>
                    </a:cubicBezTo>
                    <a:cubicBezTo>
                      <a:pt x="165" y="96"/>
                      <a:pt x="165" y="96"/>
                      <a:pt x="165" y="96"/>
                    </a:cubicBezTo>
                    <a:cubicBezTo>
                      <a:pt x="165" y="96"/>
                      <a:pt x="165" y="96"/>
                      <a:pt x="165" y="96"/>
                    </a:cubicBezTo>
                    <a:cubicBezTo>
                      <a:pt x="165" y="96"/>
                      <a:pt x="165" y="97"/>
                      <a:pt x="165" y="97"/>
                    </a:cubicBezTo>
                    <a:cubicBezTo>
                      <a:pt x="165" y="97"/>
                      <a:pt x="165" y="97"/>
                      <a:pt x="165" y="97"/>
                    </a:cubicBezTo>
                    <a:cubicBezTo>
                      <a:pt x="165" y="97"/>
                      <a:pt x="165" y="97"/>
                      <a:pt x="165" y="97"/>
                    </a:cubicBezTo>
                    <a:cubicBezTo>
                      <a:pt x="165" y="97"/>
                      <a:pt x="165" y="97"/>
                      <a:pt x="165" y="97"/>
                    </a:cubicBezTo>
                    <a:cubicBezTo>
                      <a:pt x="165" y="97"/>
                      <a:pt x="165" y="97"/>
                      <a:pt x="166" y="97"/>
                    </a:cubicBezTo>
                    <a:cubicBezTo>
                      <a:pt x="166" y="97"/>
                      <a:pt x="166" y="97"/>
                      <a:pt x="166" y="97"/>
                    </a:cubicBezTo>
                    <a:cubicBezTo>
                      <a:pt x="166" y="97"/>
                      <a:pt x="166" y="97"/>
                      <a:pt x="166" y="97"/>
                    </a:cubicBezTo>
                    <a:cubicBezTo>
                      <a:pt x="166" y="97"/>
                      <a:pt x="166" y="97"/>
                      <a:pt x="166" y="97"/>
                    </a:cubicBezTo>
                    <a:cubicBezTo>
                      <a:pt x="166" y="97"/>
                      <a:pt x="167" y="97"/>
                      <a:pt x="167" y="97"/>
                    </a:cubicBezTo>
                    <a:cubicBezTo>
                      <a:pt x="167" y="97"/>
                      <a:pt x="167" y="97"/>
                      <a:pt x="167" y="97"/>
                    </a:cubicBezTo>
                    <a:cubicBezTo>
                      <a:pt x="167" y="97"/>
                      <a:pt x="167" y="97"/>
                      <a:pt x="167" y="97"/>
                    </a:cubicBezTo>
                    <a:cubicBezTo>
                      <a:pt x="167" y="97"/>
                      <a:pt x="168" y="97"/>
                      <a:pt x="168" y="97"/>
                    </a:cubicBezTo>
                    <a:cubicBezTo>
                      <a:pt x="168" y="97"/>
                      <a:pt x="168" y="97"/>
                      <a:pt x="168" y="97"/>
                    </a:cubicBezTo>
                    <a:cubicBezTo>
                      <a:pt x="168" y="97"/>
                      <a:pt x="168" y="97"/>
                      <a:pt x="168" y="97"/>
                    </a:cubicBezTo>
                    <a:cubicBezTo>
                      <a:pt x="168" y="97"/>
                      <a:pt x="168" y="97"/>
                      <a:pt x="169" y="97"/>
                    </a:cubicBezTo>
                    <a:cubicBezTo>
                      <a:pt x="169" y="97"/>
                      <a:pt x="169" y="97"/>
                      <a:pt x="169" y="97"/>
                    </a:cubicBezTo>
                    <a:cubicBezTo>
                      <a:pt x="170" y="97"/>
                      <a:pt x="170" y="97"/>
                      <a:pt x="170" y="97"/>
                    </a:cubicBezTo>
                    <a:cubicBezTo>
                      <a:pt x="170" y="97"/>
                      <a:pt x="170" y="97"/>
                      <a:pt x="170" y="97"/>
                    </a:cubicBezTo>
                    <a:cubicBezTo>
                      <a:pt x="170" y="97"/>
                      <a:pt x="170" y="97"/>
                      <a:pt x="171" y="97"/>
                    </a:cubicBezTo>
                    <a:cubicBezTo>
                      <a:pt x="171" y="97"/>
                      <a:pt x="171" y="97"/>
                      <a:pt x="171" y="97"/>
                    </a:cubicBezTo>
                    <a:cubicBezTo>
                      <a:pt x="171" y="97"/>
                      <a:pt x="171" y="97"/>
                      <a:pt x="171" y="97"/>
                    </a:cubicBezTo>
                    <a:cubicBezTo>
                      <a:pt x="171" y="97"/>
                      <a:pt x="172" y="97"/>
                      <a:pt x="172" y="97"/>
                    </a:cubicBezTo>
                    <a:cubicBezTo>
                      <a:pt x="172" y="97"/>
                      <a:pt x="172" y="97"/>
                      <a:pt x="172" y="97"/>
                    </a:cubicBezTo>
                    <a:cubicBezTo>
                      <a:pt x="172" y="97"/>
                      <a:pt x="172" y="97"/>
                      <a:pt x="172" y="97"/>
                    </a:cubicBezTo>
                    <a:cubicBezTo>
                      <a:pt x="172" y="97"/>
                      <a:pt x="172" y="97"/>
                      <a:pt x="172" y="97"/>
                    </a:cubicBezTo>
                    <a:cubicBezTo>
                      <a:pt x="172" y="97"/>
                      <a:pt x="172" y="97"/>
                      <a:pt x="172" y="97"/>
                    </a:cubicBezTo>
                    <a:cubicBezTo>
                      <a:pt x="172" y="97"/>
                      <a:pt x="172" y="98"/>
                      <a:pt x="172" y="98"/>
                    </a:cubicBezTo>
                    <a:cubicBezTo>
                      <a:pt x="173" y="98"/>
                      <a:pt x="173" y="98"/>
                      <a:pt x="173" y="98"/>
                    </a:cubicBezTo>
                    <a:cubicBezTo>
                      <a:pt x="173" y="98"/>
                      <a:pt x="173" y="98"/>
                      <a:pt x="173" y="98"/>
                    </a:cubicBezTo>
                    <a:cubicBezTo>
                      <a:pt x="173" y="98"/>
                      <a:pt x="173" y="98"/>
                      <a:pt x="173" y="98"/>
                    </a:cubicBezTo>
                    <a:cubicBezTo>
                      <a:pt x="173" y="97"/>
                      <a:pt x="174" y="97"/>
                      <a:pt x="174" y="97"/>
                    </a:cubicBezTo>
                    <a:cubicBezTo>
                      <a:pt x="174" y="97"/>
                      <a:pt x="174" y="97"/>
                      <a:pt x="174" y="97"/>
                    </a:cubicBezTo>
                    <a:cubicBezTo>
                      <a:pt x="174" y="97"/>
                      <a:pt x="174" y="97"/>
                      <a:pt x="174" y="97"/>
                    </a:cubicBezTo>
                    <a:cubicBezTo>
                      <a:pt x="174"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6" y="97"/>
                      <a:pt x="176" y="97"/>
                    </a:cubicBezTo>
                    <a:cubicBezTo>
                      <a:pt x="176" y="97"/>
                      <a:pt x="176" y="97"/>
                      <a:pt x="176" y="97"/>
                    </a:cubicBezTo>
                    <a:cubicBezTo>
                      <a:pt x="176"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8" y="97"/>
                      <a:pt x="178" y="97"/>
                    </a:cubicBezTo>
                    <a:cubicBezTo>
                      <a:pt x="178" y="97"/>
                      <a:pt x="178" y="97"/>
                      <a:pt x="178" y="97"/>
                    </a:cubicBezTo>
                    <a:cubicBezTo>
                      <a:pt x="178" y="97"/>
                      <a:pt x="178" y="97"/>
                      <a:pt x="178" y="97"/>
                    </a:cubicBezTo>
                    <a:cubicBezTo>
                      <a:pt x="178" y="97"/>
                      <a:pt x="178" y="97"/>
                      <a:pt x="178" y="97"/>
                    </a:cubicBezTo>
                    <a:cubicBezTo>
                      <a:pt x="178" y="97"/>
                      <a:pt x="179" y="97"/>
                      <a:pt x="179" y="97"/>
                    </a:cubicBezTo>
                    <a:cubicBezTo>
                      <a:pt x="179" y="97"/>
                      <a:pt x="179" y="97"/>
                      <a:pt x="179" y="97"/>
                    </a:cubicBezTo>
                    <a:cubicBezTo>
                      <a:pt x="179" y="97"/>
                      <a:pt x="179" y="97"/>
                      <a:pt x="179" y="97"/>
                    </a:cubicBezTo>
                    <a:cubicBezTo>
                      <a:pt x="179" y="97"/>
                      <a:pt x="179" y="97"/>
                      <a:pt x="179" y="97"/>
                    </a:cubicBezTo>
                    <a:cubicBezTo>
                      <a:pt x="179" y="97"/>
                      <a:pt x="180" y="97"/>
                      <a:pt x="180" y="97"/>
                    </a:cubicBezTo>
                    <a:cubicBezTo>
                      <a:pt x="180" y="97"/>
                      <a:pt x="180" y="96"/>
                      <a:pt x="180" y="96"/>
                    </a:cubicBezTo>
                    <a:cubicBezTo>
                      <a:pt x="180" y="96"/>
                      <a:pt x="180" y="96"/>
                      <a:pt x="180" y="96"/>
                    </a:cubicBezTo>
                    <a:cubicBezTo>
                      <a:pt x="180" y="96"/>
                      <a:pt x="181" y="96"/>
                      <a:pt x="181" y="96"/>
                    </a:cubicBezTo>
                    <a:cubicBezTo>
                      <a:pt x="181" y="96"/>
                      <a:pt x="181" y="96"/>
                      <a:pt x="181" y="96"/>
                    </a:cubicBezTo>
                    <a:cubicBezTo>
                      <a:pt x="181" y="96"/>
                      <a:pt x="181" y="96"/>
                      <a:pt x="181" y="96"/>
                    </a:cubicBezTo>
                    <a:cubicBezTo>
                      <a:pt x="182" y="96"/>
                      <a:pt x="182" y="96"/>
                      <a:pt x="182" y="96"/>
                    </a:cubicBezTo>
                    <a:cubicBezTo>
                      <a:pt x="182" y="96"/>
                      <a:pt x="182" y="96"/>
                      <a:pt x="182" y="96"/>
                    </a:cubicBezTo>
                    <a:cubicBezTo>
                      <a:pt x="182" y="96"/>
                      <a:pt x="182" y="96"/>
                      <a:pt x="183" y="96"/>
                    </a:cubicBezTo>
                    <a:cubicBezTo>
                      <a:pt x="183" y="96"/>
                      <a:pt x="183" y="96"/>
                      <a:pt x="183" y="96"/>
                    </a:cubicBezTo>
                    <a:cubicBezTo>
                      <a:pt x="183" y="96"/>
                      <a:pt x="183" y="96"/>
                      <a:pt x="183" y="96"/>
                    </a:cubicBezTo>
                    <a:cubicBezTo>
                      <a:pt x="183" y="96"/>
                      <a:pt x="184" y="96"/>
                      <a:pt x="184" y="96"/>
                    </a:cubicBezTo>
                    <a:cubicBezTo>
                      <a:pt x="184" y="96"/>
                      <a:pt x="184" y="96"/>
                      <a:pt x="184" y="96"/>
                    </a:cubicBezTo>
                    <a:cubicBezTo>
                      <a:pt x="184" y="95"/>
                      <a:pt x="185" y="95"/>
                      <a:pt x="185" y="95"/>
                    </a:cubicBezTo>
                    <a:cubicBezTo>
                      <a:pt x="185" y="95"/>
                      <a:pt x="185" y="95"/>
                      <a:pt x="185" y="95"/>
                    </a:cubicBezTo>
                    <a:cubicBezTo>
                      <a:pt x="185" y="95"/>
                      <a:pt x="185" y="95"/>
                      <a:pt x="185" y="95"/>
                    </a:cubicBezTo>
                    <a:close/>
                    <a:moveTo>
                      <a:pt x="188" y="46"/>
                    </a:moveTo>
                    <a:cubicBezTo>
                      <a:pt x="189" y="46"/>
                      <a:pt x="189" y="46"/>
                      <a:pt x="188" y="46"/>
                    </a:cubicBezTo>
                    <a:cubicBezTo>
                      <a:pt x="188" y="46"/>
                      <a:pt x="188" y="45"/>
                      <a:pt x="188" y="45"/>
                    </a:cubicBezTo>
                    <a:cubicBezTo>
                      <a:pt x="188" y="46"/>
                      <a:pt x="188" y="46"/>
                      <a:pt x="188" y="46"/>
                    </a:cubicBezTo>
                    <a:cubicBezTo>
                      <a:pt x="188" y="45"/>
                      <a:pt x="188" y="45"/>
                      <a:pt x="187" y="45"/>
                    </a:cubicBezTo>
                    <a:cubicBezTo>
                      <a:pt x="187" y="45"/>
                      <a:pt x="187" y="45"/>
                      <a:pt x="187" y="46"/>
                    </a:cubicBezTo>
                    <a:cubicBezTo>
                      <a:pt x="187" y="46"/>
                      <a:pt x="187" y="46"/>
                      <a:pt x="187" y="46"/>
                    </a:cubicBezTo>
                    <a:cubicBezTo>
                      <a:pt x="187" y="46"/>
                      <a:pt x="186" y="45"/>
                      <a:pt x="186" y="46"/>
                    </a:cubicBezTo>
                    <a:cubicBezTo>
                      <a:pt x="186" y="46"/>
                      <a:pt x="186" y="46"/>
                      <a:pt x="186" y="46"/>
                    </a:cubicBezTo>
                    <a:cubicBezTo>
                      <a:pt x="186" y="46"/>
                      <a:pt x="186" y="46"/>
                      <a:pt x="186" y="46"/>
                    </a:cubicBezTo>
                    <a:cubicBezTo>
                      <a:pt x="186" y="46"/>
                      <a:pt x="186" y="47"/>
                      <a:pt x="186" y="47"/>
                    </a:cubicBezTo>
                    <a:cubicBezTo>
                      <a:pt x="186" y="47"/>
                      <a:pt x="185" y="47"/>
                      <a:pt x="186" y="47"/>
                    </a:cubicBezTo>
                    <a:cubicBezTo>
                      <a:pt x="186" y="48"/>
                      <a:pt x="186" y="48"/>
                      <a:pt x="186" y="48"/>
                    </a:cubicBezTo>
                    <a:cubicBezTo>
                      <a:pt x="186" y="48"/>
                      <a:pt x="186" y="48"/>
                      <a:pt x="186" y="48"/>
                    </a:cubicBezTo>
                    <a:cubicBezTo>
                      <a:pt x="186" y="48"/>
                      <a:pt x="186" y="48"/>
                      <a:pt x="187" y="48"/>
                    </a:cubicBezTo>
                    <a:cubicBezTo>
                      <a:pt x="187" y="48"/>
                      <a:pt x="187" y="48"/>
                      <a:pt x="187" y="48"/>
                    </a:cubicBezTo>
                    <a:cubicBezTo>
                      <a:pt x="187" y="47"/>
                      <a:pt x="187" y="47"/>
                      <a:pt x="187" y="47"/>
                    </a:cubicBezTo>
                    <a:cubicBezTo>
                      <a:pt x="187" y="47"/>
                      <a:pt x="187" y="47"/>
                      <a:pt x="187" y="47"/>
                    </a:cubicBezTo>
                    <a:cubicBezTo>
                      <a:pt x="188" y="47"/>
                      <a:pt x="188" y="46"/>
                      <a:pt x="188" y="46"/>
                    </a:cubicBezTo>
                    <a:cubicBezTo>
                      <a:pt x="188" y="46"/>
                      <a:pt x="188" y="46"/>
                      <a:pt x="188" y="46"/>
                    </a:cubicBezTo>
                    <a:cubicBezTo>
                      <a:pt x="188" y="47"/>
                      <a:pt x="188" y="47"/>
                      <a:pt x="188" y="47"/>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9" y="48"/>
                      <a:pt x="188" y="49"/>
                      <a:pt x="189" y="49"/>
                    </a:cubicBezTo>
                    <a:cubicBezTo>
                      <a:pt x="189" y="48"/>
                      <a:pt x="189" y="48"/>
                      <a:pt x="189" y="48"/>
                    </a:cubicBezTo>
                    <a:cubicBezTo>
                      <a:pt x="189" y="48"/>
                      <a:pt x="189" y="48"/>
                      <a:pt x="189" y="48"/>
                    </a:cubicBezTo>
                    <a:cubicBezTo>
                      <a:pt x="189" y="48"/>
                      <a:pt x="189" y="47"/>
                      <a:pt x="189" y="47"/>
                    </a:cubicBezTo>
                    <a:cubicBezTo>
                      <a:pt x="189" y="47"/>
                      <a:pt x="189" y="47"/>
                      <a:pt x="189" y="47"/>
                    </a:cubicBezTo>
                    <a:cubicBezTo>
                      <a:pt x="189" y="47"/>
                      <a:pt x="189" y="47"/>
                      <a:pt x="189" y="47"/>
                    </a:cubicBezTo>
                    <a:cubicBezTo>
                      <a:pt x="189" y="47"/>
                      <a:pt x="189" y="48"/>
                      <a:pt x="190" y="48"/>
                    </a:cubicBezTo>
                    <a:cubicBezTo>
                      <a:pt x="190" y="48"/>
                      <a:pt x="190" y="48"/>
                      <a:pt x="190" y="48"/>
                    </a:cubicBezTo>
                    <a:cubicBezTo>
                      <a:pt x="190" y="48"/>
                      <a:pt x="190" y="47"/>
                      <a:pt x="190" y="47"/>
                    </a:cubicBezTo>
                    <a:cubicBezTo>
                      <a:pt x="190" y="47"/>
                      <a:pt x="190" y="47"/>
                      <a:pt x="190" y="47"/>
                    </a:cubicBezTo>
                    <a:cubicBezTo>
                      <a:pt x="191" y="47"/>
                      <a:pt x="191" y="47"/>
                      <a:pt x="191" y="47"/>
                    </a:cubicBezTo>
                    <a:cubicBezTo>
                      <a:pt x="191" y="46"/>
                      <a:pt x="191" y="46"/>
                      <a:pt x="191" y="46"/>
                    </a:cubicBezTo>
                    <a:cubicBezTo>
                      <a:pt x="191" y="46"/>
                      <a:pt x="191"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89" y="46"/>
                      <a:pt x="189" y="46"/>
                    </a:cubicBezTo>
                    <a:cubicBezTo>
                      <a:pt x="189" y="46"/>
                      <a:pt x="189" y="46"/>
                      <a:pt x="189" y="46"/>
                    </a:cubicBezTo>
                    <a:cubicBezTo>
                      <a:pt x="189" y="46"/>
                      <a:pt x="189" y="46"/>
                      <a:pt x="189" y="46"/>
                    </a:cubicBezTo>
                    <a:cubicBezTo>
                      <a:pt x="189" y="47"/>
                      <a:pt x="189" y="47"/>
                      <a:pt x="189" y="47"/>
                    </a:cubicBezTo>
                    <a:cubicBezTo>
                      <a:pt x="189" y="47"/>
                      <a:pt x="189" y="47"/>
                      <a:pt x="189" y="47"/>
                    </a:cubicBezTo>
                    <a:cubicBezTo>
                      <a:pt x="189" y="47"/>
                      <a:pt x="189" y="47"/>
                      <a:pt x="189" y="47"/>
                    </a:cubicBezTo>
                    <a:cubicBezTo>
                      <a:pt x="189" y="47"/>
                      <a:pt x="189" y="47"/>
                      <a:pt x="189" y="47"/>
                    </a:cubicBezTo>
                    <a:cubicBezTo>
                      <a:pt x="188" y="47"/>
                      <a:pt x="188" y="47"/>
                      <a:pt x="188" y="46"/>
                    </a:cubicBezTo>
                    <a:cubicBezTo>
                      <a:pt x="188" y="46"/>
                      <a:pt x="188" y="46"/>
                      <a:pt x="188" y="46"/>
                    </a:cubicBezTo>
                    <a:cubicBezTo>
                      <a:pt x="188" y="46"/>
                      <a:pt x="188" y="46"/>
                      <a:pt x="188" y="46"/>
                    </a:cubicBezTo>
                    <a:close/>
                    <a:moveTo>
                      <a:pt x="190" y="49"/>
                    </a:moveTo>
                    <a:cubicBezTo>
                      <a:pt x="190" y="49"/>
                      <a:pt x="191" y="49"/>
                      <a:pt x="191" y="49"/>
                    </a:cubicBezTo>
                    <a:cubicBezTo>
                      <a:pt x="191" y="49"/>
                      <a:pt x="191" y="49"/>
                      <a:pt x="191" y="49"/>
                    </a:cubicBezTo>
                    <a:cubicBezTo>
                      <a:pt x="191" y="49"/>
                      <a:pt x="191" y="49"/>
                      <a:pt x="191" y="49"/>
                    </a:cubicBezTo>
                    <a:cubicBezTo>
                      <a:pt x="191" y="48"/>
                      <a:pt x="191" y="48"/>
                      <a:pt x="191" y="48"/>
                    </a:cubicBezTo>
                    <a:cubicBezTo>
                      <a:pt x="191" y="48"/>
                      <a:pt x="191" y="48"/>
                      <a:pt x="191" y="48"/>
                    </a:cubicBezTo>
                    <a:cubicBezTo>
                      <a:pt x="191" y="48"/>
                      <a:pt x="191" y="48"/>
                      <a:pt x="191" y="48"/>
                    </a:cubicBezTo>
                    <a:cubicBezTo>
                      <a:pt x="191" y="48"/>
                      <a:pt x="191" y="48"/>
                      <a:pt x="191" y="48"/>
                    </a:cubicBezTo>
                    <a:cubicBezTo>
                      <a:pt x="191" y="48"/>
                      <a:pt x="190" y="48"/>
                      <a:pt x="190" y="48"/>
                    </a:cubicBezTo>
                    <a:cubicBezTo>
                      <a:pt x="190" y="48"/>
                      <a:pt x="190" y="48"/>
                      <a:pt x="190" y="48"/>
                    </a:cubicBezTo>
                    <a:cubicBezTo>
                      <a:pt x="190" y="48"/>
                      <a:pt x="190" y="48"/>
                      <a:pt x="190" y="48"/>
                    </a:cubicBezTo>
                    <a:cubicBezTo>
                      <a:pt x="190" y="49"/>
                      <a:pt x="190" y="49"/>
                      <a:pt x="190" y="49"/>
                    </a:cubicBezTo>
                    <a:close/>
                    <a:moveTo>
                      <a:pt x="188" y="50"/>
                    </a:moveTo>
                    <a:cubicBezTo>
                      <a:pt x="188" y="50"/>
                      <a:pt x="188" y="50"/>
                      <a:pt x="188" y="50"/>
                    </a:cubicBezTo>
                    <a:cubicBezTo>
                      <a:pt x="188" y="50"/>
                      <a:pt x="188" y="50"/>
                      <a:pt x="188" y="50"/>
                    </a:cubicBezTo>
                    <a:cubicBezTo>
                      <a:pt x="188" y="49"/>
                      <a:pt x="188" y="49"/>
                      <a:pt x="188" y="49"/>
                    </a:cubicBezTo>
                    <a:cubicBezTo>
                      <a:pt x="187" y="49"/>
                      <a:pt x="187" y="50"/>
                      <a:pt x="187" y="50"/>
                    </a:cubicBezTo>
                    <a:cubicBezTo>
                      <a:pt x="187" y="50"/>
                      <a:pt x="187" y="50"/>
                      <a:pt x="187" y="50"/>
                    </a:cubicBezTo>
                    <a:cubicBezTo>
                      <a:pt x="188" y="50"/>
                      <a:pt x="188" y="50"/>
                      <a:pt x="188" y="50"/>
                    </a:cubicBezTo>
                    <a:close/>
                    <a:moveTo>
                      <a:pt x="189" y="49"/>
                    </a:moveTo>
                    <a:cubicBezTo>
                      <a:pt x="189" y="49"/>
                      <a:pt x="189" y="49"/>
                      <a:pt x="189" y="49"/>
                    </a:cubicBezTo>
                    <a:cubicBezTo>
                      <a:pt x="189" y="49"/>
                      <a:pt x="189" y="49"/>
                      <a:pt x="189" y="50"/>
                    </a:cubicBezTo>
                    <a:cubicBezTo>
                      <a:pt x="189" y="50"/>
                      <a:pt x="189" y="49"/>
                      <a:pt x="189" y="49"/>
                    </a:cubicBezTo>
                    <a:cubicBezTo>
                      <a:pt x="189" y="49"/>
                      <a:pt x="189" y="49"/>
                      <a:pt x="189" y="49"/>
                    </a:cubicBezTo>
                    <a:cubicBezTo>
                      <a:pt x="190" y="49"/>
                      <a:pt x="189" y="49"/>
                      <a:pt x="189" y="49"/>
                    </a:cubicBezTo>
                    <a:cubicBezTo>
                      <a:pt x="189" y="49"/>
                      <a:pt x="189" y="49"/>
                      <a:pt x="189" y="49"/>
                    </a:cubicBezTo>
                    <a:close/>
                    <a:moveTo>
                      <a:pt x="179" y="40"/>
                    </a:moveTo>
                    <a:cubicBezTo>
                      <a:pt x="179" y="40"/>
                      <a:pt x="179" y="40"/>
                      <a:pt x="179" y="40"/>
                    </a:cubicBezTo>
                    <a:cubicBezTo>
                      <a:pt x="179" y="40"/>
                      <a:pt x="179" y="40"/>
                      <a:pt x="179" y="40"/>
                    </a:cubicBezTo>
                    <a:cubicBezTo>
                      <a:pt x="179" y="40"/>
                      <a:pt x="179" y="40"/>
                      <a:pt x="179" y="40"/>
                    </a:cubicBezTo>
                    <a:cubicBezTo>
                      <a:pt x="179" y="40"/>
                      <a:pt x="179" y="41"/>
                      <a:pt x="179" y="41"/>
                    </a:cubicBezTo>
                    <a:cubicBezTo>
                      <a:pt x="179" y="41"/>
                      <a:pt x="179" y="41"/>
                      <a:pt x="178" y="41"/>
                    </a:cubicBezTo>
                    <a:cubicBezTo>
                      <a:pt x="178" y="41"/>
                      <a:pt x="178" y="41"/>
                      <a:pt x="178" y="41"/>
                    </a:cubicBezTo>
                    <a:cubicBezTo>
                      <a:pt x="178" y="41"/>
                      <a:pt x="178" y="41"/>
                      <a:pt x="178" y="41"/>
                    </a:cubicBezTo>
                    <a:cubicBezTo>
                      <a:pt x="178" y="41"/>
                      <a:pt x="178" y="41"/>
                      <a:pt x="178" y="41"/>
                    </a:cubicBezTo>
                    <a:cubicBezTo>
                      <a:pt x="178" y="41"/>
                      <a:pt x="178" y="41"/>
                      <a:pt x="179" y="41"/>
                    </a:cubicBezTo>
                    <a:cubicBezTo>
                      <a:pt x="179" y="41"/>
                      <a:pt x="179" y="41"/>
                      <a:pt x="179" y="41"/>
                    </a:cubicBezTo>
                    <a:cubicBezTo>
                      <a:pt x="179" y="41"/>
                      <a:pt x="179" y="41"/>
                      <a:pt x="179" y="41"/>
                    </a:cubicBezTo>
                    <a:cubicBezTo>
                      <a:pt x="179" y="41"/>
                      <a:pt x="179" y="41"/>
                      <a:pt x="179" y="41"/>
                    </a:cubicBezTo>
                    <a:cubicBezTo>
                      <a:pt x="179" y="41"/>
                      <a:pt x="179" y="41"/>
                      <a:pt x="179" y="41"/>
                    </a:cubicBezTo>
                    <a:cubicBezTo>
                      <a:pt x="180" y="41"/>
                      <a:pt x="180" y="41"/>
                      <a:pt x="180" y="41"/>
                    </a:cubicBezTo>
                    <a:cubicBezTo>
                      <a:pt x="180" y="40"/>
                      <a:pt x="180" y="40"/>
                      <a:pt x="180" y="40"/>
                    </a:cubicBezTo>
                    <a:cubicBezTo>
                      <a:pt x="180" y="40"/>
                      <a:pt x="181" y="40"/>
                      <a:pt x="181" y="40"/>
                    </a:cubicBezTo>
                    <a:cubicBezTo>
                      <a:pt x="181" y="40"/>
                      <a:pt x="181" y="40"/>
                      <a:pt x="181" y="40"/>
                    </a:cubicBezTo>
                    <a:cubicBezTo>
                      <a:pt x="181" y="40"/>
                      <a:pt x="181" y="41"/>
                      <a:pt x="181" y="41"/>
                    </a:cubicBezTo>
                    <a:cubicBezTo>
                      <a:pt x="181" y="41"/>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0" y="40"/>
                      <a:pt x="180" y="40"/>
                      <a:pt x="180" y="40"/>
                    </a:cubicBezTo>
                    <a:cubicBezTo>
                      <a:pt x="180" y="40"/>
                      <a:pt x="180" y="40"/>
                      <a:pt x="180" y="40"/>
                    </a:cubicBezTo>
                    <a:cubicBezTo>
                      <a:pt x="180" y="40"/>
                      <a:pt x="180" y="40"/>
                      <a:pt x="180" y="40"/>
                    </a:cubicBezTo>
                    <a:cubicBezTo>
                      <a:pt x="180" y="40"/>
                      <a:pt x="180" y="40"/>
                      <a:pt x="179" y="40"/>
                    </a:cubicBezTo>
                    <a:cubicBezTo>
                      <a:pt x="179" y="40"/>
                      <a:pt x="180" y="40"/>
                      <a:pt x="179" y="40"/>
                    </a:cubicBezTo>
                    <a:cubicBezTo>
                      <a:pt x="179" y="40"/>
                      <a:pt x="179" y="40"/>
                      <a:pt x="179" y="40"/>
                    </a:cubicBezTo>
                    <a:close/>
                    <a:moveTo>
                      <a:pt x="130" y="96"/>
                    </a:moveTo>
                    <a:cubicBezTo>
                      <a:pt x="130" y="96"/>
                      <a:pt x="130" y="96"/>
                      <a:pt x="130" y="96"/>
                    </a:cubicBezTo>
                    <a:cubicBezTo>
                      <a:pt x="130" y="96"/>
                      <a:pt x="129" y="96"/>
                      <a:pt x="129" y="96"/>
                    </a:cubicBezTo>
                    <a:cubicBezTo>
                      <a:pt x="129" y="96"/>
                      <a:pt x="129" y="96"/>
                      <a:pt x="129" y="96"/>
                    </a:cubicBezTo>
                    <a:cubicBezTo>
                      <a:pt x="129" y="96"/>
                      <a:pt x="129" y="96"/>
                      <a:pt x="129" y="96"/>
                    </a:cubicBezTo>
                    <a:cubicBezTo>
                      <a:pt x="128" y="96"/>
                      <a:pt x="128" y="96"/>
                      <a:pt x="128" y="96"/>
                    </a:cubicBezTo>
                    <a:cubicBezTo>
                      <a:pt x="128" y="96"/>
                      <a:pt x="128" y="96"/>
                      <a:pt x="128" y="96"/>
                    </a:cubicBezTo>
                    <a:cubicBezTo>
                      <a:pt x="128" y="96"/>
                      <a:pt x="128" y="96"/>
                      <a:pt x="128" y="96"/>
                    </a:cubicBezTo>
                    <a:cubicBezTo>
                      <a:pt x="128" y="96"/>
                      <a:pt x="128" y="95"/>
                      <a:pt x="127" y="95"/>
                    </a:cubicBezTo>
                    <a:cubicBezTo>
                      <a:pt x="127" y="95"/>
                      <a:pt x="127" y="95"/>
                      <a:pt x="127" y="95"/>
                    </a:cubicBezTo>
                    <a:cubicBezTo>
                      <a:pt x="127" y="96"/>
                      <a:pt x="127" y="96"/>
                      <a:pt x="127" y="96"/>
                    </a:cubicBezTo>
                    <a:cubicBezTo>
                      <a:pt x="127" y="96"/>
                      <a:pt x="127" y="95"/>
                      <a:pt x="127" y="95"/>
                    </a:cubicBezTo>
                    <a:cubicBezTo>
                      <a:pt x="126" y="95"/>
                      <a:pt x="126" y="95"/>
                      <a:pt x="126" y="95"/>
                    </a:cubicBezTo>
                    <a:cubicBezTo>
                      <a:pt x="126" y="95"/>
                      <a:pt x="126" y="95"/>
                      <a:pt x="126" y="95"/>
                    </a:cubicBezTo>
                    <a:cubicBezTo>
                      <a:pt x="126" y="95"/>
                      <a:pt x="126" y="95"/>
                      <a:pt x="126" y="95"/>
                    </a:cubicBezTo>
                    <a:cubicBezTo>
                      <a:pt x="126" y="95"/>
                      <a:pt x="126" y="95"/>
                      <a:pt x="126"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4" y="95"/>
                      <a:pt x="124" y="95"/>
                      <a:pt x="124" y="95"/>
                    </a:cubicBezTo>
                    <a:cubicBezTo>
                      <a:pt x="124" y="95"/>
                      <a:pt x="124" y="95"/>
                      <a:pt x="124" y="95"/>
                    </a:cubicBezTo>
                    <a:cubicBezTo>
                      <a:pt x="124" y="95"/>
                      <a:pt x="124" y="95"/>
                      <a:pt x="124" y="95"/>
                    </a:cubicBezTo>
                    <a:cubicBezTo>
                      <a:pt x="124" y="95"/>
                      <a:pt x="124" y="94"/>
                      <a:pt x="124" y="94"/>
                    </a:cubicBezTo>
                    <a:cubicBezTo>
                      <a:pt x="124" y="94"/>
                      <a:pt x="124" y="95"/>
                      <a:pt x="124" y="95"/>
                    </a:cubicBezTo>
                    <a:cubicBezTo>
                      <a:pt x="123" y="95"/>
                      <a:pt x="123" y="94"/>
                      <a:pt x="123" y="94"/>
                    </a:cubicBezTo>
                    <a:cubicBezTo>
                      <a:pt x="123" y="94"/>
                      <a:pt x="123" y="94"/>
                      <a:pt x="123" y="94"/>
                    </a:cubicBezTo>
                    <a:cubicBezTo>
                      <a:pt x="122" y="94"/>
                      <a:pt x="122" y="94"/>
                      <a:pt x="122" y="94"/>
                    </a:cubicBezTo>
                    <a:cubicBezTo>
                      <a:pt x="122" y="94"/>
                      <a:pt x="122" y="94"/>
                      <a:pt x="122" y="94"/>
                    </a:cubicBezTo>
                    <a:cubicBezTo>
                      <a:pt x="122" y="94"/>
                      <a:pt x="122" y="94"/>
                      <a:pt x="122" y="94"/>
                    </a:cubicBezTo>
                    <a:cubicBezTo>
                      <a:pt x="121" y="94"/>
                      <a:pt x="121" y="93"/>
                      <a:pt x="121" y="93"/>
                    </a:cubicBezTo>
                    <a:cubicBezTo>
                      <a:pt x="121" y="93"/>
                      <a:pt x="120" y="93"/>
                      <a:pt x="120" y="93"/>
                    </a:cubicBezTo>
                    <a:cubicBezTo>
                      <a:pt x="120" y="93"/>
                      <a:pt x="120" y="93"/>
                      <a:pt x="119" y="93"/>
                    </a:cubicBezTo>
                    <a:cubicBezTo>
                      <a:pt x="119" y="93"/>
                      <a:pt x="119" y="93"/>
                      <a:pt x="119" y="93"/>
                    </a:cubicBezTo>
                    <a:cubicBezTo>
                      <a:pt x="119" y="94"/>
                      <a:pt x="119"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7" y="94"/>
                    </a:cubicBezTo>
                    <a:cubicBezTo>
                      <a:pt x="117" y="94"/>
                      <a:pt x="117" y="94"/>
                      <a:pt x="117" y="94"/>
                    </a:cubicBezTo>
                    <a:cubicBezTo>
                      <a:pt x="117" y="94"/>
                      <a:pt x="117" y="94"/>
                      <a:pt x="117" y="94"/>
                    </a:cubicBezTo>
                    <a:cubicBezTo>
                      <a:pt x="117" y="94"/>
                      <a:pt x="117" y="94"/>
                      <a:pt x="117" y="94"/>
                    </a:cubicBezTo>
                    <a:cubicBezTo>
                      <a:pt x="117" y="94"/>
                      <a:pt x="117" y="94"/>
                      <a:pt x="116" y="94"/>
                    </a:cubicBezTo>
                    <a:cubicBezTo>
                      <a:pt x="116" y="94"/>
                      <a:pt x="116" y="94"/>
                      <a:pt x="116" y="94"/>
                    </a:cubicBezTo>
                    <a:cubicBezTo>
                      <a:pt x="116" y="94"/>
                      <a:pt x="115" y="94"/>
                      <a:pt x="115" y="94"/>
                    </a:cubicBezTo>
                    <a:cubicBezTo>
                      <a:pt x="115" y="94"/>
                      <a:pt x="115" y="94"/>
                      <a:pt x="115" y="94"/>
                    </a:cubicBezTo>
                    <a:cubicBezTo>
                      <a:pt x="114" y="93"/>
                      <a:pt x="114" y="93"/>
                      <a:pt x="114" y="93"/>
                    </a:cubicBezTo>
                    <a:cubicBezTo>
                      <a:pt x="114" y="93"/>
                      <a:pt x="114" y="94"/>
                      <a:pt x="114" y="94"/>
                    </a:cubicBezTo>
                    <a:cubicBezTo>
                      <a:pt x="114" y="94"/>
                      <a:pt x="114" y="94"/>
                      <a:pt x="114" y="93"/>
                    </a:cubicBezTo>
                    <a:cubicBezTo>
                      <a:pt x="114" y="93"/>
                      <a:pt x="113" y="93"/>
                      <a:pt x="113" y="93"/>
                    </a:cubicBezTo>
                    <a:cubicBezTo>
                      <a:pt x="113" y="93"/>
                      <a:pt x="113" y="93"/>
                      <a:pt x="113" y="93"/>
                    </a:cubicBezTo>
                    <a:cubicBezTo>
                      <a:pt x="113" y="93"/>
                      <a:pt x="113" y="93"/>
                      <a:pt x="113" y="93"/>
                    </a:cubicBezTo>
                    <a:cubicBezTo>
                      <a:pt x="112" y="93"/>
                      <a:pt x="112" y="93"/>
                      <a:pt x="112" y="93"/>
                    </a:cubicBezTo>
                    <a:cubicBezTo>
                      <a:pt x="112" y="93"/>
                      <a:pt x="112" y="93"/>
                      <a:pt x="112" y="93"/>
                    </a:cubicBezTo>
                    <a:cubicBezTo>
                      <a:pt x="112" y="93"/>
                      <a:pt x="112" y="93"/>
                      <a:pt x="112" y="93"/>
                    </a:cubicBezTo>
                    <a:cubicBezTo>
                      <a:pt x="112" y="93"/>
                      <a:pt x="112" y="93"/>
                      <a:pt x="111" y="93"/>
                    </a:cubicBezTo>
                    <a:cubicBezTo>
                      <a:pt x="111" y="93"/>
                      <a:pt x="111" y="93"/>
                      <a:pt x="111" y="93"/>
                    </a:cubicBezTo>
                    <a:cubicBezTo>
                      <a:pt x="111" y="93"/>
                      <a:pt x="111" y="93"/>
                      <a:pt x="111" y="93"/>
                    </a:cubicBezTo>
                    <a:cubicBezTo>
                      <a:pt x="111" y="93"/>
                      <a:pt x="111" y="93"/>
                      <a:pt x="111" y="93"/>
                    </a:cubicBezTo>
                    <a:cubicBezTo>
                      <a:pt x="111" y="93"/>
                      <a:pt x="111" y="93"/>
                      <a:pt x="111" y="93"/>
                    </a:cubicBezTo>
                    <a:cubicBezTo>
                      <a:pt x="111" y="93"/>
                      <a:pt x="110" y="93"/>
                      <a:pt x="110" y="93"/>
                    </a:cubicBezTo>
                    <a:cubicBezTo>
                      <a:pt x="110" y="93"/>
                      <a:pt x="110" y="93"/>
                      <a:pt x="110" y="93"/>
                    </a:cubicBezTo>
                    <a:cubicBezTo>
                      <a:pt x="110" y="93"/>
                      <a:pt x="110" y="93"/>
                      <a:pt x="110" y="93"/>
                    </a:cubicBezTo>
                    <a:cubicBezTo>
                      <a:pt x="110" y="93"/>
                      <a:pt x="110" y="93"/>
                      <a:pt x="110" y="94"/>
                    </a:cubicBezTo>
                    <a:cubicBezTo>
                      <a:pt x="110" y="94"/>
                      <a:pt x="110" y="94"/>
                      <a:pt x="110" y="94"/>
                    </a:cubicBezTo>
                    <a:cubicBezTo>
                      <a:pt x="110" y="94"/>
                      <a:pt x="110" y="94"/>
                      <a:pt x="110" y="94"/>
                    </a:cubicBezTo>
                    <a:cubicBezTo>
                      <a:pt x="110" y="94"/>
                      <a:pt x="110" y="93"/>
                      <a:pt x="110" y="93"/>
                    </a:cubicBezTo>
                    <a:cubicBezTo>
                      <a:pt x="110" y="93"/>
                      <a:pt x="109" y="93"/>
                      <a:pt x="109" y="93"/>
                    </a:cubicBezTo>
                    <a:cubicBezTo>
                      <a:pt x="109" y="93"/>
                      <a:pt x="109" y="93"/>
                      <a:pt x="109" y="93"/>
                    </a:cubicBezTo>
                    <a:cubicBezTo>
                      <a:pt x="109" y="93"/>
                      <a:pt x="109" y="93"/>
                      <a:pt x="109" y="93"/>
                    </a:cubicBezTo>
                    <a:cubicBezTo>
                      <a:pt x="109" y="93"/>
                      <a:pt x="109" y="93"/>
                      <a:pt x="109" y="93"/>
                    </a:cubicBezTo>
                    <a:cubicBezTo>
                      <a:pt x="109" y="93"/>
                      <a:pt x="109" y="93"/>
                      <a:pt x="109" y="93"/>
                    </a:cubicBezTo>
                    <a:cubicBezTo>
                      <a:pt x="109" y="93"/>
                      <a:pt x="109" y="93"/>
                      <a:pt x="108" y="93"/>
                    </a:cubicBezTo>
                    <a:cubicBezTo>
                      <a:pt x="108" y="93"/>
                      <a:pt x="108" y="93"/>
                      <a:pt x="108" y="93"/>
                    </a:cubicBezTo>
                    <a:cubicBezTo>
                      <a:pt x="108" y="93"/>
                      <a:pt x="108" y="93"/>
                      <a:pt x="108" y="93"/>
                    </a:cubicBezTo>
                    <a:cubicBezTo>
                      <a:pt x="108" y="93"/>
                      <a:pt x="108" y="93"/>
                      <a:pt x="108" y="93"/>
                    </a:cubicBezTo>
                    <a:cubicBezTo>
                      <a:pt x="108" y="93"/>
                      <a:pt x="108" y="93"/>
                      <a:pt x="108" y="93"/>
                    </a:cubicBezTo>
                    <a:cubicBezTo>
                      <a:pt x="108" y="93"/>
                      <a:pt x="107" y="93"/>
                      <a:pt x="107" y="93"/>
                    </a:cubicBezTo>
                    <a:cubicBezTo>
                      <a:pt x="107" y="93"/>
                      <a:pt x="107" y="93"/>
                      <a:pt x="107" y="93"/>
                    </a:cubicBezTo>
                    <a:cubicBezTo>
                      <a:pt x="107" y="93"/>
                      <a:pt x="107" y="93"/>
                      <a:pt x="107" y="93"/>
                    </a:cubicBezTo>
                    <a:cubicBezTo>
                      <a:pt x="106" y="93"/>
                      <a:pt x="106" y="93"/>
                      <a:pt x="106" y="93"/>
                    </a:cubicBezTo>
                    <a:cubicBezTo>
                      <a:pt x="106" y="93"/>
                      <a:pt x="106" y="93"/>
                      <a:pt x="106" y="93"/>
                    </a:cubicBezTo>
                    <a:cubicBezTo>
                      <a:pt x="106" y="93"/>
                      <a:pt x="106" y="93"/>
                      <a:pt x="106" y="93"/>
                    </a:cubicBezTo>
                    <a:cubicBezTo>
                      <a:pt x="105" y="93"/>
                      <a:pt x="105" y="93"/>
                      <a:pt x="105" y="93"/>
                    </a:cubicBezTo>
                    <a:cubicBezTo>
                      <a:pt x="105" y="93"/>
                      <a:pt x="105" y="93"/>
                      <a:pt x="105" y="93"/>
                    </a:cubicBezTo>
                    <a:cubicBezTo>
                      <a:pt x="105" y="93"/>
                      <a:pt x="105" y="93"/>
                      <a:pt x="104" y="93"/>
                    </a:cubicBezTo>
                    <a:cubicBezTo>
                      <a:pt x="104" y="93"/>
                      <a:pt x="104" y="93"/>
                      <a:pt x="104" y="93"/>
                    </a:cubicBezTo>
                    <a:cubicBezTo>
                      <a:pt x="104" y="93"/>
                      <a:pt x="104" y="93"/>
                      <a:pt x="104" y="93"/>
                    </a:cubicBezTo>
                    <a:cubicBezTo>
                      <a:pt x="103" y="93"/>
                      <a:pt x="104" y="93"/>
                      <a:pt x="103" y="92"/>
                    </a:cubicBezTo>
                    <a:cubicBezTo>
                      <a:pt x="103" y="92"/>
                      <a:pt x="102" y="92"/>
                      <a:pt x="102" y="92"/>
                    </a:cubicBezTo>
                    <a:cubicBezTo>
                      <a:pt x="102" y="92"/>
                      <a:pt x="101" y="92"/>
                      <a:pt x="101" y="91"/>
                    </a:cubicBezTo>
                    <a:cubicBezTo>
                      <a:pt x="101" y="91"/>
                      <a:pt x="101" y="91"/>
                      <a:pt x="100" y="91"/>
                    </a:cubicBezTo>
                    <a:cubicBezTo>
                      <a:pt x="100" y="91"/>
                      <a:pt x="100" y="91"/>
                      <a:pt x="100" y="91"/>
                    </a:cubicBezTo>
                    <a:cubicBezTo>
                      <a:pt x="100" y="91"/>
                      <a:pt x="99" y="91"/>
                      <a:pt x="99" y="91"/>
                    </a:cubicBezTo>
                    <a:cubicBezTo>
                      <a:pt x="99" y="91"/>
                      <a:pt x="99" y="90"/>
                      <a:pt x="99" y="90"/>
                    </a:cubicBezTo>
                    <a:cubicBezTo>
                      <a:pt x="98" y="90"/>
                      <a:pt x="98" y="90"/>
                      <a:pt x="98" y="90"/>
                    </a:cubicBezTo>
                    <a:cubicBezTo>
                      <a:pt x="97" y="90"/>
                      <a:pt x="97" y="90"/>
                      <a:pt x="96" y="90"/>
                    </a:cubicBezTo>
                    <a:cubicBezTo>
                      <a:pt x="96" y="90"/>
                      <a:pt x="96" y="90"/>
                      <a:pt x="96" y="90"/>
                    </a:cubicBezTo>
                    <a:cubicBezTo>
                      <a:pt x="95" y="90"/>
                      <a:pt x="95" y="90"/>
                      <a:pt x="95" y="90"/>
                    </a:cubicBezTo>
                    <a:cubicBezTo>
                      <a:pt x="95" y="90"/>
                      <a:pt x="95" y="90"/>
                      <a:pt x="95" y="89"/>
                    </a:cubicBezTo>
                    <a:cubicBezTo>
                      <a:pt x="95" y="89"/>
                      <a:pt x="95" y="89"/>
                      <a:pt x="94" y="89"/>
                    </a:cubicBezTo>
                    <a:cubicBezTo>
                      <a:pt x="94" y="89"/>
                      <a:pt x="93" y="89"/>
                      <a:pt x="93" y="89"/>
                    </a:cubicBezTo>
                    <a:cubicBezTo>
                      <a:pt x="93" y="89"/>
                      <a:pt x="92" y="89"/>
                      <a:pt x="92" y="89"/>
                    </a:cubicBezTo>
                    <a:cubicBezTo>
                      <a:pt x="92" y="89"/>
                      <a:pt x="92" y="89"/>
                      <a:pt x="92" y="89"/>
                    </a:cubicBezTo>
                    <a:cubicBezTo>
                      <a:pt x="92" y="89"/>
                      <a:pt x="92" y="89"/>
                      <a:pt x="92" y="89"/>
                    </a:cubicBezTo>
                    <a:cubicBezTo>
                      <a:pt x="92" y="89"/>
                      <a:pt x="92" y="89"/>
                      <a:pt x="92" y="89"/>
                    </a:cubicBezTo>
                    <a:cubicBezTo>
                      <a:pt x="92" y="90"/>
                      <a:pt x="92" y="90"/>
                      <a:pt x="92" y="90"/>
                    </a:cubicBezTo>
                    <a:cubicBezTo>
                      <a:pt x="92" y="90"/>
                      <a:pt x="92" y="90"/>
                      <a:pt x="92" y="90"/>
                    </a:cubicBezTo>
                    <a:cubicBezTo>
                      <a:pt x="92" y="90"/>
                      <a:pt x="91" y="89"/>
                      <a:pt x="91" y="89"/>
                    </a:cubicBezTo>
                    <a:cubicBezTo>
                      <a:pt x="91" y="89"/>
                      <a:pt x="91" y="89"/>
                      <a:pt x="91" y="89"/>
                    </a:cubicBezTo>
                    <a:cubicBezTo>
                      <a:pt x="91" y="89"/>
                      <a:pt x="91" y="89"/>
                      <a:pt x="91" y="89"/>
                    </a:cubicBezTo>
                    <a:cubicBezTo>
                      <a:pt x="91" y="89"/>
                      <a:pt x="91" y="89"/>
                      <a:pt x="91" y="89"/>
                    </a:cubicBezTo>
                    <a:cubicBezTo>
                      <a:pt x="91" y="89"/>
                      <a:pt x="90" y="89"/>
                      <a:pt x="90" y="89"/>
                    </a:cubicBezTo>
                    <a:cubicBezTo>
                      <a:pt x="90" y="89"/>
                      <a:pt x="90" y="89"/>
                      <a:pt x="90" y="89"/>
                    </a:cubicBezTo>
                    <a:cubicBezTo>
                      <a:pt x="90" y="89"/>
                      <a:pt x="89" y="89"/>
                      <a:pt x="89" y="89"/>
                    </a:cubicBezTo>
                    <a:cubicBezTo>
                      <a:pt x="89" y="89"/>
                      <a:pt x="89" y="89"/>
                      <a:pt x="89" y="89"/>
                    </a:cubicBezTo>
                    <a:cubicBezTo>
                      <a:pt x="89" y="89"/>
                      <a:pt x="89" y="89"/>
                      <a:pt x="89" y="89"/>
                    </a:cubicBezTo>
                    <a:cubicBezTo>
                      <a:pt x="89" y="89"/>
                      <a:pt x="89" y="90"/>
                      <a:pt x="89" y="90"/>
                    </a:cubicBezTo>
                    <a:cubicBezTo>
                      <a:pt x="89" y="90"/>
                      <a:pt x="89" y="90"/>
                      <a:pt x="88" y="90"/>
                    </a:cubicBezTo>
                    <a:cubicBezTo>
                      <a:pt x="88" y="90"/>
                      <a:pt x="87" y="90"/>
                      <a:pt x="87" y="90"/>
                    </a:cubicBezTo>
                    <a:cubicBezTo>
                      <a:pt x="87" y="90"/>
                      <a:pt x="86" y="90"/>
                      <a:pt x="86" y="90"/>
                    </a:cubicBezTo>
                    <a:cubicBezTo>
                      <a:pt x="86" y="90"/>
                      <a:pt x="86" y="90"/>
                      <a:pt x="85" y="90"/>
                    </a:cubicBezTo>
                    <a:cubicBezTo>
                      <a:pt x="85" y="90"/>
                      <a:pt x="85" y="89"/>
                      <a:pt x="85" y="89"/>
                    </a:cubicBezTo>
                    <a:cubicBezTo>
                      <a:pt x="84" y="89"/>
                      <a:pt x="84" y="89"/>
                      <a:pt x="84" y="89"/>
                    </a:cubicBezTo>
                    <a:cubicBezTo>
                      <a:pt x="84" y="89"/>
                      <a:pt x="84" y="89"/>
                      <a:pt x="84" y="89"/>
                    </a:cubicBezTo>
                    <a:cubicBezTo>
                      <a:pt x="84" y="89"/>
                      <a:pt x="84" y="89"/>
                      <a:pt x="83" y="89"/>
                    </a:cubicBezTo>
                    <a:cubicBezTo>
                      <a:pt x="83" y="89"/>
                      <a:pt x="83" y="89"/>
                      <a:pt x="83" y="89"/>
                    </a:cubicBezTo>
                    <a:cubicBezTo>
                      <a:pt x="83" y="89"/>
                      <a:pt x="82" y="88"/>
                      <a:pt x="82" y="88"/>
                    </a:cubicBezTo>
                    <a:cubicBezTo>
                      <a:pt x="82" y="88"/>
                      <a:pt x="82" y="88"/>
                      <a:pt x="82" y="88"/>
                    </a:cubicBezTo>
                    <a:cubicBezTo>
                      <a:pt x="82" y="88"/>
                      <a:pt x="82" y="88"/>
                      <a:pt x="82" y="88"/>
                    </a:cubicBezTo>
                    <a:cubicBezTo>
                      <a:pt x="82" y="88"/>
                      <a:pt x="82" y="88"/>
                      <a:pt x="82" y="88"/>
                    </a:cubicBezTo>
                    <a:cubicBezTo>
                      <a:pt x="81" y="88"/>
                      <a:pt x="81" y="88"/>
                      <a:pt x="81" y="88"/>
                    </a:cubicBezTo>
                    <a:cubicBezTo>
                      <a:pt x="80" y="88"/>
                      <a:pt x="80" y="88"/>
                      <a:pt x="80" y="88"/>
                    </a:cubicBezTo>
                    <a:cubicBezTo>
                      <a:pt x="80" y="88"/>
                      <a:pt x="80" y="88"/>
                      <a:pt x="79" y="88"/>
                    </a:cubicBezTo>
                    <a:cubicBezTo>
                      <a:pt x="79" y="87"/>
                      <a:pt x="79" y="88"/>
                      <a:pt x="79" y="87"/>
                    </a:cubicBezTo>
                    <a:cubicBezTo>
                      <a:pt x="78" y="87"/>
                      <a:pt x="78" y="87"/>
                      <a:pt x="77" y="87"/>
                    </a:cubicBezTo>
                    <a:cubicBezTo>
                      <a:pt x="77" y="87"/>
                      <a:pt x="76" y="87"/>
                      <a:pt x="76" y="87"/>
                    </a:cubicBezTo>
                    <a:cubicBezTo>
                      <a:pt x="76" y="87"/>
                      <a:pt x="75" y="87"/>
                      <a:pt x="75" y="87"/>
                    </a:cubicBezTo>
                    <a:cubicBezTo>
                      <a:pt x="75" y="87"/>
                      <a:pt x="75" y="87"/>
                      <a:pt x="75" y="87"/>
                    </a:cubicBezTo>
                    <a:cubicBezTo>
                      <a:pt x="75" y="87"/>
                      <a:pt x="75" y="87"/>
                      <a:pt x="75" y="87"/>
                    </a:cubicBezTo>
                    <a:cubicBezTo>
                      <a:pt x="74" y="87"/>
                      <a:pt x="74" y="87"/>
                      <a:pt x="74" y="87"/>
                    </a:cubicBezTo>
                    <a:cubicBezTo>
                      <a:pt x="74" y="87"/>
                      <a:pt x="74" y="86"/>
                      <a:pt x="74" y="86"/>
                    </a:cubicBezTo>
                    <a:cubicBezTo>
                      <a:pt x="74" y="86"/>
                      <a:pt x="74" y="86"/>
                      <a:pt x="74" y="86"/>
                    </a:cubicBezTo>
                    <a:cubicBezTo>
                      <a:pt x="74" y="86"/>
                      <a:pt x="74" y="86"/>
                      <a:pt x="75" y="86"/>
                    </a:cubicBezTo>
                    <a:cubicBezTo>
                      <a:pt x="75" y="86"/>
                      <a:pt x="75" y="86"/>
                      <a:pt x="75" y="85"/>
                    </a:cubicBezTo>
                    <a:cubicBezTo>
                      <a:pt x="75" y="85"/>
                      <a:pt x="75" y="85"/>
                      <a:pt x="75" y="85"/>
                    </a:cubicBezTo>
                    <a:cubicBezTo>
                      <a:pt x="75" y="85"/>
                      <a:pt x="75" y="85"/>
                      <a:pt x="75" y="85"/>
                    </a:cubicBezTo>
                    <a:cubicBezTo>
                      <a:pt x="75" y="85"/>
                      <a:pt x="76" y="84"/>
                      <a:pt x="75" y="84"/>
                    </a:cubicBezTo>
                    <a:cubicBezTo>
                      <a:pt x="75" y="84"/>
                      <a:pt x="75" y="84"/>
                      <a:pt x="75" y="84"/>
                    </a:cubicBezTo>
                    <a:cubicBezTo>
                      <a:pt x="75" y="84"/>
                      <a:pt x="75" y="84"/>
                      <a:pt x="75" y="84"/>
                    </a:cubicBezTo>
                    <a:cubicBezTo>
                      <a:pt x="74" y="84"/>
                      <a:pt x="74" y="84"/>
                      <a:pt x="74" y="84"/>
                    </a:cubicBezTo>
                    <a:cubicBezTo>
                      <a:pt x="74" y="84"/>
                      <a:pt x="74" y="84"/>
                      <a:pt x="74" y="84"/>
                    </a:cubicBezTo>
                    <a:cubicBezTo>
                      <a:pt x="74" y="84"/>
                      <a:pt x="74" y="84"/>
                      <a:pt x="73" y="84"/>
                    </a:cubicBezTo>
                    <a:cubicBezTo>
                      <a:pt x="73" y="84"/>
                      <a:pt x="73" y="84"/>
                      <a:pt x="73" y="84"/>
                    </a:cubicBezTo>
                    <a:cubicBezTo>
                      <a:pt x="73" y="84"/>
                      <a:pt x="72" y="84"/>
                      <a:pt x="72" y="83"/>
                    </a:cubicBezTo>
                    <a:cubicBezTo>
                      <a:pt x="72" y="83"/>
                      <a:pt x="72" y="83"/>
                      <a:pt x="72" y="83"/>
                    </a:cubicBezTo>
                    <a:cubicBezTo>
                      <a:pt x="71" y="83"/>
                      <a:pt x="71" y="83"/>
                      <a:pt x="71" y="83"/>
                    </a:cubicBezTo>
                    <a:cubicBezTo>
                      <a:pt x="71" y="83"/>
                      <a:pt x="71" y="83"/>
                      <a:pt x="71" y="83"/>
                    </a:cubicBezTo>
                    <a:cubicBezTo>
                      <a:pt x="70" y="83"/>
                      <a:pt x="70" y="83"/>
                      <a:pt x="70" y="83"/>
                    </a:cubicBezTo>
                    <a:cubicBezTo>
                      <a:pt x="70" y="83"/>
                      <a:pt x="70" y="83"/>
                      <a:pt x="70" y="83"/>
                    </a:cubicBezTo>
                    <a:cubicBezTo>
                      <a:pt x="70" y="83"/>
                      <a:pt x="70" y="83"/>
                      <a:pt x="69" y="83"/>
                    </a:cubicBezTo>
                    <a:cubicBezTo>
                      <a:pt x="69" y="83"/>
                      <a:pt x="69" y="83"/>
                      <a:pt x="69" y="83"/>
                    </a:cubicBezTo>
                    <a:cubicBezTo>
                      <a:pt x="68" y="84"/>
                      <a:pt x="69" y="84"/>
                      <a:pt x="68" y="83"/>
                    </a:cubicBezTo>
                    <a:cubicBezTo>
                      <a:pt x="68" y="83"/>
                      <a:pt x="68" y="83"/>
                      <a:pt x="68" y="83"/>
                    </a:cubicBezTo>
                    <a:cubicBezTo>
                      <a:pt x="68" y="83"/>
                      <a:pt x="68" y="83"/>
                      <a:pt x="68" y="83"/>
                    </a:cubicBezTo>
                    <a:cubicBezTo>
                      <a:pt x="67" y="83"/>
                      <a:pt x="67" y="83"/>
                      <a:pt x="67" y="83"/>
                    </a:cubicBezTo>
                    <a:cubicBezTo>
                      <a:pt x="67" y="83"/>
                      <a:pt x="67" y="83"/>
                      <a:pt x="67" y="83"/>
                    </a:cubicBezTo>
                    <a:cubicBezTo>
                      <a:pt x="67" y="83"/>
                      <a:pt x="67" y="83"/>
                      <a:pt x="67" y="83"/>
                    </a:cubicBezTo>
                    <a:cubicBezTo>
                      <a:pt x="67" y="83"/>
                      <a:pt x="67" y="83"/>
                      <a:pt x="67" y="83"/>
                    </a:cubicBezTo>
                    <a:cubicBezTo>
                      <a:pt x="66" y="83"/>
                      <a:pt x="66" y="83"/>
                      <a:pt x="67" y="83"/>
                    </a:cubicBezTo>
                    <a:cubicBezTo>
                      <a:pt x="67" y="83"/>
                      <a:pt x="67" y="83"/>
                      <a:pt x="67" y="83"/>
                    </a:cubicBezTo>
                    <a:cubicBezTo>
                      <a:pt x="67" y="83"/>
                      <a:pt x="67" y="83"/>
                      <a:pt x="67" y="82"/>
                    </a:cubicBezTo>
                    <a:cubicBezTo>
                      <a:pt x="67" y="82"/>
                      <a:pt x="67" y="82"/>
                      <a:pt x="67" y="82"/>
                    </a:cubicBezTo>
                    <a:cubicBezTo>
                      <a:pt x="67" y="82"/>
                      <a:pt x="67" y="82"/>
                      <a:pt x="67" y="82"/>
                    </a:cubicBezTo>
                    <a:cubicBezTo>
                      <a:pt x="67" y="82"/>
                      <a:pt x="67" y="82"/>
                      <a:pt x="68" y="82"/>
                    </a:cubicBezTo>
                    <a:cubicBezTo>
                      <a:pt x="68" y="82"/>
                      <a:pt x="68" y="82"/>
                      <a:pt x="68" y="82"/>
                    </a:cubicBezTo>
                    <a:cubicBezTo>
                      <a:pt x="68" y="83"/>
                      <a:pt x="68" y="83"/>
                      <a:pt x="68" y="83"/>
                    </a:cubicBezTo>
                    <a:cubicBezTo>
                      <a:pt x="68" y="83"/>
                      <a:pt x="68" y="83"/>
                      <a:pt x="68" y="83"/>
                    </a:cubicBezTo>
                    <a:cubicBezTo>
                      <a:pt x="68" y="83"/>
                      <a:pt x="68" y="83"/>
                      <a:pt x="68" y="83"/>
                    </a:cubicBezTo>
                    <a:cubicBezTo>
                      <a:pt x="68" y="83"/>
                      <a:pt x="68" y="82"/>
                      <a:pt x="69" y="82"/>
                    </a:cubicBezTo>
                    <a:cubicBezTo>
                      <a:pt x="69" y="82"/>
                      <a:pt x="69" y="82"/>
                      <a:pt x="69" y="82"/>
                    </a:cubicBezTo>
                    <a:cubicBezTo>
                      <a:pt x="69" y="82"/>
                      <a:pt x="69" y="82"/>
                      <a:pt x="69" y="82"/>
                    </a:cubicBezTo>
                    <a:cubicBezTo>
                      <a:pt x="69" y="82"/>
                      <a:pt x="69" y="82"/>
                      <a:pt x="69" y="81"/>
                    </a:cubicBezTo>
                    <a:cubicBezTo>
                      <a:pt x="69" y="81"/>
                      <a:pt x="69" y="81"/>
                      <a:pt x="69" y="81"/>
                    </a:cubicBezTo>
                    <a:cubicBezTo>
                      <a:pt x="69" y="81"/>
                      <a:pt x="69" y="81"/>
                      <a:pt x="69" y="81"/>
                    </a:cubicBezTo>
                    <a:cubicBezTo>
                      <a:pt x="70" y="81"/>
                      <a:pt x="70" y="81"/>
                      <a:pt x="70" y="81"/>
                    </a:cubicBezTo>
                    <a:cubicBezTo>
                      <a:pt x="70" y="81"/>
                      <a:pt x="70" y="81"/>
                      <a:pt x="70" y="81"/>
                    </a:cubicBezTo>
                    <a:cubicBezTo>
                      <a:pt x="70" y="81"/>
                      <a:pt x="71" y="81"/>
                      <a:pt x="71" y="80"/>
                    </a:cubicBezTo>
                    <a:cubicBezTo>
                      <a:pt x="71" y="80"/>
                      <a:pt x="70" y="80"/>
                      <a:pt x="71" y="80"/>
                    </a:cubicBezTo>
                    <a:cubicBezTo>
                      <a:pt x="71" y="79"/>
                      <a:pt x="71" y="79"/>
                      <a:pt x="71" y="79"/>
                    </a:cubicBezTo>
                    <a:cubicBezTo>
                      <a:pt x="71" y="78"/>
                      <a:pt x="71" y="78"/>
                      <a:pt x="71" y="78"/>
                    </a:cubicBezTo>
                    <a:cubicBezTo>
                      <a:pt x="71" y="78"/>
                      <a:pt x="71" y="78"/>
                      <a:pt x="71" y="78"/>
                    </a:cubicBezTo>
                    <a:cubicBezTo>
                      <a:pt x="72" y="78"/>
                      <a:pt x="72" y="78"/>
                      <a:pt x="72" y="77"/>
                    </a:cubicBezTo>
                    <a:cubicBezTo>
                      <a:pt x="72" y="77"/>
                      <a:pt x="72" y="77"/>
                      <a:pt x="72" y="77"/>
                    </a:cubicBezTo>
                    <a:cubicBezTo>
                      <a:pt x="72" y="77"/>
                      <a:pt x="72" y="77"/>
                      <a:pt x="72" y="77"/>
                    </a:cubicBezTo>
                    <a:cubicBezTo>
                      <a:pt x="72" y="77"/>
                      <a:pt x="72" y="77"/>
                      <a:pt x="72" y="77"/>
                    </a:cubicBezTo>
                    <a:cubicBezTo>
                      <a:pt x="72" y="77"/>
                      <a:pt x="72" y="77"/>
                      <a:pt x="72" y="77"/>
                    </a:cubicBezTo>
                    <a:cubicBezTo>
                      <a:pt x="72" y="78"/>
                      <a:pt x="73" y="78"/>
                      <a:pt x="73" y="78"/>
                    </a:cubicBezTo>
                    <a:cubicBezTo>
                      <a:pt x="73" y="78"/>
                      <a:pt x="73" y="78"/>
                      <a:pt x="73" y="78"/>
                    </a:cubicBezTo>
                    <a:cubicBezTo>
                      <a:pt x="73" y="78"/>
                      <a:pt x="73" y="78"/>
                      <a:pt x="73" y="77"/>
                    </a:cubicBezTo>
                    <a:cubicBezTo>
                      <a:pt x="73" y="77"/>
                      <a:pt x="73" y="77"/>
                      <a:pt x="73" y="77"/>
                    </a:cubicBezTo>
                    <a:cubicBezTo>
                      <a:pt x="74" y="77"/>
                      <a:pt x="74" y="77"/>
                      <a:pt x="74" y="77"/>
                    </a:cubicBezTo>
                    <a:cubicBezTo>
                      <a:pt x="74" y="77"/>
                      <a:pt x="74" y="77"/>
                      <a:pt x="74" y="77"/>
                    </a:cubicBezTo>
                    <a:cubicBezTo>
                      <a:pt x="74" y="77"/>
                      <a:pt x="74" y="77"/>
                      <a:pt x="75" y="78"/>
                    </a:cubicBezTo>
                    <a:cubicBezTo>
                      <a:pt x="75" y="78"/>
                      <a:pt x="75" y="78"/>
                      <a:pt x="75" y="78"/>
                    </a:cubicBezTo>
                    <a:cubicBezTo>
                      <a:pt x="75" y="78"/>
                      <a:pt x="75" y="78"/>
                      <a:pt x="75" y="78"/>
                    </a:cubicBezTo>
                    <a:cubicBezTo>
                      <a:pt x="75" y="78"/>
                      <a:pt x="76" y="78"/>
                      <a:pt x="76" y="78"/>
                    </a:cubicBezTo>
                    <a:cubicBezTo>
                      <a:pt x="76" y="78"/>
                      <a:pt x="76" y="78"/>
                      <a:pt x="76" y="78"/>
                    </a:cubicBezTo>
                    <a:cubicBezTo>
                      <a:pt x="76" y="78"/>
                      <a:pt x="76" y="78"/>
                      <a:pt x="76" y="78"/>
                    </a:cubicBezTo>
                    <a:cubicBezTo>
                      <a:pt x="76"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8" y="78"/>
                      <a:pt x="78" y="78"/>
                    </a:cubicBezTo>
                    <a:cubicBezTo>
                      <a:pt x="78" y="78"/>
                      <a:pt x="78" y="78"/>
                      <a:pt x="78" y="78"/>
                    </a:cubicBezTo>
                    <a:cubicBezTo>
                      <a:pt x="78" y="78"/>
                      <a:pt x="78" y="78"/>
                      <a:pt x="78" y="78"/>
                    </a:cubicBezTo>
                    <a:cubicBezTo>
                      <a:pt x="78" y="78"/>
                      <a:pt x="78" y="78"/>
                      <a:pt x="78" y="78"/>
                    </a:cubicBezTo>
                    <a:cubicBezTo>
                      <a:pt x="79" y="78"/>
                      <a:pt x="79" y="78"/>
                      <a:pt x="79" y="78"/>
                    </a:cubicBezTo>
                    <a:cubicBezTo>
                      <a:pt x="78" y="78"/>
                      <a:pt x="78" y="78"/>
                      <a:pt x="78" y="78"/>
                    </a:cubicBezTo>
                    <a:cubicBezTo>
                      <a:pt x="78" y="78"/>
                      <a:pt x="79" y="78"/>
                      <a:pt x="79" y="77"/>
                    </a:cubicBezTo>
                    <a:cubicBezTo>
                      <a:pt x="78" y="77"/>
                      <a:pt x="78" y="77"/>
                      <a:pt x="78" y="77"/>
                    </a:cubicBezTo>
                    <a:cubicBezTo>
                      <a:pt x="78" y="77"/>
                      <a:pt x="79" y="77"/>
                      <a:pt x="79" y="77"/>
                    </a:cubicBezTo>
                    <a:cubicBezTo>
                      <a:pt x="79" y="77"/>
                      <a:pt x="79" y="77"/>
                      <a:pt x="79" y="77"/>
                    </a:cubicBezTo>
                    <a:cubicBezTo>
                      <a:pt x="79" y="77"/>
                      <a:pt x="79" y="77"/>
                      <a:pt x="79" y="77"/>
                    </a:cubicBezTo>
                    <a:cubicBezTo>
                      <a:pt x="80" y="77"/>
                      <a:pt x="79" y="78"/>
                      <a:pt x="80" y="77"/>
                    </a:cubicBezTo>
                    <a:cubicBezTo>
                      <a:pt x="80" y="77"/>
                      <a:pt x="80" y="77"/>
                      <a:pt x="80" y="77"/>
                    </a:cubicBezTo>
                    <a:cubicBezTo>
                      <a:pt x="81" y="77"/>
                      <a:pt x="81" y="77"/>
                      <a:pt x="81" y="78"/>
                    </a:cubicBezTo>
                    <a:cubicBezTo>
                      <a:pt x="81" y="78"/>
                      <a:pt x="81" y="78"/>
                      <a:pt x="81" y="78"/>
                    </a:cubicBezTo>
                    <a:cubicBezTo>
                      <a:pt x="81" y="78"/>
                      <a:pt x="81" y="78"/>
                      <a:pt x="82" y="79"/>
                    </a:cubicBezTo>
                    <a:cubicBezTo>
                      <a:pt x="82" y="79"/>
                      <a:pt x="83" y="79"/>
                      <a:pt x="83" y="79"/>
                    </a:cubicBezTo>
                    <a:cubicBezTo>
                      <a:pt x="83" y="79"/>
                      <a:pt x="83" y="79"/>
                      <a:pt x="83" y="79"/>
                    </a:cubicBezTo>
                    <a:cubicBezTo>
                      <a:pt x="83" y="79"/>
                      <a:pt x="83" y="79"/>
                      <a:pt x="83" y="79"/>
                    </a:cubicBezTo>
                    <a:cubicBezTo>
                      <a:pt x="84" y="79"/>
                      <a:pt x="84" y="79"/>
                      <a:pt x="84" y="79"/>
                    </a:cubicBezTo>
                    <a:cubicBezTo>
                      <a:pt x="84" y="79"/>
                      <a:pt x="84" y="79"/>
                      <a:pt x="84" y="79"/>
                    </a:cubicBezTo>
                    <a:cubicBezTo>
                      <a:pt x="84" y="79"/>
                      <a:pt x="84" y="79"/>
                      <a:pt x="85" y="79"/>
                    </a:cubicBezTo>
                    <a:cubicBezTo>
                      <a:pt x="85" y="79"/>
                      <a:pt x="85" y="79"/>
                      <a:pt x="85" y="79"/>
                    </a:cubicBezTo>
                    <a:cubicBezTo>
                      <a:pt x="85" y="79"/>
                      <a:pt x="84" y="79"/>
                      <a:pt x="85" y="79"/>
                    </a:cubicBezTo>
                    <a:cubicBezTo>
                      <a:pt x="85" y="79"/>
                      <a:pt x="85" y="80"/>
                      <a:pt x="86" y="80"/>
                    </a:cubicBezTo>
                    <a:cubicBezTo>
                      <a:pt x="86" y="80"/>
                      <a:pt x="86" y="80"/>
                      <a:pt x="87" y="80"/>
                    </a:cubicBezTo>
                    <a:cubicBezTo>
                      <a:pt x="87" y="79"/>
                      <a:pt x="87" y="79"/>
                      <a:pt x="87" y="79"/>
                    </a:cubicBezTo>
                    <a:cubicBezTo>
                      <a:pt x="87" y="79"/>
                      <a:pt x="87" y="79"/>
                      <a:pt x="87" y="79"/>
                    </a:cubicBezTo>
                    <a:cubicBezTo>
                      <a:pt x="87" y="79"/>
                      <a:pt x="87" y="79"/>
                      <a:pt x="87" y="79"/>
                    </a:cubicBezTo>
                    <a:cubicBezTo>
                      <a:pt x="87" y="80"/>
                      <a:pt x="87" y="80"/>
                      <a:pt x="87" y="80"/>
                    </a:cubicBezTo>
                    <a:cubicBezTo>
                      <a:pt x="87" y="80"/>
                      <a:pt x="87" y="80"/>
                      <a:pt x="87" y="80"/>
                    </a:cubicBezTo>
                    <a:cubicBezTo>
                      <a:pt x="87" y="79"/>
                      <a:pt x="87" y="79"/>
                      <a:pt x="87" y="79"/>
                    </a:cubicBezTo>
                    <a:cubicBezTo>
                      <a:pt x="87" y="79"/>
                      <a:pt x="88" y="79"/>
                      <a:pt x="88" y="80"/>
                    </a:cubicBezTo>
                    <a:cubicBezTo>
                      <a:pt x="88" y="80"/>
                      <a:pt x="88" y="80"/>
                      <a:pt x="88" y="81"/>
                    </a:cubicBezTo>
                    <a:cubicBezTo>
                      <a:pt x="89" y="81"/>
                      <a:pt x="89" y="81"/>
                      <a:pt x="89" y="81"/>
                    </a:cubicBezTo>
                    <a:cubicBezTo>
                      <a:pt x="89" y="81"/>
                      <a:pt x="89" y="81"/>
                      <a:pt x="89" y="81"/>
                    </a:cubicBezTo>
                    <a:cubicBezTo>
                      <a:pt x="89" y="81"/>
                      <a:pt x="89" y="82"/>
                      <a:pt x="89" y="82"/>
                    </a:cubicBezTo>
                    <a:cubicBezTo>
                      <a:pt x="89" y="82"/>
                      <a:pt x="89" y="82"/>
                      <a:pt x="89" y="83"/>
                    </a:cubicBezTo>
                    <a:cubicBezTo>
                      <a:pt x="89" y="83"/>
                      <a:pt x="89" y="83"/>
                      <a:pt x="90" y="83"/>
                    </a:cubicBezTo>
                    <a:cubicBezTo>
                      <a:pt x="90" y="83"/>
                      <a:pt x="90" y="83"/>
                      <a:pt x="90" y="83"/>
                    </a:cubicBezTo>
                    <a:cubicBezTo>
                      <a:pt x="90" y="83"/>
                      <a:pt x="90" y="83"/>
                      <a:pt x="90" y="83"/>
                    </a:cubicBezTo>
                    <a:cubicBezTo>
                      <a:pt x="90" y="83"/>
                      <a:pt x="90" y="83"/>
                      <a:pt x="91" y="83"/>
                    </a:cubicBezTo>
                    <a:cubicBezTo>
                      <a:pt x="91" y="83"/>
                      <a:pt x="91" y="83"/>
                      <a:pt x="91" y="83"/>
                    </a:cubicBezTo>
                    <a:cubicBezTo>
                      <a:pt x="91" y="83"/>
                      <a:pt x="91" y="83"/>
                      <a:pt x="91" y="83"/>
                    </a:cubicBezTo>
                    <a:cubicBezTo>
                      <a:pt x="91" y="83"/>
                      <a:pt x="91" y="83"/>
                      <a:pt x="91" y="83"/>
                    </a:cubicBezTo>
                    <a:cubicBezTo>
                      <a:pt x="91" y="83"/>
                      <a:pt x="91" y="83"/>
                      <a:pt x="91" y="83"/>
                    </a:cubicBezTo>
                    <a:cubicBezTo>
                      <a:pt x="92" y="83"/>
                      <a:pt x="92" y="83"/>
                      <a:pt x="92" y="83"/>
                    </a:cubicBezTo>
                    <a:cubicBezTo>
                      <a:pt x="92" y="83"/>
                      <a:pt x="92" y="83"/>
                      <a:pt x="92" y="83"/>
                    </a:cubicBezTo>
                    <a:cubicBezTo>
                      <a:pt x="93" y="83"/>
                      <a:pt x="92" y="83"/>
                      <a:pt x="92" y="83"/>
                    </a:cubicBezTo>
                    <a:cubicBezTo>
                      <a:pt x="92" y="83"/>
                      <a:pt x="93" y="84"/>
                      <a:pt x="94" y="84"/>
                    </a:cubicBezTo>
                    <a:cubicBezTo>
                      <a:pt x="95" y="83"/>
                      <a:pt x="95" y="83"/>
                      <a:pt x="95" y="83"/>
                    </a:cubicBezTo>
                    <a:cubicBezTo>
                      <a:pt x="95" y="83"/>
                      <a:pt x="96" y="83"/>
                      <a:pt x="96" y="83"/>
                    </a:cubicBezTo>
                    <a:cubicBezTo>
                      <a:pt x="96" y="83"/>
                      <a:pt x="97" y="83"/>
                      <a:pt x="97" y="84"/>
                    </a:cubicBezTo>
                    <a:cubicBezTo>
                      <a:pt x="97" y="84"/>
                      <a:pt x="98" y="84"/>
                      <a:pt x="98" y="84"/>
                    </a:cubicBezTo>
                    <a:cubicBezTo>
                      <a:pt x="99" y="84"/>
                      <a:pt x="99" y="84"/>
                      <a:pt x="99" y="84"/>
                    </a:cubicBezTo>
                    <a:cubicBezTo>
                      <a:pt x="99" y="84"/>
                      <a:pt x="100" y="83"/>
                      <a:pt x="100" y="83"/>
                    </a:cubicBezTo>
                    <a:cubicBezTo>
                      <a:pt x="100" y="83"/>
                      <a:pt x="100" y="83"/>
                      <a:pt x="100" y="84"/>
                    </a:cubicBezTo>
                    <a:cubicBezTo>
                      <a:pt x="100" y="84"/>
                      <a:pt x="100" y="84"/>
                      <a:pt x="101" y="84"/>
                    </a:cubicBezTo>
                    <a:cubicBezTo>
                      <a:pt x="101" y="84"/>
                      <a:pt x="101" y="84"/>
                      <a:pt x="101" y="84"/>
                    </a:cubicBezTo>
                    <a:cubicBezTo>
                      <a:pt x="101" y="84"/>
                      <a:pt x="101" y="84"/>
                      <a:pt x="101" y="84"/>
                    </a:cubicBezTo>
                    <a:cubicBezTo>
                      <a:pt x="101" y="84"/>
                      <a:pt x="101" y="84"/>
                      <a:pt x="101" y="84"/>
                    </a:cubicBezTo>
                    <a:cubicBezTo>
                      <a:pt x="102" y="84"/>
                      <a:pt x="102" y="84"/>
                      <a:pt x="102" y="84"/>
                    </a:cubicBezTo>
                    <a:cubicBezTo>
                      <a:pt x="102" y="84"/>
                      <a:pt x="102" y="84"/>
                      <a:pt x="102" y="83"/>
                    </a:cubicBezTo>
                    <a:cubicBezTo>
                      <a:pt x="102" y="83"/>
                      <a:pt x="103" y="83"/>
                      <a:pt x="103" y="83"/>
                    </a:cubicBezTo>
                    <a:cubicBezTo>
                      <a:pt x="102" y="83"/>
                      <a:pt x="102" y="83"/>
                      <a:pt x="102" y="83"/>
                    </a:cubicBezTo>
                    <a:cubicBezTo>
                      <a:pt x="103" y="83"/>
                      <a:pt x="103" y="83"/>
                      <a:pt x="103" y="83"/>
                    </a:cubicBezTo>
                    <a:cubicBezTo>
                      <a:pt x="103" y="82"/>
                      <a:pt x="103" y="82"/>
                      <a:pt x="103" y="82"/>
                    </a:cubicBezTo>
                    <a:cubicBezTo>
                      <a:pt x="103" y="82"/>
                      <a:pt x="103" y="82"/>
                      <a:pt x="103" y="81"/>
                    </a:cubicBezTo>
                    <a:cubicBezTo>
                      <a:pt x="103" y="81"/>
                      <a:pt x="103" y="81"/>
                      <a:pt x="104" y="81"/>
                    </a:cubicBezTo>
                    <a:cubicBezTo>
                      <a:pt x="104" y="81"/>
                      <a:pt x="104" y="81"/>
                      <a:pt x="104" y="80"/>
                    </a:cubicBezTo>
                    <a:cubicBezTo>
                      <a:pt x="104" y="80"/>
                      <a:pt x="105" y="80"/>
                      <a:pt x="105" y="80"/>
                    </a:cubicBezTo>
                    <a:cubicBezTo>
                      <a:pt x="105" y="80"/>
                      <a:pt x="105" y="80"/>
                      <a:pt x="105" y="80"/>
                    </a:cubicBezTo>
                    <a:cubicBezTo>
                      <a:pt x="106" y="80"/>
                      <a:pt x="106" y="80"/>
                      <a:pt x="106" y="80"/>
                    </a:cubicBezTo>
                    <a:cubicBezTo>
                      <a:pt x="106" y="80"/>
                      <a:pt x="106" y="81"/>
                      <a:pt x="106" y="81"/>
                    </a:cubicBezTo>
                    <a:cubicBezTo>
                      <a:pt x="106" y="81"/>
                      <a:pt x="106" y="81"/>
                      <a:pt x="106" y="81"/>
                    </a:cubicBezTo>
                    <a:cubicBezTo>
                      <a:pt x="106" y="82"/>
                      <a:pt x="106" y="82"/>
                      <a:pt x="107" y="82"/>
                    </a:cubicBezTo>
                    <a:cubicBezTo>
                      <a:pt x="107" y="82"/>
                      <a:pt x="107" y="82"/>
                      <a:pt x="107" y="82"/>
                    </a:cubicBezTo>
                    <a:cubicBezTo>
                      <a:pt x="108" y="82"/>
                      <a:pt x="108" y="82"/>
                      <a:pt x="108" y="82"/>
                    </a:cubicBezTo>
                    <a:cubicBezTo>
                      <a:pt x="109" y="82"/>
                      <a:pt x="109" y="82"/>
                      <a:pt x="109" y="82"/>
                    </a:cubicBezTo>
                    <a:cubicBezTo>
                      <a:pt x="109" y="82"/>
                      <a:pt x="109" y="82"/>
                      <a:pt x="109" y="82"/>
                    </a:cubicBezTo>
                    <a:cubicBezTo>
                      <a:pt x="110" y="82"/>
                      <a:pt x="110" y="82"/>
                      <a:pt x="110" y="83"/>
                    </a:cubicBezTo>
                    <a:cubicBezTo>
                      <a:pt x="110" y="83"/>
                      <a:pt x="110" y="83"/>
                      <a:pt x="110" y="83"/>
                    </a:cubicBezTo>
                    <a:cubicBezTo>
                      <a:pt x="110" y="83"/>
                      <a:pt x="110" y="83"/>
                      <a:pt x="111" y="83"/>
                    </a:cubicBezTo>
                    <a:cubicBezTo>
                      <a:pt x="111" y="83"/>
                      <a:pt x="111" y="83"/>
                      <a:pt x="111" y="83"/>
                    </a:cubicBezTo>
                    <a:cubicBezTo>
                      <a:pt x="112" y="83"/>
                      <a:pt x="112" y="83"/>
                      <a:pt x="112" y="83"/>
                    </a:cubicBezTo>
                    <a:cubicBezTo>
                      <a:pt x="112" y="83"/>
                      <a:pt x="112" y="83"/>
                      <a:pt x="112" y="83"/>
                    </a:cubicBezTo>
                    <a:cubicBezTo>
                      <a:pt x="112" y="83"/>
                      <a:pt x="112" y="83"/>
                      <a:pt x="112" y="83"/>
                    </a:cubicBezTo>
                    <a:cubicBezTo>
                      <a:pt x="112" y="83"/>
                      <a:pt x="112" y="84"/>
                      <a:pt x="113" y="84"/>
                    </a:cubicBezTo>
                    <a:cubicBezTo>
                      <a:pt x="113" y="84"/>
                      <a:pt x="113" y="84"/>
                      <a:pt x="113" y="84"/>
                    </a:cubicBezTo>
                    <a:cubicBezTo>
                      <a:pt x="114" y="84"/>
                      <a:pt x="114" y="84"/>
                      <a:pt x="114" y="84"/>
                    </a:cubicBezTo>
                    <a:cubicBezTo>
                      <a:pt x="114" y="84"/>
                      <a:pt x="114" y="83"/>
                      <a:pt x="115" y="83"/>
                    </a:cubicBezTo>
                    <a:cubicBezTo>
                      <a:pt x="115" y="83"/>
                      <a:pt x="115" y="83"/>
                      <a:pt x="115" y="84"/>
                    </a:cubicBezTo>
                    <a:cubicBezTo>
                      <a:pt x="115" y="84"/>
                      <a:pt x="115" y="84"/>
                      <a:pt x="116" y="84"/>
                    </a:cubicBezTo>
                    <a:cubicBezTo>
                      <a:pt x="116" y="84"/>
                      <a:pt x="116" y="84"/>
                      <a:pt x="116" y="84"/>
                    </a:cubicBezTo>
                    <a:cubicBezTo>
                      <a:pt x="116" y="83"/>
                      <a:pt x="116" y="83"/>
                      <a:pt x="116" y="83"/>
                    </a:cubicBezTo>
                    <a:cubicBezTo>
                      <a:pt x="116" y="83"/>
                      <a:pt x="116" y="83"/>
                      <a:pt x="116" y="84"/>
                    </a:cubicBezTo>
                    <a:cubicBezTo>
                      <a:pt x="116" y="84"/>
                      <a:pt x="116" y="84"/>
                      <a:pt x="116" y="84"/>
                    </a:cubicBezTo>
                    <a:cubicBezTo>
                      <a:pt x="116" y="84"/>
                      <a:pt x="116" y="84"/>
                      <a:pt x="116" y="84"/>
                    </a:cubicBezTo>
                    <a:cubicBezTo>
                      <a:pt x="116" y="84"/>
                      <a:pt x="116" y="84"/>
                      <a:pt x="116" y="84"/>
                    </a:cubicBezTo>
                    <a:cubicBezTo>
                      <a:pt x="116" y="84"/>
                      <a:pt x="117" y="84"/>
                      <a:pt x="117" y="84"/>
                    </a:cubicBezTo>
                    <a:cubicBezTo>
                      <a:pt x="117" y="84"/>
                      <a:pt x="116" y="84"/>
                      <a:pt x="116" y="85"/>
                    </a:cubicBezTo>
                    <a:cubicBezTo>
                      <a:pt x="116" y="85"/>
                      <a:pt x="117" y="85"/>
                      <a:pt x="117" y="85"/>
                    </a:cubicBezTo>
                    <a:cubicBezTo>
                      <a:pt x="117" y="85"/>
                      <a:pt x="116" y="85"/>
                      <a:pt x="116" y="85"/>
                    </a:cubicBezTo>
                    <a:cubicBezTo>
                      <a:pt x="116" y="85"/>
                      <a:pt x="116" y="85"/>
                      <a:pt x="116" y="85"/>
                    </a:cubicBezTo>
                    <a:cubicBezTo>
                      <a:pt x="117" y="85"/>
                      <a:pt x="117" y="85"/>
                      <a:pt x="117" y="85"/>
                    </a:cubicBezTo>
                    <a:cubicBezTo>
                      <a:pt x="117" y="86"/>
                      <a:pt x="117" y="86"/>
                      <a:pt x="117" y="86"/>
                    </a:cubicBezTo>
                    <a:cubicBezTo>
                      <a:pt x="117" y="86"/>
                      <a:pt x="117" y="86"/>
                      <a:pt x="117" y="86"/>
                    </a:cubicBezTo>
                    <a:cubicBezTo>
                      <a:pt x="117" y="86"/>
                      <a:pt x="117" y="86"/>
                      <a:pt x="117" y="86"/>
                    </a:cubicBezTo>
                    <a:cubicBezTo>
                      <a:pt x="117" y="86"/>
                      <a:pt x="118" y="86"/>
                      <a:pt x="118" y="86"/>
                    </a:cubicBezTo>
                    <a:cubicBezTo>
                      <a:pt x="118" y="86"/>
                      <a:pt x="118" y="86"/>
                      <a:pt x="118" y="87"/>
                    </a:cubicBezTo>
                    <a:cubicBezTo>
                      <a:pt x="118" y="87"/>
                      <a:pt x="118" y="87"/>
                      <a:pt x="118" y="87"/>
                    </a:cubicBezTo>
                    <a:cubicBezTo>
                      <a:pt x="118" y="87"/>
                      <a:pt x="118" y="87"/>
                      <a:pt x="118" y="87"/>
                    </a:cubicBezTo>
                    <a:cubicBezTo>
                      <a:pt x="118" y="87"/>
                      <a:pt x="118" y="87"/>
                      <a:pt x="118" y="88"/>
                    </a:cubicBezTo>
                    <a:cubicBezTo>
                      <a:pt x="118" y="88"/>
                      <a:pt x="118" y="88"/>
                      <a:pt x="118" y="88"/>
                    </a:cubicBezTo>
                    <a:cubicBezTo>
                      <a:pt x="118" y="88"/>
                      <a:pt x="118" y="88"/>
                      <a:pt x="118" y="88"/>
                    </a:cubicBezTo>
                    <a:cubicBezTo>
                      <a:pt x="118" y="88"/>
                      <a:pt x="118" y="88"/>
                      <a:pt x="118" y="88"/>
                    </a:cubicBezTo>
                    <a:cubicBezTo>
                      <a:pt x="118" y="88"/>
                      <a:pt x="118" y="88"/>
                      <a:pt x="118" y="88"/>
                    </a:cubicBezTo>
                    <a:cubicBezTo>
                      <a:pt x="118" y="89"/>
                      <a:pt x="119" y="89"/>
                      <a:pt x="119" y="89"/>
                    </a:cubicBezTo>
                    <a:cubicBezTo>
                      <a:pt x="119" y="89"/>
                      <a:pt x="119" y="89"/>
                      <a:pt x="119" y="89"/>
                    </a:cubicBezTo>
                    <a:cubicBezTo>
                      <a:pt x="119" y="89"/>
                      <a:pt x="119" y="89"/>
                      <a:pt x="119" y="89"/>
                    </a:cubicBezTo>
                    <a:cubicBezTo>
                      <a:pt x="119" y="89"/>
                      <a:pt x="119" y="89"/>
                      <a:pt x="119" y="89"/>
                    </a:cubicBezTo>
                    <a:cubicBezTo>
                      <a:pt x="119" y="89"/>
                      <a:pt x="120" y="89"/>
                      <a:pt x="120" y="89"/>
                    </a:cubicBezTo>
                    <a:cubicBezTo>
                      <a:pt x="120" y="89"/>
                      <a:pt x="120" y="89"/>
                      <a:pt x="120" y="89"/>
                    </a:cubicBezTo>
                    <a:cubicBezTo>
                      <a:pt x="120" y="89"/>
                      <a:pt x="120" y="89"/>
                      <a:pt x="120" y="89"/>
                    </a:cubicBezTo>
                    <a:cubicBezTo>
                      <a:pt x="120" y="89"/>
                      <a:pt x="120" y="89"/>
                      <a:pt x="120" y="89"/>
                    </a:cubicBezTo>
                    <a:cubicBezTo>
                      <a:pt x="120" y="89"/>
                      <a:pt x="120" y="89"/>
                      <a:pt x="120" y="89"/>
                    </a:cubicBezTo>
                    <a:cubicBezTo>
                      <a:pt x="121" y="89"/>
                      <a:pt x="121" y="89"/>
                      <a:pt x="121" y="90"/>
                    </a:cubicBezTo>
                    <a:cubicBezTo>
                      <a:pt x="121" y="90"/>
                      <a:pt x="121" y="90"/>
                      <a:pt x="121" y="90"/>
                    </a:cubicBezTo>
                    <a:cubicBezTo>
                      <a:pt x="121" y="90"/>
                      <a:pt x="121" y="90"/>
                      <a:pt x="121" y="90"/>
                    </a:cubicBezTo>
                    <a:cubicBezTo>
                      <a:pt x="122" y="90"/>
                      <a:pt x="122" y="89"/>
                      <a:pt x="122" y="89"/>
                    </a:cubicBezTo>
                    <a:cubicBezTo>
                      <a:pt x="122" y="89"/>
                      <a:pt x="122" y="89"/>
                      <a:pt x="122" y="89"/>
                    </a:cubicBezTo>
                    <a:cubicBezTo>
                      <a:pt x="123" y="89"/>
                      <a:pt x="123" y="89"/>
                      <a:pt x="123" y="89"/>
                    </a:cubicBezTo>
                    <a:cubicBezTo>
                      <a:pt x="123" y="89"/>
                      <a:pt x="124" y="89"/>
                      <a:pt x="124" y="89"/>
                    </a:cubicBezTo>
                    <a:cubicBezTo>
                      <a:pt x="124" y="89"/>
                      <a:pt x="124" y="89"/>
                      <a:pt x="124" y="89"/>
                    </a:cubicBezTo>
                    <a:cubicBezTo>
                      <a:pt x="124" y="89"/>
                      <a:pt x="125" y="89"/>
                      <a:pt x="125" y="89"/>
                    </a:cubicBezTo>
                    <a:cubicBezTo>
                      <a:pt x="125" y="89"/>
                      <a:pt x="125" y="89"/>
                      <a:pt x="125" y="89"/>
                    </a:cubicBezTo>
                    <a:cubicBezTo>
                      <a:pt x="125" y="89"/>
                      <a:pt x="125" y="89"/>
                      <a:pt x="125" y="89"/>
                    </a:cubicBezTo>
                    <a:cubicBezTo>
                      <a:pt x="126" y="89"/>
                      <a:pt x="126" y="89"/>
                      <a:pt x="126" y="89"/>
                    </a:cubicBezTo>
                    <a:cubicBezTo>
                      <a:pt x="126" y="88"/>
                      <a:pt x="126" y="88"/>
                      <a:pt x="126" y="89"/>
                    </a:cubicBezTo>
                    <a:cubicBezTo>
                      <a:pt x="126" y="89"/>
                      <a:pt x="126" y="89"/>
                      <a:pt x="126" y="89"/>
                    </a:cubicBezTo>
                    <a:cubicBezTo>
                      <a:pt x="126" y="89"/>
                      <a:pt x="127" y="89"/>
                      <a:pt x="127" y="89"/>
                    </a:cubicBezTo>
                    <a:cubicBezTo>
                      <a:pt x="127" y="89"/>
                      <a:pt x="127" y="89"/>
                      <a:pt x="127" y="89"/>
                    </a:cubicBezTo>
                    <a:cubicBezTo>
                      <a:pt x="127" y="89"/>
                      <a:pt x="127" y="89"/>
                      <a:pt x="128" y="89"/>
                    </a:cubicBezTo>
                    <a:cubicBezTo>
                      <a:pt x="128" y="89"/>
                      <a:pt x="127" y="90"/>
                      <a:pt x="128" y="90"/>
                    </a:cubicBezTo>
                    <a:cubicBezTo>
                      <a:pt x="128" y="90"/>
                      <a:pt x="128" y="89"/>
                      <a:pt x="128" y="90"/>
                    </a:cubicBezTo>
                    <a:cubicBezTo>
                      <a:pt x="129" y="90"/>
                      <a:pt x="129" y="90"/>
                      <a:pt x="129" y="90"/>
                    </a:cubicBezTo>
                    <a:cubicBezTo>
                      <a:pt x="129" y="90"/>
                      <a:pt x="129" y="91"/>
                      <a:pt x="129" y="91"/>
                    </a:cubicBezTo>
                    <a:cubicBezTo>
                      <a:pt x="129" y="91"/>
                      <a:pt x="129" y="91"/>
                      <a:pt x="129" y="91"/>
                    </a:cubicBezTo>
                    <a:cubicBezTo>
                      <a:pt x="129" y="91"/>
                      <a:pt x="129" y="92"/>
                      <a:pt x="129" y="92"/>
                    </a:cubicBezTo>
                    <a:cubicBezTo>
                      <a:pt x="129" y="92"/>
                      <a:pt x="128" y="92"/>
                      <a:pt x="128" y="92"/>
                    </a:cubicBezTo>
                    <a:cubicBezTo>
                      <a:pt x="128" y="93"/>
                      <a:pt x="128" y="93"/>
                      <a:pt x="128" y="93"/>
                    </a:cubicBezTo>
                    <a:cubicBezTo>
                      <a:pt x="128" y="93"/>
                      <a:pt x="128" y="93"/>
                      <a:pt x="128" y="93"/>
                    </a:cubicBezTo>
                    <a:cubicBezTo>
                      <a:pt x="128" y="93"/>
                      <a:pt x="128" y="94"/>
                      <a:pt x="128" y="94"/>
                    </a:cubicBezTo>
                    <a:cubicBezTo>
                      <a:pt x="128" y="94"/>
                      <a:pt x="128" y="94"/>
                      <a:pt x="128" y="94"/>
                    </a:cubicBezTo>
                    <a:cubicBezTo>
                      <a:pt x="128" y="94"/>
                      <a:pt x="128" y="94"/>
                      <a:pt x="128" y="94"/>
                    </a:cubicBezTo>
                    <a:cubicBezTo>
                      <a:pt x="128" y="94"/>
                      <a:pt x="128" y="94"/>
                      <a:pt x="128" y="95"/>
                    </a:cubicBezTo>
                    <a:cubicBezTo>
                      <a:pt x="128" y="95"/>
                      <a:pt x="128" y="95"/>
                      <a:pt x="128" y="95"/>
                    </a:cubicBezTo>
                    <a:cubicBezTo>
                      <a:pt x="128" y="95"/>
                      <a:pt x="128" y="94"/>
                      <a:pt x="128" y="94"/>
                    </a:cubicBezTo>
                    <a:cubicBezTo>
                      <a:pt x="128" y="94"/>
                      <a:pt x="128" y="94"/>
                      <a:pt x="128" y="94"/>
                    </a:cubicBezTo>
                    <a:cubicBezTo>
                      <a:pt x="128" y="94"/>
                      <a:pt x="128" y="95"/>
                      <a:pt x="129" y="95"/>
                    </a:cubicBezTo>
                    <a:cubicBezTo>
                      <a:pt x="129" y="95"/>
                      <a:pt x="129" y="95"/>
                      <a:pt x="129" y="95"/>
                    </a:cubicBezTo>
                    <a:cubicBezTo>
                      <a:pt x="129" y="95"/>
                      <a:pt x="129" y="95"/>
                      <a:pt x="129" y="95"/>
                    </a:cubicBezTo>
                    <a:cubicBezTo>
                      <a:pt x="129" y="95"/>
                      <a:pt x="129" y="96"/>
                      <a:pt x="129" y="96"/>
                    </a:cubicBezTo>
                    <a:cubicBezTo>
                      <a:pt x="129" y="96"/>
                      <a:pt x="129" y="96"/>
                      <a:pt x="130" y="96"/>
                    </a:cubicBezTo>
                    <a:cubicBezTo>
                      <a:pt x="130" y="96"/>
                      <a:pt x="130" y="96"/>
                      <a:pt x="130" y="96"/>
                    </a:cubicBezTo>
                    <a:cubicBezTo>
                      <a:pt x="130" y="96"/>
                      <a:pt x="130" y="96"/>
                      <a:pt x="130" y="96"/>
                    </a:cubicBezTo>
                    <a:close/>
                    <a:moveTo>
                      <a:pt x="126" y="84"/>
                    </a:moveTo>
                    <a:cubicBezTo>
                      <a:pt x="126" y="84"/>
                      <a:pt x="126" y="84"/>
                      <a:pt x="126" y="84"/>
                    </a:cubicBezTo>
                    <a:cubicBezTo>
                      <a:pt x="126" y="84"/>
                      <a:pt x="126" y="84"/>
                      <a:pt x="126" y="84"/>
                    </a:cubicBezTo>
                    <a:cubicBezTo>
                      <a:pt x="126" y="84"/>
                      <a:pt x="126" y="84"/>
                      <a:pt x="126" y="84"/>
                    </a:cubicBezTo>
                    <a:cubicBezTo>
                      <a:pt x="127" y="84"/>
                      <a:pt x="126" y="84"/>
                      <a:pt x="126" y="84"/>
                    </a:cubicBezTo>
                    <a:cubicBezTo>
                      <a:pt x="126" y="84"/>
                      <a:pt x="126" y="84"/>
                      <a:pt x="126" y="84"/>
                    </a:cubicBezTo>
                    <a:cubicBezTo>
                      <a:pt x="126" y="84"/>
                      <a:pt x="126" y="84"/>
                      <a:pt x="125" y="83"/>
                    </a:cubicBezTo>
                    <a:cubicBezTo>
                      <a:pt x="125" y="83"/>
                      <a:pt x="125" y="84"/>
                      <a:pt x="124" y="84"/>
                    </a:cubicBezTo>
                    <a:cubicBezTo>
                      <a:pt x="124" y="84"/>
                      <a:pt x="123" y="84"/>
                      <a:pt x="123" y="84"/>
                    </a:cubicBezTo>
                    <a:cubicBezTo>
                      <a:pt x="122" y="84"/>
                      <a:pt x="122" y="84"/>
                      <a:pt x="121" y="84"/>
                    </a:cubicBezTo>
                    <a:cubicBezTo>
                      <a:pt x="121" y="84"/>
                      <a:pt x="120" y="84"/>
                      <a:pt x="120" y="84"/>
                    </a:cubicBezTo>
                    <a:cubicBezTo>
                      <a:pt x="120" y="84"/>
                      <a:pt x="119" y="84"/>
                      <a:pt x="119" y="84"/>
                    </a:cubicBezTo>
                    <a:cubicBezTo>
                      <a:pt x="119" y="84"/>
                      <a:pt x="118" y="84"/>
                      <a:pt x="118" y="84"/>
                    </a:cubicBezTo>
                    <a:cubicBezTo>
                      <a:pt x="118" y="84"/>
                      <a:pt x="118" y="84"/>
                      <a:pt x="118" y="84"/>
                    </a:cubicBezTo>
                    <a:cubicBezTo>
                      <a:pt x="118" y="84"/>
                      <a:pt x="118" y="84"/>
                      <a:pt x="117" y="84"/>
                    </a:cubicBezTo>
                    <a:cubicBezTo>
                      <a:pt x="117" y="84"/>
                      <a:pt x="117" y="84"/>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6"/>
                      <a:pt x="117" y="85"/>
                      <a:pt x="118" y="85"/>
                    </a:cubicBezTo>
                    <a:cubicBezTo>
                      <a:pt x="118" y="85"/>
                      <a:pt x="118" y="85"/>
                      <a:pt x="118" y="86"/>
                    </a:cubicBezTo>
                    <a:cubicBezTo>
                      <a:pt x="118" y="86"/>
                      <a:pt x="118" y="86"/>
                      <a:pt x="119" y="86"/>
                    </a:cubicBezTo>
                    <a:cubicBezTo>
                      <a:pt x="119" y="86"/>
                      <a:pt x="119" y="86"/>
                      <a:pt x="119" y="86"/>
                    </a:cubicBezTo>
                    <a:cubicBezTo>
                      <a:pt x="119" y="86"/>
                      <a:pt x="120" y="86"/>
                      <a:pt x="120" y="86"/>
                    </a:cubicBezTo>
                    <a:cubicBezTo>
                      <a:pt x="120" y="86"/>
                      <a:pt x="120" y="86"/>
                      <a:pt x="121" y="86"/>
                    </a:cubicBezTo>
                    <a:cubicBezTo>
                      <a:pt x="121" y="86"/>
                      <a:pt x="121" y="86"/>
                      <a:pt x="121" y="86"/>
                    </a:cubicBezTo>
                    <a:cubicBezTo>
                      <a:pt x="122" y="86"/>
                      <a:pt x="122" y="86"/>
                      <a:pt x="122" y="86"/>
                    </a:cubicBezTo>
                    <a:cubicBezTo>
                      <a:pt x="122" y="86"/>
                      <a:pt x="122" y="86"/>
                      <a:pt x="123" y="86"/>
                    </a:cubicBezTo>
                    <a:cubicBezTo>
                      <a:pt x="123" y="86"/>
                      <a:pt x="123" y="86"/>
                      <a:pt x="123" y="86"/>
                    </a:cubicBezTo>
                    <a:cubicBezTo>
                      <a:pt x="123" y="86"/>
                      <a:pt x="123" y="85"/>
                      <a:pt x="123" y="85"/>
                    </a:cubicBezTo>
                    <a:cubicBezTo>
                      <a:pt x="123" y="85"/>
                      <a:pt x="123" y="85"/>
                      <a:pt x="123" y="85"/>
                    </a:cubicBezTo>
                    <a:cubicBezTo>
                      <a:pt x="123" y="85"/>
                      <a:pt x="124" y="85"/>
                      <a:pt x="124" y="85"/>
                    </a:cubicBezTo>
                    <a:cubicBezTo>
                      <a:pt x="124" y="85"/>
                      <a:pt x="124" y="85"/>
                      <a:pt x="124" y="85"/>
                    </a:cubicBezTo>
                    <a:cubicBezTo>
                      <a:pt x="124" y="85"/>
                      <a:pt x="124"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6" y="85"/>
                      <a:pt x="126" y="85"/>
                      <a:pt x="126" y="85"/>
                    </a:cubicBezTo>
                    <a:cubicBezTo>
                      <a:pt x="126" y="85"/>
                      <a:pt x="126" y="85"/>
                      <a:pt x="126" y="85"/>
                    </a:cubicBezTo>
                    <a:cubicBezTo>
                      <a:pt x="126" y="85"/>
                      <a:pt x="126" y="85"/>
                      <a:pt x="126" y="85"/>
                    </a:cubicBezTo>
                    <a:cubicBezTo>
                      <a:pt x="126" y="85"/>
                      <a:pt x="126" y="85"/>
                      <a:pt x="125" y="85"/>
                    </a:cubicBezTo>
                    <a:cubicBezTo>
                      <a:pt x="125" y="85"/>
                      <a:pt x="126" y="85"/>
                      <a:pt x="126" y="84"/>
                    </a:cubicBezTo>
                    <a:close/>
                    <a:moveTo>
                      <a:pt x="47" y="73"/>
                    </a:moveTo>
                    <a:cubicBezTo>
                      <a:pt x="47" y="73"/>
                      <a:pt x="47" y="73"/>
                      <a:pt x="47" y="73"/>
                    </a:cubicBezTo>
                    <a:cubicBezTo>
                      <a:pt x="47" y="73"/>
                      <a:pt x="47" y="73"/>
                      <a:pt x="47" y="73"/>
                    </a:cubicBezTo>
                    <a:cubicBezTo>
                      <a:pt x="47" y="73"/>
                      <a:pt x="47" y="73"/>
                      <a:pt x="47" y="73"/>
                    </a:cubicBezTo>
                    <a:cubicBezTo>
                      <a:pt x="47" y="73"/>
                      <a:pt x="47"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4"/>
                      <a:pt x="46" y="74"/>
                      <a:pt x="47" y="74"/>
                    </a:cubicBezTo>
                    <a:cubicBezTo>
                      <a:pt x="47" y="74"/>
                      <a:pt x="47" y="74"/>
                      <a:pt x="47" y="74"/>
                    </a:cubicBezTo>
                    <a:cubicBezTo>
                      <a:pt x="47" y="74"/>
                      <a:pt x="47" y="74"/>
                      <a:pt x="47" y="74"/>
                    </a:cubicBezTo>
                    <a:cubicBezTo>
                      <a:pt x="47" y="74"/>
                      <a:pt x="47" y="74"/>
                      <a:pt x="47" y="74"/>
                    </a:cubicBezTo>
                    <a:cubicBezTo>
                      <a:pt x="47" y="74"/>
                      <a:pt x="47" y="74"/>
                      <a:pt x="48" y="74"/>
                    </a:cubicBezTo>
                    <a:cubicBezTo>
                      <a:pt x="48" y="74"/>
                      <a:pt x="48" y="74"/>
                      <a:pt x="48" y="74"/>
                    </a:cubicBezTo>
                    <a:cubicBezTo>
                      <a:pt x="48" y="74"/>
                      <a:pt x="48" y="74"/>
                      <a:pt x="48" y="74"/>
                    </a:cubicBezTo>
                    <a:cubicBezTo>
                      <a:pt x="48" y="74"/>
                      <a:pt x="48" y="74"/>
                      <a:pt x="48" y="74"/>
                    </a:cubicBezTo>
                    <a:cubicBezTo>
                      <a:pt x="48" y="74"/>
                      <a:pt x="48" y="74"/>
                      <a:pt x="48" y="74"/>
                    </a:cubicBezTo>
                    <a:cubicBezTo>
                      <a:pt x="48" y="74"/>
                      <a:pt x="48" y="74"/>
                      <a:pt x="48" y="73"/>
                    </a:cubicBezTo>
                    <a:cubicBezTo>
                      <a:pt x="48" y="73"/>
                      <a:pt x="48" y="73"/>
                      <a:pt x="47" y="73"/>
                    </a:cubicBezTo>
                    <a:close/>
                    <a:moveTo>
                      <a:pt x="67" y="82"/>
                    </a:moveTo>
                    <a:cubicBezTo>
                      <a:pt x="67" y="82"/>
                      <a:pt x="67" y="82"/>
                      <a:pt x="67" y="81"/>
                    </a:cubicBezTo>
                    <a:cubicBezTo>
                      <a:pt x="67" y="81"/>
                      <a:pt x="67" y="81"/>
                      <a:pt x="67" y="81"/>
                    </a:cubicBezTo>
                    <a:cubicBezTo>
                      <a:pt x="67" y="81"/>
                      <a:pt x="67" y="81"/>
                      <a:pt x="67" y="81"/>
                    </a:cubicBezTo>
                    <a:cubicBezTo>
                      <a:pt x="67" y="81"/>
                      <a:pt x="66" y="81"/>
                      <a:pt x="66" y="81"/>
                    </a:cubicBezTo>
                    <a:cubicBezTo>
                      <a:pt x="66" y="81"/>
                      <a:pt x="66" y="81"/>
                      <a:pt x="66" y="81"/>
                    </a:cubicBezTo>
                    <a:cubicBezTo>
                      <a:pt x="66" y="81"/>
                      <a:pt x="66" y="81"/>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7" y="82"/>
                      <a:pt x="67" y="82"/>
                      <a:pt x="67" y="82"/>
                    </a:cubicBezTo>
                    <a:close/>
                    <a:moveTo>
                      <a:pt x="82" y="57"/>
                    </a:moveTo>
                    <a:cubicBezTo>
                      <a:pt x="83" y="57"/>
                      <a:pt x="82" y="57"/>
                      <a:pt x="82" y="58"/>
                    </a:cubicBezTo>
                    <a:cubicBezTo>
                      <a:pt x="82" y="58"/>
                      <a:pt x="82" y="58"/>
                      <a:pt x="82" y="58"/>
                    </a:cubicBezTo>
                    <a:cubicBezTo>
                      <a:pt x="83" y="58"/>
                      <a:pt x="83" y="59"/>
                      <a:pt x="83" y="59"/>
                    </a:cubicBezTo>
                    <a:cubicBezTo>
                      <a:pt x="83" y="59"/>
                      <a:pt x="82" y="59"/>
                      <a:pt x="82" y="59"/>
                    </a:cubicBezTo>
                    <a:cubicBezTo>
                      <a:pt x="82" y="59"/>
                      <a:pt x="83" y="59"/>
                      <a:pt x="83" y="59"/>
                    </a:cubicBezTo>
                    <a:cubicBezTo>
                      <a:pt x="83" y="59"/>
                      <a:pt x="83" y="59"/>
                      <a:pt x="83" y="59"/>
                    </a:cubicBezTo>
                    <a:cubicBezTo>
                      <a:pt x="83" y="59"/>
                      <a:pt x="84" y="59"/>
                      <a:pt x="84" y="59"/>
                    </a:cubicBezTo>
                    <a:cubicBezTo>
                      <a:pt x="84" y="59"/>
                      <a:pt x="84" y="59"/>
                      <a:pt x="84" y="59"/>
                    </a:cubicBezTo>
                    <a:cubicBezTo>
                      <a:pt x="84" y="58"/>
                      <a:pt x="84" y="58"/>
                      <a:pt x="84" y="58"/>
                    </a:cubicBezTo>
                    <a:cubicBezTo>
                      <a:pt x="84" y="58"/>
                      <a:pt x="84" y="58"/>
                      <a:pt x="84" y="58"/>
                    </a:cubicBezTo>
                    <a:cubicBezTo>
                      <a:pt x="84" y="58"/>
                      <a:pt x="84" y="58"/>
                      <a:pt x="84" y="58"/>
                    </a:cubicBezTo>
                    <a:cubicBezTo>
                      <a:pt x="84" y="58"/>
                      <a:pt x="84" y="58"/>
                      <a:pt x="84" y="58"/>
                    </a:cubicBezTo>
                    <a:cubicBezTo>
                      <a:pt x="85" y="59"/>
                      <a:pt x="85" y="58"/>
                      <a:pt x="85" y="59"/>
                    </a:cubicBezTo>
                    <a:cubicBezTo>
                      <a:pt x="85" y="59"/>
                      <a:pt x="85" y="59"/>
                      <a:pt x="85" y="59"/>
                    </a:cubicBezTo>
                    <a:cubicBezTo>
                      <a:pt x="85" y="59"/>
                      <a:pt x="85" y="59"/>
                      <a:pt x="85" y="59"/>
                    </a:cubicBezTo>
                    <a:cubicBezTo>
                      <a:pt x="85" y="59"/>
                      <a:pt x="85" y="59"/>
                      <a:pt x="85" y="59"/>
                    </a:cubicBezTo>
                    <a:cubicBezTo>
                      <a:pt x="85" y="59"/>
                      <a:pt x="85"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7" y="59"/>
                      <a:pt x="86" y="58"/>
                      <a:pt x="87" y="58"/>
                    </a:cubicBezTo>
                    <a:cubicBezTo>
                      <a:pt x="87" y="58"/>
                      <a:pt x="87" y="58"/>
                      <a:pt x="87" y="58"/>
                    </a:cubicBezTo>
                    <a:cubicBezTo>
                      <a:pt x="87" y="58"/>
                      <a:pt x="87" y="57"/>
                      <a:pt x="87" y="57"/>
                    </a:cubicBezTo>
                    <a:cubicBezTo>
                      <a:pt x="87" y="57"/>
                      <a:pt x="87" y="57"/>
                      <a:pt x="87" y="57"/>
                    </a:cubicBezTo>
                    <a:cubicBezTo>
                      <a:pt x="87" y="57"/>
                      <a:pt x="87" y="56"/>
                      <a:pt x="87" y="56"/>
                    </a:cubicBezTo>
                    <a:cubicBezTo>
                      <a:pt x="87" y="56"/>
                      <a:pt x="87" y="56"/>
                      <a:pt x="87" y="56"/>
                    </a:cubicBezTo>
                    <a:cubicBezTo>
                      <a:pt x="87" y="56"/>
                      <a:pt x="87" y="55"/>
                      <a:pt x="86" y="55"/>
                    </a:cubicBezTo>
                    <a:cubicBezTo>
                      <a:pt x="86" y="55"/>
                      <a:pt x="86" y="56"/>
                      <a:pt x="86" y="55"/>
                    </a:cubicBezTo>
                    <a:cubicBezTo>
                      <a:pt x="86" y="55"/>
                      <a:pt x="86" y="55"/>
                      <a:pt x="86" y="55"/>
                    </a:cubicBezTo>
                    <a:cubicBezTo>
                      <a:pt x="86" y="55"/>
                      <a:pt x="86" y="55"/>
                      <a:pt x="86" y="55"/>
                    </a:cubicBezTo>
                    <a:cubicBezTo>
                      <a:pt x="86" y="55"/>
                      <a:pt x="86" y="55"/>
                      <a:pt x="86" y="55"/>
                    </a:cubicBezTo>
                    <a:cubicBezTo>
                      <a:pt x="86"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4" y="55"/>
                    </a:cubicBezTo>
                    <a:cubicBezTo>
                      <a:pt x="84" y="55"/>
                      <a:pt x="84" y="55"/>
                      <a:pt x="84" y="55"/>
                    </a:cubicBezTo>
                    <a:cubicBezTo>
                      <a:pt x="84" y="55"/>
                      <a:pt x="84" y="55"/>
                      <a:pt x="84" y="55"/>
                    </a:cubicBezTo>
                    <a:cubicBezTo>
                      <a:pt x="84" y="55"/>
                      <a:pt x="84" y="55"/>
                      <a:pt x="84" y="55"/>
                    </a:cubicBezTo>
                    <a:cubicBezTo>
                      <a:pt x="84" y="55"/>
                      <a:pt x="83" y="55"/>
                      <a:pt x="83" y="55"/>
                    </a:cubicBezTo>
                    <a:cubicBezTo>
                      <a:pt x="83" y="55"/>
                      <a:pt x="83" y="55"/>
                      <a:pt x="83" y="55"/>
                    </a:cubicBezTo>
                    <a:cubicBezTo>
                      <a:pt x="83" y="55"/>
                      <a:pt x="83" y="55"/>
                      <a:pt x="83" y="55"/>
                    </a:cubicBezTo>
                    <a:cubicBezTo>
                      <a:pt x="83" y="55"/>
                      <a:pt x="83" y="55"/>
                      <a:pt x="83" y="55"/>
                    </a:cubicBezTo>
                    <a:cubicBezTo>
                      <a:pt x="83" y="55"/>
                      <a:pt x="83" y="55"/>
                      <a:pt x="83" y="55"/>
                    </a:cubicBezTo>
                    <a:cubicBezTo>
                      <a:pt x="83" y="55"/>
                      <a:pt x="83" y="56"/>
                      <a:pt x="83" y="56"/>
                    </a:cubicBezTo>
                    <a:cubicBezTo>
                      <a:pt x="83" y="56"/>
                      <a:pt x="83" y="56"/>
                      <a:pt x="83" y="56"/>
                    </a:cubicBezTo>
                    <a:cubicBezTo>
                      <a:pt x="83" y="56"/>
                      <a:pt x="83" y="56"/>
                      <a:pt x="83" y="56"/>
                    </a:cubicBezTo>
                    <a:cubicBezTo>
                      <a:pt x="83" y="56"/>
                      <a:pt x="83" y="56"/>
                      <a:pt x="83" y="56"/>
                    </a:cubicBezTo>
                    <a:cubicBezTo>
                      <a:pt x="83" y="56"/>
                      <a:pt x="83" y="57"/>
                      <a:pt x="83" y="57"/>
                    </a:cubicBezTo>
                    <a:cubicBezTo>
                      <a:pt x="82" y="57"/>
                      <a:pt x="82" y="57"/>
                      <a:pt x="82" y="57"/>
                    </a:cubicBezTo>
                    <a:cubicBezTo>
                      <a:pt x="82" y="57"/>
                      <a:pt x="82" y="57"/>
                      <a:pt x="82" y="57"/>
                    </a:cubicBezTo>
                    <a:cubicBezTo>
                      <a:pt x="82" y="57"/>
                      <a:pt x="82" y="57"/>
                      <a:pt x="82" y="57"/>
                    </a:cubicBezTo>
                    <a:close/>
                    <a:moveTo>
                      <a:pt x="81" y="57"/>
                    </a:moveTo>
                    <a:cubicBezTo>
                      <a:pt x="81" y="57"/>
                      <a:pt x="81" y="57"/>
                      <a:pt x="81" y="57"/>
                    </a:cubicBezTo>
                    <a:cubicBezTo>
                      <a:pt x="81" y="57"/>
                      <a:pt x="81" y="57"/>
                      <a:pt x="81" y="57"/>
                    </a:cubicBezTo>
                    <a:cubicBezTo>
                      <a:pt x="82" y="58"/>
                      <a:pt x="82" y="57"/>
                      <a:pt x="82" y="57"/>
                    </a:cubicBezTo>
                    <a:cubicBezTo>
                      <a:pt x="82" y="57"/>
                      <a:pt x="82" y="57"/>
                      <a:pt x="82" y="57"/>
                    </a:cubicBezTo>
                    <a:cubicBezTo>
                      <a:pt x="82" y="57"/>
                      <a:pt x="82" y="57"/>
                      <a:pt x="82" y="57"/>
                    </a:cubicBezTo>
                    <a:cubicBezTo>
                      <a:pt x="81" y="57"/>
                      <a:pt x="82" y="57"/>
                      <a:pt x="82" y="57"/>
                    </a:cubicBezTo>
                    <a:cubicBezTo>
                      <a:pt x="82" y="57"/>
                      <a:pt x="82" y="57"/>
                      <a:pt x="82" y="57"/>
                    </a:cubicBezTo>
                    <a:cubicBezTo>
                      <a:pt x="82" y="57"/>
                      <a:pt x="82" y="57"/>
                      <a:pt x="82" y="57"/>
                    </a:cubicBezTo>
                    <a:cubicBezTo>
                      <a:pt x="82" y="57"/>
                      <a:pt x="82" y="57"/>
                      <a:pt x="82" y="57"/>
                    </a:cubicBezTo>
                    <a:cubicBezTo>
                      <a:pt x="81" y="57"/>
                      <a:pt x="81" y="57"/>
                      <a:pt x="81" y="56"/>
                    </a:cubicBezTo>
                    <a:cubicBezTo>
                      <a:pt x="81" y="56"/>
                      <a:pt x="81" y="56"/>
                      <a:pt x="81" y="56"/>
                    </a:cubicBezTo>
                    <a:cubicBezTo>
                      <a:pt x="81" y="56"/>
                      <a:pt x="81" y="56"/>
                      <a:pt x="81" y="56"/>
                    </a:cubicBezTo>
                    <a:cubicBezTo>
                      <a:pt x="81" y="56"/>
                      <a:pt x="81" y="56"/>
                      <a:pt x="81" y="57"/>
                    </a:cubicBezTo>
                    <a:cubicBezTo>
                      <a:pt x="81" y="57"/>
                      <a:pt x="81" y="57"/>
                      <a:pt x="81" y="57"/>
                    </a:cubicBezTo>
                    <a:cubicBezTo>
                      <a:pt x="81" y="57"/>
                      <a:pt x="81" y="57"/>
                      <a:pt x="81" y="57"/>
                    </a:cubicBezTo>
                    <a:cubicBezTo>
                      <a:pt x="81" y="57"/>
                      <a:pt x="81" y="57"/>
                      <a:pt x="81" y="57"/>
                    </a:cubicBezTo>
                    <a:cubicBezTo>
                      <a:pt x="81" y="57"/>
                      <a:pt x="81" y="57"/>
                      <a:pt x="81" y="57"/>
                    </a:cubicBezTo>
                    <a:cubicBezTo>
                      <a:pt x="81" y="57"/>
                      <a:pt x="81" y="57"/>
                      <a:pt x="81" y="57"/>
                    </a:cubicBezTo>
                    <a:close/>
                    <a:moveTo>
                      <a:pt x="77" y="57"/>
                    </a:move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8"/>
                      <a:pt x="77" y="58"/>
                    </a:cubicBezTo>
                    <a:cubicBezTo>
                      <a:pt x="77" y="58"/>
                      <a:pt x="77" y="58"/>
                      <a:pt x="77" y="58"/>
                    </a:cubicBezTo>
                    <a:cubicBezTo>
                      <a:pt x="77" y="58"/>
                      <a:pt x="77" y="58"/>
                      <a:pt x="77" y="58"/>
                    </a:cubicBezTo>
                    <a:cubicBezTo>
                      <a:pt x="77" y="58"/>
                      <a:pt x="77" y="58"/>
                      <a:pt x="77" y="58"/>
                    </a:cubicBezTo>
                    <a:cubicBezTo>
                      <a:pt x="78" y="58"/>
                      <a:pt x="78" y="58"/>
                      <a:pt x="78" y="58"/>
                    </a:cubicBezTo>
                    <a:cubicBezTo>
                      <a:pt x="78" y="58"/>
                      <a:pt x="78" y="58"/>
                      <a:pt x="78" y="58"/>
                    </a:cubicBezTo>
                    <a:cubicBezTo>
                      <a:pt x="78" y="57"/>
                      <a:pt x="78" y="57"/>
                      <a:pt x="78" y="57"/>
                    </a:cubicBezTo>
                    <a:cubicBezTo>
                      <a:pt x="78" y="57"/>
                      <a:pt x="78" y="57"/>
                      <a:pt x="78" y="57"/>
                    </a:cubicBezTo>
                    <a:cubicBezTo>
                      <a:pt x="78" y="57"/>
                      <a:pt x="78" y="57"/>
                      <a:pt x="78" y="57"/>
                    </a:cubicBezTo>
                    <a:cubicBezTo>
                      <a:pt x="78" y="57"/>
                      <a:pt x="78" y="57"/>
                      <a:pt x="78" y="57"/>
                    </a:cubicBezTo>
                    <a:cubicBezTo>
                      <a:pt x="78" y="57"/>
                      <a:pt x="78" y="57"/>
                      <a:pt x="78" y="57"/>
                    </a:cubicBezTo>
                    <a:cubicBezTo>
                      <a:pt x="77" y="57"/>
                      <a:pt x="77" y="57"/>
                      <a:pt x="77" y="57"/>
                    </a:cubicBezTo>
                    <a:cubicBezTo>
                      <a:pt x="77" y="57"/>
                      <a:pt x="77" y="57"/>
                      <a:pt x="77" y="57"/>
                    </a:cubicBezTo>
                    <a:close/>
                    <a:moveTo>
                      <a:pt x="66" y="51"/>
                    </a:moveTo>
                    <a:cubicBezTo>
                      <a:pt x="66" y="51"/>
                      <a:pt x="67" y="51"/>
                      <a:pt x="67" y="51"/>
                    </a:cubicBezTo>
                    <a:cubicBezTo>
                      <a:pt x="67" y="51"/>
                      <a:pt x="67" y="52"/>
                      <a:pt x="67" y="52"/>
                    </a:cubicBezTo>
                    <a:cubicBezTo>
                      <a:pt x="67" y="52"/>
                      <a:pt x="67" y="52"/>
                      <a:pt x="67" y="52"/>
                    </a:cubicBezTo>
                    <a:cubicBezTo>
                      <a:pt x="67" y="52"/>
                      <a:pt x="67" y="52"/>
                      <a:pt x="67"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9" y="52"/>
                      <a:pt x="69" y="52"/>
                    </a:cubicBezTo>
                    <a:cubicBezTo>
                      <a:pt x="69" y="51"/>
                      <a:pt x="69" y="51"/>
                      <a:pt x="69" y="52"/>
                    </a:cubicBezTo>
                    <a:cubicBezTo>
                      <a:pt x="69" y="52"/>
                      <a:pt x="69" y="52"/>
                      <a:pt x="69" y="52"/>
                    </a:cubicBezTo>
                    <a:cubicBezTo>
                      <a:pt x="69" y="52"/>
                      <a:pt x="69" y="52"/>
                      <a:pt x="69" y="52"/>
                    </a:cubicBezTo>
                    <a:cubicBezTo>
                      <a:pt x="70" y="52"/>
                      <a:pt x="70" y="52"/>
                      <a:pt x="70" y="52"/>
                    </a:cubicBezTo>
                    <a:cubicBezTo>
                      <a:pt x="70" y="52"/>
                      <a:pt x="70" y="52"/>
                      <a:pt x="70" y="52"/>
                    </a:cubicBezTo>
                    <a:cubicBezTo>
                      <a:pt x="70" y="52"/>
                      <a:pt x="70" y="52"/>
                      <a:pt x="70" y="52"/>
                    </a:cubicBezTo>
                    <a:cubicBezTo>
                      <a:pt x="70" y="52"/>
                      <a:pt x="70" y="52"/>
                      <a:pt x="71" y="52"/>
                    </a:cubicBezTo>
                    <a:cubicBezTo>
                      <a:pt x="71" y="52"/>
                      <a:pt x="70" y="52"/>
                      <a:pt x="70" y="52"/>
                    </a:cubicBezTo>
                    <a:cubicBezTo>
                      <a:pt x="70" y="53"/>
                      <a:pt x="71" y="53"/>
                      <a:pt x="71" y="53"/>
                    </a:cubicBezTo>
                    <a:cubicBezTo>
                      <a:pt x="71" y="53"/>
                      <a:pt x="71" y="53"/>
                      <a:pt x="71" y="53"/>
                    </a:cubicBezTo>
                    <a:cubicBezTo>
                      <a:pt x="71" y="53"/>
                      <a:pt x="71" y="53"/>
                      <a:pt x="71" y="53"/>
                    </a:cubicBezTo>
                    <a:cubicBezTo>
                      <a:pt x="71" y="53"/>
                      <a:pt x="71" y="53"/>
                      <a:pt x="71" y="54"/>
                    </a:cubicBezTo>
                    <a:cubicBezTo>
                      <a:pt x="71" y="54"/>
                      <a:pt x="71" y="54"/>
                      <a:pt x="71" y="54"/>
                    </a:cubicBezTo>
                    <a:cubicBezTo>
                      <a:pt x="72" y="54"/>
                      <a:pt x="71" y="54"/>
                      <a:pt x="71" y="55"/>
                    </a:cubicBezTo>
                    <a:cubicBezTo>
                      <a:pt x="71" y="55"/>
                      <a:pt x="71" y="55"/>
                      <a:pt x="71" y="55"/>
                    </a:cubicBezTo>
                    <a:cubicBezTo>
                      <a:pt x="71" y="55"/>
                      <a:pt x="71" y="55"/>
                      <a:pt x="71" y="55"/>
                    </a:cubicBezTo>
                    <a:cubicBezTo>
                      <a:pt x="71" y="55"/>
                      <a:pt x="71" y="55"/>
                      <a:pt x="71" y="55"/>
                    </a:cubicBezTo>
                    <a:cubicBezTo>
                      <a:pt x="71" y="56"/>
                      <a:pt x="71" y="56"/>
                      <a:pt x="71" y="56"/>
                    </a:cubicBezTo>
                    <a:cubicBezTo>
                      <a:pt x="71" y="56"/>
                      <a:pt x="72" y="56"/>
                      <a:pt x="72" y="56"/>
                    </a:cubicBezTo>
                    <a:cubicBezTo>
                      <a:pt x="72" y="56"/>
                      <a:pt x="72" y="56"/>
                      <a:pt x="72" y="56"/>
                    </a:cubicBezTo>
                    <a:cubicBezTo>
                      <a:pt x="72" y="56"/>
                      <a:pt x="72" y="56"/>
                      <a:pt x="72" y="56"/>
                    </a:cubicBezTo>
                    <a:cubicBezTo>
                      <a:pt x="72" y="57"/>
                      <a:pt x="73" y="57"/>
                      <a:pt x="73" y="57"/>
                    </a:cubicBezTo>
                    <a:cubicBezTo>
                      <a:pt x="73" y="57"/>
                      <a:pt x="73" y="57"/>
                      <a:pt x="73" y="57"/>
                    </a:cubicBezTo>
                    <a:cubicBezTo>
                      <a:pt x="73" y="57"/>
                      <a:pt x="73" y="57"/>
                      <a:pt x="73" y="57"/>
                    </a:cubicBezTo>
                    <a:cubicBezTo>
                      <a:pt x="73" y="57"/>
                      <a:pt x="73" y="57"/>
                      <a:pt x="73" y="57"/>
                    </a:cubicBezTo>
                    <a:cubicBezTo>
                      <a:pt x="73" y="57"/>
                      <a:pt x="74" y="57"/>
                      <a:pt x="74" y="57"/>
                    </a:cubicBezTo>
                    <a:cubicBezTo>
                      <a:pt x="74" y="57"/>
                      <a:pt x="74" y="57"/>
                      <a:pt x="74" y="57"/>
                    </a:cubicBezTo>
                    <a:cubicBezTo>
                      <a:pt x="74" y="57"/>
                      <a:pt x="74" y="57"/>
                      <a:pt x="74" y="57"/>
                    </a:cubicBezTo>
                    <a:cubicBezTo>
                      <a:pt x="74" y="57"/>
                      <a:pt x="74" y="57"/>
                      <a:pt x="74" y="57"/>
                    </a:cubicBezTo>
                    <a:cubicBezTo>
                      <a:pt x="74" y="57"/>
                      <a:pt x="74" y="57"/>
                      <a:pt x="74" y="57"/>
                    </a:cubicBezTo>
                    <a:cubicBezTo>
                      <a:pt x="74" y="57"/>
                      <a:pt x="75" y="57"/>
                      <a:pt x="75" y="58"/>
                    </a:cubicBezTo>
                    <a:cubicBezTo>
                      <a:pt x="75" y="58"/>
                      <a:pt x="75" y="58"/>
                      <a:pt x="75" y="58"/>
                    </a:cubicBezTo>
                    <a:cubicBezTo>
                      <a:pt x="75" y="58"/>
                      <a:pt x="75" y="58"/>
                      <a:pt x="75" y="58"/>
                    </a:cubicBezTo>
                    <a:cubicBezTo>
                      <a:pt x="75" y="58"/>
                      <a:pt x="75" y="58"/>
                      <a:pt x="75" y="58"/>
                    </a:cubicBezTo>
                    <a:cubicBezTo>
                      <a:pt x="75" y="58"/>
                      <a:pt x="76" y="58"/>
                      <a:pt x="76" y="58"/>
                    </a:cubicBezTo>
                    <a:cubicBezTo>
                      <a:pt x="76" y="58"/>
                      <a:pt x="76" y="58"/>
                      <a:pt x="76" y="58"/>
                    </a:cubicBezTo>
                    <a:cubicBezTo>
                      <a:pt x="77" y="58"/>
                      <a:pt x="77" y="58"/>
                      <a:pt x="77" y="58"/>
                    </a:cubicBezTo>
                    <a:cubicBezTo>
                      <a:pt x="77" y="58"/>
                      <a:pt x="77" y="58"/>
                      <a:pt x="77" y="58"/>
                    </a:cubicBezTo>
                    <a:cubicBezTo>
                      <a:pt x="77" y="58"/>
                      <a:pt x="77" y="58"/>
                      <a:pt x="77" y="58"/>
                    </a:cubicBezTo>
                    <a:cubicBezTo>
                      <a:pt x="77" y="58"/>
                      <a:pt x="77" y="58"/>
                      <a:pt x="77" y="58"/>
                    </a:cubicBezTo>
                    <a:cubicBezTo>
                      <a:pt x="77" y="58"/>
                      <a:pt x="77" y="58"/>
                      <a:pt x="77" y="58"/>
                    </a:cubicBezTo>
                    <a:cubicBezTo>
                      <a:pt x="76" y="58"/>
                      <a:pt x="76" y="57"/>
                      <a:pt x="76" y="57"/>
                    </a:cubicBezTo>
                    <a:cubicBezTo>
                      <a:pt x="76" y="57"/>
                      <a:pt x="76" y="57"/>
                      <a:pt x="76" y="57"/>
                    </a:cubicBezTo>
                    <a:cubicBezTo>
                      <a:pt x="76" y="57"/>
                      <a:pt x="76" y="57"/>
                      <a:pt x="76" y="57"/>
                    </a:cubicBezTo>
                    <a:cubicBezTo>
                      <a:pt x="76" y="57"/>
                      <a:pt x="76" y="57"/>
                      <a:pt x="76" y="57"/>
                    </a:cubicBezTo>
                    <a:cubicBezTo>
                      <a:pt x="76" y="56"/>
                      <a:pt x="76" y="56"/>
                      <a:pt x="76" y="56"/>
                    </a:cubicBezTo>
                    <a:cubicBezTo>
                      <a:pt x="76" y="56"/>
                      <a:pt x="76" y="55"/>
                      <a:pt x="77" y="55"/>
                    </a:cubicBezTo>
                    <a:cubicBezTo>
                      <a:pt x="77" y="55"/>
                      <a:pt x="77" y="55"/>
                      <a:pt x="77" y="55"/>
                    </a:cubicBezTo>
                    <a:cubicBezTo>
                      <a:pt x="77" y="55"/>
                      <a:pt x="77" y="55"/>
                      <a:pt x="77" y="55"/>
                    </a:cubicBezTo>
                    <a:cubicBezTo>
                      <a:pt x="77" y="55"/>
                      <a:pt x="77" y="55"/>
                      <a:pt x="77" y="55"/>
                    </a:cubicBezTo>
                    <a:cubicBezTo>
                      <a:pt x="77" y="55"/>
                      <a:pt x="77" y="55"/>
                      <a:pt x="76" y="55"/>
                    </a:cubicBezTo>
                    <a:cubicBezTo>
                      <a:pt x="76" y="55"/>
                      <a:pt x="76" y="54"/>
                      <a:pt x="75" y="54"/>
                    </a:cubicBezTo>
                    <a:cubicBezTo>
                      <a:pt x="75" y="54"/>
                      <a:pt x="75" y="54"/>
                      <a:pt x="75" y="54"/>
                    </a:cubicBezTo>
                    <a:cubicBezTo>
                      <a:pt x="75" y="54"/>
                      <a:pt x="75" y="54"/>
                      <a:pt x="74" y="54"/>
                    </a:cubicBezTo>
                    <a:cubicBezTo>
                      <a:pt x="74" y="54"/>
                      <a:pt x="74" y="54"/>
                      <a:pt x="74" y="54"/>
                    </a:cubicBezTo>
                    <a:cubicBezTo>
                      <a:pt x="74" y="54"/>
                      <a:pt x="74" y="54"/>
                      <a:pt x="74" y="54"/>
                    </a:cubicBezTo>
                    <a:cubicBezTo>
                      <a:pt x="74" y="53"/>
                      <a:pt x="74" y="53"/>
                      <a:pt x="74" y="53"/>
                    </a:cubicBezTo>
                    <a:cubicBezTo>
                      <a:pt x="74" y="53"/>
                      <a:pt x="73" y="53"/>
                      <a:pt x="73" y="53"/>
                    </a:cubicBezTo>
                    <a:cubicBezTo>
                      <a:pt x="73" y="53"/>
                      <a:pt x="73" y="53"/>
                      <a:pt x="73" y="52"/>
                    </a:cubicBezTo>
                    <a:cubicBezTo>
                      <a:pt x="73" y="52"/>
                      <a:pt x="73" y="52"/>
                      <a:pt x="73" y="52"/>
                    </a:cubicBezTo>
                    <a:cubicBezTo>
                      <a:pt x="73" y="52"/>
                      <a:pt x="73" y="52"/>
                      <a:pt x="73" y="51"/>
                    </a:cubicBezTo>
                    <a:cubicBezTo>
                      <a:pt x="73" y="51"/>
                      <a:pt x="73" y="51"/>
                      <a:pt x="73" y="51"/>
                    </a:cubicBezTo>
                    <a:cubicBezTo>
                      <a:pt x="73" y="51"/>
                      <a:pt x="73" y="50"/>
                      <a:pt x="73" y="50"/>
                    </a:cubicBezTo>
                    <a:cubicBezTo>
                      <a:pt x="73" y="50"/>
                      <a:pt x="73" y="50"/>
                      <a:pt x="73" y="50"/>
                    </a:cubicBezTo>
                    <a:cubicBezTo>
                      <a:pt x="73" y="50"/>
                      <a:pt x="73" y="50"/>
                      <a:pt x="73" y="50"/>
                    </a:cubicBezTo>
                    <a:cubicBezTo>
                      <a:pt x="73" y="50"/>
                      <a:pt x="73" y="50"/>
                      <a:pt x="73" y="50"/>
                    </a:cubicBezTo>
                    <a:cubicBezTo>
                      <a:pt x="73" y="49"/>
                      <a:pt x="73" y="49"/>
                      <a:pt x="72" y="49"/>
                    </a:cubicBezTo>
                    <a:cubicBezTo>
                      <a:pt x="72" y="49"/>
                      <a:pt x="72" y="49"/>
                      <a:pt x="72" y="49"/>
                    </a:cubicBezTo>
                    <a:cubicBezTo>
                      <a:pt x="72" y="49"/>
                      <a:pt x="72" y="49"/>
                      <a:pt x="72" y="49"/>
                    </a:cubicBezTo>
                    <a:cubicBezTo>
                      <a:pt x="72" y="49"/>
                      <a:pt x="72" y="48"/>
                      <a:pt x="72" y="48"/>
                    </a:cubicBezTo>
                    <a:cubicBezTo>
                      <a:pt x="72" y="48"/>
                      <a:pt x="72" y="48"/>
                      <a:pt x="72" y="48"/>
                    </a:cubicBezTo>
                    <a:cubicBezTo>
                      <a:pt x="72" y="48"/>
                      <a:pt x="72" y="48"/>
                      <a:pt x="72" y="48"/>
                    </a:cubicBezTo>
                    <a:cubicBezTo>
                      <a:pt x="71" y="48"/>
                      <a:pt x="71" y="48"/>
                      <a:pt x="71" y="48"/>
                    </a:cubicBezTo>
                    <a:cubicBezTo>
                      <a:pt x="71" y="48"/>
                      <a:pt x="71" y="48"/>
                      <a:pt x="71" y="48"/>
                    </a:cubicBezTo>
                    <a:cubicBezTo>
                      <a:pt x="71" y="48"/>
                      <a:pt x="71" y="48"/>
                      <a:pt x="71" y="48"/>
                    </a:cubicBezTo>
                    <a:cubicBezTo>
                      <a:pt x="71" y="48"/>
                      <a:pt x="71" y="48"/>
                      <a:pt x="70" y="48"/>
                    </a:cubicBezTo>
                    <a:cubicBezTo>
                      <a:pt x="70" y="48"/>
                      <a:pt x="70" y="48"/>
                      <a:pt x="70" y="48"/>
                    </a:cubicBezTo>
                    <a:cubicBezTo>
                      <a:pt x="70" y="48"/>
                      <a:pt x="70" y="48"/>
                      <a:pt x="70" y="48"/>
                    </a:cubicBezTo>
                    <a:cubicBezTo>
                      <a:pt x="70" y="48"/>
                      <a:pt x="70" y="48"/>
                      <a:pt x="70" y="48"/>
                    </a:cubicBezTo>
                    <a:cubicBezTo>
                      <a:pt x="70" y="48"/>
                      <a:pt x="70" y="48"/>
                      <a:pt x="70" y="49"/>
                    </a:cubicBezTo>
                    <a:cubicBezTo>
                      <a:pt x="70" y="49"/>
                      <a:pt x="70" y="49"/>
                      <a:pt x="70" y="49"/>
                    </a:cubicBezTo>
                    <a:cubicBezTo>
                      <a:pt x="70" y="49"/>
                      <a:pt x="70" y="49"/>
                      <a:pt x="70" y="49"/>
                    </a:cubicBezTo>
                    <a:cubicBezTo>
                      <a:pt x="70" y="49"/>
                      <a:pt x="71" y="50"/>
                      <a:pt x="71" y="50"/>
                    </a:cubicBezTo>
                    <a:cubicBezTo>
                      <a:pt x="71" y="50"/>
                      <a:pt x="71" y="50"/>
                      <a:pt x="70" y="50"/>
                    </a:cubicBezTo>
                    <a:cubicBezTo>
                      <a:pt x="70" y="49"/>
                      <a:pt x="70" y="49"/>
                      <a:pt x="70" y="49"/>
                    </a:cubicBezTo>
                    <a:cubicBezTo>
                      <a:pt x="70" y="49"/>
                      <a:pt x="70" y="49"/>
                      <a:pt x="70" y="49"/>
                    </a:cubicBezTo>
                    <a:cubicBezTo>
                      <a:pt x="70" y="49"/>
                      <a:pt x="70" y="49"/>
                      <a:pt x="70" y="49"/>
                    </a:cubicBezTo>
                    <a:cubicBezTo>
                      <a:pt x="70" y="49"/>
                      <a:pt x="70" y="49"/>
                      <a:pt x="70" y="49"/>
                    </a:cubicBezTo>
                    <a:cubicBezTo>
                      <a:pt x="69" y="48"/>
                      <a:pt x="69" y="48"/>
                      <a:pt x="69" y="48"/>
                    </a:cubicBezTo>
                    <a:cubicBezTo>
                      <a:pt x="69" y="48"/>
                      <a:pt x="69" y="48"/>
                      <a:pt x="69" y="48"/>
                    </a:cubicBezTo>
                    <a:cubicBezTo>
                      <a:pt x="69" y="48"/>
                      <a:pt x="68" y="48"/>
                      <a:pt x="68" y="48"/>
                    </a:cubicBezTo>
                    <a:cubicBezTo>
                      <a:pt x="68" y="48"/>
                      <a:pt x="68" y="48"/>
                      <a:pt x="68" y="48"/>
                    </a:cubicBezTo>
                    <a:cubicBezTo>
                      <a:pt x="68" y="48"/>
                      <a:pt x="68" y="48"/>
                      <a:pt x="68" y="49"/>
                    </a:cubicBezTo>
                    <a:cubicBezTo>
                      <a:pt x="68" y="49"/>
                      <a:pt x="67" y="49"/>
                      <a:pt x="68" y="49"/>
                    </a:cubicBezTo>
                    <a:cubicBezTo>
                      <a:pt x="68" y="49"/>
                      <a:pt x="68" y="49"/>
                      <a:pt x="68" y="49"/>
                    </a:cubicBezTo>
                    <a:cubicBezTo>
                      <a:pt x="68" y="49"/>
                      <a:pt x="68" y="49"/>
                      <a:pt x="68" y="49"/>
                    </a:cubicBezTo>
                    <a:cubicBezTo>
                      <a:pt x="68" y="50"/>
                      <a:pt x="67" y="50"/>
                      <a:pt x="67" y="50"/>
                    </a:cubicBezTo>
                    <a:cubicBezTo>
                      <a:pt x="67" y="50"/>
                      <a:pt x="67" y="50"/>
                      <a:pt x="66" y="51"/>
                    </a:cubicBezTo>
                    <a:cubicBezTo>
                      <a:pt x="66" y="51"/>
                      <a:pt x="66" y="51"/>
                      <a:pt x="66" y="51"/>
                    </a:cubicBezTo>
                    <a:cubicBezTo>
                      <a:pt x="66" y="51"/>
                      <a:pt x="66" y="51"/>
                      <a:pt x="66" y="51"/>
                    </a:cubicBezTo>
                    <a:cubicBezTo>
                      <a:pt x="66" y="51"/>
                      <a:pt x="66" y="51"/>
                      <a:pt x="66" y="51"/>
                    </a:cubicBezTo>
                    <a:cubicBezTo>
                      <a:pt x="66" y="51"/>
                      <a:pt x="66" y="51"/>
                      <a:pt x="66" y="51"/>
                    </a:cubicBezTo>
                    <a:cubicBezTo>
                      <a:pt x="66" y="52"/>
                      <a:pt x="66" y="52"/>
                      <a:pt x="66" y="51"/>
                    </a:cubicBezTo>
                    <a:close/>
                    <a:moveTo>
                      <a:pt x="137" y="93"/>
                    </a:moveTo>
                    <a:cubicBezTo>
                      <a:pt x="137" y="93"/>
                      <a:pt x="136" y="93"/>
                      <a:pt x="136" y="93"/>
                    </a:cubicBezTo>
                    <a:cubicBezTo>
                      <a:pt x="136" y="93"/>
                      <a:pt x="136" y="93"/>
                      <a:pt x="136" y="93"/>
                    </a:cubicBezTo>
                    <a:cubicBezTo>
                      <a:pt x="136" y="92"/>
                      <a:pt x="136" y="92"/>
                      <a:pt x="135" y="92"/>
                    </a:cubicBezTo>
                    <a:cubicBezTo>
                      <a:pt x="135" y="92"/>
                      <a:pt x="135" y="92"/>
                      <a:pt x="135" y="92"/>
                    </a:cubicBezTo>
                    <a:cubicBezTo>
                      <a:pt x="135" y="92"/>
                      <a:pt x="135" y="92"/>
                      <a:pt x="135" y="92"/>
                    </a:cubicBezTo>
                    <a:cubicBezTo>
                      <a:pt x="134" y="92"/>
                      <a:pt x="134" y="92"/>
                      <a:pt x="134" y="92"/>
                    </a:cubicBezTo>
                    <a:cubicBezTo>
                      <a:pt x="134" y="92"/>
                      <a:pt x="134" y="92"/>
                      <a:pt x="133" y="92"/>
                    </a:cubicBezTo>
                    <a:cubicBezTo>
                      <a:pt x="133" y="92"/>
                      <a:pt x="133" y="92"/>
                      <a:pt x="133" y="92"/>
                    </a:cubicBezTo>
                    <a:cubicBezTo>
                      <a:pt x="133" y="92"/>
                      <a:pt x="133" y="92"/>
                      <a:pt x="133" y="92"/>
                    </a:cubicBezTo>
                    <a:cubicBezTo>
                      <a:pt x="132" y="93"/>
                      <a:pt x="132" y="92"/>
                      <a:pt x="132" y="92"/>
                    </a:cubicBezTo>
                    <a:cubicBezTo>
                      <a:pt x="132" y="92"/>
                      <a:pt x="131" y="93"/>
                      <a:pt x="131" y="92"/>
                    </a:cubicBezTo>
                    <a:cubicBezTo>
                      <a:pt x="131" y="92"/>
                      <a:pt x="131" y="92"/>
                      <a:pt x="131" y="92"/>
                    </a:cubicBezTo>
                    <a:cubicBezTo>
                      <a:pt x="130" y="92"/>
                      <a:pt x="130" y="92"/>
                      <a:pt x="130" y="92"/>
                    </a:cubicBezTo>
                    <a:cubicBezTo>
                      <a:pt x="130" y="92"/>
                      <a:pt x="130" y="92"/>
                      <a:pt x="129" y="92"/>
                    </a:cubicBezTo>
                    <a:cubicBezTo>
                      <a:pt x="129" y="92"/>
                      <a:pt x="129" y="92"/>
                      <a:pt x="129" y="92"/>
                    </a:cubicBezTo>
                    <a:cubicBezTo>
                      <a:pt x="129" y="92"/>
                      <a:pt x="129" y="92"/>
                      <a:pt x="129" y="92"/>
                    </a:cubicBezTo>
                    <a:cubicBezTo>
                      <a:pt x="129" y="92"/>
                      <a:pt x="129" y="92"/>
                      <a:pt x="129" y="92"/>
                    </a:cubicBezTo>
                    <a:cubicBezTo>
                      <a:pt x="129" y="92"/>
                      <a:pt x="129" y="92"/>
                      <a:pt x="129" y="92"/>
                    </a:cubicBezTo>
                    <a:cubicBezTo>
                      <a:pt x="129" y="92"/>
                      <a:pt x="129" y="92"/>
                      <a:pt x="129" y="93"/>
                    </a:cubicBezTo>
                    <a:cubicBezTo>
                      <a:pt x="129" y="93"/>
                      <a:pt x="129" y="93"/>
                      <a:pt x="129" y="93"/>
                    </a:cubicBezTo>
                    <a:cubicBezTo>
                      <a:pt x="129" y="93"/>
                      <a:pt x="129" y="93"/>
                      <a:pt x="129" y="93"/>
                    </a:cubicBezTo>
                    <a:cubicBezTo>
                      <a:pt x="129" y="93"/>
                      <a:pt x="129" y="94"/>
                      <a:pt x="129" y="94"/>
                    </a:cubicBezTo>
                    <a:cubicBezTo>
                      <a:pt x="130" y="94"/>
                      <a:pt x="130" y="94"/>
                      <a:pt x="130" y="94"/>
                    </a:cubicBezTo>
                    <a:cubicBezTo>
                      <a:pt x="130" y="94"/>
                      <a:pt x="130" y="94"/>
                      <a:pt x="130" y="94"/>
                    </a:cubicBezTo>
                    <a:cubicBezTo>
                      <a:pt x="131" y="94"/>
                      <a:pt x="131" y="94"/>
                      <a:pt x="131" y="94"/>
                    </a:cubicBezTo>
                    <a:cubicBezTo>
                      <a:pt x="131" y="94"/>
                      <a:pt x="131" y="94"/>
                      <a:pt x="131" y="94"/>
                    </a:cubicBezTo>
                    <a:cubicBezTo>
                      <a:pt x="131" y="94"/>
                      <a:pt x="132" y="94"/>
                      <a:pt x="132" y="94"/>
                    </a:cubicBezTo>
                    <a:cubicBezTo>
                      <a:pt x="132" y="94"/>
                      <a:pt x="132" y="95"/>
                      <a:pt x="132" y="95"/>
                    </a:cubicBezTo>
                    <a:cubicBezTo>
                      <a:pt x="133" y="95"/>
                      <a:pt x="133" y="95"/>
                      <a:pt x="133" y="95"/>
                    </a:cubicBezTo>
                    <a:cubicBezTo>
                      <a:pt x="133" y="95"/>
                      <a:pt x="133" y="96"/>
                      <a:pt x="133" y="96"/>
                    </a:cubicBezTo>
                    <a:cubicBezTo>
                      <a:pt x="134" y="96"/>
                      <a:pt x="134" y="96"/>
                      <a:pt x="134" y="96"/>
                    </a:cubicBezTo>
                    <a:cubicBezTo>
                      <a:pt x="134" y="96"/>
                      <a:pt x="134" y="96"/>
                      <a:pt x="134" y="96"/>
                    </a:cubicBezTo>
                    <a:cubicBezTo>
                      <a:pt x="133" y="97"/>
                      <a:pt x="133" y="97"/>
                      <a:pt x="133" y="97"/>
                    </a:cubicBezTo>
                    <a:cubicBezTo>
                      <a:pt x="133" y="97"/>
                      <a:pt x="133" y="97"/>
                      <a:pt x="133" y="97"/>
                    </a:cubicBezTo>
                    <a:cubicBezTo>
                      <a:pt x="133" y="97"/>
                      <a:pt x="133" y="97"/>
                      <a:pt x="134" y="97"/>
                    </a:cubicBezTo>
                    <a:cubicBezTo>
                      <a:pt x="134" y="97"/>
                      <a:pt x="134" y="97"/>
                      <a:pt x="134" y="97"/>
                    </a:cubicBezTo>
                    <a:cubicBezTo>
                      <a:pt x="134" y="97"/>
                      <a:pt x="134" y="97"/>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5"/>
                      <a:pt x="135" y="95"/>
                      <a:pt x="135" y="95"/>
                    </a:cubicBezTo>
                    <a:cubicBezTo>
                      <a:pt x="135" y="95"/>
                      <a:pt x="135" y="95"/>
                      <a:pt x="135" y="95"/>
                    </a:cubicBezTo>
                    <a:cubicBezTo>
                      <a:pt x="136" y="95"/>
                      <a:pt x="136" y="95"/>
                      <a:pt x="136" y="95"/>
                    </a:cubicBezTo>
                    <a:cubicBezTo>
                      <a:pt x="136" y="95"/>
                      <a:pt x="136" y="95"/>
                      <a:pt x="136" y="95"/>
                    </a:cubicBezTo>
                    <a:cubicBezTo>
                      <a:pt x="136" y="95"/>
                      <a:pt x="136" y="95"/>
                      <a:pt x="136" y="95"/>
                    </a:cubicBezTo>
                    <a:cubicBezTo>
                      <a:pt x="136" y="95"/>
                      <a:pt x="137" y="95"/>
                      <a:pt x="137" y="94"/>
                    </a:cubicBezTo>
                    <a:cubicBezTo>
                      <a:pt x="137" y="94"/>
                      <a:pt x="137" y="94"/>
                      <a:pt x="137" y="94"/>
                    </a:cubicBezTo>
                    <a:cubicBezTo>
                      <a:pt x="137" y="94"/>
                      <a:pt x="137" y="94"/>
                      <a:pt x="137" y="94"/>
                    </a:cubicBezTo>
                    <a:cubicBezTo>
                      <a:pt x="137" y="94"/>
                      <a:pt x="137" y="94"/>
                      <a:pt x="137" y="94"/>
                    </a:cubicBezTo>
                    <a:cubicBezTo>
                      <a:pt x="137" y="93"/>
                      <a:pt x="137" y="93"/>
                      <a:pt x="137" y="93"/>
                    </a:cubicBezTo>
                    <a:close/>
                    <a:moveTo>
                      <a:pt x="136" y="96"/>
                    </a:moveTo>
                    <a:cubicBezTo>
                      <a:pt x="136" y="96"/>
                      <a:pt x="136" y="96"/>
                      <a:pt x="136" y="96"/>
                    </a:cubicBezTo>
                    <a:cubicBezTo>
                      <a:pt x="136" y="96"/>
                      <a:pt x="136" y="96"/>
                      <a:pt x="136" y="96"/>
                    </a:cubicBezTo>
                    <a:cubicBezTo>
                      <a:pt x="136" y="96"/>
                      <a:pt x="136" y="96"/>
                      <a:pt x="136" y="96"/>
                    </a:cubicBezTo>
                    <a:cubicBezTo>
                      <a:pt x="136" y="96"/>
                      <a:pt x="136" y="96"/>
                      <a:pt x="136" y="96"/>
                    </a:cubicBezTo>
                    <a:cubicBezTo>
                      <a:pt x="136" y="96"/>
                      <a:pt x="136" y="96"/>
                      <a:pt x="135" y="96"/>
                    </a:cubicBezTo>
                    <a:cubicBezTo>
                      <a:pt x="135" y="96"/>
                      <a:pt x="135" y="96"/>
                      <a:pt x="136" y="96"/>
                    </a:cubicBezTo>
                    <a:cubicBezTo>
                      <a:pt x="136" y="96"/>
                      <a:pt x="136" y="97"/>
                      <a:pt x="136" y="97"/>
                    </a:cubicBezTo>
                    <a:cubicBezTo>
                      <a:pt x="136" y="97"/>
                      <a:pt x="136" y="97"/>
                      <a:pt x="136" y="97"/>
                    </a:cubicBezTo>
                    <a:cubicBezTo>
                      <a:pt x="137" y="97"/>
                      <a:pt x="137" y="97"/>
                      <a:pt x="137" y="96"/>
                    </a:cubicBezTo>
                    <a:cubicBezTo>
                      <a:pt x="137" y="96"/>
                      <a:pt x="137" y="96"/>
                      <a:pt x="136" y="96"/>
                    </a:cubicBezTo>
                    <a:close/>
                    <a:moveTo>
                      <a:pt x="13" y="23"/>
                    </a:moveTo>
                    <a:cubicBezTo>
                      <a:pt x="13" y="23"/>
                      <a:pt x="13" y="23"/>
                      <a:pt x="13" y="23"/>
                    </a:cubicBezTo>
                    <a:cubicBezTo>
                      <a:pt x="13" y="23"/>
                      <a:pt x="14" y="23"/>
                      <a:pt x="14" y="23"/>
                    </a:cubicBezTo>
                    <a:cubicBezTo>
                      <a:pt x="14" y="23"/>
                      <a:pt x="14" y="23"/>
                      <a:pt x="14" y="24"/>
                    </a:cubicBezTo>
                    <a:cubicBezTo>
                      <a:pt x="14" y="24"/>
                      <a:pt x="14" y="24"/>
                      <a:pt x="14" y="24"/>
                    </a:cubicBezTo>
                    <a:cubicBezTo>
                      <a:pt x="14" y="24"/>
                      <a:pt x="14" y="24"/>
                      <a:pt x="14" y="24"/>
                    </a:cubicBezTo>
                    <a:cubicBezTo>
                      <a:pt x="14" y="24"/>
                      <a:pt x="14" y="24"/>
                      <a:pt x="14" y="23"/>
                    </a:cubicBezTo>
                    <a:cubicBezTo>
                      <a:pt x="14" y="23"/>
                      <a:pt x="14" y="23"/>
                      <a:pt x="14" y="23"/>
                    </a:cubicBezTo>
                    <a:cubicBezTo>
                      <a:pt x="14" y="23"/>
                      <a:pt x="14" y="23"/>
                      <a:pt x="14" y="23"/>
                    </a:cubicBezTo>
                    <a:cubicBezTo>
                      <a:pt x="14" y="23"/>
                      <a:pt x="14" y="23"/>
                      <a:pt x="14" y="23"/>
                    </a:cubicBezTo>
                    <a:cubicBezTo>
                      <a:pt x="14" y="23"/>
                      <a:pt x="13" y="23"/>
                      <a:pt x="13" y="23"/>
                    </a:cubicBezTo>
                    <a:cubicBezTo>
                      <a:pt x="13" y="23"/>
                      <a:pt x="13" y="23"/>
                      <a:pt x="13" y="23"/>
                    </a:cubicBezTo>
                    <a:cubicBezTo>
                      <a:pt x="13" y="23"/>
                      <a:pt x="13" y="23"/>
                      <a:pt x="13" y="23"/>
                    </a:cubicBezTo>
                    <a:cubicBezTo>
                      <a:pt x="13" y="23"/>
                      <a:pt x="13" y="23"/>
                      <a:pt x="13" y="23"/>
                    </a:cubicBezTo>
                    <a:cubicBezTo>
                      <a:pt x="13" y="23"/>
                      <a:pt x="13" y="23"/>
                      <a:pt x="13" y="23"/>
                    </a:cubicBezTo>
                    <a:close/>
                    <a:moveTo>
                      <a:pt x="10" y="23"/>
                    </a:moveTo>
                    <a:cubicBezTo>
                      <a:pt x="9"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7" y="21"/>
                      <a:pt x="7" y="21"/>
                    </a:cubicBezTo>
                    <a:cubicBezTo>
                      <a:pt x="7" y="21"/>
                      <a:pt x="7" y="20"/>
                      <a:pt x="7" y="20"/>
                    </a:cubicBezTo>
                    <a:cubicBezTo>
                      <a:pt x="7" y="20"/>
                      <a:pt x="7" y="20"/>
                      <a:pt x="7" y="20"/>
                    </a:cubicBezTo>
                    <a:cubicBezTo>
                      <a:pt x="7" y="20"/>
                      <a:pt x="7" y="20"/>
                      <a:pt x="6" y="20"/>
                    </a:cubicBezTo>
                    <a:cubicBezTo>
                      <a:pt x="6" y="20"/>
                      <a:pt x="6" y="20"/>
                      <a:pt x="6" y="20"/>
                    </a:cubicBezTo>
                    <a:cubicBezTo>
                      <a:pt x="6" y="20"/>
                      <a:pt x="6" y="20"/>
                      <a:pt x="6" y="20"/>
                    </a:cubicBezTo>
                    <a:cubicBezTo>
                      <a:pt x="6" y="20"/>
                      <a:pt x="6" y="20"/>
                      <a:pt x="6" y="20"/>
                    </a:cubicBezTo>
                    <a:cubicBezTo>
                      <a:pt x="6" y="20"/>
                      <a:pt x="6" y="19"/>
                      <a:pt x="6" y="19"/>
                    </a:cubicBezTo>
                    <a:cubicBezTo>
                      <a:pt x="6" y="19"/>
                      <a:pt x="6" y="19"/>
                      <a:pt x="6" y="19"/>
                    </a:cubicBezTo>
                    <a:cubicBezTo>
                      <a:pt x="5" y="19"/>
                      <a:pt x="5" y="19"/>
                      <a:pt x="5" y="19"/>
                    </a:cubicBezTo>
                    <a:cubicBezTo>
                      <a:pt x="5" y="19"/>
                      <a:pt x="5" y="19"/>
                      <a:pt x="5" y="19"/>
                    </a:cubicBezTo>
                    <a:cubicBezTo>
                      <a:pt x="5" y="19"/>
                      <a:pt x="5" y="19"/>
                      <a:pt x="5" y="19"/>
                    </a:cubicBezTo>
                    <a:cubicBezTo>
                      <a:pt x="5" y="19"/>
                      <a:pt x="5" y="19"/>
                      <a:pt x="5" y="18"/>
                    </a:cubicBezTo>
                    <a:cubicBezTo>
                      <a:pt x="5" y="18"/>
                      <a:pt x="4" y="18"/>
                      <a:pt x="4" y="18"/>
                    </a:cubicBezTo>
                    <a:cubicBezTo>
                      <a:pt x="4" y="18"/>
                      <a:pt x="4" y="18"/>
                      <a:pt x="4" y="18"/>
                    </a:cubicBezTo>
                    <a:cubicBezTo>
                      <a:pt x="4" y="19"/>
                      <a:pt x="4" y="19"/>
                      <a:pt x="4" y="19"/>
                    </a:cubicBezTo>
                    <a:cubicBezTo>
                      <a:pt x="4" y="19"/>
                      <a:pt x="4" y="19"/>
                      <a:pt x="4" y="19"/>
                    </a:cubicBezTo>
                    <a:cubicBezTo>
                      <a:pt x="3" y="19"/>
                      <a:pt x="3" y="19"/>
                      <a:pt x="3" y="19"/>
                    </a:cubicBezTo>
                    <a:cubicBezTo>
                      <a:pt x="3" y="19"/>
                      <a:pt x="4" y="19"/>
                      <a:pt x="4" y="20"/>
                    </a:cubicBezTo>
                    <a:cubicBezTo>
                      <a:pt x="4" y="20"/>
                      <a:pt x="4" y="20"/>
                      <a:pt x="4" y="20"/>
                    </a:cubicBezTo>
                    <a:cubicBezTo>
                      <a:pt x="4" y="20"/>
                      <a:pt x="4" y="20"/>
                      <a:pt x="4" y="20"/>
                    </a:cubicBezTo>
                    <a:cubicBezTo>
                      <a:pt x="4" y="20"/>
                      <a:pt x="4" y="20"/>
                      <a:pt x="4" y="20"/>
                    </a:cubicBezTo>
                    <a:cubicBezTo>
                      <a:pt x="5" y="20"/>
                      <a:pt x="5" y="20"/>
                      <a:pt x="5" y="21"/>
                    </a:cubicBezTo>
                    <a:cubicBezTo>
                      <a:pt x="5" y="21"/>
                      <a:pt x="5" y="21"/>
                      <a:pt x="5" y="21"/>
                    </a:cubicBezTo>
                    <a:cubicBezTo>
                      <a:pt x="5" y="21"/>
                      <a:pt x="5" y="21"/>
                      <a:pt x="5" y="21"/>
                    </a:cubicBezTo>
                    <a:cubicBezTo>
                      <a:pt x="6" y="21"/>
                      <a:pt x="6" y="20"/>
                      <a:pt x="6" y="20"/>
                    </a:cubicBezTo>
                    <a:cubicBezTo>
                      <a:pt x="6" y="20"/>
                      <a:pt x="6" y="21"/>
                      <a:pt x="6" y="21"/>
                    </a:cubicBezTo>
                    <a:cubicBezTo>
                      <a:pt x="6" y="21"/>
                      <a:pt x="6" y="21"/>
                      <a:pt x="7" y="21"/>
                    </a:cubicBezTo>
                    <a:cubicBezTo>
                      <a:pt x="7" y="21"/>
                      <a:pt x="7" y="21"/>
                      <a:pt x="7" y="21"/>
                    </a:cubicBezTo>
                    <a:cubicBezTo>
                      <a:pt x="7" y="21"/>
                      <a:pt x="7" y="21"/>
                      <a:pt x="7" y="22"/>
                    </a:cubicBezTo>
                    <a:cubicBezTo>
                      <a:pt x="8" y="22"/>
                      <a:pt x="8" y="22"/>
                      <a:pt x="8" y="22"/>
                    </a:cubicBezTo>
                    <a:cubicBezTo>
                      <a:pt x="8" y="22"/>
                      <a:pt x="8" y="22"/>
                      <a:pt x="8" y="22"/>
                    </a:cubicBezTo>
                    <a:cubicBezTo>
                      <a:pt x="8" y="22"/>
                      <a:pt x="9" y="22"/>
                      <a:pt x="9" y="22"/>
                    </a:cubicBezTo>
                    <a:cubicBezTo>
                      <a:pt x="9" y="22"/>
                      <a:pt x="9" y="21"/>
                      <a:pt x="8" y="21"/>
                    </a:cubicBezTo>
                    <a:close/>
                    <a:moveTo>
                      <a:pt x="10" y="24"/>
                    </a:moveTo>
                    <a:cubicBezTo>
                      <a:pt x="10" y="24"/>
                      <a:pt x="10" y="24"/>
                      <a:pt x="10" y="24"/>
                    </a:cubicBezTo>
                    <a:cubicBezTo>
                      <a:pt x="10" y="24"/>
                      <a:pt x="10" y="24"/>
                      <a:pt x="9" y="24"/>
                    </a:cubicBezTo>
                    <a:cubicBezTo>
                      <a:pt x="9" y="24"/>
                      <a:pt x="9" y="24"/>
                      <a:pt x="10" y="24"/>
                    </a:cubicBezTo>
                    <a:cubicBezTo>
                      <a:pt x="10" y="24"/>
                      <a:pt x="10" y="24"/>
                      <a:pt x="10" y="24"/>
                    </a:cubicBezTo>
                    <a:cubicBezTo>
                      <a:pt x="10" y="24"/>
                      <a:pt x="10" y="24"/>
                      <a:pt x="10" y="24"/>
                    </a:cubicBezTo>
                    <a:close/>
                    <a:moveTo>
                      <a:pt x="13" y="24"/>
                    </a:move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lose/>
                    <a:moveTo>
                      <a:pt x="143" y="7"/>
                    </a:moveTo>
                    <a:cubicBezTo>
                      <a:pt x="142" y="7"/>
                      <a:pt x="139" y="6"/>
                      <a:pt x="139" y="6"/>
                    </a:cubicBezTo>
                    <a:cubicBezTo>
                      <a:pt x="138" y="7"/>
                      <a:pt x="138" y="7"/>
                      <a:pt x="138" y="8"/>
                    </a:cubicBezTo>
                    <a:cubicBezTo>
                      <a:pt x="137" y="8"/>
                      <a:pt x="136" y="13"/>
                      <a:pt x="136" y="15"/>
                    </a:cubicBezTo>
                    <a:cubicBezTo>
                      <a:pt x="136" y="16"/>
                      <a:pt x="135" y="17"/>
                      <a:pt x="134" y="19"/>
                    </a:cubicBezTo>
                    <a:cubicBezTo>
                      <a:pt x="132" y="20"/>
                      <a:pt x="133" y="20"/>
                      <a:pt x="133" y="21"/>
                    </a:cubicBezTo>
                    <a:cubicBezTo>
                      <a:pt x="132" y="22"/>
                      <a:pt x="131" y="24"/>
                      <a:pt x="130" y="25"/>
                    </a:cubicBezTo>
                    <a:cubicBezTo>
                      <a:pt x="130" y="26"/>
                      <a:pt x="131" y="27"/>
                      <a:pt x="131" y="28"/>
                    </a:cubicBezTo>
                    <a:cubicBezTo>
                      <a:pt x="130" y="28"/>
                      <a:pt x="128" y="28"/>
                      <a:pt x="127" y="28"/>
                    </a:cubicBezTo>
                    <a:cubicBezTo>
                      <a:pt x="126" y="28"/>
                      <a:pt x="125" y="29"/>
                      <a:pt x="124" y="29"/>
                    </a:cubicBezTo>
                    <a:cubicBezTo>
                      <a:pt x="122" y="30"/>
                      <a:pt x="121" y="28"/>
                      <a:pt x="120" y="28"/>
                    </a:cubicBezTo>
                    <a:cubicBezTo>
                      <a:pt x="118" y="27"/>
                      <a:pt x="117" y="28"/>
                      <a:pt x="116" y="29"/>
                    </a:cubicBezTo>
                    <a:cubicBezTo>
                      <a:pt x="115" y="29"/>
                      <a:pt x="113" y="31"/>
                      <a:pt x="112" y="31"/>
                    </a:cubicBezTo>
                    <a:cubicBezTo>
                      <a:pt x="111" y="32"/>
                      <a:pt x="108" y="31"/>
                      <a:pt x="107" y="31"/>
                    </a:cubicBezTo>
                    <a:cubicBezTo>
                      <a:pt x="106" y="31"/>
                      <a:pt x="104" y="32"/>
                      <a:pt x="104" y="32"/>
                    </a:cubicBezTo>
                    <a:cubicBezTo>
                      <a:pt x="103" y="32"/>
                      <a:pt x="102" y="32"/>
                      <a:pt x="102" y="31"/>
                    </a:cubicBezTo>
                    <a:cubicBezTo>
                      <a:pt x="102" y="31"/>
                      <a:pt x="100" y="29"/>
                      <a:pt x="100" y="29"/>
                    </a:cubicBezTo>
                    <a:cubicBezTo>
                      <a:pt x="100" y="29"/>
                      <a:pt x="100" y="28"/>
                      <a:pt x="99" y="27"/>
                    </a:cubicBezTo>
                    <a:cubicBezTo>
                      <a:pt x="99" y="27"/>
                      <a:pt x="99" y="27"/>
                      <a:pt x="99" y="27"/>
                    </a:cubicBezTo>
                    <a:cubicBezTo>
                      <a:pt x="99" y="27"/>
                      <a:pt x="98" y="27"/>
                      <a:pt x="98" y="27"/>
                    </a:cubicBezTo>
                    <a:cubicBezTo>
                      <a:pt x="98" y="27"/>
                      <a:pt x="98" y="27"/>
                      <a:pt x="98" y="27"/>
                    </a:cubicBezTo>
                    <a:cubicBezTo>
                      <a:pt x="98" y="27"/>
                      <a:pt x="98" y="27"/>
                      <a:pt x="98" y="27"/>
                    </a:cubicBezTo>
                    <a:cubicBezTo>
                      <a:pt x="98" y="27"/>
                      <a:pt x="98" y="27"/>
                      <a:pt x="98" y="27"/>
                    </a:cubicBezTo>
                    <a:cubicBezTo>
                      <a:pt x="98" y="27"/>
                      <a:pt x="97" y="27"/>
                      <a:pt x="97" y="27"/>
                    </a:cubicBezTo>
                    <a:cubicBezTo>
                      <a:pt x="97" y="27"/>
                      <a:pt x="97" y="27"/>
                      <a:pt x="97" y="27"/>
                    </a:cubicBezTo>
                    <a:cubicBezTo>
                      <a:pt x="97" y="26"/>
                      <a:pt x="97" y="26"/>
                      <a:pt x="97" y="26"/>
                    </a:cubicBezTo>
                    <a:cubicBezTo>
                      <a:pt x="97" y="26"/>
                      <a:pt x="96" y="26"/>
                      <a:pt x="96" y="26"/>
                    </a:cubicBezTo>
                    <a:cubicBezTo>
                      <a:pt x="96" y="26"/>
                      <a:pt x="96" y="26"/>
                      <a:pt x="96" y="26"/>
                    </a:cubicBezTo>
                    <a:cubicBezTo>
                      <a:pt x="96" y="25"/>
                      <a:pt x="96" y="25"/>
                      <a:pt x="96" y="25"/>
                    </a:cubicBezTo>
                    <a:cubicBezTo>
                      <a:pt x="96" y="25"/>
                      <a:pt x="96" y="25"/>
                      <a:pt x="96" y="25"/>
                    </a:cubicBezTo>
                    <a:cubicBezTo>
                      <a:pt x="96" y="25"/>
                      <a:pt x="96" y="25"/>
                      <a:pt x="96" y="25"/>
                    </a:cubicBezTo>
                    <a:cubicBezTo>
                      <a:pt x="96" y="25"/>
                      <a:pt x="96" y="25"/>
                      <a:pt x="96" y="25"/>
                    </a:cubicBezTo>
                    <a:cubicBezTo>
                      <a:pt x="96" y="26"/>
                      <a:pt x="96" y="26"/>
                      <a:pt x="95" y="26"/>
                    </a:cubicBezTo>
                    <a:cubicBezTo>
                      <a:pt x="95" y="26"/>
                      <a:pt x="95" y="26"/>
                      <a:pt x="95" y="26"/>
                    </a:cubicBezTo>
                    <a:cubicBezTo>
                      <a:pt x="95" y="26"/>
                      <a:pt x="95" y="26"/>
                      <a:pt x="94" y="26"/>
                    </a:cubicBezTo>
                    <a:cubicBezTo>
                      <a:pt x="94" y="26"/>
                      <a:pt x="94" y="26"/>
                      <a:pt x="94" y="26"/>
                    </a:cubicBezTo>
                    <a:cubicBezTo>
                      <a:pt x="94" y="26"/>
                      <a:pt x="94" y="26"/>
                      <a:pt x="94" y="26"/>
                    </a:cubicBezTo>
                    <a:cubicBezTo>
                      <a:pt x="94" y="26"/>
                      <a:pt x="94" y="26"/>
                      <a:pt x="94" y="26"/>
                    </a:cubicBezTo>
                    <a:cubicBezTo>
                      <a:pt x="94" y="26"/>
                      <a:pt x="94" y="27"/>
                      <a:pt x="94" y="27"/>
                    </a:cubicBezTo>
                    <a:cubicBezTo>
                      <a:pt x="94" y="27"/>
                      <a:pt x="94" y="27"/>
                      <a:pt x="94" y="27"/>
                    </a:cubicBezTo>
                    <a:cubicBezTo>
                      <a:pt x="94" y="27"/>
                      <a:pt x="94" y="27"/>
                      <a:pt x="94" y="27"/>
                    </a:cubicBezTo>
                    <a:cubicBezTo>
                      <a:pt x="94" y="27"/>
                      <a:pt x="94" y="27"/>
                      <a:pt x="94" y="28"/>
                    </a:cubicBezTo>
                    <a:cubicBezTo>
                      <a:pt x="94" y="28"/>
                      <a:pt x="94" y="28"/>
                      <a:pt x="93" y="28"/>
                    </a:cubicBezTo>
                    <a:cubicBezTo>
                      <a:pt x="93" y="28"/>
                      <a:pt x="93" y="28"/>
                      <a:pt x="93" y="28"/>
                    </a:cubicBezTo>
                    <a:cubicBezTo>
                      <a:pt x="93" y="28"/>
                      <a:pt x="93" y="28"/>
                      <a:pt x="93" y="28"/>
                    </a:cubicBezTo>
                    <a:cubicBezTo>
                      <a:pt x="92" y="29"/>
                      <a:pt x="92" y="29"/>
                      <a:pt x="92" y="29"/>
                    </a:cubicBezTo>
                    <a:cubicBezTo>
                      <a:pt x="92" y="29"/>
                      <a:pt x="92" y="30"/>
                      <a:pt x="92" y="30"/>
                    </a:cubicBezTo>
                    <a:cubicBezTo>
                      <a:pt x="92" y="30"/>
                      <a:pt x="92" y="30"/>
                      <a:pt x="92" y="30"/>
                    </a:cubicBezTo>
                    <a:cubicBezTo>
                      <a:pt x="92" y="30"/>
                      <a:pt x="92" y="30"/>
                      <a:pt x="92" y="30"/>
                    </a:cubicBezTo>
                    <a:cubicBezTo>
                      <a:pt x="92" y="31"/>
                      <a:pt x="92" y="31"/>
                      <a:pt x="92" y="31"/>
                    </a:cubicBezTo>
                    <a:cubicBezTo>
                      <a:pt x="92" y="31"/>
                      <a:pt x="92" y="31"/>
                      <a:pt x="92" y="31"/>
                    </a:cubicBezTo>
                    <a:cubicBezTo>
                      <a:pt x="92" y="31"/>
                      <a:pt x="92" y="31"/>
                      <a:pt x="92" y="31"/>
                    </a:cubicBezTo>
                    <a:cubicBezTo>
                      <a:pt x="92" y="31"/>
                      <a:pt x="92" y="31"/>
                      <a:pt x="92" y="31"/>
                    </a:cubicBezTo>
                    <a:cubicBezTo>
                      <a:pt x="91" y="31"/>
                      <a:pt x="92" y="32"/>
                      <a:pt x="92" y="32"/>
                    </a:cubicBezTo>
                    <a:cubicBezTo>
                      <a:pt x="92" y="32"/>
                      <a:pt x="92" y="32"/>
                      <a:pt x="92" y="32"/>
                    </a:cubicBezTo>
                    <a:cubicBezTo>
                      <a:pt x="92" y="32"/>
                      <a:pt x="92" y="32"/>
                      <a:pt x="92" y="33"/>
                    </a:cubicBezTo>
                    <a:cubicBezTo>
                      <a:pt x="92" y="33"/>
                      <a:pt x="92" y="33"/>
                      <a:pt x="92" y="33"/>
                    </a:cubicBezTo>
                    <a:cubicBezTo>
                      <a:pt x="92" y="33"/>
                      <a:pt x="92" y="33"/>
                      <a:pt x="92" y="33"/>
                    </a:cubicBezTo>
                    <a:cubicBezTo>
                      <a:pt x="91" y="33"/>
                      <a:pt x="91" y="33"/>
                      <a:pt x="91" y="34"/>
                    </a:cubicBezTo>
                    <a:cubicBezTo>
                      <a:pt x="91" y="34"/>
                      <a:pt x="91" y="34"/>
                      <a:pt x="91" y="34"/>
                    </a:cubicBezTo>
                    <a:cubicBezTo>
                      <a:pt x="92" y="34"/>
                      <a:pt x="91" y="34"/>
                      <a:pt x="92" y="34"/>
                    </a:cubicBezTo>
                    <a:cubicBezTo>
                      <a:pt x="92" y="34"/>
                      <a:pt x="92" y="34"/>
                      <a:pt x="92" y="35"/>
                    </a:cubicBezTo>
                    <a:cubicBezTo>
                      <a:pt x="92" y="35"/>
                      <a:pt x="92" y="35"/>
                      <a:pt x="92" y="35"/>
                    </a:cubicBezTo>
                    <a:cubicBezTo>
                      <a:pt x="92" y="36"/>
                      <a:pt x="92" y="36"/>
                      <a:pt x="92" y="36"/>
                    </a:cubicBezTo>
                    <a:cubicBezTo>
                      <a:pt x="92" y="36"/>
                      <a:pt x="92" y="36"/>
                      <a:pt x="92" y="36"/>
                    </a:cubicBezTo>
                    <a:cubicBezTo>
                      <a:pt x="92" y="36"/>
                      <a:pt x="92" y="36"/>
                      <a:pt x="92" y="37"/>
                    </a:cubicBezTo>
                    <a:cubicBezTo>
                      <a:pt x="92" y="37"/>
                      <a:pt x="92" y="37"/>
                      <a:pt x="93" y="37"/>
                    </a:cubicBezTo>
                    <a:cubicBezTo>
                      <a:pt x="93" y="37"/>
                      <a:pt x="93" y="37"/>
                      <a:pt x="93" y="37"/>
                    </a:cubicBezTo>
                    <a:cubicBezTo>
                      <a:pt x="93" y="37"/>
                      <a:pt x="93" y="38"/>
                      <a:pt x="93" y="38"/>
                    </a:cubicBezTo>
                    <a:cubicBezTo>
                      <a:pt x="93" y="38"/>
                      <a:pt x="93" y="38"/>
                      <a:pt x="94" y="38"/>
                    </a:cubicBezTo>
                    <a:cubicBezTo>
                      <a:pt x="94" y="38"/>
                      <a:pt x="94" y="38"/>
                      <a:pt x="94" y="38"/>
                    </a:cubicBezTo>
                    <a:cubicBezTo>
                      <a:pt x="94" y="39"/>
                      <a:pt x="94" y="39"/>
                      <a:pt x="94" y="39"/>
                    </a:cubicBezTo>
                    <a:cubicBezTo>
                      <a:pt x="94" y="39"/>
                      <a:pt x="94" y="39"/>
                      <a:pt x="94" y="39"/>
                    </a:cubicBezTo>
                    <a:cubicBezTo>
                      <a:pt x="94" y="39"/>
                      <a:pt x="94" y="39"/>
                      <a:pt x="94" y="39"/>
                    </a:cubicBezTo>
                    <a:cubicBezTo>
                      <a:pt x="94" y="39"/>
                      <a:pt x="93" y="39"/>
                      <a:pt x="93" y="39"/>
                    </a:cubicBezTo>
                    <a:cubicBezTo>
                      <a:pt x="94" y="39"/>
                      <a:pt x="94" y="39"/>
                      <a:pt x="94" y="39"/>
                    </a:cubicBezTo>
                    <a:cubicBezTo>
                      <a:pt x="94" y="39"/>
                      <a:pt x="94" y="39"/>
                      <a:pt x="94" y="39"/>
                    </a:cubicBezTo>
                    <a:cubicBezTo>
                      <a:pt x="94" y="40"/>
                      <a:pt x="94" y="40"/>
                      <a:pt x="94" y="40"/>
                    </a:cubicBezTo>
                    <a:cubicBezTo>
                      <a:pt x="93" y="40"/>
                      <a:pt x="93" y="40"/>
                      <a:pt x="93" y="40"/>
                    </a:cubicBezTo>
                    <a:cubicBezTo>
                      <a:pt x="93" y="40"/>
                      <a:pt x="93" y="41"/>
                      <a:pt x="93" y="41"/>
                    </a:cubicBezTo>
                    <a:cubicBezTo>
                      <a:pt x="93" y="41"/>
                      <a:pt x="93" y="41"/>
                      <a:pt x="93" y="41"/>
                    </a:cubicBezTo>
                    <a:cubicBezTo>
                      <a:pt x="93" y="41"/>
                      <a:pt x="94" y="41"/>
                      <a:pt x="94" y="41"/>
                    </a:cubicBezTo>
                    <a:cubicBezTo>
                      <a:pt x="94" y="41"/>
                      <a:pt x="93" y="41"/>
                      <a:pt x="93" y="41"/>
                    </a:cubicBezTo>
                    <a:cubicBezTo>
                      <a:pt x="93" y="41"/>
                      <a:pt x="93" y="42"/>
                      <a:pt x="93" y="42"/>
                    </a:cubicBezTo>
                    <a:cubicBezTo>
                      <a:pt x="93" y="42"/>
                      <a:pt x="94" y="42"/>
                      <a:pt x="94" y="42"/>
                    </a:cubicBezTo>
                    <a:cubicBezTo>
                      <a:pt x="94" y="43"/>
                      <a:pt x="94" y="43"/>
                      <a:pt x="94" y="43"/>
                    </a:cubicBezTo>
                    <a:cubicBezTo>
                      <a:pt x="94" y="42"/>
                      <a:pt x="94" y="43"/>
                      <a:pt x="94" y="43"/>
                    </a:cubicBezTo>
                    <a:cubicBezTo>
                      <a:pt x="95" y="43"/>
                      <a:pt x="95" y="43"/>
                      <a:pt x="95" y="43"/>
                    </a:cubicBezTo>
                    <a:cubicBezTo>
                      <a:pt x="95" y="43"/>
                      <a:pt x="95" y="43"/>
                      <a:pt x="96" y="43"/>
                    </a:cubicBezTo>
                    <a:cubicBezTo>
                      <a:pt x="96" y="43"/>
                      <a:pt x="96" y="43"/>
                      <a:pt x="96" y="43"/>
                    </a:cubicBezTo>
                    <a:cubicBezTo>
                      <a:pt x="97" y="44"/>
                      <a:pt x="96" y="44"/>
                      <a:pt x="96" y="44"/>
                    </a:cubicBezTo>
                    <a:cubicBezTo>
                      <a:pt x="96" y="44"/>
                      <a:pt x="95" y="44"/>
                      <a:pt x="95" y="44"/>
                    </a:cubicBezTo>
                    <a:cubicBezTo>
                      <a:pt x="95" y="44"/>
                      <a:pt x="95" y="44"/>
                      <a:pt x="95" y="44"/>
                    </a:cubicBezTo>
                    <a:cubicBezTo>
                      <a:pt x="95" y="44"/>
                      <a:pt x="95" y="43"/>
                      <a:pt x="95" y="43"/>
                    </a:cubicBezTo>
                    <a:cubicBezTo>
                      <a:pt x="94" y="43"/>
                      <a:pt x="94" y="43"/>
                      <a:pt x="94" y="43"/>
                    </a:cubicBezTo>
                    <a:cubicBezTo>
                      <a:pt x="94" y="43"/>
                      <a:pt x="94" y="44"/>
                      <a:pt x="94" y="44"/>
                    </a:cubicBezTo>
                    <a:cubicBezTo>
                      <a:pt x="94" y="44"/>
                      <a:pt x="94" y="44"/>
                      <a:pt x="94" y="45"/>
                    </a:cubicBezTo>
                    <a:cubicBezTo>
                      <a:pt x="95" y="45"/>
                      <a:pt x="95" y="45"/>
                      <a:pt x="95" y="45"/>
                    </a:cubicBezTo>
                    <a:cubicBezTo>
                      <a:pt x="95" y="45"/>
                      <a:pt x="95" y="45"/>
                      <a:pt x="95" y="45"/>
                    </a:cubicBezTo>
                    <a:cubicBezTo>
                      <a:pt x="96" y="45"/>
                      <a:pt x="95" y="45"/>
                      <a:pt x="96" y="45"/>
                    </a:cubicBezTo>
                    <a:cubicBezTo>
                      <a:pt x="96" y="44"/>
                      <a:pt x="96" y="45"/>
                      <a:pt x="96" y="45"/>
                    </a:cubicBezTo>
                    <a:cubicBezTo>
                      <a:pt x="96" y="45"/>
                      <a:pt x="97" y="45"/>
                      <a:pt x="97" y="45"/>
                    </a:cubicBezTo>
                    <a:cubicBezTo>
                      <a:pt x="97" y="45"/>
                      <a:pt x="97" y="45"/>
                      <a:pt x="97" y="45"/>
                    </a:cubicBezTo>
                    <a:cubicBezTo>
                      <a:pt x="97" y="45"/>
                      <a:pt x="97" y="45"/>
                      <a:pt x="97" y="45"/>
                    </a:cubicBezTo>
                    <a:cubicBezTo>
                      <a:pt x="97" y="45"/>
                      <a:pt x="97" y="45"/>
                      <a:pt x="97" y="45"/>
                    </a:cubicBezTo>
                    <a:cubicBezTo>
                      <a:pt x="97" y="45"/>
                      <a:pt x="97" y="45"/>
                      <a:pt x="96" y="45"/>
                    </a:cubicBezTo>
                    <a:cubicBezTo>
                      <a:pt x="96" y="45"/>
                      <a:pt x="96" y="45"/>
                      <a:pt x="96" y="45"/>
                    </a:cubicBezTo>
                    <a:cubicBezTo>
                      <a:pt x="96" y="45"/>
                      <a:pt x="96" y="45"/>
                      <a:pt x="96" y="45"/>
                    </a:cubicBezTo>
                    <a:cubicBezTo>
                      <a:pt x="96" y="45"/>
                      <a:pt x="96" y="46"/>
                      <a:pt x="96" y="46"/>
                    </a:cubicBezTo>
                    <a:cubicBezTo>
                      <a:pt x="96" y="46"/>
                      <a:pt x="96" y="47"/>
                      <a:pt x="96" y="47"/>
                    </a:cubicBezTo>
                    <a:cubicBezTo>
                      <a:pt x="95" y="47"/>
                      <a:pt x="95" y="47"/>
                      <a:pt x="95" y="47"/>
                    </a:cubicBezTo>
                    <a:cubicBezTo>
                      <a:pt x="96" y="47"/>
                      <a:pt x="96" y="47"/>
                      <a:pt x="96" y="47"/>
                    </a:cubicBezTo>
                    <a:cubicBezTo>
                      <a:pt x="96" y="47"/>
                      <a:pt x="96" y="47"/>
                      <a:pt x="96" y="47"/>
                    </a:cubicBezTo>
                    <a:cubicBezTo>
                      <a:pt x="97" y="47"/>
                      <a:pt x="97" y="47"/>
                      <a:pt x="97" y="47"/>
                    </a:cubicBezTo>
                    <a:cubicBezTo>
                      <a:pt x="97" y="47"/>
                      <a:pt x="97" y="47"/>
                      <a:pt x="97" y="47"/>
                    </a:cubicBezTo>
                    <a:cubicBezTo>
                      <a:pt x="97" y="47"/>
                      <a:pt x="97" y="47"/>
                      <a:pt x="98" y="47"/>
                    </a:cubicBezTo>
                    <a:cubicBezTo>
                      <a:pt x="98" y="47"/>
                      <a:pt x="98" y="46"/>
                      <a:pt x="98" y="46"/>
                    </a:cubicBezTo>
                    <a:cubicBezTo>
                      <a:pt x="98" y="46"/>
                      <a:pt x="98" y="46"/>
                      <a:pt x="98" y="46"/>
                    </a:cubicBezTo>
                    <a:cubicBezTo>
                      <a:pt x="98" y="46"/>
                      <a:pt x="98" y="46"/>
                      <a:pt x="98" y="46"/>
                    </a:cubicBezTo>
                    <a:cubicBezTo>
                      <a:pt x="98" y="45"/>
                      <a:pt x="98" y="46"/>
                      <a:pt x="98" y="46"/>
                    </a:cubicBezTo>
                    <a:cubicBezTo>
                      <a:pt x="98" y="46"/>
                      <a:pt x="98" y="46"/>
                      <a:pt x="98" y="46"/>
                    </a:cubicBezTo>
                    <a:cubicBezTo>
                      <a:pt x="98" y="46"/>
                      <a:pt x="98" y="46"/>
                      <a:pt x="98" y="46"/>
                    </a:cubicBezTo>
                    <a:cubicBezTo>
                      <a:pt x="99" y="46"/>
                      <a:pt x="99" y="46"/>
                      <a:pt x="99" y="46"/>
                    </a:cubicBezTo>
                    <a:cubicBezTo>
                      <a:pt x="99" y="46"/>
                      <a:pt x="99" y="46"/>
                      <a:pt x="99" y="47"/>
                    </a:cubicBezTo>
                    <a:cubicBezTo>
                      <a:pt x="99" y="47"/>
                      <a:pt x="99" y="47"/>
                      <a:pt x="99" y="47"/>
                    </a:cubicBezTo>
                    <a:cubicBezTo>
                      <a:pt x="99" y="47"/>
                      <a:pt x="99" y="47"/>
                      <a:pt x="99" y="47"/>
                    </a:cubicBezTo>
                    <a:cubicBezTo>
                      <a:pt x="99" y="47"/>
                      <a:pt x="99" y="47"/>
                      <a:pt x="99" y="47"/>
                    </a:cubicBezTo>
                    <a:cubicBezTo>
                      <a:pt x="99" y="47"/>
                      <a:pt x="99" y="47"/>
                      <a:pt x="100" y="47"/>
                    </a:cubicBezTo>
                    <a:cubicBezTo>
                      <a:pt x="100" y="47"/>
                      <a:pt x="100" y="48"/>
                      <a:pt x="100" y="48"/>
                    </a:cubicBezTo>
                    <a:cubicBezTo>
                      <a:pt x="100" y="48"/>
                      <a:pt x="100" y="48"/>
                      <a:pt x="100" y="48"/>
                    </a:cubicBezTo>
                    <a:cubicBezTo>
                      <a:pt x="100" y="49"/>
                      <a:pt x="100" y="49"/>
                      <a:pt x="100" y="49"/>
                    </a:cubicBezTo>
                    <a:cubicBezTo>
                      <a:pt x="100" y="49"/>
                      <a:pt x="100" y="49"/>
                      <a:pt x="100" y="49"/>
                    </a:cubicBezTo>
                    <a:cubicBezTo>
                      <a:pt x="100" y="49"/>
                      <a:pt x="100" y="50"/>
                      <a:pt x="100" y="50"/>
                    </a:cubicBezTo>
                    <a:cubicBezTo>
                      <a:pt x="100" y="50"/>
                      <a:pt x="99" y="50"/>
                      <a:pt x="99" y="50"/>
                    </a:cubicBezTo>
                    <a:cubicBezTo>
                      <a:pt x="99" y="50"/>
                      <a:pt x="99" y="50"/>
                      <a:pt x="99" y="51"/>
                    </a:cubicBezTo>
                    <a:cubicBezTo>
                      <a:pt x="99" y="51"/>
                      <a:pt x="99" y="51"/>
                      <a:pt x="99" y="51"/>
                    </a:cubicBezTo>
                    <a:cubicBezTo>
                      <a:pt x="99" y="51"/>
                      <a:pt x="100" y="51"/>
                      <a:pt x="100" y="52"/>
                    </a:cubicBezTo>
                    <a:cubicBezTo>
                      <a:pt x="100" y="52"/>
                      <a:pt x="100" y="52"/>
                      <a:pt x="100" y="52"/>
                    </a:cubicBezTo>
                    <a:cubicBezTo>
                      <a:pt x="100" y="53"/>
                      <a:pt x="100" y="53"/>
                      <a:pt x="100" y="53"/>
                    </a:cubicBezTo>
                    <a:cubicBezTo>
                      <a:pt x="100" y="53"/>
                      <a:pt x="100" y="53"/>
                      <a:pt x="100" y="54"/>
                    </a:cubicBezTo>
                    <a:cubicBezTo>
                      <a:pt x="100" y="54"/>
                      <a:pt x="100" y="54"/>
                      <a:pt x="100" y="54"/>
                    </a:cubicBezTo>
                    <a:cubicBezTo>
                      <a:pt x="101" y="54"/>
                      <a:pt x="101" y="54"/>
                      <a:pt x="101" y="54"/>
                    </a:cubicBezTo>
                    <a:cubicBezTo>
                      <a:pt x="101" y="54"/>
                      <a:pt x="101" y="54"/>
                      <a:pt x="101" y="55"/>
                    </a:cubicBezTo>
                    <a:cubicBezTo>
                      <a:pt x="101" y="55"/>
                      <a:pt x="101" y="55"/>
                      <a:pt x="101" y="55"/>
                    </a:cubicBezTo>
                    <a:cubicBezTo>
                      <a:pt x="101" y="55"/>
                      <a:pt x="101" y="55"/>
                      <a:pt x="101" y="55"/>
                    </a:cubicBezTo>
                    <a:cubicBezTo>
                      <a:pt x="101" y="55"/>
                      <a:pt x="101" y="55"/>
                      <a:pt x="101" y="55"/>
                    </a:cubicBezTo>
                    <a:cubicBezTo>
                      <a:pt x="101" y="55"/>
                      <a:pt x="101" y="55"/>
                      <a:pt x="101" y="55"/>
                    </a:cubicBezTo>
                    <a:cubicBezTo>
                      <a:pt x="101" y="56"/>
                      <a:pt x="101" y="56"/>
                      <a:pt x="101" y="56"/>
                    </a:cubicBezTo>
                    <a:cubicBezTo>
                      <a:pt x="101" y="56"/>
                      <a:pt x="101" y="56"/>
                      <a:pt x="101" y="56"/>
                    </a:cubicBezTo>
                    <a:cubicBezTo>
                      <a:pt x="101" y="56"/>
                      <a:pt x="101" y="56"/>
                      <a:pt x="101" y="57"/>
                    </a:cubicBezTo>
                    <a:cubicBezTo>
                      <a:pt x="101" y="57"/>
                      <a:pt x="101" y="57"/>
                      <a:pt x="101" y="57"/>
                    </a:cubicBezTo>
                    <a:cubicBezTo>
                      <a:pt x="101" y="57"/>
                      <a:pt x="101" y="57"/>
                      <a:pt x="102" y="57"/>
                    </a:cubicBezTo>
                    <a:cubicBezTo>
                      <a:pt x="102" y="57"/>
                      <a:pt x="101" y="57"/>
                      <a:pt x="101" y="58"/>
                    </a:cubicBezTo>
                    <a:cubicBezTo>
                      <a:pt x="101" y="58"/>
                      <a:pt x="101" y="58"/>
                      <a:pt x="101" y="58"/>
                    </a:cubicBezTo>
                    <a:cubicBezTo>
                      <a:pt x="101" y="58"/>
                      <a:pt x="101" y="58"/>
                      <a:pt x="101" y="58"/>
                    </a:cubicBezTo>
                    <a:cubicBezTo>
                      <a:pt x="101" y="58"/>
                      <a:pt x="102" y="58"/>
                      <a:pt x="102" y="58"/>
                    </a:cubicBezTo>
                    <a:cubicBezTo>
                      <a:pt x="102" y="58"/>
                      <a:pt x="102" y="58"/>
                      <a:pt x="102" y="58"/>
                    </a:cubicBezTo>
                    <a:cubicBezTo>
                      <a:pt x="102" y="58"/>
                      <a:pt x="102" y="58"/>
                      <a:pt x="102" y="58"/>
                    </a:cubicBezTo>
                    <a:cubicBezTo>
                      <a:pt x="102" y="59"/>
                      <a:pt x="102" y="58"/>
                      <a:pt x="102" y="58"/>
                    </a:cubicBezTo>
                    <a:cubicBezTo>
                      <a:pt x="103" y="58"/>
                      <a:pt x="103" y="58"/>
                      <a:pt x="103" y="57"/>
                    </a:cubicBezTo>
                    <a:cubicBezTo>
                      <a:pt x="103" y="57"/>
                      <a:pt x="104" y="57"/>
                      <a:pt x="104" y="58"/>
                    </a:cubicBezTo>
                    <a:cubicBezTo>
                      <a:pt x="104" y="58"/>
                      <a:pt x="104" y="58"/>
                      <a:pt x="104" y="58"/>
                    </a:cubicBezTo>
                    <a:cubicBezTo>
                      <a:pt x="104" y="58"/>
                      <a:pt x="104" y="58"/>
                      <a:pt x="104" y="58"/>
                    </a:cubicBezTo>
                    <a:cubicBezTo>
                      <a:pt x="104" y="58"/>
                      <a:pt x="104" y="58"/>
                      <a:pt x="104" y="59"/>
                    </a:cubicBezTo>
                    <a:cubicBezTo>
                      <a:pt x="104" y="59"/>
                      <a:pt x="104" y="59"/>
                      <a:pt x="104" y="59"/>
                    </a:cubicBezTo>
                    <a:cubicBezTo>
                      <a:pt x="105" y="59"/>
                      <a:pt x="105" y="58"/>
                      <a:pt x="105" y="58"/>
                    </a:cubicBezTo>
                    <a:cubicBezTo>
                      <a:pt x="105" y="58"/>
                      <a:pt x="105" y="58"/>
                      <a:pt x="105" y="58"/>
                    </a:cubicBezTo>
                    <a:cubicBezTo>
                      <a:pt x="105" y="58"/>
                      <a:pt x="105" y="58"/>
                      <a:pt x="105" y="58"/>
                    </a:cubicBezTo>
                    <a:cubicBezTo>
                      <a:pt x="106" y="58"/>
                      <a:pt x="106" y="58"/>
                      <a:pt x="106" y="59"/>
                    </a:cubicBezTo>
                    <a:cubicBezTo>
                      <a:pt x="106" y="59"/>
                      <a:pt x="106" y="59"/>
                      <a:pt x="106" y="59"/>
                    </a:cubicBezTo>
                    <a:cubicBezTo>
                      <a:pt x="107" y="59"/>
                      <a:pt x="107" y="59"/>
                      <a:pt x="107" y="59"/>
                    </a:cubicBezTo>
                    <a:cubicBezTo>
                      <a:pt x="107" y="59"/>
                      <a:pt x="107" y="58"/>
                      <a:pt x="107" y="58"/>
                    </a:cubicBezTo>
                    <a:cubicBezTo>
                      <a:pt x="108" y="58"/>
                      <a:pt x="108" y="58"/>
                      <a:pt x="108" y="58"/>
                    </a:cubicBezTo>
                    <a:cubicBezTo>
                      <a:pt x="108" y="58"/>
                      <a:pt x="108" y="58"/>
                      <a:pt x="108" y="58"/>
                    </a:cubicBezTo>
                    <a:cubicBezTo>
                      <a:pt x="108" y="58"/>
                      <a:pt x="109" y="58"/>
                      <a:pt x="109" y="58"/>
                    </a:cubicBezTo>
                    <a:cubicBezTo>
                      <a:pt x="109" y="58"/>
                      <a:pt x="109" y="58"/>
                      <a:pt x="109" y="58"/>
                    </a:cubicBezTo>
                    <a:cubicBezTo>
                      <a:pt x="109" y="58"/>
                      <a:pt x="109" y="57"/>
                      <a:pt x="110" y="57"/>
                    </a:cubicBezTo>
                    <a:cubicBezTo>
                      <a:pt x="110" y="57"/>
                      <a:pt x="109" y="58"/>
                      <a:pt x="109" y="58"/>
                    </a:cubicBezTo>
                    <a:cubicBezTo>
                      <a:pt x="110" y="58"/>
                      <a:pt x="110" y="58"/>
                      <a:pt x="110" y="58"/>
                    </a:cubicBezTo>
                    <a:cubicBezTo>
                      <a:pt x="110" y="58"/>
                      <a:pt x="110" y="58"/>
                      <a:pt x="110" y="58"/>
                    </a:cubicBezTo>
                    <a:cubicBezTo>
                      <a:pt x="110" y="58"/>
                      <a:pt x="110" y="58"/>
                      <a:pt x="110" y="58"/>
                    </a:cubicBezTo>
                    <a:cubicBezTo>
                      <a:pt x="110" y="58"/>
                      <a:pt x="111" y="58"/>
                      <a:pt x="111" y="58"/>
                    </a:cubicBezTo>
                    <a:cubicBezTo>
                      <a:pt x="111" y="58"/>
                      <a:pt x="111" y="58"/>
                      <a:pt x="111" y="58"/>
                    </a:cubicBezTo>
                    <a:cubicBezTo>
                      <a:pt x="111" y="58"/>
                      <a:pt x="111" y="58"/>
                      <a:pt x="111" y="58"/>
                    </a:cubicBezTo>
                    <a:cubicBezTo>
                      <a:pt x="111" y="58"/>
                      <a:pt x="111" y="57"/>
                      <a:pt x="111" y="57"/>
                    </a:cubicBezTo>
                    <a:cubicBezTo>
                      <a:pt x="111" y="57"/>
                      <a:pt x="111" y="57"/>
                      <a:pt x="111" y="57"/>
                    </a:cubicBezTo>
                    <a:cubicBezTo>
                      <a:pt x="111" y="57"/>
                      <a:pt x="111" y="57"/>
                      <a:pt x="111" y="57"/>
                    </a:cubicBezTo>
                    <a:cubicBezTo>
                      <a:pt x="111" y="57"/>
                      <a:pt x="111" y="57"/>
                      <a:pt x="111" y="57"/>
                    </a:cubicBezTo>
                    <a:cubicBezTo>
                      <a:pt x="111" y="57"/>
                      <a:pt x="111" y="58"/>
                      <a:pt x="112" y="58"/>
                    </a:cubicBezTo>
                    <a:cubicBezTo>
                      <a:pt x="112" y="58"/>
                      <a:pt x="112" y="58"/>
                      <a:pt x="112" y="58"/>
                    </a:cubicBezTo>
                    <a:cubicBezTo>
                      <a:pt x="112" y="58"/>
                      <a:pt x="112" y="59"/>
                      <a:pt x="112" y="59"/>
                    </a:cubicBezTo>
                    <a:cubicBezTo>
                      <a:pt x="112" y="59"/>
                      <a:pt x="112" y="59"/>
                      <a:pt x="112" y="59"/>
                    </a:cubicBezTo>
                    <a:cubicBezTo>
                      <a:pt x="112" y="59"/>
                      <a:pt x="112" y="60"/>
                      <a:pt x="112" y="60"/>
                    </a:cubicBezTo>
                    <a:cubicBezTo>
                      <a:pt x="112" y="60"/>
                      <a:pt x="112" y="61"/>
                      <a:pt x="112" y="61"/>
                    </a:cubicBezTo>
                    <a:cubicBezTo>
                      <a:pt x="112" y="61"/>
                      <a:pt x="112" y="61"/>
                      <a:pt x="112" y="62"/>
                    </a:cubicBezTo>
                    <a:cubicBezTo>
                      <a:pt x="112" y="62"/>
                      <a:pt x="112" y="62"/>
                      <a:pt x="112" y="62"/>
                    </a:cubicBezTo>
                    <a:cubicBezTo>
                      <a:pt x="112" y="62"/>
                      <a:pt x="112" y="62"/>
                      <a:pt x="112" y="62"/>
                    </a:cubicBezTo>
                    <a:cubicBezTo>
                      <a:pt x="113" y="62"/>
                      <a:pt x="113" y="62"/>
                      <a:pt x="113" y="61"/>
                    </a:cubicBezTo>
                    <a:cubicBezTo>
                      <a:pt x="113" y="61"/>
                      <a:pt x="114" y="61"/>
                      <a:pt x="114" y="61"/>
                    </a:cubicBezTo>
                    <a:cubicBezTo>
                      <a:pt x="114" y="60"/>
                      <a:pt x="114" y="60"/>
                      <a:pt x="115" y="60"/>
                    </a:cubicBezTo>
                    <a:cubicBezTo>
                      <a:pt x="115" y="60"/>
                      <a:pt x="115" y="60"/>
                      <a:pt x="115" y="60"/>
                    </a:cubicBezTo>
                    <a:cubicBezTo>
                      <a:pt x="116" y="60"/>
                      <a:pt x="116" y="60"/>
                      <a:pt x="116" y="60"/>
                    </a:cubicBezTo>
                    <a:cubicBezTo>
                      <a:pt x="116" y="60"/>
                      <a:pt x="116" y="60"/>
                      <a:pt x="116" y="61"/>
                    </a:cubicBezTo>
                    <a:cubicBezTo>
                      <a:pt x="116" y="61"/>
                      <a:pt x="117" y="61"/>
                      <a:pt x="117" y="61"/>
                    </a:cubicBezTo>
                    <a:cubicBezTo>
                      <a:pt x="117" y="61"/>
                      <a:pt x="117" y="61"/>
                      <a:pt x="117" y="61"/>
                    </a:cubicBezTo>
                    <a:cubicBezTo>
                      <a:pt x="117" y="61"/>
                      <a:pt x="117" y="61"/>
                      <a:pt x="117" y="61"/>
                    </a:cubicBezTo>
                    <a:cubicBezTo>
                      <a:pt x="117" y="61"/>
                      <a:pt x="117" y="61"/>
                      <a:pt x="117" y="60"/>
                    </a:cubicBezTo>
                    <a:cubicBezTo>
                      <a:pt x="118" y="60"/>
                      <a:pt x="118" y="60"/>
                      <a:pt x="119" y="60"/>
                    </a:cubicBezTo>
                    <a:cubicBezTo>
                      <a:pt x="119" y="60"/>
                      <a:pt x="119" y="60"/>
                      <a:pt x="119" y="59"/>
                    </a:cubicBezTo>
                    <a:cubicBezTo>
                      <a:pt x="119" y="59"/>
                      <a:pt x="119" y="59"/>
                      <a:pt x="120" y="59"/>
                    </a:cubicBezTo>
                    <a:cubicBezTo>
                      <a:pt x="120" y="59"/>
                      <a:pt x="120" y="59"/>
                      <a:pt x="120" y="59"/>
                    </a:cubicBezTo>
                    <a:cubicBezTo>
                      <a:pt x="120" y="59"/>
                      <a:pt x="120" y="59"/>
                      <a:pt x="119" y="59"/>
                    </a:cubicBezTo>
                    <a:cubicBezTo>
                      <a:pt x="119" y="59"/>
                      <a:pt x="119" y="58"/>
                      <a:pt x="120" y="58"/>
                    </a:cubicBezTo>
                    <a:cubicBezTo>
                      <a:pt x="120" y="58"/>
                      <a:pt x="120" y="58"/>
                      <a:pt x="120" y="58"/>
                    </a:cubicBezTo>
                    <a:cubicBezTo>
                      <a:pt x="120" y="58"/>
                      <a:pt x="120" y="58"/>
                      <a:pt x="120" y="57"/>
                    </a:cubicBezTo>
                    <a:cubicBezTo>
                      <a:pt x="120" y="57"/>
                      <a:pt x="120" y="57"/>
                      <a:pt x="120" y="57"/>
                    </a:cubicBezTo>
                    <a:cubicBezTo>
                      <a:pt x="120" y="57"/>
                      <a:pt x="120" y="57"/>
                      <a:pt x="120" y="57"/>
                    </a:cubicBezTo>
                    <a:cubicBezTo>
                      <a:pt x="120" y="57"/>
                      <a:pt x="120" y="57"/>
                      <a:pt x="120" y="57"/>
                    </a:cubicBezTo>
                    <a:cubicBezTo>
                      <a:pt x="120" y="57"/>
                      <a:pt x="120" y="58"/>
                      <a:pt x="120" y="58"/>
                    </a:cubicBezTo>
                    <a:cubicBezTo>
                      <a:pt x="120" y="58"/>
                      <a:pt x="120" y="58"/>
                      <a:pt x="120" y="58"/>
                    </a:cubicBezTo>
                    <a:cubicBezTo>
                      <a:pt x="120" y="58"/>
                      <a:pt x="121" y="58"/>
                      <a:pt x="121" y="58"/>
                    </a:cubicBezTo>
                    <a:cubicBezTo>
                      <a:pt x="121" y="58"/>
                      <a:pt x="121" y="58"/>
                      <a:pt x="121" y="58"/>
                    </a:cubicBezTo>
                    <a:cubicBezTo>
                      <a:pt x="121" y="58"/>
                      <a:pt x="121" y="58"/>
                      <a:pt x="121" y="58"/>
                    </a:cubicBezTo>
                    <a:cubicBezTo>
                      <a:pt x="121" y="59"/>
                      <a:pt x="121" y="59"/>
                      <a:pt x="121" y="59"/>
                    </a:cubicBezTo>
                    <a:cubicBezTo>
                      <a:pt x="121"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60"/>
                    </a:cubicBezTo>
                    <a:cubicBezTo>
                      <a:pt x="122" y="60"/>
                      <a:pt x="122" y="60"/>
                      <a:pt x="122" y="60"/>
                    </a:cubicBezTo>
                    <a:cubicBezTo>
                      <a:pt x="122" y="60"/>
                      <a:pt x="122" y="60"/>
                      <a:pt x="123" y="59"/>
                    </a:cubicBezTo>
                    <a:cubicBezTo>
                      <a:pt x="123" y="59"/>
                      <a:pt x="123" y="59"/>
                      <a:pt x="123" y="59"/>
                    </a:cubicBezTo>
                    <a:cubicBezTo>
                      <a:pt x="123" y="59"/>
                      <a:pt x="123" y="59"/>
                      <a:pt x="123" y="59"/>
                    </a:cubicBezTo>
                    <a:cubicBezTo>
                      <a:pt x="123" y="59"/>
                      <a:pt x="123" y="59"/>
                      <a:pt x="123" y="59"/>
                    </a:cubicBezTo>
                    <a:cubicBezTo>
                      <a:pt x="124" y="59"/>
                      <a:pt x="124" y="59"/>
                      <a:pt x="124" y="59"/>
                    </a:cubicBezTo>
                    <a:cubicBezTo>
                      <a:pt x="124" y="59"/>
                      <a:pt x="124" y="59"/>
                      <a:pt x="124" y="59"/>
                    </a:cubicBezTo>
                    <a:cubicBezTo>
                      <a:pt x="124" y="59"/>
                      <a:pt x="124" y="59"/>
                      <a:pt x="124" y="60"/>
                    </a:cubicBezTo>
                    <a:cubicBezTo>
                      <a:pt x="124" y="60"/>
                      <a:pt x="124" y="60"/>
                      <a:pt x="124" y="60"/>
                    </a:cubicBezTo>
                    <a:cubicBezTo>
                      <a:pt x="124" y="60"/>
                      <a:pt x="124" y="60"/>
                      <a:pt x="124" y="60"/>
                    </a:cubicBezTo>
                    <a:cubicBezTo>
                      <a:pt x="124" y="60"/>
                      <a:pt x="124" y="61"/>
                      <a:pt x="124" y="61"/>
                    </a:cubicBezTo>
                    <a:cubicBezTo>
                      <a:pt x="124" y="61"/>
                      <a:pt x="124" y="61"/>
                      <a:pt x="124" y="61"/>
                    </a:cubicBezTo>
                    <a:cubicBezTo>
                      <a:pt x="125" y="61"/>
                      <a:pt x="125" y="61"/>
                      <a:pt x="125" y="61"/>
                    </a:cubicBezTo>
                    <a:cubicBezTo>
                      <a:pt x="125" y="61"/>
                      <a:pt x="126" y="60"/>
                      <a:pt x="126" y="60"/>
                    </a:cubicBezTo>
                    <a:cubicBezTo>
                      <a:pt x="126" y="60"/>
                      <a:pt x="126" y="60"/>
                      <a:pt x="127" y="60"/>
                    </a:cubicBezTo>
                    <a:cubicBezTo>
                      <a:pt x="127" y="60"/>
                      <a:pt x="127" y="60"/>
                      <a:pt x="127" y="59"/>
                    </a:cubicBezTo>
                    <a:cubicBezTo>
                      <a:pt x="127" y="59"/>
                      <a:pt x="127" y="59"/>
                      <a:pt x="127" y="59"/>
                    </a:cubicBezTo>
                    <a:cubicBezTo>
                      <a:pt x="127" y="59"/>
                      <a:pt x="127" y="58"/>
                      <a:pt x="127" y="58"/>
                    </a:cubicBezTo>
                    <a:cubicBezTo>
                      <a:pt x="127" y="58"/>
                      <a:pt x="127" y="59"/>
                      <a:pt x="127" y="59"/>
                    </a:cubicBezTo>
                    <a:cubicBezTo>
                      <a:pt x="127" y="59"/>
                      <a:pt x="127" y="59"/>
                      <a:pt x="127" y="59"/>
                    </a:cubicBezTo>
                    <a:cubicBezTo>
                      <a:pt x="127" y="59"/>
                      <a:pt x="127" y="59"/>
                      <a:pt x="127" y="59"/>
                    </a:cubicBezTo>
                    <a:cubicBezTo>
                      <a:pt x="127" y="60"/>
                      <a:pt x="127" y="60"/>
                      <a:pt x="127" y="60"/>
                    </a:cubicBezTo>
                    <a:cubicBezTo>
                      <a:pt x="127" y="60"/>
                      <a:pt x="127" y="60"/>
                      <a:pt x="128" y="60"/>
                    </a:cubicBezTo>
                    <a:cubicBezTo>
                      <a:pt x="128" y="60"/>
                      <a:pt x="128" y="60"/>
                      <a:pt x="128" y="60"/>
                    </a:cubicBezTo>
                    <a:cubicBezTo>
                      <a:pt x="128" y="60"/>
                      <a:pt x="128" y="60"/>
                      <a:pt x="128" y="60"/>
                    </a:cubicBezTo>
                    <a:cubicBezTo>
                      <a:pt x="128" y="60"/>
                      <a:pt x="128" y="59"/>
                      <a:pt x="129" y="59"/>
                    </a:cubicBezTo>
                    <a:cubicBezTo>
                      <a:pt x="129" y="59"/>
                      <a:pt x="128" y="60"/>
                      <a:pt x="128" y="60"/>
                    </a:cubicBezTo>
                    <a:cubicBezTo>
                      <a:pt x="128" y="60"/>
                      <a:pt x="128" y="60"/>
                      <a:pt x="128" y="60"/>
                    </a:cubicBezTo>
                    <a:cubicBezTo>
                      <a:pt x="128" y="60"/>
                      <a:pt x="128" y="60"/>
                      <a:pt x="128" y="60"/>
                    </a:cubicBezTo>
                    <a:cubicBezTo>
                      <a:pt x="128" y="60"/>
                      <a:pt x="128" y="60"/>
                      <a:pt x="129" y="60"/>
                    </a:cubicBezTo>
                    <a:cubicBezTo>
                      <a:pt x="129" y="60"/>
                      <a:pt x="129" y="60"/>
                      <a:pt x="129" y="60"/>
                    </a:cubicBezTo>
                    <a:cubicBezTo>
                      <a:pt x="129" y="60"/>
                      <a:pt x="129" y="60"/>
                      <a:pt x="129" y="60"/>
                    </a:cubicBezTo>
                    <a:cubicBezTo>
                      <a:pt x="129" y="60"/>
                      <a:pt x="129" y="61"/>
                      <a:pt x="129" y="61"/>
                    </a:cubicBezTo>
                    <a:cubicBezTo>
                      <a:pt x="129" y="61"/>
                      <a:pt x="130" y="61"/>
                      <a:pt x="130" y="61"/>
                    </a:cubicBezTo>
                    <a:cubicBezTo>
                      <a:pt x="130" y="61"/>
                      <a:pt x="130" y="61"/>
                      <a:pt x="130" y="60"/>
                    </a:cubicBezTo>
                    <a:cubicBezTo>
                      <a:pt x="130" y="60"/>
                      <a:pt x="130" y="60"/>
                      <a:pt x="130" y="60"/>
                    </a:cubicBezTo>
                    <a:cubicBezTo>
                      <a:pt x="130" y="60"/>
                      <a:pt x="130" y="60"/>
                      <a:pt x="130" y="60"/>
                    </a:cubicBezTo>
                    <a:cubicBezTo>
                      <a:pt x="130" y="60"/>
                      <a:pt x="130" y="59"/>
                      <a:pt x="130" y="59"/>
                    </a:cubicBezTo>
                    <a:cubicBezTo>
                      <a:pt x="130" y="59"/>
                      <a:pt x="130" y="59"/>
                      <a:pt x="130" y="59"/>
                    </a:cubicBezTo>
                    <a:cubicBezTo>
                      <a:pt x="130" y="59"/>
                      <a:pt x="130" y="59"/>
                      <a:pt x="130" y="60"/>
                    </a:cubicBezTo>
                    <a:cubicBezTo>
                      <a:pt x="130" y="60"/>
                      <a:pt x="130" y="60"/>
                      <a:pt x="130" y="60"/>
                    </a:cubicBezTo>
                    <a:cubicBezTo>
                      <a:pt x="130" y="60"/>
                      <a:pt x="130" y="60"/>
                      <a:pt x="130" y="61"/>
                    </a:cubicBezTo>
                    <a:cubicBezTo>
                      <a:pt x="130" y="61"/>
                      <a:pt x="130" y="61"/>
                      <a:pt x="130" y="61"/>
                    </a:cubicBezTo>
                    <a:cubicBezTo>
                      <a:pt x="130" y="61"/>
                      <a:pt x="130" y="61"/>
                      <a:pt x="131" y="61"/>
                    </a:cubicBezTo>
                    <a:cubicBezTo>
                      <a:pt x="131" y="62"/>
                      <a:pt x="131" y="62"/>
                      <a:pt x="131" y="62"/>
                    </a:cubicBezTo>
                    <a:cubicBezTo>
                      <a:pt x="131" y="62"/>
                      <a:pt x="131" y="63"/>
                      <a:pt x="131" y="63"/>
                    </a:cubicBezTo>
                    <a:cubicBezTo>
                      <a:pt x="131" y="63"/>
                      <a:pt x="131" y="63"/>
                      <a:pt x="131" y="64"/>
                    </a:cubicBezTo>
                    <a:cubicBezTo>
                      <a:pt x="131" y="64"/>
                      <a:pt x="131" y="64"/>
                      <a:pt x="131" y="64"/>
                    </a:cubicBezTo>
                    <a:cubicBezTo>
                      <a:pt x="131" y="65"/>
                      <a:pt x="131" y="65"/>
                      <a:pt x="131" y="65"/>
                    </a:cubicBezTo>
                    <a:cubicBezTo>
                      <a:pt x="131" y="65"/>
                      <a:pt x="131" y="65"/>
                      <a:pt x="131" y="65"/>
                    </a:cubicBezTo>
                    <a:cubicBezTo>
                      <a:pt x="131" y="65"/>
                      <a:pt x="131" y="65"/>
                      <a:pt x="131" y="65"/>
                    </a:cubicBezTo>
                    <a:cubicBezTo>
                      <a:pt x="131" y="65"/>
                      <a:pt x="131" y="65"/>
                      <a:pt x="132" y="65"/>
                    </a:cubicBezTo>
                    <a:cubicBezTo>
                      <a:pt x="132" y="65"/>
                      <a:pt x="132" y="65"/>
                      <a:pt x="132" y="65"/>
                    </a:cubicBezTo>
                    <a:cubicBezTo>
                      <a:pt x="132" y="64"/>
                      <a:pt x="133" y="64"/>
                      <a:pt x="133" y="64"/>
                    </a:cubicBezTo>
                    <a:cubicBezTo>
                      <a:pt x="133" y="64"/>
                      <a:pt x="133" y="64"/>
                      <a:pt x="133" y="64"/>
                    </a:cubicBezTo>
                    <a:cubicBezTo>
                      <a:pt x="134" y="64"/>
                      <a:pt x="134" y="64"/>
                      <a:pt x="135" y="63"/>
                    </a:cubicBezTo>
                    <a:cubicBezTo>
                      <a:pt x="135" y="63"/>
                      <a:pt x="135" y="63"/>
                      <a:pt x="135" y="63"/>
                    </a:cubicBezTo>
                    <a:cubicBezTo>
                      <a:pt x="135" y="63"/>
                      <a:pt x="136" y="63"/>
                      <a:pt x="136" y="63"/>
                    </a:cubicBezTo>
                    <a:cubicBezTo>
                      <a:pt x="136" y="63"/>
                      <a:pt x="136" y="63"/>
                      <a:pt x="137" y="62"/>
                    </a:cubicBezTo>
                    <a:cubicBezTo>
                      <a:pt x="137" y="62"/>
                      <a:pt x="138" y="62"/>
                      <a:pt x="138" y="62"/>
                    </a:cubicBezTo>
                    <a:cubicBezTo>
                      <a:pt x="138" y="62"/>
                      <a:pt x="139" y="61"/>
                      <a:pt x="139" y="61"/>
                    </a:cubicBezTo>
                    <a:cubicBezTo>
                      <a:pt x="139" y="61"/>
                      <a:pt x="139" y="61"/>
                      <a:pt x="140" y="61"/>
                    </a:cubicBezTo>
                    <a:cubicBezTo>
                      <a:pt x="140" y="61"/>
                      <a:pt x="140" y="61"/>
                      <a:pt x="140" y="61"/>
                    </a:cubicBezTo>
                    <a:cubicBezTo>
                      <a:pt x="140" y="61"/>
                      <a:pt x="140" y="61"/>
                      <a:pt x="140" y="60"/>
                    </a:cubicBezTo>
                    <a:cubicBezTo>
                      <a:pt x="140" y="60"/>
                      <a:pt x="140" y="60"/>
                      <a:pt x="140" y="60"/>
                    </a:cubicBezTo>
                    <a:cubicBezTo>
                      <a:pt x="140" y="60"/>
                      <a:pt x="140" y="59"/>
                      <a:pt x="140" y="59"/>
                    </a:cubicBezTo>
                    <a:cubicBezTo>
                      <a:pt x="140" y="59"/>
                      <a:pt x="141" y="59"/>
                      <a:pt x="141" y="59"/>
                    </a:cubicBezTo>
                    <a:cubicBezTo>
                      <a:pt x="141" y="59"/>
                      <a:pt x="141" y="59"/>
                      <a:pt x="141" y="59"/>
                    </a:cubicBezTo>
                    <a:cubicBezTo>
                      <a:pt x="141" y="58"/>
                      <a:pt x="141" y="58"/>
                      <a:pt x="141" y="58"/>
                    </a:cubicBezTo>
                    <a:cubicBezTo>
                      <a:pt x="141" y="58"/>
                      <a:pt x="141" y="58"/>
                      <a:pt x="141" y="58"/>
                    </a:cubicBezTo>
                    <a:cubicBezTo>
                      <a:pt x="141" y="58"/>
                      <a:pt x="141" y="58"/>
                      <a:pt x="141" y="58"/>
                    </a:cubicBezTo>
                    <a:cubicBezTo>
                      <a:pt x="140" y="58"/>
                      <a:pt x="140" y="58"/>
                      <a:pt x="140" y="58"/>
                    </a:cubicBezTo>
                    <a:cubicBezTo>
                      <a:pt x="140" y="58"/>
                      <a:pt x="141" y="58"/>
                      <a:pt x="141" y="58"/>
                    </a:cubicBezTo>
                    <a:cubicBezTo>
                      <a:pt x="141" y="58"/>
                      <a:pt x="141" y="58"/>
                      <a:pt x="141" y="58"/>
                    </a:cubicBezTo>
                    <a:cubicBezTo>
                      <a:pt x="141" y="58"/>
                      <a:pt x="141" y="58"/>
                      <a:pt x="142" y="58"/>
                    </a:cubicBezTo>
                    <a:cubicBezTo>
                      <a:pt x="142" y="58"/>
                      <a:pt x="141" y="58"/>
                      <a:pt x="141" y="58"/>
                    </a:cubicBezTo>
                    <a:cubicBezTo>
                      <a:pt x="141" y="58"/>
                      <a:pt x="141" y="58"/>
                      <a:pt x="141" y="57"/>
                    </a:cubicBezTo>
                    <a:cubicBezTo>
                      <a:pt x="141" y="57"/>
                      <a:pt x="141" y="57"/>
                      <a:pt x="141" y="57"/>
                    </a:cubicBezTo>
                    <a:cubicBezTo>
                      <a:pt x="141" y="57"/>
                      <a:pt x="141" y="57"/>
                      <a:pt x="141" y="57"/>
                    </a:cubicBezTo>
                    <a:cubicBezTo>
                      <a:pt x="141" y="57"/>
                      <a:pt x="141" y="57"/>
                      <a:pt x="141" y="57"/>
                    </a:cubicBezTo>
                    <a:cubicBezTo>
                      <a:pt x="141" y="57"/>
                      <a:pt x="141" y="57"/>
                      <a:pt x="141" y="57"/>
                    </a:cubicBezTo>
                    <a:cubicBezTo>
                      <a:pt x="141" y="57"/>
                      <a:pt x="140" y="57"/>
                      <a:pt x="140" y="57"/>
                    </a:cubicBezTo>
                    <a:cubicBezTo>
                      <a:pt x="140" y="57"/>
                      <a:pt x="141" y="57"/>
                      <a:pt x="140" y="57"/>
                    </a:cubicBezTo>
                    <a:cubicBezTo>
                      <a:pt x="140" y="57"/>
                      <a:pt x="140" y="56"/>
                      <a:pt x="141" y="56"/>
                    </a:cubicBezTo>
                    <a:cubicBezTo>
                      <a:pt x="141" y="56"/>
                      <a:pt x="140" y="56"/>
                      <a:pt x="141" y="56"/>
                    </a:cubicBezTo>
                    <a:cubicBezTo>
                      <a:pt x="141" y="56"/>
                      <a:pt x="141" y="56"/>
                      <a:pt x="141" y="56"/>
                    </a:cubicBezTo>
                    <a:cubicBezTo>
                      <a:pt x="141" y="56"/>
                      <a:pt x="141" y="56"/>
                      <a:pt x="141" y="57"/>
                    </a:cubicBezTo>
                    <a:cubicBezTo>
                      <a:pt x="141" y="57"/>
                      <a:pt x="141" y="57"/>
                      <a:pt x="141" y="57"/>
                    </a:cubicBezTo>
                    <a:cubicBezTo>
                      <a:pt x="141" y="57"/>
                      <a:pt x="141" y="57"/>
                      <a:pt x="141" y="56"/>
                    </a:cubicBezTo>
                    <a:cubicBezTo>
                      <a:pt x="141" y="57"/>
                      <a:pt x="141" y="57"/>
                      <a:pt x="141" y="57"/>
                    </a:cubicBezTo>
                    <a:cubicBezTo>
                      <a:pt x="141" y="57"/>
                      <a:pt x="141" y="57"/>
                      <a:pt x="142" y="57"/>
                    </a:cubicBezTo>
                    <a:cubicBezTo>
                      <a:pt x="142" y="57"/>
                      <a:pt x="142" y="56"/>
                      <a:pt x="142" y="56"/>
                    </a:cubicBezTo>
                    <a:cubicBezTo>
                      <a:pt x="142" y="56"/>
                      <a:pt x="142" y="56"/>
                      <a:pt x="142" y="56"/>
                    </a:cubicBezTo>
                    <a:cubicBezTo>
                      <a:pt x="142" y="56"/>
                      <a:pt x="142" y="56"/>
                      <a:pt x="142" y="55"/>
                    </a:cubicBezTo>
                    <a:cubicBezTo>
                      <a:pt x="142" y="55"/>
                      <a:pt x="142" y="55"/>
                      <a:pt x="142" y="55"/>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3" y="53"/>
                      <a:pt x="143" y="52"/>
                      <a:pt x="143" y="52"/>
                    </a:cubicBezTo>
                    <a:cubicBezTo>
                      <a:pt x="143" y="52"/>
                      <a:pt x="143" y="52"/>
                      <a:pt x="143" y="52"/>
                    </a:cubicBezTo>
                    <a:cubicBezTo>
                      <a:pt x="143" y="52"/>
                      <a:pt x="143" y="52"/>
                      <a:pt x="143" y="52"/>
                    </a:cubicBezTo>
                    <a:cubicBezTo>
                      <a:pt x="143" y="52"/>
                      <a:pt x="143" y="52"/>
                      <a:pt x="143" y="52"/>
                    </a:cubicBezTo>
                    <a:cubicBezTo>
                      <a:pt x="143" y="51"/>
                      <a:pt x="144" y="51"/>
                      <a:pt x="143" y="51"/>
                    </a:cubicBezTo>
                    <a:cubicBezTo>
                      <a:pt x="143" y="51"/>
                      <a:pt x="143" y="51"/>
                      <a:pt x="143" y="51"/>
                    </a:cubicBezTo>
                    <a:cubicBezTo>
                      <a:pt x="143" y="52"/>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0"/>
                      <a:pt x="143" y="50"/>
                      <a:pt x="143" y="50"/>
                    </a:cubicBezTo>
                    <a:cubicBezTo>
                      <a:pt x="143" y="50"/>
                      <a:pt x="143" y="50"/>
                      <a:pt x="143" y="50"/>
                    </a:cubicBezTo>
                    <a:cubicBezTo>
                      <a:pt x="143" y="50"/>
                      <a:pt x="143" y="50"/>
                      <a:pt x="143" y="50"/>
                    </a:cubicBezTo>
                    <a:cubicBezTo>
                      <a:pt x="142" y="50"/>
                      <a:pt x="142" y="50"/>
                      <a:pt x="142" y="50"/>
                    </a:cubicBezTo>
                    <a:cubicBezTo>
                      <a:pt x="142" y="50"/>
                      <a:pt x="142" y="50"/>
                      <a:pt x="142" y="50"/>
                    </a:cubicBezTo>
                    <a:cubicBezTo>
                      <a:pt x="142" y="49"/>
                      <a:pt x="142" y="49"/>
                      <a:pt x="142" y="49"/>
                    </a:cubicBezTo>
                    <a:cubicBezTo>
                      <a:pt x="142" y="50"/>
                      <a:pt x="142" y="50"/>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8"/>
                    </a:cubicBezTo>
                    <a:cubicBezTo>
                      <a:pt x="141" y="48"/>
                      <a:pt x="142" y="48"/>
                      <a:pt x="142" y="48"/>
                    </a:cubicBezTo>
                    <a:cubicBezTo>
                      <a:pt x="142" y="48"/>
                      <a:pt x="142" y="48"/>
                      <a:pt x="142" y="48"/>
                    </a:cubicBezTo>
                    <a:cubicBezTo>
                      <a:pt x="142" y="48"/>
                      <a:pt x="142" y="48"/>
                      <a:pt x="142" y="48"/>
                    </a:cubicBezTo>
                    <a:cubicBezTo>
                      <a:pt x="142" y="48"/>
                      <a:pt x="142" y="48"/>
                      <a:pt x="142" y="48"/>
                    </a:cubicBezTo>
                    <a:cubicBezTo>
                      <a:pt x="142" y="48"/>
                      <a:pt x="142" y="48"/>
                      <a:pt x="142" y="48"/>
                    </a:cubicBezTo>
                    <a:cubicBezTo>
                      <a:pt x="142" y="48"/>
                      <a:pt x="142" y="48"/>
                      <a:pt x="143" y="48"/>
                    </a:cubicBezTo>
                    <a:cubicBezTo>
                      <a:pt x="143" y="48"/>
                      <a:pt x="143" y="48"/>
                      <a:pt x="143" y="48"/>
                    </a:cubicBezTo>
                    <a:cubicBezTo>
                      <a:pt x="143" y="48"/>
                      <a:pt x="143" y="48"/>
                      <a:pt x="143" y="48"/>
                    </a:cubicBezTo>
                    <a:cubicBezTo>
                      <a:pt x="143" y="47"/>
                      <a:pt x="143" y="47"/>
                      <a:pt x="143" y="47"/>
                    </a:cubicBezTo>
                    <a:cubicBezTo>
                      <a:pt x="143" y="47"/>
                      <a:pt x="143" y="47"/>
                      <a:pt x="143" y="47"/>
                    </a:cubicBezTo>
                    <a:cubicBezTo>
                      <a:pt x="143" y="47"/>
                      <a:pt x="143" y="47"/>
                      <a:pt x="143" y="46"/>
                    </a:cubicBezTo>
                    <a:cubicBezTo>
                      <a:pt x="143" y="46"/>
                      <a:pt x="143" y="46"/>
                      <a:pt x="144" y="46"/>
                    </a:cubicBezTo>
                    <a:cubicBezTo>
                      <a:pt x="144" y="46"/>
                      <a:pt x="144" y="46"/>
                      <a:pt x="144" y="46"/>
                    </a:cubicBezTo>
                    <a:cubicBezTo>
                      <a:pt x="144" y="46"/>
                      <a:pt x="144" y="46"/>
                      <a:pt x="144" y="46"/>
                    </a:cubicBezTo>
                    <a:cubicBezTo>
                      <a:pt x="144" y="46"/>
                      <a:pt x="144" y="46"/>
                      <a:pt x="144" y="46"/>
                    </a:cubicBezTo>
                    <a:cubicBezTo>
                      <a:pt x="144" y="46"/>
                      <a:pt x="144" y="46"/>
                      <a:pt x="144" y="45"/>
                    </a:cubicBezTo>
                    <a:cubicBezTo>
                      <a:pt x="144" y="45"/>
                      <a:pt x="144" y="45"/>
                      <a:pt x="144" y="45"/>
                    </a:cubicBezTo>
                    <a:cubicBezTo>
                      <a:pt x="145"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6" y="45"/>
                    </a:cubicBezTo>
                    <a:cubicBezTo>
                      <a:pt x="146" y="45"/>
                      <a:pt x="146" y="45"/>
                      <a:pt x="146" y="45"/>
                    </a:cubicBezTo>
                    <a:cubicBezTo>
                      <a:pt x="146" y="45"/>
                      <a:pt x="146" y="45"/>
                      <a:pt x="146" y="45"/>
                    </a:cubicBezTo>
                    <a:cubicBezTo>
                      <a:pt x="146" y="44"/>
                      <a:pt x="146" y="44"/>
                      <a:pt x="146" y="44"/>
                    </a:cubicBezTo>
                    <a:cubicBezTo>
                      <a:pt x="146" y="44"/>
                      <a:pt x="146" y="44"/>
                      <a:pt x="146" y="44"/>
                    </a:cubicBezTo>
                    <a:cubicBezTo>
                      <a:pt x="146" y="44"/>
                      <a:pt x="146" y="44"/>
                      <a:pt x="146" y="44"/>
                    </a:cubicBezTo>
                    <a:cubicBezTo>
                      <a:pt x="147" y="44"/>
                      <a:pt x="147" y="44"/>
                      <a:pt x="147" y="44"/>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2"/>
                      <a:pt x="147" y="42"/>
                      <a:pt x="148" y="42"/>
                    </a:cubicBezTo>
                    <a:cubicBezTo>
                      <a:pt x="148" y="42"/>
                      <a:pt x="148" y="42"/>
                      <a:pt x="148" y="42"/>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3"/>
                      <a:pt x="148" y="43"/>
                    </a:cubicBezTo>
                    <a:cubicBezTo>
                      <a:pt x="148" y="43"/>
                      <a:pt x="148" y="43"/>
                      <a:pt x="148" y="43"/>
                    </a:cubicBezTo>
                    <a:cubicBezTo>
                      <a:pt x="148" y="43"/>
                      <a:pt x="148" y="43"/>
                      <a:pt x="148" y="43"/>
                    </a:cubicBezTo>
                    <a:cubicBezTo>
                      <a:pt x="148" y="43"/>
                      <a:pt x="148" y="43"/>
                      <a:pt x="148" y="43"/>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9" y="42"/>
                      <a:pt x="149" y="42"/>
                      <a:pt x="149" y="43"/>
                    </a:cubicBezTo>
                    <a:cubicBezTo>
                      <a:pt x="149" y="43"/>
                      <a:pt x="149" y="43"/>
                      <a:pt x="149" y="43"/>
                    </a:cubicBezTo>
                    <a:cubicBezTo>
                      <a:pt x="149" y="42"/>
                      <a:pt x="149" y="42"/>
                      <a:pt x="149" y="42"/>
                    </a:cubicBezTo>
                    <a:cubicBezTo>
                      <a:pt x="149" y="42"/>
                      <a:pt x="148" y="42"/>
                      <a:pt x="148"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1"/>
                      <a:pt x="150" y="41"/>
                      <a:pt x="149" y="41"/>
                    </a:cubicBezTo>
                    <a:cubicBezTo>
                      <a:pt x="149" y="41"/>
                      <a:pt x="149" y="41"/>
                      <a:pt x="149" y="42"/>
                    </a:cubicBezTo>
                    <a:cubicBezTo>
                      <a:pt x="149" y="42"/>
                      <a:pt x="149" y="42"/>
                      <a:pt x="149" y="42"/>
                    </a:cubicBezTo>
                    <a:cubicBezTo>
                      <a:pt x="149" y="42"/>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50" y="41"/>
                      <a:pt x="150" y="41"/>
                      <a:pt x="150" y="40"/>
                    </a:cubicBezTo>
                    <a:cubicBezTo>
                      <a:pt x="150" y="40"/>
                      <a:pt x="150" y="40"/>
                      <a:pt x="150" y="40"/>
                    </a:cubicBezTo>
                    <a:cubicBezTo>
                      <a:pt x="150" y="40"/>
                      <a:pt x="150" y="40"/>
                      <a:pt x="150" y="40"/>
                    </a:cubicBezTo>
                    <a:cubicBezTo>
                      <a:pt x="149" y="40"/>
                      <a:pt x="149" y="40"/>
                      <a:pt x="149" y="40"/>
                    </a:cubicBezTo>
                    <a:cubicBezTo>
                      <a:pt x="149" y="40"/>
                      <a:pt x="150" y="40"/>
                      <a:pt x="150" y="40"/>
                    </a:cubicBezTo>
                    <a:cubicBezTo>
                      <a:pt x="150" y="40"/>
                      <a:pt x="150" y="40"/>
                      <a:pt x="150" y="40"/>
                    </a:cubicBezTo>
                    <a:cubicBezTo>
                      <a:pt x="150" y="40"/>
                      <a:pt x="150" y="40"/>
                      <a:pt x="150" y="40"/>
                    </a:cubicBezTo>
                    <a:cubicBezTo>
                      <a:pt x="150" y="39"/>
                      <a:pt x="150" y="39"/>
                      <a:pt x="150" y="39"/>
                    </a:cubicBezTo>
                    <a:cubicBezTo>
                      <a:pt x="150" y="39"/>
                      <a:pt x="150" y="39"/>
                      <a:pt x="150" y="39"/>
                    </a:cubicBezTo>
                    <a:cubicBezTo>
                      <a:pt x="150" y="39"/>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8"/>
                      <a:pt x="148" y="38"/>
                      <a:pt x="149" y="38"/>
                    </a:cubicBezTo>
                    <a:cubicBezTo>
                      <a:pt x="149" y="38"/>
                      <a:pt x="149" y="38"/>
                      <a:pt x="149" y="38"/>
                    </a:cubicBezTo>
                    <a:cubicBezTo>
                      <a:pt x="149" y="38"/>
                      <a:pt x="149" y="38"/>
                      <a:pt x="149" y="38"/>
                    </a:cubicBezTo>
                    <a:cubicBezTo>
                      <a:pt x="149" y="38"/>
                      <a:pt x="149" y="37"/>
                      <a:pt x="149" y="37"/>
                    </a:cubicBezTo>
                    <a:cubicBezTo>
                      <a:pt x="149" y="37"/>
                      <a:pt x="149" y="37"/>
                      <a:pt x="149" y="37"/>
                    </a:cubicBezTo>
                    <a:cubicBezTo>
                      <a:pt x="149" y="37"/>
                      <a:pt x="149" y="37"/>
                      <a:pt x="149" y="37"/>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5"/>
                      <a:pt x="149" y="35"/>
                      <a:pt x="149" y="35"/>
                    </a:cubicBezTo>
                    <a:cubicBezTo>
                      <a:pt x="149" y="35"/>
                      <a:pt x="149" y="35"/>
                      <a:pt x="149" y="35"/>
                    </a:cubicBezTo>
                    <a:cubicBezTo>
                      <a:pt x="149" y="35"/>
                      <a:pt x="149" y="35"/>
                      <a:pt x="149" y="34"/>
                    </a:cubicBezTo>
                    <a:cubicBezTo>
                      <a:pt x="149" y="34"/>
                      <a:pt x="149" y="34"/>
                      <a:pt x="149" y="34"/>
                    </a:cubicBezTo>
                    <a:cubicBezTo>
                      <a:pt x="149" y="34"/>
                      <a:pt x="149" y="34"/>
                      <a:pt x="149" y="34"/>
                    </a:cubicBezTo>
                    <a:cubicBezTo>
                      <a:pt x="149" y="34"/>
                      <a:pt x="149" y="34"/>
                      <a:pt x="149" y="34"/>
                    </a:cubicBezTo>
                    <a:cubicBezTo>
                      <a:pt x="150" y="34"/>
                      <a:pt x="150" y="34"/>
                      <a:pt x="149" y="34"/>
                    </a:cubicBezTo>
                    <a:cubicBezTo>
                      <a:pt x="149" y="33"/>
                      <a:pt x="150" y="33"/>
                      <a:pt x="150" y="33"/>
                    </a:cubicBezTo>
                    <a:cubicBezTo>
                      <a:pt x="150" y="33"/>
                      <a:pt x="150" y="33"/>
                      <a:pt x="150" y="33"/>
                    </a:cubicBezTo>
                    <a:cubicBezTo>
                      <a:pt x="150" y="33"/>
                      <a:pt x="150" y="33"/>
                      <a:pt x="150" y="33"/>
                    </a:cubicBezTo>
                    <a:cubicBezTo>
                      <a:pt x="150" y="33"/>
                      <a:pt x="150" y="33"/>
                      <a:pt x="150" y="33"/>
                    </a:cubicBezTo>
                    <a:cubicBezTo>
                      <a:pt x="150" y="32"/>
                      <a:pt x="150" y="32"/>
                      <a:pt x="150" y="32"/>
                    </a:cubicBezTo>
                    <a:cubicBezTo>
                      <a:pt x="150" y="32"/>
                      <a:pt x="150" y="32"/>
                      <a:pt x="150" y="32"/>
                    </a:cubicBezTo>
                    <a:cubicBezTo>
                      <a:pt x="150" y="32"/>
                      <a:pt x="151" y="31"/>
                      <a:pt x="151" y="31"/>
                    </a:cubicBezTo>
                    <a:cubicBezTo>
                      <a:pt x="151" y="31"/>
                      <a:pt x="151" y="31"/>
                      <a:pt x="151" y="31"/>
                    </a:cubicBezTo>
                    <a:cubicBezTo>
                      <a:pt x="151" y="31"/>
                      <a:pt x="151" y="31"/>
                      <a:pt x="151" y="31"/>
                    </a:cubicBezTo>
                    <a:cubicBezTo>
                      <a:pt x="151" y="31"/>
                      <a:pt x="151" y="31"/>
                      <a:pt x="151" y="31"/>
                    </a:cubicBezTo>
                    <a:cubicBezTo>
                      <a:pt x="151" y="31"/>
                      <a:pt x="151" y="31"/>
                      <a:pt x="151" y="31"/>
                    </a:cubicBezTo>
                    <a:cubicBezTo>
                      <a:pt x="151" y="31"/>
                      <a:pt x="151" y="31"/>
                      <a:pt x="152" y="31"/>
                    </a:cubicBezTo>
                    <a:cubicBezTo>
                      <a:pt x="152" y="31"/>
                      <a:pt x="152" y="31"/>
                      <a:pt x="152" y="31"/>
                    </a:cubicBezTo>
                    <a:cubicBezTo>
                      <a:pt x="152" y="31"/>
                      <a:pt x="152" y="31"/>
                      <a:pt x="152" y="31"/>
                    </a:cubicBezTo>
                    <a:cubicBezTo>
                      <a:pt x="152" y="31"/>
                      <a:pt x="152" y="32"/>
                      <a:pt x="152" y="31"/>
                    </a:cubicBezTo>
                    <a:cubicBezTo>
                      <a:pt x="152" y="31"/>
                      <a:pt x="152" y="31"/>
                      <a:pt x="152" y="31"/>
                    </a:cubicBezTo>
                    <a:cubicBezTo>
                      <a:pt x="152" y="31"/>
                      <a:pt x="152" y="31"/>
                      <a:pt x="152" y="31"/>
                    </a:cubicBezTo>
                    <a:cubicBezTo>
                      <a:pt x="152" y="31"/>
                      <a:pt x="152" y="31"/>
                      <a:pt x="152" y="31"/>
                    </a:cubicBezTo>
                    <a:cubicBezTo>
                      <a:pt x="152" y="31"/>
                      <a:pt x="152" y="31"/>
                      <a:pt x="152" y="30"/>
                    </a:cubicBezTo>
                    <a:cubicBezTo>
                      <a:pt x="152" y="30"/>
                      <a:pt x="152" y="30"/>
                      <a:pt x="152" y="30"/>
                    </a:cubicBezTo>
                    <a:cubicBezTo>
                      <a:pt x="152" y="30"/>
                      <a:pt x="152" y="30"/>
                      <a:pt x="152" y="30"/>
                    </a:cubicBezTo>
                    <a:cubicBezTo>
                      <a:pt x="152" y="30"/>
                      <a:pt x="152" y="30"/>
                      <a:pt x="151" y="29"/>
                    </a:cubicBezTo>
                    <a:cubicBezTo>
                      <a:pt x="151" y="29"/>
                      <a:pt x="151" y="29"/>
                      <a:pt x="151" y="29"/>
                    </a:cubicBezTo>
                    <a:cubicBezTo>
                      <a:pt x="151" y="29"/>
                      <a:pt x="151" y="29"/>
                      <a:pt x="152" y="29"/>
                    </a:cubicBezTo>
                    <a:cubicBezTo>
                      <a:pt x="152" y="29"/>
                      <a:pt x="152" y="29"/>
                      <a:pt x="152" y="29"/>
                    </a:cubicBezTo>
                    <a:cubicBezTo>
                      <a:pt x="152" y="29"/>
                      <a:pt x="152" y="29"/>
                      <a:pt x="152" y="29"/>
                    </a:cubicBezTo>
                    <a:cubicBezTo>
                      <a:pt x="152" y="30"/>
                      <a:pt x="152" y="30"/>
                      <a:pt x="152" y="30"/>
                    </a:cubicBezTo>
                    <a:cubicBezTo>
                      <a:pt x="152" y="30"/>
                      <a:pt x="152" y="30"/>
                      <a:pt x="152" y="30"/>
                    </a:cubicBezTo>
                    <a:cubicBezTo>
                      <a:pt x="152" y="30"/>
                      <a:pt x="152" y="31"/>
                      <a:pt x="153" y="31"/>
                    </a:cubicBezTo>
                    <a:cubicBezTo>
                      <a:pt x="153" y="31"/>
                      <a:pt x="153" y="31"/>
                      <a:pt x="153" y="31"/>
                    </a:cubicBezTo>
                    <a:cubicBezTo>
                      <a:pt x="153" y="31"/>
                      <a:pt x="153" y="31"/>
                      <a:pt x="153" y="31"/>
                    </a:cubicBezTo>
                    <a:cubicBezTo>
                      <a:pt x="153" y="31"/>
                      <a:pt x="154" y="31"/>
                      <a:pt x="154" y="31"/>
                    </a:cubicBezTo>
                    <a:cubicBezTo>
                      <a:pt x="154" y="31"/>
                      <a:pt x="154" y="31"/>
                      <a:pt x="154" y="31"/>
                    </a:cubicBezTo>
                    <a:cubicBezTo>
                      <a:pt x="154" y="31"/>
                      <a:pt x="154" y="31"/>
                      <a:pt x="154" y="31"/>
                    </a:cubicBezTo>
                    <a:cubicBezTo>
                      <a:pt x="154" y="31"/>
                      <a:pt x="154" y="31"/>
                      <a:pt x="154" y="31"/>
                    </a:cubicBezTo>
                    <a:cubicBezTo>
                      <a:pt x="154" y="31"/>
                      <a:pt x="155" y="31"/>
                      <a:pt x="155" y="31"/>
                    </a:cubicBezTo>
                    <a:cubicBezTo>
                      <a:pt x="155" y="31"/>
                      <a:pt x="155" y="31"/>
                      <a:pt x="155" y="31"/>
                    </a:cubicBezTo>
                    <a:cubicBezTo>
                      <a:pt x="155" y="31"/>
                      <a:pt x="155" y="31"/>
                      <a:pt x="155" y="31"/>
                    </a:cubicBezTo>
                    <a:cubicBezTo>
                      <a:pt x="155" y="31"/>
                      <a:pt x="155" y="31"/>
                      <a:pt x="155" y="31"/>
                    </a:cubicBezTo>
                    <a:cubicBezTo>
                      <a:pt x="156" y="31"/>
                      <a:pt x="156" y="31"/>
                      <a:pt x="156" y="31"/>
                    </a:cubicBezTo>
                    <a:cubicBezTo>
                      <a:pt x="156" y="31"/>
                      <a:pt x="156" y="31"/>
                      <a:pt x="156" y="31"/>
                    </a:cubicBezTo>
                    <a:cubicBezTo>
                      <a:pt x="156" y="31"/>
                      <a:pt x="156" y="31"/>
                      <a:pt x="156" y="31"/>
                    </a:cubicBezTo>
                    <a:cubicBezTo>
                      <a:pt x="156" y="31"/>
                      <a:pt x="156" y="31"/>
                      <a:pt x="156" y="31"/>
                    </a:cubicBezTo>
                    <a:cubicBezTo>
                      <a:pt x="157" y="31"/>
                      <a:pt x="157" y="31"/>
                      <a:pt x="157" y="31"/>
                    </a:cubicBezTo>
                    <a:cubicBezTo>
                      <a:pt x="157" y="31"/>
                      <a:pt x="157" y="31"/>
                      <a:pt x="157" y="31"/>
                    </a:cubicBezTo>
                    <a:cubicBezTo>
                      <a:pt x="157" y="31"/>
                      <a:pt x="157" y="31"/>
                      <a:pt x="157" y="31"/>
                    </a:cubicBezTo>
                    <a:cubicBezTo>
                      <a:pt x="158" y="31"/>
                      <a:pt x="158" y="31"/>
                      <a:pt x="158" y="31"/>
                    </a:cubicBezTo>
                    <a:cubicBezTo>
                      <a:pt x="158" y="31"/>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9" y="30"/>
                      <a:pt x="159" y="30"/>
                    </a:cubicBezTo>
                    <a:cubicBezTo>
                      <a:pt x="159" y="30"/>
                      <a:pt x="159" y="30"/>
                      <a:pt x="159" y="30"/>
                    </a:cubicBezTo>
                    <a:cubicBezTo>
                      <a:pt x="159" y="29"/>
                      <a:pt x="159"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8"/>
                    </a:cubicBezTo>
                    <a:cubicBezTo>
                      <a:pt x="157" y="28"/>
                      <a:pt x="157" y="28"/>
                      <a:pt x="157" y="28"/>
                    </a:cubicBezTo>
                    <a:cubicBezTo>
                      <a:pt x="157" y="28"/>
                      <a:pt x="157" y="28"/>
                      <a:pt x="157" y="28"/>
                    </a:cubicBezTo>
                    <a:cubicBezTo>
                      <a:pt x="156" y="28"/>
                      <a:pt x="156" y="28"/>
                      <a:pt x="156" y="28"/>
                    </a:cubicBezTo>
                    <a:cubicBezTo>
                      <a:pt x="156" y="27"/>
                      <a:pt x="156" y="27"/>
                      <a:pt x="156" y="27"/>
                    </a:cubicBezTo>
                    <a:cubicBezTo>
                      <a:pt x="156" y="27"/>
                      <a:pt x="155" y="27"/>
                      <a:pt x="155" y="27"/>
                    </a:cubicBezTo>
                    <a:cubicBezTo>
                      <a:pt x="155" y="27"/>
                      <a:pt x="155" y="27"/>
                      <a:pt x="155" y="27"/>
                    </a:cubicBezTo>
                    <a:cubicBezTo>
                      <a:pt x="155" y="27"/>
                      <a:pt x="155" y="27"/>
                      <a:pt x="155" y="27"/>
                    </a:cubicBezTo>
                    <a:cubicBezTo>
                      <a:pt x="155" y="27"/>
                      <a:pt x="155" y="27"/>
                      <a:pt x="155" y="27"/>
                    </a:cubicBezTo>
                    <a:cubicBezTo>
                      <a:pt x="155" y="27"/>
                      <a:pt x="154" y="27"/>
                      <a:pt x="154" y="27"/>
                    </a:cubicBezTo>
                    <a:cubicBezTo>
                      <a:pt x="154" y="27"/>
                      <a:pt x="155" y="27"/>
                      <a:pt x="155" y="27"/>
                    </a:cubicBezTo>
                    <a:cubicBezTo>
                      <a:pt x="155" y="27"/>
                      <a:pt x="155" y="27"/>
                      <a:pt x="155" y="27"/>
                    </a:cubicBezTo>
                    <a:cubicBezTo>
                      <a:pt x="155" y="26"/>
                      <a:pt x="154" y="26"/>
                      <a:pt x="154" y="26"/>
                    </a:cubicBezTo>
                    <a:cubicBezTo>
                      <a:pt x="154" y="26"/>
                      <a:pt x="154" y="26"/>
                      <a:pt x="154" y="26"/>
                    </a:cubicBezTo>
                    <a:cubicBezTo>
                      <a:pt x="154" y="26"/>
                      <a:pt x="154" y="26"/>
                      <a:pt x="154" y="26"/>
                    </a:cubicBezTo>
                    <a:cubicBezTo>
                      <a:pt x="154" y="26"/>
                      <a:pt x="153" y="26"/>
                      <a:pt x="153" y="26"/>
                    </a:cubicBezTo>
                    <a:cubicBezTo>
                      <a:pt x="153" y="26"/>
                      <a:pt x="153" y="26"/>
                      <a:pt x="153" y="26"/>
                    </a:cubicBezTo>
                    <a:cubicBezTo>
                      <a:pt x="153" y="26"/>
                      <a:pt x="153" y="26"/>
                      <a:pt x="153" y="26"/>
                    </a:cubicBezTo>
                    <a:cubicBezTo>
                      <a:pt x="153" y="26"/>
                      <a:pt x="153" y="26"/>
                      <a:pt x="153" y="26"/>
                    </a:cubicBezTo>
                    <a:cubicBezTo>
                      <a:pt x="153" y="26"/>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1" y="25"/>
                      <a:pt x="151" y="25"/>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3"/>
                      <a:pt x="151" y="23"/>
                      <a:pt x="151" y="23"/>
                    </a:cubicBezTo>
                    <a:cubicBezTo>
                      <a:pt x="151" y="23"/>
                      <a:pt x="151"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0" y="23"/>
                      <a:pt x="150" y="23"/>
                    </a:cubicBezTo>
                    <a:cubicBezTo>
                      <a:pt x="150" y="22"/>
                      <a:pt x="150" y="22"/>
                      <a:pt x="150" y="22"/>
                    </a:cubicBezTo>
                    <a:cubicBezTo>
                      <a:pt x="150" y="22"/>
                      <a:pt x="150" y="22"/>
                      <a:pt x="150" y="22"/>
                    </a:cubicBezTo>
                    <a:cubicBezTo>
                      <a:pt x="150" y="22"/>
                      <a:pt x="150" y="22"/>
                      <a:pt x="150" y="22"/>
                    </a:cubicBezTo>
                    <a:cubicBezTo>
                      <a:pt x="150" y="22"/>
                      <a:pt x="150" y="22"/>
                      <a:pt x="150" y="22"/>
                    </a:cubicBezTo>
                    <a:cubicBezTo>
                      <a:pt x="151" y="22"/>
                      <a:pt x="151" y="23"/>
                      <a:pt x="151" y="23"/>
                    </a:cubicBezTo>
                    <a:cubicBezTo>
                      <a:pt x="151" y="23"/>
                      <a:pt x="151" y="23"/>
                      <a:pt x="151" y="23"/>
                    </a:cubicBezTo>
                    <a:cubicBezTo>
                      <a:pt x="151" y="23"/>
                      <a:pt x="151" y="23"/>
                      <a:pt x="151" y="23"/>
                    </a:cubicBezTo>
                    <a:cubicBezTo>
                      <a:pt x="151" y="23"/>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2" y="22"/>
                    </a:cubicBezTo>
                    <a:cubicBezTo>
                      <a:pt x="152" y="22"/>
                      <a:pt x="152" y="22"/>
                      <a:pt x="152" y="22"/>
                    </a:cubicBezTo>
                    <a:cubicBezTo>
                      <a:pt x="152" y="22"/>
                      <a:pt x="152" y="22"/>
                      <a:pt x="152" y="22"/>
                    </a:cubicBezTo>
                    <a:cubicBezTo>
                      <a:pt x="152" y="22"/>
                      <a:pt x="152" y="22"/>
                      <a:pt x="152" y="22"/>
                    </a:cubicBezTo>
                    <a:cubicBezTo>
                      <a:pt x="152" y="22"/>
                      <a:pt x="152" y="22"/>
                      <a:pt x="152" y="22"/>
                    </a:cubicBezTo>
                    <a:cubicBezTo>
                      <a:pt x="152" y="22"/>
                      <a:pt x="152" y="21"/>
                      <a:pt x="152" y="21"/>
                    </a:cubicBezTo>
                    <a:cubicBezTo>
                      <a:pt x="152" y="21"/>
                      <a:pt x="152" y="21"/>
                      <a:pt x="152" y="21"/>
                    </a:cubicBezTo>
                    <a:cubicBezTo>
                      <a:pt x="152" y="21"/>
                      <a:pt x="152" y="21"/>
                      <a:pt x="152" y="21"/>
                    </a:cubicBezTo>
                    <a:cubicBezTo>
                      <a:pt x="152" y="21"/>
                      <a:pt x="152" y="20"/>
                      <a:pt x="151" y="20"/>
                    </a:cubicBezTo>
                    <a:cubicBezTo>
                      <a:pt x="151" y="20"/>
                      <a:pt x="151" y="20"/>
                      <a:pt x="151" y="20"/>
                    </a:cubicBezTo>
                    <a:cubicBezTo>
                      <a:pt x="151" y="20"/>
                      <a:pt x="151" y="20"/>
                      <a:pt x="151" y="20"/>
                    </a:cubicBezTo>
                    <a:cubicBezTo>
                      <a:pt x="151" y="20"/>
                      <a:pt x="150" y="20"/>
                      <a:pt x="150" y="19"/>
                    </a:cubicBezTo>
                    <a:cubicBezTo>
                      <a:pt x="150" y="19"/>
                      <a:pt x="150" y="19"/>
                      <a:pt x="150" y="19"/>
                    </a:cubicBezTo>
                    <a:cubicBezTo>
                      <a:pt x="150" y="19"/>
                      <a:pt x="150" y="19"/>
                      <a:pt x="150" y="19"/>
                    </a:cubicBezTo>
                    <a:cubicBezTo>
                      <a:pt x="150" y="19"/>
                      <a:pt x="150" y="19"/>
                      <a:pt x="150" y="19"/>
                    </a:cubicBezTo>
                    <a:cubicBezTo>
                      <a:pt x="150" y="19"/>
                      <a:pt x="150" y="19"/>
                      <a:pt x="150" y="18"/>
                    </a:cubicBezTo>
                    <a:cubicBezTo>
                      <a:pt x="150" y="18"/>
                      <a:pt x="150" y="18"/>
                      <a:pt x="150" y="18"/>
                    </a:cubicBezTo>
                    <a:cubicBezTo>
                      <a:pt x="149" y="18"/>
                      <a:pt x="149" y="18"/>
                      <a:pt x="149" y="18"/>
                    </a:cubicBezTo>
                    <a:cubicBezTo>
                      <a:pt x="149" y="18"/>
                      <a:pt x="149" y="18"/>
                      <a:pt x="149" y="18"/>
                    </a:cubicBezTo>
                    <a:cubicBezTo>
                      <a:pt x="149" y="18"/>
                      <a:pt x="149" y="18"/>
                      <a:pt x="150" y="18"/>
                    </a:cubicBezTo>
                    <a:cubicBezTo>
                      <a:pt x="150" y="18"/>
                      <a:pt x="149" y="18"/>
                      <a:pt x="149" y="18"/>
                    </a:cubicBezTo>
                    <a:cubicBezTo>
                      <a:pt x="149" y="18"/>
                      <a:pt x="149" y="18"/>
                      <a:pt x="149" y="18"/>
                    </a:cubicBezTo>
                    <a:cubicBezTo>
                      <a:pt x="149" y="18"/>
                      <a:pt x="149" y="18"/>
                      <a:pt x="149" y="18"/>
                    </a:cubicBezTo>
                    <a:cubicBezTo>
                      <a:pt x="149" y="18"/>
                      <a:pt x="149" y="18"/>
                      <a:pt x="149" y="18"/>
                    </a:cubicBezTo>
                    <a:cubicBezTo>
                      <a:pt x="150" y="18"/>
                      <a:pt x="150" y="18"/>
                      <a:pt x="150" y="17"/>
                    </a:cubicBezTo>
                    <a:cubicBezTo>
                      <a:pt x="150"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8" y="17"/>
                    </a:cubicBezTo>
                    <a:cubicBezTo>
                      <a:pt x="148" y="17"/>
                      <a:pt x="149" y="17"/>
                      <a:pt x="149" y="17"/>
                    </a:cubicBezTo>
                    <a:cubicBezTo>
                      <a:pt x="149" y="17"/>
                      <a:pt x="148" y="17"/>
                      <a:pt x="148" y="17"/>
                    </a:cubicBezTo>
                    <a:cubicBezTo>
                      <a:pt x="148" y="17"/>
                      <a:pt x="149" y="17"/>
                      <a:pt x="149" y="17"/>
                    </a:cubicBezTo>
                    <a:cubicBezTo>
                      <a:pt x="149" y="17"/>
                      <a:pt x="149" y="17"/>
                      <a:pt x="149" y="17"/>
                    </a:cubicBezTo>
                    <a:cubicBezTo>
                      <a:pt x="149" y="17"/>
                      <a:pt x="149" y="16"/>
                      <a:pt x="149" y="16"/>
                    </a:cubicBezTo>
                    <a:cubicBezTo>
                      <a:pt x="149" y="16"/>
                      <a:pt x="149" y="16"/>
                      <a:pt x="149"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7" y="16"/>
                    </a:cubicBezTo>
                    <a:cubicBezTo>
                      <a:pt x="147" y="16"/>
                      <a:pt x="147" y="16"/>
                      <a:pt x="147" y="16"/>
                    </a:cubicBezTo>
                    <a:cubicBezTo>
                      <a:pt x="148" y="16"/>
                      <a:pt x="148" y="16"/>
                      <a:pt x="148" y="16"/>
                    </a:cubicBezTo>
                    <a:cubicBezTo>
                      <a:pt x="148" y="16"/>
                      <a:pt x="148" y="16"/>
                      <a:pt x="147" y="16"/>
                    </a:cubicBezTo>
                    <a:cubicBezTo>
                      <a:pt x="147" y="16"/>
                      <a:pt x="147" y="16"/>
                      <a:pt x="147" y="16"/>
                    </a:cubicBezTo>
                    <a:cubicBezTo>
                      <a:pt x="147" y="16"/>
                      <a:pt x="147" y="16"/>
                      <a:pt x="147" y="16"/>
                    </a:cubicBezTo>
                    <a:cubicBezTo>
                      <a:pt x="147" y="16"/>
                      <a:pt x="147" y="16"/>
                      <a:pt x="147" y="16"/>
                    </a:cubicBezTo>
                    <a:cubicBezTo>
                      <a:pt x="147" y="16"/>
                      <a:pt x="146" y="16"/>
                      <a:pt x="146" y="16"/>
                    </a:cubicBezTo>
                    <a:cubicBezTo>
                      <a:pt x="146" y="15"/>
                      <a:pt x="147" y="15"/>
                      <a:pt x="146" y="15"/>
                    </a:cubicBezTo>
                    <a:cubicBezTo>
                      <a:pt x="146" y="15"/>
                      <a:pt x="146" y="15"/>
                      <a:pt x="146" y="15"/>
                    </a:cubicBezTo>
                    <a:cubicBezTo>
                      <a:pt x="146" y="15"/>
                      <a:pt x="146" y="15"/>
                      <a:pt x="147" y="15"/>
                    </a:cubicBezTo>
                    <a:cubicBezTo>
                      <a:pt x="147" y="15"/>
                      <a:pt x="147" y="15"/>
                      <a:pt x="147" y="15"/>
                    </a:cubicBezTo>
                    <a:cubicBezTo>
                      <a:pt x="147" y="15"/>
                      <a:pt x="147" y="15"/>
                      <a:pt x="148" y="15"/>
                    </a:cubicBezTo>
                    <a:cubicBezTo>
                      <a:pt x="148" y="15"/>
                      <a:pt x="148" y="15"/>
                      <a:pt x="148" y="15"/>
                    </a:cubicBezTo>
                    <a:cubicBezTo>
                      <a:pt x="148" y="15"/>
                      <a:pt x="148" y="15"/>
                      <a:pt x="148" y="15"/>
                    </a:cubicBezTo>
                    <a:cubicBezTo>
                      <a:pt x="148" y="15"/>
                      <a:pt x="148" y="15"/>
                      <a:pt x="148" y="15"/>
                    </a:cubicBezTo>
                    <a:cubicBezTo>
                      <a:pt x="148" y="15"/>
                      <a:pt x="148" y="15"/>
                      <a:pt x="148" y="15"/>
                    </a:cubicBezTo>
                    <a:cubicBezTo>
                      <a:pt x="147" y="15"/>
                      <a:pt x="147" y="15"/>
                      <a:pt x="147" y="15"/>
                    </a:cubicBezTo>
                    <a:cubicBezTo>
                      <a:pt x="147" y="15"/>
                      <a:pt x="148" y="14"/>
                      <a:pt x="148" y="14"/>
                    </a:cubicBezTo>
                    <a:cubicBezTo>
                      <a:pt x="148" y="14"/>
                      <a:pt x="148" y="14"/>
                      <a:pt x="147" y="14"/>
                    </a:cubicBezTo>
                    <a:cubicBezTo>
                      <a:pt x="147" y="14"/>
                      <a:pt x="147" y="14"/>
                      <a:pt x="147" y="14"/>
                    </a:cubicBezTo>
                    <a:cubicBezTo>
                      <a:pt x="147" y="14"/>
                      <a:pt x="147" y="14"/>
                      <a:pt x="146" y="14"/>
                    </a:cubicBezTo>
                    <a:cubicBezTo>
                      <a:pt x="146" y="14"/>
                      <a:pt x="146" y="14"/>
                      <a:pt x="146" y="13"/>
                    </a:cubicBezTo>
                    <a:cubicBezTo>
                      <a:pt x="146" y="13"/>
                      <a:pt x="146" y="13"/>
                      <a:pt x="146" y="13"/>
                    </a:cubicBezTo>
                    <a:cubicBezTo>
                      <a:pt x="146" y="13"/>
                      <a:pt x="146" y="13"/>
                      <a:pt x="145" y="13"/>
                    </a:cubicBezTo>
                    <a:cubicBezTo>
                      <a:pt x="145" y="13"/>
                      <a:pt x="145" y="13"/>
                      <a:pt x="145" y="13"/>
                    </a:cubicBezTo>
                    <a:cubicBezTo>
                      <a:pt x="145" y="13"/>
                      <a:pt x="145" y="13"/>
                      <a:pt x="145" y="13"/>
                    </a:cubicBezTo>
                    <a:cubicBezTo>
                      <a:pt x="145" y="13"/>
                      <a:pt x="146" y="13"/>
                      <a:pt x="146" y="13"/>
                    </a:cubicBezTo>
                    <a:cubicBezTo>
                      <a:pt x="146" y="13"/>
                      <a:pt x="146" y="13"/>
                      <a:pt x="147" y="13"/>
                    </a:cubicBezTo>
                    <a:cubicBezTo>
                      <a:pt x="147" y="13"/>
                      <a:pt x="147" y="13"/>
                      <a:pt x="147" y="13"/>
                    </a:cubicBezTo>
                    <a:cubicBezTo>
                      <a:pt x="147" y="13"/>
                      <a:pt x="147" y="13"/>
                      <a:pt x="148" y="13"/>
                    </a:cubicBezTo>
                    <a:cubicBezTo>
                      <a:pt x="148" y="13"/>
                      <a:pt x="148" y="13"/>
                      <a:pt x="148" y="12"/>
                    </a:cubicBezTo>
                    <a:cubicBezTo>
                      <a:pt x="148" y="12"/>
                      <a:pt x="148" y="12"/>
                      <a:pt x="148" y="12"/>
                    </a:cubicBezTo>
                    <a:cubicBezTo>
                      <a:pt x="148" y="12"/>
                      <a:pt x="148" y="12"/>
                      <a:pt x="148" y="12"/>
                    </a:cubicBezTo>
                    <a:cubicBezTo>
                      <a:pt x="148" y="12"/>
                      <a:pt x="148" y="12"/>
                      <a:pt x="148" y="12"/>
                    </a:cubicBezTo>
                    <a:cubicBezTo>
                      <a:pt x="148" y="12"/>
                      <a:pt x="148" y="12"/>
                      <a:pt x="148" y="12"/>
                    </a:cubicBezTo>
                    <a:cubicBezTo>
                      <a:pt x="148" y="12"/>
                      <a:pt x="148" y="12"/>
                      <a:pt x="149" y="13"/>
                    </a:cubicBezTo>
                    <a:cubicBezTo>
                      <a:pt x="149" y="13"/>
                      <a:pt x="149" y="13"/>
                      <a:pt x="149" y="13"/>
                    </a:cubicBezTo>
                    <a:cubicBezTo>
                      <a:pt x="149" y="13"/>
                      <a:pt x="149" y="12"/>
                      <a:pt x="150" y="12"/>
                    </a:cubicBezTo>
                    <a:cubicBezTo>
                      <a:pt x="150" y="12"/>
                      <a:pt x="150" y="12"/>
                      <a:pt x="150" y="12"/>
                    </a:cubicBezTo>
                    <a:cubicBezTo>
                      <a:pt x="150" y="12"/>
                      <a:pt x="150" y="12"/>
                      <a:pt x="150" y="12"/>
                    </a:cubicBezTo>
                    <a:cubicBezTo>
                      <a:pt x="149" y="12"/>
                      <a:pt x="149" y="12"/>
                      <a:pt x="149" y="12"/>
                    </a:cubicBezTo>
                    <a:cubicBezTo>
                      <a:pt x="149" y="12"/>
                      <a:pt x="149" y="11"/>
                      <a:pt x="149" y="11"/>
                    </a:cubicBezTo>
                    <a:cubicBezTo>
                      <a:pt x="149" y="12"/>
                      <a:pt x="150" y="12"/>
                      <a:pt x="150" y="12"/>
                    </a:cubicBezTo>
                    <a:cubicBezTo>
                      <a:pt x="150" y="12"/>
                      <a:pt x="150" y="12"/>
                      <a:pt x="150" y="12"/>
                    </a:cubicBezTo>
                    <a:cubicBezTo>
                      <a:pt x="150" y="11"/>
                      <a:pt x="150" y="11"/>
                      <a:pt x="150" y="11"/>
                    </a:cubicBezTo>
                    <a:cubicBezTo>
                      <a:pt x="150" y="11"/>
                      <a:pt x="150" y="11"/>
                      <a:pt x="150" y="11"/>
                    </a:cubicBezTo>
                    <a:cubicBezTo>
                      <a:pt x="150" y="11"/>
                      <a:pt x="150" y="11"/>
                      <a:pt x="150" y="11"/>
                    </a:cubicBezTo>
                    <a:cubicBezTo>
                      <a:pt x="150" y="11"/>
                      <a:pt x="150" y="11"/>
                      <a:pt x="150" y="11"/>
                    </a:cubicBezTo>
                    <a:cubicBezTo>
                      <a:pt x="149" y="11"/>
                      <a:pt x="149" y="11"/>
                      <a:pt x="149" y="11"/>
                    </a:cubicBezTo>
                    <a:cubicBezTo>
                      <a:pt x="149" y="11"/>
                      <a:pt x="149" y="11"/>
                      <a:pt x="149" y="11"/>
                    </a:cubicBezTo>
                    <a:cubicBezTo>
                      <a:pt x="149" y="11"/>
                      <a:pt x="149" y="11"/>
                      <a:pt x="149" y="10"/>
                    </a:cubicBezTo>
                    <a:cubicBezTo>
                      <a:pt x="149"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7" y="10"/>
                      <a:pt x="147" y="10"/>
                      <a:pt x="147" y="10"/>
                    </a:cubicBezTo>
                    <a:cubicBezTo>
                      <a:pt x="148" y="10"/>
                      <a:pt x="148" y="10"/>
                      <a:pt x="148" y="10"/>
                    </a:cubicBezTo>
                    <a:cubicBezTo>
                      <a:pt x="148" y="10"/>
                      <a:pt x="148" y="10"/>
                      <a:pt x="148" y="10"/>
                    </a:cubicBezTo>
                    <a:cubicBezTo>
                      <a:pt x="148" y="9"/>
                      <a:pt x="147" y="10"/>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8" y="9"/>
                      <a:pt x="148" y="9"/>
                      <a:pt x="148" y="9"/>
                    </a:cubicBezTo>
                    <a:cubicBezTo>
                      <a:pt x="148" y="9"/>
                      <a:pt x="148" y="9"/>
                      <a:pt x="148" y="9"/>
                    </a:cubicBezTo>
                    <a:cubicBezTo>
                      <a:pt x="148" y="9"/>
                      <a:pt x="148" y="9"/>
                      <a:pt x="148" y="9"/>
                    </a:cubicBezTo>
                    <a:cubicBezTo>
                      <a:pt x="148" y="9"/>
                      <a:pt x="148" y="9"/>
                      <a:pt x="148" y="9"/>
                    </a:cubicBezTo>
                    <a:cubicBezTo>
                      <a:pt x="148" y="9"/>
                      <a:pt x="148" y="9"/>
                      <a:pt x="148" y="9"/>
                    </a:cubicBezTo>
                    <a:cubicBezTo>
                      <a:pt x="149" y="9"/>
                      <a:pt x="149" y="9"/>
                      <a:pt x="149" y="9"/>
                    </a:cubicBezTo>
                    <a:cubicBezTo>
                      <a:pt x="149" y="9"/>
                      <a:pt x="149" y="9"/>
                      <a:pt x="149" y="9"/>
                    </a:cubicBezTo>
                    <a:cubicBezTo>
                      <a:pt x="149" y="9"/>
                      <a:pt x="149" y="9"/>
                      <a:pt x="149" y="9"/>
                    </a:cubicBezTo>
                    <a:cubicBezTo>
                      <a:pt x="149" y="9"/>
                      <a:pt x="149" y="9"/>
                      <a:pt x="148" y="9"/>
                    </a:cubicBezTo>
                    <a:cubicBezTo>
                      <a:pt x="149" y="9"/>
                      <a:pt x="149" y="9"/>
                      <a:pt x="149" y="9"/>
                    </a:cubicBezTo>
                    <a:cubicBezTo>
                      <a:pt x="149" y="9"/>
                      <a:pt x="149" y="9"/>
                      <a:pt x="149" y="9"/>
                    </a:cubicBezTo>
                    <a:cubicBezTo>
                      <a:pt x="149" y="9"/>
                      <a:pt x="149" y="9"/>
                      <a:pt x="149" y="8"/>
                    </a:cubicBezTo>
                    <a:cubicBezTo>
                      <a:pt x="149" y="8"/>
                      <a:pt x="149" y="8"/>
                      <a:pt x="149" y="8"/>
                    </a:cubicBezTo>
                    <a:cubicBezTo>
                      <a:pt x="149" y="8"/>
                      <a:pt x="149" y="8"/>
                      <a:pt x="149" y="8"/>
                    </a:cubicBezTo>
                    <a:cubicBezTo>
                      <a:pt x="149" y="8"/>
                      <a:pt x="149" y="8"/>
                      <a:pt x="149" y="8"/>
                    </a:cubicBezTo>
                    <a:cubicBezTo>
                      <a:pt x="149" y="8"/>
                      <a:pt x="148" y="8"/>
                      <a:pt x="148" y="8"/>
                    </a:cubicBezTo>
                    <a:cubicBezTo>
                      <a:pt x="148" y="7"/>
                      <a:pt x="149" y="7"/>
                      <a:pt x="149" y="7"/>
                    </a:cubicBezTo>
                    <a:cubicBezTo>
                      <a:pt x="149" y="7"/>
                      <a:pt x="147" y="6"/>
                      <a:pt x="147" y="6"/>
                    </a:cubicBezTo>
                    <a:cubicBezTo>
                      <a:pt x="147" y="6"/>
                      <a:pt x="144" y="7"/>
                      <a:pt x="143"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4" name="Freeform 825">
                <a:extLst>
                  <a:ext uri="{FF2B5EF4-FFF2-40B4-BE49-F238E27FC236}">
                    <a16:creationId xmlns:a16="http://schemas.microsoft.com/office/drawing/2014/main" id="{A3ACBE36-9AF2-0C13-6A67-3106D83F7C7D}"/>
                  </a:ext>
                </a:extLst>
              </p:cNvPr>
              <p:cNvSpPr>
                <a:spLocks noEditPoints="1"/>
              </p:cNvSpPr>
              <p:nvPr/>
            </p:nvSpPr>
            <p:spPr bwMode="auto">
              <a:xfrm>
                <a:off x="8251825" y="4216400"/>
                <a:ext cx="233362" cy="433388"/>
              </a:xfrm>
              <a:custGeom>
                <a:avLst/>
                <a:gdLst>
                  <a:gd name="T0" fmla="*/ 54 w 56"/>
                  <a:gd name="T1" fmla="*/ 75 h 104"/>
                  <a:gd name="T2" fmla="*/ 54 w 56"/>
                  <a:gd name="T3" fmla="*/ 80 h 104"/>
                  <a:gd name="T4" fmla="*/ 53 w 56"/>
                  <a:gd name="T5" fmla="*/ 83 h 104"/>
                  <a:gd name="T6" fmla="*/ 48 w 56"/>
                  <a:gd name="T7" fmla="*/ 87 h 104"/>
                  <a:gd name="T8" fmla="*/ 41 w 56"/>
                  <a:gd name="T9" fmla="*/ 92 h 104"/>
                  <a:gd name="T10" fmla="*/ 36 w 56"/>
                  <a:gd name="T11" fmla="*/ 90 h 104"/>
                  <a:gd name="T12" fmla="*/ 37 w 56"/>
                  <a:gd name="T13" fmla="*/ 94 h 104"/>
                  <a:gd name="T14" fmla="*/ 36 w 56"/>
                  <a:gd name="T15" fmla="*/ 95 h 104"/>
                  <a:gd name="T16" fmla="*/ 34 w 56"/>
                  <a:gd name="T17" fmla="*/ 96 h 104"/>
                  <a:gd name="T18" fmla="*/ 30 w 56"/>
                  <a:gd name="T19" fmla="*/ 99 h 104"/>
                  <a:gd name="T20" fmla="*/ 25 w 56"/>
                  <a:gd name="T21" fmla="*/ 104 h 104"/>
                  <a:gd name="T22" fmla="*/ 26 w 56"/>
                  <a:gd name="T23" fmla="*/ 101 h 104"/>
                  <a:gd name="T24" fmla="*/ 27 w 56"/>
                  <a:gd name="T25" fmla="*/ 94 h 104"/>
                  <a:gd name="T26" fmla="*/ 22 w 56"/>
                  <a:gd name="T27" fmla="*/ 91 h 104"/>
                  <a:gd name="T28" fmla="*/ 27 w 56"/>
                  <a:gd name="T29" fmla="*/ 87 h 104"/>
                  <a:gd name="T30" fmla="*/ 33 w 56"/>
                  <a:gd name="T31" fmla="*/ 88 h 104"/>
                  <a:gd name="T32" fmla="*/ 32 w 56"/>
                  <a:gd name="T33" fmla="*/ 84 h 104"/>
                  <a:gd name="T34" fmla="*/ 37 w 56"/>
                  <a:gd name="T35" fmla="*/ 80 h 104"/>
                  <a:gd name="T36" fmla="*/ 42 w 56"/>
                  <a:gd name="T37" fmla="*/ 72 h 104"/>
                  <a:gd name="T38" fmla="*/ 40 w 56"/>
                  <a:gd name="T39" fmla="*/ 64 h 104"/>
                  <a:gd name="T40" fmla="*/ 40 w 56"/>
                  <a:gd name="T41" fmla="*/ 59 h 104"/>
                  <a:gd name="T42" fmla="*/ 40 w 56"/>
                  <a:gd name="T43" fmla="*/ 54 h 104"/>
                  <a:gd name="T44" fmla="*/ 40 w 56"/>
                  <a:gd name="T45" fmla="*/ 51 h 104"/>
                  <a:gd name="T46" fmla="*/ 35 w 56"/>
                  <a:gd name="T47" fmla="*/ 48 h 104"/>
                  <a:gd name="T48" fmla="*/ 30 w 56"/>
                  <a:gd name="T49" fmla="*/ 44 h 104"/>
                  <a:gd name="T50" fmla="*/ 26 w 56"/>
                  <a:gd name="T51" fmla="*/ 37 h 104"/>
                  <a:gd name="T52" fmla="*/ 21 w 56"/>
                  <a:gd name="T53" fmla="*/ 34 h 104"/>
                  <a:gd name="T54" fmla="*/ 15 w 56"/>
                  <a:gd name="T55" fmla="*/ 31 h 104"/>
                  <a:gd name="T56" fmla="*/ 15 w 56"/>
                  <a:gd name="T57" fmla="*/ 27 h 104"/>
                  <a:gd name="T58" fmla="*/ 20 w 56"/>
                  <a:gd name="T59" fmla="*/ 24 h 104"/>
                  <a:gd name="T60" fmla="*/ 19 w 56"/>
                  <a:gd name="T61" fmla="*/ 20 h 104"/>
                  <a:gd name="T62" fmla="*/ 13 w 56"/>
                  <a:gd name="T63" fmla="*/ 17 h 104"/>
                  <a:gd name="T64" fmla="*/ 6 w 56"/>
                  <a:gd name="T65" fmla="*/ 15 h 104"/>
                  <a:gd name="T66" fmla="*/ 4 w 56"/>
                  <a:gd name="T67" fmla="*/ 10 h 104"/>
                  <a:gd name="T68" fmla="*/ 0 w 56"/>
                  <a:gd name="T69" fmla="*/ 6 h 104"/>
                  <a:gd name="T70" fmla="*/ 6 w 56"/>
                  <a:gd name="T71" fmla="*/ 4 h 104"/>
                  <a:gd name="T72" fmla="*/ 13 w 56"/>
                  <a:gd name="T73" fmla="*/ 3 h 104"/>
                  <a:gd name="T74" fmla="*/ 21 w 56"/>
                  <a:gd name="T75" fmla="*/ 0 h 104"/>
                  <a:gd name="T76" fmla="*/ 30 w 56"/>
                  <a:gd name="T77" fmla="*/ 2 h 104"/>
                  <a:gd name="T78" fmla="*/ 36 w 56"/>
                  <a:gd name="T79" fmla="*/ 11 h 104"/>
                  <a:gd name="T80" fmla="*/ 40 w 56"/>
                  <a:gd name="T81" fmla="*/ 13 h 104"/>
                  <a:gd name="T82" fmla="*/ 35 w 56"/>
                  <a:gd name="T83" fmla="*/ 16 h 104"/>
                  <a:gd name="T84" fmla="*/ 30 w 56"/>
                  <a:gd name="T85" fmla="*/ 17 h 104"/>
                  <a:gd name="T86" fmla="*/ 26 w 56"/>
                  <a:gd name="T87" fmla="*/ 24 h 104"/>
                  <a:gd name="T88" fmla="*/ 26 w 56"/>
                  <a:gd name="T89" fmla="*/ 29 h 104"/>
                  <a:gd name="T90" fmla="*/ 26 w 56"/>
                  <a:gd name="T91" fmla="*/ 33 h 104"/>
                  <a:gd name="T92" fmla="*/ 31 w 56"/>
                  <a:gd name="T93" fmla="*/ 37 h 104"/>
                  <a:gd name="T94" fmla="*/ 39 w 56"/>
                  <a:gd name="T95" fmla="*/ 46 h 104"/>
                  <a:gd name="T96" fmla="*/ 48 w 56"/>
                  <a:gd name="T97" fmla="*/ 53 h 104"/>
                  <a:gd name="T98" fmla="*/ 51 w 56"/>
                  <a:gd name="T99" fmla="*/ 61 h 104"/>
                  <a:gd name="T100" fmla="*/ 53 w 56"/>
                  <a:gd name="T101" fmla="*/ 69 h 104"/>
                  <a:gd name="T102" fmla="*/ 18 w 56"/>
                  <a:gd name="T103" fmla="*/ 91 h 104"/>
                  <a:gd name="T104" fmla="*/ 20 w 56"/>
                  <a:gd name="T105" fmla="*/ 93 h 104"/>
                  <a:gd name="T106" fmla="*/ 18 w 56"/>
                  <a:gd name="T107" fmla="*/ 9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4">
                    <a:moveTo>
                      <a:pt x="56" y="74"/>
                    </a:moveTo>
                    <a:cubicBezTo>
                      <a:pt x="56" y="75"/>
                      <a:pt x="56" y="75"/>
                      <a:pt x="55" y="75"/>
                    </a:cubicBezTo>
                    <a:cubicBezTo>
                      <a:pt x="55" y="75"/>
                      <a:pt x="55" y="74"/>
                      <a:pt x="54" y="74"/>
                    </a:cubicBezTo>
                    <a:cubicBezTo>
                      <a:pt x="54" y="75"/>
                      <a:pt x="54" y="75"/>
                      <a:pt x="54" y="75"/>
                    </a:cubicBezTo>
                    <a:cubicBezTo>
                      <a:pt x="54" y="76"/>
                      <a:pt x="55" y="77"/>
                      <a:pt x="55" y="77"/>
                    </a:cubicBezTo>
                    <a:cubicBezTo>
                      <a:pt x="55" y="77"/>
                      <a:pt x="54" y="78"/>
                      <a:pt x="54" y="78"/>
                    </a:cubicBezTo>
                    <a:cubicBezTo>
                      <a:pt x="54" y="78"/>
                      <a:pt x="53" y="78"/>
                      <a:pt x="53" y="78"/>
                    </a:cubicBezTo>
                    <a:cubicBezTo>
                      <a:pt x="53" y="79"/>
                      <a:pt x="53" y="79"/>
                      <a:pt x="54" y="80"/>
                    </a:cubicBezTo>
                    <a:cubicBezTo>
                      <a:pt x="54" y="80"/>
                      <a:pt x="54" y="80"/>
                      <a:pt x="54" y="80"/>
                    </a:cubicBezTo>
                    <a:cubicBezTo>
                      <a:pt x="54" y="80"/>
                      <a:pt x="53" y="81"/>
                      <a:pt x="53" y="81"/>
                    </a:cubicBezTo>
                    <a:cubicBezTo>
                      <a:pt x="53" y="81"/>
                      <a:pt x="54" y="82"/>
                      <a:pt x="54" y="82"/>
                    </a:cubicBezTo>
                    <a:cubicBezTo>
                      <a:pt x="54" y="82"/>
                      <a:pt x="54" y="82"/>
                      <a:pt x="53" y="83"/>
                    </a:cubicBezTo>
                    <a:cubicBezTo>
                      <a:pt x="53" y="83"/>
                      <a:pt x="52" y="83"/>
                      <a:pt x="52" y="83"/>
                    </a:cubicBezTo>
                    <a:cubicBezTo>
                      <a:pt x="52" y="84"/>
                      <a:pt x="52" y="84"/>
                      <a:pt x="52" y="85"/>
                    </a:cubicBezTo>
                    <a:cubicBezTo>
                      <a:pt x="51" y="85"/>
                      <a:pt x="50" y="86"/>
                      <a:pt x="50" y="86"/>
                    </a:cubicBezTo>
                    <a:cubicBezTo>
                      <a:pt x="49" y="86"/>
                      <a:pt x="48" y="87"/>
                      <a:pt x="48" y="87"/>
                    </a:cubicBezTo>
                    <a:cubicBezTo>
                      <a:pt x="48" y="88"/>
                      <a:pt x="48" y="88"/>
                      <a:pt x="47" y="89"/>
                    </a:cubicBezTo>
                    <a:cubicBezTo>
                      <a:pt x="47" y="89"/>
                      <a:pt x="46" y="89"/>
                      <a:pt x="46" y="89"/>
                    </a:cubicBezTo>
                    <a:cubicBezTo>
                      <a:pt x="46" y="89"/>
                      <a:pt x="45" y="90"/>
                      <a:pt x="44" y="90"/>
                    </a:cubicBezTo>
                    <a:cubicBezTo>
                      <a:pt x="44" y="91"/>
                      <a:pt x="42" y="92"/>
                      <a:pt x="41" y="92"/>
                    </a:cubicBezTo>
                    <a:cubicBezTo>
                      <a:pt x="41" y="91"/>
                      <a:pt x="39" y="91"/>
                      <a:pt x="39" y="91"/>
                    </a:cubicBezTo>
                    <a:cubicBezTo>
                      <a:pt x="39" y="91"/>
                      <a:pt x="38" y="90"/>
                      <a:pt x="38" y="90"/>
                    </a:cubicBezTo>
                    <a:cubicBezTo>
                      <a:pt x="38" y="90"/>
                      <a:pt x="37" y="91"/>
                      <a:pt x="37" y="91"/>
                    </a:cubicBezTo>
                    <a:cubicBezTo>
                      <a:pt x="37" y="91"/>
                      <a:pt x="36" y="90"/>
                      <a:pt x="36" y="90"/>
                    </a:cubicBezTo>
                    <a:cubicBezTo>
                      <a:pt x="36" y="90"/>
                      <a:pt x="37" y="91"/>
                      <a:pt x="37" y="91"/>
                    </a:cubicBezTo>
                    <a:cubicBezTo>
                      <a:pt x="37" y="91"/>
                      <a:pt x="36" y="91"/>
                      <a:pt x="36" y="91"/>
                    </a:cubicBezTo>
                    <a:cubicBezTo>
                      <a:pt x="37" y="92"/>
                      <a:pt x="37" y="92"/>
                      <a:pt x="37" y="92"/>
                    </a:cubicBezTo>
                    <a:cubicBezTo>
                      <a:pt x="37" y="92"/>
                      <a:pt x="38" y="94"/>
                      <a:pt x="37" y="94"/>
                    </a:cubicBezTo>
                    <a:cubicBezTo>
                      <a:pt x="37" y="94"/>
                      <a:pt x="37" y="94"/>
                      <a:pt x="37" y="94"/>
                    </a:cubicBezTo>
                    <a:cubicBezTo>
                      <a:pt x="37" y="94"/>
                      <a:pt x="36" y="94"/>
                      <a:pt x="36" y="94"/>
                    </a:cubicBezTo>
                    <a:cubicBezTo>
                      <a:pt x="36" y="94"/>
                      <a:pt x="36" y="94"/>
                      <a:pt x="36" y="94"/>
                    </a:cubicBezTo>
                    <a:cubicBezTo>
                      <a:pt x="36" y="94"/>
                      <a:pt x="36" y="95"/>
                      <a:pt x="36" y="95"/>
                    </a:cubicBezTo>
                    <a:cubicBezTo>
                      <a:pt x="36" y="95"/>
                      <a:pt x="36" y="96"/>
                      <a:pt x="36" y="96"/>
                    </a:cubicBezTo>
                    <a:cubicBezTo>
                      <a:pt x="36" y="96"/>
                      <a:pt x="35" y="96"/>
                      <a:pt x="35" y="96"/>
                    </a:cubicBezTo>
                    <a:cubicBezTo>
                      <a:pt x="35" y="95"/>
                      <a:pt x="34" y="95"/>
                      <a:pt x="34" y="95"/>
                    </a:cubicBezTo>
                    <a:cubicBezTo>
                      <a:pt x="34" y="95"/>
                      <a:pt x="34" y="96"/>
                      <a:pt x="34" y="96"/>
                    </a:cubicBezTo>
                    <a:cubicBezTo>
                      <a:pt x="34" y="96"/>
                      <a:pt x="34" y="97"/>
                      <a:pt x="34" y="97"/>
                    </a:cubicBezTo>
                    <a:cubicBezTo>
                      <a:pt x="34" y="97"/>
                      <a:pt x="33" y="98"/>
                      <a:pt x="33" y="98"/>
                    </a:cubicBezTo>
                    <a:cubicBezTo>
                      <a:pt x="32" y="98"/>
                      <a:pt x="32" y="99"/>
                      <a:pt x="32" y="99"/>
                    </a:cubicBezTo>
                    <a:cubicBezTo>
                      <a:pt x="31" y="99"/>
                      <a:pt x="31" y="99"/>
                      <a:pt x="30" y="99"/>
                    </a:cubicBezTo>
                    <a:cubicBezTo>
                      <a:pt x="30" y="99"/>
                      <a:pt x="30" y="100"/>
                      <a:pt x="30" y="100"/>
                    </a:cubicBezTo>
                    <a:cubicBezTo>
                      <a:pt x="30" y="100"/>
                      <a:pt x="30" y="101"/>
                      <a:pt x="30" y="101"/>
                    </a:cubicBezTo>
                    <a:cubicBezTo>
                      <a:pt x="29" y="102"/>
                      <a:pt x="28" y="103"/>
                      <a:pt x="27" y="103"/>
                    </a:cubicBezTo>
                    <a:cubicBezTo>
                      <a:pt x="27" y="103"/>
                      <a:pt x="26" y="104"/>
                      <a:pt x="25" y="104"/>
                    </a:cubicBezTo>
                    <a:cubicBezTo>
                      <a:pt x="25" y="103"/>
                      <a:pt x="24" y="103"/>
                      <a:pt x="24" y="103"/>
                    </a:cubicBezTo>
                    <a:cubicBezTo>
                      <a:pt x="24" y="103"/>
                      <a:pt x="24" y="103"/>
                      <a:pt x="25" y="102"/>
                    </a:cubicBezTo>
                    <a:cubicBezTo>
                      <a:pt x="25" y="102"/>
                      <a:pt x="26" y="102"/>
                      <a:pt x="26" y="102"/>
                    </a:cubicBezTo>
                    <a:cubicBezTo>
                      <a:pt x="26" y="102"/>
                      <a:pt x="26" y="101"/>
                      <a:pt x="26" y="101"/>
                    </a:cubicBezTo>
                    <a:cubicBezTo>
                      <a:pt x="25" y="101"/>
                      <a:pt x="25" y="101"/>
                      <a:pt x="25" y="100"/>
                    </a:cubicBezTo>
                    <a:cubicBezTo>
                      <a:pt x="25" y="100"/>
                      <a:pt x="25" y="96"/>
                      <a:pt x="25" y="96"/>
                    </a:cubicBezTo>
                    <a:cubicBezTo>
                      <a:pt x="25" y="95"/>
                      <a:pt x="26" y="95"/>
                      <a:pt x="26" y="95"/>
                    </a:cubicBezTo>
                    <a:cubicBezTo>
                      <a:pt x="27" y="94"/>
                      <a:pt x="27" y="94"/>
                      <a:pt x="27" y="94"/>
                    </a:cubicBezTo>
                    <a:cubicBezTo>
                      <a:pt x="28" y="93"/>
                      <a:pt x="28" y="93"/>
                      <a:pt x="28" y="93"/>
                    </a:cubicBezTo>
                    <a:cubicBezTo>
                      <a:pt x="28" y="93"/>
                      <a:pt x="23" y="93"/>
                      <a:pt x="23" y="93"/>
                    </a:cubicBezTo>
                    <a:cubicBezTo>
                      <a:pt x="23" y="93"/>
                      <a:pt x="23" y="92"/>
                      <a:pt x="23" y="92"/>
                    </a:cubicBezTo>
                    <a:cubicBezTo>
                      <a:pt x="23" y="91"/>
                      <a:pt x="23" y="91"/>
                      <a:pt x="22" y="91"/>
                    </a:cubicBezTo>
                    <a:cubicBezTo>
                      <a:pt x="23" y="90"/>
                      <a:pt x="24" y="89"/>
                      <a:pt x="24" y="89"/>
                    </a:cubicBezTo>
                    <a:cubicBezTo>
                      <a:pt x="24" y="89"/>
                      <a:pt x="24" y="89"/>
                      <a:pt x="25" y="89"/>
                    </a:cubicBezTo>
                    <a:cubicBezTo>
                      <a:pt x="25" y="89"/>
                      <a:pt x="25" y="88"/>
                      <a:pt x="26" y="88"/>
                    </a:cubicBezTo>
                    <a:cubicBezTo>
                      <a:pt x="26" y="88"/>
                      <a:pt x="26" y="87"/>
                      <a:pt x="27" y="87"/>
                    </a:cubicBezTo>
                    <a:cubicBezTo>
                      <a:pt x="27" y="87"/>
                      <a:pt x="28" y="87"/>
                      <a:pt x="28" y="87"/>
                    </a:cubicBezTo>
                    <a:cubicBezTo>
                      <a:pt x="29" y="87"/>
                      <a:pt x="29" y="87"/>
                      <a:pt x="30" y="87"/>
                    </a:cubicBezTo>
                    <a:cubicBezTo>
                      <a:pt x="31" y="87"/>
                      <a:pt x="31" y="87"/>
                      <a:pt x="31" y="87"/>
                    </a:cubicBezTo>
                    <a:cubicBezTo>
                      <a:pt x="32" y="87"/>
                      <a:pt x="32" y="87"/>
                      <a:pt x="33" y="88"/>
                    </a:cubicBezTo>
                    <a:cubicBezTo>
                      <a:pt x="33" y="88"/>
                      <a:pt x="34" y="88"/>
                      <a:pt x="34" y="88"/>
                    </a:cubicBezTo>
                    <a:cubicBezTo>
                      <a:pt x="35" y="88"/>
                      <a:pt x="35" y="87"/>
                      <a:pt x="35" y="87"/>
                    </a:cubicBezTo>
                    <a:cubicBezTo>
                      <a:pt x="35" y="86"/>
                      <a:pt x="34" y="85"/>
                      <a:pt x="34" y="85"/>
                    </a:cubicBezTo>
                    <a:cubicBezTo>
                      <a:pt x="34" y="85"/>
                      <a:pt x="32" y="85"/>
                      <a:pt x="32" y="84"/>
                    </a:cubicBezTo>
                    <a:cubicBezTo>
                      <a:pt x="32" y="83"/>
                      <a:pt x="32" y="83"/>
                      <a:pt x="32" y="82"/>
                    </a:cubicBezTo>
                    <a:cubicBezTo>
                      <a:pt x="32" y="82"/>
                      <a:pt x="33" y="81"/>
                      <a:pt x="34" y="81"/>
                    </a:cubicBezTo>
                    <a:cubicBezTo>
                      <a:pt x="34" y="81"/>
                      <a:pt x="35" y="81"/>
                      <a:pt x="36" y="81"/>
                    </a:cubicBezTo>
                    <a:cubicBezTo>
                      <a:pt x="36" y="81"/>
                      <a:pt x="36" y="80"/>
                      <a:pt x="37" y="80"/>
                    </a:cubicBezTo>
                    <a:cubicBezTo>
                      <a:pt x="38" y="79"/>
                      <a:pt x="38" y="79"/>
                      <a:pt x="39" y="79"/>
                    </a:cubicBezTo>
                    <a:cubicBezTo>
                      <a:pt x="40" y="78"/>
                      <a:pt x="41" y="77"/>
                      <a:pt x="41" y="77"/>
                    </a:cubicBezTo>
                    <a:cubicBezTo>
                      <a:pt x="42" y="76"/>
                      <a:pt x="42" y="76"/>
                      <a:pt x="42" y="75"/>
                    </a:cubicBezTo>
                    <a:cubicBezTo>
                      <a:pt x="43" y="74"/>
                      <a:pt x="42" y="73"/>
                      <a:pt x="42" y="72"/>
                    </a:cubicBezTo>
                    <a:cubicBezTo>
                      <a:pt x="43" y="71"/>
                      <a:pt x="42" y="70"/>
                      <a:pt x="43" y="69"/>
                    </a:cubicBezTo>
                    <a:cubicBezTo>
                      <a:pt x="43" y="68"/>
                      <a:pt x="42" y="68"/>
                      <a:pt x="42" y="67"/>
                    </a:cubicBezTo>
                    <a:cubicBezTo>
                      <a:pt x="42" y="67"/>
                      <a:pt x="41" y="66"/>
                      <a:pt x="41" y="66"/>
                    </a:cubicBezTo>
                    <a:cubicBezTo>
                      <a:pt x="40" y="65"/>
                      <a:pt x="40" y="65"/>
                      <a:pt x="40" y="64"/>
                    </a:cubicBezTo>
                    <a:cubicBezTo>
                      <a:pt x="40" y="64"/>
                      <a:pt x="40" y="64"/>
                      <a:pt x="40" y="63"/>
                    </a:cubicBezTo>
                    <a:cubicBezTo>
                      <a:pt x="40" y="63"/>
                      <a:pt x="41" y="62"/>
                      <a:pt x="41" y="62"/>
                    </a:cubicBezTo>
                    <a:cubicBezTo>
                      <a:pt x="41" y="61"/>
                      <a:pt x="41" y="61"/>
                      <a:pt x="40" y="60"/>
                    </a:cubicBezTo>
                    <a:cubicBezTo>
                      <a:pt x="40" y="59"/>
                      <a:pt x="40" y="59"/>
                      <a:pt x="40" y="59"/>
                    </a:cubicBezTo>
                    <a:cubicBezTo>
                      <a:pt x="40" y="58"/>
                      <a:pt x="40" y="58"/>
                      <a:pt x="40" y="58"/>
                    </a:cubicBezTo>
                    <a:cubicBezTo>
                      <a:pt x="41" y="57"/>
                      <a:pt x="42" y="57"/>
                      <a:pt x="42" y="56"/>
                    </a:cubicBezTo>
                    <a:cubicBezTo>
                      <a:pt x="42" y="56"/>
                      <a:pt x="42" y="55"/>
                      <a:pt x="42" y="55"/>
                    </a:cubicBezTo>
                    <a:cubicBezTo>
                      <a:pt x="41" y="55"/>
                      <a:pt x="40" y="55"/>
                      <a:pt x="40" y="54"/>
                    </a:cubicBezTo>
                    <a:cubicBezTo>
                      <a:pt x="40" y="54"/>
                      <a:pt x="40" y="53"/>
                      <a:pt x="40" y="53"/>
                    </a:cubicBezTo>
                    <a:cubicBezTo>
                      <a:pt x="41" y="52"/>
                      <a:pt x="41" y="52"/>
                      <a:pt x="41" y="52"/>
                    </a:cubicBezTo>
                    <a:cubicBezTo>
                      <a:pt x="41" y="51"/>
                      <a:pt x="41" y="51"/>
                      <a:pt x="41" y="51"/>
                    </a:cubicBezTo>
                    <a:cubicBezTo>
                      <a:pt x="41" y="51"/>
                      <a:pt x="40" y="51"/>
                      <a:pt x="40" y="51"/>
                    </a:cubicBezTo>
                    <a:cubicBezTo>
                      <a:pt x="39" y="51"/>
                      <a:pt x="39" y="50"/>
                      <a:pt x="38" y="50"/>
                    </a:cubicBezTo>
                    <a:cubicBezTo>
                      <a:pt x="38" y="49"/>
                      <a:pt x="37" y="50"/>
                      <a:pt x="37" y="49"/>
                    </a:cubicBezTo>
                    <a:cubicBezTo>
                      <a:pt x="36" y="49"/>
                      <a:pt x="36" y="49"/>
                      <a:pt x="36" y="48"/>
                    </a:cubicBezTo>
                    <a:cubicBezTo>
                      <a:pt x="36" y="48"/>
                      <a:pt x="36" y="48"/>
                      <a:pt x="35" y="48"/>
                    </a:cubicBezTo>
                    <a:cubicBezTo>
                      <a:pt x="35" y="47"/>
                      <a:pt x="34" y="47"/>
                      <a:pt x="34" y="47"/>
                    </a:cubicBezTo>
                    <a:cubicBezTo>
                      <a:pt x="34" y="46"/>
                      <a:pt x="33" y="45"/>
                      <a:pt x="33" y="45"/>
                    </a:cubicBezTo>
                    <a:cubicBezTo>
                      <a:pt x="33" y="45"/>
                      <a:pt x="32" y="45"/>
                      <a:pt x="32" y="44"/>
                    </a:cubicBezTo>
                    <a:cubicBezTo>
                      <a:pt x="31" y="44"/>
                      <a:pt x="30" y="44"/>
                      <a:pt x="30" y="44"/>
                    </a:cubicBezTo>
                    <a:cubicBezTo>
                      <a:pt x="30" y="43"/>
                      <a:pt x="30" y="43"/>
                      <a:pt x="30" y="42"/>
                    </a:cubicBezTo>
                    <a:cubicBezTo>
                      <a:pt x="29" y="42"/>
                      <a:pt x="28" y="41"/>
                      <a:pt x="28" y="41"/>
                    </a:cubicBezTo>
                    <a:cubicBezTo>
                      <a:pt x="28" y="40"/>
                      <a:pt x="28" y="39"/>
                      <a:pt x="27" y="39"/>
                    </a:cubicBezTo>
                    <a:cubicBezTo>
                      <a:pt x="27" y="39"/>
                      <a:pt x="26" y="38"/>
                      <a:pt x="26" y="37"/>
                    </a:cubicBezTo>
                    <a:cubicBezTo>
                      <a:pt x="26" y="37"/>
                      <a:pt x="25" y="37"/>
                      <a:pt x="25" y="37"/>
                    </a:cubicBezTo>
                    <a:cubicBezTo>
                      <a:pt x="24" y="36"/>
                      <a:pt x="23" y="35"/>
                      <a:pt x="23" y="35"/>
                    </a:cubicBezTo>
                    <a:cubicBezTo>
                      <a:pt x="23" y="35"/>
                      <a:pt x="23" y="34"/>
                      <a:pt x="22" y="34"/>
                    </a:cubicBezTo>
                    <a:cubicBezTo>
                      <a:pt x="22" y="34"/>
                      <a:pt x="21" y="34"/>
                      <a:pt x="21" y="34"/>
                    </a:cubicBezTo>
                    <a:cubicBezTo>
                      <a:pt x="20" y="34"/>
                      <a:pt x="20" y="33"/>
                      <a:pt x="20" y="33"/>
                    </a:cubicBezTo>
                    <a:cubicBezTo>
                      <a:pt x="19" y="33"/>
                      <a:pt x="18" y="33"/>
                      <a:pt x="18" y="33"/>
                    </a:cubicBezTo>
                    <a:cubicBezTo>
                      <a:pt x="17" y="33"/>
                      <a:pt x="17" y="32"/>
                      <a:pt x="17" y="32"/>
                    </a:cubicBezTo>
                    <a:cubicBezTo>
                      <a:pt x="16" y="32"/>
                      <a:pt x="15" y="31"/>
                      <a:pt x="15" y="31"/>
                    </a:cubicBezTo>
                    <a:cubicBezTo>
                      <a:pt x="15" y="31"/>
                      <a:pt x="15" y="30"/>
                      <a:pt x="15" y="30"/>
                    </a:cubicBezTo>
                    <a:cubicBezTo>
                      <a:pt x="16" y="30"/>
                      <a:pt x="16" y="29"/>
                      <a:pt x="15" y="29"/>
                    </a:cubicBezTo>
                    <a:cubicBezTo>
                      <a:pt x="15" y="29"/>
                      <a:pt x="14" y="28"/>
                      <a:pt x="14" y="28"/>
                    </a:cubicBezTo>
                    <a:cubicBezTo>
                      <a:pt x="14" y="28"/>
                      <a:pt x="15" y="27"/>
                      <a:pt x="15" y="27"/>
                    </a:cubicBezTo>
                    <a:cubicBezTo>
                      <a:pt x="15" y="27"/>
                      <a:pt x="16" y="27"/>
                      <a:pt x="17" y="27"/>
                    </a:cubicBezTo>
                    <a:cubicBezTo>
                      <a:pt x="17" y="26"/>
                      <a:pt x="18" y="26"/>
                      <a:pt x="18" y="26"/>
                    </a:cubicBezTo>
                    <a:cubicBezTo>
                      <a:pt x="19" y="26"/>
                      <a:pt x="19" y="26"/>
                      <a:pt x="19" y="25"/>
                    </a:cubicBezTo>
                    <a:cubicBezTo>
                      <a:pt x="19" y="25"/>
                      <a:pt x="19" y="24"/>
                      <a:pt x="20" y="24"/>
                    </a:cubicBezTo>
                    <a:cubicBezTo>
                      <a:pt x="20" y="23"/>
                      <a:pt x="20" y="23"/>
                      <a:pt x="20" y="23"/>
                    </a:cubicBezTo>
                    <a:cubicBezTo>
                      <a:pt x="20" y="23"/>
                      <a:pt x="21" y="23"/>
                      <a:pt x="21" y="22"/>
                    </a:cubicBezTo>
                    <a:cubicBezTo>
                      <a:pt x="21" y="22"/>
                      <a:pt x="21" y="22"/>
                      <a:pt x="20" y="21"/>
                    </a:cubicBezTo>
                    <a:cubicBezTo>
                      <a:pt x="19" y="21"/>
                      <a:pt x="19" y="21"/>
                      <a:pt x="19" y="20"/>
                    </a:cubicBezTo>
                    <a:cubicBezTo>
                      <a:pt x="19" y="20"/>
                      <a:pt x="19" y="19"/>
                      <a:pt x="19" y="19"/>
                    </a:cubicBezTo>
                    <a:cubicBezTo>
                      <a:pt x="18" y="19"/>
                      <a:pt x="17" y="18"/>
                      <a:pt x="17" y="18"/>
                    </a:cubicBezTo>
                    <a:cubicBezTo>
                      <a:pt x="16" y="18"/>
                      <a:pt x="16" y="17"/>
                      <a:pt x="16" y="17"/>
                    </a:cubicBezTo>
                    <a:cubicBezTo>
                      <a:pt x="15" y="17"/>
                      <a:pt x="14" y="17"/>
                      <a:pt x="13" y="17"/>
                    </a:cubicBezTo>
                    <a:cubicBezTo>
                      <a:pt x="13" y="18"/>
                      <a:pt x="13" y="18"/>
                      <a:pt x="12" y="18"/>
                    </a:cubicBezTo>
                    <a:cubicBezTo>
                      <a:pt x="12" y="18"/>
                      <a:pt x="11" y="17"/>
                      <a:pt x="11" y="17"/>
                    </a:cubicBezTo>
                    <a:cubicBezTo>
                      <a:pt x="10" y="17"/>
                      <a:pt x="8" y="17"/>
                      <a:pt x="8" y="17"/>
                    </a:cubicBezTo>
                    <a:cubicBezTo>
                      <a:pt x="8" y="17"/>
                      <a:pt x="7" y="16"/>
                      <a:pt x="6" y="15"/>
                    </a:cubicBezTo>
                    <a:cubicBezTo>
                      <a:pt x="6" y="15"/>
                      <a:pt x="5" y="14"/>
                      <a:pt x="5" y="14"/>
                    </a:cubicBezTo>
                    <a:cubicBezTo>
                      <a:pt x="5" y="13"/>
                      <a:pt x="4" y="13"/>
                      <a:pt x="4" y="13"/>
                    </a:cubicBezTo>
                    <a:cubicBezTo>
                      <a:pt x="5" y="12"/>
                      <a:pt x="5" y="12"/>
                      <a:pt x="5" y="11"/>
                    </a:cubicBezTo>
                    <a:cubicBezTo>
                      <a:pt x="4" y="11"/>
                      <a:pt x="4" y="11"/>
                      <a:pt x="4" y="10"/>
                    </a:cubicBezTo>
                    <a:cubicBezTo>
                      <a:pt x="3" y="10"/>
                      <a:pt x="3" y="9"/>
                      <a:pt x="3" y="9"/>
                    </a:cubicBezTo>
                    <a:cubicBezTo>
                      <a:pt x="2" y="8"/>
                      <a:pt x="2" y="8"/>
                      <a:pt x="1" y="7"/>
                    </a:cubicBezTo>
                    <a:cubicBezTo>
                      <a:pt x="0" y="7"/>
                      <a:pt x="0" y="7"/>
                      <a:pt x="0" y="7"/>
                    </a:cubicBezTo>
                    <a:cubicBezTo>
                      <a:pt x="0" y="6"/>
                      <a:pt x="0" y="6"/>
                      <a:pt x="0" y="6"/>
                    </a:cubicBezTo>
                    <a:cubicBezTo>
                      <a:pt x="0" y="6"/>
                      <a:pt x="1" y="5"/>
                      <a:pt x="1" y="5"/>
                    </a:cubicBezTo>
                    <a:cubicBezTo>
                      <a:pt x="1" y="4"/>
                      <a:pt x="3" y="4"/>
                      <a:pt x="3" y="4"/>
                    </a:cubicBezTo>
                    <a:cubicBezTo>
                      <a:pt x="4" y="5"/>
                      <a:pt x="5" y="5"/>
                      <a:pt x="5" y="5"/>
                    </a:cubicBezTo>
                    <a:cubicBezTo>
                      <a:pt x="5" y="5"/>
                      <a:pt x="6" y="4"/>
                      <a:pt x="6" y="4"/>
                    </a:cubicBezTo>
                    <a:cubicBezTo>
                      <a:pt x="7" y="4"/>
                      <a:pt x="7" y="5"/>
                      <a:pt x="7" y="5"/>
                    </a:cubicBezTo>
                    <a:cubicBezTo>
                      <a:pt x="8" y="4"/>
                      <a:pt x="8" y="4"/>
                      <a:pt x="9" y="4"/>
                    </a:cubicBezTo>
                    <a:cubicBezTo>
                      <a:pt x="9" y="4"/>
                      <a:pt x="10" y="5"/>
                      <a:pt x="11" y="4"/>
                    </a:cubicBezTo>
                    <a:cubicBezTo>
                      <a:pt x="12" y="4"/>
                      <a:pt x="13" y="3"/>
                      <a:pt x="13" y="3"/>
                    </a:cubicBezTo>
                    <a:cubicBezTo>
                      <a:pt x="14" y="3"/>
                      <a:pt x="15" y="3"/>
                      <a:pt x="15" y="3"/>
                    </a:cubicBezTo>
                    <a:cubicBezTo>
                      <a:pt x="15" y="3"/>
                      <a:pt x="17" y="1"/>
                      <a:pt x="17" y="1"/>
                    </a:cubicBezTo>
                    <a:cubicBezTo>
                      <a:pt x="17" y="0"/>
                      <a:pt x="17" y="1"/>
                      <a:pt x="19" y="0"/>
                    </a:cubicBezTo>
                    <a:cubicBezTo>
                      <a:pt x="20" y="0"/>
                      <a:pt x="21" y="0"/>
                      <a:pt x="21" y="0"/>
                    </a:cubicBezTo>
                    <a:cubicBezTo>
                      <a:pt x="21" y="0"/>
                      <a:pt x="22" y="1"/>
                      <a:pt x="22" y="1"/>
                    </a:cubicBezTo>
                    <a:cubicBezTo>
                      <a:pt x="22" y="1"/>
                      <a:pt x="24" y="2"/>
                      <a:pt x="25" y="2"/>
                    </a:cubicBezTo>
                    <a:cubicBezTo>
                      <a:pt x="25" y="2"/>
                      <a:pt x="27" y="2"/>
                      <a:pt x="28" y="3"/>
                    </a:cubicBezTo>
                    <a:cubicBezTo>
                      <a:pt x="28" y="3"/>
                      <a:pt x="30" y="2"/>
                      <a:pt x="30" y="2"/>
                    </a:cubicBezTo>
                    <a:cubicBezTo>
                      <a:pt x="30" y="2"/>
                      <a:pt x="30" y="4"/>
                      <a:pt x="30" y="4"/>
                    </a:cubicBezTo>
                    <a:cubicBezTo>
                      <a:pt x="29" y="5"/>
                      <a:pt x="29" y="6"/>
                      <a:pt x="29" y="6"/>
                    </a:cubicBezTo>
                    <a:cubicBezTo>
                      <a:pt x="29" y="7"/>
                      <a:pt x="30" y="8"/>
                      <a:pt x="30" y="8"/>
                    </a:cubicBezTo>
                    <a:cubicBezTo>
                      <a:pt x="30" y="9"/>
                      <a:pt x="35" y="11"/>
                      <a:pt x="36" y="11"/>
                    </a:cubicBezTo>
                    <a:cubicBezTo>
                      <a:pt x="37" y="12"/>
                      <a:pt x="38" y="11"/>
                      <a:pt x="39" y="11"/>
                    </a:cubicBezTo>
                    <a:cubicBezTo>
                      <a:pt x="39" y="12"/>
                      <a:pt x="40" y="12"/>
                      <a:pt x="40" y="12"/>
                    </a:cubicBezTo>
                    <a:cubicBezTo>
                      <a:pt x="40" y="12"/>
                      <a:pt x="40" y="12"/>
                      <a:pt x="40" y="12"/>
                    </a:cubicBezTo>
                    <a:cubicBezTo>
                      <a:pt x="40" y="13"/>
                      <a:pt x="40" y="13"/>
                      <a:pt x="40" y="13"/>
                    </a:cubicBezTo>
                    <a:cubicBezTo>
                      <a:pt x="39" y="14"/>
                      <a:pt x="38" y="13"/>
                      <a:pt x="38" y="14"/>
                    </a:cubicBezTo>
                    <a:cubicBezTo>
                      <a:pt x="38" y="14"/>
                      <a:pt x="37" y="14"/>
                      <a:pt x="37" y="14"/>
                    </a:cubicBezTo>
                    <a:cubicBezTo>
                      <a:pt x="36" y="14"/>
                      <a:pt x="35" y="14"/>
                      <a:pt x="35" y="14"/>
                    </a:cubicBezTo>
                    <a:cubicBezTo>
                      <a:pt x="35" y="15"/>
                      <a:pt x="35" y="16"/>
                      <a:pt x="35" y="16"/>
                    </a:cubicBezTo>
                    <a:cubicBezTo>
                      <a:pt x="34" y="16"/>
                      <a:pt x="34" y="17"/>
                      <a:pt x="34" y="17"/>
                    </a:cubicBezTo>
                    <a:cubicBezTo>
                      <a:pt x="33" y="17"/>
                      <a:pt x="33" y="16"/>
                      <a:pt x="32" y="17"/>
                    </a:cubicBezTo>
                    <a:cubicBezTo>
                      <a:pt x="32" y="17"/>
                      <a:pt x="31" y="17"/>
                      <a:pt x="31" y="17"/>
                    </a:cubicBezTo>
                    <a:cubicBezTo>
                      <a:pt x="31" y="17"/>
                      <a:pt x="30" y="16"/>
                      <a:pt x="30" y="17"/>
                    </a:cubicBezTo>
                    <a:cubicBezTo>
                      <a:pt x="30" y="18"/>
                      <a:pt x="30" y="21"/>
                      <a:pt x="30" y="22"/>
                    </a:cubicBezTo>
                    <a:cubicBezTo>
                      <a:pt x="30" y="22"/>
                      <a:pt x="29" y="23"/>
                      <a:pt x="29" y="23"/>
                    </a:cubicBezTo>
                    <a:cubicBezTo>
                      <a:pt x="28" y="23"/>
                      <a:pt x="29" y="24"/>
                      <a:pt x="28" y="24"/>
                    </a:cubicBezTo>
                    <a:cubicBezTo>
                      <a:pt x="28" y="24"/>
                      <a:pt x="27" y="24"/>
                      <a:pt x="26" y="24"/>
                    </a:cubicBezTo>
                    <a:cubicBezTo>
                      <a:pt x="26" y="24"/>
                      <a:pt x="26" y="25"/>
                      <a:pt x="26" y="26"/>
                    </a:cubicBezTo>
                    <a:cubicBezTo>
                      <a:pt x="26" y="26"/>
                      <a:pt x="25" y="27"/>
                      <a:pt x="26" y="27"/>
                    </a:cubicBezTo>
                    <a:cubicBezTo>
                      <a:pt x="26" y="27"/>
                      <a:pt x="26" y="28"/>
                      <a:pt x="26" y="28"/>
                    </a:cubicBezTo>
                    <a:cubicBezTo>
                      <a:pt x="26" y="28"/>
                      <a:pt x="26" y="29"/>
                      <a:pt x="26" y="29"/>
                    </a:cubicBezTo>
                    <a:cubicBezTo>
                      <a:pt x="26" y="30"/>
                      <a:pt x="25" y="30"/>
                      <a:pt x="25" y="31"/>
                    </a:cubicBezTo>
                    <a:cubicBezTo>
                      <a:pt x="25" y="31"/>
                      <a:pt x="25" y="31"/>
                      <a:pt x="25" y="32"/>
                    </a:cubicBezTo>
                    <a:cubicBezTo>
                      <a:pt x="25" y="32"/>
                      <a:pt x="26" y="32"/>
                      <a:pt x="26" y="32"/>
                    </a:cubicBezTo>
                    <a:cubicBezTo>
                      <a:pt x="26" y="32"/>
                      <a:pt x="26" y="33"/>
                      <a:pt x="26" y="33"/>
                    </a:cubicBezTo>
                    <a:cubicBezTo>
                      <a:pt x="26" y="33"/>
                      <a:pt x="25" y="33"/>
                      <a:pt x="26" y="34"/>
                    </a:cubicBezTo>
                    <a:cubicBezTo>
                      <a:pt x="26" y="34"/>
                      <a:pt x="27" y="34"/>
                      <a:pt x="28" y="34"/>
                    </a:cubicBezTo>
                    <a:cubicBezTo>
                      <a:pt x="28" y="35"/>
                      <a:pt x="28" y="35"/>
                      <a:pt x="29" y="35"/>
                    </a:cubicBezTo>
                    <a:cubicBezTo>
                      <a:pt x="29" y="36"/>
                      <a:pt x="30" y="36"/>
                      <a:pt x="31" y="37"/>
                    </a:cubicBezTo>
                    <a:cubicBezTo>
                      <a:pt x="31" y="37"/>
                      <a:pt x="31" y="37"/>
                      <a:pt x="32" y="37"/>
                    </a:cubicBezTo>
                    <a:cubicBezTo>
                      <a:pt x="32" y="37"/>
                      <a:pt x="32" y="40"/>
                      <a:pt x="32" y="40"/>
                    </a:cubicBezTo>
                    <a:cubicBezTo>
                      <a:pt x="32" y="41"/>
                      <a:pt x="33" y="42"/>
                      <a:pt x="33" y="42"/>
                    </a:cubicBezTo>
                    <a:cubicBezTo>
                      <a:pt x="34" y="43"/>
                      <a:pt x="38" y="46"/>
                      <a:pt x="39" y="46"/>
                    </a:cubicBezTo>
                    <a:cubicBezTo>
                      <a:pt x="40" y="46"/>
                      <a:pt x="41" y="47"/>
                      <a:pt x="42" y="47"/>
                    </a:cubicBezTo>
                    <a:cubicBezTo>
                      <a:pt x="42" y="48"/>
                      <a:pt x="43" y="49"/>
                      <a:pt x="44" y="49"/>
                    </a:cubicBezTo>
                    <a:cubicBezTo>
                      <a:pt x="44" y="50"/>
                      <a:pt x="44" y="50"/>
                      <a:pt x="45" y="50"/>
                    </a:cubicBezTo>
                    <a:cubicBezTo>
                      <a:pt x="46" y="51"/>
                      <a:pt x="47" y="52"/>
                      <a:pt x="48" y="53"/>
                    </a:cubicBezTo>
                    <a:cubicBezTo>
                      <a:pt x="49" y="54"/>
                      <a:pt x="48" y="54"/>
                      <a:pt x="49" y="55"/>
                    </a:cubicBezTo>
                    <a:cubicBezTo>
                      <a:pt x="49" y="56"/>
                      <a:pt x="50" y="57"/>
                      <a:pt x="50" y="57"/>
                    </a:cubicBezTo>
                    <a:cubicBezTo>
                      <a:pt x="50" y="58"/>
                      <a:pt x="50" y="59"/>
                      <a:pt x="51" y="59"/>
                    </a:cubicBezTo>
                    <a:cubicBezTo>
                      <a:pt x="51" y="60"/>
                      <a:pt x="51" y="60"/>
                      <a:pt x="51" y="61"/>
                    </a:cubicBezTo>
                    <a:cubicBezTo>
                      <a:pt x="52" y="61"/>
                      <a:pt x="52" y="63"/>
                      <a:pt x="52" y="64"/>
                    </a:cubicBezTo>
                    <a:cubicBezTo>
                      <a:pt x="53" y="64"/>
                      <a:pt x="53" y="65"/>
                      <a:pt x="53" y="65"/>
                    </a:cubicBezTo>
                    <a:cubicBezTo>
                      <a:pt x="53" y="66"/>
                      <a:pt x="53" y="66"/>
                      <a:pt x="53" y="67"/>
                    </a:cubicBezTo>
                    <a:cubicBezTo>
                      <a:pt x="53" y="68"/>
                      <a:pt x="53" y="68"/>
                      <a:pt x="53" y="69"/>
                    </a:cubicBezTo>
                    <a:cubicBezTo>
                      <a:pt x="53" y="69"/>
                      <a:pt x="53" y="70"/>
                      <a:pt x="54" y="71"/>
                    </a:cubicBezTo>
                    <a:cubicBezTo>
                      <a:pt x="54" y="71"/>
                      <a:pt x="54" y="71"/>
                      <a:pt x="55" y="72"/>
                    </a:cubicBezTo>
                    <a:cubicBezTo>
                      <a:pt x="56" y="74"/>
                      <a:pt x="56" y="74"/>
                      <a:pt x="56" y="74"/>
                    </a:cubicBezTo>
                    <a:close/>
                    <a:moveTo>
                      <a:pt x="18" y="91"/>
                    </a:moveTo>
                    <a:cubicBezTo>
                      <a:pt x="18" y="92"/>
                      <a:pt x="19" y="92"/>
                      <a:pt x="19" y="92"/>
                    </a:cubicBezTo>
                    <a:cubicBezTo>
                      <a:pt x="19" y="92"/>
                      <a:pt x="18" y="92"/>
                      <a:pt x="19" y="93"/>
                    </a:cubicBezTo>
                    <a:cubicBezTo>
                      <a:pt x="19" y="93"/>
                      <a:pt x="18" y="94"/>
                      <a:pt x="19" y="94"/>
                    </a:cubicBezTo>
                    <a:cubicBezTo>
                      <a:pt x="20" y="94"/>
                      <a:pt x="20" y="94"/>
                      <a:pt x="20" y="93"/>
                    </a:cubicBezTo>
                    <a:cubicBezTo>
                      <a:pt x="20" y="92"/>
                      <a:pt x="20" y="92"/>
                      <a:pt x="20" y="91"/>
                    </a:cubicBezTo>
                    <a:cubicBezTo>
                      <a:pt x="20" y="91"/>
                      <a:pt x="20" y="91"/>
                      <a:pt x="20" y="91"/>
                    </a:cubicBezTo>
                    <a:cubicBezTo>
                      <a:pt x="19" y="91"/>
                      <a:pt x="19" y="91"/>
                      <a:pt x="19" y="91"/>
                    </a:cubicBezTo>
                    <a:cubicBezTo>
                      <a:pt x="18" y="91"/>
                      <a:pt x="18" y="91"/>
                      <a:pt x="18" y="9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5" name="Freeform 826">
                <a:extLst>
                  <a:ext uri="{FF2B5EF4-FFF2-40B4-BE49-F238E27FC236}">
                    <a16:creationId xmlns:a16="http://schemas.microsoft.com/office/drawing/2014/main" id="{22AC8235-A750-4A72-94E5-A95ACAF545F7}"/>
                  </a:ext>
                </a:extLst>
              </p:cNvPr>
              <p:cNvSpPr>
                <a:spLocks/>
              </p:cNvSpPr>
              <p:nvPr/>
            </p:nvSpPr>
            <p:spPr bwMode="auto">
              <a:xfrm>
                <a:off x="6958013" y="3441700"/>
                <a:ext cx="482600" cy="317500"/>
              </a:xfrm>
              <a:custGeom>
                <a:avLst/>
                <a:gdLst>
                  <a:gd name="T0" fmla="*/ 80 w 116"/>
                  <a:gd name="T1" fmla="*/ 76 h 76"/>
                  <a:gd name="T2" fmla="*/ 82 w 116"/>
                  <a:gd name="T3" fmla="*/ 70 h 76"/>
                  <a:gd name="T4" fmla="*/ 84 w 116"/>
                  <a:gd name="T5" fmla="*/ 67 h 76"/>
                  <a:gd name="T6" fmla="*/ 82 w 116"/>
                  <a:gd name="T7" fmla="*/ 62 h 76"/>
                  <a:gd name="T8" fmla="*/ 79 w 116"/>
                  <a:gd name="T9" fmla="*/ 60 h 76"/>
                  <a:gd name="T10" fmla="*/ 77 w 116"/>
                  <a:gd name="T11" fmla="*/ 57 h 76"/>
                  <a:gd name="T12" fmla="*/ 81 w 116"/>
                  <a:gd name="T13" fmla="*/ 54 h 76"/>
                  <a:gd name="T14" fmla="*/ 85 w 116"/>
                  <a:gd name="T15" fmla="*/ 54 h 76"/>
                  <a:gd name="T16" fmla="*/ 87 w 116"/>
                  <a:gd name="T17" fmla="*/ 51 h 76"/>
                  <a:gd name="T18" fmla="*/ 89 w 116"/>
                  <a:gd name="T19" fmla="*/ 50 h 76"/>
                  <a:gd name="T20" fmla="*/ 89 w 116"/>
                  <a:gd name="T21" fmla="*/ 46 h 76"/>
                  <a:gd name="T22" fmla="*/ 91 w 116"/>
                  <a:gd name="T23" fmla="*/ 44 h 76"/>
                  <a:gd name="T24" fmla="*/ 97 w 116"/>
                  <a:gd name="T25" fmla="*/ 43 h 76"/>
                  <a:gd name="T26" fmla="*/ 99 w 116"/>
                  <a:gd name="T27" fmla="*/ 43 h 76"/>
                  <a:gd name="T28" fmla="*/ 98 w 116"/>
                  <a:gd name="T29" fmla="*/ 47 h 76"/>
                  <a:gd name="T30" fmla="*/ 100 w 116"/>
                  <a:gd name="T31" fmla="*/ 50 h 76"/>
                  <a:gd name="T32" fmla="*/ 102 w 116"/>
                  <a:gd name="T33" fmla="*/ 51 h 76"/>
                  <a:gd name="T34" fmla="*/ 102 w 116"/>
                  <a:gd name="T35" fmla="*/ 49 h 76"/>
                  <a:gd name="T36" fmla="*/ 105 w 116"/>
                  <a:gd name="T37" fmla="*/ 49 h 76"/>
                  <a:gd name="T38" fmla="*/ 109 w 116"/>
                  <a:gd name="T39" fmla="*/ 47 h 76"/>
                  <a:gd name="T40" fmla="*/ 112 w 116"/>
                  <a:gd name="T41" fmla="*/ 46 h 76"/>
                  <a:gd name="T42" fmla="*/ 116 w 116"/>
                  <a:gd name="T43" fmla="*/ 45 h 76"/>
                  <a:gd name="T44" fmla="*/ 111 w 116"/>
                  <a:gd name="T45" fmla="*/ 42 h 76"/>
                  <a:gd name="T46" fmla="*/ 107 w 116"/>
                  <a:gd name="T47" fmla="*/ 40 h 76"/>
                  <a:gd name="T48" fmla="*/ 105 w 116"/>
                  <a:gd name="T49" fmla="*/ 40 h 76"/>
                  <a:gd name="T50" fmla="*/ 102 w 116"/>
                  <a:gd name="T51" fmla="*/ 41 h 76"/>
                  <a:gd name="T52" fmla="*/ 98 w 116"/>
                  <a:gd name="T53" fmla="*/ 38 h 76"/>
                  <a:gd name="T54" fmla="*/ 100 w 116"/>
                  <a:gd name="T55" fmla="*/ 34 h 76"/>
                  <a:gd name="T56" fmla="*/ 101 w 116"/>
                  <a:gd name="T57" fmla="*/ 31 h 76"/>
                  <a:gd name="T58" fmla="*/ 94 w 116"/>
                  <a:gd name="T59" fmla="*/ 36 h 76"/>
                  <a:gd name="T60" fmla="*/ 88 w 116"/>
                  <a:gd name="T61" fmla="*/ 39 h 76"/>
                  <a:gd name="T62" fmla="*/ 84 w 116"/>
                  <a:gd name="T63" fmla="*/ 43 h 76"/>
                  <a:gd name="T64" fmla="*/ 85 w 116"/>
                  <a:gd name="T65" fmla="*/ 46 h 76"/>
                  <a:gd name="T66" fmla="*/ 81 w 116"/>
                  <a:gd name="T67" fmla="*/ 41 h 76"/>
                  <a:gd name="T68" fmla="*/ 68 w 116"/>
                  <a:gd name="T69" fmla="*/ 34 h 76"/>
                  <a:gd name="T70" fmla="*/ 68 w 116"/>
                  <a:gd name="T71" fmla="*/ 24 h 76"/>
                  <a:gd name="T72" fmla="*/ 64 w 116"/>
                  <a:gd name="T73" fmla="*/ 21 h 76"/>
                  <a:gd name="T74" fmla="*/ 54 w 116"/>
                  <a:gd name="T75" fmla="*/ 18 h 76"/>
                  <a:gd name="T76" fmla="*/ 35 w 116"/>
                  <a:gd name="T77" fmla="*/ 13 h 76"/>
                  <a:gd name="T78" fmla="*/ 17 w 116"/>
                  <a:gd name="T79" fmla="*/ 0 h 76"/>
                  <a:gd name="T80" fmla="*/ 6 w 116"/>
                  <a:gd name="T81" fmla="*/ 40 h 76"/>
                  <a:gd name="T82" fmla="*/ 7 w 116"/>
                  <a:gd name="T83" fmla="*/ 38 h 76"/>
                  <a:gd name="T84" fmla="*/ 12 w 116"/>
                  <a:gd name="T85" fmla="*/ 32 h 76"/>
                  <a:gd name="T86" fmla="*/ 15 w 116"/>
                  <a:gd name="T87" fmla="*/ 28 h 76"/>
                  <a:gd name="T88" fmla="*/ 18 w 116"/>
                  <a:gd name="T89" fmla="*/ 26 h 76"/>
                  <a:gd name="T90" fmla="*/ 27 w 116"/>
                  <a:gd name="T91" fmla="*/ 32 h 76"/>
                  <a:gd name="T92" fmla="*/ 29 w 116"/>
                  <a:gd name="T93" fmla="*/ 35 h 76"/>
                  <a:gd name="T94" fmla="*/ 28 w 116"/>
                  <a:gd name="T95" fmla="*/ 37 h 76"/>
                  <a:gd name="T96" fmla="*/ 29 w 116"/>
                  <a:gd name="T97" fmla="*/ 40 h 76"/>
                  <a:gd name="T98" fmla="*/ 34 w 116"/>
                  <a:gd name="T99" fmla="*/ 40 h 76"/>
                  <a:gd name="T100" fmla="*/ 37 w 116"/>
                  <a:gd name="T101" fmla="*/ 40 h 76"/>
                  <a:gd name="T102" fmla="*/ 43 w 116"/>
                  <a:gd name="T103" fmla="*/ 48 h 76"/>
                  <a:gd name="T104" fmla="*/ 64 w 116"/>
                  <a:gd name="T105" fmla="*/ 66 h 76"/>
                  <a:gd name="T106" fmla="*/ 72 w 116"/>
                  <a:gd name="T107" fmla="*/ 68 h 76"/>
                  <a:gd name="T108" fmla="*/ 71 w 116"/>
                  <a:gd name="T109"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 h="76">
                    <a:moveTo>
                      <a:pt x="76" y="76"/>
                    </a:moveTo>
                    <a:cubicBezTo>
                      <a:pt x="78" y="75"/>
                      <a:pt x="78" y="75"/>
                      <a:pt x="78" y="75"/>
                    </a:cubicBezTo>
                    <a:cubicBezTo>
                      <a:pt x="80" y="76"/>
                      <a:pt x="80" y="76"/>
                      <a:pt x="80" y="76"/>
                    </a:cubicBezTo>
                    <a:cubicBezTo>
                      <a:pt x="80" y="73"/>
                      <a:pt x="80" y="73"/>
                      <a:pt x="80" y="73"/>
                    </a:cubicBezTo>
                    <a:cubicBezTo>
                      <a:pt x="80" y="73"/>
                      <a:pt x="81" y="73"/>
                      <a:pt x="81" y="72"/>
                    </a:cubicBezTo>
                    <a:cubicBezTo>
                      <a:pt x="81" y="72"/>
                      <a:pt x="82" y="70"/>
                      <a:pt x="82" y="70"/>
                    </a:cubicBezTo>
                    <a:cubicBezTo>
                      <a:pt x="83" y="69"/>
                      <a:pt x="83" y="69"/>
                      <a:pt x="83" y="69"/>
                    </a:cubicBezTo>
                    <a:cubicBezTo>
                      <a:pt x="83" y="69"/>
                      <a:pt x="84" y="69"/>
                      <a:pt x="84" y="69"/>
                    </a:cubicBezTo>
                    <a:cubicBezTo>
                      <a:pt x="84" y="69"/>
                      <a:pt x="84" y="67"/>
                      <a:pt x="84" y="67"/>
                    </a:cubicBezTo>
                    <a:cubicBezTo>
                      <a:pt x="84" y="67"/>
                      <a:pt x="82" y="65"/>
                      <a:pt x="82" y="65"/>
                    </a:cubicBezTo>
                    <a:cubicBezTo>
                      <a:pt x="82" y="65"/>
                      <a:pt x="81" y="62"/>
                      <a:pt x="81" y="62"/>
                    </a:cubicBezTo>
                    <a:cubicBezTo>
                      <a:pt x="81" y="62"/>
                      <a:pt x="82" y="62"/>
                      <a:pt x="82" y="62"/>
                    </a:cubicBezTo>
                    <a:cubicBezTo>
                      <a:pt x="82" y="61"/>
                      <a:pt x="82" y="60"/>
                      <a:pt x="82" y="60"/>
                    </a:cubicBezTo>
                    <a:cubicBezTo>
                      <a:pt x="81" y="60"/>
                      <a:pt x="81" y="60"/>
                      <a:pt x="81" y="60"/>
                    </a:cubicBezTo>
                    <a:cubicBezTo>
                      <a:pt x="79" y="60"/>
                      <a:pt x="79" y="60"/>
                      <a:pt x="79" y="60"/>
                    </a:cubicBezTo>
                    <a:cubicBezTo>
                      <a:pt x="79" y="60"/>
                      <a:pt x="79" y="59"/>
                      <a:pt x="79" y="59"/>
                    </a:cubicBezTo>
                    <a:cubicBezTo>
                      <a:pt x="78" y="59"/>
                      <a:pt x="77" y="58"/>
                      <a:pt x="77" y="58"/>
                    </a:cubicBezTo>
                    <a:cubicBezTo>
                      <a:pt x="77" y="58"/>
                      <a:pt x="77" y="57"/>
                      <a:pt x="77" y="57"/>
                    </a:cubicBezTo>
                    <a:cubicBezTo>
                      <a:pt x="77" y="56"/>
                      <a:pt x="78" y="55"/>
                      <a:pt x="78" y="55"/>
                    </a:cubicBezTo>
                    <a:cubicBezTo>
                      <a:pt x="78" y="55"/>
                      <a:pt x="79" y="54"/>
                      <a:pt x="79" y="54"/>
                    </a:cubicBezTo>
                    <a:cubicBezTo>
                      <a:pt x="79" y="54"/>
                      <a:pt x="81" y="54"/>
                      <a:pt x="81" y="54"/>
                    </a:cubicBezTo>
                    <a:cubicBezTo>
                      <a:pt x="81" y="54"/>
                      <a:pt x="83" y="55"/>
                      <a:pt x="83" y="55"/>
                    </a:cubicBezTo>
                    <a:cubicBezTo>
                      <a:pt x="84" y="55"/>
                      <a:pt x="84" y="55"/>
                      <a:pt x="84" y="55"/>
                    </a:cubicBezTo>
                    <a:cubicBezTo>
                      <a:pt x="84" y="55"/>
                      <a:pt x="84" y="55"/>
                      <a:pt x="85" y="54"/>
                    </a:cubicBezTo>
                    <a:cubicBezTo>
                      <a:pt x="85" y="53"/>
                      <a:pt x="86" y="53"/>
                      <a:pt x="86" y="53"/>
                    </a:cubicBezTo>
                    <a:cubicBezTo>
                      <a:pt x="86" y="52"/>
                      <a:pt x="87" y="51"/>
                      <a:pt x="87" y="51"/>
                    </a:cubicBezTo>
                    <a:cubicBezTo>
                      <a:pt x="87" y="51"/>
                      <a:pt x="87" y="51"/>
                      <a:pt x="87" y="51"/>
                    </a:cubicBezTo>
                    <a:cubicBezTo>
                      <a:pt x="86" y="51"/>
                      <a:pt x="85" y="50"/>
                      <a:pt x="85" y="50"/>
                    </a:cubicBezTo>
                    <a:cubicBezTo>
                      <a:pt x="87" y="50"/>
                      <a:pt x="87" y="50"/>
                      <a:pt x="87" y="50"/>
                    </a:cubicBezTo>
                    <a:cubicBezTo>
                      <a:pt x="89" y="50"/>
                      <a:pt x="89" y="50"/>
                      <a:pt x="89" y="50"/>
                    </a:cubicBezTo>
                    <a:cubicBezTo>
                      <a:pt x="90" y="49"/>
                      <a:pt x="90" y="49"/>
                      <a:pt x="90" y="49"/>
                    </a:cubicBezTo>
                    <a:cubicBezTo>
                      <a:pt x="90" y="47"/>
                      <a:pt x="90" y="47"/>
                      <a:pt x="90" y="47"/>
                    </a:cubicBezTo>
                    <a:cubicBezTo>
                      <a:pt x="89" y="46"/>
                      <a:pt x="89" y="46"/>
                      <a:pt x="89" y="46"/>
                    </a:cubicBezTo>
                    <a:cubicBezTo>
                      <a:pt x="90" y="46"/>
                      <a:pt x="90" y="46"/>
                      <a:pt x="90" y="46"/>
                    </a:cubicBezTo>
                    <a:cubicBezTo>
                      <a:pt x="90" y="46"/>
                      <a:pt x="90" y="45"/>
                      <a:pt x="90" y="45"/>
                    </a:cubicBezTo>
                    <a:cubicBezTo>
                      <a:pt x="90" y="44"/>
                      <a:pt x="91" y="44"/>
                      <a:pt x="91" y="44"/>
                    </a:cubicBezTo>
                    <a:cubicBezTo>
                      <a:pt x="92" y="45"/>
                      <a:pt x="92" y="45"/>
                      <a:pt x="92" y="45"/>
                    </a:cubicBezTo>
                    <a:cubicBezTo>
                      <a:pt x="92" y="45"/>
                      <a:pt x="93" y="46"/>
                      <a:pt x="93" y="45"/>
                    </a:cubicBezTo>
                    <a:cubicBezTo>
                      <a:pt x="93" y="45"/>
                      <a:pt x="97" y="43"/>
                      <a:pt x="97" y="43"/>
                    </a:cubicBezTo>
                    <a:cubicBezTo>
                      <a:pt x="98" y="42"/>
                      <a:pt x="98" y="42"/>
                      <a:pt x="98" y="42"/>
                    </a:cubicBezTo>
                    <a:cubicBezTo>
                      <a:pt x="98" y="43"/>
                      <a:pt x="98" y="43"/>
                      <a:pt x="98" y="43"/>
                    </a:cubicBezTo>
                    <a:cubicBezTo>
                      <a:pt x="99" y="43"/>
                      <a:pt x="99" y="43"/>
                      <a:pt x="99" y="43"/>
                    </a:cubicBezTo>
                    <a:cubicBezTo>
                      <a:pt x="99" y="43"/>
                      <a:pt x="99" y="44"/>
                      <a:pt x="99" y="44"/>
                    </a:cubicBezTo>
                    <a:cubicBezTo>
                      <a:pt x="99" y="44"/>
                      <a:pt x="100" y="45"/>
                      <a:pt x="100" y="45"/>
                    </a:cubicBezTo>
                    <a:cubicBezTo>
                      <a:pt x="98" y="47"/>
                      <a:pt x="98" y="47"/>
                      <a:pt x="98" y="47"/>
                    </a:cubicBezTo>
                    <a:cubicBezTo>
                      <a:pt x="98" y="48"/>
                      <a:pt x="98" y="48"/>
                      <a:pt x="98" y="48"/>
                    </a:cubicBezTo>
                    <a:cubicBezTo>
                      <a:pt x="99" y="49"/>
                      <a:pt x="99" y="49"/>
                      <a:pt x="99" y="49"/>
                    </a:cubicBezTo>
                    <a:cubicBezTo>
                      <a:pt x="100" y="50"/>
                      <a:pt x="100" y="50"/>
                      <a:pt x="100" y="50"/>
                    </a:cubicBezTo>
                    <a:cubicBezTo>
                      <a:pt x="101" y="50"/>
                      <a:pt x="101" y="50"/>
                      <a:pt x="101" y="50"/>
                    </a:cubicBezTo>
                    <a:cubicBezTo>
                      <a:pt x="101" y="50"/>
                      <a:pt x="101" y="50"/>
                      <a:pt x="101" y="50"/>
                    </a:cubicBezTo>
                    <a:cubicBezTo>
                      <a:pt x="102" y="50"/>
                      <a:pt x="102" y="51"/>
                      <a:pt x="102" y="51"/>
                    </a:cubicBezTo>
                    <a:cubicBezTo>
                      <a:pt x="102" y="51"/>
                      <a:pt x="102" y="52"/>
                      <a:pt x="102" y="52"/>
                    </a:cubicBezTo>
                    <a:cubicBezTo>
                      <a:pt x="102" y="52"/>
                      <a:pt x="102" y="51"/>
                      <a:pt x="102" y="51"/>
                    </a:cubicBezTo>
                    <a:cubicBezTo>
                      <a:pt x="103" y="50"/>
                      <a:pt x="102" y="49"/>
                      <a:pt x="102" y="49"/>
                    </a:cubicBezTo>
                    <a:cubicBezTo>
                      <a:pt x="102" y="49"/>
                      <a:pt x="102" y="48"/>
                      <a:pt x="102" y="48"/>
                    </a:cubicBezTo>
                    <a:cubicBezTo>
                      <a:pt x="103" y="48"/>
                      <a:pt x="104" y="48"/>
                      <a:pt x="104" y="48"/>
                    </a:cubicBezTo>
                    <a:cubicBezTo>
                      <a:pt x="104" y="48"/>
                      <a:pt x="105" y="49"/>
                      <a:pt x="105" y="49"/>
                    </a:cubicBezTo>
                    <a:cubicBezTo>
                      <a:pt x="105" y="49"/>
                      <a:pt x="106" y="50"/>
                      <a:pt x="106" y="50"/>
                    </a:cubicBezTo>
                    <a:cubicBezTo>
                      <a:pt x="107" y="49"/>
                      <a:pt x="108" y="49"/>
                      <a:pt x="108" y="49"/>
                    </a:cubicBezTo>
                    <a:cubicBezTo>
                      <a:pt x="108" y="48"/>
                      <a:pt x="109" y="48"/>
                      <a:pt x="109" y="47"/>
                    </a:cubicBezTo>
                    <a:cubicBezTo>
                      <a:pt x="109" y="47"/>
                      <a:pt x="111" y="47"/>
                      <a:pt x="111" y="47"/>
                    </a:cubicBezTo>
                    <a:cubicBezTo>
                      <a:pt x="111" y="46"/>
                      <a:pt x="111" y="46"/>
                      <a:pt x="111" y="46"/>
                    </a:cubicBezTo>
                    <a:cubicBezTo>
                      <a:pt x="111" y="46"/>
                      <a:pt x="112" y="46"/>
                      <a:pt x="112" y="46"/>
                    </a:cubicBezTo>
                    <a:cubicBezTo>
                      <a:pt x="113" y="46"/>
                      <a:pt x="113" y="47"/>
                      <a:pt x="113" y="47"/>
                    </a:cubicBezTo>
                    <a:cubicBezTo>
                      <a:pt x="113" y="46"/>
                      <a:pt x="114" y="45"/>
                      <a:pt x="114" y="45"/>
                    </a:cubicBezTo>
                    <a:cubicBezTo>
                      <a:pt x="114" y="45"/>
                      <a:pt x="116" y="45"/>
                      <a:pt x="116" y="45"/>
                    </a:cubicBezTo>
                    <a:cubicBezTo>
                      <a:pt x="115" y="44"/>
                      <a:pt x="115" y="44"/>
                      <a:pt x="115" y="44"/>
                    </a:cubicBezTo>
                    <a:cubicBezTo>
                      <a:pt x="115" y="44"/>
                      <a:pt x="113" y="44"/>
                      <a:pt x="113" y="44"/>
                    </a:cubicBezTo>
                    <a:cubicBezTo>
                      <a:pt x="112" y="44"/>
                      <a:pt x="111" y="43"/>
                      <a:pt x="111" y="42"/>
                    </a:cubicBezTo>
                    <a:cubicBezTo>
                      <a:pt x="111" y="42"/>
                      <a:pt x="109" y="42"/>
                      <a:pt x="109" y="42"/>
                    </a:cubicBezTo>
                    <a:cubicBezTo>
                      <a:pt x="109" y="42"/>
                      <a:pt x="110" y="41"/>
                      <a:pt x="109" y="41"/>
                    </a:cubicBezTo>
                    <a:cubicBezTo>
                      <a:pt x="108" y="40"/>
                      <a:pt x="107" y="41"/>
                      <a:pt x="107" y="40"/>
                    </a:cubicBezTo>
                    <a:cubicBezTo>
                      <a:pt x="107" y="40"/>
                      <a:pt x="107" y="39"/>
                      <a:pt x="107" y="38"/>
                    </a:cubicBezTo>
                    <a:cubicBezTo>
                      <a:pt x="106" y="38"/>
                      <a:pt x="105" y="38"/>
                      <a:pt x="105" y="38"/>
                    </a:cubicBezTo>
                    <a:cubicBezTo>
                      <a:pt x="105" y="38"/>
                      <a:pt x="105" y="40"/>
                      <a:pt x="105" y="40"/>
                    </a:cubicBezTo>
                    <a:cubicBezTo>
                      <a:pt x="104" y="40"/>
                      <a:pt x="104" y="40"/>
                      <a:pt x="104" y="40"/>
                    </a:cubicBezTo>
                    <a:cubicBezTo>
                      <a:pt x="104" y="41"/>
                      <a:pt x="104" y="41"/>
                      <a:pt x="104" y="41"/>
                    </a:cubicBezTo>
                    <a:cubicBezTo>
                      <a:pt x="104" y="41"/>
                      <a:pt x="103" y="41"/>
                      <a:pt x="102" y="41"/>
                    </a:cubicBezTo>
                    <a:cubicBezTo>
                      <a:pt x="102" y="41"/>
                      <a:pt x="101" y="41"/>
                      <a:pt x="100" y="41"/>
                    </a:cubicBezTo>
                    <a:cubicBezTo>
                      <a:pt x="100" y="41"/>
                      <a:pt x="100" y="39"/>
                      <a:pt x="100" y="39"/>
                    </a:cubicBezTo>
                    <a:cubicBezTo>
                      <a:pt x="100" y="39"/>
                      <a:pt x="98" y="38"/>
                      <a:pt x="98" y="38"/>
                    </a:cubicBezTo>
                    <a:cubicBezTo>
                      <a:pt x="98" y="38"/>
                      <a:pt x="96" y="38"/>
                      <a:pt x="96" y="38"/>
                    </a:cubicBezTo>
                    <a:cubicBezTo>
                      <a:pt x="97" y="37"/>
                      <a:pt x="97" y="37"/>
                      <a:pt x="97" y="37"/>
                    </a:cubicBezTo>
                    <a:cubicBezTo>
                      <a:pt x="100" y="34"/>
                      <a:pt x="100" y="34"/>
                      <a:pt x="100" y="34"/>
                    </a:cubicBezTo>
                    <a:cubicBezTo>
                      <a:pt x="101" y="32"/>
                      <a:pt x="101" y="32"/>
                      <a:pt x="101" y="32"/>
                    </a:cubicBezTo>
                    <a:cubicBezTo>
                      <a:pt x="102" y="32"/>
                      <a:pt x="102" y="32"/>
                      <a:pt x="102" y="32"/>
                    </a:cubicBezTo>
                    <a:cubicBezTo>
                      <a:pt x="101" y="31"/>
                      <a:pt x="101" y="31"/>
                      <a:pt x="101" y="31"/>
                    </a:cubicBezTo>
                    <a:cubicBezTo>
                      <a:pt x="99" y="33"/>
                      <a:pt x="99" y="33"/>
                      <a:pt x="99" y="33"/>
                    </a:cubicBezTo>
                    <a:cubicBezTo>
                      <a:pt x="99" y="33"/>
                      <a:pt x="98" y="33"/>
                      <a:pt x="97" y="33"/>
                    </a:cubicBezTo>
                    <a:cubicBezTo>
                      <a:pt x="97" y="33"/>
                      <a:pt x="94" y="36"/>
                      <a:pt x="94" y="36"/>
                    </a:cubicBezTo>
                    <a:cubicBezTo>
                      <a:pt x="91" y="37"/>
                      <a:pt x="91" y="37"/>
                      <a:pt x="91" y="37"/>
                    </a:cubicBezTo>
                    <a:cubicBezTo>
                      <a:pt x="90" y="38"/>
                      <a:pt x="90" y="38"/>
                      <a:pt x="90" y="38"/>
                    </a:cubicBezTo>
                    <a:cubicBezTo>
                      <a:pt x="88" y="39"/>
                      <a:pt x="88" y="39"/>
                      <a:pt x="88" y="39"/>
                    </a:cubicBezTo>
                    <a:cubicBezTo>
                      <a:pt x="88" y="41"/>
                      <a:pt x="88" y="41"/>
                      <a:pt x="88" y="41"/>
                    </a:cubicBezTo>
                    <a:cubicBezTo>
                      <a:pt x="86" y="42"/>
                      <a:pt x="86" y="42"/>
                      <a:pt x="86" y="42"/>
                    </a:cubicBezTo>
                    <a:cubicBezTo>
                      <a:pt x="84" y="43"/>
                      <a:pt x="84" y="43"/>
                      <a:pt x="84" y="43"/>
                    </a:cubicBezTo>
                    <a:cubicBezTo>
                      <a:pt x="84" y="43"/>
                      <a:pt x="85" y="44"/>
                      <a:pt x="85" y="45"/>
                    </a:cubicBezTo>
                    <a:cubicBezTo>
                      <a:pt x="86" y="45"/>
                      <a:pt x="86" y="46"/>
                      <a:pt x="86" y="46"/>
                    </a:cubicBezTo>
                    <a:cubicBezTo>
                      <a:pt x="85" y="46"/>
                      <a:pt x="85" y="46"/>
                      <a:pt x="85" y="46"/>
                    </a:cubicBezTo>
                    <a:cubicBezTo>
                      <a:pt x="81" y="44"/>
                      <a:pt x="81" y="44"/>
                      <a:pt x="81" y="44"/>
                    </a:cubicBezTo>
                    <a:cubicBezTo>
                      <a:pt x="82" y="42"/>
                      <a:pt x="82" y="42"/>
                      <a:pt x="82" y="42"/>
                    </a:cubicBezTo>
                    <a:cubicBezTo>
                      <a:pt x="81" y="41"/>
                      <a:pt x="81" y="41"/>
                      <a:pt x="81" y="41"/>
                    </a:cubicBezTo>
                    <a:cubicBezTo>
                      <a:pt x="72" y="41"/>
                      <a:pt x="72" y="41"/>
                      <a:pt x="72" y="41"/>
                    </a:cubicBezTo>
                    <a:cubicBezTo>
                      <a:pt x="71" y="34"/>
                      <a:pt x="71" y="34"/>
                      <a:pt x="71" y="34"/>
                    </a:cubicBezTo>
                    <a:cubicBezTo>
                      <a:pt x="68" y="34"/>
                      <a:pt x="68" y="34"/>
                      <a:pt x="68" y="34"/>
                    </a:cubicBezTo>
                    <a:cubicBezTo>
                      <a:pt x="68" y="34"/>
                      <a:pt x="68" y="29"/>
                      <a:pt x="68" y="29"/>
                    </a:cubicBezTo>
                    <a:cubicBezTo>
                      <a:pt x="68" y="29"/>
                      <a:pt x="68" y="24"/>
                      <a:pt x="68" y="24"/>
                    </a:cubicBezTo>
                    <a:cubicBezTo>
                      <a:pt x="68" y="24"/>
                      <a:pt x="68" y="24"/>
                      <a:pt x="68" y="24"/>
                    </a:cubicBezTo>
                    <a:cubicBezTo>
                      <a:pt x="67" y="25"/>
                      <a:pt x="67" y="25"/>
                      <a:pt x="67" y="25"/>
                    </a:cubicBezTo>
                    <a:cubicBezTo>
                      <a:pt x="66" y="25"/>
                      <a:pt x="66" y="25"/>
                      <a:pt x="66" y="25"/>
                    </a:cubicBezTo>
                    <a:cubicBezTo>
                      <a:pt x="64" y="21"/>
                      <a:pt x="64" y="21"/>
                      <a:pt x="64" y="21"/>
                    </a:cubicBezTo>
                    <a:cubicBezTo>
                      <a:pt x="61" y="18"/>
                      <a:pt x="61" y="18"/>
                      <a:pt x="61" y="18"/>
                    </a:cubicBezTo>
                    <a:cubicBezTo>
                      <a:pt x="58" y="19"/>
                      <a:pt x="58" y="19"/>
                      <a:pt x="58" y="19"/>
                    </a:cubicBezTo>
                    <a:cubicBezTo>
                      <a:pt x="54" y="18"/>
                      <a:pt x="54" y="18"/>
                      <a:pt x="54" y="18"/>
                    </a:cubicBezTo>
                    <a:cubicBezTo>
                      <a:pt x="46" y="18"/>
                      <a:pt x="46" y="18"/>
                      <a:pt x="46" y="18"/>
                    </a:cubicBezTo>
                    <a:cubicBezTo>
                      <a:pt x="40" y="19"/>
                      <a:pt x="40" y="19"/>
                      <a:pt x="40" y="19"/>
                    </a:cubicBezTo>
                    <a:cubicBezTo>
                      <a:pt x="35" y="13"/>
                      <a:pt x="35" y="13"/>
                      <a:pt x="35" y="13"/>
                    </a:cubicBezTo>
                    <a:cubicBezTo>
                      <a:pt x="34" y="11"/>
                      <a:pt x="34" y="11"/>
                      <a:pt x="34" y="11"/>
                    </a:cubicBezTo>
                    <a:cubicBezTo>
                      <a:pt x="27" y="5"/>
                      <a:pt x="27" y="5"/>
                      <a:pt x="27" y="5"/>
                    </a:cubicBezTo>
                    <a:cubicBezTo>
                      <a:pt x="17" y="0"/>
                      <a:pt x="17" y="0"/>
                      <a:pt x="17" y="0"/>
                    </a:cubicBezTo>
                    <a:cubicBezTo>
                      <a:pt x="0" y="5"/>
                      <a:pt x="0" y="5"/>
                      <a:pt x="0" y="5"/>
                    </a:cubicBezTo>
                    <a:cubicBezTo>
                      <a:pt x="0" y="40"/>
                      <a:pt x="0" y="40"/>
                      <a:pt x="0" y="40"/>
                    </a:cubicBezTo>
                    <a:cubicBezTo>
                      <a:pt x="6" y="40"/>
                      <a:pt x="6" y="40"/>
                      <a:pt x="6" y="40"/>
                    </a:cubicBezTo>
                    <a:cubicBezTo>
                      <a:pt x="8" y="40"/>
                      <a:pt x="8" y="40"/>
                      <a:pt x="8" y="40"/>
                    </a:cubicBezTo>
                    <a:cubicBezTo>
                      <a:pt x="8" y="40"/>
                      <a:pt x="8" y="39"/>
                      <a:pt x="8" y="39"/>
                    </a:cubicBezTo>
                    <a:cubicBezTo>
                      <a:pt x="7" y="38"/>
                      <a:pt x="7" y="38"/>
                      <a:pt x="7" y="38"/>
                    </a:cubicBezTo>
                    <a:cubicBezTo>
                      <a:pt x="7" y="37"/>
                      <a:pt x="7" y="34"/>
                      <a:pt x="7" y="34"/>
                    </a:cubicBezTo>
                    <a:cubicBezTo>
                      <a:pt x="7" y="34"/>
                      <a:pt x="9" y="32"/>
                      <a:pt x="9" y="32"/>
                    </a:cubicBezTo>
                    <a:cubicBezTo>
                      <a:pt x="12" y="32"/>
                      <a:pt x="12" y="32"/>
                      <a:pt x="12" y="32"/>
                    </a:cubicBezTo>
                    <a:cubicBezTo>
                      <a:pt x="12" y="32"/>
                      <a:pt x="13" y="29"/>
                      <a:pt x="13" y="29"/>
                    </a:cubicBezTo>
                    <a:cubicBezTo>
                      <a:pt x="13" y="29"/>
                      <a:pt x="16" y="30"/>
                      <a:pt x="16" y="30"/>
                    </a:cubicBezTo>
                    <a:cubicBezTo>
                      <a:pt x="16" y="30"/>
                      <a:pt x="15" y="28"/>
                      <a:pt x="15" y="28"/>
                    </a:cubicBezTo>
                    <a:cubicBezTo>
                      <a:pt x="15" y="28"/>
                      <a:pt x="15" y="27"/>
                      <a:pt x="15" y="27"/>
                    </a:cubicBezTo>
                    <a:cubicBezTo>
                      <a:pt x="15" y="27"/>
                      <a:pt x="17" y="27"/>
                      <a:pt x="17" y="27"/>
                    </a:cubicBezTo>
                    <a:cubicBezTo>
                      <a:pt x="17" y="27"/>
                      <a:pt x="18" y="26"/>
                      <a:pt x="18" y="26"/>
                    </a:cubicBezTo>
                    <a:cubicBezTo>
                      <a:pt x="23" y="30"/>
                      <a:pt x="23" y="30"/>
                      <a:pt x="23" y="30"/>
                    </a:cubicBezTo>
                    <a:cubicBezTo>
                      <a:pt x="27" y="31"/>
                      <a:pt x="27" y="31"/>
                      <a:pt x="27" y="31"/>
                    </a:cubicBezTo>
                    <a:cubicBezTo>
                      <a:pt x="27" y="32"/>
                      <a:pt x="27" y="32"/>
                      <a:pt x="27" y="32"/>
                    </a:cubicBezTo>
                    <a:cubicBezTo>
                      <a:pt x="26" y="33"/>
                      <a:pt x="26" y="33"/>
                      <a:pt x="26" y="33"/>
                    </a:cubicBezTo>
                    <a:cubicBezTo>
                      <a:pt x="26" y="33"/>
                      <a:pt x="26" y="33"/>
                      <a:pt x="27" y="34"/>
                    </a:cubicBezTo>
                    <a:cubicBezTo>
                      <a:pt x="27" y="34"/>
                      <a:pt x="29" y="35"/>
                      <a:pt x="29" y="35"/>
                    </a:cubicBezTo>
                    <a:cubicBezTo>
                      <a:pt x="27" y="35"/>
                      <a:pt x="27" y="35"/>
                      <a:pt x="27" y="35"/>
                    </a:cubicBezTo>
                    <a:cubicBezTo>
                      <a:pt x="27" y="35"/>
                      <a:pt x="27" y="36"/>
                      <a:pt x="27" y="36"/>
                    </a:cubicBezTo>
                    <a:cubicBezTo>
                      <a:pt x="28" y="36"/>
                      <a:pt x="28" y="37"/>
                      <a:pt x="28" y="37"/>
                    </a:cubicBezTo>
                    <a:cubicBezTo>
                      <a:pt x="28" y="37"/>
                      <a:pt x="28" y="38"/>
                      <a:pt x="28" y="38"/>
                    </a:cubicBezTo>
                    <a:cubicBezTo>
                      <a:pt x="28" y="39"/>
                      <a:pt x="28" y="39"/>
                      <a:pt x="28" y="39"/>
                    </a:cubicBezTo>
                    <a:cubicBezTo>
                      <a:pt x="29" y="40"/>
                      <a:pt x="29" y="40"/>
                      <a:pt x="29" y="40"/>
                    </a:cubicBezTo>
                    <a:cubicBezTo>
                      <a:pt x="33" y="40"/>
                      <a:pt x="33" y="40"/>
                      <a:pt x="33" y="40"/>
                    </a:cubicBezTo>
                    <a:cubicBezTo>
                      <a:pt x="34" y="40"/>
                      <a:pt x="34" y="40"/>
                      <a:pt x="34" y="40"/>
                    </a:cubicBezTo>
                    <a:cubicBezTo>
                      <a:pt x="34" y="40"/>
                      <a:pt x="34" y="40"/>
                      <a:pt x="34" y="40"/>
                    </a:cubicBezTo>
                    <a:cubicBezTo>
                      <a:pt x="35" y="41"/>
                      <a:pt x="35" y="41"/>
                      <a:pt x="35" y="41"/>
                    </a:cubicBezTo>
                    <a:cubicBezTo>
                      <a:pt x="36" y="41"/>
                      <a:pt x="36" y="41"/>
                      <a:pt x="36" y="41"/>
                    </a:cubicBezTo>
                    <a:cubicBezTo>
                      <a:pt x="37" y="40"/>
                      <a:pt x="37" y="40"/>
                      <a:pt x="37" y="40"/>
                    </a:cubicBezTo>
                    <a:cubicBezTo>
                      <a:pt x="41" y="43"/>
                      <a:pt x="41" y="43"/>
                      <a:pt x="41" y="43"/>
                    </a:cubicBezTo>
                    <a:cubicBezTo>
                      <a:pt x="41" y="45"/>
                      <a:pt x="41" y="45"/>
                      <a:pt x="41" y="45"/>
                    </a:cubicBezTo>
                    <a:cubicBezTo>
                      <a:pt x="41" y="45"/>
                      <a:pt x="43" y="48"/>
                      <a:pt x="43" y="48"/>
                    </a:cubicBezTo>
                    <a:cubicBezTo>
                      <a:pt x="43" y="48"/>
                      <a:pt x="43" y="51"/>
                      <a:pt x="43" y="51"/>
                    </a:cubicBezTo>
                    <a:cubicBezTo>
                      <a:pt x="54" y="59"/>
                      <a:pt x="54" y="59"/>
                      <a:pt x="54" y="59"/>
                    </a:cubicBezTo>
                    <a:cubicBezTo>
                      <a:pt x="64" y="66"/>
                      <a:pt x="64" y="66"/>
                      <a:pt x="64" y="66"/>
                    </a:cubicBezTo>
                    <a:cubicBezTo>
                      <a:pt x="68" y="66"/>
                      <a:pt x="68" y="66"/>
                      <a:pt x="68" y="66"/>
                    </a:cubicBezTo>
                    <a:cubicBezTo>
                      <a:pt x="68" y="66"/>
                      <a:pt x="70" y="67"/>
                      <a:pt x="70" y="67"/>
                    </a:cubicBezTo>
                    <a:cubicBezTo>
                      <a:pt x="70" y="67"/>
                      <a:pt x="72" y="68"/>
                      <a:pt x="72" y="68"/>
                    </a:cubicBezTo>
                    <a:cubicBezTo>
                      <a:pt x="72" y="70"/>
                      <a:pt x="72" y="70"/>
                      <a:pt x="72" y="70"/>
                    </a:cubicBezTo>
                    <a:cubicBezTo>
                      <a:pt x="72" y="70"/>
                      <a:pt x="71" y="70"/>
                      <a:pt x="71" y="70"/>
                    </a:cubicBezTo>
                    <a:cubicBezTo>
                      <a:pt x="71" y="71"/>
                      <a:pt x="71" y="74"/>
                      <a:pt x="71" y="74"/>
                    </a:cubicBezTo>
                    <a:cubicBezTo>
                      <a:pt x="74" y="74"/>
                      <a:pt x="74" y="74"/>
                      <a:pt x="74" y="74"/>
                    </a:cubicBezTo>
                    <a:lnTo>
                      <a:pt x="76"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6" name="Freeform 828">
                <a:extLst>
                  <a:ext uri="{FF2B5EF4-FFF2-40B4-BE49-F238E27FC236}">
                    <a16:creationId xmlns:a16="http://schemas.microsoft.com/office/drawing/2014/main" id="{DB500D8E-8E0E-BA87-4215-3DF54E41B27B}"/>
                  </a:ext>
                </a:extLst>
              </p:cNvPr>
              <p:cNvSpPr>
                <a:spLocks/>
              </p:cNvSpPr>
              <p:nvPr/>
            </p:nvSpPr>
            <p:spPr bwMode="auto">
              <a:xfrm>
                <a:off x="6858000" y="3551238"/>
                <a:ext cx="398462" cy="277813"/>
              </a:xfrm>
              <a:custGeom>
                <a:avLst/>
                <a:gdLst>
                  <a:gd name="T0" fmla="*/ 18 w 96"/>
                  <a:gd name="T1" fmla="*/ 43 h 67"/>
                  <a:gd name="T2" fmla="*/ 27 w 96"/>
                  <a:gd name="T3" fmla="*/ 41 h 67"/>
                  <a:gd name="T4" fmla="*/ 32 w 96"/>
                  <a:gd name="T5" fmla="*/ 40 h 67"/>
                  <a:gd name="T6" fmla="*/ 39 w 96"/>
                  <a:gd name="T7" fmla="*/ 45 h 67"/>
                  <a:gd name="T8" fmla="*/ 44 w 96"/>
                  <a:gd name="T9" fmla="*/ 46 h 67"/>
                  <a:gd name="T10" fmla="*/ 47 w 96"/>
                  <a:gd name="T11" fmla="*/ 50 h 67"/>
                  <a:gd name="T12" fmla="*/ 53 w 96"/>
                  <a:gd name="T13" fmla="*/ 54 h 67"/>
                  <a:gd name="T14" fmla="*/ 59 w 96"/>
                  <a:gd name="T15" fmla="*/ 58 h 67"/>
                  <a:gd name="T16" fmla="*/ 58 w 96"/>
                  <a:gd name="T17" fmla="*/ 62 h 67"/>
                  <a:gd name="T18" fmla="*/ 60 w 96"/>
                  <a:gd name="T19" fmla="*/ 63 h 67"/>
                  <a:gd name="T20" fmla="*/ 66 w 96"/>
                  <a:gd name="T21" fmla="*/ 66 h 67"/>
                  <a:gd name="T22" fmla="*/ 68 w 96"/>
                  <a:gd name="T23" fmla="*/ 66 h 67"/>
                  <a:gd name="T24" fmla="*/ 72 w 96"/>
                  <a:gd name="T25" fmla="*/ 65 h 67"/>
                  <a:gd name="T26" fmla="*/ 72 w 96"/>
                  <a:gd name="T27" fmla="*/ 61 h 67"/>
                  <a:gd name="T28" fmla="*/ 78 w 96"/>
                  <a:gd name="T29" fmla="*/ 60 h 67"/>
                  <a:gd name="T30" fmla="*/ 82 w 96"/>
                  <a:gd name="T31" fmla="*/ 54 h 67"/>
                  <a:gd name="T32" fmla="*/ 85 w 96"/>
                  <a:gd name="T33" fmla="*/ 49 h 67"/>
                  <a:gd name="T34" fmla="*/ 89 w 96"/>
                  <a:gd name="T35" fmla="*/ 48 h 67"/>
                  <a:gd name="T36" fmla="*/ 93 w 96"/>
                  <a:gd name="T37" fmla="*/ 48 h 67"/>
                  <a:gd name="T38" fmla="*/ 96 w 96"/>
                  <a:gd name="T39" fmla="*/ 44 h 67"/>
                  <a:gd name="T40" fmla="*/ 92 w 96"/>
                  <a:gd name="T41" fmla="*/ 40 h 67"/>
                  <a:gd name="T42" fmla="*/ 67 w 96"/>
                  <a:gd name="T43" fmla="*/ 25 h 67"/>
                  <a:gd name="T44" fmla="*/ 65 w 96"/>
                  <a:gd name="T45" fmla="*/ 17 h 67"/>
                  <a:gd name="T46" fmla="*/ 59 w 96"/>
                  <a:gd name="T47" fmla="*/ 15 h 67"/>
                  <a:gd name="T48" fmla="*/ 57 w 96"/>
                  <a:gd name="T49" fmla="*/ 14 h 67"/>
                  <a:gd name="T50" fmla="*/ 52 w 96"/>
                  <a:gd name="T51" fmla="*/ 12 h 67"/>
                  <a:gd name="T52" fmla="*/ 51 w 96"/>
                  <a:gd name="T53" fmla="*/ 9 h 67"/>
                  <a:gd name="T54" fmla="*/ 50 w 96"/>
                  <a:gd name="T55" fmla="*/ 7 h 67"/>
                  <a:gd name="T56" fmla="*/ 47 w 96"/>
                  <a:gd name="T57" fmla="*/ 4 h 67"/>
                  <a:gd name="T58" fmla="*/ 39 w 96"/>
                  <a:gd name="T59" fmla="*/ 1 h 67"/>
                  <a:gd name="T60" fmla="*/ 37 w 96"/>
                  <a:gd name="T61" fmla="*/ 3 h 67"/>
                  <a:gd name="T62" fmla="*/ 31 w 96"/>
                  <a:gd name="T63" fmla="*/ 8 h 67"/>
                  <a:gd name="T64" fmla="*/ 32 w 96"/>
                  <a:gd name="T65" fmla="*/ 14 h 67"/>
                  <a:gd name="T66" fmla="*/ 20 w 96"/>
                  <a:gd name="T67" fmla="*/ 14 h 67"/>
                  <a:gd name="T68" fmla="*/ 10 w 96"/>
                  <a:gd name="T69" fmla="*/ 4 h 67"/>
                  <a:gd name="T70" fmla="*/ 0 w 96"/>
                  <a:gd name="T71" fmla="*/ 9 h 67"/>
                  <a:gd name="T72" fmla="*/ 2 w 96"/>
                  <a:gd name="T73" fmla="*/ 13 h 67"/>
                  <a:gd name="T74" fmla="*/ 7 w 96"/>
                  <a:gd name="T75" fmla="*/ 7 h 67"/>
                  <a:gd name="T76" fmla="*/ 15 w 96"/>
                  <a:gd name="T77" fmla="*/ 16 h 67"/>
                  <a:gd name="T78" fmla="*/ 13 w 96"/>
                  <a:gd name="T79" fmla="*/ 17 h 67"/>
                  <a:gd name="T80" fmla="*/ 10 w 96"/>
                  <a:gd name="T81" fmla="*/ 20 h 67"/>
                  <a:gd name="T82" fmla="*/ 5 w 96"/>
                  <a:gd name="T83" fmla="*/ 18 h 67"/>
                  <a:gd name="T84" fmla="*/ 2 w 96"/>
                  <a:gd name="T85" fmla="*/ 24 h 67"/>
                  <a:gd name="T86" fmla="*/ 8 w 96"/>
                  <a:gd name="T87" fmla="*/ 25 h 67"/>
                  <a:gd name="T88" fmla="*/ 7 w 96"/>
                  <a:gd name="T89" fmla="*/ 29 h 67"/>
                  <a:gd name="T90" fmla="*/ 7 w 96"/>
                  <a:gd name="T91" fmla="*/ 31 h 67"/>
                  <a:gd name="T92" fmla="*/ 10 w 96"/>
                  <a:gd name="T93" fmla="*/ 35 h 67"/>
                  <a:gd name="T94" fmla="*/ 9 w 96"/>
                  <a:gd name="T95" fmla="*/ 46 h 67"/>
                  <a:gd name="T96" fmla="*/ 13 w 96"/>
                  <a:gd name="T97"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67">
                    <a:moveTo>
                      <a:pt x="15" y="47"/>
                    </a:moveTo>
                    <a:cubicBezTo>
                      <a:pt x="15" y="47"/>
                      <a:pt x="15" y="46"/>
                      <a:pt x="15" y="45"/>
                    </a:cubicBezTo>
                    <a:cubicBezTo>
                      <a:pt x="16" y="45"/>
                      <a:pt x="17" y="44"/>
                      <a:pt x="18" y="43"/>
                    </a:cubicBezTo>
                    <a:cubicBezTo>
                      <a:pt x="18" y="43"/>
                      <a:pt x="19" y="42"/>
                      <a:pt x="20" y="42"/>
                    </a:cubicBezTo>
                    <a:cubicBezTo>
                      <a:pt x="20" y="42"/>
                      <a:pt x="25" y="42"/>
                      <a:pt x="25" y="42"/>
                    </a:cubicBezTo>
                    <a:cubicBezTo>
                      <a:pt x="25" y="42"/>
                      <a:pt x="27" y="41"/>
                      <a:pt x="27" y="41"/>
                    </a:cubicBezTo>
                    <a:cubicBezTo>
                      <a:pt x="29" y="40"/>
                      <a:pt x="29" y="40"/>
                      <a:pt x="29" y="40"/>
                    </a:cubicBezTo>
                    <a:cubicBezTo>
                      <a:pt x="31" y="41"/>
                      <a:pt x="31" y="41"/>
                      <a:pt x="31" y="41"/>
                    </a:cubicBezTo>
                    <a:cubicBezTo>
                      <a:pt x="32" y="40"/>
                      <a:pt x="32" y="40"/>
                      <a:pt x="32" y="40"/>
                    </a:cubicBezTo>
                    <a:cubicBezTo>
                      <a:pt x="33" y="43"/>
                      <a:pt x="33" y="43"/>
                      <a:pt x="33" y="43"/>
                    </a:cubicBezTo>
                    <a:cubicBezTo>
                      <a:pt x="33" y="43"/>
                      <a:pt x="36" y="44"/>
                      <a:pt x="36" y="44"/>
                    </a:cubicBezTo>
                    <a:cubicBezTo>
                      <a:pt x="37" y="44"/>
                      <a:pt x="39" y="45"/>
                      <a:pt x="39" y="45"/>
                    </a:cubicBezTo>
                    <a:cubicBezTo>
                      <a:pt x="39" y="45"/>
                      <a:pt x="40" y="46"/>
                      <a:pt x="40" y="46"/>
                    </a:cubicBezTo>
                    <a:cubicBezTo>
                      <a:pt x="40" y="46"/>
                      <a:pt x="42" y="45"/>
                      <a:pt x="42" y="45"/>
                    </a:cubicBezTo>
                    <a:cubicBezTo>
                      <a:pt x="42" y="45"/>
                      <a:pt x="44" y="46"/>
                      <a:pt x="44" y="46"/>
                    </a:cubicBezTo>
                    <a:cubicBezTo>
                      <a:pt x="44" y="46"/>
                      <a:pt x="45" y="46"/>
                      <a:pt x="46" y="46"/>
                    </a:cubicBezTo>
                    <a:cubicBezTo>
                      <a:pt x="46" y="46"/>
                      <a:pt x="47" y="47"/>
                      <a:pt x="47" y="47"/>
                    </a:cubicBezTo>
                    <a:cubicBezTo>
                      <a:pt x="47" y="48"/>
                      <a:pt x="47" y="50"/>
                      <a:pt x="47" y="50"/>
                    </a:cubicBezTo>
                    <a:cubicBezTo>
                      <a:pt x="49" y="50"/>
                      <a:pt x="49" y="50"/>
                      <a:pt x="49" y="50"/>
                    </a:cubicBezTo>
                    <a:cubicBezTo>
                      <a:pt x="49" y="50"/>
                      <a:pt x="50" y="50"/>
                      <a:pt x="51" y="50"/>
                    </a:cubicBezTo>
                    <a:cubicBezTo>
                      <a:pt x="51" y="51"/>
                      <a:pt x="53" y="54"/>
                      <a:pt x="53" y="54"/>
                    </a:cubicBezTo>
                    <a:cubicBezTo>
                      <a:pt x="59" y="54"/>
                      <a:pt x="59" y="54"/>
                      <a:pt x="59" y="54"/>
                    </a:cubicBezTo>
                    <a:cubicBezTo>
                      <a:pt x="59" y="57"/>
                      <a:pt x="59" y="57"/>
                      <a:pt x="59" y="57"/>
                    </a:cubicBezTo>
                    <a:cubicBezTo>
                      <a:pt x="59" y="58"/>
                      <a:pt x="59" y="58"/>
                      <a:pt x="59" y="58"/>
                    </a:cubicBezTo>
                    <a:cubicBezTo>
                      <a:pt x="59" y="58"/>
                      <a:pt x="59" y="59"/>
                      <a:pt x="59" y="59"/>
                    </a:cubicBezTo>
                    <a:cubicBezTo>
                      <a:pt x="59" y="59"/>
                      <a:pt x="58" y="60"/>
                      <a:pt x="58" y="60"/>
                    </a:cubicBezTo>
                    <a:cubicBezTo>
                      <a:pt x="58" y="62"/>
                      <a:pt x="58" y="62"/>
                      <a:pt x="58" y="62"/>
                    </a:cubicBezTo>
                    <a:cubicBezTo>
                      <a:pt x="59" y="62"/>
                      <a:pt x="59" y="62"/>
                      <a:pt x="59" y="62"/>
                    </a:cubicBezTo>
                    <a:cubicBezTo>
                      <a:pt x="59" y="63"/>
                      <a:pt x="59" y="63"/>
                      <a:pt x="59" y="63"/>
                    </a:cubicBezTo>
                    <a:cubicBezTo>
                      <a:pt x="60" y="63"/>
                      <a:pt x="60" y="63"/>
                      <a:pt x="60" y="63"/>
                    </a:cubicBezTo>
                    <a:cubicBezTo>
                      <a:pt x="61" y="64"/>
                      <a:pt x="61" y="64"/>
                      <a:pt x="61" y="64"/>
                    </a:cubicBezTo>
                    <a:cubicBezTo>
                      <a:pt x="65" y="64"/>
                      <a:pt x="65" y="64"/>
                      <a:pt x="65" y="64"/>
                    </a:cubicBezTo>
                    <a:cubicBezTo>
                      <a:pt x="65" y="64"/>
                      <a:pt x="66" y="66"/>
                      <a:pt x="66" y="66"/>
                    </a:cubicBezTo>
                    <a:cubicBezTo>
                      <a:pt x="66" y="67"/>
                      <a:pt x="67" y="67"/>
                      <a:pt x="67" y="67"/>
                    </a:cubicBezTo>
                    <a:cubicBezTo>
                      <a:pt x="67" y="65"/>
                      <a:pt x="67" y="65"/>
                      <a:pt x="67" y="65"/>
                    </a:cubicBezTo>
                    <a:cubicBezTo>
                      <a:pt x="67" y="65"/>
                      <a:pt x="68" y="66"/>
                      <a:pt x="68" y="66"/>
                    </a:cubicBezTo>
                    <a:cubicBezTo>
                      <a:pt x="68" y="66"/>
                      <a:pt x="69" y="66"/>
                      <a:pt x="69" y="66"/>
                    </a:cubicBezTo>
                    <a:cubicBezTo>
                      <a:pt x="70" y="66"/>
                      <a:pt x="70" y="65"/>
                      <a:pt x="70" y="65"/>
                    </a:cubicBezTo>
                    <a:cubicBezTo>
                      <a:pt x="71" y="65"/>
                      <a:pt x="72" y="65"/>
                      <a:pt x="72" y="65"/>
                    </a:cubicBezTo>
                    <a:cubicBezTo>
                      <a:pt x="72" y="63"/>
                      <a:pt x="72" y="63"/>
                      <a:pt x="72" y="63"/>
                    </a:cubicBezTo>
                    <a:cubicBezTo>
                      <a:pt x="73" y="62"/>
                      <a:pt x="73" y="62"/>
                      <a:pt x="73" y="62"/>
                    </a:cubicBezTo>
                    <a:cubicBezTo>
                      <a:pt x="72" y="61"/>
                      <a:pt x="72" y="61"/>
                      <a:pt x="72" y="61"/>
                    </a:cubicBezTo>
                    <a:cubicBezTo>
                      <a:pt x="72" y="60"/>
                      <a:pt x="72" y="60"/>
                      <a:pt x="72" y="60"/>
                    </a:cubicBezTo>
                    <a:cubicBezTo>
                      <a:pt x="75" y="60"/>
                      <a:pt x="75" y="60"/>
                      <a:pt x="75" y="60"/>
                    </a:cubicBezTo>
                    <a:cubicBezTo>
                      <a:pt x="78" y="60"/>
                      <a:pt x="78" y="60"/>
                      <a:pt x="78" y="60"/>
                    </a:cubicBezTo>
                    <a:cubicBezTo>
                      <a:pt x="78" y="60"/>
                      <a:pt x="78" y="58"/>
                      <a:pt x="78" y="58"/>
                    </a:cubicBezTo>
                    <a:cubicBezTo>
                      <a:pt x="78" y="58"/>
                      <a:pt x="82" y="57"/>
                      <a:pt x="82" y="57"/>
                    </a:cubicBezTo>
                    <a:cubicBezTo>
                      <a:pt x="82" y="57"/>
                      <a:pt x="82" y="54"/>
                      <a:pt x="82" y="54"/>
                    </a:cubicBezTo>
                    <a:cubicBezTo>
                      <a:pt x="82" y="54"/>
                      <a:pt x="83" y="52"/>
                      <a:pt x="83" y="52"/>
                    </a:cubicBezTo>
                    <a:cubicBezTo>
                      <a:pt x="83" y="51"/>
                      <a:pt x="83" y="51"/>
                      <a:pt x="83" y="50"/>
                    </a:cubicBezTo>
                    <a:cubicBezTo>
                      <a:pt x="83" y="50"/>
                      <a:pt x="85" y="50"/>
                      <a:pt x="85" y="49"/>
                    </a:cubicBezTo>
                    <a:cubicBezTo>
                      <a:pt x="85" y="49"/>
                      <a:pt x="86" y="49"/>
                      <a:pt x="86" y="49"/>
                    </a:cubicBezTo>
                    <a:cubicBezTo>
                      <a:pt x="89" y="49"/>
                      <a:pt x="89" y="49"/>
                      <a:pt x="89" y="49"/>
                    </a:cubicBezTo>
                    <a:cubicBezTo>
                      <a:pt x="89" y="49"/>
                      <a:pt x="89" y="48"/>
                      <a:pt x="89" y="48"/>
                    </a:cubicBezTo>
                    <a:cubicBezTo>
                      <a:pt x="89" y="48"/>
                      <a:pt x="89" y="47"/>
                      <a:pt x="89" y="47"/>
                    </a:cubicBezTo>
                    <a:cubicBezTo>
                      <a:pt x="89" y="46"/>
                      <a:pt x="91" y="47"/>
                      <a:pt x="91" y="47"/>
                    </a:cubicBezTo>
                    <a:cubicBezTo>
                      <a:pt x="93" y="48"/>
                      <a:pt x="93" y="48"/>
                      <a:pt x="93" y="48"/>
                    </a:cubicBezTo>
                    <a:cubicBezTo>
                      <a:pt x="95" y="48"/>
                      <a:pt x="95" y="48"/>
                      <a:pt x="95" y="48"/>
                    </a:cubicBezTo>
                    <a:cubicBezTo>
                      <a:pt x="95" y="48"/>
                      <a:pt x="95" y="45"/>
                      <a:pt x="95" y="44"/>
                    </a:cubicBezTo>
                    <a:cubicBezTo>
                      <a:pt x="95" y="44"/>
                      <a:pt x="96" y="44"/>
                      <a:pt x="96" y="44"/>
                    </a:cubicBezTo>
                    <a:cubicBezTo>
                      <a:pt x="96" y="42"/>
                      <a:pt x="96" y="42"/>
                      <a:pt x="96" y="42"/>
                    </a:cubicBezTo>
                    <a:cubicBezTo>
                      <a:pt x="96" y="42"/>
                      <a:pt x="94" y="41"/>
                      <a:pt x="94" y="41"/>
                    </a:cubicBezTo>
                    <a:cubicBezTo>
                      <a:pt x="94" y="41"/>
                      <a:pt x="92" y="40"/>
                      <a:pt x="92" y="40"/>
                    </a:cubicBezTo>
                    <a:cubicBezTo>
                      <a:pt x="88" y="40"/>
                      <a:pt x="88" y="40"/>
                      <a:pt x="88" y="40"/>
                    </a:cubicBezTo>
                    <a:cubicBezTo>
                      <a:pt x="78" y="33"/>
                      <a:pt x="78" y="33"/>
                      <a:pt x="78" y="33"/>
                    </a:cubicBezTo>
                    <a:cubicBezTo>
                      <a:pt x="67" y="25"/>
                      <a:pt x="67" y="25"/>
                      <a:pt x="67" y="25"/>
                    </a:cubicBezTo>
                    <a:cubicBezTo>
                      <a:pt x="67" y="25"/>
                      <a:pt x="67" y="22"/>
                      <a:pt x="67" y="22"/>
                    </a:cubicBezTo>
                    <a:cubicBezTo>
                      <a:pt x="67" y="22"/>
                      <a:pt x="65" y="19"/>
                      <a:pt x="65" y="19"/>
                    </a:cubicBezTo>
                    <a:cubicBezTo>
                      <a:pt x="65" y="17"/>
                      <a:pt x="65" y="17"/>
                      <a:pt x="65" y="17"/>
                    </a:cubicBezTo>
                    <a:cubicBezTo>
                      <a:pt x="61" y="14"/>
                      <a:pt x="61" y="14"/>
                      <a:pt x="61" y="14"/>
                    </a:cubicBezTo>
                    <a:cubicBezTo>
                      <a:pt x="60" y="15"/>
                      <a:pt x="60" y="15"/>
                      <a:pt x="60" y="15"/>
                    </a:cubicBezTo>
                    <a:cubicBezTo>
                      <a:pt x="59" y="15"/>
                      <a:pt x="59" y="15"/>
                      <a:pt x="59" y="15"/>
                    </a:cubicBezTo>
                    <a:cubicBezTo>
                      <a:pt x="58" y="14"/>
                      <a:pt x="58" y="14"/>
                      <a:pt x="58" y="14"/>
                    </a:cubicBezTo>
                    <a:cubicBezTo>
                      <a:pt x="58" y="14"/>
                      <a:pt x="58" y="14"/>
                      <a:pt x="58" y="14"/>
                    </a:cubicBezTo>
                    <a:cubicBezTo>
                      <a:pt x="57" y="14"/>
                      <a:pt x="57" y="14"/>
                      <a:pt x="57" y="14"/>
                    </a:cubicBezTo>
                    <a:cubicBezTo>
                      <a:pt x="53" y="14"/>
                      <a:pt x="53" y="14"/>
                      <a:pt x="53" y="14"/>
                    </a:cubicBezTo>
                    <a:cubicBezTo>
                      <a:pt x="52" y="13"/>
                      <a:pt x="52" y="13"/>
                      <a:pt x="52" y="13"/>
                    </a:cubicBezTo>
                    <a:cubicBezTo>
                      <a:pt x="52" y="12"/>
                      <a:pt x="52" y="12"/>
                      <a:pt x="52" y="12"/>
                    </a:cubicBezTo>
                    <a:cubicBezTo>
                      <a:pt x="52" y="12"/>
                      <a:pt x="52" y="11"/>
                      <a:pt x="52" y="11"/>
                    </a:cubicBezTo>
                    <a:cubicBezTo>
                      <a:pt x="52" y="11"/>
                      <a:pt x="52" y="10"/>
                      <a:pt x="51" y="10"/>
                    </a:cubicBezTo>
                    <a:cubicBezTo>
                      <a:pt x="51" y="10"/>
                      <a:pt x="51" y="9"/>
                      <a:pt x="51" y="9"/>
                    </a:cubicBezTo>
                    <a:cubicBezTo>
                      <a:pt x="53" y="9"/>
                      <a:pt x="53" y="9"/>
                      <a:pt x="53" y="9"/>
                    </a:cubicBezTo>
                    <a:cubicBezTo>
                      <a:pt x="53" y="9"/>
                      <a:pt x="51" y="8"/>
                      <a:pt x="51" y="8"/>
                    </a:cubicBezTo>
                    <a:cubicBezTo>
                      <a:pt x="50" y="7"/>
                      <a:pt x="50" y="7"/>
                      <a:pt x="50" y="7"/>
                    </a:cubicBezTo>
                    <a:cubicBezTo>
                      <a:pt x="51" y="6"/>
                      <a:pt x="51" y="6"/>
                      <a:pt x="51" y="6"/>
                    </a:cubicBezTo>
                    <a:cubicBezTo>
                      <a:pt x="51" y="5"/>
                      <a:pt x="51" y="5"/>
                      <a:pt x="51" y="5"/>
                    </a:cubicBezTo>
                    <a:cubicBezTo>
                      <a:pt x="47" y="4"/>
                      <a:pt x="47" y="4"/>
                      <a:pt x="47" y="4"/>
                    </a:cubicBezTo>
                    <a:cubicBezTo>
                      <a:pt x="42" y="0"/>
                      <a:pt x="42" y="0"/>
                      <a:pt x="42" y="0"/>
                    </a:cubicBezTo>
                    <a:cubicBezTo>
                      <a:pt x="42" y="0"/>
                      <a:pt x="41" y="1"/>
                      <a:pt x="41" y="1"/>
                    </a:cubicBezTo>
                    <a:cubicBezTo>
                      <a:pt x="41" y="1"/>
                      <a:pt x="39" y="1"/>
                      <a:pt x="39" y="1"/>
                    </a:cubicBezTo>
                    <a:cubicBezTo>
                      <a:pt x="39" y="1"/>
                      <a:pt x="39" y="2"/>
                      <a:pt x="39" y="2"/>
                    </a:cubicBezTo>
                    <a:cubicBezTo>
                      <a:pt x="39" y="2"/>
                      <a:pt x="40" y="4"/>
                      <a:pt x="40" y="4"/>
                    </a:cubicBezTo>
                    <a:cubicBezTo>
                      <a:pt x="40" y="4"/>
                      <a:pt x="37" y="3"/>
                      <a:pt x="37" y="3"/>
                    </a:cubicBezTo>
                    <a:cubicBezTo>
                      <a:pt x="37" y="3"/>
                      <a:pt x="36" y="6"/>
                      <a:pt x="36" y="6"/>
                    </a:cubicBezTo>
                    <a:cubicBezTo>
                      <a:pt x="33" y="6"/>
                      <a:pt x="33" y="6"/>
                      <a:pt x="33" y="6"/>
                    </a:cubicBezTo>
                    <a:cubicBezTo>
                      <a:pt x="33" y="6"/>
                      <a:pt x="31" y="8"/>
                      <a:pt x="31" y="8"/>
                    </a:cubicBezTo>
                    <a:cubicBezTo>
                      <a:pt x="31" y="8"/>
                      <a:pt x="31" y="11"/>
                      <a:pt x="31" y="12"/>
                    </a:cubicBezTo>
                    <a:cubicBezTo>
                      <a:pt x="31" y="12"/>
                      <a:pt x="31" y="12"/>
                      <a:pt x="32" y="13"/>
                    </a:cubicBezTo>
                    <a:cubicBezTo>
                      <a:pt x="32" y="13"/>
                      <a:pt x="32" y="14"/>
                      <a:pt x="32" y="14"/>
                    </a:cubicBezTo>
                    <a:cubicBezTo>
                      <a:pt x="30" y="14"/>
                      <a:pt x="30" y="14"/>
                      <a:pt x="30" y="14"/>
                    </a:cubicBezTo>
                    <a:cubicBezTo>
                      <a:pt x="24" y="14"/>
                      <a:pt x="24" y="14"/>
                      <a:pt x="24" y="14"/>
                    </a:cubicBezTo>
                    <a:cubicBezTo>
                      <a:pt x="20" y="14"/>
                      <a:pt x="20" y="14"/>
                      <a:pt x="20" y="14"/>
                    </a:cubicBezTo>
                    <a:cubicBezTo>
                      <a:pt x="18" y="10"/>
                      <a:pt x="18" y="10"/>
                      <a:pt x="18" y="10"/>
                    </a:cubicBezTo>
                    <a:cubicBezTo>
                      <a:pt x="18" y="10"/>
                      <a:pt x="15" y="6"/>
                      <a:pt x="14" y="5"/>
                    </a:cubicBezTo>
                    <a:cubicBezTo>
                      <a:pt x="13" y="4"/>
                      <a:pt x="10" y="4"/>
                      <a:pt x="10" y="4"/>
                    </a:cubicBezTo>
                    <a:cubicBezTo>
                      <a:pt x="10" y="4"/>
                      <a:pt x="7" y="5"/>
                      <a:pt x="7" y="5"/>
                    </a:cubicBezTo>
                    <a:cubicBezTo>
                      <a:pt x="7" y="5"/>
                      <a:pt x="3" y="6"/>
                      <a:pt x="3" y="7"/>
                    </a:cubicBezTo>
                    <a:cubicBezTo>
                      <a:pt x="3" y="7"/>
                      <a:pt x="1" y="8"/>
                      <a:pt x="0" y="9"/>
                    </a:cubicBezTo>
                    <a:cubicBezTo>
                      <a:pt x="0" y="10"/>
                      <a:pt x="1" y="10"/>
                      <a:pt x="1" y="11"/>
                    </a:cubicBezTo>
                    <a:cubicBezTo>
                      <a:pt x="1" y="11"/>
                      <a:pt x="1" y="11"/>
                      <a:pt x="1" y="12"/>
                    </a:cubicBezTo>
                    <a:cubicBezTo>
                      <a:pt x="1" y="13"/>
                      <a:pt x="2" y="13"/>
                      <a:pt x="2" y="13"/>
                    </a:cubicBezTo>
                    <a:cubicBezTo>
                      <a:pt x="3" y="12"/>
                      <a:pt x="3" y="11"/>
                      <a:pt x="2" y="11"/>
                    </a:cubicBezTo>
                    <a:cubicBezTo>
                      <a:pt x="2" y="10"/>
                      <a:pt x="3" y="9"/>
                      <a:pt x="3" y="9"/>
                    </a:cubicBezTo>
                    <a:cubicBezTo>
                      <a:pt x="4" y="8"/>
                      <a:pt x="5" y="7"/>
                      <a:pt x="7" y="7"/>
                    </a:cubicBezTo>
                    <a:cubicBezTo>
                      <a:pt x="8" y="7"/>
                      <a:pt x="9" y="7"/>
                      <a:pt x="10" y="8"/>
                    </a:cubicBezTo>
                    <a:cubicBezTo>
                      <a:pt x="10" y="8"/>
                      <a:pt x="10" y="9"/>
                      <a:pt x="10" y="9"/>
                    </a:cubicBezTo>
                    <a:cubicBezTo>
                      <a:pt x="11" y="12"/>
                      <a:pt x="13" y="14"/>
                      <a:pt x="15" y="16"/>
                    </a:cubicBezTo>
                    <a:cubicBezTo>
                      <a:pt x="16" y="16"/>
                      <a:pt x="16" y="17"/>
                      <a:pt x="16" y="17"/>
                    </a:cubicBezTo>
                    <a:cubicBezTo>
                      <a:pt x="15" y="18"/>
                      <a:pt x="15" y="18"/>
                      <a:pt x="15" y="18"/>
                    </a:cubicBezTo>
                    <a:cubicBezTo>
                      <a:pt x="14" y="18"/>
                      <a:pt x="14" y="17"/>
                      <a:pt x="13" y="17"/>
                    </a:cubicBezTo>
                    <a:cubicBezTo>
                      <a:pt x="13" y="18"/>
                      <a:pt x="13" y="18"/>
                      <a:pt x="13" y="18"/>
                    </a:cubicBezTo>
                    <a:cubicBezTo>
                      <a:pt x="13" y="19"/>
                      <a:pt x="14" y="19"/>
                      <a:pt x="14" y="19"/>
                    </a:cubicBezTo>
                    <a:cubicBezTo>
                      <a:pt x="13" y="19"/>
                      <a:pt x="11" y="20"/>
                      <a:pt x="10" y="20"/>
                    </a:cubicBezTo>
                    <a:cubicBezTo>
                      <a:pt x="10" y="20"/>
                      <a:pt x="10" y="20"/>
                      <a:pt x="9" y="20"/>
                    </a:cubicBezTo>
                    <a:cubicBezTo>
                      <a:pt x="9" y="20"/>
                      <a:pt x="9" y="19"/>
                      <a:pt x="9" y="18"/>
                    </a:cubicBezTo>
                    <a:cubicBezTo>
                      <a:pt x="7" y="19"/>
                      <a:pt x="6" y="19"/>
                      <a:pt x="5" y="18"/>
                    </a:cubicBezTo>
                    <a:cubicBezTo>
                      <a:pt x="4" y="18"/>
                      <a:pt x="3" y="18"/>
                      <a:pt x="3" y="18"/>
                    </a:cubicBezTo>
                    <a:cubicBezTo>
                      <a:pt x="3" y="19"/>
                      <a:pt x="3" y="19"/>
                      <a:pt x="2" y="19"/>
                    </a:cubicBezTo>
                    <a:cubicBezTo>
                      <a:pt x="2" y="21"/>
                      <a:pt x="2" y="22"/>
                      <a:pt x="2" y="24"/>
                    </a:cubicBezTo>
                    <a:cubicBezTo>
                      <a:pt x="2" y="24"/>
                      <a:pt x="2" y="25"/>
                      <a:pt x="2" y="25"/>
                    </a:cubicBezTo>
                    <a:cubicBezTo>
                      <a:pt x="3" y="25"/>
                      <a:pt x="3" y="25"/>
                      <a:pt x="3" y="25"/>
                    </a:cubicBezTo>
                    <a:cubicBezTo>
                      <a:pt x="5" y="25"/>
                      <a:pt x="6" y="25"/>
                      <a:pt x="8" y="25"/>
                    </a:cubicBezTo>
                    <a:cubicBezTo>
                      <a:pt x="8" y="26"/>
                      <a:pt x="8" y="26"/>
                      <a:pt x="7" y="26"/>
                    </a:cubicBezTo>
                    <a:cubicBezTo>
                      <a:pt x="7" y="26"/>
                      <a:pt x="7" y="27"/>
                      <a:pt x="7" y="27"/>
                    </a:cubicBezTo>
                    <a:cubicBezTo>
                      <a:pt x="7" y="28"/>
                      <a:pt x="7" y="28"/>
                      <a:pt x="7" y="29"/>
                    </a:cubicBezTo>
                    <a:cubicBezTo>
                      <a:pt x="7" y="30"/>
                      <a:pt x="6" y="30"/>
                      <a:pt x="5" y="30"/>
                    </a:cubicBezTo>
                    <a:cubicBezTo>
                      <a:pt x="5" y="30"/>
                      <a:pt x="4" y="31"/>
                      <a:pt x="4" y="31"/>
                    </a:cubicBezTo>
                    <a:cubicBezTo>
                      <a:pt x="5" y="31"/>
                      <a:pt x="7" y="31"/>
                      <a:pt x="7" y="31"/>
                    </a:cubicBezTo>
                    <a:cubicBezTo>
                      <a:pt x="8" y="32"/>
                      <a:pt x="8" y="33"/>
                      <a:pt x="9" y="34"/>
                    </a:cubicBezTo>
                    <a:cubicBezTo>
                      <a:pt x="9" y="34"/>
                      <a:pt x="9" y="34"/>
                      <a:pt x="10" y="34"/>
                    </a:cubicBezTo>
                    <a:cubicBezTo>
                      <a:pt x="10" y="34"/>
                      <a:pt x="11" y="35"/>
                      <a:pt x="10" y="35"/>
                    </a:cubicBezTo>
                    <a:cubicBezTo>
                      <a:pt x="10" y="35"/>
                      <a:pt x="10" y="36"/>
                      <a:pt x="10" y="36"/>
                    </a:cubicBezTo>
                    <a:cubicBezTo>
                      <a:pt x="9" y="37"/>
                      <a:pt x="9" y="39"/>
                      <a:pt x="9" y="41"/>
                    </a:cubicBezTo>
                    <a:cubicBezTo>
                      <a:pt x="9" y="43"/>
                      <a:pt x="9" y="44"/>
                      <a:pt x="9" y="46"/>
                    </a:cubicBezTo>
                    <a:cubicBezTo>
                      <a:pt x="10" y="46"/>
                      <a:pt x="10" y="46"/>
                      <a:pt x="10" y="47"/>
                    </a:cubicBezTo>
                    <a:cubicBezTo>
                      <a:pt x="10" y="47"/>
                      <a:pt x="10" y="48"/>
                      <a:pt x="10" y="48"/>
                    </a:cubicBezTo>
                    <a:cubicBezTo>
                      <a:pt x="13" y="48"/>
                      <a:pt x="13" y="48"/>
                      <a:pt x="13" y="48"/>
                    </a:cubicBezTo>
                    <a:cubicBezTo>
                      <a:pt x="13" y="48"/>
                      <a:pt x="15" y="48"/>
                      <a:pt x="15"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7" name="Freeform 830">
                <a:extLst>
                  <a:ext uri="{FF2B5EF4-FFF2-40B4-BE49-F238E27FC236}">
                    <a16:creationId xmlns:a16="http://schemas.microsoft.com/office/drawing/2014/main" id="{5C6310FA-8ABE-4307-EF6E-3AC27F9F2D03}"/>
                  </a:ext>
                </a:extLst>
              </p:cNvPr>
              <p:cNvSpPr>
                <a:spLocks/>
              </p:cNvSpPr>
              <p:nvPr/>
            </p:nvSpPr>
            <p:spPr bwMode="auto">
              <a:xfrm>
                <a:off x="8123238" y="4300538"/>
                <a:ext cx="244475" cy="428625"/>
              </a:xfrm>
              <a:custGeom>
                <a:avLst/>
                <a:gdLst>
                  <a:gd name="T0" fmla="*/ 55 w 59"/>
                  <a:gd name="T1" fmla="*/ 31 h 103"/>
                  <a:gd name="T2" fmla="*/ 52 w 59"/>
                  <a:gd name="T3" fmla="*/ 25 h 103"/>
                  <a:gd name="T4" fmla="*/ 46 w 59"/>
                  <a:gd name="T5" fmla="*/ 17 h 103"/>
                  <a:gd name="T6" fmla="*/ 41 w 59"/>
                  <a:gd name="T7" fmla="*/ 17 h 103"/>
                  <a:gd name="T8" fmla="*/ 36 w 59"/>
                  <a:gd name="T9" fmla="*/ 18 h 103"/>
                  <a:gd name="T10" fmla="*/ 30 w 59"/>
                  <a:gd name="T11" fmla="*/ 18 h 103"/>
                  <a:gd name="T12" fmla="*/ 26 w 59"/>
                  <a:gd name="T13" fmla="*/ 17 h 103"/>
                  <a:gd name="T14" fmla="*/ 25 w 59"/>
                  <a:gd name="T15" fmla="*/ 10 h 103"/>
                  <a:gd name="T16" fmla="*/ 21 w 59"/>
                  <a:gd name="T17" fmla="*/ 8 h 103"/>
                  <a:gd name="T18" fmla="*/ 19 w 59"/>
                  <a:gd name="T19" fmla="*/ 1 h 103"/>
                  <a:gd name="T20" fmla="*/ 14 w 59"/>
                  <a:gd name="T21" fmla="*/ 1 h 103"/>
                  <a:gd name="T22" fmla="*/ 10 w 59"/>
                  <a:gd name="T23" fmla="*/ 6 h 103"/>
                  <a:gd name="T24" fmla="*/ 4 w 59"/>
                  <a:gd name="T25" fmla="*/ 11 h 103"/>
                  <a:gd name="T26" fmla="*/ 2 w 59"/>
                  <a:gd name="T27" fmla="*/ 17 h 103"/>
                  <a:gd name="T28" fmla="*/ 10 w 59"/>
                  <a:gd name="T29" fmla="*/ 27 h 103"/>
                  <a:gd name="T30" fmla="*/ 10 w 59"/>
                  <a:gd name="T31" fmla="*/ 33 h 103"/>
                  <a:gd name="T32" fmla="*/ 11 w 59"/>
                  <a:gd name="T33" fmla="*/ 42 h 103"/>
                  <a:gd name="T34" fmla="*/ 18 w 59"/>
                  <a:gd name="T35" fmla="*/ 56 h 103"/>
                  <a:gd name="T36" fmla="*/ 17 w 59"/>
                  <a:gd name="T37" fmla="*/ 66 h 103"/>
                  <a:gd name="T38" fmla="*/ 13 w 59"/>
                  <a:gd name="T39" fmla="*/ 73 h 103"/>
                  <a:gd name="T40" fmla="*/ 13 w 59"/>
                  <a:gd name="T41" fmla="*/ 77 h 103"/>
                  <a:gd name="T42" fmla="*/ 11 w 59"/>
                  <a:gd name="T43" fmla="*/ 84 h 103"/>
                  <a:gd name="T44" fmla="*/ 15 w 59"/>
                  <a:gd name="T45" fmla="*/ 87 h 103"/>
                  <a:gd name="T46" fmla="*/ 19 w 59"/>
                  <a:gd name="T47" fmla="*/ 91 h 103"/>
                  <a:gd name="T48" fmla="*/ 23 w 59"/>
                  <a:gd name="T49" fmla="*/ 97 h 103"/>
                  <a:gd name="T50" fmla="*/ 29 w 59"/>
                  <a:gd name="T51" fmla="*/ 97 h 103"/>
                  <a:gd name="T52" fmla="*/ 31 w 59"/>
                  <a:gd name="T53" fmla="*/ 102 h 103"/>
                  <a:gd name="T54" fmla="*/ 37 w 59"/>
                  <a:gd name="T55" fmla="*/ 102 h 103"/>
                  <a:gd name="T56" fmla="*/ 35 w 59"/>
                  <a:gd name="T57" fmla="*/ 98 h 103"/>
                  <a:gd name="T58" fmla="*/ 30 w 59"/>
                  <a:gd name="T59" fmla="*/ 94 h 103"/>
                  <a:gd name="T60" fmla="*/ 27 w 59"/>
                  <a:gd name="T61" fmla="*/ 92 h 103"/>
                  <a:gd name="T62" fmla="*/ 27 w 59"/>
                  <a:gd name="T63" fmla="*/ 89 h 103"/>
                  <a:gd name="T64" fmla="*/ 26 w 59"/>
                  <a:gd name="T65" fmla="*/ 85 h 103"/>
                  <a:gd name="T66" fmla="*/ 23 w 59"/>
                  <a:gd name="T67" fmla="*/ 83 h 103"/>
                  <a:gd name="T68" fmla="*/ 22 w 59"/>
                  <a:gd name="T69" fmla="*/ 79 h 103"/>
                  <a:gd name="T70" fmla="*/ 18 w 59"/>
                  <a:gd name="T71" fmla="*/ 79 h 103"/>
                  <a:gd name="T72" fmla="*/ 17 w 59"/>
                  <a:gd name="T73" fmla="*/ 75 h 103"/>
                  <a:gd name="T74" fmla="*/ 17 w 59"/>
                  <a:gd name="T75" fmla="*/ 72 h 103"/>
                  <a:gd name="T76" fmla="*/ 19 w 59"/>
                  <a:gd name="T77" fmla="*/ 67 h 103"/>
                  <a:gd name="T78" fmla="*/ 20 w 59"/>
                  <a:gd name="T79" fmla="*/ 60 h 103"/>
                  <a:gd name="T80" fmla="*/ 21 w 59"/>
                  <a:gd name="T81" fmla="*/ 56 h 103"/>
                  <a:gd name="T82" fmla="*/ 22 w 59"/>
                  <a:gd name="T83" fmla="*/ 52 h 103"/>
                  <a:gd name="T84" fmla="*/ 24 w 59"/>
                  <a:gd name="T85" fmla="*/ 50 h 103"/>
                  <a:gd name="T86" fmla="*/ 27 w 59"/>
                  <a:gd name="T87" fmla="*/ 53 h 103"/>
                  <a:gd name="T88" fmla="*/ 29 w 59"/>
                  <a:gd name="T89" fmla="*/ 56 h 103"/>
                  <a:gd name="T90" fmla="*/ 33 w 59"/>
                  <a:gd name="T91" fmla="*/ 55 h 103"/>
                  <a:gd name="T92" fmla="*/ 39 w 59"/>
                  <a:gd name="T93" fmla="*/ 60 h 103"/>
                  <a:gd name="T94" fmla="*/ 38 w 59"/>
                  <a:gd name="T95" fmla="*/ 52 h 103"/>
                  <a:gd name="T96" fmla="*/ 42 w 59"/>
                  <a:gd name="T97" fmla="*/ 43 h 103"/>
                  <a:gd name="T98" fmla="*/ 50 w 59"/>
                  <a:gd name="T99" fmla="*/ 42 h 103"/>
                  <a:gd name="T100" fmla="*/ 57 w 59"/>
                  <a:gd name="T101" fmla="*/ 43 h 103"/>
                  <a:gd name="T102" fmla="*/ 58 w 59"/>
                  <a:gd name="T103"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3">
                    <a:moveTo>
                      <a:pt x="58" y="34"/>
                    </a:moveTo>
                    <a:cubicBezTo>
                      <a:pt x="58" y="33"/>
                      <a:pt x="57" y="33"/>
                      <a:pt x="57" y="33"/>
                    </a:cubicBezTo>
                    <a:cubicBezTo>
                      <a:pt x="57" y="32"/>
                      <a:pt x="57" y="32"/>
                      <a:pt x="57" y="31"/>
                    </a:cubicBezTo>
                    <a:cubicBezTo>
                      <a:pt x="56" y="31"/>
                      <a:pt x="55" y="31"/>
                      <a:pt x="55" y="31"/>
                    </a:cubicBezTo>
                    <a:cubicBezTo>
                      <a:pt x="54" y="31"/>
                      <a:pt x="54" y="30"/>
                      <a:pt x="53" y="30"/>
                    </a:cubicBezTo>
                    <a:cubicBezTo>
                      <a:pt x="53" y="30"/>
                      <a:pt x="52" y="29"/>
                      <a:pt x="52" y="29"/>
                    </a:cubicBezTo>
                    <a:cubicBezTo>
                      <a:pt x="52" y="28"/>
                      <a:pt x="52" y="28"/>
                      <a:pt x="53" y="27"/>
                    </a:cubicBezTo>
                    <a:cubicBezTo>
                      <a:pt x="53" y="26"/>
                      <a:pt x="52" y="25"/>
                      <a:pt x="52" y="25"/>
                    </a:cubicBezTo>
                    <a:cubicBezTo>
                      <a:pt x="52" y="25"/>
                      <a:pt x="52" y="25"/>
                      <a:pt x="52" y="24"/>
                    </a:cubicBezTo>
                    <a:cubicBezTo>
                      <a:pt x="52" y="23"/>
                      <a:pt x="52" y="21"/>
                      <a:pt x="51" y="20"/>
                    </a:cubicBezTo>
                    <a:cubicBezTo>
                      <a:pt x="50" y="20"/>
                      <a:pt x="49" y="19"/>
                      <a:pt x="48" y="18"/>
                    </a:cubicBezTo>
                    <a:cubicBezTo>
                      <a:pt x="47" y="17"/>
                      <a:pt x="47" y="17"/>
                      <a:pt x="46" y="17"/>
                    </a:cubicBezTo>
                    <a:cubicBezTo>
                      <a:pt x="46" y="16"/>
                      <a:pt x="45" y="16"/>
                      <a:pt x="44" y="16"/>
                    </a:cubicBezTo>
                    <a:cubicBezTo>
                      <a:pt x="44" y="15"/>
                      <a:pt x="43" y="15"/>
                      <a:pt x="43" y="15"/>
                    </a:cubicBezTo>
                    <a:cubicBezTo>
                      <a:pt x="42" y="16"/>
                      <a:pt x="42" y="16"/>
                      <a:pt x="42" y="16"/>
                    </a:cubicBezTo>
                    <a:cubicBezTo>
                      <a:pt x="41" y="16"/>
                      <a:pt x="41" y="16"/>
                      <a:pt x="41" y="17"/>
                    </a:cubicBezTo>
                    <a:cubicBezTo>
                      <a:pt x="40" y="17"/>
                      <a:pt x="40" y="17"/>
                      <a:pt x="40" y="18"/>
                    </a:cubicBezTo>
                    <a:cubicBezTo>
                      <a:pt x="40" y="18"/>
                      <a:pt x="40" y="19"/>
                      <a:pt x="39" y="19"/>
                    </a:cubicBezTo>
                    <a:cubicBezTo>
                      <a:pt x="39" y="19"/>
                      <a:pt x="37" y="19"/>
                      <a:pt x="37" y="19"/>
                    </a:cubicBezTo>
                    <a:cubicBezTo>
                      <a:pt x="36" y="19"/>
                      <a:pt x="36" y="18"/>
                      <a:pt x="36" y="18"/>
                    </a:cubicBezTo>
                    <a:cubicBezTo>
                      <a:pt x="35" y="18"/>
                      <a:pt x="34" y="18"/>
                      <a:pt x="33" y="18"/>
                    </a:cubicBezTo>
                    <a:cubicBezTo>
                      <a:pt x="33" y="17"/>
                      <a:pt x="32" y="17"/>
                      <a:pt x="32" y="17"/>
                    </a:cubicBezTo>
                    <a:cubicBezTo>
                      <a:pt x="31" y="17"/>
                      <a:pt x="31" y="17"/>
                      <a:pt x="31" y="17"/>
                    </a:cubicBezTo>
                    <a:cubicBezTo>
                      <a:pt x="30" y="17"/>
                      <a:pt x="30" y="17"/>
                      <a:pt x="30" y="18"/>
                    </a:cubicBezTo>
                    <a:cubicBezTo>
                      <a:pt x="30" y="18"/>
                      <a:pt x="30" y="19"/>
                      <a:pt x="29" y="19"/>
                    </a:cubicBezTo>
                    <a:cubicBezTo>
                      <a:pt x="28" y="19"/>
                      <a:pt x="28" y="19"/>
                      <a:pt x="27" y="19"/>
                    </a:cubicBezTo>
                    <a:cubicBezTo>
                      <a:pt x="27" y="20"/>
                      <a:pt x="27" y="21"/>
                      <a:pt x="26" y="20"/>
                    </a:cubicBezTo>
                    <a:cubicBezTo>
                      <a:pt x="26" y="20"/>
                      <a:pt x="26" y="18"/>
                      <a:pt x="26" y="17"/>
                    </a:cubicBezTo>
                    <a:cubicBezTo>
                      <a:pt x="26" y="17"/>
                      <a:pt x="26" y="16"/>
                      <a:pt x="26" y="15"/>
                    </a:cubicBezTo>
                    <a:cubicBezTo>
                      <a:pt x="26" y="15"/>
                      <a:pt x="25" y="14"/>
                      <a:pt x="26" y="13"/>
                    </a:cubicBezTo>
                    <a:cubicBezTo>
                      <a:pt x="26" y="13"/>
                      <a:pt x="26" y="13"/>
                      <a:pt x="26" y="12"/>
                    </a:cubicBezTo>
                    <a:cubicBezTo>
                      <a:pt x="26" y="11"/>
                      <a:pt x="25" y="10"/>
                      <a:pt x="25" y="10"/>
                    </a:cubicBezTo>
                    <a:cubicBezTo>
                      <a:pt x="26" y="9"/>
                      <a:pt x="26" y="9"/>
                      <a:pt x="26" y="9"/>
                    </a:cubicBezTo>
                    <a:cubicBezTo>
                      <a:pt x="26" y="8"/>
                      <a:pt x="27" y="7"/>
                      <a:pt x="26" y="7"/>
                    </a:cubicBezTo>
                    <a:cubicBezTo>
                      <a:pt x="25" y="7"/>
                      <a:pt x="24" y="7"/>
                      <a:pt x="23" y="7"/>
                    </a:cubicBezTo>
                    <a:cubicBezTo>
                      <a:pt x="22" y="8"/>
                      <a:pt x="21" y="8"/>
                      <a:pt x="21" y="8"/>
                    </a:cubicBezTo>
                    <a:cubicBezTo>
                      <a:pt x="21" y="7"/>
                      <a:pt x="21" y="6"/>
                      <a:pt x="21" y="6"/>
                    </a:cubicBezTo>
                    <a:cubicBezTo>
                      <a:pt x="21" y="6"/>
                      <a:pt x="21" y="5"/>
                      <a:pt x="21" y="5"/>
                    </a:cubicBezTo>
                    <a:cubicBezTo>
                      <a:pt x="21" y="4"/>
                      <a:pt x="21" y="3"/>
                      <a:pt x="21" y="2"/>
                    </a:cubicBezTo>
                    <a:cubicBezTo>
                      <a:pt x="21" y="2"/>
                      <a:pt x="19" y="1"/>
                      <a:pt x="19" y="1"/>
                    </a:cubicBezTo>
                    <a:cubicBezTo>
                      <a:pt x="19" y="1"/>
                      <a:pt x="18" y="2"/>
                      <a:pt x="17" y="2"/>
                    </a:cubicBezTo>
                    <a:cubicBezTo>
                      <a:pt x="17" y="1"/>
                      <a:pt x="17" y="1"/>
                      <a:pt x="17" y="0"/>
                    </a:cubicBezTo>
                    <a:cubicBezTo>
                      <a:pt x="17" y="0"/>
                      <a:pt x="17" y="0"/>
                      <a:pt x="16" y="0"/>
                    </a:cubicBezTo>
                    <a:cubicBezTo>
                      <a:pt x="15" y="0"/>
                      <a:pt x="14" y="1"/>
                      <a:pt x="14" y="1"/>
                    </a:cubicBezTo>
                    <a:cubicBezTo>
                      <a:pt x="14" y="2"/>
                      <a:pt x="14" y="2"/>
                      <a:pt x="14" y="3"/>
                    </a:cubicBezTo>
                    <a:cubicBezTo>
                      <a:pt x="14" y="3"/>
                      <a:pt x="13" y="3"/>
                      <a:pt x="13" y="3"/>
                    </a:cubicBezTo>
                    <a:cubicBezTo>
                      <a:pt x="12" y="3"/>
                      <a:pt x="12" y="3"/>
                      <a:pt x="11" y="4"/>
                    </a:cubicBezTo>
                    <a:cubicBezTo>
                      <a:pt x="11" y="4"/>
                      <a:pt x="11" y="6"/>
                      <a:pt x="10" y="6"/>
                    </a:cubicBezTo>
                    <a:cubicBezTo>
                      <a:pt x="10" y="6"/>
                      <a:pt x="9" y="7"/>
                      <a:pt x="8" y="7"/>
                    </a:cubicBezTo>
                    <a:cubicBezTo>
                      <a:pt x="8" y="7"/>
                      <a:pt x="7" y="7"/>
                      <a:pt x="6" y="7"/>
                    </a:cubicBezTo>
                    <a:cubicBezTo>
                      <a:pt x="6" y="7"/>
                      <a:pt x="5" y="7"/>
                      <a:pt x="4" y="8"/>
                    </a:cubicBezTo>
                    <a:cubicBezTo>
                      <a:pt x="4" y="8"/>
                      <a:pt x="4" y="10"/>
                      <a:pt x="4" y="11"/>
                    </a:cubicBezTo>
                    <a:cubicBezTo>
                      <a:pt x="4" y="11"/>
                      <a:pt x="3" y="12"/>
                      <a:pt x="3" y="12"/>
                    </a:cubicBezTo>
                    <a:cubicBezTo>
                      <a:pt x="3" y="13"/>
                      <a:pt x="4" y="14"/>
                      <a:pt x="4" y="14"/>
                    </a:cubicBezTo>
                    <a:cubicBezTo>
                      <a:pt x="3" y="15"/>
                      <a:pt x="2" y="15"/>
                      <a:pt x="1" y="16"/>
                    </a:cubicBezTo>
                    <a:cubicBezTo>
                      <a:pt x="0" y="17"/>
                      <a:pt x="1" y="17"/>
                      <a:pt x="2" y="17"/>
                    </a:cubicBezTo>
                    <a:cubicBezTo>
                      <a:pt x="2" y="17"/>
                      <a:pt x="3" y="17"/>
                      <a:pt x="4" y="19"/>
                    </a:cubicBezTo>
                    <a:cubicBezTo>
                      <a:pt x="5" y="22"/>
                      <a:pt x="6" y="21"/>
                      <a:pt x="6" y="22"/>
                    </a:cubicBezTo>
                    <a:cubicBezTo>
                      <a:pt x="6" y="22"/>
                      <a:pt x="7" y="24"/>
                      <a:pt x="8" y="25"/>
                    </a:cubicBezTo>
                    <a:cubicBezTo>
                      <a:pt x="8" y="26"/>
                      <a:pt x="10" y="27"/>
                      <a:pt x="10" y="27"/>
                    </a:cubicBezTo>
                    <a:cubicBezTo>
                      <a:pt x="10" y="27"/>
                      <a:pt x="10" y="28"/>
                      <a:pt x="10" y="29"/>
                    </a:cubicBezTo>
                    <a:cubicBezTo>
                      <a:pt x="11" y="29"/>
                      <a:pt x="12" y="30"/>
                      <a:pt x="12" y="30"/>
                    </a:cubicBezTo>
                    <a:cubicBezTo>
                      <a:pt x="12" y="31"/>
                      <a:pt x="11" y="31"/>
                      <a:pt x="10" y="32"/>
                    </a:cubicBezTo>
                    <a:cubicBezTo>
                      <a:pt x="10" y="32"/>
                      <a:pt x="10" y="33"/>
                      <a:pt x="10" y="33"/>
                    </a:cubicBezTo>
                    <a:cubicBezTo>
                      <a:pt x="10" y="34"/>
                      <a:pt x="10" y="34"/>
                      <a:pt x="10" y="35"/>
                    </a:cubicBezTo>
                    <a:cubicBezTo>
                      <a:pt x="10" y="36"/>
                      <a:pt x="10" y="36"/>
                      <a:pt x="10" y="37"/>
                    </a:cubicBezTo>
                    <a:cubicBezTo>
                      <a:pt x="9" y="37"/>
                      <a:pt x="9" y="38"/>
                      <a:pt x="9" y="39"/>
                    </a:cubicBezTo>
                    <a:cubicBezTo>
                      <a:pt x="9" y="39"/>
                      <a:pt x="10" y="41"/>
                      <a:pt x="11" y="42"/>
                    </a:cubicBezTo>
                    <a:cubicBezTo>
                      <a:pt x="12" y="43"/>
                      <a:pt x="14" y="44"/>
                      <a:pt x="15" y="46"/>
                    </a:cubicBezTo>
                    <a:cubicBezTo>
                      <a:pt x="16" y="47"/>
                      <a:pt x="16" y="48"/>
                      <a:pt x="16" y="50"/>
                    </a:cubicBezTo>
                    <a:cubicBezTo>
                      <a:pt x="16" y="52"/>
                      <a:pt x="16" y="52"/>
                      <a:pt x="16" y="52"/>
                    </a:cubicBezTo>
                    <a:cubicBezTo>
                      <a:pt x="17" y="53"/>
                      <a:pt x="17" y="54"/>
                      <a:pt x="18" y="56"/>
                    </a:cubicBezTo>
                    <a:cubicBezTo>
                      <a:pt x="18" y="57"/>
                      <a:pt x="18" y="58"/>
                      <a:pt x="18" y="59"/>
                    </a:cubicBezTo>
                    <a:cubicBezTo>
                      <a:pt x="18" y="60"/>
                      <a:pt x="18" y="61"/>
                      <a:pt x="18" y="61"/>
                    </a:cubicBezTo>
                    <a:cubicBezTo>
                      <a:pt x="18" y="62"/>
                      <a:pt x="18" y="62"/>
                      <a:pt x="18" y="63"/>
                    </a:cubicBezTo>
                    <a:cubicBezTo>
                      <a:pt x="17" y="63"/>
                      <a:pt x="17" y="65"/>
                      <a:pt x="17" y="66"/>
                    </a:cubicBezTo>
                    <a:cubicBezTo>
                      <a:pt x="16" y="66"/>
                      <a:pt x="15" y="67"/>
                      <a:pt x="15" y="68"/>
                    </a:cubicBezTo>
                    <a:cubicBezTo>
                      <a:pt x="15" y="68"/>
                      <a:pt x="14" y="69"/>
                      <a:pt x="14" y="70"/>
                    </a:cubicBezTo>
                    <a:cubicBezTo>
                      <a:pt x="14" y="71"/>
                      <a:pt x="13" y="73"/>
                      <a:pt x="13" y="73"/>
                    </a:cubicBezTo>
                    <a:cubicBezTo>
                      <a:pt x="13" y="73"/>
                      <a:pt x="13" y="73"/>
                      <a:pt x="13" y="73"/>
                    </a:cubicBezTo>
                    <a:cubicBezTo>
                      <a:pt x="13" y="74"/>
                      <a:pt x="13" y="74"/>
                      <a:pt x="13" y="74"/>
                    </a:cubicBezTo>
                    <a:cubicBezTo>
                      <a:pt x="13" y="75"/>
                      <a:pt x="13" y="75"/>
                      <a:pt x="13" y="76"/>
                    </a:cubicBezTo>
                    <a:cubicBezTo>
                      <a:pt x="13" y="76"/>
                      <a:pt x="13" y="76"/>
                      <a:pt x="13" y="77"/>
                    </a:cubicBezTo>
                    <a:cubicBezTo>
                      <a:pt x="13" y="77"/>
                      <a:pt x="13" y="77"/>
                      <a:pt x="13" y="77"/>
                    </a:cubicBezTo>
                    <a:cubicBezTo>
                      <a:pt x="13" y="77"/>
                      <a:pt x="12" y="78"/>
                      <a:pt x="12" y="78"/>
                    </a:cubicBezTo>
                    <a:cubicBezTo>
                      <a:pt x="12" y="78"/>
                      <a:pt x="12" y="79"/>
                      <a:pt x="12" y="80"/>
                    </a:cubicBezTo>
                    <a:cubicBezTo>
                      <a:pt x="12" y="81"/>
                      <a:pt x="11" y="80"/>
                      <a:pt x="11" y="81"/>
                    </a:cubicBezTo>
                    <a:cubicBezTo>
                      <a:pt x="11" y="82"/>
                      <a:pt x="11" y="83"/>
                      <a:pt x="11" y="84"/>
                    </a:cubicBezTo>
                    <a:cubicBezTo>
                      <a:pt x="11" y="85"/>
                      <a:pt x="11" y="85"/>
                      <a:pt x="12" y="86"/>
                    </a:cubicBezTo>
                    <a:cubicBezTo>
                      <a:pt x="13" y="87"/>
                      <a:pt x="13" y="86"/>
                      <a:pt x="13" y="85"/>
                    </a:cubicBezTo>
                    <a:cubicBezTo>
                      <a:pt x="13" y="85"/>
                      <a:pt x="14" y="85"/>
                      <a:pt x="14" y="85"/>
                    </a:cubicBezTo>
                    <a:cubicBezTo>
                      <a:pt x="15" y="86"/>
                      <a:pt x="14" y="86"/>
                      <a:pt x="15" y="87"/>
                    </a:cubicBezTo>
                    <a:cubicBezTo>
                      <a:pt x="16" y="87"/>
                      <a:pt x="16" y="87"/>
                      <a:pt x="16" y="88"/>
                    </a:cubicBezTo>
                    <a:cubicBezTo>
                      <a:pt x="16" y="88"/>
                      <a:pt x="17" y="89"/>
                      <a:pt x="17" y="89"/>
                    </a:cubicBezTo>
                    <a:cubicBezTo>
                      <a:pt x="17" y="89"/>
                      <a:pt x="18" y="90"/>
                      <a:pt x="18" y="90"/>
                    </a:cubicBezTo>
                    <a:cubicBezTo>
                      <a:pt x="19" y="90"/>
                      <a:pt x="19" y="91"/>
                      <a:pt x="19" y="91"/>
                    </a:cubicBezTo>
                    <a:cubicBezTo>
                      <a:pt x="20" y="92"/>
                      <a:pt x="19" y="92"/>
                      <a:pt x="20" y="92"/>
                    </a:cubicBezTo>
                    <a:cubicBezTo>
                      <a:pt x="21" y="93"/>
                      <a:pt x="21" y="93"/>
                      <a:pt x="22" y="94"/>
                    </a:cubicBezTo>
                    <a:cubicBezTo>
                      <a:pt x="22" y="94"/>
                      <a:pt x="21" y="94"/>
                      <a:pt x="21" y="95"/>
                    </a:cubicBezTo>
                    <a:cubicBezTo>
                      <a:pt x="21" y="95"/>
                      <a:pt x="23" y="96"/>
                      <a:pt x="23" y="97"/>
                    </a:cubicBezTo>
                    <a:cubicBezTo>
                      <a:pt x="24" y="97"/>
                      <a:pt x="24" y="98"/>
                      <a:pt x="25" y="98"/>
                    </a:cubicBezTo>
                    <a:cubicBezTo>
                      <a:pt x="25" y="98"/>
                      <a:pt x="25" y="97"/>
                      <a:pt x="25" y="97"/>
                    </a:cubicBezTo>
                    <a:cubicBezTo>
                      <a:pt x="26" y="96"/>
                      <a:pt x="26" y="95"/>
                      <a:pt x="27" y="96"/>
                    </a:cubicBezTo>
                    <a:cubicBezTo>
                      <a:pt x="28" y="96"/>
                      <a:pt x="28" y="97"/>
                      <a:pt x="29" y="97"/>
                    </a:cubicBezTo>
                    <a:cubicBezTo>
                      <a:pt x="29" y="97"/>
                      <a:pt x="29" y="98"/>
                      <a:pt x="30" y="98"/>
                    </a:cubicBezTo>
                    <a:cubicBezTo>
                      <a:pt x="31" y="98"/>
                      <a:pt x="32" y="98"/>
                      <a:pt x="32" y="99"/>
                    </a:cubicBezTo>
                    <a:cubicBezTo>
                      <a:pt x="32" y="99"/>
                      <a:pt x="32" y="100"/>
                      <a:pt x="32" y="100"/>
                    </a:cubicBezTo>
                    <a:cubicBezTo>
                      <a:pt x="31" y="101"/>
                      <a:pt x="31" y="101"/>
                      <a:pt x="31" y="102"/>
                    </a:cubicBezTo>
                    <a:cubicBezTo>
                      <a:pt x="31" y="102"/>
                      <a:pt x="31" y="103"/>
                      <a:pt x="32" y="103"/>
                    </a:cubicBezTo>
                    <a:cubicBezTo>
                      <a:pt x="33" y="103"/>
                      <a:pt x="35" y="102"/>
                      <a:pt x="35" y="102"/>
                    </a:cubicBezTo>
                    <a:cubicBezTo>
                      <a:pt x="35" y="102"/>
                      <a:pt x="36" y="102"/>
                      <a:pt x="36" y="102"/>
                    </a:cubicBezTo>
                    <a:cubicBezTo>
                      <a:pt x="37" y="102"/>
                      <a:pt x="37" y="102"/>
                      <a:pt x="37" y="102"/>
                    </a:cubicBezTo>
                    <a:cubicBezTo>
                      <a:pt x="38" y="102"/>
                      <a:pt x="38" y="101"/>
                      <a:pt x="38" y="100"/>
                    </a:cubicBezTo>
                    <a:cubicBezTo>
                      <a:pt x="38" y="100"/>
                      <a:pt x="38" y="100"/>
                      <a:pt x="38" y="100"/>
                    </a:cubicBezTo>
                    <a:cubicBezTo>
                      <a:pt x="37" y="100"/>
                      <a:pt x="37" y="99"/>
                      <a:pt x="37" y="99"/>
                    </a:cubicBezTo>
                    <a:cubicBezTo>
                      <a:pt x="36" y="99"/>
                      <a:pt x="36" y="98"/>
                      <a:pt x="35" y="98"/>
                    </a:cubicBezTo>
                    <a:cubicBezTo>
                      <a:pt x="35" y="97"/>
                      <a:pt x="35" y="96"/>
                      <a:pt x="35" y="96"/>
                    </a:cubicBezTo>
                    <a:cubicBezTo>
                      <a:pt x="35" y="96"/>
                      <a:pt x="34" y="95"/>
                      <a:pt x="33" y="95"/>
                    </a:cubicBezTo>
                    <a:cubicBezTo>
                      <a:pt x="32" y="95"/>
                      <a:pt x="32" y="95"/>
                      <a:pt x="32" y="95"/>
                    </a:cubicBezTo>
                    <a:cubicBezTo>
                      <a:pt x="31" y="95"/>
                      <a:pt x="31" y="95"/>
                      <a:pt x="30" y="94"/>
                    </a:cubicBezTo>
                    <a:cubicBezTo>
                      <a:pt x="30" y="94"/>
                      <a:pt x="29" y="93"/>
                      <a:pt x="28" y="93"/>
                    </a:cubicBezTo>
                    <a:cubicBezTo>
                      <a:pt x="28" y="92"/>
                      <a:pt x="28" y="92"/>
                      <a:pt x="28" y="92"/>
                    </a:cubicBezTo>
                    <a:cubicBezTo>
                      <a:pt x="28" y="91"/>
                      <a:pt x="27" y="91"/>
                      <a:pt x="27" y="91"/>
                    </a:cubicBezTo>
                    <a:cubicBezTo>
                      <a:pt x="27" y="91"/>
                      <a:pt x="27" y="92"/>
                      <a:pt x="27" y="92"/>
                    </a:cubicBezTo>
                    <a:cubicBezTo>
                      <a:pt x="27" y="92"/>
                      <a:pt x="26" y="92"/>
                      <a:pt x="26" y="92"/>
                    </a:cubicBezTo>
                    <a:cubicBezTo>
                      <a:pt x="25" y="91"/>
                      <a:pt x="25" y="91"/>
                      <a:pt x="25" y="91"/>
                    </a:cubicBezTo>
                    <a:cubicBezTo>
                      <a:pt x="25" y="90"/>
                      <a:pt x="26" y="90"/>
                      <a:pt x="27" y="90"/>
                    </a:cubicBezTo>
                    <a:cubicBezTo>
                      <a:pt x="27" y="90"/>
                      <a:pt x="27" y="90"/>
                      <a:pt x="27" y="89"/>
                    </a:cubicBezTo>
                    <a:cubicBezTo>
                      <a:pt x="27" y="89"/>
                      <a:pt x="27" y="88"/>
                      <a:pt x="27" y="87"/>
                    </a:cubicBezTo>
                    <a:cubicBezTo>
                      <a:pt x="27" y="87"/>
                      <a:pt x="27" y="87"/>
                      <a:pt x="26" y="86"/>
                    </a:cubicBezTo>
                    <a:cubicBezTo>
                      <a:pt x="26" y="86"/>
                      <a:pt x="26" y="86"/>
                      <a:pt x="26" y="86"/>
                    </a:cubicBezTo>
                    <a:cubicBezTo>
                      <a:pt x="26" y="86"/>
                      <a:pt x="26" y="85"/>
                      <a:pt x="26" y="85"/>
                    </a:cubicBezTo>
                    <a:cubicBezTo>
                      <a:pt x="26" y="85"/>
                      <a:pt x="26" y="85"/>
                      <a:pt x="25" y="84"/>
                    </a:cubicBezTo>
                    <a:cubicBezTo>
                      <a:pt x="25" y="83"/>
                      <a:pt x="25" y="83"/>
                      <a:pt x="25" y="84"/>
                    </a:cubicBezTo>
                    <a:cubicBezTo>
                      <a:pt x="25" y="84"/>
                      <a:pt x="24" y="84"/>
                      <a:pt x="24" y="84"/>
                    </a:cubicBezTo>
                    <a:cubicBezTo>
                      <a:pt x="24" y="84"/>
                      <a:pt x="23" y="84"/>
                      <a:pt x="23" y="83"/>
                    </a:cubicBezTo>
                    <a:cubicBezTo>
                      <a:pt x="23" y="83"/>
                      <a:pt x="23" y="83"/>
                      <a:pt x="23" y="83"/>
                    </a:cubicBezTo>
                    <a:cubicBezTo>
                      <a:pt x="23" y="83"/>
                      <a:pt x="23" y="82"/>
                      <a:pt x="23" y="81"/>
                    </a:cubicBezTo>
                    <a:cubicBezTo>
                      <a:pt x="23" y="81"/>
                      <a:pt x="22" y="81"/>
                      <a:pt x="22" y="81"/>
                    </a:cubicBezTo>
                    <a:cubicBezTo>
                      <a:pt x="22" y="81"/>
                      <a:pt x="22" y="80"/>
                      <a:pt x="22" y="79"/>
                    </a:cubicBezTo>
                    <a:cubicBezTo>
                      <a:pt x="22" y="79"/>
                      <a:pt x="21" y="79"/>
                      <a:pt x="21" y="78"/>
                    </a:cubicBezTo>
                    <a:cubicBezTo>
                      <a:pt x="21" y="78"/>
                      <a:pt x="20" y="78"/>
                      <a:pt x="20" y="79"/>
                    </a:cubicBezTo>
                    <a:cubicBezTo>
                      <a:pt x="19" y="79"/>
                      <a:pt x="19" y="80"/>
                      <a:pt x="18" y="80"/>
                    </a:cubicBezTo>
                    <a:cubicBezTo>
                      <a:pt x="18" y="80"/>
                      <a:pt x="18" y="79"/>
                      <a:pt x="18" y="79"/>
                    </a:cubicBezTo>
                    <a:cubicBezTo>
                      <a:pt x="18" y="78"/>
                      <a:pt x="19" y="78"/>
                      <a:pt x="18" y="78"/>
                    </a:cubicBezTo>
                    <a:cubicBezTo>
                      <a:pt x="18" y="77"/>
                      <a:pt x="18" y="77"/>
                      <a:pt x="18" y="77"/>
                    </a:cubicBezTo>
                    <a:cubicBezTo>
                      <a:pt x="18" y="77"/>
                      <a:pt x="17" y="76"/>
                      <a:pt x="17" y="76"/>
                    </a:cubicBezTo>
                    <a:cubicBezTo>
                      <a:pt x="17" y="76"/>
                      <a:pt x="17" y="75"/>
                      <a:pt x="17" y="75"/>
                    </a:cubicBezTo>
                    <a:cubicBezTo>
                      <a:pt x="17" y="74"/>
                      <a:pt x="17" y="74"/>
                      <a:pt x="17" y="74"/>
                    </a:cubicBezTo>
                    <a:cubicBezTo>
                      <a:pt x="17" y="74"/>
                      <a:pt x="17" y="73"/>
                      <a:pt x="17" y="73"/>
                    </a:cubicBezTo>
                    <a:cubicBezTo>
                      <a:pt x="18" y="73"/>
                      <a:pt x="17" y="72"/>
                      <a:pt x="17" y="72"/>
                    </a:cubicBezTo>
                    <a:cubicBezTo>
                      <a:pt x="17" y="72"/>
                      <a:pt x="17" y="72"/>
                      <a:pt x="17" y="72"/>
                    </a:cubicBezTo>
                    <a:cubicBezTo>
                      <a:pt x="17" y="72"/>
                      <a:pt x="17" y="71"/>
                      <a:pt x="17" y="71"/>
                    </a:cubicBezTo>
                    <a:cubicBezTo>
                      <a:pt x="17" y="71"/>
                      <a:pt x="17" y="70"/>
                      <a:pt x="17" y="70"/>
                    </a:cubicBezTo>
                    <a:cubicBezTo>
                      <a:pt x="17" y="70"/>
                      <a:pt x="17" y="69"/>
                      <a:pt x="18" y="69"/>
                    </a:cubicBezTo>
                    <a:cubicBezTo>
                      <a:pt x="18" y="69"/>
                      <a:pt x="19" y="68"/>
                      <a:pt x="19" y="67"/>
                    </a:cubicBezTo>
                    <a:cubicBezTo>
                      <a:pt x="19" y="67"/>
                      <a:pt x="19" y="66"/>
                      <a:pt x="19" y="66"/>
                    </a:cubicBezTo>
                    <a:cubicBezTo>
                      <a:pt x="19" y="65"/>
                      <a:pt x="19" y="64"/>
                      <a:pt x="19" y="64"/>
                    </a:cubicBezTo>
                    <a:cubicBezTo>
                      <a:pt x="19" y="63"/>
                      <a:pt x="20" y="62"/>
                      <a:pt x="20" y="62"/>
                    </a:cubicBezTo>
                    <a:cubicBezTo>
                      <a:pt x="20" y="61"/>
                      <a:pt x="20" y="61"/>
                      <a:pt x="20" y="60"/>
                    </a:cubicBezTo>
                    <a:cubicBezTo>
                      <a:pt x="21" y="60"/>
                      <a:pt x="21" y="60"/>
                      <a:pt x="21" y="59"/>
                    </a:cubicBezTo>
                    <a:cubicBezTo>
                      <a:pt x="21" y="59"/>
                      <a:pt x="21" y="59"/>
                      <a:pt x="21" y="58"/>
                    </a:cubicBezTo>
                    <a:cubicBezTo>
                      <a:pt x="22" y="58"/>
                      <a:pt x="22" y="57"/>
                      <a:pt x="22" y="57"/>
                    </a:cubicBezTo>
                    <a:cubicBezTo>
                      <a:pt x="22" y="57"/>
                      <a:pt x="22" y="56"/>
                      <a:pt x="21" y="56"/>
                    </a:cubicBezTo>
                    <a:cubicBezTo>
                      <a:pt x="21" y="56"/>
                      <a:pt x="21" y="55"/>
                      <a:pt x="21" y="55"/>
                    </a:cubicBezTo>
                    <a:cubicBezTo>
                      <a:pt x="21" y="55"/>
                      <a:pt x="21" y="54"/>
                      <a:pt x="22" y="54"/>
                    </a:cubicBezTo>
                    <a:cubicBezTo>
                      <a:pt x="22" y="53"/>
                      <a:pt x="22" y="53"/>
                      <a:pt x="22" y="53"/>
                    </a:cubicBezTo>
                    <a:cubicBezTo>
                      <a:pt x="22" y="52"/>
                      <a:pt x="22" y="52"/>
                      <a:pt x="22" y="52"/>
                    </a:cubicBezTo>
                    <a:cubicBezTo>
                      <a:pt x="22" y="52"/>
                      <a:pt x="21" y="51"/>
                      <a:pt x="21" y="51"/>
                    </a:cubicBezTo>
                    <a:cubicBezTo>
                      <a:pt x="21" y="51"/>
                      <a:pt x="21" y="51"/>
                      <a:pt x="21" y="50"/>
                    </a:cubicBezTo>
                    <a:cubicBezTo>
                      <a:pt x="21" y="50"/>
                      <a:pt x="22" y="50"/>
                      <a:pt x="23" y="50"/>
                    </a:cubicBezTo>
                    <a:cubicBezTo>
                      <a:pt x="23" y="50"/>
                      <a:pt x="24" y="50"/>
                      <a:pt x="24" y="50"/>
                    </a:cubicBezTo>
                    <a:cubicBezTo>
                      <a:pt x="25" y="50"/>
                      <a:pt x="26" y="50"/>
                      <a:pt x="26" y="50"/>
                    </a:cubicBezTo>
                    <a:cubicBezTo>
                      <a:pt x="27" y="50"/>
                      <a:pt x="27" y="50"/>
                      <a:pt x="27" y="51"/>
                    </a:cubicBezTo>
                    <a:cubicBezTo>
                      <a:pt x="28" y="51"/>
                      <a:pt x="27" y="51"/>
                      <a:pt x="27" y="52"/>
                    </a:cubicBezTo>
                    <a:cubicBezTo>
                      <a:pt x="27" y="52"/>
                      <a:pt x="27" y="52"/>
                      <a:pt x="27" y="53"/>
                    </a:cubicBezTo>
                    <a:cubicBezTo>
                      <a:pt x="27" y="53"/>
                      <a:pt x="28" y="54"/>
                      <a:pt x="28" y="54"/>
                    </a:cubicBezTo>
                    <a:cubicBezTo>
                      <a:pt x="28" y="54"/>
                      <a:pt x="27" y="55"/>
                      <a:pt x="27" y="55"/>
                    </a:cubicBezTo>
                    <a:cubicBezTo>
                      <a:pt x="27" y="55"/>
                      <a:pt x="27" y="55"/>
                      <a:pt x="28" y="55"/>
                    </a:cubicBezTo>
                    <a:cubicBezTo>
                      <a:pt x="28" y="55"/>
                      <a:pt x="29" y="56"/>
                      <a:pt x="29" y="56"/>
                    </a:cubicBezTo>
                    <a:cubicBezTo>
                      <a:pt x="29" y="56"/>
                      <a:pt x="29" y="56"/>
                      <a:pt x="30" y="56"/>
                    </a:cubicBezTo>
                    <a:cubicBezTo>
                      <a:pt x="30" y="55"/>
                      <a:pt x="31" y="56"/>
                      <a:pt x="31" y="56"/>
                    </a:cubicBezTo>
                    <a:cubicBezTo>
                      <a:pt x="31" y="56"/>
                      <a:pt x="32" y="56"/>
                      <a:pt x="33" y="56"/>
                    </a:cubicBezTo>
                    <a:cubicBezTo>
                      <a:pt x="33" y="56"/>
                      <a:pt x="33" y="56"/>
                      <a:pt x="33" y="55"/>
                    </a:cubicBezTo>
                    <a:cubicBezTo>
                      <a:pt x="33" y="55"/>
                      <a:pt x="34" y="55"/>
                      <a:pt x="34" y="55"/>
                    </a:cubicBezTo>
                    <a:cubicBezTo>
                      <a:pt x="34" y="56"/>
                      <a:pt x="35" y="56"/>
                      <a:pt x="35" y="57"/>
                    </a:cubicBezTo>
                    <a:cubicBezTo>
                      <a:pt x="36" y="57"/>
                      <a:pt x="38" y="59"/>
                      <a:pt x="38" y="59"/>
                    </a:cubicBezTo>
                    <a:cubicBezTo>
                      <a:pt x="38" y="59"/>
                      <a:pt x="39" y="59"/>
                      <a:pt x="39" y="60"/>
                    </a:cubicBezTo>
                    <a:cubicBezTo>
                      <a:pt x="39" y="60"/>
                      <a:pt x="39" y="59"/>
                      <a:pt x="40" y="59"/>
                    </a:cubicBezTo>
                    <a:cubicBezTo>
                      <a:pt x="40" y="59"/>
                      <a:pt x="40" y="58"/>
                      <a:pt x="40" y="57"/>
                    </a:cubicBezTo>
                    <a:cubicBezTo>
                      <a:pt x="40" y="57"/>
                      <a:pt x="40" y="54"/>
                      <a:pt x="39" y="54"/>
                    </a:cubicBezTo>
                    <a:cubicBezTo>
                      <a:pt x="39" y="54"/>
                      <a:pt x="38" y="53"/>
                      <a:pt x="38" y="52"/>
                    </a:cubicBezTo>
                    <a:cubicBezTo>
                      <a:pt x="38" y="52"/>
                      <a:pt x="38" y="50"/>
                      <a:pt x="38" y="49"/>
                    </a:cubicBezTo>
                    <a:cubicBezTo>
                      <a:pt x="38" y="49"/>
                      <a:pt x="38" y="48"/>
                      <a:pt x="39" y="48"/>
                    </a:cubicBezTo>
                    <a:cubicBezTo>
                      <a:pt x="39" y="47"/>
                      <a:pt x="39" y="46"/>
                      <a:pt x="40" y="45"/>
                    </a:cubicBezTo>
                    <a:cubicBezTo>
                      <a:pt x="40" y="44"/>
                      <a:pt x="41" y="43"/>
                      <a:pt x="42" y="43"/>
                    </a:cubicBezTo>
                    <a:cubicBezTo>
                      <a:pt x="42" y="43"/>
                      <a:pt x="43" y="43"/>
                      <a:pt x="44" y="43"/>
                    </a:cubicBezTo>
                    <a:cubicBezTo>
                      <a:pt x="45" y="43"/>
                      <a:pt x="46" y="42"/>
                      <a:pt x="46" y="42"/>
                    </a:cubicBezTo>
                    <a:cubicBezTo>
                      <a:pt x="47" y="42"/>
                      <a:pt x="48" y="43"/>
                      <a:pt x="48" y="43"/>
                    </a:cubicBezTo>
                    <a:cubicBezTo>
                      <a:pt x="49" y="43"/>
                      <a:pt x="50" y="42"/>
                      <a:pt x="50" y="42"/>
                    </a:cubicBezTo>
                    <a:cubicBezTo>
                      <a:pt x="51" y="42"/>
                      <a:pt x="52" y="43"/>
                      <a:pt x="52" y="43"/>
                    </a:cubicBezTo>
                    <a:cubicBezTo>
                      <a:pt x="53" y="43"/>
                      <a:pt x="54" y="42"/>
                      <a:pt x="54" y="42"/>
                    </a:cubicBezTo>
                    <a:cubicBezTo>
                      <a:pt x="55" y="42"/>
                      <a:pt x="55" y="43"/>
                      <a:pt x="56" y="43"/>
                    </a:cubicBezTo>
                    <a:cubicBezTo>
                      <a:pt x="56" y="43"/>
                      <a:pt x="57" y="43"/>
                      <a:pt x="57" y="43"/>
                    </a:cubicBezTo>
                    <a:cubicBezTo>
                      <a:pt x="58" y="42"/>
                      <a:pt x="58" y="42"/>
                      <a:pt x="58" y="42"/>
                    </a:cubicBezTo>
                    <a:cubicBezTo>
                      <a:pt x="58" y="42"/>
                      <a:pt x="59" y="42"/>
                      <a:pt x="59" y="41"/>
                    </a:cubicBezTo>
                    <a:cubicBezTo>
                      <a:pt x="59" y="41"/>
                      <a:pt x="59" y="39"/>
                      <a:pt x="59" y="39"/>
                    </a:cubicBezTo>
                    <a:cubicBezTo>
                      <a:pt x="58" y="39"/>
                      <a:pt x="58" y="38"/>
                      <a:pt x="58" y="37"/>
                    </a:cubicBezTo>
                    <a:cubicBezTo>
                      <a:pt x="59" y="37"/>
                      <a:pt x="59" y="36"/>
                      <a:pt x="59" y="36"/>
                    </a:cubicBezTo>
                    <a:cubicBezTo>
                      <a:pt x="59" y="36"/>
                      <a:pt x="59" y="35"/>
                      <a:pt x="59" y="35"/>
                    </a:cubicBezTo>
                    <a:cubicBezTo>
                      <a:pt x="59" y="35"/>
                      <a:pt x="59" y="34"/>
                      <a:pt x="5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8" name="Freeform 831">
                <a:extLst>
                  <a:ext uri="{FF2B5EF4-FFF2-40B4-BE49-F238E27FC236}">
                    <a16:creationId xmlns:a16="http://schemas.microsoft.com/office/drawing/2014/main" id="{6224748C-B4BF-2387-2F76-0C23730AC670}"/>
                  </a:ext>
                </a:extLst>
              </p:cNvPr>
              <p:cNvSpPr>
                <a:spLocks/>
              </p:cNvSpPr>
              <p:nvPr/>
            </p:nvSpPr>
            <p:spPr bwMode="auto">
              <a:xfrm>
                <a:off x="7278688" y="3617913"/>
                <a:ext cx="220662" cy="157163"/>
              </a:xfrm>
              <a:custGeom>
                <a:avLst/>
                <a:gdLst>
                  <a:gd name="T0" fmla="*/ 51 w 53"/>
                  <a:gd name="T1" fmla="*/ 26 h 38"/>
                  <a:gd name="T2" fmla="*/ 48 w 53"/>
                  <a:gd name="T3" fmla="*/ 22 h 38"/>
                  <a:gd name="T4" fmla="*/ 44 w 53"/>
                  <a:gd name="T5" fmla="*/ 22 h 38"/>
                  <a:gd name="T6" fmla="*/ 44 w 53"/>
                  <a:gd name="T7" fmla="*/ 18 h 38"/>
                  <a:gd name="T8" fmla="*/ 42 w 53"/>
                  <a:gd name="T9" fmla="*/ 14 h 38"/>
                  <a:gd name="T10" fmla="*/ 38 w 53"/>
                  <a:gd name="T11" fmla="*/ 15 h 38"/>
                  <a:gd name="T12" fmla="*/ 35 w 53"/>
                  <a:gd name="T13" fmla="*/ 15 h 38"/>
                  <a:gd name="T14" fmla="*/ 32 w 53"/>
                  <a:gd name="T15" fmla="*/ 15 h 38"/>
                  <a:gd name="T16" fmla="*/ 30 w 53"/>
                  <a:gd name="T17" fmla="*/ 14 h 38"/>
                  <a:gd name="T18" fmla="*/ 28 w 53"/>
                  <a:gd name="T19" fmla="*/ 13 h 38"/>
                  <a:gd name="T20" fmla="*/ 25 w 53"/>
                  <a:gd name="T21" fmla="*/ 14 h 38"/>
                  <a:gd name="T22" fmla="*/ 22 w 53"/>
                  <a:gd name="T23" fmla="*/ 13 h 38"/>
                  <a:gd name="T24" fmla="*/ 14 w 53"/>
                  <a:gd name="T25" fmla="*/ 13 h 38"/>
                  <a:gd name="T26" fmla="*/ 13 w 53"/>
                  <a:gd name="T27" fmla="*/ 10 h 38"/>
                  <a:gd name="T28" fmla="*/ 14 w 53"/>
                  <a:gd name="T29" fmla="*/ 9 h 38"/>
                  <a:gd name="T30" fmla="*/ 17 w 53"/>
                  <a:gd name="T31" fmla="*/ 8 h 38"/>
                  <a:gd name="T32" fmla="*/ 20 w 53"/>
                  <a:gd name="T33" fmla="*/ 9 h 38"/>
                  <a:gd name="T34" fmla="*/ 22 w 53"/>
                  <a:gd name="T35" fmla="*/ 9 h 38"/>
                  <a:gd name="T36" fmla="*/ 22 w 53"/>
                  <a:gd name="T37" fmla="*/ 7 h 38"/>
                  <a:gd name="T38" fmla="*/ 21 w 53"/>
                  <a:gd name="T39" fmla="*/ 5 h 38"/>
                  <a:gd name="T40" fmla="*/ 22 w 53"/>
                  <a:gd name="T41" fmla="*/ 2 h 38"/>
                  <a:gd name="T42" fmla="*/ 21 w 53"/>
                  <a:gd name="T43" fmla="*/ 1 h 38"/>
                  <a:gd name="T44" fmla="*/ 20 w 53"/>
                  <a:gd name="T45" fmla="*/ 1 h 38"/>
                  <a:gd name="T46" fmla="*/ 15 w 53"/>
                  <a:gd name="T47" fmla="*/ 3 h 38"/>
                  <a:gd name="T48" fmla="*/ 13 w 53"/>
                  <a:gd name="T49" fmla="*/ 3 h 38"/>
                  <a:gd name="T50" fmla="*/ 12 w 53"/>
                  <a:gd name="T51" fmla="*/ 4 h 38"/>
                  <a:gd name="T52" fmla="*/ 13 w 53"/>
                  <a:gd name="T53" fmla="*/ 7 h 38"/>
                  <a:gd name="T54" fmla="*/ 10 w 53"/>
                  <a:gd name="T55" fmla="*/ 8 h 38"/>
                  <a:gd name="T56" fmla="*/ 10 w 53"/>
                  <a:gd name="T57" fmla="*/ 9 h 38"/>
                  <a:gd name="T58" fmla="*/ 9 w 53"/>
                  <a:gd name="T59" fmla="*/ 11 h 38"/>
                  <a:gd name="T60" fmla="*/ 7 w 53"/>
                  <a:gd name="T61" fmla="*/ 13 h 38"/>
                  <a:gd name="T62" fmla="*/ 4 w 53"/>
                  <a:gd name="T63" fmla="*/ 12 h 38"/>
                  <a:gd name="T64" fmla="*/ 1 w 53"/>
                  <a:gd name="T65" fmla="*/ 13 h 38"/>
                  <a:gd name="T66" fmla="*/ 0 w 53"/>
                  <a:gd name="T67" fmla="*/ 16 h 38"/>
                  <a:gd name="T68" fmla="*/ 2 w 53"/>
                  <a:gd name="T69" fmla="*/ 18 h 38"/>
                  <a:gd name="T70" fmla="*/ 5 w 53"/>
                  <a:gd name="T71" fmla="*/ 18 h 38"/>
                  <a:gd name="T72" fmla="*/ 4 w 53"/>
                  <a:gd name="T73" fmla="*/ 20 h 38"/>
                  <a:gd name="T74" fmla="*/ 7 w 53"/>
                  <a:gd name="T75" fmla="*/ 25 h 38"/>
                  <a:gd name="T76" fmla="*/ 6 w 53"/>
                  <a:gd name="T77" fmla="*/ 27 h 38"/>
                  <a:gd name="T78" fmla="*/ 4 w 53"/>
                  <a:gd name="T79" fmla="*/ 30 h 38"/>
                  <a:gd name="T80" fmla="*/ 3 w 53"/>
                  <a:gd name="T81" fmla="*/ 34 h 38"/>
                  <a:gd name="T82" fmla="*/ 7 w 53"/>
                  <a:gd name="T83" fmla="*/ 35 h 38"/>
                  <a:gd name="T84" fmla="*/ 11 w 53"/>
                  <a:gd name="T85" fmla="*/ 32 h 38"/>
                  <a:gd name="T86" fmla="*/ 13 w 53"/>
                  <a:gd name="T87" fmla="*/ 34 h 38"/>
                  <a:gd name="T88" fmla="*/ 19 w 53"/>
                  <a:gd name="T89" fmla="*/ 30 h 38"/>
                  <a:gd name="T90" fmla="*/ 21 w 53"/>
                  <a:gd name="T91" fmla="*/ 25 h 38"/>
                  <a:gd name="T92" fmla="*/ 25 w 53"/>
                  <a:gd name="T93" fmla="*/ 22 h 38"/>
                  <a:gd name="T94" fmla="*/ 27 w 53"/>
                  <a:gd name="T95" fmla="*/ 24 h 38"/>
                  <a:gd name="T96" fmla="*/ 26 w 53"/>
                  <a:gd name="T97" fmla="*/ 26 h 38"/>
                  <a:gd name="T98" fmla="*/ 28 w 53"/>
                  <a:gd name="T99" fmla="*/ 27 h 38"/>
                  <a:gd name="T100" fmla="*/ 28 w 53"/>
                  <a:gd name="T101" fmla="*/ 32 h 38"/>
                  <a:gd name="T102" fmla="*/ 29 w 53"/>
                  <a:gd name="T103" fmla="*/ 38 h 38"/>
                  <a:gd name="T104" fmla="*/ 33 w 53"/>
                  <a:gd name="T105" fmla="*/ 35 h 38"/>
                  <a:gd name="T106" fmla="*/ 37 w 53"/>
                  <a:gd name="T107" fmla="*/ 34 h 38"/>
                  <a:gd name="T108" fmla="*/ 40 w 53"/>
                  <a:gd name="T109" fmla="*/ 32 h 38"/>
                  <a:gd name="T110" fmla="*/ 42 w 53"/>
                  <a:gd name="T111" fmla="*/ 33 h 38"/>
                  <a:gd name="T112" fmla="*/ 45 w 53"/>
                  <a:gd name="T113" fmla="*/ 32 h 38"/>
                  <a:gd name="T114" fmla="*/ 50 w 53"/>
                  <a:gd name="T115" fmla="*/ 31 h 38"/>
                  <a:gd name="T116" fmla="*/ 52 w 53"/>
                  <a:gd name="T117" fmla="*/ 32 h 38"/>
                  <a:gd name="T118" fmla="*/ 52 w 53"/>
                  <a:gd name="T119"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38">
                    <a:moveTo>
                      <a:pt x="52" y="28"/>
                    </a:moveTo>
                    <a:cubicBezTo>
                      <a:pt x="52" y="28"/>
                      <a:pt x="51" y="26"/>
                      <a:pt x="51" y="26"/>
                    </a:cubicBezTo>
                    <a:cubicBezTo>
                      <a:pt x="50" y="25"/>
                      <a:pt x="50" y="24"/>
                      <a:pt x="50" y="24"/>
                    </a:cubicBezTo>
                    <a:cubicBezTo>
                      <a:pt x="50" y="23"/>
                      <a:pt x="48" y="22"/>
                      <a:pt x="48" y="22"/>
                    </a:cubicBezTo>
                    <a:cubicBezTo>
                      <a:pt x="48" y="22"/>
                      <a:pt x="47" y="22"/>
                      <a:pt x="46" y="22"/>
                    </a:cubicBezTo>
                    <a:cubicBezTo>
                      <a:pt x="46" y="22"/>
                      <a:pt x="45" y="22"/>
                      <a:pt x="44" y="22"/>
                    </a:cubicBezTo>
                    <a:cubicBezTo>
                      <a:pt x="44" y="22"/>
                      <a:pt x="43" y="19"/>
                      <a:pt x="43" y="19"/>
                    </a:cubicBezTo>
                    <a:cubicBezTo>
                      <a:pt x="44" y="18"/>
                      <a:pt x="44" y="18"/>
                      <a:pt x="44" y="18"/>
                    </a:cubicBezTo>
                    <a:cubicBezTo>
                      <a:pt x="42" y="15"/>
                      <a:pt x="42" y="15"/>
                      <a:pt x="42" y="15"/>
                    </a:cubicBezTo>
                    <a:cubicBezTo>
                      <a:pt x="42" y="14"/>
                      <a:pt x="42" y="14"/>
                      <a:pt x="42" y="14"/>
                    </a:cubicBezTo>
                    <a:cubicBezTo>
                      <a:pt x="41" y="14"/>
                      <a:pt x="41" y="14"/>
                      <a:pt x="41" y="14"/>
                    </a:cubicBezTo>
                    <a:cubicBezTo>
                      <a:pt x="41" y="14"/>
                      <a:pt x="38" y="15"/>
                      <a:pt x="38" y="15"/>
                    </a:cubicBezTo>
                    <a:cubicBezTo>
                      <a:pt x="38" y="14"/>
                      <a:pt x="37" y="14"/>
                      <a:pt x="36" y="14"/>
                    </a:cubicBezTo>
                    <a:cubicBezTo>
                      <a:pt x="36" y="14"/>
                      <a:pt x="35" y="15"/>
                      <a:pt x="35" y="15"/>
                    </a:cubicBezTo>
                    <a:cubicBezTo>
                      <a:pt x="34" y="15"/>
                      <a:pt x="33" y="16"/>
                      <a:pt x="33" y="16"/>
                    </a:cubicBezTo>
                    <a:cubicBezTo>
                      <a:pt x="32" y="15"/>
                      <a:pt x="32" y="15"/>
                      <a:pt x="32" y="15"/>
                    </a:cubicBezTo>
                    <a:cubicBezTo>
                      <a:pt x="32" y="15"/>
                      <a:pt x="30" y="15"/>
                      <a:pt x="30" y="15"/>
                    </a:cubicBezTo>
                    <a:cubicBezTo>
                      <a:pt x="30" y="15"/>
                      <a:pt x="30" y="14"/>
                      <a:pt x="30" y="14"/>
                    </a:cubicBezTo>
                    <a:cubicBezTo>
                      <a:pt x="30" y="14"/>
                      <a:pt x="29" y="14"/>
                      <a:pt x="29" y="14"/>
                    </a:cubicBezTo>
                    <a:cubicBezTo>
                      <a:pt x="28" y="13"/>
                      <a:pt x="28" y="13"/>
                      <a:pt x="28" y="13"/>
                    </a:cubicBezTo>
                    <a:cubicBezTo>
                      <a:pt x="28" y="13"/>
                      <a:pt x="27" y="13"/>
                      <a:pt x="27" y="13"/>
                    </a:cubicBezTo>
                    <a:cubicBezTo>
                      <a:pt x="27" y="13"/>
                      <a:pt x="25" y="14"/>
                      <a:pt x="25" y="14"/>
                    </a:cubicBezTo>
                    <a:cubicBezTo>
                      <a:pt x="23" y="14"/>
                      <a:pt x="23" y="14"/>
                      <a:pt x="23" y="14"/>
                    </a:cubicBezTo>
                    <a:cubicBezTo>
                      <a:pt x="22" y="13"/>
                      <a:pt x="22" y="13"/>
                      <a:pt x="22" y="13"/>
                    </a:cubicBezTo>
                    <a:cubicBezTo>
                      <a:pt x="16" y="13"/>
                      <a:pt x="16" y="13"/>
                      <a:pt x="16" y="13"/>
                    </a:cubicBezTo>
                    <a:cubicBezTo>
                      <a:pt x="14" y="13"/>
                      <a:pt x="14" y="13"/>
                      <a:pt x="14" y="13"/>
                    </a:cubicBezTo>
                    <a:cubicBezTo>
                      <a:pt x="13" y="12"/>
                      <a:pt x="13" y="12"/>
                      <a:pt x="13" y="12"/>
                    </a:cubicBezTo>
                    <a:cubicBezTo>
                      <a:pt x="13" y="12"/>
                      <a:pt x="13" y="11"/>
                      <a:pt x="13" y="10"/>
                    </a:cubicBezTo>
                    <a:cubicBezTo>
                      <a:pt x="13" y="10"/>
                      <a:pt x="13" y="9"/>
                      <a:pt x="13" y="9"/>
                    </a:cubicBezTo>
                    <a:cubicBezTo>
                      <a:pt x="14" y="9"/>
                      <a:pt x="14" y="9"/>
                      <a:pt x="14" y="9"/>
                    </a:cubicBezTo>
                    <a:cubicBezTo>
                      <a:pt x="15" y="8"/>
                      <a:pt x="15" y="8"/>
                      <a:pt x="15" y="8"/>
                    </a:cubicBezTo>
                    <a:cubicBezTo>
                      <a:pt x="17" y="8"/>
                      <a:pt x="17" y="8"/>
                      <a:pt x="17" y="8"/>
                    </a:cubicBezTo>
                    <a:cubicBezTo>
                      <a:pt x="19" y="8"/>
                      <a:pt x="19" y="8"/>
                      <a:pt x="19" y="8"/>
                    </a:cubicBezTo>
                    <a:cubicBezTo>
                      <a:pt x="20" y="9"/>
                      <a:pt x="20" y="9"/>
                      <a:pt x="20" y="9"/>
                    </a:cubicBezTo>
                    <a:cubicBezTo>
                      <a:pt x="22" y="10"/>
                      <a:pt x="22" y="10"/>
                      <a:pt x="22" y="10"/>
                    </a:cubicBezTo>
                    <a:cubicBezTo>
                      <a:pt x="22" y="9"/>
                      <a:pt x="22" y="9"/>
                      <a:pt x="22" y="9"/>
                    </a:cubicBezTo>
                    <a:cubicBezTo>
                      <a:pt x="23" y="8"/>
                      <a:pt x="23" y="8"/>
                      <a:pt x="23" y="8"/>
                    </a:cubicBezTo>
                    <a:cubicBezTo>
                      <a:pt x="22" y="7"/>
                      <a:pt x="22" y="7"/>
                      <a:pt x="22" y="7"/>
                    </a:cubicBezTo>
                    <a:cubicBezTo>
                      <a:pt x="21" y="6"/>
                      <a:pt x="21" y="6"/>
                      <a:pt x="21" y="6"/>
                    </a:cubicBezTo>
                    <a:cubicBezTo>
                      <a:pt x="21" y="5"/>
                      <a:pt x="21" y="5"/>
                      <a:pt x="21" y="5"/>
                    </a:cubicBezTo>
                    <a:cubicBezTo>
                      <a:pt x="23" y="3"/>
                      <a:pt x="23" y="3"/>
                      <a:pt x="23" y="3"/>
                    </a:cubicBezTo>
                    <a:cubicBezTo>
                      <a:pt x="23" y="3"/>
                      <a:pt x="22" y="2"/>
                      <a:pt x="22" y="2"/>
                    </a:cubicBezTo>
                    <a:cubicBezTo>
                      <a:pt x="22" y="2"/>
                      <a:pt x="22" y="1"/>
                      <a:pt x="22" y="1"/>
                    </a:cubicBezTo>
                    <a:cubicBezTo>
                      <a:pt x="21" y="1"/>
                      <a:pt x="21" y="1"/>
                      <a:pt x="21" y="1"/>
                    </a:cubicBezTo>
                    <a:cubicBezTo>
                      <a:pt x="21" y="0"/>
                      <a:pt x="21" y="0"/>
                      <a:pt x="21" y="0"/>
                    </a:cubicBezTo>
                    <a:cubicBezTo>
                      <a:pt x="20" y="1"/>
                      <a:pt x="20" y="1"/>
                      <a:pt x="20" y="1"/>
                    </a:cubicBezTo>
                    <a:cubicBezTo>
                      <a:pt x="20" y="1"/>
                      <a:pt x="16" y="3"/>
                      <a:pt x="16" y="3"/>
                    </a:cubicBezTo>
                    <a:cubicBezTo>
                      <a:pt x="16" y="4"/>
                      <a:pt x="15" y="3"/>
                      <a:pt x="15" y="3"/>
                    </a:cubicBezTo>
                    <a:cubicBezTo>
                      <a:pt x="14" y="2"/>
                      <a:pt x="14" y="2"/>
                      <a:pt x="14" y="2"/>
                    </a:cubicBezTo>
                    <a:cubicBezTo>
                      <a:pt x="14" y="2"/>
                      <a:pt x="13" y="2"/>
                      <a:pt x="13" y="3"/>
                    </a:cubicBezTo>
                    <a:cubicBezTo>
                      <a:pt x="13" y="3"/>
                      <a:pt x="13" y="4"/>
                      <a:pt x="13" y="4"/>
                    </a:cubicBezTo>
                    <a:cubicBezTo>
                      <a:pt x="12" y="4"/>
                      <a:pt x="12" y="4"/>
                      <a:pt x="12" y="4"/>
                    </a:cubicBezTo>
                    <a:cubicBezTo>
                      <a:pt x="13" y="5"/>
                      <a:pt x="13" y="5"/>
                      <a:pt x="13" y="5"/>
                    </a:cubicBezTo>
                    <a:cubicBezTo>
                      <a:pt x="13" y="7"/>
                      <a:pt x="13" y="7"/>
                      <a:pt x="13" y="7"/>
                    </a:cubicBezTo>
                    <a:cubicBezTo>
                      <a:pt x="12" y="8"/>
                      <a:pt x="12" y="8"/>
                      <a:pt x="12" y="8"/>
                    </a:cubicBezTo>
                    <a:cubicBezTo>
                      <a:pt x="10" y="8"/>
                      <a:pt x="10" y="8"/>
                      <a:pt x="10" y="8"/>
                    </a:cubicBezTo>
                    <a:cubicBezTo>
                      <a:pt x="8" y="8"/>
                      <a:pt x="8" y="8"/>
                      <a:pt x="8" y="8"/>
                    </a:cubicBezTo>
                    <a:cubicBezTo>
                      <a:pt x="8" y="8"/>
                      <a:pt x="9" y="9"/>
                      <a:pt x="10" y="9"/>
                    </a:cubicBezTo>
                    <a:cubicBezTo>
                      <a:pt x="10" y="9"/>
                      <a:pt x="10" y="9"/>
                      <a:pt x="10" y="9"/>
                    </a:cubicBezTo>
                    <a:cubicBezTo>
                      <a:pt x="10" y="9"/>
                      <a:pt x="9" y="10"/>
                      <a:pt x="9" y="11"/>
                    </a:cubicBezTo>
                    <a:cubicBezTo>
                      <a:pt x="9" y="11"/>
                      <a:pt x="8" y="11"/>
                      <a:pt x="8" y="12"/>
                    </a:cubicBezTo>
                    <a:cubicBezTo>
                      <a:pt x="7" y="13"/>
                      <a:pt x="7" y="13"/>
                      <a:pt x="7" y="13"/>
                    </a:cubicBezTo>
                    <a:cubicBezTo>
                      <a:pt x="6" y="13"/>
                      <a:pt x="6" y="13"/>
                      <a:pt x="6" y="13"/>
                    </a:cubicBezTo>
                    <a:cubicBezTo>
                      <a:pt x="6" y="13"/>
                      <a:pt x="4" y="12"/>
                      <a:pt x="4" y="12"/>
                    </a:cubicBezTo>
                    <a:cubicBezTo>
                      <a:pt x="4" y="12"/>
                      <a:pt x="2" y="12"/>
                      <a:pt x="2" y="12"/>
                    </a:cubicBezTo>
                    <a:cubicBezTo>
                      <a:pt x="2" y="12"/>
                      <a:pt x="1" y="13"/>
                      <a:pt x="1" y="13"/>
                    </a:cubicBezTo>
                    <a:cubicBezTo>
                      <a:pt x="1" y="13"/>
                      <a:pt x="0" y="14"/>
                      <a:pt x="0" y="15"/>
                    </a:cubicBezTo>
                    <a:cubicBezTo>
                      <a:pt x="0" y="15"/>
                      <a:pt x="0" y="16"/>
                      <a:pt x="0" y="16"/>
                    </a:cubicBezTo>
                    <a:cubicBezTo>
                      <a:pt x="0" y="16"/>
                      <a:pt x="1" y="17"/>
                      <a:pt x="2" y="17"/>
                    </a:cubicBezTo>
                    <a:cubicBezTo>
                      <a:pt x="2" y="17"/>
                      <a:pt x="2" y="18"/>
                      <a:pt x="2" y="18"/>
                    </a:cubicBezTo>
                    <a:cubicBezTo>
                      <a:pt x="4" y="18"/>
                      <a:pt x="4" y="18"/>
                      <a:pt x="4" y="18"/>
                    </a:cubicBezTo>
                    <a:cubicBezTo>
                      <a:pt x="5" y="18"/>
                      <a:pt x="5" y="18"/>
                      <a:pt x="5" y="18"/>
                    </a:cubicBezTo>
                    <a:cubicBezTo>
                      <a:pt x="5" y="18"/>
                      <a:pt x="5" y="19"/>
                      <a:pt x="5" y="20"/>
                    </a:cubicBezTo>
                    <a:cubicBezTo>
                      <a:pt x="5" y="20"/>
                      <a:pt x="4" y="20"/>
                      <a:pt x="4" y="20"/>
                    </a:cubicBezTo>
                    <a:cubicBezTo>
                      <a:pt x="4" y="20"/>
                      <a:pt x="5" y="23"/>
                      <a:pt x="5" y="23"/>
                    </a:cubicBezTo>
                    <a:cubicBezTo>
                      <a:pt x="5" y="23"/>
                      <a:pt x="7" y="25"/>
                      <a:pt x="7" y="25"/>
                    </a:cubicBezTo>
                    <a:cubicBezTo>
                      <a:pt x="7" y="25"/>
                      <a:pt x="7" y="27"/>
                      <a:pt x="7" y="27"/>
                    </a:cubicBezTo>
                    <a:cubicBezTo>
                      <a:pt x="7" y="27"/>
                      <a:pt x="6" y="27"/>
                      <a:pt x="6" y="27"/>
                    </a:cubicBezTo>
                    <a:cubicBezTo>
                      <a:pt x="5" y="28"/>
                      <a:pt x="5" y="28"/>
                      <a:pt x="5" y="28"/>
                    </a:cubicBezTo>
                    <a:cubicBezTo>
                      <a:pt x="5" y="28"/>
                      <a:pt x="4" y="30"/>
                      <a:pt x="4" y="30"/>
                    </a:cubicBezTo>
                    <a:cubicBezTo>
                      <a:pt x="4" y="31"/>
                      <a:pt x="3" y="31"/>
                      <a:pt x="3" y="31"/>
                    </a:cubicBezTo>
                    <a:cubicBezTo>
                      <a:pt x="3" y="34"/>
                      <a:pt x="3" y="34"/>
                      <a:pt x="3" y="34"/>
                    </a:cubicBezTo>
                    <a:cubicBezTo>
                      <a:pt x="4" y="36"/>
                      <a:pt x="4" y="36"/>
                      <a:pt x="4" y="36"/>
                    </a:cubicBezTo>
                    <a:cubicBezTo>
                      <a:pt x="7" y="35"/>
                      <a:pt x="7" y="35"/>
                      <a:pt x="7" y="35"/>
                    </a:cubicBezTo>
                    <a:cubicBezTo>
                      <a:pt x="9" y="33"/>
                      <a:pt x="9" y="33"/>
                      <a:pt x="9" y="33"/>
                    </a:cubicBezTo>
                    <a:cubicBezTo>
                      <a:pt x="11" y="32"/>
                      <a:pt x="11" y="32"/>
                      <a:pt x="11" y="32"/>
                    </a:cubicBezTo>
                    <a:cubicBezTo>
                      <a:pt x="13" y="34"/>
                      <a:pt x="13" y="34"/>
                      <a:pt x="13" y="34"/>
                    </a:cubicBezTo>
                    <a:cubicBezTo>
                      <a:pt x="13" y="34"/>
                      <a:pt x="13" y="34"/>
                      <a:pt x="13" y="34"/>
                    </a:cubicBezTo>
                    <a:cubicBezTo>
                      <a:pt x="13" y="33"/>
                      <a:pt x="15" y="31"/>
                      <a:pt x="15" y="31"/>
                    </a:cubicBezTo>
                    <a:cubicBezTo>
                      <a:pt x="19" y="30"/>
                      <a:pt x="19" y="30"/>
                      <a:pt x="19" y="30"/>
                    </a:cubicBezTo>
                    <a:cubicBezTo>
                      <a:pt x="19" y="30"/>
                      <a:pt x="19" y="27"/>
                      <a:pt x="19" y="27"/>
                    </a:cubicBezTo>
                    <a:cubicBezTo>
                      <a:pt x="19" y="27"/>
                      <a:pt x="21" y="25"/>
                      <a:pt x="21" y="25"/>
                    </a:cubicBezTo>
                    <a:cubicBezTo>
                      <a:pt x="21" y="24"/>
                      <a:pt x="23" y="22"/>
                      <a:pt x="23" y="22"/>
                    </a:cubicBezTo>
                    <a:cubicBezTo>
                      <a:pt x="23" y="22"/>
                      <a:pt x="25" y="22"/>
                      <a:pt x="25" y="22"/>
                    </a:cubicBezTo>
                    <a:cubicBezTo>
                      <a:pt x="25" y="22"/>
                      <a:pt x="25" y="23"/>
                      <a:pt x="25" y="23"/>
                    </a:cubicBezTo>
                    <a:cubicBezTo>
                      <a:pt x="25" y="23"/>
                      <a:pt x="27" y="24"/>
                      <a:pt x="27" y="24"/>
                    </a:cubicBezTo>
                    <a:cubicBezTo>
                      <a:pt x="27" y="25"/>
                      <a:pt x="27" y="25"/>
                      <a:pt x="27" y="25"/>
                    </a:cubicBezTo>
                    <a:cubicBezTo>
                      <a:pt x="26" y="26"/>
                      <a:pt x="26" y="26"/>
                      <a:pt x="26" y="26"/>
                    </a:cubicBezTo>
                    <a:cubicBezTo>
                      <a:pt x="26" y="27"/>
                      <a:pt x="26" y="27"/>
                      <a:pt x="26" y="27"/>
                    </a:cubicBezTo>
                    <a:cubicBezTo>
                      <a:pt x="28" y="27"/>
                      <a:pt x="28" y="27"/>
                      <a:pt x="28" y="27"/>
                    </a:cubicBezTo>
                    <a:cubicBezTo>
                      <a:pt x="28" y="31"/>
                      <a:pt x="28" y="31"/>
                      <a:pt x="28" y="31"/>
                    </a:cubicBezTo>
                    <a:cubicBezTo>
                      <a:pt x="28" y="32"/>
                      <a:pt x="28" y="32"/>
                      <a:pt x="28" y="32"/>
                    </a:cubicBezTo>
                    <a:cubicBezTo>
                      <a:pt x="28" y="35"/>
                      <a:pt x="28" y="35"/>
                      <a:pt x="28" y="35"/>
                    </a:cubicBezTo>
                    <a:cubicBezTo>
                      <a:pt x="29" y="38"/>
                      <a:pt x="29" y="38"/>
                      <a:pt x="29" y="38"/>
                    </a:cubicBezTo>
                    <a:cubicBezTo>
                      <a:pt x="31" y="37"/>
                      <a:pt x="31" y="37"/>
                      <a:pt x="31" y="37"/>
                    </a:cubicBezTo>
                    <a:cubicBezTo>
                      <a:pt x="33" y="35"/>
                      <a:pt x="33" y="35"/>
                      <a:pt x="33" y="35"/>
                    </a:cubicBezTo>
                    <a:cubicBezTo>
                      <a:pt x="36" y="35"/>
                      <a:pt x="36" y="35"/>
                      <a:pt x="36" y="35"/>
                    </a:cubicBezTo>
                    <a:cubicBezTo>
                      <a:pt x="36" y="35"/>
                      <a:pt x="37" y="34"/>
                      <a:pt x="37" y="34"/>
                    </a:cubicBezTo>
                    <a:cubicBezTo>
                      <a:pt x="37" y="33"/>
                      <a:pt x="39" y="32"/>
                      <a:pt x="39" y="32"/>
                    </a:cubicBezTo>
                    <a:cubicBezTo>
                      <a:pt x="39" y="32"/>
                      <a:pt x="40" y="32"/>
                      <a:pt x="40" y="32"/>
                    </a:cubicBezTo>
                    <a:cubicBezTo>
                      <a:pt x="41" y="32"/>
                      <a:pt x="43" y="32"/>
                      <a:pt x="43" y="32"/>
                    </a:cubicBezTo>
                    <a:cubicBezTo>
                      <a:pt x="42" y="33"/>
                      <a:pt x="42" y="33"/>
                      <a:pt x="42" y="33"/>
                    </a:cubicBezTo>
                    <a:cubicBezTo>
                      <a:pt x="44" y="33"/>
                      <a:pt x="44" y="33"/>
                      <a:pt x="44" y="33"/>
                    </a:cubicBezTo>
                    <a:cubicBezTo>
                      <a:pt x="45" y="32"/>
                      <a:pt x="45" y="32"/>
                      <a:pt x="45" y="32"/>
                    </a:cubicBezTo>
                    <a:cubicBezTo>
                      <a:pt x="45" y="32"/>
                      <a:pt x="46" y="32"/>
                      <a:pt x="46" y="31"/>
                    </a:cubicBezTo>
                    <a:cubicBezTo>
                      <a:pt x="47" y="31"/>
                      <a:pt x="50" y="31"/>
                      <a:pt x="50" y="31"/>
                    </a:cubicBezTo>
                    <a:cubicBezTo>
                      <a:pt x="51" y="33"/>
                      <a:pt x="51" y="33"/>
                      <a:pt x="51" y="33"/>
                    </a:cubicBezTo>
                    <a:cubicBezTo>
                      <a:pt x="52" y="32"/>
                      <a:pt x="52" y="32"/>
                      <a:pt x="52" y="32"/>
                    </a:cubicBezTo>
                    <a:cubicBezTo>
                      <a:pt x="52" y="32"/>
                      <a:pt x="53" y="31"/>
                      <a:pt x="53" y="31"/>
                    </a:cubicBezTo>
                    <a:cubicBezTo>
                      <a:pt x="53" y="31"/>
                      <a:pt x="52" y="29"/>
                      <a:pt x="52"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9" name="Freeform 832">
                <a:extLst>
                  <a:ext uri="{FF2B5EF4-FFF2-40B4-BE49-F238E27FC236}">
                    <a16:creationId xmlns:a16="http://schemas.microsoft.com/office/drawing/2014/main" id="{B3C60FAD-802D-2801-DF58-2283D968AC72}"/>
                  </a:ext>
                </a:extLst>
              </p:cNvPr>
              <p:cNvSpPr>
                <a:spLocks/>
              </p:cNvSpPr>
              <p:nvPr/>
            </p:nvSpPr>
            <p:spPr bwMode="auto">
              <a:xfrm>
                <a:off x="8764588" y="4146550"/>
                <a:ext cx="53975" cy="103188"/>
              </a:xfrm>
              <a:custGeom>
                <a:avLst/>
                <a:gdLst>
                  <a:gd name="T0" fmla="*/ 13 w 13"/>
                  <a:gd name="T1" fmla="*/ 2 h 25"/>
                  <a:gd name="T2" fmla="*/ 12 w 13"/>
                  <a:gd name="T3" fmla="*/ 1 h 25"/>
                  <a:gd name="T4" fmla="*/ 9 w 13"/>
                  <a:gd name="T5" fmla="*/ 1 h 25"/>
                  <a:gd name="T6" fmla="*/ 6 w 13"/>
                  <a:gd name="T7" fmla="*/ 4 h 25"/>
                  <a:gd name="T8" fmla="*/ 4 w 13"/>
                  <a:gd name="T9" fmla="*/ 7 h 25"/>
                  <a:gd name="T10" fmla="*/ 2 w 13"/>
                  <a:gd name="T11" fmla="*/ 10 h 25"/>
                  <a:gd name="T12" fmla="*/ 0 w 13"/>
                  <a:gd name="T13" fmla="*/ 15 h 25"/>
                  <a:gd name="T14" fmla="*/ 0 w 13"/>
                  <a:gd name="T15" fmla="*/ 16 h 25"/>
                  <a:gd name="T16" fmla="*/ 2 w 13"/>
                  <a:gd name="T17" fmla="*/ 21 h 25"/>
                  <a:gd name="T18" fmla="*/ 4 w 13"/>
                  <a:gd name="T19" fmla="*/ 22 h 25"/>
                  <a:gd name="T20" fmla="*/ 4 w 13"/>
                  <a:gd name="T21" fmla="*/ 23 h 25"/>
                  <a:gd name="T22" fmla="*/ 5 w 13"/>
                  <a:gd name="T23" fmla="*/ 25 h 25"/>
                  <a:gd name="T24" fmla="*/ 5 w 13"/>
                  <a:gd name="T25" fmla="*/ 24 h 25"/>
                  <a:gd name="T26" fmla="*/ 5 w 13"/>
                  <a:gd name="T27" fmla="*/ 23 h 25"/>
                  <a:gd name="T28" fmla="*/ 5 w 13"/>
                  <a:gd name="T29" fmla="*/ 22 h 25"/>
                  <a:gd name="T30" fmla="*/ 5 w 13"/>
                  <a:gd name="T31" fmla="*/ 22 h 25"/>
                  <a:gd name="T32" fmla="*/ 5 w 13"/>
                  <a:gd name="T33" fmla="*/ 22 h 25"/>
                  <a:gd name="T34" fmla="*/ 8 w 13"/>
                  <a:gd name="T35" fmla="*/ 19 h 25"/>
                  <a:gd name="T36" fmla="*/ 10 w 13"/>
                  <a:gd name="T37" fmla="*/ 9 h 25"/>
                  <a:gd name="T38" fmla="*/ 11 w 13"/>
                  <a:gd name="T39" fmla="*/ 7 h 25"/>
                  <a:gd name="T40" fmla="*/ 12 w 13"/>
                  <a:gd name="T41" fmla="*/ 5 h 25"/>
                  <a:gd name="T42" fmla="*/ 12 w 13"/>
                  <a:gd name="T43" fmla="*/ 4 h 25"/>
                  <a:gd name="T44" fmla="*/ 12 w 13"/>
                  <a:gd name="T45" fmla="*/ 4 h 25"/>
                  <a:gd name="T46" fmla="*/ 13 w 13"/>
                  <a:gd name="T4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25">
                    <a:moveTo>
                      <a:pt x="13" y="2"/>
                    </a:moveTo>
                    <a:cubicBezTo>
                      <a:pt x="13" y="2"/>
                      <a:pt x="12" y="2"/>
                      <a:pt x="12" y="1"/>
                    </a:cubicBezTo>
                    <a:cubicBezTo>
                      <a:pt x="11" y="1"/>
                      <a:pt x="10" y="0"/>
                      <a:pt x="9" y="1"/>
                    </a:cubicBezTo>
                    <a:cubicBezTo>
                      <a:pt x="8" y="2"/>
                      <a:pt x="6" y="2"/>
                      <a:pt x="6" y="4"/>
                    </a:cubicBezTo>
                    <a:cubicBezTo>
                      <a:pt x="5" y="4"/>
                      <a:pt x="4" y="6"/>
                      <a:pt x="4" y="7"/>
                    </a:cubicBezTo>
                    <a:cubicBezTo>
                      <a:pt x="3" y="8"/>
                      <a:pt x="2" y="9"/>
                      <a:pt x="2" y="10"/>
                    </a:cubicBezTo>
                    <a:cubicBezTo>
                      <a:pt x="1" y="11"/>
                      <a:pt x="1" y="13"/>
                      <a:pt x="0" y="15"/>
                    </a:cubicBezTo>
                    <a:cubicBezTo>
                      <a:pt x="0" y="15"/>
                      <a:pt x="0" y="15"/>
                      <a:pt x="0" y="16"/>
                    </a:cubicBezTo>
                    <a:cubicBezTo>
                      <a:pt x="0" y="18"/>
                      <a:pt x="1" y="21"/>
                      <a:pt x="2" y="21"/>
                    </a:cubicBezTo>
                    <a:cubicBezTo>
                      <a:pt x="3" y="22"/>
                      <a:pt x="3" y="22"/>
                      <a:pt x="4" y="22"/>
                    </a:cubicBezTo>
                    <a:cubicBezTo>
                      <a:pt x="4" y="22"/>
                      <a:pt x="3" y="23"/>
                      <a:pt x="4" y="23"/>
                    </a:cubicBezTo>
                    <a:cubicBezTo>
                      <a:pt x="4" y="23"/>
                      <a:pt x="4" y="25"/>
                      <a:pt x="5" y="25"/>
                    </a:cubicBezTo>
                    <a:cubicBezTo>
                      <a:pt x="5" y="25"/>
                      <a:pt x="5" y="24"/>
                      <a:pt x="5" y="24"/>
                    </a:cubicBezTo>
                    <a:cubicBezTo>
                      <a:pt x="5" y="24"/>
                      <a:pt x="5" y="23"/>
                      <a:pt x="5" y="23"/>
                    </a:cubicBezTo>
                    <a:cubicBezTo>
                      <a:pt x="5" y="23"/>
                      <a:pt x="5" y="23"/>
                      <a:pt x="5" y="22"/>
                    </a:cubicBezTo>
                    <a:cubicBezTo>
                      <a:pt x="5" y="22"/>
                      <a:pt x="5" y="22"/>
                      <a:pt x="5" y="22"/>
                    </a:cubicBezTo>
                    <a:cubicBezTo>
                      <a:pt x="5" y="22"/>
                      <a:pt x="5" y="22"/>
                      <a:pt x="5" y="22"/>
                    </a:cubicBezTo>
                    <a:cubicBezTo>
                      <a:pt x="6" y="21"/>
                      <a:pt x="7" y="20"/>
                      <a:pt x="8" y="19"/>
                    </a:cubicBezTo>
                    <a:cubicBezTo>
                      <a:pt x="9" y="15"/>
                      <a:pt x="10" y="12"/>
                      <a:pt x="10" y="9"/>
                    </a:cubicBezTo>
                    <a:cubicBezTo>
                      <a:pt x="11" y="8"/>
                      <a:pt x="11" y="7"/>
                      <a:pt x="11" y="7"/>
                    </a:cubicBezTo>
                    <a:cubicBezTo>
                      <a:pt x="12" y="6"/>
                      <a:pt x="12" y="6"/>
                      <a:pt x="12" y="5"/>
                    </a:cubicBezTo>
                    <a:cubicBezTo>
                      <a:pt x="12" y="5"/>
                      <a:pt x="12" y="5"/>
                      <a:pt x="12" y="4"/>
                    </a:cubicBezTo>
                    <a:cubicBezTo>
                      <a:pt x="12" y="4"/>
                      <a:pt x="12" y="4"/>
                      <a:pt x="12" y="4"/>
                    </a:cubicBezTo>
                    <a:cubicBezTo>
                      <a:pt x="12" y="3"/>
                      <a:pt x="13" y="3"/>
                      <a:pt x="1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0" name="Freeform 834">
                <a:extLst>
                  <a:ext uri="{FF2B5EF4-FFF2-40B4-BE49-F238E27FC236}">
                    <a16:creationId xmlns:a16="http://schemas.microsoft.com/office/drawing/2014/main" id="{213876F6-D06D-F364-7C1E-A6C43AC876B4}"/>
                  </a:ext>
                </a:extLst>
              </p:cNvPr>
              <p:cNvSpPr>
                <a:spLocks/>
              </p:cNvSpPr>
              <p:nvPr/>
            </p:nvSpPr>
            <p:spPr bwMode="auto">
              <a:xfrm>
                <a:off x="7627938" y="4605338"/>
                <a:ext cx="61912" cy="115888"/>
              </a:xfrm>
              <a:custGeom>
                <a:avLst/>
                <a:gdLst>
                  <a:gd name="T0" fmla="*/ 15 w 15"/>
                  <a:gd name="T1" fmla="*/ 20 h 28"/>
                  <a:gd name="T2" fmla="*/ 14 w 15"/>
                  <a:gd name="T3" fmla="*/ 22 h 28"/>
                  <a:gd name="T4" fmla="*/ 9 w 15"/>
                  <a:gd name="T5" fmla="*/ 26 h 28"/>
                  <a:gd name="T6" fmla="*/ 8 w 15"/>
                  <a:gd name="T7" fmla="*/ 26 h 28"/>
                  <a:gd name="T8" fmla="*/ 4 w 15"/>
                  <a:gd name="T9" fmla="*/ 27 h 28"/>
                  <a:gd name="T10" fmla="*/ 1 w 15"/>
                  <a:gd name="T11" fmla="*/ 23 h 28"/>
                  <a:gd name="T12" fmla="*/ 0 w 15"/>
                  <a:gd name="T13" fmla="*/ 17 h 28"/>
                  <a:gd name="T14" fmla="*/ 1 w 15"/>
                  <a:gd name="T15" fmla="*/ 14 h 28"/>
                  <a:gd name="T16" fmla="*/ 3 w 15"/>
                  <a:gd name="T17" fmla="*/ 4 h 28"/>
                  <a:gd name="T18" fmla="*/ 3 w 15"/>
                  <a:gd name="T19" fmla="*/ 2 h 28"/>
                  <a:gd name="T20" fmla="*/ 3 w 15"/>
                  <a:gd name="T21" fmla="*/ 2 h 28"/>
                  <a:gd name="T22" fmla="*/ 3 w 15"/>
                  <a:gd name="T23" fmla="*/ 2 h 28"/>
                  <a:gd name="T24" fmla="*/ 2 w 15"/>
                  <a:gd name="T25" fmla="*/ 1 h 28"/>
                  <a:gd name="T26" fmla="*/ 3 w 15"/>
                  <a:gd name="T27" fmla="*/ 0 h 28"/>
                  <a:gd name="T28" fmla="*/ 4 w 15"/>
                  <a:gd name="T29" fmla="*/ 1 h 28"/>
                  <a:gd name="T30" fmla="*/ 3 w 15"/>
                  <a:gd name="T31" fmla="*/ 2 h 28"/>
                  <a:gd name="T32" fmla="*/ 4 w 15"/>
                  <a:gd name="T33" fmla="*/ 3 h 28"/>
                  <a:gd name="T34" fmla="*/ 6 w 15"/>
                  <a:gd name="T35" fmla="*/ 3 h 28"/>
                  <a:gd name="T36" fmla="*/ 8 w 15"/>
                  <a:gd name="T37" fmla="*/ 5 h 28"/>
                  <a:gd name="T38" fmla="*/ 9 w 15"/>
                  <a:gd name="T39" fmla="*/ 7 h 28"/>
                  <a:gd name="T40" fmla="*/ 11 w 15"/>
                  <a:gd name="T41" fmla="*/ 11 h 28"/>
                  <a:gd name="T42" fmla="*/ 11 w 15"/>
                  <a:gd name="T43" fmla="*/ 13 h 28"/>
                  <a:gd name="T44" fmla="*/ 15 w 15"/>
                  <a:gd name="T4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8">
                    <a:moveTo>
                      <a:pt x="15" y="20"/>
                    </a:moveTo>
                    <a:cubicBezTo>
                      <a:pt x="15" y="20"/>
                      <a:pt x="14" y="21"/>
                      <a:pt x="14" y="22"/>
                    </a:cubicBezTo>
                    <a:cubicBezTo>
                      <a:pt x="13" y="24"/>
                      <a:pt x="11" y="26"/>
                      <a:pt x="9" y="26"/>
                    </a:cubicBezTo>
                    <a:cubicBezTo>
                      <a:pt x="8" y="26"/>
                      <a:pt x="8" y="26"/>
                      <a:pt x="8" y="26"/>
                    </a:cubicBezTo>
                    <a:cubicBezTo>
                      <a:pt x="7" y="27"/>
                      <a:pt x="6" y="28"/>
                      <a:pt x="4" y="27"/>
                    </a:cubicBezTo>
                    <a:cubicBezTo>
                      <a:pt x="3" y="26"/>
                      <a:pt x="2" y="25"/>
                      <a:pt x="1" y="23"/>
                    </a:cubicBezTo>
                    <a:cubicBezTo>
                      <a:pt x="1" y="21"/>
                      <a:pt x="1" y="19"/>
                      <a:pt x="0" y="17"/>
                    </a:cubicBezTo>
                    <a:cubicBezTo>
                      <a:pt x="0" y="16"/>
                      <a:pt x="1" y="15"/>
                      <a:pt x="1" y="14"/>
                    </a:cubicBezTo>
                    <a:cubicBezTo>
                      <a:pt x="1" y="10"/>
                      <a:pt x="1" y="7"/>
                      <a:pt x="3" y="4"/>
                    </a:cubicBezTo>
                    <a:cubicBezTo>
                      <a:pt x="3" y="3"/>
                      <a:pt x="3" y="3"/>
                      <a:pt x="3" y="2"/>
                    </a:cubicBezTo>
                    <a:cubicBezTo>
                      <a:pt x="3" y="2"/>
                      <a:pt x="3" y="2"/>
                      <a:pt x="3" y="2"/>
                    </a:cubicBezTo>
                    <a:cubicBezTo>
                      <a:pt x="3" y="2"/>
                      <a:pt x="3" y="2"/>
                      <a:pt x="3" y="2"/>
                    </a:cubicBezTo>
                    <a:cubicBezTo>
                      <a:pt x="2" y="1"/>
                      <a:pt x="2" y="1"/>
                      <a:pt x="2" y="1"/>
                    </a:cubicBezTo>
                    <a:cubicBezTo>
                      <a:pt x="2" y="1"/>
                      <a:pt x="2" y="0"/>
                      <a:pt x="3" y="0"/>
                    </a:cubicBezTo>
                    <a:cubicBezTo>
                      <a:pt x="3" y="0"/>
                      <a:pt x="4" y="1"/>
                      <a:pt x="4" y="1"/>
                    </a:cubicBezTo>
                    <a:cubicBezTo>
                      <a:pt x="4" y="2"/>
                      <a:pt x="4" y="2"/>
                      <a:pt x="3" y="2"/>
                    </a:cubicBezTo>
                    <a:cubicBezTo>
                      <a:pt x="4" y="3"/>
                      <a:pt x="4" y="3"/>
                      <a:pt x="4" y="3"/>
                    </a:cubicBezTo>
                    <a:cubicBezTo>
                      <a:pt x="5" y="2"/>
                      <a:pt x="5" y="2"/>
                      <a:pt x="6" y="3"/>
                    </a:cubicBezTo>
                    <a:cubicBezTo>
                      <a:pt x="6" y="3"/>
                      <a:pt x="7" y="4"/>
                      <a:pt x="8" y="5"/>
                    </a:cubicBezTo>
                    <a:cubicBezTo>
                      <a:pt x="8" y="6"/>
                      <a:pt x="8" y="6"/>
                      <a:pt x="9" y="7"/>
                    </a:cubicBezTo>
                    <a:cubicBezTo>
                      <a:pt x="10" y="8"/>
                      <a:pt x="11" y="10"/>
                      <a:pt x="11" y="11"/>
                    </a:cubicBezTo>
                    <a:cubicBezTo>
                      <a:pt x="12" y="12"/>
                      <a:pt x="11" y="12"/>
                      <a:pt x="11" y="13"/>
                    </a:cubicBezTo>
                    <a:cubicBezTo>
                      <a:pt x="13" y="15"/>
                      <a:pt x="15" y="17"/>
                      <a:pt x="15" y="2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1" name="Freeform 835">
                <a:extLst>
                  <a:ext uri="{FF2B5EF4-FFF2-40B4-BE49-F238E27FC236}">
                    <a16:creationId xmlns:a16="http://schemas.microsoft.com/office/drawing/2014/main" id="{75627070-9CC6-FA7A-6F8D-7DA21AF4D1F6}"/>
                  </a:ext>
                </a:extLst>
              </p:cNvPr>
              <p:cNvSpPr>
                <a:spLocks noEditPoints="1"/>
              </p:cNvSpPr>
              <p:nvPr/>
            </p:nvSpPr>
            <p:spPr bwMode="auto">
              <a:xfrm>
                <a:off x="8934450" y="3708400"/>
                <a:ext cx="95250" cy="184150"/>
              </a:xfrm>
              <a:custGeom>
                <a:avLst/>
                <a:gdLst>
                  <a:gd name="T0" fmla="*/ 1 w 23"/>
                  <a:gd name="T1" fmla="*/ 17 h 44"/>
                  <a:gd name="T2" fmla="*/ 2 w 23"/>
                  <a:gd name="T3" fmla="*/ 17 h 44"/>
                  <a:gd name="T4" fmla="*/ 5 w 23"/>
                  <a:gd name="T5" fmla="*/ 42 h 44"/>
                  <a:gd name="T6" fmla="*/ 1 w 23"/>
                  <a:gd name="T7" fmla="*/ 42 h 44"/>
                  <a:gd name="T8" fmla="*/ 1 w 23"/>
                  <a:gd name="T9" fmla="*/ 43 h 44"/>
                  <a:gd name="T10" fmla="*/ 1 w 23"/>
                  <a:gd name="T11" fmla="*/ 44 h 44"/>
                  <a:gd name="T12" fmla="*/ 2 w 23"/>
                  <a:gd name="T13" fmla="*/ 44 h 44"/>
                  <a:gd name="T14" fmla="*/ 5 w 23"/>
                  <a:gd name="T15" fmla="*/ 42 h 44"/>
                  <a:gd name="T16" fmla="*/ 14 w 23"/>
                  <a:gd name="T17" fmla="*/ 2 h 44"/>
                  <a:gd name="T18" fmla="*/ 8 w 23"/>
                  <a:gd name="T19" fmla="*/ 2 h 44"/>
                  <a:gd name="T20" fmla="*/ 6 w 23"/>
                  <a:gd name="T21" fmla="*/ 3 h 44"/>
                  <a:gd name="T22" fmla="*/ 2 w 23"/>
                  <a:gd name="T23" fmla="*/ 7 h 44"/>
                  <a:gd name="T24" fmla="*/ 1 w 23"/>
                  <a:gd name="T25" fmla="*/ 7 h 44"/>
                  <a:gd name="T26" fmla="*/ 3 w 23"/>
                  <a:gd name="T27" fmla="*/ 8 h 44"/>
                  <a:gd name="T28" fmla="*/ 4 w 23"/>
                  <a:gd name="T29" fmla="*/ 10 h 44"/>
                  <a:gd name="T30" fmla="*/ 3 w 23"/>
                  <a:gd name="T31" fmla="*/ 12 h 44"/>
                  <a:gd name="T32" fmla="*/ 2 w 23"/>
                  <a:gd name="T33" fmla="*/ 13 h 44"/>
                  <a:gd name="T34" fmla="*/ 0 w 23"/>
                  <a:gd name="T35" fmla="*/ 14 h 44"/>
                  <a:gd name="T36" fmla="*/ 1 w 23"/>
                  <a:gd name="T37" fmla="*/ 15 h 44"/>
                  <a:gd name="T38" fmla="*/ 2 w 23"/>
                  <a:gd name="T39" fmla="*/ 17 h 44"/>
                  <a:gd name="T40" fmla="*/ 2 w 23"/>
                  <a:gd name="T41" fmla="*/ 19 h 44"/>
                  <a:gd name="T42" fmla="*/ 3 w 23"/>
                  <a:gd name="T43" fmla="*/ 21 h 44"/>
                  <a:gd name="T44" fmla="*/ 3 w 23"/>
                  <a:gd name="T45" fmla="*/ 24 h 44"/>
                  <a:gd name="T46" fmla="*/ 1 w 23"/>
                  <a:gd name="T47" fmla="*/ 27 h 44"/>
                  <a:gd name="T48" fmla="*/ 2 w 23"/>
                  <a:gd name="T49" fmla="*/ 28 h 44"/>
                  <a:gd name="T50" fmla="*/ 1 w 23"/>
                  <a:gd name="T51" fmla="*/ 29 h 44"/>
                  <a:gd name="T52" fmla="*/ 1 w 23"/>
                  <a:gd name="T53" fmla="*/ 31 h 44"/>
                  <a:gd name="T54" fmla="*/ 2 w 23"/>
                  <a:gd name="T55" fmla="*/ 34 h 44"/>
                  <a:gd name="T56" fmla="*/ 7 w 23"/>
                  <a:gd name="T57" fmla="*/ 33 h 44"/>
                  <a:gd name="T58" fmla="*/ 11 w 23"/>
                  <a:gd name="T59" fmla="*/ 31 h 44"/>
                  <a:gd name="T60" fmla="*/ 11 w 23"/>
                  <a:gd name="T61" fmla="*/ 30 h 44"/>
                  <a:gd name="T62" fmla="*/ 12 w 23"/>
                  <a:gd name="T63" fmla="*/ 32 h 44"/>
                  <a:gd name="T64" fmla="*/ 12 w 23"/>
                  <a:gd name="T65" fmla="*/ 31 h 44"/>
                  <a:gd name="T66" fmla="*/ 12 w 23"/>
                  <a:gd name="T67" fmla="*/ 30 h 44"/>
                  <a:gd name="T68" fmla="*/ 14 w 23"/>
                  <a:gd name="T69" fmla="*/ 30 h 44"/>
                  <a:gd name="T70" fmla="*/ 15 w 23"/>
                  <a:gd name="T71" fmla="*/ 30 h 44"/>
                  <a:gd name="T72" fmla="*/ 17 w 23"/>
                  <a:gd name="T73" fmla="*/ 31 h 44"/>
                  <a:gd name="T74" fmla="*/ 17 w 23"/>
                  <a:gd name="T75" fmla="*/ 30 h 44"/>
                  <a:gd name="T76" fmla="*/ 16 w 23"/>
                  <a:gd name="T77" fmla="*/ 29 h 44"/>
                  <a:gd name="T78" fmla="*/ 17 w 23"/>
                  <a:gd name="T79" fmla="*/ 29 h 44"/>
                  <a:gd name="T80" fmla="*/ 19 w 23"/>
                  <a:gd name="T81" fmla="*/ 28 h 44"/>
                  <a:gd name="T82" fmla="*/ 23 w 23"/>
                  <a:gd name="T83" fmla="*/ 21 h 44"/>
                  <a:gd name="T84" fmla="*/ 22 w 23"/>
                  <a:gd name="T85" fmla="*/ 17 h 44"/>
                  <a:gd name="T86" fmla="*/ 22 w 23"/>
                  <a:gd name="T87" fmla="*/ 17 h 44"/>
                  <a:gd name="T88" fmla="*/ 20 w 23"/>
                  <a:gd name="T89" fmla="*/ 9 h 44"/>
                  <a:gd name="T90" fmla="*/ 16 w 23"/>
                  <a:gd name="T91" fmla="*/ 1 h 44"/>
                  <a:gd name="T92" fmla="*/ 14 w 23"/>
                  <a:gd name="T93"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44">
                    <a:moveTo>
                      <a:pt x="2" y="17"/>
                    </a:moveTo>
                    <a:cubicBezTo>
                      <a:pt x="2" y="17"/>
                      <a:pt x="2" y="17"/>
                      <a:pt x="1" y="17"/>
                    </a:cubicBezTo>
                    <a:cubicBezTo>
                      <a:pt x="1" y="17"/>
                      <a:pt x="1" y="17"/>
                      <a:pt x="1" y="17"/>
                    </a:cubicBezTo>
                    <a:cubicBezTo>
                      <a:pt x="1" y="17"/>
                      <a:pt x="1" y="17"/>
                      <a:pt x="2" y="17"/>
                    </a:cubicBezTo>
                    <a:cubicBezTo>
                      <a:pt x="2" y="17"/>
                      <a:pt x="2" y="17"/>
                      <a:pt x="2" y="17"/>
                    </a:cubicBezTo>
                    <a:close/>
                    <a:moveTo>
                      <a:pt x="5" y="42"/>
                    </a:moveTo>
                    <a:cubicBezTo>
                      <a:pt x="5" y="41"/>
                      <a:pt x="4" y="41"/>
                      <a:pt x="3" y="41"/>
                    </a:cubicBezTo>
                    <a:cubicBezTo>
                      <a:pt x="2" y="41"/>
                      <a:pt x="2" y="42"/>
                      <a:pt x="1" y="42"/>
                    </a:cubicBezTo>
                    <a:cubicBezTo>
                      <a:pt x="1" y="42"/>
                      <a:pt x="0" y="42"/>
                      <a:pt x="0" y="43"/>
                    </a:cubicBezTo>
                    <a:cubicBezTo>
                      <a:pt x="0" y="43"/>
                      <a:pt x="0" y="43"/>
                      <a:pt x="1" y="43"/>
                    </a:cubicBezTo>
                    <a:cubicBezTo>
                      <a:pt x="1" y="44"/>
                      <a:pt x="1" y="44"/>
                      <a:pt x="1" y="44"/>
                    </a:cubicBezTo>
                    <a:cubicBezTo>
                      <a:pt x="1" y="44"/>
                      <a:pt x="1" y="44"/>
                      <a:pt x="1" y="44"/>
                    </a:cubicBezTo>
                    <a:cubicBezTo>
                      <a:pt x="1" y="44"/>
                      <a:pt x="2" y="44"/>
                      <a:pt x="2" y="44"/>
                    </a:cubicBezTo>
                    <a:cubicBezTo>
                      <a:pt x="2" y="44"/>
                      <a:pt x="2" y="44"/>
                      <a:pt x="2" y="44"/>
                    </a:cubicBezTo>
                    <a:cubicBezTo>
                      <a:pt x="3" y="44"/>
                      <a:pt x="3" y="44"/>
                      <a:pt x="4" y="44"/>
                    </a:cubicBezTo>
                    <a:cubicBezTo>
                      <a:pt x="4" y="43"/>
                      <a:pt x="5" y="43"/>
                      <a:pt x="5" y="42"/>
                    </a:cubicBezTo>
                    <a:cubicBezTo>
                      <a:pt x="5" y="42"/>
                      <a:pt x="5" y="42"/>
                      <a:pt x="5" y="42"/>
                    </a:cubicBezTo>
                    <a:close/>
                    <a:moveTo>
                      <a:pt x="14" y="2"/>
                    </a:moveTo>
                    <a:cubicBezTo>
                      <a:pt x="13" y="2"/>
                      <a:pt x="13" y="2"/>
                      <a:pt x="13" y="2"/>
                    </a:cubicBezTo>
                    <a:cubicBezTo>
                      <a:pt x="11" y="2"/>
                      <a:pt x="10" y="2"/>
                      <a:pt x="8" y="2"/>
                    </a:cubicBezTo>
                    <a:cubicBezTo>
                      <a:pt x="8" y="2"/>
                      <a:pt x="7" y="2"/>
                      <a:pt x="7" y="2"/>
                    </a:cubicBezTo>
                    <a:cubicBezTo>
                      <a:pt x="6" y="2"/>
                      <a:pt x="6" y="3"/>
                      <a:pt x="6" y="3"/>
                    </a:cubicBezTo>
                    <a:cubicBezTo>
                      <a:pt x="5" y="4"/>
                      <a:pt x="4" y="5"/>
                      <a:pt x="3" y="6"/>
                    </a:cubicBezTo>
                    <a:cubicBezTo>
                      <a:pt x="3" y="6"/>
                      <a:pt x="3" y="7"/>
                      <a:pt x="2" y="7"/>
                    </a:cubicBezTo>
                    <a:cubicBezTo>
                      <a:pt x="2" y="7"/>
                      <a:pt x="2" y="7"/>
                      <a:pt x="1" y="7"/>
                    </a:cubicBezTo>
                    <a:cubicBezTo>
                      <a:pt x="1" y="7"/>
                      <a:pt x="1" y="7"/>
                      <a:pt x="1" y="7"/>
                    </a:cubicBezTo>
                    <a:cubicBezTo>
                      <a:pt x="2" y="8"/>
                      <a:pt x="3" y="8"/>
                      <a:pt x="3" y="8"/>
                    </a:cubicBezTo>
                    <a:cubicBezTo>
                      <a:pt x="3" y="8"/>
                      <a:pt x="3" y="8"/>
                      <a:pt x="3" y="8"/>
                    </a:cubicBezTo>
                    <a:cubicBezTo>
                      <a:pt x="2" y="9"/>
                      <a:pt x="3" y="9"/>
                      <a:pt x="4" y="10"/>
                    </a:cubicBezTo>
                    <a:cubicBezTo>
                      <a:pt x="4" y="10"/>
                      <a:pt x="4" y="10"/>
                      <a:pt x="4" y="10"/>
                    </a:cubicBezTo>
                    <a:cubicBezTo>
                      <a:pt x="4" y="11"/>
                      <a:pt x="4" y="11"/>
                      <a:pt x="4" y="12"/>
                    </a:cubicBezTo>
                    <a:cubicBezTo>
                      <a:pt x="3" y="12"/>
                      <a:pt x="3" y="12"/>
                      <a:pt x="3" y="12"/>
                    </a:cubicBezTo>
                    <a:cubicBezTo>
                      <a:pt x="2" y="12"/>
                      <a:pt x="2" y="12"/>
                      <a:pt x="2" y="13"/>
                    </a:cubicBezTo>
                    <a:cubicBezTo>
                      <a:pt x="2" y="13"/>
                      <a:pt x="2" y="13"/>
                      <a:pt x="2" y="13"/>
                    </a:cubicBezTo>
                    <a:cubicBezTo>
                      <a:pt x="1" y="13"/>
                      <a:pt x="1" y="13"/>
                      <a:pt x="1" y="13"/>
                    </a:cubicBezTo>
                    <a:cubicBezTo>
                      <a:pt x="1" y="13"/>
                      <a:pt x="1" y="14"/>
                      <a:pt x="0" y="14"/>
                    </a:cubicBezTo>
                    <a:cubicBezTo>
                      <a:pt x="0" y="15"/>
                      <a:pt x="0" y="15"/>
                      <a:pt x="1" y="15"/>
                    </a:cubicBezTo>
                    <a:cubicBezTo>
                      <a:pt x="1" y="16"/>
                      <a:pt x="1" y="16"/>
                      <a:pt x="1" y="15"/>
                    </a:cubicBezTo>
                    <a:cubicBezTo>
                      <a:pt x="2" y="16"/>
                      <a:pt x="2" y="16"/>
                      <a:pt x="2" y="17"/>
                    </a:cubicBezTo>
                    <a:cubicBezTo>
                      <a:pt x="2" y="17"/>
                      <a:pt x="2" y="17"/>
                      <a:pt x="2" y="17"/>
                    </a:cubicBezTo>
                    <a:cubicBezTo>
                      <a:pt x="2" y="17"/>
                      <a:pt x="2" y="17"/>
                      <a:pt x="2" y="18"/>
                    </a:cubicBezTo>
                    <a:cubicBezTo>
                      <a:pt x="2" y="18"/>
                      <a:pt x="2" y="18"/>
                      <a:pt x="2" y="19"/>
                    </a:cubicBezTo>
                    <a:cubicBezTo>
                      <a:pt x="3" y="19"/>
                      <a:pt x="3" y="19"/>
                      <a:pt x="3" y="20"/>
                    </a:cubicBezTo>
                    <a:cubicBezTo>
                      <a:pt x="3" y="20"/>
                      <a:pt x="3" y="20"/>
                      <a:pt x="3" y="21"/>
                    </a:cubicBezTo>
                    <a:cubicBezTo>
                      <a:pt x="3" y="21"/>
                      <a:pt x="3" y="22"/>
                      <a:pt x="3" y="23"/>
                    </a:cubicBezTo>
                    <a:cubicBezTo>
                      <a:pt x="3" y="23"/>
                      <a:pt x="3" y="23"/>
                      <a:pt x="3" y="24"/>
                    </a:cubicBezTo>
                    <a:cubicBezTo>
                      <a:pt x="3" y="24"/>
                      <a:pt x="2" y="25"/>
                      <a:pt x="2" y="26"/>
                    </a:cubicBezTo>
                    <a:cubicBezTo>
                      <a:pt x="2" y="26"/>
                      <a:pt x="2" y="26"/>
                      <a:pt x="1" y="27"/>
                    </a:cubicBezTo>
                    <a:cubicBezTo>
                      <a:pt x="1" y="27"/>
                      <a:pt x="1" y="27"/>
                      <a:pt x="1" y="27"/>
                    </a:cubicBezTo>
                    <a:cubicBezTo>
                      <a:pt x="1" y="27"/>
                      <a:pt x="1" y="28"/>
                      <a:pt x="2" y="28"/>
                    </a:cubicBezTo>
                    <a:cubicBezTo>
                      <a:pt x="2" y="28"/>
                      <a:pt x="2" y="28"/>
                      <a:pt x="2" y="28"/>
                    </a:cubicBezTo>
                    <a:cubicBezTo>
                      <a:pt x="1" y="28"/>
                      <a:pt x="1" y="29"/>
                      <a:pt x="1" y="29"/>
                    </a:cubicBezTo>
                    <a:cubicBezTo>
                      <a:pt x="1" y="29"/>
                      <a:pt x="1" y="29"/>
                      <a:pt x="1" y="29"/>
                    </a:cubicBezTo>
                    <a:cubicBezTo>
                      <a:pt x="1" y="30"/>
                      <a:pt x="1" y="30"/>
                      <a:pt x="1" y="31"/>
                    </a:cubicBezTo>
                    <a:cubicBezTo>
                      <a:pt x="1" y="32"/>
                      <a:pt x="0" y="33"/>
                      <a:pt x="0" y="34"/>
                    </a:cubicBezTo>
                    <a:cubicBezTo>
                      <a:pt x="1" y="34"/>
                      <a:pt x="1" y="35"/>
                      <a:pt x="2" y="34"/>
                    </a:cubicBezTo>
                    <a:cubicBezTo>
                      <a:pt x="4" y="35"/>
                      <a:pt x="5" y="33"/>
                      <a:pt x="7" y="32"/>
                    </a:cubicBezTo>
                    <a:cubicBezTo>
                      <a:pt x="7" y="33"/>
                      <a:pt x="7" y="33"/>
                      <a:pt x="7" y="33"/>
                    </a:cubicBezTo>
                    <a:cubicBezTo>
                      <a:pt x="8" y="34"/>
                      <a:pt x="11" y="32"/>
                      <a:pt x="11" y="31"/>
                    </a:cubicBezTo>
                    <a:cubicBezTo>
                      <a:pt x="11" y="31"/>
                      <a:pt x="11" y="31"/>
                      <a:pt x="11" y="31"/>
                    </a:cubicBezTo>
                    <a:cubicBezTo>
                      <a:pt x="11" y="31"/>
                      <a:pt x="10" y="30"/>
                      <a:pt x="10" y="30"/>
                    </a:cubicBezTo>
                    <a:cubicBezTo>
                      <a:pt x="10" y="30"/>
                      <a:pt x="10" y="30"/>
                      <a:pt x="11" y="30"/>
                    </a:cubicBezTo>
                    <a:cubicBezTo>
                      <a:pt x="11" y="30"/>
                      <a:pt x="11" y="31"/>
                      <a:pt x="11" y="31"/>
                    </a:cubicBezTo>
                    <a:cubicBezTo>
                      <a:pt x="11" y="31"/>
                      <a:pt x="11" y="32"/>
                      <a:pt x="12" y="32"/>
                    </a:cubicBezTo>
                    <a:cubicBezTo>
                      <a:pt x="12" y="32"/>
                      <a:pt x="12" y="32"/>
                      <a:pt x="12" y="32"/>
                    </a:cubicBezTo>
                    <a:cubicBezTo>
                      <a:pt x="12" y="31"/>
                      <a:pt x="12" y="31"/>
                      <a:pt x="12" y="31"/>
                    </a:cubicBezTo>
                    <a:cubicBezTo>
                      <a:pt x="12" y="31"/>
                      <a:pt x="12" y="31"/>
                      <a:pt x="12" y="31"/>
                    </a:cubicBezTo>
                    <a:cubicBezTo>
                      <a:pt x="12" y="30"/>
                      <a:pt x="12" y="30"/>
                      <a:pt x="12" y="30"/>
                    </a:cubicBezTo>
                    <a:cubicBezTo>
                      <a:pt x="12" y="30"/>
                      <a:pt x="12" y="30"/>
                      <a:pt x="13" y="30"/>
                    </a:cubicBezTo>
                    <a:cubicBezTo>
                      <a:pt x="13" y="30"/>
                      <a:pt x="13" y="30"/>
                      <a:pt x="14" y="30"/>
                    </a:cubicBezTo>
                    <a:cubicBezTo>
                      <a:pt x="14" y="30"/>
                      <a:pt x="14" y="30"/>
                      <a:pt x="14" y="30"/>
                    </a:cubicBezTo>
                    <a:cubicBezTo>
                      <a:pt x="14" y="30"/>
                      <a:pt x="15" y="30"/>
                      <a:pt x="15" y="30"/>
                    </a:cubicBezTo>
                    <a:cubicBezTo>
                      <a:pt x="15" y="31"/>
                      <a:pt x="16" y="31"/>
                      <a:pt x="16" y="31"/>
                    </a:cubicBezTo>
                    <a:cubicBezTo>
                      <a:pt x="16" y="32"/>
                      <a:pt x="17" y="31"/>
                      <a:pt x="17" y="31"/>
                    </a:cubicBezTo>
                    <a:cubicBezTo>
                      <a:pt x="17" y="31"/>
                      <a:pt x="17" y="31"/>
                      <a:pt x="17" y="30"/>
                    </a:cubicBezTo>
                    <a:cubicBezTo>
                      <a:pt x="17" y="30"/>
                      <a:pt x="17" y="30"/>
                      <a:pt x="17" y="30"/>
                    </a:cubicBezTo>
                    <a:cubicBezTo>
                      <a:pt x="17" y="30"/>
                      <a:pt x="17" y="30"/>
                      <a:pt x="17" y="30"/>
                    </a:cubicBezTo>
                    <a:cubicBezTo>
                      <a:pt x="16" y="30"/>
                      <a:pt x="16" y="30"/>
                      <a:pt x="16" y="29"/>
                    </a:cubicBezTo>
                    <a:cubicBezTo>
                      <a:pt x="16" y="29"/>
                      <a:pt x="16" y="29"/>
                      <a:pt x="16" y="29"/>
                    </a:cubicBezTo>
                    <a:cubicBezTo>
                      <a:pt x="16" y="29"/>
                      <a:pt x="16" y="29"/>
                      <a:pt x="17" y="29"/>
                    </a:cubicBezTo>
                    <a:cubicBezTo>
                      <a:pt x="17" y="29"/>
                      <a:pt x="18" y="29"/>
                      <a:pt x="18" y="29"/>
                    </a:cubicBezTo>
                    <a:cubicBezTo>
                      <a:pt x="18" y="29"/>
                      <a:pt x="19" y="28"/>
                      <a:pt x="19" y="28"/>
                    </a:cubicBezTo>
                    <a:cubicBezTo>
                      <a:pt x="21" y="29"/>
                      <a:pt x="21" y="28"/>
                      <a:pt x="21" y="27"/>
                    </a:cubicBezTo>
                    <a:cubicBezTo>
                      <a:pt x="23" y="25"/>
                      <a:pt x="22" y="23"/>
                      <a:pt x="23" y="21"/>
                    </a:cubicBezTo>
                    <a:cubicBezTo>
                      <a:pt x="23" y="20"/>
                      <a:pt x="22" y="20"/>
                      <a:pt x="22" y="20"/>
                    </a:cubicBezTo>
                    <a:cubicBezTo>
                      <a:pt x="22" y="19"/>
                      <a:pt x="22" y="18"/>
                      <a:pt x="22" y="17"/>
                    </a:cubicBezTo>
                    <a:cubicBezTo>
                      <a:pt x="22" y="17"/>
                      <a:pt x="22" y="17"/>
                      <a:pt x="22" y="17"/>
                    </a:cubicBezTo>
                    <a:cubicBezTo>
                      <a:pt x="22" y="17"/>
                      <a:pt x="22" y="17"/>
                      <a:pt x="22" y="17"/>
                    </a:cubicBezTo>
                    <a:cubicBezTo>
                      <a:pt x="22" y="16"/>
                      <a:pt x="22" y="15"/>
                      <a:pt x="22" y="15"/>
                    </a:cubicBezTo>
                    <a:cubicBezTo>
                      <a:pt x="22" y="13"/>
                      <a:pt x="22" y="10"/>
                      <a:pt x="20" y="9"/>
                    </a:cubicBezTo>
                    <a:cubicBezTo>
                      <a:pt x="20" y="9"/>
                      <a:pt x="20" y="9"/>
                      <a:pt x="20" y="9"/>
                    </a:cubicBezTo>
                    <a:cubicBezTo>
                      <a:pt x="18" y="6"/>
                      <a:pt x="17" y="4"/>
                      <a:pt x="16" y="1"/>
                    </a:cubicBezTo>
                    <a:cubicBezTo>
                      <a:pt x="16" y="1"/>
                      <a:pt x="16" y="0"/>
                      <a:pt x="15" y="0"/>
                    </a:cubicBezTo>
                    <a:cubicBezTo>
                      <a:pt x="15" y="0"/>
                      <a:pt x="15" y="1"/>
                      <a:pt x="14" y="1"/>
                    </a:cubicBezTo>
                    <a:cubicBezTo>
                      <a:pt x="14" y="1"/>
                      <a:pt x="14" y="2"/>
                      <a:pt x="1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2" name="Freeform 837">
                <a:extLst>
                  <a:ext uri="{FF2B5EF4-FFF2-40B4-BE49-F238E27FC236}">
                    <a16:creationId xmlns:a16="http://schemas.microsoft.com/office/drawing/2014/main" id="{B1A73E33-3695-0141-DB62-74A24F9E9C86}"/>
                  </a:ext>
                </a:extLst>
              </p:cNvPr>
              <p:cNvSpPr>
                <a:spLocks noEditPoints="1"/>
              </p:cNvSpPr>
              <p:nvPr/>
            </p:nvSpPr>
            <p:spPr bwMode="auto">
              <a:xfrm>
                <a:off x="6145213" y="614363"/>
                <a:ext cx="4662487" cy="2994025"/>
              </a:xfrm>
              <a:custGeom>
                <a:avLst/>
                <a:gdLst>
                  <a:gd name="T0" fmla="*/ 450 w 1120"/>
                  <a:gd name="T1" fmla="*/ 93 h 719"/>
                  <a:gd name="T2" fmla="*/ 530 w 1120"/>
                  <a:gd name="T3" fmla="*/ 133 h 719"/>
                  <a:gd name="T4" fmla="*/ 520 w 1120"/>
                  <a:gd name="T5" fmla="*/ 113 h 719"/>
                  <a:gd name="T6" fmla="*/ 138 w 1120"/>
                  <a:gd name="T7" fmla="*/ 68 h 719"/>
                  <a:gd name="T8" fmla="*/ 433 w 1120"/>
                  <a:gd name="T9" fmla="*/ 88 h 719"/>
                  <a:gd name="T10" fmla="*/ 197 w 1120"/>
                  <a:gd name="T11" fmla="*/ 28 h 719"/>
                  <a:gd name="T12" fmla="*/ 213 w 1120"/>
                  <a:gd name="T13" fmla="*/ 6 h 719"/>
                  <a:gd name="T14" fmla="*/ 357 w 1120"/>
                  <a:gd name="T15" fmla="*/ 46 h 719"/>
                  <a:gd name="T16" fmla="*/ 474 w 1120"/>
                  <a:gd name="T17" fmla="*/ 55 h 719"/>
                  <a:gd name="T18" fmla="*/ 152 w 1120"/>
                  <a:gd name="T19" fmla="*/ 72 h 719"/>
                  <a:gd name="T20" fmla="*/ 223 w 1120"/>
                  <a:gd name="T21" fmla="*/ 28 h 719"/>
                  <a:gd name="T22" fmla="*/ 210 w 1120"/>
                  <a:gd name="T23" fmla="*/ 33 h 719"/>
                  <a:gd name="T24" fmla="*/ 485 w 1120"/>
                  <a:gd name="T25" fmla="*/ 133 h 719"/>
                  <a:gd name="T26" fmla="*/ 187 w 1120"/>
                  <a:gd name="T27" fmla="*/ 22 h 719"/>
                  <a:gd name="T28" fmla="*/ 208 w 1120"/>
                  <a:gd name="T29" fmla="*/ 75 h 719"/>
                  <a:gd name="T30" fmla="*/ 193 w 1120"/>
                  <a:gd name="T31" fmla="*/ 297 h 719"/>
                  <a:gd name="T32" fmla="*/ 271 w 1120"/>
                  <a:gd name="T33" fmla="*/ 186 h 719"/>
                  <a:gd name="T34" fmla="*/ 185 w 1120"/>
                  <a:gd name="T35" fmla="*/ 267 h 719"/>
                  <a:gd name="T36" fmla="*/ 376 w 1120"/>
                  <a:gd name="T37" fmla="*/ 212 h 719"/>
                  <a:gd name="T38" fmla="*/ 217 w 1120"/>
                  <a:gd name="T39" fmla="*/ 369 h 719"/>
                  <a:gd name="T40" fmla="*/ 692 w 1120"/>
                  <a:gd name="T41" fmla="*/ 305 h 719"/>
                  <a:gd name="T42" fmla="*/ 690 w 1120"/>
                  <a:gd name="T43" fmla="*/ 286 h 719"/>
                  <a:gd name="T44" fmla="*/ 672 w 1120"/>
                  <a:gd name="T45" fmla="*/ 298 h 719"/>
                  <a:gd name="T46" fmla="*/ 750 w 1120"/>
                  <a:gd name="T47" fmla="*/ 212 h 719"/>
                  <a:gd name="T48" fmla="*/ 734 w 1120"/>
                  <a:gd name="T49" fmla="*/ 259 h 719"/>
                  <a:gd name="T50" fmla="*/ 848 w 1120"/>
                  <a:gd name="T51" fmla="*/ 208 h 719"/>
                  <a:gd name="T52" fmla="*/ 672 w 1120"/>
                  <a:gd name="T53" fmla="*/ 300 h 719"/>
                  <a:gd name="T54" fmla="*/ 673 w 1120"/>
                  <a:gd name="T55" fmla="*/ 306 h 719"/>
                  <a:gd name="T56" fmla="*/ 985 w 1120"/>
                  <a:gd name="T57" fmla="*/ 353 h 719"/>
                  <a:gd name="T58" fmla="*/ 804 w 1120"/>
                  <a:gd name="T59" fmla="*/ 311 h 719"/>
                  <a:gd name="T60" fmla="*/ 688 w 1120"/>
                  <a:gd name="T61" fmla="*/ 319 h 719"/>
                  <a:gd name="T62" fmla="*/ 675 w 1120"/>
                  <a:gd name="T63" fmla="*/ 277 h 719"/>
                  <a:gd name="T64" fmla="*/ 587 w 1120"/>
                  <a:gd name="T65" fmla="*/ 280 h 719"/>
                  <a:gd name="T66" fmla="*/ 526 w 1120"/>
                  <a:gd name="T67" fmla="*/ 294 h 719"/>
                  <a:gd name="T68" fmla="*/ 546 w 1120"/>
                  <a:gd name="T69" fmla="*/ 197 h 719"/>
                  <a:gd name="T70" fmla="*/ 471 w 1120"/>
                  <a:gd name="T71" fmla="*/ 213 h 719"/>
                  <a:gd name="T72" fmla="*/ 362 w 1120"/>
                  <a:gd name="T73" fmla="*/ 282 h 719"/>
                  <a:gd name="T74" fmla="*/ 346 w 1120"/>
                  <a:gd name="T75" fmla="*/ 327 h 719"/>
                  <a:gd name="T76" fmla="*/ 313 w 1120"/>
                  <a:gd name="T77" fmla="*/ 384 h 719"/>
                  <a:gd name="T78" fmla="*/ 209 w 1120"/>
                  <a:gd name="T79" fmla="*/ 376 h 719"/>
                  <a:gd name="T80" fmla="*/ 126 w 1120"/>
                  <a:gd name="T81" fmla="*/ 384 h 719"/>
                  <a:gd name="T82" fmla="*/ 63 w 1120"/>
                  <a:gd name="T83" fmla="*/ 445 h 719"/>
                  <a:gd name="T84" fmla="*/ 42 w 1120"/>
                  <a:gd name="T85" fmla="*/ 417 h 719"/>
                  <a:gd name="T86" fmla="*/ 67 w 1120"/>
                  <a:gd name="T87" fmla="*/ 377 h 719"/>
                  <a:gd name="T88" fmla="*/ 9 w 1120"/>
                  <a:gd name="T89" fmla="*/ 385 h 719"/>
                  <a:gd name="T90" fmla="*/ 5 w 1120"/>
                  <a:gd name="T91" fmla="*/ 525 h 719"/>
                  <a:gd name="T92" fmla="*/ 48 w 1120"/>
                  <a:gd name="T93" fmla="*/ 615 h 719"/>
                  <a:gd name="T94" fmla="*/ 64 w 1120"/>
                  <a:gd name="T95" fmla="*/ 681 h 719"/>
                  <a:gd name="T96" fmla="*/ 147 w 1120"/>
                  <a:gd name="T97" fmla="*/ 667 h 719"/>
                  <a:gd name="T98" fmla="*/ 231 w 1120"/>
                  <a:gd name="T99" fmla="*/ 625 h 719"/>
                  <a:gd name="T100" fmla="*/ 308 w 1120"/>
                  <a:gd name="T101" fmla="*/ 589 h 719"/>
                  <a:gd name="T102" fmla="*/ 419 w 1120"/>
                  <a:gd name="T103" fmla="*/ 639 h 719"/>
                  <a:gd name="T104" fmla="*/ 562 w 1120"/>
                  <a:gd name="T105" fmla="*/ 643 h 719"/>
                  <a:gd name="T106" fmla="*/ 701 w 1120"/>
                  <a:gd name="T107" fmla="*/ 646 h 719"/>
                  <a:gd name="T108" fmla="*/ 767 w 1120"/>
                  <a:gd name="T109" fmla="*/ 624 h 719"/>
                  <a:gd name="T110" fmla="*/ 818 w 1120"/>
                  <a:gd name="T111" fmla="*/ 523 h 719"/>
                  <a:gd name="T112" fmla="*/ 901 w 1120"/>
                  <a:gd name="T113" fmla="*/ 501 h 719"/>
                  <a:gd name="T114" fmla="*/ 871 w 1120"/>
                  <a:gd name="T115" fmla="*/ 559 h 719"/>
                  <a:gd name="T116" fmla="*/ 914 w 1120"/>
                  <a:gd name="T117" fmla="*/ 544 h 719"/>
                  <a:gd name="T118" fmla="*/ 1017 w 1120"/>
                  <a:gd name="T119" fmla="*/ 479 h 719"/>
                  <a:gd name="T120" fmla="*/ 1086 w 1120"/>
                  <a:gd name="T121" fmla="*/ 432 h 719"/>
                  <a:gd name="T122" fmla="*/ 872 w 1120"/>
                  <a:gd name="T123" fmla="*/ 626 h 719"/>
                  <a:gd name="T124" fmla="*/ 785 w 1120"/>
                  <a:gd name="T125" fmla="*/ 60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0" h="719">
                    <a:moveTo>
                      <a:pt x="88" y="448"/>
                    </a:moveTo>
                    <a:cubicBezTo>
                      <a:pt x="87" y="447"/>
                      <a:pt x="85" y="446"/>
                      <a:pt x="87" y="446"/>
                    </a:cubicBezTo>
                    <a:cubicBezTo>
                      <a:pt x="88" y="446"/>
                      <a:pt x="88" y="447"/>
                      <a:pt x="88" y="447"/>
                    </a:cubicBezTo>
                    <a:cubicBezTo>
                      <a:pt x="88" y="447"/>
                      <a:pt x="88" y="449"/>
                      <a:pt x="88" y="448"/>
                    </a:cubicBezTo>
                    <a:cubicBezTo>
                      <a:pt x="88" y="448"/>
                      <a:pt x="88" y="448"/>
                      <a:pt x="88" y="448"/>
                    </a:cubicBezTo>
                    <a:close/>
                    <a:moveTo>
                      <a:pt x="86" y="448"/>
                    </a:moveTo>
                    <a:cubicBezTo>
                      <a:pt x="86" y="448"/>
                      <a:pt x="87" y="450"/>
                      <a:pt x="88" y="450"/>
                    </a:cubicBezTo>
                    <a:cubicBezTo>
                      <a:pt x="88" y="450"/>
                      <a:pt x="88" y="449"/>
                      <a:pt x="88" y="449"/>
                    </a:cubicBezTo>
                    <a:cubicBezTo>
                      <a:pt x="88" y="449"/>
                      <a:pt x="88" y="449"/>
                      <a:pt x="87" y="449"/>
                    </a:cubicBezTo>
                    <a:cubicBezTo>
                      <a:pt x="87" y="448"/>
                      <a:pt x="87" y="448"/>
                      <a:pt x="86" y="448"/>
                    </a:cubicBezTo>
                    <a:cubicBezTo>
                      <a:pt x="86" y="447"/>
                      <a:pt x="85" y="447"/>
                      <a:pt x="85" y="448"/>
                    </a:cubicBezTo>
                    <a:cubicBezTo>
                      <a:pt x="85" y="448"/>
                      <a:pt x="85" y="448"/>
                      <a:pt x="86" y="448"/>
                    </a:cubicBezTo>
                    <a:close/>
                    <a:moveTo>
                      <a:pt x="1086" y="444"/>
                    </a:moveTo>
                    <a:cubicBezTo>
                      <a:pt x="1085" y="444"/>
                      <a:pt x="1084" y="445"/>
                      <a:pt x="1084" y="446"/>
                    </a:cubicBezTo>
                    <a:cubicBezTo>
                      <a:pt x="1084" y="447"/>
                      <a:pt x="1084" y="446"/>
                      <a:pt x="1085" y="447"/>
                    </a:cubicBezTo>
                    <a:cubicBezTo>
                      <a:pt x="1086" y="446"/>
                      <a:pt x="1087" y="446"/>
                      <a:pt x="1087" y="445"/>
                    </a:cubicBezTo>
                    <a:cubicBezTo>
                      <a:pt x="1087" y="445"/>
                      <a:pt x="1087" y="444"/>
                      <a:pt x="1086" y="444"/>
                    </a:cubicBezTo>
                    <a:close/>
                    <a:moveTo>
                      <a:pt x="1086" y="510"/>
                    </a:moveTo>
                    <a:cubicBezTo>
                      <a:pt x="1086" y="511"/>
                      <a:pt x="1085" y="511"/>
                      <a:pt x="1085" y="511"/>
                    </a:cubicBezTo>
                    <a:cubicBezTo>
                      <a:pt x="1083" y="511"/>
                      <a:pt x="1083" y="509"/>
                      <a:pt x="1082" y="508"/>
                    </a:cubicBezTo>
                    <a:cubicBezTo>
                      <a:pt x="1082" y="508"/>
                      <a:pt x="1082" y="508"/>
                      <a:pt x="1082" y="508"/>
                    </a:cubicBezTo>
                    <a:cubicBezTo>
                      <a:pt x="1082" y="508"/>
                      <a:pt x="1082" y="508"/>
                      <a:pt x="1082" y="508"/>
                    </a:cubicBezTo>
                    <a:cubicBezTo>
                      <a:pt x="1083" y="509"/>
                      <a:pt x="1084" y="509"/>
                      <a:pt x="1085" y="510"/>
                    </a:cubicBezTo>
                    <a:cubicBezTo>
                      <a:pt x="1086" y="510"/>
                      <a:pt x="1086" y="510"/>
                      <a:pt x="1086" y="510"/>
                    </a:cubicBezTo>
                    <a:close/>
                    <a:moveTo>
                      <a:pt x="1118" y="429"/>
                    </a:moveTo>
                    <a:cubicBezTo>
                      <a:pt x="1118" y="429"/>
                      <a:pt x="1118" y="429"/>
                      <a:pt x="1118" y="429"/>
                    </a:cubicBezTo>
                    <a:cubicBezTo>
                      <a:pt x="1118" y="429"/>
                      <a:pt x="1118" y="429"/>
                      <a:pt x="1118" y="429"/>
                    </a:cubicBezTo>
                    <a:cubicBezTo>
                      <a:pt x="1118" y="429"/>
                      <a:pt x="1118" y="429"/>
                      <a:pt x="1118" y="429"/>
                    </a:cubicBezTo>
                    <a:close/>
                    <a:moveTo>
                      <a:pt x="1117" y="429"/>
                    </a:moveTo>
                    <a:cubicBezTo>
                      <a:pt x="1117" y="429"/>
                      <a:pt x="1118" y="429"/>
                      <a:pt x="1118" y="429"/>
                    </a:cubicBezTo>
                    <a:cubicBezTo>
                      <a:pt x="1117" y="429"/>
                      <a:pt x="1117" y="428"/>
                      <a:pt x="1117" y="429"/>
                    </a:cubicBezTo>
                    <a:close/>
                    <a:moveTo>
                      <a:pt x="1100" y="552"/>
                    </a:moveTo>
                    <a:cubicBezTo>
                      <a:pt x="1100" y="552"/>
                      <a:pt x="1100" y="552"/>
                      <a:pt x="1100" y="552"/>
                    </a:cubicBezTo>
                    <a:cubicBezTo>
                      <a:pt x="1100" y="552"/>
                      <a:pt x="1100" y="552"/>
                      <a:pt x="1100" y="551"/>
                    </a:cubicBezTo>
                    <a:cubicBezTo>
                      <a:pt x="1100" y="551"/>
                      <a:pt x="1100" y="551"/>
                      <a:pt x="1100" y="551"/>
                    </a:cubicBezTo>
                    <a:cubicBezTo>
                      <a:pt x="1100" y="551"/>
                      <a:pt x="1100" y="551"/>
                      <a:pt x="1100" y="552"/>
                    </a:cubicBezTo>
                    <a:close/>
                    <a:moveTo>
                      <a:pt x="1119" y="429"/>
                    </a:moveTo>
                    <a:cubicBezTo>
                      <a:pt x="1119" y="430"/>
                      <a:pt x="1119" y="430"/>
                      <a:pt x="1120" y="430"/>
                    </a:cubicBezTo>
                    <a:cubicBezTo>
                      <a:pt x="1120" y="430"/>
                      <a:pt x="1119" y="429"/>
                      <a:pt x="1119" y="429"/>
                    </a:cubicBezTo>
                    <a:close/>
                    <a:moveTo>
                      <a:pt x="454" y="78"/>
                    </a:moveTo>
                    <a:cubicBezTo>
                      <a:pt x="454" y="78"/>
                      <a:pt x="454" y="78"/>
                      <a:pt x="454" y="78"/>
                    </a:cubicBezTo>
                    <a:cubicBezTo>
                      <a:pt x="454" y="78"/>
                      <a:pt x="454" y="78"/>
                      <a:pt x="454" y="78"/>
                    </a:cubicBezTo>
                    <a:cubicBezTo>
                      <a:pt x="454" y="78"/>
                      <a:pt x="454" y="78"/>
                      <a:pt x="454" y="78"/>
                    </a:cubicBezTo>
                    <a:cubicBezTo>
                      <a:pt x="454" y="78"/>
                      <a:pt x="454" y="78"/>
                      <a:pt x="454" y="78"/>
                    </a:cubicBezTo>
                    <a:cubicBezTo>
                      <a:pt x="454" y="78"/>
                      <a:pt x="454" y="78"/>
                      <a:pt x="454" y="78"/>
                    </a:cubicBezTo>
                    <a:close/>
                    <a:moveTo>
                      <a:pt x="490" y="124"/>
                    </a:moveTo>
                    <a:cubicBezTo>
                      <a:pt x="489" y="124"/>
                      <a:pt x="488" y="124"/>
                      <a:pt x="488" y="124"/>
                    </a:cubicBezTo>
                    <a:cubicBezTo>
                      <a:pt x="488" y="124"/>
                      <a:pt x="488" y="124"/>
                      <a:pt x="488" y="124"/>
                    </a:cubicBezTo>
                    <a:cubicBezTo>
                      <a:pt x="487" y="124"/>
                      <a:pt x="487" y="124"/>
                      <a:pt x="487" y="124"/>
                    </a:cubicBezTo>
                    <a:cubicBezTo>
                      <a:pt x="486" y="125"/>
                      <a:pt x="485" y="125"/>
                      <a:pt x="484" y="124"/>
                    </a:cubicBezTo>
                    <a:cubicBezTo>
                      <a:pt x="484" y="124"/>
                      <a:pt x="484" y="124"/>
                      <a:pt x="483" y="124"/>
                    </a:cubicBezTo>
                    <a:cubicBezTo>
                      <a:pt x="483" y="124"/>
                      <a:pt x="483" y="124"/>
                      <a:pt x="483" y="124"/>
                    </a:cubicBezTo>
                    <a:cubicBezTo>
                      <a:pt x="483" y="124"/>
                      <a:pt x="483" y="124"/>
                      <a:pt x="483" y="124"/>
                    </a:cubicBezTo>
                    <a:cubicBezTo>
                      <a:pt x="483" y="125"/>
                      <a:pt x="483" y="126"/>
                      <a:pt x="482" y="125"/>
                    </a:cubicBezTo>
                    <a:cubicBezTo>
                      <a:pt x="482" y="125"/>
                      <a:pt x="482" y="125"/>
                      <a:pt x="482" y="125"/>
                    </a:cubicBezTo>
                    <a:cubicBezTo>
                      <a:pt x="482" y="125"/>
                      <a:pt x="482" y="125"/>
                      <a:pt x="482" y="125"/>
                    </a:cubicBezTo>
                    <a:cubicBezTo>
                      <a:pt x="481" y="125"/>
                      <a:pt x="481" y="125"/>
                      <a:pt x="481" y="125"/>
                    </a:cubicBezTo>
                    <a:cubicBezTo>
                      <a:pt x="481" y="125"/>
                      <a:pt x="481" y="125"/>
                      <a:pt x="481" y="125"/>
                    </a:cubicBezTo>
                    <a:cubicBezTo>
                      <a:pt x="481" y="125"/>
                      <a:pt x="481" y="125"/>
                      <a:pt x="481" y="125"/>
                    </a:cubicBezTo>
                    <a:cubicBezTo>
                      <a:pt x="481" y="125"/>
                      <a:pt x="481" y="125"/>
                      <a:pt x="481" y="125"/>
                    </a:cubicBezTo>
                    <a:cubicBezTo>
                      <a:pt x="481" y="124"/>
                      <a:pt x="480" y="125"/>
                      <a:pt x="480" y="124"/>
                    </a:cubicBezTo>
                    <a:cubicBezTo>
                      <a:pt x="479" y="124"/>
                      <a:pt x="479" y="124"/>
                      <a:pt x="478" y="124"/>
                    </a:cubicBezTo>
                    <a:cubicBezTo>
                      <a:pt x="477" y="124"/>
                      <a:pt x="476" y="124"/>
                      <a:pt x="475" y="123"/>
                    </a:cubicBezTo>
                    <a:cubicBezTo>
                      <a:pt x="475" y="122"/>
                      <a:pt x="475" y="122"/>
                      <a:pt x="474" y="122"/>
                    </a:cubicBezTo>
                    <a:cubicBezTo>
                      <a:pt x="473" y="121"/>
                      <a:pt x="472" y="120"/>
                      <a:pt x="472" y="119"/>
                    </a:cubicBezTo>
                    <a:cubicBezTo>
                      <a:pt x="472" y="119"/>
                      <a:pt x="472" y="118"/>
                      <a:pt x="472" y="118"/>
                    </a:cubicBezTo>
                    <a:cubicBezTo>
                      <a:pt x="472" y="118"/>
                      <a:pt x="472" y="118"/>
                      <a:pt x="472" y="118"/>
                    </a:cubicBezTo>
                    <a:cubicBezTo>
                      <a:pt x="472" y="118"/>
                      <a:pt x="472" y="118"/>
                      <a:pt x="472" y="118"/>
                    </a:cubicBezTo>
                    <a:cubicBezTo>
                      <a:pt x="471" y="118"/>
                      <a:pt x="471" y="118"/>
                      <a:pt x="470" y="118"/>
                    </a:cubicBezTo>
                    <a:cubicBezTo>
                      <a:pt x="469" y="118"/>
                      <a:pt x="468" y="117"/>
                      <a:pt x="468" y="117"/>
                    </a:cubicBezTo>
                    <a:cubicBezTo>
                      <a:pt x="467" y="118"/>
                      <a:pt x="465" y="118"/>
                      <a:pt x="464" y="118"/>
                    </a:cubicBezTo>
                    <a:cubicBezTo>
                      <a:pt x="464" y="117"/>
                      <a:pt x="464" y="117"/>
                      <a:pt x="464" y="116"/>
                    </a:cubicBezTo>
                    <a:cubicBezTo>
                      <a:pt x="464" y="115"/>
                      <a:pt x="463" y="115"/>
                      <a:pt x="463" y="114"/>
                    </a:cubicBezTo>
                    <a:cubicBezTo>
                      <a:pt x="463" y="114"/>
                      <a:pt x="462" y="114"/>
                      <a:pt x="462" y="114"/>
                    </a:cubicBezTo>
                    <a:cubicBezTo>
                      <a:pt x="461" y="115"/>
                      <a:pt x="461" y="115"/>
                      <a:pt x="461" y="116"/>
                    </a:cubicBezTo>
                    <a:cubicBezTo>
                      <a:pt x="459" y="117"/>
                      <a:pt x="458" y="116"/>
                      <a:pt x="458" y="115"/>
                    </a:cubicBezTo>
                    <a:cubicBezTo>
                      <a:pt x="457" y="114"/>
                      <a:pt x="456" y="113"/>
                      <a:pt x="457" y="111"/>
                    </a:cubicBezTo>
                    <a:cubicBezTo>
                      <a:pt x="457" y="111"/>
                      <a:pt x="457" y="111"/>
                      <a:pt x="457" y="111"/>
                    </a:cubicBezTo>
                    <a:cubicBezTo>
                      <a:pt x="454" y="109"/>
                      <a:pt x="455" y="107"/>
                      <a:pt x="455" y="105"/>
                    </a:cubicBezTo>
                    <a:cubicBezTo>
                      <a:pt x="454" y="104"/>
                      <a:pt x="455" y="102"/>
                      <a:pt x="455" y="100"/>
                    </a:cubicBezTo>
                    <a:cubicBezTo>
                      <a:pt x="455" y="100"/>
                      <a:pt x="455" y="100"/>
                      <a:pt x="455" y="100"/>
                    </a:cubicBezTo>
                    <a:cubicBezTo>
                      <a:pt x="454" y="100"/>
                      <a:pt x="454" y="100"/>
                      <a:pt x="454" y="100"/>
                    </a:cubicBezTo>
                    <a:cubicBezTo>
                      <a:pt x="453" y="100"/>
                      <a:pt x="452" y="100"/>
                      <a:pt x="452" y="101"/>
                    </a:cubicBezTo>
                    <a:cubicBezTo>
                      <a:pt x="452" y="101"/>
                      <a:pt x="452" y="101"/>
                      <a:pt x="451" y="101"/>
                    </a:cubicBezTo>
                    <a:cubicBezTo>
                      <a:pt x="451" y="101"/>
                      <a:pt x="451" y="101"/>
                      <a:pt x="451" y="101"/>
                    </a:cubicBezTo>
                    <a:cubicBezTo>
                      <a:pt x="452" y="101"/>
                      <a:pt x="450" y="100"/>
                      <a:pt x="451" y="100"/>
                    </a:cubicBezTo>
                    <a:cubicBezTo>
                      <a:pt x="452" y="99"/>
                      <a:pt x="452" y="99"/>
                      <a:pt x="452" y="98"/>
                    </a:cubicBezTo>
                    <a:cubicBezTo>
                      <a:pt x="451" y="98"/>
                      <a:pt x="451" y="97"/>
                      <a:pt x="450" y="97"/>
                    </a:cubicBezTo>
                    <a:cubicBezTo>
                      <a:pt x="449" y="97"/>
                      <a:pt x="448" y="98"/>
                      <a:pt x="449" y="99"/>
                    </a:cubicBezTo>
                    <a:cubicBezTo>
                      <a:pt x="449" y="100"/>
                      <a:pt x="448" y="101"/>
                      <a:pt x="448" y="101"/>
                    </a:cubicBezTo>
                    <a:cubicBezTo>
                      <a:pt x="447" y="101"/>
                      <a:pt x="447" y="100"/>
                      <a:pt x="447" y="100"/>
                    </a:cubicBezTo>
                    <a:cubicBezTo>
                      <a:pt x="447" y="99"/>
                      <a:pt x="446" y="98"/>
                      <a:pt x="445" y="98"/>
                    </a:cubicBezTo>
                    <a:cubicBezTo>
                      <a:pt x="445" y="98"/>
                      <a:pt x="444" y="98"/>
                      <a:pt x="444" y="97"/>
                    </a:cubicBezTo>
                    <a:cubicBezTo>
                      <a:pt x="444" y="97"/>
                      <a:pt x="445" y="96"/>
                      <a:pt x="445" y="97"/>
                    </a:cubicBezTo>
                    <a:cubicBezTo>
                      <a:pt x="448" y="97"/>
                      <a:pt x="449" y="95"/>
                      <a:pt x="450" y="93"/>
                    </a:cubicBezTo>
                    <a:cubicBezTo>
                      <a:pt x="451" y="91"/>
                      <a:pt x="452" y="89"/>
                      <a:pt x="454" y="88"/>
                    </a:cubicBezTo>
                    <a:cubicBezTo>
                      <a:pt x="455" y="88"/>
                      <a:pt x="455" y="88"/>
                      <a:pt x="455" y="87"/>
                    </a:cubicBezTo>
                    <a:cubicBezTo>
                      <a:pt x="455" y="87"/>
                      <a:pt x="455" y="87"/>
                      <a:pt x="455" y="87"/>
                    </a:cubicBezTo>
                    <a:cubicBezTo>
                      <a:pt x="455" y="87"/>
                      <a:pt x="455" y="86"/>
                      <a:pt x="455" y="86"/>
                    </a:cubicBezTo>
                    <a:cubicBezTo>
                      <a:pt x="453" y="85"/>
                      <a:pt x="454" y="84"/>
                      <a:pt x="454" y="83"/>
                    </a:cubicBezTo>
                    <a:cubicBezTo>
                      <a:pt x="454" y="83"/>
                      <a:pt x="454" y="83"/>
                      <a:pt x="454" y="83"/>
                    </a:cubicBezTo>
                    <a:cubicBezTo>
                      <a:pt x="454" y="81"/>
                      <a:pt x="455" y="80"/>
                      <a:pt x="456" y="80"/>
                    </a:cubicBezTo>
                    <a:cubicBezTo>
                      <a:pt x="456" y="80"/>
                      <a:pt x="456" y="80"/>
                      <a:pt x="456" y="80"/>
                    </a:cubicBezTo>
                    <a:cubicBezTo>
                      <a:pt x="456" y="80"/>
                      <a:pt x="457" y="80"/>
                      <a:pt x="457" y="80"/>
                    </a:cubicBezTo>
                    <a:cubicBezTo>
                      <a:pt x="457" y="79"/>
                      <a:pt x="457" y="79"/>
                      <a:pt x="458" y="78"/>
                    </a:cubicBezTo>
                    <a:cubicBezTo>
                      <a:pt x="458" y="78"/>
                      <a:pt x="459" y="77"/>
                      <a:pt x="459" y="76"/>
                    </a:cubicBezTo>
                    <a:cubicBezTo>
                      <a:pt x="460" y="77"/>
                      <a:pt x="459" y="78"/>
                      <a:pt x="460" y="79"/>
                    </a:cubicBezTo>
                    <a:cubicBezTo>
                      <a:pt x="460" y="79"/>
                      <a:pt x="460" y="79"/>
                      <a:pt x="460" y="79"/>
                    </a:cubicBezTo>
                    <a:cubicBezTo>
                      <a:pt x="460" y="79"/>
                      <a:pt x="460" y="79"/>
                      <a:pt x="460" y="79"/>
                    </a:cubicBezTo>
                    <a:cubicBezTo>
                      <a:pt x="461" y="79"/>
                      <a:pt x="461" y="79"/>
                      <a:pt x="461" y="79"/>
                    </a:cubicBezTo>
                    <a:cubicBezTo>
                      <a:pt x="462" y="78"/>
                      <a:pt x="461" y="77"/>
                      <a:pt x="462" y="76"/>
                    </a:cubicBezTo>
                    <a:cubicBezTo>
                      <a:pt x="463" y="76"/>
                      <a:pt x="464" y="76"/>
                      <a:pt x="465" y="76"/>
                    </a:cubicBezTo>
                    <a:cubicBezTo>
                      <a:pt x="466" y="77"/>
                      <a:pt x="467" y="76"/>
                      <a:pt x="469" y="76"/>
                    </a:cubicBezTo>
                    <a:cubicBezTo>
                      <a:pt x="469" y="76"/>
                      <a:pt x="469" y="76"/>
                      <a:pt x="469" y="76"/>
                    </a:cubicBezTo>
                    <a:cubicBezTo>
                      <a:pt x="470" y="75"/>
                      <a:pt x="472" y="76"/>
                      <a:pt x="473" y="74"/>
                    </a:cubicBezTo>
                    <a:cubicBezTo>
                      <a:pt x="474" y="73"/>
                      <a:pt x="476" y="74"/>
                      <a:pt x="477" y="75"/>
                    </a:cubicBezTo>
                    <a:cubicBezTo>
                      <a:pt x="478" y="75"/>
                      <a:pt x="478" y="75"/>
                      <a:pt x="479" y="76"/>
                    </a:cubicBezTo>
                    <a:cubicBezTo>
                      <a:pt x="479" y="76"/>
                      <a:pt x="479" y="76"/>
                      <a:pt x="479" y="76"/>
                    </a:cubicBezTo>
                    <a:cubicBezTo>
                      <a:pt x="479" y="76"/>
                      <a:pt x="480" y="76"/>
                      <a:pt x="479" y="77"/>
                    </a:cubicBezTo>
                    <a:cubicBezTo>
                      <a:pt x="480" y="78"/>
                      <a:pt x="480" y="78"/>
                      <a:pt x="479" y="79"/>
                    </a:cubicBezTo>
                    <a:cubicBezTo>
                      <a:pt x="479" y="79"/>
                      <a:pt x="479" y="80"/>
                      <a:pt x="478" y="80"/>
                    </a:cubicBezTo>
                    <a:cubicBezTo>
                      <a:pt x="478" y="80"/>
                      <a:pt x="478" y="80"/>
                      <a:pt x="478" y="80"/>
                    </a:cubicBezTo>
                    <a:cubicBezTo>
                      <a:pt x="480" y="83"/>
                      <a:pt x="480" y="84"/>
                      <a:pt x="478" y="85"/>
                    </a:cubicBezTo>
                    <a:cubicBezTo>
                      <a:pt x="478" y="86"/>
                      <a:pt x="476" y="86"/>
                      <a:pt x="476" y="86"/>
                    </a:cubicBezTo>
                    <a:cubicBezTo>
                      <a:pt x="476" y="87"/>
                      <a:pt x="476" y="87"/>
                      <a:pt x="474" y="87"/>
                    </a:cubicBezTo>
                    <a:cubicBezTo>
                      <a:pt x="474" y="88"/>
                      <a:pt x="473" y="88"/>
                      <a:pt x="473" y="88"/>
                    </a:cubicBezTo>
                    <a:cubicBezTo>
                      <a:pt x="473" y="88"/>
                      <a:pt x="473" y="88"/>
                      <a:pt x="473" y="88"/>
                    </a:cubicBezTo>
                    <a:cubicBezTo>
                      <a:pt x="472" y="89"/>
                      <a:pt x="471" y="89"/>
                      <a:pt x="470" y="90"/>
                    </a:cubicBezTo>
                    <a:cubicBezTo>
                      <a:pt x="470" y="90"/>
                      <a:pt x="469" y="90"/>
                      <a:pt x="470" y="91"/>
                    </a:cubicBezTo>
                    <a:cubicBezTo>
                      <a:pt x="470" y="91"/>
                      <a:pt x="470" y="91"/>
                      <a:pt x="471" y="91"/>
                    </a:cubicBezTo>
                    <a:cubicBezTo>
                      <a:pt x="473" y="90"/>
                      <a:pt x="474" y="88"/>
                      <a:pt x="476" y="88"/>
                    </a:cubicBezTo>
                    <a:cubicBezTo>
                      <a:pt x="476" y="88"/>
                      <a:pt x="477" y="87"/>
                      <a:pt x="477" y="88"/>
                    </a:cubicBezTo>
                    <a:cubicBezTo>
                      <a:pt x="478" y="89"/>
                      <a:pt x="477" y="89"/>
                      <a:pt x="477" y="89"/>
                    </a:cubicBezTo>
                    <a:cubicBezTo>
                      <a:pt x="476" y="90"/>
                      <a:pt x="475" y="90"/>
                      <a:pt x="475" y="91"/>
                    </a:cubicBezTo>
                    <a:cubicBezTo>
                      <a:pt x="474" y="92"/>
                      <a:pt x="473" y="93"/>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3"/>
                      <a:pt x="474" y="92"/>
                      <a:pt x="475" y="92"/>
                    </a:cubicBezTo>
                    <a:cubicBezTo>
                      <a:pt x="476" y="91"/>
                      <a:pt x="476" y="91"/>
                      <a:pt x="477" y="90"/>
                    </a:cubicBezTo>
                    <a:cubicBezTo>
                      <a:pt x="478" y="90"/>
                      <a:pt x="478" y="89"/>
                      <a:pt x="479" y="88"/>
                    </a:cubicBezTo>
                    <a:cubicBezTo>
                      <a:pt x="479" y="88"/>
                      <a:pt x="479" y="88"/>
                      <a:pt x="479" y="88"/>
                    </a:cubicBezTo>
                    <a:cubicBezTo>
                      <a:pt x="479" y="88"/>
                      <a:pt x="479" y="88"/>
                      <a:pt x="479" y="88"/>
                    </a:cubicBezTo>
                    <a:cubicBezTo>
                      <a:pt x="479" y="88"/>
                      <a:pt x="479" y="88"/>
                      <a:pt x="479" y="88"/>
                    </a:cubicBezTo>
                    <a:cubicBezTo>
                      <a:pt x="481" y="87"/>
                      <a:pt x="481" y="87"/>
                      <a:pt x="480" y="85"/>
                    </a:cubicBezTo>
                    <a:cubicBezTo>
                      <a:pt x="480" y="84"/>
                      <a:pt x="480" y="84"/>
                      <a:pt x="481" y="84"/>
                    </a:cubicBezTo>
                    <a:cubicBezTo>
                      <a:pt x="481" y="84"/>
                      <a:pt x="482" y="83"/>
                      <a:pt x="482" y="83"/>
                    </a:cubicBezTo>
                    <a:cubicBezTo>
                      <a:pt x="482" y="82"/>
                      <a:pt x="482" y="82"/>
                      <a:pt x="482" y="82"/>
                    </a:cubicBezTo>
                    <a:cubicBezTo>
                      <a:pt x="482" y="82"/>
                      <a:pt x="482" y="82"/>
                      <a:pt x="482" y="82"/>
                    </a:cubicBezTo>
                    <a:cubicBezTo>
                      <a:pt x="482" y="82"/>
                      <a:pt x="482" y="82"/>
                      <a:pt x="482" y="82"/>
                    </a:cubicBezTo>
                    <a:cubicBezTo>
                      <a:pt x="483" y="82"/>
                      <a:pt x="483" y="82"/>
                      <a:pt x="483" y="82"/>
                    </a:cubicBezTo>
                    <a:cubicBezTo>
                      <a:pt x="483" y="82"/>
                      <a:pt x="483" y="81"/>
                      <a:pt x="483" y="80"/>
                    </a:cubicBezTo>
                    <a:cubicBezTo>
                      <a:pt x="482" y="79"/>
                      <a:pt x="483" y="78"/>
                      <a:pt x="484" y="78"/>
                    </a:cubicBezTo>
                    <a:cubicBezTo>
                      <a:pt x="484" y="80"/>
                      <a:pt x="486" y="78"/>
                      <a:pt x="486" y="78"/>
                    </a:cubicBezTo>
                    <a:cubicBezTo>
                      <a:pt x="487" y="78"/>
                      <a:pt x="487" y="78"/>
                      <a:pt x="488" y="78"/>
                    </a:cubicBezTo>
                    <a:cubicBezTo>
                      <a:pt x="488" y="78"/>
                      <a:pt x="487" y="79"/>
                      <a:pt x="488" y="79"/>
                    </a:cubicBezTo>
                    <a:cubicBezTo>
                      <a:pt x="488" y="79"/>
                      <a:pt x="488" y="79"/>
                      <a:pt x="489" y="79"/>
                    </a:cubicBezTo>
                    <a:cubicBezTo>
                      <a:pt x="489" y="80"/>
                      <a:pt x="488" y="80"/>
                      <a:pt x="488" y="80"/>
                    </a:cubicBezTo>
                    <a:cubicBezTo>
                      <a:pt x="491" y="80"/>
                      <a:pt x="491" y="83"/>
                      <a:pt x="492" y="84"/>
                    </a:cubicBezTo>
                    <a:cubicBezTo>
                      <a:pt x="493" y="84"/>
                      <a:pt x="492" y="85"/>
                      <a:pt x="492" y="85"/>
                    </a:cubicBezTo>
                    <a:cubicBezTo>
                      <a:pt x="492" y="85"/>
                      <a:pt x="493" y="86"/>
                      <a:pt x="493" y="86"/>
                    </a:cubicBezTo>
                    <a:cubicBezTo>
                      <a:pt x="493" y="86"/>
                      <a:pt x="493" y="86"/>
                      <a:pt x="493" y="86"/>
                    </a:cubicBezTo>
                    <a:cubicBezTo>
                      <a:pt x="494" y="87"/>
                      <a:pt x="494" y="88"/>
                      <a:pt x="494" y="89"/>
                    </a:cubicBezTo>
                    <a:cubicBezTo>
                      <a:pt x="494" y="90"/>
                      <a:pt x="493" y="90"/>
                      <a:pt x="492" y="90"/>
                    </a:cubicBezTo>
                    <a:cubicBezTo>
                      <a:pt x="493" y="91"/>
                      <a:pt x="493" y="92"/>
                      <a:pt x="492" y="93"/>
                    </a:cubicBezTo>
                    <a:cubicBezTo>
                      <a:pt x="492" y="93"/>
                      <a:pt x="492" y="94"/>
                      <a:pt x="492" y="94"/>
                    </a:cubicBezTo>
                    <a:cubicBezTo>
                      <a:pt x="492" y="94"/>
                      <a:pt x="492" y="94"/>
                      <a:pt x="492" y="94"/>
                    </a:cubicBezTo>
                    <a:cubicBezTo>
                      <a:pt x="493" y="94"/>
                      <a:pt x="493" y="95"/>
                      <a:pt x="492" y="96"/>
                    </a:cubicBezTo>
                    <a:cubicBezTo>
                      <a:pt x="492" y="96"/>
                      <a:pt x="491" y="97"/>
                      <a:pt x="492" y="98"/>
                    </a:cubicBezTo>
                    <a:cubicBezTo>
                      <a:pt x="492" y="98"/>
                      <a:pt x="492" y="98"/>
                      <a:pt x="492" y="98"/>
                    </a:cubicBezTo>
                    <a:cubicBezTo>
                      <a:pt x="492" y="99"/>
                      <a:pt x="492" y="99"/>
                      <a:pt x="492" y="99"/>
                    </a:cubicBezTo>
                    <a:cubicBezTo>
                      <a:pt x="492" y="100"/>
                      <a:pt x="492" y="101"/>
                      <a:pt x="492" y="102"/>
                    </a:cubicBezTo>
                    <a:cubicBezTo>
                      <a:pt x="492" y="102"/>
                      <a:pt x="492" y="103"/>
                      <a:pt x="492" y="104"/>
                    </a:cubicBezTo>
                    <a:cubicBezTo>
                      <a:pt x="492" y="104"/>
                      <a:pt x="492" y="104"/>
                      <a:pt x="492" y="104"/>
                    </a:cubicBezTo>
                    <a:cubicBezTo>
                      <a:pt x="492" y="104"/>
                      <a:pt x="492" y="104"/>
                      <a:pt x="492" y="104"/>
                    </a:cubicBezTo>
                    <a:cubicBezTo>
                      <a:pt x="491" y="105"/>
                      <a:pt x="492" y="106"/>
                      <a:pt x="492" y="107"/>
                    </a:cubicBezTo>
                    <a:cubicBezTo>
                      <a:pt x="492" y="108"/>
                      <a:pt x="491" y="108"/>
                      <a:pt x="490" y="108"/>
                    </a:cubicBezTo>
                    <a:cubicBezTo>
                      <a:pt x="490" y="109"/>
                      <a:pt x="490" y="108"/>
                      <a:pt x="489" y="108"/>
                    </a:cubicBezTo>
                    <a:cubicBezTo>
                      <a:pt x="489" y="107"/>
                      <a:pt x="489" y="107"/>
                      <a:pt x="489" y="107"/>
                    </a:cubicBezTo>
                    <a:cubicBezTo>
                      <a:pt x="488" y="107"/>
                      <a:pt x="488" y="106"/>
                      <a:pt x="488" y="107"/>
                    </a:cubicBezTo>
                    <a:cubicBezTo>
                      <a:pt x="487" y="107"/>
                      <a:pt x="487" y="108"/>
                      <a:pt x="488" y="108"/>
                    </a:cubicBezTo>
                    <a:cubicBezTo>
                      <a:pt x="488" y="109"/>
                      <a:pt x="489" y="110"/>
                      <a:pt x="490" y="111"/>
                    </a:cubicBezTo>
                    <a:cubicBezTo>
                      <a:pt x="490" y="111"/>
                      <a:pt x="491" y="112"/>
                      <a:pt x="491" y="112"/>
                    </a:cubicBezTo>
                    <a:cubicBezTo>
                      <a:pt x="490" y="113"/>
                      <a:pt x="491" y="114"/>
                      <a:pt x="491" y="114"/>
                    </a:cubicBezTo>
                    <a:cubicBezTo>
                      <a:pt x="492" y="114"/>
                      <a:pt x="493" y="115"/>
                      <a:pt x="493" y="116"/>
                    </a:cubicBezTo>
                    <a:cubicBezTo>
                      <a:pt x="493" y="117"/>
                      <a:pt x="493" y="119"/>
                      <a:pt x="493" y="121"/>
                    </a:cubicBezTo>
                    <a:cubicBezTo>
                      <a:pt x="492" y="122"/>
                      <a:pt x="491" y="123"/>
                      <a:pt x="490" y="124"/>
                    </a:cubicBezTo>
                    <a:close/>
                    <a:moveTo>
                      <a:pt x="530" y="133"/>
                    </a:moveTo>
                    <a:cubicBezTo>
                      <a:pt x="530" y="133"/>
                      <a:pt x="530" y="134"/>
                      <a:pt x="530" y="134"/>
                    </a:cubicBezTo>
                    <a:cubicBezTo>
                      <a:pt x="530" y="134"/>
                      <a:pt x="530" y="134"/>
                      <a:pt x="530" y="134"/>
                    </a:cubicBezTo>
                    <a:cubicBezTo>
                      <a:pt x="529" y="136"/>
                      <a:pt x="528" y="138"/>
                      <a:pt x="527" y="140"/>
                    </a:cubicBezTo>
                    <a:cubicBezTo>
                      <a:pt x="526" y="141"/>
                      <a:pt x="526" y="142"/>
                      <a:pt x="524" y="141"/>
                    </a:cubicBezTo>
                    <a:cubicBezTo>
                      <a:pt x="524" y="141"/>
                      <a:pt x="524" y="141"/>
                      <a:pt x="524" y="141"/>
                    </a:cubicBezTo>
                    <a:cubicBezTo>
                      <a:pt x="524" y="142"/>
                      <a:pt x="523" y="141"/>
                      <a:pt x="522" y="142"/>
                    </a:cubicBezTo>
                    <a:cubicBezTo>
                      <a:pt x="521" y="142"/>
                      <a:pt x="520" y="143"/>
                      <a:pt x="518" y="144"/>
                    </a:cubicBezTo>
                    <a:cubicBezTo>
                      <a:pt x="518" y="144"/>
                      <a:pt x="518" y="144"/>
                      <a:pt x="518" y="144"/>
                    </a:cubicBezTo>
                    <a:cubicBezTo>
                      <a:pt x="518" y="145"/>
                      <a:pt x="517" y="144"/>
                      <a:pt x="516" y="144"/>
                    </a:cubicBezTo>
                    <a:cubicBezTo>
                      <a:pt x="516" y="144"/>
                      <a:pt x="515" y="145"/>
                      <a:pt x="515" y="145"/>
                    </a:cubicBezTo>
                    <a:cubicBezTo>
                      <a:pt x="515" y="145"/>
                      <a:pt x="515" y="145"/>
                      <a:pt x="515" y="145"/>
                    </a:cubicBezTo>
                    <a:cubicBezTo>
                      <a:pt x="515" y="145"/>
                      <a:pt x="515" y="145"/>
                      <a:pt x="515" y="145"/>
                    </a:cubicBezTo>
                    <a:cubicBezTo>
                      <a:pt x="514" y="145"/>
                      <a:pt x="514" y="145"/>
                      <a:pt x="513" y="145"/>
                    </a:cubicBezTo>
                    <a:cubicBezTo>
                      <a:pt x="513" y="145"/>
                      <a:pt x="513" y="145"/>
                      <a:pt x="513" y="145"/>
                    </a:cubicBezTo>
                    <a:cubicBezTo>
                      <a:pt x="513" y="145"/>
                      <a:pt x="513" y="145"/>
                      <a:pt x="513" y="145"/>
                    </a:cubicBezTo>
                    <a:cubicBezTo>
                      <a:pt x="512" y="145"/>
                      <a:pt x="513" y="147"/>
                      <a:pt x="512" y="147"/>
                    </a:cubicBezTo>
                    <a:cubicBezTo>
                      <a:pt x="511" y="147"/>
                      <a:pt x="512" y="146"/>
                      <a:pt x="511" y="145"/>
                    </a:cubicBezTo>
                    <a:cubicBezTo>
                      <a:pt x="511" y="145"/>
                      <a:pt x="511" y="145"/>
                      <a:pt x="511" y="145"/>
                    </a:cubicBezTo>
                    <a:cubicBezTo>
                      <a:pt x="511" y="145"/>
                      <a:pt x="511" y="145"/>
                      <a:pt x="511" y="145"/>
                    </a:cubicBezTo>
                    <a:cubicBezTo>
                      <a:pt x="510" y="145"/>
                      <a:pt x="509" y="145"/>
                      <a:pt x="508" y="145"/>
                    </a:cubicBezTo>
                    <a:cubicBezTo>
                      <a:pt x="508" y="146"/>
                      <a:pt x="507" y="146"/>
                      <a:pt x="506" y="146"/>
                    </a:cubicBezTo>
                    <a:cubicBezTo>
                      <a:pt x="506" y="146"/>
                      <a:pt x="506" y="146"/>
                      <a:pt x="506" y="146"/>
                    </a:cubicBezTo>
                    <a:cubicBezTo>
                      <a:pt x="506" y="146"/>
                      <a:pt x="506" y="146"/>
                      <a:pt x="506" y="146"/>
                    </a:cubicBezTo>
                    <a:cubicBezTo>
                      <a:pt x="506" y="146"/>
                      <a:pt x="505" y="146"/>
                      <a:pt x="505" y="146"/>
                    </a:cubicBezTo>
                    <a:cubicBezTo>
                      <a:pt x="505" y="146"/>
                      <a:pt x="505" y="146"/>
                      <a:pt x="505" y="146"/>
                    </a:cubicBezTo>
                    <a:cubicBezTo>
                      <a:pt x="505" y="146"/>
                      <a:pt x="505" y="146"/>
                      <a:pt x="505" y="146"/>
                    </a:cubicBezTo>
                    <a:cubicBezTo>
                      <a:pt x="504" y="146"/>
                      <a:pt x="503" y="146"/>
                      <a:pt x="502" y="146"/>
                    </a:cubicBezTo>
                    <a:cubicBezTo>
                      <a:pt x="500" y="146"/>
                      <a:pt x="500" y="148"/>
                      <a:pt x="499" y="149"/>
                    </a:cubicBezTo>
                    <a:cubicBezTo>
                      <a:pt x="497" y="150"/>
                      <a:pt x="495" y="152"/>
                      <a:pt x="493" y="153"/>
                    </a:cubicBezTo>
                    <a:cubicBezTo>
                      <a:pt x="493" y="154"/>
                      <a:pt x="492" y="154"/>
                      <a:pt x="492" y="153"/>
                    </a:cubicBezTo>
                    <a:cubicBezTo>
                      <a:pt x="491" y="153"/>
                      <a:pt x="490" y="153"/>
                      <a:pt x="490" y="154"/>
                    </a:cubicBezTo>
                    <a:cubicBezTo>
                      <a:pt x="488" y="151"/>
                      <a:pt x="489" y="148"/>
                      <a:pt x="491" y="145"/>
                    </a:cubicBezTo>
                    <a:cubicBezTo>
                      <a:pt x="492" y="142"/>
                      <a:pt x="493" y="139"/>
                      <a:pt x="495" y="137"/>
                    </a:cubicBezTo>
                    <a:cubicBezTo>
                      <a:pt x="495" y="136"/>
                      <a:pt x="495" y="135"/>
                      <a:pt x="495" y="135"/>
                    </a:cubicBezTo>
                    <a:cubicBezTo>
                      <a:pt x="495" y="134"/>
                      <a:pt x="495" y="133"/>
                      <a:pt x="496" y="132"/>
                    </a:cubicBezTo>
                    <a:cubicBezTo>
                      <a:pt x="496" y="132"/>
                      <a:pt x="496" y="132"/>
                      <a:pt x="496" y="132"/>
                    </a:cubicBezTo>
                    <a:cubicBezTo>
                      <a:pt x="495" y="131"/>
                      <a:pt x="496" y="130"/>
                      <a:pt x="496" y="129"/>
                    </a:cubicBezTo>
                    <a:cubicBezTo>
                      <a:pt x="496" y="129"/>
                      <a:pt x="496" y="129"/>
                      <a:pt x="496" y="129"/>
                    </a:cubicBezTo>
                    <a:cubicBezTo>
                      <a:pt x="496" y="128"/>
                      <a:pt x="496" y="126"/>
                      <a:pt x="497" y="125"/>
                    </a:cubicBezTo>
                    <a:cubicBezTo>
                      <a:pt x="497" y="125"/>
                      <a:pt x="498" y="124"/>
                      <a:pt x="498" y="125"/>
                    </a:cubicBezTo>
                    <a:cubicBezTo>
                      <a:pt x="499" y="126"/>
                      <a:pt x="499" y="126"/>
                      <a:pt x="500" y="126"/>
                    </a:cubicBezTo>
                    <a:cubicBezTo>
                      <a:pt x="500" y="126"/>
                      <a:pt x="500" y="126"/>
                      <a:pt x="500" y="126"/>
                    </a:cubicBezTo>
                    <a:cubicBezTo>
                      <a:pt x="500" y="126"/>
                      <a:pt x="500" y="126"/>
                      <a:pt x="500" y="126"/>
                    </a:cubicBezTo>
                    <a:cubicBezTo>
                      <a:pt x="500" y="126"/>
                      <a:pt x="500" y="126"/>
                      <a:pt x="500" y="126"/>
                    </a:cubicBezTo>
                    <a:cubicBezTo>
                      <a:pt x="499" y="125"/>
                      <a:pt x="499" y="125"/>
                      <a:pt x="499" y="124"/>
                    </a:cubicBezTo>
                    <a:cubicBezTo>
                      <a:pt x="498" y="122"/>
                      <a:pt x="499" y="120"/>
                      <a:pt x="499" y="118"/>
                    </a:cubicBezTo>
                    <a:cubicBezTo>
                      <a:pt x="500" y="117"/>
                      <a:pt x="500" y="117"/>
                      <a:pt x="501" y="118"/>
                    </a:cubicBezTo>
                    <a:cubicBezTo>
                      <a:pt x="502" y="118"/>
                      <a:pt x="502" y="118"/>
                      <a:pt x="502" y="118"/>
                    </a:cubicBezTo>
                    <a:cubicBezTo>
                      <a:pt x="502" y="118"/>
                      <a:pt x="502" y="118"/>
                      <a:pt x="502" y="118"/>
                    </a:cubicBezTo>
                    <a:cubicBezTo>
                      <a:pt x="502" y="118"/>
                      <a:pt x="502" y="118"/>
                      <a:pt x="502" y="118"/>
                    </a:cubicBezTo>
                    <a:cubicBezTo>
                      <a:pt x="503" y="118"/>
                      <a:pt x="503" y="118"/>
                      <a:pt x="503" y="118"/>
                    </a:cubicBezTo>
                    <a:cubicBezTo>
                      <a:pt x="503" y="118"/>
                      <a:pt x="502" y="117"/>
                      <a:pt x="502" y="117"/>
                    </a:cubicBezTo>
                    <a:cubicBezTo>
                      <a:pt x="502" y="117"/>
                      <a:pt x="501" y="117"/>
                      <a:pt x="501" y="117"/>
                    </a:cubicBezTo>
                    <a:cubicBezTo>
                      <a:pt x="500" y="116"/>
                      <a:pt x="500" y="116"/>
                      <a:pt x="500" y="115"/>
                    </a:cubicBezTo>
                    <a:cubicBezTo>
                      <a:pt x="500" y="114"/>
                      <a:pt x="501" y="113"/>
                      <a:pt x="502" y="114"/>
                    </a:cubicBezTo>
                    <a:cubicBezTo>
                      <a:pt x="502" y="114"/>
                      <a:pt x="502" y="114"/>
                      <a:pt x="502" y="114"/>
                    </a:cubicBezTo>
                    <a:cubicBezTo>
                      <a:pt x="502" y="114"/>
                      <a:pt x="502" y="114"/>
                      <a:pt x="502" y="114"/>
                    </a:cubicBezTo>
                    <a:cubicBezTo>
                      <a:pt x="501" y="112"/>
                      <a:pt x="501" y="109"/>
                      <a:pt x="503" y="109"/>
                    </a:cubicBezTo>
                    <a:cubicBezTo>
                      <a:pt x="503" y="109"/>
                      <a:pt x="503" y="109"/>
                      <a:pt x="503" y="109"/>
                    </a:cubicBezTo>
                    <a:cubicBezTo>
                      <a:pt x="504" y="108"/>
                      <a:pt x="504" y="108"/>
                      <a:pt x="504" y="107"/>
                    </a:cubicBezTo>
                    <a:cubicBezTo>
                      <a:pt x="504" y="106"/>
                      <a:pt x="504" y="106"/>
                      <a:pt x="504" y="105"/>
                    </a:cubicBezTo>
                    <a:cubicBezTo>
                      <a:pt x="504" y="105"/>
                      <a:pt x="505" y="105"/>
                      <a:pt x="505" y="105"/>
                    </a:cubicBezTo>
                    <a:cubicBezTo>
                      <a:pt x="506" y="105"/>
                      <a:pt x="505" y="105"/>
                      <a:pt x="506" y="105"/>
                    </a:cubicBezTo>
                    <a:cubicBezTo>
                      <a:pt x="506" y="106"/>
                      <a:pt x="506" y="106"/>
                      <a:pt x="506" y="106"/>
                    </a:cubicBezTo>
                    <a:cubicBezTo>
                      <a:pt x="506" y="106"/>
                      <a:pt x="506" y="106"/>
                      <a:pt x="506" y="106"/>
                    </a:cubicBezTo>
                    <a:cubicBezTo>
                      <a:pt x="507" y="107"/>
                      <a:pt x="506" y="107"/>
                      <a:pt x="506" y="108"/>
                    </a:cubicBezTo>
                    <a:cubicBezTo>
                      <a:pt x="506" y="109"/>
                      <a:pt x="506" y="109"/>
                      <a:pt x="507" y="109"/>
                    </a:cubicBezTo>
                    <a:cubicBezTo>
                      <a:pt x="507" y="109"/>
                      <a:pt x="508" y="110"/>
                      <a:pt x="508" y="110"/>
                    </a:cubicBezTo>
                    <a:cubicBezTo>
                      <a:pt x="509" y="109"/>
                      <a:pt x="508" y="109"/>
                      <a:pt x="508" y="109"/>
                    </a:cubicBezTo>
                    <a:cubicBezTo>
                      <a:pt x="508" y="107"/>
                      <a:pt x="508" y="106"/>
                      <a:pt x="508" y="104"/>
                    </a:cubicBezTo>
                    <a:cubicBezTo>
                      <a:pt x="508" y="102"/>
                      <a:pt x="509" y="102"/>
                      <a:pt x="510" y="103"/>
                    </a:cubicBezTo>
                    <a:cubicBezTo>
                      <a:pt x="512" y="104"/>
                      <a:pt x="513" y="105"/>
                      <a:pt x="514" y="107"/>
                    </a:cubicBezTo>
                    <a:cubicBezTo>
                      <a:pt x="515" y="107"/>
                      <a:pt x="514" y="107"/>
                      <a:pt x="514" y="108"/>
                    </a:cubicBezTo>
                    <a:cubicBezTo>
                      <a:pt x="513" y="109"/>
                      <a:pt x="513" y="110"/>
                      <a:pt x="512" y="111"/>
                    </a:cubicBezTo>
                    <a:cubicBezTo>
                      <a:pt x="512" y="111"/>
                      <a:pt x="512" y="111"/>
                      <a:pt x="512" y="111"/>
                    </a:cubicBezTo>
                    <a:cubicBezTo>
                      <a:pt x="512" y="111"/>
                      <a:pt x="512" y="111"/>
                      <a:pt x="512" y="111"/>
                    </a:cubicBezTo>
                    <a:cubicBezTo>
                      <a:pt x="512" y="111"/>
                      <a:pt x="512" y="112"/>
                      <a:pt x="512" y="113"/>
                    </a:cubicBezTo>
                    <a:cubicBezTo>
                      <a:pt x="512" y="113"/>
                      <a:pt x="512" y="114"/>
                      <a:pt x="512" y="114"/>
                    </a:cubicBezTo>
                    <a:cubicBezTo>
                      <a:pt x="512" y="114"/>
                      <a:pt x="512" y="114"/>
                      <a:pt x="512" y="114"/>
                    </a:cubicBezTo>
                    <a:cubicBezTo>
                      <a:pt x="512" y="114"/>
                      <a:pt x="512" y="114"/>
                      <a:pt x="512" y="114"/>
                    </a:cubicBezTo>
                    <a:cubicBezTo>
                      <a:pt x="512" y="116"/>
                      <a:pt x="512" y="117"/>
                      <a:pt x="512" y="118"/>
                    </a:cubicBezTo>
                    <a:cubicBezTo>
                      <a:pt x="511" y="120"/>
                      <a:pt x="510" y="122"/>
                      <a:pt x="509" y="124"/>
                    </a:cubicBezTo>
                    <a:cubicBezTo>
                      <a:pt x="509" y="124"/>
                      <a:pt x="509" y="124"/>
                      <a:pt x="509" y="124"/>
                    </a:cubicBezTo>
                    <a:cubicBezTo>
                      <a:pt x="509" y="124"/>
                      <a:pt x="509" y="124"/>
                      <a:pt x="509" y="124"/>
                    </a:cubicBezTo>
                    <a:cubicBezTo>
                      <a:pt x="510" y="125"/>
                      <a:pt x="510" y="124"/>
                      <a:pt x="511" y="124"/>
                    </a:cubicBezTo>
                    <a:cubicBezTo>
                      <a:pt x="512" y="121"/>
                      <a:pt x="513" y="119"/>
                      <a:pt x="513" y="117"/>
                    </a:cubicBezTo>
                    <a:cubicBezTo>
                      <a:pt x="513" y="117"/>
                      <a:pt x="513" y="116"/>
                      <a:pt x="514" y="116"/>
                    </a:cubicBezTo>
                    <a:cubicBezTo>
                      <a:pt x="515" y="116"/>
                      <a:pt x="515" y="115"/>
                      <a:pt x="516" y="114"/>
                    </a:cubicBezTo>
                    <a:cubicBezTo>
                      <a:pt x="517" y="114"/>
                      <a:pt x="517" y="112"/>
                      <a:pt x="517" y="111"/>
                    </a:cubicBezTo>
                    <a:cubicBezTo>
                      <a:pt x="518" y="112"/>
                      <a:pt x="518" y="112"/>
                      <a:pt x="518" y="113"/>
                    </a:cubicBezTo>
                    <a:cubicBezTo>
                      <a:pt x="519" y="113"/>
                      <a:pt x="519" y="112"/>
                      <a:pt x="519" y="111"/>
                    </a:cubicBezTo>
                    <a:cubicBezTo>
                      <a:pt x="519" y="111"/>
                      <a:pt x="519" y="111"/>
                      <a:pt x="519" y="111"/>
                    </a:cubicBezTo>
                    <a:cubicBezTo>
                      <a:pt x="519" y="111"/>
                      <a:pt x="519" y="111"/>
                      <a:pt x="519" y="111"/>
                    </a:cubicBezTo>
                    <a:cubicBezTo>
                      <a:pt x="520" y="112"/>
                      <a:pt x="519" y="112"/>
                      <a:pt x="520" y="113"/>
                    </a:cubicBezTo>
                    <a:cubicBezTo>
                      <a:pt x="520" y="113"/>
                      <a:pt x="520" y="113"/>
                      <a:pt x="520" y="113"/>
                    </a:cubicBezTo>
                    <a:cubicBezTo>
                      <a:pt x="520" y="113"/>
                      <a:pt x="520" y="113"/>
                      <a:pt x="520" y="113"/>
                    </a:cubicBezTo>
                    <a:cubicBezTo>
                      <a:pt x="520" y="113"/>
                      <a:pt x="520" y="113"/>
                      <a:pt x="520" y="113"/>
                    </a:cubicBezTo>
                    <a:cubicBezTo>
                      <a:pt x="521" y="113"/>
                      <a:pt x="521" y="114"/>
                      <a:pt x="520" y="115"/>
                    </a:cubicBezTo>
                    <a:cubicBezTo>
                      <a:pt x="520" y="115"/>
                      <a:pt x="520" y="116"/>
                      <a:pt x="521" y="116"/>
                    </a:cubicBezTo>
                    <a:cubicBezTo>
                      <a:pt x="521" y="116"/>
                      <a:pt x="521" y="116"/>
                      <a:pt x="521" y="116"/>
                    </a:cubicBezTo>
                    <a:cubicBezTo>
                      <a:pt x="521" y="116"/>
                      <a:pt x="521" y="116"/>
                      <a:pt x="521" y="116"/>
                    </a:cubicBezTo>
                    <a:cubicBezTo>
                      <a:pt x="521" y="116"/>
                      <a:pt x="521" y="117"/>
                      <a:pt x="521" y="117"/>
                    </a:cubicBezTo>
                    <a:cubicBezTo>
                      <a:pt x="522" y="117"/>
                      <a:pt x="522" y="117"/>
                      <a:pt x="523" y="116"/>
                    </a:cubicBezTo>
                    <a:cubicBezTo>
                      <a:pt x="522" y="117"/>
                      <a:pt x="522" y="118"/>
                      <a:pt x="521" y="117"/>
                    </a:cubicBezTo>
                    <a:cubicBezTo>
                      <a:pt x="521" y="117"/>
                      <a:pt x="521" y="117"/>
                      <a:pt x="521" y="118"/>
                    </a:cubicBezTo>
                    <a:cubicBezTo>
                      <a:pt x="523" y="118"/>
                      <a:pt x="523" y="119"/>
                      <a:pt x="523" y="120"/>
                    </a:cubicBezTo>
                    <a:cubicBezTo>
                      <a:pt x="523" y="120"/>
                      <a:pt x="523" y="120"/>
                      <a:pt x="523" y="120"/>
                    </a:cubicBezTo>
                    <a:cubicBezTo>
                      <a:pt x="524" y="121"/>
                      <a:pt x="524" y="121"/>
                      <a:pt x="524" y="122"/>
                    </a:cubicBezTo>
                    <a:cubicBezTo>
                      <a:pt x="524" y="122"/>
                      <a:pt x="524" y="122"/>
                      <a:pt x="524" y="123"/>
                    </a:cubicBezTo>
                    <a:cubicBezTo>
                      <a:pt x="524" y="123"/>
                      <a:pt x="523" y="123"/>
                      <a:pt x="523" y="124"/>
                    </a:cubicBezTo>
                    <a:cubicBezTo>
                      <a:pt x="523" y="124"/>
                      <a:pt x="523" y="124"/>
                      <a:pt x="523" y="124"/>
                    </a:cubicBezTo>
                    <a:cubicBezTo>
                      <a:pt x="524" y="124"/>
                      <a:pt x="524" y="124"/>
                      <a:pt x="524" y="124"/>
                    </a:cubicBezTo>
                    <a:cubicBezTo>
                      <a:pt x="524" y="124"/>
                      <a:pt x="524" y="124"/>
                      <a:pt x="524" y="124"/>
                    </a:cubicBezTo>
                    <a:cubicBezTo>
                      <a:pt x="524" y="124"/>
                      <a:pt x="524" y="124"/>
                      <a:pt x="524" y="124"/>
                    </a:cubicBezTo>
                    <a:cubicBezTo>
                      <a:pt x="525" y="124"/>
                      <a:pt x="524" y="125"/>
                      <a:pt x="525" y="125"/>
                    </a:cubicBezTo>
                    <a:cubicBezTo>
                      <a:pt x="525" y="125"/>
                      <a:pt x="525" y="124"/>
                      <a:pt x="525" y="124"/>
                    </a:cubicBezTo>
                    <a:cubicBezTo>
                      <a:pt x="525" y="123"/>
                      <a:pt x="525" y="123"/>
                      <a:pt x="526" y="123"/>
                    </a:cubicBezTo>
                    <a:cubicBezTo>
                      <a:pt x="527" y="124"/>
                      <a:pt x="528" y="124"/>
                      <a:pt x="529" y="125"/>
                    </a:cubicBezTo>
                    <a:cubicBezTo>
                      <a:pt x="529" y="126"/>
                      <a:pt x="529" y="127"/>
                      <a:pt x="529" y="128"/>
                    </a:cubicBezTo>
                    <a:cubicBezTo>
                      <a:pt x="529" y="128"/>
                      <a:pt x="529" y="128"/>
                      <a:pt x="529" y="128"/>
                    </a:cubicBezTo>
                    <a:cubicBezTo>
                      <a:pt x="529" y="128"/>
                      <a:pt x="529" y="128"/>
                      <a:pt x="529" y="128"/>
                    </a:cubicBezTo>
                    <a:cubicBezTo>
                      <a:pt x="530" y="128"/>
                      <a:pt x="529" y="129"/>
                      <a:pt x="529" y="129"/>
                    </a:cubicBezTo>
                    <a:cubicBezTo>
                      <a:pt x="529" y="129"/>
                      <a:pt x="529" y="129"/>
                      <a:pt x="529" y="129"/>
                    </a:cubicBezTo>
                    <a:cubicBezTo>
                      <a:pt x="529" y="129"/>
                      <a:pt x="529" y="129"/>
                      <a:pt x="529" y="129"/>
                    </a:cubicBezTo>
                    <a:cubicBezTo>
                      <a:pt x="530" y="130"/>
                      <a:pt x="529" y="131"/>
                      <a:pt x="530" y="133"/>
                    </a:cubicBezTo>
                    <a:cubicBezTo>
                      <a:pt x="530" y="133"/>
                      <a:pt x="530" y="133"/>
                      <a:pt x="530" y="133"/>
                    </a:cubicBezTo>
                    <a:close/>
                    <a:moveTo>
                      <a:pt x="517" y="144"/>
                    </a:moveTo>
                    <a:cubicBezTo>
                      <a:pt x="517" y="144"/>
                      <a:pt x="517" y="144"/>
                      <a:pt x="517" y="144"/>
                    </a:cubicBezTo>
                    <a:cubicBezTo>
                      <a:pt x="517" y="144"/>
                      <a:pt x="517" y="144"/>
                      <a:pt x="517" y="144"/>
                    </a:cubicBezTo>
                    <a:cubicBezTo>
                      <a:pt x="517" y="144"/>
                      <a:pt x="517" y="144"/>
                      <a:pt x="517" y="144"/>
                    </a:cubicBezTo>
                    <a:close/>
                    <a:moveTo>
                      <a:pt x="165" y="51"/>
                    </a:moveTo>
                    <a:cubicBezTo>
                      <a:pt x="164" y="50"/>
                      <a:pt x="163" y="49"/>
                      <a:pt x="162" y="48"/>
                    </a:cubicBezTo>
                    <a:cubicBezTo>
                      <a:pt x="162" y="48"/>
                      <a:pt x="162" y="48"/>
                      <a:pt x="162" y="48"/>
                    </a:cubicBezTo>
                    <a:cubicBezTo>
                      <a:pt x="161" y="49"/>
                      <a:pt x="160" y="49"/>
                      <a:pt x="159" y="48"/>
                    </a:cubicBezTo>
                    <a:cubicBezTo>
                      <a:pt x="159" y="49"/>
                      <a:pt x="157" y="49"/>
                      <a:pt x="157" y="50"/>
                    </a:cubicBezTo>
                    <a:cubicBezTo>
                      <a:pt x="156" y="51"/>
                      <a:pt x="156" y="51"/>
                      <a:pt x="155" y="50"/>
                    </a:cubicBezTo>
                    <a:cubicBezTo>
                      <a:pt x="155" y="50"/>
                      <a:pt x="156" y="49"/>
                      <a:pt x="156" y="49"/>
                    </a:cubicBezTo>
                    <a:cubicBezTo>
                      <a:pt x="156" y="49"/>
                      <a:pt x="157" y="48"/>
                      <a:pt x="156" y="47"/>
                    </a:cubicBezTo>
                    <a:cubicBezTo>
                      <a:pt x="156" y="47"/>
                      <a:pt x="156" y="47"/>
                      <a:pt x="156" y="47"/>
                    </a:cubicBezTo>
                    <a:cubicBezTo>
                      <a:pt x="157" y="47"/>
                      <a:pt x="158" y="47"/>
                      <a:pt x="158" y="47"/>
                    </a:cubicBezTo>
                    <a:cubicBezTo>
                      <a:pt x="158" y="47"/>
                      <a:pt x="158" y="46"/>
                      <a:pt x="158" y="46"/>
                    </a:cubicBezTo>
                    <a:cubicBezTo>
                      <a:pt x="160" y="46"/>
                      <a:pt x="160" y="45"/>
                      <a:pt x="160" y="43"/>
                    </a:cubicBezTo>
                    <a:cubicBezTo>
                      <a:pt x="160" y="43"/>
                      <a:pt x="160" y="42"/>
                      <a:pt x="159" y="42"/>
                    </a:cubicBezTo>
                    <a:cubicBezTo>
                      <a:pt x="159" y="42"/>
                      <a:pt x="159" y="42"/>
                      <a:pt x="159" y="42"/>
                    </a:cubicBezTo>
                    <a:cubicBezTo>
                      <a:pt x="159" y="42"/>
                      <a:pt x="159" y="41"/>
                      <a:pt x="159" y="42"/>
                    </a:cubicBezTo>
                    <a:cubicBezTo>
                      <a:pt x="158" y="43"/>
                      <a:pt x="157" y="44"/>
                      <a:pt x="156" y="44"/>
                    </a:cubicBezTo>
                    <a:cubicBezTo>
                      <a:pt x="156" y="44"/>
                      <a:pt x="156" y="44"/>
                      <a:pt x="156" y="44"/>
                    </a:cubicBezTo>
                    <a:cubicBezTo>
                      <a:pt x="155" y="44"/>
                      <a:pt x="155" y="45"/>
                      <a:pt x="155" y="45"/>
                    </a:cubicBezTo>
                    <a:cubicBezTo>
                      <a:pt x="154" y="45"/>
                      <a:pt x="154" y="46"/>
                      <a:pt x="154" y="45"/>
                    </a:cubicBezTo>
                    <a:cubicBezTo>
                      <a:pt x="154" y="45"/>
                      <a:pt x="153" y="44"/>
                      <a:pt x="154" y="44"/>
                    </a:cubicBezTo>
                    <a:cubicBezTo>
                      <a:pt x="154" y="43"/>
                      <a:pt x="154" y="43"/>
                      <a:pt x="154" y="43"/>
                    </a:cubicBezTo>
                    <a:cubicBezTo>
                      <a:pt x="154" y="43"/>
                      <a:pt x="155" y="43"/>
                      <a:pt x="155" y="43"/>
                    </a:cubicBezTo>
                    <a:cubicBezTo>
                      <a:pt x="155" y="43"/>
                      <a:pt x="156" y="43"/>
                      <a:pt x="156" y="42"/>
                    </a:cubicBezTo>
                    <a:cubicBezTo>
                      <a:pt x="155" y="42"/>
                      <a:pt x="155" y="41"/>
                      <a:pt x="154" y="42"/>
                    </a:cubicBezTo>
                    <a:cubicBezTo>
                      <a:pt x="154" y="42"/>
                      <a:pt x="154" y="42"/>
                      <a:pt x="153" y="42"/>
                    </a:cubicBezTo>
                    <a:cubicBezTo>
                      <a:pt x="153" y="42"/>
                      <a:pt x="153" y="42"/>
                      <a:pt x="153" y="42"/>
                    </a:cubicBezTo>
                    <a:cubicBezTo>
                      <a:pt x="153" y="42"/>
                      <a:pt x="153" y="42"/>
                      <a:pt x="153" y="42"/>
                    </a:cubicBezTo>
                    <a:cubicBezTo>
                      <a:pt x="153" y="42"/>
                      <a:pt x="152" y="43"/>
                      <a:pt x="152" y="43"/>
                    </a:cubicBezTo>
                    <a:cubicBezTo>
                      <a:pt x="151" y="45"/>
                      <a:pt x="150" y="46"/>
                      <a:pt x="148" y="47"/>
                    </a:cubicBezTo>
                    <a:cubicBezTo>
                      <a:pt x="148" y="48"/>
                      <a:pt x="147" y="48"/>
                      <a:pt x="147" y="48"/>
                    </a:cubicBezTo>
                    <a:cubicBezTo>
                      <a:pt x="148" y="49"/>
                      <a:pt x="147" y="50"/>
                      <a:pt x="146" y="50"/>
                    </a:cubicBezTo>
                    <a:cubicBezTo>
                      <a:pt x="146" y="50"/>
                      <a:pt x="147" y="51"/>
                      <a:pt x="147" y="51"/>
                    </a:cubicBezTo>
                    <a:cubicBezTo>
                      <a:pt x="147" y="51"/>
                      <a:pt x="147" y="51"/>
                      <a:pt x="147" y="51"/>
                    </a:cubicBezTo>
                    <a:cubicBezTo>
                      <a:pt x="147" y="50"/>
                      <a:pt x="147" y="50"/>
                      <a:pt x="148" y="50"/>
                    </a:cubicBezTo>
                    <a:cubicBezTo>
                      <a:pt x="149" y="50"/>
                      <a:pt x="148" y="51"/>
                      <a:pt x="148" y="51"/>
                    </a:cubicBezTo>
                    <a:cubicBezTo>
                      <a:pt x="148" y="51"/>
                      <a:pt x="148" y="52"/>
                      <a:pt x="148" y="52"/>
                    </a:cubicBezTo>
                    <a:cubicBezTo>
                      <a:pt x="148" y="52"/>
                      <a:pt x="149" y="52"/>
                      <a:pt x="149" y="52"/>
                    </a:cubicBezTo>
                    <a:cubicBezTo>
                      <a:pt x="150" y="51"/>
                      <a:pt x="150" y="51"/>
                      <a:pt x="151" y="52"/>
                    </a:cubicBezTo>
                    <a:cubicBezTo>
                      <a:pt x="151" y="53"/>
                      <a:pt x="151" y="54"/>
                      <a:pt x="150" y="54"/>
                    </a:cubicBezTo>
                    <a:cubicBezTo>
                      <a:pt x="149" y="54"/>
                      <a:pt x="148" y="55"/>
                      <a:pt x="149" y="56"/>
                    </a:cubicBezTo>
                    <a:cubicBezTo>
                      <a:pt x="149" y="56"/>
                      <a:pt x="149" y="56"/>
                      <a:pt x="149" y="56"/>
                    </a:cubicBezTo>
                    <a:cubicBezTo>
                      <a:pt x="148" y="57"/>
                      <a:pt x="148" y="57"/>
                      <a:pt x="148" y="58"/>
                    </a:cubicBezTo>
                    <a:cubicBezTo>
                      <a:pt x="148" y="59"/>
                      <a:pt x="148" y="59"/>
                      <a:pt x="147" y="59"/>
                    </a:cubicBezTo>
                    <a:cubicBezTo>
                      <a:pt x="146" y="59"/>
                      <a:pt x="146" y="59"/>
                      <a:pt x="145" y="60"/>
                    </a:cubicBezTo>
                    <a:cubicBezTo>
                      <a:pt x="145" y="62"/>
                      <a:pt x="145" y="61"/>
                      <a:pt x="144" y="60"/>
                    </a:cubicBezTo>
                    <a:cubicBezTo>
                      <a:pt x="144" y="60"/>
                      <a:pt x="143" y="59"/>
                      <a:pt x="143" y="59"/>
                    </a:cubicBezTo>
                    <a:cubicBezTo>
                      <a:pt x="143" y="58"/>
                      <a:pt x="143" y="58"/>
                      <a:pt x="142" y="58"/>
                    </a:cubicBezTo>
                    <a:cubicBezTo>
                      <a:pt x="141" y="59"/>
                      <a:pt x="140" y="58"/>
                      <a:pt x="140" y="59"/>
                    </a:cubicBezTo>
                    <a:cubicBezTo>
                      <a:pt x="139" y="59"/>
                      <a:pt x="137" y="60"/>
                      <a:pt x="136" y="61"/>
                    </a:cubicBezTo>
                    <a:cubicBezTo>
                      <a:pt x="136" y="62"/>
                      <a:pt x="136" y="62"/>
                      <a:pt x="136" y="62"/>
                    </a:cubicBezTo>
                    <a:cubicBezTo>
                      <a:pt x="136" y="63"/>
                      <a:pt x="137" y="62"/>
                      <a:pt x="137" y="62"/>
                    </a:cubicBezTo>
                    <a:cubicBezTo>
                      <a:pt x="138" y="61"/>
                      <a:pt x="139" y="62"/>
                      <a:pt x="140" y="62"/>
                    </a:cubicBezTo>
                    <a:cubicBezTo>
                      <a:pt x="140" y="62"/>
                      <a:pt x="142" y="63"/>
                      <a:pt x="141" y="64"/>
                    </a:cubicBezTo>
                    <a:cubicBezTo>
                      <a:pt x="141" y="65"/>
                      <a:pt x="140" y="65"/>
                      <a:pt x="140" y="64"/>
                    </a:cubicBezTo>
                    <a:cubicBezTo>
                      <a:pt x="139" y="64"/>
                      <a:pt x="139" y="64"/>
                      <a:pt x="138" y="64"/>
                    </a:cubicBezTo>
                    <a:cubicBezTo>
                      <a:pt x="138" y="64"/>
                      <a:pt x="138" y="64"/>
                      <a:pt x="137" y="64"/>
                    </a:cubicBezTo>
                    <a:cubicBezTo>
                      <a:pt x="137" y="65"/>
                      <a:pt x="137" y="65"/>
                      <a:pt x="138" y="65"/>
                    </a:cubicBezTo>
                    <a:cubicBezTo>
                      <a:pt x="138" y="66"/>
                      <a:pt x="138" y="66"/>
                      <a:pt x="139" y="66"/>
                    </a:cubicBezTo>
                    <a:cubicBezTo>
                      <a:pt x="139" y="66"/>
                      <a:pt x="140" y="66"/>
                      <a:pt x="140" y="67"/>
                    </a:cubicBezTo>
                    <a:cubicBezTo>
                      <a:pt x="140" y="68"/>
                      <a:pt x="139" y="69"/>
                      <a:pt x="138" y="68"/>
                    </a:cubicBezTo>
                    <a:cubicBezTo>
                      <a:pt x="138" y="68"/>
                      <a:pt x="137" y="69"/>
                      <a:pt x="136" y="67"/>
                    </a:cubicBezTo>
                    <a:cubicBezTo>
                      <a:pt x="136" y="67"/>
                      <a:pt x="136" y="67"/>
                      <a:pt x="136" y="68"/>
                    </a:cubicBezTo>
                    <a:cubicBezTo>
                      <a:pt x="135" y="68"/>
                      <a:pt x="135" y="68"/>
                      <a:pt x="135" y="68"/>
                    </a:cubicBezTo>
                    <a:cubicBezTo>
                      <a:pt x="134" y="68"/>
                      <a:pt x="135" y="67"/>
                      <a:pt x="135" y="67"/>
                    </a:cubicBezTo>
                    <a:cubicBezTo>
                      <a:pt x="135" y="66"/>
                      <a:pt x="135" y="65"/>
                      <a:pt x="135" y="65"/>
                    </a:cubicBezTo>
                    <a:cubicBezTo>
                      <a:pt x="134" y="65"/>
                      <a:pt x="134" y="65"/>
                      <a:pt x="133" y="66"/>
                    </a:cubicBezTo>
                    <a:cubicBezTo>
                      <a:pt x="133" y="66"/>
                      <a:pt x="133" y="67"/>
                      <a:pt x="132" y="67"/>
                    </a:cubicBezTo>
                    <a:cubicBezTo>
                      <a:pt x="131" y="68"/>
                      <a:pt x="131" y="68"/>
                      <a:pt x="131" y="69"/>
                    </a:cubicBezTo>
                    <a:cubicBezTo>
                      <a:pt x="132" y="70"/>
                      <a:pt x="133" y="71"/>
                      <a:pt x="133" y="72"/>
                    </a:cubicBezTo>
                    <a:cubicBezTo>
                      <a:pt x="133" y="73"/>
                      <a:pt x="133" y="73"/>
                      <a:pt x="135" y="73"/>
                    </a:cubicBezTo>
                    <a:cubicBezTo>
                      <a:pt x="135" y="73"/>
                      <a:pt x="135" y="73"/>
                      <a:pt x="136" y="73"/>
                    </a:cubicBezTo>
                    <a:cubicBezTo>
                      <a:pt x="136" y="72"/>
                      <a:pt x="135" y="72"/>
                      <a:pt x="136" y="71"/>
                    </a:cubicBezTo>
                    <a:cubicBezTo>
                      <a:pt x="136" y="71"/>
                      <a:pt x="137" y="71"/>
                      <a:pt x="137" y="71"/>
                    </a:cubicBezTo>
                    <a:cubicBezTo>
                      <a:pt x="137" y="71"/>
                      <a:pt x="137" y="71"/>
                      <a:pt x="137" y="71"/>
                    </a:cubicBezTo>
                    <a:cubicBezTo>
                      <a:pt x="138" y="71"/>
                      <a:pt x="138" y="71"/>
                      <a:pt x="138" y="71"/>
                    </a:cubicBezTo>
                    <a:cubicBezTo>
                      <a:pt x="139" y="71"/>
                      <a:pt x="139" y="70"/>
                      <a:pt x="140" y="71"/>
                    </a:cubicBezTo>
                    <a:cubicBezTo>
                      <a:pt x="140" y="71"/>
                      <a:pt x="139" y="71"/>
                      <a:pt x="139" y="72"/>
                    </a:cubicBezTo>
                    <a:cubicBezTo>
                      <a:pt x="139" y="72"/>
                      <a:pt x="139" y="72"/>
                      <a:pt x="139" y="73"/>
                    </a:cubicBezTo>
                    <a:cubicBezTo>
                      <a:pt x="140" y="73"/>
                      <a:pt x="140" y="73"/>
                      <a:pt x="140" y="73"/>
                    </a:cubicBezTo>
                    <a:cubicBezTo>
                      <a:pt x="138" y="73"/>
                      <a:pt x="138" y="75"/>
                      <a:pt x="138" y="77"/>
                    </a:cubicBezTo>
                    <a:cubicBezTo>
                      <a:pt x="138" y="77"/>
                      <a:pt x="138" y="78"/>
                      <a:pt x="138" y="78"/>
                    </a:cubicBezTo>
                    <a:cubicBezTo>
                      <a:pt x="139" y="78"/>
                      <a:pt x="140" y="78"/>
                      <a:pt x="140" y="76"/>
                    </a:cubicBezTo>
                    <a:cubicBezTo>
                      <a:pt x="140" y="76"/>
                      <a:pt x="140" y="76"/>
                      <a:pt x="140" y="76"/>
                    </a:cubicBezTo>
                    <a:cubicBezTo>
                      <a:pt x="141" y="76"/>
                      <a:pt x="141" y="76"/>
                      <a:pt x="142" y="76"/>
                    </a:cubicBezTo>
                    <a:cubicBezTo>
                      <a:pt x="142" y="76"/>
                      <a:pt x="142" y="77"/>
                      <a:pt x="142" y="77"/>
                    </a:cubicBezTo>
                    <a:cubicBezTo>
                      <a:pt x="142" y="77"/>
                      <a:pt x="143" y="76"/>
                      <a:pt x="143" y="76"/>
                    </a:cubicBezTo>
                    <a:cubicBezTo>
                      <a:pt x="143" y="76"/>
                      <a:pt x="143" y="76"/>
                      <a:pt x="143" y="76"/>
                    </a:cubicBezTo>
                    <a:cubicBezTo>
                      <a:pt x="143" y="75"/>
                      <a:pt x="143" y="75"/>
                      <a:pt x="143" y="74"/>
                    </a:cubicBezTo>
                    <a:cubicBezTo>
                      <a:pt x="143" y="74"/>
                      <a:pt x="143" y="73"/>
                      <a:pt x="143" y="73"/>
                    </a:cubicBezTo>
                    <a:cubicBezTo>
                      <a:pt x="143" y="73"/>
                      <a:pt x="144" y="73"/>
                      <a:pt x="144" y="74"/>
                    </a:cubicBezTo>
                    <a:cubicBezTo>
                      <a:pt x="144" y="74"/>
                      <a:pt x="145" y="74"/>
                      <a:pt x="145" y="74"/>
                    </a:cubicBezTo>
                    <a:cubicBezTo>
                      <a:pt x="146" y="75"/>
                      <a:pt x="146" y="74"/>
                      <a:pt x="147" y="74"/>
                    </a:cubicBezTo>
                    <a:cubicBezTo>
                      <a:pt x="147" y="73"/>
                      <a:pt x="147" y="73"/>
                      <a:pt x="146" y="72"/>
                    </a:cubicBezTo>
                    <a:cubicBezTo>
                      <a:pt x="146" y="72"/>
                      <a:pt x="146" y="72"/>
                      <a:pt x="146" y="71"/>
                    </a:cubicBezTo>
                    <a:cubicBezTo>
                      <a:pt x="147" y="70"/>
                      <a:pt x="146" y="69"/>
                      <a:pt x="144" y="69"/>
                    </a:cubicBezTo>
                    <a:cubicBezTo>
                      <a:pt x="144" y="69"/>
                      <a:pt x="144" y="68"/>
                      <a:pt x="144" y="68"/>
                    </a:cubicBezTo>
                    <a:cubicBezTo>
                      <a:pt x="144" y="68"/>
                      <a:pt x="144" y="68"/>
                      <a:pt x="144" y="68"/>
                    </a:cubicBezTo>
                    <a:cubicBezTo>
                      <a:pt x="144" y="68"/>
                      <a:pt x="144" y="68"/>
                      <a:pt x="144" y="68"/>
                    </a:cubicBezTo>
                    <a:cubicBezTo>
                      <a:pt x="144" y="67"/>
                      <a:pt x="144" y="67"/>
                      <a:pt x="144" y="67"/>
                    </a:cubicBezTo>
                    <a:cubicBezTo>
                      <a:pt x="144" y="67"/>
                      <a:pt x="145" y="67"/>
                      <a:pt x="145" y="67"/>
                    </a:cubicBezTo>
                    <a:cubicBezTo>
                      <a:pt x="145" y="67"/>
                      <a:pt x="145" y="67"/>
                      <a:pt x="145" y="67"/>
                    </a:cubicBezTo>
                    <a:cubicBezTo>
                      <a:pt x="145" y="67"/>
                      <a:pt x="145" y="67"/>
                      <a:pt x="145" y="67"/>
                    </a:cubicBezTo>
                    <a:cubicBezTo>
                      <a:pt x="145" y="66"/>
                      <a:pt x="144" y="65"/>
                      <a:pt x="145" y="65"/>
                    </a:cubicBezTo>
                    <a:cubicBezTo>
                      <a:pt x="146" y="65"/>
                      <a:pt x="147" y="65"/>
                      <a:pt x="148" y="66"/>
                    </a:cubicBezTo>
                    <a:cubicBezTo>
                      <a:pt x="150" y="67"/>
                      <a:pt x="150" y="67"/>
                      <a:pt x="152" y="65"/>
                    </a:cubicBezTo>
                    <a:cubicBezTo>
                      <a:pt x="152" y="64"/>
                      <a:pt x="152" y="63"/>
                      <a:pt x="152" y="63"/>
                    </a:cubicBezTo>
                    <a:cubicBezTo>
                      <a:pt x="152" y="63"/>
                      <a:pt x="152" y="63"/>
                      <a:pt x="152" y="63"/>
                    </a:cubicBezTo>
                    <a:cubicBezTo>
                      <a:pt x="151" y="62"/>
                      <a:pt x="151" y="61"/>
                      <a:pt x="152" y="61"/>
                    </a:cubicBezTo>
                    <a:cubicBezTo>
                      <a:pt x="153" y="61"/>
                      <a:pt x="154" y="59"/>
                      <a:pt x="156" y="59"/>
                    </a:cubicBezTo>
                    <a:cubicBezTo>
                      <a:pt x="157" y="59"/>
                      <a:pt x="158" y="60"/>
                      <a:pt x="159" y="59"/>
                    </a:cubicBezTo>
                    <a:cubicBezTo>
                      <a:pt x="159" y="59"/>
                      <a:pt x="159" y="59"/>
                      <a:pt x="159" y="59"/>
                    </a:cubicBezTo>
                    <a:cubicBezTo>
                      <a:pt x="160" y="59"/>
                      <a:pt x="161" y="58"/>
                      <a:pt x="161" y="57"/>
                    </a:cubicBezTo>
                    <a:cubicBezTo>
                      <a:pt x="161" y="56"/>
                      <a:pt x="161" y="56"/>
                      <a:pt x="161" y="55"/>
                    </a:cubicBezTo>
                    <a:cubicBezTo>
                      <a:pt x="163" y="55"/>
                      <a:pt x="164" y="53"/>
                      <a:pt x="165" y="52"/>
                    </a:cubicBezTo>
                    <a:cubicBezTo>
                      <a:pt x="165" y="52"/>
                      <a:pt x="166" y="51"/>
                      <a:pt x="165" y="51"/>
                    </a:cubicBezTo>
                    <a:close/>
                    <a:moveTo>
                      <a:pt x="236" y="48"/>
                    </a:moveTo>
                    <a:cubicBezTo>
                      <a:pt x="236" y="48"/>
                      <a:pt x="236" y="48"/>
                      <a:pt x="236" y="48"/>
                    </a:cubicBezTo>
                    <a:cubicBezTo>
                      <a:pt x="236" y="48"/>
                      <a:pt x="236" y="47"/>
                      <a:pt x="236" y="47"/>
                    </a:cubicBezTo>
                    <a:cubicBezTo>
                      <a:pt x="236" y="47"/>
                      <a:pt x="236" y="47"/>
                      <a:pt x="236" y="47"/>
                    </a:cubicBezTo>
                    <a:cubicBezTo>
                      <a:pt x="235" y="44"/>
                      <a:pt x="233" y="44"/>
                      <a:pt x="231" y="46"/>
                    </a:cubicBezTo>
                    <a:cubicBezTo>
                      <a:pt x="231" y="46"/>
                      <a:pt x="231" y="47"/>
                      <a:pt x="230" y="47"/>
                    </a:cubicBezTo>
                    <a:cubicBezTo>
                      <a:pt x="229" y="46"/>
                      <a:pt x="228" y="47"/>
                      <a:pt x="228" y="47"/>
                    </a:cubicBezTo>
                    <a:cubicBezTo>
                      <a:pt x="226" y="48"/>
                      <a:pt x="225" y="49"/>
                      <a:pt x="224" y="48"/>
                    </a:cubicBezTo>
                    <a:cubicBezTo>
                      <a:pt x="223" y="48"/>
                      <a:pt x="222" y="48"/>
                      <a:pt x="221" y="48"/>
                    </a:cubicBezTo>
                    <a:cubicBezTo>
                      <a:pt x="222" y="48"/>
                      <a:pt x="222" y="48"/>
                      <a:pt x="222" y="48"/>
                    </a:cubicBezTo>
                    <a:cubicBezTo>
                      <a:pt x="222" y="48"/>
                      <a:pt x="223" y="48"/>
                      <a:pt x="223" y="47"/>
                    </a:cubicBezTo>
                    <a:cubicBezTo>
                      <a:pt x="223" y="47"/>
                      <a:pt x="222" y="46"/>
                      <a:pt x="221" y="46"/>
                    </a:cubicBezTo>
                    <a:cubicBezTo>
                      <a:pt x="220" y="47"/>
                      <a:pt x="219" y="48"/>
                      <a:pt x="219" y="50"/>
                    </a:cubicBezTo>
                    <a:cubicBezTo>
                      <a:pt x="218" y="50"/>
                      <a:pt x="218" y="50"/>
                      <a:pt x="218" y="51"/>
                    </a:cubicBezTo>
                    <a:cubicBezTo>
                      <a:pt x="217" y="52"/>
                      <a:pt x="217" y="53"/>
                      <a:pt x="217" y="55"/>
                    </a:cubicBezTo>
                    <a:cubicBezTo>
                      <a:pt x="218" y="55"/>
                      <a:pt x="218" y="55"/>
                      <a:pt x="217" y="56"/>
                    </a:cubicBezTo>
                    <a:cubicBezTo>
                      <a:pt x="216" y="57"/>
                      <a:pt x="217" y="58"/>
                      <a:pt x="217" y="59"/>
                    </a:cubicBezTo>
                    <a:cubicBezTo>
                      <a:pt x="217" y="60"/>
                      <a:pt x="217" y="61"/>
                      <a:pt x="218" y="63"/>
                    </a:cubicBezTo>
                    <a:cubicBezTo>
                      <a:pt x="218" y="64"/>
                      <a:pt x="219" y="65"/>
                      <a:pt x="220" y="64"/>
                    </a:cubicBezTo>
                    <a:cubicBezTo>
                      <a:pt x="221" y="64"/>
                      <a:pt x="221" y="64"/>
                      <a:pt x="222" y="63"/>
                    </a:cubicBezTo>
                    <a:cubicBezTo>
                      <a:pt x="224" y="62"/>
                      <a:pt x="224" y="62"/>
                      <a:pt x="225" y="64"/>
                    </a:cubicBezTo>
                    <a:cubicBezTo>
                      <a:pt x="226" y="66"/>
                      <a:pt x="228" y="66"/>
                      <a:pt x="230" y="65"/>
                    </a:cubicBezTo>
                    <a:cubicBezTo>
                      <a:pt x="231" y="64"/>
                      <a:pt x="231" y="62"/>
                      <a:pt x="232" y="61"/>
                    </a:cubicBezTo>
                    <a:cubicBezTo>
                      <a:pt x="232" y="61"/>
                      <a:pt x="232" y="61"/>
                      <a:pt x="232" y="61"/>
                    </a:cubicBezTo>
                    <a:cubicBezTo>
                      <a:pt x="232" y="59"/>
                      <a:pt x="232" y="58"/>
                      <a:pt x="234" y="58"/>
                    </a:cubicBezTo>
                    <a:cubicBezTo>
                      <a:pt x="234" y="57"/>
                      <a:pt x="235" y="57"/>
                      <a:pt x="235" y="56"/>
                    </a:cubicBezTo>
                    <a:cubicBezTo>
                      <a:pt x="235" y="55"/>
                      <a:pt x="236" y="54"/>
                      <a:pt x="236" y="53"/>
                    </a:cubicBezTo>
                    <a:cubicBezTo>
                      <a:pt x="237" y="52"/>
                      <a:pt x="237" y="50"/>
                      <a:pt x="236" y="48"/>
                    </a:cubicBezTo>
                    <a:close/>
                    <a:moveTo>
                      <a:pt x="450" y="80"/>
                    </a:moveTo>
                    <a:cubicBezTo>
                      <a:pt x="450" y="80"/>
                      <a:pt x="450" y="80"/>
                      <a:pt x="450" y="80"/>
                    </a:cubicBezTo>
                    <a:cubicBezTo>
                      <a:pt x="450" y="80"/>
                      <a:pt x="450" y="80"/>
                      <a:pt x="450" y="80"/>
                    </a:cubicBezTo>
                    <a:cubicBezTo>
                      <a:pt x="450" y="80"/>
                      <a:pt x="450" y="80"/>
                      <a:pt x="450" y="80"/>
                    </a:cubicBezTo>
                    <a:cubicBezTo>
                      <a:pt x="450" y="80"/>
                      <a:pt x="450" y="80"/>
                      <a:pt x="450" y="80"/>
                    </a:cubicBezTo>
                    <a:close/>
                    <a:moveTo>
                      <a:pt x="433" y="77"/>
                    </a:moveTo>
                    <a:cubicBezTo>
                      <a:pt x="432" y="77"/>
                      <a:pt x="432" y="78"/>
                      <a:pt x="432" y="78"/>
                    </a:cubicBezTo>
                    <a:cubicBezTo>
                      <a:pt x="432" y="78"/>
                      <a:pt x="432" y="78"/>
                      <a:pt x="432" y="78"/>
                    </a:cubicBezTo>
                    <a:cubicBezTo>
                      <a:pt x="434" y="79"/>
                      <a:pt x="434" y="80"/>
                      <a:pt x="433" y="81"/>
                    </a:cubicBezTo>
                    <a:cubicBezTo>
                      <a:pt x="432" y="82"/>
                      <a:pt x="432" y="82"/>
                      <a:pt x="432" y="83"/>
                    </a:cubicBezTo>
                    <a:cubicBezTo>
                      <a:pt x="433" y="83"/>
                      <a:pt x="432" y="84"/>
                      <a:pt x="432" y="85"/>
                    </a:cubicBezTo>
                    <a:cubicBezTo>
                      <a:pt x="431" y="86"/>
                      <a:pt x="432" y="88"/>
                      <a:pt x="433" y="88"/>
                    </a:cubicBezTo>
                    <a:cubicBezTo>
                      <a:pt x="435" y="88"/>
                      <a:pt x="437" y="89"/>
                      <a:pt x="439" y="89"/>
                    </a:cubicBezTo>
                    <a:cubicBezTo>
                      <a:pt x="439" y="88"/>
                      <a:pt x="439" y="89"/>
                      <a:pt x="440" y="89"/>
                    </a:cubicBezTo>
                    <a:cubicBezTo>
                      <a:pt x="440" y="90"/>
                      <a:pt x="439" y="90"/>
                      <a:pt x="439" y="90"/>
                    </a:cubicBezTo>
                    <a:cubicBezTo>
                      <a:pt x="437" y="91"/>
                      <a:pt x="436" y="91"/>
                      <a:pt x="435" y="90"/>
                    </a:cubicBezTo>
                    <a:cubicBezTo>
                      <a:pt x="435" y="90"/>
                      <a:pt x="434" y="90"/>
                      <a:pt x="434" y="90"/>
                    </a:cubicBezTo>
                    <a:cubicBezTo>
                      <a:pt x="433" y="90"/>
                      <a:pt x="433" y="90"/>
                      <a:pt x="433" y="91"/>
                    </a:cubicBezTo>
                    <a:cubicBezTo>
                      <a:pt x="432" y="91"/>
                      <a:pt x="432" y="92"/>
                      <a:pt x="433" y="92"/>
                    </a:cubicBezTo>
                    <a:cubicBezTo>
                      <a:pt x="434" y="93"/>
                      <a:pt x="434" y="94"/>
                      <a:pt x="436" y="94"/>
                    </a:cubicBezTo>
                    <a:cubicBezTo>
                      <a:pt x="436" y="95"/>
                      <a:pt x="437" y="95"/>
                      <a:pt x="438" y="94"/>
                    </a:cubicBezTo>
                    <a:cubicBezTo>
                      <a:pt x="438" y="94"/>
                      <a:pt x="438" y="94"/>
                      <a:pt x="438" y="94"/>
                    </a:cubicBezTo>
                    <a:cubicBezTo>
                      <a:pt x="440" y="93"/>
                      <a:pt x="442" y="94"/>
                      <a:pt x="443" y="93"/>
                    </a:cubicBezTo>
                    <a:cubicBezTo>
                      <a:pt x="443" y="93"/>
                      <a:pt x="443" y="93"/>
                      <a:pt x="443" y="93"/>
                    </a:cubicBezTo>
                    <a:cubicBezTo>
                      <a:pt x="444" y="93"/>
                      <a:pt x="445" y="92"/>
                      <a:pt x="446" y="92"/>
                    </a:cubicBezTo>
                    <a:cubicBezTo>
                      <a:pt x="446" y="92"/>
                      <a:pt x="447" y="92"/>
                      <a:pt x="447" y="91"/>
                    </a:cubicBezTo>
                    <a:cubicBezTo>
                      <a:pt x="448" y="89"/>
                      <a:pt x="450" y="87"/>
                      <a:pt x="451" y="85"/>
                    </a:cubicBezTo>
                    <a:cubicBezTo>
                      <a:pt x="452" y="84"/>
                      <a:pt x="452" y="84"/>
                      <a:pt x="451" y="83"/>
                    </a:cubicBezTo>
                    <a:cubicBezTo>
                      <a:pt x="451" y="83"/>
                      <a:pt x="451" y="83"/>
                      <a:pt x="451" y="83"/>
                    </a:cubicBezTo>
                    <a:cubicBezTo>
                      <a:pt x="451" y="83"/>
                      <a:pt x="451" y="83"/>
                      <a:pt x="451" y="83"/>
                    </a:cubicBezTo>
                    <a:cubicBezTo>
                      <a:pt x="451" y="83"/>
                      <a:pt x="451" y="83"/>
                      <a:pt x="450" y="82"/>
                    </a:cubicBezTo>
                    <a:cubicBezTo>
                      <a:pt x="449" y="82"/>
                      <a:pt x="449" y="82"/>
                      <a:pt x="450" y="80"/>
                    </a:cubicBezTo>
                    <a:cubicBezTo>
                      <a:pt x="449" y="80"/>
                      <a:pt x="447" y="80"/>
                      <a:pt x="447" y="80"/>
                    </a:cubicBezTo>
                    <a:cubicBezTo>
                      <a:pt x="446" y="79"/>
                      <a:pt x="445" y="79"/>
                      <a:pt x="444" y="79"/>
                    </a:cubicBezTo>
                    <a:cubicBezTo>
                      <a:pt x="442" y="79"/>
                      <a:pt x="441" y="78"/>
                      <a:pt x="439" y="78"/>
                    </a:cubicBezTo>
                    <a:cubicBezTo>
                      <a:pt x="439" y="78"/>
                      <a:pt x="438" y="78"/>
                      <a:pt x="438" y="78"/>
                    </a:cubicBezTo>
                    <a:cubicBezTo>
                      <a:pt x="438" y="77"/>
                      <a:pt x="438" y="77"/>
                      <a:pt x="438" y="77"/>
                    </a:cubicBezTo>
                    <a:cubicBezTo>
                      <a:pt x="436" y="78"/>
                      <a:pt x="434" y="77"/>
                      <a:pt x="433" y="77"/>
                    </a:cubicBezTo>
                    <a:close/>
                    <a:moveTo>
                      <a:pt x="132" y="58"/>
                    </a:moveTo>
                    <a:cubicBezTo>
                      <a:pt x="133" y="56"/>
                      <a:pt x="133" y="56"/>
                      <a:pt x="135" y="56"/>
                    </a:cubicBezTo>
                    <a:cubicBezTo>
                      <a:pt x="135" y="57"/>
                      <a:pt x="135" y="57"/>
                      <a:pt x="135" y="56"/>
                    </a:cubicBezTo>
                    <a:cubicBezTo>
                      <a:pt x="136" y="56"/>
                      <a:pt x="136" y="56"/>
                      <a:pt x="135" y="55"/>
                    </a:cubicBezTo>
                    <a:cubicBezTo>
                      <a:pt x="135" y="54"/>
                      <a:pt x="135" y="53"/>
                      <a:pt x="135" y="52"/>
                    </a:cubicBezTo>
                    <a:cubicBezTo>
                      <a:pt x="136" y="52"/>
                      <a:pt x="136" y="53"/>
                      <a:pt x="136" y="53"/>
                    </a:cubicBezTo>
                    <a:cubicBezTo>
                      <a:pt x="137" y="52"/>
                      <a:pt x="136" y="51"/>
                      <a:pt x="136" y="51"/>
                    </a:cubicBezTo>
                    <a:cubicBezTo>
                      <a:pt x="136" y="51"/>
                      <a:pt x="136" y="51"/>
                      <a:pt x="136" y="50"/>
                    </a:cubicBezTo>
                    <a:cubicBezTo>
                      <a:pt x="136" y="50"/>
                      <a:pt x="137" y="50"/>
                      <a:pt x="137" y="50"/>
                    </a:cubicBezTo>
                    <a:cubicBezTo>
                      <a:pt x="137" y="49"/>
                      <a:pt x="137" y="48"/>
                      <a:pt x="139" y="49"/>
                    </a:cubicBezTo>
                    <a:cubicBezTo>
                      <a:pt x="139" y="49"/>
                      <a:pt x="139" y="50"/>
                      <a:pt x="139" y="50"/>
                    </a:cubicBezTo>
                    <a:cubicBezTo>
                      <a:pt x="139" y="50"/>
                      <a:pt x="139" y="50"/>
                      <a:pt x="139" y="50"/>
                    </a:cubicBezTo>
                    <a:cubicBezTo>
                      <a:pt x="139" y="50"/>
                      <a:pt x="139" y="50"/>
                      <a:pt x="139" y="50"/>
                    </a:cubicBezTo>
                    <a:cubicBezTo>
                      <a:pt x="139" y="50"/>
                      <a:pt x="139" y="51"/>
                      <a:pt x="139" y="51"/>
                    </a:cubicBezTo>
                    <a:cubicBezTo>
                      <a:pt x="140" y="51"/>
                      <a:pt x="140" y="52"/>
                      <a:pt x="140" y="52"/>
                    </a:cubicBezTo>
                    <a:cubicBezTo>
                      <a:pt x="140" y="54"/>
                      <a:pt x="141" y="54"/>
                      <a:pt x="142" y="54"/>
                    </a:cubicBezTo>
                    <a:cubicBezTo>
                      <a:pt x="142" y="54"/>
                      <a:pt x="143" y="54"/>
                      <a:pt x="143" y="55"/>
                    </a:cubicBezTo>
                    <a:cubicBezTo>
                      <a:pt x="143" y="55"/>
                      <a:pt x="144" y="56"/>
                      <a:pt x="145" y="55"/>
                    </a:cubicBezTo>
                    <a:cubicBezTo>
                      <a:pt x="145" y="55"/>
                      <a:pt x="145" y="54"/>
                      <a:pt x="145" y="53"/>
                    </a:cubicBezTo>
                    <a:cubicBezTo>
                      <a:pt x="144" y="52"/>
                      <a:pt x="142" y="51"/>
                      <a:pt x="144" y="49"/>
                    </a:cubicBezTo>
                    <a:cubicBezTo>
                      <a:pt x="144" y="49"/>
                      <a:pt x="144" y="48"/>
                      <a:pt x="143" y="48"/>
                    </a:cubicBezTo>
                    <a:cubicBezTo>
                      <a:pt x="143" y="48"/>
                      <a:pt x="143" y="48"/>
                      <a:pt x="143" y="48"/>
                    </a:cubicBezTo>
                    <a:cubicBezTo>
                      <a:pt x="142" y="46"/>
                      <a:pt x="141" y="47"/>
                      <a:pt x="139" y="48"/>
                    </a:cubicBezTo>
                    <a:cubicBezTo>
                      <a:pt x="139" y="48"/>
                      <a:pt x="139" y="48"/>
                      <a:pt x="139" y="48"/>
                    </a:cubicBezTo>
                    <a:cubicBezTo>
                      <a:pt x="139" y="47"/>
                      <a:pt x="138" y="46"/>
                      <a:pt x="136" y="46"/>
                    </a:cubicBezTo>
                    <a:cubicBezTo>
                      <a:pt x="136" y="46"/>
                      <a:pt x="136" y="46"/>
                      <a:pt x="136" y="46"/>
                    </a:cubicBezTo>
                    <a:cubicBezTo>
                      <a:pt x="135" y="46"/>
                      <a:pt x="134" y="46"/>
                      <a:pt x="134" y="47"/>
                    </a:cubicBezTo>
                    <a:cubicBezTo>
                      <a:pt x="134" y="48"/>
                      <a:pt x="134" y="48"/>
                      <a:pt x="134" y="48"/>
                    </a:cubicBezTo>
                    <a:cubicBezTo>
                      <a:pt x="133" y="49"/>
                      <a:pt x="132" y="50"/>
                      <a:pt x="131" y="51"/>
                    </a:cubicBezTo>
                    <a:cubicBezTo>
                      <a:pt x="131" y="51"/>
                      <a:pt x="131" y="51"/>
                      <a:pt x="131" y="51"/>
                    </a:cubicBezTo>
                    <a:cubicBezTo>
                      <a:pt x="131" y="51"/>
                      <a:pt x="131" y="51"/>
                      <a:pt x="131" y="51"/>
                    </a:cubicBezTo>
                    <a:cubicBezTo>
                      <a:pt x="130" y="51"/>
                      <a:pt x="129" y="51"/>
                      <a:pt x="129" y="52"/>
                    </a:cubicBezTo>
                    <a:cubicBezTo>
                      <a:pt x="128" y="52"/>
                      <a:pt x="127" y="53"/>
                      <a:pt x="127" y="53"/>
                    </a:cubicBezTo>
                    <a:cubicBezTo>
                      <a:pt x="124" y="54"/>
                      <a:pt x="122" y="54"/>
                      <a:pt x="120" y="55"/>
                    </a:cubicBezTo>
                    <a:cubicBezTo>
                      <a:pt x="119" y="56"/>
                      <a:pt x="119" y="56"/>
                      <a:pt x="119" y="56"/>
                    </a:cubicBezTo>
                    <a:cubicBezTo>
                      <a:pt x="119" y="56"/>
                      <a:pt x="119" y="57"/>
                      <a:pt x="119" y="57"/>
                    </a:cubicBezTo>
                    <a:cubicBezTo>
                      <a:pt x="120" y="57"/>
                      <a:pt x="120" y="57"/>
                      <a:pt x="121" y="58"/>
                    </a:cubicBezTo>
                    <a:cubicBezTo>
                      <a:pt x="122" y="58"/>
                      <a:pt x="122" y="58"/>
                      <a:pt x="122" y="58"/>
                    </a:cubicBezTo>
                    <a:cubicBezTo>
                      <a:pt x="123" y="60"/>
                      <a:pt x="123" y="59"/>
                      <a:pt x="124" y="59"/>
                    </a:cubicBezTo>
                    <a:cubicBezTo>
                      <a:pt x="124" y="58"/>
                      <a:pt x="124" y="58"/>
                      <a:pt x="125" y="58"/>
                    </a:cubicBezTo>
                    <a:cubicBezTo>
                      <a:pt x="125" y="58"/>
                      <a:pt x="126" y="58"/>
                      <a:pt x="126" y="58"/>
                    </a:cubicBezTo>
                    <a:cubicBezTo>
                      <a:pt x="126" y="58"/>
                      <a:pt x="126" y="58"/>
                      <a:pt x="126" y="58"/>
                    </a:cubicBezTo>
                    <a:cubicBezTo>
                      <a:pt x="126" y="58"/>
                      <a:pt x="126" y="58"/>
                      <a:pt x="126" y="58"/>
                    </a:cubicBezTo>
                    <a:cubicBezTo>
                      <a:pt x="126" y="58"/>
                      <a:pt x="126" y="58"/>
                      <a:pt x="127" y="59"/>
                    </a:cubicBezTo>
                    <a:cubicBezTo>
                      <a:pt x="127" y="59"/>
                      <a:pt x="127" y="60"/>
                      <a:pt x="126" y="61"/>
                    </a:cubicBezTo>
                    <a:cubicBezTo>
                      <a:pt x="126" y="62"/>
                      <a:pt x="127" y="62"/>
                      <a:pt x="127" y="63"/>
                    </a:cubicBezTo>
                    <a:cubicBezTo>
                      <a:pt x="128" y="63"/>
                      <a:pt x="129" y="62"/>
                      <a:pt x="129" y="61"/>
                    </a:cubicBezTo>
                    <a:cubicBezTo>
                      <a:pt x="129" y="60"/>
                      <a:pt x="130" y="60"/>
                      <a:pt x="130" y="59"/>
                    </a:cubicBezTo>
                    <a:cubicBezTo>
                      <a:pt x="130" y="58"/>
                      <a:pt x="130" y="58"/>
                      <a:pt x="131" y="59"/>
                    </a:cubicBezTo>
                    <a:cubicBezTo>
                      <a:pt x="132" y="59"/>
                      <a:pt x="132" y="59"/>
                      <a:pt x="132" y="58"/>
                    </a:cubicBezTo>
                    <a:close/>
                    <a:moveTo>
                      <a:pt x="191" y="28"/>
                    </a:moveTo>
                    <a:cubicBezTo>
                      <a:pt x="191" y="28"/>
                      <a:pt x="191" y="29"/>
                      <a:pt x="191" y="29"/>
                    </a:cubicBezTo>
                    <a:cubicBezTo>
                      <a:pt x="191" y="30"/>
                      <a:pt x="192" y="31"/>
                      <a:pt x="192" y="31"/>
                    </a:cubicBezTo>
                    <a:cubicBezTo>
                      <a:pt x="193" y="31"/>
                      <a:pt x="194" y="31"/>
                      <a:pt x="195" y="30"/>
                    </a:cubicBezTo>
                    <a:cubicBezTo>
                      <a:pt x="195" y="30"/>
                      <a:pt x="196" y="30"/>
                      <a:pt x="196" y="30"/>
                    </a:cubicBezTo>
                    <a:cubicBezTo>
                      <a:pt x="197" y="30"/>
                      <a:pt x="197" y="31"/>
                      <a:pt x="196" y="31"/>
                    </a:cubicBezTo>
                    <a:cubicBezTo>
                      <a:pt x="196" y="32"/>
                      <a:pt x="196" y="32"/>
                      <a:pt x="197" y="32"/>
                    </a:cubicBezTo>
                    <a:cubicBezTo>
                      <a:pt x="197" y="32"/>
                      <a:pt x="198" y="32"/>
                      <a:pt x="198" y="32"/>
                    </a:cubicBezTo>
                    <a:cubicBezTo>
                      <a:pt x="199" y="31"/>
                      <a:pt x="199" y="31"/>
                      <a:pt x="200" y="30"/>
                    </a:cubicBezTo>
                    <a:cubicBezTo>
                      <a:pt x="201" y="29"/>
                      <a:pt x="202" y="28"/>
                      <a:pt x="203" y="27"/>
                    </a:cubicBezTo>
                    <a:cubicBezTo>
                      <a:pt x="205" y="27"/>
                      <a:pt x="206" y="27"/>
                      <a:pt x="207" y="26"/>
                    </a:cubicBezTo>
                    <a:cubicBezTo>
                      <a:pt x="206" y="26"/>
                      <a:pt x="206" y="25"/>
                      <a:pt x="205" y="25"/>
                    </a:cubicBezTo>
                    <a:cubicBezTo>
                      <a:pt x="204" y="26"/>
                      <a:pt x="204" y="25"/>
                      <a:pt x="204" y="24"/>
                    </a:cubicBezTo>
                    <a:cubicBezTo>
                      <a:pt x="204" y="24"/>
                      <a:pt x="203" y="24"/>
                      <a:pt x="203" y="23"/>
                    </a:cubicBezTo>
                    <a:cubicBezTo>
                      <a:pt x="202" y="22"/>
                      <a:pt x="200" y="22"/>
                      <a:pt x="199" y="21"/>
                    </a:cubicBezTo>
                    <a:cubicBezTo>
                      <a:pt x="198" y="21"/>
                      <a:pt x="196" y="21"/>
                      <a:pt x="197" y="22"/>
                    </a:cubicBezTo>
                    <a:cubicBezTo>
                      <a:pt x="198" y="23"/>
                      <a:pt x="197" y="26"/>
                      <a:pt x="198" y="27"/>
                    </a:cubicBezTo>
                    <a:cubicBezTo>
                      <a:pt x="198" y="27"/>
                      <a:pt x="198" y="27"/>
                      <a:pt x="198" y="28"/>
                    </a:cubicBezTo>
                    <a:cubicBezTo>
                      <a:pt x="198" y="28"/>
                      <a:pt x="198" y="28"/>
                      <a:pt x="197" y="28"/>
                    </a:cubicBezTo>
                    <a:cubicBezTo>
                      <a:pt x="196" y="27"/>
                      <a:pt x="195" y="26"/>
                      <a:pt x="194" y="26"/>
                    </a:cubicBezTo>
                    <a:cubicBezTo>
                      <a:pt x="194" y="25"/>
                      <a:pt x="193" y="26"/>
                      <a:pt x="192" y="25"/>
                    </a:cubicBezTo>
                    <a:cubicBezTo>
                      <a:pt x="191" y="24"/>
                      <a:pt x="191" y="25"/>
                      <a:pt x="191" y="25"/>
                    </a:cubicBezTo>
                    <a:cubicBezTo>
                      <a:pt x="191" y="26"/>
                      <a:pt x="190" y="27"/>
                      <a:pt x="191" y="28"/>
                    </a:cubicBezTo>
                    <a:close/>
                    <a:moveTo>
                      <a:pt x="258" y="37"/>
                    </a:moveTo>
                    <a:cubicBezTo>
                      <a:pt x="258" y="37"/>
                      <a:pt x="258" y="37"/>
                      <a:pt x="258" y="37"/>
                    </a:cubicBezTo>
                    <a:cubicBezTo>
                      <a:pt x="257" y="36"/>
                      <a:pt x="258" y="36"/>
                      <a:pt x="257" y="35"/>
                    </a:cubicBezTo>
                    <a:cubicBezTo>
                      <a:pt x="257" y="35"/>
                      <a:pt x="257" y="35"/>
                      <a:pt x="257" y="35"/>
                    </a:cubicBezTo>
                    <a:cubicBezTo>
                      <a:pt x="257" y="34"/>
                      <a:pt x="256" y="33"/>
                      <a:pt x="255" y="32"/>
                    </a:cubicBezTo>
                    <a:cubicBezTo>
                      <a:pt x="254" y="31"/>
                      <a:pt x="253" y="30"/>
                      <a:pt x="252" y="31"/>
                    </a:cubicBezTo>
                    <a:cubicBezTo>
                      <a:pt x="251" y="31"/>
                      <a:pt x="250" y="32"/>
                      <a:pt x="250" y="33"/>
                    </a:cubicBezTo>
                    <a:cubicBezTo>
                      <a:pt x="249" y="35"/>
                      <a:pt x="249" y="37"/>
                      <a:pt x="249" y="38"/>
                    </a:cubicBezTo>
                    <a:cubicBezTo>
                      <a:pt x="250" y="40"/>
                      <a:pt x="249" y="41"/>
                      <a:pt x="247" y="41"/>
                    </a:cubicBezTo>
                    <a:cubicBezTo>
                      <a:pt x="244" y="40"/>
                      <a:pt x="243" y="41"/>
                      <a:pt x="242" y="43"/>
                    </a:cubicBezTo>
                    <a:cubicBezTo>
                      <a:pt x="242" y="43"/>
                      <a:pt x="242" y="43"/>
                      <a:pt x="242" y="43"/>
                    </a:cubicBezTo>
                    <a:cubicBezTo>
                      <a:pt x="241" y="44"/>
                      <a:pt x="240" y="46"/>
                      <a:pt x="239" y="47"/>
                    </a:cubicBezTo>
                    <a:cubicBezTo>
                      <a:pt x="238" y="48"/>
                      <a:pt x="238" y="49"/>
                      <a:pt x="239" y="49"/>
                    </a:cubicBezTo>
                    <a:cubicBezTo>
                      <a:pt x="240" y="50"/>
                      <a:pt x="241" y="52"/>
                      <a:pt x="242" y="53"/>
                    </a:cubicBezTo>
                    <a:cubicBezTo>
                      <a:pt x="242" y="54"/>
                      <a:pt x="242" y="55"/>
                      <a:pt x="243" y="54"/>
                    </a:cubicBezTo>
                    <a:cubicBezTo>
                      <a:pt x="244" y="53"/>
                      <a:pt x="246" y="52"/>
                      <a:pt x="247" y="53"/>
                    </a:cubicBezTo>
                    <a:cubicBezTo>
                      <a:pt x="248" y="53"/>
                      <a:pt x="248" y="53"/>
                      <a:pt x="249" y="52"/>
                    </a:cubicBezTo>
                    <a:cubicBezTo>
                      <a:pt x="249" y="52"/>
                      <a:pt x="249" y="52"/>
                      <a:pt x="249" y="52"/>
                    </a:cubicBezTo>
                    <a:cubicBezTo>
                      <a:pt x="250" y="52"/>
                      <a:pt x="250" y="52"/>
                      <a:pt x="251" y="52"/>
                    </a:cubicBezTo>
                    <a:cubicBezTo>
                      <a:pt x="251" y="52"/>
                      <a:pt x="251" y="52"/>
                      <a:pt x="251" y="52"/>
                    </a:cubicBezTo>
                    <a:cubicBezTo>
                      <a:pt x="252" y="51"/>
                      <a:pt x="254" y="50"/>
                      <a:pt x="255" y="48"/>
                    </a:cubicBezTo>
                    <a:cubicBezTo>
                      <a:pt x="256" y="47"/>
                      <a:pt x="256" y="46"/>
                      <a:pt x="257" y="45"/>
                    </a:cubicBezTo>
                    <a:cubicBezTo>
                      <a:pt x="258" y="43"/>
                      <a:pt x="258" y="41"/>
                      <a:pt x="256" y="40"/>
                    </a:cubicBezTo>
                    <a:cubicBezTo>
                      <a:pt x="257" y="40"/>
                      <a:pt x="257" y="39"/>
                      <a:pt x="258" y="39"/>
                    </a:cubicBezTo>
                    <a:cubicBezTo>
                      <a:pt x="258" y="38"/>
                      <a:pt x="258" y="38"/>
                      <a:pt x="258" y="37"/>
                    </a:cubicBezTo>
                    <a:close/>
                    <a:moveTo>
                      <a:pt x="177" y="67"/>
                    </a:moveTo>
                    <a:cubicBezTo>
                      <a:pt x="176" y="65"/>
                      <a:pt x="176" y="65"/>
                      <a:pt x="174" y="65"/>
                    </a:cubicBezTo>
                    <a:cubicBezTo>
                      <a:pt x="173" y="65"/>
                      <a:pt x="172" y="66"/>
                      <a:pt x="173" y="67"/>
                    </a:cubicBezTo>
                    <a:cubicBezTo>
                      <a:pt x="173" y="68"/>
                      <a:pt x="173" y="68"/>
                      <a:pt x="172" y="68"/>
                    </a:cubicBezTo>
                    <a:cubicBezTo>
                      <a:pt x="172" y="69"/>
                      <a:pt x="171" y="70"/>
                      <a:pt x="170" y="70"/>
                    </a:cubicBezTo>
                    <a:cubicBezTo>
                      <a:pt x="169" y="70"/>
                      <a:pt x="168" y="70"/>
                      <a:pt x="169" y="72"/>
                    </a:cubicBezTo>
                    <a:cubicBezTo>
                      <a:pt x="169" y="73"/>
                      <a:pt x="171" y="73"/>
                      <a:pt x="172" y="74"/>
                    </a:cubicBezTo>
                    <a:cubicBezTo>
                      <a:pt x="172" y="75"/>
                      <a:pt x="173" y="74"/>
                      <a:pt x="173" y="74"/>
                    </a:cubicBezTo>
                    <a:cubicBezTo>
                      <a:pt x="173" y="74"/>
                      <a:pt x="173" y="74"/>
                      <a:pt x="173" y="74"/>
                    </a:cubicBezTo>
                    <a:cubicBezTo>
                      <a:pt x="173" y="74"/>
                      <a:pt x="173" y="74"/>
                      <a:pt x="173" y="74"/>
                    </a:cubicBezTo>
                    <a:cubicBezTo>
                      <a:pt x="174" y="74"/>
                      <a:pt x="174" y="74"/>
                      <a:pt x="174" y="74"/>
                    </a:cubicBezTo>
                    <a:cubicBezTo>
                      <a:pt x="174" y="74"/>
                      <a:pt x="174" y="74"/>
                      <a:pt x="174" y="74"/>
                    </a:cubicBezTo>
                    <a:cubicBezTo>
                      <a:pt x="174" y="74"/>
                      <a:pt x="175" y="74"/>
                      <a:pt x="176" y="74"/>
                    </a:cubicBezTo>
                    <a:cubicBezTo>
                      <a:pt x="176" y="74"/>
                      <a:pt x="176" y="74"/>
                      <a:pt x="176" y="74"/>
                    </a:cubicBezTo>
                    <a:cubicBezTo>
                      <a:pt x="176" y="74"/>
                      <a:pt x="176" y="74"/>
                      <a:pt x="176" y="74"/>
                    </a:cubicBezTo>
                    <a:cubicBezTo>
                      <a:pt x="176" y="75"/>
                      <a:pt x="177" y="75"/>
                      <a:pt x="177" y="74"/>
                    </a:cubicBezTo>
                    <a:cubicBezTo>
                      <a:pt x="178" y="74"/>
                      <a:pt x="178" y="73"/>
                      <a:pt x="178" y="73"/>
                    </a:cubicBezTo>
                    <a:cubicBezTo>
                      <a:pt x="178" y="73"/>
                      <a:pt x="178" y="73"/>
                      <a:pt x="178" y="73"/>
                    </a:cubicBezTo>
                    <a:cubicBezTo>
                      <a:pt x="178" y="73"/>
                      <a:pt x="178" y="73"/>
                      <a:pt x="178" y="73"/>
                    </a:cubicBezTo>
                    <a:cubicBezTo>
                      <a:pt x="178" y="72"/>
                      <a:pt x="178" y="72"/>
                      <a:pt x="179" y="72"/>
                    </a:cubicBezTo>
                    <a:cubicBezTo>
                      <a:pt x="179" y="73"/>
                      <a:pt x="179" y="72"/>
                      <a:pt x="180" y="72"/>
                    </a:cubicBezTo>
                    <a:cubicBezTo>
                      <a:pt x="180" y="71"/>
                      <a:pt x="180" y="71"/>
                      <a:pt x="179" y="70"/>
                    </a:cubicBezTo>
                    <a:cubicBezTo>
                      <a:pt x="178" y="69"/>
                      <a:pt x="177" y="68"/>
                      <a:pt x="177" y="67"/>
                    </a:cubicBezTo>
                    <a:close/>
                    <a:moveTo>
                      <a:pt x="222" y="40"/>
                    </a:moveTo>
                    <a:cubicBezTo>
                      <a:pt x="221" y="40"/>
                      <a:pt x="221" y="40"/>
                      <a:pt x="222" y="41"/>
                    </a:cubicBezTo>
                    <a:cubicBezTo>
                      <a:pt x="223" y="42"/>
                      <a:pt x="224" y="43"/>
                      <a:pt x="226" y="44"/>
                    </a:cubicBezTo>
                    <a:cubicBezTo>
                      <a:pt x="226" y="44"/>
                      <a:pt x="227" y="44"/>
                      <a:pt x="227" y="44"/>
                    </a:cubicBezTo>
                    <a:cubicBezTo>
                      <a:pt x="227" y="44"/>
                      <a:pt x="227" y="44"/>
                      <a:pt x="227" y="44"/>
                    </a:cubicBezTo>
                    <a:cubicBezTo>
                      <a:pt x="228" y="44"/>
                      <a:pt x="229" y="43"/>
                      <a:pt x="230" y="42"/>
                    </a:cubicBezTo>
                    <a:cubicBezTo>
                      <a:pt x="230" y="41"/>
                      <a:pt x="231" y="39"/>
                      <a:pt x="232" y="38"/>
                    </a:cubicBezTo>
                    <a:cubicBezTo>
                      <a:pt x="232" y="38"/>
                      <a:pt x="232" y="37"/>
                      <a:pt x="232" y="37"/>
                    </a:cubicBezTo>
                    <a:cubicBezTo>
                      <a:pt x="232" y="37"/>
                      <a:pt x="232" y="37"/>
                      <a:pt x="232" y="37"/>
                    </a:cubicBezTo>
                    <a:cubicBezTo>
                      <a:pt x="231" y="37"/>
                      <a:pt x="231" y="36"/>
                      <a:pt x="232" y="36"/>
                    </a:cubicBezTo>
                    <a:cubicBezTo>
                      <a:pt x="232" y="35"/>
                      <a:pt x="232" y="34"/>
                      <a:pt x="231" y="34"/>
                    </a:cubicBezTo>
                    <a:cubicBezTo>
                      <a:pt x="230" y="34"/>
                      <a:pt x="229" y="34"/>
                      <a:pt x="228" y="34"/>
                    </a:cubicBezTo>
                    <a:cubicBezTo>
                      <a:pt x="226" y="36"/>
                      <a:pt x="224" y="38"/>
                      <a:pt x="222" y="40"/>
                    </a:cubicBezTo>
                    <a:close/>
                    <a:moveTo>
                      <a:pt x="201" y="19"/>
                    </a:moveTo>
                    <a:cubicBezTo>
                      <a:pt x="201" y="19"/>
                      <a:pt x="202" y="19"/>
                      <a:pt x="202" y="20"/>
                    </a:cubicBezTo>
                    <a:cubicBezTo>
                      <a:pt x="203" y="20"/>
                      <a:pt x="203" y="20"/>
                      <a:pt x="204" y="20"/>
                    </a:cubicBezTo>
                    <a:cubicBezTo>
                      <a:pt x="204" y="20"/>
                      <a:pt x="204" y="20"/>
                      <a:pt x="204" y="20"/>
                    </a:cubicBezTo>
                    <a:cubicBezTo>
                      <a:pt x="204" y="20"/>
                      <a:pt x="204" y="20"/>
                      <a:pt x="204" y="20"/>
                    </a:cubicBezTo>
                    <a:cubicBezTo>
                      <a:pt x="205" y="21"/>
                      <a:pt x="205" y="22"/>
                      <a:pt x="207" y="22"/>
                    </a:cubicBezTo>
                    <a:cubicBezTo>
                      <a:pt x="207" y="23"/>
                      <a:pt x="208" y="22"/>
                      <a:pt x="208" y="23"/>
                    </a:cubicBezTo>
                    <a:cubicBezTo>
                      <a:pt x="208" y="23"/>
                      <a:pt x="208" y="23"/>
                      <a:pt x="208" y="23"/>
                    </a:cubicBezTo>
                    <a:cubicBezTo>
                      <a:pt x="208" y="23"/>
                      <a:pt x="208" y="23"/>
                      <a:pt x="208" y="23"/>
                    </a:cubicBezTo>
                    <a:cubicBezTo>
                      <a:pt x="210" y="23"/>
                      <a:pt x="210" y="22"/>
                      <a:pt x="211" y="21"/>
                    </a:cubicBezTo>
                    <a:cubicBezTo>
                      <a:pt x="212" y="20"/>
                      <a:pt x="212" y="20"/>
                      <a:pt x="211" y="19"/>
                    </a:cubicBezTo>
                    <a:cubicBezTo>
                      <a:pt x="211" y="19"/>
                      <a:pt x="211" y="19"/>
                      <a:pt x="211" y="19"/>
                    </a:cubicBezTo>
                    <a:cubicBezTo>
                      <a:pt x="210" y="19"/>
                      <a:pt x="210" y="17"/>
                      <a:pt x="209" y="17"/>
                    </a:cubicBezTo>
                    <a:cubicBezTo>
                      <a:pt x="208" y="17"/>
                      <a:pt x="207" y="17"/>
                      <a:pt x="207" y="16"/>
                    </a:cubicBezTo>
                    <a:cubicBezTo>
                      <a:pt x="206" y="15"/>
                      <a:pt x="207" y="14"/>
                      <a:pt x="206" y="14"/>
                    </a:cubicBezTo>
                    <a:cubicBezTo>
                      <a:pt x="206" y="14"/>
                      <a:pt x="206" y="14"/>
                      <a:pt x="206" y="14"/>
                    </a:cubicBezTo>
                    <a:cubicBezTo>
                      <a:pt x="206" y="14"/>
                      <a:pt x="206" y="14"/>
                      <a:pt x="206" y="14"/>
                    </a:cubicBezTo>
                    <a:cubicBezTo>
                      <a:pt x="205" y="14"/>
                      <a:pt x="204" y="14"/>
                      <a:pt x="204" y="15"/>
                    </a:cubicBezTo>
                    <a:cubicBezTo>
                      <a:pt x="203" y="15"/>
                      <a:pt x="203" y="15"/>
                      <a:pt x="202" y="15"/>
                    </a:cubicBezTo>
                    <a:cubicBezTo>
                      <a:pt x="201" y="15"/>
                      <a:pt x="200" y="15"/>
                      <a:pt x="201" y="17"/>
                    </a:cubicBezTo>
                    <a:cubicBezTo>
                      <a:pt x="201" y="17"/>
                      <a:pt x="200" y="17"/>
                      <a:pt x="200" y="17"/>
                    </a:cubicBezTo>
                    <a:cubicBezTo>
                      <a:pt x="200" y="18"/>
                      <a:pt x="200" y="18"/>
                      <a:pt x="200" y="19"/>
                    </a:cubicBezTo>
                    <a:cubicBezTo>
                      <a:pt x="200" y="19"/>
                      <a:pt x="201" y="20"/>
                      <a:pt x="201" y="19"/>
                    </a:cubicBezTo>
                    <a:close/>
                    <a:moveTo>
                      <a:pt x="208" y="7"/>
                    </a:moveTo>
                    <a:cubicBezTo>
                      <a:pt x="208" y="7"/>
                      <a:pt x="208" y="8"/>
                      <a:pt x="209" y="8"/>
                    </a:cubicBezTo>
                    <a:cubicBezTo>
                      <a:pt x="210" y="8"/>
                      <a:pt x="211" y="7"/>
                      <a:pt x="211" y="6"/>
                    </a:cubicBezTo>
                    <a:cubicBezTo>
                      <a:pt x="212" y="6"/>
                      <a:pt x="212" y="6"/>
                      <a:pt x="213" y="6"/>
                    </a:cubicBezTo>
                    <a:cubicBezTo>
                      <a:pt x="213" y="6"/>
                      <a:pt x="213" y="6"/>
                      <a:pt x="213" y="6"/>
                    </a:cubicBezTo>
                    <a:cubicBezTo>
                      <a:pt x="213" y="6"/>
                      <a:pt x="213" y="6"/>
                      <a:pt x="213" y="6"/>
                    </a:cubicBezTo>
                    <a:cubicBezTo>
                      <a:pt x="213" y="6"/>
                      <a:pt x="213" y="6"/>
                      <a:pt x="213" y="6"/>
                    </a:cubicBezTo>
                    <a:cubicBezTo>
                      <a:pt x="213" y="6"/>
                      <a:pt x="213" y="6"/>
                      <a:pt x="213" y="6"/>
                    </a:cubicBezTo>
                    <a:cubicBezTo>
                      <a:pt x="214" y="6"/>
                      <a:pt x="215" y="7"/>
                      <a:pt x="215" y="6"/>
                    </a:cubicBezTo>
                    <a:cubicBezTo>
                      <a:pt x="215" y="6"/>
                      <a:pt x="215" y="6"/>
                      <a:pt x="215" y="6"/>
                    </a:cubicBezTo>
                    <a:cubicBezTo>
                      <a:pt x="216" y="6"/>
                      <a:pt x="217" y="5"/>
                      <a:pt x="216" y="4"/>
                    </a:cubicBezTo>
                    <a:cubicBezTo>
                      <a:pt x="216" y="4"/>
                      <a:pt x="217" y="3"/>
                      <a:pt x="217" y="3"/>
                    </a:cubicBezTo>
                    <a:cubicBezTo>
                      <a:pt x="217" y="2"/>
                      <a:pt x="217" y="2"/>
                      <a:pt x="217" y="1"/>
                    </a:cubicBezTo>
                    <a:cubicBezTo>
                      <a:pt x="217" y="1"/>
                      <a:pt x="217" y="1"/>
                      <a:pt x="217" y="1"/>
                    </a:cubicBezTo>
                    <a:cubicBezTo>
                      <a:pt x="215" y="0"/>
                      <a:pt x="214" y="0"/>
                      <a:pt x="212" y="1"/>
                    </a:cubicBezTo>
                    <a:cubicBezTo>
                      <a:pt x="211" y="1"/>
                      <a:pt x="211" y="1"/>
                      <a:pt x="210" y="1"/>
                    </a:cubicBezTo>
                    <a:cubicBezTo>
                      <a:pt x="208" y="1"/>
                      <a:pt x="207" y="2"/>
                      <a:pt x="208" y="3"/>
                    </a:cubicBezTo>
                    <a:cubicBezTo>
                      <a:pt x="208" y="4"/>
                      <a:pt x="208" y="4"/>
                      <a:pt x="208" y="5"/>
                    </a:cubicBezTo>
                    <a:cubicBezTo>
                      <a:pt x="207" y="5"/>
                      <a:pt x="207" y="6"/>
                      <a:pt x="208" y="7"/>
                    </a:cubicBezTo>
                    <a:close/>
                    <a:moveTo>
                      <a:pt x="198" y="56"/>
                    </a:moveTo>
                    <a:cubicBezTo>
                      <a:pt x="198" y="56"/>
                      <a:pt x="199" y="56"/>
                      <a:pt x="199" y="56"/>
                    </a:cubicBezTo>
                    <a:cubicBezTo>
                      <a:pt x="199" y="56"/>
                      <a:pt x="199" y="56"/>
                      <a:pt x="199" y="56"/>
                    </a:cubicBezTo>
                    <a:cubicBezTo>
                      <a:pt x="200" y="55"/>
                      <a:pt x="200" y="54"/>
                      <a:pt x="201" y="54"/>
                    </a:cubicBezTo>
                    <a:cubicBezTo>
                      <a:pt x="201" y="53"/>
                      <a:pt x="201" y="53"/>
                      <a:pt x="201" y="53"/>
                    </a:cubicBezTo>
                    <a:cubicBezTo>
                      <a:pt x="201" y="53"/>
                      <a:pt x="201" y="53"/>
                      <a:pt x="201" y="53"/>
                    </a:cubicBezTo>
                    <a:cubicBezTo>
                      <a:pt x="201" y="53"/>
                      <a:pt x="201" y="53"/>
                      <a:pt x="201" y="53"/>
                    </a:cubicBezTo>
                    <a:cubicBezTo>
                      <a:pt x="202" y="53"/>
                      <a:pt x="204" y="53"/>
                      <a:pt x="205" y="52"/>
                    </a:cubicBezTo>
                    <a:cubicBezTo>
                      <a:pt x="206" y="50"/>
                      <a:pt x="206" y="49"/>
                      <a:pt x="205" y="48"/>
                    </a:cubicBezTo>
                    <a:cubicBezTo>
                      <a:pt x="205" y="48"/>
                      <a:pt x="205" y="47"/>
                      <a:pt x="205" y="47"/>
                    </a:cubicBezTo>
                    <a:cubicBezTo>
                      <a:pt x="206" y="47"/>
                      <a:pt x="206" y="47"/>
                      <a:pt x="206" y="47"/>
                    </a:cubicBezTo>
                    <a:cubicBezTo>
                      <a:pt x="206" y="47"/>
                      <a:pt x="206" y="47"/>
                      <a:pt x="206" y="47"/>
                    </a:cubicBezTo>
                    <a:cubicBezTo>
                      <a:pt x="206" y="47"/>
                      <a:pt x="206" y="47"/>
                      <a:pt x="206" y="47"/>
                    </a:cubicBezTo>
                    <a:cubicBezTo>
                      <a:pt x="208" y="46"/>
                      <a:pt x="208" y="44"/>
                      <a:pt x="210" y="43"/>
                    </a:cubicBezTo>
                    <a:cubicBezTo>
                      <a:pt x="210" y="43"/>
                      <a:pt x="210" y="43"/>
                      <a:pt x="209" y="43"/>
                    </a:cubicBezTo>
                    <a:cubicBezTo>
                      <a:pt x="209" y="42"/>
                      <a:pt x="208" y="42"/>
                      <a:pt x="208" y="42"/>
                    </a:cubicBezTo>
                    <a:cubicBezTo>
                      <a:pt x="208" y="42"/>
                      <a:pt x="208" y="42"/>
                      <a:pt x="208" y="41"/>
                    </a:cubicBezTo>
                    <a:cubicBezTo>
                      <a:pt x="208" y="41"/>
                      <a:pt x="208" y="41"/>
                      <a:pt x="208" y="41"/>
                    </a:cubicBezTo>
                    <a:cubicBezTo>
                      <a:pt x="208" y="41"/>
                      <a:pt x="208" y="41"/>
                      <a:pt x="208" y="41"/>
                    </a:cubicBezTo>
                    <a:cubicBezTo>
                      <a:pt x="208" y="41"/>
                      <a:pt x="209" y="41"/>
                      <a:pt x="209" y="41"/>
                    </a:cubicBezTo>
                    <a:cubicBezTo>
                      <a:pt x="208" y="41"/>
                      <a:pt x="208" y="40"/>
                      <a:pt x="207" y="40"/>
                    </a:cubicBezTo>
                    <a:cubicBezTo>
                      <a:pt x="207" y="40"/>
                      <a:pt x="207" y="41"/>
                      <a:pt x="207" y="41"/>
                    </a:cubicBezTo>
                    <a:cubicBezTo>
                      <a:pt x="207" y="41"/>
                      <a:pt x="207" y="41"/>
                      <a:pt x="207" y="41"/>
                    </a:cubicBezTo>
                    <a:cubicBezTo>
                      <a:pt x="207" y="41"/>
                      <a:pt x="207" y="41"/>
                      <a:pt x="207" y="41"/>
                    </a:cubicBezTo>
                    <a:cubicBezTo>
                      <a:pt x="207" y="41"/>
                      <a:pt x="206" y="41"/>
                      <a:pt x="206" y="40"/>
                    </a:cubicBezTo>
                    <a:cubicBezTo>
                      <a:pt x="205" y="40"/>
                      <a:pt x="205" y="38"/>
                      <a:pt x="204" y="38"/>
                    </a:cubicBezTo>
                    <a:cubicBezTo>
                      <a:pt x="202" y="37"/>
                      <a:pt x="200" y="37"/>
                      <a:pt x="199" y="35"/>
                    </a:cubicBezTo>
                    <a:cubicBezTo>
                      <a:pt x="199" y="35"/>
                      <a:pt x="199" y="35"/>
                      <a:pt x="198" y="35"/>
                    </a:cubicBezTo>
                    <a:cubicBezTo>
                      <a:pt x="197" y="36"/>
                      <a:pt x="196" y="35"/>
                      <a:pt x="195" y="34"/>
                    </a:cubicBezTo>
                    <a:cubicBezTo>
                      <a:pt x="195" y="36"/>
                      <a:pt x="197" y="37"/>
                      <a:pt x="198" y="38"/>
                    </a:cubicBezTo>
                    <a:cubicBezTo>
                      <a:pt x="199" y="38"/>
                      <a:pt x="200" y="39"/>
                      <a:pt x="200" y="40"/>
                    </a:cubicBezTo>
                    <a:cubicBezTo>
                      <a:pt x="200" y="41"/>
                      <a:pt x="201" y="42"/>
                      <a:pt x="202" y="42"/>
                    </a:cubicBezTo>
                    <a:cubicBezTo>
                      <a:pt x="202" y="42"/>
                      <a:pt x="203" y="43"/>
                      <a:pt x="203" y="43"/>
                    </a:cubicBezTo>
                    <a:cubicBezTo>
                      <a:pt x="203" y="45"/>
                      <a:pt x="203" y="46"/>
                      <a:pt x="204" y="46"/>
                    </a:cubicBezTo>
                    <a:cubicBezTo>
                      <a:pt x="204" y="46"/>
                      <a:pt x="204" y="46"/>
                      <a:pt x="204" y="46"/>
                    </a:cubicBezTo>
                    <a:cubicBezTo>
                      <a:pt x="204" y="46"/>
                      <a:pt x="204" y="46"/>
                      <a:pt x="204" y="46"/>
                    </a:cubicBezTo>
                    <a:cubicBezTo>
                      <a:pt x="202" y="45"/>
                      <a:pt x="201" y="45"/>
                      <a:pt x="200" y="44"/>
                    </a:cubicBezTo>
                    <a:cubicBezTo>
                      <a:pt x="199" y="42"/>
                      <a:pt x="198" y="40"/>
                      <a:pt x="196" y="39"/>
                    </a:cubicBezTo>
                    <a:cubicBezTo>
                      <a:pt x="195" y="38"/>
                      <a:pt x="194" y="38"/>
                      <a:pt x="193" y="38"/>
                    </a:cubicBezTo>
                    <a:cubicBezTo>
                      <a:pt x="192" y="39"/>
                      <a:pt x="191" y="39"/>
                      <a:pt x="190" y="39"/>
                    </a:cubicBezTo>
                    <a:cubicBezTo>
                      <a:pt x="189" y="37"/>
                      <a:pt x="188" y="36"/>
                      <a:pt x="186" y="35"/>
                    </a:cubicBezTo>
                    <a:cubicBezTo>
                      <a:pt x="186" y="35"/>
                      <a:pt x="186" y="34"/>
                      <a:pt x="185" y="34"/>
                    </a:cubicBezTo>
                    <a:cubicBezTo>
                      <a:pt x="185" y="35"/>
                      <a:pt x="185" y="35"/>
                      <a:pt x="185" y="35"/>
                    </a:cubicBezTo>
                    <a:cubicBezTo>
                      <a:pt x="185" y="36"/>
                      <a:pt x="185" y="37"/>
                      <a:pt x="184" y="37"/>
                    </a:cubicBezTo>
                    <a:cubicBezTo>
                      <a:pt x="184" y="38"/>
                      <a:pt x="184" y="38"/>
                      <a:pt x="185" y="39"/>
                    </a:cubicBezTo>
                    <a:cubicBezTo>
                      <a:pt x="186" y="39"/>
                      <a:pt x="187" y="40"/>
                      <a:pt x="187" y="41"/>
                    </a:cubicBezTo>
                    <a:cubicBezTo>
                      <a:pt x="187" y="42"/>
                      <a:pt x="187" y="42"/>
                      <a:pt x="188" y="42"/>
                    </a:cubicBezTo>
                    <a:cubicBezTo>
                      <a:pt x="190" y="42"/>
                      <a:pt x="193" y="44"/>
                      <a:pt x="193" y="45"/>
                    </a:cubicBezTo>
                    <a:cubicBezTo>
                      <a:pt x="193" y="46"/>
                      <a:pt x="193" y="47"/>
                      <a:pt x="194" y="47"/>
                    </a:cubicBezTo>
                    <a:cubicBezTo>
                      <a:pt x="195" y="48"/>
                      <a:pt x="196" y="48"/>
                      <a:pt x="197" y="48"/>
                    </a:cubicBezTo>
                    <a:cubicBezTo>
                      <a:pt x="199" y="48"/>
                      <a:pt x="200" y="50"/>
                      <a:pt x="201" y="52"/>
                    </a:cubicBezTo>
                    <a:cubicBezTo>
                      <a:pt x="201" y="52"/>
                      <a:pt x="201" y="52"/>
                      <a:pt x="201" y="52"/>
                    </a:cubicBezTo>
                    <a:cubicBezTo>
                      <a:pt x="200" y="52"/>
                      <a:pt x="200" y="51"/>
                      <a:pt x="199" y="50"/>
                    </a:cubicBezTo>
                    <a:cubicBezTo>
                      <a:pt x="199" y="50"/>
                      <a:pt x="198" y="49"/>
                      <a:pt x="197" y="49"/>
                    </a:cubicBezTo>
                    <a:cubicBezTo>
                      <a:pt x="196" y="50"/>
                      <a:pt x="195" y="50"/>
                      <a:pt x="194" y="50"/>
                    </a:cubicBezTo>
                    <a:cubicBezTo>
                      <a:pt x="194" y="50"/>
                      <a:pt x="193" y="50"/>
                      <a:pt x="193" y="50"/>
                    </a:cubicBezTo>
                    <a:cubicBezTo>
                      <a:pt x="192" y="51"/>
                      <a:pt x="192" y="52"/>
                      <a:pt x="191" y="52"/>
                    </a:cubicBezTo>
                    <a:cubicBezTo>
                      <a:pt x="190" y="52"/>
                      <a:pt x="190" y="52"/>
                      <a:pt x="190" y="52"/>
                    </a:cubicBezTo>
                    <a:cubicBezTo>
                      <a:pt x="190" y="53"/>
                      <a:pt x="191" y="53"/>
                      <a:pt x="191" y="53"/>
                    </a:cubicBezTo>
                    <a:cubicBezTo>
                      <a:pt x="191" y="53"/>
                      <a:pt x="192" y="52"/>
                      <a:pt x="192" y="53"/>
                    </a:cubicBezTo>
                    <a:cubicBezTo>
                      <a:pt x="191" y="55"/>
                      <a:pt x="191" y="55"/>
                      <a:pt x="193" y="56"/>
                    </a:cubicBezTo>
                    <a:cubicBezTo>
                      <a:pt x="195" y="56"/>
                      <a:pt x="196" y="56"/>
                      <a:pt x="198" y="56"/>
                    </a:cubicBezTo>
                    <a:close/>
                    <a:moveTo>
                      <a:pt x="183" y="48"/>
                    </a:moveTo>
                    <a:cubicBezTo>
                      <a:pt x="183" y="48"/>
                      <a:pt x="184" y="48"/>
                      <a:pt x="185" y="48"/>
                    </a:cubicBezTo>
                    <a:cubicBezTo>
                      <a:pt x="185" y="49"/>
                      <a:pt x="185" y="50"/>
                      <a:pt x="185" y="51"/>
                    </a:cubicBezTo>
                    <a:cubicBezTo>
                      <a:pt x="186" y="51"/>
                      <a:pt x="186" y="52"/>
                      <a:pt x="187" y="51"/>
                    </a:cubicBezTo>
                    <a:cubicBezTo>
                      <a:pt x="188" y="51"/>
                      <a:pt x="188" y="51"/>
                      <a:pt x="189" y="51"/>
                    </a:cubicBezTo>
                    <a:cubicBezTo>
                      <a:pt x="190" y="50"/>
                      <a:pt x="190" y="51"/>
                      <a:pt x="191" y="50"/>
                    </a:cubicBezTo>
                    <a:cubicBezTo>
                      <a:pt x="191" y="50"/>
                      <a:pt x="191" y="50"/>
                      <a:pt x="191" y="50"/>
                    </a:cubicBezTo>
                    <a:cubicBezTo>
                      <a:pt x="191" y="50"/>
                      <a:pt x="192" y="50"/>
                      <a:pt x="192" y="50"/>
                    </a:cubicBezTo>
                    <a:cubicBezTo>
                      <a:pt x="192" y="50"/>
                      <a:pt x="193" y="50"/>
                      <a:pt x="193" y="49"/>
                    </a:cubicBezTo>
                    <a:cubicBezTo>
                      <a:pt x="193" y="48"/>
                      <a:pt x="193" y="48"/>
                      <a:pt x="192" y="48"/>
                    </a:cubicBezTo>
                    <a:cubicBezTo>
                      <a:pt x="191" y="47"/>
                      <a:pt x="190" y="46"/>
                      <a:pt x="189" y="45"/>
                    </a:cubicBezTo>
                    <a:cubicBezTo>
                      <a:pt x="188" y="44"/>
                      <a:pt x="188" y="44"/>
                      <a:pt x="187" y="45"/>
                    </a:cubicBezTo>
                    <a:cubicBezTo>
                      <a:pt x="186" y="46"/>
                      <a:pt x="186" y="46"/>
                      <a:pt x="186" y="45"/>
                    </a:cubicBezTo>
                    <a:cubicBezTo>
                      <a:pt x="185" y="44"/>
                      <a:pt x="185" y="44"/>
                      <a:pt x="185" y="45"/>
                    </a:cubicBezTo>
                    <a:cubicBezTo>
                      <a:pt x="184" y="46"/>
                      <a:pt x="183" y="46"/>
                      <a:pt x="182" y="46"/>
                    </a:cubicBezTo>
                    <a:cubicBezTo>
                      <a:pt x="181" y="46"/>
                      <a:pt x="181" y="47"/>
                      <a:pt x="181" y="47"/>
                    </a:cubicBezTo>
                    <a:cubicBezTo>
                      <a:pt x="181" y="48"/>
                      <a:pt x="182" y="49"/>
                      <a:pt x="183" y="48"/>
                    </a:cubicBezTo>
                    <a:close/>
                    <a:moveTo>
                      <a:pt x="360" y="42"/>
                    </a:moveTo>
                    <a:cubicBezTo>
                      <a:pt x="356" y="39"/>
                      <a:pt x="352" y="40"/>
                      <a:pt x="351" y="44"/>
                    </a:cubicBezTo>
                    <a:cubicBezTo>
                      <a:pt x="351" y="45"/>
                      <a:pt x="351" y="46"/>
                      <a:pt x="352" y="46"/>
                    </a:cubicBezTo>
                    <a:cubicBezTo>
                      <a:pt x="353" y="47"/>
                      <a:pt x="355" y="47"/>
                      <a:pt x="357" y="46"/>
                    </a:cubicBezTo>
                    <a:cubicBezTo>
                      <a:pt x="357" y="46"/>
                      <a:pt x="357" y="46"/>
                      <a:pt x="357" y="46"/>
                    </a:cubicBezTo>
                    <a:cubicBezTo>
                      <a:pt x="358" y="46"/>
                      <a:pt x="359" y="45"/>
                      <a:pt x="360" y="44"/>
                    </a:cubicBezTo>
                    <a:cubicBezTo>
                      <a:pt x="360" y="43"/>
                      <a:pt x="360" y="43"/>
                      <a:pt x="360" y="42"/>
                    </a:cubicBezTo>
                    <a:close/>
                    <a:moveTo>
                      <a:pt x="220" y="78"/>
                    </a:moveTo>
                    <a:cubicBezTo>
                      <a:pt x="220" y="77"/>
                      <a:pt x="219" y="77"/>
                      <a:pt x="218" y="77"/>
                    </a:cubicBezTo>
                    <a:cubicBezTo>
                      <a:pt x="217" y="77"/>
                      <a:pt x="213" y="79"/>
                      <a:pt x="213" y="80"/>
                    </a:cubicBezTo>
                    <a:cubicBezTo>
                      <a:pt x="213" y="80"/>
                      <a:pt x="213" y="80"/>
                      <a:pt x="213" y="80"/>
                    </a:cubicBezTo>
                    <a:cubicBezTo>
                      <a:pt x="215" y="81"/>
                      <a:pt x="216" y="82"/>
                      <a:pt x="216" y="83"/>
                    </a:cubicBezTo>
                    <a:cubicBezTo>
                      <a:pt x="217" y="84"/>
                      <a:pt x="217" y="84"/>
                      <a:pt x="218" y="83"/>
                    </a:cubicBezTo>
                    <a:cubicBezTo>
                      <a:pt x="218" y="83"/>
                      <a:pt x="219" y="83"/>
                      <a:pt x="219" y="82"/>
                    </a:cubicBezTo>
                    <a:cubicBezTo>
                      <a:pt x="219" y="82"/>
                      <a:pt x="219" y="82"/>
                      <a:pt x="219" y="82"/>
                    </a:cubicBezTo>
                    <a:cubicBezTo>
                      <a:pt x="219" y="82"/>
                      <a:pt x="219" y="82"/>
                      <a:pt x="219" y="82"/>
                    </a:cubicBezTo>
                    <a:cubicBezTo>
                      <a:pt x="220" y="82"/>
                      <a:pt x="220" y="82"/>
                      <a:pt x="220" y="81"/>
                    </a:cubicBezTo>
                    <a:cubicBezTo>
                      <a:pt x="222" y="80"/>
                      <a:pt x="220" y="79"/>
                      <a:pt x="220" y="78"/>
                    </a:cubicBezTo>
                    <a:close/>
                    <a:moveTo>
                      <a:pt x="450" y="80"/>
                    </a:moveTo>
                    <a:cubicBezTo>
                      <a:pt x="448" y="79"/>
                      <a:pt x="446" y="78"/>
                      <a:pt x="445" y="76"/>
                    </a:cubicBezTo>
                    <a:cubicBezTo>
                      <a:pt x="445" y="76"/>
                      <a:pt x="444" y="75"/>
                      <a:pt x="445" y="75"/>
                    </a:cubicBezTo>
                    <a:cubicBezTo>
                      <a:pt x="445" y="74"/>
                      <a:pt x="445" y="74"/>
                      <a:pt x="444" y="73"/>
                    </a:cubicBezTo>
                    <a:cubicBezTo>
                      <a:pt x="444" y="73"/>
                      <a:pt x="443" y="72"/>
                      <a:pt x="442" y="72"/>
                    </a:cubicBezTo>
                    <a:cubicBezTo>
                      <a:pt x="442" y="72"/>
                      <a:pt x="442" y="72"/>
                      <a:pt x="442" y="72"/>
                    </a:cubicBezTo>
                    <a:cubicBezTo>
                      <a:pt x="442" y="72"/>
                      <a:pt x="441" y="72"/>
                      <a:pt x="441" y="72"/>
                    </a:cubicBezTo>
                    <a:cubicBezTo>
                      <a:pt x="441" y="72"/>
                      <a:pt x="440" y="71"/>
                      <a:pt x="440" y="71"/>
                    </a:cubicBezTo>
                    <a:cubicBezTo>
                      <a:pt x="440" y="71"/>
                      <a:pt x="441" y="70"/>
                      <a:pt x="441" y="70"/>
                    </a:cubicBezTo>
                    <a:cubicBezTo>
                      <a:pt x="443" y="70"/>
                      <a:pt x="446" y="69"/>
                      <a:pt x="447" y="72"/>
                    </a:cubicBezTo>
                    <a:cubicBezTo>
                      <a:pt x="448" y="70"/>
                      <a:pt x="448" y="69"/>
                      <a:pt x="446" y="68"/>
                    </a:cubicBezTo>
                    <a:cubicBezTo>
                      <a:pt x="446" y="68"/>
                      <a:pt x="446" y="68"/>
                      <a:pt x="446" y="68"/>
                    </a:cubicBezTo>
                    <a:cubicBezTo>
                      <a:pt x="444" y="68"/>
                      <a:pt x="443" y="69"/>
                      <a:pt x="441" y="69"/>
                    </a:cubicBezTo>
                    <a:cubicBezTo>
                      <a:pt x="441" y="69"/>
                      <a:pt x="440" y="69"/>
                      <a:pt x="441" y="68"/>
                    </a:cubicBezTo>
                    <a:cubicBezTo>
                      <a:pt x="441" y="68"/>
                      <a:pt x="440" y="68"/>
                      <a:pt x="440" y="68"/>
                    </a:cubicBezTo>
                    <a:cubicBezTo>
                      <a:pt x="439" y="68"/>
                      <a:pt x="439" y="68"/>
                      <a:pt x="438" y="68"/>
                    </a:cubicBezTo>
                    <a:cubicBezTo>
                      <a:pt x="439" y="67"/>
                      <a:pt x="439" y="66"/>
                      <a:pt x="440" y="67"/>
                    </a:cubicBezTo>
                    <a:cubicBezTo>
                      <a:pt x="441" y="68"/>
                      <a:pt x="443" y="67"/>
                      <a:pt x="443" y="66"/>
                    </a:cubicBezTo>
                    <a:cubicBezTo>
                      <a:pt x="443" y="66"/>
                      <a:pt x="443" y="66"/>
                      <a:pt x="443" y="65"/>
                    </a:cubicBezTo>
                    <a:cubicBezTo>
                      <a:pt x="443" y="65"/>
                      <a:pt x="443" y="65"/>
                      <a:pt x="443" y="65"/>
                    </a:cubicBezTo>
                    <a:cubicBezTo>
                      <a:pt x="442" y="65"/>
                      <a:pt x="442" y="66"/>
                      <a:pt x="441" y="65"/>
                    </a:cubicBezTo>
                    <a:cubicBezTo>
                      <a:pt x="440" y="65"/>
                      <a:pt x="440" y="65"/>
                      <a:pt x="439" y="64"/>
                    </a:cubicBezTo>
                    <a:cubicBezTo>
                      <a:pt x="440" y="64"/>
                      <a:pt x="442" y="64"/>
                      <a:pt x="441" y="63"/>
                    </a:cubicBezTo>
                    <a:cubicBezTo>
                      <a:pt x="441" y="62"/>
                      <a:pt x="442" y="62"/>
                      <a:pt x="442" y="62"/>
                    </a:cubicBezTo>
                    <a:cubicBezTo>
                      <a:pt x="443" y="62"/>
                      <a:pt x="444" y="62"/>
                      <a:pt x="444" y="61"/>
                    </a:cubicBezTo>
                    <a:cubicBezTo>
                      <a:pt x="444" y="61"/>
                      <a:pt x="444" y="61"/>
                      <a:pt x="444" y="61"/>
                    </a:cubicBezTo>
                    <a:cubicBezTo>
                      <a:pt x="444" y="61"/>
                      <a:pt x="443" y="61"/>
                      <a:pt x="443" y="61"/>
                    </a:cubicBezTo>
                    <a:cubicBezTo>
                      <a:pt x="443" y="61"/>
                      <a:pt x="443" y="60"/>
                      <a:pt x="443" y="60"/>
                    </a:cubicBezTo>
                    <a:cubicBezTo>
                      <a:pt x="444" y="60"/>
                      <a:pt x="444" y="59"/>
                      <a:pt x="444" y="57"/>
                    </a:cubicBezTo>
                    <a:cubicBezTo>
                      <a:pt x="444" y="56"/>
                      <a:pt x="445" y="54"/>
                      <a:pt x="446" y="53"/>
                    </a:cubicBezTo>
                    <a:cubicBezTo>
                      <a:pt x="446" y="53"/>
                      <a:pt x="447" y="52"/>
                      <a:pt x="447" y="52"/>
                    </a:cubicBezTo>
                    <a:cubicBezTo>
                      <a:pt x="448" y="51"/>
                      <a:pt x="447" y="51"/>
                      <a:pt x="447" y="50"/>
                    </a:cubicBezTo>
                    <a:cubicBezTo>
                      <a:pt x="447" y="50"/>
                      <a:pt x="447" y="50"/>
                      <a:pt x="447" y="50"/>
                    </a:cubicBezTo>
                    <a:cubicBezTo>
                      <a:pt x="447" y="50"/>
                      <a:pt x="448" y="49"/>
                      <a:pt x="447" y="49"/>
                    </a:cubicBezTo>
                    <a:cubicBezTo>
                      <a:pt x="447" y="49"/>
                      <a:pt x="446" y="50"/>
                      <a:pt x="446" y="51"/>
                    </a:cubicBezTo>
                    <a:cubicBezTo>
                      <a:pt x="445" y="51"/>
                      <a:pt x="445" y="51"/>
                      <a:pt x="444" y="51"/>
                    </a:cubicBezTo>
                    <a:cubicBezTo>
                      <a:pt x="444" y="51"/>
                      <a:pt x="443" y="51"/>
                      <a:pt x="443" y="51"/>
                    </a:cubicBezTo>
                    <a:cubicBezTo>
                      <a:pt x="442" y="50"/>
                      <a:pt x="443" y="50"/>
                      <a:pt x="443" y="50"/>
                    </a:cubicBezTo>
                    <a:cubicBezTo>
                      <a:pt x="444" y="49"/>
                      <a:pt x="444" y="48"/>
                      <a:pt x="444" y="47"/>
                    </a:cubicBezTo>
                    <a:cubicBezTo>
                      <a:pt x="444" y="47"/>
                      <a:pt x="444" y="46"/>
                      <a:pt x="445" y="46"/>
                    </a:cubicBezTo>
                    <a:cubicBezTo>
                      <a:pt x="446" y="45"/>
                      <a:pt x="447" y="44"/>
                      <a:pt x="446" y="43"/>
                    </a:cubicBezTo>
                    <a:cubicBezTo>
                      <a:pt x="446" y="42"/>
                      <a:pt x="447" y="42"/>
                      <a:pt x="448" y="41"/>
                    </a:cubicBezTo>
                    <a:cubicBezTo>
                      <a:pt x="448" y="41"/>
                      <a:pt x="449" y="39"/>
                      <a:pt x="450" y="40"/>
                    </a:cubicBezTo>
                    <a:cubicBezTo>
                      <a:pt x="450" y="40"/>
                      <a:pt x="451" y="40"/>
                      <a:pt x="451" y="40"/>
                    </a:cubicBezTo>
                    <a:cubicBezTo>
                      <a:pt x="450" y="38"/>
                      <a:pt x="451" y="38"/>
                      <a:pt x="452" y="38"/>
                    </a:cubicBezTo>
                    <a:cubicBezTo>
                      <a:pt x="453" y="37"/>
                      <a:pt x="454" y="36"/>
                      <a:pt x="456" y="35"/>
                    </a:cubicBezTo>
                    <a:cubicBezTo>
                      <a:pt x="458" y="35"/>
                      <a:pt x="459" y="33"/>
                      <a:pt x="460" y="32"/>
                    </a:cubicBezTo>
                    <a:cubicBezTo>
                      <a:pt x="461" y="31"/>
                      <a:pt x="461" y="30"/>
                      <a:pt x="462" y="31"/>
                    </a:cubicBezTo>
                    <a:cubicBezTo>
                      <a:pt x="463" y="31"/>
                      <a:pt x="463" y="30"/>
                      <a:pt x="463" y="30"/>
                    </a:cubicBezTo>
                    <a:cubicBezTo>
                      <a:pt x="463" y="30"/>
                      <a:pt x="463" y="30"/>
                      <a:pt x="463" y="30"/>
                    </a:cubicBezTo>
                    <a:cubicBezTo>
                      <a:pt x="463" y="30"/>
                      <a:pt x="463" y="30"/>
                      <a:pt x="463" y="30"/>
                    </a:cubicBezTo>
                    <a:cubicBezTo>
                      <a:pt x="463" y="30"/>
                      <a:pt x="463" y="30"/>
                      <a:pt x="463" y="30"/>
                    </a:cubicBezTo>
                    <a:cubicBezTo>
                      <a:pt x="462" y="30"/>
                      <a:pt x="462" y="30"/>
                      <a:pt x="461" y="30"/>
                    </a:cubicBezTo>
                    <a:cubicBezTo>
                      <a:pt x="460" y="30"/>
                      <a:pt x="460" y="30"/>
                      <a:pt x="460" y="29"/>
                    </a:cubicBezTo>
                    <a:cubicBezTo>
                      <a:pt x="460" y="28"/>
                      <a:pt x="460" y="28"/>
                      <a:pt x="460" y="28"/>
                    </a:cubicBezTo>
                    <a:cubicBezTo>
                      <a:pt x="461" y="28"/>
                      <a:pt x="461" y="28"/>
                      <a:pt x="461" y="28"/>
                    </a:cubicBezTo>
                    <a:cubicBezTo>
                      <a:pt x="463" y="27"/>
                      <a:pt x="464" y="27"/>
                      <a:pt x="466" y="29"/>
                    </a:cubicBezTo>
                    <a:cubicBezTo>
                      <a:pt x="466" y="29"/>
                      <a:pt x="466" y="30"/>
                      <a:pt x="465" y="31"/>
                    </a:cubicBezTo>
                    <a:cubicBezTo>
                      <a:pt x="465" y="31"/>
                      <a:pt x="465" y="31"/>
                      <a:pt x="465" y="31"/>
                    </a:cubicBezTo>
                    <a:cubicBezTo>
                      <a:pt x="465" y="31"/>
                      <a:pt x="465" y="31"/>
                      <a:pt x="465" y="31"/>
                    </a:cubicBezTo>
                    <a:cubicBezTo>
                      <a:pt x="465" y="31"/>
                      <a:pt x="464" y="32"/>
                      <a:pt x="466" y="32"/>
                    </a:cubicBezTo>
                    <a:cubicBezTo>
                      <a:pt x="467" y="32"/>
                      <a:pt x="466" y="33"/>
                      <a:pt x="467" y="33"/>
                    </a:cubicBezTo>
                    <a:cubicBezTo>
                      <a:pt x="467" y="33"/>
                      <a:pt x="467" y="33"/>
                      <a:pt x="467" y="33"/>
                    </a:cubicBezTo>
                    <a:cubicBezTo>
                      <a:pt x="467" y="33"/>
                      <a:pt x="467" y="33"/>
                      <a:pt x="467" y="33"/>
                    </a:cubicBezTo>
                    <a:cubicBezTo>
                      <a:pt x="468" y="33"/>
                      <a:pt x="468" y="34"/>
                      <a:pt x="468" y="34"/>
                    </a:cubicBezTo>
                    <a:cubicBezTo>
                      <a:pt x="468" y="35"/>
                      <a:pt x="469" y="36"/>
                      <a:pt x="469" y="37"/>
                    </a:cubicBezTo>
                    <a:cubicBezTo>
                      <a:pt x="469" y="37"/>
                      <a:pt x="469" y="37"/>
                      <a:pt x="469" y="37"/>
                    </a:cubicBezTo>
                    <a:cubicBezTo>
                      <a:pt x="470" y="37"/>
                      <a:pt x="470" y="38"/>
                      <a:pt x="470" y="39"/>
                    </a:cubicBezTo>
                    <a:cubicBezTo>
                      <a:pt x="470" y="39"/>
                      <a:pt x="470" y="39"/>
                      <a:pt x="471" y="40"/>
                    </a:cubicBezTo>
                    <a:cubicBezTo>
                      <a:pt x="471" y="40"/>
                      <a:pt x="471" y="40"/>
                      <a:pt x="471" y="40"/>
                    </a:cubicBezTo>
                    <a:cubicBezTo>
                      <a:pt x="471" y="40"/>
                      <a:pt x="471" y="41"/>
                      <a:pt x="471" y="42"/>
                    </a:cubicBezTo>
                    <a:cubicBezTo>
                      <a:pt x="471" y="42"/>
                      <a:pt x="471" y="43"/>
                      <a:pt x="471" y="43"/>
                    </a:cubicBezTo>
                    <a:cubicBezTo>
                      <a:pt x="473" y="44"/>
                      <a:pt x="474" y="46"/>
                      <a:pt x="476" y="47"/>
                    </a:cubicBezTo>
                    <a:cubicBezTo>
                      <a:pt x="476" y="47"/>
                      <a:pt x="476" y="48"/>
                      <a:pt x="476" y="48"/>
                    </a:cubicBezTo>
                    <a:cubicBezTo>
                      <a:pt x="478" y="48"/>
                      <a:pt x="479" y="49"/>
                      <a:pt x="478" y="51"/>
                    </a:cubicBezTo>
                    <a:cubicBezTo>
                      <a:pt x="478" y="51"/>
                      <a:pt x="478" y="51"/>
                      <a:pt x="479" y="51"/>
                    </a:cubicBezTo>
                    <a:cubicBezTo>
                      <a:pt x="479" y="52"/>
                      <a:pt x="480" y="53"/>
                      <a:pt x="479" y="53"/>
                    </a:cubicBezTo>
                    <a:cubicBezTo>
                      <a:pt x="478" y="54"/>
                      <a:pt x="477" y="55"/>
                      <a:pt x="476" y="54"/>
                    </a:cubicBezTo>
                    <a:cubicBezTo>
                      <a:pt x="476" y="55"/>
                      <a:pt x="476" y="56"/>
                      <a:pt x="475" y="55"/>
                    </a:cubicBezTo>
                    <a:cubicBezTo>
                      <a:pt x="474" y="55"/>
                      <a:pt x="474" y="55"/>
                      <a:pt x="474" y="55"/>
                    </a:cubicBezTo>
                    <a:cubicBezTo>
                      <a:pt x="474" y="55"/>
                      <a:pt x="474" y="55"/>
                      <a:pt x="474" y="55"/>
                    </a:cubicBezTo>
                    <a:cubicBezTo>
                      <a:pt x="474" y="56"/>
                      <a:pt x="474" y="57"/>
                      <a:pt x="474" y="58"/>
                    </a:cubicBezTo>
                    <a:cubicBezTo>
                      <a:pt x="474" y="58"/>
                      <a:pt x="474" y="58"/>
                      <a:pt x="474" y="58"/>
                    </a:cubicBezTo>
                    <a:cubicBezTo>
                      <a:pt x="474" y="58"/>
                      <a:pt x="474" y="58"/>
                      <a:pt x="474" y="58"/>
                    </a:cubicBezTo>
                    <a:cubicBezTo>
                      <a:pt x="474" y="59"/>
                      <a:pt x="474" y="60"/>
                      <a:pt x="474" y="61"/>
                    </a:cubicBezTo>
                    <a:cubicBezTo>
                      <a:pt x="474" y="61"/>
                      <a:pt x="474" y="61"/>
                      <a:pt x="474" y="61"/>
                    </a:cubicBezTo>
                    <a:cubicBezTo>
                      <a:pt x="474" y="61"/>
                      <a:pt x="474" y="61"/>
                      <a:pt x="474" y="61"/>
                    </a:cubicBezTo>
                    <a:cubicBezTo>
                      <a:pt x="474" y="62"/>
                      <a:pt x="474" y="63"/>
                      <a:pt x="474" y="63"/>
                    </a:cubicBezTo>
                    <a:cubicBezTo>
                      <a:pt x="474" y="63"/>
                      <a:pt x="474" y="63"/>
                      <a:pt x="474" y="63"/>
                    </a:cubicBezTo>
                    <a:cubicBezTo>
                      <a:pt x="474" y="63"/>
                      <a:pt x="474" y="63"/>
                      <a:pt x="474" y="63"/>
                    </a:cubicBezTo>
                    <a:cubicBezTo>
                      <a:pt x="475" y="64"/>
                      <a:pt x="474" y="66"/>
                      <a:pt x="474" y="67"/>
                    </a:cubicBezTo>
                    <a:cubicBezTo>
                      <a:pt x="475" y="67"/>
                      <a:pt x="475" y="67"/>
                      <a:pt x="475" y="67"/>
                    </a:cubicBezTo>
                    <a:cubicBezTo>
                      <a:pt x="475" y="67"/>
                      <a:pt x="475" y="67"/>
                      <a:pt x="475" y="67"/>
                    </a:cubicBezTo>
                    <a:cubicBezTo>
                      <a:pt x="476" y="68"/>
                      <a:pt x="476" y="68"/>
                      <a:pt x="475" y="69"/>
                    </a:cubicBezTo>
                    <a:cubicBezTo>
                      <a:pt x="475" y="69"/>
                      <a:pt x="475" y="69"/>
                      <a:pt x="475" y="69"/>
                    </a:cubicBezTo>
                    <a:cubicBezTo>
                      <a:pt x="475" y="69"/>
                      <a:pt x="475" y="69"/>
                      <a:pt x="475" y="69"/>
                    </a:cubicBezTo>
                    <a:cubicBezTo>
                      <a:pt x="475" y="69"/>
                      <a:pt x="475" y="69"/>
                      <a:pt x="475" y="69"/>
                    </a:cubicBezTo>
                    <a:cubicBezTo>
                      <a:pt x="475" y="69"/>
                      <a:pt x="475" y="69"/>
                      <a:pt x="475" y="69"/>
                    </a:cubicBezTo>
                    <a:cubicBezTo>
                      <a:pt x="476" y="69"/>
                      <a:pt x="476" y="69"/>
                      <a:pt x="476" y="70"/>
                    </a:cubicBezTo>
                    <a:cubicBezTo>
                      <a:pt x="476" y="70"/>
                      <a:pt x="475" y="70"/>
                      <a:pt x="475" y="70"/>
                    </a:cubicBezTo>
                    <a:cubicBezTo>
                      <a:pt x="475" y="70"/>
                      <a:pt x="474" y="71"/>
                      <a:pt x="474" y="71"/>
                    </a:cubicBezTo>
                    <a:cubicBezTo>
                      <a:pt x="474" y="72"/>
                      <a:pt x="473" y="71"/>
                      <a:pt x="473" y="71"/>
                    </a:cubicBezTo>
                    <a:cubicBezTo>
                      <a:pt x="473" y="71"/>
                      <a:pt x="473" y="71"/>
                      <a:pt x="473" y="71"/>
                    </a:cubicBezTo>
                    <a:cubicBezTo>
                      <a:pt x="473" y="71"/>
                      <a:pt x="473" y="71"/>
                      <a:pt x="473" y="71"/>
                    </a:cubicBezTo>
                    <a:cubicBezTo>
                      <a:pt x="472" y="72"/>
                      <a:pt x="471" y="72"/>
                      <a:pt x="470" y="72"/>
                    </a:cubicBezTo>
                    <a:cubicBezTo>
                      <a:pt x="470"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8" y="72"/>
                      <a:pt x="467" y="72"/>
                      <a:pt x="466" y="72"/>
                    </a:cubicBezTo>
                    <a:cubicBezTo>
                      <a:pt x="466" y="72"/>
                      <a:pt x="466" y="72"/>
                      <a:pt x="466" y="72"/>
                    </a:cubicBezTo>
                    <a:cubicBezTo>
                      <a:pt x="466" y="72"/>
                      <a:pt x="466" y="72"/>
                      <a:pt x="466" y="72"/>
                    </a:cubicBezTo>
                    <a:cubicBezTo>
                      <a:pt x="465" y="73"/>
                      <a:pt x="464" y="72"/>
                      <a:pt x="463" y="72"/>
                    </a:cubicBezTo>
                    <a:cubicBezTo>
                      <a:pt x="462" y="73"/>
                      <a:pt x="461" y="74"/>
                      <a:pt x="460" y="74"/>
                    </a:cubicBezTo>
                    <a:cubicBezTo>
                      <a:pt x="460" y="75"/>
                      <a:pt x="459" y="75"/>
                      <a:pt x="458" y="75"/>
                    </a:cubicBezTo>
                    <a:cubicBezTo>
                      <a:pt x="457" y="75"/>
                      <a:pt x="456" y="75"/>
                      <a:pt x="455" y="76"/>
                    </a:cubicBezTo>
                    <a:cubicBezTo>
                      <a:pt x="455" y="77"/>
                      <a:pt x="454" y="78"/>
                      <a:pt x="454" y="78"/>
                    </a:cubicBezTo>
                    <a:cubicBezTo>
                      <a:pt x="453" y="78"/>
                      <a:pt x="453" y="79"/>
                      <a:pt x="452" y="79"/>
                    </a:cubicBezTo>
                    <a:cubicBezTo>
                      <a:pt x="452" y="79"/>
                      <a:pt x="452" y="79"/>
                      <a:pt x="452" y="79"/>
                    </a:cubicBezTo>
                    <a:cubicBezTo>
                      <a:pt x="452" y="80"/>
                      <a:pt x="450" y="79"/>
                      <a:pt x="450" y="80"/>
                    </a:cubicBezTo>
                    <a:close/>
                    <a:moveTo>
                      <a:pt x="340" y="98"/>
                    </a:moveTo>
                    <a:cubicBezTo>
                      <a:pt x="339" y="98"/>
                      <a:pt x="337" y="97"/>
                      <a:pt x="336" y="96"/>
                    </a:cubicBezTo>
                    <a:cubicBezTo>
                      <a:pt x="335" y="95"/>
                      <a:pt x="334" y="95"/>
                      <a:pt x="333" y="95"/>
                    </a:cubicBezTo>
                    <a:cubicBezTo>
                      <a:pt x="333" y="95"/>
                      <a:pt x="333" y="94"/>
                      <a:pt x="332" y="94"/>
                    </a:cubicBezTo>
                    <a:cubicBezTo>
                      <a:pt x="332" y="94"/>
                      <a:pt x="332" y="94"/>
                      <a:pt x="332" y="94"/>
                    </a:cubicBezTo>
                    <a:cubicBezTo>
                      <a:pt x="332" y="94"/>
                      <a:pt x="331" y="93"/>
                      <a:pt x="331" y="94"/>
                    </a:cubicBezTo>
                    <a:cubicBezTo>
                      <a:pt x="330" y="95"/>
                      <a:pt x="332" y="99"/>
                      <a:pt x="333" y="98"/>
                    </a:cubicBezTo>
                    <a:cubicBezTo>
                      <a:pt x="334" y="98"/>
                      <a:pt x="335" y="99"/>
                      <a:pt x="335" y="100"/>
                    </a:cubicBezTo>
                    <a:cubicBezTo>
                      <a:pt x="335" y="100"/>
                      <a:pt x="335" y="100"/>
                      <a:pt x="335" y="100"/>
                    </a:cubicBezTo>
                    <a:cubicBezTo>
                      <a:pt x="337" y="100"/>
                      <a:pt x="338" y="101"/>
                      <a:pt x="340" y="100"/>
                    </a:cubicBezTo>
                    <a:cubicBezTo>
                      <a:pt x="340" y="100"/>
                      <a:pt x="341" y="99"/>
                      <a:pt x="340" y="98"/>
                    </a:cubicBezTo>
                    <a:close/>
                    <a:moveTo>
                      <a:pt x="162" y="81"/>
                    </a:moveTo>
                    <a:cubicBezTo>
                      <a:pt x="161" y="81"/>
                      <a:pt x="161" y="80"/>
                      <a:pt x="162" y="80"/>
                    </a:cubicBezTo>
                    <a:cubicBezTo>
                      <a:pt x="162" y="79"/>
                      <a:pt x="162" y="79"/>
                      <a:pt x="162" y="78"/>
                    </a:cubicBezTo>
                    <a:cubicBezTo>
                      <a:pt x="162" y="78"/>
                      <a:pt x="162" y="78"/>
                      <a:pt x="162" y="78"/>
                    </a:cubicBezTo>
                    <a:cubicBezTo>
                      <a:pt x="162" y="78"/>
                      <a:pt x="162" y="78"/>
                      <a:pt x="162" y="78"/>
                    </a:cubicBezTo>
                    <a:cubicBezTo>
                      <a:pt x="161" y="78"/>
                      <a:pt x="161" y="77"/>
                      <a:pt x="161" y="77"/>
                    </a:cubicBezTo>
                    <a:cubicBezTo>
                      <a:pt x="161" y="77"/>
                      <a:pt x="160" y="76"/>
                      <a:pt x="160" y="77"/>
                    </a:cubicBezTo>
                    <a:cubicBezTo>
                      <a:pt x="159" y="78"/>
                      <a:pt x="158" y="78"/>
                      <a:pt x="157" y="80"/>
                    </a:cubicBezTo>
                    <a:cubicBezTo>
                      <a:pt x="157" y="81"/>
                      <a:pt x="157" y="81"/>
                      <a:pt x="156" y="81"/>
                    </a:cubicBezTo>
                    <a:cubicBezTo>
                      <a:pt x="156" y="81"/>
                      <a:pt x="156" y="80"/>
                      <a:pt x="155" y="81"/>
                    </a:cubicBezTo>
                    <a:cubicBezTo>
                      <a:pt x="154" y="81"/>
                      <a:pt x="153" y="81"/>
                      <a:pt x="154" y="82"/>
                    </a:cubicBezTo>
                    <a:cubicBezTo>
                      <a:pt x="154" y="83"/>
                      <a:pt x="155" y="83"/>
                      <a:pt x="155" y="82"/>
                    </a:cubicBezTo>
                    <a:cubicBezTo>
                      <a:pt x="155" y="82"/>
                      <a:pt x="156" y="82"/>
                      <a:pt x="156" y="82"/>
                    </a:cubicBezTo>
                    <a:cubicBezTo>
                      <a:pt x="156" y="82"/>
                      <a:pt x="156" y="82"/>
                      <a:pt x="156" y="82"/>
                    </a:cubicBezTo>
                    <a:cubicBezTo>
                      <a:pt x="156" y="83"/>
                      <a:pt x="156" y="83"/>
                      <a:pt x="156" y="83"/>
                    </a:cubicBezTo>
                    <a:cubicBezTo>
                      <a:pt x="157" y="83"/>
                      <a:pt x="157" y="83"/>
                      <a:pt x="157" y="83"/>
                    </a:cubicBezTo>
                    <a:cubicBezTo>
                      <a:pt x="157" y="83"/>
                      <a:pt x="157" y="83"/>
                      <a:pt x="157" y="83"/>
                    </a:cubicBezTo>
                    <a:cubicBezTo>
                      <a:pt x="157" y="83"/>
                      <a:pt x="157" y="83"/>
                      <a:pt x="157" y="83"/>
                    </a:cubicBezTo>
                    <a:cubicBezTo>
                      <a:pt x="157" y="83"/>
                      <a:pt x="157" y="83"/>
                      <a:pt x="157" y="83"/>
                    </a:cubicBezTo>
                    <a:cubicBezTo>
                      <a:pt x="157" y="84"/>
                      <a:pt x="158" y="83"/>
                      <a:pt x="159" y="83"/>
                    </a:cubicBezTo>
                    <a:cubicBezTo>
                      <a:pt x="159" y="83"/>
                      <a:pt x="159" y="83"/>
                      <a:pt x="159" y="83"/>
                    </a:cubicBezTo>
                    <a:cubicBezTo>
                      <a:pt x="159" y="83"/>
                      <a:pt x="159" y="83"/>
                      <a:pt x="159" y="83"/>
                    </a:cubicBezTo>
                    <a:cubicBezTo>
                      <a:pt x="160" y="84"/>
                      <a:pt x="160" y="84"/>
                      <a:pt x="160" y="84"/>
                    </a:cubicBezTo>
                    <a:cubicBezTo>
                      <a:pt x="161" y="84"/>
                      <a:pt x="162" y="84"/>
                      <a:pt x="163" y="84"/>
                    </a:cubicBezTo>
                    <a:cubicBezTo>
                      <a:pt x="163" y="84"/>
                      <a:pt x="163" y="84"/>
                      <a:pt x="163" y="84"/>
                    </a:cubicBezTo>
                    <a:cubicBezTo>
                      <a:pt x="163" y="84"/>
                      <a:pt x="163" y="84"/>
                      <a:pt x="163" y="84"/>
                    </a:cubicBezTo>
                    <a:cubicBezTo>
                      <a:pt x="163" y="83"/>
                      <a:pt x="163" y="82"/>
                      <a:pt x="162" y="81"/>
                    </a:cubicBezTo>
                    <a:close/>
                    <a:moveTo>
                      <a:pt x="206" y="29"/>
                    </a:moveTo>
                    <a:cubicBezTo>
                      <a:pt x="204" y="29"/>
                      <a:pt x="203" y="31"/>
                      <a:pt x="201" y="32"/>
                    </a:cubicBezTo>
                    <a:cubicBezTo>
                      <a:pt x="200" y="32"/>
                      <a:pt x="200" y="32"/>
                      <a:pt x="201" y="33"/>
                    </a:cubicBezTo>
                    <a:cubicBezTo>
                      <a:pt x="202" y="33"/>
                      <a:pt x="202" y="34"/>
                      <a:pt x="203" y="35"/>
                    </a:cubicBezTo>
                    <a:cubicBezTo>
                      <a:pt x="204" y="35"/>
                      <a:pt x="204" y="35"/>
                      <a:pt x="205" y="35"/>
                    </a:cubicBezTo>
                    <a:cubicBezTo>
                      <a:pt x="205" y="35"/>
                      <a:pt x="205" y="35"/>
                      <a:pt x="205" y="35"/>
                    </a:cubicBezTo>
                    <a:cubicBezTo>
                      <a:pt x="206" y="34"/>
                      <a:pt x="207" y="34"/>
                      <a:pt x="207" y="33"/>
                    </a:cubicBezTo>
                    <a:cubicBezTo>
                      <a:pt x="207" y="32"/>
                      <a:pt x="207" y="32"/>
                      <a:pt x="207" y="31"/>
                    </a:cubicBezTo>
                    <a:cubicBezTo>
                      <a:pt x="208" y="31"/>
                      <a:pt x="208" y="31"/>
                      <a:pt x="208" y="30"/>
                    </a:cubicBezTo>
                    <a:cubicBezTo>
                      <a:pt x="208" y="29"/>
                      <a:pt x="207" y="29"/>
                      <a:pt x="206" y="29"/>
                    </a:cubicBezTo>
                    <a:close/>
                    <a:moveTo>
                      <a:pt x="154" y="77"/>
                    </a:moveTo>
                    <a:cubicBezTo>
                      <a:pt x="154" y="76"/>
                      <a:pt x="154" y="76"/>
                      <a:pt x="154" y="76"/>
                    </a:cubicBezTo>
                    <a:cubicBezTo>
                      <a:pt x="156" y="75"/>
                      <a:pt x="155" y="74"/>
                      <a:pt x="156" y="74"/>
                    </a:cubicBezTo>
                    <a:cubicBezTo>
                      <a:pt x="156" y="73"/>
                      <a:pt x="156" y="73"/>
                      <a:pt x="156" y="72"/>
                    </a:cubicBezTo>
                    <a:cubicBezTo>
                      <a:pt x="156" y="72"/>
                      <a:pt x="156" y="72"/>
                      <a:pt x="156" y="72"/>
                    </a:cubicBezTo>
                    <a:cubicBezTo>
                      <a:pt x="154" y="71"/>
                      <a:pt x="153" y="71"/>
                      <a:pt x="152" y="72"/>
                    </a:cubicBezTo>
                    <a:cubicBezTo>
                      <a:pt x="151" y="72"/>
                      <a:pt x="151" y="73"/>
                      <a:pt x="151" y="73"/>
                    </a:cubicBezTo>
                    <a:cubicBezTo>
                      <a:pt x="150" y="73"/>
                      <a:pt x="150" y="74"/>
                      <a:pt x="151" y="75"/>
                    </a:cubicBezTo>
                    <a:cubicBezTo>
                      <a:pt x="151" y="76"/>
                      <a:pt x="152" y="76"/>
                      <a:pt x="152" y="77"/>
                    </a:cubicBezTo>
                    <a:cubicBezTo>
                      <a:pt x="152" y="78"/>
                      <a:pt x="153" y="79"/>
                      <a:pt x="153" y="78"/>
                    </a:cubicBezTo>
                    <a:cubicBezTo>
                      <a:pt x="154" y="78"/>
                      <a:pt x="155" y="78"/>
                      <a:pt x="154" y="77"/>
                    </a:cubicBezTo>
                    <a:close/>
                    <a:moveTo>
                      <a:pt x="215" y="26"/>
                    </a:moveTo>
                    <a:cubicBezTo>
                      <a:pt x="217" y="25"/>
                      <a:pt x="217" y="24"/>
                      <a:pt x="216" y="23"/>
                    </a:cubicBezTo>
                    <a:cubicBezTo>
                      <a:pt x="216" y="23"/>
                      <a:pt x="217" y="22"/>
                      <a:pt x="216" y="22"/>
                    </a:cubicBezTo>
                    <a:cubicBezTo>
                      <a:pt x="216" y="22"/>
                      <a:pt x="216" y="22"/>
                      <a:pt x="216" y="22"/>
                    </a:cubicBezTo>
                    <a:cubicBezTo>
                      <a:pt x="216" y="22"/>
                      <a:pt x="216" y="22"/>
                      <a:pt x="216" y="22"/>
                    </a:cubicBezTo>
                    <a:cubicBezTo>
                      <a:pt x="215" y="21"/>
                      <a:pt x="216" y="21"/>
                      <a:pt x="216" y="20"/>
                    </a:cubicBezTo>
                    <a:cubicBezTo>
                      <a:pt x="214" y="20"/>
                      <a:pt x="213" y="20"/>
                      <a:pt x="212" y="22"/>
                    </a:cubicBezTo>
                    <a:cubicBezTo>
                      <a:pt x="211" y="23"/>
                      <a:pt x="211" y="24"/>
                      <a:pt x="212" y="25"/>
                    </a:cubicBezTo>
                    <a:cubicBezTo>
                      <a:pt x="213" y="26"/>
                      <a:pt x="214" y="26"/>
                      <a:pt x="215" y="26"/>
                    </a:cubicBezTo>
                    <a:close/>
                    <a:moveTo>
                      <a:pt x="210" y="42"/>
                    </a:moveTo>
                    <a:cubicBezTo>
                      <a:pt x="211" y="42"/>
                      <a:pt x="211" y="42"/>
                      <a:pt x="212" y="42"/>
                    </a:cubicBezTo>
                    <a:cubicBezTo>
                      <a:pt x="212" y="42"/>
                      <a:pt x="212" y="42"/>
                      <a:pt x="212" y="42"/>
                    </a:cubicBezTo>
                    <a:cubicBezTo>
                      <a:pt x="212" y="42"/>
                      <a:pt x="212" y="42"/>
                      <a:pt x="212" y="42"/>
                    </a:cubicBezTo>
                    <a:cubicBezTo>
                      <a:pt x="212" y="41"/>
                      <a:pt x="212" y="41"/>
                      <a:pt x="212" y="40"/>
                    </a:cubicBezTo>
                    <a:cubicBezTo>
                      <a:pt x="213" y="39"/>
                      <a:pt x="213" y="38"/>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0" y="36"/>
                    </a:cubicBezTo>
                    <a:cubicBezTo>
                      <a:pt x="210" y="36"/>
                      <a:pt x="209" y="34"/>
                      <a:pt x="208" y="36"/>
                    </a:cubicBezTo>
                    <a:cubicBezTo>
                      <a:pt x="208" y="37"/>
                      <a:pt x="208" y="37"/>
                      <a:pt x="208" y="37"/>
                    </a:cubicBezTo>
                    <a:cubicBezTo>
                      <a:pt x="206" y="37"/>
                      <a:pt x="207" y="38"/>
                      <a:pt x="207" y="38"/>
                    </a:cubicBezTo>
                    <a:cubicBezTo>
                      <a:pt x="208" y="39"/>
                      <a:pt x="209" y="40"/>
                      <a:pt x="209" y="41"/>
                    </a:cubicBezTo>
                    <a:cubicBezTo>
                      <a:pt x="209" y="41"/>
                      <a:pt x="209" y="42"/>
                      <a:pt x="210" y="42"/>
                    </a:cubicBezTo>
                    <a:close/>
                    <a:moveTo>
                      <a:pt x="209" y="41"/>
                    </a:moveTo>
                    <a:cubicBezTo>
                      <a:pt x="209" y="41"/>
                      <a:pt x="209" y="41"/>
                      <a:pt x="209" y="41"/>
                    </a:cubicBezTo>
                    <a:cubicBezTo>
                      <a:pt x="209" y="41"/>
                      <a:pt x="209" y="41"/>
                      <a:pt x="209" y="41"/>
                    </a:cubicBezTo>
                    <a:cubicBezTo>
                      <a:pt x="209" y="41"/>
                      <a:pt x="209" y="41"/>
                      <a:pt x="209" y="41"/>
                    </a:cubicBezTo>
                    <a:cubicBezTo>
                      <a:pt x="209" y="41"/>
                      <a:pt x="209" y="41"/>
                      <a:pt x="209" y="41"/>
                    </a:cubicBezTo>
                    <a:cubicBezTo>
                      <a:pt x="209" y="41"/>
                      <a:pt x="209" y="41"/>
                      <a:pt x="209" y="41"/>
                    </a:cubicBezTo>
                    <a:close/>
                    <a:moveTo>
                      <a:pt x="442" y="102"/>
                    </a:moveTo>
                    <a:cubicBezTo>
                      <a:pt x="442" y="101"/>
                      <a:pt x="442" y="101"/>
                      <a:pt x="442" y="101"/>
                    </a:cubicBezTo>
                    <a:cubicBezTo>
                      <a:pt x="441" y="101"/>
                      <a:pt x="441" y="101"/>
                      <a:pt x="440" y="101"/>
                    </a:cubicBezTo>
                    <a:cubicBezTo>
                      <a:pt x="439" y="102"/>
                      <a:pt x="438" y="101"/>
                      <a:pt x="436" y="100"/>
                    </a:cubicBezTo>
                    <a:cubicBezTo>
                      <a:pt x="435" y="99"/>
                      <a:pt x="434" y="98"/>
                      <a:pt x="433" y="98"/>
                    </a:cubicBezTo>
                    <a:cubicBezTo>
                      <a:pt x="432" y="97"/>
                      <a:pt x="431" y="97"/>
                      <a:pt x="431" y="98"/>
                    </a:cubicBezTo>
                    <a:cubicBezTo>
                      <a:pt x="431" y="99"/>
                      <a:pt x="432" y="99"/>
                      <a:pt x="432" y="99"/>
                    </a:cubicBezTo>
                    <a:cubicBezTo>
                      <a:pt x="433" y="99"/>
                      <a:pt x="434" y="100"/>
                      <a:pt x="434" y="101"/>
                    </a:cubicBezTo>
                    <a:cubicBezTo>
                      <a:pt x="434" y="101"/>
                      <a:pt x="434" y="102"/>
                      <a:pt x="435" y="102"/>
                    </a:cubicBezTo>
                    <a:cubicBezTo>
                      <a:pt x="436" y="102"/>
                      <a:pt x="437" y="103"/>
                      <a:pt x="439" y="104"/>
                    </a:cubicBezTo>
                    <a:cubicBezTo>
                      <a:pt x="439" y="104"/>
                      <a:pt x="440" y="104"/>
                      <a:pt x="441" y="104"/>
                    </a:cubicBezTo>
                    <a:cubicBezTo>
                      <a:pt x="441" y="103"/>
                      <a:pt x="442" y="103"/>
                      <a:pt x="442" y="102"/>
                    </a:cubicBezTo>
                    <a:close/>
                    <a:moveTo>
                      <a:pt x="183" y="63"/>
                    </a:moveTo>
                    <a:cubicBezTo>
                      <a:pt x="183" y="62"/>
                      <a:pt x="184" y="62"/>
                      <a:pt x="184" y="61"/>
                    </a:cubicBezTo>
                    <a:cubicBezTo>
                      <a:pt x="183" y="60"/>
                      <a:pt x="183" y="58"/>
                      <a:pt x="181" y="59"/>
                    </a:cubicBezTo>
                    <a:cubicBezTo>
                      <a:pt x="181" y="58"/>
                      <a:pt x="183" y="57"/>
                      <a:pt x="182" y="56"/>
                    </a:cubicBezTo>
                    <a:cubicBezTo>
                      <a:pt x="181" y="56"/>
                      <a:pt x="181" y="56"/>
                      <a:pt x="180" y="56"/>
                    </a:cubicBezTo>
                    <a:cubicBezTo>
                      <a:pt x="180" y="57"/>
                      <a:pt x="179" y="57"/>
                      <a:pt x="179" y="58"/>
                    </a:cubicBezTo>
                    <a:cubicBezTo>
                      <a:pt x="180" y="59"/>
                      <a:pt x="180" y="60"/>
                      <a:pt x="180" y="60"/>
                    </a:cubicBezTo>
                    <a:cubicBezTo>
                      <a:pt x="179" y="62"/>
                      <a:pt x="181" y="64"/>
                      <a:pt x="182" y="64"/>
                    </a:cubicBezTo>
                    <a:cubicBezTo>
                      <a:pt x="183" y="64"/>
                      <a:pt x="183" y="63"/>
                      <a:pt x="183" y="63"/>
                    </a:cubicBezTo>
                    <a:close/>
                    <a:moveTo>
                      <a:pt x="156" y="34"/>
                    </a:moveTo>
                    <a:cubicBezTo>
                      <a:pt x="156" y="35"/>
                      <a:pt x="156" y="36"/>
                      <a:pt x="156" y="38"/>
                    </a:cubicBezTo>
                    <a:cubicBezTo>
                      <a:pt x="157" y="37"/>
                      <a:pt x="158" y="37"/>
                      <a:pt x="158" y="36"/>
                    </a:cubicBezTo>
                    <a:cubicBezTo>
                      <a:pt x="159" y="35"/>
                      <a:pt x="159" y="35"/>
                      <a:pt x="160" y="34"/>
                    </a:cubicBezTo>
                    <a:cubicBezTo>
                      <a:pt x="160" y="34"/>
                      <a:pt x="160" y="33"/>
                      <a:pt x="160" y="32"/>
                    </a:cubicBezTo>
                    <a:cubicBezTo>
                      <a:pt x="160" y="32"/>
                      <a:pt x="160" y="32"/>
                      <a:pt x="160" y="32"/>
                    </a:cubicBezTo>
                    <a:cubicBezTo>
                      <a:pt x="159" y="32"/>
                      <a:pt x="158" y="30"/>
                      <a:pt x="157" y="31"/>
                    </a:cubicBezTo>
                    <a:cubicBezTo>
                      <a:pt x="157" y="32"/>
                      <a:pt x="155" y="32"/>
                      <a:pt x="156" y="34"/>
                    </a:cubicBezTo>
                    <a:cubicBezTo>
                      <a:pt x="156" y="34"/>
                      <a:pt x="156" y="34"/>
                      <a:pt x="156" y="34"/>
                    </a:cubicBezTo>
                    <a:close/>
                    <a:moveTo>
                      <a:pt x="204" y="55"/>
                    </a:moveTo>
                    <a:cubicBezTo>
                      <a:pt x="204" y="56"/>
                      <a:pt x="203" y="56"/>
                      <a:pt x="203" y="57"/>
                    </a:cubicBezTo>
                    <a:cubicBezTo>
                      <a:pt x="203" y="58"/>
                      <a:pt x="204" y="59"/>
                      <a:pt x="204" y="59"/>
                    </a:cubicBezTo>
                    <a:cubicBezTo>
                      <a:pt x="205" y="59"/>
                      <a:pt x="206" y="60"/>
                      <a:pt x="207" y="59"/>
                    </a:cubicBezTo>
                    <a:cubicBezTo>
                      <a:pt x="207" y="58"/>
                      <a:pt x="208" y="57"/>
                      <a:pt x="208" y="56"/>
                    </a:cubicBezTo>
                    <a:cubicBezTo>
                      <a:pt x="208" y="55"/>
                      <a:pt x="208" y="55"/>
                      <a:pt x="207" y="55"/>
                    </a:cubicBezTo>
                    <a:cubicBezTo>
                      <a:pt x="206" y="55"/>
                      <a:pt x="205" y="55"/>
                      <a:pt x="204" y="55"/>
                    </a:cubicBezTo>
                    <a:close/>
                    <a:moveTo>
                      <a:pt x="175" y="56"/>
                    </a:moveTo>
                    <a:cubicBezTo>
                      <a:pt x="176" y="56"/>
                      <a:pt x="176" y="57"/>
                      <a:pt x="176" y="57"/>
                    </a:cubicBezTo>
                    <a:cubicBezTo>
                      <a:pt x="175" y="58"/>
                      <a:pt x="175" y="59"/>
                      <a:pt x="176" y="60"/>
                    </a:cubicBezTo>
                    <a:cubicBezTo>
                      <a:pt x="176" y="61"/>
                      <a:pt x="176" y="61"/>
                      <a:pt x="177" y="61"/>
                    </a:cubicBezTo>
                    <a:cubicBezTo>
                      <a:pt x="177" y="61"/>
                      <a:pt x="177" y="61"/>
                      <a:pt x="177" y="60"/>
                    </a:cubicBezTo>
                    <a:cubicBezTo>
                      <a:pt x="178" y="59"/>
                      <a:pt x="177" y="59"/>
                      <a:pt x="177" y="58"/>
                    </a:cubicBezTo>
                    <a:cubicBezTo>
                      <a:pt x="177" y="57"/>
                      <a:pt x="177" y="56"/>
                      <a:pt x="176" y="55"/>
                    </a:cubicBezTo>
                    <a:cubicBezTo>
                      <a:pt x="176" y="55"/>
                      <a:pt x="176" y="55"/>
                      <a:pt x="176" y="55"/>
                    </a:cubicBezTo>
                    <a:cubicBezTo>
                      <a:pt x="176" y="55"/>
                      <a:pt x="176" y="55"/>
                      <a:pt x="176" y="55"/>
                    </a:cubicBezTo>
                    <a:cubicBezTo>
                      <a:pt x="176" y="54"/>
                      <a:pt x="175" y="54"/>
                      <a:pt x="175" y="55"/>
                    </a:cubicBezTo>
                    <a:cubicBezTo>
                      <a:pt x="174" y="56"/>
                      <a:pt x="175" y="56"/>
                      <a:pt x="175" y="56"/>
                    </a:cubicBezTo>
                    <a:close/>
                    <a:moveTo>
                      <a:pt x="190" y="67"/>
                    </a:moveTo>
                    <a:cubicBezTo>
                      <a:pt x="190" y="67"/>
                      <a:pt x="189" y="67"/>
                      <a:pt x="189" y="67"/>
                    </a:cubicBezTo>
                    <a:cubicBezTo>
                      <a:pt x="189" y="68"/>
                      <a:pt x="188" y="68"/>
                      <a:pt x="189" y="69"/>
                    </a:cubicBezTo>
                    <a:cubicBezTo>
                      <a:pt x="189" y="70"/>
                      <a:pt x="188" y="70"/>
                      <a:pt x="188" y="70"/>
                    </a:cubicBezTo>
                    <a:cubicBezTo>
                      <a:pt x="188" y="70"/>
                      <a:pt x="187" y="70"/>
                      <a:pt x="187" y="71"/>
                    </a:cubicBezTo>
                    <a:cubicBezTo>
                      <a:pt x="187" y="71"/>
                      <a:pt x="188" y="72"/>
                      <a:pt x="189" y="72"/>
                    </a:cubicBezTo>
                    <a:cubicBezTo>
                      <a:pt x="190" y="71"/>
                      <a:pt x="191" y="70"/>
                      <a:pt x="191" y="69"/>
                    </a:cubicBezTo>
                    <a:cubicBezTo>
                      <a:pt x="191" y="68"/>
                      <a:pt x="190" y="68"/>
                      <a:pt x="190" y="67"/>
                    </a:cubicBezTo>
                    <a:close/>
                    <a:moveTo>
                      <a:pt x="221" y="27"/>
                    </a:moveTo>
                    <a:cubicBezTo>
                      <a:pt x="222" y="27"/>
                      <a:pt x="223" y="28"/>
                      <a:pt x="223" y="28"/>
                    </a:cubicBezTo>
                    <a:cubicBezTo>
                      <a:pt x="224" y="29"/>
                      <a:pt x="225" y="28"/>
                      <a:pt x="225" y="28"/>
                    </a:cubicBezTo>
                    <a:cubicBezTo>
                      <a:pt x="225" y="27"/>
                      <a:pt x="225" y="26"/>
                      <a:pt x="224" y="26"/>
                    </a:cubicBezTo>
                    <a:cubicBezTo>
                      <a:pt x="224" y="26"/>
                      <a:pt x="223" y="26"/>
                      <a:pt x="221" y="25"/>
                    </a:cubicBezTo>
                    <a:cubicBezTo>
                      <a:pt x="221" y="25"/>
                      <a:pt x="220" y="26"/>
                      <a:pt x="220" y="26"/>
                    </a:cubicBezTo>
                    <a:cubicBezTo>
                      <a:pt x="220" y="27"/>
                      <a:pt x="221" y="27"/>
                      <a:pt x="221" y="27"/>
                    </a:cubicBezTo>
                    <a:close/>
                    <a:moveTo>
                      <a:pt x="182" y="68"/>
                    </a:moveTo>
                    <a:cubicBezTo>
                      <a:pt x="181" y="68"/>
                      <a:pt x="181" y="69"/>
                      <a:pt x="181" y="70"/>
                    </a:cubicBezTo>
                    <a:cubicBezTo>
                      <a:pt x="182" y="71"/>
                      <a:pt x="181" y="72"/>
                      <a:pt x="182" y="73"/>
                    </a:cubicBezTo>
                    <a:cubicBezTo>
                      <a:pt x="183" y="72"/>
                      <a:pt x="184" y="71"/>
                      <a:pt x="183" y="69"/>
                    </a:cubicBezTo>
                    <a:cubicBezTo>
                      <a:pt x="183" y="69"/>
                      <a:pt x="183" y="68"/>
                      <a:pt x="182" y="68"/>
                    </a:cubicBezTo>
                    <a:close/>
                    <a:moveTo>
                      <a:pt x="215" y="31"/>
                    </a:moveTo>
                    <a:cubicBezTo>
                      <a:pt x="216" y="31"/>
                      <a:pt x="217" y="31"/>
                      <a:pt x="217" y="31"/>
                    </a:cubicBezTo>
                    <a:cubicBezTo>
                      <a:pt x="217" y="31"/>
                      <a:pt x="217" y="31"/>
                      <a:pt x="217" y="31"/>
                    </a:cubicBezTo>
                    <a:cubicBezTo>
                      <a:pt x="217" y="31"/>
                      <a:pt x="217" y="31"/>
                      <a:pt x="217" y="31"/>
                    </a:cubicBezTo>
                    <a:cubicBezTo>
                      <a:pt x="218" y="31"/>
                      <a:pt x="218" y="31"/>
                      <a:pt x="218" y="32"/>
                    </a:cubicBezTo>
                    <a:cubicBezTo>
                      <a:pt x="218" y="32"/>
                      <a:pt x="219" y="32"/>
                      <a:pt x="219" y="32"/>
                    </a:cubicBezTo>
                    <a:cubicBezTo>
                      <a:pt x="220" y="32"/>
                      <a:pt x="220" y="31"/>
                      <a:pt x="220" y="31"/>
                    </a:cubicBezTo>
                    <a:cubicBezTo>
                      <a:pt x="220" y="30"/>
                      <a:pt x="219" y="30"/>
                      <a:pt x="219" y="30"/>
                    </a:cubicBezTo>
                    <a:cubicBezTo>
                      <a:pt x="218" y="30"/>
                      <a:pt x="216" y="30"/>
                      <a:pt x="215" y="30"/>
                    </a:cubicBezTo>
                    <a:cubicBezTo>
                      <a:pt x="214" y="30"/>
                      <a:pt x="214" y="30"/>
                      <a:pt x="215" y="31"/>
                    </a:cubicBezTo>
                    <a:close/>
                    <a:moveTo>
                      <a:pt x="235" y="13"/>
                    </a:moveTo>
                    <a:cubicBezTo>
                      <a:pt x="234" y="13"/>
                      <a:pt x="234" y="13"/>
                      <a:pt x="234" y="13"/>
                    </a:cubicBezTo>
                    <a:cubicBezTo>
                      <a:pt x="233" y="14"/>
                      <a:pt x="235" y="16"/>
                      <a:pt x="236" y="16"/>
                    </a:cubicBezTo>
                    <a:cubicBezTo>
                      <a:pt x="236" y="16"/>
                      <a:pt x="237" y="15"/>
                      <a:pt x="237" y="15"/>
                    </a:cubicBezTo>
                    <a:cubicBezTo>
                      <a:pt x="237" y="13"/>
                      <a:pt x="236" y="13"/>
                      <a:pt x="235" y="13"/>
                    </a:cubicBezTo>
                    <a:close/>
                    <a:moveTo>
                      <a:pt x="214" y="83"/>
                    </a:moveTo>
                    <a:cubicBezTo>
                      <a:pt x="213" y="83"/>
                      <a:pt x="213" y="82"/>
                      <a:pt x="212" y="81"/>
                    </a:cubicBezTo>
                    <a:cubicBezTo>
                      <a:pt x="212" y="81"/>
                      <a:pt x="212" y="81"/>
                      <a:pt x="212" y="81"/>
                    </a:cubicBezTo>
                    <a:cubicBezTo>
                      <a:pt x="211" y="81"/>
                      <a:pt x="210" y="81"/>
                      <a:pt x="210" y="82"/>
                    </a:cubicBezTo>
                    <a:cubicBezTo>
                      <a:pt x="210" y="82"/>
                      <a:pt x="209" y="82"/>
                      <a:pt x="210" y="82"/>
                    </a:cubicBezTo>
                    <a:cubicBezTo>
                      <a:pt x="211" y="83"/>
                      <a:pt x="211" y="82"/>
                      <a:pt x="212" y="82"/>
                    </a:cubicBezTo>
                    <a:cubicBezTo>
                      <a:pt x="212" y="82"/>
                      <a:pt x="212" y="82"/>
                      <a:pt x="212" y="82"/>
                    </a:cubicBezTo>
                    <a:cubicBezTo>
                      <a:pt x="212" y="82"/>
                      <a:pt x="212" y="82"/>
                      <a:pt x="212" y="82"/>
                    </a:cubicBezTo>
                    <a:cubicBezTo>
                      <a:pt x="212" y="83"/>
                      <a:pt x="212" y="84"/>
                      <a:pt x="213" y="84"/>
                    </a:cubicBezTo>
                    <a:cubicBezTo>
                      <a:pt x="213" y="84"/>
                      <a:pt x="213" y="84"/>
                      <a:pt x="214" y="84"/>
                    </a:cubicBezTo>
                    <a:cubicBezTo>
                      <a:pt x="214" y="84"/>
                      <a:pt x="214" y="83"/>
                      <a:pt x="214" y="83"/>
                    </a:cubicBezTo>
                    <a:close/>
                    <a:moveTo>
                      <a:pt x="212" y="13"/>
                    </a:moveTo>
                    <a:cubicBezTo>
                      <a:pt x="212" y="12"/>
                      <a:pt x="213" y="12"/>
                      <a:pt x="212" y="12"/>
                    </a:cubicBezTo>
                    <a:cubicBezTo>
                      <a:pt x="212" y="11"/>
                      <a:pt x="212" y="11"/>
                      <a:pt x="212" y="11"/>
                    </a:cubicBezTo>
                    <a:cubicBezTo>
                      <a:pt x="211" y="11"/>
                      <a:pt x="211" y="10"/>
                      <a:pt x="210" y="11"/>
                    </a:cubicBezTo>
                    <a:cubicBezTo>
                      <a:pt x="210" y="12"/>
                      <a:pt x="209" y="12"/>
                      <a:pt x="210" y="13"/>
                    </a:cubicBezTo>
                    <a:cubicBezTo>
                      <a:pt x="211" y="13"/>
                      <a:pt x="211" y="13"/>
                      <a:pt x="212" y="13"/>
                    </a:cubicBezTo>
                    <a:close/>
                    <a:moveTo>
                      <a:pt x="196" y="66"/>
                    </a:moveTo>
                    <a:cubicBezTo>
                      <a:pt x="196" y="65"/>
                      <a:pt x="194" y="64"/>
                      <a:pt x="193" y="64"/>
                    </a:cubicBezTo>
                    <a:cubicBezTo>
                      <a:pt x="193" y="64"/>
                      <a:pt x="193" y="64"/>
                      <a:pt x="193" y="64"/>
                    </a:cubicBezTo>
                    <a:cubicBezTo>
                      <a:pt x="193" y="65"/>
                      <a:pt x="192" y="65"/>
                      <a:pt x="193" y="65"/>
                    </a:cubicBezTo>
                    <a:cubicBezTo>
                      <a:pt x="194" y="66"/>
                      <a:pt x="195" y="66"/>
                      <a:pt x="195" y="66"/>
                    </a:cubicBezTo>
                    <a:cubicBezTo>
                      <a:pt x="196" y="67"/>
                      <a:pt x="196" y="66"/>
                      <a:pt x="196" y="66"/>
                    </a:cubicBezTo>
                    <a:close/>
                    <a:moveTo>
                      <a:pt x="150" y="77"/>
                    </a:moveTo>
                    <a:cubicBezTo>
                      <a:pt x="149" y="76"/>
                      <a:pt x="149" y="78"/>
                      <a:pt x="149" y="78"/>
                    </a:cubicBezTo>
                    <a:cubicBezTo>
                      <a:pt x="149" y="78"/>
                      <a:pt x="148" y="78"/>
                      <a:pt x="148" y="79"/>
                    </a:cubicBezTo>
                    <a:cubicBezTo>
                      <a:pt x="148" y="79"/>
                      <a:pt x="148" y="79"/>
                      <a:pt x="148" y="79"/>
                    </a:cubicBezTo>
                    <a:cubicBezTo>
                      <a:pt x="148" y="79"/>
                      <a:pt x="148" y="79"/>
                      <a:pt x="148" y="79"/>
                    </a:cubicBezTo>
                    <a:cubicBezTo>
                      <a:pt x="148" y="79"/>
                      <a:pt x="148" y="79"/>
                      <a:pt x="148" y="79"/>
                    </a:cubicBezTo>
                    <a:cubicBezTo>
                      <a:pt x="148" y="79"/>
                      <a:pt x="148" y="80"/>
                      <a:pt x="148" y="80"/>
                    </a:cubicBezTo>
                    <a:cubicBezTo>
                      <a:pt x="148" y="81"/>
                      <a:pt x="148" y="81"/>
                      <a:pt x="149" y="80"/>
                    </a:cubicBezTo>
                    <a:cubicBezTo>
                      <a:pt x="149" y="80"/>
                      <a:pt x="149" y="80"/>
                      <a:pt x="149" y="80"/>
                    </a:cubicBezTo>
                    <a:cubicBezTo>
                      <a:pt x="150" y="80"/>
                      <a:pt x="151" y="79"/>
                      <a:pt x="151" y="79"/>
                    </a:cubicBezTo>
                    <a:cubicBezTo>
                      <a:pt x="151" y="78"/>
                      <a:pt x="150" y="77"/>
                      <a:pt x="150" y="77"/>
                    </a:cubicBezTo>
                    <a:close/>
                    <a:moveTo>
                      <a:pt x="444" y="115"/>
                    </a:moveTo>
                    <a:cubicBezTo>
                      <a:pt x="443" y="114"/>
                      <a:pt x="442" y="113"/>
                      <a:pt x="441" y="113"/>
                    </a:cubicBezTo>
                    <a:cubicBezTo>
                      <a:pt x="441" y="113"/>
                      <a:pt x="440" y="113"/>
                      <a:pt x="440" y="113"/>
                    </a:cubicBezTo>
                    <a:cubicBezTo>
                      <a:pt x="440" y="113"/>
                      <a:pt x="440" y="114"/>
                      <a:pt x="441" y="114"/>
                    </a:cubicBezTo>
                    <a:cubicBezTo>
                      <a:pt x="441" y="115"/>
                      <a:pt x="443" y="115"/>
                      <a:pt x="444" y="116"/>
                    </a:cubicBezTo>
                    <a:cubicBezTo>
                      <a:pt x="444" y="116"/>
                      <a:pt x="444" y="115"/>
                      <a:pt x="444" y="115"/>
                    </a:cubicBezTo>
                    <a:cubicBezTo>
                      <a:pt x="444" y="115"/>
                      <a:pt x="445" y="115"/>
                      <a:pt x="444" y="115"/>
                    </a:cubicBezTo>
                    <a:close/>
                    <a:moveTo>
                      <a:pt x="451" y="80"/>
                    </a:moveTo>
                    <a:cubicBezTo>
                      <a:pt x="451" y="81"/>
                      <a:pt x="451" y="81"/>
                      <a:pt x="451" y="81"/>
                    </a:cubicBezTo>
                    <a:cubicBezTo>
                      <a:pt x="452" y="82"/>
                      <a:pt x="452" y="82"/>
                      <a:pt x="452" y="81"/>
                    </a:cubicBezTo>
                    <a:cubicBezTo>
                      <a:pt x="453" y="81"/>
                      <a:pt x="454" y="80"/>
                      <a:pt x="454" y="79"/>
                    </a:cubicBezTo>
                    <a:cubicBezTo>
                      <a:pt x="455" y="78"/>
                      <a:pt x="454" y="78"/>
                      <a:pt x="454" y="78"/>
                    </a:cubicBezTo>
                    <a:cubicBezTo>
                      <a:pt x="453" y="79"/>
                      <a:pt x="452" y="79"/>
                      <a:pt x="451" y="80"/>
                    </a:cubicBezTo>
                    <a:close/>
                    <a:moveTo>
                      <a:pt x="442" y="74"/>
                    </a:moveTo>
                    <a:cubicBezTo>
                      <a:pt x="442" y="74"/>
                      <a:pt x="441" y="74"/>
                      <a:pt x="441" y="74"/>
                    </a:cubicBezTo>
                    <a:cubicBezTo>
                      <a:pt x="441" y="73"/>
                      <a:pt x="440" y="73"/>
                      <a:pt x="440" y="74"/>
                    </a:cubicBezTo>
                    <a:cubicBezTo>
                      <a:pt x="440" y="74"/>
                      <a:pt x="440" y="74"/>
                      <a:pt x="440" y="75"/>
                    </a:cubicBezTo>
                    <a:cubicBezTo>
                      <a:pt x="440" y="76"/>
                      <a:pt x="441" y="75"/>
                      <a:pt x="442" y="75"/>
                    </a:cubicBezTo>
                    <a:cubicBezTo>
                      <a:pt x="442" y="75"/>
                      <a:pt x="443" y="76"/>
                      <a:pt x="443" y="75"/>
                    </a:cubicBezTo>
                    <a:cubicBezTo>
                      <a:pt x="444" y="74"/>
                      <a:pt x="442" y="75"/>
                      <a:pt x="442" y="74"/>
                    </a:cubicBezTo>
                    <a:close/>
                    <a:moveTo>
                      <a:pt x="493" y="91"/>
                    </a:moveTo>
                    <a:cubicBezTo>
                      <a:pt x="494" y="93"/>
                      <a:pt x="493" y="94"/>
                      <a:pt x="493" y="95"/>
                    </a:cubicBezTo>
                    <a:cubicBezTo>
                      <a:pt x="493" y="94"/>
                      <a:pt x="494" y="93"/>
                      <a:pt x="495" y="93"/>
                    </a:cubicBezTo>
                    <a:cubicBezTo>
                      <a:pt x="495" y="93"/>
                      <a:pt x="495" y="92"/>
                      <a:pt x="495" y="92"/>
                    </a:cubicBezTo>
                    <a:cubicBezTo>
                      <a:pt x="494" y="92"/>
                      <a:pt x="494" y="91"/>
                      <a:pt x="493" y="91"/>
                    </a:cubicBezTo>
                    <a:cubicBezTo>
                      <a:pt x="493" y="91"/>
                      <a:pt x="493" y="91"/>
                      <a:pt x="493" y="91"/>
                    </a:cubicBezTo>
                    <a:close/>
                    <a:moveTo>
                      <a:pt x="213" y="36"/>
                    </a:moveTo>
                    <a:cubicBezTo>
                      <a:pt x="213" y="36"/>
                      <a:pt x="213" y="35"/>
                      <a:pt x="213" y="35"/>
                    </a:cubicBezTo>
                    <a:cubicBezTo>
                      <a:pt x="213" y="35"/>
                      <a:pt x="212" y="34"/>
                      <a:pt x="212" y="35"/>
                    </a:cubicBezTo>
                    <a:cubicBezTo>
                      <a:pt x="211" y="35"/>
                      <a:pt x="211" y="35"/>
                      <a:pt x="211" y="36"/>
                    </a:cubicBezTo>
                    <a:cubicBezTo>
                      <a:pt x="211" y="36"/>
                      <a:pt x="211" y="37"/>
                      <a:pt x="211" y="37"/>
                    </a:cubicBezTo>
                    <a:cubicBezTo>
                      <a:pt x="212" y="37"/>
                      <a:pt x="212" y="37"/>
                      <a:pt x="213" y="36"/>
                    </a:cubicBezTo>
                    <a:close/>
                    <a:moveTo>
                      <a:pt x="209" y="34"/>
                    </a:moveTo>
                    <a:cubicBezTo>
                      <a:pt x="209" y="34"/>
                      <a:pt x="210" y="35"/>
                      <a:pt x="210" y="35"/>
                    </a:cubicBezTo>
                    <a:cubicBezTo>
                      <a:pt x="211" y="34"/>
                      <a:pt x="212" y="34"/>
                      <a:pt x="211" y="33"/>
                    </a:cubicBezTo>
                    <a:cubicBezTo>
                      <a:pt x="211" y="33"/>
                      <a:pt x="210" y="32"/>
                      <a:pt x="210" y="33"/>
                    </a:cubicBezTo>
                    <a:cubicBezTo>
                      <a:pt x="209" y="33"/>
                      <a:pt x="208" y="33"/>
                      <a:pt x="209" y="34"/>
                    </a:cubicBezTo>
                    <a:close/>
                    <a:moveTo>
                      <a:pt x="445" y="102"/>
                    </a:moveTo>
                    <a:cubicBezTo>
                      <a:pt x="444" y="102"/>
                      <a:pt x="444" y="102"/>
                      <a:pt x="444" y="102"/>
                    </a:cubicBezTo>
                    <a:cubicBezTo>
                      <a:pt x="444" y="103"/>
                      <a:pt x="444" y="103"/>
                      <a:pt x="445" y="103"/>
                    </a:cubicBezTo>
                    <a:cubicBezTo>
                      <a:pt x="445" y="103"/>
                      <a:pt x="445" y="103"/>
                      <a:pt x="446" y="103"/>
                    </a:cubicBezTo>
                    <a:cubicBezTo>
                      <a:pt x="446" y="102"/>
                      <a:pt x="445" y="102"/>
                      <a:pt x="445" y="102"/>
                    </a:cubicBezTo>
                    <a:close/>
                    <a:moveTo>
                      <a:pt x="212" y="56"/>
                    </a:moveTo>
                    <a:cubicBezTo>
                      <a:pt x="212" y="56"/>
                      <a:pt x="211" y="56"/>
                      <a:pt x="211" y="57"/>
                    </a:cubicBezTo>
                    <a:cubicBezTo>
                      <a:pt x="211" y="57"/>
                      <a:pt x="212" y="58"/>
                      <a:pt x="213" y="58"/>
                    </a:cubicBezTo>
                    <a:cubicBezTo>
                      <a:pt x="213" y="57"/>
                      <a:pt x="213" y="57"/>
                      <a:pt x="213" y="56"/>
                    </a:cubicBezTo>
                    <a:cubicBezTo>
                      <a:pt x="213" y="56"/>
                      <a:pt x="213" y="56"/>
                      <a:pt x="213" y="56"/>
                    </a:cubicBezTo>
                    <a:cubicBezTo>
                      <a:pt x="213" y="56"/>
                      <a:pt x="213" y="56"/>
                      <a:pt x="213" y="56"/>
                    </a:cubicBezTo>
                    <a:cubicBezTo>
                      <a:pt x="213" y="55"/>
                      <a:pt x="213" y="55"/>
                      <a:pt x="212" y="56"/>
                    </a:cubicBezTo>
                    <a:close/>
                    <a:moveTo>
                      <a:pt x="189" y="63"/>
                    </a:moveTo>
                    <a:cubicBezTo>
                      <a:pt x="189" y="63"/>
                      <a:pt x="189" y="63"/>
                      <a:pt x="189" y="63"/>
                    </a:cubicBezTo>
                    <a:cubicBezTo>
                      <a:pt x="189" y="63"/>
                      <a:pt x="189" y="63"/>
                      <a:pt x="189" y="63"/>
                    </a:cubicBezTo>
                    <a:cubicBezTo>
                      <a:pt x="189" y="63"/>
                      <a:pt x="189" y="64"/>
                      <a:pt x="188" y="64"/>
                    </a:cubicBezTo>
                    <a:cubicBezTo>
                      <a:pt x="187" y="64"/>
                      <a:pt x="187" y="64"/>
                      <a:pt x="188" y="65"/>
                    </a:cubicBezTo>
                    <a:cubicBezTo>
                      <a:pt x="189" y="66"/>
                      <a:pt x="189" y="65"/>
                      <a:pt x="189" y="64"/>
                    </a:cubicBezTo>
                    <a:cubicBezTo>
                      <a:pt x="189" y="64"/>
                      <a:pt x="189" y="64"/>
                      <a:pt x="189" y="64"/>
                    </a:cubicBezTo>
                    <a:cubicBezTo>
                      <a:pt x="189" y="64"/>
                      <a:pt x="189" y="64"/>
                      <a:pt x="189" y="64"/>
                    </a:cubicBezTo>
                    <a:cubicBezTo>
                      <a:pt x="190" y="64"/>
                      <a:pt x="190" y="63"/>
                      <a:pt x="189" y="63"/>
                    </a:cubicBezTo>
                    <a:close/>
                    <a:moveTo>
                      <a:pt x="429" y="96"/>
                    </a:moveTo>
                    <a:cubicBezTo>
                      <a:pt x="429" y="97"/>
                      <a:pt x="428" y="97"/>
                      <a:pt x="429" y="98"/>
                    </a:cubicBezTo>
                    <a:cubicBezTo>
                      <a:pt x="429" y="98"/>
                      <a:pt x="429" y="98"/>
                      <a:pt x="430" y="98"/>
                    </a:cubicBezTo>
                    <a:cubicBezTo>
                      <a:pt x="430" y="98"/>
                      <a:pt x="430" y="98"/>
                      <a:pt x="430" y="98"/>
                    </a:cubicBezTo>
                    <a:cubicBezTo>
                      <a:pt x="430" y="98"/>
                      <a:pt x="431" y="97"/>
                      <a:pt x="431" y="97"/>
                    </a:cubicBezTo>
                    <a:cubicBezTo>
                      <a:pt x="430" y="96"/>
                      <a:pt x="430" y="96"/>
                      <a:pt x="429" y="96"/>
                    </a:cubicBezTo>
                    <a:close/>
                    <a:moveTo>
                      <a:pt x="171" y="67"/>
                    </a:moveTo>
                    <a:cubicBezTo>
                      <a:pt x="171" y="67"/>
                      <a:pt x="170" y="67"/>
                      <a:pt x="170" y="66"/>
                    </a:cubicBezTo>
                    <a:cubicBezTo>
                      <a:pt x="169" y="66"/>
                      <a:pt x="169" y="66"/>
                      <a:pt x="169" y="66"/>
                    </a:cubicBezTo>
                    <a:cubicBezTo>
                      <a:pt x="169" y="66"/>
                      <a:pt x="169" y="67"/>
                      <a:pt x="169" y="67"/>
                    </a:cubicBezTo>
                    <a:cubicBezTo>
                      <a:pt x="169" y="68"/>
                      <a:pt x="170" y="68"/>
                      <a:pt x="171" y="67"/>
                    </a:cubicBezTo>
                    <a:close/>
                    <a:moveTo>
                      <a:pt x="222" y="73"/>
                    </a:moveTo>
                    <a:cubicBezTo>
                      <a:pt x="221" y="73"/>
                      <a:pt x="221" y="73"/>
                      <a:pt x="221" y="73"/>
                    </a:cubicBezTo>
                    <a:cubicBezTo>
                      <a:pt x="221" y="74"/>
                      <a:pt x="222" y="75"/>
                      <a:pt x="222" y="75"/>
                    </a:cubicBezTo>
                    <a:cubicBezTo>
                      <a:pt x="222" y="75"/>
                      <a:pt x="223" y="75"/>
                      <a:pt x="223" y="74"/>
                    </a:cubicBezTo>
                    <a:cubicBezTo>
                      <a:pt x="223" y="74"/>
                      <a:pt x="222" y="73"/>
                      <a:pt x="222" y="73"/>
                    </a:cubicBezTo>
                    <a:close/>
                    <a:moveTo>
                      <a:pt x="516" y="111"/>
                    </a:moveTo>
                    <a:cubicBezTo>
                      <a:pt x="516" y="111"/>
                      <a:pt x="517" y="111"/>
                      <a:pt x="517" y="111"/>
                    </a:cubicBezTo>
                    <a:cubicBezTo>
                      <a:pt x="517" y="110"/>
                      <a:pt x="516" y="110"/>
                      <a:pt x="516" y="110"/>
                    </a:cubicBezTo>
                    <a:cubicBezTo>
                      <a:pt x="515" y="110"/>
                      <a:pt x="515" y="110"/>
                      <a:pt x="515" y="111"/>
                    </a:cubicBezTo>
                    <a:cubicBezTo>
                      <a:pt x="515" y="111"/>
                      <a:pt x="515" y="111"/>
                      <a:pt x="516" y="111"/>
                    </a:cubicBezTo>
                    <a:close/>
                    <a:moveTo>
                      <a:pt x="221" y="83"/>
                    </a:moveTo>
                    <a:cubicBezTo>
                      <a:pt x="221" y="83"/>
                      <a:pt x="220" y="83"/>
                      <a:pt x="220" y="84"/>
                    </a:cubicBezTo>
                    <a:cubicBezTo>
                      <a:pt x="220" y="84"/>
                      <a:pt x="220" y="84"/>
                      <a:pt x="221" y="84"/>
                    </a:cubicBezTo>
                    <a:cubicBezTo>
                      <a:pt x="221" y="84"/>
                      <a:pt x="221" y="84"/>
                      <a:pt x="221" y="84"/>
                    </a:cubicBezTo>
                    <a:cubicBezTo>
                      <a:pt x="221" y="83"/>
                      <a:pt x="221" y="83"/>
                      <a:pt x="221" y="83"/>
                    </a:cubicBezTo>
                    <a:close/>
                    <a:moveTo>
                      <a:pt x="180" y="67"/>
                    </a:moveTo>
                    <a:cubicBezTo>
                      <a:pt x="180" y="67"/>
                      <a:pt x="180" y="67"/>
                      <a:pt x="180" y="68"/>
                    </a:cubicBezTo>
                    <a:cubicBezTo>
                      <a:pt x="180" y="68"/>
                      <a:pt x="180" y="68"/>
                      <a:pt x="180" y="68"/>
                    </a:cubicBezTo>
                    <a:cubicBezTo>
                      <a:pt x="181" y="68"/>
                      <a:pt x="180" y="68"/>
                      <a:pt x="181" y="67"/>
                    </a:cubicBezTo>
                    <a:cubicBezTo>
                      <a:pt x="181" y="67"/>
                      <a:pt x="181" y="67"/>
                      <a:pt x="180" y="67"/>
                    </a:cubicBezTo>
                    <a:close/>
                    <a:moveTo>
                      <a:pt x="197" y="61"/>
                    </a:moveTo>
                    <a:cubicBezTo>
                      <a:pt x="197" y="61"/>
                      <a:pt x="198" y="62"/>
                      <a:pt x="198" y="62"/>
                    </a:cubicBezTo>
                    <a:cubicBezTo>
                      <a:pt x="198" y="62"/>
                      <a:pt x="199" y="61"/>
                      <a:pt x="199" y="61"/>
                    </a:cubicBezTo>
                    <a:cubicBezTo>
                      <a:pt x="199" y="61"/>
                      <a:pt x="198" y="60"/>
                      <a:pt x="198" y="60"/>
                    </a:cubicBezTo>
                    <a:cubicBezTo>
                      <a:pt x="198" y="60"/>
                      <a:pt x="197" y="61"/>
                      <a:pt x="197" y="61"/>
                    </a:cubicBezTo>
                    <a:close/>
                    <a:moveTo>
                      <a:pt x="183" y="24"/>
                    </a:moveTo>
                    <a:cubicBezTo>
                      <a:pt x="182" y="25"/>
                      <a:pt x="183" y="25"/>
                      <a:pt x="183" y="26"/>
                    </a:cubicBezTo>
                    <a:cubicBezTo>
                      <a:pt x="184" y="25"/>
                      <a:pt x="183" y="25"/>
                      <a:pt x="183" y="24"/>
                    </a:cubicBezTo>
                    <a:close/>
                    <a:moveTo>
                      <a:pt x="493" y="102"/>
                    </a:moveTo>
                    <a:cubicBezTo>
                      <a:pt x="493" y="102"/>
                      <a:pt x="493" y="103"/>
                      <a:pt x="493" y="103"/>
                    </a:cubicBezTo>
                    <a:cubicBezTo>
                      <a:pt x="493" y="103"/>
                      <a:pt x="493" y="102"/>
                      <a:pt x="494" y="102"/>
                    </a:cubicBezTo>
                    <a:cubicBezTo>
                      <a:pt x="494" y="102"/>
                      <a:pt x="494" y="101"/>
                      <a:pt x="493" y="101"/>
                    </a:cubicBezTo>
                    <a:cubicBezTo>
                      <a:pt x="493" y="101"/>
                      <a:pt x="493" y="102"/>
                      <a:pt x="493" y="102"/>
                    </a:cubicBezTo>
                    <a:close/>
                    <a:moveTo>
                      <a:pt x="186" y="61"/>
                    </a:moveTo>
                    <a:cubicBezTo>
                      <a:pt x="186" y="62"/>
                      <a:pt x="186" y="62"/>
                      <a:pt x="186" y="62"/>
                    </a:cubicBezTo>
                    <a:cubicBezTo>
                      <a:pt x="187" y="63"/>
                      <a:pt x="188" y="62"/>
                      <a:pt x="188" y="61"/>
                    </a:cubicBezTo>
                    <a:cubicBezTo>
                      <a:pt x="188" y="61"/>
                      <a:pt x="188" y="60"/>
                      <a:pt x="187" y="59"/>
                    </a:cubicBezTo>
                    <a:cubicBezTo>
                      <a:pt x="186" y="58"/>
                      <a:pt x="186" y="59"/>
                      <a:pt x="185" y="59"/>
                    </a:cubicBezTo>
                    <a:cubicBezTo>
                      <a:pt x="185" y="60"/>
                      <a:pt x="185" y="60"/>
                      <a:pt x="185" y="61"/>
                    </a:cubicBezTo>
                    <a:cubicBezTo>
                      <a:pt x="185" y="61"/>
                      <a:pt x="185" y="61"/>
                      <a:pt x="185" y="61"/>
                    </a:cubicBezTo>
                    <a:cubicBezTo>
                      <a:pt x="184" y="62"/>
                      <a:pt x="184" y="63"/>
                      <a:pt x="184" y="64"/>
                    </a:cubicBezTo>
                    <a:cubicBezTo>
                      <a:pt x="183" y="65"/>
                      <a:pt x="184" y="66"/>
                      <a:pt x="185" y="66"/>
                    </a:cubicBezTo>
                    <a:cubicBezTo>
                      <a:pt x="186" y="67"/>
                      <a:pt x="186" y="66"/>
                      <a:pt x="186" y="65"/>
                    </a:cubicBezTo>
                    <a:cubicBezTo>
                      <a:pt x="187" y="65"/>
                      <a:pt x="185" y="65"/>
                      <a:pt x="186" y="64"/>
                    </a:cubicBezTo>
                    <a:cubicBezTo>
                      <a:pt x="186" y="63"/>
                      <a:pt x="186" y="62"/>
                      <a:pt x="186" y="62"/>
                    </a:cubicBezTo>
                    <a:cubicBezTo>
                      <a:pt x="185" y="61"/>
                      <a:pt x="186" y="61"/>
                      <a:pt x="186" y="61"/>
                    </a:cubicBezTo>
                    <a:close/>
                    <a:moveTo>
                      <a:pt x="186" y="64"/>
                    </a:moveTo>
                    <a:cubicBezTo>
                      <a:pt x="186" y="64"/>
                      <a:pt x="186" y="64"/>
                      <a:pt x="186" y="64"/>
                    </a:cubicBezTo>
                    <a:cubicBezTo>
                      <a:pt x="186" y="64"/>
                      <a:pt x="186" y="64"/>
                      <a:pt x="186" y="64"/>
                    </a:cubicBezTo>
                    <a:close/>
                    <a:moveTo>
                      <a:pt x="450" y="145"/>
                    </a:moveTo>
                    <a:cubicBezTo>
                      <a:pt x="450" y="145"/>
                      <a:pt x="450" y="145"/>
                      <a:pt x="450" y="145"/>
                    </a:cubicBezTo>
                    <a:cubicBezTo>
                      <a:pt x="450" y="146"/>
                      <a:pt x="450" y="146"/>
                      <a:pt x="450" y="146"/>
                    </a:cubicBezTo>
                    <a:cubicBezTo>
                      <a:pt x="451" y="146"/>
                      <a:pt x="451" y="146"/>
                      <a:pt x="451" y="146"/>
                    </a:cubicBezTo>
                    <a:cubicBezTo>
                      <a:pt x="450" y="146"/>
                      <a:pt x="451" y="145"/>
                      <a:pt x="450" y="145"/>
                    </a:cubicBezTo>
                    <a:close/>
                    <a:moveTo>
                      <a:pt x="485" y="133"/>
                    </a:moveTo>
                    <a:cubicBezTo>
                      <a:pt x="485" y="133"/>
                      <a:pt x="485" y="133"/>
                      <a:pt x="485" y="133"/>
                    </a:cubicBezTo>
                    <a:cubicBezTo>
                      <a:pt x="485" y="133"/>
                      <a:pt x="485" y="133"/>
                      <a:pt x="485" y="133"/>
                    </a:cubicBezTo>
                    <a:cubicBezTo>
                      <a:pt x="485" y="133"/>
                      <a:pt x="485" y="132"/>
                      <a:pt x="485" y="132"/>
                    </a:cubicBezTo>
                    <a:cubicBezTo>
                      <a:pt x="485" y="131"/>
                      <a:pt x="485" y="130"/>
                      <a:pt x="485" y="130"/>
                    </a:cubicBezTo>
                    <a:cubicBezTo>
                      <a:pt x="483" y="130"/>
                      <a:pt x="484" y="131"/>
                      <a:pt x="484" y="132"/>
                    </a:cubicBezTo>
                    <a:cubicBezTo>
                      <a:pt x="484" y="133"/>
                      <a:pt x="484" y="135"/>
                      <a:pt x="485" y="136"/>
                    </a:cubicBezTo>
                    <a:cubicBezTo>
                      <a:pt x="485" y="135"/>
                      <a:pt x="485" y="134"/>
                      <a:pt x="485" y="133"/>
                    </a:cubicBezTo>
                    <a:close/>
                    <a:moveTo>
                      <a:pt x="546" y="146"/>
                    </a:moveTo>
                    <a:cubicBezTo>
                      <a:pt x="546" y="146"/>
                      <a:pt x="546" y="146"/>
                      <a:pt x="546" y="146"/>
                    </a:cubicBezTo>
                    <a:cubicBezTo>
                      <a:pt x="546" y="146"/>
                      <a:pt x="546" y="145"/>
                      <a:pt x="545" y="145"/>
                    </a:cubicBezTo>
                    <a:cubicBezTo>
                      <a:pt x="544" y="144"/>
                      <a:pt x="543" y="144"/>
                      <a:pt x="542" y="145"/>
                    </a:cubicBezTo>
                    <a:cubicBezTo>
                      <a:pt x="541" y="145"/>
                      <a:pt x="541" y="145"/>
                      <a:pt x="540" y="145"/>
                    </a:cubicBezTo>
                    <a:cubicBezTo>
                      <a:pt x="539" y="144"/>
                      <a:pt x="540" y="144"/>
                      <a:pt x="540" y="143"/>
                    </a:cubicBezTo>
                    <a:cubicBezTo>
                      <a:pt x="540" y="143"/>
                      <a:pt x="540" y="143"/>
                      <a:pt x="540" y="143"/>
                    </a:cubicBezTo>
                    <a:cubicBezTo>
                      <a:pt x="540" y="143"/>
                      <a:pt x="540" y="143"/>
                      <a:pt x="540" y="143"/>
                    </a:cubicBezTo>
                    <a:cubicBezTo>
                      <a:pt x="540" y="143"/>
                      <a:pt x="540" y="142"/>
                      <a:pt x="540" y="141"/>
                    </a:cubicBezTo>
                    <a:cubicBezTo>
                      <a:pt x="539" y="140"/>
                      <a:pt x="539" y="139"/>
                      <a:pt x="538" y="138"/>
                    </a:cubicBezTo>
                    <a:cubicBezTo>
                      <a:pt x="538" y="138"/>
                      <a:pt x="537" y="138"/>
                      <a:pt x="537" y="138"/>
                    </a:cubicBezTo>
                    <a:cubicBezTo>
                      <a:pt x="537" y="139"/>
                      <a:pt x="537" y="141"/>
                      <a:pt x="536" y="142"/>
                    </a:cubicBezTo>
                    <a:cubicBezTo>
                      <a:pt x="536" y="142"/>
                      <a:pt x="536" y="142"/>
                      <a:pt x="536" y="142"/>
                    </a:cubicBezTo>
                    <a:cubicBezTo>
                      <a:pt x="534" y="142"/>
                      <a:pt x="534" y="143"/>
                      <a:pt x="534" y="145"/>
                    </a:cubicBezTo>
                    <a:cubicBezTo>
                      <a:pt x="534" y="145"/>
                      <a:pt x="534" y="145"/>
                      <a:pt x="534" y="145"/>
                    </a:cubicBezTo>
                    <a:cubicBezTo>
                      <a:pt x="534" y="145"/>
                      <a:pt x="534" y="145"/>
                      <a:pt x="534" y="145"/>
                    </a:cubicBezTo>
                    <a:cubicBezTo>
                      <a:pt x="534" y="145"/>
                      <a:pt x="534" y="145"/>
                      <a:pt x="534" y="145"/>
                    </a:cubicBezTo>
                    <a:cubicBezTo>
                      <a:pt x="534" y="145"/>
                      <a:pt x="534" y="145"/>
                      <a:pt x="534" y="145"/>
                    </a:cubicBezTo>
                    <a:cubicBezTo>
                      <a:pt x="534" y="146"/>
                      <a:pt x="534" y="146"/>
                      <a:pt x="535" y="147"/>
                    </a:cubicBezTo>
                    <a:cubicBezTo>
                      <a:pt x="536" y="147"/>
                      <a:pt x="536" y="148"/>
                      <a:pt x="537" y="149"/>
                    </a:cubicBezTo>
                    <a:cubicBezTo>
                      <a:pt x="538" y="150"/>
                      <a:pt x="540" y="149"/>
                      <a:pt x="541" y="150"/>
                    </a:cubicBezTo>
                    <a:cubicBezTo>
                      <a:pt x="541" y="150"/>
                      <a:pt x="541" y="150"/>
                      <a:pt x="541" y="150"/>
                    </a:cubicBezTo>
                    <a:cubicBezTo>
                      <a:pt x="541" y="150"/>
                      <a:pt x="541" y="150"/>
                      <a:pt x="541" y="150"/>
                    </a:cubicBezTo>
                    <a:cubicBezTo>
                      <a:pt x="541" y="150"/>
                      <a:pt x="541" y="150"/>
                      <a:pt x="541" y="150"/>
                    </a:cubicBezTo>
                    <a:cubicBezTo>
                      <a:pt x="541" y="150"/>
                      <a:pt x="542" y="150"/>
                      <a:pt x="542" y="150"/>
                    </a:cubicBezTo>
                    <a:cubicBezTo>
                      <a:pt x="542" y="150"/>
                      <a:pt x="542" y="150"/>
                      <a:pt x="542" y="150"/>
                    </a:cubicBezTo>
                    <a:cubicBezTo>
                      <a:pt x="542" y="150"/>
                      <a:pt x="542" y="150"/>
                      <a:pt x="542" y="150"/>
                    </a:cubicBezTo>
                    <a:cubicBezTo>
                      <a:pt x="543" y="150"/>
                      <a:pt x="543" y="151"/>
                      <a:pt x="544" y="151"/>
                    </a:cubicBezTo>
                    <a:cubicBezTo>
                      <a:pt x="545" y="151"/>
                      <a:pt x="545" y="150"/>
                      <a:pt x="546" y="149"/>
                    </a:cubicBezTo>
                    <a:cubicBezTo>
                      <a:pt x="546" y="149"/>
                      <a:pt x="546" y="149"/>
                      <a:pt x="546" y="148"/>
                    </a:cubicBezTo>
                    <a:cubicBezTo>
                      <a:pt x="546" y="148"/>
                      <a:pt x="546" y="148"/>
                      <a:pt x="546" y="148"/>
                    </a:cubicBezTo>
                    <a:cubicBezTo>
                      <a:pt x="547" y="148"/>
                      <a:pt x="547" y="147"/>
                      <a:pt x="546" y="146"/>
                    </a:cubicBezTo>
                    <a:close/>
                    <a:moveTo>
                      <a:pt x="210" y="16"/>
                    </a:moveTo>
                    <a:cubicBezTo>
                      <a:pt x="210" y="16"/>
                      <a:pt x="209" y="16"/>
                      <a:pt x="209" y="16"/>
                    </a:cubicBezTo>
                    <a:cubicBezTo>
                      <a:pt x="209" y="16"/>
                      <a:pt x="210" y="16"/>
                      <a:pt x="210" y="16"/>
                    </a:cubicBezTo>
                    <a:cubicBezTo>
                      <a:pt x="210" y="16"/>
                      <a:pt x="210" y="16"/>
                      <a:pt x="210" y="16"/>
                    </a:cubicBezTo>
                    <a:cubicBezTo>
                      <a:pt x="210" y="16"/>
                      <a:pt x="210" y="15"/>
                      <a:pt x="210" y="16"/>
                    </a:cubicBezTo>
                    <a:close/>
                    <a:moveTo>
                      <a:pt x="235" y="11"/>
                    </a:moveTo>
                    <a:cubicBezTo>
                      <a:pt x="235" y="11"/>
                      <a:pt x="235" y="11"/>
                      <a:pt x="235" y="11"/>
                    </a:cubicBezTo>
                    <a:cubicBezTo>
                      <a:pt x="235" y="11"/>
                      <a:pt x="235" y="11"/>
                      <a:pt x="235" y="11"/>
                    </a:cubicBezTo>
                    <a:cubicBezTo>
                      <a:pt x="234" y="11"/>
                      <a:pt x="234" y="11"/>
                      <a:pt x="234" y="11"/>
                    </a:cubicBezTo>
                    <a:cubicBezTo>
                      <a:pt x="234" y="11"/>
                      <a:pt x="234" y="11"/>
                      <a:pt x="235" y="11"/>
                    </a:cubicBezTo>
                    <a:close/>
                    <a:moveTo>
                      <a:pt x="443" y="79"/>
                    </a:moveTo>
                    <a:cubicBezTo>
                      <a:pt x="443" y="79"/>
                      <a:pt x="443" y="79"/>
                      <a:pt x="443" y="79"/>
                    </a:cubicBezTo>
                    <a:cubicBezTo>
                      <a:pt x="443" y="79"/>
                      <a:pt x="444" y="79"/>
                      <a:pt x="444" y="78"/>
                    </a:cubicBezTo>
                    <a:cubicBezTo>
                      <a:pt x="444" y="78"/>
                      <a:pt x="443" y="78"/>
                      <a:pt x="443" y="78"/>
                    </a:cubicBezTo>
                    <a:cubicBezTo>
                      <a:pt x="443" y="78"/>
                      <a:pt x="443" y="78"/>
                      <a:pt x="443" y="79"/>
                    </a:cubicBezTo>
                    <a:close/>
                    <a:moveTo>
                      <a:pt x="184" y="27"/>
                    </a:moveTo>
                    <a:cubicBezTo>
                      <a:pt x="184" y="27"/>
                      <a:pt x="184" y="27"/>
                      <a:pt x="184" y="27"/>
                    </a:cubicBezTo>
                    <a:cubicBezTo>
                      <a:pt x="184" y="27"/>
                      <a:pt x="184" y="27"/>
                      <a:pt x="184" y="27"/>
                    </a:cubicBezTo>
                    <a:cubicBezTo>
                      <a:pt x="183" y="26"/>
                      <a:pt x="183" y="27"/>
                      <a:pt x="183" y="27"/>
                    </a:cubicBezTo>
                    <a:cubicBezTo>
                      <a:pt x="183" y="27"/>
                      <a:pt x="184" y="27"/>
                      <a:pt x="184" y="27"/>
                    </a:cubicBezTo>
                    <a:close/>
                    <a:moveTo>
                      <a:pt x="182" y="36"/>
                    </a:moveTo>
                    <a:cubicBezTo>
                      <a:pt x="183" y="36"/>
                      <a:pt x="183" y="35"/>
                      <a:pt x="183" y="35"/>
                    </a:cubicBezTo>
                    <a:cubicBezTo>
                      <a:pt x="183" y="35"/>
                      <a:pt x="183" y="35"/>
                      <a:pt x="182" y="35"/>
                    </a:cubicBezTo>
                    <a:cubicBezTo>
                      <a:pt x="182" y="35"/>
                      <a:pt x="182" y="35"/>
                      <a:pt x="182" y="35"/>
                    </a:cubicBezTo>
                    <a:cubicBezTo>
                      <a:pt x="182" y="35"/>
                      <a:pt x="182" y="36"/>
                      <a:pt x="182" y="36"/>
                    </a:cubicBezTo>
                    <a:close/>
                    <a:moveTo>
                      <a:pt x="466" y="75"/>
                    </a:moveTo>
                    <a:cubicBezTo>
                      <a:pt x="466" y="75"/>
                      <a:pt x="466" y="75"/>
                      <a:pt x="466" y="75"/>
                    </a:cubicBezTo>
                    <a:cubicBezTo>
                      <a:pt x="466" y="75"/>
                      <a:pt x="466" y="75"/>
                      <a:pt x="466" y="75"/>
                    </a:cubicBezTo>
                    <a:cubicBezTo>
                      <a:pt x="466" y="75"/>
                      <a:pt x="466" y="75"/>
                      <a:pt x="466" y="75"/>
                    </a:cubicBezTo>
                    <a:cubicBezTo>
                      <a:pt x="466" y="75"/>
                      <a:pt x="466" y="74"/>
                      <a:pt x="466" y="75"/>
                    </a:cubicBezTo>
                    <a:close/>
                    <a:moveTo>
                      <a:pt x="214" y="46"/>
                    </a:moveTo>
                    <a:cubicBezTo>
                      <a:pt x="214" y="46"/>
                      <a:pt x="214" y="46"/>
                      <a:pt x="214" y="46"/>
                    </a:cubicBezTo>
                    <a:cubicBezTo>
                      <a:pt x="214" y="46"/>
                      <a:pt x="214" y="44"/>
                      <a:pt x="213" y="44"/>
                    </a:cubicBezTo>
                    <a:cubicBezTo>
                      <a:pt x="211" y="45"/>
                      <a:pt x="209" y="45"/>
                      <a:pt x="208" y="47"/>
                    </a:cubicBezTo>
                    <a:cubicBezTo>
                      <a:pt x="208" y="47"/>
                      <a:pt x="208" y="47"/>
                      <a:pt x="208" y="48"/>
                    </a:cubicBezTo>
                    <a:cubicBezTo>
                      <a:pt x="207" y="48"/>
                      <a:pt x="207" y="49"/>
                      <a:pt x="208" y="50"/>
                    </a:cubicBezTo>
                    <a:cubicBezTo>
                      <a:pt x="208" y="50"/>
                      <a:pt x="209" y="50"/>
                      <a:pt x="209" y="50"/>
                    </a:cubicBezTo>
                    <a:cubicBezTo>
                      <a:pt x="211" y="52"/>
                      <a:pt x="211" y="51"/>
                      <a:pt x="212" y="50"/>
                    </a:cubicBezTo>
                    <a:cubicBezTo>
                      <a:pt x="213" y="50"/>
                      <a:pt x="214" y="50"/>
                      <a:pt x="214" y="49"/>
                    </a:cubicBezTo>
                    <a:cubicBezTo>
                      <a:pt x="214" y="49"/>
                      <a:pt x="214" y="49"/>
                      <a:pt x="214" y="49"/>
                    </a:cubicBezTo>
                    <a:cubicBezTo>
                      <a:pt x="214" y="49"/>
                      <a:pt x="214" y="49"/>
                      <a:pt x="214" y="49"/>
                    </a:cubicBezTo>
                    <a:cubicBezTo>
                      <a:pt x="214" y="49"/>
                      <a:pt x="214" y="48"/>
                      <a:pt x="214" y="48"/>
                    </a:cubicBezTo>
                    <a:cubicBezTo>
                      <a:pt x="215" y="47"/>
                      <a:pt x="215" y="47"/>
                      <a:pt x="214" y="46"/>
                    </a:cubicBezTo>
                    <a:close/>
                    <a:moveTo>
                      <a:pt x="210" y="30"/>
                    </a:moveTo>
                    <a:cubicBezTo>
                      <a:pt x="210" y="30"/>
                      <a:pt x="210" y="30"/>
                      <a:pt x="210" y="30"/>
                    </a:cubicBezTo>
                    <a:cubicBezTo>
                      <a:pt x="209" y="30"/>
                      <a:pt x="209" y="30"/>
                      <a:pt x="209" y="30"/>
                    </a:cubicBezTo>
                    <a:cubicBezTo>
                      <a:pt x="209" y="30"/>
                      <a:pt x="209" y="30"/>
                      <a:pt x="209" y="30"/>
                    </a:cubicBezTo>
                    <a:cubicBezTo>
                      <a:pt x="210" y="30"/>
                      <a:pt x="210" y="30"/>
                      <a:pt x="210" y="30"/>
                    </a:cubicBezTo>
                    <a:close/>
                    <a:moveTo>
                      <a:pt x="213" y="19"/>
                    </a:moveTo>
                    <a:cubicBezTo>
                      <a:pt x="213" y="19"/>
                      <a:pt x="213" y="19"/>
                      <a:pt x="213" y="19"/>
                    </a:cubicBezTo>
                    <a:cubicBezTo>
                      <a:pt x="213" y="19"/>
                      <a:pt x="213" y="19"/>
                      <a:pt x="213" y="19"/>
                    </a:cubicBezTo>
                    <a:cubicBezTo>
                      <a:pt x="213" y="19"/>
                      <a:pt x="213" y="19"/>
                      <a:pt x="212" y="19"/>
                    </a:cubicBezTo>
                    <a:cubicBezTo>
                      <a:pt x="212" y="19"/>
                      <a:pt x="213" y="19"/>
                      <a:pt x="213" y="19"/>
                    </a:cubicBezTo>
                    <a:close/>
                    <a:moveTo>
                      <a:pt x="516" y="113"/>
                    </a:moveTo>
                    <a:cubicBezTo>
                      <a:pt x="516" y="113"/>
                      <a:pt x="516" y="113"/>
                      <a:pt x="516" y="113"/>
                    </a:cubicBezTo>
                    <a:cubicBezTo>
                      <a:pt x="516" y="113"/>
                      <a:pt x="516" y="113"/>
                      <a:pt x="517" y="113"/>
                    </a:cubicBezTo>
                    <a:cubicBezTo>
                      <a:pt x="516" y="113"/>
                      <a:pt x="516" y="112"/>
                      <a:pt x="516" y="112"/>
                    </a:cubicBezTo>
                    <a:cubicBezTo>
                      <a:pt x="516" y="112"/>
                      <a:pt x="516" y="112"/>
                      <a:pt x="516" y="113"/>
                    </a:cubicBezTo>
                    <a:close/>
                    <a:moveTo>
                      <a:pt x="187" y="22"/>
                    </a:moveTo>
                    <a:cubicBezTo>
                      <a:pt x="187" y="22"/>
                      <a:pt x="187" y="22"/>
                      <a:pt x="187" y="22"/>
                    </a:cubicBezTo>
                    <a:cubicBezTo>
                      <a:pt x="187" y="22"/>
                      <a:pt x="187" y="22"/>
                      <a:pt x="187" y="22"/>
                    </a:cubicBezTo>
                    <a:cubicBezTo>
                      <a:pt x="187" y="22"/>
                      <a:pt x="186" y="22"/>
                      <a:pt x="186" y="22"/>
                    </a:cubicBezTo>
                    <a:cubicBezTo>
                      <a:pt x="186" y="22"/>
                      <a:pt x="186" y="22"/>
                      <a:pt x="187" y="22"/>
                    </a:cubicBezTo>
                    <a:close/>
                    <a:moveTo>
                      <a:pt x="433" y="37"/>
                    </a:moveTo>
                    <a:cubicBezTo>
                      <a:pt x="433" y="37"/>
                      <a:pt x="433" y="37"/>
                      <a:pt x="433" y="37"/>
                    </a:cubicBezTo>
                    <a:cubicBezTo>
                      <a:pt x="435" y="37"/>
                      <a:pt x="436" y="35"/>
                      <a:pt x="436" y="33"/>
                    </a:cubicBezTo>
                    <a:cubicBezTo>
                      <a:pt x="436" y="33"/>
                      <a:pt x="437" y="32"/>
                      <a:pt x="436" y="31"/>
                    </a:cubicBezTo>
                    <a:cubicBezTo>
                      <a:pt x="436" y="31"/>
                      <a:pt x="436" y="31"/>
                      <a:pt x="436" y="31"/>
                    </a:cubicBezTo>
                    <a:cubicBezTo>
                      <a:pt x="436" y="31"/>
                      <a:pt x="436" y="31"/>
                      <a:pt x="436" y="31"/>
                    </a:cubicBezTo>
                    <a:cubicBezTo>
                      <a:pt x="433" y="30"/>
                      <a:pt x="431" y="30"/>
                      <a:pt x="428" y="31"/>
                    </a:cubicBezTo>
                    <a:cubicBezTo>
                      <a:pt x="427" y="31"/>
                      <a:pt x="426" y="31"/>
                      <a:pt x="426" y="32"/>
                    </a:cubicBezTo>
                    <a:cubicBezTo>
                      <a:pt x="425" y="33"/>
                      <a:pt x="425" y="35"/>
                      <a:pt x="426" y="35"/>
                    </a:cubicBezTo>
                    <a:cubicBezTo>
                      <a:pt x="428" y="37"/>
                      <a:pt x="429" y="37"/>
                      <a:pt x="431" y="37"/>
                    </a:cubicBezTo>
                    <a:cubicBezTo>
                      <a:pt x="431" y="37"/>
                      <a:pt x="431" y="37"/>
                      <a:pt x="431" y="37"/>
                    </a:cubicBezTo>
                    <a:cubicBezTo>
                      <a:pt x="432" y="38"/>
                      <a:pt x="432" y="38"/>
                      <a:pt x="433" y="37"/>
                    </a:cubicBezTo>
                    <a:close/>
                    <a:moveTo>
                      <a:pt x="222" y="66"/>
                    </a:moveTo>
                    <a:cubicBezTo>
                      <a:pt x="222" y="66"/>
                      <a:pt x="222" y="66"/>
                      <a:pt x="222" y="66"/>
                    </a:cubicBezTo>
                    <a:cubicBezTo>
                      <a:pt x="222" y="66"/>
                      <a:pt x="222" y="66"/>
                      <a:pt x="222" y="66"/>
                    </a:cubicBezTo>
                    <a:cubicBezTo>
                      <a:pt x="222" y="66"/>
                      <a:pt x="222" y="66"/>
                      <a:pt x="222" y="67"/>
                    </a:cubicBezTo>
                    <a:cubicBezTo>
                      <a:pt x="222" y="67"/>
                      <a:pt x="223" y="67"/>
                      <a:pt x="223" y="66"/>
                    </a:cubicBezTo>
                    <a:cubicBezTo>
                      <a:pt x="223" y="66"/>
                      <a:pt x="223" y="66"/>
                      <a:pt x="222" y="66"/>
                    </a:cubicBezTo>
                    <a:close/>
                    <a:moveTo>
                      <a:pt x="213" y="69"/>
                    </a:moveTo>
                    <a:cubicBezTo>
                      <a:pt x="213" y="69"/>
                      <a:pt x="213" y="69"/>
                      <a:pt x="213" y="69"/>
                    </a:cubicBezTo>
                    <a:cubicBezTo>
                      <a:pt x="214" y="69"/>
                      <a:pt x="214" y="69"/>
                      <a:pt x="214" y="69"/>
                    </a:cubicBezTo>
                    <a:cubicBezTo>
                      <a:pt x="213" y="69"/>
                      <a:pt x="213" y="69"/>
                      <a:pt x="213" y="69"/>
                    </a:cubicBezTo>
                    <a:cubicBezTo>
                      <a:pt x="213" y="69"/>
                      <a:pt x="213" y="69"/>
                      <a:pt x="213" y="69"/>
                    </a:cubicBezTo>
                    <a:close/>
                    <a:moveTo>
                      <a:pt x="239" y="10"/>
                    </a:moveTo>
                    <a:cubicBezTo>
                      <a:pt x="239" y="12"/>
                      <a:pt x="240" y="13"/>
                      <a:pt x="241" y="13"/>
                    </a:cubicBezTo>
                    <a:cubicBezTo>
                      <a:pt x="242" y="14"/>
                      <a:pt x="242" y="13"/>
                      <a:pt x="243" y="13"/>
                    </a:cubicBezTo>
                    <a:cubicBezTo>
                      <a:pt x="243" y="13"/>
                      <a:pt x="243" y="13"/>
                      <a:pt x="243" y="13"/>
                    </a:cubicBezTo>
                    <a:cubicBezTo>
                      <a:pt x="243" y="13"/>
                      <a:pt x="243" y="13"/>
                      <a:pt x="243" y="13"/>
                    </a:cubicBezTo>
                    <a:cubicBezTo>
                      <a:pt x="243" y="13"/>
                      <a:pt x="243" y="13"/>
                      <a:pt x="243" y="13"/>
                    </a:cubicBezTo>
                    <a:cubicBezTo>
                      <a:pt x="244" y="14"/>
                      <a:pt x="244" y="14"/>
                      <a:pt x="245" y="13"/>
                    </a:cubicBezTo>
                    <a:cubicBezTo>
                      <a:pt x="245" y="13"/>
                      <a:pt x="245" y="13"/>
                      <a:pt x="245" y="13"/>
                    </a:cubicBezTo>
                    <a:cubicBezTo>
                      <a:pt x="246" y="13"/>
                      <a:pt x="247" y="12"/>
                      <a:pt x="247" y="11"/>
                    </a:cubicBezTo>
                    <a:cubicBezTo>
                      <a:pt x="247" y="11"/>
                      <a:pt x="247" y="11"/>
                      <a:pt x="247" y="11"/>
                    </a:cubicBezTo>
                    <a:cubicBezTo>
                      <a:pt x="248" y="10"/>
                      <a:pt x="248" y="10"/>
                      <a:pt x="247" y="9"/>
                    </a:cubicBezTo>
                    <a:cubicBezTo>
                      <a:pt x="247" y="9"/>
                      <a:pt x="247" y="9"/>
                      <a:pt x="247" y="9"/>
                    </a:cubicBezTo>
                    <a:cubicBezTo>
                      <a:pt x="246" y="8"/>
                      <a:pt x="245" y="7"/>
                      <a:pt x="243" y="7"/>
                    </a:cubicBezTo>
                    <a:cubicBezTo>
                      <a:pt x="242" y="7"/>
                      <a:pt x="240" y="7"/>
                      <a:pt x="238" y="7"/>
                    </a:cubicBezTo>
                    <a:cubicBezTo>
                      <a:pt x="237" y="7"/>
                      <a:pt x="237" y="8"/>
                      <a:pt x="236" y="9"/>
                    </a:cubicBezTo>
                    <a:cubicBezTo>
                      <a:pt x="236" y="9"/>
                      <a:pt x="237" y="10"/>
                      <a:pt x="237" y="10"/>
                    </a:cubicBezTo>
                    <a:cubicBezTo>
                      <a:pt x="238" y="10"/>
                      <a:pt x="238" y="10"/>
                      <a:pt x="239" y="10"/>
                    </a:cubicBezTo>
                    <a:close/>
                    <a:moveTo>
                      <a:pt x="215" y="75"/>
                    </a:moveTo>
                    <a:cubicBezTo>
                      <a:pt x="215" y="75"/>
                      <a:pt x="215" y="75"/>
                      <a:pt x="215" y="76"/>
                    </a:cubicBezTo>
                    <a:cubicBezTo>
                      <a:pt x="215" y="76"/>
                      <a:pt x="216" y="76"/>
                      <a:pt x="216" y="75"/>
                    </a:cubicBezTo>
                    <a:cubicBezTo>
                      <a:pt x="216" y="75"/>
                      <a:pt x="216" y="75"/>
                      <a:pt x="216" y="75"/>
                    </a:cubicBezTo>
                    <a:cubicBezTo>
                      <a:pt x="216" y="75"/>
                      <a:pt x="216" y="75"/>
                      <a:pt x="216" y="75"/>
                    </a:cubicBezTo>
                    <a:cubicBezTo>
                      <a:pt x="216" y="75"/>
                      <a:pt x="216" y="75"/>
                      <a:pt x="215" y="75"/>
                    </a:cubicBezTo>
                    <a:close/>
                    <a:moveTo>
                      <a:pt x="454" y="80"/>
                    </a:moveTo>
                    <a:cubicBezTo>
                      <a:pt x="454" y="80"/>
                      <a:pt x="454" y="80"/>
                      <a:pt x="455" y="80"/>
                    </a:cubicBezTo>
                    <a:cubicBezTo>
                      <a:pt x="455" y="80"/>
                      <a:pt x="455" y="80"/>
                      <a:pt x="455" y="80"/>
                    </a:cubicBezTo>
                    <a:cubicBezTo>
                      <a:pt x="455" y="80"/>
                      <a:pt x="455" y="80"/>
                      <a:pt x="455" y="80"/>
                    </a:cubicBezTo>
                    <a:cubicBezTo>
                      <a:pt x="454" y="80"/>
                      <a:pt x="454" y="80"/>
                      <a:pt x="454" y="80"/>
                    </a:cubicBezTo>
                    <a:close/>
                    <a:moveTo>
                      <a:pt x="201" y="67"/>
                    </a:moveTo>
                    <a:cubicBezTo>
                      <a:pt x="200" y="66"/>
                      <a:pt x="199" y="66"/>
                      <a:pt x="199" y="67"/>
                    </a:cubicBezTo>
                    <a:cubicBezTo>
                      <a:pt x="199" y="68"/>
                      <a:pt x="198" y="68"/>
                      <a:pt x="197" y="67"/>
                    </a:cubicBezTo>
                    <a:cubicBezTo>
                      <a:pt x="197" y="67"/>
                      <a:pt x="197" y="67"/>
                      <a:pt x="196" y="67"/>
                    </a:cubicBezTo>
                    <a:cubicBezTo>
                      <a:pt x="195" y="67"/>
                      <a:pt x="193" y="68"/>
                      <a:pt x="194" y="69"/>
                    </a:cubicBezTo>
                    <a:cubicBezTo>
                      <a:pt x="194" y="70"/>
                      <a:pt x="194" y="71"/>
                      <a:pt x="195" y="72"/>
                    </a:cubicBezTo>
                    <a:cubicBezTo>
                      <a:pt x="195" y="73"/>
                      <a:pt x="195" y="74"/>
                      <a:pt x="194" y="75"/>
                    </a:cubicBezTo>
                    <a:cubicBezTo>
                      <a:pt x="193" y="76"/>
                      <a:pt x="193" y="76"/>
                      <a:pt x="195" y="78"/>
                    </a:cubicBezTo>
                    <a:cubicBezTo>
                      <a:pt x="196" y="78"/>
                      <a:pt x="197" y="78"/>
                      <a:pt x="198" y="78"/>
                    </a:cubicBezTo>
                    <a:cubicBezTo>
                      <a:pt x="198" y="78"/>
                      <a:pt x="198" y="78"/>
                      <a:pt x="198" y="78"/>
                    </a:cubicBezTo>
                    <a:cubicBezTo>
                      <a:pt x="198" y="78"/>
                      <a:pt x="198" y="78"/>
                      <a:pt x="198" y="78"/>
                    </a:cubicBezTo>
                    <a:cubicBezTo>
                      <a:pt x="198" y="78"/>
                      <a:pt x="199" y="79"/>
                      <a:pt x="199" y="78"/>
                    </a:cubicBezTo>
                    <a:cubicBezTo>
                      <a:pt x="200" y="78"/>
                      <a:pt x="200" y="78"/>
                      <a:pt x="201" y="78"/>
                    </a:cubicBezTo>
                    <a:cubicBezTo>
                      <a:pt x="201" y="78"/>
                      <a:pt x="201" y="78"/>
                      <a:pt x="201" y="78"/>
                    </a:cubicBezTo>
                    <a:cubicBezTo>
                      <a:pt x="201" y="78"/>
                      <a:pt x="201" y="78"/>
                      <a:pt x="201" y="78"/>
                    </a:cubicBezTo>
                    <a:cubicBezTo>
                      <a:pt x="201" y="77"/>
                      <a:pt x="202" y="76"/>
                      <a:pt x="202" y="75"/>
                    </a:cubicBezTo>
                    <a:cubicBezTo>
                      <a:pt x="201" y="74"/>
                      <a:pt x="201" y="73"/>
                      <a:pt x="202" y="73"/>
                    </a:cubicBezTo>
                    <a:cubicBezTo>
                      <a:pt x="201" y="71"/>
                      <a:pt x="202" y="69"/>
                      <a:pt x="202" y="68"/>
                    </a:cubicBezTo>
                    <a:cubicBezTo>
                      <a:pt x="202" y="68"/>
                      <a:pt x="202" y="68"/>
                      <a:pt x="202" y="68"/>
                    </a:cubicBezTo>
                    <a:cubicBezTo>
                      <a:pt x="202" y="67"/>
                      <a:pt x="201" y="67"/>
                      <a:pt x="201" y="67"/>
                    </a:cubicBezTo>
                    <a:close/>
                    <a:moveTo>
                      <a:pt x="208" y="74"/>
                    </a:moveTo>
                    <a:cubicBezTo>
                      <a:pt x="208" y="74"/>
                      <a:pt x="208" y="74"/>
                      <a:pt x="209" y="74"/>
                    </a:cubicBezTo>
                    <a:cubicBezTo>
                      <a:pt x="209" y="74"/>
                      <a:pt x="210" y="75"/>
                      <a:pt x="210" y="74"/>
                    </a:cubicBezTo>
                    <a:cubicBezTo>
                      <a:pt x="211" y="73"/>
                      <a:pt x="211" y="72"/>
                      <a:pt x="210" y="71"/>
                    </a:cubicBezTo>
                    <a:cubicBezTo>
                      <a:pt x="208" y="71"/>
                      <a:pt x="208" y="71"/>
                      <a:pt x="209" y="69"/>
                    </a:cubicBezTo>
                    <a:cubicBezTo>
                      <a:pt x="210" y="69"/>
                      <a:pt x="210" y="69"/>
                      <a:pt x="210" y="68"/>
                    </a:cubicBezTo>
                    <a:cubicBezTo>
                      <a:pt x="211" y="68"/>
                      <a:pt x="211" y="69"/>
                      <a:pt x="212" y="68"/>
                    </a:cubicBezTo>
                    <a:cubicBezTo>
                      <a:pt x="212" y="67"/>
                      <a:pt x="213" y="68"/>
                      <a:pt x="213" y="68"/>
                    </a:cubicBezTo>
                    <a:cubicBezTo>
                      <a:pt x="214" y="68"/>
                      <a:pt x="215" y="67"/>
                      <a:pt x="216" y="68"/>
                    </a:cubicBezTo>
                    <a:cubicBezTo>
                      <a:pt x="216" y="68"/>
                      <a:pt x="217" y="67"/>
                      <a:pt x="216" y="66"/>
                    </a:cubicBezTo>
                    <a:cubicBezTo>
                      <a:pt x="216" y="65"/>
                      <a:pt x="215" y="64"/>
                      <a:pt x="214" y="63"/>
                    </a:cubicBezTo>
                    <a:cubicBezTo>
                      <a:pt x="212" y="62"/>
                      <a:pt x="210" y="61"/>
                      <a:pt x="208" y="61"/>
                    </a:cubicBezTo>
                    <a:cubicBezTo>
                      <a:pt x="206" y="61"/>
                      <a:pt x="205" y="62"/>
                      <a:pt x="203" y="62"/>
                    </a:cubicBezTo>
                    <a:cubicBezTo>
                      <a:pt x="203" y="62"/>
                      <a:pt x="202" y="62"/>
                      <a:pt x="202" y="62"/>
                    </a:cubicBezTo>
                    <a:cubicBezTo>
                      <a:pt x="202" y="62"/>
                      <a:pt x="201" y="62"/>
                      <a:pt x="202" y="63"/>
                    </a:cubicBezTo>
                    <a:cubicBezTo>
                      <a:pt x="203" y="65"/>
                      <a:pt x="203" y="66"/>
                      <a:pt x="202" y="68"/>
                    </a:cubicBezTo>
                    <a:cubicBezTo>
                      <a:pt x="202" y="68"/>
                      <a:pt x="202" y="68"/>
                      <a:pt x="202" y="68"/>
                    </a:cubicBezTo>
                    <a:cubicBezTo>
                      <a:pt x="203" y="69"/>
                      <a:pt x="202" y="70"/>
                      <a:pt x="202" y="72"/>
                    </a:cubicBezTo>
                    <a:cubicBezTo>
                      <a:pt x="202" y="72"/>
                      <a:pt x="202" y="72"/>
                      <a:pt x="202" y="72"/>
                    </a:cubicBezTo>
                    <a:cubicBezTo>
                      <a:pt x="203" y="72"/>
                      <a:pt x="203" y="72"/>
                      <a:pt x="203" y="73"/>
                    </a:cubicBezTo>
                    <a:cubicBezTo>
                      <a:pt x="203" y="74"/>
                      <a:pt x="203" y="74"/>
                      <a:pt x="204" y="75"/>
                    </a:cubicBezTo>
                    <a:cubicBezTo>
                      <a:pt x="205" y="75"/>
                      <a:pt x="206" y="76"/>
                      <a:pt x="207" y="77"/>
                    </a:cubicBezTo>
                    <a:cubicBezTo>
                      <a:pt x="207" y="77"/>
                      <a:pt x="207" y="77"/>
                      <a:pt x="208" y="77"/>
                    </a:cubicBezTo>
                    <a:cubicBezTo>
                      <a:pt x="208" y="76"/>
                      <a:pt x="208" y="76"/>
                      <a:pt x="208" y="75"/>
                    </a:cubicBezTo>
                    <a:cubicBezTo>
                      <a:pt x="208" y="75"/>
                      <a:pt x="207" y="75"/>
                      <a:pt x="208" y="74"/>
                    </a:cubicBezTo>
                    <a:close/>
                    <a:moveTo>
                      <a:pt x="930" y="526"/>
                    </a:moveTo>
                    <a:cubicBezTo>
                      <a:pt x="930" y="526"/>
                      <a:pt x="930" y="526"/>
                      <a:pt x="929" y="526"/>
                    </a:cubicBezTo>
                    <a:cubicBezTo>
                      <a:pt x="929" y="526"/>
                      <a:pt x="929" y="526"/>
                      <a:pt x="928" y="526"/>
                    </a:cubicBezTo>
                    <a:cubicBezTo>
                      <a:pt x="927" y="527"/>
                      <a:pt x="926" y="528"/>
                      <a:pt x="925" y="529"/>
                    </a:cubicBezTo>
                    <a:cubicBezTo>
                      <a:pt x="925" y="529"/>
                      <a:pt x="924" y="530"/>
                      <a:pt x="924" y="531"/>
                    </a:cubicBezTo>
                    <a:cubicBezTo>
                      <a:pt x="924" y="531"/>
                      <a:pt x="924" y="532"/>
                      <a:pt x="923" y="532"/>
                    </a:cubicBezTo>
                    <a:cubicBezTo>
                      <a:pt x="923" y="532"/>
                      <a:pt x="923" y="533"/>
                      <a:pt x="923" y="533"/>
                    </a:cubicBezTo>
                    <a:cubicBezTo>
                      <a:pt x="923" y="533"/>
                      <a:pt x="923" y="533"/>
                      <a:pt x="924" y="533"/>
                    </a:cubicBezTo>
                    <a:cubicBezTo>
                      <a:pt x="924" y="533"/>
                      <a:pt x="924" y="533"/>
                      <a:pt x="924" y="533"/>
                    </a:cubicBezTo>
                    <a:cubicBezTo>
                      <a:pt x="924" y="533"/>
                      <a:pt x="924" y="533"/>
                      <a:pt x="924" y="533"/>
                    </a:cubicBezTo>
                    <a:cubicBezTo>
                      <a:pt x="924" y="533"/>
                      <a:pt x="924" y="533"/>
                      <a:pt x="924" y="533"/>
                    </a:cubicBezTo>
                    <a:cubicBezTo>
                      <a:pt x="924" y="533"/>
                      <a:pt x="924" y="533"/>
                      <a:pt x="924" y="533"/>
                    </a:cubicBezTo>
                    <a:cubicBezTo>
                      <a:pt x="926" y="531"/>
                      <a:pt x="928" y="530"/>
                      <a:pt x="930" y="530"/>
                    </a:cubicBezTo>
                    <a:cubicBezTo>
                      <a:pt x="930" y="530"/>
                      <a:pt x="930" y="530"/>
                      <a:pt x="931" y="529"/>
                    </a:cubicBezTo>
                    <a:cubicBezTo>
                      <a:pt x="932" y="528"/>
                      <a:pt x="931" y="527"/>
                      <a:pt x="930" y="526"/>
                    </a:cubicBezTo>
                    <a:cubicBezTo>
                      <a:pt x="930" y="526"/>
                      <a:pt x="930" y="526"/>
                      <a:pt x="930" y="526"/>
                    </a:cubicBezTo>
                    <a:close/>
                    <a:moveTo>
                      <a:pt x="922" y="535"/>
                    </a:moveTo>
                    <a:cubicBezTo>
                      <a:pt x="922" y="535"/>
                      <a:pt x="922" y="535"/>
                      <a:pt x="922" y="535"/>
                    </a:cubicBezTo>
                    <a:cubicBezTo>
                      <a:pt x="923" y="535"/>
                      <a:pt x="923" y="535"/>
                      <a:pt x="923" y="534"/>
                    </a:cubicBezTo>
                    <a:cubicBezTo>
                      <a:pt x="923" y="534"/>
                      <a:pt x="922" y="534"/>
                      <a:pt x="922" y="535"/>
                    </a:cubicBezTo>
                    <a:close/>
                    <a:moveTo>
                      <a:pt x="943" y="580"/>
                    </a:moveTo>
                    <a:cubicBezTo>
                      <a:pt x="944" y="581"/>
                      <a:pt x="944" y="581"/>
                      <a:pt x="944" y="582"/>
                    </a:cubicBezTo>
                    <a:cubicBezTo>
                      <a:pt x="945" y="582"/>
                      <a:pt x="945" y="582"/>
                      <a:pt x="945" y="581"/>
                    </a:cubicBezTo>
                    <a:cubicBezTo>
                      <a:pt x="945" y="581"/>
                      <a:pt x="945" y="581"/>
                      <a:pt x="945" y="581"/>
                    </a:cubicBezTo>
                    <a:cubicBezTo>
                      <a:pt x="944" y="580"/>
                      <a:pt x="944" y="579"/>
                      <a:pt x="943" y="578"/>
                    </a:cubicBezTo>
                    <a:cubicBezTo>
                      <a:pt x="943" y="578"/>
                      <a:pt x="942" y="577"/>
                      <a:pt x="942" y="576"/>
                    </a:cubicBezTo>
                    <a:cubicBezTo>
                      <a:pt x="942" y="575"/>
                      <a:pt x="942" y="575"/>
                      <a:pt x="942" y="575"/>
                    </a:cubicBezTo>
                    <a:cubicBezTo>
                      <a:pt x="942" y="574"/>
                      <a:pt x="941" y="574"/>
                      <a:pt x="941" y="574"/>
                    </a:cubicBezTo>
                    <a:cubicBezTo>
                      <a:pt x="941" y="574"/>
                      <a:pt x="941" y="575"/>
                      <a:pt x="940" y="575"/>
                    </a:cubicBezTo>
                    <a:cubicBezTo>
                      <a:pt x="940" y="575"/>
                      <a:pt x="940" y="575"/>
                      <a:pt x="940" y="575"/>
                    </a:cubicBezTo>
                    <a:cubicBezTo>
                      <a:pt x="939" y="575"/>
                      <a:pt x="940" y="575"/>
                      <a:pt x="940" y="576"/>
                    </a:cubicBezTo>
                    <a:cubicBezTo>
                      <a:pt x="940" y="576"/>
                      <a:pt x="941" y="576"/>
                      <a:pt x="941" y="576"/>
                    </a:cubicBezTo>
                    <a:cubicBezTo>
                      <a:pt x="941" y="577"/>
                      <a:pt x="941" y="578"/>
                      <a:pt x="941" y="578"/>
                    </a:cubicBezTo>
                    <a:cubicBezTo>
                      <a:pt x="941" y="579"/>
                      <a:pt x="942" y="580"/>
                      <a:pt x="943" y="580"/>
                    </a:cubicBezTo>
                    <a:close/>
                    <a:moveTo>
                      <a:pt x="954" y="583"/>
                    </a:moveTo>
                    <a:cubicBezTo>
                      <a:pt x="954" y="583"/>
                      <a:pt x="953" y="583"/>
                      <a:pt x="953" y="583"/>
                    </a:cubicBezTo>
                    <a:cubicBezTo>
                      <a:pt x="953" y="582"/>
                      <a:pt x="953" y="582"/>
                      <a:pt x="953" y="581"/>
                    </a:cubicBezTo>
                    <a:cubicBezTo>
                      <a:pt x="953" y="581"/>
                      <a:pt x="953" y="581"/>
                      <a:pt x="952" y="581"/>
                    </a:cubicBezTo>
                    <a:cubicBezTo>
                      <a:pt x="952" y="581"/>
                      <a:pt x="952" y="581"/>
                      <a:pt x="952" y="581"/>
                    </a:cubicBezTo>
                    <a:cubicBezTo>
                      <a:pt x="952" y="581"/>
                      <a:pt x="952" y="581"/>
                      <a:pt x="952" y="581"/>
                    </a:cubicBezTo>
                    <a:cubicBezTo>
                      <a:pt x="952" y="582"/>
                      <a:pt x="952" y="582"/>
                      <a:pt x="952" y="582"/>
                    </a:cubicBezTo>
                    <a:cubicBezTo>
                      <a:pt x="952" y="582"/>
                      <a:pt x="952" y="583"/>
                      <a:pt x="953" y="583"/>
                    </a:cubicBezTo>
                    <a:cubicBezTo>
                      <a:pt x="953" y="583"/>
                      <a:pt x="953" y="583"/>
                      <a:pt x="953" y="583"/>
                    </a:cubicBezTo>
                    <a:cubicBezTo>
                      <a:pt x="953" y="583"/>
                      <a:pt x="953" y="583"/>
                      <a:pt x="953" y="583"/>
                    </a:cubicBezTo>
                    <a:cubicBezTo>
                      <a:pt x="954" y="583"/>
                      <a:pt x="954" y="583"/>
                      <a:pt x="954" y="583"/>
                    </a:cubicBezTo>
                    <a:close/>
                    <a:moveTo>
                      <a:pt x="169" y="323"/>
                    </a:moveTo>
                    <a:cubicBezTo>
                      <a:pt x="170" y="323"/>
                      <a:pt x="171" y="323"/>
                      <a:pt x="170" y="322"/>
                    </a:cubicBezTo>
                    <a:cubicBezTo>
                      <a:pt x="170" y="321"/>
                      <a:pt x="169" y="321"/>
                      <a:pt x="170" y="321"/>
                    </a:cubicBezTo>
                    <a:cubicBezTo>
                      <a:pt x="170" y="321"/>
                      <a:pt x="170" y="321"/>
                      <a:pt x="171" y="321"/>
                    </a:cubicBezTo>
                    <a:cubicBezTo>
                      <a:pt x="172" y="322"/>
                      <a:pt x="172" y="321"/>
                      <a:pt x="172" y="321"/>
                    </a:cubicBezTo>
                    <a:cubicBezTo>
                      <a:pt x="172" y="320"/>
                      <a:pt x="171" y="319"/>
                      <a:pt x="173" y="319"/>
                    </a:cubicBezTo>
                    <a:cubicBezTo>
                      <a:pt x="173" y="320"/>
                      <a:pt x="173" y="321"/>
                      <a:pt x="173" y="322"/>
                    </a:cubicBezTo>
                    <a:cubicBezTo>
                      <a:pt x="173" y="323"/>
                      <a:pt x="173" y="323"/>
                      <a:pt x="174" y="323"/>
                    </a:cubicBezTo>
                    <a:cubicBezTo>
                      <a:pt x="176" y="324"/>
                      <a:pt x="176" y="323"/>
                      <a:pt x="177" y="322"/>
                    </a:cubicBezTo>
                    <a:cubicBezTo>
                      <a:pt x="177" y="321"/>
                      <a:pt x="177" y="321"/>
                      <a:pt x="178" y="321"/>
                    </a:cubicBezTo>
                    <a:cubicBezTo>
                      <a:pt x="178" y="321"/>
                      <a:pt x="178" y="322"/>
                      <a:pt x="178" y="322"/>
                    </a:cubicBezTo>
                    <a:cubicBezTo>
                      <a:pt x="176" y="324"/>
                      <a:pt x="178" y="326"/>
                      <a:pt x="179" y="327"/>
                    </a:cubicBezTo>
                    <a:cubicBezTo>
                      <a:pt x="179" y="329"/>
                      <a:pt x="180" y="329"/>
                      <a:pt x="181" y="328"/>
                    </a:cubicBezTo>
                    <a:cubicBezTo>
                      <a:pt x="182" y="328"/>
                      <a:pt x="182" y="328"/>
                      <a:pt x="182" y="328"/>
                    </a:cubicBezTo>
                    <a:cubicBezTo>
                      <a:pt x="182" y="329"/>
                      <a:pt x="183" y="330"/>
                      <a:pt x="182" y="331"/>
                    </a:cubicBezTo>
                    <a:cubicBezTo>
                      <a:pt x="182" y="332"/>
                      <a:pt x="180" y="331"/>
                      <a:pt x="179" y="331"/>
                    </a:cubicBezTo>
                    <a:cubicBezTo>
                      <a:pt x="179" y="331"/>
                      <a:pt x="179" y="331"/>
                      <a:pt x="179" y="331"/>
                    </a:cubicBezTo>
                    <a:cubicBezTo>
                      <a:pt x="180" y="335"/>
                      <a:pt x="180" y="335"/>
                      <a:pt x="179" y="336"/>
                    </a:cubicBezTo>
                    <a:cubicBezTo>
                      <a:pt x="180" y="337"/>
                      <a:pt x="182" y="338"/>
                      <a:pt x="184" y="338"/>
                    </a:cubicBezTo>
                    <a:cubicBezTo>
                      <a:pt x="185" y="338"/>
                      <a:pt x="186" y="337"/>
                      <a:pt x="187" y="339"/>
                    </a:cubicBezTo>
                    <a:cubicBezTo>
                      <a:pt x="188" y="340"/>
                      <a:pt x="188" y="340"/>
                      <a:pt x="189" y="340"/>
                    </a:cubicBezTo>
                    <a:cubicBezTo>
                      <a:pt x="189" y="341"/>
                      <a:pt x="189" y="341"/>
                      <a:pt x="190" y="341"/>
                    </a:cubicBezTo>
                    <a:cubicBezTo>
                      <a:pt x="190" y="341"/>
                      <a:pt x="190" y="340"/>
                      <a:pt x="190" y="340"/>
                    </a:cubicBezTo>
                    <a:cubicBezTo>
                      <a:pt x="190" y="339"/>
                      <a:pt x="191" y="339"/>
                      <a:pt x="191" y="338"/>
                    </a:cubicBezTo>
                    <a:cubicBezTo>
                      <a:pt x="192" y="338"/>
                      <a:pt x="192" y="339"/>
                      <a:pt x="193" y="339"/>
                    </a:cubicBezTo>
                    <a:cubicBezTo>
                      <a:pt x="193" y="340"/>
                      <a:pt x="194" y="341"/>
                      <a:pt x="195" y="341"/>
                    </a:cubicBezTo>
                    <a:cubicBezTo>
                      <a:pt x="195" y="340"/>
                      <a:pt x="194" y="339"/>
                      <a:pt x="195" y="340"/>
                    </a:cubicBezTo>
                    <a:cubicBezTo>
                      <a:pt x="196" y="340"/>
                      <a:pt x="197" y="340"/>
                      <a:pt x="198" y="341"/>
                    </a:cubicBezTo>
                    <a:cubicBezTo>
                      <a:pt x="198" y="341"/>
                      <a:pt x="199" y="342"/>
                      <a:pt x="200" y="342"/>
                    </a:cubicBezTo>
                    <a:cubicBezTo>
                      <a:pt x="199" y="341"/>
                      <a:pt x="199" y="341"/>
                      <a:pt x="198" y="340"/>
                    </a:cubicBezTo>
                    <a:cubicBezTo>
                      <a:pt x="197" y="339"/>
                      <a:pt x="197" y="339"/>
                      <a:pt x="199" y="338"/>
                    </a:cubicBezTo>
                    <a:cubicBezTo>
                      <a:pt x="199" y="339"/>
                      <a:pt x="199" y="340"/>
                      <a:pt x="201" y="340"/>
                    </a:cubicBezTo>
                    <a:cubicBezTo>
                      <a:pt x="201" y="340"/>
                      <a:pt x="202" y="341"/>
                      <a:pt x="202" y="341"/>
                    </a:cubicBezTo>
                    <a:cubicBezTo>
                      <a:pt x="202" y="341"/>
                      <a:pt x="202" y="341"/>
                      <a:pt x="202" y="341"/>
                    </a:cubicBezTo>
                    <a:cubicBezTo>
                      <a:pt x="204" y="341"/>
                      <a:pt x="201" y="340"/>
                      <a:pt x="203" y="339"/>
                    </a:cubicBezTo>
                    <a:cubicBezTo>
                      <a:pt x="203" y="339"/>
                      <a:pt x="203" y="339"/>
                      <a:pt x="203" y="340"/>
                    </a:cubicBezTo>
                    <a:cubicBezTo>
                      <a:pt x="205" y="341"/>
                      <a:pt x="205" y="339"/>
                      <a:pt x="206" y="339"/>
                    </a:cubicBezTo>
                    <a:cubicBezTo>
                      <a:pt x="207" y="337"/>
                      <a:pt x="205" y="337"/>
                      <a:pt x="205" y="337"/>
                    </a:cubicBezTo>
                    <a:cubicBezTo>
                      <a:pt x="202" y="335"/>
                      <a:pt x="200" y="332"/>
                      <a:pt x="198" y="330"/>
                    </a:cubicBezTo>
                    <a:cubicBezTo>
                      <a:pt x="198" y="330"/>
                      <a:pt x="197" y="329"/>
                      <a:pt x="197" y="328"/>
                    </a:cubicBezTo>
                    <a:cubicBezTo>
                      <a:pt x="196" y="326"/>
                      <a:pt x="196" y="323"/>
                      <a:pt x="194" y="321"/>
                    </a:cubicBezTo>
                    <a:cubicBezTo>
                      <a:pt x="193" y="320"/>
                      <a:pt x="193" y="319"/>
                      <a:pt x="193" y="317"/>
                    </a:cubicBezTo>
                    <a:cubicBezTo>
                      <a:pt x="192" y="316"/>
                      <a:pt x="192" y="314"/>
                      <a:pt x="192" y="313"/>
                    </a:cubicBezTo>
                    <a:cubicBezTo>
                      <a:pt x="191" y="313"/>
                      <a:pt x="191" y="312"/>
                      <a:pt x="191" y="311"/>
                    </a:cubicBezTo>
                    <a:cubicBezTo>
                      <a:pt x="192" y="308"/>
                      <a:pt x="191" y="305"/>
                      <a:pt x="192" y="302"/>
                    </a:cubicBezTo>
                    <a:cubicBezTo>
                      <a:pt x="192" y="302"/>
                      <a:pt x="191" y="302"/>
                      <a:pt x="191" y="301"/>
                    </a:cubicBezTo>
                    <a:cubicBezTo>
                      <a:pt x="192" y="301"/>
                      <a:pt x="193" y="301"/>
                      <a:pt x="193" y="300"/>
                    </a:cubicBezTo>
                    <a:cubicBezTo>
                      <a:pt x="192" y="299"/>
                      <a:pt x="193" y="298"/>
                      <a:pt x="193" y="297"/>
                    </a:cubicBezTo>
                    <a:cubicBezTo>
                      <a:pt x="193" y="297"/>
                      <a:pt x="193" y="297"/>
                      <a:pt x="193" y="297"/>
                    </a:cubicBezTo>
                    <a:cubicBezTo>
                      <a:pt x="194" y="297"/>
                      <a:pt x="195" y="297"/>
                      <a:pt x="195" y="296"/>
                    </a:cubicBezTo>
                    <a:cubicBezTo>
                      <a:pt x="194" y="294"/>
                      <a:pt x="194" y="294"/>
                      <a:pt x="193" y="294"/>
                    </a:cubicBezTo>
                    <a:cubicBezTo>
                      <a:pt x="197" y="293"/>
                      <a:pt x="198" y="292"/>
                      <a:pt x="196" y="289"/>
                    </a:cubicBezTo>
                    <a:cubicBezTo>
                      <a:pt x="197" y="289"/>
                      <a:pt x="199" y="288"/>
                      <a:pt x="197" y="287"/>
                    </a:cubicBezTo>
                    <a:cubicBezTo>
                      <a:pt x="198" y="287"/>
                      <a:pt x="199" y="286"/>
                      <a:pt x="199" y="285"/>
                    </a:cubicBezTo>
                    <a:cubicBezTo>
                      <a:pt x="199" y="284"/>
                      <a:pt x="198" y="283"/>
                      <a:pt x="197" y="283"/>
                    </a:cubicBezTo>
                    <a:cubicBezTo>
                      <a:pt x="196" y="283"/>
                      <a:pt x="196" y="283"/>
                      <a:pt x="195" y="283"/>
                    </a:cubicBezTo>
                    <a:cubicBezTo>
                      <a:pt x="195" y="282"/>
                      <a:pt x="194" y="282"/>
                      <a:pt x="194" y="282"/>
                    </a:cubicBezTo>
                    <a:cubicBezTo>
                      <a:pt x="194" y="282"/>
                      <a:pt x="195" y="281"/>
                      <a:pt x="195" y="281"/>
                    </a:cubicBezTo>
                    <a:cubicBezTo>
                      <a:pt x="195" y="281"/>
                      <a:pt x="195" y="281"/>
                      <a:pt x="195" y="280"/>
                    </a:cubicBezTo>
                    <a:cubicBezTo>
                      <a:pt x="196" y="281"/>
                      <a:pt x="196" y="282"/>
                      <a:pt x="197" y="282"/>
                    </a:cubicBezTo>
                    <a:cubicBezTo>
                      <a:pt x="198" y="282"/>
                      <a:pt x="198" y="282"/>
                      <a:pt x="198" y="282"/>
                    </a:cubicBezTo>
                    <a:cubicBezTo>
                      <a:pt x="199" y="282"/>
                      <a:pt x="199" y="282"/>
                      <a:pt x="200" y="282"/>
                    </a:cubicBezTo>
                    <a:cubicBezTo>
                      <a:pt x="200" y="283"/>
                      <a:pt x="200" y="283"/>
                      <a:pt x="200" y="282"/>
                    </a:cubicBezTo>
                    <a:cubicBezTo>
                      <a:pt x="201" y="281"/>
                      <a:pt x="201" y="281"/>
                      <a:pt x="202" y="280"/>
                    </a:cubicBezTo>
                    <a:cubicBezTo>
                      <a:pt x="204" y="279"/>
                      <a:pt x="204" y="277"/>
                      <a:pt x="202" y="276"/>
                    </a:cubicBezTo>
                    <a:cubicBezTo>
                      <a:pt x="202" y="275"/>
                      <a:pt x="201" y="275"/>
                      <a:pt x="200" y="275"/>
                    </a:cubicBezTo>
                    <a:cubicBezTo>
                      <a:pt x="200" y="274"/>
                      <a:pt x="201" y="274"/>
                      <a:pt x="201" y="274"/>
                    </a:cubicBezTo>
                    <a:cubicBezTo>
                      <a:pt x="202" y="274"/>
                      <a:pt x="202" y="275"/>
                      <a:pt x="203" y="275"/>
                    </a:cubicBezTo>
                    <a:cubicBezTo>
                      <a:pt x="204" y="276"/>
                      <a:pt x="204" y="276"/>
                      <a:pt x="205" y="275"/>
                    </a:cubicBezTo>
                    <a:cubicBezTo>
                      <a:pt x="206" y="275"/>
                      <a:pt x="206" y="274"/>
                      <a:pt x="206" y="273"/>
                    </a:cubicBezTo>
                    <a:cubicBezTo>
                      <a:pt x="206" y="271"/>
                      <a:pt x="205" y="270"/>
                      <a:pt x="203" y="269"/>
                    </a:cubicBezTo>
                    <a:cubicBezTo>
                      <a:pt x="202" y="269"/>
                      <a:pt x="202" y="269"/>
                      <a:pt x="202" y="269"/>
                    </a:cubicBezTo>
                    <a:cubicBezTo>
                      <a:pt x="202" y="268"/>
                      <a:pt x="202" y="268"/>
                      <a:pt x="203" y="268"/>
                    </a:cubicBezTo>
                    <a:cubicBezTo>
                      <a:pt x="204" y="269"/>
                      <a:pt x="205" y="268"/>
                      <a:pt x="206" y="270"/>
                    </a:cubicBezTo>
                    <a:cubicBezTo>
                      <a:pt x="206" y="271"/>
                      <a:pt x="206" y="271"/>
                      <a:pt x="207" y="271"/>
                    </a:cubicBezTo>
                    <a:cubicBezTo>
                      <a:pt x="208" y="270"/>
                      <a:pt x="209" y="270"/>
                      <a:pt x="208" y="269"/>
                    </a:cubicBezTo>
                    <a:cubicBezTo>
                      <a:pt x="208" y="268"/>
                      <a:pt x="207" y="268"/>
                      <a:pt x="208" y="267"/>
                    </a:cubicBezTo>
                    <a:cubicBezTo>
                      <a:pt x="208" y="267"/>
                      <a:pt x="208" y="267"/>
                      <a:pt x="208" y="266"/>
                    </a:cubicBezTo>
                    <a:cubicBezTo>
                      <a:pt x="207" y="265"/>
                      <a:pt x="206" y="263"/>
                      <a:pt x="205" y="261"/>
                    </a:cubicBezTo>
                    <a:cubicBezTo>
                      <a:pt x="205" y="261"/>
                      <a:pt x="205" y="260"/>
                      <a:pt x="205" y="260"/>
                    </a:cubicBezTo>
                    <a:cubicBezTo>
                      <a:pt x="205" y="260"/>
                      <a:pt x="205" y="260"/>
                      <a:pt x="205" y="260"/>
                    </a:cubicBezTo>
                    <a:cubicBezTo>
                      <a:pt x="206" y="260"/>
                      <a:pt x="206" y="260"/>
                      <a:pt x="206" y="261"/>
                    </a:cubicBezTo>
                    <a:cubicBezTo>
                      <a:pt x="206" y="263"/>
                      <a:pt x="207" y="264"/>
                      <a:pt x="209" y="265"/>
                    </a:cubicBezTo>
                    <a:cubicBezTo>
                      <a:pt x="209" y="265"/>
                      <a:pt x="210" y="265"/>
                      <a:pt x="210" y="265"/>
                    </a:cubicBezTo>
                    <a:cubicBezTo>
                      <a:pt x="211" y="265"/>
                      <a:pt x="210" y="264"/>
                      <a:pt x="210" y="264"/>
                    </a:cubicBezTo>
                    <a:cubicBezTo>
                      <a:pt x="210" y="262"/>
                      <a:pt x="210" y="261"/>
                      <a:pt x="212" y="261"/>
                    </a:cubicBezTo>
                    <a:cubicBezTo>
                      <a:pt x="212" y="261"/>
                      <a:pt x="212" y="260"/>
                      <a:pt x="212" y="260"/>
                    </a:cubicBezTo>
                    <a:cubicBezTo>
                      <a:pt x="214" y="258"/>
                      <a:pt x="214" y="256"/>
                      <a:pt x="213" y="254"/>
                    </a:cubicBezTo>
                    <a:cubicBezTo>
                      <a:pt x="213" y="253"/>
                      <a:pt x="212" y="253"/>
                      <a:pt x="212" y="252"/>
                    </a:cubicBezTo>
                    <a:cubicBezTo>
                      <a:pt x="213" y="252"/>
                      <a:pt x="214" y="253"/>
                      <a:pt x="214" y="253"/>
                    </a:cubicBezTo>
                    <a:cubicBezTo>
                      <a:pt x="215" y="254"/>
                      <a:pt x="216" y="254"/>
                      <a:pt x="216" y="253"/>
                    </a:cubicBezTo>
                    <a:cubicBezTo>
                      <a:pt x="216" y="251"/>
                      <a:pt x="218" y="250"/>
                      <a:pt x="217" y="247"/>
                    </a:cubicBezTo>
                    <a:cubicBezTo>
                      <a:pt x="218" y="248"/>
                      <a:pt x="219" y="249"/>
                      <a:pt x="219" y="250"/>
                    </a:cubicBezTo>
                    <a:cubicBezTo>
                      <a:pt x="220" y="250"/>
                      <a:pt x="220" y="250"/>
                      <a:pt x="221" y="250"/>
                    </a:cubicBezTo>
                    <a:cubicBezTo>
                      <a:pt x="221" y="249"/>
                      <a:pt x="222" y="249"/>
                      <a:pt x="221" y="248"/>
                    </a:cubicBezTo>
                    <a:cubicBezTo>
                      <a:pt x="221" y="248"/>
                      <a:pt x="220" y="247"/>
                      <a:pt x="220" y="247"/>
                    </a:cubicBezTo>
                    <a:cubicBezTo>
                      <a:pt x="221" y="247"/>
                      <a:pt x="222" y="247"/>
                      <a:pt x="223" y="247"/>
                    </a:cubicBezTo>
                    <a:cubicBezTo>
                      <a:pt x="224" y="247"/>
                      <a:pt x="225" y="246"/>
                      <a:pt x="224" y="245"/>
                    </a:cubicBezTo>
                    <a:cubicBezTo>
                      <a:pt x="224" y="244"/>
                      <a:pt x="223" y="244"/>
                      <a:pt x="224" y="244"/>
                    </a:cubicBezTo>
                    <a:cubicBezTo>
                      <a:pt x="224" y="243"/>
                      <a:pt x="225" y="243"/>
                      <a:pt x="225" y="243"/>
                    </a:cubicBezTo>
                    <a:cubicBezTo>
                      <a:pt x="226" y="243"/>
                      <a:pt x="227" y="243"/>
                      <a:pt x="227" y="242"/>
                    </a:cubicBezTo>
                    <a:cubicBezTo>
                      <a:pt x="227" y="241"/>
                      <a:pt x="226" y="241"/>
                      <a:pt x="225" y="241"/>
                    </a:cubicBezTo>
                    <a:cubicBezTo>
                      <a:pt x="225" y="241"/>
                      <a:pt x="224" y="241"/>
                      <a:pt x="223" y="240"/>
                    </a:cubicBezTo>
                    <a:cubicBezTo>
                      <a:pt x="225" y="240"/>
                      <a:pt x="226" y="238"/>
                      <a:pt x="226" y="237"/>
                    </a:cubicBezTo>
                    <a:cubicBezTo>
                      <a:pt x="226" y="237"/>
                      <a:pt x="226" y="237"/>
                      <a:pt x="226" y="237"/>
                    </a:cubicBezTo>
                    <a:cubicBezTo>
                      <a:pt x="226" y="237"/>
                      <a:pt x="227" y="237"/>
                      <a:pt x="227" y="238"/>
                    </a:cubicBezTo>
                    <a:cubicBezTo>
                      <a:pt x="227" y="238"/>
                      <a:pt x="226" y="239"/>
                      <a:pt x="227" y="239"/>
                    </a:cubicBezTo>
                    <a:cubicBezTo>
                      <a:pt x="228" y="239"/>
                      <a:pt x="228" y="238"/>
                      <a:pt x="228" y="237"/>
                    </a:cubicBezTo>
                    <a:cubicBezTo>
                      <a:pt x="228" y="237"/>
                      <a:pt x="228" y="237"/>
                      <a:pt x="228" y="237"/>
                    </a:cubicBezTo>
                    <a:cubicBezTo>
                      <a:pt x="228" y="236"/>
                      <a:pt x="227" y="234"/>
                      <a:pt x="230" y="234"/>
                    </a:cubicBezTo>
                    <a:cubicBezTo>
                      <a:pt x="230" y="234"/>
                      <a:pt x="230" y="234"/>
                      <a:pt x="230" y="234"/>
                    </a:cubicBezTo>
                    <a:cubicBezTo>
                      <a:pt x="231" y="233"/>
                      <a:pt x="231" y="232"/>
                      <a:pt x="232" y="231"/>
                    </a:cubicBezTo>
                    <a:cubicBezTo>
                      <a:pt x="232" y="232"/>
                      <a:pt x="232" y="232"/>
                      <a:pt x="232" y="232"/>
                    </a:cubicBezTo>
                    <a:cubicBezTo>
                      <a:pt x="232" y="233"/>
                      <a:pt x="232" y="233"/>
                      <a:pt x="232" y="234"/>
                    </a:cubicBezTo>
                    <a:cubicBezTo>
                      <a:pt x="233" y="234"/>
                      <a:pt x="233" y="233"/>
                      <a:pt x="233" y="232"/>
                    </a:cubicBezTo>
                    <a:cubicBezTo>
                      <a:pt x="234" y="232"/>
                      <a:pt x="234" y="231"/>
                      <a:pt x="235" y="230"/>
                    </a:cubicBezTo>
                    <a:cubicBezTo>
                      <a:pt x="236" y="229"/>
                      <a:pt x="235" y="228"/>
                      <a:pt x="236" y="228"/>
                    </a:cubicBezTo>
                    <a:cubicBezTo>
                      <a:pt x="237" y="228"/>
                      <a:pt x="239" y="227"/>
                      <a:pt x="240" y="226"/>
                    </a:cubicBezTo>
                    <a:cubicBezTo>
                      <a:pt x="241" y="226"/>
                      <a:pt x="242" y="225"/>
                      <a:pt x="242" y="225"/>
                    </a:cubicBezTo>
                    <a:cubicBezTo>
                      <a:pt x="244" y="224"/>
                      <a:pt x="246" y="224"/>
                      <a:pt x="247" y="222"/>
                    </a:cubicBezTo>
                    <a:cubicBezTo>
                      <a:pt x="247" y="221"/>
                      <a:pt x="248" y="221"/>
                      <a:pt x="248" y="221"/>
                    </a:cubicBezTo>
                    <a:cubicBezTo>
                      <a:pt x="249" y="222"/>
                      <a:pt x="250" y="221"/>
                      <a:pt x="251" y="220"/>
                    </a:cubicBezTo>
                    <a:cubicBezTo>
                      <a:pt x="252" y="220"/>
                      <a:pt x="253" y="220"/>
                      <a:pt x="254" y="219"/>
                    </a:cubicBezTo>
                    <a:cubicBezTo>
                      <a:pt x="255" y="219"/>
                      <a:pt x="255" y="218"/>
                      <a:pt x="256" y="217"/>
                    </a:cubicBezTo>
                    <a:cubicBezTo>
                      <a:pt x="256" y="217"/>
                      <a:pt x="256" y="217"/>
                      <a:pt x="257" y="217"/>
                    </a:cubicBezTo>
                    <a:cubicBezTo>
                      <a:pt x="258" y="217"/>
                      <a:pt x="259" y="217"/>
                      <a:pt x="260" y="215"/>
                    </a:cubicBezTo>
                    <a:cubicBezTo>
                      <a:pt x="260" y="215"/>
                      <a:pt x="261" y="215"/>
                      <a:pt x="262" y="214"/>
                    </a:cubicBezTo>
                    <a:cubicBezTo>
                      <a:pt x="262" y="214"/>
                      <a:pt x="262" y="214"/>
                      <a:pt x="263" y="214"/>
                    </a:cubicBezTo>
                    <a:cubicBezTo>
                      <a:pt x="263" y="214"/>
                      <a:pt x="264" y="213"/>
                      <a:pt x="264" y="213"/>
                    </a:cubicBezTo>
                    <a:cubicBezTo>
                      <a:pt x="266" y="213"/>
                      <a:pt x="266" y="213"/>
                      <a:pt x="267" y="212"/>
                    </a:cubicBezTo>
                    <a:cubicBezTo>
                      <a:pt x="267" y="211"/>
                      <a:pt x="268" y="211"/>
                      <a:pt x="268" y="211"/>
                    </a:cubicBezTo>
                    <a:cubicBezTo>
                      <a:pt x="271" y="210"/>
                      <a:pt x="273" y="208"/>
                      <a:pt x="275" y="207"/>
                    </a:cubicBezTo>
                    <a:cubicBezTo>
                      <a:pt x="276" y="206"/>
                      <a:pt x="276" y="206"/>
                      <a:pt x="277" y="206"/>
                    </a:cubicBezTo>
                    <a:cubicBezTo>
                      <a:pt x="278" y="206"/>
                      <a:pt x="279" y="206"/>
                      <a:pt x="278" y="205"/>
                    </a:cubicBezTo>
                    <a:cubicBezTo>
                      <a:pt x="278" y="204"/>
                      <a:pt x="278" y="204"/>
                      <a:pt x="278" y="204"/>
                    </a:cubicBezTo>
                    <a:cubicBezTo>
                      <a:pt x="279" y="204"/>
                      <a:pt x="279" y="203"/>
                      <a:pt x="279" y="202"/>
                    </a:cubicBezTo>
                    <a:cubicBezTo>
                      <a:pt x="279" y="202"/>
                      <a:pt x="280" y="201"/>
                      <a:pt x="280" y="201"/>
                    </a:cubicBezTo>
                    <a:cubicBezTo>
                      <a:pt x="282" y="200"/>
                      <a:pt x="282" y="198"/>
                      <a:pt x="282" y="196"/>
                    </a:cubicBezTo>
                    <a:cubicBezTo>
                      <a:pt x="282" y="196"/>
                      <a:pt x="282" y="196"/>
                      <a:pt x="282" y="196"/>
                    </a:cubicBezTo>
                    <a:cubicBezTo>
                      <a:pt x="283" y="194"/>
                      <a:pt x="283" y="192"/>
                      <a:pt x="283" y="190"/>
                    </a:cubicBezTo>
                    <a:cubicBezTo>
                      <a:pt x="283" y="189"/>
                      <a:pt x="282" y="189"/>
                      <a:pt x="282" y="188"/>
                    </a:cubicBezTo>
                    <a:cubicBezTo>
                      <a:pt x="282" y="186"/>
                      <a:pt x="280" y="186"/>
                      <a:pt x="280" y="184"/>
                    </a:cubicBezTo>
                    <a:cubicBezTo>
                      <a:pt x="277" y="184"/>
                      <a:pt x="275" y="183"/>
                      <a:pt x="273" y="184"/>
                    </a:cubicBezTo>
                    <a:cubicBezTo>
                      <a:pt x="272" y="184"/>
                      <a:pt x="272" y="186"/>
                      <a:pt x="271" y="186"/>
                    </a:cubicBezTo>
                    <a:cubicBezTo>
                      <a:pt x="271" y="186"/>
                      <a:pt x="271" y="186"/>
                      <a:pt x="270" y="186"/>
                    </a:cubicBezTo>
                    <a:cubicBezTo>
                      <a:pt x="267" y="187"/>
                      <a:pt x="265" y="190"/>
                      <a:pt x="262" y="192"/>
                    </a:cubicBezTo>
                    <a:cubicBezTo>
                      <a:pt x="262" y="193"/>
                      <a:pt x="262" y="194"/>
                      <a:pt x="263" y="195"/>
                    </a:cubicBezTo>
                    <a:cubicBezTo>
                      <a:pt x="263" y="195"/>
                      <a:pt x="263" y="195"/>
                      <a:pt x="263" y="196"/>
                    </a:cubicBezTo>
                    <a:cubicBezTo>
                      <a:pt x="263" y="196"/>
                      <a:pt x="264" y="197"/>
                      <a:pt x="263" y="198"/>
                    </a:cubicBezTo>
                    <a:cubicBezTo>
                      <a:pt x="263" y="198"/>
                      <a:pt x="262" y="198"/>
                      <a:pt x="262" y="197"/>
                    </a:cubicBezTo>
                    <a:cubicBezTo>
                      <a:pt x="260" y="197"/>
                      <a:pt x="259" y="197"/>
                      <a:pt x="258" y="199"/>
                    </a:cubicBezTo>
                    <a:cubicBezTo>
                      <a:pt x="258" y="199"/>
                      <a:pt x="257" y="199"/>
                      <a:pt x="257" y="200"/>
                    </a:cubicBezTo>
                    <a:cubicBezTo>
                      <a:pt x="257" y="200"/>
                      <a:pt x="257" y="199"/>
                      <a:pt x="257" y="199"/>
                    </a:cubicBezTo>
                    <a:cubicBezTo>
                      <a:pt x="256" y="198"/>
                      <a:pt x="255" y="198"/>
                      <a:pt x="255" y="199"/>
                    </a:cubicBezTo>
                    <a:cubicBezTo>
                      <a:pt x="255" y="201"/>
                      <a:pt x="253" y="201"/>
                      <a:pt x="252" y="203"/>
                    </a:cubicBezTo>
                    <a:cubicBezTo>
                      <a:pt x="251" y="204"/>
                      <a:pt x="250" y="205"/>
                      <a:pt x="249" y="203"/>
                    </a:cubicBezTo>
                    <a:cubicBezTo>
                      <a:pt x="248" y="203"/>
                      <a:pt x="248" y="203"/>
                      <a:pt x="248" y="203"/>
                    </a:cubicBezTo>
                    <a:cubicBezTo>
                      <a:pt x="246" y="205"/>
                      <a:pt x="245" y="205"/>
                      <a:pt x="244" y="206"/>
                    </a:cubicBezTo>
                    <a:cubicBezTo>
                      <a:pt x="243" y="207"/>
                      <a:pt x="242" y="207"/>
                      <a:pt x="242" y="206"/>
                    </a:cubicBezTo>
                    <a:cubicBezTo>
                      <a:pt x="242" y="206"/>
                      <a:pt x="241" y="205"/>
                      <a:pt x="241" y="205"/>
                    </a:cubicBezTo>
                    <a:cubicBezTo>
                      <a:pt x="241" y="207"/>
                      <a:pt x="240" y="207"/>
                      <a:pt x="239" y="208"/>
                    </a:cubicBezTo>
                    <a:cubicBezTo>
                      <a:pt x="238" y="207"/>
                      <a:pt x="238" y="207"/>
                      <a:pt x="239" y="206"/>
                    </a:cubicBezTo>
                    <a:cubicBezTo>
                      <a:pt x="239" y="206"/>
                      <a:pt x="239" y="205"/>
                      <a:pt x="238" y="205"/>
                    </a:cubicBezTo>
                    <a:cubicBezTo>
                      <a:pt x="236" y="206"/>
                      <a:pt x="234" y="204"/>
                      <a:pt x="231" y="205"/>
                    </a:cubicBezTo>
                    <a:cubicBezTo>
                      <a:pt x="229" y="206"/>
                      <a:pt x="230" y="207"/>
                      <a:pt x="229" y="208"/>
                    </a:cubicBezTo>
                    <a:cubicBezTo>
                      <a:pt x="229" y="209"/>
                      <a:pt x="230" y="209"/>
                      <a:pt x="231" y="209"/>
                    </a:cubicBezTo>
                    <a:cubicBezTo>
                      <a:pt x="230" y="211"/>
                      <a:pt x="228" y="212"/>
                      <a:pt x="227" y="213"/>
                    </a:cubicBezTo>
                    <a:cubicBezTo>
                      <a:pt x="227" y="213"/>
                      <a:pt x="226" y="213"/>
                      <a:pt x="226" y="212"/>
                    </a:cubicBezTo>
                    <a:cubicBezTo>
                      <a:pt x="226" y="212"/>
                      <a:pt x="226" y="211"/>
                      <a:pt x="226" y="211"/>
                    </a:cubicBezTo>
                    <a:cubicBezTo>
                      <a:pt x="227" y="211"/>
                      <a:pt x="227" y="210"/>
                      <a:pt x="227" y="210"/>
                    </a:cubicBezTo>
                    <a:cubicBezTo>
                      <a:pt x="226" y="209"/>
                      <a:pt x="225" y="209"/>
                      <a:pt x="225" y="210"/>
                    </a:cubicBezTo>
                    <a:cubicBezTo>
                      <a:pt x="224" y="210"/>
                      <a:pt x="223" y="211"/>
                      <a:pt x="223" y="211"/>
                    </a:cubicBezTo>
                    <a:cubicBezTo>
                      <a:pt x="224" y="212"/>
                      <a:pt x="224" y="212"/>
                      <a:pt x="225" y="212"/>
                    </a:cubicBezTo>
                    <a:cubicBezTo>
                      <a:pt x="225" y="213"/>
                      <a:pt x="225" y="214"/>
                      <a:pt x="224" y="213"/>
                    </a:cubicBezTo>
                    <a:cubicBezTo>
                      <a:pt x="222" y="213"/>
                      <a:pt x="221" y="215"/>
                      <a:pt x="219" y="215"/>
                    </a:cubicBezTo>
                    <a:cubicBezTo>
                      <a:pt x="218" y="214"/>
                      <a:pt x="218" y="215"/>
                      <a:pt x="218" y="216"/>
                    </a:cubicBezTo>
                    <a:cubicBezTo>
                      <a:pt x="218" y="216"/>
                      <a:pt x="217" y="216"/>
                      <a:pt x="217" y="215"/>
                    </a:cubicBezTo>
                    <a:cubicBezTo>
                      <a:pt x="217" y="213"/>
                      <a:pt x="216" y="214"/>
                      <a:pt x="216" y="214"/>
                    </a:cubicBezTo>
                    <a:cubicBezTo>
                      <a:pt x="215" y="215"/>
                      <a:pt x="215" y="214"/>
                      <a:pt x="215" y="215"/>
                    </a:cubicBezTo>
                    <a:cubicBezTo>
                      <a:pt x="215" y="216"/>
                      <a:pt x="216" y="216"/>
                      <a:pt x="217" y="216"/>
                    </a:cubicBezTo>
                    <a:cubicBezTo>
                      <a:pt x="215" y="216"/>
                      <a:pt x="214" y="216"/>
                      <a:pt x="214" y="218"/>
                    </a:cubicBezTo>
                    <a:cubicBezTo>
                      <a:pt x="213" y="220"/>
                      <a:pt x="212" y="221"/>
                      <a:pt x="210" y="222"/>
                    </a:cubicBezTo>
                    <a:cubicBezTo>
                      <a:pt x="209" y="222"/>
                      <a:pt x="209" y="222"/>
                      <a:pt x="209" y="223"/>
                    </a:cubicBezTo>
                    <a:cubicBezTo>
                      <a:pt x="209" y="223"/>
                      <a:pt x="210" y="223"/>
                      <a:pt x="210" y="223"/>
                    </a:cubicBezTo>
                    <a:cubicBezTo>
                      <a:pt x="210" y="223"/>
                      <a:pt x="211" y="223"/>
                      <a:pt x="211" y="223"/>
                    </a:cubicBezTo>
                    <a:cubicBezTo>
                      <a:pt x="211" y="224"/>
                      <a:pt x="211" y="224"/>
                      <a:pt x="210" y="224"/>
                    </a:cubicBezTo>
                    <a:cubicBezTo>
                      <a:pt x="210" y="225"/>
                      <a:pt x="209" y="225"/>
                      <a:pt x="209" y="225"/>
                    </a:cubicBezTo>
                    <a:cubicBezTo>
                      <a:pt x="207" y="225"/>
                      <a:pt x="206" y="226"/>
                      <a:pt x="207" y="229"/>
                    </a:cubicBezTo>
                    <a:cubicBezTo>
                      <a:pt x="207" y="229"/>
                      <a:pt x="207" y="229"/>
                      <a:pt x="208" y="230"/>
                    </a:cubicBezTo>
                    <a:cubicBezTo>
                      <a:pt x="208" y="230"/>
                      <a:pt x="208" y="230"/>
                      <a:pt x="208" y="231"/>
                    </a:cubicBezTo>
                    <a:cubicBezTo>
                      <a:pt x="207" y="231"/>
                      <a:pt x="206" y="231"/>
                      <a:pt x="206" y="231"/>
                    </a:cubicBezTo>
                    <a:cubicBezTo>
                      <a:pt x="205" y="231"/>
                      <a:pt x="205" y="230"/>
                      <a:pt x="204" y="230"/>
                    </a:cubicBezTo>
                    <a:cubicBezTo>
                      <a:pt x="203" y="228"/>
                      <a:pt x="202" y="230"/>
                      <a:pt x="201" y="230"/>
                    </a:cubicBezTo>
                    <a:cubicBezTo>
                      <a:pt x="200" y="231"/>
                      <a:pt x="201" y="232"/>
                      <a:pt x="202" y="233"/>
                    </a:cubicBezTo>
                    <a:cubicBezTo>
                      <a:pt x="202" y="233"/>
                      <a:pt x="201" y="234"/>
                      <a:pt x="201" y="235"/>
                    </a:cubicBezTo>
                    <a:cubicBezTo>
                      <a:pt x="200" y="235"/>
                      <a:pt x="200" y="235"/>
                      <a:pt x="200" y="236"/>
                    </a:cubicBezTo>
                    <a:cubicBezTo>
                      <a:pt x="200" y="237"/>
                      <a:pt x="200" y="237"/>
                      <a:pt x="199" y="238"/>
                    </a:cubicBezTo>
                    <a:cubicBezTo>
                      <a:pt x="198" y="238"/>
                      <a:pt x="198" y="237"/>
                      <a:pt x="198" y="236"/>
                    </a:cubicBezTo>
                    <a:cubicBezTo>
                      <a:pt x="198" y="235"/>
                      <a:pt x="197" y="235"/>
                      <a:pt x="196" y="235"/>
                    </a:cubicBezTo>
                    <a:cubicBezTo>
                      <a:pt x="195" y="235"/>
                      <a:pt x="195" y="236"/>
                      <a:pt x="194" y="236"/>
                    </a:cubicBezTo>
                    <a:cubicBezTo>
                      <a:pt x="193" y="238"/>
                      <a:pt x="195" y="239"/>
                      <a:pt x="194" y="241"/>
                    </a:cubicBezTo>
                    <a:cubicBezTo>
                      <a:pt x="195" y="240"/>
                      <a:pt x="196" y="240"/>
                      <a:pt x="197" y="240"/>
                    </a:cubicBezTo>
                    <a:cubicBezTo>
                      <a:pt x="197" y="240"/>
                      <a:pt x="197" y="240"/>
                      <a:pt x="198" y="240"/>
                    </a:cubicBezTo>
                    <a:cubicBezTo>
                      <a:pt x="198" y="240"/>
                      <a:pt x="198" y="241"/>
                      <a:pt x="198" y="241"/>
                    </a:cubicBezTo>
                    <a:cubicBezTo>
                      <a:pt x="197" y="242"/>
                      <a:pt x="198" y="242"/>
                      <a:pt x="198" y="242"/>
                    </a:cubicBezTo>
                    <a:cubicBezTo>
                      <a:pt x="197" y="242"/>
                      <a:pt x="197" y="243"/>
                      <a:pt x="196" y="244"/>
                    </a:cubicBezTo>
                    <a:cubicBezTo>
                      <a:pt x="196" y="244"/>
                      <a:pt x="195" y="244"/>
                      <a:pt x="195" y="245"/>
                    </a:cubicBezTo>
                    <a:cubicBezTo>
                      <a:pt x="196" y="246"/>
                      <a:pt x="196" y="245"/>
                      <a:pt x="197" y="245"/>
                    </a:cubicBezTo>
                    <a:cubicBezTo>
                      <a:pt x="197" y="245"/>
                      <a:pt x="198" y="245"/>
                      <a:pt x="198" y="245"/>
                    </a:cubicBezTo>
                    <a:cubicBezTo>
                      <a:pt x="199" y="245"/>
                      <a:pt x="199" y="245"/>
                      <a:pt x="199" y="246"/>
                    </a:cubicBezTo>
                    <a:cubicBezTo>
                      <a:pt x="199" y="247"/>
                      <a:pt x="199" y="247"/>
                      <a:pt x="201" y="247"/>
                    </a:cubicBezTo>
                    <a:cubicBezTo>
                      <a:pt x="201" y="247"/>
                      <a:pt x="202" y="247"/>
                      <a:pt x="202" y="248"/>
                    </a:cubicBezTo>
                    <a:cubicBezTo>
                      <a:pt x="201" y="248"/>
                      <a:pt x="200" y="248"/>
                      <a:pt x="199" y="248"/>
                    </a:cubicBezTo>
                    <a:cubicBezTo>
                      <a:pt x="197" y="247"/>
                      <a:pt x="194" y="248"/>
                      <a:pt x="193" y="249"/>
                    </a:cubicBezTo>
                    <a:cubicBezTo>
                      <a:pt x="192" y="250"/>
                      <a:pt x="192" y="251"/>
                      <a:pt x="194" y="251"/>
                    </a:cubicBezTo>
                    <a:cubicBezTo>
                      <a:pt x="194" y="252"/>
                      <a:pt x="196" y="252"/>
                      <a:pt x="196" y="253"/>
                    </a:cubicBezTo>
                    <a:cubicBezTo>
                      <a:pt x="196" y="254"/>
                      <a:pt x="195" y="254"/>
                      <a:pt x="195" y="254"/>
                    </a:cubicBezTo>
                    <a:cubicBezTo>
                      <a:pt x="194" y="254"/>
                      <a:pt x="193" y="254"/>
                      <a:pt x="192" y="255"/>
                    </a:cubicBezTo>
                    <a:cubicBezTo>
                      <a:pt x="191" y="255"/>
                      <a:pt x="191" y="255"/>
                      <a:pt x="191" y="255"/>
                    </a:cubicBezTo>
                    <a:cubicBezTo>
                      <a:pt x="191" y="256"/>
                      <a:pt x="191" y="256"/>
                      <a:pt x="192" y="256"/>
                    </a:cubicBezTo>
                    <a:cubicBezTo>
                      <a:pt x="193" y="256"/>
                      <a:pt x="193" y="257"/>
                      <a:pt x="193" y="257"/>
                    </a:cubicBezTo>
                    <a:cubicBezTo>
                      <a:pt x="194" y="258"/>
                      <a:pt x="194" y="258"/>
                      <a:pt x="194" y="258"/>
                    </a:cubicBezTo>
                    <a:cubicBezTo>
                      <a:pt x="193" y="258"/>
                      <a:pt x="193" y="258"/>
                      <a:pt x="193" y="258"/>
                    </a:cubicBezTo>
                    <a:cubicBezTo>
                      <a:pt x="192" y="258"/>
                      <a:pt x="191" y="259"/>
                      <a:pt x="190" y="259"/>
                    </a:cubicBezTo>
                    <a:cubicBezTo>
                      <a:pt x="190" y="259"/>
                      <a:pt x="191" y="260"/>
                      <a:pt x="192" y="260"/>
                    </a:cubicBezTo>
                    <a:cubicBezTo>
                      <a:pt x="192" y="260"/>
                      <a:pt x="193" y="261"/>
                      <a:pt x="194" y="262"/>
                    </a:cubicBezTo>
                    <a:cubicBezTo>
                      <a:pt x="195" y="263"/>
                      <a:pt x="196" y="264"/>
                      <a:pt x="197" y="263"/>
                    </a:cubicBezTo>
                    <a:cubicBezTo>
                      <a:pt x="198" y="263"/>
                      <a:pt x="198" y="264"/>
                      <a:pt x="198" y="264"/>
                    </a:cubicBezTo>
                    <a:cubicBezTo>
                      <a:pt x="198" y="264"/>
                      <a:pt x="197" y="264"/>
                      <a:pt x="197" y="264"/>
                    </a:cubicBezTo>
                    <a:cubicBezTo>
                      <a:pt x="197" y="264"/>
                      <a:pt x="195" y="264"/>
                      <a:pt x="194" y="264"/>
                    </a:cubicBezTo>
                    <a:cubicBezTo>
                      <a:pt x="194" y="264"/>
                      <a:pt x="194" y="263"/>
                      <a:pt x="194" y="263"/>
                    </a:cubicBezTo>
                    <a:cubicBezTo>
                      <a:pt x="192" y="262"/>
                      <a:pt x="191" y="262"/>
                      <a:pt x="189" y="261"/>
                    </a:cubicBezTo>
                    <a:cubicBezTo>
                      <a:pt x="189" y="261"/>
                      <a:pt x="189" y="261"/>
                      <a:pt x="189" y="261"/>
                    </a:cubicBezTo>
                    <a:cubicBezTo>
                      <a:pt x="189" y="261"/>
                      <a:pt x="188" y="262"/>
                      <a:pt x="188" y="262"/>
                    </a:cubicBezTo>
                    <a:cubicBezTo>
                      <a:pt x="188" y="262"/>
                      <a:pt x="187" y="262"/>
                      <a:pt x="187" y="263"/>
                    </a:cubicBezTo>
                    <a:cubicBezTo>
                      <a:pt x="187" y="264"/>
                      <a:pt x="185" y="265"/>
                      <a:pt x="187" y="265"/>
                    </a:cubicBezTo>
                    <a:cubicBezTo>
                      <a:pt x="188" y="265"/>
                      <a:pt x="188" y="265"/>
                      <a:pt x="188" y="266"/>
                    </a:cubicBezTo>
                    <a:cubicBezTo>
                      <a:pt x="187" y="266"/>
                      <a:pt x="187" y="266"/>
                      <a:pt x="187" y="266"/>
                    </a:cubicBezTo>
                    <a:cubicBezTo>
                      <a:pt x="186" y="266"/>
                      <a:pt x="185" y="266"/>
                      <a:pt x="185" y="267"/>
                    </a:cubicBezTo>
                    <a:cubicBezTo>
                      <a:pt x="185" y="267"/>
                      <a:pt x="185" y="267"/>
                      <a:pt x="185" y="267"/>
                    </a:cubicBezTo>
                    <a:cubicBezTo>
                      <a:pt x="183" y="267"/>
                      <a:pt x="183" y="268"/>
                      <a:pt x="182" y="269"/>
                    </a:cubicBezTo>
                    <a:cubicBezTo>
                      <a:pt x="182" y="270"/>
                      <a:pt x="182" y="270"/>
                      <a:pt x="181" y="270"/>
                    </a:cubicBezTo>
                    <a:cubicBezTo>
                      <a:pt x="181" y="270"/>
                      <a:pt x="180" y="270"/>
                      <a:pt x="180" y="271"/>
                    </a:cubicBezTo>
                    <a:cubicBezTo>
                      <a:pt x="180" y="271"/>
                      <a:pt x="180" y="272"/>
                      <a:pt x="181" y="272"/>
                    </a:cubicBezTo>
                    <a:cubicBezTo>
                      <a:pt x="181" y="272"/>
                      <a:pt x="181" y="273"/>
                      <a:pt x="182" y="273"/>
                    </a:cubicBezTo>
                    <a:cubicBezTo>
                      <a:pt x="182" y="274"/>
                      <a:pt x="183" y="275"/>
                      <a:pt x="184" y="274"/>
                    </a:cubicBezTo>
                    <a:cubicBezTo>
                      <a:pt x="185" y="273"/>
                      <a:pt x="186" y="272"/>
                      <a:pt x="187" y="272"/>
                    </a:cubicBezTo>
                    <a:cubicBezTo>
                      <a:pt x="188" y="272"/>
                      <a:pt x="190" y="273"/>
                      <a:pt x="188" y="274"/>
                    </a:cubicBezTo>
                    <a:cubicBezTo>
                      <a:pt x="187" y="274"/>
                      <a:pt x="187" y="274"/>
                      <a:pt x="186" y="274"/>
                    </a:cubicBezTo>
                    <a:cubicBezTo>
                      <a:pt x="185" y="274"/>
                      <a:pt x="185" y="275"/>
                      <a:pt x="184" y="276"/>
                    </a:cubicBezTo>
                    <a:cubicBezTo>
                      <a:pt x="184" y="277"/>
                      <a:pt x="184" y="277"/>
                      <a:pt x="185" y="277"/>
                    </a:cubicBezTo>
                    <a:cubicBezTo>
                      <a:pt x="185" y="278"/>
                      <a:pt x="184" y="279"/>
                      <a:pt x="183" y="279"/>
                    </a:cubicBezTo>
                    <a:cubicBezTo>
                      <a:pt x="183" y="279"/>
                      <a:pt x="182" y="280"/>
                      <a:pt x="183" y="280"/>
                    </a:cubicBezTo>
                    <a:cubicBezTo>
                      <a:pt x="183" y="281"/>
                      <a:pt x="183" y="281"/>
                      <a:pt x="184" y="281"/>
                    </a:cubicBezTo>
                    <a:cubicBezTo>
                      <a:pt x="184" y="281"/>
                      <a:pt x="184" y="280"/>
                      <a:pt x="185" y="281"/>
                    </a:cubicBezTo>
                    <a:cubicBezTo>
                      <a:pt x="184" y="281"/>
                      <a:pt x="184" y="282"/>
                      <a:pt x="184" y="282"/>
                    </a:cubicBezTo>
                    <a:cubicBezTo>
                      <a:pt x="183" y="282"/>
                      <a:pt x="183" y="283"/>
                      <a:pt x="182" y="282"/>
                    </a:cubicBezTo>
                    <a:cubicBezTo>
                      <a:pt x="181" y="281"/>
                      <a:pt x="180" y="282"/>
                      <a:pt x="180" y="283"/>
                    </a:cubicBezTo>
                    <a:cubicBezTo>
                      <a:pt x="179" y="283"/>
                      <a:pt x="179" y="283"/>
                      <a:pt x="179" y="283"/>
                    </a:cubicBezTo>
                    <a:cubicBezTo>
                      <a:pt x="177" y="282"/>
                      <a:pt x="178" y="284"/>
                      <a:pt x="177" y="285"/>
                    </a:cubicBezTo>
                    <a:cubicBezTo>
                      <a:pt x="176" y="285"/>
                      <a:pt x="176" y="286"/>
                      <a:pt x="177" y="287"/>
                    </a:cubicBezTo>
                    <a:cubicBezTo>
                      <a:pt x="177" y="288"/>
                      <a:pt x="177" y="288"/>
                      <a:pt x="178" y="289"/>
                    </a:cubicBezTo>
                    <a:cubicBezTo>
                      <a:pt x="176" y="289"/>
                      <a:pt x="176" y="289"/>
                      <a:pt x="176" y="291"/>
                    </a:cubicBezTo>
                    <a:cubicBezTo>
                      <a:pt x="176" y="291"/>
                      <a:pt x="176" y="291"/>
                      <a:pt x="176" y="291"/>
                    </a:cubicBezTo>
                    <a:cubicBezTo>
                      <a:pt x="176" y="291"/>
                      <a:pt x="175" y="291"/>
                      <a:pt x="175" y="291"/>
                    </a:cubicBezTo>
                    <a:cubicBezTo>
                      <a:pt x="173" y="291"/>
                      <a:pt x="172" y="293"/>
                      <a:pt x="172" y="294"/>
                    </a:cubicBezTo>
                    <a:cubicBezTo>
                      <a:pt x="171" y="296"/>
                      <a:pt x="172" y="296"/>
                      <a:pt x="173" y="296"/>
                    </a:cubicBezTo>
                    <a:cubicBezTo>
                      <a:pt x="174" y="296"/>
                      <a:pt x="175" y="296"/>
                      <a:pt x="176" y="296"/>
                    </a:cubicBezTo>
                    <a:cubicBezTo>
                      <a:pt x="176" y="296"/>
                      <a:pt x="176" y="297"/>
                      <a:pt x="175" y="297"/>
                    </a:cubicBezTo>
                    <a:cubicBezTo>
                      <a:pt x="173" y="297"/>
                      <a:pt x="173" y="297"/>
                      <a:pt x="174" y="299"/>
                    </a:cubicBezTo>
                    <a:cubicBezTo>
                      <a:pt x="175" y="298"/>
                      <a:pt x="175" y="298"/>
                      <a:pt x="176" y="298"/>
                    </a:cubicBezTo>
                    <a:cubicBezTo>
                      <a:pt x="175" y="299"/>
                      <a:pt x="174" y="300"/>
                      <a:pt x="174" y="301"/>
                    </a:cubicBezTo>
                    <a:cubicBezTo>
                      <a:pt x="173" y="304"/>
                      <a:pt x="172" y="306"/>
                      <a:pt x="171" y="309"/>
                    </a:cubicBezTo>
                    <a:cubicBezTo>
                      <a:pt x="171" y="310"/>
                      <a:pt x="171" y="310"/>
                      <a:pt x="170" y="309"/>
                    </a:cubicBezTo>
                    <a:cubicBezTo>
                      <a:pt x="169" y="309"/>
                      <a:pt x="168" y="310"/>
                      <a:pt x="167" y="308"/>
                    </a:cubicBezTo>
                    <a:cubicBezTo>
                      <a:pt x="167" y="308"/>
                      <a:pt x="165" y="310"/>
                      <a:pt x="165" y="311"/>
                    </a:cubicBezTo>
                    <a:cubicBezTo>
                      <a:pt x="165" y="314"/>
                      <a:pt x="165" y="317"/>
                      <a:pt x="165" y="319"/>
                    </a:cubicBezTo>
                    <a:cubicBezTo>
                      <a:pt x="165" y="321"/>
                      <a:pt x="168" y="323"/>
                      <a:pt x="169" y="323"/>
                    </a:cubicBezTo>
                    <a:close/>
                    <a:moveTo>
                      <a:pt x="221" y="358"/>
                    </a:moveTo>
                    <a:cubicBezTo>
                      <a:pt x="222" y="358"/>
                      <a:pt x="223" y="359"/>
                      <a:pt x="224" y="359"/>
                    </a:cubicBezTo>
                    <a:cubicBezTo>
                      <a:pt x="225" y="359"/>
                      <a:pt x="226" y="358"/>
                      <a:pt x="226" y="356"/>
                    </a:cubicBezTo>
                    <a:cubicBezTo>
                      <a:pt x="225" y="354"/>
                      <a:pt x="224" y="352"/>
                      <a:pt x="223" y="351"/>
                    </a:cubicBezTo>
                    <a:cubicBezTo>
                      <a:pt x="220" y="349"/>
                      <a:pt x="219" y="347"/>
                      <a:pt x="217" y="345"/>
                    </a:cubicBezTo>
                    <a:cubicBezTo>
                      <a:pt x="216" y="344"/>
                      <a:pt x="216" y="343"/>
                      <a:pt x="214" y="344"/>
                    </a:cubicBezTo>
                    <a:cubicBezTo>
                      <a:pt x="213" y="345"/>
                      <a:pt x="213" y="346"/>
                      <a:pt x="214" y="347"/>
                    </a:cubicBezTo>
                    <a:cubicBezTo>
                      <a:pt x="214" y="348"/>
                      <a:pt x="214" y="348"/>
                      <a:pt x="214" y="348"/>
                    </a:cubicBezTo>
                    <a:cubicBezTo>
                      <a:pt x="214" y="348"/>
                      <a:pt x="213" y="348"/>
                      <a:pt x="212" y="348"/>
                    </a:cubicBezTo>
                    <a:cubicBezTo>
                      <a:pt x="213" y="349"/>
                      <a:pt x="213" y="350"/>
                      <a:pt x="213" y="351"/>
                    </a:cubicBezTo>
                    <a:cubicBezTo>
                      <a:pt x="214" y="353"/>
                      <a:pt x="216" y="355"/>
                      <a:pt x="218" y="355"/>
                    </a:cubicBezTo>
                    <a:cubicBezTo>
                      <a:pt x="219" y="355"/>
                      <a:pt x="221" y="355"/>
                      <a:pt x="220" y="357"/>
                    </a:cubicBezTo>
                    <a:cubicBezTo>
                      <a:pt x="220" y="358"/>
                      <a:pt x="220" y="358"/>
                      <a:pt x="221" y="358"/>
                    </a:cubicBezTo>
                    <a:close/>
                    <a:moveTo>
                      <a:pt x="290" y="289"/>
                    </a:moveTo>
                    <a:cubicBezTo>
                      <a:pt x="291" y="288"/>
                      <a:pt x="291" y="287"/>
                      <a:pt x="292" y="288"/>
                    </a:cubicBezTo>
                    <a:cubicBezTo>
                      <a:pt x="292" y="289"/>
                      <a:pt x="293" y="289"/>
                      <a:pt x="294" y="288"/>
                    </a:cubicBezTo>
                    <a:cubicBezTo>
                      <a:pt x="294" y="287"/>
                      <a:pt x="294" y="287"/>
                      <a:pt x="295" y="287"/>
                    </a:cubicBezTo>
                    <a:cubicBezTo>
                      <a:pt x="297" y="286"/>
                      <a:pt x="298" y="286"/>
                      <a:pt x="300" y="285"/>
                    </a:cubicBezTo>
                    <a:cubicBezTo>
                      <a:pt x="301" y="285"/>
                      <a:pt x="302" y="285"/>
                      <a:pt x="301" y="284"/>
                    </a:cubicBezTo>
                    <a:cubicBezTo>
                      <a:pt x="301" y="282"/>
                      <a:pt x="299" y="282"/>
                      <a:pt x="299" y="280"/>
                    </a:cubicBezTo>
                    <a:cubicBezTo>
                      <a:pt x="298" y="278"/>
                      <a:pt x="297" y="277"/>
                      <a:pt x="295" y="278"/>
                    </a:cubicBezTo>
                    <a:cubicBezTo>
                      <a:pt x="292" y="278"/>
                      <a:pt x="290" y="279"/>
                      <a:pt x="290" y="282"/>
                    </a:cubicBezTo>
                    <a:cubicBezTo>
                      <a:pt x="290" y="284"/>
                      <a:pt x="290" y="286"/>
                      <a:pt x="290" y="289"/>
                    </a:cubicBezTo>
                    <a:close/>
                    <a:moveTo>
                      <a:pt x="145" y="377"/>
                    </a:moveTo>
                    <a:cubicBezTo>
                      <a:pt x="146" y="377"/>
                      <a:pt x="146" y="378"/>
                      <a:pt x="148" y="377"/>
                    </a:cubicBezTo>
                    <a:cubicBezTo>
                      <a:pt x="149" y="376"/>
                      <a:pt x="150" y="376"/>
                      <a:pt x="152" y="375"/>
                    </a:cubicBezTo>
                    <a:cubicBezTo>
                      <a:pt x="152" y="375"/>
                      <a:pt x="153" y="374"/>
                      <a:pt x="153" y="373"/>
                    </a:cubicBezTo>
                    <a:cubicBezTo>
                      <a:pt x="154" y="373"/>
                      <a:pt x="154" y="372"/>
                      <a:pt x="154" y="371"/>
                    </a:cubicBezTo>
                    <a:cubicBezTo>
                      <a:pt x="156" y="371"/>
                      <a:pt x="156" y="369"/>
                      <a:pt x="156" y="369"/>
                    </a:cubicBezTo>
                    <a:cubicBezTo>
                      <a:pt x="156" y="367"/>
                      <a:pt x="156" y="366"/>
                      <a:pt x="155" y="366"/>
                    </a:cubicBezTo>
                    <a:cubicBezTo>
                      <a:pt x="153" y="365"/>
                      <a:pt x="152" y="364"/>
                      <a:pt x="150" y="363"/>
                    </a:cubicBezTo>
                    <a:cubicBezTo>
                      <a:pt x="149" y="362"/>
                      <a:pt x="148" y="362"/>
                      <a:pt x="147" y="363"/>
                    </a:cubicBezTo>
                    <a:cubicBezTo>
                      <a:pt x="145" y="365"/>
                      <a:pt x="143" y="367"/>
                      <a:pt x="143" y="369"/>
                    </a:cubicBezTo>
                    <a:cubicBezTo>
                      <a:pt x="143" y="372"/>
                      <a:pt x="142" y="375"/>
                      <a:pt x="145" y="377"/>
                    </a:cubicBezTo>
                    <a:close/>
                    <a:moveTo>
                      <a:pt x="350" y="294"/>
                    </a:moveTo>
                    <a:cubicBezTo>
                      <a:pt x="351" y="295"/>
                      <a:pt x="351" y="295"/>
                      <a:pt x="352" y="295"/>
                    </a:cubicBezTo>
                    <a:cubicBezTo>
                      <a:pt x="353" y="295"/>
                      <a:pt x="355" y="295"/>
                      <a:pt x="355" y="294"/>
                    </a:cubicBezTo>
                    <a:cubicBezTo>
                      <a:pt x="354" y="292"/>
                      <a:pt x="355" y="291"/>
                      <a:pt x="354" y="289"/>
                    </a:cubicBezTo>
                    <a:cubicBezTo>
                      <a:pt x="354" y="288"/>
                      <a:pt x="353" y="287"/>
                      <a:pt x="352" y="287"/>
                    </a:cubicBezTo>
                    <a:cubicBezTo>
                      <a:pt x="351" y="287"/>
                      <a:pt x="351" y="288"/>
                      <a:pt x="351" y="289"/>
                    </a:cubicBezTo>
                    <a:cubicBezTo>
                      <a:pt x="351" y="289"/>
                      <a:pt x="350" y="290"/>
                      <a:pt x="350" y="290"/>
                    </a:cubicBezTo>
                    <a:cubicBezTo>
                      <a:pt x="348" y="292"/>
                      <a:pt x="348" y="293"/>
                      <a:pt x="350" y="294"/>
                    </a:cubicBezTo>
                    <a:close/>
                    <a:moveTo>
                      <a:pt x="175" y="327"/>
                    </a:moveTo>
                    <a:cubicBezTo>
                      <a:pt x="174" y="325"/>
                      <a:pt x="173" y="324"/>
                      <a:pt x="171" y="325"/>
                    </a:cubicBezTo>
                    <a:cubicBezTo>
                      <a:pt x="171" y="326"/>
                      <a:pt x="170" y="326"/>
                      <a:pt x="170" y="327"/>
                    </a:cubicBezTo>
                    <a:cubicBezTo>
                      <a:pt x="170" y="327"/>
                      <a:pt x="171" y="328"/>
                      <a:pt x="172" y="328"/>
                    </a:cubicBezTo>
                    <a:cubicBezTo>
                      <a:pt x="173" y="328"/>
                      <a:pt x="173" y="328"/>
                      <a:pt x="173" y="329"/>
                    </a:cubicBezTo>
                    <a:cubicBezTo>
                      <a:pt x="174" y="331"/>
                      <a:pt x="175" y="332"/>
                      <a:pt x="176" y="333"/>
                    </a:cubicBezTo>
                    <a:cubicBezTo>
                      <a:pt x="177" y="332"/>
                      <a:pt x="175" y="332"/>
                      <a:pt x="176" y="331"/>
                    </a:cubicBezTo>
                    <a:cubicBezTo>
                      <a:pt x="177" y="330"/>
                      <a:pt x="177" y="328"/>
                      <a:pt x="175" y="327"/>
                    </a:cubicBezTo>
                    <a:close/>
                    <a:moveTo>
                      <a:pt x="375" y="213"/>
                    </a:moveTo>
                    <a:cubicBezTo>
                      <a:pt x="374" y="213"/>
                      <a:pt x="374" y="213"/>
                      <a:pt x="374" y="214"/>
                    </a:cubicBezTo>
                    <a:cubicBezTo>
                      <a:pt x="374" y="214"/>
                      <a:pt x="374" y="215"/>
                      <a:pt x="375" y="215"/>
                    </a:cubicBezTo>
                    <a:cubicBezTo>
                      <a:pt x="376" y="214"/>
                      <a:pt x="378" y="215"/>
                      <a:pt x="379" y="215"/>
                    </a:cubicBezTo>
                    <a:cubicBezTo>
                      <a:pt x="380" y="214"/>
                      <a:pt x="380" y="213"/>
                      <a:pt x="378" y="213"/>
                    </a:cubicBezTo>
                    <a:cubicBezTo>
                      <a:pt x="377" y="213"/>
                      <a:pt x="376" y="213"/>
                      <a:pt x="376" y="212"/>
                    </a:cubicBezTo>
                    <a:cubicBezTo>
                      <a:pt x="376" y="213"/>
                      <a:pt x="375" y="213"/>
                      <a:pt x="375" y="213"/>
                    </a:cubicBezTo>
                    <a:close/>
                    <a:moveTo>
                      <a:pt x="330" y="284"/>
                    </a:moveTo>
                    <a:cubicBezTo>
                      <a:pt x="330" y="285"/>
                      <a:pt x="331" y="285"/>
                      <a:pt x="331" y="285"/>
                    </a:cubicBezTo>
                    <a:cubicBezTo>
                      <a:pt x="332" y="286"/>
                      <a:pt x="333" y="286"/>
                      <a:pt x="334" y="286"/>
                    </a:cubicBezTo>
                    <a:cubicBezTo>
                      <a:pt x="334" y="287"/>
                      <a:pt x="335" y="286"/>
                      <a:pt x="335" y="286"/>
                    </a:cubicBezTo>
                    <a:cubicBezTo>
                      <a:pt x="335" y="285"/>
                      <a:pt x="335" y="285"/>
                      <a:pt x="335" y="284"/>
                    </a:cubicBezTo>
                    <a:cubicBezTo>
                      <a:pt x="334" y="284"/>
                      <a:pt x="333" y="283"/>
                      <a:pt x="332" y="284"/>
                    </a:cubicBezTo>
                    <a:cubicBezTo>
                      <a:pt x="331" y="284"/>
                      <a:pt x="330" y="283"/>
                      <a:pt x="330" y="284"/>
                    </a:cubicBezTo>
                    <a:close/>
                    <a:moveTo>
                      <a:pt x="370" y="236"/>
                    </a:moveTo>
                    <a:cubicBezTo>
                      <a:pt x="371" y="236"/>
                      <a:pt x="371" y="237"/>
                      <a:pt x="372" y="237"/>
                    </a:cubicBezTo>
                    <a:cubicBezTo>
                      <a:pt x="373" y="237"/>
                      <a:pt x="373" y="236"/>
                      <a:pt x="373" y="235"/>
                    </a:cubicBezTo>
                    <a:cubicBezTo>
                      <a:pt x="373" y="235"/>
                      <a:pt x="373" y="234"/>
                      <a:pt x="373" y="234"/>
                    </a:cubicBezTo>
                    <a:cubicBezTo>
                      <a:pt x="372" y="233"/>
                      <a:pt x="373" y="232"/>
                      <a:pt x="373" y="231"/>
                    </a:cubicBezTo>
                    <a:cubicBezTo>
                      <a:pt x="374" y="231"/>
                      <a:pt x="374" y="231"/>
                      <a:pt x="374" y="231"/>
                    </a:cubicBezTo>
                    <a:cubicBezTo>
                      <a:pt x="373" y="229"/>
                      <a:pt x="373" y="227"/>
                      <a:pt x="373" y="226"/>
                    </a:cubicBezTo>
                    <a:cubicBezTo>
                      <a:pt x="373" y="225"/>
                      <a:pt x="373" y="225"/>
                      <a:pt x="372" y="225"/>
                    </a:cubicBezTo>
                    <a:cubicBezTo>
                      <a:pt x="370" y="226"/>
                      <a:pt x="369" y="229"/>
                      <a:pt x="369" y="231"/>
                    </a:cubicBezTo>
                    <a:cubicBezTo>
                      <a:pt x="369" y="232"/>
                      <a:pt x="369" y="233"/>
                      <a:pt x="369" y="233"/>
                    </a:cubicBezTo>
                    <a:cubicBezTo>
                      <a:pt x="369" y="234"/>
                      <a:pt x="370" y="235"/>
                      <a:pt x="370" y="236"/>
                    </a:cubicBezTo>
                    <a:close/>
                    <a:moveTo>
                      <a:pt x="370" y="215"/>
                    </a:moveTo>
                    <a:cubicBezTo>
                      <a:pt x="371" y="216"/>
                      <a:pt x="372" y="217"/>
                      <a:pt x="375" y="216"/>
                    </a:cubicBezTo>
                    <a:cubicBezTo>
                      <a:pt x="373" y="215"/>
                      <a:pt x="371" y="215"/>
                      <a:pt x="371" y="213"/>
                    </a:cubicBezTo>
                    <a:cubicBezTo>
                      <a:pt x="371" y="213"/>
                      <a:pt x="371" y="213"/>
                      <a:pt x="371" y="213"/>
                    </a:cubicBezTo>
                    <a:cubicBezTo>
                      <a:pt x="370" y="213"/>
                      <a:pt x="370" y="214"/>
                      <a:pt x="369" y="214"/>
                    </a:cubicBezTo>
                    <a:cubicBezTo>
                      <a:pt x="369" y="215"/>
                      <a:pt x="369" y="215"/>
                      <a:pt x="370" y="215"/>
                    </a:cubicBezTo>
                    <a:close/>
                    <a:moveTo>
                      <a:pt x="271" y="365"/>
                    </a:moveTo>
                    <a:cubicBezTo>
                      <a:pt x="271" y="364"/>
                      <a:pt x="272" y="363"/>
                      <a:pt x="272" y="362"/>
                    </a:cubicBezTo>
                    <a:cubicBezTo>
                      <a:pt x="272" y="362"/>
                      <a:pt x="272" y="361"/>
                      <a:pt x="272" y="361"/>
                    </a:cubicBezTo>
                    <a:cubicBezTo>
                      <a:pt x="271" y="361"/>
                      <a:pt x="271" y="361"/>
                      <a:pt x="271" y="362"/>
                    </a:cubicBezTo>
                    <a:cubicBezTo>
                      <a:pt x="270" y="362"/>
                      <a:pt x="270" y="363"/>
                      <a:pt x="270" y="364"/>
                    </a:cubicBezTo>
                    <a:cubicBezTo>
                      <a:pt x="269" y="364"/>
                      <a:pt x="270" y="365"/>
                      <a:pt x="270" y="365"/>
                    </a:cubicBezTo>
                    <a:cubicBezTo>
                      <a:pt x="270" y="365"/>
                      <a:pt x="271" y="365"/>
                      <a:pt x="271" y="365"/>
                    </a:cubicBezTo>
                    <a:close/>
                    <a:moveTo>
                      <a:pt x="397" y="253"/>
                    </a:moveTo>
                    <a:cubicBezTo>
                      <a:pt x="398" y="253"/>
                      <a:pt x="398" y="253"/>
                      <a:pt x="398" y="253"/>
                    </a:cubicBezTo>
                    <a:cubicBezTo>
                      <a:pt x="398" y="252"/>
                      <a:pt x="399" y="252"/>
                      <a:pt x="400" y="252"/>
                    </a:cubicBezTo>
                    <a:cubicBezTo>
                      <a:pt x="400" y="251"/>
                      <a:pt x="399" y="251"/>
                      <a:pt x="399" y="251"/>
                    </a:cubicBezTo>
                    <a:cubicBezTo>
                      <a:pt x="399" y="250"/>
                      <a:pt x="398" y="250"/>
                      <a:pt x="398" y="250"/>
                    </a:cubicBezTo>
                    <a:cubicBezTo>
                      <a:pt x="397" y="250"/>
                      <a:pt x="397" y="251"/>
                      <a:pt x="397" y="252"/>
                    </a:cubicBezTo>
                    <a:cubicBezTo>
                      <a:pt x="397" y="252"/>
                      <a:pt x="397" y="253"/>
                      <a:pt x="397" y="253"/>
                    </a:cubicBezTo>
                    <a:close/>
                    <a:moveTo>
                      <a:pt x="379" y="339"/>
                    </a:moveTo>
                    <a:cubicBezTo>
                      <a:pt x="379" y="341"/>
                      <a:pt x="379" y="342"/>
                      <a:pt x="379" y="344"/>
                    </a:cubicBezTo>
                    <a:cubicBezTo>
                      <a:pt x="379" y="344"/>
                      <a:pt x="379" y="345"/>
                      <a:pt x="379" y="344"/>
                    </a:cubicBezTo>
                    <a:cubicBezTo>
                      <a:pt x="380" y="344"/>
                      <a:pt x="380" y="340"/>
                      <a:pt x="379" y="339"/>
                    </a:cubicBezTo>
                    <a:cubicBezTo>
                      <a:pt x="379" y="339"/>
                      <a:pt x="379" y="339"/>
                      <a:pt x="379" y="339"/>
                    </a:cubicBezTo>
                    <a:close/>
                    <a:moveTo>
                      <a:pt x="394" y="250"/>
                    </a:moveTo>
                    <a:cubicBezTo>
                      <a:pt x="393" y="250"/>
                      <a:pt x="393" y="251"/>
                      <a:pt x="393" y="252"/>
                    </a:cubicBezTo>
                    <a:cubicBezTo>
                      <a:pt x="393" y="253"/>
                      <a:pt x="393" y="253"/>
                      <a:pt x="394" y="253"/>
                    </a:cubicBezTo>
                    <a:cubicBezTo>
                      <a:pt x="395" y="253"/>
                      <a:pt x="395" y="252"/>
                      <a:pt x="396" y="252"/>
                    </a:cubicBezTo>
                    <a:cubicBezTo>
                      <a:pt x="395" y="251"/>
                      <a:pt x="395" y="251"/>
                      <a:pt x="394" y="250"/>
                    </a:cubicBezTo>
                    <a:close/>
                    <a:moveTo>
                      <a:pt x="354" y="284"/>
                    </a:moveTo>
                    <a:cubicBezTo>
                      <a:pt x="353" y="282"/>
                      <a:pt x="352" y="282"/>
                      <a:pt x="351" y="282"/>
                    </a:cubicBezTo>
                    <a:cubicBezTo>
                      <a:pt x="350" y="282"/>
                      <a:pt x="350" y="283"/>
                      <a:pt x="350" y="284"/>
                    </a:cubicBezTo>
                    <a:cubicBezTo>
                      <a:pt x="351" y="283"/>
                      <a:pt x="352" y="284"/>
                      <a:pt x="354" y="284"/>
                    </a:cubicBezTo>
                    <a:close/>
                    <a:moveTo>
                      <a:pt x="328" y="278"/>
                    </a:moveTo>
                    <a:cubicBezTo>
                      <a:pt x="330" y="279"/>
                      <a:pt x="330" y="278"/>
                      <a:pt x="330" y="277"/>
                    </a:cubicBezTo>
                    <a:cubicBezTo>
                      <a:pt x="329" y="276"/>
                      <a:pt x="328" y="276"/>
                      <a:pt x="328" y="278"/>
                    </a:cubicBezTo>
                    <a:cubicBezTo>
                      <a:pt x="328" y="278"/>
                      <a:pt x="328" y="278"/>
                      <a:pt x="328" y="278"/>
                    </a:cubicBezTo>
                    <a:close/>
                    <a:moveTo>
                      <a:pt x="374" y="262"/>
                    </a:moveTo>
                    <a:cubicBezTo>
                      <a:pt x="374" y="263"/>
                      <a:pt x="375" y="263"/>
                      <a:pt x="376" y="263"/>
                    </a:cubicBezTo>
                    <a:cubicBezTo>
                      <a:pt x="376" y="263"/>
                      <a:pt x="377" y="263"/>
                      <a:pt x="377" y="263"/>
                    </a:cubicBezTo>
                    <a:cubicBezTo>
                      <a:pt x="377" y="262"/>
                      <a:pt x="376" y="261"/>
                      <a:pt x="375" y="261"/>
                    </a:cubicBezTo>
                    <a:cubicBezTo>
                      <a:pt x="375" y="261"/>
                      <a:pt x="375" y="262"/>
                      <a:pt x="374" y="262"/>
                    </a:cubicBezTo>
                    <a:close/>
                    <a:moveTo>
                      <a:pt x="222" y="210"/>
                    </a:moveTo>
                    <a:cubicBezTo>
                      <a:pt x="223" y="210"/>
                      <a:pt x="223" y="210"/>
                      <a:pt x="224" y="210"/>
                    </a:cubicBezTo>
                    <a:cubicBezTo>
                      <a:pt x="224" y="209"/>
                      <a:pt x="225" y="209"/>
                      <a:pt x="225" y="208"/>
                    </a:cubicBezTo>
                    <a:cubicBezTo>
                      <a:pt x="224" y="208"/>
                      <a:pt x="224" y="208"/>
                      <a:pt x="223" y="208"/>
                    </a:cubicBezTo>
                    <a:cubicBezTo>
                      <a:pt x="223" y="208"/>
                      <a:pt x="222" y="209"/>
                      <a:pt x="222" y="209"/>
                    </a:cubicBezTo>
                    <a:cubicBezTo>
                      <a:pt x="222" y="210"/>
                      <a:pt x="222" y="210"/>
                      <a:pt x="222" y="210"/>
                    </a:cubicBezTo>
                    <a:close/>
                    <a:moveTo>
                      <a:pt x="354" y="252"/>
                    </a:moveTo>
                    <a:cubicBezTo>
                      <a:pt x="355" y="252"/>
                      <a:pt x="355" y="252"/>
                      <a:pt x="355" y="251"/>
                    </a:cubicBezTo>
                    <a:cubicBezTo>
                      <a:pt x="355" y="250"/>
                      <a:pt x="355" y="250"/>
                      <a:pt x="354" y="250"/>
                    </a:cubicBezTo>
                    <a:cubicBezTo>
                      <a:pt x="353" y="250"/>
                      <a:pt x="353" y="250"/>
                      <a:pt x="353" y="250"/>
                    </a:cubicBezTo>
                    <a:cubicBezTo>
                      <a:pt x="353" y="251"/>
                      <a:pt x="353" y="252"/>
                      <a:pt x="354" y="252"/>
                    </a:cubicBezTo>
                    <a:close/>
                    <a:moveTo>
                      <a:pt x="379" y="263"/>
                    </a:moveTo>
                    <a:cubicBezTo>
                      <a:pt x="380" y="263"/>
                      <a:pt x="381" y="263"/>
                      <a:pt x="382" y="262"/>
                    </a:cubicBezTo>
                    <a:cubicBezTo>
                      <a:pt x="380" y="262"/>
                      <a:pt x="379" y="261"/>
                      <a:pt x="379" y="262"/>
                    </a:cubicBezTo>
                    <a:cubicBezTo>
                      <a:pt x="378" y="262"/>
                      <a:pt x="378" y="262"/>
                      <a:pt x="379" y="263"/>
                    </a:cubicBezTo>
                    <a:close/>
                    <a:moveTo>
                      <a:pt x="396" y="245"/>
                    </a:moveTo>
                    <a:cubicBezTo>
                      <a:pt x="395" y="245"/>
                      <a:pt x="394" y="245"/>
                      <a:pt x="393" y="246"/>
                    </a:cubicBezTo>
                    <a:cubicBezTo>
                      <a:pt x="394" y="246"/>
                      <a:pt x="394" y="246"/>
                      <a:pt x="394" y="246"/>
                    </a:cubicBezTo>
                    <a:cubicBezTo>
                      <a:pt x="396" y="247"/>
                      <a:pt x="396" y="246"/>
                      <a:pt x="396" y="245"/>
                    </a:cubicBezTo>
                    <a:close/>
                    <a:moveTo>
                      <a:pt x="380" y="339"/>
                    </a:moveTo>
                    <a:cubicBezTo>
                      <a:pt x="380" y="339"/>
                      <a:pt x="381" y="339"/>
                      <a:pt x="381" y="339"/>
                    </a:cubicBezTo>
                    <a:cubicBezTo>
                      <a:pt x="381" y="337"/>
                      <a:pt x="380" y="337"/>
                      <a:pt x="380" y="337"/>
                    </a:cubicBezTo>
                    <a:cubicBezTo>
                      <a:pt x="380" y="337"/>
                      <a:pt x="379" y="339"/>
                      <a:pt x="380" y="339"/>
                    </a:cubicBezTo>
                    <a:close/>
                    <a:moveTo>
                      <a:pt x="300" y="286"/>
                    </a:moveTo>
                    <a:cubicBezTo>
                      <a:pt x="301" y="287"/>
                      <a:pt x="302" y="288"/>
                      <a:pt x="302" y="289"/>
                    </a:cubicBezTo>
                    <a:cubicBezTo>
                      <a:pt x="302" y="286"/>
                      <a:pt x="302" y="286"/>
                      <a:pt x="300" y="286"/>
                    </a:cubicBezTo>
                    <a:close/>
                    <a:moveTo>
                      <a:pt x="400" y="264"/>
                    </a:moveTo>
                    <a:cubicBezTo>
                      <a:pt x="400" y="264"/>
                      <a:pt x="401" y="264"/>
                      <a:pt x="401" y="264"/>
                    </a:cubicBezTo>
                    <a:cubicBezTo>
                      <a:pt x="402" y="263"/>
                      <a:pt x="401" y="263"/>
                      <a:pt x="401" y="262"/>
                    </a:cubicBezTo>
                    <a:cubicBezTo>
                      <a:pt x="400" y="262"/>
                      <a:pt x="400" y="263"/>
                      <a:pt x="400" y="264"/>
                    </a:cubicBezTo>
                    <a:close/>
                    <a:moveTo>
                      <a:pt x="217" y="369"/>
                    </a:moveTo>
                    <a:cubicBezTo>
                      <a:pt x="218" y="367"/>
                      <a:pt x="217" y="367"/>
                      <a:pt x="216" y="367"/>
                    </a:cubicBezTo>
                    <a:cubicBezTo>
                      <a:pt x="217" y="367"/>
                      <a:pt x="217" y="368"/>
                      <a:pt x="217" y="369"/>
                    </a:cubicBezTo>
                    <a:close/>
                    <a:moveTo>
                      <a:pt x="390" y="252"/>
                    </a:moveTo>
                    <a:cubicBezTo>
                      <a:pt x="389" y="252"/>
                      <a:pt x="389" y="253"/>
                      <a:pt x="389" y="254"/>
                    </a:cubicBezTo>
                    <a:cubicBezTo>
                      <a:pt x="390" y="253"/>
                      <a:pt x="390" y="253"/>
                      <a:pt x="390" y="252"/>
                    </a:cubicBezTo>
                    <a:close/>
                    <a:moveTo>
                      <a:pt x="404" y="266"/>
                    </a:moveTo>
                    <a:cubicBezTo>
                      <a:pt x="404" y="266"/>
                      <a:pt x="404" y="266"/>
                      <a:pt x="404" y="266"/>
                    </a:cubicBezTo>
                    <a:cubicBezTo>
                      <a:pt x="403" y="266"/>
                      <a:pt x="403" y="266"/>
                      <a:pt x="403" y="266"/>
                    </a:cubicBezTo>
                    <a:cubicBezTo>
                      <a:pt x="403" y="267"/>
                      <a:pt x="403" y="267"/>
                      <a:pt x="403" y="267"/>
                    </a:cubicBezTo>
                    <a:cubicBezTo>
                      <a:pt x="404" y="267"/>
                      <a:pt x="404" y="267"/>
                      <a:pt x="404" y="266"/>
                    </a:cubicBezTo>
                    <a:close/>
                    <a:moveTo>
                      <a:pt x="393" y="254"/>
                    </a:moveTo>
                    <a:cubicBezTo>
                      <a:pt x="394" y="255"/>
                      <a:pt x="394" y="255"/>
                      <a:pt x="395" y="255"/>
                    </a:cubicBezTo>
                    <a:cubicBezTo>
                      <a:pt x="395" y="254"/>
                      <a:pt x="394" y="254"/>
                      <a:pt x="393" y="254"/>
                    </a:cubicBezTo>
                    <a:close/>
                    <a:moveTo>
                      <a:pt x="161" y="383"/>
                    </a:moveTo>
                    <a:cubicBezTo>
                      <a:pt x="162" y="382"/>
                      <a:pt x="163" y="382"/>
                      <a:pt x="164" y="382"/>
                    </a:cubicBezTo>
                    <a:cubicBezTo>
                      <a:pt x="163" y="382"/>
                      <a:pt x="162" y="381"/>
                      <a:pt x="161" y="383"/>
                    </a:cubicBezTo>
                    <a:close/>
                    <a:moveTo>
                      <a:pt x="387" y="265"/>
                    </a:moveTo>
                    <a:cubicBezTo>
                      <a:pt x="386" y="264"/>
                      <a:pt x="386" y="264"/>
                      <a:pt x="385" y="265"/>
                    </a:cubicBezTo>
                    <a:cubicBezTo>
                      <a:pt x="386" y="265"/>
                      <a:pt x="386" y="265"/>
                      <a:pt x="387" y="265"/>
                    </a:cubicBezTo>
                    <a:close/>
                    <a:moveTo>
                      <a:pt x="202" y="342"/>
                    </a:moveTo>
                    <a:cubicBezTo>
                      <a:pt x="202" y="342"/>
                      <a:pt x="202" y="342"/>
                      <a:pt x="202" y="342"/>
                    </a:cubicBezTo>
                    <a:cubicBezTo>
                      <a:pt x="203" y="342"/>
                      <a:pt x="202" y="342"/>
                      <a:pt x="202" y="341"/>
                    </a:cubicBezTo>
                    <a:cubicBezTo>
                      <a:pt x="202" y="341"/>
                      <a:pt x="201" y="342"/>
                      <a:pt x="202" y="342"/>
                    </a:cubicBezTo>
                    <a:close/>
                    <a:moveTo>
                      <a:pt x="269" y="361"/>
                    </a:moveTo>
                    <a:cubicBezTo>
                      <a:pt x="269" y="362"/>
                      <a:pt x="269" y="362"/>
                      <a:pt x="269" y="363"/>
                    </a:cubicBezTo>
                    <a:cubicBezTo>
                      <a:pt x="269" y="362"/>
                      <a:pt x="270" y="362"/>
                      <a:pt x="269" y="361"/>
                    </a:cubicBezTo>
                    <a:close/>
                    <a:moveTo>
                      <a:pt x="398" y="245"/>
                    </a:moveTo>
                    <a:cubicBezTo>
                      <a:pt x="398" y="244"/>
                      <a:pt x="398" y="244"/>
                      <a:pt x="397" y="243"/>
                    </a:cubicBezTo>
                    <a:cubicBezTo>
                      <a:pt x="397" y="244"/>
                      <a:pt x="397" y="244"/>
                      <a:pt x="398" y="245"/>
                    </a:cubicBezTo>
                    <a:close/>
                    <a:moveTo>
                      <a:pt x="395" y="261"/>
                    </a:moveTo>
                    <a:cubicBezTo>
                      <a:pt x="395" y="261"/>
                      <a:pt x="395" y="261"/>
                      <a:pt x="396" y="261"/>
                    </a:cubicBezTo>
                    <a:cubicBezTo>
                      <a:pt x="396" y="261"/>
                      <a:pt x="396" y="261"/>
                      <a:pt x="396" y="261"/>
                    </a:cubicBezTo>
                    <a:cubicBezTo>
                      <a:pt x="396" y="261"/>
                      <a:pt x="396" y="261"/>
                      <a:pt x="396" y="261"/>
                    </a:cubicBezTo>
                    <a:cubicBezTo>
                      <a:pt x="396" y="261"/>
                      <a:pt x="395" y="261"/>
                      <a:pt x="395" y="261"/>
                    </a:cubicBezTo>
                    <a:close/>
                    <a:moveTo>
                      <a:pt x="332" y="277"/>
                    </a:moveTo>
                    <a:cubicBezTo>
                      <a:pt x="332" y="277"/>
                      <a:pt x="332" y="277"/>
                      <a:pt x="332" y="277"/>
                    </a:cubicBezTo>
                    <a:cubicBezTo>
                      <a:pt x="332" y="277"/>
                      <a:pt x="332" y="277"/>
                      <a:pt x="332" y="277"/>
                    </a:cubicBezTo>
                    <a:cubicBezTo>
                      <a:pt x="332" y="276"/>
                      <a:pt x="331" y="277"/>
                      <a:pt x="331" y="277"/>
                    </a:cubicBezTo>
                    <a:cubicBezTo>
                      <a:pt x="332" y="277"/>
                      <a:pt x="332" y="277"/>
                      <a:pt x="332" y="277"/>
                    </a:cubicBezTo>
                    <a:close/>
                    <a:moveTo>
                      <a:pt x="400" y="266"/>
                    </a:moveTo>
                    <a:cubicBezTo>
                      <a:pt x="401" y="266"/>
                      <a:pt x="401" y="267"/>
                      <a:pt x="401" y="267"/>
                    </a:cubicBezTo>
                    <a:cubicBezTo>
                      <a:pt x="401" y="267"/>
                      <a:pt x="401" y="267"/>
                      <a:pt x="401" y="267"/>
                    </a:cubicBezTo>
                    <a:cubicBezTo>
                      <a:pt x="401" y="266"/>
                      <a:pt x="401" y="266"/>
                      <a:pt x="401" y="266"/>
                    </a:cubicBezTo>
                    <a:cubicBezTo>
                      <a:pt x="401" y="266"/>
                      <a:pt x="400" y="266"/>
                      <a:pt x="400" y="266"/>
                    </a:cubicBezTo>
                    <a:close/>
                    <a:moveTo>
                      <a:pt x="184" y="385"/>
                    </a:moveTo>
                    <a:cubicBezTo>
                      <a:pt x="184" y="385"/>
                      <a:pt x="183" y="385"/>
                      <a:pt x="183" y="385"/>
                    </a:cubicBezTo>
                    <a:cubicBezTo>
                      <a:pt x="183" y="386"/>
                      <a:pt x="184" y="386"/>
                      <a:pt x="184" y="386"/>
                    </a:cubicBezTo>
                    <a:cubicBezTo>
                      <a:pt x="184" y="385"/>
                      <a:pt x="184" y="385"/>
                      <a:pt x="184" y="385"/>
                    </a:cubicBezTo>
                    <a:close/>
                    <a:moveTo>
                      <a:pt x="267" y="333"/>
                    </a:moveTo>
                    <a:cubicBezTo>
                      <a:pt x="267" y="334"/>
                      <a:pt x="267" y="334"/>
                      <a:pt x="267" y="334"/>
                    </a:cubicBezTo>
                    <a:cubicBezTo>
                      <a:pt x="267" y="334"/>
                      <a:pt x="268" y="334"/>
                      <a:pt x="268" y="334"/>
                    </a:cubicBezTo>
                    <a:cubicBezTo>
                      <a:pt x="268" y="333"/>
                      <a:pt x="268" y="333"/>
                      <a:pt x="267" y="333"/>
                    </a:cubicBezTo>
                    <a:cubicBezTo>
                      <a:pt x="267" y="333"/>
                      <a:pt x="267" y="333"/>
                      <a:pt x="267" y="333"/>
                    </a:cubicBezTo>
                    <a:close/>
                    <a:moveTo>
                      <a:pt x="573" y="256"/>
                    </a:moveTo>
                    <a:cubicBezTo>
                      <a:pt x="573" y="256"/>
                      <a:pt x="572" y="256"/>
                      <a:pt x="572" y="256"/>
                    </a:cubicBezTo>
                    <a:cubicBezTo>
                      <a:pt x="572" y="256"/>
                      <a:pt x="572" y="256"/>
                      <a:pt x="571" y="256"/>
                    </a:cubicBezTo>
                    <a:cubicBezTo>
                      <a:pt x="571" y="256"/>
                      <a:pt x="571" y="256"/>
                      <a:pt x="571" y="257"/>
                    </a:cubicBezTo>
                    <a:cubicBezTo>
                      <a:pt x="571" y="257"/>
                      <a:pt x="571" y="258"/>
                      <a:pt x="571" y="258"/>
                    </a:cubicBezTo>
                    <a:cubicBezTo>
                      <a:pt x="573" y="259"/>
                      <a:pt x="574" y="260"/>
                      <a:pt x="575" y="261"/>
                    </a:cubicBezTo>
                    <a:cubicBezTo>
                      <a:pt x="576" y="262"/>
                      <a:pt x="578" y="262"/>
                      <a:pt x="579" y="263"/>
                    </a:cubicBezTo>
                    <a:cubicBezTo>
                      <a:pt x="579" y="263"/>
                      <a:pt x="580" y="263"/>
                      <a:pt x="580" y="263"/>
                    </a:cubicBezTo>
                    <a:cubicBezTo>
                      <a:pt x="580" y="262"/>
                      <a:pt x="580" y="262"/>
                      <a:pt x="580" y="262"/>
                    </a:cubicBezTo>
                    <a:cubicBezTo>
                      <a:pt x="581" y="260"/>
                      <a:pt x="583" y="259"/>
                      <a:pt x="583" y="257"/>
                    </a:cubicBezTo>
                    <a:cubicBezTo>
                      <a:pt x="584" y="256"/>
                      <a:pt x="584" y="254"/>
                      <a:pt x="582" y="253"/>
                    </a:cubicBezTo>
                    <a:cubicBezTo>
                      <a:pt x="582" y="252"/>
                      <a:pt x="581" y="252"/>
                      <a:pt x="581" y="252"/>
                    </a:cubicBezTo>
                    <a:cubicBezTo>
                      <a:pt x="579" y="252"/>
                      <a:pt x="578" y="252"/>
                      <a:pt x="576" y="251"/>
                    </a:cubicBezTo>
                    <a:cubicBezTo>
                      <a:pt x="576" y="251"/>
                      <a:pt x="575" y="251"/>
                      <a:pt x="575" y="252"/>
                    </a:cubicBezTo>
                    <a:cubicBezTo>
                      <a:pt x="575" y="252"/>
                      <a:pt x="574" y="252"/>
                      <a:pt x="574" y="253"/>
                    </a:cubicBezTo>
                    <a:cubicBezTo>
                      <a:pt x="574" y="253"/>
                      <a:pt x="574" y="254"/>
                      <a:pt x="574" y="255"/>
                    </a:cubicBezTo>
                    <a:cubicBezTo>
                      <a:pt x="574" y="255"/>
                      <a:pt x="574" y="256"/>
                      <a:pt x="574" y="256"/>
                    </a:cubicBezTo>
                    <a:cubicBezTo>
                      <a:pt x="574" y="256"/>
                      <a:pt x="573" y="256"/>
                      <a:pt x="573" y="256"/>
                    </a:cubicBezTo>
                    <a:close/>
                    <a:moveTo>
                      <a:pt x="692" y="304"/>
                    </a:moveTo>
                    <a:cubicBezTo>
                      <a:pt x="692" y="304"/>
                      <a:pt x="692" y="304"/>
                      <a:pt x="692" y="304"/>
                    </a:cubicBezTo>
                    <a:cubicBezTo>
                      <a:pt x="693" y="304"/>
                      <a:pt x="693" y="304"/>
                      <a:pt x="692" y="303"/>
                    </a:cubicBezTo>
                    <a:cubicBezTo>
                      <a:pt x="692" y="303"/>
                      <a:pt x="691" y="302"/>
                      <a:pt x="691" y="303"/>
                    </a:cubicBezTo>
                    <a:cubicBezTo>
                      <a:pt x="691" y="303"/>
                      <a:pt x="691" y="303"/>
                      <a:pt x="691" y="303"/>
                    </a:cubicBezTo>
                    <a:cubicBezTo>
                      <a:pt x="691" y="303"/>
                      <a:pt x="691" y="303"/>
                      <a:pt x="691" y="303"/>
                    </a:cubicBezTo>
                    <a:cubicBezTo>
                      <a:pt x="691" y="303"/>
                      <a:pt x="691" y="303"/>
                      <a:pt x="691" y="303"/>
                    </a:cubicBezTo>
                    <a:cubicBezTo>
                      <a:pt x="690" y="304"/>
                      <a:pt x="689" y="303"/>
                      <a:pt x="688" y="303"/>
                    </a:cubicBezTo>
                    <a:cubicBezTo>
                      <a:pt x="687" y="303"/>
                      <a:pt x="685" y="302"/>
                      <a:pt x="684" y="303"/>
                    </a:cubicBezTo>
                    <a:cubicBezTo>
                      <a:pt x="684" y="303"/>
                      <a:pt x="684" y="303"/>
                      <a:pt x="684" y="304"/>
                    </a:cubicBezTo>
                    <a:cubicBezTo>
                      <a:pt x="683" y="304"/>
                      <a:pt x="683" y="304"/>
                      <a:pt x="683" y="304"/>
                    </a:cubicBezTo>
                    <a:cubicBezTo>
                      <a:pt x="683" y="304"/>
                      <a:pt x="683" y="304"/>
                      <a:pt x="683" y="304"/>
                    </a:cubicBezTo>
                    <a:cubicBezTo>
                      <a:pt x="683" y="305"/>
                      <a:pt x="683" y="305"/>
                      <a:pt x="684" y="305"/>
                    </a:cubicBezTo>
                    <a:cubicBezTo>
                      <a:pt x="684" y="306"/>
                      <a:pt x="684" y="305"/>
                      <a:pt x="685" y="305"/>
                    </a:cubicBezTo>
                    <a:cubicBezTo>
                      <a:pt x="685" y="305"/>
                      <a:pt x="685" y="305"/>
                      <a:pt x="685" y="305"/>
                    </a:cubicBezTo>
                    <a:cubicBezTo>
                      <a:pt x="685" y="305"/>
                      <a:pt x="685" y="305"/>
                      <a:pt x="685" y="305"/>
                    </a:cubicBezTo>
                    <a:cubicBezTo>
                      <a:pt x="686" y="304"/>
                      <a:pt x="686" y="304"/>
                      <a:pt x="688" y="305"/>
                    </a:cubicBezTo>
                    <a:cubicBezTo>
                      <a:pt x="688" y="305"/>
                      <a:pt x="688" y="305"/>
                      <a:pt x="687" y="305"/>
                    </a:cubicBezTo>
                    <a:cubicBezTo>
                      <a:pt x="687" y="305"/>
                      <a:pt x="686" y="305"/>
                      <a:pt x="686" y="305"/>
                    </a:cubicBezTo>
                    <a:cubicBezTo>
                      <a:pt x="686" y="305"/>
                      <a:pt x="686" y="305"/>
                      <a:pt x="686" y="305"/>
                    </a:cubicBezTo>
                    <a:cubicBezTo>
                      <a:pt x="686" y="305"/>
                      <a:pt x="686" y="305"/>
                      <a:pt x="686" y="305"/>
                    </a:cubicBezTo>
                    <a:cubicBezTo>
                      <a:pt x="686" y="305"/>
                      <a:pt x="687" y="306"/>
                      <a:pt x="687" y="306"/>
                    </a:cubicBezTo>
                    <a:cubicBezTo>
                      <a:pt x="688" y="307"/>
                      <a:pt x="690" y="307"/>
                      <a:pt x="691" y="307"/>
                    </a:cubicBezTo>
                    <a:cubicBezTo>
                      <a:pt x="691" y="307"/>
                      <a:pt x="692" y="307"/>
                      <a:pt x="692" y="307"/>
                    </a:cubicBezTo>
                    <a:cubicBezTo>
                      <a:pt x="692" y="307"/>
                      <a:pt x="692" y="307"/>
                      <a:pt x="692" y="307"/>
                    </a:cubicBezTo>
                    <a:cubicBezTo>
                      <a:pt x="693" y="306"/>
                      <a:pt x="693" y="306"/>
                      <a:pt x="692" y="305"/>
                    </a:cubicBezTo>
                    <a:cubicBezTo>
                      <a:pt x="692" y="305"/>
                      <a:pt x="691" y="305"/>
                      <a:pt x="692" y="305"/>
                    </a:cubicBezTo>
                    <a:cubicBezTo>
                      <a:pt x="692" y="305"/>
                      <a:pt x="692" y="304"/>
                      <a:pt x="692" y="304"/>
                    </a:cubicBezTo>
                    <a:close/>
                    <a:moveTo>
                      <a:pt x="466" y="208"/>
                    </a:moveTo>
                    <a:cubicBezTo>
                      <a:pt x="467" y="208"/>
                      <a:pt x="468" y="208"/>
                      <a:pt x="469" y="209"/>
                    </a:cubicBezTo>
                    <a:cubicBezTo>
                      <a:pt x="470" y="208"/>
                      <a:pt x="468" y="206"/>
                      <a:pt x="469" y="205"/>
                    </a:cubicBezTo>
                    <a:cubicBezTo>
                      <a:pt x="470" y="206"/>
                      <a:pt x="470" y="207"/>
                      <a:pt x="470" y="209"/>
                    </a:cubicBezTo>
                    <a:cubicBezTo>
                      <a:pt x="470" y="208"/>
                      <a:pt x="470" y="207"/>
                      <a:pt x="471" y="206"/>
                    </a:cubicBezTo>
                    <a:cubicBezTo>
                      <a:pt x="471" y="207"/>
                      <a:pt x="471" y="208"/>
                      <a:pt x="472" y="207"/>
                    </a:cubicBezTo>
                    <a:cubicBezTo>
                      <a:pt x="472" y="206"/>
                      <a:pt x="472" y="206"/>
                      <a:pt x="473" y="206"/>
                    </a:cubicBezTo>
                    <a:cubicBezTo>
                      <a:pt x="473" y="206"/>
                      <a:pt x="473" y="206"/>
                      <a:pt x="473" y="206"/>
                    </a:cubicBezTo>
                    <a:cubicBezTo>
                      <a:pt x="472" y="205"/>
                      <a:pt x="472" y="205"/>
                      <a:pt x="473" y="204"/>
                    </a:cubicBezTo>
                    <a:cubicBezTo>
                      <a:pt x="473" y="204"/>
                      <a:pt x="473" y="204"/>
                      <a:pt x="473" y="204"/>
                    </a:cubicBezTo>
                    <a:cubicBezTo>
                      <a:pt x="473" y="203"/>
                      <a:pt x="473" y="203"/>
                      <a:pt x="473" y="204"/>
                    </a:cubicBezTo>
                    <a:cubicBezTo>
                      <a:pt x="472" y="204"/>
                      <a:pt x="471" y="205"/>
                      <a:pt x="471" y="205"/>
                    </a:cubicBezTo>
                    <a:cubicBezTo>
                      <a:pt x="470" y="205"/>
                      <a:pt x="470" y="205"/>
                      <a:pt x="470" y="205"/>
                    </a:cubicBezTo>
                    <a:cubicBezTo>
                      <a:pt x="469" y="204"/>
                      <a:pt x="468" y="203"/>
                      <a:pt x="468" y="205"/>
                    </a:cubicBezTo>
                    <a:cubicBezTo>
                      <a:pt x="468" y="205"/>
                      <a:pt x="467" y="206"/>
                      <a:pt x="467" y="206"/>
                    </a:cubicBezTo>
                    <a:cubicBezTo>
                      <a:pt x="467" y="205"/>
                      <a:pt x="466" y="205"/>
                      <a:pt x="465" y="204"/>
                    </a:cubicBezTo>
                    <a:cubicBezTo>
                      <a:pt x="464" y="204"/>
                      <a:pt x="464" y="204"/>
                      <a:pt x="464" y="205"/>
                    </a:cubicBezTo>
                    <a:cubicBezTo>
                      <a:pt x="464" y="205"/>
                      <a:pt x="464" y="206"/>
                      <a:pt x="463" y="206"/>
                    </a:cubicBezTo>
                    <a:cubicBezTo>
                      <a:pt x="463" y="205"/>
                      <a:pt x="463" y="204"/>
                      <a:pt x="462" y="204"/>
                    </a:cubicBezTo>
                    <a:cubicBezTo>
                      <a:pt x="461" y="205"/>
                      <a:pt x="461" y="205"/>
                      <a:pt x="462" y="206"/>
                    </a:cubicBezTo>
                    <a:cubicBezTo>
                      <a:pt x="463" y="207"/>
                      <a:pt x="464" y="208"/>
                      <a:pt x="466" y="208"/>
                    </a:cubicBezTo>
                    <a:close/>
                    <a:moveTo>
                      <a:pt x="464" y="184"/>
                    </a:moveTo>
                    <a:cubicBezTo>
                      <a:pt x="464" y="184"/>
                      <a:pt x="465" y="183"/>
                      <a:pt x="465" y="183"/>
                    </a:cubicBezTo>
                    <a:cubicBezTo>
                      <a:pt x="465" y="183"/>
                      <a:pt x="465" y="183"/>
                      <a:pt x="465" y="183"/>
                    </a:cubicBezTo>
                    <a:cubicBezTo>
                      <a:pt x="466" y="184"/>
                      <a:pt x="465" y="184"/>
                      <a:pt x="465" y="185"/>
                    </a:cubicBezTo>
                    <a:cubicBezTo>
                      <a:pt x="467" y="184"/>
                      <a:pt x="469" y="182"/>
                      <a:pt x="470" y="181"/>
                    </a:cubicBezTo>
                    <a:cubicBezTo>
                      <a:pt x="470" y="180"/>
                      <a:pt x="470" y="179"/>
                      <a:pt x="469" y="179"/>
                    </a:cubicBezTo>
                    <a:cubicBezTo>
                      <a:pt x="468" y="178"/>
                      <a:pt x="468" y="179"/>
                      <a:pt x="468" y="179"/>
                    </a:cubicBezTo>
                    <a:cubicBezTo>
                      <a:pt x="467" y="180"/>
                      <a:pt x="466" y="181"/>
                      <a:pt x="465" y="181"/>
                    </a:cubicBezTo>
                    <a:cubicBezTo>
                      <a:pt x="464" y="181"/>
                      <a:pt x="463" y="182"/>
                      <a:pt x="463" y="182"/>
                    </a:cubicBezTo>
                    <a:cubicBezTo>
                      <a:pt x="463" y="183"/>
                      <a:pt x="462" y="183"/>
                      <a:pt x="462" y="184"/>
                    </a:cubicBezTo>
                    <a:cubicBezTo>
                      <a:pt x="463" y="184"/>
                      <a:pt x="463" y="184"/>
                      <a:pt x="464" y="184"/>
                    </a:cubicBezTo>
                    <a:close/>
                    <a:moveTo>
                      <a:pt x="418" y="184"/>
                    </a:moveTo>
                    <a:cubicBezTo>
                      <a:pt x="418" y="184"/>
                      <a:pt x="418" y="183"/>
                      <a:pt x="419" y="183"/>
                    </a:cubicBezTo>
                    <a:cubicBezTo>
                      <a:pt x="419" y="181"/>
                      <a:pt x="420" y="180"/>
                      <a:pt x="422" y="180"/>
                    </a:cubicBezTo>
                    <a:cubicBezTo>
                      <a:pt x="422" y="180"/>
                      <a:pt x="423" y="179"/>
                      <a:pt x="423" y="179"/>
                    </a:cubicBezTo>
                    <a:cubicBezTo>
                      <a:pt x="423" y="179"/>
                      <a:pt x="423" y="179"/>
                      <a:pt x="423" y="178"/>
                    </a:cubicBezTo>
                    <a:cubicBezTo>
                      <a:pt x="424" y="178"/>
                      <a:pt x="425" y="178"/>
                      <a:pt x="424" y="177"/>
                    </a:cubicBezTo>
                    <a:cubicBezTo>
                      <a:pt x="424" y="176"/>
                      <a:pt x="424" y="175"/>
                      <a:pt x="422" y="175"/>
                    </a:cubicBezTo>
                    <a:cubicBezTo>
                      <a:pt x="421" y="175"/>
                      <a:pt x="421" y="175"/>
                      <a:pt x="420" y="176"/>
                    </a:cubicBezTo>
                    <a:cubicBezTo>
                      <a:pt x="420" y="177"/>
                      <a:pt x="419" y="178"/>
                      <a:pt x="418" y="179"/>
                    </a:cubicBezTo>
                    <a:cubicBezTo>
                      <a:pt x="417" y="180"/>
                      <a:pt x="417" y="181"/>
                      <a:pt x="417" y="183"/>
                    </a:cubicBezTo>
                    <a:cubicBezTo>
                      <a:pt x="417" y="183"/>
                      <a:pt x="417" y="184"/>
                      <a:pt x="418" y="184"/>
                    </a:cubicBezTo>
                    <a:close/>
                    <a:moveTo>
                      <a:pt x="686" y="294"/>
                    </a:moveTo>
                    <a:cubicBezTo>
                      <a:pt x="686" y="294"/>
                      <a:pt x="685" y="294"/>
                      <a:pt x="685" y="294"/>
                    </a:cubicBezTo>
                    <a:cubicBezTo>
                      <a:pt x="685" y="295"/>
                      <a:pt x="687" y="295"/>
                      <a:pt x="687" y="295"/>
                    </a:cubicBezTo>
                    <a:cubicBezTo>
                      <a:pt x="688" y="295"/>
                      <a:pt x="689" y="297"/>
                      <a:pt x="690" y="296"/>
                    </a:cubicBezTo>
                    <a:cubicBezTo>
                      <a:pt x="690" y="296"/>
                      <a:pt x="690" y="296"/>
                      <a:pt x="690" y="296"/>
                    </a:cubicBezTo>
                    <a:cubicBezTo>
                      <a:pt x="690" y="296"/>
                      <a:pt x="690" y="296"/>
                      <a:pt x="690" y="296"/>
                    </a:cubicBezTo>
                    <a:cubicBezTo>
                      <a:pt x="690" y="295"/>
                      <a:pt x="689" y="295"/>
                      <a:pt x="688" y="294"/>
                    </a:cubicBezTo>
                    <a:cubicBezTo>
                      <a:pt x="687" y="294"/>
                      <a:pt x="686" y="293"/>
                      <a:pt x="686" y="294"/>
                    </a:cubicBezTo>
                    <a:close/>
                    <a:moveTo>
                      <a:pt x="654" y="272"/>
                    </a:moveTo>
                    <a:cubicBezTo>
                      <a:pt x="655" y="272"/>
                      <a:pt x="655" y="273"/>
                      <a:pt x="656" y="273"/>
                    </a:cubicBezTo>
                    <a:cubicBezTo>
                      <a:pt x="656" y="273"/>
                      <a:pt x="656" y="273"/>
                      <a:pt x="656" y="273"/>
                    </a:cubicBezTo>
                    <a:cubicBezTo>
                      <a:pt x="656" y="273"/>
                      <a:pt x="656" y="273"/>
                      <a:pt x="656" y="273"/>
                    </a:cubicBezTo>
                    <a:cubicBezTo>
                      <a:pt x="656" y="272"/>
                      <a:pt x="656" y="271"/>
                      <a:pt x="656" y="270"/>
                    </a:cubicBezTo>
                    <a:cubicBezTo>
                      <a:pt x="656" y="270"/>
                      <a:pt x="656" y="269"/>
                      <a:pt x="655" y="270"/>
                    </a:cubicBezTo>
                    <a:cubicBezTo>
                      <a:pt x="655" y="270"/>
                      <a:pt x="655" y="270"/>
                      <a:pt x="654" y="270"/>
                    </a:cubicBezTo>
                    <a:cubicBezTo>
                      <a:pt x="654" y="270"/>
                      <a:pt x="654" y="271"/>
                      <a:pt x="654" y="271"/>
                    </a:cubicBezTo>
                    <a:cubicBezTo>
                      <a:pt x="654" y="271"/>
                      <a:pt x="654" y="272"/>
                      <a:pt x="654" y="272"/>
                    </a:cubicBezTo>
                    <a:close/>
                    <a:moveTo>
                      <a:pt x="376" y="169"/>
                    </a:moveTo>
                    <a:cubicBezTo>
                      <a:pt x="376" y="169"/>
                      <a:pt x="376" y="169"/>
                      <a:pt x="376" y="169"/>
                    </a:cubicBezTo>
                    <a:cubicBezTo>
                      <a:pt x="375" y="168"/>
                      <a:pt x="375" y="168"/>
                      <a:pt x="374" y="168"/>
                    </a:cubicBezTo>
                    <a:cubicBezTo>
                      <a:pt x="374" y="167"/>
                      <a:pt x="373" y="167"/>
                      <a:pt x="373" y="167"/>
                    </a:cubicBezTo>
                    <a:cubicBezTo>
                      <a:pt x="372" y="168"/>
                      <a:pt x="373" y="168"/>
                      <a:pt x="373" y="169"/>
                    </a:cubicBezTo>
                    <a:cubicBezTo>
                      <a:pt x="374" y="170"/>
                      <a:pt x="375" y="169"/>
                      <a:pt x="376" y="169"/>
                    </a:cubicBezTo>
                    <a:close/>
                    <a:moveTo>
                      <a:pt x="430" y="176"/>
                    </a:moveTo>
                    <a:cubicBezTo>
                      <a:pt x="431" y="176"/>
                      <a:pt x="431" y="175"/>
                      <a:pt x="431" y="174"/>
                    </a:cubicBezTo>
                    <a:cubicBezTo>
                      <a:pt x="431" y="174"/>
                      <a:pt x="431" y="173"/>
                      <a:pt x="431" y="173"/>
                    </a:cubicBezTo>
                    <a:cubicBezTo>
                      <a:pt x="430" y="173"/>
                      <a:pt x="429" y="174"/>
                      <a:pt x="429" y="175"/>
                    </a:cubicBezTo>
                    <a:cubicBezTo>
                      <a:pt x="429" y="176"/>
                      <a:pt x="430" y="176"/>
                      <a:pt x="430" y="176"/>
                    </a:cubicBezTo>
                    <a:close/>
                    <a:moveTo>
                      <a:pt x="466" y="195"/>
                    </a:moveTo>
                    <a:cubicBezTo>
                      <a:pt x="468" y="196"/>
                      <a:pt x="468" y="194"/>
                      <a:pt x="468" y="193"/>
                    </a:cubicBezTo>
                    <a:cubicBezTo>
                      <a:pt x="469" y="193"/>
                      <a:pt x="468" y="193"/>
                      <a:pt x="468" y="193"/>
                    </a:cubicBezTo>
                    <a:cubicBezTo>
                      <a:pt x="467" y="194"/>
                      <a:pt x="466" y="193"/>
                      <a:pt x="466" y="194"/>
                    </a:cubicBezTo>
                    <a:cubicBezTo>
                      <a:pt x="465" y="195"/>
                      <a:pt x="466" y="195"/>
                      <a:pt x="466" y="195"/>
                    </a:cubicBezTo>
                    <a:close/>
                    <a:moveTo>
                      <a:pt x="426" y="181"/>
                    </a:moveTo>
                    <a:cubicBezTo>
                      <a:pt x="427" y="180"/>
                      <a:pt x="427" y="180"/>
                      <a:pt x="427" y="179"/>
                    </a:cubicBezTo>
                    <a:cubicBezTo>
                      <a:pt x="427" y="179"/>
                      <a:pt x="426" y="179"/>
                      <a:pt x="426" y="179"/>
                    </a:cubicBezTo>
                    <a:cubicBezTo>
                      <a:pt x="425" y="180"/>
                      <a:pt x="425" y="179"/>
                      <a:pt x="424" y="180"/>
                    </a:cubicBezTo>
                    <a:cubicBezTo>
                      <a:pt x="425" y="181"/>
                      <a:pt x="426" y="181"/>
                      <a:pt x="426" y="181"/>
                    </a:cubicBezTo>
                    <a:close/>
                    <a:moveTo>
                      <a:pt x="439" y="165"/>
                    </a:moveTo>
                    <a:cubicBezTo>
                      <a:pt x="439" y="165"/>
                      <a:pt x="440" y="165"/>
                      <a:pt x="440" y="164"/>
                    </a:cubicBezTo>
                    <a:cubicBezTo>
                      <a:pt x="440" y="164"/>
                      <a:pt x="440" y="163"/>
                      <a:pt x="439" y="163"/>
                    </a:cubicBezTo>
                    <a:cubicBezTo>
                      <a:pt x="439" y="163"/>
                      <a:pt x="438" y="163"/>
                      <a:pt x="438" y="164"/>
                    </a:cubicBezTo>
                    <a:cubicBezTo>
                      <a:pt x="438" y="165"/>
                      <a:pt x="438" y="165"/>
                      <a:pt x="439" y="165"/>
                    </a:cubicBezTo>
                    <a:close/>
                    <a:moveTo>
                      <a:pt x="690" y="288"/>
                    </a:moveTo>
                    <a:cubicBezTo>
                      <a:pt x="690" y="288"/>
                      <a:pt x="690" y="287"/>
                      <a:pt x="691" y="287"/>
                    </a:cubicBezTo>
                    <a:cubicBezTo>
                      <a:pt x="691" y="287"/>
                      <a:pt x="691" y="287"/>
                      <a:pt x="691" y="287"/>
                    </a:cubicBezTo>
                    <a:cubicBezTo>
                      <a:pt x="691" y="286"/>
                      <a:pt x="690" y="286"/>
                      <a:pt x="690" y="286"/>
                    </a:cubicBezTo>
                    <a:cubicBezTo>
                      <a:pt x="690" y="286"/>
                      <a:pt x="690" y="286"/>
                      <a:pt x="690" y="286"/>
                    </a:cubicBezTo>
                    <a:cubicBezTo>
                      <a:pt x="690" y="286"/>
                      <a:pt x="690" y="286"/>
                      <a:pt x="690" y="286"/>
                    </a:cubicBezTo>
                    <a:cubicBezTo>
                      <a:pt x="690" y="286"/>
                      <a:pt x="690" y="286"/>
                      <a:pt x="690" y="286"/>
                    </a:cubicBezTo>
                    <a:cubicBezTo>
                      <a:pt x="689" y="286"/>
                      <a:pt x="689" y="286"/>
                      <a:pt x="689" y="286"/>
                    </a:cubicBezTo>
                    <a:cubicBezTo>
                      <a:pt x="689" y="286"/>
                      <a:pt x="689" y="287"/>
                      <a:pt x="689" y="287"/>
                    </a:cubicBezTo>
                    <a:cubicBezTo>
                      <a:pt x="689" y="287"/>
                      <a:pt x="689" y="288"/>
                      <a:pt x="690" y="288"/>
                    </a:cubicBezTo>
                    <a:close/>
                    <a:moveTo>
                      <a:pt x="468" y="187"/>
                    </a:moveTo>
                    <a:cubicBezTo>
                      <a:pt x="468" y="186"/>
                      <a:pt x="467" y="186"/>
                      <a:pt x="467" y="186"/>
                    </a:cubicBezTo>
                    <a:cubicBezTo>
                      <a:pt x="466" y="186"/>
                      <a:pt x="466" y="186"/>
                      <a:pt x="466" y="187"/>
                    </a:cubicBezTo>
                    <a:cubicBezTo>
                      <a:pt x="466" y="187"/>
                      <a:pt x="466" y="187"/>
                      <a:pt x="467" y="187"/>
                    </a:cubicBezTo>
                    <a:cubicBezTo>
                      <a:pt x="467" y="187"/>
                      <a:pt x="468" y="187"/>
                      <a:pt x="468" y="187"/>
                    </a:cubicBezTo>
                    <a:close/>
                    <a:moveTo>
                      <a:pt x="691" y="292"/>
                    </a:moveTo>
                    <a:cubicBezTo>
                      <a:pt x="691" y="292"/>
                      <a:pt x="691" y="292"/>
                      <a:pt x="691" y="292"/>
                    </a:cubicBezTo>
                    <a:cubicBezTo>
                      <a:pt x="690" y="292"/>
                      <a:pt x="690" y="292"/>
                      <a:pt x="690" y="293"/>
                    </a:cubicBezTo>
                    <a:cubicBezTo>
                      <a:pt x="690" y="294"/>
                      <a:pt x="690" y="294"/>
                      <a:pt x="691" y="294"/>
                    </a:cubicBezTo>
                    <a:cubicBezTo>
                      <a:pt x="691" y="294"/>
                      <a:pt x="692" y="294"/>
                      <a:pt x="692" y="294"/>
                    </a:cubicBezTo>
                    <a:cubicBezTo>
                      <a:pt x="692" y="293"/>
                      <a:pt x="692" y="293"/>
                      <a:pt x="692" y="293"/>
                    </a:cubicBezTo>
                    <a:cubicBezTo>
                      <a:pt x="692" y="292"/>
                      <a:pt x="692" y="292"/>
                      <a:pt x="691" y="292"/>
                    </a:cubicBezTo>
                    <a:close/>
                    <a:moveTo>
                      <a:pt x="690" y="312"/>
                    </a:moveTo>
                    <a:cubicBezTo>
                      <a:pt x="690" y="313"/>
                      <a:pt x="690" y="314"/>
                      <a:pt x="691" y="315"/>
                    </a:cubicBezTo>
                    <a:cubicBezTo>
                      <a:pt x="691" y="315"/>
                      <a:pt x="691" y="315"/>
                      <a:pt x="691" y="315"/>
                    </a:cubicBezTo>
                    <a:cubicBezTo>
                      <a:pt x="691" y="315"/>
                      <a:pt x="691" y="315"/>
                      <a:pt x="692" y="315"/>
                    </a:cubicBezTo>
                    <a:cubicBezTo>
                      <a:pt x="692" y="313"/>
                      <a:pt x="691" y="313"/>
                      <a:pt x="690" y="312"/>
                    </a:cubicBezTo>
                    <a:cubicBezTo>
                      <a:pt x="690" y="312"/>
                      <a:pt x="690" y="312"/>
                      <a:pt x="690" y="312"/>
                    </a:cubicBezTo>
                    <a:cubicBezTo>
                      <a:pt x="690" y="312"/>
                      <a:pt x="690" y="312"/>
                      <a:pt x="690" y="312"/>
                    </a:cubicBezTo>
                    <a:close/>
                    <a:moveTo>
                      <a:pt x="678" y="299"/>
                    </a:moveTo>
                    <a:cubicBezTo>
                      <a:pt x="679" y="299"/>
                      <a:pt x="679" y="299"/>
                      <a:pt x="679" y="299"/>
                    </a:cubicBezTo>
                    <a:cubicBezTo>
                      <a:pt x="678" y="298"/>
                      <a:pt x="678" y="298"/>
                      <a:pt x="678" y="298"/>
                    </a:cubicBezTo>
                    <a:cubicBezTo>
                      <a:pt x="677" y="298"/>
                      <a:pt x="677" y="298"/>
                      <a:pt x="677" y="298"/>
                    </a:cubicBezTo>
                    <a:cubicBezTo>
                      <a:pt x="677" y="298"/>
                      <a:pt x="677" y="298"/>
                      <a:pt x="677" y="299"/>
                    </a:cubicBezTo>
                    <a:cubicBezTo>
                      <a:pt x="677" y="299"/>
                      <a:pt x="677" y="300"/>
                      <a:pt x="677" y="300"/>
                    </a:cubicBezTo>
                    <a:cubicBezTo>
                      <a:pt x="677" y="300"/>
                      <a:pt x="677" y="300"/>
                      <a:pt x="677" y="299"/>
                    </a:cubicBezTo>
                    <a:cubicBezTo>
                      <a:pt x="678" y="299"/>
                      <a:pt x="678" y="299"/>
                      <a:pt x="678" y="299"/>
                    </a:cubicBezTo>
                    <a:cubicBezTo>
                      <a:pt x="678" y="299"/>
                      <a:pt x="678" y="299"/>
                      <a:pt x="678" y="299"/>
                    </a:cubicBezTo>
                    <a:close/>
                    <a:moveTo>
                      <a:pt x="476" y="195"/>
                    </a:moveTo>
                    <a:cubicBezTo>
                      <a:pt x="476" y="194"/>
                      <a:pt x="476" y="193"/>
                      <a:pt x="476" y="192"/>
                    </a:cubicBezTo>
                    <a:cubicBezTo>
                      <a:pt x="475" y="193"/>
                      <a:pt x="475" y="194"/>
                      <a:pt x="476" y="195"/>
                    </a:cubicBezTo>
                    <a:close/>
                    <a:moveTo>
                      <a:pt x="469" y="203"/>
                    </a:moveTo>
                    <a:cubicBezTo>
                      <a:pt x="469" y="204"/>
                      <a:pt x="470" y="204"/>
                      <a:pt x="470" y="204"/>
                    </a:cubicBezTo>
                    <a:cubicBezTo>
                      <a:pt x="471" y="204"/>
                      <a:pt x="471" y="204"/>
                      <a:pt x="471" y="203"/>
                    </a:cubicBezTo>
                    <a:cubicBezTo>
                      <a:pt x="471" y="203"/>
                      <a:pt x="470" y="203"/>
                      <a:pt x="470" y="203"/>
                    </a:cubicBezTo>
                    <a:cubicBezTo>
                      <a:pt x="469" y="203"/>
                      <a:pt x="469" y="203"/>
                      <a:pt x="469" y="203"/>
                    </a:cubicBezTo>
                    <a:close/>
                    <a:moveTo>
                      <a:pt x="459" y="206"/>
                    </a:moveTo>
                    <a:cubicBezTo>
                      <a:pt x="458" y="206"/>
                      <a:pt x="457" y="206"/>
                      <a:pt x="456" y="207"/>
                    </a:cubicBezTo>
                    <a:cubicBezTo>
                      <a:pt x="457" y="207"/>
                      <a:pt x="458" y="207"/>
                      <a:pt x="459" y="206"/>
                    </a:cubicBezTo>
                    <a:close/>
                    <a:moveTo>
                      <a:pt x="690" y="297"/>
                    </a:moveTo>
                    <a:cubicBezTo>
                      <a:pt x="690" y="297"/>
                      <a:pt x="690" y="297"/>
                      <a:pt x="690" y="297"/>
                    </a:cubicBezTo>
                    <a:cubicBezTo>
                      <a:pt x="690" y="298"/>
                      <a:pt x="691" y="298"/>
                      <a:pt x="691" y="298"/>
                    </a:cubicBezTo>
                    <a:cubicBezTo>
                      <a:pt x="691" y="298"/>
                      <a:pt x="691" y="298"/>
                      <a:pt x="691" y="298"/>
                    </a:cubicBezTo>
                    <a:cubicBezTo>
                      <a:pt x="691" y="297"/>
                      <a:pt x="691" y="297"/>
                      <a:pt x="691" y="297"/>
                    </a:cubicBezTo>
                    <a:cubicBezTo>
                      <a:pt x="691" y="297"/>
                      <a:pt x="691" y="297"/>
                      <a:pt x="691" y="297"/>
                    </a:cubicBezTo>
                    <a:cubicBezTo>
                      <a:pt x="691" y="297"/>
                      <a:pt x="691" y="297"/>
                      <a:pt x="690" y="297"/>
                    </a:cubicBezTo>
                    <a:close/>
                    <a:moveTo>
                      <a:pt x="477" y="191"/>
                    </a:moveTo>
                    <a:cubicBezTo>
                      <a:pt x="477" y="191"/>
                      <a:pt x="477" y="191"/>
                      <a:pt x="477" y="191"/>
                    </a:cubicBezTo>
                    <a:cubicBezTo>
                      <a:pt x="476" y="190"/>
                      <a:pt x="476" y="191"/>
                      <a:pt x="475" y="191"/>
                    </a:cubicBezTo>
                    <a:cubicBezTo>
                      <a:pt x="475" y="191"/>
                      <a:pt x="475" y="191"/>
                      <a:pt x="475" y="191"/>
                    </a:cubicBezTo>
                    <a:cubicBezTo>
                      <a:pt x="476" y="191"/>
                      <a:pt x="476" y="192"/>
                      <a:pt x="477" y="191"/>
                    </a:cubicBezTo>
                    <a:close/>
                    <a:moveTo>
                      <a:pt x="682" y="295"/>
                    </a:moveTo>
                    <a:cubicBezTo>
                      <a:pt x="682" y="295"/>
                      <a:pt x="682" y="295"/>
                      <a:pt x="681" y="295"/>
                    </a:cubicBezTo>
                    <a:cubicBezTo>
                      <a:pt x="681" y="295"/>
                      <a:pt x="681" y="295"/>
                      <a:pt x="681" y="295"/>
                    </a:cubicBezTo>
                    <a:cubicBezTo>
                      <a:pt x="681" y="296"/>
                      <a:pt x="681" y="296"/>
                      <a:pt x="682" y="296"/>
                    </a:cubicBezTo>
                    <a:cubicBezTo>
                      <a:pt x="682" y="296"/>
                      <a:pt x="682" y="296"/>
                      <a:pt x="682" y="296"/>
                    </a:cubicBezTo>
                    <a:cubicBezTo>
                      <a:pt x="682" y="296"/>
                      <a:pt x="682" y="296"/>
                      <a:pt x="682" y="296"/>
                    </a:cubicBezTo>
                    <a:cubicBezTo>
                      <a:pt x="682" y="296"/>
                      <a:pt x="683" y="295"/>
                      <a:pt x="682" y="295"/>
                    </a:cubicBezTo>
                    <a:close/>
                    <a:moveTo>
                      <a:pt x="670" y="306"/>
                    </a:moveTo>
                    <a:cubicBezTo>
                      <a:pt x="670" y="306"/>
                      <a:pt x="670" y="306"/>
                      <a:pt x="670" y="306"/>
                    </a:cubicBezTo>
                    <a:cubicBezTo>
                      <a:pt x="670" y="306"/>
                      <a:pt x="670" y="306"/>
                      <a:pt x="670" y="306"/>
                    </a:cubicBezTo>
                    <a:cubicBezTo>
                      <a:pt x="670" y="307"/>
                      <a:pt x="670" y="307"/>
                      <a:pt x="671" y="307"/>
                    </a:cubicBezTo>
                    <a:cubicBezTo>
                      <a:pt x="671" y="307"/>
                      <a:pt x="671" y="307"/>
                      <a:pt x="671" y="307"/>
                    </a:cubicBezTo>
                    <a:cubicBezTo>
                      <a:pt x="671" y="307"/>
                      <a:pt x="671" y="307"/>
                      <a:pt x="671" y="306"/>
                    </a:cubicBezTo>
                    <a:cubicBezTo>
                      <a:pt x="671" y="306"/>
                      <a:pt x="671" y="306"/>
                      <a:pt x="671" y="306"/>
                    </a:cubicBezTo>
                    <a:cubicBezTo>
                      <a:pt x="671" y="306"/>
                      <a:pt x="671" y="306"/>
                      <a:pt x="671" y="306"/>
                    </a:cubicBezTo>
                    <a:cubicBezTo>
                      <a:pt x="671" y="306"/>
                      <a:pt x="671" y="306"/>
                      <a:pt x="671" y="306"/>
                    </a:cubicBezTo>
                    <a:cubicBezTo>
                      <a:pt x="671" y="306"/>
                      <a:pt x="671" y="306"/>
                      <a:pt x="670" y="306"/>
                    </a:cubicBezTo>
                    <a:close/>
                    <a:moveTo>
                      <a:pt x="445" y="217"/>
                    </a:moveTo>
                    <a:cubicBezTo>
                      <a:pt x="445" y="217"/>
                      <a:pt x="445" y="217"/>
                      <a:pt x="445" y="217"/>
                    </a:cubicBezTo>
                    <a:cubicBezTo>
                      <a:pt x="445" y="216"/>
                      <a:pt x="445" y="216"/>
                      <a:pt x="445" y="216"/>
                    </a:cubicBezTo>
                    <a:cubicBezTo>
                      <a:pt x="445" y="216"/>
                      <a:pt x="444" y="216"/>
                      <a:pt x="444" y="217"/>
                    </a:cubicBezTo>
                    <a:cubicBezTo>
                      <a:pt x="444" y="217"/>
                      <a:pt x="444" y="217"/>
                      <a:pt x="445" y="217"/>
                    </a:cubicBezTo>
                    <a:close/>
                    <a:moveTo>
                      <a:pt x="689" y="289"/>
                    </a:moveTo>
                    <a:cubicBezTo>
                      <a:pt x="688" y="289"/>
                      <a:pt x="688" y="289"/>
                      <a:pt x="688" y="289"/>
                    </a:cubicBezTo>
                    <a:cubicBezTo>
                      <a:pt x="688" y="289"/>
                      <a:pt x="688" y="289"/>
                      <a:pt x="688" y="290"/>
                    </a:cubicBezTo>
                    <a:cubicBezTo>
                      <a:pt x="687" y="290"/>
                      <a:pt x="687" y="289"/>
                      <a:pt x="686" y="290"/>
                    </a:cubicBezTo>
                    <a:cubicBezTo>
                      <a:pt x="686" y="290"/>
                      <a:pt x="686" y="290"/>
                      <a:pt x="686" y="290"/>
                    </a:cubicBezTo>
                    <a:cubicBezTo>
                      <a:pt x="687" y="290"/>
                      <a:pt x="687" y="290"/>
                      <a:pt x="688" y="290"/>
                    </a:cubicBezTo>
                    <a:cubicBezTo>
                      <a:pt x="688" y="290"/>
                      <a:pt x="688" y="290"/>
                      <a:pt x="688" y="290"/>
                    </a:cubicBezTo>
                    <a:cubicBezTo>
                      <a:pt x="688" y="290"/>
                      <a:pt x="688" y="290"/>
                      <a:pt x="689" y="289"/>
                    </a:cubicBezTo>
                    <a:cubicBezTo>
                      <a:pt x="689" y="289"/>
                      <a:pt x="689" y="289"/>
                      <a:pt x="689" y="289"/>
                    </a:cubicBezTo>
                    <a:cubicBezTo>
                      <a:pt x="689" y="289"/>
                      <a:pt x="689" y="289"/>
                      <a:pt x="689" y="289"/>
                    </a:cubicBezTo>
                    <a:close/>
                    <a:moveTo>
                      <a:pt x="569" y="257"/>
                    </a:moveTo>
                    <a:cubicBezTo>
                      <a:pt x="568" y="257"/>
                      <a:pt x="568" y="257"/>
                      <a:pt x="568" y="258"/>
                    </a:cubicBezTo>
                    <a:cubicBezTo>
                      <a:pt x="568" y="258"/>
                      <a:pt x="568" y="258"/>
                      <a:pt x="569" y="258"/>
                    </a:cubicBezTo>
                    <a:cubicBezTo>
                      <a:pt x="569" y="258"/>
                      <a:pt x="569" y="258"/>
                      <a:pt x="569" y="258"/>
                    </a:cubicBezTo>
                    <a:cubicBezTo>
                      <a:pt x="569" y="258"/>
                      <a:pt x="569" y="257"/>
                      <a:pt x="569" y="257"/>
                    </a:cubicBezTo>
                    <a:cubicBezTo>
                      <a:pt x="569" y="257"/>
                      <a:pt x="569" y="257"/>
                      <a:pt x="569" y="257"/>
                    </a:cubicBezTo>
                    <a:cubicBezTo>
                      <a:pt x="569" y="257"/>
                      <a:pt x="569" y="257"/>
                      <a:pt x="569" y="257"/>
                    </a:cubicBezTo>
                    <a:cubicBezTo>
                      <a:pt x="569" y="257"/>
                      <a:pt x="569" y="257"/>
                      <a:pt x="569" y="257"/>
                    </a:cubicBezTo>
                    <a:close/>
                    <a:moveTo>
                      <a:pt x="672" y="298"/>
                    </a:moveTo>
                    <a:cubicBezTo>
                      <a:pt x="672" y="298"/>
                      <a:pt x="672" y="298"/>
                      <a:pt x="672" y="298"/>
                    </a:cubicBezTo>
                    <a:cubicBezTo>
                      <a:pt x="672" y="298"/>
                      <a:pt x="672" y="298"/>
                      <a:pt x="672" y="298"/>
                    </a:cubicBezTo>
                    <a:cubicBezTo>
                      <a:pt x="672" y="298"/>
                      <a:pt x="672" y="298"/>
                      <a:pt x="672" y="298"/>
                    </a:cubicBezTo>
                    <a:cubicBezTo>
                      <a:pt x="672" y="298"/>
                      <a:pt x="672" y="298"/>
                      <a:pt x="672" y="298"/>
                    </a:cubicBezTo>
                    <a:cubicBezTo>
                      <a:pt x="672" y="297"/>
                      <a:pt x="672" y="298"/>
                      <a:pt x="672" y="298"/>
                    </a:cubicBezTo>
                    <a:cubicBezTo>
                      <a:pt x="672" y="298"/>
                      <a:pt x="672" y="298"/>
                      <a:pt x="672" y="298"/>
                    </a:cubicBezTo>
                    <a:cubicBezTo>
                      <a:pt x="672" y="298"/>
                      <a:pt x="672" y="298"/>
                      <a:pt x="672" y="298"/>
                    </a:cubicBezTo>
                    <a:cubicBezTo>
                      <a:pt x="672" y="298"/>
                      <a:pt x="672" y="298"/>
                      <a:pt x="672" y="298"/>
                    </a:cubicBezTo>
                    <a:cubicBezTo>
                      <a:pt x="672" y="298"/>
                      <a:pt x="672" y="298"/>
                      <a:pt x="672" y="298"/>
                    </a:cubicBezTo>
                    <a:close/>
                    <a:moveTo>
                      <a:pt x="677" y="301"/>
                    </a:moveTo>
                    <a:cubicBezTo>
                      <a:pt x="677" y="301"/>
                      <a:pt x="678" y="301"/>
                      <a:pt x="678" y="301"/>
                    </a:cubicBezTo>
                    <a:cubicBezTo>
                      <a:pt x="678" y="301"/>
                      <a:pt x="678" y="301"/>
                      <a:pt x="678" y="301"/>
                    </a:cubicBezTo>
                    <a:cubicBezTo>
                      <a:pt x="678" y="301"/>
                      <a:pt x="678" y="301"/>
                      <a:pt x="678" y="300"/>
                    </a:cubicBezTo>
                    <a:cubicBezTo>
                      <a:pt x="678" y="300"/>
                      <a:pt x="678" y="300"/>
                      <a:pt x="678" y="300"/>
                    </a:cubicBezTo>
                    <a:cubicBezTo>
                      <a:pt x="678" y="300"/>
                      <a:pt x="678" y="300"/>
                      <a:pt x="678" y="300"/>
                    </a:cubicBezTo>
                    <a:cubicBezTo>
                      <a:pt x="678" y="300"/>
                      <a:pt x="677" y="300"/>
                      <a:pt x="677" y="301"/>
                    </a:cubicBezTo>
                    <a:close/>
                    <a:moveTo>
                      <a:pt x="460" y="208"/>
                    </a:moveTo>
                    <a:cubicBezTo>
                      <a:pt x="460" y="208"/>
                      <a:pt x="460" y="208"/>
                      <a:pt x="460" y="207"/>
                    </a:cubicBezTo>
                    <a:cubicBezTo>
                      <a:pt x="460" y="207"/>
                      <a:pt x="460" y="207"/>
                      <a:pt x="460" y="207"/>
                    </a:cubicBezTo>
                    <a:cubicBezTo>
                      <a:pt x="460" y="207"/>
                      <a:pt x="460" y="207"/>
                      <a:pt x="460" y="207"/>
                    </a:cubicBezTo>
                    <a:cubicBezTo>
                      <a:pt x="460" y="208"/>
                      <a:pt x="460" y="208"/>
                      <a:pt x="460" y="208"/>
                    </a:cubicBezTo>
                    <a:close/>
                    <a:moveTo>
                      <a:pt x="688" y="309"/>
                    </a:moveTo>
                    <a:cubicBezTo>
                      <a:pt x="688" y="309"/>
                      <a:pt x="688" y="310"/>
                      <a:pt x="688" y="310"/>
                    </a:cubicBezTo>
                    <a:cubicBezTo>
                      <a:pt x="687" y="310"/>
                      <a:pt x="687" y="310"/>
                      <a:pt x="687" y="310"/>
                    </a:cubicBezTo>
                    <a:cubicBezTo>
                      <a:pt x="687" y="310"/>
                      <a:pt x="687" y="310"/>
                      <a:pt x="687" y="310"/>
                    </a:cubicBezTo>
                    <a:cubicBezTo>
                      <a:pt x="688" y="310"/>
                      <a:pt x="688" y="310"/>
                      <a:pt x="688" y="310"/>
                    </a:cubicBezTo>
                    <a:cubicBezTo>
                      <a:pt x="688" y="310"/>
                      <a:pt x="688" y="310"/>
                      <a:pt x="688" y="310"/>
                    </a:cubicBezTo>
                    <a:cubicBezTo>
                      <a:pt x="688" y="310"/>
                      <a:pt x="688" y="310"/>
                      <a:pt x="688" y="310"/>
                    </a:cubicBezTo>
                    <a:cubicBezTo>
                      <a:pt x="688" y="310"/>
                      <a:pt x="688" y="310"/>
                      <a:pt x="688" y="310"/>
                    </a:cubicBezTo>
                    <a:cubicBezTo>
                      <a:pt x="688" y="310"/>
                      <a:pt x="688" y="310"/>
                      <a:pt x="688" y="309"/>
                    </a:cubicBezTo>
                    <a:close/>
                    <a:moveTo>
                      <a:pt x="745" y="230"/>
                    </a:moveTo>
                    <a:cubicBezTo>
                      <a:pt x="744" y="230"/>
                      <a:pt x="743" y="230"/>
                      <a:pt x="743" y="231"/>
                    </a:cubicBezTo>
                    <a:cubicBezTo>
                      <a:pt x="743" y="233"/>
                      <a:pt x="744" y="236"/>
                      <a:pt x="746" y="237"/>
                    </a:cubicBezTo>
                    <a:cubicBezTo>
                      <a:pt x="747" y="240"/>
                      <a:pt x="750" y="241"/>
                      <a:pt x="750" y="244"/>
                    </a:cubicBezTo>
                    <a:cubicBezTo>
                      <a:pt x="750" y="245"/>
                      <a:pt x="751" y="245"/>
                      <a:pt x="752" y="246"/>
                    </a:cubicBezTo>
                    <a:cubicBezTo>
                      <a:pt x="754" y="246"/>
                      <a:pt x="755" y="247"/>
                      <a:pt x="757" y="248"/>
                    </a:cubicBezTo>
                    <a:cubicBezTo>
                      <a:pt x="758" y="249"/>
                      <a:pt x="759" y="249"/>
                      <a:pt x="759" y="248"/>
                    </a:cubicBezTo>
                    <a:cubicBezTo>
                      <a:pt x="760" y="246"/>
                      <a:pt x="762" y="245"/>
                      <a:pt x="760" y="243"/>
                    </a:cubicBezTo>
                    <a:cubicBezTo>
                      <a:pt x="760" y="242"/>
                      <a:pt x="760" y="242"/>
                      <a:pt x="761" y="241"/>
                    </a:cubicBezTo>
                    <a:cubicBezTo>
                      <a:pt x="762" y="240"/>
                      <a:pt x="762" y="242"/>
                      <a:pt x="763" y="242"/>
                    </a:cubicBezTo>
                    <a:cubicBezTo>
                      <a:pt x="764" y="244"/>
                      <a:pt x="764" y="244"/>
                      <a:pt x="767" y="243"/>
                    </a:cubicBezTo>
                    <a:cubicBezTo>
                      <a:pt x="767" y="243"/>
                      <a:pt x="767" y="243"/>
                      <a:pt x="767" y="243"/>
                    </a:cubicBezTo>
                    <a:cubicBezTo>
                      <a:pt x="770" y="242"/>
                      <a:pt x="773" y="242"/>
                      <a:pt x="775" y="240"/>
                    </a:cubicBezTo>
                    <a:cubicBezTo>
                      <a:pt x="776" y="240"/>
                      <a:pt x="777" y="239"/>
                      <a:pt x="777" y="240"/>
                    </a:cubicBezTo>
                    <a:cubicBezTo>
                      <a:pt x="778" y="240"/>
                      <a:pt x="778" y="241"/>
                      <a:pt x="778" y="242"/>
                    </a:cubicBezTo>
                    <a:cubicBezTo>
                      <a:pt x="778" y="243"/>
                      <a:pt x="779" y="244"/>
                      <a:pt x="780" y="244"/>
                    </a:cubicBezTo>
                    <a:cubicBezTo>
                      <a:pt x="781" y="245"/>
                      <a:pt x="782" y="245"/>
                      <a:pt x="782" y="243"/>
                    </a:cubicBezTo>
                    <a:cubicBezTo>
                      <a:pt x="782" y="243"/>
                      <a:pt x="782" y="243"/>
                      <a:pt x="782" y="243"/>
                    </a:cubicBezTo>
                    <a:cubicBezTo>
                      <a:pt x="784" y="243"/>
                      <a:pt x="785" y="242"/>
                      <a:pt x="786" y="242"/>
                    </a:cubicBezTo>
                    <a:cubicBezTo>
                      <a:pt x="788" y="242"/>
                      <a:pt x="788" y="241"/>
                      <a:pt x="788" y="241"/>
                    </a:cubicBezTo>
                    <a:cubicBezTo>
                      <a:pt x="789" y="240"/>
                      <a:pt x="788" y="240"/>
                      <a:pt x="787" y="240"/>
                    </a:cubicBezTo>
                    <a:cubicBezTo>
                      <a:pt x="787" y="240"/>
                      <a:pt x="786" y="240"/>
                      <a:pt x="786" y="239"/>
                    </a:cubicBezTo>
                    <a:cubicBezTo>
                      <a:pt x="786" y="238"/>
                      <a:pt x="785" y="238"/>
                      <a:pt x="784" y="238"/>
                    </a:cubicBezTo>
                    <a:cubicBezTo>
                      <a:pt x="783" y="238"/>
                      <a:pt x="782" y="237"/>
                      <a:pt x="781" y="236"/>
                    </a:cubicBezTo>
                    <a:cubicBezTo>
                      <a:pt x="780" y="234"/>
                      <a:pt x="780" y="232"/>
                      <a:pt x="779" y="231"/>
                    </a:cubicBezTo>
                    <a:cubicBezTo>
                      <a:pt x="778" y="229"/>
                      <a:pt x="778" y="227"/>
                      <a:pt x="778" y="225"/>
                    </a:cubicBezTo>
                    <a:cubicBezTo>
                      <a:pt x="778" y="223"/>
                      <a:pt x="780" y="222"/>
                      <a:pt x="780" y="220"/>
                    </a:cubicBezTo>
                    <a:cubicBezTo>
                      <a:pt x="781" y="220"/>
                      <a:pt x="781" y="220"/>
                      <a:pt x="782" y="220"/>
                    </a:cubicBezTo>
                    <a:cubicBezTo>
                      <a:pt x="784" y="220"/>
                      <a:pt x="784" y="220"/>
                      <a:pt x="784" y="222"/>
                    </a:cubicBezTo>
                    <a:cubicBezTo>
                      <a:pt x="784" y="224"/>
                      <a:pt x="783" y="225"/>
                      <a:pt x="782" y="226"/>
                    </a:cubicBezTo>
                    <a:cubicBezTo>
                      <a:pt x="782" y="227"/>
                      <a:pt x="781" y="230"/>
                      <a:pt x="781" y="231"/>
                    </a:cubicBezTo>
                    <a:cubicBezTo>
                      <a:pt x="782" y="232"/>
                      <a:pt x="783" y="234"/>
                      <a:pt x="784" y="235"/>
                    </a:cubicBezTo>
                    <a:cubicBezTo>
                      <a:pt x="785" y="237"/>
                      <a:pt x="786" y="238"/>
                      <a:pt x="789" y="238"/>
                    </a:cubicBezTo>
                    <a:cubicBezTo>
                      <a:pt x="789" y="238"/>
                      <a:pt x="790" y="238"/>
                      <a:pt x="790" y="239"/>
                    </a:cubicBezTo>
                    <a:cubicBezTo>
                      <a:pt x="790" y="240"/>
                      <a:pt x="791" y="240"/>
                      <a:pt x="792" y="239"/>
                    </a:cubicBezTo>
                    <a:cubicBezTo>
                      <a:pt x="792" y="238"/>
                      <a:pt x="793" y="238"/>
                      <a:pt x="793" y="238"/>
                    </a:cubicBezTo>
                    <a:cubicBezTo>
                      <a:pt x="795" y="236"/>
                      <a:pt x="797" y="234"/>
                      <a:pt x="796" y="231"/>
                    </a:cubicBezTo>
                    <a:cubicBezTo>
                      <a:pt x="795" y="228"/>
                      <a:pt x="797" y="227"/>
                      <a:pt x="799" y="226"/>
                    </a:cubicBezTo>
                    <a:cubicBezTo>
                      <a:pt x="799" y="226"/>
                      <a:pt x="800" y="225"/>
                      <a:pt x="799" y="225"/>
                    </a:cubicBezTo>
                    <a:cubicBezTo>
                      <a:pt x="798" y="224"/>
                      <a:pt x="798" y="223"/>
                      <a:pt x="796" y="222"/>
                    </a:cubicBezTo>
                    <a:cubicBezTo>
                      <a:pt x="796" y="222"/>
                      <a:pt x="795" y="221"/>
                      <a:pt x="795" y="221"/>
                    </a:cubicBezTo>
                    <a:cubicBezTo>
                      <a:pt x="793" y="220"/>
                      <a:pt x="792" y="219"/>
                      <a:pt x="791" y="218"/>
                    </a:cubicBezTo>
                    <a:cubicBezTo>
                      <a:pt x="790" y="217"/>
                      <a:pt x="788" y="217"/>
                      <a:pt x="787" y="217"/>
                    </a:cubicBezTo>
                    <a:cubicBezTo>
                      <a:pt x="786" y="218"/>
                      <a:pt x="785" y="218"/>
                      <a:pt x="784" y="218"/>
                    </a:cubicBezTo>
                    <a:cubicBezTo>
                      <a:pt x="783" y="217"/>
                      <a:pt x="781" y="216"/>
                      <a:pt x="780" y="215"/>
                    </a:cubicBezTo>
                    <a:cubicBezTo>
                      <a:pt x="778" y="212"/>
                      <a:pt x="777" y="210"/>
                      <a:pt x="774" y="209"/>
                    </a:cubicBezTo>
                    <a:cubicBezTo>
                      <a:pt x="774" y="209"/>
                      <a:pt x="774" y="208"/>
                      <a:pt x="774" y="209"/>
                    </a:cubicBezTo>
                    <a:cubicBezTo>
                      <a:pt x="773" y="209"/>
                      <a:pt x="774" y="209"/>
                      <a:pt x="774" y="209"/>
                    </a:cubicBezTo>
                    <a:cubicBezTo>
                      <a:pt x="774" y="210"/>
                      <a:pt x="774" y="211"/>
                      <a:pt x="774" y="212"/>
                    </a:cubicBezTo>
                    <a:cubicBezTo>
                      <a:pt x="774" y="212"/>
                      <a:pt x="774" y="212"/>
                      <a:pt x="774" y="212"/>
                    </a:cubicBezTo>
                    <a:cubicBezTo>
                      <a:pt x="771" y="211"/>
                      <a:pt x="771" y="211"/>
                      <a:pt x="770" y="213"/>
                    </a:cubicBezTo>
                    <a:cubicBezTo>
                      <a:pt x="770" y="213"/>
                      <a:pt x="770" y="214"/>
                      <a:pt x="770" y="214"/>
                    </a:cubicBezTo>
                    <a:cubicBezTo>
                      <a:pt x="770" y="217"/>
                      <a:pt x="770" y="219"/>
                      <a:pt x="770" y="222"/>
                    </a:cubicBezTo>
                    <a:cubicBezTo>
                      <a:pt x="770" y="222"/>
                      <a:pt x="770" y="222"/>
                      <a:pt x="770" y="222"/>
                    </a:cubicBezTo>
                    <a:cubicBezTo>
                      <a:pt x="769" y="221"/>
                      <a:pt x="767" y="220"/>
                      <a:pt x="767" y="219"/>
                    </a:cubicBezTo>
                    <a:cubicBezTo>
                      <a:pt x="767" y="218"/>
                      <a:pt x="766" y="218"/>
                      <a:pt x="765" y="218"/>
                    </a:cubicBezTo>
                    <a:cubicBezTo>
                      <a:pt x="764" y="218"/>
                      <a:pt x="762" y="216"/>
                      <a:pt x="763" y="215"/>
                    </a:cubicBezTo>
                    <a:cubicBezTo>
                      <a:pt x="763" y="214"/>
                      <a:pt x="763" y="213"/>
                      <a:pt x="762" y="213"/>
                    </a:cubicBezTo>
                    <a:cubicBezTo>
                      <a:pt x="761" y="213"/>
                      <a:pt x="761" y="212"/>
                      <a:pt x="760" y="211"/>
                    </a:cubicBezTo>
                    <a:cubicBezTo>
                      <a:pt x="759" y="210"/>
                      <a:pt x="757" y="210"/>
                      <a:pt x="757" y="208"/>
                    </a:cubicBezTo>
                    <a:cubicBezTo>
                      <a:pt x="757" y="207"/>
                      <a:pt x="756" y="207"/>
                      <a:pt x="755" y="207"/>
                    </a:cubicBezTo>
                    <a:cubicBezTo>
                      <a:pt x="755" y="207"/>
                      <a:pt x="754" y="207"/>
                      <a:pt x="754" y="208"/>
                    </a:cubicBezTo>
                    <a:cubicBezTo>
                      <a:pt x="753" y="209"/>
                      <a:pt x="754" y="210"/>
                      <a:pt x="753" y="209"/>
                    </a:cubicBezTo>
                    <a:cubicBezTo>
                      <a:pt x="752" y="209"/>
                      <a:pt x="752" y="209"/>
                      <a:pt x="752" y="210"/>
                    </a:cubicBezTo>
                    <a:cubicBezTo>
                      <a:pt x="752" y="211"/>
                      <a:pt x="751" y="212"/>
                      <a:pt x="750" y="212"/>
                    </a:cubicBezTo>
                    <a:cubicBezTo>
                      <a:pt x="749" y="212"/>
                      <a:pt x="749" y="213"/>
                      <a:pt x="749" y="213"/>
                    </a:cubicBezTo>
                    <a:cubicBezTo>
                      <a:pt x="747" y="213"/>
                      <a:pt x="746" y="214"/>
                      <a:pt x="747" y="216"/>
                    </a:cubicBezTo>
                    <a:cubicBezTo>
                      <a:pt x="747" y="217"/>
                      <a:pt x="747" y="217"/>
                      <a:pt x="747" y="218"/>
                    </a:cubicBezTo>
                    <a:cubicBezTo>
                      <a:pt x="747" y="219"/>
                      <a:pt x="747" y="219"/>
                      <a:pt x="747" y="219"/>
                    </a:cubicBezTo>
                    <a:cubicBezTo>
                      <a:pt x="744" y="219"/>
                      <a:pt x="744" y="219"/>
                      <a:pt x="745" y="222"/>
                    </a:cubicBezTo>
                    <a:cubicBezTo>
                      <a:pt x="745" y="222"/>
                      <a:pt x="745" y="223"/>
                      <a:pt x="744" y="223"/>
                    </a:cubicBezTo>
                    <a:cubicBezTo>
                      <a:pt x="744" y="223"/>
                      <a:pt x="743" y="224"/>
                      <a:pt x="744" y="224"/>
                    </a:cubicBezTo>
                    <a:cubicBezTo>
                      <a:pt x="745" y="225"/>
                      <a:pt x="745" y="226"/>
                      <a:pt x="745" y="228"/>
                    </a:cubicBezTo>
                    <a:cubicBezTo>
                      <a:pt x="745" y="228"/>
                      <a:pt x="745" y="229"/>
                      <a:pt x="746" y="229"/>
                    </a:cubicBezTo>
                    <a:cubicBezTo>
                      <a:pt x="746" y="229"/>
                      <a:pt x="746" y="230"/>
                      <a:pt x="746" y="230"/>
                    </a:cubicBezTo>
                    <a:cubicBezTo>
                      <a:pt x="746" y="231"/>
                      <a:pt x="745" y="231"/>
                      <a:pt x="745" y="230"/>
                    </a:cubicBezTo>
                    <a:close/>
                    <a:moveTo>
                      <a:pt x="811" y="238"/>
                    </a:moveTo>
                    <a:cubicBezTo>
                      <a:pt x="812" y="239"/>
                      <a:pt x="813" y="240"/>
                      <a:pt x="814" y="240"/>
                    </a:cubicBezTo>
                    <a:cubicBezTo>
                      <a:pt x="815" y="240"/>
                      <a:pt x="816" y="241"/>
                      <a:pt x="817" y="243"/>
                    </a:cubicBezTo>
                    <a:cubicBezTo>
                      <a:pt x="818" y="245"/>
                      <a:pt x="821" y="246"/>
                      <a:pt x="823" y="246"/>
                    </a:cubicBezTo>
                    <a:cubicBezTo>
                      <a:pt x="825" y="246"/>
                      <a:pt x="826" y="246"/>
                      <a:pt x="828" y="246"/>
                    </a:cubicBezTo>
                    <a:cubicBezTo>
                      <a:pt x="828" y="247"/>
                      <a:pt x="828" y="246"/>
                      <a:pt x="828" y="246"/>
                    </a:cubicBezTo>
                    <a:cubicBezTo>
                      <a:pt x="830" y="245"/>
                      <a:pt x="831" y="244"/>
                      <a:pt x="833" y="244"/>
                    </a:cubicBezTo>
                    <a:cubicBezTo>
                      <a:pt x="836" y="243"/>
                      <a:pt x="836" y="243"/>
                      <a:pt x="836" y="241"/>
                    </a:cubicBezTo>
                    <a:cubicBezTo>
                      <a:pt x="836" y="239"/>
                      <a:pt x="836" y="238"/>
                      <a:pt x="837" y="237"/>
                    </a:cubicBezTo>
                    <a:cubicBezTo>
                      <a:pt x="837" y="237"/>
                      <a:pt x="837" y="237"/>
                      <a:pt x="837" y="236"/>
                    </a:cubicBezTo>
                    <a:cubicBezTo>
                      <a:pt x="837" y="236"/>
                      <a:pt x="836" y="236"/>
                      <a:pt x="836" y="236"/>
                    </a:cubicBezTo>
                    <a:cubicBezTo>
                      <a:pt x="835" y="237"/>
                      <a:pt x="835" y="237"/>
                      <a:pt x="834" y="236"/>
                    </a:cubicBezTo>
                    <a:cubicBezTo>
                      <a:pt x="833" y="235"/>
                      <a:pt x="831" y="234"/>
                      <a:pt x="829" y="233"/>
                    </a:cubicBezTo>
                    <a:cubicBezTo>
                      <a:pt x="828" y="233"/>
                      <a:pt x="827" y="232"/>
                      <a:pt x="825" y="233"/>
                    </a:cubicBezTo>
                    <a:cubicBezTo>
                      <a:pt x="822" y="235"/>
                      <a:pt x="822" y="235"/>
                      <a:pt x="821" y="232"/>
                    </a:cubicBezTo>
                    <a:cubicBezTo>
                      <a:pt x="821" y="231"/>
                      <a:pt x="821" y="231"/>
                      <a:pt x="821" y="231"/>
                    </a:cubicBezTo>
                    <a:cubicBezTo>
                      <a:pt x="822" y="229"/>
                      <a:pt x="821" y="229"/>
                      <a:pt x="820" y="229"/>
                    </a:cubicBezTo>
                    <a:cubicBezTo>
                      <a:pt x="818" y="229"/>
                      <a:pt x="817" y="229"/>
                      <a:pt x="816" y="228"/>
                    </a:cubicBezTo>
                    <a:cubicBezTo>
                      <a:pt x="815" y="228"/>
                      <a:pt x="813" y="228"/>
                      <a:pt x="813" y="229"/>
                    </a:cubicBezTo>
                    <a:cubicBezTo>
                      <a:pt x="812" y="232"/>
                      <a:pt x="812" y="232"/>
                      <a:pt x="810" y="230"/>
                    </a:cubicBezTo>
                    <a:cubicBezTo>
                      <a:pt x="809" y="230"/>
                      <a:pt x="809" y="230"/>
                      <a:pt x="809" y="229"/>
                    </a:cubicBezTo>
                    <a:cubicBezTo>
                      <a:pt x="809" y="228"/>
                      <a:pt x="808" y="228"/>
                      <a:pt x="809" y="226"/>
                    </a:cubicBezTo>
                    <a:cubicBezTo>
                      <a:pt x="810" y="226"/>
                      <a:pt x="808" y="224"/>
                      <a:pt x="807" y="224"/>
                    </a:cubicBezTo>
                    <a:cubicBezTo>
                      <a:pt x="806" y="224"/>
                      <a:pt x="807" y="225"/>
                      <a:pt x="807" y="226"/>
                    </a:cubicBezTo>
                    <a:cubicBezTo>
                      <a:pt x="807" y="227"/>
                      <a:pt x="807" y="227"/>
                      <a:pt x="806" y="228"/>
                    </a:cubicBezTo>
                    <a:cubicBezTo>
                      <a:pt x="806" y="228"/>
                      <a:pt x="806" y="229"/>
                      <a:pt x="806" y="230"/>
                    </a:cubicBezTo>
                    <a:cubicBezTo>
                      <a:pt x="806" y="231"/>
                      <a:pt x="807" y="233"/>
                      <a:pt x="805" y="233"/>
                    </a:cubicBezTo>
                    <a:cubicBezTo>
                      <a:pt x="807" y="236"/>
                      <a:pt x="809" y="236"/>
                      <a:pt x="811" y="238"/>
                    </a:cubicBezTo>
                    <a:close/>
                    <a:moveTo>
                      <a:pt x="674" y="296"/>
                    </a:moveTo>
                    <a:cubicBezTo>
                      <a:pt x="674" y="296"/>
                      <a:pt x="674" y="296"/>
                      <a:pt x="674" y="296"/>
                    </a:cubicBezTo>
                    <a:cubicBezTo>
                      <a:pt x="674" y="296"/>
                      <a:pt x="674" y="296"/>
                      <a:pt x="674" y="296"/>
                    </a:cubicBezTo>
                    <a:cubicBezTo>
                      <a:pt x="674" y="296"/>
                      <a:pt x="674" y="296"/>
                      <a:pt x="674" y="296"/>
                    </a:cubicBezTo>
                    <a:close/>
                    <a:moveTo>
                      <a:pt x="763" y="280"/>
                    </a:moveTo>
                    <a:cubicBezTo>
                      <a:pt x="763" y="281"/>
                      <a:pt x="764" y="280"/>
                      <a:pt x="764" y="280"/>
                    </a:cubicBezTo>
                    <a:cubicBezTo>
                      <a:pt x="765" y="280"/>
                      <a:pt x="765" y="279"/>
                      <a:pt x="766" y="279"/>
                    </a:cubicBezTo>
                    <a:cubicBezTo>
                      <a:pt x="767" y="279"/>
                      <a:pt x="767" y="278"/>
                      <a:pt x="768" y="279"/>
                    </a:cubicBezTo>
                    <a:cubicBezTo>
                      <a:pt x="769" y="279"/>
                      <a:pt x="771" y="280"/>
                      <a:pt x="772" y="280"/>
                    </a:cubicBezTo>
                    <a:cubicBezTo>
                      <a:pt x="773" y="281"/>
                      <a:pt x="775" y="282"/>
                      <a:pt x="777" y="283"/>
                    </a:cubicBezTo>
                    <a:cubicBezTo>
                      <a:pt x="780" y="283"/>
                      <a:pt x="782" y="283"/>
                      <a:pt x="784" y="284"/>
                    </a:cubicBezTo>
                    <a:cubicBezTo>
                      <a:pt x="786" y="285"/>
                      <a:pt x="787" y="284"/>
                      <a:pt x="787" y="282"/>
                    </a:cubicBezTo>
                    <a:cubicBezTo>
                      <a:pt x="787" y="281"/>
                      <a:pt x="787" y="280"/>
                      <a:pt x="787" y="279"/>
                    </a:cubicBezTo>
                    <a:cubicBezTo>
                      <a:pt x="787" y="278"/>
                      <a:pt x="788" y="277"/>
                      <a:pt x="787" y="276"/>
                    </a:cubicBezTo>
                    <a:cubicBezTo>
                      <a:pt x="785" y="273"/>
                      <a:pt x="783" y="271"/>
                      <a:pt x="781" y="270"/>
                    </a:cubicBezTo>
                    <a:cubicBezTo>
                      <a:pt x="780" y="268"/>
                      <a:pt x="778" y="268"/>
                      <a:pt x="777" y="267"/>
                    </a:cubicBezTo>
                    <a:cubicBezTo>
                      <a:pt x="777" y="267"/>
                      <a:pt x="776" y="267"/>
                      <a:pt x="776" y="267"/>
                    </a:cubicBezTo>
                    <a:cubicBezTo>
                      <a:pt x="774" y="268"/>
                      <a:pt x="773" y="269"/>
                      <a:pt x="771" y="269"/>
                    </a:cubicBezTo>
                    <a:cubicBezTo>
                      <a:pt x="771" y="269"/>
                      <a:pt x="770" y="269"/>
                      <a:pt x="770" y="270"/>
                    </a:cubicBezTo>
                    <a:cubicBezTo>
                      <a:pt x="769" y="272"/>
                      <a:pt x="769" y="274"/>
                      <a:pt x="768" y="276"/>
                    </a:cubicBezTo>
                    <a:cubicBezTo>
                      <a:pt x="768" y="277"/>
                      <a:pt x="766" y="278"/>
                      <a:pt x="765" y="278"/>
                    </a:cubicBezTo>
                    <a:cubicBezTo>
                      <a:pt x="764" y="278"/>
                      <a:pt x="764" y="278"/>
                      <a:pt x="763" y="279"/>
                    </a:cubicBezTo>
                    <a:cubicBezTo>
                      <a:pt x="763" y="279"/>
                      <a:pt x="763" y="280"/>
                      <a:pt x="763" y="280"/>
                    </a:cubicBezTo>
                    <a:close/>
                    <a:moveTo>
                      <a:pt x="1027" y="336"/>
                    </a:moveTo>
                    <a:cubicBezTo>
                      <a:pt x="1028" y="335"/>
                      <a:pt x="1029" y="335"/>
                      <a:pt x="1030" y="335"/>
                    </a:cubicBezTo>
                    <a:cubicBezTo>
                      <a:pt x="1031" y="335"/>
                      <a:pt x="1032" y="335"/>
                      <a:pt x="1033" y="334"/>
                    </a:cubicBezTo>
                    <a:cubicBezTo>
                      <a:pt x="1034" y="333"/>
                      <a:pt x="1036" y="333"/>
                      <a:pt x="1037" y="334"/>
                    </a:cubicBezTo>
                    <a:cubicBezTo>
                      <a:pt x="1038" y="335"/>
                      <a:pt x="1040" y="335"/>
                      <a:pt x="1040" y="334"/>
                    </a:cubicBezTo>
                    <a:cubicBezTo>
                      <a:pt x="1041" y="333"/>
                      <a:pt x="1042" y="333"/>
                      <a:pt x="1043" y="333"/>
                    </a:cubicBezTo>
                    <a:cubicBezTo>
                      <a:pt x="1045" y="333"/>
                      <a:pt x="1047" y="332"/>
                      <a:pt x="1049" y="332"/>
                    </a:cubicBezTo>
                    <a:cubicBezTo>
                      <a:pt x="1050" y="331"/>
                      <a:pt x="1051" y="330"/>
                      <a:pt x="1051" y="328"/>
                    </a:cubicBezTo>
                    <a:cubicBezTo>
                      <a:pt x="1052" y="327"/>
                      <a:pt x="1051" y="327"/>
                      <a:pt x="1050" y="327"/>
                    </a:cubicBezTo>
                    <a:cubicBezTo>
                      <a:pt x="1050" y="327"/>
                      <a:pt x="1050" y="326"/>
                      <a:pt x="1050" y="326"/>
                    </a:cubicBezTo>
                    <a:cubicBezTo>
                      <a:pt x="1048" y="324"/>
                      <a:pt x="1046" y="322"/>
                      <a:pt x="1044" y="321"/>
                    </a:cubicBezTo>
                    <a:cubicBezTo>
                      <a:pt x="1043" y="320"/>
                      <a:pt x="1042" y="320"/>
                      <a:pt x="1041" y="320"/>
                    </a:cubicBezTo>
                    <a:cubicBezTo>
                      <a:pt x="1040" y="320"/>
                      <a:pt x="1039" y="321"/>
                      <a:pt x="1038" y="321"/>
                    </a:cubicBezTo>
                    <a:cubicBezTo>
                      <a:pt x="1038" y="321"/>
                      <a:pt x="1037" y="320"/>
                      <a:pt x="1037" y="320"/>
                    </a:cubicBezTo>
                    <a:cubicBezTo>
                      <a:pt x="1035" y="321"/>
                      <a:pt x="1034" y="321"/>
                      <a:pt x="1033" y="322"/>
                    </a:cubicBezTo>
                    <a:cubicBezTo>
                      <a:pt x="1032" y="324"/>
                      <a:pt x="1030" y="324"/>
                      <a:pt x="1029" y="326"/>
                    </a:cubicBezTo>
                    <a:cubicBezTo>
                      <a:pt x="1029" y="327"/>
                      <a:pt x="1028" y="327"/>
                      <a:pt x="1027" y="328"/>
                    </a:cubicBezTo>
                    <a:cubicBezTo>
                      <a:pt x="1025" y="330"/>
                      <a:pt x="1024" y="333"/>
                      <a:pt x="1026" y="336"/>
                    </a:cubicBezTo>
                    <a:cubicBezTo>
                      <a:pt x="1026" y="336"/>
                      <a:pt x="1026" y="337"/>
                      <a:pt x="1027" y="336"/>
                    </a:cubicBezTo>
                    <a:close/>
                    <a:moveTo>
                      <a:pt x="768" y="267"/>
                    </a:moveTo>
                    <a:cubicBezTo>
                      <a:pt x="769" y="267"/>
                      <a:pt x="771" y="265"/>
                      <a:pt x="771" y="264"/>
                    </a:cubicBezTo>
                    <a:cubicBezTo>
                      <a:pt x="771" y="263"/>
                      <a:pt x="770" y="261"/>
                      <a:pt x="771" y="260"/>
                    </a:cubicBezTo>
                    <a:cubicBezTo>
                      <a:pt x="771" y="259"/>
                      <a:pt x="770" y="258"/>
                      <a:pt x="769" y="258"/>
                    </a:cubicBezTo>
                    <a:cubicBezTo>
                      <a:pt x="767" y="258"/>
                      <a:pt x="765" y="259"/>
                      <a:pt x="765" y="260"/>
                    </a:cubicBezTo>
                    <a:cubicBezTo>
                      <a:pt x="765" y="261"/>
                      <a:pt x="765" y="262"/>
                      <a:pt x="765" y="262"/>
                    </a:cubicBezTo>
                    <a:cubicBezTo>
                      <a:pt x="764" y="264"/>
                      <a:pt x="766" y="265"/>
                      <a:pt x="766" y="267"/>
                    </a:cubicBezTo>
                    <a:cubicBezTo>
                      <a:pt x="766" y="267"/>
                      <a:pt x="767" y="267"/>
                      <a:pt x="768" y="267"/>
                    </a:cubicBezTo>
                    <a:close/>
                    <a:moveTo>
                      <a:pt x="733" y="262"/>
                    </a:moveTo>
                    <a:cubicBezTo>
                      <a:pt x="734" y="263"/>
                      <a:pt x="735" y="264"/>
                      <a:pt x="735" y="265"/>
                    </a:cubicBezTo>
                    <a:cubicBezTo>
                      <a:pt x="735" y="266"/>
                      <a:pt x="736" y="266"/>
                      <a:pt x="736" y="267"/>
                    </a:cubicBezTo>
                    <a:cubicBezTo>
                      <a:pt x="737" y="268"/>
                      <a:pt x="737" y="268"/>
                      <a:pt x="738" y="268"/>
                    </a:cubicBezTo>
                    <a:cubicBezTo>
                      <a:pt x="739" y="267"/>
                      <a:pt x="739" y="267"/>
                      <a:pt x="739" y="266"/>
                    </a:cubicBezTo>
                    <a:cubicBezTo>
                      <a:pt x="739" y="263"/>
                      <a:pt x="736" y="261"/>
                      <a:pt x="734" y="259"/>
                    </a:cubicBezTo>
                    <a:cubicBezTo>
                      <a:pt x="733" y="258"/>
                      <a:pt x="733" y="259"/>
                      <a:pt x="732" y="259"/>
                    </a:cubicBezTo>
                    <a:cubicBezTo>
                      <a:pt x="732" y="260"/>
                      <a:pt x="732" y="262"/>
                      <a:pt x="733" y="262"/>
                    </a:cubicBezTo>
                    <a:close/>
                    <a:moveTo>
                      <a:pt x="735" y="230"/>
                    </a:moveTo>
                    <a:cubicBezTo>
                      <a:pt x="736" y="230"/>
                      <a:pt x="737" y="228"/>
                      <a:pt x="736" y="228"/>
                    </a:cubicBezTo>
                    <a:cubicBezTo>
                      <a:pt x="736" y="226"/>
                      <a:pt x="737" y="225"/>
                      <a:pt x="738" y="223"/>
                    </a:cubicBezTo>
                    <a:cubicBezTo>
                      <a:pt x="738" y="223"/>
                      <a:pt x="738" y="223"/>
                      <a:pt x="738" y="222"/>
                    </a:cubicBezTo>
                    <a:cubicBezTo>
                      <a:pt x="737" y="222"/>
                      <a:pt x="736" y="220"/>
                      <a:pt x="736" y="219"/>
                    </a:cubicBezTo>
                    <a:cubicBezTo>
                      <a:pt x="735" y="219"/>
                      <a:pt x="735" y="219"/>
                      <a:pt x="735" y="219"/>
                    </a:cubicBezTo>
                    <a:cubicBezTo>
                      <a:pt x="734" y="219"/>
                      <a:pt x="734" y="219"/>
                      <a:pt x="734" y="220"/>
                    </a:cubicBezTo>
                    <a:cubicBezTo>
                      <a:pt x="734" y="222"/>
                      <a:pt x="735" y="225"/>
                      <a:pt x="734" y="227"/>
                    </a:cubicBezTo>
                    <a:cubicBezTo>
                      <a:pt x="734" y="229"/>
                      <a:pt x="734" y="229"/>
                      <a:pt x="735" y="230"/>
                    </a:cubicBezTo>
                    <a:close/>
                    <a:moveTo>
                      <a:pt x="823" y="195"/>
                    </a:moveTo>
                    <a:cubicBezTo>
                      <a:pt x="825" y="195"/>
                      <a:pt x="826" y="195"/>
                      <a:pt x="827" y="193"/>
                    </a:cubicBezTo>
                    <a:cubicBezTo>
                      <a:pt x="827" y="192"/>
                      <a:pt x="827" y="192"/>
                      <a:pt x="828" y="191"/>
                    </a:cubicBezTo>
                    <a:cubicBezTo>
                      <a:pt x="828" y="191"/>
                      <a:pt x="828" y="191"/>
                      <a:pt x="828" y="190"/>
                    </a:cubicBezTo>
                    <a:cubicBezTo>
                      <a:pt x="827" y="190"/>
                      <a:pt x="827" y="190"/>
                      <a:pt x="827" y="190"/>
                    </a:cubicBezTo>
                    <a:cubicBezTo>
                      <a:pt x="825" y="190"/>
                      <a:pt x="823" y="191"/>
                      <a:pt x="822" y="192"/>
                    </a:cubicBezTo>
                    <a:cubicBezTo>
                      <a:pt x="821" y="193"/>
                      <a:pt x="820" y="193"/>
                      <a:pt x="821" y="194"/>
                    </a:cubicBezTo>
                    <a:cubicBezTo>
                      <a:pt x="821" y="195"/>
                      <a:pt x="822" y="195"/>
                      <a:pt x="823" y="195"/>
                    </a:cubicBezTo>
                    <a:close/>
                    <a:moveTo>
                      <a:pt x="682" y="302"/>
                    </a:moveTo>
                    <a:cubicBezTo>
                      <a:pt x="684" y="302"/>
                      <a:pt x="686" y="302"/>
                      <a:pt x="688" y="302"/>
                    </a:cubicBezTo>
                    <a:cubicBezTo>
                      <a:pt x="689" y="302"/>
                      <a:pt x="690" y="302"/>
                      <a:pt x="691" y="302"/>
                    </a:cubicBezTo>
                    <a:cubicBezTo>
                      <a:pt x="691" y="302"/>
                      <a:pt x="691" y="302"/>
                      <a:pt x="691" y="302"/>
                    </a:cubicBezTo>
                    <a:cubicBezTo>
                      <a:pt x="691" y="302"/>
                      <a:pt x="691" y="302"/>
                      <a:pt x="691" y="302"/>
                    </a:cubicBezTo>
                    <a:cubicBezTo>
                      <a:pt x="691" y="301"/>
                      <a:pt x="690" y="301"/>
                      <a:pt x="689" y="301"/>
                    </a:cubicBezTo>
                    <a:cubicBezTo>
                      <a:pt x="689" y="301"/>
                      <a:pt x="688" y="301"/>
                      <a:pt x="688" y="300"/>
                    </a:cubicBezTo>
                    <a:cubicBezTo>
                      <a:pt x="688" y="300"/>
                      <a:pt x="689" y="299"/>
                      <a:pt x="689" y="298"/>
                    </a:cubicBezTo>
                    <a:cubicBezTo>
                      <a:pt x="690" y="298"/>
                      <a:pt x="690" y="298"/>
                      <a:pt x="689" y="297"/>
                    </a:cubicBezTo>
                    <a:cubicBezTo>
                      <a:pt x="688" y="297"/>
                      <a:pt x="688" y="296"/>
                      <a:pt x="686" y="297"/>
                    </a:cubicBezTo>
                    <a:cubicBezTo>
                      <a:pt x="686" y="297"/>
                      <a:pt x="687" y="297"/>
                      <a:pt x="687" y="297"/>
                    </a:cubicBezTo>
                    <a:cubicBezTo>
                      <a:pt x="686" y="297"/>
                      <a:pt x="686" y="297"/>
                      <a:pt x="686" y="297"/>
                    </a:cubicBezTo>
                    <a:cubicBezTo>
                      <a:pt x="688" y="298"/>
                      <a:pt x="687" y="298"/>
                      <a:pt x="687" y="299"/>
                    </a:cubicBezTo>
                    <a:cubicBezTo>
                      <a:pt x="687" y="299"/>
                      <a:pt x="686" y="299"/>
                      <a:pt x="686" y="299"/>
                    </a:cubicBezTo>
                    <a:cubicBezTo>
                      <a:pt x="686" y="299"/>
                      <a:pt x="686" y="299"/>
                      <a:pt x="686" y="299"/>
                    </a:cubicBezTo>
                    <a:cubicBezTo>
                      <a:pt x="686" y="299"/>
                      <a:pt x="686" y="299"/>
                      <a:pt x="686" y="299"/>
                    </a:cubicBezTo>
                    <a:cubicBezTo>
                      <a:pt x="686" y="299"/>
                      <a:pt x="686" y="300"/>
                      <a:pt x="686" y="300"/>
                    </a:cubicBezTo>
                    <a:cubicBezTo>
                      <a:pt x="685" y="300"/>
                      <a:pt x="684" y="299"/>
                      <a:pt x="683" y="299"/>
                    </a:cubicBezTo>
                    <a:cubicBezTo>
                      <a:pt x="683" y="299"/>
                      <a:pt x="683" y="298"/>
                      <a:pt x="682" y="298"/>
                    </a:cubicBezTo>
                    <a:cubicBezTo>
                      <a:pt x="682" y="299"/>
                      <a:pt x="682" y="299"/>
                      <a:pt x="682" y="299"/>
                    </a:cubicBezTo>
                    <a:cubicBezTo>
                      <a:pt x="682" y="299"/>
                      <a:pt x="683" y="299"/>
                      <a:pt x="683" y="299"/>
                    </a:cubicBezTo>
                    <a:cubicBezTo>
                      <a:pt x="682" y="300"/>
                      <a:pt x="681" y="300"/>
                      <a:pt x="680" y="299"/>
                    </a:cubicBezTo>
                    <a:cubicBezTo>
                      <a:pt x="680" y="299"/>
                      <a:pt x="680" y="299"/>
                      <a:pt x="680" y="299"/>
                    </a:cubicBezTo>
                    <a:cubicBezTo>
                      <a:pt x="680" y="299"/>
                      <a:pt x="680" y="299"/>
                      <a:pt x="680" y="299"/>
                    </a:cubicBezTo>
                    <a:cubicBezTo>
                      <a:pt x="680" y="301"/>
                      <a:pt x="681" y="302"/>
                      <a:pt x="682" y="302"/>
                    </a:cubicBezTo>
                    <a:close/>
                    <a:moveTo>
                      <a:pt x="678" y="295"/>
                    </a:moveTo>
                    <a:cubicBezTo>
                      <a:pt x="678" y="295"/>
                      <a:pt x="677" y="295"/>
                      <a:pt x="677" y="295"/>
                    </a:cubicBezTo>
                    <a:cubicBezTo>
                      <a:pt x="676" y="296"/>
                      <a:pt x="675" y="295"/>
                      <a:pt x="674" y="296"/>
                    </a:cubicBezTo>
                    <a:cubicBezTo>
                      <a:pt x="674" y="296"/>
                      <a:pt x="674" y="296"/>
                      <a:pt x="674" y="296"/>
                    </a:cubicBezTo>
                    <a:cubicBezTo>
                      <a:pt x="674" y="296"/>
                      <a:pt x="674" y="296"/>
                      <a:pt x="674" y="296"/>
                    </a:cubicBezTo>
                    <a:cubicBezTo>
                      <a:pt x="674" y="296"/>
                      <a:pt x="673" y="297"/>
                      <a:pt x="674" y="297"/>
                    </a:cubicBezTo>
                    <a:cubicBezTo>
                      <a:pt x="675" y="297"/>
                      <a:pt x="675" y="297"/>
                      <a:pt x="675" y="298"/>
                    </a:cubicBezTo>
                    <a:cubicBezTo>
                      <a:pt x="675" y="298"/>
                      <a:pt x="675" y="298"/>
                      <a:pt x="675" y="298"/>
                    </a:cubicBezTo>
                    <a:cubicBezTo>
                      <a:pt x="676" y="298"/>
                      <a:pt x="676" y="298"/>
                      <a:pt x="676" y="298"/>
                    </a:cubicBezTo>
                    <a:cubicBezTo>
                      <a:pt x="677" y="297"/>
                      <a:pt x="678" y="296"/>
                      <a:pt x="678" y="295"/>
                    </a:cubicBezTo>
                    <a:close/>
                    <a:moveTo>
                      <a:pt x="658" y="269"/>
                    </a:moveTo>
                    <a:cubicBezTo>
                      <a:pt x="658" y="269"/>
                      <a:pt x="659" y="270"/>
                      <a:pt x="659" y="269"/>
                    </a:cubicBezTo>
                    <a:cubicBezTo>
                      <a:pt x="660" y="269"/>
                      <a:pt x="660" y="269"/>
                      <a:pt x="660" y="269"/>
                    </a:cubicBezTo>
                    <a:cubicBezTo>
                      <a:pt x="660" y="269"/>
                      <a:pt x="660" y="269"/>
                      <a:pt x="660" y="269"/>
                    </a:cubicBezTo>
                    <a:cubicBezTo>
                      <a:pt x="660" y="268"/>
                      <a:pt x="661" y="268"/>
                      <a:pt x="661" y="268"/>
                    </a:cubicBezTo>
                    <a:cubicBezTo>
                      <a:pt x="662" y="268"/>
                      <a:pt x="662" y="268"/>
                      <a:pt x="662" y="268"/>
                    </a:cubicBezTo>
                    <a:cubicBezTo>
                      <a:pt x="662" y="268"/>
                      <a:pt x="662" y="268"/>
                      <a:pt x="662" y="268"/>
                    </a:cubicBezTo>
                    <a:cubicBezTo>
                      <a:pt x="662" y="268"/>
                      <a:pt x="662" y="268"/>
                      <a:pt x="662" y="268"/>
                    </a:cubicBezTo>
                    <a:cubicBezTo>
                      <a:pt x="662" y="268"/>
                      <a:pt x="662" y="267"/>
                      <a:pt x="662" y="267"/>
                    </a:cubicBezTo>
                    <a:cubicBezTo>
                      <a:pt x="662" y="267"/>
                      <a:pt x="661" y="267"/>
                      <a:pt x="661" y="267"/>
                    </a:cubicBezTo>
                    <a:cubicBezTo>
                      <a:pt x="661" y="267"/>
                      <a:pt x="660" y="266"/>
                      <a:pt x="660" y="266"/>
                    </a:cubicBezTo>
                    <a:cubicBezTo>
                      <a:pt x="660" y="266"/>
                      <a:pt x="660" y="266"/>
                      <a:pt x="660" y="266"/>
                    </a:cubicBezTo>
                    <a:cubicBezTo>
                      <a:pt x="659" y="266"/>
                      <a:pt x="659" y="266"/>
                      <a:pt x="659" y="267"/>
                    </a:cubicBezTo>
                    <a:cubicBezTo>
                      <a:pt x="658" y="267"/>
                      <a:pt x="658" y="267"/>
                      <a:pt x="658" y="267"/>
                    </a:cubicBezTo>
                    <a:cubicBezTo>
                      <a:pt x="658" y="267"/>
                      <a:pt x="658" y="267"/>
                      <a:pt x="658" y="267"/>
                    </a:cubicBezTo>
                    <a:cubicBezTo>
                      <a:pt x="658" y="267"/>
                      <a:pt x="658" y="268"/>
                      <a:pt x="658" y="268"/>
                    </a:cubicBezTo>
                    <a:cubicBezTo>
                      <a:pt x="657" y="268"/>
                      <a:pt x="658" y="269"/>
                      <a:pt x="658" y="269"/>
                    </a:cubicBezTo>
                    <a:close/>
                    <a:moveTo>
                      <a:pt x="582" y="201"/>
                    </a:moveTo>
                    <a:cubicBezTo>
                      <a:pt x="582" y="202"/>
                      <a:pt x="583" y="203"/>
                      <a:pt x="583" y="203"/>
                    </a:cubicBezTo>
                    <a:cubicBezTo>
                      <a:pt x="584" y="203"/>
                      <a:pt x="584" y="203"/>
                      <a:pt x="584" y="202"/>
                    </a:cubicBezTo>
                    <a:cubicBezTo>
                      <a:pt x="584" y="202"/>
                      <a:pt x="584" y="202"/>
                      <a:pt x="584" y="202"/>
                    </a:cubicBezTo>
                    <a:cubicBezTo>
                      <a:pt x="584" y="201"/>
                      <a:pt x="584" y="201"/>
                      <a:pt x="584" y="200"/>
                    </a:cubicBezTo>
                    <a:cubicBezTo>
                      <a:pt x="584" y="199"/>
                      <a:pt x="583" y="198"/>
                      <a:pt x="582" y="198"/>
                    </a:cubicBezTo>
                    <a:cubicBezTo>
                      <a:pt x="582" y="198"/>
                      <a:pt x="582" y="198"/>
                      <a:pt x="582" y="198"/>
                    </a:cubicBezTo>
                    <a:cubicBezTo>
                      <a:pt x="581" y="198"/>
                      <a:pt x="581" y="198"/>
                      <a:pt x="581" y="198"/>
                    </a:cubicBezTo>
                    <a:cubicBezTo>
                      <a:pt x="582" y="199"/>
                      <a:pt x="582" y="200"/>
                      <a:pt x="582" y="201"/>
                    </a:cubicBezTo>
                    <a:close/>
                    <a:moveTo>
                      <a:pt x="538" y="173"/>
                    </a:moveTo>
                    <a:cubicBezTo>
                      <a:pt x="538" y="173"/>
                      <a:pt x="538" y="173"/>
                      <a:pt x="538" y="172"/>
                    </a:cubicBezTo>
                    <a:cubicBezTo>
                      <a:pt x="538" y="172"/>
                      <a:pt x="538" y="172"/>
                      <a:pt x="538" y="172"/>
                    </a:cubicBezTo>
                    <a:cubicBezTo>
                      <a:pt x="538" y="172"/>
                      <a:pt x="539" y="172"/>
                      <a:pt x="539" y="172"/>
                    </a:cubicBezTo>
                    <a:cubicBezTo>
                      <a:pt x="540" y="171"/>
                      <a:pt x="540" y="171"/>
                      <a:pt x="540" y="171"/>
                    </a:cubicBezTo>
                    <a:cubicBezTo>
                      <a:pt x="540" y="170"/>
                      <a:pt x="541" y="170"/>
                      <a:pt x="540" y="170"/>
                    </a:cubicBezTo>
                    <a:cubicBezTo>
                      <a:pt x="540" y="169"/>
                      <a:pt x="539" y="169"/>
                      <a:pt x="539" y="169"/>
                    </a:cubicBezTo>
                    <a:cubicBezTo>
                      <a:pt x="539" y="169"/>
                      <a:pt x="538" y="169"/>
                      <a:pt x="538" y="169"/>
                    </a:cubicBezTo>
                    <a:cubicBezTo>
                      <a:pt x="538" y="170"/>
                      <a:pt x="537" y="171"/>
                      <a:pt x="537" y="171"/>
                    </a:cubicBezTo>
                    <a:cubicBezTo>
                      <a:pt x="537" y="172"/>
                      <a:pt x="537" y="172"/>
                      <a:pt x="537" y="172"/>
                    </a:cubicBezTo>
                    <a:cubicBezTo>
                      <a:pt x="537" y="172"/>
                      <a:pt x="537" y="172"/>
                      <a:pt x="538" y="173"/>
                    </a:cubicBezTo>
                    <a:close/>
                    <a:moveTo>
                      <a:pt x="850" y="210"/>
                    </a:moveTo>
                    <a:cubicBezTo>
                      <a:pt x="851" y="210"/>
                      <a:pt x="851" y="209"/>
                      <a:pt x="851" y="209"/>
                    </a:cubicBezTo>
                    <a:cubicBezTo>
                      <a:pt x="851" y="208"/>
                      <a:pt x="851" y="207"/>
                      <a:pt x="850" y="207"/>
                    </a:cubicBezTo>
                    <a:cubicBezTo>
                      <a:pt x="849" y="207"/>
                      <a:pt x="848" y="208"/>
                      <a:pt x="848" y="208"/>
                    </a:cubicBezTo>
                    <a:cubicBezTo>
                      <a:pt x="848" y="209"/>
                      <a:pt x="849" y="210"/>
                      <a:pt x="850" y="210"/>
                    </a:cubicBezTo>
                    <a:close/>
                    <a:moveTo>
                      <a:pt x="692" y="309"/>
                    </a:moveTo>
                    <a:cubicBezTo>
                      <a:pt x="692" y="309"/>
                      <a:pt x="692" y="308"/>
                      <a:pt x="692" y="308"/>
                    </a:cubicBezTo>
                    <a:cubicBezTo>
                      <a:pt x="692" y="308"/>
                      <a:pt x="692" y="308"/>
                      <a:pt x="692" y="308"/>
                    </a:cubicBezTo>
                    <a:cubicBezTo>
                      <a:pt x="692" y="308"/>
                      <a:pt x="692" y="308"/>
                      <a:pt x="692" y="308"/>
                    </a:cubicBezTo>
                    <a:cubicBezTo>
                      <a:pt x="692" y="308"/>
                      <a:pt x="692" y="308"/>
                      <a:pt x="692" y="308"/>
                    </a:cubicBezTo>
                    <a:cubicBezTo>
                      <a:pt x="692" y="308"/>
                      <a:pt x="692" y="308"/>
                      <a:pt x="692" y="308"/>
                    </a:cubicBezTo>
                    <a:cubicBezTo>
                      <a:pt x="690" y="309"/>
                      <a:pt x="689" y="308"/>
                      <a:pt x="688" y="307"/>
                    </a:cubicBezTo>
                    <a:cubicBezTo>
                      <a:pt x="688" y="307"/>
                      <a:pt x="688" y="307"/>
                      <a:pt x="688" y="307"/>
                    </a:cubicBezTo>
                    <a:cubicBezTo>
                      <a:pt x="687" y="308"/>
                      <a:pt x="687" y="308"/>
                      <a:pt x="687" y="308"/>
                    </a:cubicBezTo>
                    <a:cubicBezTo>
                      <a:pt x="688" y="309"/>
                      <a:pt x="688" y="310"/>
                      <a:pt x="689" y="310"/>
                    </a:cubicBezTo>
                    <a:cubicBezTo>
                      <a:pt x="690" y="309"/>
                      <a:pt x="691" y="309"/>
                      <a:pt x="692" y="309"/>
                    </a:cubicBezTo>
                    <a:cubicBezTo>
                      <a:pt x="692" y="309"/>
                      <a:pt x="692" y="309"/>
                      <a:pt x="692" y="309"/>
                    </a:cubicBezTo>
                    <a:close/>
                    <a:moveTo>
                      <a:pt x="680" y="279"/>
                    </a:moveTo>
                    <a:cubicBezTo>
                      <a:pt x="680" y="279"/>
                      <a:pt x="680" y="279"/>
                      <a:pt x="680" y="279"/>
                    </a:cubicBezTo>
                    <a:cubicBezTo>
                      <a:pt x="681" y="279"/>
                      <a:pt x="681" y="278"/>
                      <a:pt x="681" y="277"/>
                    </a:cubicBezTo>
                    <a:cubicBezTo>
                      <a:pt x="681" y="277"/>
                      <a:pt x="681" y="276"/>
                      <a:pt x="680" y="276"/>
                    </a:cubicBezTo>
                    <a:cubicBezTo>
                      <a:pt x="680" y="276"/>
                      <a:pt x="679" y="277"/>
                      <a:pt x="679" y="277"/>
                    </a:cubicBezTo>
                    <a:cubicBezTo>
                      <a:pt x="679" y="277"/>
                      <a:pt x="679" y="277"/>
                      <a:pt x="679" y="277"/>
                    </a:cubicBezTo>
                    <a:cubicBezTo>
                      <a:pt x="680" y="278"/>
                      <a:pt x="679" y="279"/>
                      <a:pt x="680" y="279"/>
                    </a:cubicBezTo>
                    <a:close/>
                    <a:moveTo>
                      <a:pt x="909" y="336"/>
                    </a:moveTo>
                    <a:cubicBezTo>
                      <a:pt x="909" y="337"/>
                      <a:pt x="909" y="337"/>
                      <a:pt x="909" y="338"/>
                    </a:cubicBezTo>
                    <a:cubicBezTo>
                      <a:pt x="910" y="338"/>
                      <a:pt x="910" y="338"/>
                      <a:pt x="911" y="339"/>
                    </a:cubicBezTo>
                    <a:cubicBezTo>
                      <a:pt x="911" y="338"/>
                      <a:pt x="911" y="338"/>
                      <a:pt x="911" y="337"/>
                    </a:cubicBezTo>
                    <a:cubicBezTo>
                      <a:pt x="911" y="336"/>
                      <a:pt x="911" y="336"/>
                      <a:pt x="910" y="336"/>
                    </a:cubicBezTo>
                    <a:cubicBezTo>
                      <a:pt x="910" y="336"/>
                      <a:pt x="909" y="336"/>
                      <a:pt x="909" y="336"/>
                    </a:cubicBezTo>
                    <a:close/>
                    <a:moveTo>
                      <a:pt x="876" y="181"/>
                    </a:moveTo>
                    <a:cubicBezTo>
                      <a:pt x="876" y="181"/>
                      <a:pt x="877" y="180"/>
                      <a:pt x="877" y="180"/>
                    </a:cubicBezTo>
                    <a:cubicBezTo>
                      <a:pt x="877" y="180"/>
                      <a:pt x="877" y="179"/>
                      <a:pt x="877" y="179"/>
                    </a:cubicBezTo>
                    <a:cubicBezTo>
                      <a:pt x="876" y="179"/>
                      <a:pt x="876" y="179"/>
                      <a:pt x="876" y="180"/>
                    </a:cubicBezTo>
                    <a:cubicBezTo>
                      <a:pt x="875" y="180"/>
                      <a:pt x="875" y="180"/>
                      <a:pt x="875" y="181"/>
                    </a:cubicBezTo>
                    <a:cubicBezTo>
                      <a:pt x="875" y="181"/>
                      <a:pt x="875" y="181"/>
                      <a:pt x="876" y="181"/>
                    </a:cubicBezTo>
                    <a:close/>
                    <a:moveTo>
                      <a:pt x="685" y="296"/>
                    </a:moveTo>
                    <a:cubicBezTo>
                      <a:pt x="685" y="296"/>
                      <a:pt x="685" y="296"/>
                      <a:pt x="685" y="296"/>
                    </a:cubicBezTo>
                    <a:cubicBezTo>
                      <a:pt x="684" y="295"/>
                      <a:pt x="683" y="296"/>
                      <a:pt x="682" y="296"/>
                    </a:cubicBezTo>
                    <a:cubicBezTo>
                      <a:pt x="682" y="296"/>
                      <a:pt x="682" y="296"/>
                      <a:pt x="682" y="296"/>
                    </a:cubicBezTo>
                    <a:cubicBezTo>
                      <a:pt x="682" y="296"/>
                      <a:pt x="682" y="296"/>
                      <a:pt x="682" y="296"/>
                    </a:cubicBezTo>
                    <a:cubicBezTo>
                      <a:pt x="683" y="297"/>
                      <a:pt x="684" y="297"/>
                      <a:pt x="685" y="296"/>
                    </a:cubicBezTo>
                    <a:close/>
                    <a:moveTo>
                      <a:pt x="847" y="221"/>
                    </a:moveTo>
                    <a:cubicBezTo>
                      <a:pt x="848" y="221"/>
                      <a:pt x="848" y="221"/>
                      <a:pt x="848" y="220"/>
                    </a:cubicBezTo>
                    <a:cubicBezTo>
                      <a:pt x="848" y="219"/>
                      <a:pt x="848" y="219"/>
                      <a:pt x="847" y="219"/>
                    </a:cubicBezTo>
                    <a:cubicBezTo>
                      <a:pt x="847" y="219"/>
                      <a:pt x="847" y="220"/>
                      <a:pt x="847" y="220"/>
                    </a:cubicBezTo>
                    <a:cubicBezTo>
                      <a:pt x="847" y="221"/>
                      <a:pt x="847" y="221"/>
                      <a:pt x="847" y="221"/>
                    </a:cubicBezTo>
                    <a:close/>
                    <a:moveTo>
                      <a:pt x="909" y="335"/>
                    </a:moveTo>
                    <a:cubicBezTo>
                      <a:pt x="910" y="335"/>
                      <a:pt x="910" y="335"/>
                      <a:pt x="910" y="334"/>
                    </a:cubicBezTo>
                    <a:cubicBezTo>
                      <a:pt x="910" y="334"/>
                      <a:pt x="909" y="334"/>
                      <a:pt x="909" y="334"/>
                    </a:cubicBezTo>
                    <a:cubicBezTo>
                      <a:pt x="908" y="334"/>
                      <a:pt x="909" y="334"/>
                      <a:pt x="909" y="334"/>
                    </a:cubicBezTo>
                    <a:cubicBezTo>
                      <a:pt x="909" y="335"/>
                      <a:pt x="909" y="335"/>
                      <a:pt x="909" y="335"/>
                    </a:cubicBezTo>
                    <a:close/>
                    <a:moveTo>
                      <a:pt x="547" y="185"/>
                    </a:moveTo>
                    <a:cubicBezTo>
                      <a:pt x="547" y="185"/>
                      <a:pt x="547" y="185"/>
                      <a:pt x="547" y="185"/>
                    </a:cubicBezTo>
                    <a:cubicBezTo>
                      <a:pt x="548" y="184"/>
                      <a:pt x="549" y="184"/>
                      <a:pt x="548" y="183"/>
                    </a:cubicBezTo>
                    <a:cubicBezTo>
                      <a:pt x="548" y="183"/>
                      <a:pt x="547" y="183"/>
                      <a:pt x="547" y="183"/>
                    </a:cubicBezTo>
                    <a:cubicBezTo>
                      <a:pt x="547" y="183"/>
                      <a:pt x="547" y="183"/>
                      <a:pt x="547" y="183"/>
                    </a:cubicBezTo>
                    <a:cubicBezTo>
                      <a:pt x="547" y="184"/>
                      <a:pt x="547" y="184"/>
                      <a:pt x="547" y="185"/>
                    </a:cubicBezTo>
                    <a:cubicBezTo>
                      <a:pt x="547" y="185"/>
                      <a:pt x="547" y="185"/>
                      <a:pt x="547" y="185"/>
                    </a:cubicBezTo>
                    <a:close/>
                    <a:moveTo>
                      <a:pt x="760" y="313"/>
                    </a:moveTo>
                    <a:cubicBezTo>
                      <a:pt x="760" y="313"/>
                      <a:pt x="760" y="313"/>
                      <a:pt x="760" y="313"/>
                    </a:cubicBezTo>
                    <a:cubicBezTo>
                      <a:pt x="760" y="312"/>
                      <a:pt x="759" y="312"/>
                      <a:pt x="759" y="312"/>
                    </a:cubicBezTo>
                    <a:cubicBezTo>
                      <a:pt x="758" y="313"/>
                      <a:pt x="759" y="313"/>
                      <a:pt x="760" y="313"/>
                    </a:cubicBezTo>
                    <a:close/>
                    <a:moveTo>
                      <a:pt x="903" y="336"/>
                    </a:moveTo>
                    <a:cubicBezTo>
                      <a:pt x="904" y="336"/>
                      <a:pt x="904" y="336"/>
                      <a:pt x="904" y="336"/>
                    </a:cubicBezTo>
                    <a:cubicBezTo>
                      <a:pt x="904" y="335"/>
                      <a:pt x="903" y="335"/>
                      <a:pt x="903" y="335"/>
                    </a:cubicBezTo>
                    <a:cubicBezTo>
                      <a:pt x="903" y="335"/>
                      <a:pt x="902" y="335"/>
                      <a:pt x="903" y="336"/>
                    </a:cubicBezTo>
                    <a:cubicBezTo>
                      <a:pt x="903" y="336"/>
                      <a:pt x="902" y="337"/>
                      <a:pt x="903" y="336"/>
                    </a:cubicBezTo>
                    <a:close/>
                    <a:moveTo>
                      <a:pt x="692" y="290"/>
                    </a:moveTo>
                    <a:cubicBezTo>
                      <a:pt x="692" y="290"/>
                      <a:pt x="692" y="290"/>
                      <a:pt x="692" y="290"/>
                    </a:cubicBezTo>
                    <a:cubicBezTo>
                      <a:pt x="692" y="290"/>
                      <a:pt x="692" y="290"/>
                      <a:pt x="692" y="290"/>
                    </a:cubicBezTo>
                    <a:cubicBezTo>
                      <a:pt x="692" y="289"/>
                      <a:pt x="692" y="289"/>
                      <a:pt x="692" y="289"/>
                    </a:cubicBezTo>
                    <a:cubicBezTo>
                      <a:pt x="692" y="289"/>
                      <a:pt x="692" y="289"/>
                      <a:pt x="692" y="289"/>
                    </a:cubicBezTo>
                    <a:cubicBezTo>
                      <a:pt x="692" y="289"/>
                      <a:pt x="692" y="289"/>
                      <a:pt x="691" y="289"/>
                    </a:cubicBezTo>
                    <a:cubicBezTo>
                      <a:pt x="691" y="289"/>
                      <a:pt x="691" y="289"/>
                      <a:pt x="691" y="289"/>
                    </a:cubicBezTo>
                    <a:cubicBezTo>
                      <a:pt x="691" y="290"/>
                      <a:pt x="691" y="290"/>
                      <a:pt x="691" y="290"/>
                    </a:cubicBezTo>
                    <a:cubicBezTo>
                      <a:pt x="691" y="290"/>
                      <a:pt x="691" y="290"/>
                      <a:pt x="692" y="290"/>
                    </a:cubicBezTo>
                    <a:close/>
                    <a:moveTo>
                      <a:pt x="754" y="319"/>
                    </a:moveTo>
                    <a:cubicBezTo>
                      <a:pt x="755" y="319"/>
                      <a:pt x="755" y="318"/>
                      <a:pt x="755" y="318"/>
                    </a:cubicBezTo>
                    <a:cubicBezTo>
                      <a:pt x="755" y="318"/>
                      <a:pt x="755" y="318"/>
                      <a:pt x="755" y="318"/>
                    </a:cubicBezTo>
                    <a:cubicBezTo>
                      <a:pt x="754" y="318"/>
                      <a:pt x="754" y="318"/>
                      <a:pt x="754" y="318"/>
                    </a:cubicBezTo>
                    <a:cubicBezTo>
                      <a:pt x="754" y="318"/>
                      <a:pt x="754" y="319"/>
                      <a:pt x="754" y="319"/>
                    </a:cubicBezTo>
                    <a:close/>
                    <a:moveTo>
                      <a:pt x="967" y="358"/>
                    </a:moveTo>
                    <a:cubicBezTo>
                      <a:pt x="967" y="358"/>
                      <a:pt x="968" y="358"/>
                      <a:pt x="968" y="359"/>
                    </a:cubicBezTo>
                    <a:cubicBezTo>
                      <a:pt x="968" y="358"/>
                      <a:pt x="968" y="358"/>
                      <a:pt x="968" y="358"/>
                    </a:cubicBezTo>
                    <a:cubicBezTo>
                      <a:pt x="968" y="358"/>
                      <a:pt x="968" y="357"/>
                      <a:pt x="967" y="357"/>
                    </a:cubicBezTo>
                    <a:cubicBezTo>
                      <a:pt x="967" y="357"/>
                      <a:pt x="967" y="357"/>
                      <a:pt x="967" y="357"/>
                    </a:cubicBezTo>
                    <a:cubicBezTo>
                      <a:pt x="967" y="358"/>
                      <a:pt x="967" y="358"/>
                      <a:pt x="967" y="358"/>
                    </a:cubicBezTo>
                    <a:close/>
                    <a:moveTo>
                      <a:pt x="714" y="313"/>
                    </a:moveTo>
                    <a:cubicBezTo>
                      <a:pt x="714" y="313"/>
                      <a:pt x="714" y="313"/>
                      <a:pt x="714" y="313"/>
                    </a:cubicBezTo>
                    <a:cubicBezTo>
                      <a:pt x="714" y="313"/>
                      <a:pt x="714" y="313"/>
                      <a:pt x="714" y="313"/>
                    </a:cubicBezTo>
                    <a:cubicBezTo>
                      <a:pt x="714" y="313"/>
                      <a:pt x="714" y="313"/>
                      <a:pt x="714" y="313"/>
                    </a:cubicBezTo>
                    <a:close/>
                    <a:moveTo>
                      <a:pt x="716" y="313"/>
                    </a:moveTo>
                    <a:cubicBezTo>
                      <a:pt x="715" y="312"/>
                      <a:pt x="715" y="312"/>
                      <a:pt x="714" y="313"/>
                    </a:cubicBezTo>
                    <a:cubicBezTo>
                      <a:pt x="715" y="313"/>
                      <a:pt x="716" y="313"/>
                      <a:pt x="716" y="313"/>
                    </a:cubicBezTo>
                    <a:close/>
                    <a:moveTo>
                      <a:pt x="672" y="301"/>
                    </a:moveTo>
                    <a:cubicBezTo>
                      <a:pt x="672" y="301"/>
                      <a:pt x="672" y="301"/>
                      <a:pt x="672" y="301"/>
                    </a:cubicBezTo>
                    <a:cubicBezTo>
                      <a:pt x="672" y="301"/>
                      <a:pt x="672" y="301"/>
                      <a:pt x="672" y="301"/>
                    </a:cubicBezTo>
                    <a:cubicBezTo>
                      <a:pt x="672" y="301"/>
                      <a:pt x="672" y="300"/>
                      <a:pt x="672" y="300"/>
                    </a:cubicBezTo>
                    <a:cubicBezTo>
                      <a:pt x="672" y="300"/>
                      <a:pt x="672" y="300"/>
                      <a:pt x="672" y="300"/>
                    </a:cubicBezTo>
                    <a:cubicBezTo>
                      <a:pt x="672" y="300"/>
                      <a:pt x="672" y="300"/>
                      <a:pt x="672" y="300"/>
                    </a:cubicBezTo>
                    <a:cubicBezTo>
                      <a:pt x="672" y="300"/>
                      <a:pt x="672" y="299"/>
                      <a:pt x="672" y="299"/>
                    </a:cubicBezTo>
                    <a:cubicBezTo>
                      <a:pt x="672" y="299"/>
                      <a:pt x="671" y="299"/>
                      <a:pt x="671" y="299"/>
                    </a:cubicBezTo>
                    <a:cubicBezTo>
                      <a:pt x="671" y="299"/>
                      <a:pt x="671" y="300"/>
                      <a:pt x="671" y="300"/>
                    </a:cubicBezTo>
                    <a:cubicBezTo>
                      <a:pt x="671" y="300"/>
                      <a:pt x="671" y="301"/>
                      <a:pt x="672" y="301"/>
                    </a:cubicBezTo>
                    <a:close/>
                    <a:moveTo>
                      <a:pt x="581" y="249"/>
                    </a:moveTo>
                    <a:cubicBezTo>
                      <a:pt x="581" y="249"/>
                      <a:pt x="581" y="249"/>
                      <a:pt x="581" y="249"/>
                    </a:cubicBezTo>
                    <a:cubicBezTo>
                      <a:pt x="581" y="248"/>
                      <a:pt x="581" y="248"/>
                      <a:pt x="580" y="248"/>
                    </a:cubicBezTo>
                    <a:cubicBezTo>
                      <a:pt x="580" y="248"/>
                      <a:pt x="580" y="249"/>
                      <a:pt x="581" y="249"/>
                    </a:cubicBezTo>
                    <a:cubicBezTo>
                      <a:pt x="581" y="249"/>
                      <a:pt x="581" y="249"/>
                      <a:pt x="581" y="249"/>
                    </a:cubicBezTo>
                    <a:close/>
                    <a:moveTo>
                      <a:pt x="885" y="190"/>
                    </a:moveTo>
                    <a:cubicBezTo>
                      <a:pt x="886" y="190"/>
                      <a:pt x="886" y="190"/>
                      <a:pt x="886" y="190"/>
                    </a:cubicBezTo>
                    <a:cubicBezTo>
                      <a:pt x="886" y="189"/>
                      <a:pt x="886" y="189"/>
                      <a:pt x="886" y="189"/>
                    </a:cubicBezTo>
                    <a:cubicBezTo>
                      <a:pt x="885" y="189"/>
                      <a:pt x="885" y="189"/>
                      <a:pt x="885" y="190"/>
                    </a:cubicBezTo>
                    <a:cubicBezTo>
                      <a:pt x="885" y="190"/>
                      <a:pt x="885" y="190"/>
                      <a:pt x="885" y="190"/>
                    </a:cubicBezTo>
                    <a:close/>
                    <a:moveTo>
                      <a:pt x="754" y="314"/>
                    </a:moveTo>
                    <a:cubicBezTo>
                      <a:pt x="754" y="314"/>
                      <a:pt x="753" y="314"/>
                      <a:pt x="753" y="314"/>
                    </a:cubicBezTo>
                    <a:cubicBezTo>
                      <a:pt x="753" y="315"/>
                      <a:pt x="754" y="315"/>
                      <a:pt x="754" y="314"/>
                    </a:cubicBezTo>
                    <a:close/>
                    <a:moveTo>
                      <a:pt x="652" y="272"/>
                    </a:moveTo>
                    <a:cubicBezTo>
                      <a:pt x="652" y="272"/>
                      <a:pt x="652" y="272"/>
                      <a:pt x="652" y="271"/>
                    </a:cubicBezTo>
                    <a:cubicBezTo>
                      <a:pt x="652" y="271"/>
                      <a:pt x="652" y="271"/>
                      <a:pt x="652" y="271"/>
                    </a:cubicBezTo>
                    <a:cubicBezTo>
                      <a:pt x="652" y="271"/>
                      <a:pt x="652" y="271"/>
                      <a:pt x="652" y="271"/>
                    </a:cubicBezTo>
                    <a:cubicBezTo>
                      <a:pt x="652" y="271"/>
                      <a:pt x="652" y="271"/>
                      <a:pt x="652" y="271"/>
                    </a:cubicBezTo>
                    <a:cubicBezTo>
                      <a:pt x="652" y="271"/>
                      <a:pt x="651" y="271"/>
                      <a:pt x="651" y="271"/>
                    </a:cubicBezTo>
                    <a:cubicBezTo>
                      <a:pt x="651" y="272"/>
                      <a:pt x="652" y="272"/>
                      <a:pt x="652" y="272"/>
                    </a:cubicBezTo>
                    <a:close/>
                    <a:moveTo>
                      <a:pt x="915" y="340"/>
                    </a:moveTo>
                    <a:cubicBezTo>
                      <a:pt x="915" y="340"/>
                      <a:pt x="915" y="340"/>
                      <a:pt x="916" y="340"/>
                    </a:cubicBezTo>
                    <a:cubicBezTo>
                      <a:pt x="916" y="339"/>
                      <a:pt x="915" y="339"/>
                      <a:pt x="915" y="339"/>
                    </a:cubicBezTo>
                    <a:cubicBezTo>
                      <a:pt x="915" y="339"/>
                      <a:pt x="915" y="339"/>
                      <a:pt x="915" y="340"/>
                    </a:cubicBezTo>
                    <a:cubicBezTo>
                      <a:pt x="915" y="340"/>
                      <a:pt x="915" y="340"/>
                      <a:pt x="915" y="340"/>
                    </a:cubicBezTo>
                    <a:close/>
                    <a:moveTo>
                      <a:pt x="543" y="177"/>
                    </a:moveTo>
                    <a:cubicBezTo>
                      <a:pt x="543" y="177"/>
                      <a:pt x="543" y="177"/>
                      <a:pt x="543" y="177"/>
                    </a:cubicBezTo>
                    <a:cubicBezTo>
                      <a:pt x="543" y="177"/>
                      <a:pt x="543" y="177"/>
                      <a:pt x="543" y="176"/>
                    </a:cubicBezTo>
                    <a:cubicBezTo>
                      <a:pt x="544" y="176"/>
                      <a:pt x="544" y="176"/>
                      <a:pt x="544" y="176"/>
                    </a:cubicBezTo>
                    <a:cubicBezTo>
                      <a:pt x="545" y="176"/>
                      <a:pt x="545" y="175"/>
                      <a:pt x="545" y="175"/>
                    </a:cubicBezTo>
                    <a:cubicBezTo>
                      <a:pt x="545" y="174"/>
                      <a:pt x="545" y="174"/>
                      <a:pt x="545" y="174"/>
                    </a:cubicBezTo>
                    <a:cubicBezTo>
                      <a:pt x="544" y="174"/>
                      <a:pt x="544" y="173"/>
                      <a:pt x="543" y="174"/>
                    </a:cubicBezTo>
                    <a:cubicBezTo>
                      <a:pt x="543" y="174"/>
                      <a:pt x="543" y="174"/>
                      <a:pt x="543" y="174"/>
                    </a:cubicBezTo>
                    <a:cubicBezTo>
                      <a:pt x="542" y="175"/>
                      <a:pt x="543" y="175"/>
                      <a:pt x="543" y="176"/>
                    </a:cubicBezTo>
                    <a:cubicBezTo>
                      <a:pt x="543" y="176"/>
                      <a:pt x="543" y="176"/>
                      <a:pt x="543" y="176"/>
                    </a:cubicBezTo>
                    <a:cubicBezTo>
                      <a:pt x="543" y="176"/>
                      <a:pt x="543" y="176"/>
                      <a:pt x="543" y="177"/>
                    </a:cubicBezTo>
                    <a:cubicBezTo>
                      <a:pt x="543" y="177"/>
                      <a:pt x="542" y="177"/>
                      <a:pt x="542" y="177"/>
                    </a:cubicBezTo>
                    <a:cubicBezTo>
                      <a:pt x="542" y="177"/>
                      <a:pt x="543" y="177"/>
                      <a:pt x="543" y="177"/>
                    </a:cubicBezTo>
                    <a:close/>
                    <a:moveTo>
                      <a:pt x="1064" y="325"/>
                    </a:moveTo>
                    <a:cubicBezTo>
                      <a:pt x="1064" y="325"/>
                      <a:pt x="1064" y="324"/>
                      <a:pt x="1064" y="324"/>
                    </a:cubicBezTo>
                    <a:cubicBezTo>
                      <a:pt x="1064" y="324"/>
                      <a:pt x="1064" y="324"/>
                      <a:pt x="1064" y="324"/>
                    </a:cubicBezTo>
                    <a:cubicBezTo>
                      <a:pt x="1063" y="324"/>
                      <a:pt x="1063" y="324"/>
                      <a:pt x="1063" y="324"/>
                    </a:cubicBezTo>
                    <a:cubicBezTo>
                      <a:pt x="1063" y="324"/>
                      <a:pt x="1063" y="325"/>
                      <a:pt x="1064" y="325"/>
                    </a:cubicBezTo>
                    <a:close/>
                    <a:moveTo>
                      <a:pt x="648" y="287"/>
                    </a:moveTo>
                    <a:cubicBezTo>
                      <a:pt x="648" y="287"/>
                      <a:pt x="648" y="287"/>
                      <a:pt x="648" y="287"/>
                    </a:cubicBezTo>
                    <a:cubicBezTo>
                      <a:pt x="648" y="287"/>
                      <a:pt x="648" y="287"/>
                      <a:pt x="648" y="287"/>
                    </a:cubicBezTo>
                    <a:cubicBezTo>
                      <a:pt x="647" y="287"/>
                      <a:pt x="647" y="287"/>
                      <a:pt x="647" y="287"/>
                    </a:cubicBezTo>
                    <a:cubicBezTo>
                      <a:pt x="647" y="287"/>
                      <a:pt x="647" y="287"/>
                      <a:pt x="647" y="287"/>
                    </a:cubicBezTo>
                    <a:cubicBezTo>
                      <a:pt x="647" y="287"/>
                      <a:pt x="647" y="287"/>
                      <a:pt x="648" y="288"/>
                    </a:cubicBezTo>
                    <a:cubicBezTo>
                      <a:pt x="648" y="288"/>
                      <a:pt x="648" y="288"/>
                      <a:pt x="648" y="287"/>
                    </a:cubicBezTo>
                    <a:close/>
                    <a:moveTo>
                      <a:pt x="679" y="297"/>
                    </a:moveTo>
                    <a:cubicBezTo>
                      <a:pt x="679" y="297"/>
                      <a:pt x="679" y="296"/>
                      <a:pt x="679" y="296"/>
                    </a:cubicBezTo>
                    <a:cubicBezTo>
                      <a:pt x="679" y="296"/>
                      <a:pt x="679" y="296"/>
                      <a:pt x="679" y="296"/>
                    </a:cubicBezTo>
                    <a:cubicBezTo>
                      <a:pt x="679" y="296"/>
                      <a:pt x="679" y="296"/>
                      <a:pt x="679" y="296"/>
                    </a:cubicBezTo>
                    <a:cubicBezTo>
                      <a:pt x="679" y="296"/>
                      <a:pt x="678" y="296"/>
                      <a:pt x="679" y="296"/>
                    </a:cubicBezTo>
                    <a:cubicBezTo>
                      <a:pt x="679" y="296"/>
                      <a:pt x="679" y="297"/>
                      <a:pt x="679" y="297"/>
                    </a:cubicBezTo>
                    <a:cubicBezTo>
                      <a:pt x="679" y="297"/>
                      <a:pt x="679" y="297"/>
                      <a:pt x="679" y="297"/>
                    </a:cubicBezTo>
                    <a:close/>
                    <a:moveTo>
                      <a:pt x="718" y="313"/>
                    </a:moveTo>
                    <a:cubicBezTo>
                      <a:pt x="718" y="313"/>
                      <a:pt x="718" y="313"/>
                      <a:pt x="718" y="313"/>
                    </a:cubicBezTo>
                    <a:cubicBezTo>
                      <a:pt x="718" y="313"/>
                      <a:pt x="718" y="312"/>
                      <a:pt x="717" y="312"/>
                    </a:cubicBezTo>
                    <a:cubicBezTo>
                      <a:pt x="717" y="312"/>
                      <a:pt x="717" y="312"/>
                      <a:pt x="717" y="313"/>
                    </a:cubicBezTo>
                    <a:cubicBezTo>
                      <a:pt x="717" y="313"/>
                      <a:pt x="717" y="313"/>
                      <a:pt x="718" y="313"/>
                    </a:cubicBezTo>
                    <a:close/>
                    <a:moveTo>
                      <a:pt x="680" y="298"/>
                    </a:move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lose/>
                    <a:moveTo>
                      <a:pt x="689" y="291"/>
                    </a:moveTo>
                    <a:cubicBezTo>
                      <a:pt x="689" y="291"/>
                      <a:pt x="689" y="291"/>
                      <a:pt x="689" y="291"/>
                    </a:cubicBezTo>
                    <a:cubicBezTo>
                      <a:pt x="689" y="291"/>
                      <a:pt x="689" y="291"/>
                      <a:pt x="689" y="291"/>
                    </a:cubicBezTo>
                    <a:cubicBezTo>
                      <a:pt x="690" y="291"/>
                      <a:pt x="690" y="291"/>
                      <a:pt x="690" y="291"/>
                    </a:cubicBezTo>
                    <a:cubicBezTo>
                      <a:pt x="690" y="291"/>
                      <a:pt x="689" y="291"/>
                      <a:pt x="689" y="291"/>
                    </a:cubicBezTo>
                    <a:cubicBezTo>
                      <a:pt x="689" y="291"/>
                      <a:pt x="689" y="291"/>
                      <a:pt x="689" y="291"/>
                    </a:cubicBezTo>
                    <a:cubicBezTo>
                      <a:pt x="689" y="291"/>
                      <a:pt x="689" y="291"/>
                      <a:pt x="689" y="291"/>
                    </a:cubicBezTo>
                    <a:cubicBezTo>
                      <a:pt x="689" y="291"/>
                      <a:pt x="689" y="291"/>
                      <a:pt x="689" y="291"/>
                    </a:cubicBezTo>
                    <a:cubicBezTo>
                      <a:pt x="689" y="291"/>
                      <a:pt x="689" y="291"/>
                      <a:pt x="689" y="291"/>
                    </a:cubicBezTo>
                    <a:close/>
                    <a:moveTo>
                      <a:pt x="673" y="305"/>
                    </a:moveTo>
                    <a:cubicBezTo>
                      <a:pt x="672" y="306"/>
                      <a:pt x="672" y="306"/>
                      <a:pt x="672" y="306"/>
                    </a:cubicBezTo>
                    <a:cubicBezTo>
                      <a:pt x="672" y="306"/>
                      <a:pt x="673" y="306"/>
                      <a:pt x="673" y="306"/>
                    </a:cubicBezTo>
                    <a:cubicBezTo>
                      <a:pt x="673" y="306"/>
                      <a:pt x="673" y="306"/>
                      <a:pt x="673" y="306"/>
                    </a:cubicBezTo>
                    <a:cubicBezTo>
                      <a:pt x="673" y="306"/>
                      <a:pt x="673" y="306"/>
                      <a:pt x="673" y="306"/>
                    </a:cubicBezTo>
                    <a:cubicBezTo>
                      <a:pt x="673" y="306"/>
                      <a:pt x="673" y="306"/>
                      <a:pt x="673" y="306"/>
                    </a:cubicBezTo>
                    <a:cubicBezTo>
                      <a:pt x="673" y="306"/>
                      <a:pt x="673" y="306"/>
                      <a:pt x="673" y="305"/>
                    </a:cubicBezTo>
                    <a:close/>
                    <a:moveTo>
                      <a:pt x="649" y="293"/>
                    </a:moveTo>
                    <a:cubicBezTo>
                      <a:pt x="649" y="293"/>
                      <a:pt x="649" y="293"/>
                      <a:pt x="649" y="293"/>
                    </a:cubicBezTo>
                    <a:cubicBezTo>
                      <a:pt x="649" y="293"/>
                      <a:pt x="649" y="293"/>
                      <a:pt x="649" y="293"/>
                    </a:cubicBezTo>
                    <a:cubicBezTo>
                      <a:pt x="649" y="293"/>
                      <a:pt x="649" y="293"/>
                      <a:pt x="649" y="293"/>
                    </a:cubicBezTo>
                    <a:cubicBezTo>
                      <a:pt x="648" y="293"/>
                      <a:pt x="648" y="292"/>
                      <a:pt x="648" y="292"/>
                    </a:cubicBezTo>
                    <a:cubicBezTo>
                      <a:pt x="648" y="292"/>
                      <a:pt x="647" y="292"/>
                      <a:pt x="646" y="292"/>
                    </a:cubicBezTo>
                    <a:cubicBezTo>
                      <a:pt x="646" y="292"/>
                      <a:pt x="647" y="292"/>
                      <a:pt x="647" y="292"/>
                    </a:cubicBezTo>
                    <a:cubicBezTo>
                      <a:pt x="648" y="291"/>
                      <a:pt x="649" y="292"/>
                      <a:pt x="649" y="293"/>
                    </a:cubicBezTo>
                    <a:close/>
                    <a:moveTo>
                      <a:pt x="1103" y="423"/>
                    </a:moveTo>
                    <a:cubicBezTo>
                      <a:pt x="1102" y="423"/>
                      <a:pt x="1101" y="422"/>
                      <a:pt x="1101" y="422"/>
                    </a:cubicBezTo>
                    <a:cubicBezTo>
                      <a:pt x="1100" y="420"/>
                      <a:pt x="1099" y="420"/>
                      <a:pt x="1098" y="419"/>
                    </a:cubicBezTo>
                    <a:cubicBezTo>
                      <a:pt x="1097" y="418"/>
                      <a:pt x="1096" y="416"/>
                      <a:pt x="1094" y="415"/>
                    </a:cubicBezTo>
                    <a:cubicBezTo>
                      <a:pt x="1093" y="415"/>
                      <a:pt x="1093" y="414"/>
                      <a:pt x="1093" y="413"/>
                    </a:cubicBezTo>
                    <a:cubicBezTo>
                      <a:pt x="1092" y="411"/>
                      <a:pt x="1090" y="411"/>
                      <a:pt x="1090" y="409"/>
                    </a:cubicBezTo>
                    <a:cubicBezTo>
                      <a:pt x="1089" y="409"/>
                      <a:pt x="1089" y="409"/>
                      <a:pt x="1089" y="409"/>
                    </a:cubicBezTo>
                    <a:cubicBezTo>
                      <a:pt x="1088" y="409"/>
                      <a:pt x="1087" y="409"/>
                      <a:pt x="1086" y="409"/>
                    </a:cubicBezTo>
                    <a:cubicBezTo>
                      <a:pt x="1086" y="408"/>
                      <a:pt x="1085" y="409"/>
                      <a:pt x="1085" y="409"/>
                    </a:cubicBezTo>
                    <a:cubicBezTo>
                      <a:pt x="1086" y="410"/>
                      <a:pt x="1085" y="410"/>
                      <a:pt x="1084" y="410"/>
                    </a:cubicBezTo>
                    <a:cubicBezTo>
                      <a:pt x="1084" y="410"/>
                      <a:pt x="1083" y="410"/>
                      <a:pt x="1082" y="409"/>
                    </a:cubicBezTo>
                    <a:cubicBezTo>
                      <a:pt x="1081" y="409"/>
                      <a:pt x="1081" y="409"/>
                      <a:pt x="1081" y="410"/>
                    </a:cubicBezTo>
                    <a:cubicBezTo>
                      <a:pt x="1080" y="410"/>
                      <a:pt x="1081" y="411"/>
                      <a:pt x="1080" y="411"/>
                    </a:cubicBezTo>
                    <a:cubicBezTo>
                      <a:pt x="1080" y="411"/>
                      <a:pt x="1080" y="410"/>
                      <a:pt x="1080" y="410"/>
                    </a:cubicBezTo>
                    <a:cubicBezTo>
                      <a:pt x="1080" y="410"/>
                      <a:pt x="1079" y="409"/>
                      <a:pt x="1080" y="408"/>
                    </a:cubicBezTo>
                    <a:cubicBezTo>
                      <a:pt x="1081" y="408"/>
                      <a:pt x="1080" y="408"/>
                      <a:pt x="1080" y="407"/>
                    </a:cubicBezTo>
                    <a:cubicBezTo>
                      <a:pt x="1078" y="406"/>
                      <a:pt x="1076" y="407"/>
                      <a:pt x="1074" y="407"/>
                    </a:cubicBezTo>
                    <a:cubicBezTo>
                      <a:pt x="1073" y="407"/>
                      <a:pt x="1073" y="406"/>
                      <a:pt x="1072" y="407"/>
                    </a:cubicBezTo>
                    <a:cubicBezTo>
                      <a:pt x="1075" y="408"/>
                      <a:pt x="1076" y="412"/>
                      <a:pt x="1074" y="415"/>
                    </a:cubicBezTo>
                    <a:cubicBezTo>
                      <a:pt x="1074" y="415"/>
                      <a:pt x="1074" y="415"/>
                      <a:pt x="1074" y="416"/>
                    </a:cubicBezTo>
                    <a:cubicBezTo>
                      <a:pt x="1074" y="416"/>
                      <a:pt x="1074" y="416"/>
                      <a:pt x="1075" y="416"/>
                    </a:cubicBezTo>
                    <a:cubicBezTo>
                      <a:pt x="1076" y="416"/>
                      <a:pt x="1076" y="417"/>
                      <a:pt x="1077" y="418"/>
                    </a:cubicBezTo>
                    <a:cubicBezTo>
                      <a:pt x="1077" y="418"/>
                      <a:pt x="1077" y="419"/>
                      <a:pt x="1076" y="420"/>
                    </a:cubicBezTo>
                    <a:cubicBezTo>
                      <a:pt x="1076" y="420"/>
                      <a:pt x="1076" y="420"/>
                      <a:pt x="1075" y="420"/>
                    </a:cubicBezTo>
                    <a:cubicBezTo>
                      <a:pt x="1075" y="420"/>
                      <a:pt x="1075" y="420"/>
                      <a:pt x="1075" y="419"/>
                    </a:cubicBezTo>
                    <a:cubicBezTo>
                      <a:pt x="1075" y="419"/>
                      <a:pt x="1075" y="418"/>
                      <a:pt x="1074" y="418"/>
                    </a:cubicBezTo>
                    <a:cubicBezTo>
                      <a:pt x="1073" y="417"/>
                      <a:pt x="1073" y="418"/>
                      <a:pt x="1073" y="419"/>
                    </a:cubicBezTo>
                    <a:cubicBezTo>
                      <a:pt x="1072" y="420"/>
                      <a:pt x="1071" y="419"/>
                      <a:pt x="1072" y="418"/>
                    </a:cubicBezTo>
                    <a:cubicBezTo>
                      <a:pt x="1072" y="416"/>
                      <a:pt x="1071" y="415"/>
                      <a:pt x="1069" y="415"/>
                    </a:cubicBezTo>
                    <a:cubicBezTo>
                      <a:pt x="1069" y="415"/>
                      <a:pt x="1069" y="415"/>
                      <a:pt x="1068" y="414"/>
                    </a:cubicBezTo>
                    <a:cubicBezTo>
                      <a:pt x="1068" y="413"/>
                      <a:pt x="1069" y="413"/>
                      <a:pt x="1069" y="413"/>
                    </a:cubicBezTo>
                    <a:cubicBezTo>
                      <a:pt x="1071" y="412"/>
                      <a:pt x="1070" y="411"/>
                      <a:pt x="1070" y="410"/>
                    </a:cubicBezTo>
                    <a:cubicBezTo>
                      <a:pt x="1069" y="408"/>
                      <a:pt x="1069" y="407"/>
                      <a:pt x="1069" y="405"/>
                    </a:cubicBezTo>
                    <a:cubicBezTo>
                      <a:pt x="1069" y="404"/>
                      <a:pt x="1069" y="403"/>
                      <a:pt x="1069" y="402"/>
                    </a:cubicBezTo>
                    <a:cubicBezTo>
                      <a:pt x="1070" y="402"/>
                      <a:pt x="1069" y="401"/>
                      <a:pt x="1068" y="401"/>
                    </a:cubicBezTo>
                    <a:cubicBezTo>
                      <a:pt x="1068" y="400"/>
                      <a:pt x="1068" y="401"/>
                      <a:pt x="1068" y="402"/>
                    </a:cubicBezTo>
                    <a:cubicBezTo>
                      <a:pt x="1067" y="402"/>
                      <a:pt x="1067" y="402"/>
                      <a:pt x="1066" y="402"/>
                    </a:cubicBezTo>
                    <a:cubicBezTo>
                      <a:pt x="1067" y="399"/>
                      <a:pt x="1066" y="396"/>
                      <a:pt x="1063" y="395"/>
                    </a:cubicBezTo>
                    <a:cubicBezTo>
                      <a:pt x="1063" y="395"/>
                      <a:pt x="1063" y="394"/>
                      <a:pt x="1062" y="395"/>
                    </a:cubicBezTo>
                    <a:cubicBezTo>
                      <a:pt x="1062" y="395"/>
                      <a:pt x="1062" y="395"/>
                      <a:pt x="1062" y="396"/>
                    </a:cubicBezTo>
                    <a:cubicBezTo>
                      <a:pt x="1062" y="396"/>
                      <a:pt x="1063" y="397"/>
                      <a:pt x="1063" y="398"/>
                    </a:cubicBezTo>
                    <a:cubicBezTo>
                      <a:pt x="1062" y="397"/>
                      <a:pt x="1062" y="397"/>
                      <a:pt x="1061" y="397"/>
                    </a:cubicBezTo>
                    <a:cubicBezTo>
                      <a:pt x="1061" y="397"/>
                      <a:pt x="1060" y="397"/>
                      <a:pt x="1060" y="396"/>
                    </a:cubicBezTo>
                    <a:cubicBezTo>
                      <a:pt x="1059" y="395"/>
                      <a:pt x="1060" y="395"/>
                      <a:pt x="1060" y="395"/>
                    </a:cubicBezTo>
                    <a:cubicBezTo>
                      <a:pt x="1060" y="394"/>
                      <a:pt x="1061" y="394"/>
                      <a:pt x="1061" y="393"/>
                    </a:cubicBezTo>
                    <a:cubicBezTo>
                      <a:pt x="1061" y="392"/>
                      <a:pt x="1060" y="392"/>
                      <a:pt x="1059" y="392"/>
                    </a:cubicBezTo>
                    <a:cubicBezTo>
                      <a:pt x="1057" y="393"/>
                      <a:pt x="1056" y="392"/>
                      <a:pt x="1055" y="391"/>
                    </a:cubicBezTo>
                    <a:cubicBezTo>
                      <a:pt x="1056" y="390"/>
                      <a:pt x="1056" y="390"/>
                      <a:pt x="1057" y="390"/>
                    </a:cubicBezTo>
                    <a:cubicBezTo>
                      <a:pt x="1056" y="389"/>
                      <a:pt x="1056" y="389"/>
                      <a:pt x="1055" y="388"/>
                    </a:cubicBezTo>
                    <a:cubicBezTo>
                      <a:pt x="1055" y="388"/>
                      <a:pt x="1055" y="388"/>
                      <a:pt x="1054" y="388"/>
                    </a:cubicBezTo>
                    <a:cubicBezTo>
                      <a:pt x="1053" y="388"/>
                      <a:pt x="1053" y="388"/>
                      <a:pt x="1053" y="387"/>
                    </a:cubicBezTo>
                    <a:cubicBezTo>
                      <a:pt x="1052" y="386"/>
                      <a:pt x="1052" y="386"/>
                      <a:pt x="1051" y="387"/>
                    </a:cubicBezTo>
                    <a:cubicBezTo>
                      <a:pt x="1051" y="388"/>
                      <a:pt x="1051" y="389"/>
                      <a:pt x="1051" y="390"/>
                    </a:cubicBezTo>
                    <a:cubicBezTo>
                      <a:pt x="1051" y="391"/>
                      <a:pt x="1051" y="392"/>
                      <a:pt x="1050" y="392"/>
                    </a:cubicBezTo>
                    <a:cubicBezTo>
                      <a:pt x="1050" y="390"/>
                      <a:pt x="1050" y="389"/>
                      <a:pt x="1050" y="387"/>
                    </a:cubicBezTo>
                    <a:cubicBezTo>
                      <a:pt x="1050" y="386"/>
                      <a:pt x="1050" y="385"/>
                      <a:pt x="1048" y="385"/>
                    </a:cubicBezTo>
                    <a:cubicBezTo>
                      <a:pt x="1048" y="384"/>
                      <a:pt x="1048" y="383"/>
                      <a:pt x="1047" y="383"/>
                    </a:cubicBezTo>
                    <a:cubicBezTo>
                      <a:pt x="1046" y="382"/>
                      <a:pt x="1045" y="381"/>
                      <a:pt x="1044" y="381"/>
                    </a:cubicBezTo>
                    <a:cubicBezTo>
                      <a:pt x="1043" y="381"/>
                      <a:pt x="1043" y="380"/>
                      <a:pt x="1043" y="379"/>
                    </a:cubicBezTo>
                    <a:cubicBezTo>
                      <a:pt x="1043" y="377"/>
                      <a:pt x="1042" y="376"/>
                      <a:pt x="1040" y="376"/>
                    </a:cubicBezTo>
                    <a:cubicBezTo>
                      <a:pt x="1040" y="376"/>
                      <a:pt x="1039" y="376"/>
                      <a:pt x="1039" y="376"/>
                    </a:cubicBezTo>
                    <a:cubicBezTo>
                      <a:pt x="1038" y="374"/>
                      <a:pt x="1037" y="374"/>
                      <a:pt x="1035" y="373"/>
                    </a:cubicBezTo>
                    <a:cubicBezTo>
                      <a:pt x="1034" y="373"/>
                      <a:pt x="1034" y="372"/>
                      <a:pt x="1032" y="372"/>
                    </a:cubicBezTo>
                    <a:cubicBezTo>
                      <a:pt x="1032" y="372"/>
                      <a:pt x="1032" y="371"/>
                      <a:pt x="1032" y="371"/>
                    </a:cubicBezTo>
                    <a:cubicBezTo>
                      <a:pt x="1031" y="368"/>
                      <a:pt x="1030" y="367"/>
                      <a:pt x="1027" y="367"/>
                    </a:cubicBezTo>
                    <a:cubicBezTo>
                      <a:pt x="1027" y="367"/>
                      <a:pt x="1026" y="367"/>
                      <a:pt x="1025" y="366"/>
                    </a:cubicBezTo>
                    <a:cubicBezTo>
                      <a:pt x="1026" y="364"/>
                      <a:pt x="1027" y="367"/>
                      <a:pt x="1027" y="366"/>
                    </a:cubicBezTo>
                    <a:cubicBezTo>
                      <a:pt x="1028" y="366"/>
                      <a:pt x="1027" y="365"/>
                      <a:pt x="1027" y="365"/>
                    </a:cubicBezTo>
                    <a:cubicBezTo>
                      <a:pt x="1026" y="364"/>
                      <a:pt x="1024" y="363"/>
                      <a:pt x="1022" y="363"/>
                    </a:cubicBezTo>
                    <a:cubicBezTo>
                      <a:pt x="1021" y="363"/>
                      <a:pt x="1020" y="363"/>
                      <a:pt x="1020" y="363"/>
                    </a:cubicBezTo>
                    <a:cubicBezTo>
                      <a:pt x="1018" y="362"/>
                      <a:pt x="1018" y="360"/>
                      <a:pt x="1016" y="360"/>
                    </a:cubicBezTo>
                    <a:cubicBezTo>
                      <a:pt x="1013" y="360"/>
                      <a:pt x="1010" y="358"/>
                      <a:pt x="1008" y="355"/>
                    </a:cubicBezTo>
                    <a:cubicBezTo>
                      <a:pt x="1008" y="356"/>
                      <a:pt x="1008" y="357"/>
                      <a:pt x="1007" y="357"/>
                    </a:cubicBezTo>
                    <a:cubicBezTo>
                      <a:pt x="1007" y="355"/>
                      <a:pt x="1006" y="356"/>
                      <a:pt x="1005" y="356"/>
                    </a:cubicBezTo>
                    <a:cubicBezTo>
                      <a:pt x="1004" y="356"/>
                      <a:pt x="1004" y="356"/>
                      <a:pt x="1004" y="356"/>
                    </a:cubicBezTo>
                    <a:cubicBezTo>
                      <a:pt x="1003" y="356"/>
                      <a:pt x="1002" y="356"/>
                      <a:pt x="1002" y="356"/>
                    </a:cubicBezTo>
                    <a:cubicBezTo>
                      <a:pt x="1000" y="356"/>
                      <a:pt x="997" y="357"/>
                      <a:pt x="995" y="355"/>
                    </a:cubicBezTo>
                    <a:cubicBezTo>
                      <a:pt x="994" y="354"/>
                      <a:pt x="993" y="354"/>
                      <a:pt x="991" y="355"/>
                    </a:cubicBezTo>
                    <a:cubicBezTo>
                      <a:pt x="991" y="355"/>
                      <a:pt x="991" y="355"/>
                      <a:pt x="990" y="355"/>
                    </a:cubicBezTo>
                    <a:cubicBezTo>
                      <a:pt x="990" y="354"/>
                      <a:pt x="989" y="354"/>
                      <a:pt x="989" y="355"/>
                    </a:cubicBezTo>
                    <a:cubicBezTo>
                      <a:pt x="989" y="355"/>
                      <a:pt x="989" y="355"/>
                      <a:pt x="990" y="356"/>
                    </a:cubicBezTo>
                    <a:cubicBezTo>
                      <a:pt x="990" y="356"/>
                      <a:pt x="990" y="357"/>
                      <a:pt x="989" y="357"/>
                    </a:cubicBezTo>
                    <a:cubicBezTo>
                      <a:pt x="988" y="358"/>
                      <a:pt x="988" y="357"/>
                      <a:pt x="988" y="356"/>
                    </a:cubicBezTo>
                    <a:cubicBezTo>
                      <a:pt x="988" y="356"/>
                      <a:pt x="988" y="356"/>
                      <a:pt x="987" y="356"/>
                    </a:cubicBezTo>
                    <a:cubicBezTo>
                      <a:pt x="987" y="355"/>
                      <a:pt x="986" y="355"/>
                      <a:pt x="985" y="354"/>
                    </a:cubicBezTo>
                    <a:cubicBezTo>
                      <a:pt x="985" y="354"/>
                      <a:pt x="985" y="353"/>
                      <a:pt x="985" y="353"/>
                    </a:cubicBezTo>
                    <a:cubicBezTo>
                      <a:pt x="983" y="355"/>
                      <a:pt x="981" y="353"/>
                      <a:pt x="979" y="353"/>
                    </a:cubicBezTo>
                    <a:cubicBezTo>
                      <a:pt x="976" y="352"/>
                      <a:pt x="973" y="351"/>
                      <a:pt x="970" y="350"/>
                    </a:cubicBezTo>
                    <a:cubicBezTo>
                      <a:pt x="971" y="352"/>
                      <a:pt x="970" y="353"/>
                      <a:pt x="970" y="355"/>
                    </a:cubicBezTo>
                    <a:cubicBezTo>
                      <a:pt x="970" y="358"/>
                      <a:pt x="970" y="358"/>
                      <a:pt x="968" y="359"/>
                    </a:cubicBezTo>
                    <a:cubicBezTo>
                      <a:pt x="968" y="359"/>
                      <a:pt x="967" y="361"/>
                      <a:pt x="969" y="361"/>
                    </a:cubicBezTo>
                    <a:cubicBezTo>
                      <a:pt x="971" y="360"/>
                      <a:pt x="971" y="362"/>
                      <a:pt x="972" y="363"/>
                    </a:cubicBezTo>
                    <a:cubicBezTo>
                      <a:pt x="972" y="363"/>
                      <a:pt x="972" y="364"/>
                      <a:pt x="972" y="365"/>
                    </a:cubicBezTo>
                    <a:cubicBezTo>
                      <a:pt x="973" y="366"/>
                      <a:pt x="972" y="369"/>
                      <a:pt x="974" y="370"/>
                    </a:cubicBezTo>
                    <a:cubicBezTo>
                      <a:pt x="974" y="370"/>
                      <a:pt x="974" y="371"/>
                      <a:pt x="974" y="371"/>
                    </a:cubicBezTo>
                    <a:cubicBezTo>
                      <a:pt x="972" y="374"/>
                      <a:pt x="969" y="376"/>
                      <a:pt x="965" y="376"/>
                    </a:cubicBezTo>
                    <a:cubicBezTo>
                      <a:pt x="963" y="376"/>
                      <a:pt x="963" y="375"/>
                      <a:pt x="963" y="374"/>
                    </a:cubicBezTo>
                    <a:cubicBezTo>
                      <a:pt x="963" y="373"/>
                      <a:pt x="963" y="371"/>
                      <a:pt x="962" y="371"/>
                    </a:cubicBezTo>
                    <a:cubicBezTo>
                      <a:pt x="961" y="370"/>
                      <a:pt x="960" y="370"/>
                      <a:pt x="959" y="369"/>
                    </a:cubicBezTo>
                    <a:cubicBezTo>
                      <a:pt x="959" y="369"/>
                      <a:pt x="958" y="368"/>
                      <a:pt x="957" y="368"/>
                    </a:cubicBezTo>
                    <a:cubicBezTo>
                      <a:pt x="955" y="368"/>
                      <a:pt x="955" y="368"/>
                      <a:pt x="955" y="366"/>
                    </a:cubicBezTo>
                    <a:cubicBezTo>
                      <a:pt x="955" y="363"/>
                      <a:pt x="955" y="361"/>
                      <a:pt x="953" y="360"/>
                    </a:cubicBezTo>
                    <a:cubicBezTo>
                      <a:pt x="952" y="360"/>
                      <a:pt x="952" y="359"/>
                      <a:pt x="953" y="359"/>
                    </a:cubicBezTo>
                    <a:cubicBezTo>
                      <a:pt x="953" y="359"/>
                      <a:pt x="954" y="358"/>
                      <a:pt x="954" y="359"/>
                    </a:cubicBezTo>
                    <a:cubicBezTo>
                      <a:pt x="955" y="359"/>
                      <a:pt x="956" y="360"/>
                      <a:pt x="956" y="360"/>
                    </a:cubicBezTo>
                    <a:cubicBezTo>
                      <a:pt x="957" y="360"/>
                      <a:pt x="957" y="361"/>
                      <a:pt x="957" y="361"/>
                    </a:cubicBezTo>
                    <a:cubicBezTo>
                      <a:pt x="959" y="361"/>
                      <a:pt x="960" y="362"/>
                      <a:pt x="961" y="361"/>
                    </a:cubicBezTo>
                    <a:cubicBezTo>
                      <a:pt x="962" y="359"/>
                      <a:pt x="962" y="357"/>
                      <a:pt x="963" y="356"/>
                    </a:cubicBezTo>
                    <a:cubicBezTo>
                      <a:pt x="963" y="355"/>
                      <a:pt x="962" y="354"/>
                      <a:pt x="961" y="354"/>
                    </a:cubicBezTo>
                    <a:cubicBezTo>
                      <a:pt x="960" y="354"/>
                      <a:pt x="960" y="353"/>
                      <a:pt x="959" y="353"/>
                    </a:cubicBezTo>
                    <a:cubicBezTo>
                      <a:pt x="958" y="353"/>
                      <a:pt x="957" y="352"/>
                      <a:pt x="955" y="352"/>
                    </a:cubicBezTo>
                    <a:cubicBezTo>
                      <a:pt x="953" y="353"/>
                      <a:pt x="952" y="355"/>
                      <a:pt x="951" y="357"/>
                    </a:cubicBezTo>
                    <a:cubicBezTo>
                      <a:pt x="950" y="359"/>
                      <a:pt x="949" y="360"/>
                      <a:pt x="947" y="362"/>
                    </a:cubicBezTo>
                    <a:cubicBezTo>
                      <a:pt x="946" y="363"/>
                      <a:pt x="944" y="364"/>
                      <a:pt x="942" y="363"/>
                    </a:cubicBezTo>
                    <a:cubicBezTo>
                      <a:pt x="939" y="361"/>
                      <a:pt x="936" y="361"/>
                      <a:pt x="933" y="361"/>
                    </a:cubicBezTo>
                    <a:cubicBezTo>
                      <a:pt x="930" y="362"/>
                      <a:pt x="928" y="360"/>
                      <a:pt x="927" y="358"/>
                    </a:cubicBezTo>
                    <a:cubicBezTo>
                      <a:pt x="926" y="357"/>
                      <a:pt x="926" y="357"/>
                      <a:pt x="926" y="358"/>
                    </a:cubicBezTo>
                    <a:cubicBezTo>
                      <a:pt x="925" y="360"/>
                      <a:pt x="923" y="360"/>
                      <a:pt x="922" y="359"/>
                    </a:cubicBezTo>
                    <a:cubicBezTo>
                      <a:pt x="922" y="359"/>
                      <a:pt x="921" y="359"/>
                      <a:pt x="921" y="359"/>
                    </a:cubicBezTo>
                    <a:cubicBezTo>
                      <a:pt x="919" y="360"/>
                      <a:pt x="917" y="360"/>
                      <a:pt x="915" y="360"/>
                    </a:cubicBezTo>
                    <a:cubicBezTo>
                      <a:pt x="915" y="360"/>
                      <a:pt x="914" y="360"/>
                      <a:pt x="914" y="360"/>
                    </a:cubicBezTo>
                    <a:cubicBezTo>
                      <a:pt x="913" y="362"/>
                      <a:pt x="911" y="363"/>
                      <a:pt x="910" y="364"/>
                    </a:cubicBezTo>
                    <a:cubicBezTo>
                      <a:pt x="910" y="361"/>
                      <a:pt x="910" y="361"/>
                      <a:pt x="907" y="361"/>
                    </a:cubicBezTo>
                    <a:cubicBezTo>
                      <a:pt x="906" y="361"/>
                      <a:pt x="905" y="360"/>
                      <a:pt x="905" y="360"/>
                    </a:cubicBezTo>
                    <a:cubicBezTo>
                      <a:pt x="903" y="360"/>
                      <a:pt x="901" y="359"/>
                      <a:pt x="900" y="358"/>
                    </a:cubicBezTo>
                    <a:cubicBezTo>
                      <a:pt x="897" y="357"/>
                      <a:pt x="896" y="356"/>
                      <a:pt x="898" y="353"/>
                    </a:cubicBezTo>
                    <a:cubicBezTo>
                      <a:pt x="898" y="352"/>
                      <a:pt x="898" y="350"/>
                      <a:pt x="899" y="350"/>
                    </a:cubicBezTo>
                    <a:cubicBezTo>
                      <a:pt x="899" y="349"/>
                      <a:pt x="899" y="348"/>
                      <a:pt x="899" y="347"/>
                    </a:cubicBezTo>
                    <a:cubicBezTo>
                      <a:pt x="899" y="345"/>
                      <a:pt x="898" y="343"/>
                      <a:pt x="897" y="341"/>
                    </a:cubicBezTo>
                    <a:cubicBezTo>
                      <a:pt x="896" y="338"/>
                      <a:pt x="893" y="336"/>
                      <a:pt x="890" y="334"/>
                    </a:cubicBezTo>
                    <a:cubicBezTo>
                      <a:pt x="887" y="333"/>
                      <a:pt x="885" y="332"/>
                      <a:pt x="882" y="331"/>
                    </a:cubicBezTo>
                    <a:cubicBezTo>
                      <a:pt x="881" y="331"/>
                      <a:pt x="880" y="331"/>
                      <a:pt x="878" y="331"/>
                    </a:cubicBezTo>
                    <a:cubicBezTo>
                      <a:pt x="877" y="331"/>
                      <a:pt x="876" y="332"/>
                      <a:pt x="876" y="333"/>
                    </a:cubicBezTo>
                    <a:cubicBezTo>
                      <a:pt x="875" y="333"/>
                      <a:pt x="876" y="331"/>
                      <a:pt x="875" y="331"/>
                    </a:cubicBezTo>
                    <a:cubicBezTo>
                      <a:pt x="873" y="332"/>
                      <a:pt x="870" y="330"/>
                      <a:pt x="869" y="334"/>
                    </a:cubicBezTo>
                    <a:cubicBezTo>
                      <a:pt x="868" y="332"/>
                      <a:pt x="868" y="331"/>
                      <a:pt x="866" y="332"/>
                    </a:cubicBezTo>
                    <a:cubicBezTo>
                      <a:pt x="866" y="332"/>
                      <a:pt x="866" y="332"/>
                      <a:pt x="865" y="332"/>
                    </a:cubicBezTo>
                    <a:cubicBezTo>
                      <a:pt x="861" y="333"/>
                      <a:pt x="858" y="335"/>
                      <a:pt x="854" y="336"/>
                    </a:cubicBezTo>
                    <a:cubicBezTo>
                      <a:pt x="853" y="336"/>
                      <a:pt x="853" y="336"/>
                      <a:pt x="852" y="336"/>
                    </a:cubicBezTo>
                    <a:cubicBezTo>
                      <a:pt x="851" y="336"/>
                      <a:pt x="850" y="336"/>
                      <a:pt x="849" y="337"/>
                    </a:cubicBezTo>
                    <a:cubicBezTo>
                      <a:pt x="849" y="337"/>
                      <a:pt x="849" y="337"/>
                      <a:pt x="848" y="337"/>
                    </a:cubicBezTo>
                    <a:cubicBezTo>
                      <a:pt x="847" y="335"/>
                      <a:pt x="845" y="334"/>
                      <a:pt x="843" y="333"/>
                    </a:cubicBezTo>
                    <a:cubicBezTo>
                      <a:pt x="843" y="333"/>
                      <a:pt x="843" y="333"/>
                      <a:pt x="843" y="333"/>
                    </a:cubicBezTo>
                    <a:cubicBezTo>
                      <a:pt x="845" y="333"/>
                      <a:pt x="846" y="333"/>
                      <a:pt x="844" y="331"/>
                    </a:cubicBezTo>
                    <a:cubicBezTo>
                      <a:pt x="844" y="330"/>
                      <a:pt x="843" y="329"/>
                      <a:pt x="843" y="328"/>
                    </a:cubicBezTo>
                    <a:cubicBezTo>
                      <a:pt x="842" y="326"/>
                      <a:pt x="840" y="325"/>
                      <a:pt x="837" y="325"/>
                    </a:cubicBezTo>
                    <a:cubicBezTo>
                      <a:pt x="837" y="324"/>
                      <a:pt x="837" y="323"/>
                      <a:pt x="837" y="323"/>
                    </a:cubicBezTo>
                    <a:cubicBezTo>
                      <a:pt x="836" y="323"/>
                      <a:pt x="836" y="324"/>
                      <a:pt x="836" y="325"/>
                    </a:cubicBezTo>
                    <a:cubicBezTo>
                      <a:pt x="836" y="325"/>
                      <a:pt x="836" y="325"/>
                      <a:pt x="835" y="325"/>
                    </a:cubicBezTo>
                    <a:cubicBezTo>
                      <a:pt x="835" y="324"/>
                      <a:pt x="835" y="324"/>
                      <a:pt x="835" y="324"/>
                    </a:cubicBezTo>
                    <a:cubicBezTo>
                      <a:pt x="836" y="322"/>
                      <a:pt x="836" y="322"/>
                      <a:pt x="835" y="322"/>
                    </a:cubicBezTo>
                    <a:cubicBezTo>
                      <a:pt x="834" y="322"/>
                      <a:pt x="833" y="321"/>
                      <a:pt x="833" y="320"/>
                    </a:cubicBezTo>
                    <a:cubicBezTo>
                      <a:pt x="832" y="319"/>
                      <a:pt x="832" y="318"/>
                      <a:pt x="830" y="319"/>
                    </a:cubicBezTo>
                    <a:cubicBezTo>
                      <a:pt x="829" y="319"/>
                      <a:pt x="828" y="319"/>
                      <a:pt x="827" y="318"/>
                    </a:cubicBezTo>
                    <a:cubicBezTo>
                      <a:pt x="827" y="318"/>
                      <a:pt x="826" y="318"/>
                      <a:pt x="825" y="318"/>
                    </a:cubicBezTo>
                    <a:cubicBezTo>
                      <a:pt x="825" y="319"/>
                      <a:pt x="825" y="320"/>
                      <a:pt x="826" y="320"/>
                    </a:cubicBezTo>
                    <a:cubicBezTo>
                      <a:pt x="826" y="321"/>
                      <a:pt x="826" y="321"/>
                      <a:pt x="826" y="321"/>
                    </a:cubicBezTo>
                    <a:cubicBezTo>
                      <a:pt x="825" y="320"/>
                      <a:pt x="824" y="318"/>
                      <a:pt x="825" y="317"/>
                    </a:cubicBezTo>
                    <a:cubicBezTo>
                      <a:pt x="825" y="316"/>
                      <a:pt x="826" y="315"/>
                      <a:pt x="827" y="314"/>
                    </a:cubicBezTo>
                    <a:cubicBezTo>
                      <a:pt x="827" y="314"/>
                      <a:pt x="828" y="314"/>
                      <a:pt x="828" y="315"/>
                    </a:cubicBezTo>
                    <a:cubicBezTo>
                      <a:pt x="828" y="316"/>
                      <a:pt x="829" y="316"/>
                      <a:pt x="829" y="316"/>
                    </a:cubicBezTo>
                    <a:cubicBezTo>
                      <a:pt x="832" y="316"/>
                      <a:pt x="832" y="314"/>
                      <a:pt x="831" y="312"/>
                    </a:cubicBezTo>
                    <a:cubicBezTo>
                      <a:pt x="829" y="309"/>
                      <a:pt x="827" y="307"/>
                      <a:pt x="824" y="306"/>
                    </a:cubicBezTo>
                    <a:cubicBezTo>
                      <a:pt x="821" y="304"/>
                      <a:pt x="818" y="303"/>
                      <a:pt x="815" y="304"/>
                    </a:cubicBezTo>
                    <a:cubicBezTo>
                      <a:pt x="813" y="304"/>
                      <a:pt x="812" y="304"/>
                      <a:pt x="811" y="305"/>
                    </a:cubicBezTo>
                    <a:cubicBezTo>
                      <a:pt x="809" y="308"/>
                      <a:pt x="808" y="310"/>
                      <a:pt x="807" y="313"/>
                    </a:cubicBezTo>
                    <a:cubicBezTo>
                      <a:pt x="805" y="316"/>
                      <a:pt x="802" y="318"/>
                      <a:pt x="799" y="318"/>
                    </a:cubicBezTo>
                    <a:cubicBezTo>
                      <a:pt x="798" y="318"/>
                      <a:pt x="798" y="318"/>
                      <a:pt x="797" y="318"/>
                    </a:cubicBezTo>
                    <a:cubicBezTo>
                      <a:pt x="797" y="317"/>
                      <a:pt x="797" y="316"/>
                      <a:pt x="798" y="316"/>
                    </a:cubicBezTo>
                    <a:cubicBezTo>
                      <a:pt x="798" y="316"/>
                      <a:pt x="799" y="315"/>
                      <a:pt x="798" y="314"/>
                    </a:cubicBezTo>
                    <a:cubicBezTo>
                      <a:pt x="798" y="314"/>
                      <a:pt x="798" y="313"/>
                      <a:pt x="798" y="313"/>
                    </a:cubicBezTo>
                    <a:cubicBezTo>
                      <a:pt x="798" y="313"/>
                      <a:pt x="799" y="313"/>
                      <a:pt x="799" y="313"/>
                    </a:cubicBezTo>
                    <a:cubicBezTo>
                      <a:pt x="800" y="314"/>
                      <a:pt x="801" y="314"/>
                      <a:pt x="802" y="313"/>
                    </a:cubicBezTo>
                    <a:cubicBezTo>
                      <a:pt x="803" y="312"/>
                      <a:pt x="804" y="312"/>
                      <a:pt x="802" y="311"/>
                    </a:cubicBezTo>
                    <a:cubicBezTo>
                      <a:pt x="801" y="309"/>
                      <a:pt x="802" y="308"/>
                      <a:pt x="802" y="307"/>
                    </a:cubicBezTo>
                    <a:cubicBezTo>
                      <a:pt x="803" y="305"/>
                      <a:pt x="803" y="308"/>
                      <a:pt x="804" y="307"/>
                    </a:cubicBezTo>
                    <a:cubicBezTo>
                      <a:pt x="805" y="307"/>
                      <a:pt x="804" y="308"/>
                      <a:pt x="805" y="309"/>
                    </a:cubicBezTo>
                    <a:cubicBezTo>
                      <a:pt x="805" y="308"/>
                      <a:pt x="805" y="307"/>
                      <a:pt x="806" y="308"/>
                    </a:cubicBezTo>
                    <a:cubicBezTo>
                      <a:pt x="806" y="308"/>
                      <a:pt x="806" y="309"/>
                      <a:pt x="806" y="310"/>
                    </a:cubicBezTo>
                    <a:cubicBezTo>
                      <a:pt x="806" y="310"/>
                      <a:pt x="805" y="310"/>
                      <a:pt x="805" y="310"/>
                    </a:cubicBezTo>
                    <a:cubicBezTo>
                      <a:pt x="805" y="310"/>
                      <a:pt x="804" y="311"/>
                      <a:pt x="804" y="311"/>
                    </a:cubicBezTo>
                    <a:cubicBezTo>
                      <a:pt x="804" y="312"/>
                      <a:pt x="804" y="312"/>
                      <a:pt x="805" y="312"/>
                    </a:cubicBezTo>
                    <a:cubicBezTo>
                      <a:pt x="805" y="313"/>
                      <a:pt x="805" y="312"/>
                      <a:pt x="805" y="312"/>
                    </a:cubicBezTo>
                    <a:cubicBezTo>
                      <a:pt x="808" y="310"/>
                      <a:pt x="809" y="308"/>
                      <a:pt x="810" y="306"/>
                    </a:cubicBezTo>
                    <a:cubicBezTo>
                      <a:pt x="810" y="306"/>
                      <a:pt x="810" y="305"/>
                      <a:pt x="810" y="305"/>
                    </a:cubicBezTo>
                    <a:cubicBezTo>
                      <a:pt x="810" y="304"/>
                      <a:pt x="809" y="304"/>
                      <a:pt x="809" y="304"/>
                    </a:cubicBezTo>
                    <a:cubicBezTo>
                      <a:pt x="807" y="304"/>
                      <a:pt x="805" y="304"/>
                      <a:pt x="803" y="306"/>
                    </a:cubicBezTo>
                    <a:cubicBezTo>
                      <a:pt x="800" y="305"/>
                      <a:pt x="798" y="306"/>
                      <a:pt x="795" y="307"/>
                    </a:cubicBezTo>
                    <a:cubicBezTo>
                      <a:pt x="794" y="307"/>
                      <a:pt x="794" y="308"/>
                      <a:pt x="793" y="308"/>
                    </a:cubicBezTo>
                    <a:cubicBezTo>
                      <a:pt x="792" y="307"/>
                      <a:pt x="792" y="306"/>
                      <a:pt x="793" y="305"/>
                    </a:cubicBezTo>
                    <a:cubicBezTo>
                      <a:pt x="794" y="306"/>
                      <a:pt x="794" y="306"/>
                      <a:pt x="795" y="305"/>
                    </a:cubicBezTo>
                    <a:cubicBezTo>
                      <a:pt x="795" y="304"/>
                      <a:pt x="795" y="303"/>
                      <a:pt x="796" y="303"/>
                    </a:cubicBezTo>
                    <a:cubicBezTo>
                      <a:pt x="796" y="302"/>
                      <a:pt x="798" y="301"/>
                      <a:pt x="800" y="303"/>
                    </a:cubicBezTo>
                    <a:cubicBezTo>
                      <a:pt x="800" y="303"/>
                      <a:pt x="801" y="303"/>
                      <a:pt x="801" y="303"/>
                    </a:cubicBezTo>
                    <a:cubicBezTo>
                      <a:pt x="804" y="304"/>
                      <a:pt x="806" y="303"/>
                      <a:pt x="809" y="304"/>
                    </a:cubicBezTo>
                    <a:cubicBezTo>
                      <a:pt x="809" y="304"/>
                      <a:pt x="810" y="304"/>
                      <a:pt x="810" y="303"/>
                    </a:cubicBezTo>
                    <a:cubicBezTo>
                      <a:pt x="810" y="303"/>
                      <a:pt x="809" y="303"/>
                      <a:pt x="809" y="303"/>
                    </a:cubicBezTo>
                    <a:cubicBezTo>
                      <a:pt x="807" y="302"/>
                      <a:pt x="806" y="301"/>
                      <a:pt x="804" y="300"/>
                    </a:cubicBezTo>
                    <a:cubicBezTo>
                      <a:pt x="802" y="299"/>
                      <a:pt x="801" y="299"/>
                      <a:pt x="799" y="298"/>
                    </a:cubicBezTo>
                    <a:cubicBezTo>
                      <a:pt x="798" y="298"/>
                      <a:pt x="796" y="298"/>
                      <a:pt x="794" y="297"/>
                    </a:cubicBezTo>
                    <a:cubicBezTo>
                      <a:pt x="793" y="297"/>
                      <a:pt x="791" y="296"/>
                      <a:pt x="790" y="296"/>
                    </a:cubicBezTo>
                    <a:cubicBezTo>
                      <a:pt x="786" y="295"/>
                      <a:pt x="783" y="296"/>
                      <a:pt x="779" y="296"/>
                    </a:cubicBezTo>
                    <a:cubicBezTo>
                      <a:pt x="777" y="295"/>
                      <a:pt x="775" y="295"/>
                      <a:pt x="773" y="293"/>
                    </a:cubicBezTo>
                    <a:cubicBezTo>
                      <a:pt x="773" y="292"/>
                      <a:pt x="770" y="292"/>
                      <a:pt x="769" y="292"/>
                    </a:cubicBezTo>
                    <a:cubicBezTo>
                      <a:pt x="769" y="293"/>
                      <a:pt x="770" y="294"/>
                      <a:pt x="770" y="294"/>
                    </a:cubicBezTo>
                    <a:cubicBezTo>
                      <a:pt x="770" y="295"/>
                      <a:pt x="771" y="296"/>
                      <a:pt x="771" y="297"/>
                    </a:cubicBezTo>
                    <a:cubicBezTo>
                      <a:pt x="772" y="297"/>
                      <a:pt x="772" y="298"/>
                      <a:pt x="771" y="299"/>
                    </a:cubicBezTo>
                    <a:cubicBezTo>
                      <a:pt x="770" y="300"/>
                      <a:pt x="769" y="300"/>
                      <a:pt x="768" y="300"/>
                    </a:cubicBezTo>
                    <a:cubicBezTo>
                      <a:pt x="767" y="301"/>
                      <a:pt x="765" y="301"/>
                      <a:pt x="764" y="300"/>
                    </a:cubicBezTo>
                    <a:cubicBezTo>
                      <a:pt x="762" y="300"/>
                      <a:pt x="761" y="300"/>
                      <a:pt x="760" y="301"/>
                    </a:cubicBezTo>
                    <a:cubicBezTo>
                      <a:pt x="759" y="302"/>
                      <a:pt x="759" y="303"/>
                      <a:pt x="758" y="304"/>
                    </a:cubicBezTo>
                    <a:cubicBezTo>
                      <a:pt x="757" y="306"/>
                      <a:pt x="758" y="308"/>
                      <a:pt x="760" y="308"/>
                    </a:cubicBezTo>
                    <a:cubicBezTo>
                      <a:pt x="760" y="307"/>
                      <a:pt x="760" y="306"/>
                      <a:pt x="762" y="306"/>
                    </a:cubicBezTo>
                    <a:cubicBezTo>
                      <a:pt x="762" y="306"/>
                      <a:pt x="763" y="306"/>
                      <a:pt x="763" y="306"/>
                    </a:cubicBezTo>
                    <a:cubicBezTo>
                      <a:pt x="764" y="306"/>
                      <a:pt x="764" y="306"/>
                      <a:pt x="765" y="306"/>
                    </a:cubicBezTo>
                    <a:cubicBezTo>
                      <a:pt x="766" y="307"/>
                      <a:pt x="766" y="307"/>
                      <a:pt x="765" y="308"/>
                    </a:cubicBezTo>
                    <a:cubicBezTo>
                      <a:pt x="764" y="308"/>
                      <a:pt x="763" y="307"/>
                      <a:pt x="763" y="309"/>
                    </a:cubicBezTo>
                    <a:cubicBezTo>
                      <a:pt x="763" y="309"/>
                      <a:pt x="762" y="310"/>
                      <a:pt x="762" y="310"/>
                    </a:cubicBezTo>
                    <a:cubicBezTo>
                      <a:pt x="762" y="311"/>
                      <a:pt x="761" y="312"/>
                      <a:pt x="761" y="314"/>
                    </a:cubicBezTo>
                    <a:cubicBezTo>
                      <a:pt x="762" y="315"/>
                      <a:pt x="762" y="316"/>
                      <a:pt x="762" y="317"/>
                    </a:cubicBezTo>
                    <a:cubicBezTo>
                      <a:pt x="762" y="318"/>
                      <a:pt x="762" y="319"/>
                      <a:pt x="763" y="319"/>
                    </a:cubicBezTo>
                    <a:cubicBezTo>
                      <a:pt x="763" y="320"/>
                      <a:pt x="763" y="320"/>
                      <a:pt x="763" y="321"/>
                    </a:cubicBezTo>
                    <a:cubicBezTo>
                      <a:pt x="764" y="321"/>
                      <a:pt x="764" y="322"/>
                      <a:pt x="763" y="322"/>
                    </a:cubicBezTo>
                    <a:cubicBezTo>
                      <a:pt x="763" y="322"/>
                      <a:pt x="763" y="323"/>
                      <a:pt x="762" y="323"/>
                    </a:cubicBezTo>
                    <a:cubicBezTo>
                      <a:pt x="761" y="322"/>
                      <a:pt x="760" y="322"/>
                      <a:pt x="760" y="323"/>
                    </a:cubicBezTo>
                    <a:cubicBezTo>
                      <a:pt x="759" y="324"/>
                      <a:pt x="758" y="324"/>
                      <a:pt x="758" y="323"/>
                    </a:cubicBezTo>
                    <a:cubicBezTo>
                      <a:pt x="758" y="323"/>
                      <a:pt x="758" y="322"/>
                      <a:pt x="758" y="322"/>
                    </a:cubicBezTo>
                    <a:cubicBezTo>
                      <a:pt x="758" y="321"/>
                      <a:pt x="756" y="319"/>
                      <a:pt x="755" y="319"/>
                    </a:cubicBezTo>
                    <a:cubicBezTo>
                      <a:pt x="754" y="319"/>
                      <a:pt x="755" y="321"/>
                      <a:pt x="754" y="321"/>
                    </a:cubicBezTo>
                    <a:cubicBezTo>
                      <a:pt x="754" y="322"/>
                      <a:pt x="754" y="323"/>
                      <a:pt x="755" y="323"/>
                    </a:cubicBezTo>
                    <a:cubicBezTo>
                      <a:pt x="755" y="323"/>
                      <a:pt x="755" y="324"/>
                      <a:pt x="755" y="325"/>
                    </a:cubicBezTo>
                    <a:cubicBezTo>
                      <a:pt x="754" y="324"/>
                      <a:pt x="753" y="323"/>
                      <a:pt x="754" y="322"/>
                    </a:cubicBezTo>
                    <a:cubicBezTo>
                      <a:pt x="754" y="321"/>
                      <a:pt x="754" y="321"/>
                      <a:pt x="752" y="320"/>
                    </a:cubicBezTo>
                    <a:cubicBezTo>
                      <a:pt x="751" y="320"/>
                      <a:pt x="751" y="321"/>
                      <a:pt x="750" y="322"/>
                    </a:cubicBezTo>
                    <a:cubicBezTo>
                      <a:pt x="750" y="319"/>
                      <a:pt x="748" y="319"/>
                      <a:pt x="746" y="319"/>
                    </a:cubicBezTo>
                    <a:cubicBezTo>
                      <a:pt x="746" y="320"/>
                      <a:pt x="745" y="320"/>
                      <a:pt x="745" y="320"/>
                    </a:cubicBezTo>
                    <a:cubicBezTo>
                      <a:pt x="744" y="320"/>
                      <a:pt x="744" y="320"/>
                      <a:pt x="744" y="321"/>
                    </a:cubicBezTo>
                    <a:cubicBezTo>
                      <a:pt x="744" y="322"/>
                      <a:pt x="744" y="322"/>
                      <a:pt x="745" y="322"/>
                    </a:cubicBezTo>
                    <a:cubicBezTo>
                      <a:pt x="746" y="322"/>
                      <a:pt x="747" y="322"/>
                      <a:pt x="747" y="323"/>
                    </a:cubicBezTo>
                    <a:cubicBezTo>
                      <a:pt x="748" y="324"/>
                      <a:pt x="749" y="323"/>
                      <a:pt x="750" y="323"/>
                    </a:cubicBezTo>
                    <a:cubicBezTo>
                      <a:pt x="750" y="324"/>
                      <a:pt x="751" y="326"/>
                      <a:pt x="749" y="328"/>
                    </a:cubicBezTo>
                    <a:cubicBezTo>
                      <a:pt x="749" y="328"/>
                      <a:pt x="749" y="329"/>
                      <a:pt x="749" y="328"/>
                    </a:cubicBezTo>
                    <a:cubicBezTo>
                      <a:pt x="750" y="328"/>
                      <a:pt x="751" y="329"/>
                      <a:pt x="751" y="329"/>
                    </a:cubicBezTo>
                    <a:cubicBezTo>
                      <a:pt x="751" y="330"/>
                      <a:pt x="751" y="330"/>
                      <a:pt x="750" y="330"/>
                    </a:cubicBezTo>
                    <a:cubicBezTo>
                      <a:pt x="750" y="330"/>
                      <a:pt x="749" y="330"/>
                      <a:pt x="749" y="329"/>
                    </a:cubicBezTo>
                    <a:cubicBezTo>
                      <a:pt x="748" y="328"/>
                      <a:pt x="748" y="327"/>
                      <a:pt x="747" y="326"/>
                    </a:cubicBezTo>
                    <a:cubicBezTo>
                      <a:pt x="747" y="325"/>
                      <a:pt x="747" y="324"/>
                      <a:pt x="746" y="324"/>
                    </a:cubicBezTo>
                    <a:cubicBezTo>
                      <a:pt x="744" y="323"/>
                      <a:pt x="743" y="321"/>
                      <a:pt x="740" y="322"/>
                    </a:cubicBezTo>
                    <a:cubicBezTo>
                      <a:pt x="740" y="322"/>
                      <a:pt x="740" y="322"/>
                      <a:pt x="739" y="322"/>
                    </a:cubicBezTo>
                    <a:cubicBezTo>
                      <a:pt x="740" y="321"/>
                      <a:pt x="740" y="320"/>
                      <a:pt x="739" y="320"/>
                    </a:cubicBezTo>
                    <a:cubicBezTo>
                      <a:pt x="738" y="320"/>
                      <a:pt x="737" y="320"/>
                      <a:pt x="737" y="319"/>
                    </a:cubicBezTo>
                    <a:cubicBezTo>
                      <a:pt x="736" y="319"/>
                      <a:pt x="734" y="319"/>
                      <a:pt x="733" y="320"/>
                    </a:cubicBezTo>
                    <a:cubicBezTo>
                      <a:pt x="732" y="321"/>
                      <a:pt x="730" y="322"/>
                      <a:pt x="729" y="323"/>
                    </a:cubicBezTo>
                    <a:cubicBezTo>
                      <a:pt x="727" y="325"/>
                      <a:pt x="725" y="325"/>
                      <a:pt x="723" y="324"/>
                    </a:cubicBezTo>
                    <a:cubicBezTo>
                      <a:pt x="720" y="323"/>
                      <a:pt x="719" y="321"/>
                      <a:pt x="717" y="320"/>
                    </a:cubicBezTo>
                    <a:cubicBezTo>
                      <a:pt x="716" y="319"/>
                      <a:pt x="717" y="317"/>
                      <a:pt x="715" y="316"/>
                    </a:cubicBezTo>
                    <a:cubicBezTo>
                      <a:pt x="714" y="316"/>
                      <a:pt x="714" y="316"/>
                      <a:pt x="714" y="315"/>
                    </a:cubicBezTo>
                    <a:cubicBezTo>
                      <a:pt x="714" y="314"/>
                      <a:pt x="714" y="314"/>
                      <a:pt x="714" y="313"/>
                    </a:cubicBezTo>
                    <a:cubicBezTo>
                      <a:pt x="714" y="313"/>
                      <a:pt x="714" y="313"/>
                      <a:pt x="713" y="314"/>
                    </a:cubicBezTo>
                    <a:cubicBezTo>
                      <a:pt x="713" y="315"/>
                      <a:pt x="712" y="316"/>
                      <a:pt x="712" y="317"/>
                    </a:cubicBezTo>
                    <a:cubicBezTo>
                      <a:pt x="711" y="318"/>
                      <a:pt x="711" y="320"/>
                      <a:pt x="711" y="322"/>
                    </a:cubicBezTo>
                    <a:cubicBezTo>
                      <a:pt x="710" y="323"/>
                      <a:pt x="710" y="324"/>
                      <a:pt x="710" y="325"/>
                    </a:cubicBezTo>
                    <a:cubicBezTo>
                      <a:pt x="710" y="326"/>
                      <a:pt x="709" y="327"/>
                      <a:pt x="709" y="328"/>
                    </a:cubicBezTo>
                    <a:cubicBezTo>
                      <a:pt x="708" y="330"/>
                      <a:pt x="708" y="331"/>
                      <a:pt x="708" y="333"/>
                    </a:cubicBezTo>
                    <a:cubicBezTo>
                      <a:pt x="707" y="335"/>
                      <a:pt x="706" y="336"/>
                      <a:pt x="705" y="338"/>
                    </a:cubicBezTo>
                    <a:cubicBezTo>
                      <a:pt x="705" y="338"/>
                      <a:pt x="705" y="338"/>
                      <a:pt x="705" y="338"/>
                    </a:cubicBezTo>
                    <a:cubicBezTo>
                      <a:pt x="704" y="338"/>
                      <a:pt x="702" y="339"/>
                      <a:pt x="702" y="337"/>
                    </a:cubicBezTo>
                    <a:cubicBezTo>
                      <a:pt x="702" y="336"/>
                      <a:pt x="702" y="335"/>
                      <a:pt x="701" y="335"/>
                    </a:cubicBezTo>
                    <a:cubicBezTo>
                      <a:pt x="699" y="335"/>
                      <a:pt x="697" y="334"/>
                      <a:pt x="697" y="332"/>
                    </a:cubicBezTo>
                    <a:cubicBezTo>
                      <a:pt x="698" y="331"/>
                      <a:pt x="697" y="330"/>
                      <a:pt x="696" y="331"/>
                    </a:cubicBezTo>
                    <a:cubicBezTo>
                      <a:pt x="695" y="330"/>
                      <a:pt x="695" y="329"/>
                      <a:pt x="694" y="329"/>
                    </a:cubicBezTo>
                    <a:cubicBezTo>
                      <a:pt x="694" y="328"/>
                      <a:pt x="694" y="327"/>
                      <a:pt x="693" y="327"/>
                    </a:cubicBezTo>
                    <a:cubicBezTo>
                      <a:pt x="693" y="326"/>
                      <a:pt x="692" y="326"/>
                      <a:pt x="692" y="325"/>
                    </a:cubicBezTo>
                    <a:cubicBezTo>
                      <a:pt x="693" y="324"/>
                      <a:pt x="691" y="323"/>
                      <a:pt x="691" y="321"/>
                    </a:cubicBezTo>
                    <a:cubicBezTo>
                      <a:pt x="691" y="320"/>
                      <a:pt x="691" y="320"/>
                      <a:pt x="690" y="320"/>
                    </a:cubicBezTo>
                    <a:cubicBezTo>
                      <a:pt x="689" y="321"/>
                      <a:pt x="689" y="320"/>
                      <a:pt x="688" y="319"/>
                    </a:cubicBezTo>
                    <a:cubicBezTo>
                      <a:pt x="688" y="318"/>
                      <a:pt x="688" y="318"/>
                      <a:pt x="689" y="318"/>
                    </a:cubicBezTo>
                    <a:cubicBezTo>
                      <a:pt x="689" y="317"/>
                      <a:pt x="690" y="317"/>
                      <a:pt x="690" y="318"/>
                    </a:cubicBezTo>
                    <a:cubicBezTo>
                      <a:pt x="691" y="318"/>
                      <a:pt x="692" y="317"/>
                      <a:pt x="692" y="317"/>
                    </a:cubicBezTo>
                    <a:cubicBezTo>
                      <a:pt x="692" y="317"/>
                      <a:pt x="692" y="317"/>
                      <a:pt x="692" y="317"/>
                    </a:cubicBezTo>
                    <a:cubicBezTo>
                      <a:pt x="692" y="316"/>
                      <a:pt x="693" y="315"/>
                      <a:pt x="692" y="315"/>
                    </a:cubicBezTo>
                    <a:cubicBezTo>
                      <a:pt x="691" y="315"/>
                      <a:pt x="691" y="315"/>
                      <a:pt x="691" y="315"/>
                    </a:cubicBezTo>
                    <a:cubicBezTo>
                      <a:pt x="691" y="315"/>
                      <a:pt x="691" y="316"/>
                      <a:pt x="690" y="316"/>
                    </a:cubicBezTo>
                    <a:cubicBezTo>
                      <a:pt x="690" y="316"/>
                      <a:pt x="690" y="316"/>
                      <a:pt x="690" y="316"/>
                    </a:cubicBezTo>
                    <a:cubicBezTo>
                      <a:pt x="689" y="317"/>
                      <a:pt x="689" y="317"/>
                      <a:pt x="688" y="317"/>
                    </a:cubicBezTo>
                    <a:cubicBezTo>
                      <a:pt x="688" y="316"/>
                      <a:pt x="687" y="316"/>
                      <a:pt x="687" y="315"/>
                    </a:cubicBezTo>
                    <a:cubicBezTo>
                      <a:pt x="687" y="314"/>
                      <a:pt x="687" y="314"/>
                      <a:pt x="687" y="313"/>
                    </a:cubicBezTo>
                    <a:cubicBezTo>
                      <a:pt x="687" y="313"/>
                      <a:pt x="688" y="313"/>
                      <a:pt x="688" y="313"/>
                    </a:cubicBezTo>
                    <a:cubicBezTo>
                      <a:pt x="688" y="313"/>
                      <a:pt x="688" y="313"/>
                      <a:pt x="688" y="312"/>
                    </a:cubicBezTo>
                    <a:cubicBezTo>
                      <a:pt x="688" y="311"/>
                      <a:pt x="688" y="311"/>
                      <a:pt x="687" y="311"/>
                    </a:cubicBezTo>
                    <a:cubicBezTo>
                      <a:pt x="686" y="311"/>
                      <a:pt x="685" y="310"/>
                      <a:pt x="685" y="309"/>
                    </a:cubicBezTo>
                    <a:cubicBezTo>
                      <a:pt x="683" y="307"/>
                      <a:pt x="681" y="305"/>
                      <a:pt x="679" y="303"/>
                    </a:cubicBezTo>
                    <a:cubicBezTo>
                      <a:pt x="678" y="302"/>
                      <a:pt x="676" y="302"/>
                      <a:pt x="675" y="303"/>
                    </a:cubicBezTo>
                    <a:cubicBezTo>
                      <a:pt x="675" y="303"/>
                      <a:pt x="674" y="303"/>
                      <a:pt x="674" y="303"/>
                    </a:cubicBezTo>
                    <a:cubicBezTo>
                      <a:pt x="674" y="303"/>
                      <a:pt x="674" y="303"/>
                      <a:pt x="674" y="304"/>
                    </a:cubicBezTo>
                    <a:cubicBezTo>
                      <a:pt x="675" y="305"/>
                      <a:pt x="675" y="307"/>
                      <a:pt x="675" y="309"/>
                    </a:cubicBezTo>
                    <a:cubicBezTo>
                      <a:pt x="675" y="310"/>
                      <a:pt x="675" y="310"/>
                      <a:pt x="676" y="311"/>
                    </a:cubicBezTo>
                    <a:cubicBezTo>
                      <a:pt x="676" y="311"/>
                      <a:pt x="676" y="311"/>
                      <a:pt x="677" y="311"/>
                    </a:cubicBezTo>
                    <a:cubicBezTo>
                      <a:pt x="678" y="312"/>
                      <a:pt x="679" y="313"/>
                      <a:pt x="677" y="315"/>
                    </a:cubicBezTo>
                    <a:cubicBezTo>
                      <a:pt x="677" y="315"/>
                      <a:pt x="677" y="316"/>
                      <a:pt x="677" y="316"/>
                    </a:cubicBezTo>
                    <a:cubicBezTo>
                      <a:pt x="678" y="316"/>
                      <a:pt x="678" y="316"/>
                      <a:pt x="678" y="316"/>
                    </a:cubicBezTo>
                    <a:cubicBezTo>
                      <a:pt x="678" y="317"/>
                      <a:pt x="678" y="319"/>
                      <a:pt x="677" y="320"/>
                    </a:cubicBezTo>
                    <a:cubicBezTo>
                      <a:pt x="677" y="319"/>
                      <a:pt x="677" y="319"/>
                      <a:pt x="677" y="318"/>
                    </a:cubicBezTo>
                    <a:cubicBezTo>
                      <a:pt x="677" y="316"/>
                      <a:pt x="676" y="314"/>
                      <a:pt x="675" y="312"/>
                    </a:cubicBezTo>
                    <a:cubicBezTo>
                      <a:pt x="674" y="310"/>
                      <a:pt x="672" y="310"/>
                      <a:pt x="671" y="308"/>
                    </a:cubicBezTo>
                    <a:cubicBezTo>
                      <a:pt x="671" y="307"/>
                      <a:pt x="670" y="307"/>
                      <a:pt x="670" y="306"/>
                    </a:cubicBezTo>
                    <a:cubicBezTo>
                      <a:pt x="670" y="306"/>
                      <a:pt x="670" y="305"/>
                      <a:pt x="670" y="305"/>
                    </a:cubicBezTo>
                    <a:cubicBezTo>
                      <a:pt x="671" y="304"/>
                      <a:pt x="671" y="303"/>
                      <a:pt x="672" y="302"/>
                    </a:cubicBezTo>
                    <a:cubicBezTo>
                      <a:pt x="672" y="302"/>
                      <a:pt x="671" y="301"/>
                      <a:pt x="670" y="300"/>
                    </a:cubicBezTo>
                    <a:cubicBezTo>
                      <a:pt x="670" y="300"/>
                      <a:pt x="670" y="300"/>
                      <a:pt x="670" y="299"/>
                    </a:cubicBezTo>
                    <a:cubicBezTo>
                      <a:pt x="670" y="299"/>
                      <a:pt x="670" y="299"/>
                      <a:pt x="670" y="299"/>
                    </a:cubicBezTo>
                    <a:cubicBezTo>
                      <a:pt x="671" y="299"/>
                      <a:pt x="671" y="299"/>
                      <a:pt x="671" y="299"/>
                    </a:cubicBezTo>
                    <a:cubicBezTo>
                      <a:pt x="671" y="299"/>
                      <a:pt x="670" y="299"/>
                      <a:pt x="670" y="299"/>
                    </a:cubicBezTo>
                    <a:cubicBezTo>
                      <a:pt x="670" y="299"/>
                      <a:pt x="670" y="299"/>
                      <a:pt x="670" y="299"/>
                    </a:cubicBezTo>
                    <a:cubicBezTo>
                      <a:pt x="670" y="299"/>
                      <a:pt x="670" y="299"/>
                      <a:pt x="670" y="299"/>
                    </a:cubicBezTo>
                    <a:cubicBezTo>
                      <a:pt x="669" y="299"/>
                      <a:pt x="669" y="299"/>
                      <a:pt x="669" y="298"/>
                    </a:cubicBezTo>
                    <a:cubicBezTo>
                      <a:pt x="669" y="298"/>
                      <a:pt x="669" y="298"/>
                      <a:pt x="669" y="298"/>
                    </a:cubicBezTo>
                    <a:cubicBezTo>
                      <a:pt x="670" y="298"/>
                      <a:pt x="670" y="297"/>
                      <a:pt x="670" y="297"/>
                    </a:cubicBezTo>
                    <a:cubicBezTo>
                      <a:pt x="670" y="297"/>
                      <a:pt x="671" y="297"/>
                      <a:pt x="671" y="296"/>
                    </a:cubicBezTo>
                    <a:cubicBezTo>
                      <a:pt x="671" y="296"/>
                      <a:pt x="671" y="296"/>
                      <a:pt x="671" y="296"/>
                    </a:cubicBezTo>
                    <a:cubicBezTo>
                      <a:pt x="671" y="295"/>
                      <a:pt x="670" y="294"/>
                      <a:pt x="671" y="293"/>
                    </a:cubicBezTo>
                    <a:cubicBezTo>
                      <a:pt x="671" y="293"/>
                      <a:pt x="671" y="295"/>
                      <a:pt x="672" y="295"/>
                    </a:cubicBezTo>
                    <a:cubicBezTo>
                      <a:pt x="674" y="294"/>
                      <a:pt x="673" y="295"/>
                      <a:pt x="674" y="296"/>
                    </a:cubicBezTo>
                    <a:cubicBezTo>
                      <a:pt x="674" y="296"/>
                      <a:pt x="674" y="296"/>
                      <a:pt x="674" y="296"/>
                    </a:cubicBezTo>
                    <a:cubicBezTo>
                      <a:pt x="674" y="296"/>
                      <a:pt x="674" y="296"/>
                      <a:pt x="674" y="296"/>
                    </a:cubicBezTo>
                    <a:cubicBezTo>
                      <a:pt x="674" y="295"/>
                      <a:pt x="674" y="294"/>
                      <a:pt x="674" y="293"/>
                    </a:cubicBezTo>
                    <a:cubicBezTo>
                      <a:pt x="675" y="293"/>
                      <a:pt x="675" y="293"/>
                      <a:pt x="675" y="293"/>
                    </a:cubicBezTo>
                    <a:cubicBezTo>
                      <a:pt x="676" y="293"/>
                      <a:pt x="676" y="292"/>
                      <a:pt x="676" y="291"/>
                    </a:cubicBezTo>
                    <a:cubicBezTo>
                      <a:pt x="676" y="291"/>
                      <a:pt x="676" y="290"/>
                      <a:pt x="676" y="290"/>
                    </a:cubicBezTo>
                    <a:cubicBezTo>
                      <a:pt x="677" y="290"/>
                      <a:pt x="677" y="291"/>
                      <a:pt x="677" y="291"/>
                    </a:cubicBezTo>
                    <a:cubicBezTo>
                      <a:pt x="677" y="292"/>
                      <a:pt x="677" y="293"/>
                      <a:pt x="678" y="292"/>
                    </a:cubicBezTo>
                    <a:cubicBezTo>
                      <a:pt x="678" y="292"/>
                      <a:pt x="679" y="292"/>
                      <a:pt x="679" y="292"/>
                    </a:cubicBezTo>
                    <a:cubicBezTo>
                      <a:pt x="679" y="292"/>
                      <a:pt x="679" y="292"/>
                      <a:pt x="679" y="292"/>
                    </a:cubicBezTo>
                    <a:cubicBezTo>
                      <a:pt x="678" y="293"/>
                      <a:pt x="678" y="293"/>
                      <a:pt x="677" y="293"/>
                    </a:cubicBezTo>
                    <a:cubicBezTo>
                      <a:pt x="677" y="293"/>
                      <a:pt x="677" y="293"/>
                      <a:pt x="677" y="293"/>
                    </a:cubicBezTo>
                    <a:cubicBezTo>
                      <a:pt x="679" y="295"/>
                      <a:pt x="679" y="295"/>
                      <a:pt x="681" y="293"/>
                    </a:cubicBezTo>
                    <a:cubicBezTo>
                      <a:pt x="681" y="294"/>
                      <a:pt x="681" y="294"/>
                      <a:pt x="682" y="294"/>
                    </a:cubicBezTo>
                    <a:cubicBezTo>
                      <a:pt x="683" y="294"/>
                      <a:pt x="683" y="294"/>
                      <a:pt x="683" y="294"/>
                    </a:cubicBezTo>
                    <a:cubicBezTo>
                      <a:pt x="684" y="293"/>
                      <a:pt x="684" y="292"/>
                      <a:pt x="685" y="291"/>
                    </a:cubicBezTo>
                    <a:cubicBezTo>
                      <a:pt x="686" y="294"/>
                      <a:pt x="687" y="294"/>
                      <a:pt x="689" y="292"/>
                    </a:cubicBezTo>
                    <a:cubicBezTo>
                      <a:pt x="687" y="292"/>
                      <a:pt x="686" y="291"/>
                      <a:pt x="685" y="291"/>
                    </a:cubicBezTo>
                    <a:cubicBezTo>
                      <a:pt x="684" y="290"/>
                      <a:pt x="683" y="290"/>
                      <a:pt x="682" y="291"/>
                    </a:cubicBezTo>
                    <a:cubicBezTo>
                      <a:pt x="681" y="292"/>
                      <a:pt x="680" y="291"/>
                      <a:pt x="680" y="290"/>
                    </a:cubicBezTo>
                    <a:cubicBezTo>
                      <a:pt x="680" y="290"/>
                      <a:pt x="679" y="290"/>
                      <a:pt x="679" y="290"/>
                    </a:cubicBezTo>
                    <a:cubicBezTo>
                      <a:pt x="679" y="290"/>
                      <a:pt x="679" y="290"/>
                      <a:pt x="680" y="290"/>
                    </a:cubicBezTo>
                    <a:cubicBezTo>
                      <a:pt x="680" y="289"/>
                      <a:pt x="680" y="289"/>
                      <a:pt x="680" y="289"/>
                    </a:cubicBezTo>
                    <a:cubicBezTo>
                      <a:pt x="680" y="289"/>
                      <a:pt x="680" y="289"/>
                      <a:pt x="680" y="289"/>
                    </a:cubicBezTo>
                    <a:cubicBezTo>
                      <a:pt x="681" y="290"/>
                      <a:pt x="683" y="289"/>
                      <a:pt x="684" y="290"/>
                    </a:cubicBezTo>
                    <a:cubicBezTo>
                      <a:pt x="685" y="290"/>
                      <a:pt x="686" y="289"/>
                      <a:pt x="686" y="289"/>
                    </a:cubicBezTo>
                    <a:cubicBezTo>
                      <a:pt x="687" y="288"/>
                      <a:pt x="687" y="288"/>
                      <a:pt x="687" y="287"/>
                    </a:cubicBezTo>
                    <a:cubicBezTo>
                      <a:pt x="687" y="286"/>
                      <a:pt x="688" y="285"/>
                      <a:pt x="688" y="285"/>
                    </a:cubicBezTo>
                    <a:cubicBezTo>
                      <a:pt x="688" y="284"/>
                      <a:pt x="689" y="284"/>
                      <a:pt x="689" y="283"/>
                    </a:cubicBezTo>
                    <a:cubicBezTo>
                      <a:pt x="688" y="283"/>
                      <a:pt x="685" y="282"/>
                      <a:pt x="684" y="283"/>
                    </a:cubicBezTo>
                    <a:cubicBezTo>
                      <a:pt x="684" y="283"/>
                      <a:pt x="684" y="283"/>
                      <a:pt x="684" y="283"/>
                    </a:cubicBezTo>
                    <a:cubicBezTo>
                      <a:pt x="684" y="284"/>
                      <a:pt x="684" y="284"/>
                      <a:pt x="683" y="284"/>
                    </a:cubicBezTo>
                    <a:cubicBezTo>
                      <a:pt x="683" y="285"/>
                      <a:pt x="682" y="285"/>
                      <a:pt x="681" y="285"/>
                    </a:cubicBezTo>
                    <a:cubicBezTo>
                      <a:pt x="681" y="284"/>
                      <a:pt x="682" y="284"/>
                      <a:pt x="682" y="284"/>
                    </a:cubicBezTo>
                    <a:cubicBezTo>
                      <a:pt x="683" y="283"/>
                      <a:pt x="683" y="283"/>
                      <a:pt x="684" y="282"/>
                    </a:cubicBezTo>
                    <a:cubicBezTo>
                      <a:pt x="684" y="282"/>
                      <a:pt x="685" y="282"/>
                      <a:pt x="685" y="282"/>
                    </a:cubicBezTo>
                    <a:cubicBezTo>
                      <a:pt x="685" y="281"/>
                      <a:pt x="685" y="281"/>
                      <a:pt x="685" y="281"/>
                    </a:cubicBezTo>
                    <a:cubicBezTo>
                      <a:pt x="685" y="280"/>
                      <a:pt x="685" y="280"/>
                      <a:pt x="685" y="280"/>
                    </a:cubicBezTo>
                    <a:cubicBezTo>
                      <a:pt x="685" y="280"/>
                      <a:pt x="684" y="280"/>
                      <a:pt x="684" y="280"/>
                    </a:cubicBezTo>
                    <a:cubicBezTo>
                      <a:pt x="683" y="280"/>
                      <a:pt x="683" y="281"/>
                      <a:pt x="683" y="281"/>
                    </a:cubicBezTo>
                    <a:cubicBezTo>
                      <a:pt x="683" y="281"/>
                      <a:pt x="683" y="281"/>
                      <a:pt x="683" y="281"/>
                    </a:cubicBezTo>
                    <a:cubicBezTo>
                      <a:pt x="683" y="281"/>
                      <a:pt x="682" y="282"/>
                      <a:pt x="682" y="282"/>
                    </a:cubicBezTo>
                    <a:cubicBezTo>
                      <a:pt x="682" y="279"/>
                      <a:pt x="682" y="279"/>
                      <a:pt x="680" y="280"/>
                    </a:cubicBezTo>
                    <a:cubicBezTo>
                      <a:pt x="680" y="280"/>
                      <a:pt x="679" y="280"/>
                      <a:pt x="679" y="280"/>
                    </a:cubicBezTo>
                    <a:cubicBezTo>
                      <a:pt x="678" y="280"/>
                      <a:pt x="679" y="279"/>
                      <a:pt x="678" y="278"/>
                    </a:cubicBezTo>
                    <a:cubicBezTo>
                      <a:pt x="678" y="277"/>
                      <a:pt x="678" y="277"/>
                      <a:pt x="677" y="276"/>
                    </a:cubicBezTo>
                    <a:cubicBezTo>
                      <a:pt x="677" y="276"/>
                      <a:pt x="676" y="276"/>
                      <a:pt x="675" y="277"/>
                    </a:cubicBezTo>
                    <a:cubicBezTo>
                      <a:pt x="675" y="277"/>
                      <a:pt x="675" y="277"/>
                      <a:pt x="675" y="277"/>
                    </a:cubicBezTo>
                    <a:cubicBezTo>
                      <a:pt x="675" y="277"/>
                      <a:pt x="675" y="278"/>
                      <a:pt x="675" y="278"/>
                    </a:cubicBezTo>
                    <a:cubicBezTo>
                      <a:pt x="675" y="279"/>
                      <a:pt x="676" y="279"/>
                      <a:pt x="676" y="279"/>
                    </a:cubicBezTo>
                    <a:cubicBezTo>
                      <a:pt x="676" y="279"/>
                      <a:pt x="676" y="279"/>
                      <a:pt x="676" y="279"/>
                    </a:cubicBezTo>
                    <a:cubicBezTo>
                      <a:pt x="675" y="280"/>
                      <a:pt x="675" y="281"/>
                      <a:pt x="675" y="281"/>
                    </a:cubicBezTo>
                    <a:cubicBezTo>
                      <a:pt x="675" y="281"/>
                      <a:pt x="675" y="281"/>
                      <a:pt x="675" y="280"/>
                    </a:cubicBezTo>
                    <a:cubicBezTo>
                      <a:pt x="675" y="280"/>
                      <a:pt x="675" y="280"/>
                      <a:pt x="675" y="280"/>
                    </a:cubicBezTo>
                    <a:cubicBezTo>
                      <a:pt x="675" y="279"/>
                      <a:pt x="674" y="278"/>
                      <a:pt x="673" y="278"/>
                    </a:cubicBezTo>
                    <a:cubicBezTo>
                      <a:pt x="673" y="278"/>
                      <a:pt x="673" y="278"/>
                      <a:pt x="673" y="278"/>
                    </a:cubicBezTo>
                    <a:cubicBezTo>
                      <a:pt x="673" y="280"/>
                      <a:pt x="673" y="281"/>
                      <a:pt x="674" y="283"/>
                    </a:cubicBezTo>
                    <a:cubicBezTo>
                      <a:pt x="674" y="284"/>
                      <a:pt x="674" y="285"/>
                      <a:pt x="674" y="285"/>
                    </a:cubicBezTo>
                    <a:cubicBezTo>
                      <a:pt x="673" y="285"/>
                      <a:pt x="673" y="285"/>
                      <a:pt x="673" y="286"/>
                    </a:cubicBezTo>
                    <a:cubicBezTo>
                      <a:pt x="672" y="284"/>
                      <a:pt x="673" y="282"/>
                      <a:pt x="672" y="280"/>
                    </a:cubicBezTo>
                    <a:cubicBezTo>
                      <a:pt x="672" y="280"/>
                      <a:pt x="672" y="280"/>
                      <a:pt x="672" y="280"/>
                    </a:cubicBezTo>
                    <a:cubicBezTo>
                      <a:pt x="672" y="279"/>
                      <a:pt x="672" y="278"/>
                      <a:pt x="672" y="277"/>
                    </a:cubicBezTo>
                    <a:cubicBezTo>
                      <a:pt x="672" y="276"/>
                      <a:pt x="671" y="276"/>
                      <a:pt x="670" y="276"/>
                    </a:cubicBezTo>
                    <a:cubicBezTo>
                      <a:pt x="670" y="276"/>
                      <a:pt x="670" y="276"/>
                      <a:pt x="670" y="276"/>
                    </a:cubicBezTo>
                    <a:cubicBezTo>
                      <a:pt x="670" y="276"/>
                      <a:pt x="670" y="276"/>
                      <a:pt x="670" y="277"/>
                    </a:cubicBezTo>
                    <a:cubicBezTo>
                      <a:pt x="669" y="277"/>
                      <a:pt x="669" y="277"/>
                      <a:pt x="669" y="277"/>
                    </a:cubicBezTo>
                    <a:cubicBezTo>
                      <a:pt x="669" y="277"/>
                      <a:pt x="668" y="277"/>
                      <a:pt x="668" y="277"/>
                    </a:cubicBezTo>
                    <a:cubicBezTo>
                      <a:pt x="668" y="278"/>
                      <a:pt x="668" y="278"/>
                      <a:pt x="668" y="278"/>
                    </a:cubicBezTo>
                    <a:cubicBezTo>
                      <a:pt x="667" y="278"/>
                      <a:pt x="667" y="278"/>
                      <a:pt x="667" y="277"/>
                    </a:cubicBezTo>
                    <a:cubicBezTo>
                      <a:pt x="666" y="276"/>
                      <a:pt x="664" y="276"/>
                      <a:pt x="664" y="275"/>
                    </a:cubicBezTo>
                    <a:cubicBezTo>
                      <a:pt x="663" y="274"/>
                      <a:pt x="663" y="273"/>
                      <a:pt x="662" y="273"/>
                    </a:cubicBezTo>
                    <a:cubicBezTo>
                      <a:pt x="661" y="272"/>
                      <a:pt x="659" y="272"/>
                      <a:pt x="658" y="270"/>
                    </a:cubicBezTo>
                    <a:cubicBezTo>
                      <a:pt x="658" y="270"/>
                      <a:pt x="658" y="270"/>
                      <a:pt x="658" y="270"/>
                    </a:cubicBezTo>
                    <a:cubicBezTo>
                      <a:pt x="658" y="270"/>
                      <a:pt x="658" y="270"/>
                      <a:pt x="658" y="270"/>
                    </a:cubicBezTo>
                    <a:cubicBezTo>
                      <a:pt x="657" y="271"/>
                      <a:pt x="657" y="272"/>
                      <a:pt x="656" y="273"/>
                    </a:cubicBezTo>
                    <a:cubicBezTo>
                      <a:pt x="656" y="273"/>
                      <a:pt x="656" y="273"/>
                      <a:pt x="656" y="273"/>
                    </a:cubicBezTo>
                    <a:cubicBezTo>
                      <a:pt x="655" y="273"/>
                      <a:pt x="655" y="274"/>
                      <a:pt x="655" y="274"/>
                    </a:cubicBezTo>
                    <a:cubicBezTo>
                      <a:pt x="654" y="274"/>
                      <a:pt x="655" y="273"/>
                      <a:pt x="654" y="273"/>
                    </a:cubicBezTo>
                    <a:cubicBezTo>
                      <a:pt x="653" y="274"/>
                      <a:pt x="653" y="273"/>
                      <a:pt x="652" y="273"/>
                    </a:cubicBezTo>
                    <a:cubicBezTo>
                      <a:pt x="652" y="273"/>
                      <a:pt x="652" y="273"/>
                      <a:pt x="652" y="273"/>
                    </a:cubicBezTo>
                    <a:cubicBezTo>
                      <a:pt x="652" y="273"/>
                      <a:pt x="652" y="273"/>
                      <a:pt x="652" y="273"/>
                    </a:cubicBezTo>
                    <a:cubicBezTo>
                      <a:pt x="652" y="275"/>
                      <a:pt x="651" y="277"/>
                      <a:pt x="651" y="279"/>
                    </a:cubicBezTo>
                    <a:cubicBezTo>
                      <a:pt x="651" y="279"/>
                      <a:pt x="652" y="280"/>
                      <a:pt x="652" y="280"/>
                    </a:cubicBezTo>
                    <a:cubicBezTo>
                      <a:pt x="651" y="282"/>
                      <a:pt x="652" y="283"/>
                      <a:pt x="653" y="284"/>
                    </a:cubicBezTo>
                    <a:cubicBezTo>
                      <a:pt x="653" y="284"/>
                      <a:pt x="653" y="285"/>
                      <a:pt x="652" y="286"/>
                    </a:cubicBezTo>
                    <a:cubicBezTo>
                      <a:pt x="652" y="286"/>
                      <a:pt x="652" y="286"/>
                      <a:pt x="652" y="286"/>
                    </a:cubicBezTo>
                    <a:cubicBezTo>
                      <a:pt x="652" y="286"/>
                      <a:pt x="652" y="286"/>
                      <a:pt x="652" y="286"/>
                    </a:cubicBezTo>
                    <a:cubicBezTo>
                      <a:pt x="651" y="287"/>
                      <a:pt x="650" y="288"/>
                      <a:pt x="651" y="289"/>
                    </a:cubicBezTo>
                    <a:cubicBezTo>
                      <a:pt x="652" y="289"/>
                      <a:pt x="651" y="290"/>
                      <a:pt x="651" y="290"/>
                    </a:cubicBezTo>
                    <a:cubicBezTo>
                      <a:pt x="651" y="290"/>
                      <a:pt x="651" y="290"/>
                      <a:pt x="651" y="290"/>
                    </a:cubicBezTo>
                    <a:cubicBezTo>
                      <a:pt x="650" y="291"/>
                      <a:pt x="649" y="290"/>
                      <a:pt x="649" y="290"/>
                    </a:cubicBezTo>
                    <a:cubicBezTo>
                      <a:pt x="649" y="289"/>
                      <a:pt x="647" y="289"/>
                      <a:pt x="647" y="288"/>
                    </a:cubicBezTo>
                    <a:cubicBezTo>
                      <a:pt x="647" y="288"/>
                      <a:pt x="646" y="287"/>
                      <a:pt x="646" y="287"/>
                    </a:cubicBezTo>
                    <a:cubicBezTo>
                      <a:pt x="645" y="288"/>
                      <a:pt x="645" y="288"/>
                      <a:pt x="646" y="289"/>
                    </a:cubicBezTo>
                    <a:cubicBezTo>
                      <a:pt x="647" y="290"/>
                      <a:pt x="648" y="291"/>
                      <a:pt x="650" y="291"/>
                    </a:cubicBezTo>
                    <a:cubicBezTo>
                      <a:pt x="650" y="292"/>
                      <a:pt x="650" y="292"/>
                      <a:pt x="651" y="292"/>
                    </a:cubicBezTo>
                    <a:cubicBezTo>
                      <a:pt x="651" y="292"/>
                      <a:pt x="652" y="292"/>
                      <a:pt x="652" y="293"/>
                    </a:cubicBezTo>
                    <a:cubicBezTo>
                      <a:pt x="652" y="293"/>
                      <a:pt x="652" y="293"/>
                      <a:pt x="652" y="293"/>
                    </a:cubicBezTo>
                    <a:cubicBezTo>
                      <a:pt x="651" y="293"/>
                      <a:pt x="651" y="294"/>
                      <a:pt x="652" y="294"/>
                    </a:cubicBezTo>
                    <a:cubicBezTo>
                      <a:pt x="652" y="294"/>
                      <a:pt x="652" y="295"/>
                      <a:pt x="653" y="294"/>
                    </a:cubicBezTo>
                    <a:cubicBezTo>
                      <a:pt x="653" y="294"/>
                      <a:pt x="653" y="294"/>
                      <a:pt x="653" y="294"/>
                    </a:cubicBezTo>
                    <a:cubicBezTo>
                      <a:pt x="653" y="294"/>
                      <a:pt x="652" y="294"/>
                      <a:pt x="652" y="293"/>
                    </a:cubicBezTo>
                    <a:cubicBezTo>
                      <a:pt x="654" y="294"/>
                      <a:pt x="656" y="293"/>
                      <a:pt x="657" y="295"/>
                    </a:cubicBezTo>
                    <a:cubicBezTo>
                      <a:pt x="656" y="296"/>
                      <a:pt x="656" y="295"/>
                      <a:pt x="655" y="295"/>
                    </a:cubicBezTo>
                    <a:cubicBezTo>
                      <a:pt x="655" y="295"/>
                      <a:pt x="654" y="295"/>
                      <a:pt x="654" y="295"/>
                    </a:cubicBezTo>
                    <a:cubicBezTo>
                      <a:pt x="652" y="296"/>
                      <a:pt x="650" y="294"/>
                      <a:pt x="649" y="293"/>
                    </a:cubicBezTo>
                    <a:cubicBezTo>
                      <a:pt x="649" y="293"/>
                      <a:pt x="649" y="293"/>
                      <a:pt x="649" y="293"/>
                    </a:cubicBezTo>
                    <a:cubicBezTo>
                      <a:pt x="648" y="293"/>
                      <a:pt x="648" y="293"/>
                      <a:pt x="647" y="293"/>
                    </a:cubicBezTo>
                    <a:cubicBezTo>
                      <a:pt x="645" y="292"/>
                      <a:pt x="643" y="291"/>
                      <a:pt x="641" y="290"/>
                    </a:cubicBezTo>
                    <a:cubicBezTo>
                      <a:pt x="639" y="289"/>
                      <a:pt x="638" y="289"/>
                      <a:pt x="637" y="290"/>
                    </a:cubicBezTo>
                    <a:cubicBezTo>
                      <a:pt x="636" y="290"/>
                      <a:pt x="635" y="290"/>
                      <a:pt x="634" y="290"/>
                    </a:cubicBezTo>
                    <a:cubicBezTo>
                      <a:pt x="633" y="289"/>
                      <a:pt x="631" y="289"/>
                      <a:pt x="629" y="289"/>
                    </a:cubicBezTo>
                    <a:cubicBezTo>
                      <a:pt x="628" y="288"/>
                      <a:pt x="628" y="289"/>
                      <a:pt x="627" y="288"/>
                    </a:cubicBezTo>
                    <a:cubicBezTo>
                      <a:pt x="627" y="288"/>
                      <a:pt x="628" y="288"/>
                      <a:pt x="628" y="288"/>
                    </a:cubicBezTo>
                    <a:cubicBezTo>
                      <a:pt x="628" y="287"/>
                      <a:pt x="629" y="288"/>
                      <a:pt x="629" y="288"/>
                    </a:cubicBezTo>
                    <a:cubicBezTo>
                      <a:pt x="629" y="288"/>
                      <a:pt x="630" y="289"/>
                      <a:pt x="630" y="288"/>
                    </a:cubicBezTo>
                    <a:cubicBezTo>
                      <a:pt x="630" y="288"/>
                      <a:pt x="630" y="288"/>
                      <a:pt x="630" y="288"/>
                    </a:cubicBezTo>
                    <a:cubicBezTo>
                      <a:pt x="631" y="287"/>
                      <a:pt x="631" y="285"/>
                      <a:pt x="629" y="285"/>
                    </a:cubicBezTo>
                    <a:cubicBezTo>
                      <a:pt x="629" y="285"/>
                      <a:pt x="628" y="285"/>
                      <a:pt x="628" y="285"/>
                    </a:cubicBezTo>
                    <a:cubicBezTo>
                      <a:pt x="627" y="285"/>
                      <a:pt x="626" y="284"/>
                      <a:pt x="626" y="284"/>
                    </a:cubicBezTo>
                    <a:cubicBezTo>
                      <a:pt x="625" y="284"/>
                      <a:pt x="625" y="285"/>
                      <a:pt x="625" y="285"/>
                    </a:cubicBezTo>
                    <a:cubicBezTo>
                      <a:pt x="625" y="286"/>
                      <a:pt x="626" y="286"/>
                      <a:pt x="626" y="287"/>
                    </a:cubicBezTo>
                    <a:cubicBezTo>
                      <a:pt x="626" y="287"/>
                      <a:pt x="626" y="287"/>
                      <a:pt x="626" y="287"/>
                    </a:cubicBezTo>
                    <a:cubicBezTo>
                      <a:pt x="624" y="287"/>
                      <a:pt x="623" y="287"/>
                      <a:pt x="621" y="286"/>
                    </a:cubicBezTo>
                    <a:cubicBezTo>
                      <a:pt x="619" y="285"/>
                      <a:pt x="617" y="283"/>
                      <a:pt x="618" y="280"/>
                    </a:cubicBezTo>
                    <a:cubicBezTo>
                      <a:pt x="618" y="279"/>
                      <a:pt x="618" y="279"/>
                      <a:pt x="618" y="278"/>
                    </a:cubicBezTo>
                    <a:cubicBezTo>
                      <a:pt x="618" y="278"/>
                      <a:pt x="619" y="278"/>
                      <a:pt x="619" y="278"/>
                    </a:cubicBezTo>
                    <a:cubicBezTo>
                      <a:pt x="619" y="278"/>
                      <a:pt x="620" y="278"/>
                      <a:pt x="620" y="278"/>
                    </a:cubicBezTo>
                    <a:cubicBezTo>
                      <a:pt x="620" y="278"/>
                      <a:pt x="621" y="278"/>
                      <a:pt x="621" y="278"/>
                    </a:cubicBezTo>
                    <a:cubicBezTo>
                      <a:pt x="621" y="277"/>
                      <a:pt x="620" y="276"/>
                      <a:pt x="619" y="276"/>
                    </a:cubicBezTo>
                    <a:cubicBezTo>
                      <a:pt x="619" y="275"/>
                      <a:pt x="618" y="275"/>
                      <a:pt x="618" y="275"/>
                    </a:cubicBezTo>
                    <a:cubicBezTo>
                      <a:pt x="616" y="275"/>
                      <a:pt x="614" y="275"/>
                      <a:pt x="612" y="275"/>
                    </a:cubicBezTo>
                    <a:cubicBezTo>
                      <a:pt x="611" y="275"/>
                      <a:pt x="610" y="275"/>
                      <a:pt x="609" y="275"/>
                    </a:cubicBezTo>
                    <a:cubicBezTo>
                      <a:pt x="608" y="274"/>
                      <a:pt x="607" y="273"/>
                      <a:pt x="605" y="273"/>
                    </a:cubicBezTo>
                    <a:cubicBezTo>
                      <a:pt x="603" y="273"/>
                      <a:pt x="602" y="273"/>
                      <a:pt x="600" y="272"/>
                    </a:cubicBezTo>
                    <a:cubicBezTo>
                      <a:pt x="598" y="271"/>
                      <a:pt x="597" y="272"/>
                      <a:pt x="596" y="273"/>
                    </a:cubicBezTo>
                    <a:cubicBezTo>
                      <a:pt x="595" y="273"/>
                      <a:pt x="595" y="273"/>
                      <a:pt x="595" y="273"/>
                    </a:cubicBezTo>
                    <a:cubicBezTo>
                      <a:pt x="595" y="274"/>
                      <a:pt x="594" y="274"/>
                      <a:pt x="594" y="274"/>
                    </a:cubicBezTo>
                    <a:cubicBezTo>
                      <a:pt x="594" y="275"/>
                      <a:pt x="593" y="275"/>
                      <a:pt x="593" y="275"/>
                    </a:cubicBezTo>
                    <a:cubicBezTo>
                      <a:pt x="591" y="274"/>
                      <a:pt x="589" y="275"/>
                      <a:pt x="587" y="276"/>
                    </a:cubicBezTo>
                    <a:cubicBezTo>
                      <a:pt x="586" y="276"/>
                      <a:pt x="586" y="276"/>
                      <a:pt x="586" y="276"/>
                    </a:cubicBezTo>
                    <a:cubicBezTo>
                      <a:pt x="585" y="277"/>
                      <a:pt x="585" y="278"/>
                      <a:pt x="585" y="279"/>
                    </a:cubicBezTo>
                    <a:cubicBezTo>
                      <a:pt x="586" y="280"/>
                      <a:pt x="587" y="280"/>
                      <a:pt x="587" y="280"/>
                    </a:cubicBezTo>
                    <a:cubicBezTo>
                      <a:pt x="588" y="281"/>
                      <a:pt x="588" y="281"/>
                      <a:pt x="589" y="281"/>
                    </a:cubicBezTo>
                    <a:cubicBezTo>
                      <a:pt x="588" y="281"/>
                      <a:pt x="588" y="281"/>
                      <a:pt x="587" y="281"/>
                    </a:cubicBezTo>
                    <a:cubicBezTo>
                      <a:pt x="587" y="281"/>
                      <a:pt x="586" y="281"/>
                      <a:pt x="586" y="282"/>
                    </a:cubicBezTo>
                    <a:cubicBezTo>
                      <a:pt x="585" y="282"/>
                      <a:pt x="585" y="284"/>
                      <a:pt x="585" y="285"/>
                    </a:cubicBezTo>
                    <a:cubicBezTo>
                      <a:pt x="584" y="285"/>
                      <a:pt x="584" y="284"/>
                      <a:pt x="584" y="284"/>
                    </a:cubicBezTo>
                    <a:cubicBezTo>
                      <a:pt x="583" y="283"/>
                      <a:pt x="583" y="284"/>
                      <a:pt x="582" y="284"/>
                    </a:cubicBezTo>
                    <a:cubicBezTo>
                      <a:pt x="581" y="284"/>
                      <a:pt x="581" y="283"/>
                      <a:pt x="582" y="283"/>
                    </a:cubicBezTo>
                    <a:cubicBezTo>
                      <a:pt x="582" y="283"/>
                      <a:pt x="582" y="283"/>
                      <a:pt x="583" y="283"/>
                    </a:cubicBezTo>
                    <a:cubicBezTo>
                      <a:pt x="583" y="283"/>
                      <a:pt x="584" y="283"/>
                      <a:pt x="584" y="283"/>
                    </a:cubicBezTo>
                    <a:cubicBezTo>
                      <a:pt x="584" y="282"/>
                      <a:pt x="585" y="282"/>
                      <a:pt x="585" y="282"/>
                    </a:cubicBezTo>
                    <a:cubicBezTo>
                      <a:pt x="585" y="281"/>
                      <a:pt x="585" y="280"/>
                      <a:pt x="584" y="280"/>
                    </a:cubicBezTo>
                    <a:cubicBezTo>
                      <a:pt x="583" y="280"/>
                      <a:pt x="583" y="279"/>
                      <a:pt x="583" y="278"/>
                    </a:cubicBezTo>
                    <a:cubicBezTo>
                      <a:pt x="582" y="277"/>
                      <a:pt x="584" y="276"/>
                      <a:pt x="584" y="274"/>
                    </a:cubicBezTo>
                    <a:cubicBezTo>
                      <a:pt x="584" y="272"/>
                      <a:pt x="583" y="270"/>
                      <a:pt x="582" y="268"/>
                    </a:cubicBezTo>
                    <a:cubicBezTo>
                      <a:pt x="582" y="267"/>
                      <a:pt x="581" y="266"/>
                      <a:pt x="580" y="267"/>
                    </a:cubicBezTo>
                    <a:cubicBezTo>
                      <a:pt x="580" y="267"/>
                      <a:pt x="580" y="267"/>
                      <a:pt x="580" y="267"/>
                    </a:cubicBezTo>
                    <a:cubicBezTo>
                      <a:pt x="580" y="267"/>
                      <a:pt x="580" y="268"/>
                      <a:pt x="581" y="268"/>
                    </a:cubicBezTo>
                    <a:cubicBezTo>
                      <a:pt x="581" y="269"/>
                      <a:pt x="581" y="270"/>
                      <a:pt x="580" y="271"/>
                    </a:cubicBezTo>
                    <a:cubicBezTo>
                      <a:pt x="580" y="271"/>
                      <a:pt x="580" y="271"/>
                      <a:pt x="579" y="272"/>
                    </a:cubicBezTo>
                    <a:cubicBezTo>
                      <a:pt x="577" y="272"/>
                      <a:pt x="576" y="271"/>
                      <a:pt x="574" y="271"/>
                    </a:cubicBezTo>
                    <a:cubicBezTo>
                      <a:pt x="571" y="271"/>
                      <a:pt x="570" y="269"/>
                      <a:pt x="569" y="267"/>
                    </a:cubicBezTo>
                    <a:cubicBezTo>
                      <a:pt x="569" y="266"/>
                      <a:pt x="569" y="266"/>
                      <a:pt x="569" y="265"/>
                    </a:cubicBezTo>
                    <a:cubicBezTo>
                      <a:pt x="569" y="265"/>
                      <a:pt x="569" y="265"/>
                      <a:pt x="570" y="265"/>
                    </a:cubicBezTo>
                    <a:cubicBezTo>
                      <a:pt x="570" y="265"/>
                      <a:pt x="570" y="265"/>
                      <a:pt x="570" y="265"/>
                    </a:cubicBezTo>
                    <a:cubicBezTo>
                      <a:pt x="571" y="265"/>
                      <a:pt x="571" y="264"/>
                      <a:pt x="571" y="264"/>
                    </a:cubicBezTo>
                    <a:cubicBezTo>
                      <a:pt x="571" y="264"/>
                      <a:pt x="571" y="264"/>
                      <a:pt x="571" y="264"/>
                    </a:cubicBezTo>
                    <a:cubicBezTo>
                      <a:pt x="571" y="264"/>
                      <a:pt x="570" y="264"/>
                      <a:pt x="570" y="264"/>
                    </a:cubicBezTo>
                    <a:cubicBezTo>
                      <a:pt x="569" y="264"/>
                      <a:pt x="569" y="264"/>
                      <a:pt x="568" y="265"/>
                    </a:cubicBezTo>
                    <a:cubicBezTo>
                      <a:pt x="568" y="265"/>
                      <a:pt x="568" y="265"/>
                      <a:pt x="568" y="265"/>
                    </a:cubicBezTo>
                    <a:cubicBezTo>
                      <a:pt x="568" y="265"/>
                      <a:pt x="568" y="266"/>
                      <a:pt x="568" y="266"/>
                    </a:cubicBezTo>
                    <a:cubicBezTo>
                      <a:pt x="568" y="266"/>
                      <a:pt x="568" y="267"/>
                      <a:pt x="567" y="267"/>
                    </a:cubicBezTo>
                    <a:cubicBezTo>
                      <a:pt x="567" y="267"/>
                      <a:pt x="567" y="267"/>
                      <a:pt x="566" y="266"/>
                    </a:cubicBezTo>
                    <a:cubicBezTo>
                      <a:pt x="566" y="265"/>
                      <a:pt x="565" y="265"/>
                      <a:pt x="564" y="265"/>
                    </a:cubicBezTo>
                    <a:cubicBezTo>
                      <a:pt x="563" y="264"/>
                      <a:pt x="561" y="264"/>
                      <a:pt x="560" y="265"/>
                    </a:cubicBezTo>
                    <a:cubicBezTo>
                      <a:pt x="560" y="265"/>
                      <a:pt x="560" y="265"/>
                      <a:pt x="560" y="265"/>
                    </a:cubicBezTo>
                    <a:cubicBezTo>
                      <a:pt x="560" y="267"/>
                      <a:pt x="559" y="268"/>
                      <a:pt x="558" y="270"/>
                    </a:cubicBezTo>
                    <a:cubicBezTo>
                      <a:pt x="557" y="271"/>
                      <a:pt x="558" y="272"/>
                      <a:pt x="559" y="272"/>
                    </a:cubicBezTo>
                    <a:cubicBezTo>
                      <a:pt x="561" y="272"/>
                      <a:pt x="562" y="272"/>
                      <a:pt x="564" y="271"/>
                    </a:cubicBezTo>
                    <a:cubicBezTo>
                      <a:pt x="564" y="271"/>
                      <a:pt x="564" y="271"/>
                      <a:pt x="565" y="271"/>
                    </a:cubicBezTo>
                    <a:cubicBezTo>
                      <a:pt x="565" y="271"/>
                      <a:pt x="565" y="270"/>
                      <a:pt x="565" y="270"/>
                    </a:cubicBezTo>
                    <a:cubicBezTo>
                      <a:pt x="565" y="270"/>
                      <a:pt x="565" y="270"/>
                      <a:pt x="566" y="270"/>
                    </a:cubicBezTo>
                    <a:cubicBezTo>
                      <a:pt x="566" y="271"/>
                      <a:pt x="567" y="271"/>
                      <a:pt x="567" y="272"/>
                    </a:cubicBezTo>
                    <a:cubicBezTo>
                      <a:pt x="566" y="272"/>
                      <a:pt x="566" y="272"/>
                      <a:pt x="566" y="273"/>
                    </a:cubicBezTo>
                    <a:cubicBezTo>
                      <a:pt x="566" y="273"/>
                      <a:pt x="566" y="273"/>
                      <a:pt x="566" y="273"/>
                    </a:cubicBezTo>
                    <a:cubicBezTo>
                      <a:pt x="566" y="273"/>
                      <a:pt x="565" y="273"/>
                      <a:pt x="565" y="273"/>
                    </a:cubicBezTo>
                    <a:cubicBezTo>
                      <a:pt x="564" y="273"/>
                      <a:pt x="563" y="275"/>
                      <a:pt x="562" y="276"/>
                    </a:cubicBezTo>
                    <a:cubicBezTo>
                      <a:pt x="561" y="277"/>
                      <a:pt x="561" y="278"/>
                      <a:pt x="560" y="278"/>
                    </a:cubicBezTo>
                    <a:cubicBezTo>
                      <a:pt x="559" y="278"/>
                      <a:pt x="558" y="278"/>
                      <a:pt x="557" y="277"/>
                    </a:cubicBezTo>
                    <a:cubicBezTo>
                      <a:pt x="557" y="277"/>
                      <a:pt x="556" y="276"/>
                      <a:pt x="556" y="276"/>
                    </a:cubicBezTo>
                    <a:cubicBezTo>
                      <a:pt x="556" y="276"/>
                      <a:pt x="556" y="276"/>
                      <a:pt x="556" y="276"/>
                    </a:cubicBezTo>
                    <a:cubicBezTo>
                      <a:pt x="555" y="277"/>
                      <a:pt x="556" y="278"/>
                      <a:pt x="556" y="279"/>
                    </a:cubicBezTo>
                    <a:cubicBezTo>
                      <a:pt x="555" y="279"/>
                      <a:pt x="555" y="280"/>
                      <a:pt x="554" y="280"/>
                    </a:cubicBezTo>
                    <a:cubicBezTo>
                      <a:pt x="552" y="281"/>
                      <a:pt x="551" y="281"/>
                      <a:pt x="549" y="282"/>
                    </a:cubicBezTo>
                    <a:cubicBezTo>
                      <a:pt x="549" y="282"/>
                      <a:pt x="549" y="282"/>
                      <a:pt x="549" y="282"/>
                    </a:cubicBezTo>
                    <a:cubicBezTo>
                      <a:pt x="549" y="282"/>
                      <a:pt x="549" y="282"/>
                      <a:pt x="549" y="282"/>
                    </a:cubicBezTo>
                    <a:cubicBezTo>
                      <a:pt x="549" y="282"/>
                      <a:pt x="549" y="282"/>
                      <a:pt x="549" y="282"/>
                    </a:cubicBezTo>
                    <a:cubicBezTo>
                      <a:pt x="549" y="282"/>
                      <a:pt x="549" y="282"/>
                      <a:pt x="549" y="282"/>
                    </a:cubicBezTo>
                    <a:cubicBezTo>
                      <a:pt x="549" y="283"/>
                      <a:pt x="550" y="283"/>
                      <a:pt x="550" y="283"/>
                    </a:cubicBezTo>
                    <a:cubicBezTo>
                      <a:pt x="550" y="283"/>
                      <a:pt x="550" y="283"/>
                      <a:pt x="550" y="283"/>
                    </a:cubicBezTo>
                    <a:cubicBezTo>
                      <a:pt x="550" y="283"/>
                      <a:pt x="550" y="283"/>
                      <a:pt x="550" y="284"/>
                    </a:cubicBezTo>
                    <a:cubicBezTo>
                      <a:pt x="549" y="284"/>
                      <a:pt x="548" y="283"/>
                      <a:pt x="547" y="284"/>
                    </a:cubicBezTo>
                    <a:cubicBezTo>
                      <a:pt x="547" y="284"/>
                      <a:pt x="547" y="284"/>
                      <a:pt x="547" y="284"/>
                    </a:cubicBezTo>
                    <a:cubicBezTo>
                      <a:pt x="547" y="284"/>
                      <a:pt x="547" y="284"/>
                      <a:pt x="547" y="284"/>
                    </a:cubicBezTo>
                    <a:cubicBezTo>
                      <a:pt x="546" y="285"/>
                      <a:pt x="546" y="285"/>
                      <a:pt x="545" y="285"/>
                    </a:cubicBezTo>
                    <a:cubicBezTo>
                      <a:pt x="544" y="285"/>
                      <a:pt x="542" y="284"/>
                      <a:pt x="541" y="285"/>
                    </a:cubicBezTo>
                    <a:cubicBezTo>
                      <a:pt x="539" y="286"/>
                      <a:pt x="538" y="286"/>
                      <a:pt x="537" y="284"/>
                    </a:cubicBezTo>
                    <a:cubicBezTo>
                      <a:pt x="536" y="284"/>
                      <a:pt x="536" y="284"/>
                      <a:pt x="536" y="284"/>
                    </a:cubicBezTo>
                    <a:cubicBezTo>
                      <a:pt x="536" y="284"/>
                      <a:pt x="536" y="285"/>
                      <a:pt x="536" y="285"/>
                    </a:cubicBezTo>
                    <a:cubicBezTo>
                      <a:pt x="534" y="287"/>
                      <a:pt x="535" y="290"/>
                      <a:pt x="538" y="291"/>
                    </a:cubicBezTo>
                    <a:cubicBezTo>
                      <a:pt x="539" y="291"/>
                      <a:pt x="539" y="291"/>
                      <a:pt x="539" y="292"/>
                    </a:cubicBezTo>
                    <a:cubicBezTo>
                      <a:pt x="538" y="292"/>
                      <a:pt x="537" y="291"/>
                      <a:pt x="536" y="291"/>
                    </a:cubicBezTo>
                    <a:cubicBezTo>
                      <a:pt x="535" y="290"/>
                      <a:pt x="534" y="290"/>
                      <a:pt x="534" y="291"/>
                    </a:cubicBezTo>
                    <a:cubicBezTo>
                      <a:pt x="534" y="291"/>
                      <a:pt x="533" y="291"/>
                      <a:pt x="533" y="291"/>
                    </a:cubicBezTo>
                    <a:cubicBezTo>
                      <a:pt x="533" y="292"/>
                      <a:pt x="532" y="293"/>
                      <a:pt x="532" y="293"/>
                    </a:cubicBezTo>
                    <a:cubicBezTo>
                      <a:pt x="531" y="294"/>
                      <a:pt x="530" y="294"/>
                      <a:pt x="529" y="294"/>
                    </a:cubicBezTo>
                    <a:cubicBezTo>
                      <a:pt x="529" y="294"/>
                      <a:pt x="528" y="294"/>
                      <a:pt x="528" y="294"/>
                    </a:cubicBezTo>
                    <a:cubicBezTo>
                      <a:pt x="528" y="294"/>
                      <a:pt x="528" y="294"/>
                      <a:pt x="528" y="295"/>
                    </a:cubicBezTo>
                    <a:cubicBezTo>
                      <a:pt x="527" y="296"/>
                      <a:pt x="525" y="297"/>
                      <a:pt x="525" y="299"/>
                    </a:cubicBezTo>
                    <a:cubicBezTo>
                      <a:pt x="525" y="297"/>
                      <a:pt x="524" y="298"/>
                      <a:pt x="523" y="298"/>
                    </a:cubicBezTo>
                    <a:cubicBezTo>
                      <a:pt x="523" y="298"/>
                      <a:pt x="523" y="298"/>
                      <a:pt x="522" y="299"/>
                    </a:cubicBezTo>
                    <a:cubicBezTo>
                      <a:pt x="522" y="299"/>
                      <a:pt x="522" y="299"/>
                      <a:pt x="522" y="299"/>
                    </a:cubicBezTo>
                    <a:cubicBezTo>
                      <a:pt x="522" y="299"/>
                      <a:pt x="523" y="299"/>
                      <a:pt x="523" y="299"/>
                    </a:cubicBezTo>
                    <a:cubicBezTo>
                      <a:pt x="523" y="299"/>
                      <a:pt x="523" y="299"/>
                      <a:pt x="523" y="299"/>
                    </a:cubicBezTo>
                    <a:cubicBezTo>
                      <a:pt x="523" y="299"/>
                      <a:pt x="524" y="299"/>
                      <a:pt x="524" y="299"/>
                    </a:cubicBezTo>
                    <a:cubicBezTo>
                      <a:pt x="524" y="299"/>
                      <a:pt x="524" y="299"/>
                      <a:pt x="524" y="299"/>
                    </a:cubicBezTo>
                    <a:cubicBezTo>
                      <a:pt x="524" y="299"/>
                      <a:pt x="524" y="300"/>
                      <a:pt x="524" y="300"/>
                    </a:cubicBezTo>
                    <a:cubicBezTo>
                      <a:pt x="523" y="300"/>
                      <a:pt x="523" y="300"/>
                      <a:pt x="522" y="300"/>
                    </a:cubicBezTo>
                    <a:cubicBezTo>
                      <a:pt x="521" y="300"/>
                      <a:pt x="521" y="299"/>
                      <a:pt x="520" y="299"/>
                    </a:cubicBezTo>
                    <a:cubicBezTo>
                      <a:pt x="520" y="299"/>
                      <a:pt x="520" y="298"/>
                      <a:pt x="521" y="298"/>
                    </a:cubicBezTo>
                    <a:cubicBezTo>
                      <a:pt x="521" y="298"/>
                      <a:pt x="521" y="298"/>
                      <a:pt x="521" y="298"/>
                    </a:cubicBezTo>
                    <a:cubicBezTo>
                      <a:pt x="522" y="298"/>
                      <a:pt x="522" y="298"/>
                      <a:pt x="522" y="297"/>
                    </a:cubicBezTo>
                    <a:cubicBezTo>
                      <a:pt x="523" y="297"/>
                      <a:pt x="523" y="296"/>
                      <a:pt x="524" y="296"/>
                    </a:cubicBezTo>
                    <a:cubicBezTo>
                      <a:pt x="524" y="296"/>
                      <a:pt x="524" y="296"/>
                      <a:pt x="525" y="296"/>
                    </a:cubicBezTo>
                    <a:cubicBezTo>
                      <a:pt x="525" y="296"/>
                      <a:pt x="525" y="296"/>
                      <a:pt x="525" y="295"/>
                    </a:cubicBezTo>
                    <a:cubicBezTo>
                      <a:pt x="525" y="295"/>
                      <a:pt x="525" y="294"/>
                      <a:pt x="526" y="294"/>
                    </a:cubicBezTo>
                    <a:cubicBezTo>
                      <a:pt x="526" y="294"/>
                      <a:pt x="527" y="293"/>
                      <a:pt x="528" y="294"/>
                    </a:cubicBezTo>
                    <a:cubicBezTo>
                      <a:pt x="529" y="294"/>
                      <a:pt x="530" y="293"/>
                      <a:pt x="530" y="293"/>
                    </a:cubicBezTo>
                    <a:cubicBezTo>
                      <a:pt x="530" y="293"/>
                      <a:pt x="531" y="292"/>
                      <a:pt x="531" y="292"/>
                    </a:cubicBezTo>
                    <a:cubicBezTo>
                      <a:pt x="531" y="292"/>
                      <a:pt x="531" y="292"/>
                      <a:pt x="531" y="291"/>
                    </a:cubicBezTo>
                    <a:cubicBezTo>
                      <a:pt x="531" y="291"/>
                      <a:pt x="531" y="291"/>
                      <a:pt x="532" y="291"/>
                    </a:cubicBezTo>
                    <a:cubicBezTo>
                      <a:pt x="532" y="291"/>
                      <a:pt x="532" y="291"/>
                      <a:pt x="532" y="291"/>
                    </a:cubicBezTo>
                    <a:cubicBezTo>
                      <a:pt x="533" y="291"/>
                      <a:pt x="533" y="290"/>
                      <a:pt x="533" y="290"/>
                    </a:cubicBezTo>
                    <a:cubicBezTo>
                      <a:pt x="533" y="289"/>
                      <a:pt x="533" y="288"/>
                      <a:pt x="533" y="287"/>
                    </a:cubicBezTo>
                    <a:cubicBezTo>
                      <a:pt x="534" y="286"/>
                      <a:pt x="534" y="285"/>
                      <a:pt x="534" y="284"/>
                    </a:cubicBezTo>
                    <a:cubicBezTo>
                      <a:pt x="534" y="284"/>
                      <a:pt x="534" y="283"/>
                      <a:pt x="534" y="283"/>
                    </a:cubicBezTo>
                    <a:cubicBezTo>
                      <a:pt x="534" y="283"/>
                      <a:pt x="534" y="283"/>
                      <a:pt x="535" y="283"/>
                    </a:cubicBezTo>
                    <a:cubicBezTo>
                      <a:pt x="535" y="282"/>
                      <a:pt x="535" y="281"/>
                      <a:pt x="535" y="281"/>
                    </a:cubicBezTo>
                    <a:cubicBezTo>
                      <a:pt x="536" y="281"/>
                      <a:pt x="536" y="281"/>
                      <a:pt x="537" y="281"/>
                    </a:cubicBezTo>
                    <a:cubicBezTo>
                      <a:pt x="538" y="282"/>
                      <a:pt x="538" y="282"/>
                      <a:pt x="539" y="281"/>
                    </a:cubicBezTo>
                    <a:cubicBezTo>
                      <a:pt x="539" y="281"/>
                      <a:pt x="539" y="281"/>
                      <a:pt x="539" y="280"/>
                    </a:cubicBezTo>
                    <a:cubicBezTo>
                      <a:pt x="539" y="279"/>
                      <a:pt x="540" y="278"/>
                      <a:pt x="540" y="277"/>
                    </a:cubicBezTo>
                    <a:cubicBezTo>
                      <a:pt x="542" y="276"/>
                      <a:pt x="542" y="276"/>
                      <a:pt x="540" y="275"/>
                    </a:cubicBezTo>
                    <a:cubicBezTo>
                      <a:pt x="540" y="275"/>
                      <a:pt x="541" y="275"/>
                      <a:pt x="541" y="274"/>
                    </a:cubicBezTo>
                    <a:cubicBezTo>
                      <a:pt x="541" y="274"/>
                      <a:pt x="541" y="274"/>
                      <a:pt x="541" y="274"/>
                    </a:cubicBezTo>
                    <a:cubicBezTo>
                      <a:pt x="541" y="274"/>
                      <a:pt x="542" y="274"/>
                      <a:pt x="542" y="274"/>
                    </a:cubicBezTo>
                    <a:cubicBezTo>
                      <a:pt x="543" y="274"/>
                      <a:pt x="544" y="274"/>
                      <a:pt x="545" y="274"/>
                    </a:cubicBezTo>
                    <a:cubicBezTo>
                      <a:pt x="546" y="274"/>
                      <a:pt x="547" y="273"/>
                      <a:pt x="549" y="272"/>
                    </a:cubicBezTo>
                    <a:cubicBezTo>
                      <a:pt x="550" y="271"/>
                      <a:pt x="551" y="270"/>
                      <a:pt x="551" y="269"/>
                    </a:cubicBezTo>
                    <a:cubicBezTo>
                      <a:pt x="552" y="267"/>
                      <a:pt x="553" y="265"/>
                      <a:pt x="554" y="264"/>
                    </a:cubicBezTo>
                    <a:cubicBezTo>
                      <a:pt x="555" y="263"/>
                      <a:pt x="555" y="263"/>
                      <a:pt x="556" y="263"/>
                    </a:cubicBezTo>
                    <a:cubicBezTo>
                      <a:pt x="557" y="263"/>
                      <a:pt x="557" y="262"/>
                      <a:pt x="558" y="262"/>
                    </a:cubicBezTo>
                    <a:cubicBezTo>
                      <a:pt x="558" y="262"/>
                      <a:pt x="559" y="261"/>
                      <a:pt x="559" y="261"/>
                    </a:cubicBezTo>
                    <a:cubicBezTo>
                      <a:pt x="560" y="260"/>
                      <a:pt x="560" y="259"/>
                      <a:pt x="560" y="258"/>
                    </a:cubicBezTo>
                    <a:cubicBezTo>
                      <a:pt x="560" y="257"/>
                      <a:pt x="559" y="258"/>
                      <a:pt x="558" y="257"/>
                    </a:cubicBezTo>
                    <a:cubicBezTo>
                      <a:pt x="559" y="257"/>
                      <a:pt x="559" y="257"/>
                      <a:pt x="559" y="257"/>
                    </a:cubicBezTo>
                    <a:cubicBezTo>
                      <a:pt x="560" y="256"/>
                      <a:pt x="561" y="256"/>
                      <a:pt x="562" y="255"/>
                    </a:cubicBezTo>
                    <a:cubicBezTo>
                      <a:pt x="563" y="255"/>
                      <a:pt x="563" y="254"/>
                      <a:pt x="563" y="252"/>
                    </a:cubicBezTo>
                    <a:cubicBezTo>
                      <a:pt x="565" y="252"/>
                      <a:pt x="566" y="252"/>
                      <a:pt x="567" y="251"/>
                    </a:cubicBezTo>
                    <a:cubicBezTo>
                      <a:pt x="568" y="251"/>
                      <a:pt x="568" y="250"/>
                      <a:pt x="569" y="249"/>
                    </a:cubicBezTo>
                    <a:cubicBezTo>
                      <a:pt x="569" y="249"/>
                      <a:pt x="569" y="249"/>
                      <a:pt x="570" y="248"/>
                    </a:cubicBezTo>
                    <a:cubicBezTo>
                      <a:pt x="570" y="248"/>
                      <a:pt x="571" y="248"/>
                      <a:pt x="571" y="248"/>
                    </a:cubicBezTo>
                    <a:cubicBezTo>
                      <a:pt x="572" y="248"/>
                      <a:pt x="573" y="247"/>
                      <a:pt x="573" y="247"/>
                    </a:cubicBezTo>
                    <a:cubicBezTo>
                      <a:pt x="574" y="247"/>
                      <a:pt x="574" y="246"/>
                      <a:pt x="574" y="245"/>
                    </a:cubicBezTo>
                    <a:cubicBezTo>
                      <a:pt x="574" y="245"/>
                      <a:pt x="574" y="244"/>
                      <a:pt x="574" y="244"/>
                    </a:cubicBezTo>
                    <a:cubicBezTo>
                      <a:pt x="575" y="243"/>
                      <a:pt x="576" y="242"/>
                      <a:pt x="577" y="242"/>
                    </a:cubicBezTo>
                    <a:cubicBezTo>
                      <a:pt x="579" y="241"/>
                      <a:pt x="580" y="240"/>
                      <a:pt x="581" y="239"/>
                    </a:cubicBezTo>
                    <a:cubicBezTo>
                      <a:pt x="581" y="239"/>
                      <a:pt x="581" y="239"/>
                      <a:pt x="581" y="239"/>
                    </a:cubicBezTo>
                    <a:cubicBezTo>
                      <a:pt x="582" y="238"/>
                      <a:pt x="582" y="237"/>
                      <a:pt x="583" y="236"/>
                    </a:cubicBezTo>
                    <a:cubicBezTo>
                      <a:pt x="584" y="234"/>
                      <a:pt x="586" y="232"/>
                      <a:pt x="585" y="229"/>
                    </a:cubicBezTo>
                    <a:cubicBezTo>
                      <a:pt x="585" y="229"/>
                      <a:pt x="585" y="229"/>
                      <a:pt x="586" y="229"/>
                    </a:cubicBezTo>
                    <a:cubicBezTo>
                      <a:pt x="587" y="227"/>
                      <a:pt x="586" y="227"/>
                      <a:pt x="585" y="226"/>
                    </a:cubicBezTo>
                    <a:cubicBezTo>
                      <a:pt x="583" y="225"/>
                      <a:pt x="583" y="225"/>
                      <a:pt x="583" y="223"/>
                    </a:cubicBezTo>
                    <a:cubicBezTo>
                      <a:pt x="583" y="223"/>
                      <a:pt x="583" y="222"/>
                      <a:pt x="583" y="222"/>
                    </a:cubicBezTo>
                    <a:cubicBezTo>
                      <a:pt x="583" y="222"/>
                      <a:pt x="582" y="222"/>
                      <a:pt x="582" y="222"/>
                    </a:cubicBezTo>
                    <a:cubicBezTo>
                      <a:pt x="582" y="222"/>
                      <a:pt x="582" y="222"/>
                      <a:pt x="582" y="222"/>
                    </a:cubicBezTo>
                    <a:cubicBezTo>
                      <a:pt x="581" y="223"/>
                      <a:pt x="581" y="223"/>
                      <a:pt x="581" y="224"/>
                    </a:cubicBezTo>
                    <a:cubicBezTo>
                      <a:pt x="581" y="225"/>
                      <a:pt x="581" y="225"/>
                      <a:pt x="581" y="225"/>
                    </a:cubicBezTo>
                    <a:cubicBezTo>
                      <a:pt x="581" y="225"/>
                      <a:pt x="581" y="225"/>
                      <a:pt x="580" y="225"/>
                    </a:cubicBezTo>
                    <a:cubicBezTo>
                      <a:pt x="580" y="225"/>
                      <a:pt x="580" y="225"/>
                      <a:pt x="580" y="224"/>
                    </a:cubicBezTo>
                    <a:cubicBezTo>
                      <a:pt x="580" y="224"/>
                      <a:pt x="580" y="224"/>
                      <a:pt x="580" y="223"/>
                    </a:cubicBezTo>
                    <a:cubicBezTo>
                      <a:pt x="580" y="222"/>
                      <a:pt x="580" y="221"/>
                      <a:pt x="580" y="220"/>
                    </a:cubicBezTo>
                    <a:cubicBezTo>
                      <a:pt x="580" y="219"/>
                      <a:pt x="578" y="219"/>
                      <a:pt x="577" y="218"/>
                    </a:cubicBezTo>
                    <a:cubicBezTo>
                      <a:pt x="577" y="218"/>
                      <a:pt x="577" y="217"/>
                      <a:pt x="577" y="216"/>
                    </a:cubicBezTo>
                    <a:cubicBezTo>
                      <a:pt x="577" y="217"/>
                      <a:pt x="578" y="217"/>
                      <a:pt x="578" y="217"/>
                    </a:cubicBezTo>
                    <a:cubicBezTo>
                      <a:pt x="580" y="219"/>
                      <a:pt x="582" y="221"/>
                      <a:pt x="584" y="222"/>
                    </a:cubicBezTo>
                    <a:cubicBezTo>
                      <a:pt x="585" y="222"/>
                      <a:pt x="585" y="223"/>
                      <a:pt x="585" y="224"/>
                    </a:cubicBezTo>
                    <a:cubicBezTo>
                      <a:pt x="584" y="224"/>
                      <a:pt x="584" y="224"/>
                      <a:pt x="584" y="225"/>
                    </a:cubicBezTo>
                    <a:cubicBezTo>
                      <a:pt x="584" y="225"/>
                      <a:pt x="584" y="225"/>
                      <a:pt x="585" y="225"/>
                    </a:cubicBezTo>
                    <a:cubicBezTo>
                      <a:pt x="585" y="225"/>
                      <a:pt x="585" y="225"/>
                      <a:pt x="585" y="225"/>
                    </a:cubicBezTo>
                    <a:cubicBezTo>
                      <a:pt x="585" y="225"/>
                      <a:pt x="585" y="224"/>
                      <a:pt x="585" y="224"/>
                    </a:cubicBezTo>
                    <a:cubicBezTo>
                      <a:pt x="586" y="222"/>
                      <a:pt x="587" y="220"/>
                      <a:pt x="587" y="218"/>
                    </a:cubicBezTo>
                    <a:cubicBezTo>
                      <a:pt x="587" y="218"/>
                      <a:pt x="588" y="217"/>
                      <a:pt x="587" y="216"/>
                    </a:cubicBezTo>
                    <a:cubicBezTo>
                      <a:pt x="586" y="215"/>
                      <a:pt x="587" y="214"/>
                      <a:pt x="585" y="213"/>
                    </a:cubicBezTo>
                    <a:cubicBezTo>
                      <a:pt x="585" y="213"/>
                      <a:pt x="584" y="211"/>
                      <a:pt x="584" y="210"/>
                    </a:cubicBezTo>
                    <a:cubicBezTo>
                      <a:pt x="585" y="208"/>
                      <a:pt x="584" y="207"/>
                      <a:pt x="583" y="206"/>
                    </a:cubicBezTo>
                    <a:cubicBezTo>
                      <a:pt x="583" y="205"/>
                      <a:pt x="582" y="205"/>
                      <a:pt x="581" y="205"/>
                    </a:cubicBezTo>
                    <a:cubicBezTo>
                      <a:pt x="581" y="206"/>
                      <a:pt x="581" y="206"/>
                      <a:pt x="581" y="207"/>
                    </a:cubicBezTo>
                    <a:cubicBezTo>
                      <a:pt x="582" y="207"/>
                      <a:pt x="582" y="208"/>
                      <a:pt x="581" y="208"/>
                    </a:cubicBezTo>
                    <a:cubicBezTo>
                      <a:pt x="581" y="208"/>
                      <a:pt x="581" y="209"/>
                      <a:pt x="581" y="209"/>
                    </a:cubicBezTo>
                    <a:cubicBezTo>
                      <a:pt x="581" y="209"/>
                      <a:pt x="581" y="209"/>
                      <a:pt x="581" y="209"/>
                    </a:cubicBezTo>
                    <a:cubicBezTo>
                      <a:pt x="581" y="209"/>
                      <a:pt x="581" y="209"/>
                      <a:pt x="581" y="210"/>
                    </a:cubicBezTo>
                    <a:cubicBezTo>
                      <a:pt x="581" y="210"/>
                      <a:pt x="581" y="211"/>
                      <a:pt x="581" y="211"/>
                    </a:cubicBezTo>
                    <a:cubicBezTo>
                      <a:pt x="581" y="211"/>
                      <a:pt x="581" y="211"/>
                      <a:pt x="580" y="211"/>
                    </a:cubicBezTo>
                    <a:cubicBezTo>
                      <a:pt x="580" y="211"/>
                      <a:pt x="579" y="212"/>
                      <a:pt x="579" y="211"/>
                    </a:cubicBezTo>
                    <a:cubicBezTo>
                      <a:pt x="581" y="209"/>
                      <a:pt x="581" y="209"/>
                      <a:pt x="579" y="207"/>
                    </a:cubicBezTo>
                    <a:cubicBezTo>
                      <a:pt x="579" y="207"/>
                      <a:pt x="578" y="207"/>
                      <a:pt x="579" y="206"/>
                    </a:cubicBezTo>
                    <a:cubicBezTo>
                      <a:pt x="580" y="205"/>
                      <a:pt x="579" y="203"/>
                      <a:pt x="579" y="201"/>
                    </a:cubicBezTo>
                    <a:cubicBezTo>
                      <a:pt x="579" y="199"/>
                      <a:pt x="578" y="198"/>
                      <a:pt x="578" y="196"/>
                    </a:cubicBezTo>
                    <a:cubicBezTo>
                      <a:pt x="577" y="194"/>
                      <a:pt x="576" y="194"/>
                      <a:pt x="574" y="195"/>
                    </a:cubicBezTo>
                    <a:cubicBezTo>
                      <a:pt x="574" y="195"/>
                      <a:pt x="573" y="194"/>
                      <a:pt x="572" y="194"/>
                    </a:cubicBezTo>
                    <a:cubicBezTo>
                      <a:pt x="571" y="193"/>
                      <a:pt x="570" y="191"/>
                      <a:pt x="569" y="191"/>
                    </a:cubicBezTo>
                    <a:cubicBezTo>
                      <a:pt x="567" y="191"/>
                      <a:pt x="565" y="191"/>
                      <a:pt x="563" y="192"/>
                    </a:cubicBezTo>
                    <a:cubicBezTo>
                      <a:pt x="561" y="193"/>
                      <a:pt x="560" y="193"/>
                      <a:pt x="558" y="192"/>
                    </a:cubicBezTo>
                    <a:cubicBezTo>
                      <a:pt x="557" y="191"/>
                      <a:pt x="557" y="191"/>
                      <a:pt x="556" y="191"/>
                    </a:cubicBezTo>
                    <a:cubicBezTo>
                      <a:pt x="555" y="192"/>
                      <a:pt x="553" y="192"/>
                      <a:pt x="552" y="192"/>
                    </a:cubicBezTo>
                    <a:cubicBezTo>
                      <a:pt x="551" y="193"/>
                      <a:pt x="551" y="192"/>
                      <a:pt x="550" y="192"/>
                    </a:cubicBezTo>
                    <a:cubicBezTo>
                      <a:pt x="549" y="191"/>
                      <a:pt x="548" y="191"/>
                      <a:pt x="548" y="191"/>
                    </a:cubicBezTo>
                    <a:cubicBezTo>
                      <a:pt x="547" y="192"/>
                      <a:pt x="547" y="193"/>
                      <a:pt x="547" y="193"/>
                    </a:cubicBezTo>
                    <a:cubicBezTo>
                      <a:pt x="547" y="194"/>
                      <a:pt x="547" y="195"/>
                      <a:pt x="547" y="196"/>
                    </a:cubicBezTo>
                    <a:cubicBezTo>
                      <a:pt x="547" y="196"/>
                      <a:pt x="547" y="197"/>
                      <a:pt x="546" y="197"/>
                    </a:cubicBezTo>
                    <a:cubicBezTo>
                      <a:pt x="545" y="198"/>
                      <a:pt x="545" y="198"/>
                      <a:pt x="544" y="197"/>
                    </a:cubicBezTo>
                    <a:cubicBezTo>
                      <a:pt x="543" y="197"/>
                      <a:pt x="542" y="197"/>
                      <a:pt x="542" y="197"/>
                    </a:cubicBezTo>
                    <a:cubicBezTo>
                      <a:pt x="542" y="197"/>
                      <a:pt x="542" y="197"/>
                      <a:pt x="542" y="198"/>
                    </a:cubicBezTo>
                    <a:cubicBezTo>
                      <a:pt x="542" y="198"/>
                      <a:pt x="541" y="198"/>
                      <a:pt x="541" y="198"/>
                    </a:cubicBezTo>
                    <a:cubicBezTo>
                      <a:pt x="540" y="199"/>
                      <a:pt x="538" y="198"/>
                      <a:pt x="537" y="198"/>
                    </a:cubicBezTo>
                    <a:cubicBezTo>
                      <a:pt x="536" y="198"/>
                      <a:pt x="536" y="197"/>
                      <a:pt x="536" y="196"/>
                    </a:cubicBezTo>
                    <a:cubicBezTo>
                      <a:pt x="536" y="196"/>
                      <a:pt x="537" y="196"/>
                      <a:pt x="537" y="196"/>
                    </a:cubicBezTo>
                    <a:cubicBezTo>
                      <a:pt x="537" y="196"/>
                      <a:pt x="537" y="196"/>
                      <a:pt x="537" y="196"/>
                    </a:cubicBezTo>
                    <a:cubicBezTo>
                      <a:pt x="538" y="196"/>
                      <a:pt x="538" y="196"/>
                      <a:pt x="538" y="196"/>
                    </a:cubicBezTo>
                    <a:cubicBezTo>
                      <a:pt x="539" y="196"/>
                      <a:pt x="539" y="196"/>
                      <a:pt x="539" y="195"/>
                    </a:cubicBezTo>
                    <a:cubicBezTo>
                      <a:pt x="539" y="191"/>
                      <a:pt x="542" y="190"/>
                      <a:pt x="543" y="187"/>
                    </a:cubicBezTo>
                    <a:cubicBezTo>
                      <a:pt x="544" y="186"/>
                      <a:pt x="544" y="186"/>
                      <a:pt x="543" y="186"/>
                    </a:cubicBezTo>
                    <a:cubicBezTo>
                      <a:pt x="543" y="185"/>
                      <a:pt x="542" y="184"/>
                      <a:pt x="541" y="183"/>
                    </a:cubicBezTo>
                    <a:cubicBezTo>
                      <a:pt x="540" y="182"/>
                      <a:pt x="540" y="182"/>
                      <a:pt x="539" y="182"/>
                    </a:cubicBezTo>
                    <a:cubicBezTo>
                      <a:pt x="537" y="182"/>
                      <a:pt x="534" y="182"/>
                      <a:pt x="533" y="184"/>
                    </a:cubicBezTo>
                    <a:cubicBezTo>
                      <a:pt x="532" y="184"/>
                      <a:pt x="532" y="184"/>
                      <a:pt x="532" y="184"/>
                    </a:cubicBezTo>
                    <a:cubicBezTo>
                      <a:pt x="532" y="184"/>
                      <a:pt x="531" y="184"/>
                      <a:pt x="531" y="184"/>
                    </a:cubicBezTo>
                    <a:cubicBezTo>
                      <a:pt x="531" y="184"/>
                      <a:pt x="530" y="184"/>
                      <a:pt x="530" y="184"/>
                    </a:cubicBezTo>
                    <a:cubicBezTo>
                      <a:pt x="530" y="183"/>
                      <a:pt x="530" y="183"/>
                      <a:pt x="530" y="183"/>
                    </a:cubicBezTo>
                    <a:cubicBezTo>
                      <a:pt x="531" y="183"/>
                      <a:pt x="531" y="183"/>
                      <a:pt x="531" y="183"/>
                    </a:cubicBezTo>
                    <a:cubicBezTo>
                      <a:pt x="531" y="183"/>
                      <a:pt x="532" y="183"/>
                      <a:pt x="532" y="183"/>
                    </a:cubicBezTo>
                    <a:cubicBezTo>
                      <a:pt x="532" y="183"/>
                      <a:pt x="532" y="182"/>
                      <a:pt x="532" y="182"/>
                    </a:cubicBezTo>
                    <a:cubicBezTo>
                      <a:pt x="533" y="182"/>
                      <a:pt x="533" y="181"/>
                      <a:pt x="532" y="181"/>
                    </a:cubicBezTo>
                    <a:cubicBezTo>
                      <a:pt x="532" y="180"/>
                      <a:pt x="531" y="180"/>
                      <a:pt x="531" y="181"/>
                    </a:cubicBezTo>
                    <a:cubicBezTo>
                      <a:pt x="530" y="181"/>
                      <a:pt x="529" y="181"/>
                      <a:pt x="529" y="181"/>
                    </a:cubicBezTo>
                    <a:cubicBezTo>
                      <a:pt x="527" y="182"/>
                      <a:pt x="525" y="180"/>
                      <a:pt x="523" y="181"/>
                    </a:cubicBezTo>
                    <a:cubicBezTo>
                      <a:pt x="523" y="181"/>
                      <a:pt x="523" y="181"/>
                      <a:pt x="522" y="181"/>
                    </a:cubicBezTo>
                    <a:cubicBezTo>
                      <a:pt x="522" y="181"/>
                      <a:pt x="522" y="180"/>
                      <a:pt x="522" y="180"/>
                    </a:cubicBezTo>
                    <a:cubicBezTo>
                      <a:pt x="522" y="180"/>
                      <a:pt x="522" y="180"/>
                      <a:pt x="522" y="180"/>
                    </a:cubicBezTo>
                    <a:cubicBezTo>
                      <a:pt x="524" y="180"/>
                      <a:pt x="525" y="178"/>
                      <a:pt x="526" y="178"/>
                    </a:cubicBezTo>
                    <a:cubicBezTo>
                      <a:pt x="528" y="178"/>
                      <a:pt x="529" y="178"/>
                      <a:pt x="530" y="177"/>
                    </a:cubicBezTo>
                    <a:cubicBezTo>
                      <a:pt x="530" y="177"/>
                      <a:pt x="531" y="176"/>
                      <a:pt x="531" y="175"/>
                    </a:cubicBezTo>
                    <a:cubicBezTo>
                      <a:pt x="531" y="175"/>
                      <a:pt x="531" y="175"/>
                      <a:pt x="531" y="175"/>
                    </a:cubicBezTo>
                    <a:cubicBezTo>
                      <a:pt x="532" y="174"/>
                      <a:pt x="532" y="173"/>
                      <a:pt x="533" y="173"/>
                    </a:cubicBezTo>
                    <a:cubicBezTo>
                      <a:pt x="533" y="173"/>
                      <a:pt x="534" y="173"/>
                      <a:pt x="534" y="173"/>
                    </a:cubicBezTo>
                    <a:cubicBezTo>
                      <a:pt x="535" y="173"/>
                      <a:pt x="535" y="173"/>
                      <a:pt x="535" y="173"/>
                    </a:cubicBezTo>
                    <a:cubicBezTo>
                      <a:pt x="535" y="173"/>
                      <a:pt x="535" y="172"/>
                      <a:pt x="535" y="172"/>
                    </a:cubicBezTo>
                    <a:cubicBezTo>
                      <a:pt x="534" y="171"/>
                      <a:pt x="533" y="169"/>
                      <a:pt x="533" y="168"/>
                    </a:cubicBezTo>
                    <a:cubicBezTo>
                      <a:pt x="533" y="167"/>
                      <a:pt x="533" y="166"/>
                      <a:pt x="532" y="167"/>
                    </a:cubicBezTo>
                    <a:cubicBezTo>
                      <a:pt x="528" y="167"/>
                      <a:pt x="527" y="166"/>
                      <a:pt x="526" y="163"/>
                    </a:cubicBezTo>
                    <a:cubicBezTo>
                      <a:pt x="525" y="163"/>
                      <a:pt x="525" y="162"/>
                      <a:pt x="524" y="163"/>
                    </a:cubicBezTo>
                    <a:cubicBezTo>
                      <a:pt x="524" y="163"/>
                      <a:pt x="523" y="163"/>
                      <a:pt x="523" y="162"/>
                    </a:cubicBezTo>
                    <a:cubicBezTo>
                      <a:pt x="522" y="161"/>
                      <a:pt x="521" y="161"/>
                      <a:pt x="520" y="161"/>
                    </a:cubicBezTo>
                    <a:cubicBezTo>
                      <a:pt x="520" y="162"/>
                      <a:pt x="520" y="162"/>
                      <a:pt x="520" y="162"/>
                    </a:cubicBezTo>
                    <a:cubicBezTo>
                      <a:pt x="519" y="163"/>
                      <a:pt x="519" y="164"/>
                      <a:pt x="518" y="164"/>
                    </a:cubicBezTo>
                    <a:cubicBezTo>
                      <a:pt x="518" y="164"/>
                      <a:pt x="517" y="165"/>
                      <a:pt x="517" y="165"/>
                    </a:cubicBezTo>
                    <a:cubicBezTo>
                      <a:pt x="516" y="164"/>
                      <a:pt x="515" y="164"/>
                      <a:pt x="515" y="165"/>
                    </a:cubicBezTo>
                    <a:cubicBezTo>
                      <a:pt x="514" y="165"/>
                      <a:pt x="514" y="166"/>
                      <a:pt x="513" y="166"/>
                    </a:cubicBezTo>
                    <a:cubicBezTo>
                      <a:pt x="513" y="167"/>
                      <a:pt x="513" y="167"/>
                      <a:pt x="512" y="168"/>
                    </a:cubicBezTo>
                    <a:cubicBezTo>
                      <a:pt x="512" y="168"/>
                      <a:pt x="512" y="168"/>
                      <a:pt x="512" y="168"/>
                    </a:cubicBezTo>
                    <a:cubicBezTo>
                      <a:pt x="511" y="168"/>
                      <a:pt x="511" y="168"/>
                      <a:pt x="511" y="168"/>
                    </a:cubicBezTo>
                    <a:cubicBezTo>
                      <a:pt x="511" y="168"/>
                      <a:pt x="511" y="168"/>
                      <a:pt x="511" y="169"/>
                    </a:cubicBezTo>
                    <a:cubicBezTo>
                      <a:pt x="511" y="169"/>
                      <a:pt x="510" y="170"/>
                      <a:pt x="510" y="170"/>
                    </a:cubicBezTo>
                    <a:cubicBezTo>
                      <a:pt x="508" y="172"/>
                      <a:pt x="507" y="173"/>
                      <a:pt x="506" y="175"/>
                    </a:cubicBezTo>
                    <a:cubicBezTo>
                      <a:pt x="506" y="175"/>
                      <a:pt x="506" y="175"/>
                      <a:pt x="506" y="175"/>
                    </a:cubicBezTo>
                    <a:cubicBezTo>
                      <a:pt x="506" y="175"/>
                      <a:pt x="505" y="176"/>
                      <a:pt x="505" y="176"/>
                    </a:cubicBezTo>
                    <a:cubicBezTo>
                      <a:pt x="504" y="178"/>
                      <a:pt x="503" y="179"/>
                      <a:pt x="503" y="180"/>
                    </a:cubicBezTo>
                    <a:cubicBezTo>
                      <a:pt x="502" y="181"/>
                      <a:pt x="501" y="182"/>
                      <a:pt x="502" y="183"/>
                    </a:cubicBezTo>
                    <a:cubicBezTo>
                      <a:pt x="502" y="184"/>
                      <a:pt x="502" y="184"/>
                      <a:pt x="502" y="184"/>
                    </a:cubicBezTo>
                    <a:cubicBezTo>
                      <a:pt x="502" y="185"/>
                      <a:pt x="501" y="185"/>
                      <a:pt x="501" y="185"/>
                    </a:cubicBezTo>
                    <a:cubicBezTo>
                      <a:pt x="501" y="185"/>
                      <a:pt x="500" y="185"/>
                      <a:pt x="500" y="185"/>
                    </a:cubicBezTo>
                    <a:cubicBezTo>
                      <a:pt x="500" y="185"/>
                      <a:pt x="500" y="185"/>
                      <a:pt x="500" y="185"/>
                    </a:cubicBezTo>
                    <a:cubicBezTo>
                      <a:pt x="499" y="187"/>
                      <a:pt x="499" y="190"/>
                      <a:pt x="501" y="191"/>
                    </a:cubicBezTo>
                    <a:cubicBezTo>
                      <a:pt x="502" y="191"/>
                      <a:pt x="502" y="192"/>
                      <a:pt x="502" y="193"/>
                    </a:cubicBezTo>
                    <a:cubicBezTo>
                      <a:pt x="501" y="195"/>
                      <a:pt x="500" y="196"/>
                      <a:pt x="500" y="198"/>
                    </a:cubicBezTo>
                    <a:cubicBezTo>
                      <a:pt x="498" y="198"/>
                      <a:pt x="496" y="200"/>
                      <a:pt x="494" y="199"/>
                    </a:cubicBezTo>
                    <a:cubicBezTo>
                      <a:pt x="494" y="199"/>
                      <a:pt x="494" y="199"/>
                      <a:pt x="494" y="199"/>
                    </a:cubicBezTo>
                    <a:cubicBezTo>
                      <a:pt x="492" y="200"/>
                      <a:pt x="490" y="200"/>
                      <a:pt x="487" y="199"/>
                    </a:cubicBezTo>
                    <a:cubicBezTo>
                      <a:pt x="487" y="199"/>
                      <a:pt x="486" y="198"/>
                      <a:pt x="486" y="199"/>
                    </a:cubicBezTo>
                    <a:cubicBezTo>
                      <a:pt x="486" y="199"/>
                      <a:pt x="486" y="199"/>
                      <a:pt x="486" y="200"/>
                    </a:cubicBezTo>
                    <a:cubicBezTo>
                      <a:pt x="486" y="201"/>
                      <a:pt x="486" y="202"/>
                      <a:pt x="487" y="202"/>
                    </a:cubicBezTo>
                    <a:cubicBezTo>
                      <a:pt x="489" y="204"/>
                      <a:pt x="491" y="207"/>
                      <a:pt x="492" y="209"/>
                    </a:cubicBezTo>
                    <a:cubicBezTo>
                      <a:pt x="492" y="210"/>
                      <a:pt x="492" y="211"/>
                      <a:pt x="492" y="211"/>
                    </a:cubicBezTo>
                    <a:cubicBezTo>
                      <a:pt x="492" y="211"/>
                      <a:pt x="492" y="210"/>
                      <a:pt x="491" y="210"/>
                    </a:cubicBezTo>
                    <a:cubicBezTo>
                      <a:pt x="491" y="209"/>
                      <a:pt x="490" y="209"/>
                      <a:pt x="490" y="209"/>
                    </a:cubicBezTo>
                    <a:cubicBezTo>
                      <a:pt x="489" y="209"/>
                      <a:pt x="488" y="209"/>
                      <a:pt x="488" y="208"/>
                    </a:cubicBezTo>
                    <a:cubicBezTo>
                      <a:pt x="489" y="206"/>
                      <a:pt x="487" y="206"/>
                      <a:pt x="487" y="206"/>
                    </a:cubicBezTo>
                    <a:cubicBezTo>
                      <a:pt x="485" y="207"/>
                      <a:pt x="485" y="207"/>
                      <a:pt x="485" y="205"/>
                    </a:cubicBezTo>
                    <a:cubicBezTo>
                      <a:pt x="484" y="206"/>
                      <a:pt x="482" y="207"/>
                      <a:pt x="481" y="208"/>
                    </a:cubicBezTo>
                    <a:cubicBezTo>
                      <a:pt x="481" y="208"/>
                      <a:pt x="481" y="208"/>
                      <a:pt x="480" y="208"/>
                    </a:cubicBezTo>
                    <a:cubicBezTo>
                      <a:pt x="480" y="208"/>
                      <a:pt x="480" y="208"/>
                      <a:pt x="480" y="208"/>
                    </a:cubicBezTo>
                    <a:cubicBezTo>
                      <a:pt x="480" y="209"/>
                      <a:pt x="480" y="209"/>
                      <a:pt x="479" y="209"/>
                    </a:cubicBezTo>
                    <a:cubicBezTo>
                      <a:pt x="480" y="209"/>
                      <a:pt x="480" y="209"/>
                      <a:pt x="480" y="209"/>
                    </a:cubicBezTo>
                    <a:cubicBezTo>
                      <a:pt x="480" y="210"/>
                      <a:pt x="480" y="210"/>
                      <a:pt x="480" y="210"/>
                    </a:cubicBezTo>
                    <a:cubicBezTo>
                      <a:pt x="480" y="211"/>
                      <a:pt x="479" y="211"/>
                      <a:pt x="479" y="210"/>
                    </a:cubicBezTo>
                    <a:cubicBezTo>
                      <a:pt x="479" y="210"/>
                      <a:pt x="478" y="210"/>
                      <a:pt x="478" y="210"/>
                    </a:cubicBezTo>
                    <a:cubicBezTo>
                      <a:pt x="478" y="211"/>
                      <a:pt x="476" y="211"/>
                      <a:pt x="478" y="212"/>
                    </a:cubicBezTo>
                    <a:cubicBezTo>
                      <a:pt x="478" y="212"/>
                      <a:pt x="478" y="213"/>
                      <a:pt x="478" y="213"/>
                    </a:cubicBezTo>
                    <a:cubicBezTo>
                      <a:pt x="478" y="214"/>
                      <a:pt x="478" y="213"/>
                      <a:pt x="477" y="213"/>
                    </a:cubicBezTo>
                    <a:cubicBezTo>
                      <a:pt x="477" y="213"/>
                      <a:pt x="476" y="213"/>
                      <a:pt x="476" y="213"/>
                    </a:cubicBezTo>
                    <a:cubicBezTo>
                      <a:pt x="475" y="214"/>
                      <a:pt x="474" y="214"/>
                      <a:pt x="474" y="213"/>
                    </a:cubicBezTo>
                    <a:cubicBezTo>
                      <a:pt x="474" y="213"/>
                      <a:pt x="475" y="212"/>
                      <a:pt x="475" y="212"/>
                    </a:cubicBezTo>
                    <a:cubicBezTo>
                      <a:pt x="475" y="211"/>
                      <a:pt x="475" y="211"/>
                      <a:pt x="474" y="210"/>
                    </a:cubicBezTo>
                    <a:cubicBezTo>
                      <a:pt x="473" y="210"/>
                      <a:pt x="473" y="211"/>
                      <a:pt x="472" y="211"/>
                    </a:cubicBezTo>
                    <a:cubicBezTo>
                      <a:pt x="472" y="212"/>
                      <a:pt x="471" y="212"/>
                      <a:pt x="471" y="213"/>
                    </a:cubicBezTo>
                    <a:cubicBezTo>
                      <a:pt x="472" y="213"/>
                      <a:pt x="473" y="213"/>
                      <a:pt x="473" y="213"/>
                    </a:cubicBezTo>
                    <a:cubicBezTo>
                      <a:pt x="473" y="215"/>
                      <a:pt x="471" y="216"/>
                      <a:pt x="469" y="216"/>
                    </a:cubicBezTo>
                    <a:cubicBezTo>
                      <a:pt x="469" y="215"/>
                      <a:pt x="470" y="215"/>
                      <a:pt x="470" y="215"/>
                    </a:cubicBezTo>
                    <a:cubicBezTo>
                      <a:pt x="470" y="214"/>
                      <a:pt x="470" y="213"/>
                      <a:pt x="469" y="212"/>
                    </a:cubicBezTo>
                    <a:cubicBezTo>
                      <a:pt x="469" y="212"/>
                      <a:pt x="469" y="212"/>
                      <a:pt x="468" y="213"/>
                    </a:cubicBezTo>
                    <a:cubicBezTo>
                      <a:pt x="468" y="215"/>
                      <a:pt x="467" y="214"/>
                      <a:pt x="466" y="214"/>
                    </a:cubicBezTo>
                    <a:cubicBezTo>
                      <a:pt x="465" y="213"/>
                      <a:pt x="466" y="212"/>
                      <a:pt x="466" y="212"/>
                    </a:cubicBezTo>
                    <a:cubicBezTo>
                      <a:pt x="467" y="210"/>
                      <a:pt x="466" y="209"/>
                      <a:pt x="465" y="209"/>
                    </a:cubicBezTo>
                    <a:cubicBezTo>
                      <a:pt x="463" y="208"/>
                      <a:pt x="462" y="209"/>
                      <a:pt x="461" y="209"/>
                    </a:cubicBezTo>
                    <a:cubicBezTo>
                      <a:pt x="460" y="210"/>
                      <a:pt x="459" y="210"/>
                      <a:pt x="459" y="209"/>
                    </a:cubicBezTo>
                    <a:cubicBezTo>
                      <a:pt x="459" y="208"/>
                      <a:pt x="458" y="208"/>
                      <a:pt x="458" y="209"/>
                    </a:cubicBezTo>
                    <a:cubicBezTo>
                      <a:pt x="457" y="209"/>
                      <a:pt x="457" y="211"/>
                      <a:pt x="455" y="209"/>
                    </a:cubicBezTo>
                    <a:cubicBezTo>
                      <a:pt x="455" y="209"/>
                      <a:pt x="452" y="209"/>
                      <a:pt x="452" y="209"/>
                    </a:cubicBezTo>
                    <a:cubicBezTo>
                      <a:pt x="452" y="210"/>
                      <a:pt x="452" y="210"/>
                      <a:pt x="452" y="210"/>
                    </a:cubicBezTo>
                    <a:cubicBezTo>
                      <a:pt x="453" y="211"/>
                      <a:pt x="451" y="211"/>
                      <a:pt x="451" y="211"/>
                    </a:cubicBezTo>
                    <a:cubicBezTo>
                      <a:pt x="450" y="211"/>
                      <a:pt x="450" y="211"/>
                      <a:pt x="449" y="211"/>
                    </a:cubicBezTo>
                    <a:cubicBezTo>
                      <a:pt x="449" y="211"/>
                      <a:pt x="449" y="210"/>
                      <a:pt x="449" y="210"/>
                    </a:cubicBezTo>
                    <a:cubicBezTo>
                      <a:pt x="448" y="209"/>
                      <a:pt x="448" y="210"/>
                      <a:pt x="448" y="211"/>
                    </a:cubicBezTo>
                    <a:cubicBezTo>
                      <a:pt x="448" y="212"/>
                      <a:pt x="447" y="212"/>
                      <a:pt x="447" y="212"/>
                    </a:cubicBezTo>
                    <a:cubicBezTo>
                      <a:pt x="445" y="212"/>
                      <a:pt x="446" y="214"/>
                      <a:pt x="445" y="215"/>
                    </a:cubicBezTo>
                    <a:cubicBezTo>
                      <a:pt x="445" y="215"/>
                      <a:pt x="446" y="215"/>
                      <a:pt x="446" y="215"/>
                    </a:cubicBezTo>
                    <a:cubicBezTo>
                      <a:pt x="446" y="215"/>
                      <a:pt x="446" y="215"/>
                      <a:pt x="446" y="214"/>
                    </a:cubicBezTo>
                    <a:cubicBezTo>
                      <a:pt x="446" y="214"/>
                      <a:pt x="447" y="213"/>
                      <a:pt x="447" y="214"/>
                    </a:cubicBezTo>
                    <a:cubicBezTo>
                      <a:pt x="448" y="216"/>
                      <a:pt x="450" y="215"/>
                      <a:pt x="452" y="215"/>
                    </a:cubicBezTo>
                    <a:cubicBezTo>
                      <a:pt x="451" y="216"/>
                      <a:pt x="451" y="216"/>
                      <a:pt x="450" y="216"/>
                    </a:cubicBezTo>
                    <a:cubicBezTo>
                      <a:pt x="447" y="218"/>
                      <a:pt x="444" y="219"/>
                      <a:pt x="441" y="219"/>
                    </a:cubicBezTo>
                    <a:cubicBezTo>
                      <a:pt x="441" y="219"/>
                      <a:pt x="440" y="219"/>
                      <a:pt x="440" y="220"/>
                    </a:cubicBezTo>
                    <a:cubicBezTo>
                      <a:pt x="440" y="221"/>
                      <a:pt x="439" y="221"/>
                      <a:pt x="439" y="220"/>
                    </a:cubicBezTo>
                    <a:cubicBezTo>
                      <a:pt x="438" y="220"/>
                      <a:pt x="437" y="220"/>
                      <a:pt x="437" y="221"/>
                    </a:cubicBezTo>
                    <a:cubicBezTo>
                      <a:pt x="437" y="223"/>
                      <a:pt x="435" y="222"/>
                      <a:pt x="434" y="223"/>
                    </a:cubicBezTo>
                    <a:cubicBezTo>
                      <a:pt x="434" y="224"/>
                      <a:pt x="434" y="222"/>
                      <a:pt x="433" y="222"/>
                    </a:cubicBezTo>
                    <a:cubicBezTo>
                      <a:pt x="433" y="222"/>
                      <a:pt x="433" y="224"/>
                      <a:pt x="431" y="222"/>
                    </a:cubicBezTo>
                    <a:cubicBezTo>
                      <a:pt x="431" y="222"/>
                      <a:pt x="431" y="222"/>
                      <a:pt x="431" y="223"/>
                    </a:cubicBezTo>
                    <a:cubicBezTo>
                      <a:pt x="430" y="223"/>
                      <a:pt x="429" y="223"/>
                      <a:pt x="428" y="223"/>
                    </a:cubicBezTo>
                    <a:cubicBezTo>
                      <a:pt x="427" y="224"/>
                      <a:pt x="425" y="224"/>
                      <a:pt x="425" y="225"/>
                    </a:cubicBezTo>
                    <a:cubicBezTo>
                      <a:pt x="425" y="226"/>
                      <a:pt x="425" y="226"/>
                      <a:pt x="425" y="226"/>
                    </a:cubicBezTo>
                    <a:cubicBezTo>
                      <a:pt x="424" y="227"/>
                      <a:pt x="423" y="226"/>
                      <a:pt x="423" y="227"/>
                    </a:cubicBezTo>
                    <a:cubicBezTo>
                      <a:pt x="423" y="228"/>
                      <a:pt x="422" y="228"/>
                      <a:pt x="422" y="227"/>
                    </a:cubicBezTo>
                    <a:cubicBezTo>
                      <a:pt x="420" y="226"/>
                      <a:pt x="420" y="228"/>
                      <a:pt x="419" y="228"/>
                    </a:cubicBezTo>
                    <a:cubicBezTo>
                      <a:pt x="418" y="229"/>
                      <a:pt x="418" y="229"/>
                      <a:pt x="418" y="230"/>
                    </a:cubicBezTo>
                    <a:cubicBezTo>
                      <a:pt x="416" y="231"/>
                      <a:pt x="414" y="233"/>
                      <a:pt x="413" y="236"/>
                    </a:cubicBezTo>
                    <a:cubicBezTo>
                      <a:pt x="413" y="236"/>
                      <a:pt x="413" y="238"/>
                      <a:pt x="412" y="237"/>
                    </a:cubicBezTo>
                    <a:cubicBezTo>
                      <a:pt x="410" y="236"/>
                      <a:pt x="408" y="237"/>
                      <a:pt x="406" y="236"/>
                    </a:cubicBezTo>
                    <a:cubicBezTo>
                      <a:pt x="406" y="235"/>
                      <a:pt x="405" y="236"/>
                      <a:pt x="405" y="237"/>
                    </a:cubicBezTo>
                    <a:cubicBezTo>
                      <a:pt x="404" y="237"/>
                      <a:pt x="405" y="237"/>
                      <a:pt x="405" y="237"/>
                    </a:cubicBezTo>
                    <a:cubicBezTo>
                      <a:pt x="406" y="238"/>
                      <a:pt x="407" y="238"/>
                      <a:pt x="409" y="238"/>
                    </a:cubicBezTo>
                    <a:cubicBezTo>
                      <a:pt x="409" y="238"/>
                      <a:pt x="410" y="239"/>
                      <a:pt x="410" y="239"/>
                    </a:cubicBezTo>
                    <a:cubicBezTo>
                      <a:pt x="410" y="240"/>
                      <a:pt x="410" y="240"/>
                      <a:pt x="409" y="241"/>
                    </a:cubicBezTo>
                    <a:cubicBezTo>
                      <a:pt x="409" y="241"/>
                      <a:pt x="408" y="241"/>
                      <a:pt x="408" y="240"/>
                    </a:cubicBezTo>
                    <a:cubicBezTo>
                      <a:pt x="408" y="240"/>
                      <a:pt x="407" y="240"/>
                      <a:pt x="407" y="240"/>
                    </a:cubicBezTo>
                    <a:cubicBezTo>
                      <a:pt x="407" y="240"/>
                      <a:pt x="407" y="240"/>
                      <a:pt x="407" y="241"/>
                    </a:cubicBezTo>
                    <a:cubicBezTo>
                      <a:pt x="408" y="242"/>
                      <a:pt x="407" y="242"/>
                      <a:pt x="406" y="243"/>
                    </a:cubicBezTo>
                    <a:cubicBezTo>
                      <a:pt x="406" y="240"/>
                      <a:pt x="406" y="240"/>
                      <a:pt x="404" y="240"/>
                    </a:cubicBezTo>
                    <a:cubicBezTo>
                      <a:pt x="403" y="240"/>
                      <a:pt x="401" y="240"/>
                      <a:pt x="402" y="242"/>
                    </a:cubicBezTo>
                    <a:cubicBezTo>
                      <a:pt x="402" y="242"/>
                      <a:pt x="402" y="243"/>
                      <a:pt x="402" y="242"/>
                    </a:cubicBezTo>
                    <a:cubicBezTo>
                      <a:pt x="401" y="242"/>
                      <a:pt x="401" y="242"/>
                      <a:pt x="400" y="242"/>
                    </a:cubicBezTo>
                    <a:cubicBezTo>
                      <a:pt x="400" y="242"/>
                      <a:pt x="400" y="243"/>
                      <a:pt x="401" y="243"/>
                    </a:cubicBezTo>
                    <a:cubicBezTo>
                      <a:pt x="402" y="244"/>
                      <a:pt x="402" y="245"/>
                      <a:pt x="402" y="246"/>
                    </a:cubicBezTo>
                    <a:cubicBezTo>
                      <a:pt x="401" y="246"/>
                      <a:pt x="400" y="247"/>
                      <a:pt x="400" y="245"/>
                    </a:cubicBezTo>
                    <a:cubicBezTo>
                      <a:pt x="400" y="245"/>
                      <a:pt x="400" y="244"/>
                      <a:pt x="399" y="244"/>
                    </a:cubicBezTo>
                    <a:cubicBezTo>
                      <a:pt x="398" y="244"/>
                      <a:pt x="399" y="245"/>
                      <a:pt x="399" y="245"/>
                    </a:cubicBezTo>
                    <a:cubicBezTo>
                      <a:pt x="399" y="246"/>
                      <a:pt x="399" y="247"/>
                      <a:pt x="398" y="246"/>
                    </a:cubicBezTo>
                    <a:cubicBezTo>
                      <a:pt x="397" y="246"/>
                      <a:pt x="397" y="247"/>
                      <a:pt x="397" y="248"/>
                    </a:cubicBezTo>
                    <a:cubicBezTo>
                      <a:pt x="397" y="248"/>
                      <a:pt x="398" y="249"/>
                      <a:pt x="398" y="249"/>
                    </a:cubicBezTo>
                    <a:cubicBezTo>
                      <a:pt x="400" y="249"/>
                      <a:pt x="401" y="251"/>
                      <a:pt x="403" y="251"/>
                    </a:cubicBezTo>
                    <a:cubicBezTo>
                      <a:pt x="403" y="252"/>
                      <a:pt x="403" y="253"/>
                      <a:pt x="403" y="254"/>
                    </a:cubicBezTo>
                    <a:cubicBezTo>
                      <a:pt x="402" y="253"/>
                      <a:pt x="401" y="253"/>
                      <a:pt x="399" y="254"/>
                    </a:cubicBezTo>
                    <a:cubicBezTo>
                      <a:pt x="399" y="255"/>
                      <a:pt x="400" y="255"/>
                      <a:pt x="400" y="255"/>
                    </a:cubicBezTo>
                    <a:cubicBezTo>
                      <a:pt x="400" y="256"/>
                      <a:pt x="400" y="255"/>
                      <a:pt x="399" y="255"/>
                    </a:cubicBezTo>
                    <a:cubicBezTo>
                      <a:pt x="399" y="255"/>
                      <a:pt x="398" y="255"/>
                      <a:pt x="398" y="255"/>
                    </a:cubicBezTo>
                    <a:cubicBezTo>
                      <a:pt x="398" y="256"/>
                      <a:pt x="398" y="256"/>
                      <a:pt x="398" y="257"/>
                    </a:cubicBezTo>
                    <a:cubicBezTo>
                      <a:pt x="398" y="258"/>
                      <a:pt x="399" y="257"/>
                      <a:pt x="399" y="257"/>
                    </a:cubicBezTo>
                    <a:cubicBezTo>
                      <a:pt x="401" y="257"/>
                      <a:pt x="402" y="258"/>
                      <a:pt x="403" y="260"/>
                    </a:cubicBezTo>
                    <a:cubicBezTo>
                      <a:pt x="404" y="260"/>
                      <a:pt x="404" y="260"/>
                      <a:pt x="404" y="261"/>
                    </a:cubicBezTo>
                    <a:cubicBezTo>
                      <a:pt x="403" y="261"/>
                      <a:pt x="404" y="261"/>
                      <a:pt x="404" y="262"/>
                    </a:cubicBezTo>
                    <a:cubicBezTo>
                      <a:pt x="405" y="262"/>
                      <a:pt x="405" y="263"/>
                      <a:pt x="406" y="263"/>
                    </a:cubicBezTo>
                    <a:cubicBezTo>
                      <a:pt x="405" y="264"/>
                      <a:pt x="404" y="263"/>
                      <a:pt x="403" y="264"/>
                    </a:cubicBezTo>
                    <a:cubicBezTo>
                      <a:pt x="404" y="265"/>
                      <a:pt x="405" y="265"/>
                      <a:pt x="406" y="266"/>
                    </a:cubicBezTo>
                    <a:cubicBezTo>
                      <a:pt x="406" y="266"/>
                      <a:pt x="406" y="267"/>
                      <a:pt x="406" y="268"/>
                    </a:cubicBezTo>
                    <a:cubicBezTo>
                      <a:pt x="406" y="268"/>
                      <a:pt x="405" y="268"/>
                      <a:pt x="405" y="268"/>
                    </a:cubicBezTo>
                    <a:cubicBezTo>
                      <a:pt x="403" y="268"/>
                      <a:pt x="401" y="267"/>
                      <a:pt x="399" y="268"/>
                    </a:cubicBezTo>
                    <a:cubicBezTo>
                      <a:pt x="398" y="269"/>
                      <a:pt x="398" y="270"/>
                      <a:pt x="396" y="269"/>
                    </a:cubicBezTo>
                    <a:cubicBezTo>
                      <a:pt x="395" y="269"/>
                      <a:pt x="395" y="270"/>
                      <a:pt x="395" y="271"/>
                    </a:cubicBezTo>
                    <a:cubicBezTo>
                      <a:pt x="395" y="272"/>
                      <a:pt x="393" y="272"/>
                      <a:pt x="392" y="272"/>
                    </a:cubicBezTo>
                    <a:cubicBezTo>
                      <a:pt x="391" y="271"/>
                      <a:pt x="389" y="271"/>
                      <a:pt x="388" y="271"/>
                    </a:cubicBezTo>
                    <a:cubicBezTo>
                      <a:pt x="387" y="272"/>
                      <a:pt x="385" y="272"/>
                      <a:pt x="383" y="273"/>
                    </a:cubicBezTo>
                    <a:cubicBezTo>
                      <a:pt x="382" y="273"/>
                      <a:pt x="381" y="274"/>
                      <a:pt x="380" y="274"/>
                    </a:cubicBezTo>
                    <a:cubicBezTo>
                      <a:pt x="378" y="274"/>
                      <a:pt x="378" y="274"/>
                      <a:pt x="378" y="274"/>
                    </a:cubicBezTo>
                    <a:cubicBezTo>
                      <a:pt x="375" y="274"/>
                      <a:pt x="373" y="273"/>
                      <a:pt x="370" y="274"/>
                    </a:cubicBezTo>
                    <a:cubicBezTo>
                      <a:pt x="368" y="274"/>
                      <a:pt x="365" y="276"/>
                      <a:pt x="362" y="275"/>
                    </a:cubicBezTo>
                    <a:cubicBezTo>
                      <a:pt x="362" y="275"/>
                      <a:pt x="361" y="275"/>
                      <a:pt x="361" y="276"/>
                    </a:cubicBezTo>
                    <a:cubicBezTo>
                      <a:pt x="361" y="276"/>
                      <a:pt x="361" y="277"/>
                      <a:pt x="362" y="277"/>
                    </a:cubicBezTo>
                    <a:cubicBezTo>
                      <a:pt x="363" y="277"/>
                      <a:pt x="363" y="278"/>
                      <a:pt x="362" y="279"/>
                    </a:cubicBezTo>
                    <a:cubicBezTo>
                      <a:pt x="362" y="279"/>
                      <a:pt x="362" y="280"/>
                      <a:pt x="361" y="280"/>
                    </a:cubicBezTo>
                    <a:cubicBezTo>
                      <a:pt x="360" y="281"/>
                      <a:pt x="360" y="282"/>
                      <a:pt x="362" y="282"/>
                    </a:cubicBezTo>
                    <a:cubicBezTo>
                      <a:pt x="362" y="283"/>
                      <a:pt x="363" y="283"/>
                      <a:pt x="362" y="284"/>
                    </a:cubicBezTo>
                    <a:cubicBezTo>
                      <a:pt x="361" y="285"/>
                      <a:pt x="362" y="286"/>
                      <a:pt x="363" y="288"/>
                    </a:cubicBezTo>
                    <a:cubicBezTo>
                      <a:pt x="364" y="289"/>
                      <a:pt x="364" y="290"/>
                      <a:pt x="363" y="292"/>
                    </a:cubicBezTo>
                    <a:cubicBezTo>
                      <a:pt x="363" y="293"/>
                      <a:pt x="363" y="295"/>
                      <a:pt x="363" y="297"/>
                    </a:cubicBezTo>
                    <a:cubicBezTo>
                      <a:pt x="363" y="297"/>
                      <a:pt x="364" y="297"/>
                      <a:pt x="363" y="298"/>
                    </a:cubicBezTo>
                    <a:cubicBezTo>
                      <a:pt x="363" y="300"/>
                      <a:pt x="364" y="301"/>
                      <a:pt x="365" y="302"/>
                    </a:cubicBezTo>
                    <a:cubicBezTo>
                      <a:pt x="365" y="303"/>
                      <a:pt x="366" y="303"/>
                      <a:pt x="368" y="303"/>
                    </a:cubicBezTo>
                    <a:cubicBezTo>
                      <a:pt x="369" y="303"/>
                      <a:pt x="371" y="305"/>
                      <a:pt x="372" y="305"/>
                    </a:cubicBezTo>
                    <a:cubicBezTo>
                      <a:pt x="373" y="304"/>
                      <a:pt x="373" y="305"/>
                      <a:pt x="373" y="305"/>
                    </a:cubicBezTo>
                    <a:cubicBezTo>
                      <a:pt x="374" y="307"/>
                      <a:pt x="374" y="308"/>
                      <a:pt x="374" y="309"/>
                    </a:cubicBezTo>
                    <a:cubicBezTo>
                      <a:pt x="375" y="311"/>
                      <a:pt x="376" y="313"/>
                      <a:pt x="378" y="313"/>
                    </a:cubicBezTo>
                    <a:cubicBezTo>
                      <a:pt x="380" y="314"/>
                      <a:pt x="381" y="315"/>
                      <a:pt x="381" y="317"/>
                    </a:cubicBezTo>
                    <a:cubicBezTo>
                      <a:pt x="381" y="317"/>
                      <a:pt x="381" y="318"/>
                      <a:pt x="382" y="318"/>
                    </a:cubicBezTo>
                    <a:cubicBezTo>
                      <a:pt x="383" y="319"/>
                      <a:pt x="383" y="321"/>
                      <a:pt x="381" y="322"/>
                    </a:cubicBezTo>
                    <a:cubicBezTo>
                      <a:pt x="381" y="323"/>
                      <a:pt x="381" y="323"/>
                      <a:pt x="381" y="323"/>
                    </a:cubicBezTo>
                    <a:cubicBezTo>
                      <a:pt x="381" y="325"/>
                      <a:pt x="381" y="326"/>
                      <a:pt x="380" y="327"/>
                    </a:cubicBezTo>
                    <a:cubicBezTo>
                      <a:pt x="379" y="327"/>
                      <a:pt x="380" y="330"/>
                      <a:pt x="380" y="331"/>
                    </a:cubicBezTo>
                    <a:cubicBezTo>
                      <a:pt x="381" y="333"/>
                      <a:pt x="382" y="335"/>
                      <a:pt x="382" y="338"/>
                    </a:cubicBezTo>
                    <a:cubicBezTo>
                      <a:pt x="382" y="339"/>
                      <a:pt x="383" y="340"/>
                      <a:pt x="383" y="342"/>
                    </a:cubicBezTo>
                    <a:cubicBezTo>
                      <a:pt x="384" y="343"/>
                      <a:pt x="384" y="343"/>
                      <a:pt x="383" y="344"/>
                    </a:cubicBezTo>
                    <a:cubicBezTo>
                      <a:pt x="383" y="345"/>
                      <a:pt x="382" y="345"/>
                      <a:pt x="382" y="344"/>
                    </a:cubicBezTo>
                    <a:cubicBezTo>
                      <a:pt x="382" y="343"/>
                      <a:pt x="382" y="342"/>
                      <a:pt x="381" y="342"/>
                    </a:cubicBezTo>
                    <a:cubicBezTo>
                      <a:pt x="381" y="342"/>
                      <a:pt x="381" y="342"/>
                      <a:pt x="381" y="342"/>
                    </a:cubicBezTo>
                    <a:cubicBezTo>
                      <a:pt x="381" y="342"/>
                      <a:pt x="380" y="342"/>
                      <a:pt x="381" y="343"/>
                    </a:cubicBezTo>
                    <a:cubicBezTo>
                      <a:pt x="381" y="343"/>
                      <a:pt x="381" y="345"/>
                      <a:pt x="382" y="346"/>
                    </a:cubicBezTo>
                    <a:cubicBezTo>
                      <a:pt x="381" y="346"/>
                      <a:pt x="380" y="346"/>
                      <a:pt x="379" y="347"/>
                    </a:cubicBezTo>
                    <a:cubicBezTo>
                      <a:pt x="379" y="347"/>
                      <a:pt x="378" y="347"/>
                      <a:pt x="378" y="347"/>
                    </a:cubicBezTo>
                    <a:cubicBezTo>
                      <a:pt x="378" y="348"/>
                      <a:pt x="379" y="349"/>
                      <a:pt x="379" y="349"/>
                    </a:cubicBezTo>
                    <a:cubicBezTo>
                      <a:pt x="379" y="349"/>
                      <a:pt x="379" y="350"/>
                      <a:pt x="379" y="350"/>
                    </a:cubicBezTo>
                    <a:cubicBezTo>
                      <a:pt x="378" y="350"/>
                      <a:pt x="378" y="349"/>
                      <a:pt x="378" y="349"/>
                    </a:cubicBezTo>
                    <a:cubicBezTo>
                      <a:pt x="377" y="349"/>
                      <a:pt x="378" y="349"/>
                      <a:pt x="378" y="350"/>
                    </a:cubicBezTo>
                    <a:cubicBezTo>
                      <a:pt x="377" y="349"/>
                      <a:pt x="376" y="349"/>
                      <a:pt x="376" y="348"/>
                    </a:cubicBezTo>
                    <a:cubicBezTo>
                      <a:pt x="376" y="347"/>
                      <a:pt x="377" y="347"/>
                      <a:pt x="377" y="346"/>
                    </a:cubicBezTo>
                    <a:cubicBezTo>
                      <a:pt x="378" y="345"/>
                      <a:pt x="379" y="343"/>
                      <a:pt x="377" y="342"/>
                    </a:cubicBezTo>
                    <a:cubicBezTo>
                      <a:pt x="377" y="342"/>
                      <a:pt x="377" y="341"/>
                      <a:pt x="377" y="341"/>
                    </a:cubicBezTo>
                    <a:cubicBezTo>
                      <a:pt x="378" y="341"/>
                      <a:pt x="378" y="340"/>
                      <a:pt x="379" y="339"/>
                    </a:cubicBezTo>
                    <a:cubicBezTo>
                      <a:pt x="379" y="338"/>
                      <a:pt x="378" y="336"/>
                      <a:pt x="379" y="335"/>
                    </a:cubicBezTo>
                    <a:cubicBezTo>
                      <a:pt x="380" y="334"/>
                      <a:pt x="379" y="333"/>
                      <a:pt x="378" y="333"/>
                    </a:cubicBezTo>
                    <a:cubicBezTo>
                      <a:pt x="378" y="333"/>
                      <a:pt x="378" y="333"/>
                      <a:pt x="378" y="334"/>
                    </a:cubicBezTo>
                    <a:cubicBezTo>
                      <a:pt x="378" y="334"/>
                      <a:pt x="377" y="335"/>
                      <a:pt x="377" y="335"/>
                    </a:cubicBezTo>
                    <a:cubicBezTo>
                      <a:pt x="377" y="335"/>
                      <a:pt x="376" y="334"/>
                      <a:pt x="376" y="334"/>
                    </a:cubicBezTo>
                    <a:cubicBezTo>
                      <a:pt x="376" y="334"/>
                      <a:pt x="376" y="333"/>
                      <a:pt x="375" y="333"/>
                    </a:cubicBezTo>
                    <a:cubicBezTo>
                      <a:pt x="375" y="334"/>
                      <a:pt x="375" y="336"/>
                      <a:pt x="376" y="337"/>
                    </a:cubicBezTo>
                    <a:cubicBezTo>
                      <a:pt x="376" y="337"/>
                      <a:pt x="376" y="337"/>
                      <a:pt x="376" y="337"/>
                    </a:cubicBezTo>
                    <a:cubicBezTo>
                      <a:pt x="373" y="338"/>
                      <a:pt x="375" y="341"/>
                      <a:pt x="373" y="341"/>
                    </a:cubicBezTo>
                    <a:cubicBezTo>
                      <a:pt x="373" y="341"/>
                      <a:pt x="373" y="342"/>
                      <a:pt x="373" y="342"/>
                    </a:cubicBezTo>
                    <a:cubicBezTo>
                      <a:pt x="373" y="342"/>
                      <a:pt x="374" y="343"/>
                      <a:pt x="373" y="343"/>
                    </a:cubicBezTo>
                    <a:cubicBezTo>
                      <a:pt x="372" y="343"/>
                      <a:pt x="372" y="342"/>
                      <a:pt x="372" y="342"/>
                    </a:cubicBezTo>
                    <a:cubicBezTo>
                      <a:pt x="372" y="341"/>
                      <a:pt x="372" y="341"/>
                      <a:pt x="373" y="340"/>
                    </a:cubicBezTo>
                    <a:cubicBezTo>
                      <a:pt x="374" y="340"/>
                      <a:pt x="373" y="339"/>
                      <a:pt x="373" y="339"/>
                    </a:cubicBezTo>
                    <a:cubicBezTo>
                      <a:pt x="373" y="339"/>
                      <a:pt x="374" y="338"/>
                      <a:pt x="374" y="337"/>
                    </a:cubicBezTo>
                    <a:cubicBezTo>
                      <a:pt x="373" y="336"/>
                      <a:pt x="373" y="335"/>
                      <a:pt x="374" y="335"/>
                    </a:cubicBezTo>
                    <a:cubicBezTo>
                      <a:pt x="375" y="334"/>
                      <a:pt x="375" y="334"/>
                      <a:pt x="374" y="333"/>
                    </a:cubicBezTo>
                    <a:cubicBezTo>
                      <a:pt x="374" y="333"/>
                      <a:pt x="374" y="333"/>
                      <a:pt x="373" y="333"/>
                    </a:cubicBezTo>
                    <a:cubicBezTo>
                      <a:pt x="373" y="333"/>
                      <a:pt x="373" y="334"/>
                      <a:pt x="373" y="334"/>
                    </a:cubicBezTo>
                    <a:cubicBezTo>
                      <a:pt x="373" y="333"/>
                      <a:pt x="373" y="333"/>
                      <a:pt x="373" y="333"/>
                    </a:cubicBezTo>
                    <a:cubicBezTo>
                      <a:pt x="374" y="332"/>
                      <a:pt x="374" y="331"/>
                      <a:pt x="373" y="330"/>
                    </a:cubicBezTo>
                    <a:cubicBezTo>
                      <a:pt x="372" y="328"/>
                      <a:pt x="373" y="327"/>
                      <a:pt x="374" y="326"/>
                    </a:cubicBezTo>
                    <a:cubicBezTo>
                      <a:pt x="375" y="325"/>
                      <a:pt x="376" y="324"/>
                      <a:pt x="377" y="324"/>
                    </a:cubicBezTo>
                    <a:cubicBezTo>
                      <a:pt x="378" y="324"/>
                      <a:pt x="379" y="323"/>
                      <a:pt x="378" y="323"/>
                    </a:cubicBezTo>
                    <a:cubicBezTo>
                      <a:pt x="377" y="321"/>
                      <a:pt x="378" y="321"/>
                      <a:pt x="379" y="320"/>
                    </a:cubicBezTo>
                    <a:cubicBezTo>
                      <a:pt x="380" y="319"/>
                      <a:pt x="380" y="317"/>
                      <a:pt x="379" y="317"/>
                    </a:cubicBezTo>
                    <a:cubicBezTo>
                      <a:pt x="378" y="316"/>
                      <a:pt x="376" y="316"/>
                      <a:pt x="374" y="317"/>
                    </a:cubicBezTo>
                    <a:cubicBezTo>
                      <a:pt x="372" y="318"/>
                      <a:pt x="370" y="318"/>
                      <a:pt x="368" y="317"/>
                    </a:cubicBezTo>
                    <a:cubicBezTo>
                      <a:pt x="368" y="317"/>
                      <a:pt x="367" y="317"/>
                      <a:pt x="367" y="316"/>
                    </a:cubicBezTo>
                    <a:cubicBezTo>
                      <a:pt x="367" y="314"/>
                      <a:pt x="365" y="313"/>
                      <a:pt x="364" y="312"/>
                    </a:cubicBezTo>
                    <a:cubicBezTo>
                      <a:pt x="364" y="311"/>
                      <a:pt x="363" y="311"/>
                      <a:pt x="363" y="310"/>
                    </a:cubicBezTo>
                    <a:cubicBezTo>
                      <a:pt x="363" y="309"/>
                      <a:pt x="363" y="309"/>
                      <a:pt x="362" y="309"/>
                    </a:cubicBezTo>
                    <a:cubicBezTo>
                      <a:pt x="360" y="308"/>
                      <a:pt x="357" y="307"/>
                      <a:pt x="356" y="305"/>
                    </a:cubicBezTo>
                    <a:cubicBezTo>
                      <a:pt x="354" y="302"/>
                      <a:pt x="351" y="303"/>
                      <a:pt x="348" y="303"/>
                    </a:cubicBezTo>
                    <a:cubicBezTo>
                      <a:pt x="347" y="303"/>
                      <a:pt x="346" y="303"/>
                      <a:pt x="344" y="304"/>
                    </a:cubicBezTo>
                    <a:cubicBezTo>
                      <a:pt x="344" y="304"/>
                      <a:pt x="343" y="305"/>
                      <a:pt x="343" y="304"/>
                    </a:cubicBezTo>
                    <a:cubicBezTo>
                      <a:pt x="343" y="303"/>
                      <a:pt x="343" y="303"/>
                      <a:pt x="344" y="303"/>
                    </a:cubicBezTo>
                    <a:cubicBezTo>
                      <a:pt x="345" y="303"/>
                      <a:pt x="345" y="302"/>
                      <a:pt x="346" y="301"/>
                    </a:cubicBezTo>
                    <a:cubicBezTo>
                      <a:pt x="346" y="301"/>
                      <a:pt x="347" y="300"/>
                      <a:pt x="346" y="300"/>
                    </a:cubicBezTo>
                    <a:cubicBezTo>
                      <a:pt x="346" y="298"/>
                      <a:pt x="342" y="297"/>
                      <a:pt x="341" y="298"/>
                    </a:cubicBezTo>
                    <a:cubicBezTo>
                      <a:pt x="339" y="300"/>
                      <a:pt x="338" y="302"/>
                      <a:pt x="337" y="303"/>
                    </a:cubicBezTo>
                    <a:cubicBezTo>
                      <a:pt x="336" y="304"/>
                      <a:pt x="337" y="305"/>
                      <a:pt x="338" y="305"/>
                    </a:cubicBezTo>
                    <a:cubicBezTo>
                      <a:pt x="340" y="305"/>
                      <a:pt x="341" y="305"/>
                      <a:pt x="343" y="305"/>
                    </a:cubicBezTo>
                    <a:cubicBezTo>
                      <a:pt x="343" y="306"/>
                      <a:pt x="342" y="307"/>
                      <a:pt x="341" y="307"/>
                    </a:cubicBezTo>
                    <a:cubicBezTo>
                      <a:pt x="340" y="308"/>
                      <a:pt x="340" y="308"/>
                      <a:pt x="340" y="309"/>
                    </a:cubicBezTo>
                    <a:cubicBezTo>
                      <a:pt x="341" y="309"/>
                      <a:pt x="341" y="310"/>
                      <a:pt x="341" y="309"/>
                    </a:cubicBezTo>
                    <a:cubicBezTo>
                      <a:pt x="343" y="308"/>
                      <a:pt x="344" y="309"/>
                      <a:pt x="345" y="310"/>
                    </a:cubicBezTo>
                    <a:cubicBezTo>
                      <a:pt x="346" y="312"/>
                      <a:pt x="346" y="313"/>
                      <a:pt x="345" y="314"/>
                    </a:cubicBezTo>
                    <a:cubicBezTo>
                      <a:pt x="344" y="315"/>
                      <a:pt x="342" y="315"/>
                      <a:pt x="341" y="314"/>
                    </a:cubicBezTo>
                    <a:cubicBezTo>
                      <a:pt x="340" y="313"/>
                      <a:pt x="338" y="312"/>
                      <a:pt x="337" y="310"/>
                    </a:cubicBezTo>
                    <a:cubicBezTo>
                      <a:pt x="337" y="310"/>
                      <a:pt x="336" y="310"/>
                      <a:pt x="336" y="310"/>
                    </a:cubicBezTo>
                    <a:cubicBezTo>
                      <a:pt x="335" y="310"/>
                      <a:pt x="334" y="310"/>
                      <a:pt x="334" y="311"/>
                    </a:cubicBezTo>
                    <a:cubicBezTo>
                      <a:pt x="332" y="312"/>
                      <a:pt x="331" y="313"/>
                      <a:pt x="331" y="314"/>
                    </a:cubicBezTo>
                    <a:cubicBezTo>
                      <a:pt x="331" y="316"/>
                      <a:pt x="332" y="318"/>
                      <a:pt x="332" y="320"/>
                    </a:cubicBezTo>
                    <a:cubicBezTo>
                      <a:pt x="332" y="320"/>
                      <a:pt x="333" y="321"/>
                      <a:pt x="333" y="321"/>
                    </a:cubicBezTo>
                    <a:cubicBezTo>
                      <a:pt x="334" y="321"/>
                      <a:pt x="335" y="322"/>
                      <a:pt x="335" y="322"/>
                    </a:cubicBezTo>
                    <a:cubicBezTo>
                      <a:pt x="337" y="324"/>
                      <a:pt x="339" y="324"/>
                      <a:pt x="340" y="326"/>
                    </a:cubicBezTo>
                    <a:cubicBezTo>
                      <a:pt x="341" y="327"/>
                      <a:pt x="341" y="326"/>
                      <a:pt x="342" y="326"/>
                    </a:cubicBezTo>
                    <a:cubicBezTo>
                      <a:pt x="343" y="325"/>
                      <a:pt x="344" y="328"/>
                      <a:pt x="346" y="327"/>
                    </a:cubicBezTo>
                    <a:cubicBezTo>
                      <a:pt x="347" y="327"/>
                      <a:pt x="346" y="328"/>
                      <a:pt x="346" y="328"/>
                    </a:cubicBezTo>
                    <a:cubicBezTo>
                      <a:pt x="346" y="331"/>
                      <a:pt x="347" y="333"/>
                      <a:pt x="349" y="334"/>
                    </a:cubicBezTo>
                    <a:cubicBezTo>
                      <a:pt x="348" y="334"/>
                      <a:pt x="347" y="334"/>
                      <a:pt x="347" y="334"/>
                    </a:cubicBezTo>
                    <a:cubicBezTo>
                      <a:pt x="346" y="333"/>
                      <a:pt x="344" y="334"/>
                      <a:pt x="344" y="332"/>
                    </a:cubicBezTo>
                    <a:cubicBezTo>
                      <a:pt x="344" y="330"/>
                      <a:pt x="343" y="329"/>
                      <a:pt x="341" y="329"/>
                    </a:cubicBezTo>
                    <a:cubicBezTo>
                      <a:pt x="338" y="330"/>
                      <a:pt x="336" y="328"/>
                      <a:pt x="333" y="328"/>
                    </a:cubicBezTo>
                    <a:cubicBezTo>
                      <a:pt x="331" y="328"/>
                      <a:pt x="329" y="328"/>
                      <a:pt x="327" y="326"/>
                    </a:cubicBezTo>
                    <a:cubicBezTo>
                      <a:pt x="326" y="325"/>
                      <a:pt x="325" y="324"/>
                      <a:pt x="326" y="323"/>
                    </a:cubicBezTo>
                    <a:cubicBezTo>
                      <a:pt x="327" y="321"/>
                      <a:pt x="327" y="319"/>
                      <a:pt x="326" y="318"/>
                    </a:cubicBezTo>
                    <a:cubicBezTo>
                      <a:pt x="326" y="317"/>
                      <a:pt x="325" y="316"/>
                      <a:pt x="326" y="314"/>
                    </a:cubicBezTo>
                    <a:cubicBezTo>
                      <a:pt x="326" y="313"/>
                      <a:pt x="327" y="312"/>
                      <a:pt x="327" y="310"/>
                    </a:cubicBezTo>
                    <a:cubicBezTo>
                      <a:pt x="327" y="309"/>
                      <a:pt x="327" y="308"/>
                      <a:pt x="328" y="306"/>
                    </a:cubicBezTo>
                    <a:cubicBezTo>
                      <a:pt x="329" y="304"/>
                      <a:pt x="327" y="302"/>
                      <a:pt x="328" y="299"/>
                    </a:cubicBezTo>
                    <a:cubicBezTo>
                      <a:pt x="328" y="299"/>
                      <a:pt x="328" y="299"/>
                      <a:pt x="328" y="298"/>
                    </a:cubicBezTo>
                    <a:cubicBezTo>
                      <a:pt x="327" y="297"/>
                      <a:pt x="326" y="296"/>
                      <a:pt x="326" y="296"/>
                    </a:cubicBezTo>
                    <a:cubicBezTo>
                      <a:pt x="327" y="294"/>
                      <a:pt x="326" y="294"/>
                      <a:pt x="325" y="293"/>
                    </a:cubicBezTo>
                    <a:cubicBezTo>
                      <a:pt x="324" y="292"/>
                      <a:pt x="324" y="290"/>
                      <a:pt x="322" y="289"/>
                    </a:cubicBezTo>
                    <a:cubicBezTo>
                      <a:pt x="322" y="289"/>
                      <a:pt x="322" y="289"/>
                      <a:pt x="322" y="288"/>
                    </a:cubicBezTo>
                    <a:cubicBezTo>
                      <a:pt x="324" y="287"/>
                      <a:pt x="322" y="287"/>
                      <a:pt x="321" y="286"/>
                    </a:cubicBezTo>
                    <a:cubicBezTo>
                      <a:pt x="320" y="286"/>
                      <a:pt x="319" y="286"/>
                      <a:pt x="319" y="287"/>
                    </a:cubicBezTo>
                    <a:cubicBezTo>
                      <a:pt x="318" y="288"/>
                      <a:pt x="318" y="290"/>
                      <a:pt x="320" y="291"/>
                    </a:cubicBezTo>
                    <a:cubicBezTo>
                      <a:pt x="323" y="293"/>
                      <a:pt x="324" y="295"/>
                      <a:pt x="324" y="298"/>
                    </a:cubicBezTo>
                    <a:cubicBezTo>
                      <a:pt x="324" y="299"/>
                      <a:pt x="324" y="299"/>
                      <a:pt x="324" y="300"/>
                    </a:cubicBezTo>
                    <a:cubicBezTo>
                      <a:pt x="325" y="303"/>
                      <a:pt x="325" y="306"/>
                      <a:pt x="323" y="308"/>
                    </a:cubicBezTo>
                    <a:cubicBezTo>
                      <a:pt x="322" y="311"/>
                      <a:pt x="319" y="312"/>
                      <a:pt x="317" y="313"/>
                    </a:cubicBezTo>
                    <a:cubicBezTo>
                      <a:pt x="316" y="314"/>
                      <a:pt x="314" y="314"/>
                      <a:pt x="314" y="316"/>
                    </a:cubicBezTo>
                    <a:cubicBezTo>
                      <a:pt x="314" y="318"/>
                      <a:pt x="314" y="319"/>
                      <a:pt x="313" y="320"/>
                    </a:cubicBezTo>
                    <a:cubicBezTo>
                      <a:pt x="312" y="321"/>
                      <a:pt x="312" y="322"/>
                      <a:pt x="311" y="323"/>
                    </a:cubicBezTo>
                    <a:cubicBezTo>
                      <a:pt x="310" y="324"/>
                      <a:pt x="311" y="325"/>
                      <a:pt x="311" y="325"/>
                    </a:cubicBezTo>
                    <a:cubicBezTo>
                      <a:pt x="314" y="326"/>
                      <a:pt x="315" y="328"/>
                      <a:pt x="315" y="330"/>
                    </a:cubicBezTo>
                    <a:cubicBezTo>
                      <a:pt x="315" y="331"/>
                      <a:pt x="316" y="332"/>
                      <a:pt x="317" y="333"/>
                    </a:cubicBezTo>
                    <a:cubicBezTo>
                      <a:pt x="316" y="335"/>
                      <a:pt x="317" y="336"/>
                      <a:pt x="318" y="338"/>
                    </a:cubicBezTo>
                    <a:cubicBezTo>
                      <a:pt x="319" y="340"/>
                      <a:pt x="320" y="341"/>
                      <a:pt x="319" y="343"/>
                    </a:cubicBezTo>
                    <a:cubicBezTo>
                      <a:pt x="318" y="345"/>
                      <a:pt x="318" y="346"/>
                      <a:pt x="317" y="347"/>
                    </a:cubicBezTo>
                    <a:cubicBezTo>
                      <a:pt x="316" y="348"/>
                      <a:pt x="315" y="349"/>
                      <a:pt x="315" y="350"/>
                    </a:cubicBezTo>
                    <a:cubicBezTo>
                      <a:pt x="316" y="352"/>
                      <a:pt x="315" y="354"/>
                      <a:pt x="315" y="357"/>
                    </a:cubicBezTo>
                    <a:cubicBezTo>
                      <a:pt x="314" y="358"/>
                      <a:pt x="314" y="359"/>
                      <a:pt x="315" y="360"/>
                    </a:cubicBezTo>
                    <a:cubicBezTo>
                      <a:pt x="317" y="363"/>
                      <a:pt x="317" y="365"/>
                      <a:pt x="316" y="367"/>
                    </a:cubicBezTo>
                    <a:cubicBezTo>
                      <a:pt x="315" y="368"/>
                      <a:pt x="316" y="369"/>
                      <a:pt x="317" y="370"/>
                    </a:cubicBezTo>
                    <a:cubicBezTo>
                      <a:pt x="317" y="371"/>
                      <a:pt x="318" y="370"/>
                      <a:pt x="318" y="370"/>
                    </a:cubicBezTo>
                    <a:cubicBezTo>
                      <a:pt x="319" y="370"/>
                      <a:pt x="321" y="369"/>
                      <a:pt x="322" y="370"/>
                    </a:cubicBezTo>
                    <a:cubicBezTo>
                      <a:pt x="323" y="371"/>
                      <a:pt x="324" y="370"/>
                      <a:pt x="325" y="369"/>
                    </a:cubicBezTo>
                    <a:cubicBezTo>
                      <a:pt x="326" y="369"/>
                      <a:pt x="326" y="368"/>
                      <a:pt x="327" y="367"/>
                    </a:cubicBezTo>
                    <a:cubicBezTo>
                      <a:pt x="331" y="367"/>
                      <a:pt x="333" y="369"/>
                      <a:pt x="336" y="370"/>
                    </a:cubicBezTo>
                    <a:cubicBezTo>
                      <a:pt x="337" y="373"/>
                      <a:pt x="339" y="373"/>
                      <a:pt x="340" y="374"/>
                    </a:cubicBezTo>
                    <a:cubicBezTo>
                      <a:pt x="342" y="375"/>
                      <a:pt x="342" y="376"/>
                      <a:pt x="342" y="378"/>
                    </a:cubicBezTo>
                    <a:cubicBezTo>
                      <a:pt x="343" y="380"/>
                      <a:pt x="344" y="382"/>
                      <a:pt x="345" y="385"/>
                    </a:cubicBezTo>
                    <a:cubicBezTo>
                      <a:pt x="345" y="386"/>
                      <a:pt x="345" y="386"/>
                      <a:pt x="344" y="386"/>
                    </a:cubicBezTo>
                    <a:cubicBezTo>
                      <a:pt x="343" y="386"/>
                      <a:pt x="342" y="387"/>
                      <a:pt x="342" y="388"/>
                    </a:cubicBezTo>
                    <a:cubicBezTo>
                      <a:pt x="341" y="390"/>
                      <a:pt x="341" y="392"/>
                      <a:pt x="341" y="394"/>
                    </a:cubicBezTo>
                    <a:cubicBezTo>
                      <a:pt x="341" y="395"/>
                      <a:pt x="341" y="396"/>
                      <a:pt x="342" y="395"/>
                    </a:cubicBezTo>
                    <a:cubicBezTo>
                      <a:pt x="343" y="395"/>
                      <a:pt x="343" y="395"/>
                      <a:pt x="343" y="396"/>
                    </a:cubicBezTo>
                    <a:cubicBezTo>
                      <a:pt x="343" y="397"/>
                      <a:pt x="345" y="397"/>
                      <a:pt x="345" y="397"/>
                    </a:cubicBezTo>
                    <a:cubicBezTo>
                      <a:pt x="345" y="398"/>
                      <a:pt x="344" y="398"/>
                      <a:pt x="344" y="399"/>
                    </a:cubicBezTo>
                    <a:cubicBezTo>
                      <a:pt x="343" y="399"/>
                      <a:pt x="343" y="400"/>
                      <a:pt x="343" y="400"/>
                    </a:cubicBezTo>
                    <a:cubicBezTo>
                      <a:pt x="342" y="400"/>
                      <a:pt x="342" y="401"/>
                      <a:pt x="342" y="401"/>
                    </a:cubicBezTo>
                    <a:cubicBezTo>
                      <a:pt x="342" y="399"/>
                      <a:pt x="342" y="398"/>
                      <a:pt x="341" y="397"/>
                    </a:cubicBezTo>
                    <a:cubicBezTo>
                      <a:pt x="340" y="396"/>
                      <a:pt x="339" y="396"/>
                      <a:pt x="339" y="395"/>
                    </a:cubicBezTo>
                    <a:cubicBezTo>
                      <a:pt x="339" y="394"/>
                      <a:pt x="338" y="394"/>
                      <a:pt x="339" y="394"/>
                    </a:cubicBezTo>
                    <a:cubicBezTo>
                      <a:pt x="340" y="393"/>
                      <a:pt x="339" y="392"/>
                      <a:pt x="339" y="392"/>
                    </a:cubicBezTo>
                    <a:cubicBezTo>
                      <a:pt x="339" y="390"/>
                      <a:pt x="339" y="389"/>
                      <a:pt x="339" y="388"/>
                    </a:cubicBezTo>
                    <a:cubicBezTo>
                      <a:pt x="340" y="387"/>
                      <a:pt x="340" y="386"/>
                      <a:pt x="339" y="386"/>
                    </a:cubicBezTo>
                    <a:cubicBezTo>
                      <a:pt x="338" y="386"/>
                      <a:pt x="339" y="385"/>
                      <a:pt x="339" y="385"/>
                    </a:cubicBezTo>
                    <a:cubicBezTo>
                      <a:pt x="339" y="383"/>
                      <a:pt x="340" y="381"/>
                      <a:pt x="339" y="380"/>
                    </a:cubicBezTo>
                    <a:cubicBezTo>
                      <a:pt x="338" y="379"/>
                      <a:pt x="337" y="378"/>
                      <a:pt x="336" y="377"/>
                    </a:cubicBezTo>
                    <a:cubicBezTo>
                      <a:pt x="335" y="377"/>
                      <a:pt x="335" y="376"/>
                      <a:pt x="335" y="375"/>
                    </a:cubicBezTo>
                    <a:cubicBezTo>
                      <a:pt x="335" y="374"/>
                      <a:pt x="334" y="372"/>
                      <a:pt x="332" y="373"/>
                    </a:cubicBezTo>
                    <a:cubicBezTo>
                      <a:pt x="331" y="373"/>
                      <a:pt x="330" y="373"/>
                      <a:pt x="330" y="373"/>
                    </a:cubicBezTo>
                    <a:cubicBezTo>
                      <a:pt x="327" y="374"/>
                      <a:pt x="325" y="375"/>
                      <a:pt x="323" y="376"/>
                    </a:cubicBezTo>
                    <a:cubicBezTo>
                      <a:pt x="321" y="377"/>
                      <a:pt x="320" y="378"/>
                      <a:pt x="320" y="380"/>
                    </a:cubicBezTo>
                    <a:cubicBezTo>
                      <a:pt x="320" y="381"/>
                      <a:pt x="320" y="382"/>
                      <a:pt x="320" y="383"/>
                    </a:cubicBezTo>
                    <a:cubicBezTo>
                      <a:pt x="319" y="383"/>
                      <a:pt x="319" y="384"/>
                      <a:pt x="320" y="384"/>
                    </a:cubicBezTo>
                    <a:cubicBezTo>
                      <a:pt x="321" y="385"/>
                      <a:pt x="322" y="387"/>
                      <a:pt x="322" y="389"/>
                    </a:cubicBezTo>
                    <a:cubicBezTo>
                      <a:pt x="323" y="392"/>
                      <a:pt x="323" y="394"/>
                      <a:pt x="322" y="397"/>
                    </a:cubicBezTo>
                    <a:cubicBezTo>
                      <a:pt x="321" y="398"/>
                      <a:pt x="320" y="399"/>
                      <a:pt x="319" y="399"/>
                    </a:cubicBezTo>
                    <a:cubicBezTo>
                      <a:pt x="318" y="401"/>
                      <a:pt x="317" y="403"/>
                      <a:pt x="317" y="405"/>
                    </a:cubicBezTo>
                    <a:cubicBezTo>
                      <a:pt x="317" y="406"/>
                      <a:pt x="317" y="408"/>
                      <a:pt x="316" y="409"/>
                    </a:cubicBezTo>
                    <a:cubicBezTo>
                      <a:pt x="314" y="410"/>
                      <a:pt x="313" y="412"/>
                      <a:pt x="311" y="413"/>
                    </a:cubicBezTo>
                    <a:cubicBezTo>
                      <a:pt x="310" y="413"/>
                      <a:pt x="311" y="413"/>
                      <a:pt x="310" y="413"/>
                    </a:cubicBezTo>
                    <a:cubicBezTo>
                      <a:pt x="310" y="414"/>
                      <a:pt x="309" y="415"/>
                      <a:pt x="308" y="415"/>
                    </a:cubicBezTo>
                    <a:cubicBezTo>
                      <a:pt x="306" y="415"/>
                      <a:pt x="306" y="416"/>
                      <a:pt x="306" y="418"/>
                    </a:cubicBezTo>
                    <a:cubicBezTo>
                      <a:pt x="306" y="418"/>
                      <a:pt x="305" y="418"/>
                      <a:pt x="305" y="418"/>
                    </a:cubicBezTo>
                    <a:cubicBezTo>
                      <a:pt x="304" y="417"/>
                      <a:pt x="302" y="415"/>
                      <a:pt x="301" y="414"/>
                    </a:cubicBezTo>
                    <a:cubicBezTo>
                      <a:pt x="300" y="413"/>
                      <a:pt x="300" y="411"/>
                      <a:pt x="300" y="410"/>
                    </a:cubicBezTo>
                    <a:cubicBezTo>
                      <a:pt x="299" y="409"/>
                      <a:pt x="300" y="409"/>
                      <a:pt x="300" y="409"/>
                    </a:cubicBezTo>
                    <a:cubicBezTo>
                      <a:pt x="301" y="409"/>
                      <a:pt x="302" y="410"/>
                      <a:pt x="302" y="409"/>
                    </a:cubicBezTo>
                    <a:cubicBezTo>
                      <a:pt x="304" y="408"/>
                      <a:pt x="304" y="406"/>
                      <a:pt x="305" y="405"/>
                    </a:cubicBezTo>
                    <a:cubicBezTo>
                      <a:pt x="305" y="404"/>
                      <a:pt x="305" y="404"/>
                      <a:pt x="304" y="404"/>
                    </a:cubicBezTo>
                    <a:cubicBezTo>
                      <a:pt x="304" y="404"/>
                      <a:pt x="304" y="403"/>
                      <a:pt x="304" y="403"/>
                    </a:cubicBezTo>
                    <a:cubicBezTo>
                      <a:pt x="304" y="402"/>
                      <a:pt x="305" y="402"/>
                      <a:pt x="305" y="402"/>
                    </a:cubicBezTo>
                    <a:cubicBezTo>
                      <a:pt x="306" y="402"/>
                      <a:pt x="307" y="403"/>
                      <a:pt x="306" y="401"/>
                    </a:cubicBezTo>
                    <a:cubicBezTo>
                      <a:pt x="306" y="401"/>
                      <a:pt x="306" y="400"/>
                      <a:pt x="307" y="400"/>
                    </a:cubicBezTo>
                    <a:cubicBezTo>
                      <a:pt x="307" y="398"/>
                      <a:pt x="309" y="397"/>
                      <a:pt x="310" y="396"/>
                    </a:cubicBezTo>
                    <a:cubicBezTo>
                      <a:pt x="311" y="395"/>
                      <a:pt x="312" y="393"/>
                      <a:pt x="311" y="391"/>
                    </a:cubicBezTo>
                    <a:cubicBezTo>
                      <a:pt x="310" y="388"/>
                      <a:pt x="310" y="386"/>
                      <a:pt x="313" y="384"/>
                    </a:cubicBezTo>
                    <a:cubicBezTo>
                      <a:pt x="314" y="384"/>
                      <a:pt x="313" y="382"/>
                      <a:pt x="315" y="381"/>
                    </a:cubicBezTo>
                    <a:cubicBezTo>
                      <a:pt x="315" y="381"/>
                      <a:pt x="314" y="381"/>
                      <a:pt x="314" y="381"/>
                    </a:cubicBezTo>
                    <a:cubicBezTo>
                      <a:pt x="313" y="379"/>
                      <a:pt x="312" y="377"/>
                      <a:pt x="310" y="376"/>
                    </a:cubicBezTo>
                    <a:cubicBezTo>
                      <a:pt x="307" y="375"/>
                      <a:pt x="306" y="370"/>
                      <a:pt x="307" y="367"/>
                    </a:cubicBezTo>
                    <a:cubicBezTo>
                      <a:pt x="307" y="367"/>
                      <a:pt x="308" y="367"/>
                      <a:pt x="308" y="366"/>
                    </a:cubicBezTo>
                    <a:cubicBezTo>
                      <a:pt x="307" y="364"/>
                      <a:pt x="308" y="362"/>
                      <a:pt x="307" y="360"/>
                    </a:cubicBezTo>
                    <a:cubicBezTo>
                      <a:pt x="307" y="360"/>
                      <a:pt x="307" y="359"/>
                      <a:pt x="307" y="359"/>
                    </a:cubicBezTo>
                    <a:cubicBezTo>
                      <a:pt x="308" y="358"/>
                      <a:pt x="308" y="357"/>
                      <a:pt x="308" y="356"/>
                    </a:cubicBezTo>
                    <a:cubicBezTo>
                      <a:pt x="308" y="354"/>
                      <a:pt x="307" y="352"/>
                      <a:pt x="307" y="350"/>
                    </a:cubicBezTo>
                    <a:cubicBezTo>
                      <a:pt x="307" y="349"/>
                      <a:pt x="307" y="349"/>
                      <a:pt x="307" y="349"/>
                    </a:cubicBezTo>
                    <a:cubicBezTo>
                      <a:pt x="305" y="348"/>
                      <a:pt x="307" y="346"/>
                      <a:pt x="308" y="345"/>
                    </a:cubicBezTo>
                    <a:cubicBezTo>
                      <a:pt x="309" y="344"/>
                      <a:pt x="309" y="343"/>
                      <a:pt x="308" y="342"/>
                    </a:cubicBezTo>
                    <a:cubicBezTo>
                      <a:pt x="308" y="341"/>
                      <a:pt x="308" y="341"/>
                      <a:pt x="308" y="340"/>
                    </a:cubicBezTo>
                    <a:cubicBezTo>
                      <a:pt x="309" y="338"/>
                      <a:pt x="309" y="335"/>
                      <a:pt x="308" y="333"/>
                    </a:cubicBezTo>
                    <a:cubicBezTo>
                      <a:pt x="308" y="333"/>
                      <a:pt x="307" y="332"/>
                      <a:pt x="307" y="332"/>
                    </a:cubicBezTo>
                    <a:cubicBezTo>
                      <a:pt x="308" y="331"/>
                      <a:pt x="308" y="330"/>
                      <a:pt x="307" y="330"/>
                    </a:cubicBezTo>
                    <a:cubicBezTo>
                      <a:pt x="305" y="328"/>
                      <a:pt x="304" y="326"/>
                      <a:pt x="303" y="324"/>
                    </a:cubicBezTo>
                    <a:cubicBezTo>
                      <a:pt x="302" y="323"/>
                      <a:pt x="302" y="321"/>
                      <a:pt x="303" y="320"/>
                    </a:cubicBezTo>
                    <a:cubicBezTo>
                      <a:pt x="305" y="319"/>
                      <a:pt x="306" y="317"/>
                      <a:pt x="305" y="315"/>
                    </a:cubicBezTo>
                    <a:cubicBezTo>
                      <a:pt x="306" y="314"/>
                      <a:pt x="306" y="314"/>
                      <a:pt x="306" y="314"/>
                    </a:cubicBezTo>
                    <a:cubicBezTo>
                      <a:pt x="307" y="313"/>
                      <a:pt x="307" y="312"/>
                      <a:pt x="307" y="311"/>
                    </a:cubicBezTo>
                    <a:cubicBezTo>
                      <a:pt x="307" y="311"/>
                      <a:pt x="307" y="310"/>
                      <a:pt x="308" y="309"/>
                    </a:cubicBezTo>
                    <a:cubicBezTo>
                      <a:pt x="309" y="308"/>
                      <a:pt x="309" y="307"/>
                      <a:pt x="309" y="305"/>
                    </a:cubicBezTo>
                    <a:cubicBezTo>
                      <a:pt x="309" y="305"/>
                      <a:pt x="309" y="304"/>
                      <a:pt x="309" y="304"/>
                    </a:cubicBezTo>
                    <a:cubicBezTo>
                      <a:pt x="309" y="301"/>
                      <a:pt x="309" y="299"/>
                      <a:pt x="309" y="296"/>
                    </a:cubicBezTo>
                    <a:cubicBezTo>
                      <a:pt x="309" y="295"/>
                      <a:pt x="308" y="295"/>
                      <a:pt x="307" y="294"/>
                    </a:cubicBezTo>
                    <a:cubicBezTo>
                      <a:pt x="304" y="292"/>
                      <a:pt x="300" y="291"/>
                      <a:pt x="296" y="291"/>
                    </a:cubicBezTo>
                    <a:cubicBezTo>
                      <a:pt x="295" y="291"/>
                      <a:pt x="295" y="291"/>
                      <a:pt x="294" y="291"/>
                    </a:cubicBezTo>
                    <a:cubicBezTo>
                      <a:pt x="292" y="292"/>
                      <a:pt x="290" y="291"/>
                      <a:pt x="289" y="292"/>
                    </a:cubicBezTo>
                    <a:cubicBezTo>
                      <a:pt x="289" y="292"/>
                      <a:pt x="288" y="292"/>
                      <a:pt x="288" y="292"/>
                    </a:cubicBezTo>
                    <a:cubicBezTo>
                      <a:pt x="288" y="291"/>
                      <a:pt x="288" y="291"/>
                      <a:pt x="288" y="291"/>
                    </a:cubicBezTo>
                    <a:cubicBezTo>
                      <a:pt x="288" y="290"/>
                      <a:pt x="289" y="290"/>
                      <a:pt x="289" y="290"/>
                    </a:cubicBezTo>
                    <a:cubicBezTo>
                      <a:pt x="287" y="289"/>
                      <a:pt x="287" y="290"/>
                      <a:pt x="286" y="291"/>
                    </a:cubicBezTo>
                    <a:cubicBezTo>
                      <a:pt x="285" y="292"/>
                      <a:pt x="285" y="293"/>
                      <a:pt x="284" y="295"/>
                    </a:cubicBezTo>
                    <a:cubicBezTo>
                      <a:pt x="282" y="297"/>
                      <a:pt x="283" y="301"/>
                      <a:pt x="282" y="304"/>
                    </a:cubicBezTo>
                    <a:cubicBezTo>
                      <a:pt x="281" y="307"/>
                      <a:pt x="281" y="309"/>
                      <a:pt x="281" y="311"/>
                    </a:cubicBezTo>
                    <a:cubicBezTo>
                      <a:pt x="281" y="312"/>
                      <a:pt x="281" y="312"/>
                      <a:pt x="281" y="313"/>
                    </a:cubicBezTo>
                    <a:cubicBezTo>
                      <a:pt x="279" y="316"/>
                      <a:pt x="279" y="318"/>
                      <a:pt x="277" y="321"/>
                    </a:cubicBezTo>
                    <a:cubicBezTo>
                      <a:pt x="275" y="322"/>
                      <a:pt x="274" y="324"/>
                      <a:pt x="272" y="325"/>
                    </a:cubicBezTo>
                    <a:cubicBezTo>
                      <a:pt x="269" y="327"/>
                      <a:pt x="269" y="329"/>
                      <a:pt x="268" y="331"/>
                    </a:cubicBezTo>
                    <a:cubicBezTo>
                      <a:pt x="267" y="332"/>
                      <a:pt x="268" y="332"/>
                      <a:pt x="269" y="332"/>
                    </a:cubicBezTo>
                    <a:cubicBezTo>
                      <a:pt x="269" y="333"/>
                      <a:pt x="268" y="334"/>
                      <a:pt x="268" y="335"/>
                    </a:cubicBezTo>
                    <a:cubicBezTo>
                      <a:pt x="268" y="336"/>
                      <a:pt x="268" y="336"/>
                      <a:pt x="268" y="337"/>
                    </a:cubicBezTo>
                    <a:cubicBezTo>
                      <a:pt x="269" y="337"/>
                      <a:pt x="269" y="337"/>
                      <a:pt x="270" y="336"/>
                    </a:cubicBezTo>
                    <a:cubicBezTo>
                      <a:pt x="271" y="335"/>
                      <a:pt x="272" y="336"/>
                      <a:pt x="272" y="338"/>
                    </a:cubicBezTo>
                    <a:cubicBezTo>
                      <a:pt x="272" y="338"/>
                      <a:pt x="272" y="339"/>
                      <a:pt x="272" y="340"/>
                    </a:cubicBezTo>
                    <a:cubicBezTo>
                      <a:pt x="271" y="341"/>
                      <a:pt x="272" y="343"/>
                      <a:pt x="271" y="345"/>
                    </a:cubicBezTo>
                    <a:cubicBezTo>
                      <a:pt x="271" y="347"/>
                      <a:pt x="271" y="349"/>
                      <a:pt x="272" y="351"/>
                    </a:cubicBezTo>
                    <a:cubicBezTo>
                      <a:pt x="272" y="352"/>
                      <a:pt x="273" y="352"/>
                      <a:pt x="272" y="353"/>
                    </a:cubicBezTo>
                    <a:cubicBezTo>
                      <a:pt x="272" y="353"/>
                      <a:pt x="271" y="354"/>
                      <a:pt x="270" y="354"/>
                    </a:cubicBezTo>
                    <a:cubicBezTo>
                      <a:pt x="269" y="353"/>
                      <a:pt x="269" y="354"/>
                      <a:pt x="269" y="354"/>
                    </a:cubicBezTo>
                    <a:cubicBezTo>
                      <a:pt x="269" y="356"/>
                      <a:pt x="269" y="358"/>
                      <a:pt x="269" y="360"/>
                    </a:cubicBezTo>
                    <a:cubicBezTo>
                      <a:pt x="270" y="360"/>
                      <a:pt x="270" y="358"/>
                      <a:pt x="271" y="359"/>
                    </a:cubicBezTo>
                    <a:cubicBezTo>
                      <a:pt x="272" y="360"/>
                      <a:pt x="273" y="360"/>
                      <a:pt x="274" y="361"/>
                    </a:cubicBezTo>
                    <a:cubicBezTo>
                      <a:pt x="275" y="362"/>
                      <a:pt x="276" y="363"/>
                      <a:pt x="277" y="363"/>
                    </a:cubicBezTo>
                    <a:cubicBezTo>
                      <a:pt x="277" y="363"/>
                      <a:pt x="277" y="363"/>
                      <a:pt x="277" y="363"/>
                    </a:cubicBezTo>
                    <a:cubicBezTo>
                      <a:pt x="277" y="366"/>
                      <a:pt x="278" y="369"/>
                      <a:pt x="279" y="372"/>
                    </a:cubicBezTo>
                    <a:cubicBezTo>
                      <a:pt x="280" y="373"/>
                      <a:pt x="281" y="374"/>
                      <a:pt x="283" y="373"/>
                    </a:cubicBezTo>
                    <a:cubicBezTo>
                      <a:pt x="284" y="373"/>
                      <a:pt x="285" y="373"/>
                      <a:pt x="286" y="373"/>
                    </a:cubicBezTo>
                    <a:cubicBezTo>
                      <a:pt x="285" y="374"/>
                      <a:pt x="284" y="374"/>
                      <a:pt x="284" y="374"/>
                    </a:cubicBezTo>
                    <a:cubicBezTo>
                      <a:pt x="284" y="376"/>
                      <a:pt x="283" y="377"/>
                      <a:pt x="283" y="378"/>
                    </a:cubicBezTo>
                    <a:cubicBezTo>
                      <a:pt x="282" y="381"/>
                      <a:pt x="280" y="383"/>
                      <a:pt x="280" y="386"/>
                    </a:cubicBezTo>
                    <a:cubicBezTo>
                      <a:pt x="280" y="386"/>
                      <a:pt x="280" y="386"/>
                      <a:pt x="280" y="386"/>
                    </a:cubicBezTo>
                    <a:cubicBezTo>
                      <a:pt x="279" y="387"/>
                      <a:pt x="279" y="387"/>
                      <a:pt x="278" y="386"/>
                    </a:cubicBezTo>
                    <a:cubicBezTo>
                      <a:pt x="277" y="386"/>
                      <a:pt x="278" y="386"/>
                      <a:pt x="278" y="385"/>
                    </a:cubicBezTo>
                    <a:cubicBezTo>
                      <a:pt x="279" y="384"/>
                      <a:pt x="278" y="384"/>
                      <a:pt x="277" y="383"/>
                    </a:cubicBezTo>
                    <a:cubicBezTo>
                      <a:pt x="277" y="383"/>
                      <a:pt x="275" y="382"/>
                      <a:pt x="275" y="382"/>
                    </a:cubicBezTo>
                    <a:cubicBezTo>
                      <a:pt x="274" y="380"/>
                      <a:pt x="272" y="378"/>
                      <a:pt x="271" y="377"/>
                    </a:cubicBezTo>
                    <a:cubicBezTo>
                      <a:pt x="270" y="377"/>
                      <a:pt x="270" y="376"/>
                      <a:pt x="271" y="375"/>
                    </a:cubicBezTo>
                    <a:cubicBezTo>
                      <a:pt x="268" y="375"/>
                      <a:pt x="266" y="374"/>
                      <a:pt x="264" y="372"/>
                    </a:cubicBezTo>
                    <a:cubicBezTo>
                      <a:pt x="262" y="370"/>
                      <a:pt x="259" y="369"/>
                      <a:pt x="256" y="367"/>
                    </a:cubicBezTo>
                    <a:cubicBezTo>
                      <a:pt x="255" y="365"/>
                      <a:pt x="253" y="363"/>
                      <a:pt x="251" y="362"/>
                    </a:cubicBezTo>
                    <a:cubicBezTo>
                      <a:pt x="249" y="361"/>
                      <a:pt x="248" y="361"/>
                      <a:pt x="246" y="360"/>
                    </a:cubicBezTo>
                    <a:cubicBezTo>
                      <a:pt x="243" y="359"/>
                      <a:pt x="241" y="358"/>
                      <a:pt x="238" y="358"/>
                    </a:cubicBezTo>
                    <a:cubicBezTo>
                      <a:pt x="235" y="358"/>
                      <a:pt x="233" y="358"/>
                      <a:pt x="231" y="356"/>
                    </a:cubicBezTo>
                    <a:cubicBezTo>
                      <a:pt x="229" y="355"/>
                      <a:pt x="228" y="355"/>
                      <a:pt x="228" y="358"/>
                    </a:cubicBezTo>
                    <a:cubicBezTo>
                      <a:pt x="228" y="359"/>
                      <a:pt x="227" y="360"/>
                      <a:pt x="226" y="359"/>
                    </a:cubicBezTo>
                    <a:cubicBezTo>
                      <a:pt x="225" y="359"/>
                      <a:pt x="224" y="360"/>
                      <a:pt x="224" y="360"/>
                    </a:cubicBezTo>
                    <a:cubicBezTo>
                      <a:pt x="224" y="361"/>
                      <a:pt x="224" y="363"/>
                      <a:pt x="225" y="364"/>
                    </a:cubicBezTo>
                    <a:cubicBezTo>
                      <a:pt x="226" y="365"/>
                      <a:pt x="226" y="366"/>
                      <a:pt x="227" y="368"/>
                    </a:cubicBezTo>
                    <a:cubicBezTo>
                      <a:pt x="227" y="368"/>
                      <a:pt x="227" y="370"/>
                      <a:pt x="228" y="370"/>
                    </a:cubicBezTo>
                    <a:cubicBezTo>
                      <a:pt x="229" y="370"/>
                      <a:pt x="229" y="370"/>
                      <a:pt x="229" y="371"/>
                    </a:cubicBezTo>
                    <a:cubicBezTo>
                      <a:pt x="229" y="374"/>
                      <a:pt x="228" y="376"/>
                      <a:pt x="226" y="377"/>
                    </a:cubicBezTo>
                    <a:cubicBezTo>
                      <a:pt x="225" y="378"/>
                      <a:pt x="224" y="379"/>
                      <a:pt x="223" y="378"/>
                    </a:cubicBezTo>
                    <a:cubicBezTo>
                      <a:pt x="221" y="377"/>
                      <a:pt x="221" y="378"/>
                      <a:pt x="221" y="379"/>
                    </a:cubicBezTo>
                    <a:cubicBezTo>
                      <a:pt x="221" y="380"/>
                      <a:pt x="222" y="380"/>
                      <a:pt x="222" y="381"/>
                    </a:cubicBezTo>
                    <a:cubicBezTo>
                      <a:pt x="222" y="382"/>
                      <a:pt x="222" y="384"/>
                      <a:pt x="220" y="384"/>
                    </a:cubicBezTo>
                    <a:cubicBezTo>
                      <a:pt x="220" y="385"/>
                      <a:pt x="217" y="383"/>
                      <a:pt x="216" y="383"/>
                    </a:cubicBezTo>
                    <a:cubicBezTo>
                      <a:pt x="216" y="382"/>
                      <a:pt x="217" y="379"/>
                      <a:pt x="218" y="378"/>
                    </a:cubicBezTo>
                    <a:cubicBezTo>
                      <a:pt x="218" y="378"/>
                      <a:pt x="218" y="378"/>
                      <a:pt x="218" y="377"/>
                    </a:cubicBezTo>
                    <a:cubicBezTo>
                      <a:pt x="217" y="376"/>
                      <a:pt x="218" y="374"/>
                      <a:pt x="215" y="374"/>
                    </a:cubicBezTo>
                    <a:cubicBezTo>
                      <a:pt x="216" y="373"/>
                      <a:pt x="217" y="373"/>
                      <a:pt x="217" y="372"/>
                    </a:cubicBezTo>
                    <a:cubicBezTo>
                      <a:pt x="216" y="372"/>
                      <a:pt x="215" y="372"/>
                      <a:pt x="214" y="373"/>
                    </a:cubicBezTo>
                    <a:cubicBezTo>
                      <a:pt x="212" y="374"/>
                      <a:pt x="210" y="374"/>
                      <a:pt x="209" y="376"/>
                    </a:cubicBezTo>
                    <a:cubicBezTo>
                      <a:pt x="209" y="376"/>
                      <a:pt x="209" y="376"/>
                      <a:pt x="209" y="376"/>
                    </a:cubicBezTo>
                    <a:cubicBezTo>
                      <a:pt x="207" y="376"/>
                      <a:pt x="206" y="377"/>
                      <a:pt x="206" y="379"/>
                    </a:cubicBezTo>
                    <a:cubicBezTo>
                      <a:pt x="205" y="381"/>
                      <a:pt x="203" y="382"/>
                      <a:pt x="201" y="380"/>
                    </a:cubicBezTo>
                    <a:cubicBezTo>
                      <a:pt x="200" y="379"/>
                      <a:pt x="199" y="379"/>
                      <a:pt x="198" y="380"/>
                    </a:cubicBezTo>
                    <a:cubicBezTo>
                      <a:pt x="198" y="380"/>
                      <a:pt x="197" y="380"/>
                      <a:pt x="197" y="380"/>
                    </a:cubicBezTo>
                    <a:cubicBezTo>
                      <a:pt x="196" y="379"/>
                      <a:pt x="195" y="379"/>
                      <a:pt x="194" y="380"/>
                    </a:cubicBezTo>
                    <a:cubicBezTo>
                      <a:pt x="193" y="380"/>
                      <a:pt x="193" y="380"/>
                      <a:pt x="193" y="380"/>
                    </a:cubicBezTo>
                    <a:cubicBezTo>
                      <a:pt x="191" y="380"/>
                      <a:pt x="190" y="381"/>
                      <a:pt x="189" y="383"/>
                    </a:cubicBezTo>
                    <a:cubicBezTo>
                      <a:pt x="188" y="383"/>
                      <a:pt x="187" y="384"/>
                      <a:pt x="188" y="386"/>
                    </a:cubicBezTo>
                    <a:cubicBezTo>
                      <a:pt x="189" y="386"/>
                      <a:pt x="188" y="387"/>
                      <a:pt x="188" y="387"/>
                    </a:cubicBezTo>
                    <a:cubicBezTo>
                      <a:pt x="187" y="388"/>
                      <a:pt x="186" y="387"/>
                      <a:pt x="186" y="386"/>
                    </a:cubicBezTo>
                    <a:cubicBezTo>
                      <a:pt x="186" y="385"/>
                      <a:pt x="185" y="386"/>
                      <a:pt x="184" y="386"/>
                    </a:cubicBezTo>
                    <a:cubicBezTo>
                      <a:pt x="184" y="386"/>
                      <a:pt x="184" y="386"/>
                      <a:pt x="184" y="387"/>
                    </a:cubicBezTo>
                    <a:cubicBezTo>
                      <a:pt x="183" y="386"/>
                      <a:pt x="182" y="387"/>
                      <a:pt x="181" y="387"/>
                    </a:cubicBezTo>
                    <a:cubicBezTo>
                      <a:pt x="180" y="385"/>
                      <a:pt x="179" y="385"/>
                      <a:pt x="178" y="386"/>
                    </a:cubicBezTo>
                    <a:cubicBezTo>
                      <a:pt x="177" y="387"/>
                      <a:pt x="176" y="387"/>
                      <a:pt x="176" y="385"/>
                    </a:cubicBezTo>
                    <a:cubicBezTo>
                      <a:pt x="177" y="385"/>
                      <a:pt x="177" y="385"/>
                      <a:pt x="177" y="385"/>
                    </a:cubicBezTo>
                    <a:cubicBezTo>
                      <a:pt x="178" y="384"/>
                      <a:pt x="179" y="383"/>
                      <a:pt x="181" y="384"/>
                    </a:cubicBezTo>
                    <a:cubicBezTo>
                      <a:pt x="181" y="385"/>
                      <a:pt x="182" y="385"/>
                      <a:pt x="182" y="384"/>
                    </a:cubicBezTo>
                    <a:cubicBezTo>
                      <a:pt x="181" y="383"/>
                      <a:pt x="182" y="381"/>
                      <a:pt x="180" y="380"/>
                    </a:cubicBezTo>
                    <a:cubicBezTo>
                      <a:pt x="180" y="380"/>
                      <a:pt x="180" y="379"/>
                      <a:pt x="180" y="379"/>
                    </a:cubicBezTo>
                    <a:cubicBezTo>
                      <a:pt x="181" y="378"/>
                      <a:pt x="180" y="377"/>
                      <a:pt x="181" y="376"/>
                    </a:cubicBezTo>
                    <a:cubicBezTo>
                      <a:pt x="181" y="375"/>
                      <a:pt x="181" y="375"/>
                      <a:pt x="180" y="375"/>
                    </a:cubicBezTo>
                    <a:cubicBezTo>
                      <a:pt x="181" y="374"/>
                      <a:pt x="178" y="375"/>
                      <a:pt x="180" y="374"/>
                    </a:cubicBezTo>
                    <a:cubicBezTo>
                      <a:pt x="181" y="373"/>
                      <a:pt x="182" y="374"/>
                      <a:pt x="184" y="373"/>
                    </a:cubicBezTo>
                    <a:cubicBezTo>
                      <a:pt x="182" y="373"/>
                      <a:pt x="180" y="372"/>
                      <a:pt x="179" y="374"/>
                    </a:cubicBezTo>
                    <a:cubicBezTo>
                      <a:pt x="178" y="374"/>
                      <a:pt x="177" y="374"/>
                      <a:pt x="177" y="375"/>
                    </a:cubicBezTo>
                    <a:cubicBezTo>
                      <a:pt x="175" y="376"/>
                      <a:pt x="173" y="377"/>
                      <a:pt x="172" y="378"/>
                    </a:cubicBezTo>
                    <a:cubicBezTo>
                      <a:pt x="171" y="379"/>
                      <a:pt x="170" y="380"/>
                      <a:pt x="172" y="380"/>
                    </a:cubicBezTo>
                    <a:cubicBezTo>
                      <a:pt x="172" y="380"/>
                      <a:pt x="172" y="381"/>
                      <a:pt x="173" y="381"/>
                    </a:cubicBezTo>
                    <a:cubicBezTo>
                      <a:pt x="173" y="382"/>
                      <a:pt x="173" y="383"/>
                      <a:pt x="172" y="384"/>
                    </a:cubicBezTo>
                    <a:cubicBezTo>
                      <a:pt x="171" y="385"/>
                      <a:pt x="170" y="385"/>
                      <a:pt x="170" y="385"/>
                    </a:cubicBezTo>
                    <a:cubicBezTo>
                      <a:pt x="169" y="384"/>
                      <a:pt x="170" y="384"/>
                      <a:pt x="170" y="383"/>
                    </a:cubicBezTo>
                    <a:cubicBezTo>
                      <a:pt x="170" y="383"/>
                      <a:pt x="169" y="380"/>
                      <a:pt x="169" y="381"/>
                    </a:cubicBezTo>
                    <a:cubicBezTo>
                      <a:pt x="168" y="381"/>
                      <a:pt x="166" y="381"/>
                      <a:pt x="165" y="382"/>
                    </a:cubicBezTo>
                    <a:cubicBezTo>
                      <a:pt x="164" y="383"/>
                      <a:pt x="163" y="384"/>
                      <a:pt x="161" y="384"/>
                    </a:cubicBezTo>
                    <a:cubicBezTo>
                      <a:pt x="160" y="384"/>
                      <a:pt x="159" y="384"/>
                      <a:pt x="159" y="385"/>
                    </a:cubicBezTo>
                    <a:cubicBezTo>
                      <a:pt x="158" y="386"/>
                      <a:pt x="157" y="387"/>
                      <a:pt x="156" y="388"/>
                    </a:cubicBezTo>
                    <a:cubicBezTo>
                      <a:pt x="156" y="388"/>
                      <a:pt x="156" y="388"/>
                      <a:pt x="156" y="388"/>
                    </a:cubicBezTo>
                    <a:cubicBezTo>
                      <a:pt x="155" y="388"/>
                      <a:pt x="154" y="390"/>
                      <a:pt x="153" y="391"/>
                    </a:cubicBezTo>
                    <a:cubicBezTo>
                      <a:pt x="153" y="391"/>
                      <a:pt x="153" y="391"/>
                      <a:pt x="153" y="390"/>
                    </a:cubicBezTo>
                    <a:cubicBezTo>
                      <a:pt x="152" y="391"/>
                      <a:pt x="151" y="393"/>
                      <a:pt x="149" y="394"/>
                    </a:cubicBezTo>
                    <a:cubicBezTo>
                      <a:pt x="148" y="394"/>
                      <a:pt x="148" y="394"/>
                      <a:pt x="147" y="394"/>
                    </a:cubicBezTo>
                    <a:cubicBezTo>
                      <a:pt x="147" y="395"/>
                      <a:pt x="146" y="395"/>
                      <a:pt x="145" y="394"/>
                    </a:cubicBezTo>
                    <a:cubicBezTo>
                      <a:pt x="145" y="394"/>
                      <a:pt x="145" y="393"/>
                      <a:pt x="144" y="393"/>
                    </a:cubicBezTo>
                    <a:cubicBezTo>
                      <a:pt x="143" y="393"/>
                      <a:pt x="143" y="393"/>
                      <a:pt x="144" y="394"/>
                    </a:cubicBezTo>
                    <a:cubicBezTo>
                      <a:pt x="144" y="394"/>
                      <a:pt x="145" y="395"/>
                      <a:pt x="145" y="395"/>
                    </a:cubicBezTo>
                    <a:cubicBezTo>
                      <a:pt x="145" y="396"/>
                      <a:pt x="145" y="397"/>
                      <a:pt x="145" y="397"/>
                    </a:cubicBezTo>
                    <a:cubicBezTo>
                      <a:pt x="146" y="397"/>
                      <a:pt x="146" y="398"/>
                      <a:pt x="146" y="398"/>
                    </a:cubicBezTo>
                    <a:cubicBezTo>
                      <a:pt x="147" y="398"/>
                      <a:pt x="147" y="399"/>
                      <a:pt x="147" y="399"/>
                    </a:cubicBezTo>
                    <a:cubicBezTo>
                      <a:pt x="146" y="398"/>
                      <a:pt x="146" y="398"/>
                      <a:pt x="145" y="398"/>
                    </a:cubicBezTo>
                    <a:cubicBezTo>
                      <a:pt x="145" y="398"/>
                      <a:pt x="145" y="398"/>
                      <a:pt x="145" y="398"/>
                    </a:cubicBezTo>
                    <a:cubicBezTo>
                      <a:pt x="145" y="398"/>
                      <a:pt x="144" y="397"/>
                      <a:pt x="144" y="397"/>
                    </a:cubicBezTo>
                    <a:cubicBezTo>
                      <a:pt x="144" y="397"/>
                      <a:pt x="143" y="398"/>
                      <a:pt x="143" y="398"/>
                    </a:cubicBezTo>
                    <a:cubicBezTo>
                      <a:pt x="142" y="398"/>
                      <a:pt x="142" y="398"/>
                      <a:pt x="142" y="398"/>
                    </a:cubicBezTo>
                    <a:cubicBezTo>
                      <a:pt x="141" y="398"/>
                      <a:pt x="141" y="399"/>
                      <a:pt x="141" y="399"/>
                    </a:cubicBezTo>
                    <a:cubicBezTo>
                      <a:pt x="140" y="399"/>
                      <a:pt x="140" y="399"/>
                      <a:pt x="140" y="398"/>
                    </a:cubicBezTo>
                    <a:cubicBezTo>
                      <a:pt x="139" y="398"/>
                      <a:pt x="138" y="399"/>
                      <a:pt x="138" y="399"/>
                    </a:cubicBezTo>
                    <a:cubicBezTo>
                      <a:pt x="138" y="400"/>
                      <a:pt x="138" y="400"/>
                      <a:pt x="139" y="401"/>
                    </a:cubicBezTo>
                    <a:cubicBezTo>
                      <a:pt x="140" y="403"/>
                      <a:pt x="138" y="403"/>
                      <a:pt x="138" y="405"/>
                    </a:cubicBezTo>
                    <a:cubicBezTo>
                      <a:pt x="138" y="405"/>
                      <a:pt x="138" y="405"/>
                      <a:pt x="138" y="406"/>
                    </a:cubicBezTo>
                    <a:cubicBezTo>
                      <a:pt x="138" y="406"/>
                      <a:pt x="138" y="406"/>
                      <a:pt x="138" y="406"/>
                    </a:cubicBezTo>
                    <a:cubicBezTo>
                      <a:pt x="138" y="407"/>
                      <a:pt x="138" y="408"/>
                      <a:pt x="138" y="408"/>
                    </a:cubicBezTo>
                    <a:cubicBezTo>
                      <a:pt x="138" y="409"/>
                      <a:pt x="138" y="410"/>
                      <a:pt x="137" y="410"/>
                    </a:cubicBezTo>
                    <a:cubicBezTo>
                      <a:pt x="137" y="411"/>
                      <a:pt x="137" y="411"/>
                      <a:pt x="137" y="412"/>
                    </a:cubicBezTo>
                    <a:cubicBezTo>
                      <a:pt x="136" y="411"/>
                      <a:pt x="136" y="411"/>
                      <a:pt x="135" y="411"/>
                    </a:cubicBezTo>
                    <a:cubicBezTo>
                      <a:pt x="134" y="412"/>
                      <a:pt x="134" y="412"/>
                      <a:pt x="133" y="412"/>
                    </a:cubicBezTo>
                    <a:cubicBezTo>
                      <a:pt x="132" y="413"/>
                      <a:pt x="131" y="413"/>
                      <a:pt x="130" y="413"/>
                    </a:cubicBezTo>
                    <a:cubicBezTo>
                      <a:pt x="130" y="413"/>
                      <a:pt x="129" y="415"/>
                      <a:pt x="129" y="414"/>
                    </a:cubicBezTo>
                    <a:cubicBezTo>
                      <a:pt x="128" y="413"/>
                      <a:pt x="130" y="413"/>
                      <a:pt x="130" y="412"/>
                    </a:cubicBezTo>
                    <a:cubicBezTo>
                      <a:pt x="130" y="412"/>
                      <a:pt x="128" y="412"/>
                      <a:pt x="128" y="412"/>
                    </a:cubicBezTo>
                    <a:cubicBezTo>
                      <a:pt x="127" y="413"/>
                      <a:pt x="126" y="413"/>
                      <a:pt x="126" y="412"/>
                    </a:cubicBezTo>
                    <a:cubicBezTo>
                      <a:pt x="125" y="412"/>
                      <a:pt x="125" y="411"/>
                      <a:pt x="125" y="410"/>
                    </a:cubicBezTo>
                    <a:cubicBezTo>
                      <a:pt x="124" y="409"/>
                      <a:pt x="124" y="408"/>
                      <a:pt x="124" y="407"/>
                    </a:cubicBezTo>
                    <a:cubicBezTo>
                      <a:pt x="123" y="406"/>
                      <a:pt x="123" y="406"/>
                      <a:pt x="122" y="406"/>
                    </a:cubicBezTo>
                    <a:cubicBezTo>
                      <a:pt x="121" y="406"/>
                      <a:pt x="121" y="405"/>
                      <a:pt x="120" y="405"/>
                    </a:cubicBezTo>
                    <a:cubicBezTo>
                      <a:pt x="119" y="404"/>
                      <a:pt x="119" y="404"/>
                      <a:pt x="119" y="403"/>
                    </a:cubicBezTo>
                    <a:cubicBezTo>
                      <a:pt x="119" y="402"/>
                      <a:pt x="119" y="401"/>
                      <a:pt x="120" y="400"/>
                    </a:cubicBezTo>
                    <a:cubicBezTo>
                      <a:pt x="120" y="400"/>
                      <a:pt x="121" y="400"/>
                      <a:pt x="121" y="399"/>
                    </a:cubicBezTo>
                    <a:cubicBezTo>
                      <a:pt x="122" y="399"/>
                      <a:pt x="121" y="398"/>
                      <a:pt x="121" y="397"/>
                    </a:cubicBezTo>
                    <a:cubicBezTo>
                      <a:pt x="122" y="397"/>
                      <a:pt x="123" y="396"/>
                      <a:pt x="124" y="396"/>
                    </a:cubicBezTo>
                    <a:cubicBezTo>
                      <a:pt x="125" y="396"/>
                      <a:pt x="126" y="396"/>
                      <a:pt x="127" y="396"/>
                    </a:cubicBezTo>
                    <a:cubicBezTo>
                      <a:pt x="127" y="396"/>
                      <a:pt x="128" y="395"/>
                      <a:pt x="129" y="395"/>
                    </a:cubicBezTo>
                    <a:cubicBezTo>
                      <a:pt x="130" y="395"/>
                      <a:pt x="130" y="396"/>
                      <a:pt x="131" y="395"/>
                    </a:cubicBezTo>
                    <a:cubicBezTo>
                      <a:pt x="131" y="395"/>
                      <a:pt x="131" y="394"/>
                      <a:pt x="131" y="394"/>
                    </a:cubicBezTo>
                    <a:cubicBezTo>
                      <a:pt x="131" y="393"/>
                      <a:pt x="130" y="393"/>
                      <a:pt x="130" y="392"/>
                    </a:cubicBezTo>
                    <a:cubicBezTo>
                      <a:pt x="130" y="391"/>
                      <a:pt x="130" y="391"/>
                      <a:pt x="130" y="391"/>
                    </a:cubicBezTo>
                    <a:cubicBezTo>
                      <a:pt x="130" y="390"/>
                      <a:pt x="129" y="391"/>
                      <a:pt x="129" y="390"/>
                    </a:cubicBezTo>
                    <a:cubicBezTo>
                      <a:pt x="129" y="390"/>
                      <a:pt x="130" y="390"/>
                      <a:pt x="130" y="389"/>
                    </a:cubicBezTo>
                    <a:cubicBezTo>
                      <a:pt x="129" y="389"/>
                      <a:pt x="129" y="389"/>
                      <a:pt x="129" y="389"/>
                    </a:cubicBezTo>
                    <a:cubicBezTo>
                      <a:pt x="129" y="388"/>
                      <a:pt x="128" y="388"/>
                      <a:pt x="128" y="388"/>
                    </a:cubicBezTo>
                    <a:cubicBezTo>
                      <a:pt x="128" y="388"/>
                      <a:pt x="127" y="387"/>
                      <a:pt x="127" y="387"/>
                    </a:cubicBezTo>
                    <a:cubicBezTo>
                      <a:pt x="127" y="387"/>
                      <a:pt x="127" y="387"/>
                      <a:pt x="126" y="386"/>
                    </a:cubicBezTo>
                    <a:cubicBezTo>
                      <a:pt x="126" y="386"/>
                      <a:pt x="126" y="386"/>
                      <a:pt x="126" y="386"/>
                    </a:cubicBezTo>
                    <a:cubicBezTo>
                      <a:pt x="126" y="385"/>
                      <a:pt x="126" y="385"/>
                      <a:pt x="126" y="385"/>
                    </a:cubicBezTo>
                    <a:cubicBezTo>
                      <a:pt x="126" y="384"/>
                      <a:pt x="126" y="384"/>
                      <a:pt x="126" y="384"/>
                    </a:cubicBezTo>
                    <a:cubicBezTo>
                      <a:pt x="126" y="383"/>
                      <a:pt x="123" y="382"/>
                      <a:pt x="122" y="382"/>
                    </a:cubicBezTo>
                    <a:cubicBezTo>
                      <a:pt x="120" y="382"/>
                      <a:pt x="118" y="382"/>
                      <a:pt x="116" y="382"/>
                    </a:cubicBezTo>
                    <a:cubicBezTo>
                      <a:pt x="114" y="382"/>
                      <a:pt x="113" y="382"/>
                      <a:pt x="111" y="381"/>
                    </a:cubicBezTo>
                    <a:cubicBezTo>
                      <a:pt x="111" y="381"/>
                      <a:pt x="111" y="381"/>
                      <a:pt x="110" y="380"/>
                    </a:cubicBezTo>
                    <a:cubicBezTo>
                      <a:pt x="110" y="380"/>
                      <a:pt x="110" y="380"/>
                      <a:pt x="110" y="380"/>
                    </a:cubicBezTo>
                    <a:cubicBezTo>
                      <a:pt x="109" y="380"/>
                      <a:pt x="109" y="379"/>
                      <a:pt x="108" y="379"/>
                    </a:cubicBezTo>
                    <a:cubicBezTo>
                      <a:pt x="107" y="380"/>
                      <a:pt x="109" y="382"/>
                      <a:pt x="110" y="382"/>
                    </a:cubicBezTo>
                    <a:cubicBezTo>
                      <a:pt x="111" y="384"/>
                      <a:pt x="113" y="385"/>
                      <a:pt x="114" y="386"/>
                    </a:cubicBezTo>
                    <a:cubicBezTo>
                      <a:pt x="114" y="387"/>
                      <a:pt x="114" y="388"/>
                      <a:pt x="114" y="389"/>
                    </a:cubicBezTo>
                    <a:cubicBezTo>
                      <a:pt x="114" y="389"/>
                      <a:pt x="114" y="390"/>
                      <a:pt x="114" y="390"/>
                    </a:cubicBezTo>
                    <a:cubicBezTo>
                      <a:pt x="114" y="390"/>
                      <a:pt x="114" y="391"/>
                      <a:pt x="114" y="391"/>
                    </a:cubicBezTo>
                    <a:cubicBezTo>
                      <a:pt x="114" y="391"/>
                      <a:pt x="115" y="391"/>
                      <a:pt x="115" y="391"/>
                    </a:cubicBezTo>
                    <a:cubicBezTo>
                      <a:pt x="115" y="392"/>
                      <a:pt x="113" y="392"/>
                      <a:pt x="114" y="393"/>
                    </a:cubicBezTo>
                    <a:cubicBezTo>
                      <a:pt x="114" y="394"/>
                      <a:pt x="115" y="393"/>
                      <a:pt x="114" y="394"/>
                    </a:cubicBezTo>
                    <a:cubicBezTo>
                      <a:pt x="113" y="394"/>
                      <a:pt x="113" y="394"/>
                      <a:pt x="113" y="395"/>
                    </a:cubicBezTo>
                    <a:cubicBezTo>
                      <a:pt x="113" y="395"/>
                      <a:pt x="114" y="395"/>
                      <a:pt x="114" y="396"/>
                    </a:cubicBezTo>
                    <a:cubicBezTo>
                      <a:pt x="114" y="396"/>
                      <a:pt x="113" y="396"/>
                      <a:pt x="113" y="396"/>
                    </a:cubicBezTo>
                    <a:cubicBezTo>
                      <a:pt x="113" y="397"/>
                      <a:pt x="113" y="397"/>
                      <a:pt x="113" y="397"/>
                    </a:cubicBezTo>
                    <a:cubicBezTo>
                      <a:pt x="113" y="397"/>
                      <a:pt x="114" y="397"/>
                      <a:pt x="114" y="398"/>
                    </a:cubicBezTo>
                    <a:cubicBezTo>
                      <a:pt x="114" y="398"/>
                      <a:pt x="113" y="398"/>
                      <a:pt x="113" y="398"/>
                    </a:cubicBezTo>
                    <a:cubicBezTo>
                      <a:pt x="112" y="399"/>
                      <a:pt x="112" y="401"/>
                      <a:pt x="112" y="401"/>
                    </a:cubicBezTo>
                    <a:cubicBezTo>
                      <a:pt x="111" y="403"/>
                      <a:pt x="111" y="404"/>
                      <a:pt x="111" y="405"/>
                    </a:cubicBezTo>
                    <a:cubicBezTo>
                      <a:pt x="111" y="406"/>
                      <a:pt x="111" y="406"/>
                      <a:pt x="111" y="407"/>
                    </a:cubicBezTo>
                    <a:cubicBezTo>
                      <a:pt x="112" y="407"/>
                      <a:pt x="112" y="407"/>
                      <a:pt x="113" y="407"/>
                    </a:cubicBezTo>
                    <a:cubicBezTo>
                      <a:pt x="114" y="406"/>
                      <a:pt x="114" y="408"/>
                      <a:pt x="115" y="408"/>
                    </a:cubicBezTo>
                    <a:cubicBezTo>
                      <a:pt x="115" y="409"/>
                      <a:pt x="115" y="409"/>
                      <a:pt x="116" y="410"/>
                    </a:cubicBezTo>
                    <a:cubicBezTo>
                      <a:pt x="116" y="410"/>
                      <a:pt x="116" y="411"/>
                      <a:pt x="116" y="412"/>
                    </a:cubicBezTo>
                    <a:cubicBezTo>
                      <a:pt x="116" y="413"/>
                      <a:pt x="115" y="413"/>
                      <a:pt x="115" y="414"/>
                    </a:cubicBezTo>
                    <a:cubicBezTo>
                      <a:pt x="115" y="414"/>
                      <a:pt x="116" y="414"/>
                      <a:pt x="116" y="415"/>
                    </a:cubicBezTo>
                    <a:cubicBezTo>
                      <a:pt x="116" y="415"/>
                      <a:pt x="116" y="415"/>
                      <a:pt x="116" y="415"/>
                    </a:cubicBezTo>
                    <a:cubicBezTo>
                      <a:pt x="116" y="416"/>
                      <a:pt x="115" y="416"/>
                      <a:pt x="115" y="417"/>
                    </a:cubicBezTo>
                    <a:cubicBezTo>
                      <a:pt x="115" y="418"/>
                      <a:pt x="115" y="418"/>
                      <a:pt x="115" y="418"/>
                    </a:cubicBezTo>
                    <a:cubicBezTo>
                      <a:pt x="114" y="419"/>
                      <a:pt x="113" y="421"/>
                      <a:pt x="113" y="422"/>
                    </a:cubicBezTo>
                    <a:cubicBezTo>
                      <a:pt x="113" y="423"/>
                      <a:pt x="114" y="424"/>
                      <a:pt x="114" y="426"/>
                    </a:cubicBezTo>
                    <a:cubicBezTo>
                      <a:pt x="114" y="426"/>
                      <a:pt x="113" y="426"/>
                      <a:pt x="113" y="426"/>
                    </a:cubicBezTo>
                    <a:cubicBezTo>
                      <a:pt x="113" y="427"/>
                      <a:pt x="114" y="427"/>
                      <a:pt x="114" y="427"/>
                    </a:cubicBezTo>
                    <a:cubicBezTo>
                      <a:pt x="114" y="428"/>
                      <a:pt x="114" y="429"/>
                      <a:pt x="114" y="429"/>
                    </a:cubicBezTo>
                    <a:cubicBezTo>
                      <a:pt x="113" y="428"/>
                      <a:pt x="113" y="426"/>
                      <a:pt x="113" y="425"/>
                    </a:cubicBezTo>
                    <a:cubicBezTo>
                      <a:pt x="112" y="425"/>
                      <a:pt x="112" y="423"/>
                      <a:pt x="111" y="424"/>
                    </a:cubicBezTo>
                    <a:cubicBezTo>
                      <a:pt x="110" y="424"/>
                      <a:pt x="109" y="425"/>
                      <a:pt x="109" y="425"/>
                    </a:cubicBezTo>
                    <a:cubicBezTo>
                      <a:pt x="109" y="426"/>
                      <a:pt x="111" y="427"/>
                      <a:pt x="110" y="427"/>
                    </a:cubicBezTo>
                    <a:cubicBezTo>
                      <a:pt x="109" y="427"/>
                      <a:pt x="109" y="426"/>
                      <a:pt x="109" y="426"/>
                    </a:cubicBezTo>
                    <a:cubicBezTo>
                      <a:pt x="108" y="426"/>
                      <a:pt x="108" y="426"/>
                      <a:pt x="108" y="425"/>
                    </a:cubicBezTo>
                    <a:cubicBezTo>
                      <a:pt x="108" y="425"/>
                      <a:pt x="109" y="424"/>
                      <a:pt x="110" y="423"/>
                    </a:cubicBezTo>
                    <a:cubicBezTo>
                      <a:pt x="110" y="423"/>
                      <a:pt x="111" y="423"/>
                      <a:pt x="110" y="422"/>
                    </a:cubicBezTo>
                    <a:cubicBezTo>
                      <a:pt x="110" y="422"/>
                      <a:pt x="110" y="421"/>
                      <a:pt x="109" y="421"/>
                    </a:cubicBezTo>
                    <a:cubicBezTo>
                      <a:pt x="109" y="421"/>
                      <a:pt x="109" y="421"/>
                      <a:pt x="108" y="421"/>
                    </a:cubicBezTo>
                    <a:cubicBezTo>
                      <a:pt x="108" y="420"/>
                      <a:pt x="108" y="420"/>
                      <a:pt x="108" y="419"/>
                    </a:cubicBezTo>
                    <a:cubicBezTo>
                      <a:pt x="107" y="419"/>
                      <a:pt x="106" y="420"/>
                      <a:pt x="105" y="420"/>
                    </a:cubicBezTo>
                    <a:cubicBezTo>
                      <a:pt x="105" y="420"/>
                      <a:pt x="104" y="420"/>
                      <a:pt x="103" y="420"/>
                    </a:cubicBezTo>
                    <a:cubicBezTo>
                      <a:pt x="103" y="420"/>
                      <a:pt x="104" y="419"/>
                      <a:pt x="104" y="419"/>
                    </a:cubicBezTo>
                    <a:cubicBezTo>
                      <a:pt x="104" y="418"/>
                      <a:pt x="103" y="418"/>
                      <a:pt x="102" y="418"/>
                    </a:cubicBezTo>
                    <a:cubicBezTo>
                      <a:pt x="101" y="418"/>
                      <a:pt x="100" y="417"/>
                      <a:pt x="100" y="419"/>
                    </a:cubicBezTo>
                    <a:cubicBezTo>
                      <a:pt x="99" y="420"/>
                      <a:pt x="99" y="421"/>
                      <a:pt x="98" y="422"/>
                    </a:cubicBezTo>
                    <a:cubicBezTo>
                      <a:pt x="97" y="423"/>
                      <a:pt x="96" y="424"/>
                      <a:pt x="95" y="425"/>
                    </a:cubicBezTo>
                    <a:cubicBezTo>
                      <a:pt x="94" y="426"/>
                      <a:pt x="93" y="426"/>
                      <a:pt x="92" y="427"/>
                    </a:cubicBezTo>
                    <a:cubicBezTo>
                      <a:pt x="91" y="427"/>
                      <a:pt x="90" y="427"/>
                      <a:pt x="90" y="428"/>
                    </a:cubicBezTo>
                    <a:cubicBezTo>
                      <a:pt x="89" y="429"/>
                      <a:pt x="89" y="430"/>
                      <a:pt x="88" y="431"/>
                    </a:cubicBezTo>
                    <a:cubicBezTo>
                      <a:pt x="87" y="432"/>
                      <a:pt x="86" y="432"/>
                      <a:pt x="85" y="433"/>
                    </a:cubicBezTo>
                    <a:cubicBezTo>
                      <a:pt x="84" y="434"/>
                      <a:pt x="84" y="434"/>
                      <a:pt x="84" y="436"/>
                    </a:cubicBezTo>
                    <a:cubicBezTo>
                      <a:pt x="84" y="437"/>
                      <a:pt x="84" y="438"/>
                      <a:pt x="85" y="439"/>
                    </a:cubicBezTo>
                    <a:cubicBezTo>
                      <a:pt x="86" y="440"/>
                      <a:pt x="86" y="441"/>
                      <a:pt x="86" y="442"/>
                    </a:cubicBezTo>
                    <a:cubicBezTo>
                      <a:pt x="87" y="442"/>
                      <a:pt x="88" y="443"/>
                      <a:pt x="88" y="444"/>
                    </a:cubicBezTo>
                    <a:cubicBezTo>
                      <a:pt x="88" y="444"/>
                      <a:pt x="88" y="445"/>
                      <a:pt x="89" y="445"/>
                    </a:cubicBezTo>
                    <a:cubicBezTo>
                      <a:pt x="89" y="446"/>
                      <a:pt x="89" y="446"/>
                      <a:pt x="89" y="447"/>
                    </a:cubicBezTo>
                    <a:cubicBezTo>
                      <a:pt x="89" y="447"/>
                      <a:pt x="89" y="447"/>
                      <a:pt x="89" y="448"/>
                    </a:cubicBezTo>
                    <a:cubicBezTo>
                      <a:pt x="89" y="448"/>
                      <a:pt x="89" y="449"/>
                      <a:pt x="89" y="449"/>
                    </a:cubicBezTo>
                    <a:cubicBezTo>
                      <a:pt x="89" y="450"/>
                      <a:pt x="88" y="450"/>
                      <a:pt x="87" y="450"/>
                    </a:cubicBezTo>
                    <a:cubicBezTo>
                      <a:pt x="86" y="450"/>
                      <a:pt x="86" y="449"/>
                      <a:pt x="85" y="449"/>
                    </a:cubicBezTo>
                    <a:cubicBezTo>
                      <a:pt x="85" y="448"/>
                      <a:pt x="85" y="448"/>
                      <a:pt x="84" y="449"/>
                    </a:cubicBezTo>
                    <a:cubicBezTo>
                      <a:pt x="84" y="449"/>
                      <a:pt x="84" y="449"/>
                      <a:pt x="85" y="449"/>
                    </a:cubicBezTo>
                    <a:cubicBezTo>
                      <a:pt x="85" y="449"/>
                      <a:pt x="85" y="449"/>
                      <a:pt x="85" y="449"/>
                    </a:cubicBezTo>
                    <a:cubicBezTo>
                      <a:pt x="85" y="450"/>
                      <a:pt x="84" y="450"/>
                      <a:pt x="84" y="450"/>
                    </a:cubicBezTo>
                    <a:cubicBezTo>
                      <a:pt x="83" y="450"/>
                      <a:pt x="82" y="449"/>
                      <a:pt x="82" y="449"/>
                    </a:cubicBezTo>
                    <a:cubicBezTo>
                      <a:pt x="81" y="449"/>
                      <a:pt x="80" y="447"/>
                      <a:pt x="79" y="447"/>
                    </a:cubicBezTo>
                    <a:cubicBezTo>
                      <a:pt x="78" y="446"/>
                      <a:pt x="77" y="447"/>
                      <a:pt x="76" y="446"/>
                    </a:cubicBezTo>
                    <a:cubicBezTo>
                      <a:pt x="76" y="446"/>
                      <a:pt x="75" y="445"/>
                      <a:pt x="75" y="446"/>
                    </a:cubicBezTo>
                    <a:cubicBezTo>
                      <a:pt x="75" y="446"/>
                      <a:pt x="75" y="447"/>
                      <a:pt x="75" y="447"/>
                    </a:cubicBezTo>
                    <a:cubicBezTo>
                      <a:pt x="75" y="447"/>
                      <a:pt x="74" y="447"/>
                      <a:pt x="74" y="447"/>
                    </a:cubicBezTo>
                    <a:cubicBezTo>
                      <a:pt x="74" y="447"/>
                      <a:pt x="74" y="447"/>
                      <a:pt x="73" y="447"/>
                    </a:cubicBezTo>
                    <a:cubicBezTo>
                      <a:pt x="73" y="448"/>
                      <a:pt x="73" y="448"/>
                      <a:pt x="73" y="448"/>
                    </a:cubicBezTo>
                    <a:cubicBezTo>
                      <a:pt x="73" y="448"/>
                      <a:pt x="73" y="447"/>
                      <a:pt x="73" y="447"/>
                    </a:cubicBezTo>
                    <a:cubicBezTo>
                      <a:pt x="73" y="446"/>
                      <a:pt x="74" y="446"/>
                      <a:pt x="74" y="446"/>
                    </a:cubicBezTo>
                    <a:cubicBezTo>
                      <a:pt x="74" y="446"/>
                      <a:pt x="75" y="446"/>
                      <a:pt x="75" y="445"/>
                    </a:cubicBezTo>
                    <a:cubicBezTo>
                      <a:pt x="75" y="445"/>
                      <a:pt x="74" y="445"/>
                      <a:pt x="73" y="445"/>
                    </a:cubicBezTo>
                    <a:cubicBezTo>
                      <a:pt x="73" y="445"/>
                      <a:pt x="72" y="445"/>
                      <a:pt x="72" y="444"/>
                    </a:cubicBezTo>
                    <a:cubicBezTo>
                      <a:pt x="71" y="444"/>
                      <a:pt x="71" y="444"/>
                      <a:pt x="71" y="443"/>
                    </a:cubicBezTo>
                    <a:cubicBezTo>
                      <a:pt x="70" y="442"/>
                      <a:pt x="69" y="441"/>
                      <a:pt x="68" y="440"/>
                    </a:cubicBezTo>
                    <a:cubicBezTo>
                      <a:pt x="67" y="440"/>
                      <a:pt x="66" y="439"/>
                      <a:pt x="65" y="440"/>
                    </a:cubicBezTo>
                    <a:cubicBezTo>
                      <a:pt x="64" y="440"/>
                      <a:pt x="65" y="441"/>
                      <a:pt x="65" y="442"/>
                    </a:cubicBezTo>
                    <a:cubicBezTo>
                      <a:pt x="64" y="442"/>
                      <a:pt x="64" y="443"/>
                      <a:pt x="64" y="443"/>
                    </a:cubicBezTo>
                    <a:cubicBezTo>
                      <a:pt x="63" y="444"/>
                      <a:pt x="63" y="444"/>
                      <a:pt x="63" y="444"/>
                    </a:cubicBezTo>
                    <a:cubicBezTo>
                      <a:pt x="62" y="444"/>
                      <a:pt x="62" y="443"/>
                      <a:pt x="62" y="444"/>
                    </a:cubicBezTo>
                    <a:cubicBezTo>
                      <a:pt x="62" y="444"/>
                      <a:pt x="62" y="444"/>
                      <a:pt x="62" y="444"/>
                    </a:cubicBezTo>
                    <a:cubicBezTo>
                      <a:pt x="62" y="445"/>
                      <a:pt x="63" y="445"/>
                      <a:pt x="63" y="445"/>
                    </a:cubicBezTo>
                    <a:cubicBezTo>
                      <a:pt x="63" y="445"/>
                      <a:pt x="62" y="446"/>
                      <a:pt x="62" y="446"/>
                    </a:cubicBezTo>
                    <a:cubicBezTo>
                      <a:pt x="62" y="446"/>
                      <a:pt x="62" y="446"/>
                      <a:pt x="62" y="447"/>
                    </a:cubicBezTo>
                    <a:cubicBezTo>
                      <a:pt x="63" y="447"/>
                      <a:pt x="63" y="447"/>
                      <a:pt x="63" y="447"/>
                    </a:cubicBezTo>
                    <a:cubicBezTo>
                      <a:pt x="64" y="447"/>
                      <a:pt x="64" y="448"/>
                      <a:pt x="64" y="448"/>
                    </a:cubicBezTo>
                    <a:cubicBezTo>
                      <a:pt x="64" y="449"/>
                      <a:pt x="65" y="450"/>
                      <a:pt x="66" y="451"/>
                    </a:cubicBezTo>
                    <a:cubicBezTo>
                      <a:pt x="66" y="452"/>
                      <a:pt x="66" y="452"/>
                      <a:pt x="67" y="453"/>
                    </a:cubicBezTo>
                    <a:cubicBezTo>
                      <a:pt x="68" y="453"/>
                      <a:pt x="69" y="453"/>
                      <a:pt x="69" y="453"/>
                    </a:cubicBezTo>
                    <a:cubicBezTo>
                      <a:pt x="69" y="453"/>
                      <a:pt x="70" y="453"/>
                      <a:pt x="70" y="453"/>
                    </a:cubicBezTo>
                    <a:cubicBezTo>
                      <a:pt x="70" y="452"/>
                      <a:pt x="70" y="452"/>
                      <a:pt x="70" y="452"/>
                    </a:cubicBezTo>
                    <a:cubicBezTo>
                      <a:pt x="71" y="452"/>
                      <a:pt x="71" y="452"/>
                      <a:pt x="71" y="452"/>
                    </a:cubicBezTo>
                    <a:cubicBezTo>
                      <a:pt x="71" y="453"/>
                      <a:pt x="72" y="453"/>
                      <a:pt x="72" y="453"/>
                    </a:cubicBezTo>
                    <a:cubicBezTo>
                      <a:pt x="72" y="453"/>
                      <a:pt x="72" y="454"/>
                      <a:pt x="72" y="454"/>
                    </a:cubicBezTo>
                    <a:cubicBezTo>
                      <a:pt x="72" y="454"/>
                      <a:pt x="72" y="454"/>
                      <a:pt x="72" y="455"/>
                    </a:cubicBezTo>
                    <a:cubicBezTo>
                      <a:pt x="72" y="455"/>
                      <a:pt x="73" y="456"/>
                      <a:pt x="73" y="457"/>
                    </a:cubicBezTo>
                    <a:cubicBezTo>
                      <a:pt x="73" y="457"/>
                      <a:pt x="73" y="458"/>
                      <a:pt x="72" y="459"/>
                    </a:cubicBezTo>
                    <a:cubicBezTo>
                      <a:pt x="72" y="460"/>
                      <a:pt x="71" y="460"/>
                      <a:pt x="70" y="460"/>
                    </a:cubicBezTo>
                    <a:cubicBezTo>
                      <a:pt x="69" y="460"/>
                      <a:pt x="70" y="461"/>
                      <a:pt x="69" y="461"/>
                    </a:cubicBezTo>
                    <a:cubicBezTo>
                      <a:pt x="68" y="462"/>
                      <a:pt x="67" y="461"/>
                      <a:pt x="67" y="461"/>
                    </a:cubicBezTo>
                    <a:cubicBezTo>
                      <a:pt x="67" y="460"/>
                      <a:pt x="66" y="460"/>
                      <a:pt x="65" y="460"/>
                    </a:cubicBezTo>
                    <a:cubicBezTo>
                      <a:pt x="65" y="460"/>
                      <a:pt x="65" y="460"/>
                      <a:pt x="65" y="460"/>
                    </a:cubicBezTo>
                    <a:cubicBezTo>
                      <a:pt x="65" y="460"/>
                      <a:pt x="65" y="460"/>
                      <a:pt x="65" y="460"/>
                    </a:cubicBezTo>
                    <a:cubicBezTo>
                      <a:pt x="65" y="460"/>
                      <a:pt x="65" y="460"/>
                      <a:pt x="64" y="460"/>
                    </a:cubicBezTo>
                    <a:cubicBezTo>
                      <a:pt x="64" y="459"/>
                      <a:pt x="64" y="460"/>
                      <a:pt x="63" y="460"/>
                    </a:cubicBezTo>
                    <a:cubicBezTo>
                      <a:pt x="63" y="459"/>
                      <a:pt x="63" y="459"/>
                      <a:pt x="62" y="459"/>
                    </a:cubicBezTo>
                    <a:cubicBezTo>
                      <a:pt x="62" y="459"/>
                      <a:pt x="60" y="458"/>
                      <a:pt x="61" y="458"/>
                    </a:cubicBezTo>
                    <a:cubicBezTo>
                      <a:pt x="61" y="457"/>
                      <a:pt x="60" y="457"/>
                      <a:pt x="60" y="457"/>
                    </a:cubicBezTo>
                    <a:cubicBezTo>
                      <a:pt x="60" y="457"/>
                      <a:pt x="60" y="457"/>
                      <a:pt x="60" y="456"/>
                    </a:cubicBezTo>
                    <a:cubicBezTo>
                      <a:pt x="60" y="456"/>
                      <a:pt x="60" y="456"/>
                      <a:pt x="60" y="456"/>
                    </a:cubicBezTo>
                    <a:cubicBezTo>
                      <a:pt x="60" y="455"/>
                      <a:pt x="60" y="455"/>
                      <a:pt x="59" y="455"/>
                    </a:cubicBezTo>
                    <a:cubicBezTo>
                      <a:pt x="59" y="455"/>
                      <a:pt x="59" y="455"/>
                      <a:pt x="59" y="455"/>
                    </a:cubicBezTo>
                    <a:cubicBezTo>
                      <a:pt x="59" y="455"/>
                      <a:pt x="59" y="455"/>
                      <a:pt x="59" y="455"/>
                    </a:cubicBezTo>
                    <a:cubicBezTo>
                      <a:pt x="59" y="456"/>
                      <a:pt x="59" y="455"/>
                      <a:pt x="58" y="455"/>
                    </a:cubicBezTo>
                    <a:cubicBezTo>
                      <a:pt x="58" y="455"/>
                      <a:pt x="58" y="454"/>
                      <a:pt x="58" y="454"/>
                    </a:cubicBezTo>
                    <a:cubicBezTo>
                      <a:pt x="58" y="453"/>
                      <a:pt x="57" y="452"/>
                      <a:pt x="56" y="452"/>
                    </a:cubicBezTo>
                    <a:cubicBezTo>
                      <a:pt x="56" y="453"/>
                      <a:pt x="56" y="453"/>
                      <a:pt x="56" y="453"/>
                    </a:cubicBezTo>
                    <a:cubicBezTo>
                      <a:pt x="56" y="453"/>
                      <a:pt x="55" y="453"/>
                      <a:pt x="55" y="453"/>
                    </a:cubicBezTo>
                    <a:cubicBezTo>
                      <a:pt x="55" y="453"/>
                      <a:pt x="55" y="454"/>
                      <a:pt x="54" y="453"/>
                    </a:cubicBezTo>
                    <a:cubicBezTo>
                      <a:pt x="54" y="453"/>
                      <a:pt x="53" y="453"/>
                      <a:pt x="53" y="452"/>
                    </a:cubicBezTo>
                    <a:cubicBezTo>
                      <a:pt x="53" y="452"/>
                      <a:pt x="53" y="452"/>
                      <a:pt x="52" y="452"/>
                    </a:cubicBezTo>
                    <a:cubicBezTo>
                      <a:pt x="52" y="452"/>
                      <a:pt x="52" y="452"/>
                      <a:pt x="52" y="451"/>
                    </a:cubicBezTo>
                    <a:cubicBezTo>
                      <a:pt x="52" y="451"/>
                      <a:pt x="52" y="451"/>
                      <a:pt x="51" y="450"/>
                    </a:cubicBezTo>
                    <a:cubicBezTo>
                      <a:pt x="51" y="450"/>
                      <a:pt x="51" y="450"/>
                      <a:pt x="51" y="450"/>
                    </a:cubicBezTo>
                    <a:cubicBezTo>
                      <a:pt x="50" y="450"/>
                      <a:pt x="51" y="450"/>
                      <a:pt x="51" y="450"/>
                    </a:cubicBezTo>
                    <a:cubicBezTo>
                      <a:pt x="51" y="449"/>
                      <a:pt x="52" y="449"/>
                      <a:pt x="51" y="448"/>
                    </a:cubicBezTo>
                    <a:cubicBezTo>
                      <a:pt x="51" y="448"/>
                      <a:pt x="51" y="448"/>
                      <a:pt x="51" y="448"/>
                    </a:cubicBezTo>
                    <a:cubicBezTo>
                      <a:pt x="51" y="448"/>
                      <a:pt x="51" y="447"/>
                      <a:pt x="51" y="447"/>
                    </a:cubicBezTo>
                    <a:cubicBezTo>
                      <a:pt x="51" y="447"/>
                      <a:pt x="50" y="447"/>
                      <a:pt x="51" y="446"/>
                    </a:cubicBezTo>
                    <a:cubicBezTo>
                      <a:pt x="51" y="446"/>
                      <a:pt x="52" y="445"/>
                      <a:pt x="51" y="445"/>
                    </a:cubicBezTo>
                    <a:cubicBezTo>
                      <a:pt x="51" y="444"/>
                      <a:pt x="51" y="444"/>
                      <a:pt x="51" y="444"/>
                    </a:cubicBezTo>
                    <a:cubicBezTo>
                      <a:pt x="51" y="444"/>
                      <a:pt x="50" y="443"/>
                      <a:pt x="50" y="443"/>
                    </a:cubicBezTo>
                    <a:cubicBezTo>
                      <a:pt x="50" y="443"/>
                      <a:pt x="51" y="443"/>
                      <a:pt x="51" y="442"/>
                    </a:cubicBezTo>
                    <a:cubicBezTo>
                      <a:pt x="51" y="442"/>
                      <a:pt x="50" y="442"/>
                      <a:pt x="50" y="442"/>
                    </a:cubicBezTo>
                    <a:cubicBezTo>
                      <a:pt x="50" y="442"/>
                      <a:pt x="50" y="441"/>
                      <a:pt x="50" y="441"/>
                    </a:cubicBezTo>
                    <a:cubicBezTo>
                      <a:pt x="50" y="441"/>
                      <a:pt x="50" y="441"/>
                      <a:pt x="50" y="441"/>
                    </a:cubicBezTo>
                    <a:cubicBezTo>
                      <a:pt x="49" y="441"/>
                      <a:pt x="50" y="440"/>
                      <a:pt x="50" y="440"/>
                    </a:cubicBezTo>
                    <a:cubicBezTo>
                      <a:pt x="50" y="439"/>
                      <a:pt x="50" y="439"/>
                      <a:pt x="49" y="439"/>
                    </a:cubicBezTo>
                    <a:cubicBezTo>
                      <a:pt x="49" y="438"/>
                      <a:pt x="49" y="438"/>
                      <a:pt x="48" y="438"/>
                    </a:cubicBezTo>
                    <a:cubicBezTo>
                      <a:pt x="48" y="437"/>
                      <a:pt x="48" y="437"/>
                      <a:pt x="48" y="437"/>
                    </a:cubicBezTo>
                    <a:cubicBezTo>
                      <a:pt x="48" y="437"/>
                      <a:pt x="47" y="437"/>
                      <a:pt x="47" y="437"/>
                    </a:cubicBezTo>
                    <a:cubicBezTo>
                      <a:pt x="48" y="436"/>
                      <a:pt x="48" y="436"/>
                      <a:pt x="49" y="436"/>
                    </a:cubicBezTo>
                    <a:cubicBezTo>
                      <a:pt x="49" y="435"/>
                      <a:pt x="49" y="436"/>
                      <a:pt x="50" y="436"/>
                    </a:cubicBezTo>
                    <a:cubicBezTo>
                      <a:pt x="50" y="435"/>
                      <a:pt x="50" y="435"/>
                      <a:pt x="50" y="435"/>
                    </a:cubicBezTo>
                    <a:cubicBezTo>
                      <a:pt x="50" y="435"/>
                      <a:pt x="50" y="434"/>
                      <a:pt x="50" y="434"/>
                    </a:cubicBezTo>
                    <a:cubicBezTo>
                      <a:pt x="51" y="434"/>
                      <a:pt x="50" y="433"/>
                      <a:pt x="50" y="433"/>
                    </a:cubicBezTo>
                    <a:cubicBezTo>
                      <a:pt x="50" y="432"/>
                      <a:pt x="50" y="432"/>
                      <a:pt x="50" y="432"/>
                    </a:cubicBezTo>
                    <a:cubicBezTo>
                      <a:pt x="50" y="432"/>
                      <a:pt x="50" y="431"/>
                      <a:pt x="50" y="432"/>
                    </a:cubicBezTo>
                    <a:cubicBezTo>
                      <a:pt x="50" y="431"/>
                      <a:pt x="50" y="431"/>
                      <a:pt x="50" y="430"/>
                    </a:cubicBezTo>
                    <a:cubicBezTo>
                      <a:pt x="50" y="429"/>
                      <a:pt x="52" y="432"/>
                      <a:pt x="52" y="431"/>
                    </a:cubicBezTo>
                    <a:cubicBezTo>
                      <a:pt x="52" y="431"/>
                      <a:pt x="51" y="431"/>
                      <a:pt x="51" y="431"/>
                    </a:cubicBezTo>
                    <a:cubicBezTo>
                      <a:pt x="51" y="430"/>
                      <a:pt x="51" y="430"/>
                      <a:pt x="51" y="430"/>
                    </a:cubicBezTo>
                    <a:cubicBezTo>
                      <a:pt x="51" y="430"/>
                      <a:pt x="51" y="429"/>
                      <a:pt x="51" y="429"/>
                    </a:cubicBezTo>
                    <a:cubicBezTo>
                      <a:pt x="51" y="429"/>
                      <a:pt x="51" y="429"/>
                      <a:pt x="51" y="428"/>
                    </a:cubicBezTo>
                    <a:cubicBezTo>
                      <a:pt x="51" y="428"/>
                      <a:pt x="50" y="428"/>
                      <a:pt x="50" y="427"/>
                    </a:cubicBezTo>
                    <a:cubicBezTo>
                      <a:pt x="50" y="427"/>
                      <a:pt x="50" y="427"/>
                      <a:pt x="50" y="427"/>
                    </a:cubicBezTo>
                    <a:cubicBezTo>
                      <a:pt x="50" y="426"/>
                      <a:pt x="50" y="426"/>
                      <a:pt x="49" y="426"/>
                    </a:cubicBezTo>
                    <a:cubicBezTo>
                      <a:pt x="49" y="425"/>
                      <a:pt x="49" y="425"/>
                      <a:pt x="48" y="424"/>
                    </a:cubicBezTo>
                    <a:cubicBezTo>
                      <a:pt x="48" y="424"/>
                      <a:pt x="47" y="424"/>
                      <a:pt x="46" y="423"/>
                    </a:cubicBezTo>
                    <a:cubicBezTo>
                      <a:pt x="46" y="423"/>
                      <a:pt x="46" y="423"/>
                      <a:pt x="46" y="423"/>
                    </a:cubicBezTo>
                    <a:cubicBezTo>
                      <a:pt x="46" y="423"/>
                      <a:pt x="45" y="423"/>
                      <a:pt x="45" y="423"/>
                    </a:cubicBezTo>
                    <a:cubicBezTo>
                      <a:pt x="45" y="423"/>
                      <a:pt x="45" y="423"/>
                      <a:pt x="45" y="423"/>
                    </a:cubicBezTo>
                    <a:cubicBezTo>
                      <a:pt x="45" y="423"/>
                      <a:pt x="45" y="423"/>
                      <a:pt x="44" y="423"/>
                    </a:cubicBezTo>
                    <a:cubicBezTo>
                      <a:pt x="44" y="422"/>
                      <a:pt x="44" y="422"/>
                      <a:pt x="44" y="422"/>
                    </a:cubicBezTo>
                    <a:cubicBezTo>
                      <a:pt x="44" y="422"/>
                      <a:pt x="43" y="422"/>
                      <a:pt x="43" y="422"/>
                    </a:cubicBezTo>
                    <a:cubicBezTo>
                      <a:pt x="42" y="421"/>
                      <a:pt x="41" y="421"/>
                      <a:pt x="41" y="421"/>
                    </a:cubicBezTo>
                    <a:cubicBezTo>
                      <a:pt x="41" y="420"/>
                      <a:pt x="42" y="421"/>
                      <a:pt x="43" y="420"/>
                    </a:cubicBezTo>
                    <a:cubicBezTo>
                      <a:pt x="43" y="420"/>
                      <a:pt x="42" y="420"/>
                      <a:pt x="42" y="420"/>
                    </a:cubicBezTo>
                    <a:cubicBezTo>
                      <a:pt x="42" y="420"/>
                      <a:pt x="43" y="420"/>
                      <a:pt x="43" y="420"/>
                    </a:cubicBezTo>
                    <a:cubicBezTo>
                      <a:pt x="43" y="419"/>
                      <a:pt x="43" y="419"/>
                      <a:pt x="43" y="419"/>
                    </a:cubicBezTo>
                    <a:cubicBezTo>
                      <a:pt x="43" y="419"/>
                      <a:pt x="43" y="418"/>
                      <a:pt x="43" y="418"/>
                    </a:cubicBezTo>
                    <a:cubicBezTo>
                      <a:pt x="43" y="418"/>
                      <a:pt x="43" y="419"/>
                      <a:pt x="42" y="419"/>
                    </a:cubicBezTo>
                    <a:cubicBezTo>
                      <a:pt x="42" y="419"/>
                      <a:pt x="41" y="419"/>
                      <a:pt x="41" y="418"/>
                    </a:cubicBezTo>
                    <a:cubicBezTo>
                      <a:pt x="41" y="418"/>
                      <a:pt x="40" y="418"/>
                      <a:pt x="40" y="418"/>
                    </a:cubicBezTo>
                    <a:cubicBezTo>
                      <a:pt x="39" y="418"/>
                      <a:pt x="39" y="418"/>
                      <a:pt x="38" y="418"/>
                    </a:cubicBezTo>
                    <a:cubicBezTo>
                      <a:pt x="39" y="417"/>
                      <a:pt x="40" y="417"/>
                      <a:pt x="40" y="417"/>
                    </a:cubicBezTo>
                    <a:cubicBezTo>
                      <a:pt x="41" y="417"/>
                      <a:pt x="42" y="418"/>
                      <a:pt x="42" y="417"/>
                    </a:cubicBezTo>
                    <a:cubicBezTo>
                      <a:pt x="42" y="417"/>
                      <a:pt x="40" y="417"/>
                      <a:pt x="40" y="417"/>
                    </a:cubicBezTo>
                    <a:cubicBezTo>
                      <a:pt x="39" y="417"/>
                      <a:pt x="38" y="418"/>
                      <a:pt x="38" y="417"/>
                    </a:cubicBezTo>
                    <a:cubicBezTo>
                      <a:pt x="38" y="417"/>
                      <a:pt x="38" y="417"/>
                      <a:pt x="39" y="417"/>
                    </a:cubicBezTo>
                    <a:cubicBezTo>
                      <a:pt x="39" y="416"/>
                      <a:pt x="39" y="416"/>
                      <a:pt x="39" y="416"/>
                    </a:cubicBezTo>
                    <a:cubicBezTo>
                      <a:pt x="40" y="415"/>
                      <a:pt x="40" y="416"/>
                      <a:pt x="41" y="416"/>
                    </a:cubicBezTo>
                    <a:cubicBezTo>
                      <a:pt x="41" y="416"/>
                      <a:pt x="40" y="415"/>
                      <a:pt x="40" y="415"/>
                    </a:cubicBezTo>
                    <a:cubicBezTo>
                      <a:pt x="39" y="415"/>
                      <a:pt x="39" y="415"/>
                      <a:pt x="38" y="415"/>
                    </a:cubicBezTo>
                    <a:cubicBezTo>
                      <a:pt x="38" y="415"/>
                      <a:pt x="38" y="415"/>
                      <a:pt x="37" y="415"/>
                    </a:cubicBezTo>
                    <a:cubicBezTo>
                      <a:pt x="37" y="414"/>
                      <a:pt x="38" y="415"/>
                      <a:pt x="38" y="414"/>
                    </a:cubicBezTo>
                    <a:cubicBezTo>
                      <a:pt x="38" y="414"/>
                      <a:pt x="38" y="414"/>
                      <a:pt x="37" y="413"/>
                    </a:cubicBezTo>
                    <a:cubicBezTo>
                      <a:pt x="36" y="413"/>
                      <a:pt x="36" y="412"/>
                      <a:pt x="34" y="412"/>
                    </a:cubicBezTo>
                    <a:cubicBezTo>
                      <a:pt x="35" y="411"/>
                      <a:pt x="35" y="411"/>
                      <a:pt x="35" y="411"/>
                    </a:cubicBezTo>
                    <a:cubicBezTo>
                      <a:pt x="35" y="411"/>
                      <a:pt x="36" y="410"/>
                      <a:pt x="35" y="409"/>
                    </a:cubicBezTo>
                    <a:cubicBezTo>
                      <a:pt x="35" y="409"/>
                      <a:pt x="34" y="409"/>
                      <a:pt x="34" y="409"/>
                    </a:cubicBezTo>
                    <a:cubicBezTo>
                      <a:pt x="34" y="409"/>
                      <a:pt x="34" y="408"/>
                      <a:pt x="34" y="408"/>
                    </a:cubicBezTo>
                    <a:cubicBezTo>
                      <a:pt x="33" y="408"/>
                      <a:pt x="33" y="408"/>
                      <a:pt x="32" y="408"/>
                    </a:cubicBezTo>
                    <a:cubicBezTo>
                      <a:pt x="32" y="408"/>
                      <a:pt x="31" y="408"/>
                      <a:pt x="31" y="407"/>
                    </a:cubicBezTo>
                    <a:cubicBezTo>
                      <a:pt x="31" y="407"/>
                      <a:pt x="32" y="407"/>
                      <a:pt x="33" y="407"/>
                    </a:cubicBezTo>
                    <a:cubicBezTo>
                      <a:pt x="34" y="407"/>
                      <a:pt x="34" y="407"/>
                      <a:pt x="35" y="407"/>
                    </a:cubicBezTo>
                    <a:cubicBezTo>
                      <a:pt x="35" y="407"/>
                      <a:pt x="36" y="408"/>
                      <a:pt x="36" y="408"/>
                    </a:cubicBezTo>
                    <a:cubicBezTo>
                      <a:pt x="37" y="408"/>
                      <a:pt x="38" y="408"/>
                      <a:pt x="38" y="408"/>
                    </a:cubicBezTo>
                    <a:cubicBezTo>
                      <a:pt x="39" y="408"/>
                      <a:pt x="37" y="409"/>
                      <a:pt x="37" y="409"/>
                    </a:cubicBezTo>
                    <a:cubicBezTo>
                      <a:pt x="37" y="411"/>
                      <a:pt x="39" y="412"/>
                      <a:pt x="40" y="412"/>
                    </a:cubicBezTo>
                    <a:cubicBezTo>
                      <a:pt x="40" y="413"/>
                      <a:pt x="42" y="415"/>
                      <a:pt x="42" y="414"/>
                    </a:cubicBezTo>
                    <a:cubicBezTo>
                      <a:pt x="43" y="414"/>
                      <a:pt x="42" y="413"/>
                      <a:pt x="43" y="413"/>
                    </a:cubicBezTo>
                    <a:cubicBezTo>
                      <a:pt x="43" y="413"/>
                      <a:pt x="44" y="414"/>
                      <a:pt x="44" y="414"/>
                    </a:cubicBezTo>
                    <a:cubicBezTo>
                      <a:pt x="44" y="414"/>
                      <a:pt x="44" y="414"/>
                      <a:pt x="44" y="415"/>
                    </a:cubicBezTo>
                    <a:cubicBezTo>
                      <a:pt x="45" y="415"/>
                      <a:pt x="45" y="415"/>
                      <a:pt x="46" y="415"/>
                    </a:cubicBezTo>
                    <a:cubicBezTo>
                      <a:pt x="46" y="415"/>
                      <a:pt x="46" y="414"/>
                      <a:pt x="46" y="414"/>
                    </a:cubicBezTo>
                    <a:cubicBezTo>
                      <a:pt x="46" y="413"/>
                      <a:pt x="46" y="414"/>
                      <a:pt x="46" y="414"/>
                    </a:cubicBezTo>
                    <a:cubicBezTo>
                      <a:pt x="46" y="415"/>
                      <a:pt x="46" y="415"/>
                      <a:pt x="47" y="415"/>
                    </a:cubicBezTo>
                    <a:cubicBezTo>
                      <a:pt x="47" y="415"/>
                      <a:pt x="48" y="415"/>
                      <a:pt x="49" y="416"/>
                    </a:cubicBezTo>
                    <a:cubicBezTo>
                      <a:pt x="49" y="416"/>
                      <a:pt x="48" y="416"/>
                      <a:pt x="48" y="416"/>
                    </a:cubicBezTo>
                    <a:cubicBezTo>
                      <a:pt x="48" y="416"/>
                      <a:pt x="48" y="417"/>
                      <a:pt x="48" y="418"/>
                    </a:cubicBezTo>
                    <a:cubicBezTo>
                      <a:pt x="49" y="418"/>
                      <a:pt x="50" y="417"/>
                      <a:pt x="50" y="417"/>
                    </a:cubicBezTo>
                    <a:cubicBezTo>
                      <a:pt x="51" y="416"/>
                      <a:pt x="52" y="417"/>
                      <a:pt x="53" y="418"/>
                    </a:cubicBezTo>
                    <a:cubicBezTo>
                      <a:pt x="54" y="419"/>
                      <a:pt x="55" y="420"/>
                      <a:pt x="56" y="420"/>
                    </a:cubicBezTo>
                    <a:cubicBezTo>
                      <a:pt x="58" y="421"/>
                      <a:pt x="60" y="422"/>
                      <a:pt x="62" y="422"/>
                    </a:cubicBezTo>
                    <a:cubicBezTo>
                      <a:pt x="64" y="422"/>
                      <a:pt x="67" y="422"/>
                      <a:pt x="68" y="423"/>
                    </a:cubicBezTo>
                    <a:cubicBezTo>
                      <a:pt x="69" y="424"/>
                      <a:pt x="70" y="425"/>
                      <a:pt x="71" y="425"/>
                    </a:cubicBezTo>
                    <a:cubicBezTo>
                      <a:pt x="72" y="425"/>
                      <a:pt x="73" y="425"/>
                      <a:pt x="74" y="426"/>
                    </a:cubicBezTo>
                    <a:cubicBezTo>
                      <a:pt x="76" y="426"/>
                      <a:pt x="77" y="425"/>
                      <a:pt x="78" y="425"/>
                    </a:cubicBezTo>
                    <a:cubicBezTo>
                      <a:pt x="79" y="425"/>
                      <a:pt x="80" y="425"/>
                      <a:pt x="81" y="424"/>
                    </a:cubicBezTo>
                    <a:cubicBezTo>
                      <a:pt x="82" y="424"/>
                      <a:pt x="82" y="424"/>
                      <a:pt x="83" y="423"/>
                    </a:cubicBezTo>
                    <a:cubicBezTo>
                      <a:pt x="84" y="423"/>
                      <a:pt x="85" y="423"/>
                      <a:pt x="86" y="422"/>
                    </a:cubicBezTo>
                    <a:cubicBezTo>
                      <a:pt x="86" y="422"/>
                      <a:pt x="87" y="421"/>
                      <a:pt x="88" y="420"/>
                    </a:cubicBezTo>
                    <a:cubicBezTo>
                      <a:pt x="88" y="420"/>
                      <a:pt x="88" y="420"/>
                      <a:pt x="89" y="420"/>
                    </a:cubicBezTo>
                    <a:cubicBezTo>
                      <a:pt x="89" y="420"/>
                      <a:pt x="89" y="419"/>
                      <a:pt x="90" y="419"/>
                    </a:cubicBezTo>
                    <a:cubicBezTo>
                      <a:pt x="90" y="419"/>
                      <a:pt x="90" y="418"/>
                      <a:pt x="90" y="418"/>
                    </a:cubicBezTo>
                    <a:cubicBezTo>
                      <a:pt x="90" y="418"/>
                      <a:pt x="90" y="418"/>
                      <a:pt x="91" y="417"/>
                    </a:cubicBezTo>
                    <a:cubicBezTo>
                      <a:pt x="91" y="417"/>
                      <a:pt x="91" y="417"/>
                      <a:pt x="91" y="416"/>
                    </a:cubicBezTo>
                    <a:cubicBezTo>
                      <a:pt x="91" y="416"/>
                      <a:pt x="92" y="416"/>
                      <a:pt x="92" y="415"/>
                    </a:cubicBezTo>
                    <a:cubicBezTo>
                      <a:pt x="93" y="414"/>
                      <a:pt x="93" y="414"/>
                      <a:pt x="94" y="413"/>
                    </a:cubicBezTo>
                    <a:cubicBezTo>
                      <a:pt x="94" y="412"/>
                      <a:pt x="94" y="411"/>
                      <a:pt x="94" y="411"/>
                    </a:cubicBezTo>
                    <a:cubicBezTo>
                      <a:pt x="94" y="410"/>
                      <a:pt x="94" y="410"/>
                      <a:pt x="94" y="410"/>
                    </a:cubicBezTo>
                    <a:cubicBezTo>
                      <a:pt x="95" y="410"/>
                      <a:pt x="95" y="408"/>
                      <a:pt x="95" y="408"/>
                    </a:cubicBezTo>
                    <a:cubicBezTo>
                      <a:pt x="95" y="407"/>
                      <a:pt x="95" y="407"/>
                      <a:pt x="95" y="407"/>
                    </a:cubicBezTo>
                    <a:cubicBezTo>
                      <a:pt x="95" y="407"/>
                      <a:pt x="95" y="407"/>
                      <a:pt x="95" y="407"/>
                    </a:cubicBezTo>
                    <a:cubicBezTo>
                      <a:pt x="95" y="406"/>
                      <a:pt x="95" y="406"/>
                      <a:pt x="95" y="406"/>
                    </a:cubicBezTo>
                    <a:cubicBezTo>
                      <a:pt x="94" y="406"/>
                      <a:pt x="94" y="406"/>
                      <a:pt x="94" y="406"/>
                    </a:cubicBezTo>
                    <a:cubicBezTo>
                      <a:pt x="92" y="406"/>
                      <a:pt x="94" y="403"/>
                      <a:pt x="93" y="402"/>
                    </a:cubicBezTo>
                    <a:cubicBezTo>
                      <a:pt x="93" y="402"/>
                      <a:pt x="93" y="402"/>
                      <a:pt x="92" y="401"/>
                    </a:cubicBezTo>
                    <a:cubicBezTo>
                      <a:pt x="92" y="401"/>
                      <a:pt x="92" y="400"/>
                      <a:pt x="92" y="400"/>
                    </a:cubicBezTo>
                    <a:cubicBezTo>
                      <a:pt x="92" y="400"/>
                      <a:pt x="93" y="400"/>
                      <a:pt x="93" y="399"/>
                    </a:cubicBezTo>
                    <a:cubicBezTo>
                      <a:pt x="93" y="399"/>
                      <a:pt x="93" y="397"/>
                      <a:pt x="92" y="397"/>
                    </a:cubicBezTo>
                    <a:cubicBezTo>
                      <a:pt x="92" y="397"/>
                      <a:pt x="92" y="397"/>
                      <a:pt x="91" y="397"/>
                    </a:cubicBezTo>
                    <a:cubicBezTo>
                      <a:pt x="90" y="397"/>
                      <a:pt x="91" y="395"/>
                      <a:pt x="90" y="395"/>
                    </a:cubicBezTo>
                    <a:cubicBezTo>
                      <a:pt x="89" y="396"/>
                      <a:pt x="90" y="396"/>
                      <a:pt x="89" y="397"/>
                    </a:cubicBezTo>
                    <a:cubicBezTo>
                      <a:pt x="89" y="397"/>
                      <a:pt x="88" y="396"/>
                      <a:pt x="88" y="396"/>
                    </a:cubicBezTo>
                    <a:cubicBezTo>
                      <a:pt x="88" y="395"/>
                      <a:pt x="89" y="395"/>
                      <a:pt x="89" y="395"/>
                    </a:cubicBezTo>
                    <a:cubicBezTo>
                      <a:pt x="89" y="394"/>
                      <a:pt x="87" y="393"/>
                      <a:pt x="87" y="393"/>
                    </a:cubicBezTo>
                    <a:cubicBezTo>
                      <a:pt x="86" y="392"/>
                      <a:pt x="86" y="392"/>
                      <a:pt x="86" y="391"/>
                    </a:cubicBezTo>
                    <a:cubicBezTo>
                      <a:pt x="85" y="391"/>
                      <a:pt x="85" y="390"/>
                      <a:pt x="85" y="389"/>
                    </a:cubicBezTo>
                    <a:cubicBezTo>
                      <a:pt x="84" y="389"/>
                      <a:pt x="84" y="389"/>
                      <a:pt x="84" y="390"/>
                    </a:cubicBezTo>
                    <a:cubicBezTo>
                      <a:pt x="84" y="390"/>
                      <a:pt x="84" y="390"/>
                      <a:pt x="85" y="390"/>
                    </a:cubicBezTo>
                    <a:cubicBezTo>
                      <a:pt x="85" y="391"/>
                      <a:pt x="85" y="391"/>
                      <a:pt x="85" y="392"/>
                    </a:cubicBezTo>
                    <a:cubicBezTo>
                      <a:pt x="84" y="391"/>
                      <a:pt x="83" y="391"/>
                      <a:pt x="82" y="390"/>
                    </a:cubicBezTo>
                    <a:cubicBezTo>
                      <a:pt x="82" y="390"/>
                      <a:pt x="81" y="389"/>
                      <a:pt x="81" y="389"/>
                    </a:cubicBezTo>
                    <a:cubicBezTo>
                      <a:pt x="80" y="389"/>
                      <a:pt x="80" y="388"/>
                      <a:pt x="79" y="388"/>
                    </a:cubicBezTo>
                    <a:cubicBezTo>
                      <a:pt x="79" y="388"/>
                      <a:pt x="79" y="388"/>
                      <a:pt x="79" y="388"/>
                    </a:cubicBezTo>
                    <a:cubicBezTo>
                      <a:pt x="79" y="387"/>
                      <a:pt x="79" y="387"/>
                      <a:pt x="79" y="387"/>
                    </a:cubicBezTo>
                    <a:cubicBezTo>
                      <a:pt x="78" y="387"/>
                      <a:pt x="78" y="387"/>
                      <a:pt x="78" y="386"/>
                    </a:cubicBezTo>
                    <a:cubicBezTo>
                      <a:pt x="78" y="386"/>
                      <a:pt x="78" y="386"/>
                      <a:pt x="77" y="386"/>
                    </a:cubicBezTo>
                    <a:cubicBezTo>
                      <a:pt x="77" y="386"/>
                      <a:pt x="77" y="385"/>
                      <a:pt x="77" y="385"/>
                    </a:cubicBezTo>
                    <a:cubicBezTo>
                      <a:pt x="77" y="385"/>
                      <a:pt x="76" y="385"/>
                      <a:pt x="76" y="386"/>
                    </a:cubicBezTo>
                    <a:cubicBezTo>
                      <a:pt x="77" y="386"/>
                      <a:pt x="77" y="386"/>
                      <a:pt x="77" y="387"/>
                    </a:cubicBezTo>
                    <a:cubicBezTo>
                      <a:pt x="77" y="387"/>
                      <a:pt x="76" y="386"/>
                      <a:pt x="76" y="386"/>
                    </a:cubicBezTo>
                    <a:cubicBezTo>
                      <a:pt x="75" y="386"/>
                      <a:pt x="75" y="386"/>
                      <a:pt x="75" y="385"/>
                    </a:cubicBezTo>
                    <a:cubicBezTo>
                      <a:pt x="75" y="385"/>
                      <a:pt x="75" y="385"/>
                      <a:pt x="74" y="384"/>
                    </a:cubicBezTo>
                    <a:cubicBezTo>
                      <a:pt x="74" y="384"/>
                      <a:pt x="74" y="384"/>
                      <a:pt x="74" y="383"/>
                    </a:cubicBezTo>
                    <a:cubicBezTo>
                      <a:pt x="73" y="383"/>
                      <a:pt x="73" y="383"/>
                      <a:pt x="73" y="383"/>
                    </a:cubicBezTo>
                    <a:cubicBezTo>
                      <a:pt x="72" y="382"/>
                      <a:pt x="72" y="382"/>
                      <a:pt x="72" y="381"/>
                    </a:cubicBezTo>
                    <a:cubicBezTo>
                      <a:pt x="71" y="381"/>
                      <a:pt x="71" y="379"/>
                      <a:pt x="70" y="379"/>
                    </a:cubicBezTo>
                    <a:cubicBezTo>
                      <a:pt x="69" y="379"/>
                      <a:pt x="68" y="378"/>
                      <a:pt x="67" y="378"/>
                    </a:cubicBezTo>
                    <a:cubicBezTo>
                      <a:pt x="67" y="377"/>
                      <a:pt x="67" y="377"/>
                      <a:pt x="67" y="377"/>
                    </a:cubicBezTo>
                    <a:cubicBezTo>
                      <a:pt x="66" y="376"/>
                      <a:pt x="66" y="376"/>
                      <a:pt x="65" y="375"/>
                    </a:cubicBezTo>
                    <a:cubicBezTo>
                      <a:pt x="65" y="375"/>
                      <a:pt x="65" y="375"/>
                      <a:pt x="64" y="375"/>
                    </a:cubicBezTo>
                    <a:cubicBezTo>
                      <a:pt x="64" y="374"/>
                      <a:pt x="64" y="374"/>
                      <a:pt x="63" y="374"/>
                    </a:cubicBezTo>
                    <a:cubicBezTo>
                      <a:pt x="62" y="373"/>
                      <a:pt x="61" y="373"/>
                      <a:pt x="61" y="372"/>
                    </a:cubicBezTo>
                    <a:cubicBezTo>
                      <a:pt x="61" y="372"/>
                      <a:pt x="61" y="372"/>
                      <a:pt x="60" y="372"/>
                    </a:cubicBezTo>
                    <a:cubicBezTo>
                      <a:pt x="60" y="371"/>
                      <a:pt x="60" y="371"/>
                      <a:pt x="59" y="371"/>
                    </a:cubicBezTo>
                    <a:cubicBezTo>
                      <a:pt x="59" y="371"/>
                      <a:pt x="59" y="370"/>
                      <a:pt x="58" y="370"/>
                    </a:cubicBezTo>
                    <a:cubicBezTo>
                      <a:pt x="57" y="370"/>
                      <a:pt x="56" y="370"/>
                      <a:pt x="55" y="369"/>
                    </a:cubicBezTo>
                    <a:cubicBezTo>
                      <a:pt x="55" y="369"/>
                      <a:pt x="54" y="368"/>
                      <a:pt x="53" y="369"/>
                    </a:cubicBezTo>
                    <a:cubicBezTo>
                      <a:pt x="53" y="369"/>
                      <a:pt x="54" y="370"/>
                      <a:pt x="53" y="370"/>
                    </a:cubicBezTo>
                    <a:cubicBezTo>
                      <a:pt x="53" y="370"/>
                      <a:pt x="53" y="370"/>
                      <a:pt x="53" y="370"/>
                    </a:cubicBezTo>
                    <a:cubicBezTo>
                      <a:pt x="52" y="370"/>
                      <a:pt x="52" y="370"/>
                      <a:pt x="52" y="370"/>
                    </a:cubicBezTo>
                    <a:cubicBezTo>
                      <a:pt x="52" y="370"/>
                      <a:pt x="52" y="370"/>
                      <a:pt x="51" y="369"/>
                    </a:cubicBezTo>
                    <a:cubicBezTo>
                      <a:pt x="51" y="369"/>
                      <a:pt x="51" y="369"/>
                      <a:pt x="51" y="369"/>
                    </a:cubicBezTo>
                    <a:cubicBezTo>
                      <a:pt x="50" y="369"/>
                      <a:pt x="50" y="369"/>
                      <a:pt x="49" y="369"/>
                    </a:cubicBezTo>
                    <a:cubicBezTo>
                      <a:pt x="49" y="368"/>
                      <a:pt x="48" y="368"/>
                      <a:pt x="48" y="368"/>
                    </a:cubicBezTo>
                    <a:cubicBezTo>
                      <a:pt x="48" y="368"/>
                      <a:pt x="48" y="368"/>
                      <a:pt x="47" y="368"/>
                    </a:cubicBezTo>
                    <a:cubicBezTo>
                      <a:pt x="47" y="368"/>
                      <a:pt x="46" y="368"/>
                      <a:pt x="45" y="368"/>
                    </a:cubicBezTo>
                    <a:cubicBezTo>
                      <a:pt x="45" y="368"/>
                      <a:pt x="45" y="367"/>
                      <a:pt x="45" y="367"/>
                    </a:cubicBezTo>
                    <a:cubicBezTo>
                      <a:pt x="44" y="367"/>
                      <a:pt x="44" y="368"/>
                      <a:pt x="44" y="368"/>
                    </a:cubicBezTo>
                    <a:cubicBezTo>
                      <a:pt x="44" y="368"/>
                      <a:pt x="44" y="368"/>
                      <a:pt x="43" y="368"/>
                    </a:cubicBezTo>
                    <a:cubicBezTo>
                      <a:pt x="43" y="367"/>
                      <a:pt x="43" y="367"/>
                      <a:pt x="43" y="367"/>
                    </a:cubicBezTo>
                    <a:cubicBezTo>
                      <a:pt x="42" y="368"/>
                      <a:pt x="43" y="369"/>
                      <a:pt x="43" y="369"/>
                    </a:cubicBezTo>
                    <a:cubicBezTo>
                      <a:pt x="43" y="370"/>
                      <a:pt x="42" y="371"/>
                      <a:pt x="42" y="371"/>
                    </a:cubicBezTo>
                    <a:cubicBezTo>
                      <a:pt x="42" y="372"/>
                      <a:pt x="41" y="372"/>
                      <a:pt x="40" y="372"/>
                    </a:cubicBezTo>
                    <a:cubicBezTo>
                      <a:pt x="40" y="373"/>
                      <a:pt x="39" y="372"/>
                      <a:pt x="39" y="373"/>
                    </a:cubicBezTo>
                    <a:cubicBezTo>
                      <a:pt x="39" y="373"/>
                      <a:pt x="39" y="375"/>
                      <a:pt x="38" y="374"/>
                    </a:cubicBezTo>
                    <a:cubicBezTo>
                      <a:pt x="38" y="373"/>
                      <a:pt x="39" y="372"/>
                      <a:pt x="40" y="371"/>
                    </a:cubicBezTo>
                    <a:cubicBezTo>
                      <a:pt x="41" y="371"/>
                      <a:pt x="41" y="371"/>
                      <a:pt x="42" y="370"/>
                    </a:cubicBezTo>
                    <a:cubicBezTo>
                      <a:pt x="42" y="370"/>
                      <a:pt x="42" y="370"/>
                      <a:pt x="41" y="370"/>
                    </a:cubicBezTo>
                    <a:cubicBezTo>
                      <a:pt x="41" y="370"/>
                      <a:pt x="41" y="370"/>
                      <a:pt x="41" y="369"/>
                    </a:cubicBezTo>
                    <a:cubicBezTo>
                      <a:pt x="41" y="369"/>
                      <a:pt x="41" y="369"/>
                      <a:pt x="41" y="369"/>
                    </a:cubicBezTo>
                    <a:cubicBezTo>
                      <a:pt x="41" y="369"/>
                      <a:pt x="42" y="368"/>
                      <a:pt x="41" y="368"/>
                    </a:cubicBezTo>
                    <a:cubicBezTo>
                      <a:pt x="40" y="368"/>
                      <a:pt x="40" y="368"/>
                      <a:pt x="41" y="368"/>
                    </a:cubicBezTo>
                    <a:cubicBezTo>
                      <a:pt x="41" y="368"/>
                      <a:pt x="42" y="367"/>
                      <a:pt x="42" y="367"/>
                    </a:cubicBezTo>
                    <a:cubicBezTo>
                      <a:pt x="42" y="367"/>
                      <a:pt x="41" y="367"/>
                      <a:pt x="41" y="367"/>
                    </a:cubicBezTo>
                    <a:cubicBezTo>
                      <a:pt x="42" y="366"/>
                      <a:pt x="42" y="366"/>
                      <a:pt x="42" y="366"/>
                    </a:cubicBezTo>
                    <a:cubicBezTo>
                      <a:pt x="42" y="365"/>
                      <a:pt x="40" y="366"/>
                      <a:pt x="40" y="366"/>
                    </a:cubicBezTo>
                    <a:cubicBezTo>
                      <a:pt x="39" y="366"/>
                      <a:pt x="39" y="366"/>
                      <a:pt x="39" y="366"/>
                    </a:cubicBezTo>
                    <a:cubicBezTo>
                      <a:pt x="38" y="367"/>
                      <a:pt x="38" y="367"/>
                      <a:pt x="38" y="367"/>
                    </a:cubicBezTo>
                    <a:cubicBezTo>
                      <a:pt x="38" y="368"/>
                      <a:pt x="38" y="368"/>
                      <a:pt x="37" y="368"/>
                    </a:cubicBezTo>
                    <a:cubicBezTo>
                      <a:pt x="37" y="368"/>
                      <a:pt x="38" y="367"/>
                      <a:pt x="38" y="367"/>
                    </a:cubicBezTo>
                    <a:cubicBezTo>
                      <a:pt x="38" y="367"/>
                      <a:pt x="39" y="365"/>
                      <a:pt x="39" y="365"/>
                    </a:cubicBezTo>
                    <a:cubicBezTo>
                      <a:pt x="39" y="364"/>
                      <a:pt x="37" y="366"/>
                      <a:pt x="37" y="366"/>
                    </a:cubicBezTo>
                    <a:cubicBezTo>
                      <a:pt x="37" y="365"/>
                      <a:pt x="38" y="365"/>
                      <a:pt x="37" y="365"/>
                    </a:cubicBezTo>
                    <a:cubicBezTo>
                      <a:pt x="37" y="364"/>
                      <a:pt x="37" y="364"/>
                      <a:pt x="36" y="364"/>
                    </a:cubicBezTo>
                    <a:cubicBezTo>
                      <a:pt x="35" y="365"/>
                      <a:pt x="34" y="365"/>
                      <a:pt x="33" y="366"/>
                    </a:cubicBezTo>
                    <a:cubicBezTo>
                      <a:pt x="33" y="365"/>
                      <a:pt x="34" y="365"/>
                      <a:pt x="35" y="365"/>
                    </a:cubicBezTo>
                    <a:cubicBezTo>
                      <a:pt x="35" y="364"/>
                      <a:pt x="35" y="364"/>
                      <a:pt x="35" y="363"/>
                    </a:cubicBezTo>
                    <a:cubicBezTo>
                      <a:pt x="35" y="363"/>
                      <a:pt x="35" y="363"/>
                      <a:pt x="34" y="363"/>
                    </a:cubicBezTo>
                    <a:cubicBezTo>
                      <a:pt x="34" y="363"/>
                      <a:pt x="34" y="363"/>
                      <a:pt x="34" y="363"/>
                    </a:cubicBezTo>
                    <a:cubicBezTo>
                      <a:pt x="33" y="362"/>
                      <a:pt x="32" y="362"/>
                      <a:pt x="32" y="363"/>
                    </a:cubicBezTo>
                    <a:cubicBezTo>
                      <a:pt x="32" y="363"/>
                      <a:pt x="32" y="362"/>
                      <a:pt x="32" y="362"/>
                    </a:cubicBezTo>
                    <a:cubicBezTo>
                      <a:pt x="32" y="361"/>
                      <a:pt x="32" y="362"/>
                      <a:pt x="32" y="361"/>
                    </a:cubicBezTo>
                    <a:cubicBezTo>
                      <a:pt x="32" y="361"/>
                      <a:pt x="32" y="361"/>
                      <a:pt x="32" y="361"/>
                    </a:cubicBezTo>
                    <a:cubicBezTo>
                      <a:pt x="32" y="360"/>
                      <a:pt x="32" y="360"/>
                      <a:pt x="32" y="360"/>
                    </a:cubicBezTo>
                    <a:cubicBezTo>
                      <a:pt x="33" y="359"/>
                      <a:pt x="33" y="360"/>
                      <a:pt x="33" y="360"/>
                    </a:cubicBezTo>
                    <a:cubicBezTo>
                      <a:pt x="33" y="361"/>
                      <a:pt x="33" y="361"/>
                      <a:pt x="34" y="361"/>
                    </a:cubicBezTo>
                    <a:cubicBezTo>
                      <a:pt x="35" y="361"/>
                      <a:pt x="36" y="362"/>
                      <a:pt x="37" y="362"/>
                    </a:cubicBezTo>
                    <a:cubicBezTo>
                      <a:pt x="37" y="362"/>
                      <a:pt x="38" y="363"/>
                      <a:pt x="39" y="362"/>
                    </a:cubicBezTo>
                    <a:cubicBezTo>
                      <a:pt x="39" y="362"/>
                      <a:pt x="39" y="361"/>
                      <a:pt x="39" y="361"/>
                    </a:cubicBezTo>
                    <a:cubicBezTo>
                      <a:pt x="39" y="360"/>
                      <a:pt x="39" y="360"/>
                      <a:pt x="38" y="359"/>
                    </a:cubicBezTo>
                    <a:cubicBezTo>
                      <a:pt x="38" y="359"/>
                      <a:pt x="38" y="359"/>
                      <a:pt x="37" y="359"/>
                    </a:cubicBezTo>
                    <a:cubicBezTo>
                      <a:pt x="37" y="359"/>
                      <a:pt x="37" y="359"/>
                      <a:pt x="36" y="359"/>
                    </a:cubicBezTo>
                    <a:cubicBezTo>
                      <a:pt x="35" y="359"/>
                      <a:pt x="35" y="358"/>
                      <a:pt x="35" y="357"/>
                    </a:cubicBezTo>
                    <a:cubicBezTo>
                      <a:pt x="34" y="357"/>
                      <a:pt x="34" y="357"/>
                      <a:pt x="33" y="357"/>
                    </a:cubicBezTo>
                    <a:cubicBezTo>
                      <a:pt x="33" y="356"/>
                      <a:pt x="31" y="354"/>
                      <a:pt x="31" y="356"/>
                    </a:cubicBezTo>
                    <a:cubicBezTo>
                      <a:pt x="31" y="356"/>
                      <a:pt x="33" y="358"/>
                      <a:pt x="32" y="359"/>
                    </a:cubicBezTo>
                    <a:cubicBezTo>
                      <a:pt x="32" y="360"/>
                      <a:pt x="31" y="357"/>
                      <a:pt x="30" y="358"/>
                    </a:cubicBezTo>
                    <a:cubicBezTo>
                      <a:pt x="29" y="359"/>
                      <a:pt x="31" y="361"/>
                      <a:pt x="30" y="361"/>
                    </a:cubicBezTo>
                    <a:cubicBezTo>
                      <a:pt x="29" y="361"/>
                      <a:pt x="29" y="360"/>
                      <a:pt x="28" y="361"/>
                    </a:cubicBezTo>
                    <a:cubicBezTo>
                      <a:pt x="28" y="361"/>
                      <a:pt x="28" y="361"/>
                      <a:pt x="28" y="361"/>
                    </a:cubicBezTo>
                    <a:cubicBezTo>
                      <a:pt x="28" y="362"/>
                      <a:pt x="27" y="362"/>
                      <a:pt x="27" y="362"/>
                    </a:cubicBezTo>
                    <a:cubicBezTo>
                      <a:pt x="27" y="361"/>
                      <a:pt x="28" y="361"/>
                      <a:pt x="28" y="360"/>
                    </a:cubicBezTo>
                    <a:cubicBezTo>
                      <a:pt x="28" y="360"/>
                      <a:pt x="27" y="359"/>
                      <a:pt x="27" y="359"/>
                    </a:cubicBezTo>
                    <a:cubicBezTo>
                      <a:pt x="26" y="359"/>
                      <a:pt x="26" y="359"/>
                      <a:pt x="25" y="359"/>
                    </a:cubicBezTo>
                    <a:cubicBezTo>
                      <a:pt x="25" y="359"/>
                      <a:pt x="24" y="358"/>
                      <a:pt x="24" y="358"/>
                    </a:cubicBezTo>
                    <a:cubicBezTo>
                      <a:pt x="24" y="359"/>
                      <a:pt x="25" y="361"/>
                      <a:pt x="25" y="362"/>
                    </a:cubicBezTo>
                    <a:cubicBezTo>
                      <a:pt x="25" y="362"/>
                      <a:pt x="25" y="363"/>
                      <a:pt x="24" y="364"/>
                    </a:cubicBezTo>
                    <a:cubicBezTo>
                      <a:pt x="24" y="364"/>
                      <a:pt x="23" y="364"/>
                      <a:pt x="22" y="364"/>
                    </a:cubicBezTo>
                    <a:cubicBezTo>
                      <a:pt x="21" y="363"/>
                      <a:pt x="22" y="363"/>
                      <a:pt x="21" y="362"/>
                    </a:cubicBezTo>
                    <a:cubicBezTo>
                      <a:pt x="21" y="362"/>
                      <a:pt x="20" y="361"/>
                      <a:pt x="20" y="361"/>
                    </a:cubicBezTo>
                    <a:cubicBezTo>
                      <a:pt x="19" y="362"/>
                      <a:pt x="20" y="362"/>
                      <a:pt x="20" y="363"/>
                    </a:cubicBezTo>
                    <a:cubicBezTo>
                      <a:pt x="20" y="363"/>
                      <a:pt x="20" y="365"/>
                      <a:pt x="19" y="365"/>
                    </a:cubicBezTo>
                    <a:cubicBezTo>
                      <a:pt x="19" y="366"/>
                      <a:pt x="18" y="367"/>
                      <a:pt x="18" y="367"/>
                    </a:cubicBezTo>
                    <a:cubicBezTo>
                      <a:pt x="18" y="367"/>
                      <a:pt x="17" y="367"/>
                      <a:pt x="17" y="367"/>
                    </a:cubicBezTo>
                    <a:cubicBezTo>
                      <a:pt x="16" y="367"/>
                      <a:pt x="16" y="368"/>
                      <a:pt x="16" y="368"/>
                    </a:cubicBezTo>
                    <a:cubicBezTo>
                      <a:pt x="15" y="369"/>
                      <a:pt x="14" y="368"/>
                      <a:pt x="14" y="369"/>
                    </a:cubicBezTo>
                    <a:cubicBezTo>
                      <a:pt x="13" y="370"/>
                      <a:pt x="13" y="371"/>
                      <a:pt x="13" y="371"/>
                    </a:cubicBezTo>
                    <a:cubicBezTo>
                      <a:pt x="13" y="372"/>
                      <a:pt x="12" y="373"/>
                      <a:pt x="11" y="373"/>
                    </a:cubicBezTo>
                    <a:cubicBezTo>
                      <a:pt x="11" y="374"/>
                      <a:pt x="10" y="374"/>
                      <a:pt x="9" y="375"/>
                    </a:cubicBezTo>
                    <a:cubicBezTo>
                      <a:pt x="9" y="375"/>
                      <a:pt x="8" y="375"/>
                      <a:pt x="8" y="376"/>
                    </a:cubicBezTo>
                    <a:cubicBezTo>
                      <a:pt x="8" y="376"/>
                      <a:pt x="10" y="376"/>
                      <a:pt x="10" y="377"/>
                    </a:cubicBezTo>
                    <a:cubicBezTo>
                      <a:pt x="11" y="378"/>
                      <a:pt x="9" y="380"/>
                      <a:pt x="9" y="381"/>
                    </a:cubicBezTo>
                    <a:cubicBezTo>
                      <a:pt x="8" y="383"/>
                      <a:pt x="8" y="384"/>
                      <a:pt x="9" y="385"/>
                    </a:cubicBezTo>
                    <a:cubicBezTo>
                      <a:pt x="9" y="387"/>
                      <a:pt x="9" y="388"/>
                      <a:pt x="10" y="389"/>
                    </a:cubicBezTo>
                    <a:cubicBezTo>
                      <a:pt x="11" y="389"/>
                      <a:pt x="12" y="390"/>
                      <a:pt x="13" y="390"/>
                    </a:cubicBezTo>
                    <a:cubicBezTo>
                      <a:pt x="15" y="391"/>
                      <a:pt x="15" y="393"/>
                      <a:pt x="16" y="394"/>
                    </a:cubicBezTo>
                    <a:cubicBezTo>
                      <a:pt x="16" y="395"/>
                      <a:pt x="16" y="395"/>
                      <a:pt x="17" y="396"/>
                    </a:cubicBezTo>
                    <a:cubicBezTo>
                      <a:pt x="17" y="396"/>
                      <a:pt x="18" y="397"/>
                      <a:pt x="18" y="397"/>
                    </a:cubicBezTo>
                    <a:cubicBezTo>
                      <a:pt x="18" y="398"/>
                      <a:pt x="18" y="401"/>
                      <a:pt x="18" y="401"/>
                    </a:cubicBezTo>
                    <a:cubicBezTo>
                      <a:pt x="17" y="402"/>
                      <a:pt x="17" y="402"/>
                      <a:pt x="17" y="403"/>
                    </a:cubicBezTo>
                    <a:cubicBezTo>
                      <a:pt x="16" y="403"/>
                      <a:pt x="16" y="404"/>
                      <a:pt x="16" y="404"/>
                    </a:cubicBezTo>
                    <a:cubicBezTo>
                      <a:pt x="14" y="406"/>
                      <a:pt x="11" y="410"/>
                      <a:pt x="12" y="412"/>
                    </a:cubicBezTo>
                    <a:cubicBezTo>
                      <a:pt x="13" y="413"/>
                      <a:pt x="13" y="414"/>
                      <a:pt x="13" y="414"/>
                    </a:cubicBezTo>
                    <a:cubicBezTo>
                      <a:pt x="14" y="415"/>
                      <a:pt x="14" y="416"/>
                      <a:pt x="14" y="416"/>
                    </a:cubicBezTo>
                    <a:cubicBezTo>
                      <a:pt x="15" y="418"/>
                      <a:pt x="15" y="418"/>
                      <a:pt x="15" y="420"/>
                    </a:cubicBezTo>
                    <a:cubicBezTo>
                      <a:pt x="15" y="421"/>
                      <a:pt x="16" y="422"/>
                      <a:pt x="17" y="423"/>
                    </a:cubicBezTo>
                    <a:cubicBezTo>
                      <a:pt x="18" y="424"/>
                      <a:pt x="18" y="426"/>
                      <a:pt x="18" y="427"/>
                    </a:cubicBezTo>
                    <a:cubicBezTo>
                      <a:pt x="19" y="428"/>
                      <a:pt x="19" y="429"/>
                      <a:pt x="19" y="431"/>
                    </a:cubicBezTo>
                    <a:cubicBezTo>
                      <a:pt x="19" y="431"/>
                      <a:pt x="19" y="432"/>
                      <a:pt x="19" y="432"/>
                    </a:cubicBezTo>
                    <a:cubicBezTo>
                      <a:pt x="19" y="432"/>
                      <a:pt x="18" y="432"/>
                      <a:pt x="18" y="432"/>
                    </a:cubicBezTo>
                    <a:cubicBezTo>
                      <a:pt x="17" y="432"/>
                      <a:pt x="16" y="432"/>
                      <a:pt x="17" y="433"/>
                    </a:cubicBezTo>
                    <a:cubicBezTo>
                      <a:pt x="17" y="433"/>
                      <a:pt x="17" y="433"/>
                      <a:pt x="17" y="434"/>
                    </a:cubicBezTo>
                    <a:cubicBezTo>
                      <a:pt x="17" y="435"/>
                      <a:pt x="17" y="435"/>
                      <a:pt x="17" y="436"/>
                    </a:cubicBezTo>
                    <a:cubicBezTo>
                      <a:pt x="17" y="437"/>
                      <a:pt x="16" y="437"/>
                      <a:pt x="16" y="438"/>
                    </a:cubicBezTo>
                    <a:cubicBezTo>
                      <a:pt x="16" y="438"/>
                      <a:pt x="16" y="439"/>
                      <a:pt x="16" y="439"/>
                    </a:cubicBezTo>
                    <a:cubicBezTo>
                      <a:pt x="16" y="439"/>
                      <a:pt x="16" y="439"/>
                      <a:pt x="17" y="439"/>
                    </a:cubicBezTo>
                    <a:cubicBezTo>
                      <a:pt x="17" y="439"/>
                      <a:pt x="17" y="439"/>
                      <a:pt x="17" y="440"/>
                    </a:cubicBezTo>
                    <a:cubicBezTo>
                      <a:pt x="17" y="440"/>
                      <a:pt x="17" y="441"/>
                      <a:pt x="17" y="441"/>
                    </a:cubicBezTo>
                    <a:cubicBezTo>
                      <a:pt x="17" y="442"/>
                      <a:pt x="16" y="441"/>
                      <a:pt x="16" y="442"/>
                    </a:cubicBezTo>
                    <a:cubicBezTo>
                      <a:pt x="15" y="443"/>
                      <a:pt x="16" y="444"/>
                      <a:pt x="16" y="445"/>
                    </a:cubicBezTo>
                    <a:cubicBezTo>
                      <a:pt x="17" y="446"/>
                      <a:pt x="17" y="446"/>
                      <a:pt x="18" y="446"/>
                    </a:cubicBezTo>
                    <a:cubicBezTo>
                      <a:pt x="18" y="446"/>
                      <a:pt x="19" y="446"/>
                      <a:pt x="19" y="446"/>
                    </a:cubicBezTo>
                    <a:cubicBezTo>
                      <a:pt x="19" y="447"/>
                      <a:pt x="19" y="447"/>
                      <a:pt x="19" y="447"/>
                    </a:cubicBezTo>
                    <a:cubicBezTo>
                      <a:pt x="19" y="448"/>
                      <a:pt x="20" y="448"/>
                      <a:pt x="20" y="448"/>
                    </a:cubicBezTo>
                    <a:cubicBezTo>
                      <a:pt x="20" y="448"/>
                      <a:pt x="19" y="449"/>
                      <a:pt x="19" y="449"/>
                    </a:cubicBezTo>
                    <a:cubicBezTo>
                      <a:pt x="18" y="450"/>
                      <a:pt x="18" y="450"/>
                      <a:pt x="18" y="451"/>
                    </a:cubicBezTo>
                    <a:cubicBezTo>
                      <a:pt x="19" y="451"/>
                      <a:pt x="19" y="451"/>
                      <a:pt x="19" y="452"/>
                    </a:cubicBezTo>
                    <a:cubicBezTo>
                      <a:pt x="19" y="452"/>
                      <a:pt x="19" y="452"/>
                      <a:pt x="19" y="453"/>
                    </a:cubicBezTo>
                    <a:cubicBezTo>
                      <a:pt x="19" y="453"/>
                      <a:pt x="20" y="453"/>
                      <a:pt x="21" y="454"/>
                    </a:cubicBezTo>
                    <a:cubicBezTo>
                      <a:pt x="21" y="454"/>
                      <a:pt x="21" y="454"/>
                      <a:pt x="21" y="455"/>
                    </a:cubicBezTo>
                    <a:cubicBezTo>
                      <a:pt x="21" y="455"/>
                      <a:pt x="22" y="455"/>
                      <a:pt x="22" y="455"/>
                    </a:cubicBezTo>
                    <a:cubicBezTo>
                      <a:pt x="22" y="455"/>
                      <a:pt x="22" y="455"/>
                      <a:pt x="22" y="456"/>
                    </a:cubicBezTo>
                    <a:cubicBezTo>
                      <a:pt x="22" y="456"/>
                      <a:pt x="22" y="456"/>
                      <a:pt x="22" y="457"/>
                    </a:cubicBezTo>
                    <a:cubicBezTo>
                      <a:pt x="23" y="458"/>
                      <a:pt x="21" y="459"/>
                      <a:pt x="20" y="461"/>
                    </a:cubicBezTo>
                    <a:cubicBezTo>
                      <a:pt x="20" y="462"/>
                      <a:pt x="20" y="461"/>
                      <a:pt x="19" y="462"/>
                    </a:cubicBezTo>
                    <a:cubicBezTo>
                      <a:pt x="18" y="462"/>
                      <a:pt x="18" y="463"/>
                      <a:pt x="19" y="463"/>
                    </a:cubicBezTo>
                    <a:cubicBezTo>
                      <a:pt x="19" y="464"/>
                      <a:pt x="20" y="464"/>
                      <a:pt x="21" y="465"/>
                    </a:cubicBezTo>
                    <a:cubicBezTo>
                      <a:pt x="21" y="466"/>
                      <a:pt x="21" y="466"/>
                      <a:pt x="22" y="467"/>
                    </a:cubicBezTo>
                    <a:cubicBezTo>
                      <a:pt x="23" y="467"/>
                      <a:pt x="24" y="467"/>
                      <a:pt x="24" y="468"/>
                    </a:cubicBezTo>
                    <a:cubicBezTo>
                      <a:pt x="25" y="468"/>
                      <a:pt x="25" y="469"/>
                      <a:pt x="25" y="469"/>
                    </a:cubicBezTo>
                    <a:cubicBezTo>
                      <a:pt x="26" y="470"/>
                      <a:pt x="27" y="470"/>
                      <a:pt x="27" y="471"/>
                    </a:cubicBezTo>
                    <a:cubicBezTo>
                      <a:pt x="27" y="472"/>
                      <a:pt x="27" y="472"/>
                      <a:pt x="28" y="473"/>
                    </a:cubicBezTo>
                    <a:cubicBezTo>
                      <a:pt x="28" y="474"/>
                      <a:pt x="29" y="475"/>
                      <a:pt x="29" y="475"/>
                    </a:cubicBezTo>
                    <a:cubicBezTo>
                      <a:pt x="29" y="476"/>
                      <a:pt x="28" y="476"/>
                      <a:pt x="28" y="476"/>
                    </a:cubicBezTo>
                    <a:cubicBezTo>
                      <a:pt x="28" y="477"/>
                      <a:pt x="28" y="477"/>
                      <a:pt x="28" y="478"/>
                    </a:cubicBezTo>
                    <a:cubicBezTo>
                      <a:pt x="28" y="479"/>
                      <a:pt x="27" y="480"/>
                      <a:pt x="27" y="480"/>
                    </a:cubicBezTo>
                    <a:cubicBezTo>
                      <a:pt x="27" y="481"/>
                      <a:pt x="26" y="482"/>
                      <a:pt x="25" y="482"/>
                    </a:cubicBezTo>
                    <a:cubicBezTo>
                      <a:pt x="25" y="483"/>
                      <a:pt x="25" y="484"/>
                      <a:pt x="24" y="484"/>
                    </a:cubicBezTo>
                    <a:cubicBezTo>
                      <a:pt x="23" y="485"/>
                      <a:pt x="23" y="485"/>
                      <a:pt x="23" y="486"/>
                    </a:cubicBezTo>
                    <a:cubicBezTo>
                      <a:pt x="22" y="487"/>
                      <a:pt x="20" y="489"/>
                      <a:pt x="19" y="490"/>
                    </a:cubicBezTo>
                    <a:cubicBezTo>
                      <a:pt x="18" y="492"/>
                      <a:pt x="17" y="493"/>
                      <a:pt x="16" y="495"/>
                    </a:cubicBezTo>
                    <a:cubicBezTo>
                      <a:pt x="16" y="495"/>
                      <a:pt x="15" y="496"/>
                      <a:pt x="15" y="496"/>
                    </a:cubicBezTo>
                    <a:cubicBezTo>
                      <a:pt x="15" y="497"/>
                      <a:pt x="15" y="497"/>
                      <a:pt x="14" y="497"/>
                    </a:cubicBezTo>
                    <a:cubicBezTo>
                      <a:pt x="14" y="497"/>
                      <a:pt x="14" y="498"/>
                      <a:pt x="14" y="498"/>
                    </a:cubicBezTo>
                    <a:cubicBezTo>
                      <a:pt x="13" y="499"/>
                      <a:pt x="11" y="500"/>
                      <a:pt x="10" y="501"/>
                    </a:cubicBezTo>
                    <a:cubicBezTo>
                      <a:pt x="10" y="502"/>
                      <a:pt x="9" y="503"/>
                      <a:pt x="9" y="503"/>
                    </a:cubicBezTo>
                    <a:cubicBezTo>
                      <a:pt x="8" y="503"/>
                      <a:pt x="8" y="504"/>
                      <a:pt x="7" y="504"/>
                    </a:cubicBezTo>
                    <a:cubicBezTo>
                      <a:pt x="7" y="505"/>
                      <a:pt x="6" y="506"/>
                      <a:pt x="5" y="507"/>
                    </a:cubicBezTo>
                    <a:cubicBezTo>
                      <a:pt x="5" y="507"/>
                      <a:pt x="4" y="508"/>
                      <a:pt x="4" y="509"/>
                    </a:cubicBezTo>
                    <a:cubicBezTo>
                      <a:pt x="5" y="509"/>
                      <a:pt x="6" y="508"/>
                      <a:pt x="7" y="508"/>
                    </a:cubicBezTo>
                    <a:cubicBezTo>
                      <a:pt x="7" y="507"/>
                      <a:pt x="8" y="507"/>
                      <a:pt x="8" y="507"/>
                    </a:cubicBezTo>
                    <a:cubicBezTo>
                      <a:pt x="9" y="506"/>
                      <a:pt x="9" y="506"/>
                      <a:pt x="10" y="506"/>
                    </a:cubicBezTo>
                    <a:cubicBezTo>
                      <a:pt x="10" y="507"/>
                      <a:pt x="9" y="507"/>
                      <a:pt x="9" y="508"/>
                    </a:cubicBezTo>
                    <a:cubicBezTo>
                      <a:pt x="9" y="508"/>
                      <a:pt x="10" y="509"/>
                      <a:pt x="10" y="509"/>
                    </a:cubicBezTo>
                    <a:cubicBezTo>
                      <a:pt x="9" y="510"/>
                      <a:pt x="8" y="508"/>
                      <a:pt x="8" y="508"/>
                    </a:cubicBezTo>
                    <a:cubicBezTo>
                      <a:pt x="7" y="508"/>
                      <a:pt x="10" y="512"/>
                      <a:pt x="10" y="511"/>
                    </a:cubicBezTo>
                    <a:cubicBezTo>
                      <a:pt x="11" y="511"/>
                      <a:pt x="11" y="513"/>
                      <a:pt x="12" y="513"/>
                    </a:cubicBezTo>
                    <a:cubicBezTo>
                      <a:pt x="12" y="514"/>
                      <a:pt x="13" y="514"/>
                      <a:pt x="14" y="514"/>
                    </a:cubicBezTo>
                    <a:cubicBezTo>
                      <a:pt x="15" y="514"/>
                      <a:pt x="16" y="513"/>
                      <a:pt x="17" y="513"/>
                    </a:cubicBezTo>
                    <a:cubicBezTo>
                      <a:pt x="18" y="514"/>
                      <a:pt x="17" y="514"/>
                      <a:pt x="18" y="515"/>
                    </a:cubicBezTo>
                    <a:cubicBezTo>
                      <a:pt x="18" y="516"/>
                      <a:pt x="19" y="515"/>
                      <a:pt x="20" y="516"/>
                    </a:cubicBezTo>
                    <a:cubicBezTo>
                      <a:pt x="20" y="516"/>
                      <a:pt x="20" y="518"/>
                      <a:pt x="19" y="518"/>
                    </a:cubicBezTo>
                    <a:cubicBezTo>
                      <a:pt x="19" y="518"/>
                      <a:pt x="18" y="517"/>
                      <a:pt x="17" y="517"/>
                    </a:cubicBezTo>
                    <a:cubicBezTo>
                      <a:pt x="16" y="516"/>
                      <a:pt x="15" y="516"/>
                      <a:pt x="14" y="516"/>
                    </a:cubicBezTo>
                    <a:cubicBezTo>
                      <a:pt x="13" y="516"/>
                      <a:pt x="13" y="516"/>
                      <a:pt x="13" y="516"/>
                    </a:cubicBezTo>
                    <a:cubicBezTo>
                      <a:pt x="12" y="516"/>
                      <a:pt x="12" y="517"/>
                      <a:pt x="11" y="517"/>
                    </a:cubicBezTo>
                    <a:cubicBezTo>
                      <a:pt x="12" y="517"/>
                      <a:pt x="12" y="517"/>
                      <a:pt x="12" y="518"/>
                    </a:cubicBezTo>
                    <a:cubicBezTo>
                      <a:pt x="12" y="518"/>
                      <a:pt x="11" y="518"/>
                      <a:pt x="11" y="518"/>
                    </a:cubicBezTo>
                    <a:cubicBezTo>
                      <a:pt x="11" y="519"/>
                      <a:pt x="10" y="519"/>
                      <a:pt x="9" y="519"/>
                    </a:cubicBezTo>
                    <a:cubicBezTo>
                      <a:pt x="9" y="518"/>
                      <a:pt x="8" y="517"/>
                      <a:pt x="8" y="518"/>
                    </a:cubicBezTo>
                    <a:cubicBezTo>
                      <a:pt x="7" y="519"/>
                      <a:pt x="8" y="520"/>
                      <a:pt x="8" y="520"/>
                    </a:cubicBezTo>
                    <a:cubicBezTo>
                      <a:pt x="7" y="521"/>
                      <a:pt x="6" y="520"/>
                      <a:pt x="6" y="520"/>
                    </a:cubicBezTo>
                    <a:cubicBezTo>
                      <a:pt x="6" y="519"/>
                      <a:pt x="6" y="518"/>
                      <a:pt x="5" y="519"/>
                    </a:cubicBezTo>
                    <a:cubicBezTo>
                      <a:pt x="5" y="519"/>
                      <a:pt x="5" y="520"/>
                      <a:pt x="5" y="521"/>
                    </a:cubicBezTo>
                    <a:cubicBezTo>
                      <a:pt x="5" y="522"/>
                      <a:pt x="5" y="522"/>
                      <a:pt x="5" y="523"/>
                    </a:cubicBezTo>
                    <a:cubicBezTo>
                      <a:pt x="6" y="523"/>
                      <a:pt x="6" y="524"/>
                      <a:pt x="6" y="525"/>
                    </a:cubicBezTo>
                    <a:cubicBezTo>
                      <a:pt x="6" y="525"/>
                      <a:pt x="5" y="525"/>
                      <a:pt x="5" y="525"/>
                    </a:cubicBezTo>
                    <a:cubicBezTo>
                      <a:pt x="5" y="525"/>
                      <a:pt x="5" y="525"/>
                      <a:pt x="5" y="525"/>
                    </a:cubicBezTo>
                    <a:cubicBezTo>
                      <a:pt x="4" y="526"/>
                      <a:pt x="4" y="527"/>
                      <a:pt x="3" y="528"/>
                    </a:cubicBezTo>
                    <a:cubicBezTo>
                      <a:pt x="3" y="528"/>
                      <a:pt x="3" y="529"/>
                      <a:pt x="2" y="530"/>
                    </a:cubicBezTo>
                    <a:cubicBezTo>
                      <a:pt x="2" y="531"/>
                      <a:pt x="1" y="531"/>
                      <a:pt x="1" y="531"/>
                    </a:cubicBezTo>
                    <a:cubicBezTo>
                      <a:pt x="1" y="532"/>
                      <a:pt x="1" y="533"/>
                      <a:pt x="1" y="533"/>
                    </a:cubicBezTo>
                    <a:cubicBezTo>
                      <a:pt x="1" y="534"/>
                      <a:pt x="1" y="535"/>
                      <a:pt x="2" y="536"/>
                    </a:cubicBezTo>
                    <a:cubicBezTo>
                      <a:pt x="2" y="537"/>
                      <a:pt x="2" y="537"/>
                      <a:pt x="2" y="538"/>
                    </a:cubicBezTo>
                    <a:cubicBezTo>
                      <a:pt x="1" y="539"/>
                      <a:pt x="2" y="540"/>
                      <a:pt x="2" y="541"/>
                    </a:cubicBezTo>
                    <a:cubicBezTo>
                      <a:pt x="2" y="541"/>
                      <a:pt x="2" y="541"/>
                      <a:pt x="3" y="542"/>
                    </a:cubicBezTo>
                    <a:cubicBezTo>
                      <a:pt x="3" y="542"/>
                      <a:pt x="3" y="543"/>
                      <a:pt x="3" y="543"/>
                    </a:cubicBezTo>
                    <a:cubicBezTo>
                      <a:pt x="3" y="543"/>
                      <a:pt x="4" y="543"/>
                      <a:pt x="3" y="544"/>
                    </a:cubicBezTo>
                    <a:cubicBezTo>
                      <a:pt x="3" y="544"/>
                      <a:pt x="3" y="544"/>
                      <a:pt x="2" y="544"/>
                    </a:cubicBezTo>
                    <a:cubicBezTo>
                      <a:pt x="2" y="545"/>
                      <a:pt x="2" y="545"/>
                      <a:pt x="2" y="545"/>
                    </a:cubicBezTo>
                    <a:cubicBezTo>
                      <a:pt x="1" y="546"/>
                      <a:pt x="1" y="546"/>
                      <a:pt x="1" y="547"/>
                    </a:cubicBezTo>
                    <a:cubicBezTo>
                      <a:pt x="0" y="547"/>
                      <a:pt x="0" y="548"/>
                      <a:pt x="0" y="548"/>
                    </a:cubicBezTo>
                    <a:cubicBezTo>
                      <a:pt x="0" y="548"/>
                      <a:pt x="1" y="548"/>
                      <a:pt x="2" y="548"/>
                    </a:cubicBezTo>
                    <a:cubicBezTo>
                      <a:pt x="2" y="549"/>
                      <a:pt x="2" y="549"/>
                      <a:pt x="2" y="549"/>
                    </a:cubicBezTo>
                    <a:cubicBezTo>
                      <a:pt x="2" y="550"/>
                      <a:pt x="4" y="550"/>
                      <a:pt x="4" y="551"/>
                    </a:cubicBezTo>
                    <a:cubicBezTo>
                      <a:pt x="4" y="552"/>
                      <a:pt x="4" y="552"/>
                      <a:pt x="4" y="553"/>
                    </a:cubicBezTo>
                    <a:cubicBezTo>
                      <a:pt x="3" y="553"/>
                      <a:pt x="3" y="553"/>
                      <a:pt x="3" y="554"/>
                    </a:cubicBezTo>
                    <a:cubicBezTo>
                      <a:pt x="3" y="554"/>
                      <a:pt x="3" y="554"/>
                      <a:pt x="3" y="555"/>
                    </a:cubicBezTo>
                    <a:cubicBezTo>
                      <a:pt x="3" y="556"/>
                      <a:pt x="3" y="556"/>
                      <a:pt x="2" y="557"/>
                    </a:cubicBezTo>
                    <a:cubicBezTo>
                      <a:pt x="3" y="557"/>
                      <a:pt x="3" y="556"/>
                      <a:pt x="4" y="556"/>
                    </a:cubicBezTo>
                    <a:cubicBezTo>
                      <a:pt x="4" y="557"/>
                      <a:pt x="4" y="557"/>
                      <a:pt x="4" y="557"/>
                    </a:cubicBezTo>
                    <a:cubicBezTo>
                      <a:pt x="4" y="558"/>
                      <a:pt x="4" y="558"/>
                      <a:pt x="5" y="558"/>
                    </a:cubicBezTo>
                    <a:cubicBezTo>
                      <a:pt x="5" y="559"/>
                      <a:pt x="5" y="559"/>
                      <a:pt x="5" y="560"/>
                    </a:cubicBezTo>
                    <a:cubicBezTo>
                      <a:pt x="5" y="560"/>
                      <a:pt x="5" y="560"/>
                      <a:pt x="5" y="560"/>
                    </a:cubicBezTo>
                    <a:cubicBezTo>
                      <a:pt x="6" y="561"/>
                      <a:pt x="6" y="562"/>
                      <a:pt x="6" y="563"/>
                    </a:cubicBezTo>
                    <a:cubicBezTo>
                      <a:pt x="6" y="564"/>
                      <a:pt x="6" y="565"/>
                      <a:pt x="6" y="565"/>
                    </a:cubicBezTo>
                    <a:cubicBezTo>
                      <a:pt x="6" y="566"/>
                      <a:pt x="6" y="567"/>
                      <a:pt x="7" y="566"/>
                    </a:cubicBezTo>
                    <a:cubicBezTo>
                      <a:pt x="8" y="566"/>
                      <a:pt x="8" y="565"/>
                      <a:pt x="9" y="566"/>
                    </a:cubicBezTo>
                    <a:cubicBezTo>
                      <a:pt x="9" y="567"/>
                      <a:pt x="9" y="568"/>
                      <a:pt x="10" y="568"/>
                    </a:cubicBezTo>
                    <a:cubicBezTo>
                      <a:pt x="11" y="567"/>
                      <a:pt x="11" y="566"/>
                      <a:pt x="13" y="567"/>
                    </a:cubicBezTo>
                    <a:cubicBezTo>
                      <a:pt x="13" y="567"/>
                      <a:pt x="14" y="567"/>
                      <a:pt x="15" y="567"/>
                    </a:cubicBezTo>
                    <a:cubicBezTo>
                      <a:pt x="15" y="568"/>
                      <a:pt x="14" y="568"/>
                      <a:pt x="14" y="569"/>
                    </a:cubicBezTo>
                    <a:cubicBezTo>
                      <a:pt x="14" y="569"/>
                      <a:pt x="14" y="570"/>
                      <a:pt x="14" y="571"/>
                    </a:cubicBezTo>
                    <a:cubicBezTo>
                      <a:pt x="15" y="570"/>
                      <a:pt x="15" y="569"/>
                      <a:pt x="17" y="570"/>
                    </a:cubicBezTo>
                    <a:cubicBezTo>
                      <a:pt x="17" y="568"/>
                      <a:pt x="20" y="569"/>
                      <a:pt x="21" y="569"/>
                    </a:cubicBezTo>
                    <a:cubicBezTo>
                      <a:pt x="22" y="569"/>
                      <a:pt x="22" y="570"/>
                      <a:pt x="22" y="571"/>
                    </a:cubicBezTo>
                    <a:cubicBezTo>
                      <a:pt x="22" y="571"/>
                      <a:pt x="22" y="571"/>
                      <a:pt x="22" y="571"/>
                    </a:cubicBezTo>
                    <a:cubicBezTo>
                      <a:pt x="23" y="571"/>
                      <a:pt x="23" y="571"/>
                      <a:pt x="23" y="571"/>
                    </a:cubicBezTo>
                    <a:cubicBezTo>
                      <a:pt x="23" y="571"/>
                      <a:pt x="23" y="572"/>
                      <a:pt x="24" y="572"/>
                    </a:cubicBezTo>
                    <a:cubicBezTo>
                      <a:pt x="24" y="572"/>
                      <a:pt x="25" y="572"/>
                      <a:pt x="25" y="573"/>
                    </a:cubicBezTo>
                    <a:cubicBezTo>
                      <a:pt x="24" y="573"/>
                      <a:pt x="24" y="573"/>
                      <a:pt x="24" y="573"/>
                    </a:cubicBezTo>
                    <a:cubicBezTo>
                      <a:pt x="24" y="574"/>
                      <a:pt x="25" y="574"/>
                      <a:pt x="25" y="574"/>
                    </a:cubicBezTo>
                    <a:cubicBezTo>
                      <a:pt x="24" y="575"/>
                      <a:pt x="24" y="575"/>
                      <a:pt x="24" y="575"/>
                    </a:cubicBezTo>
                    <a:cubicBezTo>
                      <a:pt x="24" y="576"/>
                      <a:pt x="24" y="576"/>
                      <a:pt x="24" y="576"/>
                    </a:cubicBezTo>
                    <a:cubicBezTo>
                      <a:pt x="25" y="576"/>
                      <a:pt x="25" y="577"/>
                      <a:pt x="25" y="577"/>
                    </a:cubicBezTo>
                    <a:cubicBezTo>
                      <a:pt x="25" y="578"/>
                      <a:pt x="25" y="578"/>
                      <a:pt x="25" y="578"/>
                    </a:cubicBezTo>
                    <a:cubicBezTo>
                      <a:pt x="25" y="579"/>
                      <a:pt x="25" y="579"/>
                      <a:pt x="25" y="579"/>
                    </a:cubicBezTo>
                    <a:cubicBezTo>
                      <a:pt x="24" y="579"/>
                      <a:pt x="24" y="579"/>
                      <a:pt x="24" y="580"/>
                    </a:cubicBezTo>
                    <a:cubicBezTo>
                      <a:pt x="24" y="579"/>
                      <a:pt x="23" y="581"/>
                      <a:pt x="24" y="581"/>
                    </a:cubicBezTo>
                    <a:cubicBezTo>
                      <a:pt x="24" y="582"/>
                      <a:pt x="25" y="582"/>
                      <a:pt x="25" y="582"/>
                    </a:cubicBezTo>
                    <a:cubicBezTo>
                      <a:pt x="25" y="582"/>
                      <a:pt x="25" y="583"/>
                      <a:pt x="25" y="583"/>
                    </a:cubicBezTo>
                    <a:cubicBezTo>
                      <a:pt x="26" y="583"/>
                      <a:pt x="26" y="583"/>
                      <a:pt x="26" y="584"/>
                    </a:cubicBezTo>
                    <a:cubicBezTo>
                      <a:pt x="26" y="584"/>
                      <a:pt x="26" y="585"/>
                      <a:pt x="26" y="585"/>
                    </a:cubicBezTo>
                    <a:cubicBezTo>
                      <a:pt x="26" y="585"/>
                      <a:pt x="26" y="585"/>
                      <a:pt x="27" y="585"/>
                    </a:cubicBezTo>
                    <a:cubicBezTo>
                      <a:pt x="27" y="585"/>
                      <a:pt x="27" y="586"/>
                      <a:pt x="27" y="586"/>
                    </a:cubicBezTo>
                    <a:cubicBezTo>
                      <a:pt x="27" y="586"/>
                      <a:pt x="27" y="587"/>
                      <a:pt x="27" y="587"/>
                    </a:cubicBezTo>
                    <a:cubicBezTo>
                      <a:pt x="28" y="588"/>
                      <a:pt x="29" y="589"/>
                      <a:pt x="30" y="589"/>
                    </a:cubicBezTo>
                    <a:cubicBezTo>
                      <a:pt x="31" y="590"/>
                      <a:pt x="31" y="590"/>
                      <a:pt x="31" y="591"/>
                    </a:cubicBezTo>
                    <a:cubicBezTo>
                      <a:pt x="30" y="592"/>
                      <a:pt x="31" y="593"/>
                      <a:pt x="32" y="593"/>
                    </a:cubicBezTo>
                    <a:cubicBezTo>
                      <a:pt x="33" y="593"/>
                      <a:pt x="33" y="593"/>
                      <a:pt x="34" y="593"/>
                    </a:cubicBezTo>
                    <a:cubicBezTo>
                      <a:pt x="34" y="594"/>
                      <a:pt x="35" y="594"/>
                      <a:pt x="35" y="595"/>
                    </a:cubicBezTo>
                    <a:cubicBezTo>
                      <a:pt x="35" y="595"/>
                      <a:pt x="34" y="595"/>
                      <a:pt x="34" y="595"/>
                    </a:cubicBezTo>
                    <a:cubicBezTo>
                      <a:pt x="35" y="595"/>
                      <a:pt x="35" y="595"/>
                      <a:pt x="35" y="596"/>
                    </a:cubicBezTo>
                    <a:cubicBezTo>
                      <a:pt x="35" y="596"/>
                      <a:pt x="36" y="596"/>
                      <a:pt x="36" y="596"/>
                    </a:cubicBezTo>
                    <a:cubicBezTo>
                      <a:pt x="36" y="597"/>
                      <a:pt x="37" y="597"/>
                      <a:pt x="36" y="598"/>
                    </a:cubicBezTo>
                    <a:cubicBezTo>
                      <a:pt x="36" y="598"/>
                      <a:pt x="36" y="598"/>
                      <a:pt x="36" y="598"/>
                    </a:cubicBezTo>
                    <a:cubicBezTo>
                      <a:pt x="35" y="598"/>
                      <a:pt x="35" y="598"/>
                      <a:pt x="35" y="599"/>
                    </a:cubicBezTo>
                    <a:cubicBezTo>
                      <a:pt x="35" y="599"/>
                      <a:pt x="35" y="600"/>
                      <a:pt x="34" y="600"/>
                    </a:cubicBezTo>
                    <a:cubicBezTo>
                      <a:pt x="34" y="600"/>
                      <a:pt x="33" y="601"/>
                      <a:pt x="33" y="601"/>
                    </a:cubicBezTo>
                    <a:cubicBezTo>
                      <a:pt x="33" y="601"/>
                      <a:pt x="32" y="601"/>
                      <a:pt x="31" y="601"/>
                    </a:cubicBezTo>
                    <a:cubicBezTo>
                      <a:pt x="31" y="600"/>
                      <a:pt x="30" y="600"/>
                      <a:pt x="30" y="599"/>
                    </a:cubicBezTo>
                    <a:cubicBezTo>
                      <a:pt x="29" y="599"/>
                      <a:pt x="28" y="599"/>
                      <a:pt x="28" y="600"/>
                    </a:cubicBezTo>
                    <a:cubicBezTo>
                      <a:pt x="27" y="601"/>
                      <a:pt x="27" y="601"/>
                      <a:pt x="27" y="602"/>
                    </a:cubicBezTo>
                    <a:cubicBezTo>
                      <a:pt x="27" y="603"/>
                      <a:pt x="28" y="603"/>
                      <a:pt x="28" y="603"/>
                    </a:cubicBezTo>
                    <a:cubicBezTo>
                      <a:pt x="28" y="604"/>
                      <a:pt x="29" y="604"/>
                      <a:pt x="29" y="604"/>
                    </a:cubicBezTo>
                    <a:cubicBezTo>
                      <a:pt x="29" y="605"/>
                      <a:pt x="28" y="605"/>
                      <a:pt x="28" y="605"/>
                    </a:cubicBezTo>
                    <a:cubicBezTo>
                      <a:pt x="28" y="606"/>
                      <a:pt x="29" y="606"/>
                      <a:pt x="29" y="606"/>
                    </a:cubicBezTo>
                    <a:cubicBezTo>
                      <a:pt x="29" y="607"/>
                      <a:pt x="29" y="608"/>
                      <a:pt x="29" y="609"/>
                    </a:cubicBezTo>
                    <a:cubicBezTo>
                      <a:pt x="29" y="610"/>
                      <a:pt x="30" y="611"/>
                      <a:pt x="30" y="611"/>
                    </a:cubicBezTo>
                    <a:cubicBezTo>
                      <a:pt x="30" y="611"/>
                      <a:pt x="30" y="611"/>
                      <a:pt x="30" y="612"/>
                    </a:cubicBezTo>
                    <a:cubicBezTo>
                      <a:pt x="30" y="612"/>
                      <a:pt x="30" y="612"/>
                      <a:pt x="30" y="612"/>
                    </a:cubicBezTo>
                    <a:cubicBezTo>
                      <a:pt x="31" y="612"/>
                      <a:pt x="31" y="612"/>
                      <a:pt x="32" y="612"/>
                    </a:cubicBezTo>
                    <a:cubicBezTo>
                      <a:pt x="33" y="612"/>
                      <a:pt x="34" y="612"/>
                      <a:pt x="34" y="611"/>
                    </a:cubicBezTo>
                    <a:cubicBezTo>
                      <a:pt x="34" y="610"/>
                      <a:pt x="34" y="609"/>
                      <a:pt x="36" y="609"/>
                    </a:cubicBezTo>
                    <a:cubicBezTo>
                      <a:pt x="36" y="610"/>
                      <a:pt x="37" y="610"/>
                      <a:pt x="37" y="610"/>
                    </a:cubicBezTo>
                    <a:cubicBezTo>
                      <a:pt x="38" y="610"/>
                      <a:pt x="39" y="610"/>
                      <a:pt x="39" y="609"/>
                    </a:cubicBezTo>
                    <a:cubicBezTo>
                      <a:pt x="40" y="609"/>
                      <a:pt x="42" y="608"/>
                      <a:pt x="42" y="609"/>
                    </a:cubicBezTo>
                    <a:cubicBezTo>
                      <a:pt x="43" y="609"/>
                      <a:pt x="43" y="609"/>
                      <a:pt x="43" y="609"/>
                    </a:cubicBezTo>
                    <a:cubicBezTo>
                      <a:pt x="44" y="609"/>
                      <a:pt x="45" y="610"/>
                      <a:pt x="45" y="610"/>
                    </a:cubicBezTo>
                    <a:cubicBezTo>
                      <a:pt x="45" y="611"/>
                      <a:pt x="46" y="612"/>
                      <a:pt x="46" y="613"/>
                    </a:cubicBezTo>
                    <a:cubicBezTo>
                      <a:pt x="46" y="613"/>
                      <a:pt x="46" y="613"/>
                      <a:pt x="46" y="614"/>
                    </a:cubicBezTo>
                    <a:cubicBezTo>
                      <a:pt x="47" y="614"/>
                      <a:pt x="47" y="614"/>
                      <a:pt x="47" y="614"/>
                    </a:cubicBezTo>
                    <a:cubicBezTo>
                      <a:pt x="48" y="614"/>
                      <a:pt x="48" y="615"/>
                      <a:pt x="48" y="615"/>
                    </a:cubicBezTo>
                    <a:cubicBezTo>
                      <a:pt x="48" y="616"/>
                      <a:pt x="47" y="616"/>
                      <a:pt x="47" y="616"/>
                    </a:cubicBezTo>
                    <a:cubicBezTo>
                      <a:pt x="46" y="616"/>
                      <a:pt x="45" y="616"/>
                      <a:pt x="46" y="617"/>
                    </a:cubicBezTo>
                    <a:cubicBezTo>
                      <a:pt x="46" y="617"/>
                      <a:pt x="47" y="617"/>
                      <a:pt x="47" y="618"/>
                    </a:cubicBezTo>
                    <a:cubicBezTo>
                      <a:pt x="47" y="618"/>
                      <a:pt x="47" y="619"/>
                      <a:pt x="47" y="619"/>
                    </a:cubicBezTo>
                    <a:cubicBezTo>
                      <a:pt x="47" y="620"/>
                      <a:pt x="47" y="619"/>
                      <a:pt x="47" y="620"/>
                    </a:cubicBezTo>
                    <a:cubicBezTo>
                      <a:pt x="47" y="620"/>
                      <a:pt x="47" y="621"/>
                      <a:pt x="46" y="621"/>
                    </a:cubicBezTo>
                    <a:cubicBezTo>
                      <a:pt x="47" y="621"/>
                      <a:pt x="48" y="621"/>
                      <a:pt x="49" y="621"/>
                    </a:cubicBezTo>
                    <a:cubicBezTo>
                      <a:pt x="50" y="621"/>
                      <a:pt x="50" y="622"/>
                      <a:pt x="50" y="622"/>
                    </a:cubicBezTo>
                    <a:cubicBezTo>
                      <a:pt x="50" y="622"/>
                      <a:pt x="51" y="621"/>
                      <a:pt x="51" y="621"/>
                    </a:cubicBezTo>
                    <a:cubicBezTo>
                      <a:pt x="52" y="621"/>
                      <a:pt x="52" y="621"/>
                      <a:pt x="53" y="622"/>
                    </a:cubicBezTo>
                    <a:cubicBezTo>
                      <a:pt x="53" y="623"/>
                      <a:pt x="54" y="623"/>
                      <a:pt x="54" y="623"/>
                    </a:cubicBezTo>
                    <a:cubicBezTo>
                      <a:pt x="54" y="623"/>
                      <a:pt x="54" y="624"/>
                      <a:pt x="54" y="624"/>
                    </a:cubicBezTo>
                    <a:cubicBezTo>
                      <a:pt x="54" y="624"/>
                      <a:pt x="54" y="624"/>
                      <a:pt x="54" y="625"/>
                    </a:cubicBezTo>
                    <a:cubicBezTo>
                      <a:pt x="55" y="625"/>
                      <a:pt x="54" y="625"/>
                      <a:pt x="55" y="626"/>
                    </a:cubicBezTo>
                    <a:cubicBezTo>
                      <a:pt x="55" y="626"/>
                      <a:pt x="55" y="626"/>
                      <a:pt x="55" y="627"/>
                    </a:cubicBezTo>
                    <a:cubicBezTo>
                      <a:pt x="55" y="627"/>
                      <a:pt x="54" y="628"/>
                      <a:pt x="55" y="629"/>
                    </a:cubicBezTo>
                    <a:cubicBezTo>
                      <a:pt x="55" y="629"/>
                      <a:pt x="55" y="629"/>
                      <a:pt x="56" y="629"/>
                    </a:cubicBezTo>
                    <a:cubicBezTo>
                      <a:pt x="56" y="630"/>
                      <a:pt x="56" y="630"/>
                      <a:pt x="56" y="630"/>
                    </a:cubicBezTo>
                    <a:cubicBezTo>
                      <a:pt x="56" y="630"/>
                      <a:pt x="56" y="630"/>
                      <a:pt x="56" y="630"/>
                    </a:cubicBezTo>
                    <a:cubicBezTo>
                      <a:pt x="57" y="630"/>
                      <a:pt x="58" y="630"/>
                      <a:pt x="58" y="630"/>
                    </a:cubicBezTo>
                    <a:cubicBezTo>
                      <a:pt x="59" y="630"/>
                      <a:pt x="60" y="630"/>
                      <a:pt x="60" y="631"/>
                    </a:cubicBezTo>
                    <a:cubicBezTo>
                      <a:pt x="61" y="631"/>
                      <a:pt x="63" y="631"/>
                      <a:pt x="63" y="632"/>
                    </a:cubicBezTo>
                    <a:cubicBezTo>
                      <a:pt x="63" y="632"/>
                      <a:pt x="64" y="631"/>
                      <a:pt x="64" y="631"/>
                    </a:cubicBezTo>
                    <a:cubicBezTo>
                      <a:pt x="65" y="630"/>
                      <a:pt x="65" y="631"/>
                      <a:pt x="66" y="631"/>
                    </a:cubicBezTo>
                    <a:cubicBezTo>
                      <a:pt x="67" y="630"/>
                      <a:pt x="68" y="629"/>
                      <a:pt x="69" y="630"/>
                    </a:cubicBezTo>
                    <a:cubicBezTo>
                      <a:pt x="70" y="631"/>
                      <a:pt x="70" y="633"/>
                      <a:pt x="71" y="634"/>
                    </a:cubicBezTo>
                    <a:cubicBezTo>
                      <a:pt x="71" y="634"/>
                      <a:pt x="72" y="634"/>
                      <a:pt x="72" y="635"/>
                    </a:cubicBezTo>
                    <a:cubicBezTo>
                      <a:pt x="72" y="635"/>
                      <a:pt x="73" y="635"/>
                      <a:pt x="73" y="635"/>
                    </a:cubicBezTo>
                    <a:cubicBezTo>
                      <a:pt x="73" y="634"/>
                      <a:pt x="73" y="633"/>
                      <a:pt x="74" y="633"/>
                    </a:cubicBezTo>
                    <a:cubicBezTo>
                      <a:pt x="74" y="633"/>
                      <a:pt x="74" y="634"/>
                      <a:pt x="75" y="634"/>
                    </a:cubicBezTo>
                    <a:cubicBezTo>
                      <a:pt x="75" y="634"/>
                      <a:pt x="75" y="635"/>
                      <a:pt x="76" y="635"/>
                    </a:cubicBezTo>
                    <a:cubicBezTo>
                      <a:pt x="77" y="635"/>
                      <a:pt x="77" y="635"/>
                      <a:pt x="77" y="635"/>
                    </a:cubicBezTo>
                    <a:cubicBezTo>
                      <a:pt x="78" y="636"/>
                      <a:pt x="79" y="636"/>
                      <a:pt x="79" y="636"/>
                    </a:cubicBezTo>
                    <a:cubicBezTo>
                      <a:pt x="79" y="636"/>
                      <a:pt x="79" y="636"/>
                      <a:pt x="80" y="636"/>
                    </a:cubicBezTo>
                    <a:cubicBezTo>
                      <a:pt x="81" y="636"/>
                      <a:pt x="81" y="636"/>
                      <a:pt x="81" y="637"/>
                    </a:cubicBezTo>
                    <a:cubicBezTo>
                      <a:pt x="81" y="637"/>
                      <a:pt x="82" y="637"/>
                      <a:pt x="83" y="637"/>
                    </a:cubicBezTo>
                    <a:cubicBezTo>
                      <a:pt x="83" y="637"/>
                      <a:pt x="83" y="638"/>
                      <a:pt x="83" y="638"/>
                    </a:cubicBezTo>
                    <a:cubicBezTo>
                      <a:pt x="84" y="638"/>
                      <a:pt x="84" y="639"/>
                      <a:pt x="84" y="639"/>
                    </a:cubicBezTo>
                    <a:cubicBezTo>
                      <a:pt x="85" y="639"/>
                      <a:pt x="85" y="638"/>
                      <a:pt x="85" y="638"/>
                    </a:cubicBezTo>
                    <a:cubicBezTo>
                      <a:pt x="86" y="638"/>
                      <a:pt x="86" y="638"/>
                      <a:pt x="86" y="638"/>
                    </a:cubicBezTo>
                    <a:cubicBezTo>
                      <a:pt x="87" y="639"/>
                      <a:pt x="86" y="640"/>
                      <a:pt x="86" y="640"/>
                    </a:cubicBezTo>
                    <a:cubicBezTo>
                      <a:pt x="87" y="641"/>
                      <a:pt x="87" y="641"/>
                      <a:pt x="87" y="642"/>
                    </a:cubicBezTo>
                    <a:cubicBezTo>
                      <a:pt x="86" y="642"/>
                      <a:pt x="85" y="643"/>
                      <a:pt x="85" y="644"/>
                    </a:cubicBezTo>
                    <a:cubicBezTo>
                      <a:pt x="84" y="644"/>
                      <a:pt x="83" y="644"/>
                      <a:pt x="84" y="645"/>
                    </a:cubicBezTo>
                    <a:cubicBezTo>
                      <a:pt x="84" y="646"/>
                      <a:pt x="84" y="646"/>
                      <a:pt x="85" y="646"/>
                    </a:cubicBezTo>
                    <a:cubicBezTo>
                      <a:pt x="85" y="646"/>
                      <a:pt x="86" y="646"/>
                      <a:pt x="86" y="646"/>
                    </a:cubicBezTo>
                    <a:cubicBezTo>
                      <a:pt x="86" y="647"/>
                      <a:pt x="84" y="647"/>
                      <a:pt x="84" y="647"/>
                    </a:cubicBezTo>
                    <a:cubicBezTo>
                      <a:pt x="83" y="648"/>
                      <a:pt x="84" y="649"/>
                      <a:pt x="85" y="649"/>
                    </a:cubicBezTo>
                    <a:cubicBezTo>
                      <a:pt x="85" y="650"/>
                      <a:pt x="85" y="650"/>
                      <a:pt x="85" y="650"/>
                    </a:cubicBezTo>
                    <a:cubicBezTo>
                      <a:pt x="85" y="651"/>
                      <a:pt x="85" y="651"/>
                      <a:pt x="85" y="652"/>
                    </a:cubicBezTo>
                    <a:cubicBezTo>
                      <a:pt x="85" y="652"/>
                      <a:pt x="86" y="652"/>
                      <a:pt x="86" y="652"/>
                    </a:cubicBezTo>
                    <a:cubicBezTo>
                      <a:pt x="86" y="653"/>
                      <a:pt x="85" y="653"/>
                      <a:pt x="85" y="653"/>
                    </a:cubicBezTo>
                    <a:cubicBezTo>
                      <a:pt x="85" y="653"/>
                      <a:pt x="85" y="654"/>
                      <a:pt x="85" y="654"/>
                    </a:cubicBezTo>
                    <a:cubicBezTo>
                      <a:pt x="85" y="654"/>
                      <a:pt x="84" y="654"/>
                      <a:pt x="84" y="655"/>
                    </a:cubicBezTo>
                    <a:cubicBezTo>
                      <a:pt x="84" y="655"/>
                      <a:pt x="84" y="655"/>
                      <a:pt x="84" y="655"/>
                    </a:cubicBezTo>
                    <a:cubicBezTo>
                      <a:pt x="84" y="656"/>
                      <a:pt x="84" y="656"/>
                      <a:pt x="84" y="656"/>
                    </a:cubicBezTo>
                    <a:cubicBezTo>
                      <a:pt x="83" y="657"/>
                      <a:pt x="82" y="656"/>
                      <a:pt x="81" y="656"/>
                    </a:cubicBezTo>
                    <a:cubicBezTo>
                      <a:pt x="81" y="656"/>
                      <a:pt x="80" y="656"/>
                      <a:pt x="79" y="656"/>
                    </a:cubicBezTo>
                    <a:cubicBezTo>
                      <a:pt x="78" y="656"/>
                      <a:pt x="78" y="656"/>
                      <a:pt x="78" y="657"/>
                    </a:cubicBezTo>
                    <a:cubicBezTo>
                      <a:pt x="77" y="658"/>
                      <a:pt x="78" y="658"/>
                      <a:pt x="77" y="658"/>
                    </a:cubicBezTo>
                    <a:cubicBezTo>
                      <a:pt x="76" y="659"/>
                      <a:pt x="76" y="658"/>
                      <a:pt x="75" y="659"/>
                    </a:cubicBezTo>
                    <a:cubicBezTo>
                      <a:pt x="74" y="659"/>
                      <a:pt x="74" y="659"/>
                      <a:pt x="74" y="660"/>
                    </a:cubicBezTo>
                    <a:cubicBezTo>
                      <a:pt x="74" y="660"/>
                      <a:pt x="74" y="661"/>
                      <a:pt x="74" y="662"/>
                    </a:cubicBezTo>
                    <a:cubicBezTo>
                      <a:pt x="74" y="662"/>
                      <a:pt x="74" y="662"/>
                      <a:pt x="74" y="662"/>
                    </a:cubicBezTo>
                    <a:cubicBezTo>
                      <a:pt x="74" y="662"/>
                      <a:pt x="73" y="663"/>
                      <a:pt x="74" y="664"/>
                    </a:cubicBezTo>
                    <a:cubicBezTo>
                      <a:pt x="74" y="663"/>
                      <a:pt x="76" y="663"/>
                      <a:pt x="77" y="663"/>
                    </a:cubicBezTo>
                    <a:cubicBezTo>
                      <a:pt x="77" y="663"/>
                      <a:pt x="77" y="663"/>
                      <a:pt x="78" y="663"/>
                    </a:cubicBezTo>
                    <a:cubicBezTo>
                      <a:pt x="78" y="663"/>
                      <a:pt x="78" y="662"/>
                      <a:pt x="79" y="662"/>
                    </a:cubicBezTo>
                    <a:cubicBezTo>
                      <a:pt x="80" y="662"/>
                      <a:pt x="81" y="662"/>
                      <a:pt x="81" y="664"/>
                    </a:cubicBezTo>
                    <a:cubicBezTo>
                      <a:pt x="81" y="665"/>
                      <a:pt x="80" y="665"/>
                      <a:pt x="79" y="665"/>
                    </a:cubicBezTo>
                    <a:cubicBezTo>
                      <a:pt x="79" y="665"/>
                      <a:pt x="78" y="665"/>
                      <a:pt x="78" y="666"/>
                    </a:cubicBezTo>
                    <a:cubicBezTo>
                      <a:pt x="77" y="666"/>
                      <a:pt x="75" y="666"/>
                      <a:pt x="75" y="667"/>
                    </a:cubicBezTo>
                    <a:cubicBezTo>
                      <a:pt x="75" y="667"/>
                      <a:pt x="75" y="667"/>
                      <a:pt x="75" y="667"/>
                    </a:cubicBezTo>
                    <a:cubicBezTo>
                      <a:pt x="75" y="667"/>
                      <a:pt x="75" y="667"/>
                      <a:pt x="76" y="667"/>
                    </a:cubicBezTo>
                    <a:cubicBezTo>
                      <a:pt x="76" y="668"/>
                      <a:pt x="76" y="668"/>
                      <a:pt x="76" y="668"/>
                    </a:cubicBezTo>
                    <a:cubicBezTo>
                      <a:pt x="75" y="669"/>
                      <a:pt x="74" y="667"/>
                      <a:pt x="73" y="667"/>
                    </a:cubicBezTo>
                    <a:cubicBezTo>
                      <a:pt x="73" y="667"/>
                      <a:pt x="72" y="668"/>
                      <a:pt x="71" y="668"/>
                    </a:cubicBezTo>
                    <a:cubicBezTo>
                      <a:pt x="71" y="668"/>
                      <a:pt x="71" y="668"/>
                      <a:pt x="71" y="668"/>
                    </a:cubicBezTo>
                    <a:cubicBezTo>
                      <a:pt x="71" y="669"/>
                      <a:pt x="71" y="669"/>
                      <a:pt x="71" y="669"/>
                    </a:cubicBezTo>
                    <a:cubicBezTo>
                      <a:pt x="71" y="670"/>
                      <a:pt x="72" y="671"/>
                      <a:pt x="72" y="671"/>
                    </a:cubicBezTo>
                    <a:cubicBezTo>
                      <a:pt x="73" y="671"/>
                      <a:pt x="73" y="671"/>
                      <a:pt x="73" y="671"/>
                    </a:cubicBezTo>
                    <a:cubicBezTo>
                      <a:pt x="74" y="672"/>
                      <a:pt x="74" y="672"/>
                      <a:pt x="74" y="672"/>
                    </a:cubicBezTo>
                    <a:cubicBezTo>
                      <a:pt x="75" y="673"/>
                      <a:pt x="75" y="673"/>
                      <a:pt x="76" y="673"/>
                    </a:cubicBezTo>
                    <a:cubicBezTo>
                      <a:pt x="76" y="674"/>
                      <a:pt x="74" y="674"/>
                      <a:pt x="74" y="673"/>
                    </a:cubicBezTo>
                    <a:cubicBezTo>
                      <a:pt x="73" y="673"/>
                      <a:pt x="73" y="674"/>
                      <a:pt x="73" y="674"/>
                    </a:cubicBezTo>
                    <a:cubicBezTo>
                      <a:pt x="73" y="675"/>
                      <a:pt x="73" y="675"/>
                      <a:pt x="73" y="676"/>
                    </a:cubicBezTo>
                    <a:cubicBezTo>
                      <a:pt x="72" y="675"/>
                      <a:pt x="72" y="675"/>
                      <a:pt x="72" y="674"/>
                    </a:cubicBezTo>
                    <a:cubicBezTo>
                      <a:pt x="71" y="675"/>
                      <a:pt x="72" y="676"/>
                      <a:pt x="71" y="677"/>
                    </a:cubicBezTo>
                    <a:cubicBezTo>
                      <a:pt x="71" y="678"/>
                      <a:pt x="70" y="678"/>
                      <a:pt x="70" y="678"/>
                    </a:cubicBezTo>
                    <a:cubicBezTo>
                      <a:pt x="70" y="679"/>
                      <a:pt x="70" y="679"/>
                      <a:pt x="70" y="679"/>
                    </a:cubicBezTo>
                    <a:cubicBezTo>
                      <a:pt x="71" y="681"/>
                      <a:pt x="70" y="681"/>
                      <a:pt x="69" y="681"/>
                    </a:cubicBezTo>
                    <a:cubicBezTo>
                      <a:pt x="69" y="681"/>
                      <a:pt x="67" y="681"/>
                      <a:pt x="67" y="682"/>
                    </a:cubicBezTo>
                    <a:cubicBezTo>
                      <a:pt x="67" y="682"/>
                      <a:pt x="66" y="682"/>
                      <a:pt x="66" y="681"/>
                    </a:cubicBezTo>
                    <a:cubicBezTo>
                      <a:pt x="66" y="681"/>
                      <a:pt x="66" y="681"/>
                      <a:pt x="66" y="681"/>
                    </a:cubicBezTo>
                    <a:cubicBezTo>
                      <a:pt x="65" y="680"/>
                      <a:pt x="64" y="680"/>
                      <a:pt x="64" y="681"/>
                    </a:cubicBezTo>
                    <a:cubicBezTo>
                      <a:pt x="65" y="681"/>
                      <a:pt x="65" y="681"/>
                      <a:pt x="65" y="681"/>
                    </a:cubicBezTo>
                    <a:cubicBezTo>
                      <a:pt x="65" y="682"/>
                      <a:pt x="63" y="682"/>
                      <a:pt x="63" y="682"/>
                    </a:cubicBezTo>
                    <a:cubicBezTo>
                      <a:pt x="63" y="683"/>
                      <a:pt x="64" y="683"/>
                      <a:pt x="65" y="683"/>
                    </a:cubicBezTo>
                    <a:cubicBezTo>
                      <a:pt x="66" y="684"/>
                      <a:pt x="67" y="685"/>
                      <a:pt x="68" y="686"/>
                    </a:cubicBezTo>
                    <a:cubicBezTo>
                      <a:pt x="68" y="686"/>
                      <a:pt x="68" y="687"/>
                      <a:pt x="69" y="687"/>
                    </a:cubicBezTo>
                    <a:cubicBezTo>
                      <a:pt x="69" y="687"/>
                      <a:pt x="70" y="687"/>
                      <a:pt x="71" y="687"/>
                    </a:cubicBezTo>
                    <a:cubicBezTo>
                      <a:pt x="71" y="687"/>
                      <a:pt x="71" y="687"/>
                      <a:pt x="72" y="688"/>
                    </a:cubicBezTo>
                    <a:cubicBezTo>
                      <a:pt x="72" y="688"/>
                      <a:pt x="73" y="689"/>
                      <a:pt x="73" y="689"/>
                    </a:cubicBezTo>
                    <a:cubicBezTo>
                      <a:pt x="75" y="690"/>
                      <a:pt x="76" y="690"/>
                      <a:pt x="78" y="691"/>
                    </a:cubicBezTo>
                    <a:cubicBezTo>
                      <a:pt x="79" y="692"/>
                      <a:pt x="80" y="693"/>
                      <a:pt x="81" y="695"/>
                    </a:cubicBezTo>
                    <a:cubicBezTo>
                      <a:pt x="81" y="695"/>
                      <a:pt x="82" y="696"/>
                      <a:pt x="82" y="696"/>
                    </a:cubicBezTo>
                    <a:cubicBezTo>
                      <a:pt x="83" y="696"/>
                      <a:pt x="83" y="697"/>
                      <a:pt x="84" y="697"/>
                    </a:cubicBezTo>
                    <a:cubicBezTo>
                      <a:pt x="84" y="697"/>
                      <a:pt x="84" y="698"/>
                      <a:pt x="84" y="698"/>
                    </a:cubicBezTo>
                    <a:cubicBezTo>
                      <a:pt x="85" y="699"/>
                      <a:pt x="85" y="699"/>
                      <a:pt x="85" y="699"/>
                    </a:cubicBezTo>
                    <a:cubicBezTo>
                      <a:pt x="86" y="698"/>
                      <a:pt x="87" y="697"/>
                      <a:pt x="88" y="698"/>
                    </a:cubicBezTo>
                    <a:cubicBezTo>
                      <a:pt x="88" y="698"/>
                      <a:pt x="89" y="698"/>
                      <a:pt x="89" y="698"/>
                    </a:cubicBezTo>
                    <a:cubicBezTo>
                      <a:pt x="89" y="698"/>
                      <a:pt x="90" y="698"/>
                      <a:pt x="90" y="698"/>
                    </a:cubicBezTo>
                    <a:cubicBezTo>
                      <a:pt x="91" y="698"/>
                      <a:pt x="91" y="698"/>
                      <a:pt x="92" y="699"/>
                    </a:cubicBezTo>
                    <a:cubicBezTo>
                      <a:pt x="92" y="699"/>
                      <a:pt x="92" y="699"/>
                      <a:pt x="93" y="699"/>
                    </a:cubicBezTo>
                    <a:cubicBezTo>
                      <a:pt x="93" y="699"/>
                      <a:pt x="94" y="699"/>
                      <a:pt x="94" y="699"/>
                    </a:cubicBezTo>
                    <a:cubicBezTo>
                      <a:pt x="95" y="700"/>
                      <a:pt x="95" y="700"/>
                      <a:pt x="95" y="700"/>
                    </a:cubicBezTo>
                    <a:cubicBezTo>
                      <a:pt x="96" y="701"/>
                      <a:pt x="97" y="701"/>
                      <a:pt x="98" y="701"/>
                    </a:cubicBezTo>
                    <a:cubicBezTo>
                      <a:pt x="98" y="701"/>
                      <a:pt x="99" y="701"/>
                      <a:pt x="99" y="701"/>
                    </a:cubicBezTo>
                    <a:cubicBezTo>
                      <a:pt x="100" y="701"/>
                      <a:pt x="100" y="701"/>
                      <a:pt x="101" y="701"/>
                    </a:cubicBezTo>
                    <a:cubicBezTo>
                      <a:pt x="102" y="701"/>
                      <a:pt x="103" y="702"/>
                      <a:pt x="104" y="701"/>
                    </a:cubicBezTo>
                    <a:cubicBezTo>
                      <a:pt x="104" y="701"/>
                      <a:pt x="104" y="701"/>
                      <a:pt x="105" y="701"/>
                    </a:cubicBezTo>
                    <a:cubicBezTo>
                      <a:pt x="105" y="701"/>
                      <a:pt x="106" y="702"/>
                      <a:pt x="106" y="702"/>
                    </a:cubicBezTo>
                    <a:cubicBezTo>
                      <a:pt x="106" y="702"/>
                      <a:pt x="106" y="703"/>
                      <a:pt x="107" y="703"/>
                    </a:cubicBezTo>
                    <a:cubicBezTo>
                      <a:pt x="107" y="703"/>
                      <a:pt x="108" y="704"/>
                      <a:pt x="108" y="704"/>
                    </a:cubicBezTo>
                    <a:cubicBezTo>
                      <a:pt x="109" y="704"/>
                      <a:pt x="109" y="704"/>
                      <a:pt x="110" y="704"/>
                    </a:cubicBezTo>
                    <a:cubicBezTo>
                      <a:pt x="110" y="705"/>
                      <a:pt x="110" y="705"/>
                      <a:pt x="111" y="705"/>
                    </a:cubicBezTo>
                    <a:cubicBezTo>
                      <a:pt x="111" y="705"/>
                      <a:pt x="111" y="705"/>
                      <a:pt x="111" y="706"/>
                    </a:cubicBezTo>
                    <a:cubicBezTo>
                      <a:pt x="111" y="706"/>
                      <a:pt x="111" y="706"/>
                      <a:pt x="111" y="706"/>
                    </a:cubicBezTo>
                    <a:cubicBezTo>
                      <a:pt x="111" y="707"/>
                      <a:pt x="112" y="706"/>
                      <a:pt x="112" y="707"/>
                    </a:cubicBezTo>
                    <a:cubicBezTo>
                      <a:pt x="112" y="707"/>
                      <a:pt x="113" y="706"/>
                      <a:pt x="113" y="706"/>
                    </a:cubicBezTo>
                    <a:cubicBezTo>
                      <a:pt x="113" y="706"/>
                      <a:pt x="113" y="706"/>
                      <a:pt x="113" y="706"/>
                    </a:cubicBezTo>
                    <a:cubicBezTo>
                      <a:pt x="114" y="706"/>
                      <a:pt x="115" y="706"/>
                      <a:pt x="115" y="706"/>
                    </a:cubicBezTo>
                    <a:cubicBezTo>
                      <a:pt x="116" y="705"/>
                      <a:pt x="117" y="705"/>
                      <a:pt x="118" y="706"/>
                    </a:cubicBezTo>
                    <a:cubicBezTo>
                      <a:pt x="118" y="706"/>
                      <a:pt x="118" y="705"/>
                      <a:pt x="119" y="705"/>
                    </a:cubicBezTo>
                    <a:cubicBezTo>
                      <a:pt x="119" y="705"/>
                      <a:pt x="120" y="706"/>
                      <a:pt x="120" y="706"/>
                    </a:cubicBezTo>
                    <a:cubicBezTo>
                      <a:pt x="121" y="706"/>
                      <a:pt x="121" y="706"/>
                      <a:pt x="121" y="707"/>
                    </a:cubicBezTo>
                    <a:cubicBezTo>
                      <a:pt x="122" y="707"/>
                      <a:pt x="122" y="707"/>
                      <a:pt x="123" y="707"/>
                    </a:cubicBezTo>
                    <a:cubicBezTo>
                      <a:pt x="123" y="707"/>
                      <a:pt x="124" y="707"/>
                      <a:pt x="124" y="708"/>
                    </a:cubicBezTo>
                    <a:cubicBezTo>
                      <a:pt x="124" y="708"/>
                      <a:pt x="124" y="709"/>
                      <a:pt x="124" y="709"/>
                    </a:cubicBezTo>
                    <a:cubicBezTo>
                      <a:pt x="123" y="710"/>
                      <a:pt x="124" y="711"/>
                      <a:pt x="125" y="711"/>
                    </a:cubicBezTo>
                    <a:cubicBezTo>
                      <a:pt x="126" y="711"/>
                      <a:pt x="126" y="711"/>
                      <a:pt x="126" y="712"/>
                    </a:cubicBezTo>
                    <a:cubicBezTo>
                      <a:pt x="126" y="712"/>
                      <a:pt x="127" y="712"/>
                      <a:pt x="127" y="712"/>
                    </a:cubicBezTo>
                    <a:cubicBezTo>
                      <a:pt x="127" y="712"/>
                      <a:pt x="127" y="712"/>
                      <a:pt x="128" y="712"/>
                    </a:cubicBezTo>
                    <a:cubicBezTo>
                      <a:pt x="128" y="713"/>
                      <a:pt x="129" y="712"/>
                      <a:pt x="129" y="713"/>
                    </a:cubicBezTo>
                    <a:cubicBezTo>
                      <a:pt x="130" y="713"/>
                      <a:pt x="130" y="714"/>
                      <a:pt x="130" y="714"/>
                    </a:cubicBezTo>
                    <a:cubicBezTo>
                      <a:pt x="131" y="714"/>
                      <a:pt x="131" y="713"/>
                      <a:pt x="131" y="714"/>
                    </a:cubicBezTo>
                    <a:cubicBezTo>
                      <a:pt x="132" y="714"/>
                      <a:pt x="132" y="714"/>
                      <a:pt x="132" y="714"/>
                    </a:cubicBezTo>
                    <a:cubicBezTo>
                      <a:pt x="132" y="715"/>
                      <a:pt x="132" y="715"/>
                      <a:pt x="133" y="715"/>
                    </a:cubicBezTo>
                    <a:cubicBezTo>
                      <a:pt x="133" y="715"/>
                      <a:pt x="133" y="715"/>
                      <a:pt x="133" y="716"/>
                    </a:cubicBezTo>
                    <a:cubicBezTo>
                      <a:pt x="133" y="716"/>
                      <a:pt x="133" y="716"/>
                      <a:pt x="134" y="716"/>
                    </a:cubicBezTo>
                    <a:cubicBezTo>
                      <a:pt x="134" y="717"/>
                      <a:pt x="134" y="717"/>
                      <a:pt x="135" y="718"/>
                    </a:cubicBezTo>
                    <a:cubicBezTo>
                      <a:pt x="135" y="718"/>
                      <a:pt x="136" y="719"/>
                      <a:pt x="136" y="719"/>
                    </a:cubicBezTo>
                    <a:cubicBezTo>
                      <a:pt x="137" y="719"/>
                      <a:pt x="138" y="719"/>
                      <a:pt x="138" y="719"/>
                    </a:cubicBezTo>
                    <a:cubicBezTo>
                      <a:pt x="139" y="719"/>
                      <a:pt x="139" y="718"/>
                      <a:pt x="139" y="718"/>
                    </a:cubicBezTo>
                    <a:cubicBezTo>
                      <a:pt x="139" y="717"/>
                      <a:pt x="141" y="717"/>
                      <a:pt x="141" y="716"/>
                    </a:cubicBezTo>
                    <a:cubicBezTo>
                      <a:pt x="142" y="716"/>
                      <a:pt x="143" y="714"/>
                      <a:pt x="143" y="713"/>
                    </a:cubicBezTo>
                    <a:cubicBezTo>
                      <a:pt x="142" y="711"/>
                      <a:pt x="142" y="711"/>
                      <a:pt x="142" y="711"/>
                    </a:cubicBezTo>
                    <a:cubicBezTo>
                      <a:pt x="141" y="709"/>
                      <a:pt x="139" y="707"/>
                      <a:pt x="138" y="705"/>
                    </a:cubicBezTo>
                    <a:cubicBezTo>
                      <a:pt x="138" y="704"/>
                      <a:pt x="137" y="703"/>
                      <a:pt x="137" y="703"/>
                    </a:cubicBezTo>
                    <a:cubicBezTo>
                      <a:pt x="137" y="701"/>
                      <a:pt x="137" y="700"/>
                      <a:pt x="138" y="699"/>
                    </a:cubicBezTo>
                    <a:cubicBezTo>
                      <a:pt x="138" y="698"/>
                      <a:pt x="139" y="697"/>
                      <a:pt x="138" y="696"/>
                    </a:cubicBezTo>
                    <a:cubicBezTo>
                      <a:pt x="138" y="695"/>
                      <a:pt x="138" y="695"/>
                      <a:pt x="138" y="695"/>
                    </a:cubicBezTo>
                    <a:cubicBezTo>
                      <a:pt x="138" y="695"/>
                      <a:pt x="137" y="695"/>
                      <a:pt x="137" y="696"/>
                    </a:cubicBezTo>
                    <a:cubicBezTo>
                      <a:pt x="136" y="695"/>
                      <a:pt x="136" y="693"/>
                      <a:pt x="136" y="693"/>
                    </a:cubicBezTo>
                    <a:cubicBezTo>
                      <a:pt x="135" y="692"/>
                      <a:pt x="134" y="692"/>
                      <a:pt x="133" y="691"/>
                    </a:cubicBezTo>
                    <a:cubicBezTo>
                      <a:pt x="133" y="691"/>
                      <a:pt x="132" y="690"/>
                      <a:pt x="132" y="689"/>
                    </a:cubicBezTo>
                    <a:cubicBezTo>
                      <a:pt x="132" y="688"/>
                      <a:pt x="133" y="687"/>
                      <a:pt x="134" y="687"/>
                    </a:cubicBezTo>
                    <a:cubicBezTo>
                      <a:pt x="134" y="687"/>
                      <a:pt x="134" y="687"/>
                      <a:pt x="134" y="687"/>
                    </a:cubicBezTo>
                    <a:cubicBezTo>
                      <a:pt x="135" y="687"/>
                      <a:pt x="135" y="687"/>
                      <a:pt x="135" y="686"/>
                    </a:cubicBezTo>
                    <a:cubicBezTo>
                      <a:pt x="136" y="685"/>
                      <a:pt x="136" y="683"/>
                      <a:pt x="137" y="682"/>
                    </a:cubicBezTo>
                    <a:cubicBezTo>
                      <a:pt x="137" y="681"/>
                      <a:pt x="137" y="680"/>
                      <a:pt x="138" y="680"/>
                    </a:cubicBezTo>
                    <a:cubicBezTo>
                      <a:pt x="138" y="679"/>
                      <a:pt x="139" y="679"/>
                      <a:pt x="140" y="680"/>
                    </a:cubicBezTo>
                    <a:cubicBezTo>
                      <a:pt x="140" y="680"/>
                      <a:pt x="140" y="680"/>
                      <a:pt x="140" y="680"/>
                    </a:cubicBezTo>
                    <a:cubicBezTo>
                      <a:pt x="140" y="680"/>
                      <a:pt x="141" y="680"/>
                      <a:pt x="141" y="679"/>
                    </a:cubicBezTo>
                    <a:cubicBezTo>
                      <a:pt x="141" y="679"/>
                      <a:pt x="141" y="679"/>
                      <a:pt x="141" y="678"/>
                    </a:cubicBezTo>
                    <a:cubicBezTo>
                      <a:pt x="141" y="678"/>
                      <a:pt x="142" y="678"/>
                      <a:pt x="142" y="678"/>
                    </a:cubicBezTo>
                    <a:cubicBezTo>
                      <a:pt x="143" y="678"/>
                      <a:pt x="144" y="678"/>
                      <a:pt x="145" y="678"/>
                    </a:cubicBezTo>
                    <a:cubicBezTo>
                      <a:pt x="146" y="677"/>
                      <a:pt x="146" y="677"/>
                      <a:pt x="146" y="676"/>
                    </a:cubicBezTo>
                    <a:cubicBezTo>
                      <a:pt x="146" y="676"/>
                      <a:pt x="147" y="676"/>
                      <a:pt x="147" y="676"/>
                    </a:cubicBezTo>
                    <a:cubicBezTo>
                      <a:pt x="147" y="675"/>
                      <a:pt x="147" y="674"/>
                      <a:pt x="148" y="673"/>
                    </a:cubicBezTo>
                    <a:cubicBezTo>
                      <a:pt x="148" y="674"/>
                      <a:pt x="148" y="674"/>
                      <a:pt x="148" y="674"/>
                    </a:cubicBezTo>
                    <a:cubicBezTo>
                      <a:pt x="149" y="674"/>
                      <a:pt x="149" y="674"/>
                      <a:pt x="149" y="674"/>
                    </a:cubicBezTo>
                    <a:cubicBezTo>
                      <a:pt x="149" y="674"/>
                      <a:pt x="149" y="674"/>
                      <a:pt x="149" y="673"/>
                    </a:cubicBezTo>
                    <a:cubicBezTo>
                      <a:pt x="149" y="673"/>
                      <a:pt x="149" y="672"/>
                      <a:pt x="149" y="672"/>
                    </a:cubicBezTo>
                    <a:cubicBezTo>
                      <a:pt x="146" y="669"/>
                      <a:pt x="146" y="669"/>
                      <a:pt x="146" y="669"/>
                    </a:cubicBezTo>
                    <a:cubicBezTo>
                      <a:pt x="144" y="669"/>
                      <a:pt x="144" y="669"/>
                      <a:pt x="144" y="669"/>
                    </a:cubicBezTo>
                    <a:cubicBezTo>
                      <a:pt x="144" y="668"/>
                      <a:pt x="144" y="668"/>
                      <a:pt x="144" y="668"/>
                    </a:cubicBezTo>
                    <a:cubicBezTo>
                      <a:pt x="145" y="667"/>
                      <a:pt x="145" y="667"/>
                      <a:pt x="145" y="667"/>
                    </a:cubicBezTo>
                    <a:cubicBezTo>
                      <a:pt x="146" y="668"/>
                      <a:pt x="146" y="668"/>
                      <a:pt x="146" y="668"/>
                    </a:cubicBezTo>
                    <a:cubicBezTo>
                      <a:pt x="147" y="667"/>
                      <a:pt x="147" y="667"/>
                      <a:pt x="147" y="667"/>
                    </a:cubicBezTo>
                    <a:cubicBezTo>
                      <a:pt x="142" y="658"/>
                      <a:pt x="142" y="658"/>
                      <a:pt x="142" y="658"/>
                    </a:cubicBezTo>
                    <a:cubicBezTo>
                      <a:pt x="142" y="658"/>
                      <a:pt x="140" y="657"/>
                      <a:pt x="140" y="657"/>
                    </a:cubicBezTo>
                    <a:cubicBezTo>
                      <a:pt x="139" y="657"/>
                      <a:pt x="137" y="657"/>
                      <a:pt x="137" y="657"/>
                    </a:cubicBezTo>
                    <a:cubicBezTo>
                      <a:pt x="137" y="657"/>
                      <a:pt x="136" y="658"/>
                      <a:pt x="136" y="658"/>
                    </a:cubicBezTo>
                    <a:cubicBezTo>
                      <a:pt x="136" y="658"/>
                      <a:pt x="135" y="657"/>
                      <a:pt x="135" y="657"/>
                    </a:cubicBezTo>
                    <a:cubicBezTo>
                      <a:pt x="135" y="657"/>
                      <a:pt x="134" y="656"/>
                      <a:pt x="134" y="656"/>
                    </a:cubicBezTo>
                    <a:cubicBezTo>
                      <a:pt x="134" y="656"/>
                      <a:pt x="135" y="654"/>
                      <a:pt x="135" y="654"/>
                    </a:cubicBezTo>
                    <a:cubicBezTo>
                      <a:pt x="135" y="654"/>
                      <a:pt x="135" y="652"/>
                      <a:pt x="135" y="652"/>
                    </a:cubicBezTo>
                    <a:cubicBezTo>
                      <a:pt x="135" y="651"/>
                      <a:pt x="133" y="651"/>
                      <a:pt x="133" y="651"/>
                    </a:cubicBezTo>
                    <a:cubicBezTo>
                      <a:pt x="133" y="651"/>
                      <a:pt x="130" y="650"/>
                      <a:pt x="130" y="650"/>
                    </a:cubicBezTo>
                    <a:cubicBezTo>
                      <a:pt x="130" y="650"/>
                      <a:pt x="131" y="648"/>
                      <a:pt x="131" y="648"/>
                    </a:cubicBezTo>
                    <a:cubicBezTo>
                      <a:pt x="131" y="647"/>
                      <a:pt x="131" y="647"/>
                      <a:pt x="132" y="646"/>
                    </a:cubicBezTo>
                    <a:cubicBezTo>
                      <a:pt x="132" y="646"/>
                      <a:pt x="133" y="645"/>
                      <a:pt x="133" y="644"/>
                    </a:cubicBezTo>
                    <a:cubicBezTo>
                      <a:pt x="133" y="644"/>
                      <a:pt x="134" y="643"/>
                      <a:pt x="134" y="643"/>
                    </a:cubicBezTo>
                    <a:cubicBezTo>
                      <a:pt x="133" y="642"/>
                      <a:pt x="133" y="642"/>
                      <a:pt x="133" y="642"/>
                    </a:cubicBezTo>
                    <a:cubicBezTo>
                      <a:pt x="132" y="640"/>
                      <a:pt x="132" y="640"/>
                      <a:pt x="132" y="640"/>
                    </a:cubicBezTo>
                    <a:cubicBezTo>
                      <a:pt x="132" y="640"/>
                      <a:pt x="132" y="640"/>
                      <a:pt x="132" y="640"/>
                    </a:cubicBezTo>
                    <a:cubicBezTo>
                      <a:pt x="132" y="639"/>
                      <a:pt x="133" y="635"/>
                      <a:pt x="133" y="635"/>
                    </a:cubicBezTo>
                    <a:cubicBezTo>
                      <a:pt x="135" y="635"/>
                      <a:pt x="135" y="635"/>
                      <a:pt x="135" y="635"/>
                    </a:cubicBezTo>
                    <a:cubicBezTo>
                      <a:pt x="135" y="635"/>
                      <a:pt x="136" y="633"/>
                      <a:pt x="136" y="633"/>
                    </a:cubicBezTo>
                    <a:cubicBezTo>
                      <a:pt x="136" y="633"/>
                      <a:pt x="136" y="632"/>
                      <a:pt x="136" y="632"/>
                    </a:cubicBezTo>
                    <a:cubicBezTo>
                      <a:pt x="136" y="632"/>
                      <a:pt x="136" y="630"/>
                      <a:pt x="136" y="630"/>
                    </a:cubicBezTo>
                    <a:cubicBezTo>
                      <a:pt x="138" y="629"/>
                      <a:pt x="138" y="629"/>
                      <a:pt x="138" y="629"/>
                    </a:cubicBezTo>
                    <a:cubicBezTo>
                      <a:pt x="138" y="629"/>
                      <a:pt x="140" y="632"/>
                      <a:pt x="141" y="632"/>
                    </a:cubicBezTo>
                    <a:cubicBezTo>
                      <a:pt x="141" y="633"/>
                      <a:pt x="141" y="634"/>
                      <a:pt x="141" y="634"/>
                    </a:cubicBezTo>
                    <a:cubicBezTo>
                      <a:pt x="141" y="634"/>
                      <a:pt x="142" y="635"/>
                      <a:pt x="142" y="635"/>
                    </a:cubicBezTo>
                    <a:cubicBezTo>
                      <a:pt x="142" y="636"/>
                      <a:pt x="144" y="636"/>
                      <a:pt x="144" y="636"/>
                    </a:cubicBezTo>
                    <a:cubicBezTo>
                      <a:pt x="147" y="634"/>
                      <a:pt x="147" y="634"/>
                      <a:pt x="147" y="634"/>
                    </a:cubicBezTo>
                    <a:cubicBezTo>
                      <a:pt x="145" y="632"/>
                      <a:pt x="145" y="632"/>
                      <a:pt x="145" y="632"/>
                    </a:cubicBezTo>
                    <a:cubicBezTo>
                      <a:pt x="145" y="632"/>
                      <a:pt x="145" y="630"/>
                      <a:pt x="145" y="629"/>
                    </a:cubicBezTo>
                    <a:cubicBezTo>
                      <a:pt x="145" y="629"/>
                      <a:pt x="145" y="628"/>
                      <a:pt x="145" y="628"/>
                    </a:cubicBezTo>
                    <a:cubicBezTo>
                      <a:pt x="145" y="627"/>
                      <a:pt x="145" y="627"/>
                      <a:pt x="145" y="627"/>
                    </a:cubicBezTo>
                    <a:cubicBezTo>
                      <a:pt x="147" y="627"/>
                      <a:pt x="147" y="627"/>
                      <a:pt x="147" y="627"/>
                    </a:cubicBezTo>
                    <a:cubicBezTo>
                      <a:pt x="150" y="625"/>
                      <a:pt x="150" y="625"/>
                      <a:pt x="150" y="625"/>
                    </a:cubicBezTo>
                    <a:cubicBezTo>
                      <a:pt x="150" y="622"/>
                      <a:pt x="150" y="622"/>
                      <a:pt x="150" y="622"/>
                    </a:cubicBezTo>
                    <a:cubicBezTo>
                      <a:pt x="153" y="622"/>
                      <a:pt x="153" y="622"/>
                      <a:pt x="153" y="622"/>
                    </a:cubicBezTo>
                    <a:cubicBezTo>
                      <a:pt x="156" y="619"/>
                      <a:pt x="156" y="619"/>
                      <a:pt x="156" y="619"/>
                    </a:cubicBezTo>
                    <a:cubicBezTo>
                      <a:pt x="157" y="618"/>
                      <a:pt x="157" y="618"/>
                      <a:pt x="157" y="618"/>
                    </a:cubicBezTo>
                    <a:cubicBezTo>
                      <a:pt x="158" y="617"/>
                      <a:pt x="158" y="617"/>
                      <a:pt x="158" y="617"/>
                    </a:cubicBezTo>
                    <a:cubicBezTo>
                      <a:pt x="159" y="616"/>
                      <a:pt x="159" y="616"/>
                      <a:pt x="159" y="616"/>
                    </a:cubicBezTo>
                    <a:cubicBezTo>
                      <a:pt x="160" y="615"/>
                      <a:pt x="160" y="615"/>
                      <a:pt x="160" y="615"/>
                    </a:cubicBezTo>
                    <a:cubicBezTo>
                      <a:pt x="160" y="615"/>
                      <a:pt x="162" y="616"/>
                      <a:pt x="162" y="616"/>
                    </a:cubicBezTo>
                    <a:cubicBezTo>
                      <a:pt x="162" y="616"/>
                      <a:pt x="163" y="617"/>
                      <a:pt x="163" y="617"/>
                    </a:cubicBezTo>
                    <a:cubicBezTo>
                      <a:pt x="163" y="617"/>
                      <a:pt x="163" y="618"/>
                      <a:pt x="164" y="618"/>
                    </a:cubicBezTo>
                    <a:cubicBezTo>
                      <a:pt x="164" y="618"/>
                      <a:pt x="164" y="617"/>
                      <a:pt x="164" y="617"/>
                    </a:cubicBezTo>
                    <a:cubicBezTo>
                      <a:pt x="164" y="617"/>
                      <a:pt x="166" y="618"/>
                      <a:pt x="166" y="617"/>
                    </a:cubicBezTo>
                    <a:cubicBezTo>
                      <a:pt x="166" y="617"/>
                      <a:pt x="167" y="616"/>
                      <a:pt x="167" y="616"/>
                    </a:cubicBezTo>
                    <a:cubicBezTo>
                      <a:pt x="167" y="616"/>
                      <a:pt x="168" y="616"/>
                      <a:pt x="169" y="616"/>
                    </a:cubicBezTo>
                    <a:cubicBezTo>
                      <a:pt x="169" y="616"/>
                      <a:pt x="170" y="615"/>
                      <a:pt x="170" y="615"/>
                    </a:cubicBezTo>
                    <a:cubicBezTo>
                      <a:pt x="170" y="615"/>
                      <a:pt x="171" y="618"/>
                      <a:pt x="171" y="618"/>
                    </a:cubicBezTo>
                    <a:cubicBezTo>
                      <a:pt x="172" y="619"/>
                      <a:pt x="173" y="618"/>
                      <a:pt x="173" y="618"/>
                    </a:cubicBezTo>
                    <a:cubicBezTo>
                      <a:pt x="176" y="617"/>
                      <a:pt x="176" y="617"/>
                      <a:pt x="176" y="617"/>
                    </a:cubicBezTo>
                    <a:cubicBezTo>
                      <a:pt x="176" y="617"/>
                      <a:pt x="178" y="620"/>
                      <a:pt x="178" y="620"/>
                    </a:cubicBezTo>
                    <a:cubicBezTo>
                      <a:pt x="179" y="620"/>
                      <a:pt x="180" y="621"/>
                      <a:pt x="181" y="621"/>
                    </a:cubicBezTo>
                    <a:cubicBezTo>
                      <a:pt x="181" y="621"/>
                      <a:pt x="182" y="623"/>
                      <a:pt x="182" y="623"/>
                    </a:cubicBezTo>
                    <a:cubicBezTo>
                      <a:pt x="182" y="623"/>
                      <a:pt x="184" y="624"/>
                      <a:pt x="184" y="625"/>
                    </a:cubicBezTo>
                    <a:cubicBezTo>
                      <a:pt x="184" y="625"/>
                      <a:pt x="184" y="626"/>
                      <a:pt x="184" y="626"/>
                    </a:cubicBezTo>
                    <a:cubicBezTo>
                      <a:pt x="183" y="627"/>
                      <a:pt x="184" y="628"/>
                      <a:pt x="184" y="628"/>
                    </a:cubicBezTo>
                    <a:cubicBezTo>
                      <a:pt x="185" y="629"/>
                      <a:pt x="186" y="628"/>
                      <a:pt x="186" y="628"/>
                    </a:cubicBezTo>
                    <a:cubicBezTo>
                      <a:pt x="186" y="628"/>
                      <a:pt x="186" y="627"/>
                      <a:pt x="186" y="627"/>
                    </a:cubicBezTo>
                    <a:cubicBezTo>
                      <a:pt x="186" y="626"/>
                      <a:pt x="185" y="624"/>
                      <a:pt x="185" y="624"/>
                    </a:cubicBezTo>
                    <a:cubicBezTo>
                      <a:pt x="185" y="624"/>
                      <a:pt x="185" y="624"/>
                      <a:pt x="185" y="623"/>
                    </a:cubicBezTo>
                    <a:cubicBezTo>
                      <a:pt x="185" y="622"/>
                      <a:pt x="186" y="623"/>
                      <a:pt x="186" y="623"/>
                    </a:cubicBezTo>
                    <a:cubicBezTo>
                      <a:pt x="187" y="623"/>
                      <a:pt x="188" y="624"/>
                      <a:pt x="188" y="624"/>
                    </a:cubicBezTo>
                    <a:cubicBezTo>
                      <a:pt x="189" y="624"/>
                      <a:pt x="188" y="625"/>
                      <a:pt x="188" y="625"/>
                    </a:cubicBezTo>
                    <a:cubicBezTo>
                      <a:pt x="188" y="625"/>
                      <a:pt x="192" y="628"/>
                      <a:pt x="192" y="628"/>
                    </a:cubicBezTo>
                    <a:cubicBezTo>
                      <a:pt x="193" y="628"/>
                      <a:pt x="193" y="628"/>
                      <a:pt x="193" y="628"/>
                    </a:cubicBezTo>
                    <a:cubicBezTo>
                      <a:pt x="193" y="628"/>
                      <a:pt x="195" y="626"/>
                      <a:pt x="195" y="626"/>
                    </a:cubicBezTo>
                    <a:cubicBezTo>
                      <a:pt x="195" y="626"/>
                      <a:pt x="196" y="625"/>
                      <a:pt x="196" y="624"/>
                    </a:cubicBezTo>
                    <a:cubicBezTo>
                      <a:pt x="196" y="624"/>
                      <a:pt x="197" y="625"/>
                      <a:pt x="197" y="625"/>
                    </a:cubicBezTo>
                    <a:cubicBezTo>
                      <a:pt x="197" y="625"/>
                      <a:pt x="197" y="624"/>
                      <a:pt x="197" y="624"/>
                    </a:cubicBezTo>
                    <a:cubicBezTo>
                      <a:pt x="197" y="623"/>
                      <a:pt x="198" y="623"/>
                      <a:pt x="198" y="623"/>
                    </a:cubicBezTo>
                    <a:cubicBezTo>
                      <a:pt x="198" y="623"/>
                      <a:pt x="199" y="623"/>
                      <a:pt x="199" y="623"/>
                    </a:cubicBezTo>
                    <a:cubicBezTo>
                      <a:pt x="200" y="622"/>
                      <a:pt x="200" y="622"/>
                      <a:pt x="200" y="622"/>
                    </a:cubicBezTo>
                    <a:cubicBezTo>
                      <a:pt x="200" y="622"/>
                      <a:pt x="202" y="622"/>
                      <a:pt x="202" y="622"/>
                    </a:cubicBezTo>
                    <a:cubicBezTo>
                      <a:pt x="203" y="622"/>
                      <a:pt x="204" y="624"/>
                      <a:pt x="204" y="624"/>
                    </a:cubicBezTo>
                    <a:cubicBezTo>
                      <a:pt x="204" y="624"/>
                      <a:pt x="205" y="624"/>
                      <a:pt x="206" y="624"/>
                    </a:cubicBezTo>
                    <a:cubicBezTo>
                      <a:pt x="206" y="624"/>
                      <a:pt x="206" y="624"/>
                      <a:pt x="207" y="624"/>
                    </a:cubicBezTo>
                    <a:cubicBezTo>
                      <a:pt x="207" y="623"/>
                      <a:pt x="207" y="623"/>
                      <a:pt x="207" y="622"/>
                    </a:cubicBezTo>
                    <a:cubicBezTo>
                      <a:pt x="207" y="622"/>
                      <a:pt x="208" y="622"/>
                      <a:pt x="208" y="622"/>
                    </a:cubicBezTo>
                    <a:cubicBezTo>
                      <a:pt x="208" y="622"/>
                      <a:pt x="209" y="623"/>
                      <a:pt x="209" y="622"/>
                    </a:cubicBezTo>
                    <a:cubicBezTo>
                      <a:pt x="209" y="622"/>
                      <a:pt x="211" y="622"/>
                      <a:pt x="211" y="622"/>
                    </a:cubicBezTo>
                    <a:cubicBezTo>
                      <a:pt x="211" y="623"/>
                      <a:pt x="211" y="623"/>
                      <a:pt x="211" y="623"/>
                    </a:cubicBezTo>
                    <a:cubicBezTo>
                      <a:pt x="212" y="623"/>
                      <a:pt x="212" y="623"/>
                      <a:pt x="212" y="623"/>
                    </a:cubicBezTo>
                    <a:cubicBezTo>
                      <a:pt x="212" y="623"/>
                      <a:pt x="212" y="625"/>
                      <a:pt x="212" y="625"/>
                    </a:cubicBezTo>
                    <a:cubicBezTo>
                      <a:pt x="212" y="625"/>
                      <a:pt x="214" y="627"/>
                      <a:pt x="214" y="627"/>
                    </a:cubicBezTo>
                    <a:cubicBezTo>
                      <a:pt x="219" y="627"/>
                      <a:pt x="219" y="627"/>
                      <a:pt x="219" y="627"/>
                    </a:cubicBezTo>
                    <a:cubicBezTo>
                      <a:pt x="219" y="629"/>
                      <a:pt x="219" y="629"/>
                      <a:pt x="219" y="629"/>
                    </a:cubicBezTo>
                    <a:cubicBezTo>
                      <a:pt x="220" y="629"/>
                      <a:pt x="220" y="629"/>
                      <a:pt x="220" y="629"/>
                    </a:cubicBezTo>
                    <a:cubicBezTo>
                      <a:pt x="220" y="629"/>
                      <a:pt x="222" y="626"/>
                      <a:pt x="222" y="626"/>
                    </a:cubicBezTo>
                    <a:cubicBezTo>
                      <a:pt x="222" y="626"/>
                      <a:pt x="222" y="625"/>
                      <a:pt x="222" y="625"/>
                    </a:cubicBezTo>
                    <a:cubicBezTo>
                      <a:pt x="222" y="625"/>
                      <a:pt x="224" y="627"/>
                      <a:pt x="224" y="627"/>
                    </a:cubicBezTo>
                    <a:cubicBezTo>
                      <a:pt x="228" y="627"/>
                      <a:pt x="228" y="627"/>
                      <a:pt x="228" y="627"/>
                    </a:cubicBezTo>
                    <a:cubicBezTo>
                      <a:pt x="228" y="627"/>
                      <a:pt x="229" y="626"/>
                      <a:pt x="230" y="626"/>
                    </a:cubicBezTo>
                    <a:cubicBezTo>
                      <a:pt x="230" y="626"/>
                      <a:pt x="231" y="625"/>
                      <a:pt x="231" y="625"/>
                    </a:cubicBezTo>
                    <a:cubicBezTo>
                      <a:pt x="232" y="625"/>
                      <a:pt x="232" y="624"/>
                      <a:pt x="232" y="624"/>
                    </a:cubicBezTo>
                    <a:cubicBezTo>
                      <a:pt x="232" y="621"/>
                      <a:pt x="232" y="621"/>
                      <a:pt x="232" y="621"/>
                    </a:cubicBezTo>
                    <a:cubicBezTo>
                      <a:pt x="233" y="620"/>
                      <a:pt x="233" y="620"/>
                      <a:pt x="233" y="620"/>
                    </a:cubicBezTo>
                    <a:cubicBezTo>
                      <a:pt x="232" y="619"/>
                      <a:pt x="232" y="619"/>
                      <a:pt x="232" y="619"/>
                    </a:cubicBezTo>
                    <a:cubicBezTo>
                      <a:pt x="231" y="618"/>
                      <a:pt x="231" y="618"/>
                      <a:pt x="231" y="618"/>
                    </a:cubicBezTo>
                    <a:cubicBezTo>
                      <a:pt x="229" y="618"/>
                      <a:pt x="229" y="618"/>
                      <a:pt x="229" y="618"/>
                    </a:cubicBezTo>
                    <a:cubicBezTo>
                      <a:pt x="229" y="618"/>
                      <a:pt x="228" y="618"/>
                      <a:pt x="228" y="618"/>
                    </a:cubicBezTo>
                    <a:cubicBezTo>
                      <a:pt x="228" y="618"/>
                      <a:pt x="228" y="617"/>
                      <a:pt x="228" y="617"/>
                    </a:cubicBezTo>
                    <a:cubicBezTo>
                      <a:pt x="225" y="617"/>
                      <a:pt x="225" y="617"/>
                      <a:pt x="225" y="617"/>
                    </a:cubicBezTo>
                    <a:cubicBezTo>
                      <a:pt x="225" y="614"/>
                      <a:pt x="225" y="614"/>
                      <a:pt x="225" y="614"/>
                    </a:cubicBezTo>
                    <a:cubicBezTo>
                      <a:pt x="222" y="613"/>
                      <a:pt x="222" y="613"/>
                      <a:pt x="222" y="613"/>
                    </a:cubicBezTo>
                    <a:cubicBezTo>
                      <a:pt x="227" y="610"/>
                      <a:pt x="227" y="610"/>
                      <a:pt x="227" y="610"/>
                    </a:cubicBezTo>
                    <a:cubicBezTo>
                      <a:pt x="229" y="608"/>
                      <a:pt x="229" y="608"/>
                      <a:pt x="229" y="608"/>
                    </a:cubicBezTo>
                    <a:cubicBezTo>
                      <a:pt x="227" y="606"/>
                      <a:pt x="227" y="606"/>
                      <a:pt x="227" y="606"/>
                    </a:cubicBezTo>
                    <a:cubicBezTo>
                      <a:pt x="227" y="604"/>
                      <a:pt x="227" y="604"/>
                      <a:pt x="227" y="604"/>
                    </a:cubicBezTo>
                    <a:cubicBezTo>
                      <a:pt x="229" y="602"/>
                      <a:pt x="229" y="602"/>
                      <a:pt x="229" y="602"/>
                    </a:cubicBezTo>
                    <a:cubicBezTo>
                      <a:pt x="229" y="602"/>
                      <a:pt x="231" y="601"/>
                      <a:pt x="232" y="602"/>
                    </a:cubicBezTo>
                    <a:cubicBezTo>
                      <a:pt x="232" y="602"/>
                      <a:pt x="232" y="602"/>
                      <a:pt x="233" y="602"/>
                    </a:cubicBezTo>
                    <a:cubicBezTo>
                      <a:pt x="233" y="602"/>
                      <a:pt x="234" y="602"/>
                      <a:pt x="235" y="602"/>
                    </a:cubicBezTo>
                    <a:cubicBezTo>
                      <a:pt x="235" y="602"/>
                      <a:pt x="236" y="602"/>
                      <a:pt x="236" y="602"/>
                    </a:cubicBezTo>
                    <a:cubicBezTo>
                      <a:pt x="236" y="601"/>
                      <a:pt x="236" y="601"/>
                      <a:pt x="236" y="601"/>
                    </a:cubicBezTo>
                    <a:cubicBezTo>
                      <a:pt x="236" y="600"/>
                      <a:pt x="235" y="600"/>
                      <a:pt x="235" y="600"/>
                    </a:cubicBezTo>
                    <a:cubicBezTo>
                      <a:pt x="235" y="600"/>
                      <a:pt x="235" y="600"/>
                      <a:pt x="234" y="600"/>
                    </a:cubicBezTo>
                    <a:cubicBezTo>
                      <a:pt x="234" y="600"/>
                      <a:pt x="234" y="600"/>
                      <a:pt x="234" y="599"/>
                    </a:cubicBezTo>
                    <a:cubicBezTo>
                      <a:pt x="233" y="599"/>
                      <a:pt x="232" y="598"/>
                      <a:pt x="231" y="598"/>
                    </a:cubicBezTo>
                    <a:cubicBezTo>
                      <a:pt x="230" y="598"/>
                      <a:pt x="230" y="597"/>
                      <a:pt x="230" y="597"/>
                    </a:cubicBezTo>
                    <a:cubicBezTo>
                      <a:pt x="230" y="597"/>
                      <a:pt x="230" y="597"/>
                      <a:pt x="230" y="597"/>
                    </a:cubicBezTo>
                    <a:cubicBezTo>
                      <a:pt x="231" y="596"/>
                      <a:pt x="232" y="596"/>
                      <a:pt x="233" y="596"/>
                    </a:cubicBezTo>
                    <a:cubicBezTo>
                      <a:pt x="233" y="596"/>
                      <a:pt x="232" y="595"/>
                      <a:pt x="232" y="595"/>
                    </a:cubicBezTo>
                    <a:cubicBezTo>
                      <a:pt x="232" y="595"/>
                      <a:pt x="232" y="595"/>
                      <a:pt x="232" y="595"/>
                    </a:cubicBezTo>
                    <a:cubicBezTo>
                      <a:pt x="231" y="595"/>
                      <a:pt x="230" y="594"/>
                      <a:pt x="229" y="594"/>
                    </a:cubicBezTo>
                    <a:cubicBezTo>
                      <a:pt x="228" y="594"/>
                      <a:pt x="228" y="594"/>
                      <a:pt x="228" y="594"/>
                    </a:cubicBezTo>
                    <a:cubicBezTo>
                      <a:pt x="228" y="594"/>
                      <a:pt x="228" y="594"/>
                      <a:pt x="228" y="594"/>
                    </a:cubicBezTo>
                    <a:cubicBezTo>
                      <a:pt x="229" y="593"/>
                      <a:pt x="229" y="593"/>
                      <a:pt x="229" y="593"/>
                    </a:cubicBezTo>
                    <a:cubicBezTo>
                      <a:pt x="230" y="592"/>
                      <a:pt x="229" y="592"/>
                      <a:pt x="229" y="592"/>
                    </a:cubicBezTo>
                    <a:cubicBezTo>
                      <a:pt x="229" y="592"/>
                      <a:pt x="228" y="591"/>
                      <a:pt x="228" y="591"/>
                    </a:cubicBezTo>
                    <a:cubicBezTo>
                      <a:pt x="228" y="591"/>
                      <a:pt x="228" y="591"/>
                      <a:pt x="228" y="591"/>
                    </a:cubicBezTo>
                    <a:cubicBezTo>
                      <a:pt x="228" y="591"/>
                      <a:pt x="228" y="591"/>
                      <a:pt x="228" y="591"/>
                    </a:cubicBezTo>
                    <a:cubicBezTo>
                      <a:pt x="228" y="591"/>
                      <a:pt x="229" y="591"/>
                      <a:pt x="229" y="591"/>
                    </a:cubicBezTo>
                    <a:cubicBezTo>
                      <a:pt x="230" y="591"/>
                      <a:pt x="230" y="591"/>
                      <a:pt x="230" y="590"/>
                    </a:cubicBezTo>
                    <a:cubicBezTo>
                      <a:pt x="230" y="590"/>
                      <a:pt x="230" y="590"/>
                      <a:pt x="230" y="590"/>
                    </a:cubicBezTo>
                    <a:cubicBezTo>
                      <a:pt x="230" y="590"/>
                      <a:pt x="231" y="590"/>
                      <a:pt x="232" y="590"/>
                    </a:cubicBezTo>
                    <a:cubicBezTo>
                      <a:pt x="232" y="590"/>
                      <a:pt x="233" y="590"/>
                      <a:pt x="233" y="589"/>
                    </a:cubicBezTo>
                    <a:cubicBezTo>
                      <a:pt x="233" y="589"/>
                      <a:pt x="234" y="590"/>
                      <a:pt x="235" y="590"/>
                    </a:cubicBezTo>
                    <a:cubicBezTo>
                      <a:pt x="236" y="590"/>
                      <a:pt x="235" y="590"/>
                      <a:pt x="236" y="590"/>
                    </a:cubicBezTo>
                    <a:cubicBezTo>
                      <a:pt x="236" y="589"/>
                      <a:pt x="237" y="589"/>
                      <a:pt x="237" y="589"/>
                    </a:cubicBezTo>
                    <a:cubicBezTo>
                      <a:pt x="239" y="590"/>
                      <a:pt x="239" y="590"/>
                      <a:pt x="239" y="590"/>
                    </a:cubicBezTo>
                    <a:cubicBezTo>
                      <a:pt x="239" y="590"/>
                      <a:pt x="240" y="589"/>
                      <a:pt x="240" y="589"/>
                    </a:cubicBezTo>
                    <a:cubicBezTo>
                      <a:pt x="240" y="589"/>
                      <a:pt x="242" y="589"/>
                      <a:pt x="243" y="588"/>
                    </a:cubicBezTo>
                    <a:cubicBezTo>
                      <a:pt x="243" y="588"/>
                      <a:pt x="243" y="588"/>
                      <a:pt x="244" y="587"/>
                    </a:cubicBezTo>
                    <a:cubicBezTo>
                      <a:pt x="244" y="587"/>
                      <a:pt x="244" y="587"/>
                      <a:pt x="245" y="587"/>
                    </a:cubicBezTo>
                    <a:cubicBezTo>
                      <a:pt x="245" y="587"/>
                      <a:pt x="246" y="587"/>
                      <a:pt x="247" y="587"/>
                    </a:cubicBezTo>
                    <a:cubicBezTo>
                      <a:pt x="247" y="587"/>
                      <a:pt x="248" y="587"/>
                      <a:pt x="248" y="587"/>
                    </a:cubicBezTo>
                    <a:cubicBezTo>
                      <a:pt x="248" y="587"/>
                      <a:pt x="249" y="587"/>
                      <a:pt x="249" y="587"/>
                    </a:cubicBezTo>
                    <a:cubicBezTo>
                      <a:pt x="249" y="586"/>
                      <a:pt x="251" y="586"/>
                      <a:pt x="251" y="586"/>
                    </a:cubicBezTo>
                    <a:cubicBezTo>
                      <a:pt x="252" y="586"/>
                      <a:pt x="253" y="585"/>
                      <a:pt x="253" y="585"/>
                    </a:cubicBezTo>
                    <a:cubicBezTo>
                      <a:pt x="257" y="586"/>
                      <a:pt x="257" y="586"/>
                      <a:pt x="257" y="586"/>
                    </a:cubicBezTo>
                    <a:cubicBezTo>
                      <a:pt x="257" y="586"/>
                      <a:pt x="257" y="585"/>
                      <a:pt x="257" y="584"/>
                    </a:cubicBezTo>
                    <a:cubicBezTo>
                      <a:pt x="257" y="584"/>
                      <a:pt x="257" y="583"/>
                      <a:pt x="257" y="583"/>
                    </a:cubicBezTo>
                    <a:cubicBezTo>
                      <a:pt x="257" y="583"/>
                      <a:pt x="259" y="583"/>
                      <a:pt x="260" y="583"/>
                    </a:cubicBezTo>
                    <a:cubicBezTo>
                      <a:pt x="260" y="582"/>
                      <a:pt x="261" y="583"/>
                      <a:pt x="261" y="583"/>
                    </a:cubicBezTo>
                    <a:cubicBezTo>
                      <a:pt x="261" y="583"/>
                      <a:pt x="262" y="582"/>
                      <a:pt x="262" y="582"/>
                    </a:cubicBezTo>
                    <a:cubicBezTo>
                      <a:pt x="262" y="582"/>
                      <a:pt x="264" y="582"/>
                      <a:pt x="264" y="582"/>
                    </a:cubicBezTo>
                    <a:cubicBezTo>
                      <a:pt x="264" y="582"/>
                      <a:pt x="274" y="580"/>
                      <a:pt x="274" y="580"/>
                    </a:cubicBezTo>
                    <a:cubicBezTo>
                      <a:pt x="274" y="579"/>
                      <a:pt x="277" y="578"/>
                      <a:pt x="278" y="578"/>
                    </a:cubicBezTo>
                    <a:cubicBezTo>
                      <a:pt x="278" y="578"/>
                      <a:pt x="278" y="578"/>
                      <a:pt x="278" y="577"/>
                    </a:cubicBezTo>
                    <a:cubicBezTo>
                      <a:pt x="278" y="577"/>
                      <a:pt x="278" y="577"/>
                      <a:pt x="278" y="576"/>
                    </a:cubicBezTo>
                    <a:cubicBezTo>
                      <a:pt x="277" y="576"/>
                      <a:pt x="278" y="576"/>
                      <a:pt x="278" y="576"/>
                    </a:cubicBezTo>
                    <a:cubicBezTo>
                      <a:pt x="278" y="576"/>
                      <a:pt x="280" y="575"/>
                      <a:pt x="280" y="575"/>
                    </a:cubicBezTo>
                    <a:cubicBezTo>
                      <a:pt x="281" y="575"/>
                      <a:pt x="281" y="574"/>
                      <a:pt x="281" y="574"/>
                    </a:cubicBezTo>
                    <a:cubicBezTo>
                      <a:pt x="281" y="574"/>
                      <a:pt x="283" y="574"/>
                      <a:pt x="283" y="574"/>
                    </a:cubicBezTo>
                    <a:cubicBezTo>
                      <a:pt x="283" y="574"/>
                      <a:pt x="284" y="574"/>
                      <a:pt x="284" y="574"/>
                    </a:cubicBezTo>
                    <a:cubicBezTo>
                      <a:pt x="287" y="574"/>
                      <a:pt x="287" y="574"/>
                      <a:pt x="287" y="574"/>
                    </a:cubicBezTo>
                    <a:cubicBezTo>
                      <a:pt x="287" y="574"/>
                      <a:pt x="289" y="576"/>
                      <a:pt x="290" y="576"/>
                    </a:cubicBezTo>
                    <a:cubicBezTo>
                      <a:pt x="290" y="576"/>
                      <a:pt x="291" y="576"/>
                      <a:pt x="291" y="576"/>
                    </a:cubicBezTo>
                    <a:cubicBezTo>
                      <a:pt x="291" y="576"/>
                      <a:pt x="292" y="575"/>
                      <a:pt x="292" y="575"/>
                    </a:cubicBezTo>
                    <a:cubicBezTo>
                      <a:pt x="292" y="575"/>
                      <a:pt x="293" y="575"/>
                      <a:pt x="294" y="575"/>
                    </a:cubicBezTo>
                    <a:cubicBezTo>
                      <a:pt x="295" y="575"/>
                      <a:pt x="296" y="576"/>
                      <a:pt x="296" y="576"/>
                    </a:cubicBezTo>
                    <a:cubicBezTo>
                      <a:pt x="296" y="577"/>
                      <a:pt x="296" y="578"/>
                      <a:pt x="296" y="578"/>
                    </a:cubicBezTo>
                    <a:cubicBezTo>
                      <a:pt x="296" y="578"/>
                      <a:pt x="296" y="579"/>
                      <a:pt x="296" y="579"/>
                    </a:cubicBezTo>
                    <a:cubicBezTo>
                      <a:pt x="296" y="580"/>
                      <a:pt x="296" y="581"/>
                      <a:pt x="296" y="581"/>
                    </a:cubicBezTo>
                    <a:cubicBezTo>
                      <a:pt x="296" y="581"/>
                      <a:pt x="297" y="582"/>
                      <a:pt x="298" y="582"/>
                    </a:cubicBezTo>
                    <a:cubicBezTo>
                      <a:pt x="299" y="583"/>
                      <a:pt x="298" y="584"/>
                      <a:pt x="298" y="584"/>
                    </a:cubicBezTo>
                    <a:cubicBezTo>
                      <a:pt x="298" y="584"/>
                      <a:pt x="296" y="586"/>
                      <a:pt x="296" y="586"/>
                    </a:cubicBezTo>
                    <a:cubicBezTo>
                      <a:pt x="296" y="586"/>
                      <a:pt x="296" y="587"/>
                      <a:pt x="297" y="588"/>
                    </a:cubicBezTo>
                    <a:cubicBezTo>
                      <a:pt x="298" y="588"/>
                      <a:pt x="298" y="588"/>
                      <a:pt x="298" y="588"/>
                    </a:cubicBezTo>
                    <a:cubicBezTo>
                      <a:pt x="298" y="588"/>
                      <a:pt x="300" y="588"/>
                      <a:pt x="300" y="588"/>
                    </a:cubicBezTo>
                    <a:cubicBezTo>
                      <a:pt x="300" y="589"/>
                      <a:pt x="301" y="588"/>
                      <a:pt x="302" y="588"/>
                    </a:cubicBezTo>
                    <a:cubicBezTo>
                      <a:pt x="302" y="588"/>
                      <a:pt x="303" y="588"/>
                      <a:pt x="303" y="588"/>
                    </a:cubicBezTo>
                    <a:cubicBezTo>
                      <a:pt x="304" y="587"/>
                      <a:pt x="303" y="586"/>
                      <a:pt x="303" y="586"/>
                    </a:cubicBezTo>
                    <a:cubicBezTo>
                      <a:pt x="304" y="585"/>
                      <a:pt x="304" y="586"/>
                      <a:pt x="305" y="586"/>
                    </a:cubicBezTo>
                    <a:cubicBezTo>
                      <a:pt x="306" y="587"/>
                      <a:pt x="305" y="588"/>
                      <a:pt x="305" y="588"/>
                    </a:cubicBezTo>
                    <a:cubicBezTo>
                      <a:pt x="305" y="589"/>
                      <a:pt x="305" y="590"/>
                      <a:pt x="306" y="590"/>
                    </a:cubicBezTo>
                    <a:cubicBezTo>
                      <a:pt x="306" y="590"/>
                      <a:pt x="307" y="590"/>
                      <a:pt x="307" y="589"/>
                    </a:cubicBezTo>
                    <a:cubicBezTo>
                      <a:pt x="307" y="589"/>
                      <a:pt x="307" y="589"/>
                      <a:pt x="308" y="589"/>
                    </a:cubicBezTo>
                    <a:cubicBezTo>
                      <a:pt x="308" y="588"/>
                      <a:pt x="309" y="589"/>
                      <a:pt x="309" y="589"/>
                    </a:cubicBezTo>
                    <a:cubicBezTo>
                      <a:pt x="310" y="589"/>
                      <a:pt x="310" y="589"/>
                      <a:pt x="310" y="589"/>
                    </a:cubicBezTo>
                    <a:cubicBezTo>
                      <a:pt x="312" y="590"/>
                      <a:pt x="312" y="590"/>
                      <a:pt x="312" y="590"/>
                    </a:cubicBezTo>
                    <a:cubicBezTo>
                      <a:pt x="312" y="590"/>
                      <a:pt x="313" y="590"/>
                      <a:pt x="314" y="589"/>
                    </a:cubicBezTo>
                    <a:cubicBezTo>
                      <a:pt x="315" y="588"/>
                      <a:pt x="315" y="590"/>
                      <a:pt x="315" y="590"/>
                    </a:cubicBezTo>
                    <a:cubicBezTo>
                      <a:pt x="315" y="590"/>
                      <a:pt x="315" y="591"/>
                      <a:pt x="314" y="591"/>
                    </a:cubicBezTo>
                    <a:cubicBezTo>
                      <a:pt x="313" y="592"/>
                      <a:pt x="314" y="592"/>
                      <a:pt x="313" y="592"/>
                    </a:cubicBezTo>
                    <a:cubicBezTo>
                      <a:pt x="313" y="592"/>
                      <a:pt x="312" y="592"/>
                      <a:pt x="312" y="593"/>
                    </a:cubicBezTo>
                    <a:cubicBezTo>
                      <a:pt x="312" y="593"/>
                      <a:pt x="312" y="594"/>
                      <a:pt x="312" y="595"/>
                    </a:cubicBezTo>
                    <a:cubicBezTo>
                      <a:pt x="312" y="595"/>
                      <a:pt x="314" y="596"/>
                      <a:pt x="314" y="596"/>
                    </a:cubicBezTo>
                    <a:cubicBezTo>
                      <a:pt x="314" y="595"/>
                      <a:pt x="314" y="595"/>
                      <a:pt x="314" y="595"/>
                    </a:cubicBezTo>
                    <a:cubicBezTo>
                      <a:pt x="314" y="595"/>
                      <a:pt x="315" y="594"/>
                      <a:pt x="315" y="594"/>
                    </a:cubicBezTo>
                    <a:cubicBezTo>
                      <a:pt x="315" y="593"/>
                      <a:pt x="317" y="594"/>
                      <a:pt x="317" y="594"/>
                    </a:cubicBezTo>
                    <a:cubicBezTo>
                      <a:pt x="318" y="595"/>
                      <a:pt x="319" y="596"/>
                      <a:pt x="319" y="596"/>
                    </a:cubicBezTo>
                    <a:cubicBezTo>
                      <a:pt x="320" y="596"/>
                      <a:pt x="320" y="595"/>
                      <a:pt x="320" y="594"/>
                    </a:cubicBezTo>
                    <a:cubicBezTo>
                      <a:pt x="320" y="594"/>
                      <a:pt x="320" y="594"/>
                      <a:pt x="320" y="594"/>
                    </a:cubicBezTo>
                    <a:cubicBezTo>
                      <a:pt x="321" y="593"/>
                      <a:pt x="321" y="594"/>
                      <a:pt x="322" y="593"/>
                    </a:cubicBezTo>
                    <a:cubicBezTo>
                      <a:pt x="322" y="593"/>
                      <a:pt x="322" y="592"/>
                      <a:pt x="322" y="592"/>
                    </a:cubicBezTo>
                    <a:cubicBezTo>
                      <a:pt x="322" y="592"/>
                      <a:pt x="322" y="592"/>
                      <a:pt x="323" y="592"/>
                    </a:cubicBezTo>
                    <a:cubicBezTo>
                      <a:pt x="324" y="593"/>
                      <a:pt x="324" y="592"/>
                      <a:pt x="324" y="592"/>
                    </a:cubicBezTo>
                    <a:cubicBezTo>
                      <a:pt x="324" y="592"/>
                      <a:pt x="326" y="592"/>
                      <a:pt x="326" y="591"/>
                    </a:cubicBezTo>
                    <a:cubicBezTo>
                      <a:pt x="326" y="591"/>
                      <a:pt x="326" y="590"/>
                      <a:pt x="326" y="590"/>
                    </a:cubicBezTo>
                    <a:cubicBezTo>
                      <a:pt x="327" y="588"/>
                      <a:pt x="327" y="588"/>
                      <a:pt x="327" y="588"/>
                    </a:cubicBezTo>
                    <a:cubicBezTo>
                      <a:pt x="327" y="588"/>
                      <a:pt x="327" y="588"/>
                      <a:pt x="328" y="588"/>
                    </a:cubicBezTo>
                    <a:cubicBezTo>
                      <a:pt x="329" y="588"/>
                      <a:pt x="329" y="588"/>
                      <a:pt x="330" y="588"/>
                    </a:cubicBezTo>
                    <a:cubicBezTo>
                      <a:pt x="330" y="588"/>
                      <a:pt x="332" y="587"/>
                      <a:pt x="332" y="587"/>
                    </a:cubicBezTo>
                    <a:cubicBezTo>
                      <a:pt x="332" y="587"/>
                      <a:pt x="332" y="586"/>
                      <a:pt x="332" y="586"/>
                    </a:cubicBezTo>
                    <a:cubicBezTo>
                      <a:pt x="333" y="586"/>
                      <a:pt x="334" y="586"/>
                      <a:pt x="335" y="586"/>
                    </a:cubicBezTo>
                    <a:cubicBezTo>
                      <a:pt x="335" y="586"/>
                      <a:pt x="335" y="585"/>
                      <a:pt x="335" y="585"/>
                    </a:cubicBezTo>
                    <a:cubicBezTo>
                      <a:pt x="335" y="585"/>
                      <a:pt x="336" y="585"/>
                      <a:pt x="336" y="585"/>
                    </a:cubicBezTo>
                    <a:cubicBezTo>
                      <a:pt x="336" y="585"/>
                      <a:pt x="336" y="586"/>
                      <a:pt x="336" y="586"/>
                    </a:cubicBezTo>
                    <a:cubicBezTo>
                      <a:pt x="336" y="586"/>
                      <a:pt x="336" y="587"/>
                      <a:pt x="336" y="587"/>
                    </a:cubicBezTo>
                    <a:cubicBezTo>
                      <a:pt x="336" y="587"/>
                      <a:pt x="335" y="588"/>
                      <a:pt x="335" y="588"/>
                    </a:cubicBezTo>
                    <a:cubicBezTo>
                      <a:pt x="333" y="588"/>
                      <a:pt x="333" y="588"/>
                      <a:pt x="333" y="588"/>
                    </a:cubicBezTo>
                    <a:cubicBezTo>
                      <a:pt x="333" y="589"/>
                      <a:pt x="333" y="589"/>
                      <a:pt x="333" y="589"/>
                    </a:cubicBezTo>
                    <a:cubicBezTo>
                      <a:pt x="343" y="598"/>
                      <a:pt x="343" y="598"/>
                      <a:pt x="343" y="598"/>
                    </a:cubicBezTo>
                    <a:cubicBezTo>
                      <a:pt x="358" y="626"/>
                      <a:pt x="358" y="626"/>
                      <a:pt x="358" y="626"/>
                    </a:cubicBezTo>
                    <a:cubicBezTo>
                      <a:pt x="358" y="624"/>
                      <a:pt x="358" y="624"/>
                      <a:pt x="358" y="624"/>
                    </a:cubicBezTo>
                    <a:cubicBezTo>
                      <a:pt x="360" y="624"/>
                      <a:pt x="360" y="624"/>
                      <a:pt x="360" y="624"/>
                    </a:cubicBezTo>
                    <a:cubicBezTo>
                      <a:pt x="360" y="624"/>
                      <a:pt x="361" y="623"/>
                      <a:pt x="361" y="623"/>
                    </a:cubicBezTo>
                    <a:cubicBezTo>
                      <a:pt x="361" y="622"/>
                      <a:pt x="361" y="622"/>
                      <a:pt x="360" y="622"/>
                    </a:cubicBezTo>
                    <a:cubicBezTo>
                      <a:pt x="360" y="621"/>
                      <a:pt x="361" y="621"/>
                      <a:pt x="361" y="621"/>
                    </a:cubicBezTo>
                    <a:cubicBezTo>
                      <a:pt x="361" y="621"/>
                      <a:pt x="363" y="620"/>
                      <a:pt x="363" y="620"/>
                    </a:cubicBezTo>
                    <a:cubicBezTo>
                      <a:pt x="364" y="621"/>
                      <a:pt x="365" y="621"/>
                      <a:pt x="365" y="621"/>
                    </a:cubicBezTo>
                    <a:cubicBezTo>
                      <a:pt x="365" y="621"/>
                      <a:pt x="365" y="622"/>
                      <a:pt x="365" y="623"/>
                    </a:cubicBezTo>
                    <a:cubicBezTo>
                      <a:pt x="365" y="623"/>
                      <a:pt x="365" y="623"/>
                      <a:pt x="365" y="623"/>
                    </a:cubicBezTo>
                    <a:cubicBezTo>
                      <a:pt x="365" y="624"/>
                      <a:pt x="367" y="624"/>
                      <a:pt x="367" y="624"/>
                    </a:cubicBezTo>
                    <a:cubicBezTo>
                      <a:pt x="367" y="624"/>
                      <a:pt x="367" y="624"/>
                      <a:pt x="367" y="625"/>
                    </a:cubicBezTo>
                    <a:cubicBezTo>
                      <a:pt x="367" y="625"/>
                      <a:pt x="367" y="625"/>
                      <a:pt x="368" y="626"/>
                    </a:cubicBezTo>
                    <a:cubicBezTo>
                      <a:pt x="368" y="626"/>
                      <a:pt x="369" y="625"/>
                      <a:pt x="369" y="625"/>
                    </a:cubicBezTo>
                    <a:cubicBezTo>
                      <a:pt x="369" y="625"/>
                      <a:pt x="370" y="625"/>
                      <a:pt x="371" y="625"/>
                    </a:cubicBezTo>
                    <a:cubicBezTo>
                      <a:pt x="371" y="626"/>
                      <a:pt x="372" y="626"/>
                      <a:pt x="373" y="626"/>
                    </a:cubicBezTo>
                    <a:cubicBezTo>
                      <a:pt x="373" y="626"/>
                      <a:pt x="374" y="626"/>
                      <a:pt x="374" y="626"/>
                    </a:cubicBezTo>
                    <a:cubicBezTo>
                      <a:pt x="374" y="626"/>
                      <a:pt x="375" y="626"/>
                      <a:pt x="375" y="625"/>
                    </a:cubicBezTo>
                    <a:cubicBezTo>
                      <a:pt x="375" y="625"/>
                      <a:pt x="376" y="624"/>
                      <a:pt x="376" y="624"/>
                    </a:cubicBezTo>
                    <a:cubicBezTo>
                      <a:pt x="376" y="624"/>
                      <a:pt x="376" y="624"/>
                      <a:pt x="376" y="624"/>
                    </a:cubicBezTo>
                    <a:cubicBezTo>
                      <a:pt x="376" y="624"/>
                      <a:pt x="376" y="624"/>
                      <a:pt x="376" y="624"/>
                    </a:cubicBezTo>
                    <a:cubicBezTo>
                      <a:pt x="376" y="624"/>
                      <a:pt x="376" y="625"/>
                      <a:pt x="376" y="625"/>
                    </a:cubicBezTo>
                    <a:cubicBezTo>
                      <a:pt x="376" y="625"/>
                      <a:pt x="378" y="625"/>
                      <a:pt x="378" y="624"/>
                    </a:cubicBezTo>
                    <a:cubicBezTo>
                      <a:pt x="378" y="624"/>
                      <a:pt x="378" y="623"/>
                      <a:pt x="378" y="623"/>
                    </a:cubicBezTo>
                    <a:cubicBezTo>
                      <a:pt x="380" y="623"/>
                      <a:pt x="380" y="623"/>
                      <a:pt x="380" y="623"/>
                    </a:cubicBezTo>
                    <a:cubicBezTo>
                      <a:pt x="381" y="624"/>
                      <a:pt x="381" y="624"/>
                      <a:pt x="381" y="624"/>
                    </a:cubicBezTo>
                    <a:cubicBezTo>
                      <a:pt x="381" y="624"/>
                      <a:pt x="383" y="624"/>
                      <a:pt x="383" y="625"/>
                    </a:cubicBezTo>
                    <a:cubicBezTo>
                      <a:pt x="383" y="625"/>
                      <a:pt x="384" y="626"/>
                      <a:pt x="384" y="626"/>
                    </a:cubicBezTo>
                    <a:cubicBezTo>
                      <a:pt x="384" y="627"/>
                      <a:pt x="385" y="628"/>
                      <a:pt x="385" y="628"/>
                    </a:cubicBezTo>
                    <a:cubicBezTo>
                      <a:pt x="385" y="628"/>
                      <a:pt x="386" y="630"/>
                      <a:pt x="386" y="630"/>
                    </a:cubicBezTo>
                    <a:cubicBezTo>
                      <a:pt x="386" y="630"/>
                      <a:pt x="386" y="632"/>
                      <a:pt x="386" y="632"/>
                    </a:cubicBezTo>
                    <a:cubicBezTo>
                      <a:pt x="386" y="632"/>
                      <a:pt x="388" y="631"/>
                      <a:pt x="389" y="631"/>
                    </a:cubicBezTo>
                    <a:cubicBezTo>
                      <a:pt x="389" y="631"/>
                      <a:pt x="390" y="632"/>
                      <a:pt x="390" y="632"/>
                    </a:cubicBezTo>
                    <a:cubicBezTo>
                      <a:pt x="390" y="632"/>
                      <a:pt x="392" y="633"/>
                      <a:pt x="392" y="633"/>
                    </a:cubicBezTo>
                    <a:cubicBezTo>
                      <a:pt x="392" y="633"/>
                      <a:pt x="392" y="634"/>
                      <a:pt x="392" y="635"/>
                    </a:cubicBezTo>
                    <a:cubicBezTo>
                      <a:pt x="392" y="635"/>
                      <a:pt x="392" y="636"/>
                      <a:pt x="392" y="636"/>
                    </a:cubicBezTo>
                    <a:cubicBezTo>
                      <a:pt x="392" y="636"/>
                      <a:pt x="392" y="637"/>
                      <a:pt x="393" y="637"/>
                    </a:cubicBezTo>
                    <a:cubicBezTo>
                      <a:pt x="393" y="638"/>
                      <a:pt x="394" y="638"/>
                      <a:pt x="394" y="638"/>
                    </a:cubicBezTo>
                    <a:cubicBezTo>
                      <a:pt x="394" y="638"/>
                      <a:pt x="395" y="638"/>
                      <a:pt x="396" y="638"/>
                    </a:cubicBezTo>
                    <a:cubicBezTo>
                      <a:pt x="397" y="639"/>
                      <a:pt x="397" y="639"/>
                      <a:pt x="398" y="639"/>
                    </a:cubicBezTo>
                    <a:cubicBezTo>
                      <a:pt x="399" y="639"/>
                      <a:pt x="399" y="639"/>
                      <a:pt x="400" y="639"/>
                    </a:cubicBezTo>
                    <a:cubicBezTo>
                      <a:pt x="400" y="639"/>
                      <a:pt x="400" y="638"/>
                      <a:pt x="400" y="638"/>
                    </a:cubicBezTo>
                    <a:cubicBezTo>
                      <a:pt x="401" y="637"/>
                      <a:pt x="402" y="636"/>
                      <a:pt x="402" y="636"/>
                    </a:cubicBezTo>
                    <a:cubicBezTo>
                      <a:pt x="402" y="636"/>
                      <a:pt x="403" y="636"/>
                      <a:pt x="403" y="636"/>
                    </a:cubicBezTo>
                    <a:cubicBezTo>
                      <a:pt x="403" y="636"/>
                      <a:pt x="402" y="637"/>
                      <a:pt x="402" y="638"/>
                    </a:cubicBezTo>
                    <a:cubicBezTo>
                      <a:pt x="402" y="638"/>
                      <a:pt x="403" y="638"/>
                      <a:pt x="403" y="639"/>
                    </a:cubicBezTo>
                    <a:cubicBezTo>
                      <a:pt x="403" y="639"/>
                      <a:pt x="404" y="640"/>
                      <a:pt x="404" y="640"/>
                    </a:cubicBezTo>
                    <a:cubicBezTo>
                      <a:pt x="404" y="640"/>
                      <a:pt x="405" y="641"/>
                      <a:pt x="405" y="641"/>
                    </a:cubicBezTo>
                    <a:cubicBezTo>
                      <a:pt x="405" y="641"/>
                      <a:pt x="406" y="642"/>
                      <a:pt x="406" y="642"/>
                    </a:cubicBezTo>
                    <a:cubicBezTo>
                      <a:pt x="407" y="643"/>
                      <a:pt x="407" y="643"/>
                      <a:pt x="407" y="643"/>
                    </a:cubicBezTo>
                    <a:cubicBezTo>
                      <a:pt x="410" y="643"/>
                      <a:pt x="410" y="643"/>
                      <a:pt x="410" y="643"/>
                    </a:cubicBezTo>
                    <a:cubicBezTo>
                      <a:pt x="411" y="642"/>
                      <a:pt x="411" y="642"/>
                      <a:pt x="411" y="642"/>
                    </a:cubicBezTo>
                    <a:cubicBezTo>
                      <a:pt x="412" y="642"/>
                      <a:pt x="412" y="642"/>
                      <a:pt x="412" y="642"/>
                    </a:cubicBezTo>
                    <a:cubicBezTo>
                      <a:pt x="413" y="640"/>
                      <a:pt x="413" y="640"/>
                      <a:pt x="413" y="640"/>
                    </a:cubicBezTo>
                    <a:cubicBezTo>
                      <a:pt x="413" y="640"/>
                      <a:pt x="415" y="640"/>
                      <a:pt x="415" y="640"/>
                    </a:cubicBezTo>
                    <a:cubicBezTo>
                      <a:pt x="415" y="640"/>
                      <a:pt x="417" y="640"/>
                      <a:pt x="417" y="640"/>
                    </a:cubicBezTo>
                    <a:cubicBezTo>
                      <a:pt x="418" y="639"/>
                      <a:pt x="418" y="639"/>
                      <a:pt x="418" y="639"/>
                    </a:cubicBezTo>
                    <a:cubicBezTo>
                      <a:pt x="418" y="639"/>
                      <a:pt x="418" y="639"/>
                      <a:pt x="418" y="639"/>
                    </a:cubicBezTo>
                    <a:cubicBezTo>
                      <a:pt x="419" y="639"/>
                      <a:pt x="419" y="639"/>
                      <a:pt x="419" y="639"/>
                    </a:cubicBezTo>
                    <a:cubicBezTo>
                      <a:pt x="419" y="639"/>
                      <a:pt x="420" y="638"/>
                      <a:pt x="420" y="638"/>
                    </a:cubicBezTo>
                    <a:cubicBezTo>
                      <a:pt x="420" y="638"/>
                      <a:pt x="421" y="638"/>
                      <a:pt x="421" y="638"/>
                    </a:cubicBezTo>
                    <a:cubicBezTo>
                      <a:pt x="422" y="638"/>
                      <a:pt x="422" y="638"/>
                      <a:pt x="423" y="638"/>
                    </a:cubicBezTo>
                    <a:cubicBezTo>
                      <a:pt x="423" y="638"/>
                      <a:pt x="423" y="637"/>
                      <a:pt x="423" y="637"/>
                    </a:cubicBezTo>
                    <a:cubicBezTo>
                      <a:pt x="423" y="637"/>
                      <a:pt x="423" y="636"/>
                      <a:pt x="423" y="636"/>
                    </a:cubicBezTo>
                    <a:cubicBezTo>
                      <a:pt x="422" y="636"/>
                      <a:pt x="423" y="635"/>
                      <a:pt x="423" y="635"/>
                    </a:cubicBezTo>
                    <a:cubicBezTo>
                      <a:pt x="423" y="635"/>
                      <a:pt x="423" y="635"/>
                      <a:pt x="423" y="635"/>
                    </a:cubicBezTo>
                    <a:cubicBezTo>
                      <a:pt x="423" y="635"/>
                      <a:pt x="425" y="634"/>
                      <a:pt x="425" y="634"/>
                    </a:cubicBezTo>
                    <a:cubicBezTo>
                      <a:pt x="425" y="634"/>
                      <a:pt x="427" y="633"/>
                      <a:pt x="427" y="633"/>
                    </a:cubicBezTo>
                    <a:cubicBezTo>
                      <a:pt x="427" y="632"/>
                      <a:pt x="428" y="632"/>
                      <a:pt x="428" y="632"/>
                    </a:cubicBezTo>
                    <a:cubicBezTo>
                      <a:pt x="430" y="631"/>
                      <a:pt x="430" y="631"/>
                      <a:pt x="430" y="631"/>
                    </a:cubicBezTo>
                    <a:cubicBezTo>
                      <a:pt x="430" y="631"/>
                      <a:pt x="430" y="631"/>
                      <a:pt x="430" y="631"/>
                    </a:cubicBezTo>
                    <a:cubicBezTo>
                      <a:pt x="432" y="629"/>
                      <a:pt x="432" y="629"/>
                      <a:pt x="432" y="629"/>
                    </a:cubicBezTo>
                    <a:cubicBezTo>
                      <a:pt x="435" y="629"/>
                      <a:pt x="435" y="629"/>
                      <a:pt x="435" y="629"/>
                    </a:cubicBezTo>
                    <a:cubicBezTo>
                      <a:pt x="437" y="626"/>
                      <a:pt x="437" y="626"/>
                      <a:pt x="437" y="626"/>
                    </a:cubicBezTo>
                    <a:cubicBezTo>
                      <a:pt x="440" y="626"/>
                      <a:pt x="440" y="626"/>
                      <a:pt x="440" y="626"/>
                    </a:cubicBezTo>
                    <a:cubicBezTo>
                      <a:pt x="441" y="625"/>
                      <a:pt x="441" y="625"/>
                      <a:pt x="441" y="625"/>
                    </a:cubicBezTo>
                    <a:cubicBezTo>
                      <a:pt x="442" y="626"/>
                      <a:pt x="442" y="626"/>
                      <a:pt x="442" y="626"/>
                    </a:cubicBezTo>
                    <a:cubicBezTo>
                      <a:pt x="443" y="626"/>
                      <a:pt x="443" y="626"/>
                      <a:pt x="443" y="626"/>
                    </a:cubicBezTo>
                    <a:cubicBezTo>
                      <a:pt x="444" y="625"/>
                      <a:pt x="444" y="625"/>
                      <a:pt x="444" y="625"/>
                    </a:cubicBezTo>
                    <a:cubicBezTo>
                      <a:pt x="446" y="626"/>
                      <a:pt x="446" y="626"/>
                      <a:pt x="446" y="626"/>
                    </a:cubicBezTo>
                    <a:cubicBezTo>
                      <a:pt x="446" y="628"/>
                      <a:pt x="446" y="628"/>
                      <a:pt x="446" y="628"/>
                    </a:cubicBezTo>
                    <a:cubicBezTo>
                      <a:pt x="454" y="628"/>
                      <a:pt x="454" y="628"/>
                      <a:pt x="454" y="628"/>
                    </a:cubicBezTo>
                    <a:cubicBezTo>
                      <a:pt x="454" y="628"/>
                      <a:pt x="454" y="630"/>
                      <a:pt x="454" y="630"/>
                    </a:cubicBezTo>
                    <a:cubicBezTo>
                      <a:pt x="454" y="630"/>
                      <a:pt x="455" y="632"/>
                      <a:pt x="455" y="632"/>
                    </a:cubicBezTo>
                    <a:cubicBezTo>
                      <a:pt x="455" y="632"/>
                      <a:pt x="456" y="633"/>
                      <a:pt x="456" y="633"/>
                    </a:cubicBezTo>
                    <a:cubicBezTo>
                      <a:pt x="456" y="633"/>
                      <a:pt x="458" y="633"/>
                      <a:pt x="459" y="634"/>
                    </a:cubicBezTo>
                    <a:cubicBezTo>
                      <a:pt x="459" y="634"/>
                      <a:pt x="460" y="634"/>
                      <a:pt x="460" y="634"/>
                    </a:cubicBezTo>
                    <a:cubicBezTo>
                      <a:pt x="460" y="635"/>
                      <a:pt x="462" y="635"/>
                      <a:pt x="462" y="635"/>
                    </a:cubicBezTo>
                    <a:cubicBezTo>
                      <a:pt x="465" y="633"/>
                      <a:pt x="465" y="633"/>
                      <a:pt x="465" y="633"/>
                    </a:cubicBezTo>
                    <a:cubicBezTo>
                      <a:pt x="468" y="635"/>
                      <a:pt x="468" y="635"/>
                      <a:pt x="468" y="635"/>
                    </a:cubicBezTo>
                    <a:cubicBezTo>
                      <a:pt x="473" y="635"/>
                      <a:pt x="473" y="635"/>
                      <a:pt x="473" y="635"/>
                    </a:cubicBezTo>
                    <a:cubicBezTo>
                      <a:pt x="474" y="636"/>
                      <a:pt x="474" y="636"/>
                      <a:pt x="474" y="636"/>
                    </a:cubicBezTo>
                    <a:cubicBezTo>
                      <a:pt x="476" y="636"/>
                      <a:pt x="476" y="636"/>
                      <a:pt x="476" y="636"/>
                    </a:cubicBezTo>
                    <a:cubicBezTo>
                      <a:pt x="478" y="634"/>
                      <a:pt x="478" y="634"/>
                      <a:pt x="478" y="634"/>
                    </a:cubicBezTo>
                    <a:cubicBezTo>
                      <a:pt x="478" y="635"/>
                      <a:pt x="478" y="635"/>
                      <a:pt x="478" y="635"/>
                    </a:cubicBezTo>
                    <a:cubicBezTo>
                      <a:pt x="479" y="635"/>
                      <a:pt x="479" y="635"/>
                      <a:pt x="479" y="635"/>
                    </a:cubicBezTo>
                    <a:cubicBezTo>
                      <a:pt x="480" y="633"/>
                      <a:pt x="480" y="633"/>
                      <a:pt x="480" y="633"/>
                    </a:cubicBezTo>
                    <a:cubicBezTo>
                      <a:pt x="481" y="631"/>
                      <a:pt x="481" y="631"/>
                      <a:pt x="481" y="631"/>
                    </a:cubicBezTo>
                    <a:cubicBezTo>
                      <a:pt x="481" y="629"/>
                      <a:pt x="481" y="629"/>
                      <a:pt x="481" y="629"/>
                    </a:cubicBezTo>
                    <a:cubicBezTo>
                      <a:pt x="480" y="627"/>
                      <a:pt x="480" y="627"/>
                      <a:pt x="480" y="627"/>
                    </a:cubicBezTo>
                    <a:cubicBezTo>
                      <a:pt x="480" y="625"/>
                      <a:pt x="480" y="625"/>
                      <a:pt x="480" y="625"/>
                    </a:cubicBezTo>
                    <a:cubicBezTo>
                      <a:pt x="479" y="625"/>
                      <a:pt x="479" y="625"/>
                      <a:pt x="479" y="625"/>
                    </a:cubicBezTo>
                    <a:cubicBezTo>
                      <a:pt x="479" y="625"/>
                      <a:pt x="478" y="624"/>
                      <a:pt x="478" y="623"/>
                    </a:cubicBezTo>
                    <a:cubicBezTo>
                      <a:pt x="478" y="622"/>
                      <a:pt x="478" y="622"/>
                      <a:pt x="478" y="622"/>
                    </a:cubicBezTo>
                    <a:cubicBezTo>
                      <a:pt x="479" y="621"/>
                      <a:pt x="479" y="621"/>
                      <a:pt x="479" y="620"/>
                    </a:cubicBezTo>
                    <a:cubicBezTo>
                      <a:pt x="480" y="620"/>
                      <a:pt x="479" y="620"/>
                      <a:pt x="479" y="619"/>
                    </a:cubicBezTo>
                    <a:cubicBezTo>
                      <a:pt x="479" y="619"/>
                      <a:pt x="480" y="619"/>
                      <a:pt x="480" y="619"/>
                    </a:cubicBezTo>
                    <a:cubicBezTo>
                      <a:pt x="480" y="619"/>
                      <a:pt x="481" y="618"/>
                      <a:pt x="481" y="618"/>
                    </a:cubicBezTo>
                    <a:cubicBezTo>
                      <a:pt x="481" y="617"/>
                      <a:pt x="482" y="616"/>
                      <a:pt x="482" y="615"/>
                    </a:cubicBezTo>
                    <a:cubicBezTo>
                      <a:pt x="482" y="615"/>
                      <a:pt x="482" y="615"/>
                      <a:pt x="482" y="615"/>
                    </a:cubicBezTo>
                    <a:cubicBezTo>
                      <a:pt x="484" y="614"/>
                      <a:pt x="484" y="614"/>
                      <a:pt x="484" y="614"/>
                    </a:cubicBezTo>
                    <a:cubicBezTo>
                      <a:pt x="484" y="614"/>
                      <a:pt x="485" y="613"/>
                      <a:pt x="485" y="613"/>
                    </a:cubicBezTo>
                    <a:cubicBezTo>
                      <a:pt x="485" y="613"/>
                      <a:pt x="485" y="612"/>
                      <a:pt x="485" y="611"/>
                    </a:cubicBezTo>
                    <a:cubicBezTo>
                      <a:pt x="485" y="611"/>
                      <a:pt x="485" y="610"/>
                      <a:pt x="485" y="610"/>
                    </a:cubicBezTo>
                    <a:cubicBezTo>
                      <a:pt x="489" y="613"/>
                      <a:pt x="489" y="613"/>
                      <a:pt x="489" y="613"/>
                    </a:cubicBezTo>
                    <a:cubicBezTo>
                      <a:pt x="492" y="613"/>
                      <a:pt x="492" y="613"/>
                      <a:pt x="492" y="613"/>
                    </a:cubicBezTo>
                    <a:cubicBezTo>
                      <a:pt x="492" y="615"/>
                      <a:pt x="492" y="615"/>
                      <a:pt x="492" y="615"/>
                    </a:cubicBezTo>
                    <a:cubicBezTo>
                      <a:pt x="497" y="615"/>
                      <a:pt x="497" y="615"/>
                      <a:pt x="497" y="615"/>
                    </a:cubicBezTo>
                    <a:cubicBezTo>
                      <a:pt x="500" y="618"/>
                      <a:pt x="500" y="618"/>
                      <a:pt x="500" y="618"/>
                    </a:cubicBezTo>
                    <a:cubicBezTo>
                      <a:pt x="500" y="618"/>
                      <a:pt x="502" y="618"/>
                      <a:pt x="503" y="618"/>
                    </a:cubicBezTo>
                    <a:cubicBezTo>
                      <a:pt x="503" y="618"/>
                      <a:pt x="504" y="618"/>
                      <a:pt x="504" y="618"/>
                    </a:cubicBezTo>
                    <a:cubicBezTo>
                      <a:pt x="504" y="618"/>
                      <a:pt x="506" y="619"/>
                      <a:pt x="506" y="619"/>
                    </a:cubicBezTo>
                    <a:cubicBezTo>
                      <a:pt x="507" y="619"/>
                      <a:pt x="507" y="620"/>
                      <a:pt x="508" y="620"/>
                    </a:cubicBezTo>
                    <a:cubicBezTo>
                      <a:pt x="508" y="621"/>
                      <a:pt x="508" y="622"/>
                      <a:pt x="508" y="622"/>
                    </a:cubicBezTo>
                    <a:cubicBezTo>
                      <a:pt x="508" y="622"/>
                      <a:pt x="508" y="626"/>
                      <a:pt x="508" y="626"/>
                    </a:cubicBezTo>
                    <a:cubicBezTo>
                      <a:pt x="509" y="627"/>
                      <a:pt x="509" y="627"/>
                      <a:pt x="509" y="627"/>
                    </a:cubicBezTo>
                    <a:cubicBezTo>
                      <a:pt x="509" y="627"/>
                      <a:pt x="510" y="628"/>
                      <a:pt x="510" y="628"/>
                    </a:cubicBezTo>
                    <a:cubicBezTo>
                      <a:pt x="510" y="629"/>
                      <a:pt x="512" y="630"/>
                      <a:pt x="512" y="630"/>
                    </a:cubicBezTo>
                    <a:cubicBezTo>
                      <a:pt x="513" y="631"/>
                      <a:pt x="513" y="631"/>
                      <a:pt x="513" y="631"/>
                    </a:cubicBezTo>
                    <a:cubicBezTo>
                      <a:pt x="514" y="631"/>
                      <a:pt x="514" y="631"/>
                      <a:pt x="514" y="631"/>
                    </a:cubicBezTo>
                    <a:cubicBezTo>
                      <a:pt x="515" y="632"/>
                      <a:pt x="515" y="632"/>
                      <a:pt x="515" y="632"/>
                    </a:cubicBezTo>
                    <a:cubicBezTo>
                      <a:pt x="515" y="632"/>
                      <a:pt x="520" y="632"/>
                      <a:pt x="520" y="632"/>
                    </a:cubicBezTo>
                    <a:cubicBezTo>
                      <a:pt x="520" y="632"/>
                      <a:pt x="521" y="633"/>
                      <a:pt x="521" y="633"/>
                    </a:cubicBezTo>
                    <a:cubicBezTo>
                      <a:pt x="523" y="630"/>
                      <a:pt x="523" y="630"/>
                      <a:pt x="523" y="630"/>
                    </a:cubicBezTo>
                    <a:cubicBezTo>
                      <a:pt x="524" y="630"/>
                      <a:pt x="524" y="630"/>
                      <a:pt x="524" y="630"/>
                    </a:cubicBezTo>
                    <a:cubicBezTo>
                      <a:pt x="526" y="630"/>
                      <a:pt x="526" y="630"/>
                      <a:pt x="526" y="630"/>
                    </a:cubicBezTo>
                    <a:cubicBezTo>
                      <a:pt x="527" y="629"/>
                      <a:pt x="527" y="629"/>
                      <a:pt x="527" y="629"/>
                    </a:cubicBezTo>
                    <a:cubicBezTo>
                      <a:pt x="533" y="629"/>
                      <a:pt x="533" y="629"/>
                      <a:pt x="533" y="629"/>
                    </a:cubicBezTo>
                    <a:cubicBezTo>
                      <a:pt x="535" y="631"/>
                      <a:pt x="535" y="631"/>
                      <a:pt x="535" y="631"/>
                    </a:cubicBezTo>
                    <a:cubicBezTo>
                      <a:pt x="536" y="631"/>
                      <a:pt x="536" y="631"/>
                      <a:pt x="536" y="631"/>
                    </a:cubicBezTo>
                    <a:cubicBezTo>
                      <a:pt x="536" y="630"/>
                      <a:pt x="536" y="630"/>
                      <a:pt x="536" y="630"/>
                    </a:cubicBezTo>
                    <a:cubicBezTo>
                      <a:pt x="538" y="630"/>
                      <a:pt x="538" y="630"/>
                      <a:pt x="538" y="630"/>
                    </a:cubicBezTo>
                    <a:cubicBezTo>
                      <a:pt x="538" y="630"/>
                      <a:pt x="539" y="631"/>
                      <a:pt x="540" y="631"/>
                    </a:cubicBezTo>
                    <a:cubicBezTo>
                      <a:pt x="540" y="631"/>
                      <a:pt x="541" y="632"/>
                      <a:pt x="541" y="632"/>
                    </a:cubicBezTo>
                    <a:cubicBezTo>
                      <a:pt x="541" y="633"/>
                      <a:pt x="542" y="634"/>
                      <a:pt x="542" y="634"/>
                    </a:cubicBezTo>
                    <a:cubicBezTo>
                      <a:pt x="544" y="634"/>
                      <a:pt x="544" y="634"/>
                      <a:pt x="544" y="634"/>
                    </a:cubicBezTo>
                    <a:cubicBezTo>
                      <a:pt x="547" y="635"/>
                      <a:pt x="547" y="635"/>
                      <a:pt x="547" y="635"/>
                    </a:cubicBezTo>
                    <a:cubicBezTo>
                      <a:pt x="547" y="638"/>
                      <a:pt x="547" y="638"/>
                      <a:pt x="547" y="638"/>
                    </a:cubicBezTo>
                    <a:cubicBezTo>
                      <a:pt x="548" y="638"/>
                      <a:pt x="548" y="638"/>
                      <a:pt x="548" y="638"/>
                    </a:cubicBezTo>
                    <a:cubicBezTo>
                      <a:pt x="550" y="640"/>
                      <a:pt x="550" y="640"/>
                      <a:pt x="550" y="640"/>
                    </a:cubicBezTo>
                    <a:cubicBezTo>
                      <a:pt x="550" y="641"/>
                      <a:pt x="550" y="641"/>
                      <a:pt x="550" y="641"/>
                    </a:cubicBezTo>
                    <a:cubicBezTo>
                      <a:pt x="550" y="641"/>
                      <a:pt x="555" y="641"/>
                      <a:pt x="555" y="641"/>
                    </a:cubicBezTo>
                    <a:cubicBezTo>
                      <a:pt x="556" y="641"/>
                      <a:pt x="561" y="643"/>
                      <a:pt x="561" y="643"/>
                    </a:cubicBezTo>
                    <a:cubicBezTo>
                      <a:pt x="562" y="643"/>
                      <a:pt x="562" y="643"/>
                      <a:pt x="562" y="643"/>
                    </a:cubicBezTo>
                    <a:cubicBezTo>
                      <a:pt x="564" y="642"/>
                      <a:pt x="564" y="642"/>
                      <a:pt x="564" y="642"/>
                    </a:cubicBezTo>
                    <a:cubicBezTo>
                      <a:pt x="565" y="642"/>
                      <a:pt x="565" y="642"/>
                      <a:pt x="565" y="642"/>
                    </a:cubicBezTo>
                    <a:cubicBezTo>
                      <a:pt x="567" y="643"/>
                      <a:pt x="567" y="643"/>
                      <a:pt x="567" y="643"/>
                    </a:cubicBezTo>
                    <a:cubicBezTo>
                      <a:pt x="575" y="640"/>
                      <a:pt x="575" y="640"/>
                      <a:pt x="575" y="640"/>
                    </a:cubicBezTo>
                    <a:cubicBezTo>
                      <a:pt x="581" y="638"/>
                      <a:pt x="581" y="638"/>
                      <a:pt x="581" y="638"/>
                    </a:cubicBezTo>
                    <a:cubicBezTo>
                      <a:pt x="584" y="634"/>
                      <a:pt x="584" y="634"/>
                      <a:pt x="584" y="634"/>
                    </a:cubicBezTo>
                    <a:cubicBezTo>
                      <a:pt x="589" y="631"/>
                      <a:pt x="589" y="631"/>
                      <a:pt x="589" y="631"/>
                    </a:cubicBezTo>
                    <a:cubicBezTo>
                      <a:pt x="589" y="631"/>
                      <a:pt x="590" y="631"/>
                      <a:pt x="590" y="631"/>
                    </a:cubicBezTo>
                    <a:cubicBezTo>
                      <a:pt x="590" y="631"/>
                      <a:pt x="593" y="632"/>
                      <a:pt x="593" y="632"/>
                    </a:cubicBezTo>
                    <a:cubicBezTo>
                      <a:pt x="596" y="634"/>
                      <a:pt x="596" y="634"/>
                      <a:pt x="596" y="634"/>
                    </a:cubicBezTo>
                    <a:cubicBezTo>
                      <a:pt x="598" y="635"/>
                      <a:pt x="598" y="635"/>
                      <a:pt x="598" y="635"/>
                    </a:cubicBezTo>
                    <a:cubicBezTo>
                      <a:pt x="600" y="635"/>
                      <a:pt x="600" y="635"/>
                      <a:pt x="600" y="635"/>
                    </a:cubicBezTo>
                    <a:cubicBezTo>
                      <a:pt x="603" y="633"/>
                      <a:pt x="603" y="633"/>
                      <a:pt x="603" y="633"/>
                    </a:cubicBezTo>
                    <a:cubicBezTo>
                      <a:pt x="607" y="636"/>
                      <a:pt x="607" y="636"/>
                      <a:pt x="607" y="636"/>
                    </a:cubicBezTo>
                    <a:cubicBezTo>
                      <a:pt x="608" y="637"/>
                      <a:pt x="608" y="637"/>
                      <a:pt x="608" y="637"/>
                    </a:cubicBezTo>
                    <a:cubicBezTo>
                      <a:pt x="610" y="638"/>
                      <a:pt x="610" y="638"/>
                      <a:pt x="610" y="638"/>
                    </a:cubicBezTo>
                    <a:cubicBezTo>
                      <a:pt x="612" y="639"/>
                      <a:pt x="612" y="639"/>
                      <a:pt x="612" y="639"/>
                    </a:cubicBezTo>
                    <a:cubicBezTo>
                      <a:pt x="614" y="639"/>
                      <a:pt x="614" y="639"/>
                      <a:pt x="614" y="639"/>
                    </a:cubicBezTo>
                    <a:cubicBezTo>
                      <a:pt x="619" y="635"/>
                      <a:pt x="619" y="635"/>
                      <a:pt x="619" y="635"/>
                    </a:cubicBezTo>
                    <a:cubicBezTo>
                      <a:pt x="622" y="634"/>
                      <a:pt x="622" y="634"/>
                      <a:pt x="622" y="634"/>
                    </a:cubicBezTo>
                    <a:cubicBezTo>
                      <a:pt x="622" y="634"/>
                      <a:pt x="624" y="633"/>
                      <a:pt x="624" y="633"/>
                    </a:cubicBezTo>
                    <a:cubicBezTo>
                      <a:pt x="624" y="632"/>
                      <a:pt x="624" y="631"/>
                      <a:pt x="624" y="631"/>
                    </a:cubicBezTo>
                    <a:cubicBezTo>
                      <a:pt x="624" y="631"/>
                      <a:pt x="623" y="631"/>
                      <a:pt x="623" y="630"/>
                    </a:cubicBezTo>
                    <a:cubicBezTo>
                      <a:pt x="623" y="630"/>
                      <a:pt x="623" y="630"/>
                      <a:pt x="623" y="630"/>
                    </a:cubicBezTo>
                    <a:cubicBezTo>
                      <a:pt x="624" y="629"/>
                      <a:pt x="624" y="629"/>
                      <a:pt x="624" y="629"/>
                    </a:cubicBezTo>
                    <a:cubicBezTo>
                      <a:pt x="624" y="627"/>
                      <a:pt x="624" y="627"/>
                      <a:pt x="624" y="627"/>
                    </a:cubicBezTo>
                    <a:cubicBezTo>
                      <a:pt x="625" y="626"/>
                      <a:pt x="625" y="626"/>
                      <a:pt x="625" y="626"/>
                    </a:cubicBezTo>
                    <a:cubicBezTo>
                      <a:pt x="625" y="626"/>
                      <a:pt x="627" y="622"/>
                      <a:pt x="627" y="622"/>
                    </a:cubicBezTo>
                    <a:cubicBezTo>
                      <a:pt x="627" y="622"/>
                      <a:pt x="629" y="617"/>
                      <a:pt x="629" y="617"/>
                    </a:cubicBezTo>
                    <a:cubicBezTo>
                      <a:pt x="629" y="617"/>
                      <a:pt x="630" y="615"/>
                      <a:pt x="630" y="615"/>
                    </a:cubicBezTo>
                    <a:cubicBezTo>
                      <a:pt x="634" y="612"/>
                      <a:pt x="634" y="612"/>
                      <a:pt x="634" y="612"/>
                    </a:cubicBezTo>
                    <a:cubicBezTo>
                      <a:pt x="634" y="612"/>
                      <a:pt x="634" y="612"/>
                      <a:pt x="634" y="612"/>
                    </a:cubicBezTo>
                    <a:cubicBezTo>
                      <a:pt x="634" y="611"/>
                      <a:pt x="634" y="610"/>
                      <a:pt x="633" y="610"/>
                    </a:cubicBezTo>
                    <a:cubicBezTo>
                      <a:pt x="633" y="609"/>
                      <a:pt x="633" y="609"/>
                      <a:pt x="633" y="609"/>
                    </a:cubicBezTo>
                    <a:cubicBezTo>
                      <a:pt x="633" y="608"/>
                      <a:pt x="633" y="607"/>
                      <a:pt x="633" y="607"/>
                    </a:cubicBezTo>
                    <a:cubicBezTo>
                      <a:pt x="633" y="607"/>
                      <a:pt x="634" y="607"/>
                      <a:pt x="634" y="606"/>
                    </a:cubicBezTo>
                    <a:cubicBezTo>
                      <a:pt x="634" y="606"/>
                      <a:pt x="632" y="606"/>
                      <a:pt x="632" y="606"/>
                    </a:cubicBezTo>
                    <a:cubicBezTo>
                      <a:pt x="631" y="605"/>
                      <a:pt x="630" y="605"/>
                      <a:pt x="630" y="605"/>
                    </a:cubicBezTo>
                    <a:cubicBezTo>
                      <a:pt x="630" y="605"/>
                      <a:pt x="629" y="606"/>
                      <a:pt x="629" y="606"/>
                    </a:cubicBezTo>
                    <a:cubicBezTo>
                      <a:pt x="629" y="605"/>
                      <a:pt x="629" y="605"/>
                      <a:pt x="629" y="605"/>
                    </a:cubicBezTo>
                    <a:cubicBezTo>
                      <a:pt x="629" y="605"/>
                      <a:pt x="629" y="604"/>
                      <a:pt x="629" y="603"/>
                    </a:cubicBezTo>
                    <a:cubicBezTo>
                      <a:pt x="629" y="603"/>
                      <a:pt x="631" y="602"/>
                      <a:pt x="631" y="602"/>
                    </a:cubicBezTo>
                    <a:cubicBezTo>
                      <a:pt x="632" y="601"/>
                      <a:pt x="634" y="598"/>
                      <a:pt x="634" y="598"/>
                    </a:cubicBezTo>
                    <a:cubicBezTo>
                      <a:pt x="634" y="598"/>
                      <a:pt x="635" y="598"/>
                      <a:pt x="635" y="598"/>
                    </a:cubicBezTo>
                    <a:cubicBezTo>
                      <a:pt x="635" y="598"/>
                      <a:pt x="637" y="598"/>
                      <a:pt x="638" y="598"/>
                    </a:cubicBezTo>
                    <a:cubicBezTo>
                      <a:pt x="639" y="598"/>
                      <a:pt x="639" y="597"/>
                      <a:pt x="639" y="597"/>
                    </a:cubicBezTo>
                    <a:cubicBezTo>
                      <a:pt x="639" y="597"/>
                      <a:pt x="640" y="597"/>
                      <a:pt x="641" y="597"/>
                    </a:cubicBezTo>
                    <a:cubicBezTo>
                      <a:pt x="642" y="596"/>
                      <a:pt x="642" y="596"/>
                      <a:pt x="642" y="596"/>
                    </a:cubicBezTo>
                    <a:cubicBezTo>
                      <a:pt x="643" y="596"/>
                      <a:pt x="643" y="596"/>
                      <a:pt x="644" y="596"/>
                    </a:cubicBezTo>
                    <a:cubicBezTo>
                      <a:pt x="644" y="596"/>
                      <a:pt x="644" y="596"/>
                      <a:pt x="645" y="597"/>
                    </a:cubicBezTo>
                    <a:cubicBezTo>
                      <a:pt x="646" y="597"/>
                      <a:pt x="646" y="597"/>
                      <a:pt x="646" y="596"/>
                    </a:cubicBezTo>
                    <a:cubicBezTo>
                      <a:pt x="647" y="596"/>
                      <a:pt x="647" y="596"/>
                      <a:pt x="647" y="596"/>
                    </a:cubicBezTo>
                    <a:cubicBezTo>
                      <a:pt x="647" y="596"/>
                      <a:pt x="650" y="595"/>
                      <a:pt x="650" y="595"/>
                    </a:cubicBezTo>
                    <a:cubicBezTo>
                      <a:pt x="650" y="595"/>
                      <a:pt x="652" y="595"/>
                      <a:pt x="652" y="595"/>
                    </a:cubicBezTo>
                    <a:cubicBezTo>
                      <a:pt x="653" y="595"/>
                      <a:pt x="654" y="596"/>
                      <a:pt x="655" y="596"/>
                    </a:cubicBezTo>
                    <a:cubicBezTo>
                      <a:pt x="655" y="596"/>
                      <a:pt x="657" y="598"/>
                      <a:pt x="660" y="599"/>
                    </a:cubicBezTo>
                    <a:cubicBezTo>
                      <a:pt x="661" y="600"/>
                      <a:pt x="661" y="600"/>
                      <a:pt x="661" y="600"/>
                    </a:cubicBezTo>
                    <a:cubicBezTo>
                      <a:pt x="661" y="600"/>
                      <a:pt x="661" y="600"/>
                      <a:pt x="661" y="600"/>
                    </a:cubicBezTo>
                    <a:cubicBezTo>
                      <a:pt x="662" y="600"/>
                      <a:pt x="662" y="600"/>
                      <a:pt x="663" y="599"/>
                    </a:cubicBezTo>
                    <a:cubicBezTo>
                      <a:pt x="663" y="599"/>
                      <a:pt x="663" y="599"/>
                      <a:pt x="664" y="599"/>
                    </a:cubicBezTo>
                    <a:cubicBezTo>
                      <a:pt x="665" y="599"/>
                      <a:pt x="665" y="599"/>
                      <a:pt x="666" y="600"/>
                    </a:cubicBezTo>
                    <a:cubicBezTo>
                      <a:pt x="668" y="601"/>
                      <a:pt x="667" y="601"/>
                      <a:pt x="667" y="602"/>
                    </a:cubicBezTo>
                    <a:cubicBezTo>
                      <a:pt x="668" y="603"/>
                      <a:pt x="668" y="603"/>
                      <a:pt x="669" y="604"/>
                    </a:cubicBezTo>
                    <a:cubicBezTo>
                      <a:pt x="670" y="604"/>
                      <a:pt x="669" y="605"/>
                      <a:pt x="669" y="605"/>
                    </a:cubicBezTo>
                    <a:cubicBezTo>
                      <a:pt x="669" y="606"/>
                      <a:pt x="669" y="606"/>
                      <a:pt x="669" y="606"/>
                    </a:cubicBezTo>
                    <a:cubicBezTo>
                      <a:pt x="670" y="607"/>
                      <a:pt x="671" y="608"/>
                      <a:pt x="671" y="608"/>
                    </a:cubicBezTo>
                    <a:cubicBezTo>
                      <a:pt x="672" y="609"/>
                      <a:pt x="671" y="609"/>
                      <a:pt x="671" y="610"/>
                    </a:cubicBezTo>
                    <a:cubicBezTo>
                      <a:pt x="671" y="610"/>
                      <a:pt x="672" y="610"/>
                      <a:pt x="672" y="610"/>
                    </a:cubicBezTo>
                    <a:cubicBezTo>
                      <a:pt x="673" y="611"/>
                      <a:pt x="673" y="612"/>
                      <a:pt x="673" y="612"/>
                    </a:cubicBezTo>
                    <a:cubicBezTo>
                      <a:pt x="673" y="612"/>
                      <a:pt x="673" y="613"/>
                      <a:pt x="672" y="613"/>
                    </a:cubicBezTo>
                    <a:cubicBezTo>
                      <a:pt x="672" y="614"/>
                      <a:pt x="673" y="614"/>
                      <a:pt x="673" y="614"/>
                    </a:cubicBezTo>
                    <a:cubicBezTo>
                      <a:pt x="673" y="615"/>
                      <a:pt x="674" y="615"/>
                      <a:pt x="674" y="616"/>
                    </a:cubicBezTo>
                    <a:cubicBezTo>
                      <a:pt x="674" y="617"/>
                      <a:pt x="674" y="617"/>
                      <a:pt x="674" y="617"/>
                    </a:cubicBezTo>
                    <a:cubicBezTo>
                      <a:pt x="674" y="617"/>
                      <a:pt x="674" y="618"/>
                      <a:pt x="675" y="618"/>
                    </a:cubicBezTo>
                    <a:cubicBezTo>
                      <a:pt x="675" y="619"/>
                      <a:pt x="675" y="619"/>
                      <a:pt x="675" y="620"/>
                    </a:cubicBezTo>
                    <a:cubicBezTo>
                      <a:pt x="675" y="620"/>
                      <a:pt x="675" y="621"/>
                      <a:pt x="675" y="621"/>
                    </a:cubicBezTo>
                    <a:cubicBezTo>
                      <a:pt x="675" y="622"/>
                      <a:pt x="675" y="622"/>
                      <a:pt x="676" y="622"/>
                    </a:cubicBezTo>
                    <a:cubicBezTo>
                      <a:pt x="676" y="623"/>
                      <a:pt x="676" y="623"/>
                      <a:pt x="677" y="624"/>
                    </a:cubicBezTo>
                    <a:cubicBezTo>
                      <a:pt x="678" y="625"/>
                      <a:pt x="678" y="626"/>
                      <a:pt x="678" y="626"/>
                    </a:cubicBezTo>
                    <a:cubicBezTo>
                      <a:pt x="678" y="627"/>
                      <a:pt x="678" y="628"/>
                      <a:pt x="678" y="628"/>
                    </a:cubicBezTo>
                    <a:cubicBezTo>
                      <a:pt x="678" y="629"/>
                      <a:pt x="679" y="631"/>
                      <a:pt x="679" y="631"/>
                    </a:cubicBezTo>
                    <a:cubicBezTo>
                      <a:pt x="679" y="631"/>
                      <a:pt x="680" y="632"/>
                      <a:pt x="680" y="632"/>
                    </a:cubicBezTo>
                    <a:cubicBezTo>
                      <a:pt x="680" y="632"/>
                      <a:pt x="680" y="633"/>
                      <a:pt x="680" y="633"/>
                    </a:cubicBezTo>
                    <a:cubicBezTo>
                      <a:pt x="680" y="634"/>
                      <a:pt x="680" y="634"/>
                      <a:pt x="680" y="634"/>
                    </a:cubicBezTo>
                    <a:cubicBezTo>
                      <a:pt x="680" y="635"/>
                      <a:pt x="680" y="636"/>
                      <a:pt x="680" y="636"/>
                    </a:cubicBezTo>
                    <a:cubicBezTo>
                      <a:pt x="680" y="636"/>
                      <a:pt x="680" y="637"/>
                      <a:pt x="680" y="637"/>
                    </a:cubicBezTo>
                    <a:cubicBezTo>
                      <a:pt x="681" y="637"/>
                      <a:pt x="682" y="638"/>
                      <a:pt x="682" y="638"/>
                    </a:cubicBezTo>
                    <a:cubicBezTo>
                      <a:pt x="688" y="638"/>
                      <a:pt x="688" y="638"/>
                      <a:pt x="688" y="638"/>
                    </a:cubicBezTo>
                    <a:cubicBezTo>
                      <a:pt x="688" y="639"/>
                      <a:pt x="688" y="639"/>
                      <a:pt x="688" y="639"/>
                    </a:cubicBezTo>
                    <a:cubicBezTo>
                      <a:pt x="688" y="639"/>
                      <a:pt x="689" y="640"/>
                      <a:pt x="690" y="640"/>
                    </a:cubicBezTo>
                    <a:cubicBezTo>
                      <a:pt x="690" y="641"/>
                      <a:pt x="692" y="641"/>
                      <a:pt x="692" y="641"/>
                    </a:cubicBezTo>
                    <a:cubicBezTo>
                      <a:pt x="693" y="640"/>
                      <a:pt x="693" y="640"/>
                      <a:pt x="693" y="640"/>
                    </a:cubicBezTo>
                    <a:cubicBezTo>
                      <a:pt x="693" y="640"/>
                      <a:pt x="694" y="641"/>
                      <a:pt x="694" y="641"/>
                    </a:cubicBezTo>
                    <a:cubicBezTo>
                      <a:pt x="694" y="642"/>
                      <a:pt x="698" y="646"/>
                      <a:pt x="698" y="646"/>
                    </a:cubicBezTo>
                    <a:cubicBezTo>
                      <a:pt x="698" y="646"/>
                      <a:pt x="701" y="646"/>
                      <a:pt x="701" y="646"/>
                    </a:cubicBezTo>
                    <a:cubicBezTo>
                      <a:pt x="701" y="646"/>
                      <a:pt x="700" y="648"/>
                      <a:pt x="700" y="648"/>
                    </a:cubicBezTo>
                    <a:cubicBezTo>
                      <a:pt x="700" y="649"/>
                      <a:pt x="700" y="649"/>
                      <a:pt x="700" y="649"/>
                    </a:cubicBezTo>
                    <a:cubicBezTo>
                      <a:pt x="702" y="650"/>
                      <a:pt x="702" y="650"/>
                      <a:pt x="702" y="650"/>
                    </a:cubicBezTo>
                    <a:cubicBezTo>
                      <a:pt x="702" y="652"/>
                      <a:pt x="702" y="652"/>
                      <a:pt x="702" y="652"/>
                    </a:cubicBezTo>
                    <a:cubicBezTo>
                      <a:pt x="701" y="654"/>
                      <a:pt x="701" y="654"/>
                      <a:pt x="701" y="654"/>
                    </a:cubicBezTo>
                    <a:cubicBezTo>
                      <a:pt x="703" y="658"/>
                      <a:pt x="703" y="658"/>
                      <a:pt x="703" y="658"/>
                    </a:cubicBezTo>
                    <a:cubicBezTo>
                      <a:pt x="714" y="658"/>
                      <a:pt x="714" y="658"/>
                      <a:pt x="714" y="658"/>
                    </a:cubicBezTo>
                    <a:cubicBezTo>
                      <a:pt x="714" y="656"/>
                      <a:pt x="714" y="656"/>
                      <a:pt x="714" y="656"/>
                    </a:cubicBezTo>
                    <a:cubicBezTo>
                      <a:pt x="715" y="655"/>
                      <a:pt x="715" y="655"/>
                      <a:pt x="715" y="655"/>
                    </a:cubicBezTo>
                    <a:cubicBezTo>
                      <a:pt x="717" y="654"/>
                      <a:pt x="717" y="654"/>
                      <a:pt x="717" y="654"/>
                    </a:cubicBezTo>
                    <a:cubicBezTo>
                      <a:pt x="721" y="653"/>
                      <a:pt x="721" y="653"/>
                      <a:pt x="721" y="653"/>
                    </a:cubicBezTo>
                    <a:cubicBezTo>
                      <a:pt x="722" y="653"/>
                      <a:pt x="722" y="652"/>
                      <a:pt x="723" y="652"/>
                    </a:cubicBezTo>
                    <a:cubicBezTo>
                      <a:pt x="723" y="652"/>
                      <a:pt x="723" y="651"/>
                      <a:pt x="723" y="651"/>
                    </a:cubicBezTo>
                    <a:cubicBezTo>
                      <a:pt x="724" y="651"/>
                      <a:pt x="724" y="651"/>
                      <a:pt x="724" y="651"/>
                    </a:cubicBezTo>
                    <a:cubicBezTo>
                      <a:pt x="726" y="651"/>
                      <a:pt x="727" y="651"/>
                      <a:pt x="729" y="652"/>
                    </a:cubicBezTo>
                    <a:cubicBezTo>
                      <a:pt x="728" y="653"/>
                      <a:pt x="728" y="654"/>
                      <a:pt x="728" y="655"/>
                    </a:cubicBezTo>
                    <a:cubicBezTo>
                      <a:pt x="728" y="656"/>
                      <a:pt x="729" y="657"/>
                      <a:pt x="729" y="658"/>
                    </a:cubicBezTo>
                    <a:cubicBezTo>
                      <a:pt x="729" y="658"/>
                      <a:pt x="729" y="658"/>
                      <a:pt x="729" y="658"/>
                    </a:cubicBezTo>
                    <a:cubicBezTo>
                      <a:pt x="729" y="659"/>
                      <a:pt x="729" y="659"/>
                      <a:pt x="729" y="659"/>
                    </a:cubicBezTo>
                    <a:cubicBezTo>
                      <a:pt x="728" y="660"/>
                      <a:pt x="727" y="660"/>
                      <a:pt x="726" y="661"/>
                    </a:cubicBezTo>
                    <a:cubicBezTo>
                      <a:pt x="726" y="661"/>
                      <a:pt x="725" y="661"/>
                      <a:pt x="725" y="662"/>
                    </a:cubicBezTo>
                    <a:cubicBezTo>
                      <a:pt x="725" y="662"/>
                      <a:pt x="725" y="662"/>
                      <a:pt x="725" y="662"/>
                    </a:cubicBezTo>
                    <a:cubicBezTo>
                      <a:pt x="725" y="663"/>
                      <a:pt x="725" y="665"/>
                      <a:pt x="724" y="666"/>
                    </a:cubicBezTo>
                    <a:cubicBezTo>
                      <a:pt x="724" y="667"/>
                      <a:pt x="723" y="667"/>
                      <a:pt x="723" y="668"/>
                    </a:cubicBezTo>
                    <a:cubicBezTo>
                      <a:pt x="722" y="669"/>
                      <a:pt x="722" y="670"/>
                      <a:pt x="723" y="670"/>
                    </a:cubicBezTo>
                    <a:cubicBezTo>
                      <a:pt x="723" y="671"/>
                      <a:pt x="723" y="671"/>
                      <a:pt x="723" y="671"/>
                    </a:cubicBezTo>
                    <a:cubicBezTo>
                      <a:pt x="723" y="671"/>
                      <a:pt x="723" y="672"/>
                      <a:pt x="723" y="672"/>
                    </a:cubicBezTo>
                    <a:cubicBezTo>
                      <a:pt x="722" y="673"/>
                      <a:pt x="722" y="673"/>
                      <a:pt x="722" y="673"/>
                    </a:cubicBezTo>
                    <a:cubicBezTo>
                      <a:pt x="721" y="675"/>
                      <a:pt x="721" y="676"/>
                      <a:pt x="720" y="677"/>
                    </a:cubicBezTo>
                    <a:cubicBezTo>
                      <a:pt x="720" y="678"/>
                      <a:pt x="720" y="679"/>
                      <a:pt x="719" y="679"/>
                    </a:cubicBezTo>
                    <a:cubicBezTo>
                      <a:pt x="718" y="679"/>
                      <a:pt x="718" y="680"/>
                      <a:pt x="718" y="680"/>
                    </a:cubicBezTo>
                    <a:cubicBezTo>
                      <a:pt x="718" y="681"/>
                      <a:pt x="718" y="682"/>
                      <a:pt x="718" y="682"/>
                    </a:cubicBezTo>
                    <a:cubicBezTo>
                      <a:pt x="718" y="683"/>
                      <a:pt x="718" y="683"/>
                      <a:pt x="717" y="683"/>
                    </a:cubicBezTo>
                    <a:cubicBezTo>
                      <a:pt x="717" y="684"/>
                      <a:pt x="717" y="683"/>
                      <a:pt x="716" y="683"/>
                    </a:cubicBezTo>
                    <a:cubicBezTo>
                      <a:pt x="714" y="683"/>
                      <a:pt x="711" y="682"/>
                      <a:pt x="709" y="681"/>
                    </a:cubicBezTo>
                    <a:cubicBezTo>
                      <a:pt x="708" y="682"/>
                      <a:pt x="708" y="683"/>
                      <a:pt x="708" y="684"/>
                    </a:cubicBezTo>
                    <a:cubicBezTo>
                      <a:pt x="707" y="684"/>
                      <a:pt x="707" y="684"/>
                      <a:pt x="707" y="684"/>
                    </a:cubicBezTo>
                    <a:cubicBezTo>
                      <a:pt x="706" y="684"/>
                      <a:pt x="706" y="684"/>
                      <a:pt x="706" y="684"/>
                    </a:cubicBezTo>
                    <a:cubicBezTo>
                      <a:pt x="705" y="684"/>
                      <a:pt x="704" y="685"/>
                      <a:pt x="703" y="686"/>
                    </a:cubicBezTo>
                    <a:cubicBezTo>
                      <a:pt x="703" y="686"/>
                      <a:pt x="703" y="686"/>
                      <a:pt x="703" y="686"/>
                    </a:cubicBezTo>
                    <a:cubicBezTo>
                      <a:pt x="703" y="687"/>
                      <a:pt x="703" y="687"/>
                      <a:pt x="703" y="687"/>
                    </a:cubicBezTo>
                    <a:cubicBezTo>
                      <a:pt x="704" y="689"/>
                      <a:pt x="705" y="691"/>
                      <a:pt x="705" y="692"/>
                    </a:cubicBezTo>
                    <a:cubicBezTo>
                      <a:pt x="705" y="693"/>
                      <a:pt x="705" y="693"/>
                      <a:pt x="705" y="693"/>
                    </a:cubicBezTo>
                    <a:cubicBezTo>
                      <a:pt x="705" y="694"/>
                      <a:pt x="705" y="694"/>
                      <a:pt x="705" y="695"/>
                    </a:cubicBezTo>
                    <a:cubicBezTo>
                      <a:pt x="704" y="697"/>
                      <a:pt x="706" y="699"/>
                      <a:pt x="705" y="701"/>
                    </a:cubicBezTo>
                    <a:cubicBezTo>
                      <a:pt x="704" y="701"/>
                      <a:pt x="704" y="701"/>
                      <a:pt x="704" y="702"/>
                    </a:cubicBezTo>
                    <a:cubicBezTo>
                      <a:pt x="704" y="702"/>
                      <a:pt x="704" y="702"/>
                      <a:pt x="704" y="703"/>
                    </a:cubicBezTo>
                    <a:cubicBezTo>
                      <a:pt x="704" y="703"/>
                      <a:pt x="704" y="704"/>
                      <a:pt x="703" y="704"/>
                    </a:cubicBezTo>
                    <a:cubicBezTo>
                      <a:pt x="703" y="705"/>
                      <a:pt x="702" y="705"/>
                      <a:pt x="702" y="705"/>
                    </a:cubicBezTo>
                    <a:cubicBezTo>
                      <a:pt x="701" y="705"/>
                      <a:pt x="701" y="705"/>
                      <a:pt x="700" y="705"/>
                    </a:cubicBezTo>
                    <a:cubicBezTo>
                      <a:pt x="700" y="705"/>
                      <a:pt x="700" y="706"/>
                      <a:pt x="700" y="706"/>
                    </a:cubicBezTo>
                    <a:cubicBezTo>
                      <a:pt x="700" y="706"/>
                      <a:pt x="700" y="706"/>
                      <a:pt x="700" y="707"/>
                    </a:cubicBezTo>
                    <a:cubicBezTo>
                      <a:pt x="700" y="707"/>
                      <a:pt x="701" y="707"/>
                      <a:pt x="701" y="708"/>
                    </a:cubicBezTo>
                    <a:cubicBezTo>
                      <a:pt x="701" y="708"/>
                      <a:pt x="701" y="708"/>
                      <a:pt x="701" y="708"/>
                    </a:cubicBezTo>
                    <a:cubicBezTo>
                      <a:pt x="701" y="706"/>
                      <a:pt x="702" y="705"/>
                      <a:pt x="704" y="706"/>
                    </a:cubicBezTo>
                    <a:cubicBezTo>
                      <a:pt x="705" y="706"/>
                      <a:pt x="705" y="706"/>
                      <a:pt x="705" y="705"/>
                    </a:cubicBezTo>
                    <a:cubicBezTo>
                      <a:pt x="705" y="703"/>
                      <a:pt x="707" y="701"/>
                      <a:pt x="709" y="700"/>
                    </a:cubicBezTo>
                    <a:cubicBezTo>
                      <a:pt x="709" y="700"/>
                      <a:pt x="709" y="700"/>
                      <a:pt x="710" y="700"/>
                    </a:cubicBezTo>
                    <a:cubicBezTo>
                      <a:pt x="710" y="700"/>
                      <a:pt x="710" y="700"/>
                      <a:pt x="710" y="700"/>
                    </a:cubicBezTo>
                    <a:cubicBezTo>
                      <a:pt x="710" y="701"/>
                      <a:pt x="709" y="701"/>
                      <a:pt x="709" y="701"/>
                    </a:cubicBezTo>
                    <a:cubicBezTo>
                      <a:pt x="709" y="701"/>
                      <a:pt x="709" y="701"/>
                      <a:pt x="709" y="701"/>
                    </a:cubicBezTo>
                    <a:cubicBezTo>
                      <a:pt x="710" y="702"/>
                      <a:pt x="710" y="701"/>
                      <a:pt x="710" y="701"/>
                    </a:cubicBezTo>
                    <a:cubicBezTo>
                      <a:pt x="710" y="701"/>
                      <a:pt x="711" y="700"/>
                      <a:pt x="711" y="701"/>
                    </a:cubicBezTo>
                    <a:cubicBezTo>
                      <a:pt x="712" y="701"/>
                      <a:pt x="712" y="701"/>
                      <a:pt x="712" y="701"/>
                    </a:cubicBezTo>
                    <a:cubicBezTo>
                      <a:pt x="712" y="701"/>
                      <a:pt x="712" y="702"/>
                      <a:pt x="712" y="702"/>
                    </a:cubicBezTo>
                    <a:cubicBezTo>
                      <a:pt x="712" y="702"/>
                      <a:pt x="712" y="702"/>
                      <a:pt x="712" y="702"/>
                    </a:cubicBezTo>
                    <a:cubicBezTo>
                      <a:pt x="712" y="704"/>
                      <a:pt x="713" y="704"/>
                      <a:pt x="714" y="704"/>
                    </a:cubicBezTo>
                    <a:cubicBezTo>
                      <a:pt x="715" y="704"/>
                      <a:pt x="716" y="704"/>
                      <a:pt x="716" y="705"/>
                    </a:cubicBezTo>
                    <a:cubicBezTo>
                      <a:pt x="718" y="705"/>
                      <a:pt x="719" y="705"/>
                      <a:pt x="720" y="704"/>
                    </a:cubicBezTo>
                    <a:cubicBezTo>
                      <a:pt x="722" y="704"/>
                      <a:pt x="724" y="702"/>
                      <a:pt x="726" y="701"/>
                    </a:cubicBezTo>
                    <a:cubicBezTo>
                      <a:pt x="729" y="699"/>
                      <a:pt x="732" y="697"/>
                      <a:pt x="734" y="694"/>
                    </a:cubicBezTo>
                    <a:cubicBezTo>
                      <a:pt x="734" y="692"/>
                      <a:pt x="734" y="691"/>
                      <a:pt x="735" y="690"/>
                    </a:cubicBezTo>
                    <a:cubicBezTo>
                      <a:pt x="736" y="689"/>
                      <a:pt x="737" y="689"/>
                      <a:pt x="738" y="688"/>
                    </a:cubicBezTo>
                    <a:cubicBezTo>
                      <a:pt x="740" y="684"/>
                      <a:pt x="743" y="680"/>
                      <a:pt x="747" y="677"/>
                    </a:cubicBezTo>
                    <a:cubicBezTo>
                      <a:pt x="749" y="674"/>
                      <a:pt x="750" y="671"/>
                      <a:pt x="753" y="669"/>
                    </a:cubicBezTo>
                    <a:cubicBezTo>
                      <a:pt x="753" y="669"/>
                      <a:pt x="753" y="669"/>
                      <a:pt x="753" y="668"/>
                    </a:cubicBezTo>
                    <a:cubicBezTo>
                      <a:pt x="753" y="666"/>
                      <a:pt x="754" y="664"/>
                      <a:pt x="756" y="662"/>
                    </a:cubicBezTo>
                    <a:cubicBezTo>
                      <a:pt x="757" y="661"/>
                      <a:pt x="758" y="659"/>
                      <a:pt x="758" y="657"/>
                    </a:cubicBezTo>
                    <a:cubicBezTo>
                      <a:pt x="759" y="657"/>
                      <a:pt x="759" y="656"/>
                      <a:pt x="760" y="655"/>
                    </a:cubicBezTo>
                    <a:cubicBezTo>
                      <a:pt x="761" y="654"/>
                      <a:pt x="762" y="652"/>
                      <a:pt x="764" y="650"/>
                    </a:cubicBezTo>
                    <a:cubicBezTo>
                      <a:pt x="765" y="650"/>
                      <a:pt x="765" y="649"/>
                      <a:pt x="765" y="648"/>
                    </a:cubicBezTo>
                    <a:cubicBezTo>
                      <a:pt x="765" y="646"/>
                      <a:pt x="766" y="644"/>
                      <a:pt x="766" y="642"/>
                    </a:cubicBezTo>
                    <a:cubicBezTo>
                      <a:pt x="766" y="642"/>
                      <a:pt x="766" y="642"/>
                      <a:pt x="766" y="641"/>
                    </a:cubicBezTo>
                    <a:cubicBezTo>
                      <a:pt x="766" y="641"/>
                      <a:pt x="766" y="641"/>
                      <a:pt x="766" y="641"/>
                    </a:cubicBezTo>
                    <a:cubicBezTo>
                      <a:pt x="767" y="640"/>
                      <a:pt x="767" y="639"/>
                      <a:pt x="767" y="638"/>
                    </a:cubicBezTo>
                    <a:cubicBezTo>
                      <a:pt x="767" y="638"/>
                      <a:pt x="767" y="638"/>
                      <a:pt x="767" y="637"/>
                    </a:cubicBezTo>
                    <a:cubicBezTo>
                      <a:pt x="767" y="636"/>
                      <a:pt x="767" y="636"/>
                      <a:pt x="767" y="635"/>
                    </a:cubicBezTo>
                    <a:cubicBezTo>
                      <a:pt x="767" y="635"/>
                      <a:pt x="767" y="634"/>
                      <a:pt x="767" y="634"/>
                    </a:cubicBezTo>
                    <a:cubicBezTo>
                      <a:pt x="767" y="634"/>
                      <a:pt x="768" y="634"/>
                      <a:pt x="768" y="633"/>
                    </a:cubicBezTo>
                    <a:cubicBezTo>
                      <a:pt x="768" y="633"/>
                      <a:pt x="768" y="632"/>
                      <a:pt x="767" y="632"/>
                    </a:cubicBezTo>
                    <a:cubicBezTo>
                      <a:pt x="767" y="632"/>
                      <a:pt x="767" y="631"/>
                      <a:pt x="767" y="631"/>
                    </a:cubicBezTo>
                    <a:cubicBezTo>
                      <a:pt x="767" y="630"/>
                      <a:pt x="767" y="630"/>
                      <a:pt x="767" y="630"/>
                    </a:cubicBezTo>
                    <a:cubicBezTo>
                      <a:pt x="767" y="630"/>
                      <a:pt x="767" y="629"/>
                      <a:pt x="767" y="628"/>
                    </a:cubicBezTo>
                    <a:cubicBezTo>
                      <a:pt x="767" y="627"/>
                      <a:pt x="767" y="627"/>
                      <a:pt x="767" y="627"/>
                    </a:cubicBezTo>
                    <a:cubicBezTo>
                      <a:pt x="767" y="626"/>
                      <a:pt x="767" y="625"/>
                      <a:pt x="767" y="624"/>
                    </a:cubicBezTo>
                    <a:cubicBezTo>
                      <a:pt x="768" y="624"/>
                      <a:pt x="768" y="623"/>
                      <a:pt x="768" y="622"/>
                    </a:cubicBezTo>
                    <a:cubicBezTo>
                      <a:pt x="769" y="619"/>
                      <a:pt x="769" y="617"/>
                      <a:pt x="771" y="615"/>
                    </a:cubicBezTo>
                    <a:cubicBezTo>
                      <a:pt x="773" y="614"/>
                      <a:pt x="773" y="612"/>
                      <a:pt x="773" y="611"/>
                    </a:cubicBezTo>
                    <a:cubicBezTo>
                      <a:pt x="773" y="611"/>
                      <a:pt x="773" y="611"/>
                      <a:pt x="773" y="610"/>
                    </a:cubicBezTo>
                    <a:cubicBezTo>
                      <a:pt x="773" y="610"/>
                      <a:pt x="772" y="609"/>
                      <a:pt x="772" y="609"/>
                    </a:cubicBezTo>
                    <a:cubicBezTo>
                      <a:pt x="771" y="608"/>
                      <a:pt x="771" y="608"/>
                      <a:pt x="771" y="607"/>
                    </a:cubicBezTo>
                    <a:cubicBezTo>
                      <a:pt x="771" y="607"/>
                      <a:pt x="771" y="607"/>
                      <a:pt x="771" y="607"/>
                    </a:cubicBezTo>
                    <a:cubicBezTo>
                      <a:pt x="772" y="605"/>
                      <a:pt x="772" y="605"/>
                      <a:pt x="772" y="604"/>
                    </a:cubicBezTo>
                    <a:cubicBezTo>
                      <a:pt x="772" y="603"/>
                      <a:pt x="772" y="603"/>
                      <a:pt x="770" y="602"/>
                    </a:cubicBezTo>
                    <a:cubicBezTo>
                      <a:pt x="770" y="601"/>
                      <a:pt x="769" y="601"/>
                      <a:pt x="769" y="600"/>
                    </a:cubicBezTo>
                    <a:cubicBezTo>
                      <a:pt x="770" y="600"/>
                      <a:pt x="770" y="600"/>
                      <a:pt x="771" y="601"/>
                    </a:cubicBezTo>
                    <a:cubicBezTo>
                      <a:pt x="772" y="601"/>
                      <a:pt x="773" y="600"/>
                      <a:pt x="773" y="599"/>
                    </a:cubicBezTo>
                    <a:cubicBezTo>
                      <a:pt x="773" y="599"/>
                      <a:pt x="773" y="599"/>
                      <a:pt x="773" y="599"/>
                    </a:cubicBezTo>
                    <a:cubicBezTo>
                      <a:pt x="773" y="598"/>
                      <a:pt x="773" y="598"/>
                      <a:pt x="772" y="598"/>
                    </a:cubicBezTo>
                    <a:cubicBezTo>
                      <a:pt x="770" y="596"/>
                      <a:pt x="768" y="594"/>
                      <a:pt x="767" y="593"/>
                    </a:cubicBezTo>
                    <a:cubicBezTo>
                      <a:pt x="766" y="592"/>
                      <a:pt x="766" y="592"/>
                      <a:pt x="766" y="592"/>
                    </a:cubicBezTo>
                    <a:cubicBezTo>
                      <a:pt x="766" y="592"/>
                      <a:pt x="766" y="592"/>
                      <a:pt x="766" y="591"/>
                    </a:cubicBezTo>
                    <a:cubicBezTo>
                      <a:pt x="766" y="591"/>
                      <a:pt x="766" y="591"/>
                      <a:pt x="766" y="591"/>
                    </a:cubicBezTo>
                    <a:cubicBezTo>
                      <a:pt x="766" y="590"/>
                      <a:pt x="765" y="589"/>
                      <a:pt x="764" y="588"/>
                    </a:cubicBezTo>
                    <a:cubicBezTo>
                      <a:pt x="763" y="587"/>
                      <a:pt x="761" y="586"/>
                      <a:pt x="759" y="588"/>
                    </a:cubicBezTo>
                    <a:cubicBezTo>
                      <a:pt x="758" y="588"/>
                      <a:pt x="757" y="587"/>
                      <a:pt x="755" y="586"/>
                    </a:cubicBezTo>
                    <a:cubicBezTo>
                      <a:pt x="755" y="587"/>
                      <a:pt x="755" y="588"/>
                      <a:pt x="755" y="589"/>
                    </a:cubicBezTo>
                    <a:cubicBezTo>
                      <a:pt x="755" y="590"/>
                      <a:pt x="755" y="590"/>
                      <a:pt x="755" y="591"/>
                    </a:cubicBezTo>
                    <a:cubicBezTo>
                      <a:pt x="755" y="592"/>
                      <a:pt x="754" y="592"/>
                      <a:pt x="754" y="593"/>
                    </a:cubicBezTo>
                    <a:cubicBezTo>
                      <a:pt x="754" y="593"/>
                      <a:pt x="754" y="593"/>
                      <a:pt x="754" y="593"/>
                    </a:cubicBezTo>
                    <a:cubicBezTo>
                      <a:pt x="754" y="594"/>
                      <a:pt x="754" y="595"/>
                      <a:pt x="752" y="595"/>
                    </a:cubicBezTo>
                    <a:cubicBezTo>
                      <a:pt x="752" y="595"/>
                      <a:pt x="752" y="595"/>
                      <a:pt x="752" y="594"/>
                    </a:cubicBezTo>
                    <a:cubicBezTo>
                      <a:pt x="754" y="593"/>
                      <a:pt x="754" y="591"/>
                      <a:pt x="754" y="589"/>
                    </a:cubicBezTo>
                    <a:cubicBezTo>
                      <a:pt x="754" y="589"/>
                      <a:pt x="754" y="589"/>
                      <a:pt x="754" y="590"/>
                    </a:cubicBezTo>
                    <a:cubicBezTo>
                      <a:pt x="753" y="590"/>
                      <a:pt x="753" y="590"/>
                      <a:pt x="753" y="590"/>
                    </a:cubicBezTo>
                    <a:cubicBezTo>
                      <a:pt x="753" y="591"/>
                      <a:pt x="753" y="592"/>
                      <a:pt x="752" y="592"/>
                    </a:cubicBezTo>
                    <a:cubicBezTo>
                      <a:pt x="751" y="594"/>
                      <a:pt x="748" y="595"/>
                      <a:pt x="746" y="595"/>
                    </a:cubicBezTo>
                    <a:cubicBezTo>
                      <a:pt x="745" y="595"/>
                      <a:pt x="745" y="595"/>
                      <a:pt x="745" y="594"/>
                    </a:cubicBezTo>
                    <a:cubicBezTo>
                      <a:pt x="745" y="594"/>
                      <a:pt x="745" y="594"/>
                      <a:pt x="745" y="594"/>
                    </a:cubicBezTo>
                    <a:cubicBezTo>
                      <a:pt x="745" y="594"/>
                      <a:pt x="745" y="594"/>
                      <a:pt x="746" y="593"/>
                    </a:cubicBezTo>
                    <a:cubicBezTo>
                      <a:pt x="747" y="593"/>
                      <a:pt x="748" y="592"/>
                      <a:pt x="748" y="591"/>
                    </a:cubicBezTo>
                    <a:cubicBezTo>
                      <a:pt x="748" y="591"/>
                      <a:pt x="747" y="590"/>
                      <a:pt x="746" y="589"/>
                    </a:cubicBezTo>
                    <a:cubicBezTo>
                      <a:pt x="746" y="589"/>
                      <a:pt x="746" y="589"/>
                      <a:pt x="746" y="588"/>
                    </a:cubicBezTo>
                    <a:cubicBezTo>
                      <a:pt x="746" y="588"/>
                      <a:pt x="746" y="588"/>
                      <a:pt x="747" y="588"/>
                    </a:cubicBezTo>
                    <a:cubicBezTo>
                      <a:pt x="747" y="588"/>
                      <a:pt x="748" y="587"/>
                      <a:pt x="748" y="587"/>
                    </a:cubicBezTo>
                    <a:cubicBezTo>
                      <a:pt x="748" y="587"/>
                      <a:pt x="748" y="587"/>
                      <a:pt x="748" y="587"/>
                    </a:cubicBezTo>
                    <a:cubicBezTo>
                      <a:pt x="747" y="586"/>
                      <a:pt x="747" y="586"/>
                      <a:pt x="746" y="586"/>
                    </a:cubicBezTo>
                    <a:cubicBezTo>
                      <a:pt x="745" y="587"/>
                      <a:pt x="745" y="587"/>
                      <a:pt x="745" y="588"/>
                    </a:cubicBezTo>
                    <a:cubicBezTo>
                      <a:pt x="745" y="588"/>
                      <a:pt x="745" y="589"/>
                      <a:pt x="745" y="589"/>
                    </a:cubicBezTo>
                    <a:cubicBezTo>
                      <a:pt x="745" y="589"/>
                      <a:pt x="745" y="589"/>
                      <a:pt x="745" y="590"/>
                    </a:cubicBezTo>
                    <a:cubicBezTo>
                      <a:pt x="745" y="590"/>
                      <a:pt x="745" y="591"/>
                      <a:pt x="744" y="592"/>
                    </a:cubicBezTo>
                    <a:cubicBezTo>
                      <a:pt x="743" y="592"/>
                      <a:pt x="742" y="591"/>
                      <a:pt x="742" y="592"/>
                    </a:cubicBezTo>
                    <a:cubicBezTo>
                      <a:pt x="741" y="592"/>
                      <a:pt x="741" y="591"/>
                      <a:pt x="741" y="591"/>
                    </a:cubicBezTo>
                    <a:cubicBezTo>
                      <a:pt x="741" y="591"/>
                      <a:pt x="741" y="590"/>
                      <a:pt x="742" y="590"/>
                    </a:cubicBezTo>
                    <a:cubicBezTo>
                      <a:pt x="742" y="589"/>
                      <a:pt x="742" y="588"/>
                      <a:pt x="742" y="588"/>
                    </a:cubicBezTo>
                    <a:cubicBezTo>
                      <a:pt x="742" y="587"/>
                      <a:pt x="742" y="586"/>
                      <a:pt x="742" y="585"/>
                    </a:cubicBezTo>
                    <a:cubicBezTo>
                      <a:pt x="742" y="584"/>
                      <a:pt x="742" y="584"/>
                      <a:pt x="742" y="583"/>
                    </a:cubicBezTo>
                    <a:cubicBezTo>
                      <a:pt x="742" y="583"/>
                      <a:pt x="742" y="583"/>
                      <a:pt x="742" y="583"/>
                    </a:cubicBezTo>
                    <a:cubicBezTo>
                      <a:pt x="742" y="583"/>
                      <a:pt x="742" y="582"/>
                      <a:pt x="741" y="583"/>
                    </a:cubicBezTo>
                    <a:cubicBezTo>
                      <a:pt x="739" y="583"/>
                      <a:pt x="737" y="582"/>
                      <a:pt x="735" y="583"/>
                    </a:cubicBezTo>
                    <a:cubicBezTo>
                      <a:pt x="735" y="583"/>
                      <a:pt x="735" y="583"/>
                      <a:pt x="735" y="583"/>
                    </a:cubicBezTo>
                    <a:cubicBezTo>
                      <a:pt x="734" y="582"/>
                      <a:pt x="733" y="582"/>
                      <a:pt x="733" y="582"/>
                    </a:cubicBezTo>
                    <a:cubicBezTo>
                      <a:pt x="732" y="581"/>
                      <a:pt x="731" y="581"/>
                      <a:pt x="731" y="580"/>
                    </a:cubicBezTo>
                    <a:cubicBezTo>
                      <a:pt x="731" y="579"/>
                      <a:pt x="732" y="579"/>
                      <a:pt x="733" y="578"/>
                    </a:cubicBezTo>
                    <a:cubicBezTo>
                      <a:pt x="734" y="577"/>
                      <a:pt x="735" y="577"/>
                      <a:pt x="736" y="575"/>
                    </a:cubicBezTo>
                    <a:cubicBezTo>
                      <a:pt x="737" y="574"/>
                      <a:pt x="739" y="573"/>
                      <a:pt x="739" y="572"/>
                    </a:cubicBezTo>
                    <a:cubicBezTo>
                      <a:pt x="741" y="570"/>
                      <a:pt x="744" y="568"/>
                      <a:pt x="746" y="567"/>
                    </a:cubicBezTo>
                    <a:cubicBezTo>
                      <a:pt x="747" y="566"/>
                      <a:pt x="748" y="565"/>
                      <a:pt x="748" y="563"/>
                    </a:cubicBezTo>
                    <a:cubicBezTo>
                      <a:pt x="749" y="562"/>
                      <a:pt x="751" y="561"/>
                      <a:pt x="751" y="559"/>
                    </a:cubicBezTo>
                    <a:cubicBezTo>
                      <a:pt x="752" y="559"/>
                      <a:pt x="752" y="558"/>
                      <a:pt x="752" y="557"/>
                    </a:cubicBezTo>
                    <a:cubicBezTo>
                      <a:pt x="752" y="557"/>
                      <a:pt x="752" y="557"/>
                      <a:pt x="752" y="557"/>
                    </a:cubicBezTo>
                    <a:cubicBezTo>
                      <a:pt x="754" y="557"/>
                      <a:pt x="754" y="555"/>
                      <a:pt x="754" y="554"/>
                    </a:cubicBezTo>
                    <a:cubicBezTo>
                      <a:pt x="755" y="554"/>
                      <a:pt x="756" y="554"/>
                      <a:pt x="756" y="553"/>
                    </a:cubicBezTo>
                    <a:cubicBezTo>
                      <a:pt x="756" y="551"/>
                      <a:pt x="758" y="551"/>
                      <a:pt x="759" y="550"/>
                    </a:cubicBezTo>
                    <a:cubicBezTo>
                      <a:pt x="760" y="549"/>
                      <a:pt x="761" y="549"/>
                      <a:pt x="761" y="548"/>
                    </a:cubicBezTo>
                    <a:cubicBezTo>
                      <a:pt x="762" y="548"/>
                      <a:pt x="763" y="546"/>
                      <a:pt x="764" y="545"/>
                    </a:cubicBezTo>
                    <a:cubicBezTo>
                      <a:pt x="767" y="544"/>
                      <a:pt x="767" y="543"/>
                      <a:pt x="768" y="541"/>
                    </a:cubicBezTo>
                    <a:cubicBezTo>
                      <a:pt x="768" y="538"/>
                      <a:pt x="769" y="536"/>
                      <a:pt x="772" y="535"/>
                    </a:cubicBezTo>
                    <a:cubicBezTo>
                      <a:pt x="773" y="534"/>
                      <a:pt x="774" y="534"/>
                      <a:pt x="774" y="533"/>
                    </a:cubicBezTo>
                    <a:cubicBezTo>
                      <a:pt x="775" y="532"/>
                      <a:pt x="776" y="531"/>
                      <a:pt x="776" y="529"/>
                    </a:cubicBezTo>
                    <a:cubicBezTo>
                      <a:pt x="779" y="526"/>
                      <a:pt x="782" y="524"/>
                      <a:pt x="787" y="524"/>
                    </a:cubicBezTo>
                    <a:cubicBezTo>
                      <a:pt x="787" y="524"/>
                      <a:pt x="787" y="524"/>
                      <a:pt x="787" y="524"/>
                    </a:cubicBezTo>
                    <a:cubicBezTo>
                      <a:pt x="788" y="523"/>
                      <a:pt x="789" y="523"/>
                      <a:pt x="790" y="523"/>
                    </a:cubicBezTo>
                    <a:cubicBezTo>
                      <a:pt x="793" y="523"/>
                      <a:pt x="795" y="523"/>
                      <a:pt x="797" y="523"/>
                    </a:cubicBezTo>
                    <a:cubicBezTo>
                      <a:pt x="797" y="523"/>
                      <a:pt x="798" y="523"/>
                      <a:pt x="798" y="523"/>
                    </a:cubicBezTo>
                    <a:cubicBezTo>
                      <a:pt x="799" y="523"/>
                      <a:pt x="799" y="523"/>
                      <a:pt x="799" y="523"/>
                    </a:cubicBezTo>
                    <a:cubicBezTo>
                      <a:pt x="800" y="524"/>
                      <a:pt x="802" y="523"/>
                      <a:pt x="803" y="523"/>
                    </a:cubicBezTo>
                    <a:cubicBezTo>
                      <a:pt x="803" y="523"/>
                      <a:pt x="803" y="523"/>
                      <a:pt x="803" y="523"/>
                    </a:cubicBezTo>
                    <a:cubicBezTo>
                      <a:pt x="804" y="523"/>
                      <a:pt x="804" y="524"/>
                      <a:pt x="803" y="524"/>
                    </a:cubicBezTo>
                    <a:cubicBezTo>
                      <a:pt x="803" y="525"/>
                      <a:pt x="803" y="525"/>
                      <a:pt x="804" y="526"/>
                    </a:cubicBezTo>
                    <a:cubicBezTo>
                      <a:pt x="804" y="526"/>
                      <a:pt x="804" y="526"/>
                      <a:pt x="804" y="526"/>
                    </a:cubicBezTo>
                    <a:cubicBezTo>
                      <a:pt x="804" y="526"/>
                      <a:pt x="805" y="526"/>
                      <a:pt x="805" y="526"/>
                    </a:cubicBezTo>
                    <a:cubicBezTo>
                      <a:pt x="807" y="526"/>
                      <a:pt x="806" y="524"/>
                      <a:pt x="806" y="523"/>
                    </a:cubicBezTo>
                    <a:cubicBezTo>
                      <a:pt x="807" y="523"/>
                      <a:pt x="807" y="522"/>
                      <a:pt x="808" y="522"/>
                    </a:cubicBezTo>
                    <a:cubicBezTo>
                      <a:pt x="808" y="523"/>
                      <a:pt x="809" y="523"/>
                      <a:pt x="809" y="523"/>
                    </a:cubicBezTo>
                    <a:cubicBezTo>
                      <a:pt x="809" y="523"/>
                      <a:pt x="810" y="523"/>
                      <a:pt x="810" y="523"/>
                    </a:cubicBezTo>
                    <a:cubicBezTo>
                      <a:pt x="810" y="523"/>
                      <a:pt x="810" y="523"/>
                      <a:pt x="810" y="523"/>
                    </a:cubicBezTo>
                    <a:cubicBezTo>
                      <a:pt x="811" y="524"/>
                      <a:pt x="811" y="524"/>
                      <a:pt x="812" y="524"/>
                    </a:cubicBezTo>
                    <a:cubicBezTo>
                      <a:pt x="812" y="524"/>
                      <a:pt x="812" y="524"/>
                      <a:pt x="812" y="524"/>
                    </a:cubicBezTo>
                    <a:cubicBezTo>
                      <a:pt x="815" y="525"/>
                      <a:pt x="817" y="525"/>
                      <a:pt x="818" y="523"/>
                    </a:cubicBezTo>
                    <a:cubicBezTo>
                      <a:pt x="819" y="523"/>
                      <a:pt x="819" y="523"/>
                      <a:pt x="820" y="523"/>
                    </a:cubicBezTo>
                    <a:cubicBezTo>
                      <a:pt x="820" y="523"/>
                      <a:pt x="820" y="523"/>
                      <a:pt x="820" y="524"/>
                    </a:cubicBezTo>
                    <a:cubicBezTo>
                      <a:pt x="820" y="524"/>
                      <a:pt x="821" y="524"/>
                      <a:pt x="821" y="525"/>
                    </a:cubicBezTo>
                    <a:cubicBezTo>
                      <a:pt x="821" y="525"/>
                      <a:pt x="821" y="525"/>
                      <a:pt x="821" y="525"/>
                    </a:cubicBezTo>
                    <a:cubicBezTo>
                      <a:pt x="822" y="525"/>
                      <a:pt x="823" y="525"/>
                      <a:pt x="824" y="524"/>
                    </a:cubicBezTo>
                    <a:cubicBezTo>
                      <a:pt x="824" y="524"/>
                      <a:pt x="824" y="524"/>
                      <a:pt x="824" y="524"/>
                    </a:cubicBezTo>
                    <a:cubicBezTo>
                      <a:pt x="824" y="523"/>
                      <a:pt x="823" y="523"/>
                      <a:pt x="823" y="523"/>
                    </a:cubicBezTo>
                    <a:cubicBezTo>
                      <a:pt x="823" y="523"/>
                      <a:pt x="823" y="523"/>
                      <a:pt x="823" y="523"/>
                    </a:cubicBezTo>
                    <a:cubicBezTo>
                      <a:pt x="823" y="523"/>
                      <a:pt x="823" y="523"/>
                      <a:pt x="823" y="523"/>
                    </a:cubicBezTo>
                    <a:cubicBezTo>
                      <a:pt x="823" y="522"/>
                      <a:pt x="823" y="522"/>
                      <a:pt x="823" y="522"/>
                    </a:cubicBezTo>
                    <a:cubicBezTo>
                      <a:pt x="823" y="522"/>
                      <a:pt x="823" y="522"/>
                      <a:pt x="823" y="522"/>
                    </a:cubicBezTo>
                    <a:cubicBezTo>
                      <a:pt x="825" y="522"/>
                      <a:pt x="825" y="522"/>
                      <a:pt x="826" y="521"/>
                    </a:cubicBezTo>
                    <a:cubicBezTo>
                      <a:pt x="826" y="521"/>
                      <a:pt x="826" y="521"/>
                      <a:pt x="826" y="521"/>
                    </a:cubicBezTo>
                    <a:cubicBezTo>
                      <a:pt x="826" y="521"/>
                      <a:pt x="826" y="521"/>
                      <a:pt x="826" y="520"/>
                    </a:cubicBezTo>
                    <a:cubicBezTo>
                      <a:pt x="826" y="519"/>
                      <a:pt x="827" y="519"/>
                      <a:pt x="827" y="519"/>
                    </a:cubicBezTo>
                    <a:cubicBezTo>
                      <a:pt x="828" y="519"/>
                      <a:pt x="830" y="518"/>
                      <a:pt x="831" y="519"/>
                    </a:cubicBezTo>
                    <a:cubicBezTo>
                      <a:pt x="832" y="520"/>
                      <a:pt x="833" y="520"/>
                      <a:pt x="834" y="520"/>
                    </a:cubicBezTo>
                    <a:cubicBezTo>
                      <a:pt x="834" y="520"/>
                      <a:pt x="834" y="520"/>
                      <a:pt x="834" y="520"/>
                    </a:cubicBezTo>
                    <a:cubicBezTo>
                      <a:pt x="834" y="521"/>
                      <a:pt x="835" y="521"/>
                      <a:pt x="835" y="521"/>
                    </a:cubicBezTo>
                    <a:cubicBezTo>
                      <a:pt x="835" y="521"/>
                      <a:pt x="835" y="521"/>
                      <a:pt x="835" y="521"/>
                    </a:cubicBezTo>
                    <a:cubicBezTo>
                      <a:pt x="835" y="521"/>
                      <a:pt x="835" y="521"/>
                      <a:pt x="835" y="521"/>
                    </a:cubicBezTo>
                    <a:cubicBezTo>
                      <a:pt x="835" y="522"/>
                      <a:pt x="835" y="522"/>
                      <a:pt x="835" y="522"/>
                    </a:cubicBezTo>
                    <a:cubicBezTo>
                      <a:pt x="835" y="522"/>
                      <a:pt x="835" y="522"/>
                      <a:pt x="835" y="522"/>
                    </a:cubicBezTo>
                    <a:cubicBezTo>
                      <a:pt x="836" y="522"/>
                      <a:pt x="836" y="523"/>
                      <a:pt x="837" y="522"/>
                    </a:cubicBezTo>
                    <a:cubicBezTo>
                      <a:pt x="837" y="522"/>
                      <a:pt x="837" y="522"/>
                      <a:pt x="837" y="522"/>
                    </a:cubicBezTo>
                    <a:cubicBezTo>
                      <a:pt x="837" y="522"/>
                      <a:pt x="837" y="522"/>
                      <a:pt x="838" y="522"/>
                    </a:cubicBezTo>
                    <a:cubicBezTo>
                      <a:pt x="838" y="521"/>
                      <a:pt x="839" y="521"/>
                      <a:pt x="840" y="521"/>
                    </a:cubicBezTo>
                    <a:cubicBezTo>
                      <a:pt x="840" y="521"/>
                      <a:pt x="840" y="521"/>
                      <a:pt x="841" y="521"/>
                    </a:cubicBezTo>
                    <a:cubicBezTo>
                      <a:pt x="841" y="521"/>
                      <a:pt x="841" y="521"/>
                      <a:pt x="841" y="521"/>
                    </a:cubicBezTo>
                    <a:cubicBezTo>
                      <a:pt x="842" y="522"/>
                      <a:pt x="842" y="523"/>
                      <a:pt x="843" y="524"/>
                    </a:cubicBezTo>
                    <a:cubicBezTo>
                      <a:pt x="843" y="524"/>
                      <a:pt x="843" y="524"/>
                      <a:pt x="843" y="524"/>
                    </a:cubicBezTo>
                    <a:cubicBezTo>
                      <a:pt x="844" y="525"/>
                      <a:pt x="844" y="525"/>
                      <a:pt x="844" y="525"/>
                    </a:cubicBezTo>
                    <a:cubicBezTo>
                      <a:pt x="845" y="525"/>
                      <a:pt x="845" y="525"/>
                      <a:pt x="846" y="525"/>
                    </a:cubicBezTo>
                    <a:cubicBezTo>
                      <a:pt x="845" y="527"/>
                      <a:pt x="844" y="526"/>
                      <a:pt x="843" y="526"/>
                    </a:cubicBezTo>
                    <a:cubicBezTo>
                      <a:pt x="842" y="526"/>
                      <a:pt x="840" y="527"/>
                      <a:pt x="839" y="527"/>
                    </a:cubicBezTo>
                    <a:cubicBezTo>
                      <a:pt x="840" y="528"/>
                      <a:pt x="840" y="530"/>
                      <a:pt x="841" y="530"/>
                    </a:cubicBezTo>
                    <a:cubicBezTo>
                      <a:pt x="841" y="531"/>
                      <a:pt x="842" y="531"/>
                      <a:pt x="843" y="530"/>
                    </a:cubicBezTo>
                    <a:cubicBezTo>
                      <a:pt x="843" y="530"/>
                      <a:pt x="843" y="530"/>
                      <a:pt x="843" y="530"/>
                    </a:cubicBezTo>
                    <a:cubicBezTo>
                      <a:pt x="844" y="530"/>
                      <a:pt x="845" y="530"/>
                      <a:pt x="845" y="530"/>
                    </a:cubicBezTo>
                    <a:cubicBezTo>
                      <a:pt x="845" y="529"/>
                      <a:pt x="845" y="529"/>
                      <a:pt x="845" y="529"/>
                    </a:cubicBezTo>
                    <a:cubicBezTo>
                      <a:pt x="847" y="529"/>
                      <a:pt x="848" y="529"/>
                      <a:pt x="849" y="529"/>
                    </a:cubicBezTo>
                    <a:cubicBezTo>
                      <a:pt x="850" y="530"/>
                      <a:pt x="851" y="530"/>
                      <a:pt x="851" y="529"/>
                    </a:cubicBezTo>
                    <a:cubicBezTo>
                      <a:pt x="851" y="529"/>
                      <a:pt x="851" y="528"/>
                      <a:pt x="851" y="528"/>
                    </a:cubicBezTo>
                    <a:cubicBezTo>
                      <a:pt x="852" y="527"/>
                      <a:pt x="854" y="527"/>
                      <a:pt x="855" y="525"/>
                    </a:cubicBezTo>
                    <a:cubicBezTo>
                      <a:pt x="855" y="525"/>
                      <a:pt x="856" y="525"/>
                      <a:pt x="856" y="526"/>
                    </a:cubicBezTo>
                    <a:cubicBezTo>
                      <a:pt x="857" y="526"/>
                      <a:pt x="857" y="526"/>
                      <a:pt x="858" y="527"/>
                    </a:cubicBezTo>
                    <a:cubicBezTo>
                      <a:pt x="858" y="527"/>
                      <a:pt x="858" y="527"/>
                      <a:pt x="858" y="527"/>
                    </a:cubicBezTo>
                    <a:cubicBezTo>
                      <a:pt x="859" y="528"/>
                      <a:pt x="860" y="527"/>
                      <a:pt x="861" y="526"/>
                    </a:cubicBezTo>
                    <a:cubicBezTo>
                      <a:pt x="861" y="526"/>
                      <a:pt x="861" y="526"/>
                      <a:pt x="861" y="526"/>
                    </a:cubicBezTo>
                    <a:cubicBezTo>
                      <a:pt x="861" y="526"/>
                      <a:pt x="862" y="526"/>
                      <a:pt x="862" y="526"/>
                    </a:cubicBezTo>
                    <a:cubicBezTo>
                      <a:pt x="863" y="526"/>
                      <a:pt x="864" y="526"/>
                      <a:pt x="865" y="526"/>
                    </a:cubicBezTo>
                    <a:cubicBezTo>
                      <a:pt x="866" y="526"/>
                      <a:pt x="867" y="525"/>
                      <a:pt x="866" y="523"/>
                    </a:cubicBezTo>
                    <a:cubicBezTo>
                      <a:pt x="866" y="523"/>
                      <a:pt x="866" y="523"/>
                      <a:pt x="865" y="523"/>
                    </a:cubicBezTo>
                    <a:cubicBezTo>
                      <a:pt x="865" y="522"/>
                      <a:pt x="864" y="522"/>
                      <a:pt x="864" y="522"/>
                    </a:cubicBezTo>
                    <a:cubicBezTo>
                      <a:pt x="863" y="520"/>
                      <a:pt x="861" y="521"/>
                      <a:pt x="860" y="522"/>
                    </a:cubicBezTo>
                    <a:cubicBezTo>
                      <a:pt x="860" y="521"/>
                      <a:pt x="860" y="521"/>
                      <a:pt x="860" y="521"/>
                    </a:cubicBezTo>
                    <a:cubicBezTo>
                      <a:pt x="860" y="519"/>
                      <a:pt x="859" y="517"/>
                      <a:pt x="861" y="516"/>
                    </a:cubicBezTo>
                    <a:cubicBezTo>
                      <a:pt x="862" y="516"/>
                      <a:pt x="862" y="515"/>
                      <a:pt x="862" y="515"/>
                    </a:cubicBezTo>
                    <a:cubicBezTo>
                      <a:pt x="862" y="514"/>
                      <a:pt x="862" y="514"/>
                      <a:pt x="862" y="514"/>
                    </a:cubicBezTo>
                    <a:cubicBezTo>
                      <a:pt x="862" y="514"/>
                      <a:pt x="862" y="513"/>
                      <a:pt x="862" y="513"/>
                    </a:cubicBezTo>
                    <a:cubicBezTo>
                      <a:pt x="863" y="513"/>
                      <a:pt x="863" y="513"/>
                      <a:pt x="863" y="512"/>
                    </a:cubicBezTo>
                    <a:cubicBezTo>
                      <a:pt x="864" y="510"/>
                      <a:pt x="866" y="509"/>
                      <a:pt x="868" y="508"/>
                    </a:cubicBezTo>
                    <a:cubicBezTo>
                      <a:pt x="869" y="507"/>
                      <a:pt x="870" y="505"/>
                      <a:pt x="871" y="505"/>
                    </a:cubicBezTo>
                    <a:cubicBezTo>
                      <a:pt x="872" y="504"/>
                      <a:pt x="872" y="503"/>
                      <a:pt x="872" y="501"/>
                    </a:cubicBezTo>
                    <a:cubicBezTo>
                      <a:pt x="873" y="501"/>
                      <a:pt x="873" y="500"/>
                      <a:pt x="874" y="499"/>
                    </a:cubicBezTo>
                    <a:cubicBezTo>
                      <a:pt x="874" y="499"/>
                      <a:pt x="874" y="499"/>
                      <a:pt x="874" y="499"/>
                    </a:cubicBezTo>
                    <a:cubicBezTo>
                      <a:pt x="875" y="499"/>
                      <a:pt x="875" y="499"/>
                      <a:pt x="875" y="499"/>
                    </a:cubicBezTo>
                    <a:cubicBezTo>
                      <a:pt x="875" y="499"/>
                      <a:pt x="875" y="499"/>
                      <a:pt x="875" y="499"/>
                    </a:cubicBezTo>
                    <a:cubicBezTo>
                      <a:pt x="876" y="498"/>
                      <a:pt x="877" y="498"/>
                      <a:pt x="876" y="497"/>
                    </a:cubicBezTo>
                    <a:cubicBezTo>
                      <a:pt x="876" y="495"/>
                      <a:pt x="876" y="494"/>
                      <a:pt x="878" y="493"/>
                    </a:cubicBezTo>
                    <a:cubicBezTo>
                      <a:pt x="878" y="493"/>
                      <a:pt x="878" y="493"/>
                      <a:pt x="878" y="493"/>
                    </a:cubicBezTo>
                    <a:cubicBezTo>
                      <a:pt x="878" y="493"/>
                      <a:pt x="878" y="493"/>
                      <a:pt x="878" y="493"/>
                    </a:cubicBezTo>
                    <a:cubicBezTo>
                      <a:pt x="878" y="492"/>
                      <a:pt x="878" y="492"/>
                      <a:pt x="879" y="492"/>
                    </a:cubicBezTo>
                    <a:cubicBezTo>
                      <a:pt x="879" y="492"/>
                      <a:pt x="880" y="492"/>
                      <a:pt x="880" y="492"/>
                    </a:cubicBezTo>
                    <a:cubicBezTo>
                      <a:pt x="881" y="492"/>
                      <a:pt x="881" y="492"/>
                      <a:pt x="882" y="491"/>
                    </a:cubicBezTo>
                    <a:cubicBezTo>
                      <a:pt x="882" y="491"/>
                      <a:pt x="882" y="490"/>
                      <a:pt x="882" y="490"/>
                    </a:cubicBezTo>
                    <a:cubicBezTo>
                      <a:pt x="883" y="490"/>
                      <a:pt x="883" y="490"/>
                      <a:pt x="884" y="490"/>
                    </a:cubicBezTo>
                    <a:cubicBezTo>
                      <a:pt x="884" y="490"/>
                      <a:pt x="884" y="490"/>
                      <a:pt x="884" y="490"/>
                    </a:cubicBezTo>
                    <a:cubicBezTo>
                      <a:pt x="886" y="491"/>
                      <a:pt x="886" y="490"/>
                      <a:pt x="887" y="489"/>
                    </a:cubicBezTo>
                    <a:cubicBezTo>
                      <a:pt x="888" y="490"/>
                      <a:pt x="890" y="490"/>
                      <a:pt x="891" y="490"/>
                    </a:cubicBezTo>
                    <a:cubicBezTo>
                      <a:pt x="893" y="489"/>
                      <a:pt x="894" y="489"/>
                      <a:pt x="895" y="491"/>
                    </a:cubicBezTo>
                    <a:cubicBezTo>
                      <a:pt x="895" y="491"/>
                      <a:pt x="896" y="491"/>
                      <a:pt x="896" y="492"/>
                    </a:cubicBezTo>
                    <a:cubicBezTo>
                      <a:pt x="896" y="492"/>
                      <a:pt x="896" y="492"/>
                      <a:pt x="896" y="492"/>
                    </a:cubicBezTo>
                    <a:cubicBezTo>
                      <a:pt x="897" y="492"/>
                      <a:pt x="898" y="492"/>
                      <a:pt x="899" y="491"/>
                    </a:cubicBezTo>
                    <a:cubicBezTo>
                      <a:pt x="899" y="490"/>
                      <a:pt x="899" y="490"/>
                      <a:pt x="900" y="489"/>
                    </a:cubicBezTo>
                    <a:cubicBezTo>
                      <a:pt x="900" y="489"/>
                      <a:pt x="901" y="489"/>
                      <a:pt x="901" y="490"/>
                    </a:cubicBezTo>
                    <a:cubicBezTo>
                      <a:pt x="901" y="491"/>
                      <a:pt x="901" y="492"/>
                      <a:pt x="900" y="493"/>
                    </a:cubicBezTo>
                    <a:cubicBezTo>
                      <a:pt x="899" y="495"/>
                      <a:pt x="897" y="497"/>
                      <a:pt x="898" y="499"/>
                    </a:cubicBezTo>
                    <a:cubicBezTo>
                      <a:pt x="898" y="500"/>
                      <a:pt x="898" y="500"/>
                      <a:pt x="898" y="501"/>
                    </a:cubicBezTo>
                    <a:cubicBezTo>
                      <a:pt x="898" y="501"/>
                      <a:pt x="897" y="501"/>
                      <a:pt x="898" y="502"/>
                    </a:cubicBezTo>
                    <a:cubicBezTo>
                      <a:pt x="898" y="502"/>
                      <a:pt x="899" y="502"/>
                      <a:pt x="899" y="502"/>
                    </a:cubicBezTo>
                    <a:cubicBezTo>
                      <a:pt x="900" y="502"/>
                      <a:pt x="900" y="501"/>
                      <a:pt x="900" y="501"/>
                    </a:cubicBezTo>
                    <a:cubicBezTo>
                      <a:pt x="900" y="501"/>
                      <a:pt x="900" y="501"/>
                      <a:pt x="900" y="501"/>
                    </a:cubicBezTo>
                    <a:cubicBezTo>
                      <a:pt x="900" y="501"/>
                      <a:pt x="900" y="501"/>
                      <a:pt x="900" y="501"/>
                    </a:cubicBezTo>
                    <a:cubicBezTo>
                      <a:pt x="901" y="501"/>
                      <a:pt x="901" y="501"/>
                      <a:pt x="901" y="501"/>
                    </a:cubicBezTo>
                    <a:cubicBezTo>
                      <a:pt x="902" y="501"/>
                      <a:pt x="902" y="501"/>
                      <a:pt x="902" y="501"/>
                    </a:cubicBezTo>
                    <a:cubicBezTo>
                      <a:pt x="902" y="501"/>
                      <a:pt x="901" y="502"/>
                      <a:pt x="901" y="502"/>
                    </a:cubicBezTo>
                    <a:cubicBezTo>
                      <a:pt x="901" y="502"/>
                      <a:pt x="901" y="502"/>
                      <a:pt x="901" y="502"/>
                    </a:cubicBezTo>
                    <a:cubicBezTo>
                      <a:pt x="900" y="503"/>
                      <a:pt x="899" y="505"/>
                      <a:pt x="900" y="506"/>
                    </a:cubicBezTo>
                    <a:cubicBezTo>
                      <a:pt x="900" y="506"/>
                      <a:pt x="900" y="506"/>
                      <a:pt x="900" y="506"/>
                    </a:cubicBezTo>
                    <a:cubicBezTo>
                      <a:pt x="900" y="507"/>
                      <a:pt x="900" y="507"/>
                      <a:pt x="900" y="507"/>
                    </a:cubicBezTo>
                    <a:cubicBezTo>
                      <a:pt x="900" y="507"/>
                      <a:pt x="900" y="507"/>
                      <a:pt x="901" y="506"/>
                    </a:cubicBezTo>
                    <a:cubicBezTo>
                      <a:pt x="901" y="506"/>
                      <a:pt x="901" y="506"/>
                      <a:pt x="901" y="506"/>
                    </a:cubicBezTo>
                    <a:cubicBezTo>
                      <a:pt x="902" y="506"/>
                      <a:pt x="903" y="505"/>
                      <a:pt x="903" y="505"/>
                    </a:cubicBezTo>
                    <a:cubicBezTo>
                      <a:pt x="904" y="505"/>
                      <a:pt x="905" y="505"/>
                      <a:pt x="905" y="504"/>
                    </a:cubicBezTo>
                    <a:cubicBezTo>
                      <a:pt x="905" y="504"/>
                      <a:pt x="905" y="504"/>
                      <a:pt x="905" y="504"/>
                    </a:cubicBezTo>
                    <a:cubicBezTo>
                      <a:pt x="907" y="501"/>
                      <a:pt x="909" y="498"/>
                      <a:pt x="912" y="496"/>
                    </a:cubicBezTo>
                    <a:cubicBezTo>
                      <a:pt x="913" y="496"/>
                      <a:pt x="913" y="495"/>
                      <a:pt x="913" y="495"/>
                    </a:cubicBezTo>
                    <a:cubicBezTo>
                      <a:pt x="914" y="494"/>
                      <a:pt x="914" y="492"/>
                      <a:pt x="916" y="492"/>
                    </a:cubicBezTo>
                    <a:cubicBezTo>
                      <a:pt x="916" y="492"/>
                      <a:pt x="917" y="492"/>
                      <a:pt x="917" y="492"/>
                    </a:cubicBezTo>
                    <a:cubicBezTo>
                      <a:pt x="917" y="491"/>
                      <a:pt x="918" y="491"/>
                      <a:pt x="918" y="491"/>
                    </a:cubicBezTo>
                    <a:cubicBezTo>
                      <a:pt x="918" y="491"/>
                      <a:pt x="919" y="492"/>
                      <a:pt x="919" y="493"/>
                    </a:cubicBezTo>
                    <a:cubicBezTo>
                      <a:pt x="919" y="493"/>
                      <a:pt x="919" y="493"/>
                      <a:pt x="919" y="493"/>
                    </a:cubicBezTo>
                    <a:cubicBezTo>
                      <a:pt x="919" y="493"/>
                      <a:pt x="919" y="493"/>
                      <a:pt x="920" y="493"/>
                    </a:cubicBezTo>
                    <a:cubicBezTo>
                      <a:pt x="920" y="493"/>
                      <a:pt x="921" y="492"/>
                      <a:pt x="921" y="492"/>
                    </a:cubicBezTo>
                    <a:cubicBezTo>
                      <a:pt x="921" y="491"/>
                      <a:pt x="921" y="491"/>
                      <a:pt x="921" y="491"/>
                    </a:cubicBezTo>
                    <a:cubicBezTo>
                      <a:pt x="921" y="491"/>
                      <a:pt x="921" y="491"/>
                      <a:pt x="921" y="491"/>
                    </a:cubicBezTo>
                    <a:cubicBezTo>
                      <a:pt x="920" y="491"/>
                      <a:pt x="920" y="490"/>
                      <a:pt x="920" y="490"/>
                    </a:cubicBezTo>
                    <a:cubicBezTo>
                      <a:pt x="919" y="490"/>
                      <a:pt x="919" y="489"/>
                      <a:pt x="920" y="488"/>
                    </a:cubicBezTo>
                    <a:cubicBezTo>
                      <a:pt x="920" y="487"/>
                      <a:pt x="920" y="486"/>
                      <a:pt x="920" y="486"/>
                    </a:cubicBezTo>
                    <a:cubicBezTo>
                      <a:pt x="920" y="485"/>
                      <a:pt x="920" y="484"/>
                      <a:pt x="920" y="484"/>
                    </a:cubicBezTo>
                    <a:cubicBezTo>
                      <a:pt x="921" y="483"/>
                      <a:pt x="921" y="482"/>
                      <a:pt x="921" y="481"/>
                    </a:cubicBezTo>
                    <a:cubicBezTo>
                      <a:pt x="921" y="480"/>
                      <a:pt x="922" y="479"/>
                      <a:pt x="923" y="479"/>
                    </a:cubicBezTo>
                    <a:cubicBezTo>
                      <a:pt x="924" y="479"/>
                      <a:pt x="925" y="479"/>
                      <a:pt x="926" y="479"/>
                    </a:cubicBezTo>
                    <a:cubicBezTo>
                      <a:pt x="927" y="477"/>
                      <a:pt x="929" y="477"/>
                      <a:pt x="931" y="479"/>
                    </a:cubicBezTo>
                    <a:cubicBezTo>
                      <a:pt x="931" y="479"/>
                      <a:pt x="931" y="478"/>
                      <a:pt x="931" y="478"/>
                    </a:cubicBezTo>
                    <a:cubicBezTo>
                      <a:pt x="931" y="479"/>
                      <a:pt x="931" y="479"/>
                      <a:pt x="931" y="479"/>
                    </a:cubicBezTo>
                    <a:cubicBezTo>
                      <a:pt x="932" y="479"/>
                      <a:pt x="932" y="479"/>
                      <a:pt x="932" y="479"/>
                    </a:cubicBezTo>
                    <a:cubicBezTo>
                      <a:pt x="932" y="480"/>
                      <a:pt x="933" y="480"/>
                      <a:pt x="933" y="480"/>
                    </a:cubicBezTo>
                    <a:cubicBezTo>
                      <a:pt x="933" y="480"/>
                      <a:pt x="932" y="480"/>
                      <a:pt x="931" y="480"/>
                    </a:cubicBezTo>
                    <a:cubicBezTo>
                      <a:pt x="930" y="480"/>
                      <a:pt x="928" y="481"/>
                      <a:pt x="927" y="483"/>
                    </a:cubicBezTo>
                    <a:cubicBezTo>
                      <a:pt x="927" y="483"/>
                      <a:pt x="927" y="484"/>
                      <a:pt x="927" y="485"/>
                    </a:cubicBezTo>
                    <a:cubicBezTo>
                      <a:pt x="927" y="485"/>
                      <a:pt x="927" y="486"/>
                      <a:pt x="926" y="487"/>
                    </a:cubicBezTo>
                    <a:cubicBezTo>
                      <a:pt x="926" y="487"/>
                      <a:pt x="926" y="487"/>
                      <a:pt x="926" y="487"/>
                    </a:cubicBezTo>
                    <a:cubicBezTo>
                      <a:pt x="926" y="489"/>
                      <a:pt x="926" y="490"/>
                      <a:pt x="926" y="491"/>
                    </a:cubicBezTo>
                    <a:cubicBezTo>
                      <a:pt x="925" y="492"/>
                      <a:pt x="925" y="492"/>
                      <a:pt x="925" y="492"/>
                    </a:cubicBezTo>
                    <a:cubicBezTo>
                      <a:pt x="925" y="492"/>
                      <a:pt x="925" y="493"/>
                      <a:pt x="925" y="493"/>
                    </a:cubicBezTo>
                    <a:cubicBezTo>
                      <a:pt x="925" y="493"/>
                      <a:pt x="925" y="493"/>
                      <a:pt x="925" y="493"/>
                    </a:cubicBezTo>
                    <a:cubicBezTo>
                      <a:pt x="924" y="494"/>
                      <a:pt x="924" y="494"/>
                      <a:pt x="924" y="495"/>
                    </a:cubicBezTo>
                    <a:cubicBezTo>
                      <a:pt x="925" y="496"/>
                      <a:pt x="925" y="496"/>
                      <a:pt x="926" y="497"/>
                    </a:cubicBezTo>
                    <a:cubicBezTo>
                      <a:pt x="925" y="498"/>
                      <a:pt x="925" y="499"/>
                      <a:pt x="923" y="500"/>
                    </a:cubicBezTo>
                    <a:cubicBezTo>
                      <a:pt x="923" y="501"/>
                      <a:pt x="923" y="501"/>
                      <a:pt x="923" y="502"/>
                    </a:cubicBezTo>
                    <a:cubicBezTo>
                      <a:pt x="924" y="502"/>
                      <a:pt x="924" y="502"/>
                      <a:pt x="924" y="502"/>
                    </a:cubicBezTo>
                    <a:cubicBezTo>
                      <a:pt x="923" y="503"/>
                      <a:pt x="922" y="503"/>
                      <a:pt x="921" y="504"/>
                    </a:cubicBezTo>
                    <a:cubicBezTo>
                      <a:pt x="921" y="504"/>
                      <a:pt x="921" y="504"/>
                      <a:pt x="921" y="504"/>
                    </a:cubicBezTo>
                    <a:cubicBezTo>
                      <a:pt x="919" y="505"/>
                      <a:pt x="918" y="505"/>
                      <a:pt x="917" y="506"/>
                    </a:cubicBezTo>
                    <a:cubicBezTo>
                      <a:pt x="916" y="507"/>
                      <a:pt x="915" y="507"/>
                      <a:pt x="915" y="508"/>
                    </a:cubicBezTo>
                    <a:cubicBezTo>
                      <a:pt x="915" y="508"/>
                      <a:pt x="915" y="508"/>
                      <a:pt x="915" y="508"/>
                    </a:cubicBezTo>
                    <a:cubicBezTo>
                      <a:pt x="914" y="508"/>
                      <a:pt x="913" y="508"/>
                      <a:pt x="912" y="509"/>
                    </a:cubicBezTo>
                    <a:cubicBezTo>
                      <a:pt x="912" y="509"/>
                      <a:pt x="912" y="509"/>
                      <a:pt x="912" y="509"/>
                    </a:cubicBezTo>
                    <a:cubicBezTo>
                      <a:pt x="912" y="510"/>
                      <a:pt x="912" y="511"/>
                      <a:pt x="912" y="512"/>
                    </a:cubicBezTo>
                    <a:cubicBezTo>
                      <a:pt x="912" y="512"/>
                      <a:pt x="911" y="513"/>
                      <a:pt x="910" y="513"/>
                    </a:cubicBezTo>
                    <a:cubicBezTo>
                      <a:pt x="910" y="514"/>
                      <a:pt x="909" y="514"/>
                      <a:pt x="909" y="515"/>
                    </a:cubicBezTo>
                    <a:cubicBezTo>
                      <a:pt x="908" y="516"/>
                      <a:pt x="907" y="517"/>
                      <a:pt x="906" y="518"/>
                    </a:cubicBezTo>
                    <a:cubicBezTo>
                      <a:pt x="906" y="519"/>
                      <a:pt x="905" y="520"/>
                      <a:pt x="904" y="520"/>
                    </a:cubicBezTo>
                    <a:cubicBezTo>
                      <a:pt x="903" y="521"/>
                      <a:pt x="903" y="521"/>
                      <a:pt x="902" y="521"/>
                    </a:cubicBezTo>
                    <a:cubicBezTo>
                      <a:pt x="902" y="521"/>
                      <a:pt x="902" y="521"/>
                      <a:pt x="902" y="521"/>
                    </a:cubicBezTo>
                    <a:cubicBezTo>
                      <a:pt x="902" y="522"/>
                      <a:pt x="902" y="522"/>
                      <a:pt x="902" y="522"/>
                    </a:cubicBezTo>
                    <a:cubicBezTo>
                      <a:pt x="901" y="522"/>
                      <a:pt x="901" y="523"/>
                      <a:pt x="901" y="523"/>
                    </a:cubicBezTo>
                    <a:cubicBezTo>
                      <a:pt x="901" y="523"/>
                      <a:pt x="901" y="524"/>
                      <a:pt x="900" y="524"/>
                    </a:cubicBezTo>
                    <a:cubicBezTo>
                      <a:pt x="900" y="524"/>
                      <a:pt x="900" y="524"/>
                      <a:pt x="899" y="525"/>
                    </a:cubicBezTo>
                    <a:cubicBezTo>
                      <a:pt x="899" y="525"/>
                      <a:pt x="899" y="526"/>
                      <a:pt x="898" y="526"/>
                    </a:cubicBezTo>
                    <a:cubicBezTo>
                      <a:pt x="898" y="527"/>
                      <a:pt x="898" y="527"/>
                      <a:pt x="897" y="528"/>
                    </a:cubicBezTo>
                    <a:cubicBezTo>
                      <a:pt x="897" y="528"/>
                      <a:pt x="897" y="529"/>
                      <a:pt x="897" y="530"/>
                    </a:cubicBezTo>
                    <a:cubicBezTo>
                      <a:pt x="897" y="530"/>
                      <a:pt x="897" y="531"/>
                      <a:pt x="896" y="531"/>
                    </a:cubicBezTo>
                    <a:cubicBezTo>
                      <a:pt x="896" y="531"/>
                      <a:pt x="895" y="532"/>
                      <a:pt x="895" y="533"/>
                    </a:cubicBezTo>
                    <a:cubicBezTo>
                      <a:pt x="893" y="536"/>
                      <a:pt x="890" y="538"/>
                      <a:pt x="887" y="540"/>
                    </a:cubicBezTo>
                    <a:cubicBezTo>
                      <a:pt x="887" y="541"/>
                      <a:pt x="886" y="542"/>
                      <a:pt x="885" y="542"/>
                    </a:cubicBezTo>
                    <a:cubicBezTo>
                      <a:pt x="885" y="541"/>
                      <a:pt x="884" y="541"/>
                      <a:pt x="884" y="541"/>
                    </a:cubicBezTo>
                    <a:cubicBezTo>
                      <a:pt x="883" y="541"/>
                      <a:pt x="883" y="542"/>
                      <a:pt x="882" y="543"/>
                    </a:cubicBezTo>
                    <a:cubicBezTo>
                      <a:pt x="882" y="543"/>
                      <a:pt x="882" y="543"/>
                      <a:pt x="881" y="544"/>
                    </a:cubicBezTo>
                    <a:cubicBezTo>
                      <a:pt x="881" y="544"/>
                      <a:pt x="880" y="544"/>
                      <a:pt x="879" y="544"/>
                    </a:cubicBezTo>
                    <a:cubicBezTo>
                      <a:pt x="879" y="544"/>
                      <a:pt x="879" y="544"/>
                      <a:pt x="879" y="544"/>
                    </a:cubicBezTo>
                    <a:cubicBezTo>
                      <a:pt x="879" y="544"/>
                      <a:pt x="879" y="544"/>
                      <a:pt x="879" y="544"/>
                    </a:cubicBezTo>
                    <a:cubicBezTo>
                      <a:pt x="879" y="544"/>
                      <a:pt x="879" y="544"/>
                      <a:pt x="879" y="544"/>
                    </a:cubicBezTo>
                    <a:cubicBezTo>
                      <a:pt x="879" y="543"/>
                      <a:pt x="878" y="544"/>
                      <a:pt x="878" y="544"/>
                    </a:cubicBezTo>
                    <a:cubicBezTo>
                      <a:pt x="877" y="544"/>
                      <a:pt x="877" y="545"/>
                      <a:pt x="878" y="545"/>
                    </a:cubicBezTo>
                    <a:cubicBezTo>
                      <a:pt x="878" y="545"/>
                      <a:pt x="878" y="545"/>
                      <a:pt x="878" y="545"/>
                    </a:cubicBezTo>
                    <a:cubicBezTo>
                      <a:pt x="878" y="546"/>
                      <a:pt x="878" y="546"/>
                      <a:pt x="879" y="547"/>
                    </a:cubicBezTo>
                    <a:cubicBezTo>
                      <a:pt x="879" y="548"/>
                      <a:pt x="879" y="548"/>
                      <a:pt x="879" y="548"/>
                    </a:cubicBezTo>
                    <a:cubicBezTo>
                      <a:pt x="879" y="549"/>
                      <a:pt x="878" y="549"/>
                      <a:pt x="878" y="549"/>
                    </a:cubicBezTo>
                    <a:cubicBezTo>
                      <a:pt x="878" y="549"/>
                      <a:pt x="878" y="549"/>
                      <a:pt x="878" y="549"/>
                    </a:cubicBezTo>
                    <a:cubicBezTo>
                      <a:pt x="878" y="549"/>
                      <a:pt x="878" y="550"/>
                      <a:pt x="878" y="550"/>
                    </a:cubicBezTo>
                    <a:cubicBezTo>
                      <a:pt x="878" y="550"/>
                      <a:pt x="878" y="550"/>
                      <a:pt x="878" y="550"/>
                    </a:cubicBezTo>
                    <a:cubicBezTo>
                      <a:pt x="878" y="550"/>
                      <a:pt x="877" y="551"/>
                      <a:pt x="877" y="551"/>
                    </a:cubicBezTo>
                    <a:cubicBezTo>
                      <a:pt x="877" y="552"/>
                      <a:pt x="877" y="552"/>
                      <a:pt x="876" y="553"/>
                    </a:cubicBezTo>
                    <a:cubicBezTo>
                      <a:pt x="875" y="554"/>
                      <a:pt x="874" y="555"/>
                      <a:pt x="872" y="557"/>
                    </a:cubicBezTo>
                    <a:cubicBezTo>
                      <a:pt x="872" y="557"/>
                      <a:pt x="872" y="557"/>
                      <a:pt x="872" y="557"/>
                    </a:cubicBezTo>
                    <a:cubicBezTo>
                      <a:pt x="872" y="558"/>
                      <a:pt x="872" y="558"/>
                      <a:pt x="871" y="559"/>
                    </a:cubicBezTo>
                    <a:cubicBezTo>
                      <a:pt x="871" y="559"/>
                      <a:pt x="871" y="559"/>
                      <a:pt x="871" y="559"/>
                    </a:cubicBezTo>
                    <a:cubicBezTo>
                      <a:pt x="871" y="560"/>
                      <a:pt x="871" y="560"/>
                      <a:pt x="871" y="560"/>
                    </a:cubicBezTo>
                    <a:cubicBezTo>
                      <a:pt x="871" y="560"/>
                      <a:pt x="871" y="561"/>
                      <a:pt x="871" y="561"/>
                    </a:cubicBezTo>
                    <a:cubicBezTo>
                      <a:pt x="871" y="562"/>
                      <a:pt x="870" y="562"/>
                      <a:pt x="870" y="563"/>
                    </a:cubicBezTo>
                    <a:cubicBezTo>
                      <a:pt x="870" y="564"/>
                      <a:pt x="870" y="565"/>
                      <a:pt x="870" y="565"/>
                    </a:cubicBezTo>
                    <a:cubicBezTo>
                      <a:pt x="870" y="566"/>
                      <a:pt x="869" y="567"/>
                      <a:pt x="869" y="568"/>
                    </a:cubicBezTo>
                    <a:cubicBezTo>
                      <a:pt x="869" y="568"/>
                      <a:pt x="869" y="568"/>
                      <a:pt x="869" y="568"/>
                    </a:cubicBezTo>
                    <a:cubicBezTo>
                      <a:pt x="869" y="572"/>
                      <a:pt x="869" y="576"/>
                      <a:pt x="869" y="580"/>
                    </a:cubicBezTo>
                    <a:cubicBezTo>
                      <a:pt x="869" y="581"/>
                      <a:pt x="869" y="581"/>
                      <a:pt x="869" y="581"/>
                    </a:cubicBezTo>
                    <a:cubicBezTo>
                      <a:pt x="869" y="581"/>
                      <a:pt x="869" y="581"/>
                      <a:pt x="869" y="581"/>
                    </a:cubicBezTo>
                    <a:cubicBezTo>
                      <a:pt x="870" y="581"/>
                      <a:pt x="870" y="582"/>
                      <a:pt x="870" y="582"/>
                    </a:cubicBezTo>
                    <a:cubicBezTo>
                      <a:pt x="870" y="583"/>
                      <a:pt x="870" y="583"/>
                      <a:pt x="870" y="583"/>
                    </a:cubicBezTo>
                    <a:cubicBezTo>
                      <a:pt x="870" y="585"/>
                      <a:pt x="870" y="586"/>
                      <a:pt x="871" y="587"/>
                    </a:cubicBezTo>
                    <a:cubicBezTo>
                      <a:pt x="871" y="587"/>
                      <a:pt x="871" y="587"/>
                      <a:pt x="871" y="588"/>
                    </a:cubicBezTo>
                    <a:cubicBezTo>
                      <a:pt x="871" y="589"/>
                      <a:pt x="871" y="589"/>
                      <a:pt x="871" y="590"/>
                    </a:cubicBezTo>
                    <a:cubicBezTo>
                      <a:pt x="871" y="590"/>
                      <a:pt x="871" y="590"/>
                      <a:pt x="871" y="590"/>
                    </a:cubicBezTo>
                    <a:cubicBezTo>
                      <a:pt x="871" y="592"/>
                      <a:pt x="871" y="593"/>
                      <a:pt x="871" y="594"/>
                    </a:cubicBezTo>
                    <a:cubicBezTo>
                      <a:pt x="872" y="594"/>
                      <a:pt x="872" y="594"/>
                      <a:pt x="872" y="594"/>
                    </a:cubicBezTo>
                    <a:cubicBezTo>
                      <a:pt x="872" y="595"/>
                      <a:pt x="872" y="595"/>
                      <a:pt x="872" y="595"/>
                    </a:cubicBezTo>
                    <a:cubicBezTo>
                      <a:pt x="872" y="596"/>
                      <a:pt x="872" y="597"/>
                      <a:pt x="872" y="598"/>
                    </a:cubicBezTo>
                    <a:cubicBezTo>
                      <a:pt x="872" y="599"/>
                      <a:pt x="872" y="599"/>
                      <a:pt x="872" y="599"/>
                    </a:cubicBezTo>
                    <a:cubicBezTo>
                      <a:pt x="872" y="599"/>
                      <a:pt x="872" y="600"/>
                      <a:pt x="873" y="600"/>
                    </a:cubicBezTo>
                    <a:cubicBezTo>
                      <a:pt x="873" y="601"/>
                      <a:pt x="872" y="602"/>
                      <a:pt x="873" y="603"/>
                    </a:cubicBezTo>
                    <a:cubicBezTo>
                      <a:pt x="873" y="603"/>
                      <a:pt x="873" y="603"/>
                      <a:pt x="873" y="604"/>
                    </a:cubicBezTo>
                    <a:cubicBezTo>
                      <a:pt x="874" y="605"/>
                      <a:pt x="874" y="606"/>
                      <a:pt x="874" y="607"/>
                    </a:cubicBezTo>
                    <a:cubicBezTo>
                      <a:pt x="874" y="608"/>
                      <a:pt x="874" y="609"/>
                      <a:pt x="875" y="610"/>
                    </a:cubicBezTo>
                    <a:cubicBezTo>
                      <a:pt x="875" y="611"/>
                      <a:pt x="875" y="611"/>
                      <a:pt x="875" y="611"/>
                    </a:cubicBezTo>
                    <a:cubicBezTo>
                      <a:pt x="875" y="612"/>
                      <a:pt x="875" y="613"/>
                      <a:pt x="875" y="614"/>
                    </a:cubicBezTo>
                    <a:cubicBezTo>
                      <a:pt x="875" y="616"/>
                      <a:pt x="875" y="618"/>
                      <a:pt x="875" y="619"/>
                    </a:cubicBezTo>
                    <a:cubicBezTo>
                      <a:pt x="876" y="620"/>
                      <a:pt x="876" y="620"/>
                      <a:pt x="876" y="621"/>
                    </a:cubicBezTo>
                    <a:cubicBezTo>
                      <a:pt x="877" y="622"/>
                      <a:pt x="877" y="623"/>
                      <a:pt x="877" y="623"/>
                    </a:cubicBezTo>
                    <a:cubicBezTo>
                      <a:pt x="877" y="623"/>
                      <a:pt x="877" y="623"/>
                      <a:pt x="877" y="623"/>
                    </a:cubicBezTo>
                    <a:cubicBezTo>
                      <a:pt x="878" y="623"/>
                      <a:pt x="878" y="622"/>
                      <a:pt x="878" y="622"/>
                    </a:cubicBezTo>
                    <a:cubicBezTo>
                      <a:pt x="879" y="622"/>
                      <a:pt x="879" y="622"/>
                      <a:pt x="879" y="622"/>
                    </a:cubicBezTo>
                    <a:cubicBezTo>
                      <a:pt x="879" y="621"/>
                      <a:pt x="880" y="621"/>
                      <a:pt x="880" y="621"/>
                    </a:cubicBezTo>
                    <a:cubicBezTo>
                      <a:pt x="881" y="620"/>
                      <a:pt x="882" y="619"/>
                      <a:pt x="883" y="618"/>
                    </a:cubicBezTo>
                    <a:cubicBezTo>
                      <a:pt x="885" y="616"/>
                      <a:pt x="887" y="614"/>
                      <a:pt x="887" y="611"/>
                    </a:cubicBezTo>
                    <a:cubicBezTo>
                      <a:pt x="887" y="611"/>
                      <a:pt x="887" y="611"/>
                      <a:pt x="887" y="611"/>
                    </a:cubicBezTo>
                    <a:cubicBezTo>
                      <a:pt x="889" y="610"/>
                      <a:pt x="889" y="609"/>
                      <a:pt x="889" y="608"/>
                    </a:cubicBezTo>
                    <a:cubicBezTo>
                      <a:pt x="889" y="608"/>
                      <a:pt x="889" y="607"/>
                      <a:pt x="889" y="607"/>
                    </a:cubicBezTo>
                    <a:cubicBezTo>
                      <a:pt x="889" y="607"/>
                      <a:pt x="889" y="607"/>
                      <a:pt x="889" y="606"/>
                    </a:cubicBezTo>
                    <a:cubicBezTo>
                      <a:pt x="889" y="606"/>
                      <a:pt x="889" y="605"/>
                      <a:pt x="889" y="605"/>
                    </a:cubicBezTo>
                    <a:cubicBezTo>
                      <a:pt x="889" y="604"/>
                      <a:pt x="890" y="604"/>
                      <a:pt x="890" y="603"/>
                    </a:cubicBezTo>
                    <a:cubicBezTo>
                      <a:pt x="890" y="603"/>
                      <a:pt x="889" y="602"/>
                      <a:pt x="889" y="602"/>
                    </a:cubicBezTo>
                    <a:cubicBezTo>
                      <a:pt x="888" y="602"/>
                      <a:pt x="888" y="602"/>
                      <a:pt x="888" y="601"/>
                    </a:cubicBezTo>
                    <a:cubicBezTo>
                      <a:pt x="888" y="601"/>
                      <a:pt x="888" y="601"/>
                      <a:pt x="889" y="601"/>
                    </a:cubicBezTo>
                    <a:cubicBezTo>
                      <a:pt x="889" y="600"/>
                      <a:pt x="889" y="600"/>
                      <a:pt x="889" y="601"/>
                    </a:cubicBezTo>
                    <a:cubicBezTo>
                      <a:pt x="891" y="602"/>
                      <a:pt x="892" y="601"/>
                      <a:pt x="893" y="600"/>
                    </a:cubicBezTo>
                    <a:cubicBezTo>
                      <a:pt x="894" y="599"/>
                      <a:pt x="895" y="599"/>
                      <a:pt x="896" y="598"/>
                    </a:cubicBezTo>
                    <a:cubicBezTo>
                      <a:pt x="897" y="598"/>
                      <a:pt x="898" y="599"/>
                      <a:pt x="899" y="600"/>
                    </a:cubicBezTo>
                    <a:cubicBezTo>
                      <a:pt x="899" y="600"/>
                      <a:pt x="899" y="599"/>
                      <a:pt x="899" y="599"/>
                    </a:cubicBezTo>
                    <a:cubicBezTo>
                      <a:pt x="899" y="599"/>
                      <a:pt x="899" y="599"/>
                      <a:pt x="899" y="598"/>
                    </a:cubicBezTo>
                    <a:cubicBezTo>
                      <a:pt x="898" y="598"/>
                      <a:pt x="898" y="597"/>
                      <a:pt x="898" y="596"/>
                    </a:cubicBezTo>
                    <a:cubicBezTo>
                      <a:pt x="898" y="596"/>
                      <a:pt x="898" y="595"/>
                      <a:pt x="898" y="595"/>
                    </a:cubicBezTo>
                    <a:cubicBezTo>
                      <a:pt x="898" y="595"/>
                      <a:pt x="898" y="595"/>
                      <a:pt x="898" y="594"/>
                    </a:cubicBezTo>
                    <a:cubicBezTo>
                      <a:pt x="898" y="594"/>
                      <a:pt x="898" y="594"/>
                      <a:pt x="898" y="593"/>
                    </a:cubicBezTo>
                    <a:cubicBezTo>
                      <a:pt x="898" y="593"/>
                      <a:pt x="898" y="593"/>
                      <a:pt x="898" y="593"/>
                    </a:cubicBezTo>
                    <a:cubicBezTo>
                      <a:pt x="898" y="593"/>
                      <a:pt x="898" y="592"/>
                      <a:pt x="898" y="592"/>
                    </a:cubicBezTo>
                    <a:cubicBezTo>
                      <a:pt x="898" y="592"/>
                      <a:pt x="898" y="591"/>
                      <a:pt x="898" y="591"/>
                    </a:cubicBezTo>
                    <a:cubicBezTo>
                      <a:pt x="899" y="589"/>
                      <a:pt x="900" y="587"/>
                      <a:pt x="901" y="586"/>
                    </a:cubicBezTo>
                    <a:cubicBezTo>
                      <a:pt x="902" y="585"/>
                      <a:pt x="904" y="584"/>
                      <a:pt x="905" y="583"/>
                    </a:cubicBezTo>
                    <a:cubicBezTo>
                      <a:pt x="906" y="583"/>
                      <a:pt x="906" y="583"/>
                      <a:pt x="907" y="583"/>
                    </a:cubicBezTo>
                    <a:cubicBezTo>
                      <a:pt x="909" y="584"/>
                      <a:pt x="910" y="584"/>
                      <a:pt x="911" y="582"/>
                    </a:cubicBezTo>
                    <a:cubicBezTo>
                      <a:pt x="913" y="581"/>
                      <a:pt x="913" y="581"/>
                      <a:pt x="913" y="580"/>
                    </a:cubicBezTo>
                    <a:cubicBezTo>
                      <a:pt x="913" y="580"/>
                      <a:pt x="913" y="579"/>
                      <a:pt x="912" y="578"/>
                    </a:cubicBezTo>
                    <a:cubicBezTo>
                      <a:pt x="912" y="578"/>
                      <a:pt x="912" y="578"/>
                      <a:pt x="912" y="578"/>
                    </a:cubicBezTo>
                    <a:cubicBezTo>
                      <a:pt x="912" y="577"/>
                      <a:pt x="911" y="576"/>
                      <a:pt x="911" y="575"/>
                    </a:cubicBezTo>
                    <a:cubicBezTo>
                      <a:pt x="911" y="574"/>
                      <a:pt x="911" y="574"/>
                      <a:pt x="911" y="573"/>
                    </a:cubicBezTo>
                    <a:cubicBezTo>
                      <a:pt x="911" y="572"/>
                      <a:pt x="911" y="571"/>
                      <a:pt x="911" y="570"/>
                    </a:cubicBezTo>
                    <a:cubicBezTo>
                      <a:pt x="912" y="569"/>
                      <a:pt x="913" y="568"/>
                      <a:pt x="913" y="566"/>
                    </a:cubicBezTo>
                    <a:cubicBezTo>
                      <a:pt x="912" y="565"/>
                      <a:pt x="913" y="565"/>
                      <a:pt x="914" y="564"/>
                    </a:cubicBezTo>
                    <a:cubicBezTo>
                      <a:pt x="915" y="564"/>
                      <a:pt x="916" y="564"/>
                      <a:pt x="916" y="563"/>
                    </a:cubicBezTo>
                    <a:cubicBezTo>
                      <a:pt x="915" y="560"/>
                      <a:pt x="918" y="561"/>
                      <a:pt x="919" y="560"/>
                    </a:cubicBezTo>
                    <a:cubicBezTo>
                      <a:pt x="918" y="561"/>
                      <a:pt x="918" y="562"/>
                      <a:pt x="918" y="562"/>
                    </a:cubicBezTo>
                    <a:cubicBezTo>
                      <a:pt x="917" y="563"/>
                      <a:pt x="917" y="563"/>
                      <a:pt x="917" y="564"/>
                    </a:cubicBezTo>
                    <a:cubicBezTo>
                      <a:pt x="918" y="565"/>
                      <a:pt x="918" y="565"/>
                      <a:pt x="919" y="566"/>
                    </a:cubicBezTo>
                    <a:cubicBezTo>
                      <a:pt x="919" y="566"/>
                      <a:pt x="920" y="566"/>
                      <a:pt x="921" y="564"/>
                    </a:cubicBezTo>
                    <a:cubicBezTo>
                      <a:pt x="922" y="564"/>
                      <a:pt x="922" y="563"/>
                      <a:pt x="922" y="563"/>
                    </a:cubicBezTo>
                    <a:cubicBezTo>
                      <a:pt x="921" y="561"/>
                      <a:pt x="921" y="560"/>
                      <a:pt x="921" y="558"/>
                    </a:cubicBezTo>
                    <a:cubicBezTo>
                      <a:pt x="921" y="558"/>
                      <a:pt x="921" y="557"/>
                      <a:pt x="921" y="557"/>
                    </a:cubicBezTo>
                    <a:cubicBezTo>
                      <a:pt x="920" y="557"/>
                      <a:pt x="920" y="557"/>
                      <a:pt x="919" y="557"/>
                    </a:cubicBezTo>
                    <a:cubicBezTo>
                      <a:pt x="919" y="557"/>
                      <a:pt x="919" y="557"/>
                      <a:pt x="919" y="557"/>
                    </a:cubicBezTo>
                    <a:cubicBezTo>
                      <a:pt x="918" y="557"/>
                      <a:pt x="918" y="556"/>
                      <a:pt x="918" y="556"/>
                    </a:cubicBezTo>
                    <a:cubicBezTo>
                      <a:pt x="918" y="554"/>
                      <a:pt x="918" y="553"/>
                      <a:pt x="918" y="551"/>
                    </a:cubicBezTo>
                    <a:cubicBezTo>
                      <a:pt x="917" y="550"/>
                      <a:pt x="918" y="549"/>
                      <a:pt x="919" y="548"/>
                    </a:cubicBezTo>
                    <a:cubicBezTo>
                      <a:pt x="920" y="547"/>
                      <a:pt x="921" y="546"/>
                      <a:pt x="921" y="545"/>
                    </a:cubicBezTo>
                    <a:cubicBezTo>
                      <a:pt x="921" y="544"/>
                      <a:pt x="921" y="544"/>
                      <a:pt x="921" y="544"/>
                    </a:cubicBezTo>
                    <a:cubicBezTo>
                      <a:pt x="920" y="544"/>
                      <a:pt x="920" y="544"/>
                      <a:pt x="920" y="544"/>
                    </a:cubicBezTo>
                    <a:cubicBezTo>
                      <a:pt x="920" y="543"/>
                      <a:pt x="919" y="543"/>
                      <a:pt x="919" y="543"/>
                    </a:cubicBezTo>
                    <a:cubicBezTo>
                      <a:pt x="918" y="543"/>
                      <a:pt x="918" y="543"/>
                      <a:pt x="918" y="542"/>
                    </a:cubicBezTo>
                    <a:cubicBezTo>
                      <a:pt x="917" y="542"/>
                      <a:pt x="917" y="542"/>
                      <a:pt x="917" y="542"/>
                    </a:cubicBezTo>
                    <a:cubicBezTo>
                      <a:pt x="917" y="542"/>
                      <a:pt x="917" y="542"/>
                      <a:pt x="917" y="542"/>
                    </a:cubicBezTo>
                    <a:cubicBezTo>
                      <a:pt x="916" y="542"/>
                      <a:pt x="916" y="543"/>
                      <a:pt x="916" y="543"/>
                    </a:cubicBezTo>
                    <a:cubicBezTo>
                      <a:pt x="916" y="544"/>
                      <a:pt x="915" y="544"/>
                      <a:pt x="915" y="544"/>
                    </a:cubicBezTo>
                    <a:cubicBezTo>
                      <a:pt x="915" y="544"/>
                      <a:pt x="915" y="544"/>
                      <a:pt x="914" y="544"/>
                    </a:cubicBezTo>
                    <a:cubicBezTo>
                      <a:pt x="914" y="543"/>
                      <a:pt x="914" y="543"/>
                      <a:pt x="914" y="544"/>
                    </a:cubicBezTo>
                    <a:cubicBezTo>
                      <a:pt x="913" y="544"/>
                      <a:pt x="913" y="544"/>
                      <a:pt x="913" y="544"/>
                    </a:cubicBezTo>
                    <a:cubicBezTo>
                      <a:pt x="913" y="544"/>
                      <a:pt x="913" y="544"/>
                      <a:pt x="913" y="544"/>
                    </a:cubicBezTo>
                    <a:cubicBezTo>
                      <a:pt x="913" y="543"/>
                      <a:pt x="913" y="543"/>
                      <a:pt x="913" y="543"/>
                    </a:cubicBezTo>
                    <a:cubicBezTo>
                      <a:pt x="913" y="539"/>
                      <a:pt x="913" y="539"/>
                      <a:pt x="913" y="539"/>
                    </a:cubicBezTo>
                    <a:cubicBezTo>
                      <a:pt x="913" y="538"/>
                      <a:pt x="913" y="538"/>
                      <a:pt x="913" y="538"/>
                    </a:cubicBezTo>
                    <a:cubicBezTo>
                      <a:pt x="914" y="537"/>
                      <a:pt x="913" y="537"/>
                      <a:pt x="914" y="536"/>
                    </a:cubicBezTo>
                    <a:cubicBezTo>
                      <a:pt x="914" y="535"/>
                      <a:pt x="915" y="534"/>
                      <a:pt x="915" y="533"/>
                    </a:cubicBezTo>
                    <a:cubicBezTo>
                      <a:pt x="915" y="533"/>
                      <a:pt x="915" y="532"/>
                      <a:pt x="915" y="532"/>
                    </a:cubicBezTo>
                    <a:cubicBezTo>
                      <a:pt x="917" y="531"/>
                      <a:pt x="919" y="530"/>
                      <a:pt x="919" y="527"/>
                    </a:cubicBezTo>
                    <a:cubicBezTo>
                      <a:pt x="919" y="527"/>
                      <a:pt x="920" y="527"/>
                      <a:pt x="920" y="527"/>
                    </a:cubicBezTo>
                    <a:cubicBezTo>
                      <a:pt x="920" y="527"/>
                      <a:pt x="921" y="527"/>
                      <a:pt x="921" y="527"/>
                    </a:cubicBezTo>
                    <a:cubicBezTo>
                      <a:pt x="921" y="527"/>
                      <a:pt x="921" y="526"/>
                      <a:pt x="921" y="526"/>
                    </a:cubicBezTo>
                    <a:cubicBezTo>
                      <a:pt x="919" y="525"/>
                      <a:pt x="920" y="525"/>
                      <a:pt x="921" y="525"/>
                    </a:cubicBezTo>
                    <a:cubicBezTo>
                      <a:pt x="922" y="524"/>
                      <a:pt x="922" y="523"/>
                      <a:pt x="921" y="523"/>
                    </a:cubicBezTo>
                    <a:cubicBezTo>
                      <a:pt x="921" y="523"/>
                      <a:pt x="921" y="523"/>
                      <a:pt x="921" y="523"/>
                    </a:cubicBezTo>
                    <a:cubicBezTo>
                      <a:pt x="921" y="523"/>
                      <a:pt x="921" y="522"/>
                      <a:pt x="921" y="522"/>
                    </a:cubicBezTo>
                    <a:cubicBezTo>
                      <a:pt x="920" y="521"/>
                      <a:pt x="921" y="521"/>
                      <a:pt x="922" y="520"/>
                    </a:cubicBezTo>
                    <a:cubicBezTo>
                      <a:pt x="923" y="519"/>
                      <a:pt x="922" y="518"/>
                      <a:pt x="922" y="517"/>
                    </a:cubicBezTo>
                    <a:cubicBezTo>
                      <a:pt x="923" y="517"/>
                      <a:pt x="923" y="516"/>
                      <a:pt x="923" y="516"/>
                    </a:cubicBezTo>
                    <a:cubicBezTo>
                      <a:pt x="924" y="516"/>
                      <a:pt x="925" y="517"/>
                      <a:pt x="924" y="515"/>
                    </a:cubicBezTo>
                    <a:cubicBezTo>
                      <a:pt x="924" y="515"/>
                      <a:pt x="924" y="515"/>
                      <a:pt x="924" y="515"/>
                    </a:cubicBezTo>
                    <a:cubicBezTo>
                      <a:pt x="924" y="515"/>
                      <a:pt x="924" y="515"/>
                      <a:pt x="924" y="515"/>
                    </a:cubicBezTo>
                    <a:cubicBezTo>
                      <a:pt x="924" y="515"/>
                      <a:pt x="924" y="515"/>
                      <a:pt x="924" y="515"/>
                    </a:cubicBezTo>
                    <a:cubicBezTo>
                      <a:pt x="925" y="514"/>
                      <a:pt x="925" y="515"/>
                      <a:pt x="925" y="515"/>
                    </a:cubicBezTo>
                    <a:cubicBezTo>
                      <a:pt x="926" y="515"/>
                      <a:pt x="927" y="515"/>
                      <a:pt x="928" y="515"/>
                    </a:cubicBezTo>
                    <a:cubicBezTo>
                      <a:pt x="928" y="515"/>
                      <a:pt x="928" y="514"/>
                      <a:pt x="928" y="514"/>
                    </a:cubicBezTo>
                    <a:cubicBezTo>
                      <a:pt x="928" y="514"/>
                      <a:pt x="928" y="514"/>
                      <a:pt x="928" y="514"/>
                    </a:cubicBezTo>
                    <a:cubicBezTo>
                      <a:pt x="929" y="514"/>
                      <a:pt x="930" y="514"/>
                      <a:pt x="930" y="515"/>
                    </a:cubicBezTo>
                    <a:cubicBezTo>
                      <a:pt x="931" y="515"/>
                      <a:pt x="931" y="516"/>
                      <a:pt x="931" y="516"/>
                    </a:cubicBezTo>
                    <a:cubicBezTo>
                      <a:pt x="931" y="516"/>
                      <a:pt x="931" y="516"/>
                      <a:pt x="931" y="516"/>
                    </a:cubicBezTo>
                    <a:cubicBezTo>
                      <a:pt x="932" y="518"/>
                      <a:pt x="933" y="517"/>
                      <a:pt x="933" y="516"/>
                    </a:cubicBezTo>
                    <a:cubicBezTo>
                      <a:pt x="934" y="515"/>
                      <a:pt x="934" y="515"/>
                      <a:pt x="933" y="514"/>
                    </a:cubicBezTo>
                    <a:cubicBezTo>
                      <a:pt x="935" y="513"/>
                      <a:pt x="936" y="512"/>
                      <a:pt x="937" y="511"/>
                    </a:cubicBezTo>
                    <a:cubicBezTo>
                      <a:pt x="938" y="511"/>
                      <a:pt x="938" y="511"/>
                      <a:pt x="938" y="511"/>
                    </a:cubicBezTo>
                    <a:cubicBezTo>
                      <a:pt x="939" y="509"/>
                      <a:pt x="940" y="509"/>
                      <a:pt x="941" y="509"/>
                    </a:cubicBezTo>
                    <a:cubicBezTo>
                      <a:pt x="941" y="509"/>
                      <a:pt x="941" y="509"/>
                      <a:pt x="941" y="509"/>
                    </a:cubicBezTo>
                    <a:cubicBezTo>
                      <a:pt x="941" y="512"/>
                      <a:pt x="941" y="512"/>
                      <a:pt x="941" y="512"/>
                    </a:cubicBezTo>
                    <a:cubicBezTo>
                      <a:pt x="941" y="513"/>
                      <a:pt x="941" y="513"/>
                      <a:pt x="941" y="513"/>
                    </a:cubicBezTo>
                    <a:cubicBezTo>
                      <a:pt x="940" y="515"/>
                      <a:pt x="940" y="516"/>
                      <a:pt x="941" y="517"/>
                    </a:cubicBezTo>
                    <a:cubicBezTo>
                      <a:pt x="943" y="517"/>
                      <a:pt x="943" y="515"/>
                      <a:pt x="945" y="513"/>
                    </a:cubicBezTo>
                    <a:cubicBezTo>
                      <a:pt x="946" y="512"/>
                      <a:pt x="946" y="510"/>
                      <a:pt x="948" y="510"/>
                    </a:cubicBezTo>
                    <a:cubicBezTo>
                      <a:pt x="949" y="510"/>
                      <a:pt x="950" y="509"/>
                      <a:pt x="951" y="508"/>
                    </a:cubicBezTo>
                    <a:cubicBezTo>
                      <a:pt x="952" y="508"/>
                      <a:pt x="953" y="508"/>
                      <a:pt x="954" y="507"/>
                    </a:cubicBezTo>
                    <a:cubicBezTo>
                      <a:pt x="956" y="506"/>
                      <a:pt x="958" y="507"/>
                      <a:pt x="960" y="507"/>
                    </a:cubicBezTo>
                    <a:cubicBezTo>
                      <a:pt x="961" y="507"/>
                      <a:pt x="962" y="507"/>
                      <a:pt x="962" y="507"/>
                    </a:cubicBezTo>
                    <a:cubicBezTo>
                      <a:pt x="963" y="508"/>
                      <a:pt x="963" y="508"/>
                      <a:pt x="963" y="509"/>
                    </a:cubicBezTo>
                    <a:cubicBezTo>
                      <a:pt x="963" y="509"/>
                      <a:pt x="963" y="509"/>
                      <a:pt x="963" y="509"/>
                    </a:cubicBezTo>
                    <a:cubicBezTo>
                      <a:pt x="964" y="509"/>
                      <a:pt x="964" y="509"/>
                      <a:pt x="964" y="509"/>
                    </a:cubicBezTo>
                    <a:cubicBezTo>
                      <a:pt x="965" y="510"/>
                      <a:pt x="965" y="511"/>
                      <a:pt x="966" y="512"/>
                    </a:cubicBezTo>
                    <a:cubicBezTo>
                      <a:pt x="966" y="512"/>
                      <a:pt x="966" y="512"/>
                      <a:pt x="966" y="512"/>
                    </a:cubicBezTo>
                    <a:cubicBezTo>
                      <a:pt x="966" y="512"/>
                      <a:pt x="966" y="512"/>
                      <a:pt x="966" y="512"/>
                    </a:cubicBezTo>
                    <a:cubicBezTo>
                      <a:pt x="966" y="513"/>
                      <a:pt x="966" y="514"/>
                      <a:pt x="967" y="514"/>
                    </a:cubicBezTo>
                    <a:cubicBezTo>
                      <a:pt x="967" y="515"/>
                      <a:pt x="967" y="515"/>
                      <a:pt x="967" y="515"/>
                    </a:cubicBezTo>
                    <a:cubicBezTo>
                      <a:pt x="968" y="515"/>
                      <a:pt x="969" y="516"/>
                      <a:pt x="969" y="515"/>
                    </a:cubicBezTo>
                    <a:cubicBezTo>
                      <a:pt x="970" y="515"/>
                      <a:pt x="970" y="514"/>
                      <a:pt x="970" y="514"/>
                    </a:cubicBezTo>
                    <a:cubicBezTo>
                      <a:pt x="970" y="512"/>
                      <a:pt x="971" y="511"/>
                      <a:pt x="972" y="509"/>
                    </a:cubicBezTo>
                    <a:cubicBezTo>
                      <a:pt x="972" y="509"/>
                      <a:pt x="973" y="509"/>
                      <a:pt x="973" y="508"/>
                    </a:cubicBezTo>
                    <a:cubicBezTo>
                      <a:pt x="974" y="507"/>
                      <a:pt x="975" y="507"/>
                      <a:pt x="976" y="506"/>
                    </a:cubicBezTo>
                    <a:cubicBezTo>
                      <a:pt x="977" y="505"/>
                      <a:pt x="978" y="504"/>
                      <a:pt x="979" y="504"/>
                    </a:cubicBezTo>
                    <a:cubicBezTo>
                      <a:pt x="981" y="503"/>
                      <a:pt x="981" y="502"/>
                      <a:pt x="981" y="501"/>
                    </a:cubicBezTo>
                    <a:cubicBezTo>
                      <a:pt x="981" y="500"/>
                      <a:pt x="981" y="500"/>
                      <a:pt x="981" y="500"/>
                    </a:cubicBezTo>
                    <a:cubicBezTo>
                      <a:pt x="983" y="501"/>
                      <a:pt x="983" y="501"/>
                      <a:pt x="983" y="498"/>
                    </a:cubicBezTo>
                    <a:cubicBezTo>
                      <a:pt x="983" y="498"/>
                      <a:pt x="983" y="499"/>
                      <a:pt x="983" y="499"/>
                    </a:cubicBezTo>
                    <a:cubicBezTo>
                      <a:pt x="984" y="499"/>
                      <a:pt x="985" y="498"/>
                      <a:pt x="986" y="498"/>
                    </a:cubicBezTo>
                    <a:cubicBezTo>
                      <a:pt x="986" y="497"/>
                      <a:pt x="987" y="497"/>
                      <a:pt x="986" y="496"/>
                    </a:cubicBezTo>
                    <a:cubicBezTo>
                      <a:pt x="986" y="496"/>
                      <a:pt x="986" y="496"/>
                      <a:pt x="986" y="496"/>
                    </a:cubicBezTo>
                    <a:cubicBezTo>
                      <a:pt x="985" y="496"/>
                      <a:pt x="985" y="496"/>
                      <a:pt x="986" y="495"/>
                    </a:cubicBezTo>
                    <a:cubicBezTo>
                      <a:pt x="986" y="495"/>
                      <a:pt x="986" y="495"/>
                      <a:pt x="986" y="495"/>
                    </a:cubicBezTo>
                    <a:cubicBezTo>
                      <a:pt x="986" y="495"/>
                      <a:pt x="986" y="495"/>
                      <a:pt x="986" y="495"/>
                    </a:cubicBezTo>
                    <a:cubicBezTo>
                      <a:pt x="987" y="495"/>
                      <a:pt x="987" y="495"/>
                      <a:pt x="987" y="495"/>
                    </a:cubicBezTo>
                    <a:cubicBezTo>
                      <a:pt x="987" y="496"/>
                      <a:pt x="988" y="496"/>
                      <a:pt x="989" y="495"/>
                    </a:cubicBezTo>
                    <a:cubicBezTo>
                      <a:pt x="989" y="494"/>
                      <a:pt x="991" y="493"/>
                      <a:pt x="991" y="492"/>
                    </a:cubicBezTo>
                    <a:cubicBezTo>
                      <a:pt x="991" y="491"/>
                      <a:pt x="991" y="491"/>
                      <a:pt x="992" y="492"/>
                    </a:cubicBezTo>
                    <a:cubicBezTo>
                      <a:pt x="993" y="492"/>
                      <a:pt x="994" y="492"/>
                      <a:pt x="993" y="491"/>
                    </a:cubicBezTo>
                    <a:cubicBezTo>
                      <a:pt x="993" y="489"/>
                      <a:pt x="994" y="489"/>
                      <a:pt x="995" y="489"/>
                    </a:cubicBezTo>
                    <a:cubicBezTo>
                      <a:pt x="997" y="490"/>
                      <a:pt x="998" y="489"/>
                      <a:pt x="999" y="488"/>
                    </a:cubicBezTo>
                    <a:cubicBezTo>
                      <a:pt x="1001" y="487"/>
                      <a:pt x="1003" y="485"/>
                      <a:pt x="1005" y="485"/>
                    </a:cubicBezTo>
                    <a:cubicBezTo>
                      <a:pt x="1007" y="484"/>
                      <a:pt x="1009" y="482"/>
                      <a:pt x="1011" y="481"/>
                    </a:cubicBezTo>
                    <a:cubicBezTo>
                      <a:pt x="1012" y="480"/>
                      <a:pt x="1012" y="480"/>
                      <a:pt x="1011" y="480"/>
                    </a:cubicBezTo>
                    <a:cubicBezTo>
                      <a:pt x="1012" y="479"/>
                      <a:pt x="1012" y="479"/>
                      <a:pt x="1012" y="479"/>
                    </a:cubicBezTo>
                    <a:cubicBezTo>
                      <a:pt x="1012" y="479"/>
                      <a:pt x="1013" y="480"/>
                      <a:pt x="1013" y="480"/>
                    </a:cubicBezTo>
                    <a:cubicBezTo>
                      <a:pt x="1013" y="480"/>
                      <a:pt x="1013" y="480"/>
                      <a:pt x="1014" y="480"/>
                    </a:cubicBezTo>
                    <a:cubicBezTo>
                      <a:pt x="1014" y="479"/>
                      <a:pt x="1015" y="479"/>
                      <a:pt x="1016" y="479"/>
                    </a:cubicBezTo>
                    <a:cubicBezTo>
                      <a:pt x="1016" y="479"/>
                      <a:pt x="1016" y="479"/>
                      <a:pt x="1016" y="479"/>
                    </a:cubicBezTo>
                    <a:cubicBezTo>
                      <a:pt x="1016" y="479"/>
                      <a:pt x="1016" y="479"/>
                      <a:pt x="1016" y="479"/>
                    </a:cubicBezTo>
                    <a:cubicBezTo>
                      <a:pt x="1015" y="479"/>
                      <a:pt x="1015" y="479"/>
                      <a:pt x="1014" y="478"/>
                    </a:cubicBezTo>
                    <a:cubicBezTo>
                      <a:pt x="1014" y="478"/>
                      <a:pt x="1014" y="477"/>
                      <a:pt x="1014" y="476"/>
                    </a:cubicBezTo>
                    <a:cubicBezTo>
                      <a:pt x="1014" y="476"/>
                      <a:pt x="1014" y="475"/>
                      <a:pt x="1014" y="475"/>
                    </a:cubicBezTo>
                    <a:cubicBezTo>
                      <a:pt x="1014" y="475"/>
                      <a:pt x="1015" y="475"/>
                      <a:pt x="1015" y="475"/>
                    </a:cubicBezTo>
                    <a:cubicBezTo>
                      <a:pt x="1015" y="475"/>
                      <a:pt x="1015" y="476"/>
                      <a:pt x="1015" y="476"/>
                    </a:cubicBezTo>
                    <a:cubicBezTo>
                      <a:pt x="1015" y="476"/>
                      <a:pt x="1015" y="476"/>
                      <a:pt x="1015" y="476"/>
                    </a:cubicBezTo>
                    <a:cubicBezTo>
                      <a:pt x="1016" y="477"/>
                      <a:pt x="1016" y="477"/>
                      <a:pt x="1017" y="477"/>
                    </a:cubicBezTo>
                    <a:cubicBezTo>
                      <a:pt x="1017" y="477"/>
                      <a:pt x="1017" y="478"/>
                      <a:pt x="1017" y="478"/>
                    </a:cubicBezTo>
                    <a:cubicBezTo>
                      <a:pt x="1017" y="478"/>
                      <a:pt x="1017" y="478"/>
                      <a:pt x="1017" y="479"/>
                    </a:cubicBezTo>
                    <a:cubicBezTo>
                      <a:pt x="1017" y="479"/>
                      <a:pt x="1017" y="479"/>
                      <a:pt x="1017" y="479"/>
                    </a:cubicBezTo>
                    <a:cubicBezTo>
                      <a:pt x="1021" y="479"/>
                      <a:pt x="1023" y="480"/>
                      <a:pt x="1026" y="481"/>
                    </a:cubicBezTo>
                    <a:cubicBezTo>
                      <a:pt x="1027" y="482"/>
                      <a:pt x="1027" y="483"/>
                      <a:pt x="1028" y="482"/>
                    </a:cubicBezTo>
                    <a:cubicBezTo>
                      <a:pt x="1029" y="482"/>
                      <a:pt x="1028" y="481"/>
                      <a:pt x="1028" y="480"/>
                    </a:cubicBezTo>
                    <a:cubicBezTo>
                      <a:pt x="1028" y="480"/>
                      <a:pt x="1028" y="480"/>
                      <a:pt x="1028" y="479"/>
                    </a:cubicBezTo>
                    <a:cubicBezTo>
                      <a:pt x="1028" y="479"/>
                      <a:pt x="1028" y="479"/>
                      <a:pt x="1028" y="479"/>
                    </a:cubicBezTo>
                    <a:cubicBezTo>
                      <a:pt x="1028" y="480"/>
                      <a:pt x="1029" y="480"/>
                      <a:pt x="1029" y="480"/>
                    </a:cubicBezTo>
                    <a:cubicBezTo>
                      <a:pt x="1029" y="480"/>
                      <a:pt x="1030" y="480"/>
                      <a:pt x="1030" y="479"/>
                    </a:cubicBezTo>
                    <a:cubicBezTo>
                      <a:pt x="1032" y="477"/>
                      <a:pt x="1032" y="476"/>
                      <a:pt x="1030" y="474"/>
                    </a:cubicBezTo>
                    <a:cubicBezTo>
                      <a:pt x="1030" y="474"/>
                      <a:pt x="1030" y="474"/>
                      <a:pt x="1030" y="474"/>
                    </a:cubicBezTo>
                    <a:cubicBezTo>
                      <a:pt x="1030" y="474"/>
                      <a:pt x="1030" y="473"/>
                      <a:pt x="1030" y="473"/>
                    </a:cubicBezTo>
                    <a:cubicBezTo>
                      <a:pt x="1030" y="473"/>
                      <a:pt x="1030" y="473"/>
                      <a:pt x="1030" y="473"/>
                    </a:cubicBezTo>
                    <a:cubicBezTo>
                      <a:pt x="1030" y="473"/>
                      <a:pt x="1030" y="473"/>
                      <a:pt x="1029" y="473"/>
                    </a:cubicBezTo>
                    <a:cubicBezTo>
                      <a:pt x="1029" y="473"/>
                      <a:pt x="1028" y="473"/>
                      <a:pt x="1028" y="472"/>
                    </a:cubicBezTo>
                    <a:cubicBezTo>
                      <a:pt x="1028" y="472"/>
                      <a:pt x="1029" y="472"/>
                      <a:pt x="1029" y="472"/>
                    </a:cubicBezTo>
                    <a:cubicBezTo>
                      <a:pt x="1030" y="472"/>
                      <a:pt x="1030" y="471"/>
                      <a:pt x="1030" y="470"/>
                    </a:cubicBezTo>
                    <a:cubicBezTo>
                      <a:pt x="1029" y="469"/>
                      <a:pt x="1028" y="469"/>
                      <a:pt x="1027" y="468"/>
                    </a:cubicBezTo>
                    <a:cubicBezTo>
                      <a:pt x="1027" y="466"/>
                      <a:pt x="1025" y="466"/>
                      <a:pt x="1025" y="464"/>
                    </a:cubicBezTo>
                    <a:cubicBezTo>
                      <a:pt x="1025" y="464"/>
                      <a:pt x="1025" y="464"/>
                      <a:pt x="1024" y="464"/>
                    </a:cubicBezTo>
                    <a:cubicBezTo>
                      <a:pt x="1024" y="464"/>
                      <a:pt x="1023" y="464"/>
                      <a:pt x="1023" y="464"/>
                    </a:cubicBezTo>
                    <a:cubicBezTo>
                      <a:pt x="1023" y="462"/>
                      <a:pt x="1024" y="463"/>
                      <a:pt x="1025" y="463"/>
                    </a:cubicBezTo>
                    <a:cubicBezTo>
                      <a:pt x="1026" y="463"/>
                      <a:pt x="1026" y="462"/>
                      <a:pt x="1026" y="462"/>
                    </a:cubicBezTo>
                    <a:cubicBezTo>
                      <a:pt x="1025" y="460"/>
                      <a:pt x="1026" y="457"/>
                      <a:pt x="1023" y="458"/>
                    </a:cubicBezTo>
                    <a:cubicBezTo>
                      <a:pt x="1023" y="458"/>
                      <a:pt x="1023" y="457"/>
                      <a:pt x="1023" y="457"/>
                    </a:cubicBezTo>
                    <a:cubicBezTo>
                      <a:pt x="1023" y="457"/>
                      <a:pt x="1025" y="457"/>
                      <a:pt x="1024" y="455"/>
                    </a:cubicBezTo>
                    <a:cubicBezTo>
                      <a:pt x="1024" y="455"/>
                      <a:pt x="1024" y="454"/>
                      <a:pt x="1023" y="453"/>
                    </a:cubicBezTo>
                    <a:cubicBezTo>
                      <a:pt x="1023" y="453"/>
                      <a:pt x="1023" y="453"/>
                      <a:pt x="1023" y="452"/>
                    </a:cubicBezTo>
                    <a:cubicBezTo>
                      <a:pt x="1022" y="454"/>
                      <a:pt x="1020" y="454"/>
                      <a:pt x="1019" y="453"/>
                    </a:cubicBezTo>
                    <a:cubicBezTo>
                      <a:pt x="1017" y="451"/>
                      <a:pt x="1016" y="450"/>
                      <a:pt x="1017" y="447"/>
                    </a:cubicBezTo>
                    <a:cubicBezTo>
                      <a:pt x="1017" y="447"/>
                      <a:pt x="1017" y="446"/>
                      <a:pt x="1017" y="446"/>
                    </a:cubicBezTo>
                    <a:cubicBezTo>
                      <a:pt x="1016" y="445"/>
                      <a:pt x="1016" y="446"/>
                      <a:pt x="1015" y="447"/>
                    </a:cubicBezTo>
                    <a:cubicBezTo>
                      <a:pt x="1014" y="447"/>
                      <a:pt x="1013" y="447"/>
                      <a:pt x="1013" y="448"/>
                    </a:cubicBezTo>
                    <a:cubicBezTo>
                      <a:pt x="1013" y="448"/>
                      <a:pt x="1013" y="448"/>
                      <a:pt x="1013" y="448"/>
                    </a:cubicBezTo>
                    <a:cubicBezTo>
                      <a:pt x="1011" y="448"/>
                      <a:pt x="1009" y="446"/>
                      <a:pt x="1009" y="444"/>
                    </a:cubicBezTo>
                    <a:cubicBezTo>
                      <a:pt x="1009" y="444"/>
                      <a:pt x="1009" y="444"/>
                      <a:pt x="1010" y="444"/>
                    </a:cubicBezTo>
                    <a:cubicBezTo>
                      <a:pt x="1010" y="444"/>
                      <a:pt x="1010" y="445"/>
                      <a:pt x="1012" y="444"/>
                    </a:cubicBezTo>
                    <a:cubicBezTo>
                      <a:pt x="1012" y="444"/>
                      <a:pt x="1013" y="444"/>
                      <a:pt x="1014" y="445"/>
                    </a:cubicBezTo>
                    <a:cubicBezTo>
                      <a:pt x="1014" y="445"/>
                      <a:pt x="1015" y="445"/>
                      <a:pt x="1015" y="444"/>
                    </a:cubicBezTo>
                    <a:cubicBezTo>
                      <a:pt x="1015" y="442"/>
                      <a:pt x="1016" y="443"/>
                      <a:pt x="1017" y="443"/>
                    </a:cubicBezTo>
                    <a:cubicBezTo>
                      <a:pt x="1017" y="444"/>
                      <a:pt x="1016" y="445"/>
                      <a:pt x="1018" y="445"/>
                    </a:cubicBezTo>
                    <a:cubicBezTo>
                      <a:pt x="1018" y="445"/>
                      <a:pt x="1018" y="447"/>
                      <a:pt x="1019" y="447"/>
                    </a:cubicBezTo>
                    <a:cubicBezTo>
                      <a:pt x="1021" y="447"/>
                      <a:pt x="1023" y="447"/>
                      <a:pt x="1025" y="447"/>
                    </a:cubicBezTo>
                    <a:cubicBezTo>
                      <a:pt x="1026" y="447"/>
                      <a:pt x="1026" y="447"/>
                      <a:pt x="1027" y="447"/>
                    </a:cubicBezTo>
                    <a:cubicBezTo>
                      <a:pt x="1028" y="446"/>
                      <a:pt x="1028" y="445"/>
                      <a:pt x="1030" y="445"/>
                    </a:cubicBezTo>
                    <a:cubicBezTo>
                      <a:pt x="1031" y="445"/>
                      <a:pt x="1032" y="444"/>
                      <a:pt x="1032" y="443"/>
                    </a:cubicBezTo>
                    <a:cubicBezTo>
                      <a:pt x="1033" y="441"/>
                      <a:pt x="1035" y="440"/>
                      <a:pt x="1036" y="439"/>
                    </a:cubicBezTo>
                    <a:cubicBezTo>
                      <a:pt x="1037" y="438"/>
                      <a:pt x="1038" y="437"/>
                      <a:pt x="1038" y="435"/>
                    </a:cubicBezTo>
                    <a:cubicBezTo>
                      <a:pt x="1037" y="435"/>
                      <a:pt x="1037" y="434"/>
                      <a:pt x="1038" y="434"/>
                    </a:cubicBezTo>
                    <a:cubicBezTo>
                      <a:pt x="1039" y="434"/>
                      <a:pt x="1039" y="431"/>
                      <a:pt x="1038" y="431"/>
                    </a:cubicBezTo>
                    <a:cubicBezTo>
                      <a:pt x="1036" y="429"/>
                      <a:pt x="1035" y="425"/>
                      <a:pt x="1037" y="422"/>
                    </a:cubicBezTo>
                    <a:cubicBezTo>
                      <a:pt x="1037" y="423"/>
                      <a:pt x="1037" y="423"/>
                      <a:pt x="1038" y="423"/>
                    </a:cubicBezTo>
                    <a:cubicBezTo>
                      <a:pt x="1039" y="423"/>
                      <a:pt x="1039" y="422"/>
                      <a:pt x="1039" y="421"/>
                    </a:cubicBezTo>
                    <a:cubicBezTo>
                      <a:pt x="1039" y="421"/>
                      <a:pt x="1039" y="421"/>
                      <a:pt x="1040" y="420"/>
                    </a:cubicBezTo>
                    <a:cubicBezTo>
                      <a:pt x="1040" y="420"/>
                      <a:pt x="1040" y="421"/>
                      <a:pt x="1040" y="421"/>
                    </a:cubicBezTo>
                    <a:cubicBezTo>
                      <a:pt x="1041" y="422"/>
                      <a:pt x="1041" y="422"/>
                      <a:pt x="1042" y="422"/>
                    </a:cubicBezTo>
                    <a:cubicBezTo>
                      <a:pt x="1043" y="422"/>
                      <a:pt x="1043" y="421"/>
                      <a:pt x="1043" y="420"/>
                    </a:cubicBezTo>
                    <a:cubicBezTo>
                      <a:pt x="1043" y="419"/>
                      <a:pt x="1044" y="419"/>
                      <a:pt x="1045" y="419"/>
                    </a:cubicBezTo>
                    <a:cubicBezTo>
                      <a:pt x="1045" y="419"/>
                      <a:pt x="1045" y="419"/>
                      <a:pt x="1045" y="419"/>
                    </a:cubicBezTo>
                    <a:cubicBezTo>
                      <a:pt x="1045" y="420"/>
                      <a:pt x="1045" y="420"/>
                      <a:pt x="1045" y="420"/>
                    </a:cubicBezTo>
                    <a:cubicBezTo>
                      <a:pt x="1045" y="421"/>
                      <a:pt x="1045" y="423"/>
                      <a:pt x="1043" y="424"/>
                    </a:cubicBezTo>
                    <a:cubicBezTo>
                      <a:pt x="1042" y="425"/>
                      <a:pt x="1042" y="428"/>
                      <a:pt x="1044" y="429"/>
                    </a:cubicBezTo>
                    <a:cubicBezTo>
                      <a:pt x="1045" y="430"/>
                      <a:pt x="1045" y="431"/>
                      <a:pt x="1044" y="432"/>
                    </a:cubicBezTo>
                    <a:cubicBezTo>
                      <a:pt x="1044" y="434"/>
                      <a:pt x="1045" y="434"/>
                      <a:pt x="1046" y="434"/>
                    </a:cubicBezTo>
                    <a:cubicBezTo>
                      <a:pt x="1049" y="434"/>
                      <a:pt x="1052" y="434"/>
                      <a:pt x="1054" y="431"/>
                    </a:cubicBezTo>
                    <a:cubicBezTo>
                      <a:pt x="1054" y="431"/>
                      <a:pt x="1054" y="431"/>
                      <a:pt x="1055" y="431"/>
                    </a:cubicBezTo>
                    <a:cubicBezTo>
                      <a:pt x="1055" y="431"/>
                      <a:pt x="1055" y="431"/>
                      <a:pt x="1055" y="431"/>
                    </a:cubicBezTo>
                    <a:cubicBezTo>
                      <a:pt x="1056" y="433"/>
                      <a:pt x="1059" y="433"/>
                      <a:pt x="1061" y="434"/>
                    </a:cubicBezTo>
                    <a:cubicBezTo>
                      <a:pt x="1061" y="434"/>
                      <a:pt x="1062" y="435"/>
                      <a:pt x="1062" y="435"/>
                    </a:cubicBezTo>
                    <a:cubicBezTo>
                      <a:pt x="1062" y="437"/>
                      <a:pt x="1063" y="438"/>
                      <a:pt x="1063" y="440"/>
                    </a:cubicBezTo>
                    <a:cubicBezTo>
                      <a:pt x="1063" y="440"/>
                      <a:pt x="1063" y="440"/>
                      <a:pt x="1063" y="441"/>
                    </a:cubicBezTo>
                    <a:cubicBezTo>
                      <a:pt x="1062" y="442"/>
                      <a:pt x="1063" y="442"/>
                      <a:pt x="1064" y="443"/>
                    </a:cubicBezTo>
                    <a:cubicBezTo>
                      <a:pt x="1064" y="443"/>
                      <a:pt x="1065" y="443"/>
                      <a:pt x="1065" y="444"/>
                    </a:cubicBezTo>
                    <a:cubicBezTo>
                      <a:pt x="1067" y="445"/>
                      <a:pt x="1067" y="445"/>
                      <a:pt x="1069" y="444"/>
                    </a:cubicBezTo>
                    <a:cubicBezTo>
                      <a:pt x="1069" y="444"/>
                      <a:pt x="1070" y="443"/>
                      <a:pt x="1070" y="443"/>
                    </a:cubicBezTo>
                    <a:cubicBezTo>
                      <a:pt x="1071" y="444"/>
                      <a:pt x="1071" y="444"/>
                      <a:pt x="1071" y="445"/>
                    </a:cubicBezTo>
                    <a:cubicBezTo>
                      <a:pt x="1070" y="446"/>
                      <a:pt x="1071" y="446"/>
                      <a:pt x="1071" y="447"/>
                    </a:cubicBezTo>
                    <a:cubicBezTo>
                      <a:pt x="1072" y="447"/>
                      <a:pt x="1074" y="448"/>
                      <a:pt x="1074" y="449"/>
                    </a:cubicBezTo>
                    <a:cubicBezTo>
                      <a:pt x="1075" y="449"/>
                      <a:pt x="1075" y="450"/>
                      <a:pt x="1075" y="450"/>
                    </a:cubicBezTo>
                    <a:cubicBezTo>
                      <a:pt x="1076" y="451"/>
                      <a:pt x="1077" y="452"/>
                      <a:pt x="1078" y="452"/>
                    </a:cubicBezTo>
                    <a:cubicBezTo>
                      <a:pt x="1079" y="451"/>
                      <a:pt x="1079" y="451"/>
                      <a:pt x="1079" y="452"/>
                    </a:cubicBezTo>
                    <a:cubicBezTo>
                      <a:pt x="1080" y="453"/>
                      <a:pt x="1081" y="453"/>
                      <a:pt x="1082" y="453"/>
                    </a:cubicBezTo>
                    <a:cubicBezTo>
                      <a:pt x="1083" y="452"/>
                      <a:pt x="1083" y="451"/>
                      <a:pt x="1082" y="450"/>
                    </a:cubicBezTo>
                    <a:cubicBezTo>
                      <a:pt x="1082" y="450"/>
                      <a:pt x="1081" y="450"/>
                      <a:pt x="1082" y="450"/>
                    </a:cubicBezTo>
                    <a:cubicBezTo>
                      <a:pt x="1082" y="449"/>
                      <a:pt x="1082" y="449"/>
                      <a:pt x="1083" y="450"/>
                    </a:cubicBezTo>
                    <a:cubicBezTo>
                      <a:pt x="1083" y="450"/>
                      <a:pt x="1083" y="450"/>
                      <a:pt x="1083" y="451"/>
                    </a:cubicBezTo>
                    <a:cubicBezTo>
                      <a:pt x="1084" y="452"/>
                      <a:pt x="1085" y="451"/>
                      <a:pt x="1085" y="451"/>
                    </a:cubicBezTo>
                    <a:cubicBezTo>
                      <a:pt x="1086" y="451"/>
                      <a:pt x="1086" y="451"/>
                      <a:pt x="1086" y="451"/>
                    </a:cubicBezTo>
                    <a:cubicBezTo>
                      <a:pt x="1086" y="450"/>
                      <a:pt x="1086" y="449"/>
                      <a:pt x="1086" y="449"/>
                    </a:cubicBezTo>
                    <a:cubicBezTo>
                      <a:pt x="1084" y="449"/>
                      <a:pt x="1083" y="447"/>
                      <a:pt x="1081" y="447"/>
                    </a:cubicBezTo>
                    <a:cubicBezTo>
                      <a:pt x="1085" y="446"/>
                      <a:pt x="1082" y="445"/>
                      <a:pt x="1082" y="444"/>
                    </a:cubicBezTo>
                    <a:cubicBezTo>
                      <a:pt x="1084" y="444"/>
                      <a:pt x="1084" y="444"/>
                      <a:pt x="1086" y="442"/>
                    </a:cubicBezTo>
                    <a:cubicBezTo>
                      <a:pt x="1087" y="441"/>
                      <a:pt x="1087" y="440"/>
                      <a:pt x="1086" y="438"/>
                    </a:cubicBezTo>
                    <a:cubicBezTo>
                      <a:pt x="1086" y="438"/>
                      <a:pt x="1085" y="438"/>
                      <a:pt x="1084" y="438"/>
                    </a:cubicBezTo>
                    <a:cubicBezTo>
                      <a:pt x="1085" y="438"/>
                      <a:pt x="1085" y="438"/>
                      <a:pt x="1086" y="438"/>
                    </a:cubicBezTo>
                    <a:cubicBezTo>
                      <a:pt x="1087" y="438"/>
                      <a:pt x="1088" y="436"/>
                      <a:pt x="1087" y="435"/>
                    </a:cubicBezTo>
                    <a:cubicBezTo>
                      <a:pt x="1086" y="434"/>
                      <a:pt x="1086" y="433"/>
                      <a:pt x="1086" y="432"/>
                    </a:cubicBezTo>
                    <a:cubicBezTo>
                      <a:pt x="1085" y="432"/>
                      <a:pt x="1085" y="432"/>
                      <a:pt x="1085" y="432"/>
                    </a:cubicBezTo>
                    <a:cubicBezTo>
                      <a:pt x="1085" y="432"/>
                      <a:pt x="1084" y="432"/>
                      <a:pt x="1084" y="431"/>
                    </a:cubicBezTo>
                    <a:cubicBezTo>
                      <a:pt x="1084" y="430"/>
                      <a:pt x="1085" y="431"/>
                      <a:pt x="1085" y="431"/>
                    </a:cubicBezTo>
                    <a:cubicBezTo>
                      <a:pt x="1086" y="430"/>
                      <a:pt x="1086" y="431"/>
                      <a:pt x="1087" y="432"/>
                    </a:cubicBezTo>
                    <a:cubicBezTo>
                      <a:pt x="1087" y="433"/>
                      <a:pt x="1087" y="433"/>
                      <a:pt x="1088" y="433"/>
                    </a:cubicBezTo>
                    <a:cubicBezTo>
                      <a:pt x="1090" y="433"/>
                      <a:pt x="1092" y="432"/>
                      <a:pt x="1094" y="433"/>
                    </a:cubicBezTo>
                    <a:cubicBezTo>
                      <a:pt x="1094" y="434"/>
                      <a:pt x="1095" y="434"/>
                      <a:pt x="1095" y="433"/>
                    </a:cubicBezTo>
                    <a:cubicBezTo>
                      <a:pt x="1095" y="433"/>
                      <a:pt x="1095" y="432"/>
                      <a:pt x="1095" y="432"/>
                    </a:cubicBezTo>
                    <a:cubicBezTo>
                      <a:pt x="1094" y="431"/>
                      <a:pt x="1094" y="431"/>
                      <a:pt x="1094" y="431"/>
                    </a:cubicBezTo>
                    <a:cubicBezTo>
                      <a:pt x="1093" y="430"/>
                      <a:pt x="1093" y="430"/>
                      <a:pt x="1093" y="429"/>
                    </a:cubicBezTo>
                    <a:cubicBezTo>
                      <a:pt x="1094" y="430"/>
                      <a:pt x="1095" y="431"/>
                      <a:pt x="1096" y="431"/>
                    </a:cubicBezTo>
                    <a:cubicBezTo>
                      <a:pt x="1098" y="432"/>
                      <a:pt x="1098" y="432"/>
                      <a:pt x="1098" y="430"/>
                    </a:cubicBezTo>
                    <a:cubicBezTo>
                      <a:pt x="1098" y="427"/>
                      <a:pt x="1100" y="425"/>
                      <a:pt x="1103" y="425"/>
                    </a:cubicBezTo>
                    <a:cubicBezTo>
                      <a:pt x="1104" y="425"/>
                      <a:pt x="1104" y="424"/>
                      <a:pt x="1104" y="424"/>
                    </a:cubicBezTo>
                    <a:cubicBezTo>
                      <a:pt x="1104" y="423"/>
                      <a:pt x="1104" y="423"/>
                      <a:pt x="1103" y="423"/>
                    </a:cubicBezTo>
                    <a:close/>
                    <a:moveTo>
                      <a:pt x="823" y="679"/>
                    </a:moveTo>
                    <a:cubicBezTo>
                      <a:pt x="822" y="679"/>
                      <a:pt x="822" y="679"/>
                      <a:pt x="821" y="680"/>
                    </a:cubicBezTo>
                    <a:cubicBezTo>
                      <a:pt x="821" y="680"/>
                      <a:pt x="820" y="682"/>
                      <a:pt x="818" y="681"/>
                    </a:cubicBezTo>
                    <a:cubicBezTo>
                      <a:pt x="818" y="681"/>
                      <a:pt x="818" y="681"/>
                      <a:pt x="817" y="680"/>
                    </a:cubicBezTo>
                    <a:cubicBezTo>
                      <a:pt x="817" y="681"/>
                      <a:pt x="817" y="682"/>
                      <a:pt x="816" y="682"/>
                    </a:cubicBezTo>
                    <a:cubicBezTo>
                      <a:pt x="815" y="683"/>
                      <a:pt x="815" y="683"/>
                      <a:pt x="814" y="684"/>
                    </a:cubicBezTo>
                    <a:cubicBezTo>
                      <a:pt x="813" y="685"/>
                      <a:pt x="812" y="686"/>
                      <a:pt x="811" y="688"/>
                    </a:cubicBezTo>
                    <a:cubicBezTo>
                      <a:pt x="811" y="688"/>
                      <a:pt x="810" y="688"/>
                      <a:pt x="810" y="688"/>
                    </a:cubicBezTo>
                    <a:cubicBezTo>
                      <a:pt x="810" y="689"/>
                      <a:pt x="810" y="689"/>
                      <a:pt x="811" y="689"/>
                    </a:cubicBezTo>
                    <a:cubicBezTo>
                      <a:pt x="811" y="689"/>
                      <a:pt x="811" y="688"/>
                      <a:pt x="812" y="688"/>
                    </a:cubicBezTo>
                    <a:cubicBezTo>
                      <a:pt x="812" y="688"/>
                      <a:pt x="812" y="688"/>
                      <a:pt x="812" y="688"/>
                    </a:cubicBezTo>
                    <a:cubicBezTo>
                      <a:pt x="813" y="687"/>
                      <a:pt x="815" y="686"/>
                      <a:pt x="815" y="684"/>
                    </a:cubicBezTo>
                    <a:cubicBezTo>
                      <a:pt x="818" y="684"/>
                      <a:pt x="820" y="682"/>
                      <a:pt x="822" y="681"/>
                    </a:cubicBezTo>
                    <a:cubicBezTo>
                      <a:pt x="823" y="680"/>
                      <a:pt x="823" y="680"/>
                      <a:pt x="823" y="680"/>
                    </a:cubicBezTo>
                    <a:cubicBezTo>
                      <a:pt x="823" y="680"/>
                      <a:pt x="823" y="680"/>
                      <a:pt x="823" y="680"/>
                    </a:cubicBezTo>
                    <a:cubicBezTo>
                      <a:pt x="823" y="679"/>
                      <a:pt x="823" y="679"/>
                      <a:pt x="823" y="679"/>
                    </a:cubicBezTo>
                    <a:close/>
                    <a:moveTo>
                      <a:pt x="834" y="672"/>
                    </a:moveTo>
                    <a:cubicBezTo>
                      <a:pt x="834" y="672"/>
                      <a:pt x="834" y="672"/>
                      <a:pt x="834" y="672"/>
                    </a:cubicBezTo>
                    <a:cubicBezTo>
                      <a:pt x="834" y="672"/>
                      <a:pt x="833" y="672"/>
                      <a:pt x="833" y="672"/>
                    </a:cubicBezTo>
                    <a:cubicBezTo>
                      <a:pt x="832" y="673"/>
                      <a:pt x="832" y="673"/>
                      <a:pt x="831" y="674"/>
                    </a:cubicBezTo>
                    <a:cubicBezTo>
                      <a:pt x="831" y="674"/>
                      <a:pt x="831" y="674"/>
                      <a:pt x="830" y="675"/>
                    </a:cubicBezTo>
                    <a:cubicBezTo>
                      <a:pt x="830" y="675"/>
                      <a:pt x="829" y="676"/>
                      <a:pt x="828" y="677"/>
                    </a:cubicBezTo>
                    <a:cubicBezTo>
                      <a:pt x="828" y="677"/>
                      <a:pt x="828" y="677"/>
                      <a:pt x="828" y="678"/>
                    </a:cubicBezTo>
                    <a:cubicBezTo>
                      <a:pt x="830" y="678"/>
                      <a:pt x="831" y="676"/>
                      <a:pt x="832" y="675"/>
                    </a:cubicBezTo>
                    <a:cubicBezTo>
                      <a:pt x="833" y="674"/>
                      <a:pt x="833" y="674"/>
                      <a:pt x="834" y="673"/>
                    </a:cubicBezTo>
                    <a:cubicBezTo>
                      <a:pt x="834" y="673"/>
                      <a:pt x="835" y="673"/>
                      <a:pt x="835" y="672"/>
                    </a:cubicBezTo>
                    <a:cubicBezTo>
                      <a:pt x="835" y="672"/>
                      <a:pt x="835" y="672"/>
                      <a:pt x="834" y="672"/>
                    </a:cubicBezTo>
                    <a:close/>
                    <a:moveTo>
                      <a:pt x="864" y="638"/>
                    </a:moveTo>
                    <a:cubicBezTo>
                      <a:pt x="864" y="638"/>
                      <a:pt x="864" y="638"/>
                      <a:pt x="864" y="638"/>
                    </a:cubicBezTo>
                    <a:cubicBezTo>
                      <a:pt x="863" y="638"/>
                      <a:pt x="863" y="639"/>
                      <a:pt x="863" y="640"/>
                    </a:cubicBezTo>
                    <a:cubicBezTo>
                      <a:pt x="863" y="640"/>
                      <a:pt x="863" y="640"/>
                      <a:pt x="863" y="640"/>
                    </a:cubicBezTo>
                    <a:cubicBezTo>
                      <a:pt x="863" y="640"/>
                      <a:pt x="863" y="640"/>
                      <a:pt x="863" y="640"/>
                    </a:cubicBezTo>
                    <a:cubicBezTo>
                      <a:pt x="863" y="641"/>
                      <a:pt x="863" y="641"/>
                      <a:pt x="863" y="641"/>
                    </a:cubicBezTo>
                    <a:cubicBezTo>
                      <a:pt x="863" y="641"/>
                      <a:pt x="863" y="641"/>
                      <a:pt x="864" y="641"/>
                    </a:cubicBezTo>
                    <a:cubicBezTo>
                      <a:pt x="864" y="641"/>
                      <a:pt x="864" y="641"/>
                      <a:pt x="864" y="641"/>
                    </a:cubicBezTo>
                    <a:cubicBezTo>
                      <a:pt x="864" y="640"/>
                      <a:pt x="864" y="640"/>
                      <a:pt x="864" y="640"/>
                    </a:cubicBezTo>
                    <a:cubicBezTo>
                      <a:pt x="864" y="639"/>
                      <a:pt x="864" y="639"/>
                      <a:pt x="864" y="639"/>
                    </a:cubicBezTo>
                    <a:cubicBezTo>
                      <a:pt x="864" y="638"/>
                      <a:pt x="864" y="638"/>
                      <a:pt x="864" y="638"/>
                    </a:cubicBezTo>
                    <a:cubicBezTo>
                      <a:pt x="864" y="638"/>
                      <a:pt x="864" y="638"/>
                      <a:pt x="864" y="638"/>
                    </a:cubicBezTo>
                    <a:cubicBezTo>
                      <a:pt x="864" y="638"/>
                      <a:pt x="864" y="638"/>
                      <a:pt x="864" y="638"/>
                    </a:cubicBezTo>
                    <a:cubicBezTo>
                      <a:pt x="864" y="638"/>
                      <a:pt x="864" y="638"/>
                      <a:pt x="864" y="638"/>
                    </a:cubicBezTo>
                    <a:close/>
                    <a:moveTo>
                      <a:pt x="805" y="689"/>
                    </a:moveTo>
                    <a:cubicBezTo>
                      <a:pt x="804" y="688"/>
                      <a:pt x="804" y="689"/>
                      <a:pt x="804" y="690"/>
                    </a:cubicBezTo>
                    <a:cubicBezTo>
                      <a:pt x="804" y="690"/>
                      <a:pt x="804" y="690"/>
                      <a:pt x="804" y="690"/>
                    </a:cubicBezTo>
                    <a:cubicBezTo>
                      <a:pt x="803" y="691"/>
                      <a:pt x="802" y="692"/>
                      <a:pt x="802" y="694"/>
                    </a:cubicBezTo>
                    <a:cubicBezTo>
                      <a:pt x="801" y="694"/>
                      <a:pt x="801" y="694"/>
                      <a:pt x="801" y="694"/>
                    </a:cubicBezTo>
                    <a:cubicBezTo>
                      <a:pt x="800" y="695"/>
                      <a:pt x="800" y="695"/>
                      <a:pt x="800" y="695"/>
                    </a:cubicBezTo>
                    <a:cubicBezTo>
                      <a:pt x="800" y="695"/>
                      <a:pt x="800" y="695"/>
                      <a:pt x="800" y="695"/>
                    </a:cubicBezTo>
                    <a:cubicBezTo>
                      <a:pt x="800" y="696"/>
                      <a:pt x="801" y="696"/>
                      <a:pt x="801" y="696"/>
                    </a:cubicBezTo>
                    <a:cubicBezTo>
                      <a:pt x="801" y="696"/>
                      <a:pt x="802" y="695"/>
                      <a:pt x="802" y="695"/>
                    </a:cubicBezTo>
                    <a:cubicBezTo>
                      <a:pt x="802" y="695"/>
                      <a:pt x="802" y="695"/>
                      <a:pt x="801" y="695"/>
                    </a:cubicBezTo>
                    <a:cubicBezTo>
                      <a:pt x="801" y="695"/>
                      <a:pt x="801" y="695"/>
                      <a:pt x="801" y="695"/>
                    </a:cubicBezTo>
                    <a:cubicBezTo>
                      <a:pt x="802" y="694"/>
                      <a:pt x="802" y="694"/>
                      <a:pt x="803" y="694"/>
                    </a:cubicBezTo>
                    <a:cubicBezTo>
                      <a:pt x="803" y="693"/>
                      <a:pt x="804" y="691"/>
                      <a:pt x="806" y="691"/>
                    </a:cubicBezTo>
                    <a:cubicBezTo>
                      <a:pt x="806" y="690"/>
                      <a:pt x="807" y="690"/>
                      <a:pt x="807" y="690"/>
                    </a:cubicBezTo>
                    <a:cubicBezTo>
                      <a:pt x="807" y="690"/>
                      <a:pt x="807" y="689"/>
                      <a:pt x="807" y="689"/>
                    </a:cubicBezTo>
                    <a:cubicBezTo>
                      <a:pt x="807" y="689"/>
                      <a:pt x="806" y="689"/>
                      <a:pt x="805" y="689"/>
                    </a:cubicBezTo>
                    <a:close/>
                    <a:moveTo>
                      <a:pt x="874" y="627"/>
                    </a:moveTo>
                    <a:cubicBezTo>
                      <a:pt x="875" y="627"/>
                      <a:pt x="875" y="626"/>
                      <a:pt x="875" y="625"/>
                    </a:cubicBezTo>
                    <a:cubicBezTo>
                      <a:pt x="875" y="625"/>
                      <a:pt x="875" y="625"/>
                      <a:pt x="875" y="625"/>
                    </a:cubicBezTo>
                    <a:cubicBezTo>
                      <a:pt x="875" y="625"/>
                      <a:pt x="875" y="625"/>
                      <a:pt x="875" y="625"/>
                    </a:cubicBezTo>
                    <a:cubicBezTo>
                      <a:pt x="875" y="625"/>
                      <a:pt x="875" y="625"/>
                      <a:pt x="875" y="625"/>
                    </a:cubicBezTo>
                    <a:cubicBezTo>
                      <a:pt x="874" y="625"/>
                      <a:pt x="874" y="625"/>
                      <a:pt x="873" y="626"/>
                    </a:cubicBezTo>
                    <a:cubicBezTo>
                      <a:pt x="873" y="626"/>
                      <a:pt x="873" y="627"/>
                      <a:pt x="874" y="627"/>
                    </a:cubicBezTo>
                    <a:close/>
                    <a:moveTo>
                      <a:pt x="809" y="695"/>
                    </a:moveTo>
                    <a:cubicBezTo>
                      <a:pt x="809" y="695"/>
                      <a:pt x="809" y="695"/>
                      <a:pt x="809" y="695"/>
                    </a:cubicBezTo>
                    <a:cubicBezTo>
                      <a:pt x="809" y="695"/>
                      <a:pt x="810" y="695"/>
                      <a:pt x="810" y="695"/>
                    </a:cubicBezTo>
                    <a:cubicBezTo>
                      <a:pt x="810" y="695"/>
                      <a:pt x="810" y="695"/>
                      <a:pt x="810" y="695"/>
                    </a:cubicBezTo>
                    <a:cubicBezTo>
                      <a:pt x="810" y="694"/>
                      <a:pt x="809" y="694"/>
                      <a:pt x="809" y="695"/>
                    </a:cubicBezTo>
                    <a:close/>
                    <a:moveTo>
                      <a:pt x="867" y="632"/>
                    </a:moveTo>
                    <a:cubicBezTo>
                      <a:pt x="867" y="632"/>
                      <a:pt x="867" y="632"/>
                      <a:pt x="867" y="632"/>
                    </a:cubicBezTo>
                    <a:cubicBezTo>
                      <a:pt x="867" y="632"/>
                      <a:pt x="867" y="632"/>
                      <a:pt x="867" y="633"/>
                    </a:cubicBezTo>
                    <a:cubicBezTo>
                      <a:pt x="867" y="633"/>
                      <a:pt x="867" y="633"/>
                      <a:pt x="867" y="633"/>
                    </a:cubicBezTo>
                    <a:cubicBezTo>
                      <a:pt x="868" y="633"/>
                      <a:pt x="868" y="633"/>
                      <a:pt x="868" y="633"/>
                    </a:cubicBezTo>
                    <a:cubicBezTo>
                      <a:pt x="869" y="632"/>
                      <a:pt x="869" y="632"/>
                      <a:pt x="870" y="632"/>
                    </a:cubicBezTo>
                    <a:cubicBezTo>
                      <a:pt x="871" y="631"/>
                      <a:pt x="872" y="630"/>
                      <a:pt x="872" y="629"/>
                    </a:cubicBezTo>
                    <a:cubicBezTo>
                      <a:pt x="873" y="629"/>
                      <a:pt x="873" y="628"/>
                      <a:pt x="873" y="628"/>
                    </a:cubicBezTo>
                    <a:cubicBezTo>
                      <a:pt x="873" y="627"/>
                      <a:pt x="873" y="626"/>
                      <a:pt x="873" y="626"/>
                    </a:cubicBezTo>
                    <a:cubicBezTo>
                      <a:pt x="873" y="626"/>
                      <a:pt x="873" y="626"/>
                      <a:pt x="872" y="626"/>
                    </a:cubicBezTo>
                    <a:cubicBezTo>
                      <a:pt x="872" y="626"/>
                      <a:pt x="872" y="626"/>
                      <a:pt x="872" y="626"/>
                    </a:cubicBezTo>
                    <a:cubicBezTo>
                      <a:pt x="871" y="625"/>
                      <a:pt x="871" y="626"/>
                      <a:pt x="871" y="627"/>
                    </a:cubicBezTo>
                    <a:cubicBezTo>
                      <a:pt x="870" y="629"/>
                      <a:pt x="870" y="630"/>
                      <a:pt x="868" y="630"/>
                    </a:cubicBezTo>
                    <a:cubicBezTo>
                      <a:pt x="867" y="630"/>
                      <a:pt x="867" y="631"/>
                      <a:pt x="867" y="632"/>
                    </a:cubicBezTo>
                    <a:close/>
                    <a:moveTo>
                      <a:pt x="860" y="645"/>
                    </a:moveTo>
                    <a:cubicBezTo>
                      <a:pt x="859" y="645"/>
                      <a:pt x="859" y="646"/>
                      <a:pt x="859" y="646"/>
                    </a:cubicBezTo>
                    <a:cubicBezTo>
                      <a:pt x="859" y="646"/>
                      <a:pt x="860" y="646"/>
                      <a:pt x="860" y="645"/>
                    </a:cubicBezTo>
                    <a:close/>
                    <a:moveTo>
                      <a:pt x="869" y="624"/>
                    </a:move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5"/>
                      <a:pt x="869" y="625"/>
                      <a:pt x="869" y="625"/>
                    </a:cubicBezTo>
                    <a:cubicBezTo>
                      <a:pt x="869" y="625"/>
                      <a:pt x="869" y="625"/>
                      <a:pt x="869" y="624"/>
                    </a:cubicBezTo>
                    <a:close/>
                    <a:moveTo>
                      <a:pt x="846" y="664"/>
                    </a:moveTo>
                    <a:cubicBezTo>
                      <a:pt x="845" y="664"/>
                      <a:pt x="845" y="664"/>
                      <a:pt x="845" y="664"/>
                    </a:cubicBezTo>
                    <a:cubicBezTo>
                      <a:pt x="845" y="664"/>
                      <a:pt x="845" y="664"/>
                      <a:pt x="845" y="664"/>
                    </a:cubicBezTo>
                    <a:cubicBezTo>
                      <a:pt x="845" y="664"/>
                      <a:pt x="845" y="665"/>
                      <a:pt x="844" y="665"/>
                    </a:cubicBezTo>
                    <a:cubicBezTo>
                      <a:pt x="844" y="665"/>
                      <a:pt x="843" y="665"/>
                      <a:pt x="843" y="666"/>
                    </a:cubicBezTo>
                    <a:cubicBezTo>
                      <a:pt x="843" y="666"/>
                      <a:pt x="843" y="666"/>
                      <a:pt x="843" y="666"/>
                    </a:cubicBezTo>
                    <a:cubicBezTo>
                      <a:pt x="843" y="666"/>
                      <a:pt x="843" y="666"/>
                      <a:pt x="843" y="666"/>
                    </a:cubicBezTo>
                    <a:cubicBezTo>
                      <a:pt x="843" y="666"/>
                      <a:pt x="843" y="667"/>
                      <a:pt x="843" y="667"/>
                    </a:cubicBezTo>
                    <a:cubicBezTo>
                      <a:pt x="843" y="666"/>
                      <a:pt x="843" y="666"/>
                      <a:pt x="844" y="666"/>
                    </a:cubicBezTo>
                    <a:cubicBezTo>
                      <a:pt x="844" y="666"/>
                      <a:pt x="844" y="666"/>
                      <a:pt x="845" y="665"/>
                    </a:cubicBezTo>
                    <a:cubicBezTo>
                      <a:pt x="845" y="665"/>
                      <a:pt x="845" y="665"/>
                      <a:pt x="845" y="665"/>
                    </a:cubicBezTo>
                    <a:cubicBezTo>
                      <a:pt x="845" y="665"/>
                      <a:pt x="846" y="664"/>
                      <a:pt x="846" y="664"/>
                    </a:cubicBezTo>
                    <a:cubicBezTo>
                      <a:pt x="846" y="664"/>
                      <a:pt x="846" y="664"/>
                      <a:pt x="846" y="664"/>
                    </a:cubicBezTo>
                    <a:cubicBezTo>
                      <a:pt x="846" y="664"/>
                      <a:pt x="846" y="664"/>
                      <a:pt x="846" y="664"/>
                    </a:cubicBezTo>
                    <a:close/>
                    <a:moveTo>
                      <a:pt x="775" y="608"/>
                    </a:moveTo>
                    <a:cubicBezTo>
                      <a:pt x="775" y="609"/>
                      <a:pt x="774" y="610"/>
                      <a:pt x="775" y="611"/>
                    </a:cubicBezTo>
                    <a:cubicBezTo>
                      <a:pt x="775" y="613"/>
                      <a:pt x="775" y="615"/>
                      <a:pt x="777" y="616"/>
                    </a:cubicBezTo>
                    <a:cubicBezTo>
                      <a:pt x="778" y="618"/>
                      <a:pt x="778" y="619"/>
                      <a:pt x="779" y="621"/>
                    </a:cubicBezTo>
                    <a:cubicBezTo>
                      <a:pt x="779" y="621"/>
                      <a:pt x="779" y="621"/>
                      <a:pt x="779" y="622"/>
                    </a:cubicBezTo>
                    <a:cubicBezTo>
                      <a:pt x="779" y="622"/>
                      <a:pt x="779" y="623"/>
                      <a:pt x="779" y="623"/>
                    </a:cubicBezTo>
                    <a:cubicBezTo>
                      <a:pt x="778" y="624"/>
                      <a:pt x="778" y="625"/>
                      <a:pt x="778" y="626"/>
                    </a:cubicBezTo>
                    <a:cubicBezTo>
                      <a:pt x="778" y="626"/>
                      <a:pt x="778" y="626"/>
                      <a:pt x="778" y="627"/>
                    </a:cubicBezTo>
                    <a:cubicBezTo>
                      <a:pt x="778" y="629"/>
                      <a:pt x="778" y="631"/>
                      <a:pt x="778" y="632"/>
                    </a:cubicBezTo>
                    <a:cubicBezTo>
                      <a:pt x="778" y="636"/>
                      <a:pt x="778" y="639"/>
                      <a:pt x="778" y="642"/>
                    </a:cubicBezTo>
                    <a:cubicBezTo>
                      <a:pt x="778" y="643"/>
                      <a:pt x="778" y="643"/>
                      <a:pt x="777" y="644"/>
                    </a:cubicBezTo>
                    <a:cubicBezTo>
                      <a:pt x="777" y="645"/>
                      <a:pt x="777" y="646"/>
                      <a:pt x="777" y="647"/>
                    </a:cubicBezTo>
                    <a:cubicBezTo>
                      <a:pt x="777" y="648"/>
                      <a:pt x="777" y="649"/>
                      <a:pt x="777" y="649"/>
                    </a:cubicBezTo>
                    <a:cubicBezTo>
                      <a:pt x="778" y="650"/>
                      <a:pt x="778" y="651"/>
                      <a:pt x="778" y="652"/>
                    </a:cubicBezTo>
                    <a:cubicBezTo>
                      <a:pt x="778" y="653"/>
                      <a:pt x="778" y="654"/>
                      <a:pt x="778" y="655"/>
                    </a:cubicBezTo>
                    <a:cubicBezTo>
                      <a:pt x="777" y="657"/>
                      <a:pt x="777" y="658"/>
                      <a:pt x="777" y="659"/>
                    </a:cubicBezTo>
                    <a:cubicBezTo>
                      <a:pt x="777" y="660"/>
                      <a:pt x="777" y="661"/>
                      <a:pt x="778" y="662"/>
                    </a:cubicBezTo>
                    <a:cubicBezTo>
                      <a:pt x="778" y="662"/>
                      <a:pt x="778" y="663"/>
                      <a:pt x="778" y="663"/>
                    </a:cubicBezTo>
                    <a:cubicBezTo>
                      <a:pt x="778" y="663"/>
                      <a:pt x="778" y="664"/>
                      <a:pt x="777" y="664"/>
                    </a:cubicBezTo>
                    <a:cubicBezTo>
                      <a:pt x="777" y="666"/>
                      <a:pt x="776" y="667"/>
                      <a:pt x="776" y="668"/>
                    </a:cubicBezTo>
                    <a:cubicBezTo>
                      <a:pt x="776" y="669"/>
                      <a:pt x="776" y="669"/>
                      <a:pt x="776" y="669"/>
                    </a:cubicBezTo>
                    <a:cubicBezTo>
                      <a:pt x="776" y="670"/>
                      <a:pt x="776" y="671"/>
                      <a:pt x="776" y="672"/>
                    </a:cubicBezTo>
                    <a:cubicBezTo>
                      <a:pt x="776" y="672"/>
                      <a:pt x="776" y="672"/>
                      <a:pt x="776" y="672"/>
                    </a:cubicBezTo>
                    <a:cubicBezTo>
                      <a:pt x="776" y="672"/>
                      <a:pt x="776" y="673"/>
                      <a:pt x="776" y="673"/>
                    </a:cubicBezTo>
                    <a:cubicBezTo>
                      <a:pt x="776" y="673"/>
                      <a:pt x="777" y="674"/>
                      <a:pt x="777" y="674"/>
                    </a:cubicBezTo>
                    <a:cubicBezTo>
                      <a:pt x="778" y="674"/>
                      <a:pt x="779" y="673"/>
                      <a:pt x="779" y="672"/>
                    </a:cubicBezTo>
                    <a:cubicBezTo>
                      <a:pt x="779" y="671"/>
                      <a:pt x="780" y="670"/>
                      <a:pt x="780" y="668"/>
                    </a:cubicBezTo>
                    <a:cubicBezTo>
                      <a:pt x="780" y="667"/>
                      <a:pt x="781" y="667"/>
                      <a:pt x="782" y="667"/>
                    </a:cubicBezTo>
                    <a:cubicBezTo>
                      <a:pt x="782" y="668"/>
                      <a:pt x="783" y="668"/>
                      <a:pt x="784" y="668"/>
                    </a:cubicBezTo>
                    <a:cubicBezTo>
                      <a:pt x="785" y="668"/>
                      <a:pt x="786" y="669"/>
                      <a:pt x="786" y="669"/>
                    </a:cubicBezTo>
                    <a:cubicBezTo>
                      <a:pt x="787" y="670"/>
                      <a:pt x="787" y="672"/>
                      <a:pt x="787" y="673"/>
                    </a:cubicBezTo>
                    <a:cubicBezTo>
                      <a:pt x="788" y="672"/>
                      <a:pt x="788" y="671"/>
                      <a:pt x="788" y="670"/>
                    </a:cubicBezTo>
                    <a:cubicBezTo>
                      <a:pt x="788" y="669"/>
                      <a:pt x="787" y="668"/>
                      <a:pt x="787" y="667"/>
                    </a:cubicBezTo>
                    <a:cubicBezTo>
                      <a:pt x="787" y="666"/>
                      <a:pt x="786" y="666"/>
                      <a:pt x="786" y="666"/>
                    </a:cubicBezTo>
                    <a:cubicBezTo>
                      <a:pt x="786" y="666"/>
                      <a:pt x="786" y="667"/>
                      <a:pt x="785" y="667"/>
                    </a:cubicBezTo>
                    <a:cubicBezTo>
                      <a:pt x="785" y="667"/>
                      <a:pt x="785" y="667"/>
                      <a:pt x="785" y="666"/>
                    </a:cubicBezTo>
                    <a:cubicBezTo>
                      <a:pt x="785" y="666"/>
                      <a:pt x="785" y="666"/>
                      <a:pt x="785" y="666"/>
                    </a:cubicBezTo>
                    <a:cubicBezTo>
                      <a:pt x="785" y="666"/>
                      <a:pt x="785" y="666"/>
                      <a:pt x="785" y="666"/>
                    </a:cubicBezTo>
                    <a:cubicBezTo>
                      <a:pt x="784" y="664"/>
                      <a:pt x="784" y="662"/>
                      <a:pt x="783" y="661"/>
                    </a:cubicBezTo>
                    <a:cubicBezTo>
                      <a:pt x="781" y="659"/>
                      <a:pt x="781" y="657"/>
                      <a:pt x="781" y="655"/>
                    </a:cubicBezTo>
                    <a:cubicBezTo>
                      <a:pt x="781" y="655"/>
                      <a:pt x="781" y="655"/>
                      <a:pt x="781" y="654"/>
                    </a:cubicBezTo>
                    <a:cubicBezTo>
                      <a:pt x="781" y="653"/>
                      <a:pt x="781" y="652"/>
                      <a:pt x="782" y="651"/>
                    </a:cubicBezTo>
                    <a:cubicBezTo>
                      <a:pt x="782" y="649"/>
                      <a:pt x="783" y="648"/>
                      <a:pt x="783" y="646"/>
                    </a:cubicBezTo>
                    <a:cubicBezTo>
                      <a:pt x="783" y="646"/>
                      <a:pt x="784" y="645"/>
                      <a:pt x="784" y="645"/>
                    </a:cubicBezTo>
                    <a:cubicBezTo>
                      <a:pt x="784" y="643"/>
                      <a:pt x="784" y="642"/>
                      <a:pt x="786" y="641"/>
                    </a:cubicBezTo>
                    <a:cubicBezTo>
                      <a:pt x="787" y="641"/>
                      <a:pt x="787" y="641"/>
                      <a:pt x="787" y="641"/>
                    </a:cubicBezTo>
                    <a:cubicBezTo>
                      <a:pt x="787" y="641"/>
                      <a:pt x="786" y="640"/>
                      <a:pt x="786" y="640"/>
                    </a:cubicBezTo>
                    <a:cubicBezTo>
                      <a:pt x="786" y="640"/>
                      <a:pt x="786" y="640"/>
                      <a:pt x="786" y="640"/>
                    </a:cubicBezTo>
                    <a:cubicBezTo>
                      <a:pt x="787" y="640"/>
                      <a:pt x="787" y="640"/>
                      <a:pt x="787" y="640"/>
                    </a:cubicBezTo>
                    <a:cubicBezTo>
                      <a:pt x="788" y="641"/>
                      <a:pt x="790" y="641"/>
                      <a:pt x="791" y="642"/>
                    </a:cubicBezTo>
                    <a:cubicBezTo>
                      <a:pt x="792" y="642"/>
                      <a:pt x="792" y="643"/>
                      <a:pt x="793" y="643"/>
                    </a:cubicBezTo>
                    <a:cubicBezTo>
                      <a:pt x="793" y="643"/>
                      <a:pt x="793" y="643"/>
                      <a:pt x="793" y="643"/>
                    </a:cubicBezTo>
                    <a:cubicBezTo>
                      <a:pt x="793" y="641"/>
                      <a:pt x="792" y="640"/>
                      <a:pt x="792" y="639"/>
                    </a:cubicBezTo>
                    <a:cubicBezTo>
                      <a:pt x="792" y="637"/>
                      <a:pt x="791" y="635"/>
                      <a:pt x="791" y="634"/>
                    </a:cubicBezTo>
                    <a:cubicBezTo>
                      <a:pt x="789" y="630"/>
                      <a:pt x="789" y="626"/>
                      <a:pt x="788" y="622"/>
                    </a:cubicBezTo>
                    <a:cubicBezTo>
                      <a:pt x="788" y="622"/>
                      <a:pt x="788" y="622"/>
                      <a:pt x="788" y="621"/>
                    </a:cubicBezTo>
                    <a:cubicBezTo>
                      <a:pt x="788" y="621"/>
                      <a:pt x="788" y="620"/>
                      <a:pt x="788" y="620"/>
                    </a:cubicBezTo>
                    <a:cubicBezTo>
                      <a:pt x="788" y="619"/>
                      <a:pt x="787" y="618"/>
                      <a:pt x="786" y="617"/>
                    </a:cubicBezTo>
                    <a:cubicBezTo>
                      <a:pt x="786" y="617"/>
                      <a:pt x="786" y="617"/>
                      <a:pt x="786" y="617"/>
                    </a:cubicBezTo>
                    <a:cubicBezTo>
                      <a:pt x="786" y="617"/>
                      <a:pt x="786" y="617"/>
                      <a:pt x="786" y="617"/>
                    </a:cubicBezTo>
                    <a:cubicBezTo>
                      <a:pt x="786" y="617"/>
                      <a:pt x="786" y="616"/>
                      <a:pt x="786" y="616"/>
                    </a:cubicBezTo>
                    <a:cubicBezTo>
                      <a:pt x="786" y="614"/>
                      <a:pt x="785" y="613"/>
                      <a:pt x="785" y="612"/>
                    </a:cubicBezTo>
                    <a:cubicBezTo>
                      <a:pt x="785" y="612"/>
                      <a:pt x="785" y="612"/>
                      <a:pt x="785" y="611"/>
                    </a:cubicBezTo>
                    <a:cubicBezTo>
                      <a:pt x="785" y="611"/>
                      <a:pt x="785" y="610"/>
                      <a:pt x="785" y="610"/>
                    </a:cubicBezTo>
                    <a:cubicBezTo>
                      <a:pt x="785" y="609"/>
                      <a:pt x="785" y="609"/>
                      <a:pt x="785" y="608"/>
                    </a:cubicBezTo>
                    <a:cubicBezTo>
                      <a:pt x="786" y="607"/>
                      <a:pt x="786" y="606"/>
                      <a:pt x="786" y="605"/>
                    </a:cubicBezTo>
                    <a:cubicBezTo>
                      <a:pt x="786" y="604"/>
                      <a:pt x="786" y="603"/>
                      <a:pt x="785" y="602"/>
                    </a:cubicBezTo>
                    <a:cubicBezTo>
                      <a:pt x="785" y="601"/>
                      <a:pt x="784" y="600"/>
                      <a:pt x="784" y="598"/>
                    </a:cubicBezTo>
                    <a:cubicBezTo>
                      <a:pt x="784" y="598"/>
                      <a:pt x="784" y="598"/>
                      <a:pt x="784" y="598"/>
                    </a:cubicBezTo>
                    <a:cubicBezTo>
                      <a:pt x="785" y="597"/>
                      <a:pt x="785" y="597"/>
                      <a:pt x="785" y="596"/>
                    </a:cubicBezTo>
                    <a:cubicBezTo>
                      <a:pt x="785" y="596"/>
                      <a:pt x="785" y="596"/>
                      <a:pt x="785" y="595"/>
                    </a:cubicBezTo>
                    <a:cubicBezTo>
                      <a:pt x="784" y="594"/>
                      <a:pt x="783" y="592"/>
                      <a:pt x="783" y="591"/>
                    </a:cubicBezTo>
                    <a:cubicBezTo>
                      <a:pt x="783" y="590"/>
                      <a:pt x="784" y="589"/>
                      <a:pt x="784" y="589"/>
                    </a:cubicBezTo>
                    <a:cubicBezTo>
                      <a:pt x="784" y="589"/>
                      <a:pt x="784" y="589"/>
                      <a:pt x="784" y="588"/>
                    </a:cubicBezTo>
                    <a:cubicBezTo>
                      <a:pt x="784" y="588"/>
                      <a:pt x="784" y="588"/>
                      <a:pt x="783" y="587"/>
                    </a:cubicBezTo>
                    <a:cubicBezTo>
                      <a:pt x="783" y="587"/>
                      <a:pt x="783" y="586"/>
                      <a:pt x="782" y="585"/>
                    </a:cubicBezTo>
                    <a:cubicBezTo>
                      <a:pt x="782" y="586"/>
                      <a:pt x="781" y="586"/>
                      <a:pt x="781" y="586"/>
                    </a:cubicBezTo>
                    <a:cubicBezTo>
                      <a:pt x="780" y="587"/>
                      <a:pt x="780" y="587"/>
                      <a:pt x="780" y="587"/>
                    </a:cubicBezTo>
                    <a:cubicBezTo>
                      <a:pt x="780" y="588"/>
                      <a:pt x="780" y="588"/>
                      <a:pt x="780" y="589"/>
                    </a:cubicBezTo>
                    <a:cubicBezTo>
                      <a:pt x="781" y="589"/>
                      <a:pt x="781" y="589"/>
                      <a:pt x="781" y="590"/>
                    </a:cubicBezTo>
                    <a:cubicBezTo>
                      <a:pt x="782" y="590"/>
                      <a:pt x="782" y="591"/>
                      <a:pt x="782" y="592"/>
                    </a:cubicBezTo>
                    <a:cubicBezTo>
                      <a:pt x="782" y="593"/>
                      <a:pt x="782" y="594"/>
                      <a:pt x="781" y="594"/>
                    </a:cubicBezTo>
                    <a:cubicBezTo>
                      <a:pt x="781" y="594"/>
                      <a:pt x="781" y="594"/>
                      <a:pt x="781" y="594"/>
                    </a:cubicBezTo>
                    <a:cubicBezTo>
                      <a:pt x="781" y="595"/>
                      <a:pt x="781" y="595"/>
                      <a:pt x="782" y="595"/>
                    </a:cubicBezTo>
                    <a:cubicBezTo>
                      <a:pt x="781" y="595"/>
                      <a:pt x="781" y="595"/>
                      <a:pt x="781" y="595"/>
                    </a:cubicBezTo>
                    <a:cubicBezTo>
                      <a:pt x="781" y="596"/>
                      <a:pt x="781" y="596"/>
                      <a:pt x="780" y="597"/>
                    </a:cubicBezTo>
                    <a:cubicBezTo>
                      <a:pt x="780" y="597"/>
                      <a:pt x="779" y="597"/>
                      <a:pt x="779" y="596"/>
                    </a:cubicBezTo>
                    <a:cubicBezTo>
                      <a:pt x="779" y="595"/>
                      <a:pt x="778" y="595"/>
                      <a:pt x="777" y="596"/>
                    </a:cubicBezTo>
                    <a:cubicBezTo>
                      <a:pt x="776" y="596"/>
                      <a:pt x="776" y="597"/>
                      <a:pt x="776" y="598"/>
                    </a:cubicBezTo>
                    <a:cubicBezTo>
                      <a:pt x="776" y="598"/>
                      <a:pt x="776" y="598"/>
                      <a:pt x="776" y="599"/>
                    </a:cubicBezTo>
                    <a:cubicBezTo>
                      <a:pt x="776" y="600"/>
                      <a:pt x="776" y="600"/>
                      <a:pt x="776" y="601"/>
                    </a:cubicBezTo>
                    <a:cubicBezTo>
                      <a:pt x="776" y="602"/>
                      <a:pt x="776" y="603"/>
                      <a:pt x="776" y="603"/>
                    </a:cubicBezTo>
                    <a:cubicBezTo>
                      <a:pt x="776" y="605"/>
                      <a:pt x="775" y="607"/>
                      <a:pt x="775" y="608"/>
                    </a:cubicBezTo>
                    <a:close/>
                    <a:moveTo>
                      <a:pt x="795" y="646"/>
                    </a:moveTo>
                    <a:cubicBezTo>
                      <a:pt x="795" y="646"/>
                      <a:pt x="795" y="646"/>
                      <a:pt x="795" y="646"/>
                    </a:cubicBezTo>
                    <a:cubicBezTo>
                      <a:pt x="795" y="646"/>
                      <a:pt x="795" y="646"/>
                      <a:pt x="795" y="646"/>
                    </a:cubicBezTo>
                    <a:cubicBezTo>
                      <a:pt x="795" y="646"/>
                      <a:pt x="795" y="646"/>
                      <a:pt x="795" y="646"/>
                    </a:cubicBezTo>
                    <a:cubicBezTo>
                      <a:pt x="795" y="646"/>
                      <a:pt x="795" y="646"/>
                      <a:pt x="795" y="646"/>
                    </a:cubicBezTo>
                    <a:cubicBezTo>
                      <a:pt x="795" y="645"/>
                      <a:pt x="795" y="645"/>
                      <a:pt x="795" y="645"/>
                    </a:cubicBezTo>
                    <a:cubicBezTo>
                      <a:pt x="795" y="645"/>
                      <a:pt x="795" y="645"/>
                      <a:pt x="795" y="645"/>
                    </a:cubicBezTo>
                    <a:cubicBezTo>
                      <a:pt x="795" y="645"/>
                      <a:pt x="795" y="645"/>
                      <a:pt x="795" y="645"/>
                    </a:cubicBezTo>
                    <a:cubicBezTo>
                      <a:pt x="795" y="645"/>
                      <a:pt x="795" y="645"/>
                      <a:pt x="795" y="645"/>
                    </a:cubicBezTo>
                    <a:cubicBezTo>
                      <a:pt x="794" y="645"/>
                      <a:pt x="794" y="645"/>
                      <a:pt x="794" y="645"/>
                    </a:cubicBezTo>
                    <a:cubicBezTo>
                      <a:pt x="794" y="645"/>
                      <a:pt x="794" y="645"/>
                      <a:pt x="794" y="645"/>
                    </a:cubicBezTo>
                    <a:cubicBezTo>
                      <a:pt x="794" y="645"/>
                      <a:pt x="795" y="646"/>
                      <a:pt x="795" y="646"/>
                    </a:cubicBezTo>
                    <a:cubicBezTo>
                      <a:pt x="795" y="646"/>
                      <a:pt x="795" y="646"/>
                      <a:pt x="795" y="646"/>
                    </a:cubicBezTo>
                    <a:close/>
                    <a:moveTo>
                      <a:pt x="751" y="577"/>
                    </a:moveTo>
                    <a:cubicBezTo>
                      <a:pt x="750" y="577"/>
                      <a:pt x="749" y="576"/>
                      <a:pt x="749" y="576"/>
                    </a:cubicBezTo>
                    <a:cubicBezTo>
                      <a:pt x="748" y="576"/>
                      <a:pt x="747" y="576"/>
                      <a:pt x="747" y="577"/>
                    </a:cubicBezTo>
                    <a:cubicBezTo>
                      <a:pt x="746" y="578"/>
                      <a:pt x="745" y="579"/>
                      <a:pt x="745" y="580"/>
                    </a:cubicBezTo>
                    <a:cubicBezTo>
                      <a:pt x="745" y="580"/>
                      <a:pt x="745" y="580"/>
                      <a:pt x="745" y="581"/>
                    </a:cubicBezTo>
                    <a:cubicBezTo>
                      <a:pt x="745" y="581"/>
                      <a:pt x="745" y="581"/>
                      <a:pt x="745" y="581"/>
                    </a:cubicBezTo>
                    <a:cubicBezTo>
                      <a:pt x="745" y="581"/>
                      <a:pt x="745" y="581"/>
                      <a:pt x="745" y="581"/>
                    </a:cubicBezTo>
                    <a:cubicBezTo>
                      <a:pt x="746" y="581"/>
                      <a:pt x="746" y="580"/>
                      <a:pt x="747" y="580"/>
                    </a:cubicBezTo>
                    <a:cubicBezTo>
                      <a:pt x="747" y="581"/>
                      <a:pt x="747" y="581"/>
                      <a:pt x="747" y="581"/>
                    </a:cubicBezTo>
                    <a:cubicBezTo>
                      <a:pt x="747" y="581"/>
                      <a:pt x="747" y="581"/>
                      <a:pt x="748" y="582"/>
                    </a:cubicBezTo>
                    <a:cubicBezTo>
                      <a:pt x="748" y="582"/>
                      <a:pt x="748" y="582"/>
                      <a:pt x="749" y="581"/>
                    </a:cubicBezTo>
                    <a:cubicBezTo>
                      <a:pt x="750" y="581"/>
                      <a:pt x="750" y="579"/>
                      <a:pt x="752" y="578"/>
                    </a:cubicBezTo>
                    <a:cubicBezTo>
                      <a:pt x="752" y="578"/>
                      <a:pt x="752" y="578"/>
                      <a:pt x="752" y="578"/>
                    </a:cubicBezTo>
                    <a:cubicBezTo>
                      <a:pt x="752" y="578"/>
                      <a:pt x="752" y="578"/>
                      <a:pt x="751" y="578"/>
                    </a:cubicBezTo>
                    <a:cubicBezTo>
                      <a:pt x="751" y="578"/>
                      <a:pt x="751" y="578"/>
                      <a:pt x="751" y="578"/>
                    </a:cubicBezTo>
                    <a:cubicBezTo>
                      <a:pt x="751" y="577"/>
                      <a:pt x="751" y="577"/>
                      <a:pt x="751" y="577"/>
                    </a:cubicBezTo>
                    <a:close/>
                    <a:moveTo>
                      <a:pt x="744" y="577"/>
                    </a:moveTo>
                    <a:cubicBezTo>
                      <a:pt x="743" y="577"/>
                      <a:pt x="742" y="578"/>
                      <a:pt x="741" y="579"/>
                    </a:cubicBezTo>
                    <a:cubicBezTo>
                      <a:pt x="741" y="579"/>
                      <a:pt x="741" y="579"/>
                      <a:pt x="742" y="579"/>
                    </a:cubicBezTo>
                    <a:cubicBezTo>
                      <a:pt x="742" y="579"/>
                      <a:pt x="742" y="579"/>
                      <a:pt x="743" y="579"/>
                    </a:cubicBezTo>
                    <a:cubicBezTo>
                      <a:pt x="743" y="579"/>
                      <a:pt x="743" y="579"/>
                      <a:pt x="743" y="579"/>
                    </a:cubicBezTo>
                    <a:cubicBezTo>
                      <a:pt x="743" y="579"/>
                      <a:pt x="743" y="579"/>
                      <a:pt x="743" y="579"/>
                    </a:cubicBezTo>
                    <a:cubicBezTo>
                      <a:pt x="743" y="579"/>
                      <a:pt x="743" y="579"/>
                      <a:pt x="743" y="579"/>
                    </a:cubicBezTo>
                    <a:cubicBezTo>
                      <a:pt x="743" y="579"/>
                      <a:pt x="743" y="579"/>
                      <a:pt x="743" y="579"/>
                    </a:cubicBezTo>
                    <a:cubicBezTo>
                      <a:pt x="744" y="579"/>
                      <a:pt x="744" y="578"/>
                      <a:pt x="744" y="578"/>
                    </a:cubicBezTo>
                    <a:cubicBezTo>
                      <a:pt x="744" y="578"/>
                      <a:pt x="744" y="578"/>
                      <a:pt x="744" y="577"/>
                    </a:cubicBezTo>
                    <a:cubicBezTo>
                      <a:pt x="745" y="577"/>
                      <a:pt x="744" y="577"/>
                      <a:pt x="744" y="577"/>
                    </a:cubicBezTo>
                    <a:cubicBezTo>
                      <a:pt x="744" y="577"/>
                      <a:pt x="744" y="577"/>
                      <a:pt x="744" y="57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3" name="Freeform 840">
                <a:extLst>
                  <a:ext uri="{FF2B5EF4-FFF2-40B4-BE49-F238E27FC236}">
                    <a16:creationId xmlns:a16="http://schemas.microsoft.com/office/drawing/2014/main" id="{63C27777-2905-281E-CE16-E9218D3D328C}"/>
                  </a:ext>
                </a:extLst>
              </p:cNvPr>
              <p:cNvSpPr>
                <a:spLocks noEditPoints="1"/>
              </p:cNvSpPr>
              <p:nvPr/>
            </p:nvSpPr>
            <p:spPr bwMode="auto">
              <a:xfrm>
                <a:off x="8667750" y="4279900"/>
                <a:ext cx="295275" cy="495300"/>
              </a:xfrm>
              <a:custGeom>
                <a:avLst/>
                <a:gdLst>
                  <a:gd name="T0" fmla="*/ 25 w 71"/>
                  <a:gd name="T1" fmla="*/ 115 h 119"/>
                  <a:gd name="T2" fmla="*/ 23 w 71"/>
                  <a:gd name="T3" fmla="*/ 115 h 119"/>
                  <a:gd name="T4" fmla="*/ 22 w 71"/>
                  <a:gd name="T5" fmla="*/ 116 h 119"/>
                  <a:gd name="T6" fmla="*/ 23 w 71"/>
                  <a:gd name="T7" fmla="*/ 115 h 119"/>
                  <a:gd name="T8" fmla="*/ 25 w 71"/>
                  <a:gd name="T9" fmla="*/ 115 h 119"/>
                  <a:gd name="T10" fmla="*/ 25 w 71"/>
                  <a:gd name="T11" fmla="*/ 115 h 119"/>
                  <a:gd name="T12" fmla="*/ 25 w 71"/>
                  <a:gd name="T13" fmla="*/ 114 h 119"/>
                  <a:gd name="T14" fmla="*/ 26 w 71"/>
                  <a:gd name="T15" fmla="*/ 115 h 119"/>
                  <a:gd name="T16" fmla="*/ 20 w 71"/>
                  <a:gd name="T17" fmla="*/ 119 h 119"/>
                  <a:gd name="T18" fmla="*/ 23 w 71"/>
                  <a:gd name="T19" fmla="*/ 115 h 119"/>
                  <a:gd name="T20" fmla="*/ 22 w 71"/>
                  <a:gd name="T21" fmla="*/ 117 h 119"/>
                  <a:gd name="T22" fmla="*/ 23 w 71"/>
                  <a:gd name="T23" fmla="*/ 117 h 119"/>
                  <a:gd name="T24" fmla="*/ 26 w 71"/>
                  <a:gd name="T25" fmla="*/ 113 h 119"/>
                  <a:gd name="T26" fmla="*/ 28 w 71"/>
                  <a:gd name="T27" fmla="*/ 115 h 119"/>
                  <a:gd name="T28" fmla="*/ 25 w 71"/>
                  <a:gd name="T29" fmla="*/ 114 h 119"/>
                  <a:gd name="T30" fmla="*/ 25 w 71"/>
                  <a:gd name="T31" fmla="*/ 116 h 119"/>
                  <a:gd name="T32" fmla="*/ 31 w 71"/>
                  <a:gd name="T33" fmla="*/ 111 h 119"/>
                  <a:gd name="T34" fmla="*/ 36 w 71"/>
                  <a:gd name="T35" fmla="*/ 107 h 119"/>
                  <a:gd name="T36" fmla="*/ 55 w 71"/>
                  <a:gd name="T37" fmla="*/ 68 h 119"/>
                  <a:gd name="T38" fmla="*/ 49 w 71"/>
                  <a:gd name="T39" fmla="*/ 84 h 119"/>
                  <a:gd name="T40" fmla="*/ 35 w 71"/>
                  <a:gd name="T41" fmla="*/ 58 h 119"/>
                  <a:gd name="T42" fmla="*/ 36 w 71"/>
                  <a:gd name="T43" fmla="*/ 59 h 119"/>
                  <a:gd name="T44" fmla="*/ 35 w 71"/>
                  <a:gd name="T45" fmla="*/ 62 h 119"/>
                  <a:gd name="T46" fmla="*/ 36 w 71"/>
                  <a:gd name="T47" fmla="*/ 62 h 119"/>
                  <a:gd name="T48" fmla="*/ 37 w 71"/>
                  <a:gd name="T49" fmla="*/ 59 h 119"/>
                  <a:gd name="T50" fmla="*/ 37 w 71"/>
                  <a:gd name="T51" fmla="*/ 59 h 119"/>
                  <a:gd name="T52" fmla="*/ 39 w 71"/>
                  <a:gd name="T53" fmla="*/ 52 h 119"/>
                  <a:gd name="T54" fmla="*/ 25 w 71"/>
                  <a:gd name="T55" fmla="*/ 51 h 119"/>
                  <a:gd name="T56" fmla="*/ 18 w 71"/>
                  <a:gd name="T57" fmla="*/ 36 h 119"/>
                  <a:gd name="T58" fmla="*/ 22 w 71"/>
                  <a:gd name="T59" fmla="*/ 20 h 119"/>
                  <a:gd name="T60" fmla="*/ 36 w 71"/>
                  <a:gd name="T61" fmla="*/ 25 h 119"/>
                  <a:gd name="T62" fmla="*/ 33 w 71"/>
                  <a:gd name="T63" fmla="*/ 47 h 119"/>
                  <a:gd name="T64" fmla="*/ 48 w 71"/>
                  <a:gd name="T65" fmla="*/ 50 h 119"/>
                  <a:gd name="T66" fmla="*/ 36 w 71"/>
                  <a:gd name="T67" fmla="*/ 48 h 119"/>
                  <a:gd name="T68" fmla="*/ 18 w 71"/>
                  <a:gd name="T69" fmla="*/ 72 h 119"/>
                  <a:gd name="T70" fmla="*/ 7 w 71"/>
                  <a:gd name="T71" fmla="*/ 86 h 119"/>
                  <a:gd name="T72" fmla="*/ 23 w 71"/>
                  <a:gd name="T73" fmla="*/ 66 h 119"/>
                  <a:gd name="T74" fmla="*/ 22 w 71"/>
                  <a:gd name="T75" fmla="*/ 66 h 119"/>
                  <a:gd name="T76" fmla="*/ 1 w 71"/>
                  <a:gd name="T77" fmla="*/ 96 h 119"/>
                  <a:gd name="T78" fmla="*/ 29 w 71"/>
                  <a:gd name="T79" fmla="*/ 62 h 119"/>
                  <a:gd name="T80" fmla="*/ 57 w 71"/>
                  <a:gd name="T81" fmla="*/ 66 h 119"/>
                  <a:gd name="T82" fmla="*/ 62 w 71"/>
                  <a:gd name="T83" fmla="*/ 66 h 119"/>
                  <a:gd name="T84" fmla="*/ 46 w 71"/>
                  <a:gd name="T85" fmla="*/ 77 h 119"/>
                  <a:gd name="T86" fmla="*/ 47 w 71"/>
                  <a:gd name="T87" fmla="*/ 58 h 119"/>
                  <a:gd name="T88" fmla="*/ 43 w 71"/>
                  <a:gd name="T89" fmla="*/ 56 h 119"/>
                  <a:gd name="T90" fmla="*/ 64 w 71"/>
                  <a:gd name="T91" fmla="*/ 70 h 119"/>
                  <a:gd name="T92" fmla="*/ 68 w 71"/>
                  <a:gd name="T93" fmla="*/ 102 h 119"/>
                  <a:gd name="T94" fmla="*/ 60 w 71"/>
                  <a:gd name="T95" fmla="*/ 108 h 119"/>
                  <a:gd name="T96" fmla="*/ 45 w 71"/>
                  <a:gd name="T97" fmla="*/ 95 h 119"/>
                  <a:gd name="T98" fmla="*/ 38 w 71"/>
                  <a:gd name="T99" fmla="*/ 96 h 119"/>
                  <a:gd name="T100" fmla="*/ 51 w 71"/>
                  <a:gd name="T101" fmla="*/ 92 h 119"/>
                  <a:gd name="T102" fmla="*/ 64 w 71"/>
                  <a:gd name="T103" fmla="*/ 80 h 119"/>
                  <a:gd name="T104" fmla="*/ 65 w 71"/>
                  <a:gd name="T105" fmla="*/ 98 h 119"/>
                  <a:gd name="T106" fmla="*/ 47 w 71"/>
                  <a:gd name="T107" fmla="*/ 77 h 119"/>
                  <a:gd name="T108" fmla="*/ 52 w 71"/>
                  <a:gd name="T109" fmla="*/ 50 h 119"/>
                  <a:gd name="T110" fmla="*/ 32 w 71"/>
                  <a:gd name="T111" fmla="*/ 13 h 119"/>
                  <a:gd name="T112" fmla="*/ 55 w 71"/>
                  <a:gd name="T113" fmla="*/ 77 h 119"/>
                  <a:gd name="T114" fmla="*/ 33 w 71"/>
                  <a:gd name="T115" fmla="*/ 1 h 119"/>
                  <a:gd name="T116" fmla="*/ 33 w 71"/>
                  <a:gd name="T117" fmla="*/ 6 h 119"/>
                  <a:gd name="T118" fmla="*/ 35 w 71"/>
                  <a:gd name="T119" fmla="*/ 4 h 119"/>
                  <a:gd name="T120" fmla="*/ 34 w 71"/>
                  <a:gd name="T121" fmla="*/ 1 h 119"/>
                  <a:gd name="T122" fmla="*/ 36 w 71"/>
                  <a:gd name="T123" fmla="*/ 65 h 119"/>
                  <a:gd name="T124" fmla="*/ 32 w 71"/>
                  <a:gd name="T125" fmla="*/ 6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119">
                    <a:moveTo>
                      <a:pt x="39" y="101"/>
                    </a:moveTo>
                    <a:cubicBezTo>
                      <a:pt x="39" y="101"/>
                      <a:pt x="39" y="101"/>
                      <a:pt x="40" y="101"/>
                    </a:cubicBezTo>
                    <a:cubicBezTo>
                      <a:pt x="40" y="101"/>
                      <a:pt x="40" y="101"/>
                      <a:pt x="40" y="101"/>
                    </a:cubicBezTo>
                    <a:cubicBezTo>
                      <a:pt x="40" y="101"/>
                      <a:pt x="40" y="101"/>
                      <a:pt x="40" y="101"/>
                    </a:cubicBezTo>
                    <a:cubicBezTo>
                      <a:pt x="39" y="101"/>
                      <a:pt x="39" y="101"/>
                      <a:pt x="39" y="101"/>
                    </a:cubicBezTo>
                    <a:cubicBezTo>
                      <a:pt x="39" y="101"/>
                      <a:pt x="39" y="101"/>
                      <a:pt x="39" y="101"/>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4" y="115"/>
                      <a:pt x="24" y="115"/>
                    </a:cubicBezTo>
                    <a:cubicBezTo>
                      <a:pt x="25"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6"/>
                      <a:pt x="23" y="116"/>
                    </a:cubicBezTo>
                    <a:cubicBezTo>
                      <a:pt x="23" y="116"/>
                      <a:pt x="23" y="115"/>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5" y="114"/>
                      <a:pt x="25" y="114"/>
                    </a:cubicBezTo>
                    <a:cubicBezTo>
                      <a:pt x="25" y="114"/>
                      <a:pt x="25" y="114"/>
                      <a:pt x="25" y="114"/>
                    </a:cubicBezTo>
                    <a:cubicBezTo>
                      <a:pt x="24"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2" y="116"/>
                    </a:moveTo>
                    <a:cubicBezTo>
                      <a:pt x="22" y="116"/>
                      <a:pt x="22" y="116"/>
                      <a:pt x="22" y="116"/>
                    </a:cubicBezTo>
                    <a:cubicBezTo>
                      <a:pt x="22" y="116"/>
                      <a:pt x="22" y="116"/>
                      <a:pt x="22" y="116"/>
                    </a:cubicBezTo>
                    <a:close/>
                    <a:moveTo>
                      <a:pt x="23" y="116"/>
                    </a:moveTo>
                    <a:cubicBezTo>
                      <a:pt x="23" y="116"/>
                      <a:pt x="23" y="116"/>
                      <a:pt x="23" y="116"/>
                    </a:cubicBezTo>
                    <a:cubicBezTo>
                      <a:pt x="23" y="116"/>
                      <a:pt x="23" y="116"/>
                      <a:pt x="23" y="116"/>
                    </a:cubicBezTo>
                    <a:close/>
                    <a:moveTo>
                      <a:pt x="25" y="115"/>
                    </a:moveTo>
                    <a:cubicBezTo>
                      <a:pt x="25" y="115"/>
                      <a:pt x="25" y="115"/>
                      <a:pt x="25" y="115"/>
                    </a:cubicBezTo>
                    <a:cubicBezTo>
                      <a:pt x="25" y="115"/>
                      <a:pt x="25" y="115"/>
                      <a:pt x="25"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6"/>
                    </a:moveTo>
                    <a:cubicBezTo>
                      <a:pt x="25" y="116"/>
                      <a:pt x="25" y="116"/>
                      <a:pt x="25" y="116"/>
                    </a:cubicBezTo>
                    <a:cubicBezTo>
                      <a:pt x="25" y="116"/>
                      <a:pt x="25" y="116"/>
                      <a:pt x="25" y="116"/>
                    </a:cubicBezTo>
                    <a:cubicBezTo>
                      <a:pt x="25" y="116"/>
                      <a:pt x="25" y="116"/>
                      <a:pt x="25" y="116"/>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4"/>
                    </a:moveTo>
                    <a:cubicBezTo>
                      <a:pt x="26" y="114"/>
                      <a:pt x="26" y="114"/>
                      <a:pt x="25" y="114"/>
                    </a:cubicBezTo>
                    <a:cubicBezTo>
                      <a:pt x="25" y="114"/>
                      <a:pt x="25" y="114"/>
                      <a:pt x="25" y="114"/>
                    </a:cubicBezTo>
                    <a:cubicBezTo>
                      <a:pt x="25" y="114"/>
                      <a:pt x="25"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4"/>
                      <a:pt x="26" y="114"/>
                      <a:pt x="26" y="114"/>
                    </a:cubicBezTo>
                    <a:cubicBezTo>
                      <a:pt x="26" y="114"/>
                      <a:pt x="26" y="114"/>
                      <a:pt x="26" y="114"/>
                    </a:cubicBezTo>
                    <a:cubicBezTo>
                      <a:pt x="26" y="114"/>
                      <a:pt x="25" y="114"/>
                      <a:pt x="25" y="115"/>
                    </a:cubicBezTo>
                    <a:cubicBezTo>
                      <a:pt x="25" y="115"/>
                      <a:pt x="25" y="115"/>
                      <a:pt x="25"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6" y="114"/>
                    </a:moveTo>
                    <a:cubicBezTo>
                      <a:pt x="26" y="114"/>
                      <a:pt x="26" y="114"/>
                      <a:pt x="26" y="114"/>
                    </a:cubicBezTo>
                    <a:cubicBezTo>
                      <a:pt x="26" y="114"/>
                      <a:pt x="26" y="114"/>
                      <a:pt x="26"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4"/>
                    </a:cubicBezTo>
                    <a:cubicBezTo>
                      <a:pt x="26" y="115"/>
                      <a:pt x="26" y="115"/>
                      <a:pt x="26"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6" y="114"/>
                    </a:moveTo>
                    <a:cubicBezTo>
                      <a:pt x="26" y="114"/>
                      <a:pt x="26" y="114"/>
                      <a:pt x="26" y="114"/>
                    </a:cubicBezTo>
                    <a:cubicBezTo>
                      <a:pt x="26" y="114"/>
                      <a:pt x="26" y="114"/>
                      <a:pt x="26" y="114"/>
                    </a:cubicBezTo>
                    <a:cubicBezTo>
                      <a:pt x="26" y="114"/>
                      <a:pt x="26" y="113"/>
                      <a:pt x="25" y="114"/>
                    </a:cubicBezTo>
                    <a:cubicBezTo>
                      <a:pt x="25" y="114"/>
                      <a:pt x="25" y="114"/>
                      <a:pt x="25" y="114"/>
                    </a:cubicBezTo>
                    <a:cubicBezTo>
                      <a:pt x="25" y="114"/>
                      <a:pt x="25" y="114"/>
                      <a:pt x="25" y="114"/>
                    </a:cubicBezTo>
                    <a:cubicBezTo>
                      <a:pt x="25" y="114"/>
                      <a:pt x="25" y="114"/>
                      <a:pt x="25" y="114"/>
                    </a:cubicBezTo>
                    <a:cubicBezTo>
                      <a:pt x="25" y="114"/>
                      <a:pt x="26" y="114"/>
                      <a:pt x="26" y="114"/>
                    </a:cubicBezTo>
                    <a:cubicBezTo>
                      <a:pt x="26" y="114"/>
                      <a:pt x="26" y="114"/>
                      <a:pt x="26" y="114"/>
                    </a:cubicBezTo>
                    <a:cubicBezTo>
                      <a:pt x="26" y="114"/>
                      <a:pt x="26" y="114"/>
                      <a:pt x="26" y="114"/>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2" y="116"/>
                    </a:move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lose/>
                    <a:moveTo>
                      <a:pt x="24" y="116"/>
                    </a:moveTo>
                    <a:cubicBezTo>
                      <a:pt x="24" y="116"/>
                      <a:pt x="24" y="116"/>
                      <a:pt x="24" y="116"/>
                    </a:cubicBezTo>
                    <a:cubicBezTo>
                      <a:pt x="24" y="116"/>
                      <a:pt x="24" y="116"/>
                      <a:pt x="24" y="116"/>
                    </a:cubicBezTo>
                    <a:close/>
                    <a:moveTo>
                      <a:pt x="20" y="117"/>
                    </a:moveTo>
                    <a:cubicBezTo>
                      <a:pt x="20" y="117"/>
                      <a:pt x="20" y="117"/>
                      <a:pt x="20" y="117"/>
                    </a:cubicBezTo>
                    <a:cubicBezTo>
                      <a:pt x="20" y="117"/>
                      <a:pt x="20" y="117"/>
                      <a:pt x="20" y="117"/>
                    </a:cubicBezTo>
                    <a:cubicBezTo>
                      <a:pt x="20" y="117"/>
                      <a:pt x="20" y="118"/>
                      <a:pt x="20" y="118"/>
                    </a:cubicBezTo>
                    <a:cubicBezTo>
                      <a:pt x="20" y="118"/>
                      <a:pt x="20" y="117"/>
                      <a:pt x="20" y="117"/>
                    </a:cubicBezTo>
                    <a:close/>
                    <a:moveTo>
                      <a:pt x="20" y="118"/>
                    </a:moveTo>
                    <a:cubicBezTo>
                      <a:pt x="20" y="118"/>
                      <a:pt x="20" y="118"/>
                      <a:pt x="20" y="118"/>
                    </a:cubicBezTo>
                    <a:cubicBezTo>
                      <a:pt x="20" y="118"/>
                      <a:pt x="20" y="118"/>
                      <a:pt x="20" y="118"/>
                    </a:cubicBezTo>
                    <a:cubicBezTo>
                      <a:pt x="20" y="118"/>
                      <a:pt x="20" y="117"/>
                      <a:pt x="20" y="117"/>
                    </a:cubicBezTo>
                    <a:cubicBezTo>
                      <a:pt x="20" y="117"/>
                      <a:pt x="20" y="117"/>
                      <a:pt x="20" y="117"/>
                    </a:cubicBezTo>
                    <a:cubicBezTo>
                      <a:pt x="20" y="117"/>
                      <a:pt x="20" y="117"/>
                      <a:pt x="20" y="117"/>
                    </a:cubicBezTo>
                    <a:cubicBezTo>
                      <a:pt x="20" y="117"/>
                      <a:pt x="20" y="117"/>
                      <a:pt x="20" y="117"/>
                    </a:cubicBezTo>
                    <a:cubicBezTo>
                      <a:pt x="20" y="117"/>
                      <a:pt x="20" y="117"/>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ubicBezTo>
                      <a:pt x="20" y="118"/>
                      <a:pt x="20" y="118"/>
                      <a:pt x="20" y="118"/>
                    </a:cubicBezTo>
                    <a:close/>
                    <a:moveTo>
                      <a:pt x="23" y="118"/>
                    </a:moveTo>
                    <a:cubicBezTo>
                      <a:pt x="23" y="118"/>
                      <a:pt x="23" y="118"/>
                      <a:pt x="23" y="118"/>
                    </a:cubicBezTo>
                    <a:cubicBezTo>
                      <a:pt x="23" y="118"/>
                      <a:pt x="23" y="118"/>
                      <a:pt x="23" y="118"/>
                    </a:cubicBezTo>
                    <a:cubicBezTo>
                      <a:pt x="23"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3" y="118"/>
                      <a:pt x="23" y="118"/>
                      <a:pt x="23" y="118"/>
                    </a:cubicBezTo>
                    <a:cubicBezTo>
                      <a:pt x="23" y="118"/>
                      <a:pt x="23" y="118"/>
                      <a:pt x="23" y="118"/>
                    </a:cubicBezTo>
                    <a:cubicBezTo>
                      <a:pt x="23" y="118"/>
                      <a:pt x="23" y="118"/>
                      <a:pt x="23" y="118"/>
                    </a:cubicBezTo>
                    <a:cubicBezTo>
                      <a:pt x="23" y="118"/>
                      <a:pt x="23" y="118"/>
                      <a:pt x="23" y="118"/>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19" y="117"/>
                    </a:moveTo>
                    <a:cubicBezTo>
                      <a:pt x="19" y="117"/>
                      <a:pt x="19" y="117"/>
                      <a:pt x="19" y="117"/>
                    </a:cubicBezTo>
                    <a:cubicBezTo>
                      <a:pt x="19" y="117"/>
                      <a:pt x="19" y="117"/>
                      <a:pt x="19" y="117"/>
                    </a:cubicBezTo>
                    <a:cubicBezTo>
                      <a:pt x="20" y="117"/>
                      <a:pt x="20" y="117"/>
                      <a:pt x="20" y="117"/>
                    </a:cubicBezTo>
                    <a:cubicBezTo>
                      <a:pt x="19" y="117"/>
                      <a:pt x="19" y="117"/>
                      <a:pt x="19" y="117"/>
                    </a:cubicBezTo>
                    <a:cubicBezTo>
                      <a:pt x="19" y="117"/>
                      <a:pt x="19" y="117"/>
                      <a:pt x="19" y="117"/>
                    </a:cubicBezTo>
                    <a:cubicBezTo>
                      <a:pt x="19" y="117"/>
                      <a:pt x="19" y="117"/>
                      <a:pt x="19" y="117"/>
                    </a:cubicBezTo>
                    <a:cubicBezTo>
                      <a:pt x="19" y="117"/>
                      <a:pt x="19" y="117"/>
                      <a:pt x="19" y="117"/>
                    </a:cubicBezTo>
                    <a:cubicBezTo>
                      <a:pt x="19" y="117"/>
                      <a:pt x="19" y="117"/>
                      <a:pt x="19" y="117"/>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20" y="118"/>
                    </a:moveTo>
                    <a:cubicBezTo>
                      <a:pt x="20" y="118"/>
                      <a:pt x="20" y="118"/>
                      <a:pt x="20" y="118"/>
                    </a:cubicBezTo>
                    <a:cubicBezTo>
                      <a:pt x="20" y="118"/>
                      <a:pt x="20" y="118"/>
                      <a:pt x="20" y="118"/>
                    </a:cubicBezTo>
                    <a:cubicBezTo>
                      <a:pt x="20" y="118"/>
                      <a:pt x="20" y="118"/>
                      <a:pt x="20" y="118"/>
                    </a:cubicBezTo>
                    <a:cubicBezTo>
                      <a:pt x="20" y="118"/>
                      <a:pt x="20" y="118"/>
                      <a:pt x="20" y="118"/>
                    </a:cubicBezTo>
                    <a:cubicBezTo>
                      <a:pt x="19" y="118"/>
                      <a:pt x="19" y="118"/>
                      <a:pt x="19" y="118"/>
                    </a:cubicBezTo>
                    <a:cubicBezTo>
                      <a:pt x="20" y="118"/>
                      <a:pt x="19" y="118"/>
                      <a:pt x="19" y="118"/>
                    </a:cubicBezTo>
                    <a:cubicBezTo>
                      <a:pt x="19" y="118"/>
                      <a:pt x="19" y="118"/>
                      <a:pt x="19" y="118"/>
                    </a:cubicBezTo>
                    <a:cubicBezTo>
                      <a:pt x="19" y="118"/>
                      <a:pt x="19" y="118"/>
                      <a:pt x="19" y="118"/>
                    </a:cubicBezTo>
                    <a:cubicBezTo>
                      <a:pt x="19" y="118"/>
                      <a:pt x="19" y="118"/>
                      <a:pt x="19" y="118"/>
                    </a:cubicBezTo>
                    <a:cubicBezTo>
                      <a:pt x="20" y="118"/>
                      <a:pt x="20" y="118"/>
                      <a:pt x="20" y="118"/>
                    </a:cubicBezTo>
                    <a:cubicBezTo>
                      <a:pt x="20" y="118"/>
                      <a:pt x="20" y="118"/>
                      <a:pt x="20" y="118"/>
                    </a:cubicBezTo>
                    <a:cubicBezTo>
                      <a:pt x="20" y="118"/>
                      <a:pt x="20" y="119"/>
                      <a:pt x="20" y="119"/>
                    </a:cubicBezTo>
                    <a:cubicBezTo>
                      <a:pt x="19" y="119"/>
                      <a:pt x="19" y="119"/>
                      <a:pt x="20" y="119"/>
                    </a:cubicBezTo>
                    <a:cubicBezTo>
                      <a:pt x="20" y="119"/>
                      <a:pt x="20" y="119"/>
                      <a:pt x="20" y="119"/>
                    </a:cubicBezTo>
                    <a:cubicBezTo>
                      <a:pt x="19" y="119"/>
                      <a:pt x="19" y="119"/>
                      <a:pt x="19" y="119"/>
                    </a:cubicBezTo>
                    <a:cubicBezTo>
                      <a:pt x="19" y="119"/>
                      <a:pt x="19" y="119"/>
                      <a:pt x="19" y="119"/>
                    </a:cubicBezTo>
                    <a:cubicBezTo>
                      <a:pt x="19" y="119"/>
                      <a:pt x="19"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lose/>
                    <a:moveTo>
                      <a:pt x="22" y="117"/>
                    </a:moveTo>
                    <a:cubicBezTo>
                      <a:pt x="22" y="117"/>
                      <a:pt x="22" y="117"/>
                      <a:pt x="23" y="117"/>
                    </a:cubicBezTo>
                    <a:cubicBezTo>
                      <a:pt x="23" y="117"/>
                      <a:pt x="23" y="117"/>
                      <a:pt x="23" y="117"/>
                    </a:cubicBezTo>
                    <a:cubicBezTo>
                      <a:pt x="23" y="117"/>
                      <a:pt x="23" y="117"/>
                      <a:pt x="23" y="117"/>
                    </a:cubicBezTo>
                    <a:cubicBezTo>
                      <a:pt x="23" y="117"/>
                      <a:pt x="23"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lose/>
                    <a:moveTo>
                      <a:pt x="24" y="116"/>
                    </a:moveTo>
                    <a:cubicBezTo>
                      <a:pt x="24" y="116"/>
                      <a:pt x="24" y="116"/>
                      <a:pt x="24" y="116"/>
                    </a:cubicBezTo>
                    <a:cubicBezTo>
                      <a:pt x="24" y="116"/>
                      <a:pt x="24" y="116"/>
                      <a:pt x="24" y="116"/>
                    </a:cubicBezTo>
                    <a:cubicBezTo>
                      <a:pt x="24"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7"/>
                    </a:cubicBezTo>
                    <a:cubicBezTo>
                      <a:pt x="23" y="117"/>
                      <a:pt x="23" y="117"/>
                      <a:pt x="23" y="117"/>
                    </a:cubicBezTo>
                    <a:cubicBezTo>
                      <a:pt x="23" y="117"/>
                      <a:pt x="23" y="117"/>
                      <a:pt x="23" y="117"/>
                    </a:cubicBezTo>
                    <a:cubicBezTo>
                      <a:pt x="23" y="117"/>
                      <a:pt x="23" y="117"/>
                      <a:pt x="23" y="117"/>
                    </a:cubicBezTo>
                    <a:cubicBezTo>
                      <a:pt x="23" y="117"/>
                      <a:pt x="23" y="117"/>
                      <a:pt x="23" y="117"/>
                    </a:cubicBezTo>
                    <a:cubicBezTo>
                      <a:pt x="23" y="117"/>
                      <a:pt x="23" y="117"/>
                      <a:pt x="24" y="117"/>
                    </a:cubicBezTo>
                    <a:cubicBezTo>
                      <a:pt x="24" y="117"/>
                      <a:pt x="24" y="117"/>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4" y="115"/>
                    </a:move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7"/>
                    </a:move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7"/>
                    </a:moveTo>
                    <a:cubicBezTo>
                      <a:pt x="23" y="117"/>
                      <a:pt x="23" y="117"/>
                      <a:pt x="23" y="117"/>
                    </a:cubicBezTo>
                    <a:cubicBezTo>
                      <a:pt x="23" y="117"/>
                      <a:pt x="23" y="117"/>
                      <a:pt x="23" y="117"/>
                    </a:cubicBezTo>
                    <a:cubicBezTo>
                      <a:pt x="23" y="117"/>
                      <a:pt x="23" y="117"/>
                      <a:pt x="23" y="117"/>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8" y="115"/>
                    </a:cubicBezTo>
                    <a:cubicBezTo>
                      <a:pt x="28" y="115"/>
                      <a:pt x="28" y="115"/>
                      <a:pt x="28" y="115"/>
                    </a:cubicBezTo>
                    <a:cubicBezTo>
                      <a:pt x="28" y="115"/>
                      <a:pt x="28" y="115"/>
                      <a:pt x="28" y="115"/>
                    </a:cubicBezTo>
                    <a:cubicBezTo>
                      <a:pt x="28" y="115"/>
                      <a:pt x="28" y="115"/>
                      <a:pt x="28" y="115"/>
                    </a:cubicBezTo>
                    <a:cubicBezTo>
                      <a:pt x="28"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4"/>
                    </a:moveTo>
                    <a:cubicBezTo>
                      <a:pt x="26" y="114"/>
                      <a:pt x="26" y="114"/>
                      <a:pt x="26" y="114"/>
                    </a:cubicBezTo>
                    <a:cubicBezTo>
                      <a:pt x="26" y="114"/>
                      <a:pt x="26" y="114"/>
                      <a:pt x="26" y="115"/>
                    </a:cubicBezTo>
                    <a:cubicBezTo>
                      <a:pt x="26" y="114"/>
                      <a:pt x="26" y="114"/>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4"/>
                    </a:cubicBezTo>
                    <a:cubicBezTo>
                      <a:pt x="26" y="114"/>
                      <a:pt x="26" y="114"/>
                      <a:pt x="26" y="114"/>
                    </a:cubicBezTo>
                    <a:cubicBezTo>
                      <a:pt x="26" y="114"/>
                      <a:pt x="26" y="114"/>
                      <a:pt x="26" y="114"/>
                    </a:cubicBezTo>
                    <a:cubicBezTo>
                      <a:pt x="26" y="114"/>
                      <a:pt x="26" y="114"/>
                      <a:pt x="26" y="114"/>
                    </a:cubicBezTo>
                    <a:close/>
                    <a:moveTo>
                      <a:pt x="28" y="114"/>
                    </a:moveTo>
                    <a:cubicBezTo>
                      <a:pt x="28" y="114"/>
                      <a:pt x="28" y="114"/>
                      <a:pt x="28" y="114"/>
                    </a:cubicBezTo>
                    <a:cubicBezTo>
                      <a:pt x="28" y="114"/>
                      <a:pt x="28" y="114"/>
                      <a:pt x="28" y="114"/>
                    </a:cubicBezTo>
                    <a:cubicBezTo>
                      <a:pt x="28" y="115"/>
                      <a:pt x="28" y="115"/>
                      <a:pt x="28" y="115"/>
                    </a:cubicBezTo>
                    <a:cubicBezTo>
                      <a:pt x="28" y="115"/>
                      <a:pt x="28" y="115"/>
                      <a:pt x="28" y="114"/>
                    </a:cubicBezTo>
                    <a:cubicBezTo>
                      <a:pt x="28" y="114"/>
                      <a:pt x="28" y="114"/>
                      <a:pt x="28" y="114"/>
                    </a:cubicBezTo>
                    <a:cubicBezTo>
                      <a:pt x="28" y="114"/>
                      <a:pt x="28" y="114"/>
                      <a:pt x="28" y="114"/>
                    </a:cubicBezTo>
                    <a:close/>
                    <a:moveTo>
                      <a:pt x="28" y="115"/>
                    </a:move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lose/>
                    <a:moveTo>
                      <a:pt x="27" y="114"/>
                    </a:moveTo>
                    <a:cubicBezTo>
                      <a:pt x="27" y="114"/>
                      <a:pt x="27" y="114"/>
                      <a:pt x="27" y="114"/>
                    </a:cubicBezTo>
                    <a:cubicBezTo>
                      <a:pt x="27" y="114"/>
                      <a:pt x="27" y="114"/>
                      <a:pt x="27" y="114"/>
                    </a:cubicBezTo>
                    <a:cubicBezTo>
                      <a:pt x="27" y="114"/>
                      <a:pt x="27" y="114"/>
                      <a:pt x="27" y="114"/>
                    </a:cubicBezTo>
                    <a:cubicBezTo>
                      <a:pt x="27" y="114"/>
                      <a:pt x="27" y="114"/>
                      <a:pt x="27"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8" y="113"/>
                      <a:pt x="28" y="113"/>
                    </a:cubicBezTo>
                    <a:cubicBezTo>
                      <a:pt x="28" y="113"/>
                      <a:pt x="28" y="113"/>
                      <a:pt x="27" y="113"/>
                    </a:cubicBezTo>
                    <a:cubicBezTo>
                      <a:pt x="27" y="113"/>
                      <a:pt x="27" y="113"/>
                      <a:pt x="27" y="113"/>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5"/>
                      <a:pt x="26" y="115"/>
                      <a:pt x="26" y="115"/>
                    </a:cubicBezTo>
                    <a:cubicBezTo>
                      <a:pt x="25" y="115"/>
                      <a:pt x="25" y="115"/>
                      <a:pt x="25" y="115"/>
                    </a:cubicBezTo>
                    <a:cubicBezTo>
                      <a:pt x="25" y="115"/>
                      <a:pt x="25" y="115"/>
                      <a:pt x="25" y="115"/>
                    </a:cubicBezTo>
                    <a:cubicBezTo>
                      <a:pt x="25" y="115"/>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6" y="116"/>
                      <a:pt x="26" y="116"/>
                      <a:pt x="26" y="116"/>
                    </a:cubicBezTo>
                    <a:cubicBezTo>
                      <a:pt x="26" y="116"/>
                      <a:pt x="26" y="116"/>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65" y="78"/>
                    </a:moveTo>
                    <a:cubicBezTo>
                      <a:pt x="65" y="78"/>
                      <a:pt x="65" y="78"/>
                      <a:pt x="65" y="78"/>
                    </a:cubicBezTo>
                    <a:cubicBezTo>
                      <a:pt x="65" y="78"/>
                      <a:pt x="65" y="78"/>
                      <a:pt x="65" y="78"/>
                    </a:cubicBezTo>
                    <a:cubicBezTo>
                      <a:pt x="65" y="78"/>
                      <a:pt x="65" y="78"/>
                      <a:pt x="65" y="78"/>
                    </a:cubicBezTo>
                    <a:cubicBezTo>
                      <a:pt x="65" y="78"/>
                      <a:pt x="65" y="78"/>
                      <a:pt x="66" y="78"/>
                    </a:cubicBezTo>
                    <a:cubicBezTo>
                      <a:pt x="65" y="78"/>
                      <a:pt x="66" y="79"/>
                      <a:pt x="66" y="79"/>
                    </a:cubicBezTo>
                    <a:cubicBezTo>
                      <a:pt x="66" y="79"/>
                      <a:pt x="66" y="79"/>
                      <a:pt x="67" y="78"/>
                    </a:cubicBezTo>
                    <a:cubicBezTo>
                      <a:pt x="67" y="78"/>
                      <a:pt x="67" y="78"/>
                      <a:pt x="67" y="78"/>
                    </a:cubicBezTo>
                    <a:cubicBezTo>
                      <a:pt x="67" y="78"/>
                      <a:pt x="67" y="78"/>
                      <a:pt x="66" y="78"/>
                    </a:cubicBezTo>
                    <a:cubicBezTo>
                      <a:pt x="66" y="78"/>
                      <a:pt x="67" y="78"/>
                      <a:pt x="67" y="78"/>
                    </a:cubicBezTo>
                    <a:cubicBezTo>
                      <a:pt x="67" y="78"/>
                      <a:pt x="67" y="78"/>
                      <a:pt x="67" y="78"/>
                    </a:cubicBezTo>
                    <a:cubicBezTo>
                      <a:pt x="67" y="78"/>
                      <a:pt x="67" y="77"/>
                      <a:pt x="66" y="77"/>
                    </a:cubicBezTo>
                    <a:cubicBezTo>
                      <a:pt x="66" y="77"/>
                      <a:pt x="66" y="77"/>
                      <a:pt x="66" y="77"/>
                    </a:cubicBezTo>
                    <a:cubicBezTo>
                      <a:pt x="66" y="77"/>
                      <a:pt x="66" y="77"/>
                      <a:pt x="66" y="77"/>
                    </a:cubicBezTo>
                    <a:cubicBezTo>
                      <a:pt x="66" y="76"/>
                      <a:pt x="66" y="76"/>
                      <a:pt x="66" y="76"/>
                    </a:cubicBezTo>
                    <a:cubicBezTo>
                      <a:pt x="66" y="76"/>
                      <a:pt x="66" y="76"/>
                      <a:pt x="66" y="76"/>
                    </a:cubicBezTo>
                    <a:cubicBezTo>
                      <a:pt x="65" y="76"/>
                      <a:pt x="65" y="76"/>
                      <a:pt x="65" y="76"/>
                    </a:cubicBezTo>
                    <a:cubicBezTo>
                      <a:pt x="65" y="77"/>
                      <a:pt x="65" y="77"/>
                      <a:pt x="66" y="77"/>
                    </a:cubicBezTo>
                    <a:cubicBezTo>
                      <a:pt x="66" y="77"/>
                      <a:pt x="65" y="77"/>
                      <a:pt x="65" y="77"/>
                    </a:cubicBezTo>
                    <a:cubicBezTo>
                      <a:pt x="65" y="77"/>
                      <a:pt x="65" y="77"/>
                      <a:pt x="65" y="78"/>
                    </a:cubicBezTo>
                    <a:close/>
                    <a:moveTo>
                      <a:pt x="63" y="78"/>
                    </a:move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lose/>
                    <a:moveTo>
                      <a:pt x="64" y="79"/>
                    </a:moveTo>
                    <a:cubicBezTo>
                      <a:pt x="64" y="79"/>
                      <a:pt x="64" y="79"/>
                      <a:pt x="64" y="79"/>
                    </a:cubicBezTo>
                    <a:cubicBezTo>
                      <a:pt x="64" y="78"/>
                      <a:pt x="64" y="78"/>
                      <a:pt x="64" y="78"/>
                    </a:cubicBezTo>
                    <a:cubicBezTo>
                      <a:pt x="64" y="78"/>
                      <a:pt x="63" y="78"/>
                      <a:pt x="64" y="79"/>
                    </a:cubicBezTo>
                    <a:cubicBezTo>
                      <a:pt x="64" y="79"/>
                      <a:pt x="64" y="79"/>
                      <a:pt x="64" y="79"/>
                    </a:cubicBezTo>
                    <a:close/>
                    <a:moveTo>
                      <a:pt x="63" y="79"/>
                    </a:moveTo>
                    <a:cubicBezTo>
                      <a:pt x="63" y="79"/>
                      <a:pt x="63" y="79"/>
                      <a:pt x="63" y="79"/>
                    </a:cubicBezTo>
                    <a:cubicBezTo>
                      <a:pt x="63" y="79"/>
                      <a:pt x="63" y="79"/>
                      <a:pt x="63" y="79"/>
                    </a:cubicBezTo>
                    <a:cubicBezTo>
                      <a:pt x="63" y="79"/>
                      <a:pt x="63" y="79"/>
                      <a:pt x="63" y="79"/>
                    </a:cubicBezTo>
                    <a:cubicBezTo>
                      <a:pt x="63" y="79"/>
                      <a:pt x="63" y="79"/>
                      <a:pt x="63" y="79"/>
                    </a:cubicBezTo>
                    <a:close/>
                    <a:moveTo>
                      <a:pt x="65" y="80"/>
                    </a:moveTo>
                    <a:cubicBezTo>
                      <a:pt x="66" y="80"/>
                      <a:pt x="66" y="80"/>
                      <a:pt x="66" y="80"/>
                    </a:cubicBezTo>
                    <a:cubicBezTo>
                      <a:pt x="66" y="79"/>
                      <a:pt x="65" y="79"/>
                      <a:pt x="66" y="79"/>
                    </a:cubicBezTo>
                    <a:cubicBezTo>
                      <a:pt x="66" y="79"/>
                      <a:pt x="66" y="79"/>
                      <a:pt x="66" y="79"/>
                    </a:cubicBezTo>
                    <a:cubicBezTo>
                      <a:pt x="66" y="79"/>
                      <a:pt x="66" y="79"/>
                      <a:pt x="66" y="79"/>
                    </a:cubicBezTo>
                    <a:cubicBezTo>
                      <a:pt x="66" y="79"/>
                      <a:pt x="66" y="79"/>
                      <a:pt x="66" y="79"/>
                    </a:cubicBezTo>
                    <a:cubicBezTo>
                      <a:pt x="66" y="79"/>
                      <a:pt x="66" y="79"/>
                      <a:pt x="66" y="79"/>
                    </a:cubicBezTo>
                    <a:cubicBezTo>
                      <a:pt x="65" y="79"/>
                      <a:pt x="65" y="79"/>
                      <a:pt x="65" y="79"/>
                    </a:cubicBezTo>
                    <a:cubicBezTo>
                      <a:pt x="65" y="79"/>
                      <a:pt x="65" y="79"/>
                      <a:pt x="65" y="79"/>
                    </a:cubicBezTo>
                    <a:cubicBezTo>
                      <a:pt x="65" y="79"/>
                      <a:pt x="65" y="79"/>
                      <a:pt x="65" y="79"/>
                    </a:cubicBezTo>
                    <a:cubicBezTo>
                      <a:pt x="65" y="80"/>
                      <a:pt x="65" y="80"/>
                      <a:pt x="65" y="80"/>
                    </a:cubicBezTo>
                    <a:cubicBezTo>
                      <a:pt x="65" y="80"/>
                      <a:pt x="65" y="80"/>
                      <a:pt x="65" y="80"/>
                    </a:cubicBezTo>
                    <a:close/>
                    <a:moveTo>
                      <a:pt x="32" y="110"/>
                    </a:moveTo>
                    <a:cubicBezTo>
                      <a:pt x="32" y="110"/>
                      <a:pt x="32" y="110"/>
                      <a:pt x="32" y="110"/>
                    </a:cubicBezTo>
                    <a:cubicBezTo>
                      <a:pt x="32" y="110"/>
                      <a:pt x="32" y="110"/>
                      <a:pt x="32" y="110"/>
                    </a:cubicBezTo>
                    <a:cubicBezTo>
                      <a:pt x="32" y="110"/>
                      <a:pt x="32" y="110"/>
                      <a:pt x="32" y="110"/>
                    </a:cubicBezTo>
                    <a:cubicBezTo>
                      <a:pt x="32" y="110"/>
                      <a:pt x="32" y="110"/>
                      <a:pt x="32" y="110"/>
                    </a:cubicBezTo>
                    <a:close/>
                    <a:moveTo>
                      <a:pt x="31" y="111"/>
                    </a:moveTo>
                    <a:cubicBezTo>
                      <a:pt x="31" y="111"/>
                      <a:pt x="31" y="111"/>
                      <a:pt x="31" y="111"/>
                    </a:cubicBezTo>
                    <a:cubicBezTo>
                      <a:pt x="31" y="111"/>
                      <a:pt x="31" y="111"/>
                      <a:pt x="31" y="111"/>
                    </a:cubicBezTo>
                    <a:cubicBezTo>
                      <a:pt x="31" y="111"/>
                      <a:pt x="31" y="111"/>
                      <a:pt x="31" y="111"/>
                    </a:cubicBezTo>
                    <a:cubicBezTo>
                      <a:pt x="31" y="111"/>
                      <a:pt x="31" y="111"/>
                      <a:pt x="31" y="111"/>
                    </a:cubicBezTo>
                    <a:close/>
                    <a:moveTo>
                      <a:pt x="36" y="108"/>
                    </a:moveTo>
                    <a:cubicBezTo>
                      <a:pt x="36" y="108"/>
                      <a:pt x="36" y="108"/>
                      <a:pt x="36" y="108"/>
                    </a:cubicBezTo>
                    <a:cubicBezTo>
                      <a:pt x="36" y="108"/>
                      <a:pt x="36" y="108"/>
                      <a:pt x="36" y="108"/>
                    </a:cubicBezTo>
                    <a:close/>
                    <a:moveTo>
                      <a:pt x="33" y="108"/>
                    </a:moveTo>
                    <a:cubicBezTo>
                      <a:pt x="33" y="109"/>
                      <a:pt x="33" y="108"/>
                      <a:pt x="32" y="109"/>
                    </a:cubicBezTo>
                    <a:cubicBezTo>
                      <a:pt x="32" y="109"/>
                      <a:pt x="32" y="108"/>
                      <a:pt x="32" y="108"/>
                    </a:cubicBezTo>
                    <a:cubicBezTo>
                      <a:pt x="32" y="108"/>
                      <a:pt x="31" y="108"/>
                      <a:pt x="31" y="108"/>
                    </a:cubicBezTo>
                    <a:cubicBezTo>
                      <a:pt x="31" y="108"/>
                      <a:pt x="30" y="108"/>
                      <a:pt x="30" y="108"/>
                    </a:cubicBezTo>
                    <a:cubicBezTo>
                      <a:pt x="30" y="108"/>
                      <a:pt x="30" y="109"/>
                      <a:pt x="30" y="109"/>
                    </a:cubicBezTo>
                    <a:cubicBezTo>
                      <a:pt x="30" y="109"/>
                      <a:pt x="30" y="109"/>
                      <a:pt x="30" y="109"/>
                    </a:cubicBezTo>
                    <a:cubicBezTo>
                      <a:pt x="30" y="110"/>
                      <a:pt x="30" y="109"/>
                      <a:pt x="31" y="109"/>
                    </a:cubicBezTo>
                    <a:cubicBezTo>
                      <a:pt x="31" y="109"/>
                      <a:pt x="31" y="109"/>
                      <a:pt x="31" y="109"/>
                    </a:cubicBezTo>
                    <a:cubicBezTo>
                      <a:pt x="31" y="109"/>
                      <a:pt x="31" y="109"/>
                      <a:pt x="31" y="109"/>
                    </a:cubicBezTo>
                    <a:cubicBezTo>
                      <a:pt x="32" y="109"/>
                      <a:pt x="32" y="109"/>
                      <a:pt x="32" y="109"/>
                    </a:cubicBezTo>
                    <a:cubicBezTo>
                      <a:pt x="32" y="109"/>
                      <a:pt x="32" y="109"/>
                      <a:pt x="32" y="109"/>
                    </a:cubicBezTo>
                    <a:cubicBezTo>
                      <a:pt x="32" y="109"/>
                      <a:pt x="32" y="109"/>
                      <a:pt x="33" y="109"/>
                    </a:cubicBezTo>
                    <a:cubicBezTo>
                      <a:pt x="33" y="110"/>
                      <a:pt x="33" y="109"/>
                      <a:pt x="33" y="109"/>
                    </a:cubicBezTo>
                    <a:cubicBezTo>
                      <a:pt x="33" y="109"/>
                      <a:pt x="33" y="109"/>
                      <a:pt x="33" y="109"/>
                    </a:cubicBezTo>
                    <a:cubicBezTo>
                      <a:pt x="33" y="109"/>
                      <a:pt x="33" y="109"/>
                      <a:pt x="33" y="109"/>
                    </a:cubicBezTo>
                    <a:cubicBezTo>
                      <a:pt x="34" y="109"/>
                      <a:pt x="34" y="109"/>
                      <a:pt x="34" y="108"/>
                    </a:cubicBezTo>
                    <a:cubicBezTo>
                      <a:pt x="34" y="108"/>
                      <a:pt x="33" y="108"/>
                      <a:pt x="33" y="108"/>
                    </a:cubicBezTo>
                    <a:close/>
                    <a:moveTo>
                      <a:pt x="35" y="108"/>
                    </a:moveTo>
                    <a:cubicBezTo>
                      <a:pt x="35" y="108"/>
                      <a:pt x="35" y="108"/>
                      <a:pt x="35" y="108"/>
                    </a:cubicBezTo>
                    <a:cubicBezTo>
                      <a:pt x="34" y="108"/>
                      <a:pt x="35" y="108"/>
                      <a:pt x="35" y="108"/>
                    </a:cubicBezTo>
                    <a:cubicBezTo>
                      <a:pt x="35" y="108"/>
                      <a:pt x="35" y="108"/>
                      <a:pt x="35" y="108"/>
                    </a:cubicBezTo>
                    <a:cubicBezTo>
                      <a:pt x="35" y="108"/>
                      <a:pt x="35" y="108"/>
                      <a:pt x="35" y="108"/>
                    </a:cubicBezTo>
                    <a:close/>
                    <a:moveTo>
                      <a:pt x="34" y="108"/>
                    </a:moveTo>
                    <a:cubicBezTo>
                      <a:pt x="34" y="108"/>
                      <a:pt x="34" y="108"/>
                      <a:pt x="34" y="108"/>
                    </a:cubicBezTo>
                    <a:cubicBezTo>
                      <a:pt x="34" y="108"/>
                      <a:pt x="34" y="108"/>
                      <a:pt x="34" y="108"/>
                    </a:cubicBezTo>
                    <a:cubicBezTo>
                      <a:pt x="34" y="108"/>
                      <a:pt x="34" y="108"/>
                      <a:pt x="34" y="108"/>
                    </a:cubicBezTo>
                    <a:cubicBezTo>
                      <a:pt x="34" y="108"/>
                      <a:pt x="34" y="108"/>
                      <a:pt x="34" y="108"/>
                    </a:cubicBezTo>
                    <a:close/>
                    <a:moveTo>
                      <a:pt x="35" y="109"/>
                    </a:moveTo>
                    <a:cubicBezTo>
                      <a:pt x="35" y="109"/>
                      <a:pt x="35" y="109"/>
                      <a:pt x="35" y="109"/>
                    </a:cubicBezTo>
                    <a:cubicBezTo>
                      <a:pt x="35" y="109"/>
                      <a:pt x="35" y="109"/>
                      <a:pt x="35" y="109"/>
                    </a:cubicBezTo>
                    <a:cubicBezTo>
                      <a:pt x="35" y="109"/>
                      <a:pt x="35" y="109"/>
                      <a:pt x="35" y="109"/>
                    </a:cubicBezTo>
                    <a:cubicBezTo>
                      <a:pt x="35" y="109"/>
                      <a:pt x="35" y="109"/>
                      <a:pt x="35" y="109"/>
                    </a:cubicBezTo>
                    <a:close/>
                    <a:moveTo>
                      <a:pt x="27" y="108"/>
                    </a:moveTo>
                    <a:cubicBezTo>
                      <a:pt x="27" y="108"/>
                      <a:pt x="27" y="108"/>
                      <a:pt x="26" y="108"/>
                    </a:cubicBezTo>
                    <a:cubicBezTo>
                      <a:pt x="26" y="108"/>
                      <a:pt x="26" y="108"/>
                      <a:pt x="26" y="108"/>
                    </a:cubicBezTo>
                    <a:cubicBezTo>
                      <a:pt x="26" y="108"/>
                      <a:pt x="26" y="108"/>
                      <a:pt x="26" y="108"/>
                    </a:cubicBezTo>
                    <a:cubicBezTo>
                      <a:pt x="26" y="108"/>
                      <a:pt x="27" y="108"/>
                      <a:pt x="27" y="108"/>
                    </a:cubicBezTo>
                    <a:close/>
                    <a:moveTo>
                      <a:pt x="27" y="106"/>
                    </a:moveTo>
                    <a:cubicBezTo>
                      <a:pt x="27" y="106"/>
                      <a:pt x="27" y="106"/>
                      <a:pt x="27" y="106"/>
                    </a:cubicBezTo>
                    <a:cubicBezTo>
                      <a:pt x="27" y="106"/>
                      <a:pt x="27" y="106"/>
                      <a:pt x="27" y="106"/>
                    </a:cubicBezTo>
                    <a:cubicBezTo>
                      <a:pt x="27" y="107"/>
                      <a:pt x="27" y="107"/>
                      <a:pt x="27" y="107"/>
                    </a:cubicBezTo>
                    <a:cubicBezTo>
                      <a:pt x="27" y="107"/>
                      <a:pt x="27" y="107"/>
                      <a:pt x="27" y="107"/>
                    </a:cubicBezTo>
                    <a:cubicBezTo>
                      <a:pt x="27" y="106"/>
                      <a:pt x="27" y="106"/>
                      <a:pt x="27" y="106"/>
                    </a:cubicBezTo>
                    <a:cubicBezTo>
                      <a:pt x="27" y="106"/>
                      <a:pt x="27" y="106"/>
                      <a:pt x="27" y="106"/>
                    </a:cubicBezTo>
                    <a:close/>
                    <a:moveTo>
                      <a:pt x="28" y="107"/>
                    </a:moveTo>
                    <a:cubicBezTo>
                      <a:pt x="28" y="107"/>
                      <a:pt x="28" y="107"/>
                      <a:pt x="28" y="107"/>
                    </a:cubicBezTo>
                    <a:cubicBezTo>
                      <a:pt x="28" y="107"/>
                      <a:pt x="28" y="107"/>
                      <a:pt x="28" y="107"/>
                    </a:cubicBezTo>
                    <a:close/>
                    <a:moveTo>
                      <a:pt x="37" y="107"/>
                    </a:moveTo>
                    <a:cubicBezTo>
                      <a:pt x="37" y="107"/>
                      <a:pt x="37" y="107"/>
                      <a:pt x="36" y="107"/>
                    </a:cubicBezTo>
                    <a:cubicBezTo>
                      <a:pt x="36" y="107"/>
                      <a:pt x="36" y="107"/>
                      <a:pt x="36" y="107"/>
                    </a:cubicBezTo>
                    <a:cubicBezTo>
                      <a:pt x="36" y="107"/>
                      <a:pt x="37" y="107"/>
                      <a:pt x="37" y="107"/>
                    </a:cubicBezTo>
                    <a:close/>
                    <a:moveTo>
                      <a:pt x="28" y="106"/>
                    </a:moveTo>
                    <a:cubicBezTo>
                      <a:pt x="28" y="106"/>
                      <a:pt x="28" y="106"/>
                      <a:pt x="28" y="106"/>
                    </a:cubicBezTo>
                    <a:cubicBezTo>
                      <a:pt x="28" y="106"/>
                      <a:pt x="28" y="106"/>
                      <a:pt x="28" y="106"/>
                    </a:cubicBezTo>
                    <a:cubicBezTo>
                      <a:pt x="28" y="106"/>
                      <a:pt x="28" y="106"/>
                      <a:pt x="28" y="106"/>
                    </a:cubicBezTo>
                    <a:cubicBezTo>
                      <a:pt x="28" y="106"/>
                      <a:pt x="28" y="106"/>
                      <a:pt x="28" y="106"/>
                    </a:cubicBezTo>
                    <a:close/>
                    <a:moveTo>
                      <a:pt x="30" y="110"/>
                    </a:moveTo>
                    <a:cubicBezTo>
                      <a:pt x="30" y="111"/>
                      <a:pt x="30" y="111"/>
                      <a:pt x="30" y="111"/>
                    </a:cubicBezTo>
                    <a:cubicBezTo>
                      <a:pt x="30" y="111"/>
                      <a:pt x="30" y="111"/>
                      <a:pt x="30" y="111"/>
                    </a:cubicBezTo>
                    <a:cubicBezTo>
                      <a:pt x="30" y="111"/>
                      <a:pt x="30" y="111"/>
                      <a:pt x="30" y="111"/>
                    </a:cubicBezTo>
                    <a:cubicBezTo>
                      <a:pt x="30" y="111"/>
                      <a:pt x="30" y="111"/>
                      <a:pt x="30" y="111"/>
                    </a:cubicBezTo>
                    <a:cubicBezTo>
                      <a:pt x="30" y="111"/>
                      <a:pt x="30" y="110"/>
                      <a:pt x="30" y="110"/>
                    </a:cubicBezTo>
                    <a:close/>
                    <a:moveTo>
                      <a:pt x="30" y="111"/>
                    </a:moveTo>
                    <a:cubicBezTo>
                      <a:pt x="30" y="111"/>
                      <a:pt x="30" y="111"/>
                      <a:pt x="30" y="111"/>
                    </a:cubicBezTo>
                    <a:cubicBezTo>
                      <a:pt x="30" y="111"/>
                      <a:pt x="30" y="111"/>
                      <a:pt x="30" y="111"/>
                    </a:cubicBezTo>
                    <a:cubicBezTo>
                      <a:pt x="30" y="111"/>
                      <a:pt x="29" y="111"/>
                      <a:pt x="29" y="111"/>
                    </a:cubicBezTo>
                    <a:cubicBezTo>
                      <a:pt x="29" y="111"/>
                      <a:pt x="29" y="111"/>
                      <a:pt x="29" y="111"/>
                    </a:cubicBezTo>
                    <a:cubicBezTo>
                      <a:pt x="29" y="111"/>
                      <a:pt x="30" y="111"/>
                      <a:pt x="30" y="111"/>
                    </a:cubicBezTo>
                    <a:close/>
                    <a:moveTo>
                      <a:pt x="29" y="112"/>
                    </a:moveTo>
                    <a:cubicBezTo>
                      <a:pt x="29" y="112"/>
                      <a:pt x="29" y="112"/>
                      <a:pt x="29" y="112"/>
                    </a:cubicBezTo>
                    <a:cubicBezTo>
                      <a:pt x="29" y="112"/>
                      <a:pt x="29" y="112"/>
                      <a:pt x="29" y="112"/>
                    </a:cubicBezTo>
                    <a:cubicBezTo>
                      <a:pt x="29" y="112"/>
                      <a:pt x="29" y="112"/>
                      <a:pt x="29" y="112"/>
                    </a:cubicBezTo>
                    <a:cubicBezTo>
                      <a:pt x="29" y="112"/>
                      <a:pt x="29" y="112"/>
                      <a:pt x="30" y="112"/>
                    </a:cubicBezTo>
                    <a:cubicBezTo>
                      <a:pt x="30" y="112"/>
                      <a:pt x="30" y="112"/>
                      <a:pt x="30" y="112"/>
                    </a:cubicBezTo>
                    <a:cubicBezTo>
                      <a:pt x="30" y="112"/>
                      <a:pt x="30" y="112"/>
                      <a:pt x="30" y="112"/>
                    </a:cubicBezTo>
                    <a:cubicBezTo>
                      <a:pt x="30" y="112"/>
                      <a:pt x="30" y="112"/>
                      <a:pt x="30" y="112"/>
                    </a:cubicBezTo>
                    <a:cubicBezTo>
                      <a:pt x="30" y="111"/>
                      <a:pt x="30" y="112"/>
                      <a:pt x="29" y="112"/>
                    </a:cubicBezTo>
                    <a:close/>
                    <a:moveTo>
                      <a:pt x="36" y="108"/>
                    </a:moveTo>
                    <a:cubicBezTo>
                      <a:pt x="37" y="108"/>
                      <a:pt x="37" y="108"/>
                      <a:pt x="37" y="108"/>
                    </a:cubicBezTo>
                    <a:cubicBezTo>
                      <a:pt x="37" y="108"/>
                      <a:pt x="37" y="108"/>
                      <a:pt x="36" y="108"/>
                    </a:cubicBezTo>
                    <a:close/>
                    <a:moveTo>
                      <a:pt x="60" y="78"/>
                    </a:moveTo>
                    <a:cubicBezTo>
                      <a:pt x="60" y="78"/>
                      <a:pt x="60" y="78"/>
                      <a:pt x="61" y="78"/>
                    </a:cubicBezTo>
                    <a:cubicBezTo>
                      <a:pt x="60" y="78"/>
                      <a:pt x="60" y="77"/>
                      <a:pt x="60" y="77"/>
                    </a:cubicBezTo>
                    <a:cubicBezTo>
                      <a:pt x="60" y="77"/>
                      <a:pt x="60" y="76"/>
                      <a:pt x="59" y="76"/>
                    </a:cubicBezTo>
                    <a:cubicBezTo>
                      <a:pt x="59" y="76"/>
                      <a:pt x="59" y="76"/>
                      <a:pt x="59" y="75"/>
                    </a:cubicBezTo>
                    <a:cubicBezTo>
                      <a:pt x="59" y="75"/>
                      <a:pt x="59" y="75"/>
                      <a:pt x="59" y="75"/>
                    </a:cubicBezTo>
                    <a:cubicBezTo>
                      <a:pt x="60" y="75"/>
                      <a:pt x="60" y="75"/>
                      <a:pt x="60" y="75"/>
                    </a:cubicBezTo>
                    <a:cubicBezTo>
                      <a:pt x="60" y="75"/>
                      <a:pt x="60" y="74"/>
                      <a:pt x="60" y="74"/>
                    </a:cubicBezTo>
                    <a:cubicBezTo>
                      <a:pt x="60" y="74"/>
                      <a:pt x="59" y="74"/>
                      <a:pt x="59" y="74"/>
                    </a:cubicBezTo>
                    <a:cubicBezTo>
                      <a:pt x="60" y="74"/>
                      <a:pt x="59" y="73"/>
                      <a:pt x="59" y="73"/>
                    </a:cubicBezTo>
                    <a:cubicBezTo>
                      <a:pt x="59" y="73"/>
                      <a:pt x="59" y="73"/>
                      <a:pt x="59" y="73"/>
                    </a:cubicBezTo>
                    <a:cubicBezTo>
                      <a:pt x="59" y="73"/>
                      <a:pt x="59" y="73"/>
                      <a:pt x="59" y="73"/>
                    </a:cubicBezTo>
                    <a:cubicBezTo>
                      <a:pt x="59" y="72"/>
                      <a:pt x="59" y="72"/>
                      <a:pt x="58" y="72"/>
                    </a:cubicBezTo>
                    <a:cubicBezTo>
                      <a:pt x="58" y="72"/>
                      <a:pt x="58" y="72"/>
                      <a:pt x="58" y="72"/>
                    </a:cubicBezTo>
                    <a:cubicBezTo>
                      <a:pt x="58" y="71"/>
                      <a:pt x="58" y="71"/>
                      <a:pt x="58" y="71"/>
                    </a:cubicBezTo>
                    <a:cubicBezTo>
                      <a:pt x="58" y="70"/>
                      <a:pt x="58" y="70"/>
                      <a:pt x="58" y="69"/>
                    </a:cubicBezTo>
                    <a:cubicBezTo>
                      <a:pt x="58" y="69"/>
                      <a:pt x="58" y="68"/>
                      <a:pt x="57" y="68"/>
                    </a:cubicBezTo>
                    <a:cubicBezTo>
                      <a:pt x="57" y="68"/>
                      <a:pt x="57" y="68"/>
                      <a:pt x="57" y="67"/>
                    </a:cubicBezTo>
                    <a:cubicBezTo>
                      <a:pt x="57" y="67"/>
                      <a:pt x="57" y="67"/>
                      <a:pt x="57" y="67"/>
                    </a:cubicBezTo>
                    <a:cubicBezTo>
                      <a:pt x="57" y="67"/>
                      <a:pt x="57" y="67"/>
                      <a:pt x="57" y="67"/>
                    </a:cubicBezTo>
                    <a:cubicBezTo>
                      <a:pt x="57" y="67"/>
                      <a:pt x="57" y="67"/>
                      <a:pt x="57" y="67"/>
                    </a:cubicBezTo>
                    <a:cubicBezTo>
                      <a:pt x="57" y="67"/>
                      <a:pt x="57" y="67"/>
                      <a:pt x="57" y="67"/>
                    </a:cubicBezTo>
                    <a:cubicBezTo>
                      <a:pt x="56" y="67"/>
                      <a:pt x="56" y="67"/>
                      <a:pt x="56" y="67"/>
                    </a:cubicBezTo>
                    <a:cubicBezTo>
                      <a:pt x="56" y="67"/>
                      <a:pt x="56" y="67"/>
                      <a:pt x="56" y="67"/>
                    </a:cubicBezTo>
                    <a:cubicBezTo>
                      <a:pt x="56" y="67"/>
                      <a:pt x="56" y="67"/>
                      <a:pt x="56" y="67"/>
                    </a:cubicBezTo>
                    <a:cubicBezTo>
                      <a:pt x="55" y="67"/>
                      <a:pt x="55" y="67"/>
                      <a:pt x="55" y="68"/>
                    </a:cubicBezTo>
                    <a:cubicBezTo>
                      <a:pt x="55" y="68"/>
                      <a:pt x="55" y="68"/>
                      <a:pt x="54" y="68"/>
                    </a:cubicBezTo>
                    <a:cubicBezTo>
                      <a:pt x="54" y="68"/>
                      <a:pt x="54" y="68"/>
                      <a:pt x="54" y="68"/>
                    </a:cubicBezTo>
                    <a:cubicBezTo>
                      <a:pt x="54" y="67"/>
                      <a:pt x="54" y="67"/>
                      <a:pt x="54" y="67"/>
                    </a:cubicBezTo>
                    <a:cubicBezTo>
                      <a:pt x="54" y="67"/>
                      <a:pt x="54" y="67"/>
                      <a:pt x="54" y="67"/>
                    </a:cubicBezTo>
                    <a:cubicBezTo>
                      <a:pt x="54" y="67"/>
                      <a:pt x="54" y="67"/>
                      <a:pt x="54" y="67"/>
                    </a:cubicBezTo>
                    <a:cubicBezTo>
                      <a:pt x="54" y="67"/>
                      <a:pt x="54" y="67"/>
                      <a:pt x="54" y="67"/>
                    </a:cubicBezTo>
                    <a:cubicBezTo>
                      <a:pt x="54" y="67"/>
                      <a:pt x="54" y="67"/>
                      <a:pt x="54" y="67"/>
                    </a:cubicBezTo>
                    <a:cubicBezTo>
                      <a:pt x="53" y="67"/>
                      <a:pt x="53" y="67"/>
                      <a:pt x="53" y="67"/>
                    </a:cubicBezTo>
                    <a:cubicBezTo>
                      <a:pt x="53" y="67"/>
                      <a:pt x="53" y="66"/>
                      <a:pt x="53" y="66"/>
                    </a:cubicBezTo>
                    <a:cubicBezTo>
                      <a:pt x="53" y="66"/>
                      <a:pt x="53" y="66"/>
                      <a:pt x="53" y="66"/>
                    </a:cubicBezTo>
                    <a:cubicBezTo>
                      <a:pt x="52" y="66"/>
                      <a:pt x="52" y="66"/>
                      <a:pt x="52" y="67"/>
                    </a:cubicBezTo>
                    <a:cubicBezTo>
                      <a:pt x="52" y="67"/>
                      <a:pt x="53" y="67"/>
                      <a:pt x="53" y="67"/>
                    </a:cubicBezTo>
                    <a:cubicBezTo>
                      <a:pt x="53" y="67"/>
                      <a:pt x="53" y="67"/>
                      <a:pt x="53" y="68"/>
                    </a:cubicBezTo>
                    <a:cubicBezTo>
                      <a:pt x="53" y="68"/>
                      <a:pt x="53" y="68"/>
                      <a:pt x="53" y="68"/>
                    </a:cubicBezTo>
                    <a:cubicBezTo>
                      <a:pt x="53" y="68"/>
                      <a:pt x="53" y="68"/>
                      <a:pt x="53" y="69"/>
                    </a:cubicBezTo>
                    <a:cubicBezTo>
                      <a:pt x="53" y="69"/>
                      <a:pt x="53" y="69"/>
                      <a:pt x="53" y="69"/>
                    </a:cubicBezTo>
                    <a:cubicBezTo>
                      <a:pt x="53" y="69"/>
                      <a:pt x="53" y="69"/>
                      <a:pt x="53" y="69"/>
                    </a:cubicBezTo>
                    <a:cubicBezTo>
                      <a:pt x="53" y="69"/>
                      <a:pt x="53" y="69"/>
                      <a:pt x="53" y="70"/>
                    </a:cubicBezTo>
                    <a:cubicBezTo>
                      <a:pt x="53" y="70"/>
                      <a:pt x="53" y="70"/>
                      <a:pt x="53" y="70"/>
                    </a:cubicBezTo>
                    <a:cubicBezTo>
                      <a:pt x="53" y="70"/>
                      <a:pt x="53" y="70"/>
                      <a:pt x="53" y="70"/>
                    </a:cubicBezTo>
                    <a:cubicBezTo>
                      <a:pt x="53" y="70"/>
                      <a:pt x="53" y="71"/>
                      <a:pt x="53" y="71"/>
                    </a:cubicBezTo>
                    <a:cubicBezTo>
                      <a:pt x="53" y="71"/>
                      <a:pt x="54" y="71"/>
                      <a:pt x="54" y="71"/>
                    </a:cubicBezTo>
                    <a:cubicBezTo>
                      <a:pt x="54" y="71"/>
                      <a:pt x="54" y="71"/>
                      <a:pt x="54" y="71"/>
                    </a:cubicBezTo>
                    <a:cubicBezTo>
                      <a:pt x="54" y="71"/>
                      <a:pt x="54" y="71"/>
                      <a:pt x="54" y="71"/>
                    </a:cubicBezTo>
                    <a:cubicBezTo>
                      <a:pt x="55" y="70"/>
                      <a:pt x="55" y="70"/>
                      <a:pt x="54" y="70"/>
                    </a:cubicBezTo>
                    <a:cubicBezTo>
                      <a:pt x="55" y="70"/>
                      <a:pt x="55" y="70"/>
                      <a:pt x="56" y="71"/>
                    </a:cubicBezTo>
                    <a:cubicBezTo>
                      <a:pt x="56" y="71"/>
                      <a:pt x="56" y="71"/>
                      <a:pt x="56" y="71"/>
                    </a:cubicBezTo>
                    <a:cubicBezTo>
                      <a:pt x="56" y="71"/>
                      <a:pt x="56" y="72"/>
                      <a:pt x="56" y="72"/>
                    </a:cubicBezTo>
                    <a:cubicBezTo>
                      <a:pt x="56" y="72"/>
                      <a:pt x="57" y="72"/>
                      <a:pt x="56" y="73"/>
                    </a:cubicBezTo>
                    <a:cubicBezTo>
                      <a:pt x="56" y="73"/>
                      <a:pt x="56" y="73"/>
                      <a:pt x="56" y="73"/>
                    </a:cubicBezTo>
                    <a:cubicBezTo>
                      <a:pt x="56" y="74"/>
                      <a:pt x="56" y="74"/>
                      <a:pt x="56" y="75"/>
                    </a:cubicBezTo>
                    <a:cubicBezTo>
                      <a:pt x="56" y="75"/>
                      <a:pt x="56" y="75"/>
                      <a:pt x="56" y="76"/>
                    </a:cubicBezTo>
                    <a:cubicBezTo>
                      <a:pt x="56" y="76"/>
                      <a:pt x="56" y="76"/>
                      <a:pt x="56" y="76"/>
                    </a:cubicBezTo>
                    <a:cubicBezTo>
                      <a:pt x="56" y="76"/>
                      <a:pt x="57" y="76"/>
                      <a:pt x="57" y="76"/>
                    </a:cubicBezTo>
                    <a:cubicBezTo>
                      <a:pt x="57" y="76"/>
                      <a:pt x="58" y="77"/>
                      <a:pt x="58" y="77"/>
                    </a:cubicBezTo>
                    <a:cubicBezTo>
                      <a:pt x="58" y="77"/>
                      <a:pt x="58" y="77"/>
                      <a:pt x="58" y="77"/>
                    </a:cubicBezTo>
                    <a:cubicBezTo>
                      <a:pt x="58" y="77"/>
                      <a:pt x="58" y="77"/>
                      <a:pt x="58" y="77"/>
                    </a:cubicBezTo>
                    <a:cubicBezTo>
                      <a:pt x="59" y="77"/>
                      <a:pt x="58" y="77"/>
                      <a:pt x="58" y="76"/>
                    </a:cubicBezTo>
                    <a:cubicBezTo>
                      <a:pt x="58" y="76"/>
                      <a:pt x="58" y="75"/>
                      <a:pt x="58" y="75"/>
                    </a:cubicBezTo>
                    <a:cubicBezTo>
                      <a:pt x="58" y="75"/>
                      <a:pt x="58" y="74"/>
                      <a:pt x="58" y="74"/>
                    </a:cubicBezTo>
                    <a:cubicBezTo>
                      <a:pt x="58" y="75"/>
                      <a:pt x="59" y="75"/>
                      <a:pt x="59" y="76"/>
                    </a:cubicBezTo>
                    <a:cubicBezTo>
                      <a:pt x="59" y="76"/>
                      <a:pt x="59" y="77"/>
                      <a:pt x="60" y="77"/>
                    </a:cubicBezTo>
                    <a:cubicBezTo>
                      <a:pt x="59" y="78"/>
                      <a:pt x="60" y="78"/>
                      <a:pt x="60" y="78"/>
                    </a:cubicBezTo>
                    <a:close/>
                    <a:moveTo>
                      <a:pt x="49" y="83"/>
                    </a:moveTo>
                    <a:cubicBezTo>
                      <a:pt x="49" y="83"/>
                      <a:pt x="49" y="83"/>
                      <a:pt x="49" y="83"/>
                    </a:cubicBezTo>
                    <a:cubicBezTo>
                      <a:pt x="49" y="83"/>
                      <a:pt x="49" y="83"/>
                      <a:pt x="49" y="83"/>
                    </a:cubicBezTo>
                    <a:cubicBezTo>
                      <a:pt x="49" y="83"/>
                      <a:pt x="48" y="83"/>
                      <a:pt x="48" y="83"/>
                    </a:cubicBezTo>
                    <a:cubicBezTo>
                      <a:pt x="48" y="83"/>
                      <a:pt x="48" y="83"/>
                      <a:pt x="48" y="84"/>
                    </a:cubicBezTo>
                    <a:cubicBezTo>
                      <a:pt x="48" y="84"/>
                      <a:pt x="47" y="84"/>
                      <a:pt x="47" y="84"/>
                    </a:cubicBezTo>
                    <a:cubicBezTo>
                      <a:pt x="47" y="85"/>
                      <a:pt x="48" y="85"/>
                      <a:pt x="48" y="84"/>
                    </a:cubicBezTo>
                    <a:cubicBezTo>
                      <a:pt x="48" y="85"/>
                      <a:pt x="48" y="85"/>
                      <a:pt x="48" y="85"/>
                    </a:cubicBezTo>
                    <a:cubicBezTo>
                      <a:pt x="48" y="85"/>
                      <a:pt x="48" y="85"/>
                      <a:pt x="48" y="85"/>
                    </a:cubicBezTo>
                    <a:cubicBezTo>
                      <a:pt x="48" y="85"/>
                      <a:pt x="48" y="85"/>
                      <a:pt x="49" y="85"/>
                    </a:cubicBezTo>
                    <a:cubicBezTo>
                      <a:pt x="49" y="85"/>
                      <a:pt x="49" y="85"/>
                      <a:pt x="49" y="84"/>
                    </a:cubicBezTo>
                    <a:cubicBezTo>
                      <a:pt x="49" y="84"/>
                      <a:pt x="49" y="84"/>
                      <a:pt x="49" y="84"/>
                    </a:cubicBezTo>
                    <a:cubicBezTo>
                      <a:pt x="49" y="85"/>
                      <a:pt x="49" y="84"/>
                      <a:pt x="49" y="84"/>
                    </a:cubicBezTo>
                    <a:cubicBezTo>
                      <a:pt x="49" y="84"/>
                      <a:pt x="49" y="84"/>
                      <a:pt x="49" y="84"/>
                    </a:cubicBezTo>
                    <a:cubicBezTo>
                      <a:pt x="49" y="84"/>
                      <a:pt x="49" y="84"/>
                      <a:pt x="49" y="84"/>
                    </a:cubicBezTo>
                    <a:cubicBezTo>
                      <a:pt x="49" y="84"/>
                      <a:pt x="49" y="84"/>
                      <a:pt x="49" y="84"/>
                    </a:cubicBezTo>
                    <a:cubicBezTo>
                      <a:pt x="49" y="84"/>
                      <a:pt x="49" y="84"/>
                      <a:pt x="49" y="83"/>
                    </a:cubicBezTo>
                    <a:close/>
                    <a:moveTo>
                      <a:pt x="63" y="111"/>
                    </a:moveTo>
                    <a:cubicBezTo>
                      <a:pt x="63" y="111"/>
                      <a:pt x="63" y="111"/>
                      <a:pt x="63" y="111"/>
                    </a:cubicBezTo>
                    <a:cubicBezTo>
                      <a:pt x="63" y="111"/>
                      <a:pt x="63" y="111"/>
                      <a:pt x="63" y="111"/>
                    </a:cubicBezTo>
                    <a:cubicBezTo>
                      <a:pt x="63" y="111"/>
                      <a:pt x="64" y="111"/>
                      <a:pt x="63" y="111"/>
                    </a:cubicBezTo>
                    <a:cubicBezTo>
                      <a:pt x="63" y="111"/>
                      <a:pt x="63" y="111"/>
                      <a:pt x="63" y="111"/>
                    </a:cubicBezTo>
                    <a:close/>
                    <a:moveTo>
                      <a:pt x="64" y="110"/>
                    </a:moveTo>
                    <a:cubicBezTo>
                      <a:pt x="64" y="111"/>
                      <a:pt x="64" y="111"/>
                      <a:pt x="64" y="111"/>
                    </a:cubicBezTo>
                    <a:cubicBezTo>
                      <a:pt x="64" y="111"/>
                      <a:pt x="64" y="110"/>
                      <a:pt x="64" y="110"/>
                    </a:cubicBezTo>
                    <a:cubicBezTo>
                      <a:pt x="64" y="110"/>
                      <a:pt x="64" y="110"/>
                      <a:pt x="64" y="110"/>
                    </a:cubicBezTo>
                    <a:close/>
                    <a:moveTo>
                      <a:pt x="51" y="62"/>
                    </a:moveTo>
                    <a:cubicBezTo>
                      <a:pt x="51" y="62"/>
                      <a:pt x="51" y="62"/>
                      <a:pt x="51" y="62"/>
                    </a:cubicBezTo>
                    <a:cubicBezTo>
                      <a:pt x="51" y="63"/>
                      <a:pt x="52" y="62"/>
                      <a:pt x="52" y="62"/>
                    </a:cubicBezTo>
                    <a:cubicBezTo>
                      <a:pt x="52" y="62"/>
                      <a:pt x="51" y="62"/>
                      <a:pt x="51" y="62"/>
                    </a:cubicBezTo>
                    <a:close/>
                    <a:moveTo>
                      <a:pt x="57" y="65"/>
                    </a:moveTo>
                    <a:cubicBezTo>
                      <a:pt x="57" y="65"/>
                      <a:pt x="57" y="65"/>
                      <a:pt x="57" y="65"/>
                    </a:cubicBezTo>
                    <a:cubicBezTo>
                      <a:pt x="57" y="65"/>
                      <a:pt x="57" y="65"/>
                      <a:pt x="56" y="65"/>
                    </a:cubicBezTo>
                    <a:cubicBezTo>
                      <a:pt x="56" y="65"/>
                      <a:pt x="56" y="65"/>
                      <a:pt x="56" y="65"/>
                    </a:cubicBezTo>
                    <a:cubicBezTo>
                      <a:pt x="56" y="65"/>
                      <a:pt x="56" y="65"/>
                      <a:pt x="57" y="65"/>
                    </a:cubicBezTo>
                    <a:close/>
                    <a:moveTo>
                      <a:pt x="52" y="63"/>
                    </a:moveTo>
                    <a:cubicBezTo>
                      <a:pt x="52" y="63"/>
                      <a:pt x="52" y="63"/>
                      <a:pt x="52" y="63"/>
                    </a:cubicBezTo>
                    <a:cubicBezTo>
                      <a:pt x="52" y="63"/>
                      <a:pt x="53" y="63"/>
                      <a:pt x="53" y="63"/>
                    </a:cubicBezTo>
                    <a:cubicBezTo>
                      <a:pt x="53" y="63"/>
                      <a:pt x="52" y="63"/>
                      <a:pt x="52" y="63"/>
                    </a:cubicBezTo>
                    <a:close/>
                    <a:moveTo>
                      <a:pt x="56" y="66"/>
                    </a:move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lose/>
                    <a:moveTo>
                      <a:pt x="53" y="63"/>
                    </a:moveTo>
                    <a:cubicBezTo>
                      <a:pt x="53" y="63"/>
                      <a:pt x="53" y="63"/>
                      <a:pt x="53" y="63"/>
                    </a:cubicBezTo>
                    <a:cubicBezTo>
                      <a:pt x="53" y="63"/>
                      <a:pt x="53" y="63"/>
                      <a:pt x="53" y="63"/>
                    </a:cubicBezTo>
                    <a:cubicBezTo>
                      <a:pt x="53" y="63"/>
                      <a:pt x="53" y="63"/>
                      <a:pt x="53" y="63"/>
                    </a:cubicBezTo>
                    <a:cubicBezTo>
                      <a:pt x="53" y="63"/>
                      <a:pt x="53" y="63"/>
                      <a:pt x="53" y="63"/>
                    </a:cubicBezTo>
                    <a:close/>
                    <a:moveTo>
                      <a:pt x="55" y="65"/>
                    </a:moveTo>
                    <a:cubicBezTo>
                      <a:pt x="56" y="65"/>
                      <a:pt x="56" y="65"/>
                      <a:pt x="56" y="65"/>
                    </a:cubicBezTo>
                    <a:cubicBezTo>
                      <a:pt x="56" y="65"/>
                      <a:pt x="56" y="65"/>
                      <a:pt x="56" y="65"/>
                    </a:cubicBezTo>
                    <a:cubicBezTo>
                      <a:pt x="56" y="65"/>
                      <a:pt x="56" y="65"/>
                      <a:pt x="56" y="65"/>
                    </a:cubicBezTo>
                    <a:cubicBezTo>
                      <a:pt x="56" y="65"/>
                      <a:pt x="56" y="65"/>
                      <a:pt x="55" y="65"/>
                    </a:cubicBezTo>
                    <a:close/>
                    <a:moveTo>
                      <a:pt x="35" y="58"/>
                    </a:moveTo>
                    <a:cubicBezTo>
                      <a:pt x="35" y="58"/>
                      <a:pt x="35" y="58"/>
                      <a:pt x="35" y="58"/>
                    </a:cubicBezTo>
                    <a:cubicBezTo>
                      <a:pt x="35" y="58"/>
                      <a:pt x="35" y="58"/>
                      <a:pt x="35" y="58"/>
                    </a:cubicBezTo>
                    <a:cubicBezTo>
                      <a:pt x="35" y="58"/>
                      <a:pt x="35" y="58"/>
                      <a:pt x="35"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7"/>
                      <a:pt x="36" y="57"/>
                    </a:cubicBezTo>
                    <a:cubicBezTo>
                      <a:pt x="36" y="57"/>
                      <a:pt x="36" y="57"/>
                      <a:pt x="36" y="58"/>
                    </a:cubicBezTo>
                    <a:cubicBezTo>
                      <a:pt x="36" y="58"/>
                      <a:pt x="36" y="58"/>
                      <a:pt x="36" y="58"/>
                    </a:cubicBezTo>
                    <a:cubicBezTo>
                      <a:pt x="36" y="58"/>
                      <a:pt x="36" y="58"/>
                      <a:pt x="36" y="58"/>
                    </a:cubicBezTo>
                    <a:cubicBezTo>
                      <a:pt x="35" y="58"/>
                      <a:pt x="35" y="58"/>
                      <a:pt x="35" y="58"/>
                    </a:cubicBezTo>
                    <a:cubicBezTo>
                      <a:pt x="35" y="58"/>
                      <a:pt x="35" y="58"/>
                      <a:pt x="35" y="58"/>
                    </a:cubicBezTo>
                    <a:cubicBezTo>
                      <a:pt x="35" y="58"/>
                      <a:pt x="35" y="58"/>
                      <a:pt x="35" y="58"/>
                    </a:cubicBezTo>
                    <a:cubicBezTo>
                      <a:pt x="35" y="58"/>
                      <a:pt x="35" y="58"/>
                      <a:pt x="35" y="58"/>
                    </a:cubicBezTo>
                    <a:close/>
                    <a:moveTo>
                      <a:pt x="35" y="57"/>
                    </a:moveTo>
                    <a:cubicBezTo>
                      <a:pt x="35" y="57"/>
                      <a:pt x="35" y="57"/>
                      <a:pt x="35" y="57"/>
                    </a:cubicBezTo>
                    <a:cubicBezTo>
                      <a:pt x="35" y="57"/>
                      <a:pt x="35" y="57"/>
                      <a:pt x="35" y="57"/>
                    </a:cubicBezTo>
                    <a:cubicBezTo>
                      <a:pt x="35" y="57"/>
                      <a:pt x="35" y="57"/>
                      <a:pt x="35" y="57"/>
                    </a:cubicBezTo>
                    <a:cubicBezTo>
                      <a:pt x="35" y="57"/>
                      <a:pt x="35" y="57"/>
                      <a:pt x="35" y="57"/>
                    </a:cubicBezTo>
                    <a:cubicBezTo>
                      <a:pt x="36" y="57"/>
                      <a:pt x="36" y="57"/>
                      <a:pt x="36" y="57"/>
                    </a:cubicBezTo>
                    <a:cubicBezTo>
                      <a:pt x="36" y="57"/>
                      <a:pt x="36" y="57"/>
                      <a:pt x="36" y="57"/>
                    </a:cubicBezTo>
                    <a:cubicBezTo>
                      <a:pt x="36" y="57"/>
                      <a:pt x="36" y="57"/>
                      <a:pt x="36" y="57"/>
                    </a:cubicBezTo>
                    <a:cubicBezTo>
                      <a:pt x="36" y="57"/>
                      <a:pt x="36" y="57"/>
                      <a:pt x="36" y="57"/>
                    </a:cubicBezTo>
                    <a:cubicBezTo>
                      <a:pt x="36" y="57"/>
                      <a:pt x="36" y="57"/>
                      <a:pt x="36" y="57"/>
                    </a:cubicBezTo>
                    <a:cubicBezTo>
                      <a:pt x="36" y="56"/>
                      <a:pt x="36" y="57"/>
                      <a:pt x="36" y="56"/>
                    </a:cubicBezTo>
                    <a:cubicBezTo>
                      <a:pt x="36" y="56"/>
                      <a:pt x="36" y="56"/>
                      <a:pt x="36" y="56"/>
                    </a:cubicBezTo>
                    <a:cubicBezTo>
                      <a:pt x="36" y="57"/>
                      <a:pt x="36" y="57"/>
                      <a:pt x="35" y="57"/>
                    </a:cubicBezTo>
                    <a:cubicBezTo>
                      <a:pt x="35" y="57"/>
                      <a:pt x="35" y="56"/>
                      <a:pt x="35" y="57"/>
                    </a:cubicBezTo>
                    <a:cubicBezTo>
                      <a:pt x="35" y="57"/>
                      <a:pt x="35" y="57"/>
                      <a:pt x="35" y="57"/>
                    </a:cubicBezTo>
                    <a:cubicBezTo>
                      <a:pt x="35" y="57"/>
                      <a:pt x="35" y="57"/>
                      <a:pt x="35" y="57"/>
                    </a:cubicBezTo>
                    <a:close/>
                    <a:moveTo>
                      <a:pt x="35" y="63"/>
                    </a:move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lose/>
                    <a:moveTo>
                      <a:pt x="36" y="59"/>
                    </a:move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6" y="63"/>
                      <a:pt x="36" y="63"/>
                    </a:cubicBezTo>
                    <a:cubicBezTo>
                      <a:pt x="36" y="63"/>
                      <a:pt x="35" y="63"/>
                      <a:pt x="35" y="63"/>
                    </a:cubicBezTo>
                    <a:cubicBezTo>
                      <a:pt x="35" y="63"/>
                      <a:pt x="35" y="63"/>
                      <a:pt x="36" y="63"/>
                    </a:cubicBezTo>
                    <a:cubicBezTo>
                      <a:pt x="36" y="63"/>
                      <a:pt x="36" y="63"/>
                      <a:pt x="36" y="63"/>
                    </a:cubicBezTo>
                    <a:cubicBezTo>
                      <a:pt x="36" y="63"/>
                      <a:pt x="36" y="63"/>
                      <a:pt x="36" y="63"/>
                    </a:cubicBezTo>
                    <a:cubicBezTo>
                      <a:pt x="36" y="63"/>
                      <a:pt x="36" y="63"/>
                      <a:pt x="36" y="63"/>
                    </a:cubicBezTo>
                    <a:cubicBezTo>
                      <a:pt x="35" y="63"/>
                      <a:pt x="35" y="63"/>
                      <a:pt x="35" y="63"/>
                    </a:cubicBezTo>
                    <a:cubicBezTo>
                      <a:pt x="36" y="63"/>
                      <a:pt x="36" y="63"/>
                      <a:pt x="36" y="63"/>
                    </a:cubicBezTo>
                    <a:cubicBezTo>
                      <a:pt x="36" y="63"/>
                      <a:pt x="36" y="63"/>
                      <a:pt x="36" y="63"/>
                    </a:cubicBezTo>
                    <a:cubicBezTo>
                      <a:pt x="36" y="63"/>
                      <a:pt x="36" y="63"/>
                      <a:pt x="36" y="63"/>
                    </a:cubicBezTo>
                    <a:cubicBezTo>
                      <a:pt x="36" y="63"/>
                      <a:pt x="36" y="63"/>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40" y="60"/>
                    </a:moveTo>
                    <a:cubicBezTo>
                      <a:pt x="40" y="60"/>
                      <a:pt x="40" y="60"/>
                      <a:pt x="40" y="60"/>
                    </a:cubicBezTo>
                    <a:cubicBezTo>
                      <a:pt x="40" y="60"/>
                      <a:pt x="39" y="60"/>
                      <a:pt x="39" y="60"/>
                    </a:cubicBezTo>
                    <a:cubicBezTo>
                      <a:pt x="39" y="60"/>
                      <a:pt x="39" y="60"/>
                      <a:pt x="39" y="60"/>
                    </a:cubicBezTo>
                    <a:cubicBezTo>
                      <a:pt x="38" y="60"/>
                      <a:pt x="38" y="60"/>
                      <a:pt x="38" y="60"/>
                    </a:cubicBezTo>
                    <a:cubicBezTo>
                      <a:pt x="39" y="61"/>
                      <a:pt x="39" y="61"/>
                      <a:pt x="39" y="61"/>
                    </a:cubicBezTo>
                    <a:cubicBezTo>
                      <a:pt x="39" y="61"/>
                      <a:pt x="40" y="61"/>
                      <a:pt x="40" y="61"/>
                    </a:cubicBezTo>
                    <a:cubicBezTo>
                      <a:pt x="40" y="61"/>
                      <a:pt x="40" y="61"/>
                      <a:pt x="40" y="61"/>
                    </a:cubicBezTo>
                    <a:cubicBezTo>
                      <a:pt x="40" y="61"/>
                      <a:pt x="40" y="60"/>
                      <a:pt x="40" y="60"/>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33" y="57"/>
                    </a:move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8" y="60"/>
                      <a:pt x="38" y="60"/>
                      <a:pt x="38" y="60"/>
                    </a:cubicBezTo>
                    <a:cubicBezTo>
                      <a:pt x="38" y="60"/>
                      <a:pt x="38" y="60"/>
                      <a:pt x="38" y="60"/>
                    </a:cubicBezTo>
                    <a:cubicBezTo>
                      <a:pt x="38" y="60"/>
                      <a:pt x="38" y="60"/>
                      <a:pt x="38" y="60"/>
                    </a:cubicBezTo>
                    <a:cubicBezTo>
                      <a:pt x="38" y="60"/>
                      <a:pt x="38" y="60"/>
                      <a:pt x="38" y="60"/>
                    </a:cubicBezTo>
                    <a:cubicBezTo>
                      <a:pt x="38" y="60"/>
                      <a:pt x="38" y="59"/>
                      <a:pt x="38"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51" y="55"/>
                    </a:moveTo>
                    <a:cubicBezTo>
                      <a:pt x="51" y="55"/>
                      <a:pt x="51" y="56"/>
                      <a:pt x="51" y="56"/>
                    </a:cubicBezTo>
                    <a:cubicBezTo>
                      <a:pt x="51" y="56"/>
                      <a:pt x="51" y="57"/>
                      <a:pt x="51" y="57"/>
                    </a:cubicBezTo>
                    <a:cubicBezTo>
                      <a:pt x="51" y="58"/>
                      <a:pt x="51" y="58"/>
                      <a:pt x="50" y="59"/>
                    </a:cubicBezTo>
                    <a:cubicBezTo>
                      <a:pt x="50" y="59"/>
                      <a:pt x="50" y="59"/>
                      <a:pt x="50" y="59"/>
                    </a:cubicBezTo>
                    <a:cubicBezTo>
                      <a:pt x="49" y="59"/>
                      <a:pt x="49" y="58"/>
                      <a:pt x="49" y="58"/>
                    </a:cubicBezTo>
                    <a:cubicBezTo>
                      <a:pt x="49" y="58"/>
                      <a:pt x="49" y="58"/>
                      <a:pt x="49" y="58"/>
                    </a:cubicBezTo>
                    <a:cubicBezTo>
                      <a:pt x="49" y="58"/>
                      <a:pt x="49" y="58"/>
                      <a:pt x="49" y="57"/>
                    </a:cubicBezTo>
                    <a:cubicBezTo>
                      <a:pt x="48" y="57"/>
                      <a:pt x="49" y="57"/>
                      <a:pt x="48" y="57"/>
                    </a:cubicBezTo>
                    <a:cubicBezTo>
                      <a:pt x="48" y="57"/>
                      <a:pt x="48" y="57"/>
                      <a:pt x="48" y="57"/>
                    </a:cubicBezTo>
                    <a:cubicBezTo>
                      <a:pt x="48" y="57"/>
                      <a:pt x="48" y="57"/>
                      <a:pt x="48" y="57"/>
                    </a:cubicBezTo>
                    <a:cubicBezTo>
                      <a:pt x="49" y="57"/>
                      <a:pt x="49" y="56"/>
                      <a:pt x="49" y="57"/>
                    </a:cubicBezTo>
                    <a:cubicBezTo>
                      <a:pt x="49" y="57"/>
                      <a:pt x="49" y="56"/>
                      <a:pt x="49" y="56"/>
                    </a:cubicBezTo>
                    <a:cubicBezTo>
                      <a:pt x="49" y="56"/>
                      <a:pt x="49" y="56"/>
                      <a:pt x="50" y="56"/>
                    </a:cubicBezTo>
                    <a:cubicBezTo>
                      <a:pt x="50" y="56"/>
                      <a:pt x="50" y="56"/>
                      <a:pt x="50" y="56"/>
                    </a:cubicBezTo>
                    <a:cubicBezTo>
                      <a:pt x="49" y="56"/>
                      <a:pt x="49" y="56"/>
                      <a:pt x="49" y="56"/>
                    </a:cubicBezTo>
                    <a:cubicBezTo>
                      <a:pt x="49" y="56"/>
                      <a:pt x="49" y="56"/>
                      <a:pt x="49" y="56"/>
                    </a:cubicBezTo>
                    <a:cubicBezTo>
                      <a:pt x="49" y="56"/>
                      <a:pt x="49" y="56"/>
                      <a:pt x="48" y="56"/>
                    </a:cubicBezTo>
                    <a:cubicBezTo>
                      <a:pt x="48" y="56"/>
                      <a:pt x="48" y="56"/>
                      <a:pt x="48" y="56"/>
                    </a:cubicBezTo>
                    <a:cubicBezTo>
                      <a:pt x="48" y="56"/>
                      <a:pt x="48" y="56"/>
                      <a:pt x="48" y="56"/>
                    </a:cubicBezTo>
                    <a:cubicBezTo>
                      <a:pt x="48" y="57"/>
                      <a:pt x="48" y="56"/>
                      <a:pt x="48" y="57"/>
                    </a:cubicBezTo>
                    <a:cubicBezTo>
                      <a:pt x="48" y="57"/>
                      <a:pt x="48" y="57"/>
                      <a:pt x="48" y="57"/>
                    </a:cubicBezTo>
                    <a:cubicBezTo>
                      <a:pt x="47" y="57"/>
                      <a:pt x="47" y="56"/>
                      <a:pt x="47" y="56"/>
                    </a:cubicBezTo>
                    <a:cubicBezTo>
                      <a:pt x="47" y="56"/>
                      <a:pt x="47" y="56"/>
                      <a:pt x="47" y="56"/>
                    </a:cubicBezTo>
                    <a:cubicBezTo>
                      <a:pt x="47" y="56"/>
                      <a:pt x="47" y="56"/>
                      <a:pt x="47" y="56"/>
                    </a:cubicBezTo>
                    <a:cubicBezTo>
                      <a:pt x="46" y="56"/>
                      <a:pt x="46" y="56"/>
                      <a:pt x="46" y="56"/>
                    </a:cubicBezTo>
                    <a:cubicBezTo>
                      <a:pt x="46" y="56"/>
                      <a:pt x="46" y="56"/>
                      <a:pt x="46" y="56"/>
                    </a:cubicBezTo>
                    <a:cubicBezTo>
                      <a:pt x="45" y="55"/>
                      <a:pt x="45" y="55"/>
                      <a:pt x="45" y="56"/>
                    </a:cubicBezTo>
                    <a:cubicBezTo>
                      <a:pt x="45" y="56"/>
                      <a:pt x="44" y="56"/>
                      <a:pt x="44" y="55"/>
                    </a:cubicBezTo>
                    <a:cubicBezTo>
                      <a:pt x="44" y="55"/>
                      <a:pt x="44" y="55"/>
                      <a:pt x="44" y="55"/>
                    </a:cubicBezTo>
                    <a:cubicBezTo>
                      <a:pt x="44" y="55"/>
                      <a:pt x="44" y="54"/>
                      <a:pt x="44" y="54"/>
                    </a:cubicBezTo>
                    <a:cubicBezTo>
                      <a:pt x="44" y="54"/>
                      <a:pt x="44" y="54"/>
                      <a:pt x="44" y="54"/>
                    </a:cubicBezTo>
                    <a:cubicBezTo>
                      <a:pt x="44" y="54"/>
                      <a:pt x="44" y="54"/>
                      <a:pt x="44" y="54"/>
                    </a:cubicBezTo>
                    <a:cubicBezTo>
                      <a:pt x="44" y="54"/>
                      <a:pt x="44" y="53"/>
                      <a:pt x="44" y="53"/>
                    </a:cubicBezTo>
                    <a:cubicBezTo>
                      <a:pt x="44" y="53"/>
                      <a:pt x="43" y="52"/>
                      <a:pt x="43" y="52"/>
                    </a:cubicBezTo>
                    <a:cubicBezTo>
                      <a:pt x="43" y="52"/>
                      <a:pt x="42" y="52"/>
                      <a:pt x="42" y="52"/>
                    </a:cubicBezTo>
                    <a:cubicBezTo>
                      <a:pt x="41" y="52"/>
                      <a:pt x="41" y="52"/>
                      <a:pt x="41" y="51"/>
                    </a:cubicBezTo>
                    <a:cubicBezTo>
                      <a:pt x="41" y="51"/>
                      <a:pt x="41" y="51"/>
                      <a:pt x="41" y="51"/>
                    </a:cubicBezTo>
                    <a:cubicBezTo>
                      <a:pt x="41" y="51"/>
                      <a:pt x="41" y="51"/>
                      <a:pt x="41" y="50"/>
                    </a:cubicBezTo>
                    <a:cubicBezTo>
                      <a:pt x="40" y="50"/>
                      <a:pt x="40" y="50"/>
                      <a:pt x="40" y="50"/>
                    </a:cubicBezTo>
                    <a:cubicBezTo>
                      <a:pt x="40" y="50"/>
                      <a:pt x="39" y="50"/>
                      <a:pt x="39" y="50"/>
                    </a:cubicBezTo>
                    <a:cubicBezTo>
                      <a:pt x="39" y="49"/>
                      <a:pt x="39" y="49"/>
                      <a:pt x="39" y="49"/>
                    </a:cubicBezTo>
                    <a:cubicBezTo>
                      <a:pt x="39" y="49"/>
                      <a:pt x="39" y="49"/>
                      <a:pt x="39" y="49"/>
                    </a:cubicBezTo>
                    <a:cubicBezTo>
                      <a:pt x="39" y="49"/>
                      <a:pt x="39" y="49"/>
                      <a:pt x="39" y="49"/>
                    </a:cubicBezTo>
                    <a:cubicBezTo>
                      <a:pt x="38" y="49"/>
                      <a:pt x="38" y="49"/>
                      <a:pt x="38" y="49"/>
                    </a:cubicBezTo>
                    <a:cubicBezTo>
                      <a:pt x="38" y="49"/>
                      <a:pt x="38" y="50"/>
                      <a:pt x="38" y="50"/>
                    </a:cubicBezTo>
                    <a:cubicBezTo>
                      <a:pt x="39" y="50"/>
                      <a:pt x="39" y="50"/>
                      <a:pt x="38" y="51"/>
                    </a:cubicBezTo>
                    <a:cubicBezTo>
                      <a:pt x="38" y="51"/>
                      <a:pt x="38" y="51"/>
                      <a:pt x="38" y="51"/>
                    </a:cubicBezTo>
                    <a:cubicBezTo>
                      <a:pt x="39" y="51"/>
                      <a:pt x="39" y="52"/>
                      <a:pt x="39" y="52"/>
                    </a:cubicBezTo>
                    <a:cubicBezTo>
                      <a:pt x="39" y="52"/>
                      <a:pt x="39" y="52"/>
                      <a:pt x="39" y="52"/>
                    </a:cubicBezTo>
                    <a:cubicBezTo>
                      <a:pt x="39" y="52"/>
                      <a:pt x="39" y="52"/>
                      <a:pt x="39" y="52"/>
                    </a:cubicBezTo>
                    <a:cubicBezTo>
                      <a:pt x="39" y="52"/>
                      <a:pt x="39" y="53"/>
                      <a:pt x="39" y="53"/>
                    </a:cubicBezTo>
                    <a:cubicBezTo>
                      <a:pt x="40" y="53"/>
                      <a:pt x="40" y="53"/>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5"/>
                    </a:cubicBezTo>
                    <a:cubicBezTo>
                      <a:pt x="39" y="55"/>
                      <a:pt x="39" y="55"/>
                      <a:pt x="39" y="54"/>
                    </a:cubicBezTo>
                    <a:cubicBezTo>
                      <a:pt x="39" y="54"/>
                      <a:pt x="39" y="54"/>
                      <a:pt x="39" y="53"/>
                    </a:cubicBezTo>
                    <a:cubicBezTo>
                      <a:pt x="39" y="53"/>
                      <a:pt x="39" y="53"/>
                      <a:pt x="39" y="53"/>
                    </a:cubicBezTo>
                    <a:cubicBezTo>
                      <a:pt x="38" y="53"/>
                      <a:pt x="38" y="53"/>
                      <a:pt x="38" y="53"/>
                    </a:cubicBezTo>
                    <a:cubicBezTo>
                      <a:pt x="38" y="53"/>
                      <a:pt x="38" y="53"/>
                      <a:pt x="38" y="52"/>
                    </a:cubicBezTo>
                    <a:cubicBezTo>
                      <a:pt x="38" y="52"/>
                      <a:pt x="38" y="52"/>
                      <a:pt x="38" y="52"/>
                    </a:cubicBezTo>
                    <a:cubicBezTo>
                      <a:pt x="37" y="52"/>
                      <a:pt x="37" y="52"/>
                      <a:pt x="37" y="52"/>
                    </a:cubicBezTo>
                    <a:cubicBezTo>
                      <a:pt x="37" y="52"/>
                      <a:pt x="36" y="52"/>
                      <a:pt x="36" y="51"/>
                    </a:cubicBezTo>
                    <a:cubicBezTo>
                      <a:pt x="36" y="51"/>
                      <a:pt x="36" y="51"/>
                      <a:pt x="36" y="51"/>
                    </a:cubicBezTo>
                    <a:cubicBezTo>
                      <a:pt x="36" y="51"/>
                      <a:pt x="36" y="51"/>
                      <a:pt x="36" y="51"/>
                    </a:cubicBezTo>
                    <a:cubicBezTo>
                      <a:pt x="36" y="50"/>
                      <a:pt x="35" y="50"/>
                      <a:pt x="35" y="50"/>
                    </a:cubicBezTo>
                    <a:cubicBezTo>
                      <a:pt x="35" y="50"/>
                      <a:pt x="35" y="50"/>
                      <a:pt x="34" y="50"/>
                    </a:cubicBezTo>
                    <a:cubicBezTo>
                      <a:pt x="34" y="50"/>
                      <a:pt x="34" y="50"/>
                      <a:pt x="34" y="50"/>
                    </a:cubicBezTo>
                    <a:cubicBezTo>
                      <a:pt x="34" y="50"/>
                      <a:pt x="34" y="50"/>
                      <a:pt x="34" y="50"/>
                    </a:cubicBezTo>
                    <a:cubicBezTo>
                      <a:pt x="33" y="50"/>
                      <a:pt x="33" y="49"/>
                      <a:pt x="33" y="49"/>
                    </a:cubicBezTo>
                    <a:cubicBezTo>
                      <a:pt x="33" y="49"/>
                      <a:pt x="33" y="49"/>
                      <a:pt x="33" y="49"/>
                    </a:cubicBezTo>
                    <a:cubicBezTo>
                      <a:pt x="33" y="49"/>
                      <a:pt x="33" y="49"/>
                      <a:pt x="32" y="49"/>
                    </a:cubicBezTo>
                    <a:cubicBezTo>
                      <a:pt x="32" y="50"/>
                      <a:pt x="32" y="50"/>
                      <a:pt x="32" y="50"/>
                    </a:cubicBezTo>
                    <a:cubicBezTo>
                      <a:pt x="32" y="50"/>
                      <a:pt x="31" y="50"/>
                      <a:pt x="31" y="50"/>
                    </a:cubicBezTo>
                    <a:cubicBezTo>
                      <a:pt x="31" y="50"/>
                      <a:pt x="31" y="50"/>
                      <a:pt x="31" y="50"/>
                    </a:cubicBezTo>
                    <a:cubicBezTo>
                      <a:pt x="31" y="50"/>
                      <a:pt x="31" y="51"/>
                      <a:pt x="31" y="51"/>
                    </a:cubicBezTo>
                    <a:cubicBezTo>
                      <a:pt x="31" y="51"/>
                      <a:pt x="31" y="51"/>
                      <a:pt x="31" y="51"/>
                    </a:cubicBezTo>
                    <a:cubicBezTo>
                      <a:pt x="31" y="51"/>
                      <a:pt x="31" y="51"/>
                      <a:pt x="31" y="51"/>
                    </a:cubicBezTo>
                    <a:cubicBezTo>
                      <a:pt x="31" y="51"/>
                      <a:pt x="31" y="52"/>
                      <a:pt x="30" y="52"/>
                    </a:cubicBezTo>
                    <a:cubicBezTo>
                      <a:pt x="30" y="52"/>
                      <a:pt x="30" y="52"/>
                      <a:pt x="30" y="52"/>
                    </a:cubicBezTo>
                    <a:cubicBezTo>
                      <a:pt x="30" y="52"/>
                      <a:pt x="30"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8" y="52"/>
                    </a:cubicBezTo>
                    <a:cubicBezTo>
                      <a:pt x="28" y="52"/>
                      <a:pt x="28" y="52"/>
                      <a:pt x="28" y="52"/>
                    </a:cubicBezTo>
                    <a:cubicBezTo>
                      <a:pt x="28" y="52"/>
                      <a:pt x="28" y="52"/>
                      <a:pt x="28" y="52"/>
                    </a:cubicBezTo>
                    <a:cubicBezTo>
                      <a:pt x="28" y="52"/>
                      <a:pt x="28" y="52"/>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7" y="51"/>
                      <a:pt x="27" y="51"/>
                      <a:pt x="27" y="51"/>
                    </a:cubicBezTo>
                    <a:cubicBezTo>
                      <a:pt x="27" y="51"/>
                      <a:pt x="27" y="52"/>
                      <a:pt x="27" y="51"/>
                    </a:cubicBezTo>
                    <a:cubicBezTo>
                      <a:pt x="26" y="51"/>
                      <a:pt x="26" y="51"/>
                      <a:pt x="27" y="51"/>
                    </a:cubicBezTo>
                    <a:cubicBezTo>
                      <a:pt x="27" y="50"/>
                      <a:pt x="27" y="50"/>
                      <a:pt x="27" y="50"/>
                    </a:cubicBezTo>
                    <a:cubicBezTo>
                      <a:pt x="27" y="50"/>
                      <a:pt x="27" y="50"/>
                      <a:pt x="27" y="50"/>
                    </a:cubicBezTo>
                    <a:cubicBezTo>
                      <a:pt x="26" y="50"/>
                      <a:pt x="26" y="50"/>
                      <a:pt x="25" y="50"/>
                    </a:cubicBezTo>
                    <a:cubicBezTo>
                      <a:pt x="25" y="50"/>
                      <a:pt x="25" y="50"/>
                      <a:pt x="25" y="50"/>
                    </a:cubicBezTo>
                    <a:cubicBezTo>
                      <a:pt x="25" y="50"/>
                      <a:pt x="25" y="51"/>
                      <a:pt x="25" y="51"/>
                    </a:cubicBezTo>
                    <a:cubicBezTo>
                      <a:pt x="25" y="51"/>
                      <a:pt x="25" y="51"/>
                      <a:pt x="25" y="51"/>
                    </a:cubicBezTo>
                    <a:cubicBezTo>
                      <a:pt x="25" y="51"/>
                      <a:pt x="25" y="51"/>
                      <a:pt x="25" y="51"/>
                    </a:cubicBezTo>
                    <a:cubicBezTo>
                      <a:pt x="25" y="51"/>
                      <a:pt x="25" y="51"/>
                      <a:pt x="25" y="51"/>
                    </a:cubicBezTo>
                    <a:cubicBezTo>
                      <a:pt x="25" y="50"/>
                      <a:pt x="25" y="50"/>
                      <a:pt x="25" y="50"/>
                    </a:cubicBezTo>
                    <a:cubicBezTo>
                      <a:pt x="25" y="50"/>
                      <a:pt x="25" y="50"/>
                      <a:pt x="25" y="50"/>
                    </a:cubicBezTo>
                    <a:cubicBezTo>
                      <a:pt x="25" y="49"/>
                      <a:pt x="25" y="49"/>
                      <a:pt x="24" y="48"/>
                    </a:cubicBezTo>
                    <a:cubicBezTo>
                      <a:pt x="24" y="48"/>
                      <a:pt x="24" y="48"/>
                      <a:pt x="24" y="48"/>
                    </a:cubicBezTo>
                    <a:cubicBezTo>
                      <a:pt x="24" y="48"/>
                      <a:pt x="24" y="48"/>
                      <a:pt x="24" y="48"/>
                    </a:cubicBezTo>
                    <a:cubicBezTo>
                      <a:pt x="24" y="48"/>
                      <a:pt x="24" y="48"/>
                      <a:pt x="24" y="48"/>
                    </a:cubicBezTo>
                    <a:cubicBezTo>
                      <a:pt x="24" y="48"/>
                      <a:pt x="25" y="48"/>
                      <a:pt x="25" y="48"/>
                    </a:cubicBezTo>
                    <a:cubicBezTo>
                      <a:pt x="25" y="47"/>
                      <a:pt x="25" y="47"/>
                      <a:pt x="25" y="47"/>
                    </a:cubicBezTo>
                    <a:cubicBezTo>
                      <a:pt x="25" y="47"/>
                      <a:pt x="25" y="47"/>
                      <a:pt x="25" y="47"/>
                    </a:cubicBezTo>
                    <a:cubicBezTo>
                      <a:pt x="25" y="47"/>
                      <a:pt x="26" y="47"/>
                      <a:pt x="26" y="46"/>
                    </a:cubicBezTo>
                    <a:cubicBezTo>
                      <a:pt x="26" y="46"/>
                      <a:pt x="26" y="46"/>
                      <a:pt x="26" y="46"/>
                    </a:cubicBezTo>
                    <a:cubicBezTo>
                      <a:pt x="27" y="46"/>
                      <a:pt x="27" y="46"/>
                      <a:pt x="27" y="46"/>
                    </a:cubicBezTo>
                    <a:cubicBezTo>
                      <a:pt x="27" y="46"/>
                      <a:pt x="27" y="45"/>
                      <a:pt x="27" y="45"/>
                    </a:cubicBezTo>
                    <a:cubicBezTo>
                      <a:pt x="27" y="45"/>
                      <a:pt x="27" y="45"/>
                      <a:pt x="27" y="45"/>
                    </a:cubicBezTo>
                    <a:cubicBezTo>
                      <a:pt x="27" y="45"/>
                      <a:pt x="27" y="45"/>
                      <a:pt x="27" y="44"/>
                    </a:cubicBezTo>
                    <a:cubicBezTo>
                      <a:pt x="26" y="44"/>
                      <a:pt x="26" y="44"/>
                      <a:pt x="26" y="44"/>
                    </a:cubicBezTo>
                    <a:cubicBezTo>
                      <a:pt x="26" y="44"/>
                      <a:pt x="26" y="44"/>
                      <a:pt x="26" y="44"/>
                    </a:cubicBezTo>
                    <a:cubicBezTo>
                      <a:pt x="26" y="44"/>
                      <a:pt x="26" y="44"/>
                      <a:pt x="25" y="44"/>
                    </a:cubicBezTo>
                    <a:cubicBezTo>
                      <a:pt x="25" y="44"/>
                      <a:pt x="25" y="44"/>
                      <a:pt x="25" y="44"/>
                    </a:cubicBezTo>
                    <a:cubicBezTo>
                      <a:pt x="25" y="44"/>
                      <a:pt x="24" y="44"/>
                      <a:pt x="24" y="43"/>
                    </a:cubicBezTo>
                    <a:cubicBezTo>
                      <a:pt x="24" y="43"/>
                      <a:pt x="24" y="43"/>
                      <a:pt x="24" y="43"/>
                    </a:cubicBezTo>
                    <a:cubicBezTo>
                      <a:pt x="24" y="43"/>
                      <a:pt x="24" y="43"/>
                      <a:pt x="24" y="43"/>
                    </a:cubicBezTo>
                    <a:cubicBezTo>
                      <a:pt x="24" y="44"/>
                      <a:pt x="24" y="44"/>
                      <a:pt x="24" y="44"/>
                    </a:cubicBezTo>
                    <a:cubicBezTo>
                      <a:pt x="24" y="45"/>
                      <a:pt x="24" y="45"/>
                      <a:pt x="24" y="46"/>
                    </a:cubicBezTo>
                    <a:cubicBezTo>
                      <a:pt x="24" y="46"/>
                      <a:pt x="24" y="46"/>
                      <a:pt x="24" y="46"/>
                    </a:cubicBezTo>
                    <a:cubicBezTo>
                      <a:pt x="24" y="46"/>
                      <a:pt x="24" y="46"/>
                      <a:pt x="24" y="46"/>
                    </a:cubicBezTo>
                    <a:cubicBezTo>
                      <a:pt x="24" y="46"/>
                      <a:pt x="24" y="46"/>
                      <a:pt x="24" y="46"/>
                    </a:cubicBezTo>
                    <a:cubicBezTo>
                      <a:pt x="23" y="46"/>
                      <a:pt x="23" y="46"/>
                      <a:pt x="23" y="46"/>
                    </a:cubicBezTo>
                    <a:cubicBezTo>
                      <a:pt x="23" y="46"/>
                      <a:pt x="23" y="46"/>
                      <a:pt x="23" y="46"/>
                    </a:cubicBezTo>
                    <a:cubicBezTo>
                      <a:pt x="23" y="45"/>
                      <a:pt x="23" y="45"/>
                      <a:pt x="23" y="45"/>
                    </a:cubicBezTo>
                    <a:cubicBezTo>
                      <a:pt x="22" y="45"/>
                      <a:pt x="22" y="45"/>
                      <a:pt x="22" y="44"/>
                    </a:cubicBezTo>
                    <a:cubicBezTo>
                      <a:pt x="22" y="44"/>
                      <a:pt x="22" y="44"/>
                      <a:pt x="22" y="44"/>
                    </a:cubicBezTo>
                    <a:cubicBezTo>
                      <a:pt x="22" y="44"/>
                      <a:pt x="22" y="44"/>
                      <a:pt x="22" y="44"/>
                    </a:cubicBezTo>
                    <a:cubicBezTo>
                      <a:pt x="22" y="44"/>
                      <a:pt x="22" y="44"/>
                      <a:pt x="22" y="44"/>
                    </a:cubicBezTo>
                    <a:cubicBezTo>
                      <a:pt x="22" y="44"/>
                      <a:pt x="22" y="44"/>
                      <a:pt x="22" y="44"/>
                    </a:cubicBezTo>
                    <a:cubicBezTo>
                      <a:pt x="22" y="44"/>
                      <a:pt x="22" y="44"/>
                      <a:pt x="22" y="43"/>
                    </a:cubicBezTo>
                    <a:cubicBezTo>
                      <a:pt x="22" y="43"/>
                      <a:pt x="22" y="43"/>
                      <a:pt x="21" y="43"/>
                    </a:cubicBezTo>
                    <a:cubicBezTo>
                      <a:pt x="21" y="43"/>
                      <a:pt x="21" y="43"/>
                      <a:pt x="21" y="43"/>
                    </a:cubicBezTo>
                    <a:cubicBezTo>
                      <a:pt x="21" y="43"/>
                      <a:pt x="21" y="44"/>
                      <a:pt x="21" y="44"/>
                    </a:cubicBezTo>
                    <a:cubicBezTo>
                      <a:pt x="21" y="44"/>
                      <a:pt x="21" y="44"/>
                      <a:pt x="21" y="44"/>
                    </a:cubicBezTo>
                    <a:cubicBezTo>
                      <a:pt x="21" y="44"/>
                      <a:pt x="20" y="44"/>
                      <a:pt x="20" y="43"/>
                    </a:cubicBezTo>
                    <a:cubicBezTo>
                      <a:pt x="20" y="43"/>
                      <a:pt x="20" y="43"/>
                      <a:pt x="20" y="43"/>
                    </a:cubicBezTo>
                    <a:cubicBezTo>
                      <a:pt x="20" y="43"/>
                      <a:pt x="20" y="42"/>
                      <a:pt x="20" y="42"/>
                    </a:cubicBezTo>
                    <a:cubicBezTo>
                      <a:pt x="20" y="42"/>
                      <a:pt x="20" y="42"/>
                      <a:pt x="20" y="42"/>
                    </a:cubicBezTo>
                    <a:cubicBezTo>
                      <a:pt x="20" y="42"/>
                      <a:pt x="20" y="42"/>
                      <a:pt x="20" y="42"/>
                    </a:cubicBezTo>
                    <a:cubicBezTo>
                      <a:pt x="20" y="42"/>
                      <a:pt x="20" y="42"/>
                      <a:pt x="20" y="41"/>
                    </a:cubicBezTo>
                    <a:cubicBezTo>
                      <a:pt x="20" y="41"/>
                      <a:pt x="20" y="41"/>
                      <a:pt x="20" y="40"/>
                    </a:cubicBezTo>
                    <a:cubicBezTo>
                      <a:pt x="20" y="40"/>
                      <a:pt x="20" y="40"/>
                      <a:pt x="20" y="40"/>
                    </a:cubicBezTo>
                    <a:cubicBezTo>
                      <a:pt x="19" y="40"/>
                      <a:pt x="19" y="40"/>
                      <a:pt x="19" y="39"/>
                    </a:cubicBezTo>
                    <a:cubicBezTo>
                      <a:pt x="19" y="39"/>
                      <a:pt x="19" y="39"/>
                      <a:pt x="19" y="39"/>
                    </a:cubicBezTo>
                    <a:cubicBezTo>
                      <a:pt x="19" y="38"/>
                      <a:pt x="19" y="38"/>
                      <a:pt x="19" y="38"/>
                    </a:cubicBezTo>
                    <a:cubicBezTo>
                      <a:pt x="19" y="38"/>
                      <a:pt x="19" y="38"/>
                      <a:pt x="19" y="37"/>
                    </a:cubicBezTo>
                    <a:cubicBezTo>
                      <a:pt x="19" y="37"/>
                      <a:pt x="19" y="37"/>
                      <a:pt x="19" y="37"/>
                    </a:cubicBezTo>
                    <a:cubicBezTo>
                      <a:pt x="19" y="37"/>
                      <a:pt x="19" y="37"/>
                      <a:pt x="19" y="37"/>
                    </a:cubicBezTo>
                    <a:cubicBezTo>
                      <a:pt x="19" y="37"/>
                      <a:pt x="18" y="37"/>
                      <a:pt x="18" y="36"/>
                    </a:cubicBezTo>
                    <a:cubicBezTo>
                      <a:pt x="18" y="36"/>
                      <a:pt x="18" y="36"/>
                      <a:pt x="18" y="36"/>
                    </a:cubicBezTo>
                    <a:cubicBezTo>
                      <a:pt x="18" y="36"/>
                      <a:pt x="19" y="36"/>
                      <a:pt x="19" y="36"/>
                    </a:cubicBezTo>
                    <a:cubicBezTo>
                      <a:pt x="19" y="36"/>
                      <a:pt x="19" y="36"/>
                      <a:pt x="19"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4"/>
                      <a:pt x="18" y="34"/>
                      <a:pt x="18" y="33"/>
                    </a:cubicBezTo>
                    <a:cubicBezTo>
                      <a:pt x="18" y="33"/>
                      <a:pt x="18" y="33"/>
                      <a:pt x="18" y="33"/>
                    </a:cubicBezTo>
                    <a:cubicBezTo>
                      <a:pt x="18" y="32"/>
                      <a:pt x="18" y="32"/>
                      <a:pt x="18" y="32"/>
                    </a:cubicBezTo>
                    <a:cubicBezTo>
                      <a:pt x="18" y="32"/>
                      <a:pt x="19" y="32"/>
                      <a:pt x="19" y="32"/>
                    </a:cubicBezTo>
                    <a:cubicBezTo>
                      <a:pt x="19" y="32"/>
                      <a:pt x="19" y="32"/>
                      <a:pt x="19" y="32"/>
                    </a:cubicBezTo>
                    <a:cubicBezTo>
                      <a:pt x="19" y="32"/>
                      <a:pt x="19" y="32"/>
                      <a:pt x="19" y="32"/>
                    </a:cubicBez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20" y="33"/>
                      <a:pt x="20" y="33"/>
                    </a:cubicBezTo>
                    <a:cubicBezTo>
                      <a:pt x="20" y="33"/>
                      <a:pt x="20" y="34"/>
                      <a:pt x="20" y="34"/>
                    </a:cubicBezTo>
                    <a:cubicBezTo>
                      <a:pt x="20" y="34"/>
                      <a:pt x="20" y="34"/>
                      <a:pt x="20" y="34"/>
                    </a:cubicBezTo>
                    <a:cubicBezTo>
                      <a:pt x="20" y="34"/>
                      <a:pt x="20" y="34"/>
                      <a:pt x="20" y="34"/>
                    </a:cubicBezTo>
                    <a:cubicBezTo>
                      <a:pt x="21" y="34"/>
                      <a:pt x="21" y="34"/>
                      <a:pt x="21" y="34"/>
                    </a:cubicBezTo>
                    <a:cubicBezTo>
                      <a:pt x="21" y="34"/>
                      <a:pt x="21" y="34"/>
                      <a:pt x="21" y="34"/>
                    </a:cubicBezTo>
                    <a:cubicBezTo>
                      <a:pt x="21" y="34"/>
                      <a:pt x="22" y="34"/>
                      <a:pt x="22" y="34"/>
                    </a:cubicBezTo>
                    <a:cubicBezTo>
                      <a:pt x="22" y="34"/>
                      <a:pt x="22" y="34"/>
                      <a:pt x="22" y="34"/>
                    </a:cubicBezTo>
                    <a:cubicBezTo>
                      <a:pt x="22" y="33"/>
                      <a:pt x="22" y="33"/>
                      <a:pt x="22" y="33"/>
                    </a:cubicBezTo>
                    <a:cubicBezTo>
                      <a:pt x="22" y="33"/>
                      <a:pt x="22" y="33"/>
                      <a:pt x="22" y="33"/>
                    </a:cubicBezTo>
                    <a:cubicBezTo>
                      <a:pt x="22" y="33"/>
                      <a:pt x="22" y="33"/>
                      <a:pt x="22" y="33"/>
                    </a:cubicBezTo>
                    <a:cubicBezTo>
                      <a:pt x="22" y="33"/>
                      <a:pt x="22" y="32"/>
                      <a:pt x="22" y="32"/>
                    </a:cubicBezTo>
                    <a:cubicBezTo>
                      <a:pt x="22" y="32"/>
                      <a:pt x="22" y="31"/>
                      <a:pt x="22" y="31"/>
                    </a:cubicBezTo>
                    <a:cubicBezTo>
                      <a:pt x="22" y="31"/>
                      <a:pt x="21" y="30"/>
                      <a:pt x="22" y="30"/>
                    </a:cubicBezTo>
                    <a:cubicBezTo>
                      <a:pt x="22" y="29"/>
                      <a:pt x="22" y="29"/>
                      <a:pt x="22" y="29"/>
                    </a:cubicBezTo>
                    <a:cubicBezTo>
                      <a:pt x="22" y="29"/>
                      <a:pt x="22" y="29"/>
                      <a:pt x="22" y="29"/>
                    </a:cubicBezTo>
                    <a:cubicBezTo>
                      <a:pt x="21" y="29"/>
                      <a:pt x="21" y="28"/>
                      <a:pt x="22" y="28"/>
                    </a:cubicBezTo>
                    <a:cubicBezTo>
                      <a:pt x="22" y="28"/>
                      <a:pt x="22" y="28"/>
                      <a:pt x="22" y="28"/>
                    </a:cubicBezTo>
                    <a:cubicBezTo>
                      <a:pt x="22" y="28"/>
                      <a:pt x="22" y="28"/>
                      <a:pt x="22" y="28"/>
                    </a:cubicBezTo>
                    <a:cubicBezTo>
                      <a:pt x="22" y="28"/>
                      <a:pt x="22" y="28"/>
                      <a:pt x="22" y="28"/>
                    </a:cubicBezTo>
                    <a:cubicBezTo>
                      <a:pt x="22" y="28"/>
                      <a:pt x="22" y="28"/>
                      <a:pt x="22" y="28"/>
                    </a:cubicBezTo>
                    <a:cubicBezTo>
                      <a:pt x="22" y="28"/>
                      <a:pt x="22" y="28"/>
                      <a:pt x="22" y="27"/>
                    </a:cubicBezTo>
                    <a:cubicBezTo>
                      <a:pt x="22" y="27"/>
                      <a:pt x="22" y="27"/>
                      <a:pt x="22" y="27"/>
                    </a:cubicBezTo>
                    <a:cubicBezTo>
                      <a:pt x="22" y="27"/>
                      <a:pt x="22" y="27"/>
                      <a:pt x="22" y="27"/>
                    </a:cubicBezTo>
                    <a:cubicBezTo>
                      <a:pt x="22" y="26"/>
                      <a:pt x="22" y="26"/>
                      <a:pt x="22" y="26"/>
                    </a:cubicBezTo>
                    <a:cubicBezTo>
                      <a:pt x="22" y="26"/>
                      <a:pt x="22" y="25"/>
                      <a:pt x="22" y="25"/>
                    </a:cubicBezTo>
                    <a:cubicBezTo>
                      <a:pt x="22" y="25"/>
                      <a:pt x="22" y="25"/>
                      <a:pt x="22" y="25"/>
                    </a:cubicBezTo>
                    <a:cubicBezTo>
                      <a:pt x="22" y="24"/>
                      <a:pt x="22" y="24"/>
                      <a:pt x="22" y="24"/>
                    </a:cubicBezTo>
                    <a:cubicBezTo>
                      <a:pt x="22" y="24"/>
                      <a:pt x="22" y="24"/>
                      <a:pt x="22" y="24"/>
                    </a:cubicBezTo>
                    <a:cubicBezTo>
                      <a:pt x="22" y="24"/>
                      <a:pt x="22" y="23"/>
                      <a:pt x="21" y="23"/>
                    </a:cubicBezTo>
                    <a:cubicBezTo>
                      <a:pt x="21" y="23"/>
                      <a:pt x="21" y="23"/>
                      <a:pt x="21" y="23"/>
                    </a:cubicBezTo>
                    <a:cubicBezTo>
                      <a:pt x="21" y="22"/>
                      <a:pt x="22" y="22"/>
                      <a:pt x="22" y="22"/>
                    </a:cubicBezTo>
                    <a:cubicBezTo>
                      <a:pt x="22" y="22"/>
                      <a:pt x="22" y="22"/>
                      <a:pt x="22" y="22"/>
                    </a:cubicBezTo>
                    <a:cubicBezTo>
                      <a:pt x="22" y="22"/>
                      <a:pt x="22" y="21"/>
                      <a:pt x="22" y="21"/>
                    </a:cubicBezTo>
                    <a:cubicBezTo>
                      <a:pt x="22" y="21"/>
                      <a:pt x="22" y="21"/>
                      <a:pt x="22" y="21"/>
                    </a:cubicBezTo>
                    <a:cubicBezTo>
                      <a:pt x="22" y="21"/>
                      <a:pt x="22" y="20"/>
                      <a:pt x="22" y="20"/>
                    </a:cubicBezTo>
                    <a:cubicBezTo>
                      <a:pt x="22" y="20"/>
                      <a:pt x="22" y="20"/>
                      <a:pt x="22" y="20"/>
                    </a:cubicBezTo>
                    <a:cubicBezTo>
                      <a:pt x="22" y="20"/>
                      <a:pt x="22" y="20"/>
                      <a:pt x="22" y="20"/>
                    </a:cubicBezTo>
                    <a:cubicBezTo>
                      <a:pt x="22" y="20"/>
                      <a:pt x="22" y="20"/>
                      <a:pt x="22" y="20"/>
                    </a:cubicBezTo>
                    <a:cubicBezTo>
                      <a:pt x="22" y="20"/>
                      <a:pt x="22" y="19"/>
                      <a:pt x="22" y="19"/>
                    </a:cubicBezTo>
                    <a:cubicBezTo>
                      <a:pt x="22" y="19"/>
                      <a:pt x="22" y="19"/>
                      <a:pt x="22" y="19"/>
                    </a:cubicBezTo>
                    <a:cubicBezTo>
                      <a:pt x="22" y="18"/>
                      <a:pt x="23" y="18"/>
                      <a:pt x="23" y="18"/>
                    </a:cubicBezTo>
                    <a:cubicBezTo>
                      <a:pt x="23" y="17"/>
                      <a:pt x="23" y="17"/>
                      <a:pt x="23" y="17"/>
                    </a:cubicBezTo>
                    <a:cubicBezTo>
                      <a:pt x="23" y="17"/>
                      <a:pt x="22" y="17"/>
                      <a:pt x="22" y="17"/>
                    </a:cubicBezTo>
                    <a:cubicBezTo>
                      <a:pt x="22" y="17"/>
                      <a:pt x="22" y="16"/>
                      <a:pt x="23" y="16"/>
                    </a:cubicBezTo>
                    <a:cubicBezTo>
                      <a:pt x="23" y="16"/>
                      <a:pt x="23" y="16"/>
                      <a:pt x="23" y="16"/>
                    </a:cubicBezTo>
                    <a:cubicBezTo>
                      <a:pt x="23" y="16"/>
                      <a:pt x="24" y="16"/>
                      <a:pt x="24" y="16"/>
                    </a:cubicBezTo>
                    <a:cubicBezTo>
                      <a:pt x="24" y="16"/>
                      <a:pt x="24" y="16"/>
                      <a:pt x="24" y="16"/>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5" y="16"/>
                      <a:pt x="25" y="16"/>
                    </a:cubicBezTo>
                    <a:cubicBezTo>
                      <a:pt x="25" y="16"/>
                      <a:pt x="25" y="16"/>
                      <a:pt x="25" y="16"/>
                    </a:cubicBezTo>
                    <a:cubicBezTo>
                      <a:pt x="25" y="15"/>
                      <a:pt x="25" y="15"/>
                      <a:pt x="26" y="15"/>
                    </a:cubicBezTo>
                    <a:cubicBezTo>
                      <a:pt x="26" y="15"/>
                      <a:pt x="26" y="15"/>
                      <a:pt x="26" y="15"/>
                    </a:cubicBezTo>
                    <a:cubicBezTo>
                      <a:pt x="26" y="15"/>
                      <a:pt x="27" y="15"/>
                      <a:pt x="27" y="15"/>
                    </a:cubicBezTo>
                    <a:cubicBezTo>
                      <a:pt x="27" y="15"/>
                      <a:pt x="27" y="15"/>
                      <a:pt x="27" y="15"/>
                    </a:cubicBezTo>
                    <a:cubicBezTo>
                      <a:pt x="27" y="15"/>
                      <a:pt x="28" y="16"/>
                      <a:pt x="28" y="16"/>
                    </a:cubicBezTo>
                    <a:cubicBezTo>
                      <a:pt x="29" y="16"/>
                      <a:pt x="29" y="16"/>
                      <a:pt x="29" y="16"/>
                    </a:cubicBezTo>
                    <a:cubicBezTo>
                      <a:pt x="29" y="16"/>
                      <a:pt x="29" y="16"/>
                      <a:pt x="29" y="16"/>
                    </a:cubicBezTo>
                    <a:cubicBezTo>
                      <a:pt x="29" y="16"/>
                      <a:pt x="29" y="16"/>
                      <a:pt x="29" y="16"/>
                    </a:cubicBezTo>
                    <a:cubicBezTo>
                      <a:pt x="30" y="17"/>
                      <a:pt x="30" y="17"/>
                      <a:pt x="30" y="17"/>
                    </a:cubicBezTo>
                    <a:cubicBezTo>
                      <a:pt x="30" y="17"/>
                      <a:pt x="30" y="17"/>
                      <a:pt x="30" y="17"/>
                    </a:cubicBezTo>
                    <a:cubicBezTo>
                      <a:pt x="31" y="17"/>
                      <a:pt x="32" y="17"/>
                      <a:pt x="32" y="17"/>
                    </a:cubicBezTo>
                    <a:cubicBezTo>
                      <a:pt x="32" y="17"/>
                      <a:pt x="32" y="17"/>
                      <a:pt x="32" y="17"/>
                    </a:cubicBezTo>
                    <a:cubicBezTo>
                      <a:pt x="32" y="17"/>
                      <a:pt x="33" y="17"/>
                      <a:pt x="33" y="17"/>
                    </a:cubicBezTo>
                    <a:cubicBezTo>
                      <a:pt x="33" y="17"/>
                      <a:pt x="33" y="17"/>
                      <a:pt x="33" y="17"/>
                    </a:cubicBezTo>
                    <a:cubicBezTo>
                      <a:pt x="33" y="17"/>
                      <a:pt x="34" y="16"/>
                      <a:pt x="34" y="16"/>
                    </a:cubicBezTo>
                    <a:cubicBezTo>
                      <a:pt x="34" y="16"/>
                      <a:pt x="34" y="16"/>
                      <a:pt x="34" y="16"/>
                    </a:cubicBezTo>
                    <a:cubicBezTo>
                      <a:pt x="34" y="16"/>
                      <a:pt x="34" y="16"/>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5" y="16"/>
                      <a:pt x="35" y="16"/>
                      <a:pt x="35" y="16"/>
                    </a:cubicBezTo>
                    <a:cubicBezTo>
                      <a:pt x="35" y="17"/>
                      <a:pt x="35" y="17"/>
                      <a:pt x="35" y="17"/>
                    </a:cubicBezTo>
                    <a:cubicBezTo>
                      <a:pt x="35" y="18"/>
                      <a:pt x="35" y="18"/>
                      <a:pt x="34" y="18"/>
                    </a:cubicBezTo>
                    <a:cubicBezTo>
                      <a:pt x="34" y="18"/>
                      <a:pt x="34" y="19"/>
                      <a:pt x="34" y="19"/>
                    </a:cubicBezTo>
                    <a:cubicBezTo>
                      <a:pt x="34" y="19"/>
                      <a:pt x="34" y="20"/>
                      <a:pt x="34" y="20"/>
                    </a:cubicBezTo>
                    <a:cubicBezTo>
                      <a:pt x="34" y="21"/>
                      <a:pt x="34" y="21"/>
                      <a:pt x="34" y="21"/>
                    </a:cubicBezTo>
                    <a:cubicBezTo>
                      <a:pt x="34" y="21"/>
                      <a:pt x="34" y="22"/>
                      <a:pt x="34" y="22"/>
                    </a:cubicBezTo>
                    <a:cubicBezTo>
                      <a:pt x="34" y="22"/>
                      <a:pt x="34" y="22"/>
                      <a:pt x="34" y="23"/>
                    </a:cubicBezTo>
                    <a:cubicBezTo>
                      <a:pt x="35" y="23"/>
                      <a:pt x="35" y="23"/>
                      <a:pt x="35" y="24"/>
                    </a:cubicBezTo>
                    <a:cubicBezTo>
                      <a:pt x="35" y="24"/>
                      <a:pt x="35" y="24"/>
                      <a:pt x="36" y="24"/>
                    </a:cubicBezTo>
                    <a:cubicBezTo>
                      <a:pt x="36" y="24"/>
                      <a:pt x="36" y="24"/>
                      <a:pt x="36" y="24"/>
                    </a:cubicBezTo>
                    <a:cubicBezTo>
                      <a:pt x="36" y="24"/>
                      <a:pt x="36" y="24"/>
                      <a:pt x="36" y="25"/>
                    </a:cubicBezTo>
                    <a:cubicBezTo>
                      <a:pt x="36" y="25"/>
                      <a:pt x="36" y="25"/>
                      <a:pt x="36" y="25"/>
                    </a:cubicBezTo>
                    <a:cubicBezTo>
                      <a:pt x="36" y="25"/>
                      <a:pt x="36" y="25"/>
                      <a:pt x="36" y="25"/>
                    </a:cubicBezTo>
                    <a:cubicBezTo>
                      <a:pt x="36" y="26"/>
                      <a:pt x="37" y="26"/>
                      <a:pt x="37" y="25"/>
                    </a:cubicBezTo>
                    <a:cubicBezTo>
                      <a:pt x="37" y="25"/>
                      <a:pt x="37" y="26"/>
                      <a:pt x="37" y="26"/>
                    </a:cubicBezTo>
                    <a:cubicBezTo>
                      <a:pt x="37" y="26"/>
                      <a:pt x="37" y="26"/>
                      <a:pt x="37" y="26"/>
                    </a:cubicBezTo>
                    <a:cubicBezTo>
                      <a:pt x="37" y="27"/>
                      <a:pt x="37" y="27"/>
                      <a:pt x="37" y="27"/>
                    </a:cubicBezTo>
                    <a:cubicBezTo>
                      <a:pt x="37" y="27"/>
                      <a:pt x="37" y="28"/>
                      <a:pt x="37" y="28"/>
                    </a:cubicBezTo>
                    <a:cubicBezTo>
                      <a:pt x="36" y="28"/>
                      <a:pt x="37" y="28"/>
                      <a:pt x="36" y="28"/>
                    </a:cubicBezTo>
                    <a:cubicBezTo>
                      <a:pt x="36" y="28"/>
                      <a:pt x="36" y="28"/>
                      <a:pt x="36" y="28"/>
                    </a:cubicBezTo>
                    <a:cubicBezTo>
                      <a:pt x="36" y="29"/>
                      <a:pt x="36" y="29"/>
                      <a:pt x="36" y="29"/>
                    </a:cubicBezTo>
                    <a:cubicBezTo>
                      <a:pt x="36" y="30"/>
                      <a:pt x="36" y="30"/>
                      <a:pt x="36" y="30"/>
                    </a:cubicBezTo>
                    <a:cubicBezTo>
                      <a:pt x="36" y="30"/>
                      <a:pt x="35" y="30"/>
                      <a:pt x="35" y="30"/>
                    </a:cubicBezTo>
                    <a:cubicBezTo>
                      <a:pt x="35" y="30"/>
                      <a:pt x="35" y="30"/>
                      <a:pt x="35" y="30"/>
                    </a:cubicBezTo>
                    <a:cubicBezTo>
                      <a:pt x="35" y="30"/>
                      <a:pt x="35" y="30"/>
                      <a:pt x="35" y="30"/>
                    </a:cubicBezTo>
                    <a:cubicBezTo>
                      <a:pt x="35" y="30"/>
                      <a:pt x="35" y="30"/>
                      <a:pt x="35" y="30"/>
                    </a:cubicBezTo>
                    <a:cubicBezTo>
                      <a:pt x="35" y="30"/>
                      <a:pt x="35" y="31"/>
                      <a:pt x="35" y="31"/>
                    </a:cubicBezTo>
                    <a:cubicBezTo>
                      <a:pt x="35" y="31"/>
                      <a:pt x="35" y="31"/>
                      <a:pt x="35" y="31"/>
                    </a:cubicBezTo>
                    <a:cubicBezTo>
                      <a:pt x="35" y="31"/>
                      <a:pt x="35" y="32"/>
                      <a:pt x="35" y="32"/>
                    </a:cubicBezTo>
                    <a:cubicBezTo>
                      <a:pt x="35" y="32"/>
                      <a:pt x="35" y="32"/>
                      <a:pt x="35" y="32"/>
                    </a:cubicBezTo>
                    <a:cubicBezTo>
                      <a:pt x="35" y="32"/>
                      <a:pt x="35" y="32"/>
                      <a:pt x="35" y="32"/>
                    </a:cubicBezTo>
                    <a:cubicBezTo>
                      <a:pt x="34" y="33"/>
                      <a:pt x="34" y="33"/>
                      <a:pt x="34" y="34"/>
                    </a:cubicBezTo>
                    <a:cubicBezTo>
                      <a:pt x="34" y="34"/>
                      <a:pt x="34" y="34"/>
                      <a:pt x="34" y="34"/>
                    </a:cubicBezTo>
                    <a:cubicBezTo>
                      <a:pt x="34" y="34"/>
                      <a:pt x="34" y="33"/>
                      <a:pt x="34" y="33"/>
                    </a:cubicBezTo>
                    <a:cubicBezTo>
                      <a:pt x="34" y="33"/>
                      <a:pt x="34" y="33"/>
                      <a:pt x="34" y="33"/>
                    </a:cubicBezTo>
                    <a:cubicBezTo>
                      <a:pt x="34" y="33"/>
                      <a:pt x="34" y="33"/>
                      <a:pt x="34" y="32"/>
                    </a:cubicBezTo>
                    <a:cubicBezTo>
                      <a:pt x="35" y="32"/>
                      <a:pt x="35" y="32"/>
                      <a:pt x="34" y="32"/>
                    </a:cubicBezTo>
                    <a:cubicBezTo>
                      <a:pt x="34" y="32"/>
                      <a:pt x="34" y="32"/>
                      <a:pt x="34" y="32"/>
                    </a:cubicBezTo>
                    <a:cubicBezTo>
                      <a:pt x="34" y="33"/>
                      <a:pt x="34" y="33"/>
                      <a:pt x="34" y="33"/>
                    </a:cubicBezTo>
                    <a:cubicBezTo>
                      <a:pt x="34" y="33"/>
                      <a:pt x="34" y="33"/>
                      <a:pt x="33" y="33"/>
                    </a:cubicBezTo>
                    <a:cubicBezTo>
                      <a:pt x="33" y="33"/>
                      <a:pt x="33" y="33"/>
                      <a:pt x="32" y="33"/>
                    </a:cubicBezTo>
                    <a:cubicBezTo>
                      <a:pt x="32" y="34"/>
                      <a:pt x="32" y="34"/>
                      <a:pt x="32" y="34"/>
                    </a:cubicBezTo>
                    <a:cubicBezTo>
                      <a:pt x="32" y="34"/>
                      <a:pt x="32" y="34"/>
                      <a:pt x="31" y="34"/>
                    </a:cubicBezTo>
                    <a:cubicBezTo>
                      <a:pt x="31" y="34"/>
                      <a:pt x="31" y="34"/>
                      <a:pt x="31" y="34"/>
                    </a:cubicBezTo>
                    <a:cubicBezTo>
                      <a:pt x="31" y="34"/>
                      <a:pt x="31" y="35"/>
                      <a:pt x="31" y="35"/>
                    </a:cubicBezTo>
                    <a:cubicBezTo>
                      <a:pt x="30" y="35"/>
                      <a:pt x="31" y="35"/>
                      <a:pt x="31" y="36"/>
                    </a:cubicBezTo>
                    <a:cubicBezTo>
                      <a:pt x="31" y="36"/>
                      <a:pt x="31" y="36"/>
                      <a:pt x="31" y="36"/>
                    </a:cubicBezTo>
                    <a:cubicBezTo>
                      <a:pt x="31" y="36"/>
                      <a:pt x="32" y="36"/>
                      <a:pt x="31" y="36"/>
                    </a:cubicBezTo>
                    <a:cubicBezTo>
                      <a:pt x="31" y="37"/>
                      <a:pt x="31" y="37"/>
                      <a:pt x="31" y="37"/>
                    </a:cubicBezTo>
                    <a:cubicBezTo>
                      <a:pt x="31" y="38"/>
                      <a:pt x="30" y="38"/>
                      <a:pt x="30" y="38"/>
                    </a:cubicBezTo>
                    <a:cubicBezTo>
                      <a:pt x="30" y="38"/>
                      <a:pt x="30" y="38"/>
                      <a:pt x="30" y="38"/>
                    </a:cubicBezTo>
                    <a:cubicBezTo>
                      <a:pt x="30" y="38"/>
                      <a:pt x="30" y="38"/>
                      <a:pt x="30" y="39"/>
                    </a:cubicBezTo>
                    <a:cubicBezTo>
                      <a:pt x="30" y="39"/>
                      <a:pt x="30" y="39"/>
                      <a:pt x="30" y="39"/>
                    </a:cubicBezTo>
                    <a:cubicBezTo>
                      <a:pt x="30" y="39"/>
                      <a:pt x="30" y="39"/>
                      <a:pt x="30" y="39"/>
                    </a:cubicBezTo>
                    <a:cubicBezTo>
                      <a:pt x="30" y="39"/>
                      <a:pt x="30" y="40"/>
                      <a:pt x="30" y="40"/>
                    </a:cubicBezTo>
                    <a:cubicBezTo>
                      <a:pt x="30" y="40"/>
                      <a:pt x="30" y="40"/>
                      <a:pt x="30" y="40"/>
                    </a:cubicBezTo>
                    <a:cubicBezTo>
                      <a:pt x="30" y="40"/>
                      <a:pt x="30" y="40"/>
                      <a:pt x="30" y="40"/>
                    </a:cubicBezTo>
                    <a:cubicBezTo>
                      <a:pt x="31" y="41"/>
                      <a:pt x="31" y="41"/>
                      <a:pt x="31" y="41"/>
                    </a:cubicBezTo>
                    <a:cubicBezTo>
                      <a:pt x="31" y="41"/>
                      <a:pt x="31" y="41"/>
                      <a:pt x="31" y="41"/>
                    </a:cubicBezTo>
                    <a:cubicBezTo>
                      <a:pt x="31" y="42"/>
                      <a:pt x="31" y="42"/>
                      <a:pt x="31" y="42"/>
                    </a:cubicBezTo>
                    <a:cubicBezTo>
                      <a:pt x="31" y="42"/>
                      <a:pt x="31" y="43"/>
                      <a:pt x="31" y="43"/>
                    </a:cubicBezTo>
                    <a:cubicBezTo>
                      <a:pt x="32" y="43"/>
                      <a:pt x="32" y="43"/>
                      <a:pt x="32" y="43"/>
                    </a:cubicBezTo>
                    <a:cubicBezTo>
                      <a:pt x="32" y="43"/>
                      <a:pt x="32" y="44"/>
                      <a:pt x="32" y="44"/>
                    </a:cubicBezTo>
                    <a:cubicBezTo>
                      <a:pt x="32" y="44"/>
                      <a:pt x="32" y="44"/>
                      <a:pt x="32" y="44"/>
                    </a:cubicBezTo>
                    <a:cubicBezTo>
                      <a:pt x="32" y="44"/>
                      <a:pt x="32" y="44"/>
                      <a:pt x="32" y="44"/>
                    </a:cubicBezTo>
                    <a:cubicBezTo>
                      <a:pt x="32" y="44"/>
                      <a:pt x="32" y="45"/>
                      <a:pt x="32" y="45"/>
                    </a:cubicBezTo>
                    <a:cubicBezTo>
                      <a:pt x="32" y="45"/>
                      <a:pt x="32" y="45"/>
                      <a:pt x="32" y="45"/>
                    </a:cubicBezTo>
                    <a:cubicBezTo>
                      <a:pt x="32" y="46"/>
                      <a:pt x="32" y="46"/>
                      <a:pt x="33" y="47"/>
                    </a:cubicBezTo>
                    <a:cubicBezTo>
                      <a:pt x="33" y="47"/>
                      <a:pt x="33" y="47"/>
                      <a:pt x="33" y="47"/>
                    </a:cubicBezTo>
                    <a:cubicBezTo>
                      <a:pt x="33" y="47"/>
                      <a:pt x="33" y="47"/>
                      <a:pt x="33" y="47"/>
                    </a:cubicBezTo>
                    <a:cubicBezTo>
                      <a:pt x="33" y="48"/>
                      <a:pt x="33" y="48"/>
                      <a:pt x="33" y="48"/>
                    </a:cubicBezTo>
                    <a:cubicBezTo>
                      <a:pt x="33" y="48"/>
                      <a:pt x="34" y="49"/>
                      <a:pt x="34" y="49"/>
                    </a:cubicBezTo>
                    <a:cubicBezTo>
                      <a:pt x="35" y="49"/>
                      <a:pt x="35" y="49"/>
                      <a:pt x="36" y="49"/>
                    </a:cubicBezTo>
                    <a:cubicBezTo>
                      <a:pt x="36" y="49"/>
                      <a:pt x="36" y="49"/>
                      <a:pt x="36" y="49"/>
                    </a:cubicBezTo>
                    <a:cubicBezTo>
                      <a:pt x="36" y="49"/>
                      <a:pt x="36" y="49"/>
                      <a:pt x="36" y="49"/>
                    </a:cubicBezTo>
                    <a:cubicBezTo>
                      <a:pt x="36" y="49"/>
                      <a:pt x="36" y="49"/>
                      <a:pt x="36" y="49"/>
                    </a:cubicBezTo>
                    <a:cubicBezTo>
                      <a:pt x="36" y="49"/>
                      <a:pt x="36" y="49"/>
                      <a:pt x="37" y="49"/>
                    </a:cubicBezTo>
                    <a:cubicBezTo>
                      <a:pt x="37" y="49"/>
                      <a:pt x="37" y="49"/>
                      <a:pt x="37" y="49"/>
                    </a:cubicBezTo>
                    <a:cubicBezTo>
                      <a:pt x="37" y="49"/>
                      <a:pt x="37" y="48"/>
                      <a:pt x="36" y="48"/>
                    </a:cubicBezTo>
                    <a:cubicBezTo>
                      <a:pt x="36" y="48"/>
                      <a:pt x="36" y="48"/>
                      <a:pt x="36" y="48"/>
                    </a:cubicBezTo>
                    <a:cubicBezTo>
                      <a:pt x="36" y="48"/>
                      <a:pt x="36" y="48"/>
                      <a:pt x="36" y="47"/>
                    </a:cubicBezTo>
                    <a:cubicBezTo>
                      <a:pt x="36" y="47"/>
                      <a:pt x="36" y="47"/>
                      <a:pt x="36" y="47"/>
                    </a:cubicBezTo>
                    <a:cubicBezTo>
                      <a:pt x="36" y="47"/>
                      <a:pt x="36" y="47"/>
                      <a:pt x="36" y="47"/>
                    </a:cubicBezTo>
                    <a:cubicBezTo>
                      <a:pt x="37" y="47"/>
                      <a:pt x="36" y="47"/>
                      <a:pt x="36" y="47"/>
                    </a:cubicBezTo>
                    <a:cubicBezTo>
                      <a:pt x="37" y="47"/>
                      <a:pt x="36" y="48"/>
                      <a:pt x="37" y="48"/>
                    </a:cubicBezTo>
                    <a:cubicBezTo>
                      <a:pt x="37" y="48"/>
                      <a:pt x="37" y="48"/>
                      <a:pt x="37" y="48"/>
                    </a:cubicBezTo>
                    <a:cubicBezTo>
                      <a:pt x="37" y="48"/>
                      <a:pt x="37" y="48"/>
                      <a:pt x="37" y="48"/>
                    </a:cubicBezTo>
                    <a:cubicBezTo>
                      <a:pt x="37" y="47"/>
                      <a:pt x="37" y="47"/>
                      <a:pt x="37" y="47"/>
                    </a:cubicBezTo>
                    <a:cubicBezTo>
                      <a:pt x="37" y="47"/>
                      <a:pt x="37" y="47"/>
                      <a:pt x="37" y="46"/>
                    </a:cubicBezTo>
                    <a:cubicBezTo>
                      <a:pt x="38" y="46"/>
                      <a:pt x="38" y="46"/>
                      <a:pt x="39" y="46"/>
                    </a:cubicBezTo>
                    <a:cubicBezTo>
                      <a:pt x="39" y="46"/>
                      <a:pt x="39" y="46"/>
                      <a:pt x="39" y="46"/>
                    </a:cubicBezTo>
                    <a:cubicBezTo>
                      <a:pt x="39" y="46"/>
                      <a:pt x="39" y="46"/>
                      <a:pt x="39" y="46"/>
                    </a:cubicBezTo>
                    <a:cubicBezTo>
                      <a:pt x="39" y="46"/>
                      <a:pt x="39" y="46"/>
                      <a:pt x="39" y="46"/>
                    </a:cubicBezTo>
                    <a:cubicBezTo>
                      <a:pt x="39" y="46"/>
                      <a:pt x="39" y="46"/>
                      <a:pt x="39" y="46"/>
                    </a:cubicBezTo>
                    <a:cubicBezTo>
                      <a:pt x="40" y="46"/>
                      <a:pt x="40" y="46"/>
                      <a:pt x="40" y="46"/>
                    </a:cubicBezTo>
                    <a:cubicBezTo>
                      <a:pt x="40" y="47"/>
                      <a:pt x="41" y="46"/>
                      <a:pt x="41" y="47"/>
                    </a:cubicBezTo>
                    <a:cubicBezTo>
                      <a:pt x="41" y="47"/>
                      <a:pt x="41" y="47"/>
                      <a:pt x="42" y="47"/>
                    </a:cubicBezTo>
                    <a:cubicBezTo>
                      <a:pt x="42" y="48"/>
                      <a:pt x="42" y="48"/>
                      <a:pt x="42" y="48"/>
                    </a:cubicBezTo>
                    <a:cubicBezTo>
                      <a:pt x="42" y="48"/>
                      <a:pt x="42" y="48"/>
                      <a:pt x="42" y="48"/>
                    </a:cubicBezTo>
                    <a:cubicBezTo>
                      <a:pt x="43" y="49"/>
                      <a:pt x="43" y="49"/>
                      <a:pt x="43" y="49"/>
                    </a:cubicBezTo>
                    <a:cubicBezTo>
                      <a:pt x="43" y="49"/>
                      <a:pt x="43" y="49"/>
                      <a:pt x="42" y="49"/>
                    </a:cubicBezTo>
                    <a:cubicBezTo>
                      <a:pt x="42" y="49"/>
                      <a:pt x="42" y="50"/>
                      <a:pt x="42" y="50"/>
                    </a:cubicBezTo>
                    <a:cubicBezTo>
                      <a:pt x="42" y="50"/>
                      <a:pt x="42" y="50"/>
                      <a:pt x="43" y="50"/>
                    </a:cubicBezTo>
                    <a:cubicBezTo>
                      <a:pt x="43" y="50"/>
                      <a:pt x="43" y="50"/>
                      <a:pt x="43" y="50"/>
                    </a:cubicBezTo>
                    <a:cubicBezTo>
                      <a:pt x="43" y="50"/>
                      <a:pt x="43" y="50"/>
                      <a:pt x="44" y="50"/>
                    </a:cubicBezTo>
                    <a:cubicBezTo>
                      <a:pt x="44" y="50"/>
                      <a:pt x="44" y="50"/>
                      <a:pt x="44" y="50"/>
                    </a:cubicBezTo>
                    <a:cubicBezTo>
                      <a:pt x="44" y="50"/>
                      <a:pt x="44" y="50"/>
                      <a:pt x="44" y="50"/>
                    </a:cubicBezTo>
                    <a:cubicBezTo>
                      <a:pt x="44" y="50"/>
                      <a:pt x="44" y="50"/>
                      <a:pt x="44" y="49"/>
                    </a:cubicBezTo>
                    <a:cubicBezTo>
                      <a:pt x="44" y="49"/>
                      <a:pt x="44" y="49"/>
                      <a:pt x="44" y="49"/>
                    </a:cubicBezTo>
                    <a:cubicBezTo>
                      <a:pt x="44" y="49"/>
                      <a:pt x="44" y="49"/>
                      <a:pt x="44" y="49"/>
                    </a:cubicBezTo>
                    <a:cubicBezTo>
                      <a:pt x="44" y="49"/>
                      <a:pt x="44" y="49"/>
                      <a:pt x="44" y="48"/>
                    </a:cubicBezTo>
                    <a:cubicBezTo>
                      <a:pt x="43" y="48"/>
                      <a:pt x="43" y="48"/>
                      <a:pt x="43" y="48"/>
                    </a:cubicBezTo>
                    <a:cubicBezTo>
                      <a:pt x="43" y="48"/>
                      <a:pt x="44" y="48"/>
                      <a:pt x="44" y="48"/>
                    </a:cubicBezTo>
                    <a:cubicBezTo>
                      <a:pt x="44" y="48"/>
                      <a:pt x="44" y="48"/>
                      <a:pt x="44" y="48"/>
                    </a:cubicBezTo>
                    <a:cubicBezTo>
                      <a:pt x="44" y="48"/>
                      <a:pt x="44" y="48"/>
                      <a:pt x="45" y="48"/>
                    </a:cubicBezTo>
                    <a:cubicBezTo>
                      <a:pt x="45" y="48"/>
                      <a:pt x="45" y="48"/>
                      <a:pt x="45" y="48"/>
                    </a:cubicBezTo>
                    <a:cubicBezTo>
                      <a:pt x="45" y="48"/>
                      <a:pt x="45" y="48"/>
                      <a:pt x="45" y="49"/>
                    </a:cubicBezTo>
                    <a:cubicBezTo>
                      <a:pt x="45" y="49"/>
                      <a:pt x="45" y="49"/>
                      <a:pt x="45" y="49"/>
                    </a:cubicBezTo>
                    <a:cubicBezTo>
                      <a:pt x="45" y="48"/>
                      <a:pt x="46" y="49"/>
                      <a:pt x="46" y="49"/>
                    </a:cubicBezTo>
                    <a:cubicBezTo>
                      <a:pt x="46" y="49"/>
                      <a:pt x="47" y="49"/>
                      <a:pt x="47" y="49"/>
                    </a:cubicBezTo>
                    <a:cubicBezTo>
                      <a:pt x="47" y="49"/>
                      <a:pt x="47" y="49"/>
                      <a:pt x="47" y="49"/>
                    </a:cubicBezTo>
                    <a:cubicBezTo>
                      <a:pt x="47" y="49"/>
                      <a:pt x="47" y="49"/>
                      <a:pt x="48" y="49"/>
                    </a:cubicBezTo>
                    <a:cubicBezTo>
                      <a:pt x="48" y="49"/>
                      <a:pt x="48" y="49"/>
                      <a:pt x="48" y="49"/>
                    </a:cubicBezTo>
                    <a:cubicBezTo>
                      <a:pt x="48" y="49"/>
                      <a:pt x="49" y="50"/>
                      <a:pt x="49" y="50"/>
                    </a:cubicBezTo>
                    <a:cubicBezTo>
                      <a:pt x="49" y="50"/>
                      <a:pt x="49" y="50"/>
                      <a:pt x="49" y="50"/>
                    </a:cubicBezTo>
                    <a:cubicBezTo>
                      <a:pt x="49" y="50"/>
                      <a:pt x="49" y="50"/>
                      <a:pt x="49" y="50"/>
                    </a:cubicBezTo>
                    <a:cubicBezTo>
                      <a:pt x="49" y="50"/>
                      <a:pt x="48" y="50"/>
                      <a:pt x="48" y="50"/>
                    </a:cubicBezTo>
                    <a:cubicBezTo>
                      <a:pt x="48" y="50"/>
                      <a:pt x="48" y="50"/>
                      <a:pt x="48" y="50"/>
                    </a:cubicBezTo>
                    <a:cubicBezTo>
                      <a:pt x="48" y="50"/>
                      <a:pt x="48" y="50"/>
                      <a:pt x="47" y="50"/>
                    </a:cubicBezTo>
                    <a:cubicBezTo>
                      <a:pt x="47" y="50"/>
                      <a:pt x="47" y="50"/>
                      <a:pt x="46" y="50"/>
                    </a:cubicBezTo>
                    <a:cubicBezTo>
                      <a:pt x="46" y="51"/>
                      <a:pt x="46" y="51"/>
                      <a:pt x="46" y="51"/>
                    </a:cubicBezTo>
                    <a:cubicBezTo>
                      <a:pt x="46" y="51"/>
                      <a:pt x="46" y="51"/>
                      <a:pt x="46" y="52"/>
                    </a:cubicBezTo>
                    <a:cubicBezTo>
                      <a:pt x="46" y="52"/>
                      <a:pt x="46" y="52"/>
                      <a:pt x="47" y="52"/>
                    </a:cubicBezTo>
                    <a:cubicBezTo>
                      <a:pt x="47" y="52"/>
                      <a:pt x="47" y="52"/>
                      <a:pt x="47" y="52"/>
                    </a:cubicBezTo>
                    <a:cubicBezTo>
                      <a:pt x="47" y="52"/>
                      <a:pt x="47" y="53"/>
                      <a:pt x="48" y="53"/>
                    </a:cubicBezTo>
                    <a:cubicBezTo>
                      <a:pt x="48" y="53"/>
                      <a:pt x="48" y="53"/>
                      <a:pt x="48" y="53"/>
                    </a:cubicBezTo>
                    <a:cubicBezTo>
                      <a:pt x="48" y="54"/>
                      <a:pt x="48" y="54"/>
                      <a:pt x="48" y="54"/>
                    </a:cubicBezTo>
                    <a:cubicBezTo>
                      <a:pt x="48" y="54"/>
                      <a:pt x="48" y="53"/>
                      <a:pt x="48" y="53"/>
                    </a:cubicBezTo>
                    <a:cubicBezTo>
                      <a:pt x="48" y="53"/>
                      <a:pt x="48" y="53"/>
                      <a:pt x="48" y="53"/>
                    </a:cubicBezTo>
                    <a:cubicBezTo>
                      <a:pt x="48" y="53"/>
                      <a:pt x="48" y="53"/>
                      <a:pt x="48" y="53"/>
                    </a:cubicBezTo>
                    <a:cubicBezTo>
                      <a:pt x="48" y="53"/>
                      <a:pt x="49" y="53"/>
                      <a:pt x="49" y="53"/>
                    </a:cubicBezTo>
                    <a:cubicBezTo>
                      <a:pt x="49" y="53"/>
                      <a:pt x="49" y="53"/>
                      <a:pt x="49" y="54"/>
                    </a:cubicBezTo>
                    <a:cubicBezTo>
                      <a:pt x="49" y="54"/>
                      <a:pt x="48" y="54"/>
                      <a:pt x="48" y="54"/>
                    </a:cubicBezTo>
                    <a:cubicBezTo>
                      <a:pt x="48" y="54"/>
                      <a:pt x="48" y="54"/>
                      <a:pt x="48" y="54"/>
                    </a:cubicBezTo>
                    <a:cubicBezTo>
                      <a:pt x="48" y="54"/>
                      <a:pt x="48" y="54"/>
                      <a:pt x="48" y="54"/>
                    </a:cubicBezTo>
                    <a:cubicBezTo>
                      <a:pt x="48" y="55"/>
                      <a:pt x="48" y="55"/>
                      <a:pt x="48" y="55"/>
                    </a:cubicBezTo>
                    <a:cubicBezTo>
                      <a:pt x="48" y="55"/>
                      <a:pt x="48" y="55"/>
                      <a:pt x="48" y="55"/>
                    </a:cubicBezTo>
                    <a:cubicBezTo>
                      <a:pt x="48" y="55"/>
                      <a:pt x="48" y="55"/>
                      <a:pt x="48" y="55"/>
                    </a:cubicBezTo>
                    <a:cubicBezTo>
                      <a:pt x="48" y="55"/>
                      <a:pt x="48" y="55"/>
                      <a:pt x="48" y="55"/>
                    </a:cubicBezTo>
                    <a:cubicBezTo>
                      <a:pt x="48" y="54"/>
                      <a:pt x="49" y="54"/>
                      <a:pt x="49" y="54"/>
                    </a:cubicBezTo>
                    <a:cubicBezTo>
                      <a:pt x="49" y="55"/>
                      <a:pt x="49" y="55"/>
                      <a:pt x="49" y="55"/>
                    </a:cubicBezTo>
                    <a:cubicBezTo>
                      <a:pt x="50" y="55"/>
                      <a:pt x="50" y="55"/>
                      <a:pt x="50" y="55"/>
                    </a:cubicBezTo>
                    <a:cubicBezTo>
                      <a:pt x="50" y="55"/>
                      <a:pt x="50" y="55"/>
                      <a:pt x="50" y="55"/>
                    </a:cubicBezTo>
                    <a:cubicBezTo>
                      <a:pt x="50" y="55"/>
                      <a:pt x="50" y="55"/>
                      <a:pt x="51" y="55"/>
                    </a:cubicBezTo>
                    <a:cubicBezTo>
                      <a:pt x="51" y="55"/>
                      <a:pt x="51" y="55"/>
                      <a:pt x="51" y="55"/>
                    </a:cubicBezTo>
                    <a:cubicBezTo>
                      <a:pt x="51" y="55"/>
                      <a:pt x="51" y="55"/>
                      <a:pt x="51" y="55"/>
                    </a:cubicBezTo>
                    <a:close/>
                    <a:moveTo>
                      <a:pt x="27" y="40"/>
                    </a:moveTo>
                    <a:cubicBezTo>
                      <a:pt x="27" y="40"/>
                      <a:pt x="27" y="40"/>
                      <a:pt x="27" y="40"/>
                    </a:cubicBezTo>
                    <a:cubicBezTo>
                      <a:pt x="27" y="40"/>
                      <a:pt x="27" y="40"/>
                      <a:pt x="27" y="40"/>
                    </a:cubicBezTo>
                    <a:cubicBezTo>
                      <a:pt x="27" y="40"/>
                      <a:pt x="27" y="40"/>
                      <a:pt x="27" y="40"/>
                    </a:cubicBezTo>
                    <a:close/>
                    <a:moveTo>
                      <a:pt x="40" y="49"/>
                    </a:moveTo>
                    <a:cubicBezTo>
                      <a:pt x="40" y="49"/>
                      <a:pt x="40" y="48"/>
                      <a:pt x="40" y="48"/>
                    </a:cubicBezTo>
                    <a:cubicBezTo>
                      <a:pt x="40" y="48"/>
                      <a:pt x="40" y="49"/>
                      <a:pt x="40" y="49"/>
                    </a:cubicBezTo>
                    <a:close/>
                    <a:moveTo>
                      <a:pt x="39" y="52"/>
                    </a:moveTo>
                    <a:cubicBezTo>
                      <a:pt x="39" y="52"/>
                      <a:pt x="39" y="52"/>
                      <a:pt x="39" y="52"/>
                    </a:cubicBezTo>
                    <a:cubicBezTo>
                      <a:pt x="39" y="52"/>
                      <a:pt x="39" y="52"/>
                      <a:pt x="39" y="52"/>
                    </a:cubicBezTo>
                    <a:cubicBezTo>
                      <a:pt x="39" y="52"/>
                      <a:pt x="39" y="52"/>
                      <a:pt x="39" y="52"/>
                    </a:cubicBezTo>
                    <a:close/>
                    <a:moveTo>
                      <a:pt x="36" y="43"/>
                    </a:moveTo>
                    <a:cubicBezTo>
                      <a:pt x="36" y="43"/>
                      <a:pt x="36" y="43"/>
                      <a:pt x="36" y="43"/>
                    </a:cubicBezTo>
                    <a:cubicBezTo>
                      <a:pt x="36" y="43"/>
                      <a:pt x="36" y="42"/>
                      <a:pt x="35" y="43"/>
                    </a:cubicBezTo>
                    <a:cubicBezTo>
                      <a:pt x="35" y="43"/>
                      <a:pt x="35" y="42"/>
                      <a:pt x="35" y="43"/>
                    </a:cubicBezTo>
                    <a:cubicBezTo>
                      <a:pt x="35" y="43"/>
                      <a:pt x="35" y="43"/>
                      <a:pt x="35" y="43"/>
                    </a:cubicBezTo>
                    <a:cubicBezTo>
                      <a:pt x="35" y="43"/>
                      <a:pt x="36" y="43"/>
                      <a:pt x="36" y="43"/>
                    </a:cubicBezTo>
                    <a:cubicBezTo>
                      <a:pt x="36" y="43"/>
                      <a:pt x="36" y="43"/>
                      <a:pt x="36" y="43"/>
                    </a:cubicBezTo>
                    <a:close/>
                    <a:moveTo>
                      <a:pt x="34" y="42"/>
                    </a:moveTo>
                    <a:cubicBezTo>
                      <a:pt x="34" y="43"/>
                      <a:pt x="34" y="43"/>
                      <a:pt x="35" y="43"/>
                    </a:cubicBezTo>
                    <a:cubicBezTo>
                      <a:pt x="35" y="43"/>
                      <a:pt x="35" y="42"/>
                      <a:pt x="35" y="42"/>
                    </a:cubicBezTo>
                    <a:cubicBezTo>
                      <a:pt x="35" y="42"/>
                      <a:pt x="35" y="42"/>
                      <a:pt x="35" y="42"/>
                    </a:cubicBezTo>
                    <a:cubicBezTo>
                      <a:pt x="34" y="42"/>
                      <a:pt x="34" y="42"/>
                      <a:pt x="34" y="42"/>
                    </a:cubicBezTo>
                    <a:close/>
                    <a:moveTo>
                      <a:pt x="35" y="48"/>
                    </a:moveTo>
                    <a:cubicBezTo>
                      <a:pt x="35" y="48"/>
                      <a:pt x="35" y="48"/>
                      <a:pt x="35" y="48"/>
                    </a:cubicBezTo>
                    <a:cubicBezTo>
                      <a:pt x="35" y="48"/>
                      <a:pt x="35" y="48"/>
                      <a:pt x="35" y="49"/>
                    </a:cubicBezTo>
                    <a:cubicBezTo>
                      <a:pt x="35" y="49"/>
                      <a:pt x="36" y="49"/>
                      <a:pt x="36" y="49"/>
                    </a:cubicBezTo>
                    <a:cubicBezTo>
                      <a:pt x="36" y="48"/>
                      <a:pt x="36" y="48"/>
                      <a:pt x="36" y="48"/>
                    </a:cubicBezTo>
                    <a:cubicBezTo>
                      <a:pt x="35" y="48"/>
                      <a:pt x="35" y="48"/>
                      <a:pt x="34" y="47"/>
                    </a:cubicBezTo>
                    <a:cubicBezTo>
                      <a:pt x="34" y="47"/>
                      <a:pt x="34" y="47"/>
                      <a:pt x="34" y="47"/>
                    </a:cubicBezTo>
                    <a:cubicBezTo>
                      <a:pt x="34" y="47"/>
                      <a:pt x="34" y="47"/>
                      <a:pt x="34" y="47"/>
                    </a:cubicBezTo>
                    <a:cubicBezTo>
                      <a:pt x="34" y="47"/>
                      <a:pt x="34" y="47"/>
                      <a:pt x="34" y="47"/>
                    </a:cubicBezTo>
                    <a:cubicBezTo>
                      <a:pt x="34" y="48"/>
                      <a:pt x="34" y="48"/>
                      <a:pt x="35" y="48"/>
                    </a:cubicBezTo>
                    <a:close/>
                    <a:moveTo>
                      <a:pt x="37" y="43"/>
                    </a:moveTo>
                    <a:cubicBezTo>
                      <a:pt x="37" y="43"/>
                      <a:pt x="37" y="43"/>
                      <a:pt x="37" y="43"/>
                    </a:cubicBezTo>
                    <a:cubicBezTo>
                      <a:pt x="37" y="44"/>
                      <a:pt x="36" y="44"/>
                      <a:pt x="37" y="44"/>
                    </a:cubicBezTo>
                    <a:cubicBezTo>
                      <a:pt x="37" y="44"/>
                      <a:pt x="37" y="44"/>
                      <a:pt x="37" y="44"/>
                    </a:cubicBezTo>
                    <a:cubicBezTo>
                      <a:pt x="37" y="44"/>
                      <a:pt x="37" y="44"/>
                      <a:pt x="37" y="44"/>
                    </a:cubicBezTo>
                    <a:cubicBezTo>
                      <a:pt x="37" y="44"/>
                      <a:pt x="37" y="44"/>
                      <a:pt x="37" y="44"/>
                    </a:cubicBezTo>
                    <a:cubicBezTo>
                      <a:pt x="37" y="43"/>
                      <a:pt x="37" y="43"/>
                      <a:pt x="37" y="43"/>
                    </a:cubicBezTo>
                    <a:close/>
                    <a:moveTo>
                      <a:pt x="33" y="47"/>
                    </a:moveTo>
                    <a:cubicBezTo>
                      <a:pt x="33" y="47"/>
                      <a:pt x="33" y="47"/>
                      <a:pt x="33" y="47"/>
                    </a:cubicBezTo>
                    <a:cubicBezTo>
                      <a:pt x="33" y="47"/>
                      <a:pt x="33" y="47"/>
                      <a:pt x="33" y="47"/>
                    </a:cubicBezTo>
                    <a:cubicBezTo>
                      <a:pt x="33" y="47"/>
                      <a:pt x="33" y="47"/>
                      <a:pt x="33" y="47"/>
                    </a:cubicBezTo>
                    <a:cubicBezTo>
                      <a:pt x="33" y="47"/>
                      <a:pt x="33" y="47"/>
                      <a:pt x="33" y="47"/>
                    </a:cubicBezTo>
                    <a:close/>
                    <a:moveTo>
                      <a:pt x="33" y="42"/>
                    </a:moveTo>
                    <a:cubicBezTo>
                      <a:pt x="33" y="43"/>
                      <a:pt x="33" y="43"/>
                      <a:pt x="34" y="43"/>
                    </a:cubicBezTo>
                    <a:cubicBezTo>
                      <a:pt x="34" y="43"/>
                      <a:pt x="34" y="43"/>
                      <a:pt x="34" y="43"/>
                    </a:cubicBezTo>
                    <a:cubicBezTo>
                      <a:pt x="34" y="44"/>
                      <a:pt x="34" y="44"/>
                      <a:pt x="34" y="44"/>
                    </a:cubicBezTo>
                    <a:cubicBezTo>
                      <a:pt x="34" y="44"/>
                      <a:pt x="34" y="44"/>
                      <a:pt x="34" y="44"/>
                    </a:cubicBezTo>
                    <a:cubicBezTo>
                      <a:pt x="35" y="43"/>
                      <a:pt x="35" y="43"/>
                      <a:pt x="34" y="43"/>
                    </a:cubicBezTo>
                    <a:cubicBezTo>
                      <a:pt x="34" y="42"/>
                      <a:pt x="34" y="42"/>
                      <a:pt x="34" y="42"/>
                    </a:cubicBezTo>
                    <a:cubicBezTo>
                      <a:pt x="34" y="42"/>
                      <a:pt x="34" y="42"/>
                      <a:pt x="34" y="42"/>
                    </a:cubicBezTo>
                    <a:cubicBezTo>
                      <a:pt x="34" y="42"/>
                      <a:pt x="34" y="41"/>
                      <a:pt x="35" y="41"/>
                    </a:cubicBezTo>
                    <a:cubicBezTo>
                      <a:pt x="34" y="41"/>
                      <a:pt x="34" y="41"/>
                      <a:pt x="33" y="41"/>
                    </a:cubicBezTo>
                    <a:cubicBezTo>
                      <a:pt x="33" y="41"/>
                      <a:pt x="33" y="41"/>
                      <a:pt x="33" y="42"/>
                    </a:cubicBezTo>
                    <a:cubicBezTo>
                      <a:pt x="33" y="42"/>
                      <a:pt x="33" y="42"/>
                      <a:pt x="33" y="42"/>
                    </a:cubicBezTo>
                    <a:cubicBezTo>
                      <a:pt x="33" y="42"/>
                      <a:pt x="33" y="42"/>
                      <a:pt x="33" y="42"/>
                    </a:cubicBezTo>
                    <a:close/>
                    <a:moveTo>
                      <a:pt x="19" y="32"/>
                    </a:move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lose/>
                    <a:moveTo>
                      <a:pt x="19" y="32"/>
                    </a:move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20" y="33"/>
                      <a:pt x="19" y="33"/>
                      <a:pt x="19" y="33"/>
                    </a:cubicBezTo>
                    <a:cubicBezTo>
                      <a:pt x="19" y="32"/>
                      <a:pt x="19" y="32"/>
                      <a:pt x="19" y="32"/>
                    </a:cubicBezTo>
                    <a:cubicBezTo>
                      <a:pt x="19" y="32"/>
                      <a:pt x="19" y="32"/>
                      <a:pt x="19" y="32"/>
                    </a:cubicBezTo>
                    <a:cubicBezTo>
                      <a:pt x="19" y="32"/>
                      <a:pt x="19" y="32"/>
                      <a:pt x="19" y="32"/>
                    </a:cubicBezTo>
                    <a:close/>
                    <a:moveTo>
                      <a:pt x="19" y="75"/>
                    </a:moveTo>
                    <a:cubicBezTo>
                      <a:pt x="19" y="75"/>
                      <a:pt x="19" y="75"/>
                      <a:pt x="19" y="75"/>
                    </a:cubicBezTo>
                    <a:cubicBezTo>
                      <a:pt x="19" y="74"/>
                      <a:pt x="19" y="75"/>
                      <a:pt x="18" y="75"/>
                    </a:cubicBezTo>
                    <a:cubicBezTo>
                      <a:pt x="18" y="74"/>
                      <a:pt x="18" y="74"/>
                      <a:pt x="18" y="74"/>
                    </a:cubicBezTo>
                    <a:cubicBezTo>
                      <a:pt x="18" y="74"/>
                      <a:pt x="18" y="74"/>
                      <a:pt x="18" y="73"/>
                    </a:cubicBezTo>
                    <a:cubicBezTo>
                      <a:pt x="18" y="73"/>
                      <a:pt x="18" y="74"/>
                      <a:pt x="18" y="73"/>
                    </a:cubicBezTo>
                    <a:cubicBezTo>
                      <a:pt x="17" y="73"/>
                      <a:pt x="18" y="73"/>
                      <a:pt x="17" y="72"/>
                    </a:cubicBezTo>
                    <a:cubicBezTo>
                      <a:pt x="17" y="72"/>
                      <a:pt x="17" y="72"/>
                      <a:pt x="18" y="72"/>
                    </a:cubicBezTo>
                    <a:cubicBezTo>
                      <a:pt x="18" y="72"/>
                      <a:pt x="18" y="72"/>
                      <a:pt x="18" y="72"/>
                    </a:cubicBezTo>
                    <a:cubicBezTo>
                      <a:pt x="18" y="72"/>
                      <a:pt x="18" y="72"/>
                      <a:pt x="18" y="72"/>
                    </a:cubicBezTo>
                    <a:cubicBezTo>
                      <a:pt x="18" y="72"/>
                      <a:pt x="18" y="72"/>
                      <a:pt x="18" y="72"/>
                    </a:cubicBezTo>
                    <a:cubicBezTo>
                      <a:pt x="18" y="72"/>
                      <a:pt x="18" y="72"/>
                      <a:pt x="18" y="72"/>
                    </a:cubicBezTo>
                    <a:cubicBezTo>
                      <a:pt x="18" y="72"/>
                      <a:pt x="18" y="71"/>
                      <a:pt x="18" y="72"/>
                    </a:cubicBezTo>
                    <a:cubicBezTo>
                      <a:pt x="18" y="72"/>
                      <a:pt x="18" y="71"/>
                      <a:pt x="18" y="71"/>
                    </a:cubicBezTo>
                    <a:cubicBezTo>
                      <a:pt x="18" y="71"/>
                      <a:pt x="18" y="71"/>
                      <a:pt x="18" y="71"/>
                    </a:cubicBezTo>
                    <a:cubicBezTo>
                      <a:pt x="18" y="71"/>
                      <a:pt x="18" y="70"/>
                      <a:pt x="18" y="70"/>
                    </a:cubicBezTo>
                    <a:cubicBezTo>
                      <a:pt x="18" y="70"/>
                      <a:pt x="17" y="70"/>
                      <a:pt x="17" y="69"/>
                    </a:cubicBezTo>
                    <a:cubicBezTo>
                      <a:pt x="18" y="69"/>
                      <a:pt x="17" y="69"/>
                      <a:pt x="17" y="69"/>
                    </a:cubicBezTo>
                    <a:cubicBezTo>
                      <a:pt x="17" y="69"/>
                      <a:pt x="17" y="69"/>
                      <a:pt x="17" y="69"/>
                    </a:cubicBezTo>
                    <a:cubicBezTo>
                      <a:pt x="17" y="70"/>
                      <a:pt x="17" y="70"/>
                      <a:pt x="17" y="70"/>
                    </a:cubicBezTo>
                    <a:cubicBezTo>
                      <a:pt x="17" y="70"/>
                      <a:pt x="17" y="70"/>
                      <a:pt x="17" y="70"/>
                    </a:cubicBezTo>
                    <a:cubicBezTo>
                      <a:pt x="17" y="71"/>
                      <a:pt x="17" y="71"/>
                      <a:pt x="17" y="71"/>
                    </a:cubicBezTo>
                    <a:cubicBezTo>
                      <a:pt x="17" y="71"/>
                      <a:pt x="17" y="71"/>
                      <a:pt x="17" y="71"/>
                    </a:cubicBezTo>
                    <a:cubicBezTo>
                      <a:pt x="17" y="71"/>
                      <a:pt x="17" y="72"/>
                      <a:pt x="17" y="72"/>
                    </a:cubicBezTo>
                    <a:cubicBezTo>
                      <a:pt x="17" y="72"/>
                      <a:pt x="17" y="72"/>
                      <a:pt x="16" y="72"/>
                    </a:cubicBezTo>
                    <a:cubicBezTo>
                      <a:pt x="16" y="72"/>
                      <a:pt x="16" y="72"/>
                      <a:pt x="16" y="72"/>
                    </a:cubicBezTo>
                    <a:cubicBezTo>
                      <a:pt x="16" y="72"/>
                      <a:pt x="16" y="72"/>
                      <a:pt x="16" y="72"/>
                    </a:cubicBezTo>
                    <a:cubicBezTo>
                      <a:pt x="16" y="73"/>
                      <a:pt x="16" y="73"/>
                      <a:pt x="16" y="73"/>
                    </a:cubicBezTo>
                    <a:cubicBezTo>
                      <a:pt x="16" y="73"/>
                      <a:pt x="16" y="73"/>
                      <a:pt x="16" y="73"/>
                    </a:cubicBezTo>
                    <a:cubicBezTo>
                      <a:pt x="16" y="73"/>
                      <a:pt x="17" y="73"/>
                      <a:pt x="17" y="73"/>
                    </a:cubicBezTo>
                    <a:cubicBezTo>
                      <a:pt x="17" y="73"/>
                      <a:pt x="17" y="73"/>
                      <a:pt x="17" y="73"/>
                    </a:cubicBezTo>
                    <a:cubicBezTo>
                      <a:pt x="17" y="74"/>
                      <a:pt x="17" y="74"/>
                      <a:pt x="17" y="74"/>
                    </a:cubicBezTo>
                    <a:cubicBezTo>
                      <a:pt x="17" y="74"/>
                      <a:pt x="17" y="74"/>
                      <a:pt x="17" y="74"/>
                    </a:cubicBezTo>
                    <a:cubicBezTo>
                      <a:pt x="16" y="74"/>
                      <a:pt x="16" y="73"/>
                      <a:pt x="16" y="73"/>
                    </a:cubicBezTo>
                    <a:cubicBezTo>
                      <a:pt x="16" y="73"/>
                      <a:pt x="16" y="73"/>
                      <a:pt x="16" y="73"/>
                    </a:cubicBezTo>
                    <a:cubicBezTo>
                      <a:pt x="15" y="73"/>
                      <a:pt x="16" y="73"/>
                      <a:pt x="16" y="73"/>
                    </a:cubicBezTo>
                    <a:cubicBezTo>
                      <a:pt x="16" y="73"/>
                      <a:pt x="16" y="73"/>
                      <a:pt x="16" y="73"/>
                    </a:cubicBezTo>
                    <a:cubicBezTo>
                      <a:pt x="16" y="74"/>
                      <a:pt x="16" y="74"/>
                      <a:pt x="16" y="74"/>
                    </a:cubicBezTo>
                    <a:cubicBezTo>
                      <a:pt x="16" y="74"/>
                      <a:pt x="17" y="74"/>
                      <a:pt x="16" y="74"/>
                    </a:cubicBezTo>
                    <a:cubicBezTo>
                      <a:pt x="16" y="75"/>
                      <a:pt x="16" y="75"/>
                      <a:pt x="16" y="76"/>
                    </a:cubicBezTo>
                    <a:cubicBezTo>
                      <a:pt x="16" y="76"/>
                      <a:pt x="15" y="76"/>
                      <a:pt x="15" y="77"/>
                    </a:cubicBezTo>
                    <a:cubicBezTo>
                      <a:pt x="15" y="77"/>
                      <a:pt x="15" y="77"/>
                      <a:pt x="15" y="77"/>
                    </a:cubicBezTo>
                    <a:cubicBezTo>
                      <a:pt x="15" y="77"/>
                      <a:pt x="15" y="77"/>
                      <a:pt x="15" y="77"/>
                    </a:cubicBezTo>
                    <a:cubicBezTo>
                      <a:pt x="15" y="77"/>
                      <a:pt x="15" y="76"/>
                      <a:pt x="15" y="76"/>
                    </a:cubicBezTo>
                    <a:cubicBezTo>
                      <a:pt x="15" y="76"/>
                      <a:pt x="15" y="76"/>
                      <a:pt x="15" y="76"/>
                    </a:cubicBezTo>
                    <a:cubicBezTo>
                      <a:pt x="15" y="76"/>
                      <a:pt x="15" y="76"/>
                      <a:pt x="15" y="76"/>
                    </a:cubicBezTo>
                    <a:cubicBezTo>
                      <a:pt x="15" y="77"/>
                      <a:pt x="15" y="77"/>
                      <a:pt x="14" y="77"/>
                    </a:cubicBezTo>
                    <a:cubicBezTo>
                      <a:pt x="14" y="77"/>
                      <a:pt x="14" y="77"/>
                      <a:pt x="14" y="77"/>
                    </a:cubicBezTo>
                    <a:cubicBezTo>
                      <a:pt x="14" y="77"/>
                      <a:pt x="14" y="77"/>
                      <a:pt x="14" y="77"/>
                    </a:cubicBezTo>
                    <a:cubicBezTo>
                      <a:pt x="14" y="77"/>
                      <a:pt x="14" y="77"/>
                      <a:pt x="14" y="77"/>
                    </a:cubicBezTo>
                    <a:cubicBezTo>
                      <a:pt x="14" y="78"/>
                      <a:pt x="14" y="78"/>
                      <a:pt x="14" y="78"/>
                    </a:cubicBezTo>
                    <a:cubicBezTo>
                      <a:pt x="14" y="78"/>
                      <a:pt x="14" y="78"/>
                      <a:pt x="14" y="78"/>
                    </a:cubicBezTo>
                    <a:cubicBezTo>
                      <a:pt x="14" y="78"/>
                      <a:pt x="14" y="78"/>
                      <a:pt x="14" y="78"/>
                    </a:cubicBezTo>
                    <a:cubicBezTo>
                      <a:pt x="13" y="78"/>
                      <a:pt x="13" y="78"/>
                      <a:pt x="13" y="78"/>
                    </a:cubicBezTo>
                    <a:cubicBezTo>
                      <a:pt x="13" y="79"/>
                      <a:pt x="13" y="79"/>
                      <a:pt x="13" y="79"/>
                    </a:cubicBezTo>
                    <a:cubicBezTo>
                      <a:pt x="13" y="79"/>
                      <a:pt x="13" y="79"/>
                      <a:pt x="13" y="80"/>
                    </a:cubicBezTo>
                    <a:cubicBezTo>
                      <a:pt x="13" y="80"/>
                      <a:pt x="13" y="79"/>
                      <a:pt x="13" y="79"/>
                    </a:cubicBezTo>
                    <a:cubicBezTo>
                      <a:pt x="13" y="79"/>
                      <a:pt x="13" y="79"/>
                      <a:pt x="13" y="79"/>
                    </a:cubicBezTo>
                    <a:cubicBezTo>
                      <a:pt x="12" y="79"/>
                      <a:pt x="12" y="79"/>
                      <a:pt x="12" y="79"/>
                    </a:cubicBezTo>
                    <a:cubicBezTo>
                      <a:pt x="12" y="80"/>
                      <a:pt x="12" y="80"/>
                      <a:pt x="12" y="81"/>
                    </a:cubicBezTo>
                    <a:cubicBezTo>
                      <a:pt x="11" y="81"/>
                      <a:pt x="11" y="81"/>
                      <a:pt x="11" y="81"/>
                    </a:cubicBezTo>
                    <a:cubicBezTo>
                      <a:pt x="11" y="82"/>
                      <a:pt x="10" y="82"/>
                      <a:pt x="10" y="82"/>
                    </a:cubicBezTo>
                    <a:cubicBezTo>
                      <a:pt x="10" y="83"/>
                      <a:pt x="10" y="83"/>
                      <a:pt x="9" y="83"/>
                    </a:cubicBezTo>
                    <a:cubicBezTo>
                      <a:pt x="9" y="84"/>
                      <a:pt x="9" y="84"/>
                      <a:pt x="8" y="85"/>
                    </a:cubicBezTo>
                    <a:cubicBezTo>
                      <a:pt x="8" y="85"/>
                      <a:pt x="8" y="85"/>
                      <a:pt x="7" y="86"/>
                    </a:cubicBezTo>
                    <a:cubicBezTo>
                      <a:pt x="7" y="86"/>
                      <a:pt x="7" y="86"/>
                      <a:pt x="7" y="86"/>
                    </a:cubicBezTo>
                    <a:cubicBezTo>
                      <a:pt x="7" y="86"/>
                      <a:pt x="7" y="86"/>
                      <a:pt x="7" y="86"/>
                    </a:cubicBezTo>
                    <a:cubicBezTo>
                      <a:pt x="7" y="86"/>
                      <a:pt x="6" y="86"/>
                      <a:pt x="6" y="86"/>
                    </a:cubicBezTo>
                    <a:cubicBezTo>
                      <a:pt x="6" y="86"/>
                      <a:pt x="6" y="86"/>
                      <a:pt x="6" y="86"/>
                    </a:cubicBezTo>
                    <a:cubicBezTo>
                      <a:pt x="6" y="86"/>
                      <a:pt x="6" y="87"/>
                      <a:pt x="5" y="87"/>
                    </a:cubicBezTo>
                    <a:cubicBezTo>
                      <a:pt x="5" y="87"/>
                      <a:pt x="5" y="87"/>
                      <a:pt x="5" y="87"/>
                    </a:cubicBezTo>
                    <a:cubicBezTo>
                      <a:pt x="5" y="87"/>
                      <a:pt x="5" y="88"/>
                      <a:pt x="4" y="88"/>
                    </a:cubicBezTo>
                    <a:cubicBezTo>
                      <a:pt x="4" y="88"/>
                      <a:pt x="4" y="88"/>
                      <a:pt x="4" y="88"/>
                    </a:cubicBezTo>
                    <a:cubicBezTo>
                      <a:pt x="4" y="88"/>
                      <a:pt x="4" y="89"/>
                      <a:pt x="4" y="89"/>
                    </a:cubicBezTo>
                    <a:cubicBezTo>
                      <a:pt x="3" y="89"/>
                      <a:pt x="3" y="89"/>
                      <a:pt x="3" y="89"/>
                    </a:cubicBezTo>
                    <a:cubicBezTo>
                      <a:pt x="3" y="90"/>
                      <a:pt x="3" y="89"/>
                      <a:pt x="3" y="90"/>
                    </a:cubicBezTo>
                    <a:cubicBezTo>
                      <a:pt x="3" y="90"/>
                      <a:pt x="3" y="90"/>
                      <a:pt x="2" y="90"/>
                    </a:cubicBezTo>
                    <a:cubicBezTo>
                      <a:pt x="2" y="90"/>
                      <a:pt x="2" y="91"/>
                      <a:pt x="2" y="91"/>
                    </a:cubicBezTo>
                    <a:cubicBezTo>
                      <a:pt x="2" y="91"/>
                      <a:pt x="2" y="92"/>
                      <a:pt x="2" y="92"/>
                    </a:cubicBezTo>
                    <a:cubicBezTo>
                      <a:pt x="2" y="92"/>
                      <a:pt x="2" y="93"/>
                      <a:pt x="2" y="93"/>
                    </a:cubicBezTo>
                    <a:cubicBezTo>
                      <a:pt x="2" y="92"/>
                      <a:pt x="2" y="92"/>
                      <a:pt x="2" y="92"/>
                    </a:cubicBezTo>
                    <a:cubicBezTo>
                      <a:pt x="2" y="92"/>
                      <a:pt x="3" y="92"/>
                      <a:pt x="3" y="92"/>
                    </a:cubicBezTo>
                    <a:cubicBezTo>
                      <a:pt x="3" y="91"/>
                      <a:pt x="3" y="91"/>
                      <a:pt x="4" y="91"/>
                    </a:cubicBezTo>
                    <a:cubicBezTo>
                      <a:pt x="4" y="91"/>
                      <a:pt x="4" y="91"/>
                      <a:pt x="4" y="91"/>
                    </a:cubicBezTo>
                    <a:cubicBezTo>
                      <a:pt x="4" y="91"/>
                      <a:pt x="4" y="91"/>
                      <a:pt x="4" y="91"/>
                    </a:cubicBezTo>
                    <a:cubicBezTo>
                      <a:pt x="4" y="90"/>
                      <a:pt x="4" y="90"/>
                      <a:pt x="5" y="90"/>
                    </a:cubicBezTo>
                    <a:cubicBezTo>
                      <a:pt x="5" y="90"/>
                      <a:pt x="5" y="90"/>
                      <a:pt x="5" y="90"/>
                    </a:cubicBezTo>
                    <a:cubicBezTo>
                      <a:pt x="6" y="90"/>
                      <a:pt x="6" y="89"/>
                      <a:pt x="6" y="89"/>
                    </a:cubicBezTo>
                    <a:cubicBezTo>
                      <a:pt x="7" y="89"/>
                      <a:pt x="8" y="88"/>
                      <a:pt x="8" y="88"/>
                    </a:cubicBezTo>
                    <a:cubicBezTo>
                      <a:pt x="8" y="88"/>
                      <a:pt x="8" y="88"/>
                      <a:pt x="8" y="87"/>
                    </a:cubicBezTo>
                    <a:cubicBezTo>
                      <a:pt x="8" y="87"/>
                      <a:pt x="8" y="87"/>
                      <a:pt x="8" y="87"/>
                    </a:cubicBezTo>
                    <a:cubicBezTo>
                      <a:pt x="8" y="86"/>
                      <a:pt x="9" y="86"/>
                      <a:pt x="9" y="86"/>
                    </a:cubicBezTo>
                    <a:cubicBezTo>
                      <a:pt x="10" y="86"/>
                      <a:pt x="10" y="85"/>
                      <a:pt x="11" y="85"/>
                    </a:cubicBezTo>
                    <a:cubicBezTo>
                      <a:pt x="11" y="85"/>
                      <a:pt x="11" y="84"/>
                      <a:pt x="12" y="84"/>
                    </a:cubicBezTo>
                    <a:cubicBezTo>
                      <a:pt x="12" y="84"/>
                      <a:pt x="12" y="83"/>
                      <a:pt x="12" y="83"/>
                    </a:cubicBezTo>
                    <a:cubicBezTo>
                      <a:pt x="12" y="83"/>
                      <a:pt x="12" y="83"/>
                      <a:pt x="12" y="82"/>
                    </a:cubicBezTo>
                    <a:cubicBezTo>
                      <a:pt x="13" y="82"/>
                      <a:pt x="12" y="82"/>
                      <a:pt x="12" y="82"/>
                    </a:cubicBezTo>
                    <a:cubicBezTo>
                      <a:pt x="12" y="82"/>
                      <a:pt x="12" y="82"/>
                      <a:pt x="12" y="82"/>
                    </a:cubicBezTo>
                    <a:cubicBezTo>
                      <a:pt x="12" y="82"/>
                      <a:pt x="12" y="82"/>
                      <a:pt x="12" y="82"/>
                    </a:cubicBezTo>
                    <a:cubicBezTo>
                      <a:pt x="12" y="82"/>
                      <a:pt x="12" y="82"/>
                      <a:pt x="12" y="82"/>
                    </a:cubicBezTo>
                    <a:cubicBezTo>
                      <a:pt x="12" y="82"/>
                      <a:pt x="12" y="81"/>
                      <a:pt x="12" y="81"/>
                    </a:cubicBezTo>
                    <a:cubicBezTo>
                      <a:pt x="12" y="82"/>
                      <a:pt x="12" y="82"/>
                      <a:pt x="12" y="82"/>
                    </a:cubicBezTo>
                    <a:cubicBezTo>
                      <a:pt x="12" y="82"/>
                      <a:pt x="12" y="82"/>
                      <a:pt x="12" y="82"/>
                    </a:cubicBezTo>
                    <a:cubicBezTo>
                      <a:pt x="13" y="82"/>
                      <a:pt x="13" y="82"/>
                      <a:pt x="13" y="81"/>
                    </a:cubicBezTo>
                    <a:cubicBezTo>
                      <a:pt x="13" y="81"/>
                      <a:pt x="13" y="81"/>
                      <a:pt x="13" y="81"/>
                    </a:cubicBezTo>
                    <a:cubicBezTo>
                      <a:pt x="12" y="81"/>
                      <a:pt x="12" y="81"/>
                      <a:pt x="12" y="81"/>
                    </a:cubicBezTo>
                    <a:cubicBezTo>
                      <a:pt x="12" y="81"/>
                      <a:pt x="12" y="81"/>
                      <a:pt x="12" y="80"/>
                    </a:cubicBezTo>
                    <a:cubicBezTo>
                      <a:pt x="13" y="80"/>
                      <a:pt x="13" y="80"/>
                      <a:pt x="13" y="80"/>
                    </a:cubicBezTo>
                    <a:cubicBezTo>
                      <a:pt x="13" y="80"/>
                      <a:pt x="13" y="80"/>
                      <a:pt x="13" y="80"/>
                    </a:cubicBezTo>
                    <a:cubicBezTo>
                      <a:pt x="13" y="80"/>
                      <a:pt x="13" y="80"/>
                      <a:pt x="13" y="80"/>
                    </a:cubicBezTo>
                    <a:cubicBezTo>
                      <a:pt x="14" y="80"/>
                      <a:pt x="15" y="80"/>
                      <a:pt x="15" y="80"/>
                    </a:cubicBezTo>
                    <a:cubicBezTo>
                      <a:pt x="16" y="80"/>
                      <a:pt x="16" y="79"/>
                      <a:pt x="16" y="79"/>
                    </a:cubicBezTo>
                    <a:cubicBezTo>
                      <a:pt x="16" y="79"/>
                      <a:pt x="16" y="78"/>
                      <a:pt x="16" y="78"/>
                    </a:cubicBezTo>
                    <a:cubicBezTo>
                      <a:pt x="16" y="78"/>
                      <a:pt x="16" y="78"/>
                      <a:pt x="17" y="77"/>
                    </a:cubicBezTo>
                    <a:cubicBezTo>
                      <a:pt x="17" y="77"/>
                      <a:pt x="17" y="77"/>
                      <a:pt x="17" y="77"/>
                    </a:cubicBezTo>
                    <a:cubicBezTo>
                      <a:pt x="17" y="77"/>
                      <a:pt x="18" y="77"/>
                      <a:pt x="18" y="77"/>
                    </a:cubicBezTo>
                    <a:cubicBezTo>
                      <a:pt x="18" y="77"/>
                      <a:pt x="18" y="77"/>
                      <a:pt x="18" y="77"/>
                    </a:cubicBezTo>
                    <a:cubicBezTo>
                      <a:pt x="18" y="76"/>
                      <a:pt x="19" y="76"/>
                      <a:pt x="19" y="76"/>
                    </a:cubicBezTo>
                    <a:cubicBezTo>
                      <a:pt x="19" y="76"/>
                      <a:pt x="20" y="76"/>
                      <a:pt x="19" y="75"/>
                    </a:cubicBezTo>
                    <a:close/>
                    <a:moveTo>
                      <a:pt x="23" y="65"/>
                    </a:moveTo>
                    <a:cubicBezTo>
                      <a:pt x="23" y="65"/>
                      <a:pt x="23" y="65"/>
                      <a:pt x="22" y="65"/>
                    </a:cubicBezTo>
                    <a:cubicBezTo>
                      <a:pt x="22" y="65"/>
                      <a:pt x="23" y="65"/>
                      <a:pt x="23" y="66"/>
                    </a:cubicBezTo>
                    <a:cubicBezTo>
                      <a:pt x="23" y="65"/>
                      <a:pt x="23" y="65"/>
                      <a:pt x="23" y="65"/>
                    </a:cubicBezTo>
                    <a:cubicBezTo>
                      <a:pt x="23" y="65"/>
                      <a:pt x="23" y="65"/>
                      <a:pt x="23" y="65"/>
                    </a:cubicBezTo>
                    <a:close/>
                    <a:moveTo>
                      <a:pt x="3" y="93"/>
                    </a:moveTo>
                    <a:cubicBezTo>
                      <a:pt x="2" y="93"/>
                      <a:pt x="2" y="93"/>
                      <a:pt x="2" y="93"/>
                    </a:cubicBezTo>
                    <a:cubicBezTo>
                      <a:pt x="2" y="93"/>
                      <a:pt x="2" y="93"/>
                      <a:pt x="2" y="93"/>
                    </a:cubicBezTo>
                    <a:cubicBezTo>
                      <a:pt x="2" y="94"/>
                      <a:pt x="2" y="94"/>
                      <a:pt x="2" y="94"/>
                    </a:cubicBezTo>
                    <a:cubicBezTo>
                      <a:pt x="3" y="94"/>
                      <a:pt x="3" y="94"/>
                      <a:pt x="3" y="94"/>
                    </a:cubicBezTo>
                    <a:cubicBezTo>
                      <a:pt x="3" y="93"/>
                      <a:pt x="3" y="93"/>
                      <a:pt x="3" y="93"/>
                    </a:cubicBezTo>
                    <a:cubicBezTo>
                      <a:pt x="3" y="93"/>
                      <a:pt x="3" y="93"/>
                      <a:pt x="3" y="93"/>
                    </a:cubicBezTo>
                    <a:close/>
                    <a:moveTo>
                      <a:pt x="2" y="93"/>
                    </a:moveTo>
                    <a:cubicBezTo>
                      <a:pt x="2" y="93"/>
                      <a:pt x="2" y="93"/>
                      <a:pt x="2" y="93"/>
                    </a:cubicBezTo>
                    <a:cubicBezTo>
                      <a:pt x="2" y="93"/>
                      <a:pt x="2" y="93"/>
                      <a:pt x="2" y="93"/>
                    </a:cubicBezTo>
                    <a:cubicBezTo>
                      <a:pt x="2" y="93"/>
                      <a:pt x="2" y="93"/>
                      <a:pt x="2" y="93"/>
                    </a:cubicBezTo>
                    <a:close/>
                    <a:moveTo>
                      <a:pt x="17" y="71"/>
                    </a:moveTo>
                    <a:cubicBezTo>
                      <a:pt x="17" y="71"/>
                      <a:pt x="17" y="71"/>
                      <a:pt x="17" y="71"/>
                    </a:cubicBezTo>
                    <a:cubicBezTo>
                      <a:pt x="17" y="70"/>
                      <a:pt x="16" y="70"/>
                      <a:pt x="16" y="70"/>
                    </a:cubicBezTo>
                    <a:cubicBezTo>
                      <a:pt x="16" y="70"/>
                      <a:pt x="16" y="70"/>
                      <a:pt x="16" y="71"/>
                    </a:cubicBezTo>
                    <a:cubicBezTo>
                      <a:pt x="16" y="71"/>
                      <a:pt x="16" y="71"/>
                      <a:pt x="17" y="71"/>
                    </a:cubicBezTo>
                    <a:close/>
                    <a:moveTo>
                      <a:pt x="23" y="64"/>
                    </a:moveTo>
                    <a:cubicBezTo>
                      <a:pt x="23" y="64"/>
                      <a:pt x="23" y="64"/>
                      <a:pt x="23" y="64"/>
                    </a:cubicBezTo>
                    <a:cubicBezTo>
                      <a:pt x="23" y="63"/>
                      <a:pt x="23" y="63"/>
                      <a:pt x="23" y="63"/>
                    </a:cubicBezTo>
                    <a:cubicBezTo>
                      <a:pt x="22" y="63"/>
                      <a:pt x="22" y="63"/>
                      <a:pt x="22" y="63"/>
                    </a:cubicBezTo>
                    <a:cubicBezTo>
                      <a:pt x="22" y="64"/>
                      <a:pt x="22" y="64"/>
                      <a:pt x="22" y="63"/>
                    </a:cubicBezTo>
                    <a:cubicBezTo>
                      <a:pt x="22" y="63"/>
                      <a:pt x="22" y="63"/>
                      <a:pt x="21" y="63"/>
                    </a:cubicBezTo>
                    <a:cubicBezTo>
                      <a:pt x="21" y="63"/>
                      <a:pt x="21" y="63"/>
                      <a:pt x="21" y="63"/>
                    </a:cubicBezTo>
                    <a:cubicBezTo>
                      <a:pt x="21" y="63"/>
                      <a:pt x="21" y="63"/>
                      <a:pt x="21" y="63"/>
                    </a:cubicBezTo>
                    <a:cubicBezTo>
                      <a:pt x="21" y="62"/>
                      <a:pt x="21" y="62"/>
                      <a:pt x="20" y="62"/>
                    </a:cubicBezTo>
                    <a:cubicBezTo>
                      <a:pt x="20" y="62"/>
                      <a:pt x="20" y="62"/>
                      <a:pt x="20" y="62"/>
                    </a:cubicBezTo>
                    <a:cubicBezTo>
                      <a:pt x="20" y="62"/>
                      <a:pt x="20" y="62"/>
                      <a:pt x="20" y="62"/>
                    </a:cubicBezTo>
                    <a:cubicBezTo>
                      <a:pt x="20" y="63"/>
                      <a:pt x="20" y="63"/>
                      <a:pt x="20" y="63"/>
                    </a:cubicBezTo>
                    <a:cubicBezTo>
                      <a:pt x="20" y="63"/>
                      <a:pt x="20" y="63"/>
                      <a:pt x="20" y="63"/>
                    </a:cubicBezTo>
                    <a:cubicBezTo>
                      <a:pt x="20" y="63"/>
                      <a:pt x="20" y="63"/>
                      <a:pt x="20" y="63"/>
                    </a:cubicBezTo>
                    <a:cubicBezTo>
                      <a:pt x="20" y="63"/>
                      <a:pt x="20" y="63"/>
                      <a:pt x="20" y="63"/>
                    </a:cubicBezTo>
                    <a:cubicBezTo>
                      <a:pt x="20" y="64"/>
                      <a:pt x="20" y="64"/>
                      <a:pt x="20" y="64"/>
                    </a:cubicBezTo>
                    <a:cubicBezTo>
                      <a:pt x="21" y="64"/>
                      <a:pt x="21" y="64"/>
                      <a:pt x="21" y="64"/>
                    </a:cubicBezTo>
                    <a:cubicBezTo>
                      <a:pt x="21" y="65"/>
                      <a:pt x="21" y="64"/>
                      <a:pt x="21" y="64"/>
                    </a:cubicBezTo>
                    <a:cubicBezTo>
                      <a:pt x="21" y="64"/>
                      <a:pt x="21" y="65"/>
                      <a:pt x="22" y="65"/>
                    </a:cubicBezTo>
                    <a:cubicBezTo>
                      <a:pt x="22" y="65"/>
                      <a:pt x="22" y="65"/>
                      <a:pt x="22" y="65"/>
                    </a:cubicBezTo>
                    <a:cubicBezTo>
                      <a:pt x="22" y="64"/>
                      <a:pt x="22" y="64"/>
                      <a:pt x="22" y="64"/>
                    </a:cubicBezTo>
                    <a:cubicBezTo>
                      <a:pt x="22" y="64"/>
                      <a:pt x="22" y="65"/>
                      <a:pt x="22" y="65"/>
                    </a:cubicBezTo>
                    <a:cubicBezTo>
                      <a:pt x="23" y="65"/>
                      <a:pt x="23" y="64"/>
                      <a:pt x="23" y="64"/>
                    </a:cubicBezTo>
                    <a:cubicBezTo>
                      <a:pt x="23" y="65"/>
                      <a:pt x="23" y="64"/>
                      <a:pt x="23" y="64"/>
                    </a:cubicBezTo>
                    <a:cubicBezTo>
                      <a:pt x="23" y="64"/>
                      <a:pt x="23" y="64"/>
                      <a:pt x="23" y="64"/>
                    </a:cubicBezTo>
                    <a:close/>
                    <a:moveTo>
                      <a:pt x="29" y="73"/>
                    </a:moveTo>
                    <a:cubicBezTo>
                      <a:pt x="29" y="73"/>
                      <a:pt x="29" y="73"/>
                      <a:pt x="29" y="73"/>
                    </a:cubicBezTo>
                    <a:cubicBezTo>
                      <a:pt x="29" y="73"/>
                      <a:pt x="29" y="73"/>
                      <a:pt x="29" y="73"/>
                    </a:cubicBezTo>
                    <a:cubicBezTo>
                      <a:pt x="29" y="73"/>
                      <a:pt x="29" y="72"/>
                      <a:pt x="29" y="72"/>
                    </a:cubicBezTo>
                    <a:cubicBezTo>
                      <a:pt x="29" y="73"/>
                      <a:pt x="29" y="73"/>
                      <a:pt x="29" y="73"/>
                    </a:cubicBezTo>
                    <a:close/>
                    <a:moveTo>
                      <a:pt x="28" y="70"/>
                    </a:moveTo>
                    <a:cubicBezTo>
                      <a:pt x="28" y="70"/>
                      <a:pt x="28" y="70"/>
                      <a:pt x="28" y="71"/>
                    </a:cubicBezTo>
                    <a:cubicBezTo>
                      <a:pt x="28" y="71"/>
                      <a:pt x="28" y="71"/>
                      <a:pt x="28" y="70"/>
                    </a:cubicBezTo>
                    <a:close/>
                    <a:moveTo>
                      <a:pt x="22" y="65"/>
                    </a:moveTo>
                    <a:cubicBezTo>
                      <a:pt x="22" y="65"/>
                      <a:pt x="22" y="65"/>
                      <a:pt x="22" y="65"/>
                    </a:cubicBezTo>
                    <a:cubicBezTo>
                      <a:pt x="22" y="65"/>
                      <a:pt x="22" y="65"/>
                      <a:pt x="22" y="65"/>
                    </a:cubicBezTo>
                    <a:cubicBezTo>
                      <a:pt x="22" y="65"/>
                      <a:pt x="22" y="65"/>
                      <a:pt x="22" y="65"/>
                    </a:cubicBezTo>
                    <a:cubicBezTo>
                      <a:pt x="22" y="65"/>
                      <a:pt x="22" y="65"/>
                      <a:pt x="22" y="65"/>
                    </a:cubicBezTo>
                    <a:close/>
                    <a:moveTo>
                      <a:pt x="22" y="66"/>
                    </a:moveTo>
                    <a:cubicBezTo>
                      <a:pt x="22" y="66"/>
                      <a:pt x="22" y="66"/>
                      <a:pt x="22" y="66"/>
                    </a:cubicBezTo>
                    <a:cubicBezTo>
                      <a:pt x="22" y="66"/>
                      <a:pt x="22" y="66"/>
                      <a:pt x="22" y="66"/>
                    </a:cubicBezTo>
                    <a:cubicBezTo>
                      <a:pt x="22" y="66"/>
                      <a:pt x="22" y="66"/>
                      <a:pt x="22" y="66"/>
                    </a:cubicBezTo>
                    <a:cubicBezTo>
                      <a:pt x="22" y="66"/>
                      <a:pt x="22" y="66"/>
                      <a:pt x="22" y="66"/>
                    </a:cubicBezTo>
                    <a:close/>
                    <a:moveTo>
                      <a:pt x="21" y="75"/>
                    </a:moveTo>
                    <a:cubicBezTo>
                      <a:pt x="21" y="75"/>
                      <a:pt x="21" y="75"/>
                      <a:pt x="21" y="75"/>
                    </a:cubicBezTo>
                    <a:cubicBezTo>
                      <a:pt x="21" y="75"/>
                      <a:pt x="21" y="75"/>
                      <a:pt x="21" y="75"/>
                    </a:cubicBezTo>
                    <a:cubicBezTo>
                      <a:pt x="20" y="75"/>
                      <a:pt x="20" y="75"/>
                      <a:pt x="20" y="75"/>
                    </a:cubicBezTo>
                    <a:cubicBezTo>
                      <a:pt x="20" y="75"/>
                      <a:pt x="20" y="75"/>
                      <a:pt x="20" y="75"/>
                    </a:cubicBezTo>
                    <a:cubicBezTo>
                      <a:pt x="20" y="75"/>
                      <a:pt x="20" y="76"/>
                      <a:pt x="20" y="76"/>
                    </a:cubicBezTo>
                    <a:cubicBezTo>
                      <a:pt x="20" y="76"/>
                      <a:pt x="20" y="76"/>
                      <a:pt x="20" y="76"/>
                    </a:cubicBezTo>
                    <a:cubicBezTo>
                      <a:pt x="20" y="76"/>
                      <a:pt x="20" y="76"/>
                      <a:pt x="20" y="76"/>
                    </a:cubicBezTo>
                    <a:cubicBezTo>
                      <a:pt x="20" y="76"/>
                      <a:pt x="20" y="76"/>
                      <a:pt x="20" y="76"/>
                    </a:cubicBezTo>
                    <a:cubicBezTo>
                      <a:pt x="21" y="76"/>
                      <a:pt x="21" y="76"/>
                      <a:pt x="21" y="75"/>
                    </a:cubicBezTo>
                    <a:cubicBezTo>
                      <a:pt x="21" y="75"/>
                      <a:pt x="21" y="75"/>
                      <a:pt x="21" y="75"/>
                    </a:cubicBezTo>
                    <a:close/>
                    <a:moveTo>
                      <a:pt x="21" y="65"/>
                    </a:moveTo>
                    <a:cubicBezTo>
                      <a:pt x="21" y="65"/>
                      <a:pt x="21" y="65"/>
                      <a:pt x="20" y="65"/>
                    </a:cubicBezTo>
                    <a:cubicBezTo>
                      <a:pt x="20" y="65"/>
                      <a:pt x="20" y="65"/>
                      <a:pt x="20" y="65"/>
                    </a:cubicBezTo>
                    <a:cubicBezTo>
                      <a:pt x="20" y="65"/>
                      <a:pt x="20" y="65"/>
                      <a:pt x="20" y="65"/>
                    </a:cubicBezTo>
                    <a:cubicBezTo>
                      <a:pt x="20" y="66"/>
                      <a:pt x="20" y="66"/>
                      <a:pt x="20" y="66"/>
                    </a:cubicBezTo>
                    <a:cubicBezTo>
                      <a:pt x="20" y="66"/>
                      <a:pt x="20" y="66"/>
                      <a:pt x="21" y="66"/>
                    </a:cubicBezTo>
                    <a:cubicBezTo>
                      <a:pt x="21" y="66"/>
                      <a:pt x="21" y="66"/>
                      <a:pt x="21" y="66"/>
                    </a:cubicBezTo>
                    <a:cubicBezTo>
                      <a:pt x="21" y="66"/>
                      <a:pt x="21" y="66"/>
                      <a:pt x="21" y="66"/>
                    </a:cubicBezTo>
                    <a:cubicBezTo>
                      <a:pt x="20" y="67"/>
                      <a:pt x="20" y="67"/>
                      <a:pt x="21" y="67"/>
                    </a:cubicBezTo>
                    <a:cubicBezTo>
                      <a:pt x="21" y="67"/>
                      <a:pt x="21" y="67"/>
                      <a:pt x="21" y="67"/>
                    </a:cubicBezTo>
                    <a:cubicBezTo>
                      <a:pt x="21" y="67"/>
                      <a:pt x="21" y="67"/>
                      <a:pt x="21" y="66"/>
                    </a:cubicBezTo>
                    <a:cubicBezTo>
                      <a:pt x="21" y="66"/>
                      <a:pt x="21" y="66"/>
                      <a:pt x="21" y="65"/>
                    </a:cubicBezTo>
                    <a:cubicBezTo>
                      <a:pt x="21" y="65"/>
                      <a:pt x="21" y="65"/>
                      <a:pt x="21" y="65"/>
                    </a:cubicBezTo>
                    <a:close/>
                    <a:moveTo>
                      <a:pt x="15" y="76"/>
                    </a:moveTo>
                    <a:cubicBezTo>
                      <a:pt x="15" y="76"/>
                      <a:pt x="15" y="76"/>
                      <a:pt x="15" y="75"/>
                    </a:cubicBezTo>
                    <a:cubicBezTo>
                      <a:pt x="15" y="75"/>
                      <a:pt x="15" y="75"/>
                      <a:pt x="15" y="75"/>
                    </a:cubicBezTo>
                    <a:cubicBezTo>
                      <a:pt x="15" y="75"/>
                      <a:pt x="15" y="75"/>
                      <a:pt x="15" y="76"/>
                    </a:cubicBezTo>
                    <a:cubicBezTo>
                      <a:pt x="15" y="76"/>
                      <a:pt x="15" y="76"/>
                      <a:pt x="15" y="76"/>
                    </a:cubicBezTo>
                    <a:close/>
                    <a:moveTo>
                      <a:pt x="1" y="94"/>
                    </a:moveTo>
                    <a:cubicBezTo>
                      <a:pt x="2" y="94"/>
                      <a:pt x="2" y="94"/>
                      <a:pt x="2" y="94"/>
                    </a:cubicBezTo>
                    <a:cubicBezTo>
                      <a:pt x="2" y="94"/>
                      <a:pt x="2" y="94"/>
                      <a:pt x="1" y="94"/>
                    </a:cubicBezTo>
                    <a:close/>
                    <a:moveTo>
                      <a:pt x="1" y="93"/>
                    </a:moveTo>
                    <a:cubicBezTo>
                      <a:pt x="1" y="93"/>
                      <a:pt x="1" y="93"/>
                      <a:pt x="1" y="93"/>
                    </a:cubicBezTo>
                    <a:cubicBezTo>
                      <a:pt x="1" y="93"/>
                      <a:pt x="1" y="94"/>
                      <a:pt x="1" y="94"/>
                    </a:cubicBezTo>
                    <a:cubicBezTo>
                      <a:pt x="1" y="94"/>
                      <a:pt x="1" y="93"/>
                      <a:pt x="1" y="93"/>
                    </a:cubicBezTo>
                    <a:cubicBezTo>
                      <a:pt x="1" y="93"/>
                      <a:pt x="1" y="93"/>
                      <a:pt x="1" y="93"/>
                    </a:cubicBezTo>
                    <a:close/>
                    <a:moveTo>
                      <a:pt x="19" y="69"/>
                    </a:moveTo>
                    <a:cubicBezTo>
                      <a:pt x="19" y="69"/>
                      <a:pt x="20" y="69"/>
                      <a:pt x="20" y="69"/>
                    </a:cubicBezTo>
                    <a:cubicBezTo>
                      <a:pt x="20" y="69"/>
                      <a:pt x="20" y="69"/>
                      <a:pt x="20" y="68"/>
                    </a:cubicBezTo>
                    <a:cubicBezTo>
                      <a:pt x="20" y="68"/>
                      <a:pt x="20" y="68"/>
                      <a:pt x="20" y="68"/>
                    </a:cubicBezTo>
                    <a:cubicBezTo>
                      <a:pt x="20" y="69"/>
                      <a:pt x="19" y="69"/>
                      <a:pt x="19" y="69"/>
                    </a:cubicBezTo>
                    <a:cubicBezTo>
                      <a:pt x="19" y="69"/>
                      <a:pt x="19" y="69"/>
                      <a:pt x="19" y="69"/>
                    </a:cubicBezTo>
                    <a:close/>
                    <a:moveTo>
                      <a:pt x="1" y="94"/>
                    </a:moveTo>
                    <a:cubicBezTo>
                      <a:pt x="1" y="94"/>
                      <a:pt x="1" y="94"/>
                      <a:pt x="1" y="94"/>
                    </a:cubicBezTo>
                    <a:cubicBezTo>
                      <a:pt x="0" y="94"/>
                      <a:pt x="0" y="94"/>
                      <a:pt x="0" y="95"/>
                    </a:cubicBezTo>
                    <a:cubicBezTo>
                      <a:pt x="0" y="95"/>
                      <a:pt x="0" y="95"/>
                      <a:pt x="0" y="95"/>
                    </a:cubicBezTo>
                    <a:cubicBezTo>
                      <a:pt x="0" y="95"/>
                      <a:pt x="0" y="95"/>
                      <a:pt x="0" y="96"/>
                    </a:cubicBezTo>
                    <a:cubicBezTo>
                      <a:pt x="0" y="96"/>
                      <a:pt x="0" y="96"/>
                      <a:pt x="0" y="96"/>
                    </a:cubicBezTo>
                    <a:cubicBezTo>
                      <a:pt x="0" y="96"/>
                      <a:pt x="0" y="96"/>
                      <a:pt x="0" y="96"/>
                    </a:cubicBezTo>
                    <a:cubicBezTo>
                      <a:pt x="1" y="96"/>
                      <a:pt x="0" y="97"/>
                      <a:pt x="1" y="97"/>
                    </a:cubicBezTo>
                    <a:cubicBezTo>
                      <a:pt x="1" y="96"/>
                      <a:pt x="1" y="96"/>
                      <a:pt x="1" y="96"/>
                    </a:cubicBezTo>
                    <a:cubicBezTo>
                      <a:pt x="1" y="96"/>
                      <a:pt x="1" y="96"/>
                      <a:pt x="1" y="96"/>
                    </a:cubicBezTo>
                    <a:cubicBezTo>
                      <a:pt x="1" y="95"/>
                      <a:pt x="1" y="95"/>
                      <a:pt x="1" y="95"/>
                    </a:cubicBezTo>
                    <a:cubicBezTo>
                      <a:pt x="1" y="95"/>
                      <a:pt x="1" y="94"/>
                      <a:pt x="1" y="94"/>
                    </a:cubicBezTo>
                    <a:close/>
                    <a:moveTo>
                      <a:pt x="18" y="71"/>
                    </a:moveTo>
                    <a:cubicBezTo>
                      <a:pt x="18" y="71"/>
                      <a:pt x="18" y="71"/>
                      <a:pt x="18" y="71"/>
                    </a:cubicBezTo>
                    <a:cubicBezTo>
                      <a:pt x="18" y="71"/>
                      <a:pt x="18" y="71"/>
                      <a:pt x="18" y="71"/>
                    </a:cubicBezTo>
                    <a:cubicBezTo>
                      <a:pt x="18" y="71"/>
                      <a:pt x="19" y="71"/>
                      <a:pt x="18" y="71"/>
                    </a:cubicBezTo>
                    <a:cubicBezTo>
                      <a:pt x="18" y="71"/>
                      <a:pt x="18" y="71"/>
                      <a:pt x="18" y="71"/>
                    </a:cubicBezTo>
                    <a:close/>
                    <a:moveTo>
                      <a:pt x="19" y="70"/>
                    </a:moveTo>
                    <a:cubicBezTo>
                      <a:pt x="19" y="70"/>
                      <a:pt x="19" y="70"/>
                      <a:pt x="19" y="70"/>
                    </a:cubicBezTo>
                    <a:cubicBezTo>
                      <a:pt x="19" y="70"/>
                      <a:pt x="19" y="70"/>
                      <a:pt x="19" y="70"/>
                    </a:cubicBezTo>
                    <a:cubicBezTo>
                      <a:pt x="19" y="70"/>
                      <a:pt x="19" y="70"/>
                      <a:pt x="19" y="70"/>
                    </a:cubicBezTo>
                    <a:close/>
                    <a:moveTo>
                      <a:pt x="31" y="61"/>
                    </a:moveTo>
                    <a:cubicBezTo>
                      <a:pt x="31" y="60"/>
                      <a:pt x="31" y="60"/>
                      <a:pt x="31" y="60"/>
                    </a:cubicBezTo>
                    <a:cubicBezTo>
                      <a:pt x="32" y="60"/>
                      <a:pt x="32" y="60"/>
                      <a:pt x="32" y="60"/>
                    </a:cubicBezTo>
                    <a:cubicBezTo>
                      <a:pt x="32" y="60"/>
                      <a:pt x="32" y="59"/>
                      <a:pt x="32" y="59"/>
                    </a:cubicBezTo>
                    <a:cubicBezTo>
                      <a:pt x="32" y="59"/>
                      <a:pt x="32" y="59"/>
                      <a:pt x="32" y="59"/>
                    </a:cubicBezTo>
                    <a:cubicBezTo>
                      <a:pt x="32" y="59"/>
                      <a:pt x="32" y="59"/>
                      <a:pt x="31" y="58"/>
                    </a:cubicBezTo>
                    <a:cubicBezTo>
                      <a:pt x="31" y="58"/>
                      <a:pt x="31" y="58"/>
                      <a:pt x="31" y="58"/>
                    </a:cubicBezTo>
                    <a:cubicBezTo>
                      <a:pt x="31" y="58"/>
                      <a:pt x="31" y="58"/>
                      <a:pt x="31" y="58"/>
                    </a:cubicBezTo>
                    <a:cubicBezTo>
                      <a:pt x="31" y="58"/>
                      <a:pt x="31" y="57"/>
                      <a:pt x="31" y="56"/>
                    </a:cubicBezTo>
                    <a:cubicBezTo>
                      <a:pt x="31" y="56"/>
                      <a:pt x="31" y="56"/>
                      <a:pt x="32" y="56"/>
                    </a:cubicBezTo>
                    <a:cubicBezTo>
                      <a:pt x="32" y="56"/>
                      <a:pt x="32" y="56"/>
                      <a:pt x="32" y="55"/>
                    </a:cubicBezTo>
                    <a:cubicBezTo>
                      <a:pt x="31" y="55"/>
                      <a:pt x="31" y="55"/>
                      <a:pt x="31" y="55"/>
                    </a:cubicBezTo>
                    <a:cubicBezTo>
                      <a:pt x="31" y="55"/>
                      <a:pt x="31" y="55"/>
                      <a:pt x="31" y="55"/>
                    </a:cubicBezTo>
                    <a:cubicBezTo>
                      <a:pt x="31" y="55"/>
                      <a:pt x="31" y="55"/>
                      <a:pt x="31" y="55"/>
                    </a:cubicBezTo>
                    <a:cubicBezTo>
                      <a:pt x="31" y="55"/>
                      <a:pt x="30" y="55"/>
                      <a:pt x="30" y="54"/>
                    </a:cubicBezTo>
                    <a:cubicBezTo>
                      <a:pt x="30" y="54"/>
                      <a:pt x="29" y="54"/>
                      <a:pt x="29" y="54"/>
                    </a:cubicBezTo>
                    <a:cubicBezTo>
                      <a:pt x="29" y="53"/>
                      <a:pt x="29" y="53"/>
                      <a:pt x="29" y="53"/>
                    </a:cubicBezTo>
                    <a:cubicBezTo>
                      <a:pt x="29" y="53"/>
                      <a:pt x="29" y="53"/>
                      <a:pt x="29" y="54"/>
                    </a:cubicBezTo>
                    <a:cubicBezTo>
                      <a:pt x="29" y="54"/>
                      <a:pt x="28" y="53"/>
                      <a:pt x="28" y="54"/>
                    </a:cubicBezTo>
                    <a:cubicBezTo>
                      <a:pt x="28" y="54"/>
                      <a:pt x="28" y="54"/>
                      <a:pt x="28" y="54"/>
                    </a:cubicBezTo>
                    <a:cubicBezTo>
                      <a:pt x="28" y="53"/>
                      <a:pt x="27" y="53"/>
                      <a:pt x="27" y="53"/>
                    </a:cubicBezTo>
                    <a:cubicBezTo>
                      <a:pt x="27" y="53"/>
                      <a:pt x="27" y="53"/>
                      <a:pt x="27" y="53"/>
                    </a:cubicBezTo>
                    <a:cubicBezTo>
                      <a:pt x="27" y="53"/>
                      <a:pt x="27" y="53"/>
                      <a:pt x="27" y="53"/>
                    </a:cubicBezTo>
                    <a:cubicBezTo>
                      <a:pt x="26" y="53"/>
                      <a:pt x="26" y="53"/>
                      <a:pt x="26" y="53"/>
                    </a:cubicBezTo>
                    <a:cubicBezTo>
                      <a:pt x="26" y="53"/>
                      <a:pt x="26" y="53"/>
                      <a:pt x="26" y="53"/>
                    </a:cubicBezTo>
                    <a:cubicBezTo>
                      <a:pt x="26" y="53"/>
                      <a:pt x="25" y="53"/>
                      <a:pt x="25" y="53"/>
                    </a:cubicBezTo>
                    <a:cubicBezTo>
                      <a:pt x="25" y="53"/>
                      <a:pt x="25" y="53"/>
                      <a:pt x="25" y="53"/>
                    </a:cubicBezTo>
                    <a:cubicBezTo>
                      <a:pt x="24" y="53"/>
                      <a:pt x="24" y="53"/>
                      <a:pt x="24" y="53"/>
                    </a:cubicBezTo>
                    <a:cubicBezTo>
                      <a:pt x="24" y="53"/>
                      <a:pt x="24" y="53"/>
                      <a:pt x="24" y="53"/>
                    </a:cubicBezTo>
                    <a:cubicBezTo>
                      <a:pt x="23" y="53"/>
                      <a:pt x="23" y="53"/>
                      <a:pt x="23" y="53"/>
                    </a:cubicBezTo>
                    <a:cubicBezTo>
                      <a:pt x="23" y="53"/>
                      <a:pt x="23" y="53"/>
                      <a:pt x="23" y="54"/>
                    </a:cubicBezTo>
                    <a:cubicBezTo>
                      <a:pt x="23" y="54"/>
                      <a:pt x="23" y="54"/>
                      <a:pt x="23" y="54"/>
                    </a:cubicBezTo>
                    <a:cubicBezTo>
                      <a:pt x="23" y="54"/>
                      <a:pt x="23" y="54"/>
                      <a:pt x="23" y="54"/>
                    </a:cubicBezTo>
                    <a:cubicBezTo>
                      <a:pt x="23" y="54"/>
                      <a:pt x="23" y="54"/>
                      <a:pt x="24" y="54"/>
                    </a:cubicBezTo>
                    <a:cubicBezTo>
                      <a:pt x="24" y="54"/>
                      <a:pt x="24" y="54"/>
                      <a:pt x="24" y="54"/>
                    </a:cubicBezTo>
                    <a:cubicBezTo>
                      <a:pt x="24" y="54"/>
                      <a:pt x="24" y="55"/>
                      <a:pt x="24" y="55"/>
                    </a:cubicBezTo>
                    <a:cubicBezTo>
                      <a:pt x="24" y="55"/>
                      <a:pt x="24" y="55"/>
                      <a:pt x="25" y="55"/>
                    </a:cubicBezTo>
                    <a:cubicBezTo>
                      <a:pt x="25" y="55"/>
                      <a:pt x="25" y="55"/>
                      <a:pt x="25" y="55"/>
                    </a:cubicBezTo>
                    <a:cubicBezTo>
                      <a:pt x="25" y="56"/>
                      <a:pt x="26" y="56"/>
                      <a:pt x="26" y="57"/>
                    </a:cubicBezTo>
                    <a:cubicBezTo>
                      <a:pt x="26" y="57"/>
                      <a:pt x="26" y="57"/>
                      <a:pt x="26" y="58"/>
                    </a:cubicBezTo>
                    <a:cubicBezTo>
                      <a:pt x="26" y="58"/>
                      <a:pt x="26" y="58"/>
                      <a:pt x="26" y="59"/>
                    </a:cubicBezTo>
                    <a:cubicBezTo>
                      <a:pt x="26" y="59"/>
                      <a:pt x="27" y="59"/>
                      <a:pt x="27" y="59"/>
                    </a:cubicBezTo>
                    <a:cubicBezTo>
                      <a:pt x="27" y="59"/>
                      <a:pt x="27" y="59"/>
                      <a:pt x="27" y="59"/>
                    </a:cubicBezTo>
                    <a:cubicBezTo>
                      <a:pt x="27" y="60"/>
                      <a:pt x="27" y="60"/>
                      <a:pt x="27" y="60"/>
                    </a:cubicBezTo>
                    <a:cubicBezTo>
                      <a:pt x="27" y="61"/>
                      <a:pt x="28" y="61"/>
                      <a:pt x="28" y="61"/>
                    </a:cubicBezTo>
                    <a:cubicBezTo>
                      <a:pt x="28" y="61"/>
                      <a:pt x="28" y="62"/>
                      <a:pt x="29" y="62"/>
                    </a:cubicBezTo>
                    <a:cubicBezTo>
                      <a:pt x="29" y="62"/>
                      <a:pt x="29" y="62"/>
                      <a:pt x="29" y="62"/>
                    </a:cubicBezTo>
                    <a:cubicBezTo>
                      <a:pt x="29" y="62"/>
                      <a:pt x="29" y="62"/>
                      <a:pt x="29" y="62"/>
                    </a:cubicBezTo>
                    <a:cubicBezTo>
                      <a:pt x="29" y="62"/>
                      <a:pt x="29" y="62"/>
                      <a:pt x="29" y="62"/>
                    </a:cubicBezTo>
                    <a:cubicBezTo>
                      <a:pt x="29" y="62"/>
                      <a:pt x="29" y="62"/>
                      <a:pt x="29" y="62"/>
                    </a:cubicBezTo>
                    <a:cubicBezTo>
                      <a:pt x="30" y="62"/>
                      <a:pt x="30" y="62"/>
                      <a:pt x="30" y="62"/>
                    </a:cubicBezTo>
                    <a:cubicBezTo>
                      <a:pt x="30" y="62"/>
                      <a:pt x="30" y="62"/>
                      <a:pt x="30" y="62"/>
                    </a:cubicBezTo>
                    <a:cubicBezTo>
                      <a:pt x="30" y="62"/>
                      <a:pt x="30" y="62"/>
                      <a:pt x="30" y="62"/>
                    </a:cubicBezTo>
                    <a:cubicBezTo>
                      <a:pt x="31" y="62"/>
                      <a:pt x="30" y="62"/>
                      <a:pt x="31" y="62"/>
                    </a:cubicBezTo>
                    <a:cubicBezTo>
                      <a:pt x="31" y="62"/>
                      <a:pt x="31" y="62"/>
                      <a:pt x="31" y="62"/>
                    </a:cubicBezTo>
                    <a:cubicBezTo>
                      <a:pt x="31" y="61"/>
                      <a:pt x="31" y="61"/>
                      <a:pt x="31" y="61"/>
                    </a:cubicBezTo>
                    <a:cubicBezTo>
                      <a:pt x="31" y="61"/>
                      <a:pt x="31" y="61"/>
                      <a:pt x="31" y="61"/>
                    </a:cubicBezTo>
                    <a:close/>
                    <a:moveTo>
                      <a:pt x="29" y="63"/>
                    </a:moveTo>
                    <a:cubicBezTo>
                      <a:pt x="29" y="63"/>
                      <a:pt x="29" y="62"/>
                      <a:pt x="29" y="62"/>
                    </a:cubicBezTo>
                    <a:cubicBezTo>
                      <a:pt x="29" y="62"/>
                      <a:pt x="29" y="62"/>
                      <a:pt x="28" y="62"/>
                    </a:cubicBezTo>
                    <a:cubicBezTo>
                      <a:pt x="28" y="62"/>
                      <a:pt x="28" y="62"/>
                      <a:pt x="28" y="62"/>
                    </a:cubicBezTo>
                    <a:cubicBezTo>
                      <a:pt x="28" y="63"/>
                      <a:pt x="29" y="63"/>
                      <a:pt x="29" y="63"/>
                    </a:cubicBezTo>
                    <a:close/>
                    <a:moveTo>
                      <a:pt x="23" y="51"/>
                    </a:moveTo>
                    <a:cubicBezTo>
                      <a:pt x="23" y="51"/>
                      <a:pt x="22" y="51"/>
                      <a:pt x="22" y="51"/>
                    </a:cubicBezTo>
                    <a:cubicBezTo>
                      <a:pt x="22" y="51"/>
                      <a:pt x="22" y="51"/>
                      <a:pt x="22" y="51"/>
                    </a:cubicBezTo>
                    <a:cubicBezTo>
                      <a:pt x="22" y="51"/>
                      <a:pt x="22" y="51"/>
                      <a:pt x="22" y="51"/>
                    </a:cubicBezTo>
                    <a:cubicBezTo>
                      <a:pt x="21" y="51"/>
                      <a:pt x="21" y="51"/>
                      <a:pt x="21" y="51"/>
                    </a:cubicBezTo>
                    <a:cubicBezTo>
                      <a:pt x="21" y="50"/>
                      <a:pt x="21" y="50"/>
                      <a:pt x="20" y="50"/>
                    </a:cubicBezTo>
                    <a:cubicBezTo>
                      <a:pt x="20" y="50"/>
                      <a:pt x="20" y="51"/>
                      <a:pt x="20" y="51"/>
                    </a:cubicBezTo>
                    <a:cubicBezTo>
                      <a:pt x="20" y="51"/>
                      <a:pt x="21" y="51"/>
                      <a:pt x="21" y="51"/>
                    </a:cubicBezTo>
                    <a:cubicBezTo>
                      <a:pt x="21" y="51"/>
                      <a:pt x="21" y="51"/>
                      <a:pt x="21" y="51"/>
                    </a:cubicBezTo>
                    <a:cubicBezTo>
                      <a:pt x="21" y="52"/>
                      <a:pt x="22" y="52"/>
                      <a:pt x="22" y="52"/>
                    </a:cubicBezTo>
                    <a:cubicBezTo>
                      <a:pt x="22" y="52"/>
                      <a:pt x="22" y="52"/>
                      <a:pt x="22" y="52"/>
                    </a:cubicBezTo>
                    <a:cubicBezTo>
                      <a:pt x="23" y="52"/>
                      <a:pt x="23" y="52"/>
                      <a:pt x="23" y="52"/>
                    </a:cubicBezTo>
                    <a:cubicBezTo>
                      <a:pt x="23" y="52"/>
                      <a:pt x="23" y="52"/>
                      <a:pt x="23" y="52"/>
                    </a:cubicBezTo>
                    <a:cubicBezTo>
                      <a:pt x="23" y="52"/>
                      <a:pt x="23" y="52"/>
                      <a:pt x="23" y="52"/>
                    </a:cubicBezTo>
                    <a:cubicBezTo>
                      <a:pt x="23" y="52"/>
                      <a:pt x="23" y="52"/>
                      <a:pt x="22" y="52"/>
                    </a:cubicBezTo>
                    <a:cubicBezTo>
                      <a:pt x="22" y="52"/>
                      <a:pt x="22" y="52"/>
                      <a:pt x="22" y="51"/>
                    </a:cubicBezTo>
                    <a:cubicBezTo>
                      <a:pt x="22" y="51"/>
                      <a:pt x="22" y="51"/>
                      <a:pt x="22" y="51"/>
                    </a:cubicBezTo>
                    <a:cubicBezTo>
                      <a:pt x="22" y="51"/>
                      <a:pt x="22" y="51"/>
                      <a:pt x="22" y="51"/>
                    </a:cubicBezTo>
                    <a:cubicBezTo>
                      <a:pt x="22" y="51"/>
                      <a:pt x="23" y="51"/>
                      <a:pt x="23" y="51"/>
                    </a:cubicBezTo>
                    <a:close/>
                    <a:moveTo>
                      <a:pt x="63" y="69"/>
                    </a:moveTo>
                    <a:cubicBezTo>
                      <a:pt x="63" y="69"/>
                      <a:pt x="63" y="69"/>
                      <a:pt x="63" y="69"/>
                    </a:cubicBezTo>
                    <a:cubicBezTo>
                      <a:pt x="63" y="69"/>
                      <a:pt x="63" y="69"/>
                      <a:pt x="63" y="68"/>
                    </a:cubicBezTo>
                    <a:cubicBezTo>
                      <a:pt x="62" y="69"/>
                      <a:pt x="62" y="69"/>
                      <a:pt x="62" y="69"/>
                    </a:cubicBezTo>
                    <a:cubicBezTo>
                      <a:pt x="62" y="69"/>
                      <a:pt x="62" y="69"/>
                      <a:pt x="62" y="69"/>
                    </a:cubicBezTo>
                    <a:cubicBezTo>
                      <a:pt x="62" y="68"/>
                      <a:pt x="62" y="68"/>
                      <a:pt x="62" y="68"/>
                    </a:cubicBezTo>
                    <a:cubicBezTo>
                      <a:pt x="62" y="69"/>
                      <a:pt x="61" y="69"/>
                      <a:pt x="61" y="69"/>
                    </a:cubicBezTo>
                    <a:cubicBezTo>
                      <a:pt x="61" y="69"/>
                      <a:pt x="60" y="69"/>
                      <a:pt x="60" y="69"/>
                    </a:cubicBezTo>
                    <a:cubicBezTo>
                      <a:pt x="60" y="69"/>
                      <a:pt x="60" y="69"/>
                      <a:pt x="60" y="69"/>
                    </a:cubicBezTo>
                    <a:cubicBezTo>
                      <a:pt x="60" y="69"/>
                      <a:pt x="60" y="69"/>
                      <a:pt x="60" y="69"/>
                    </a:cubicBezTo>
                    <a:cubicBezTo>
                      <a:pt x="60" y="69"/>
                      <a:pt x="60" y="69"/>
                      <a:pt x="59" y="69"/>
                    </a:cubicBezTo>
                    <a:cubicBezTo>
                      <a:pt x="59" y="69"/>
                      <a:pt x="59" y="68"/>
                      <a:pt x="59" y="68"/>
                    </a:cubicBezTo>
                    <a:cubicBezTo>
                      <a:pt x="59" y="68"/>
                      <a:pt x="59" y="68"/>
                      <a:pt x="58" y="68"/>
                    </a:cubicBezTo>
                    <a:cubicBezTo>
                      <a:pt x="58" y="68"/>
                      <a:pt x="58" y="68"/>
                      <a:pt x="58" y="68"/>
                    </a:cubicBezTo>
                    <a:cubicBezTo>
                      <a:pt x="58" y="68"/>
                      <a:pt x="58" y="68"/>
                      <a:pt x="58" y="67"/>
                    </a:cubicBezTo>
                    <a:cubicBezTo>
                      <a:pt x="58" y="67"/>
                      <a:pt x="58" y="67"/>
                      <a:pt x="58" y="67"/>
                    </a:cubicBezTo>
                    <a:cubicBezTo>
                      <a:pt x="58" y="67"/>
                      <a:pt x="58" y="67"/>
                      <a:pt x="58" y="67"/>
                    </a:cubicBezTo>
                    <a:cubicBezTo>
                      <a:pt x="58" y="67"/>
                      <a:pt x="58" y="67"/>
                      <a:pt x="58" y="67"/>
                    </a:cubicBezTo>
                    <a:cubicBezTo>
                      <a:pt x="58" y="67"/>
                      <a:pt x="58" y="67"/>
                      <a:pt x="57" y="67"/>
                    </a:cubicBezTo>
                    <a:cubicBezTo>
                      <a:pt x="57" y="67"/>
                      <a:pt x="57" y="67"/>
                      <a:pt x="57" y="67"/>
                    </a:cubicBezTo>
                    <a:cubicBezTo>
                      <a:pt x="57" y="67"/>
                      <a:pt x="57" y="67"/>
                      <a:pt x="57" y="66"/>
                    </a:cubicBezTo>
                    <a:cubicBezTo>
                      <a:pt x="57" y="66"/>
                      <a:pt x="57" y="66"/>
                      <a:pt x="57" y="66"/>
                    </a:cubicBezTo>
                    <a:cubicBezTo>
                      <a:pt x="57" y="66"/>
                      <a:pt x="57" y="66"/>
                      <a:pt x="57" y="66"/>
                    </a:cubicBezTo>
                    <a:cubicBezTo>
                      <a:pt x="57" y="66"/>
                      <a:pt x="57" y="66"/>
                      <a:pt x="57" y="66"/>
                    </a:cubicBezTo>
                    <a:cubicBezTo>
                      <a:pt x="57" y="66"/>
                      <a:pt x="57" y="65"/>
                      <a:pt x="57" y="65"/>
                    </a:cubicBezTo>
                    <a:cubicBezTo>
                      <a:pt x="57" y="65"/>
                      <a:pt x="57" y="65"/>
                      <a:pt x="57" y="65"/>
                    </a:cubicBezTo>
                    <a:cubicBezTo>
                      <a:pt x="57" y="65"/>
                      <a:pt x="57" y="65"/>
                      <a:pt x="58" y="65"/>
                    </a:cubicBezTo>
                    <a:cubicBezTo>
                      <a:pt x="58" y="65"/>
                      <a:pt x="58" y="64"/>
                      <a:pt x="58" y="64"/>
                    </a:cubicBezTo>
                    <a:cubicBezTo>
                      <a:pt x="58" y="64"/>
                      <a:pt x="58" y="64"/>
                      <a:pt x="58" y="64"/>
                    </a:cubicBezTo>
                    <a:cubicBezTo>
                      <a:pt x="57" y="64"/>
                      <a:pt x="57" y="64"/>
                      <a:pt x="57" y="64"/>
                    </a:cubicBezTo>
                    <a:cubicBezTo>
                      <a:pt x="57" y="64"/>
                      <a:pt x="57" y="64"/>
                      <a:pt x="57" y="64"/>
                    </a:cubicBezTo>
                    <a:cubicBezTo>
                      <a:pt x="56" y="64"/>
                      <a:pt x="56" y="64"/>
                      <a:pt x="56" y="64"/>
                    </a:cubicBezTo>
                    <a:cubicBezTo>
                      <a:pt x="56" y="64"/>
                      <a:pt x="56" y="64"/>
                      <a:pt x="56" y="64"/>
                    </a:cubicBezTo>
                    <a:cubicBezTo>
                      <a:pt x="56" y="63"/>
                      <a:pt x="55" y="63"/>
                      <a:pt x="55" y="63"/>
                    </a:cubicBezTo>
                    <a:cubicBezTo>
                      <a:pt x="55" y="63"/>
                      <a:pt x="55" y="62"/>
                      <a:pt x="55" y="62"/>
                    </a:cubicBezTo>
                    <a:cubicBezTo>
                      <a:pt x="55" y="62"/>
                      <a:pt x="54" y="62"/>
                      <a:pt x="54" y="62"/>
                    </a:cubicBezTo>
                    <a:cubicBezTo>
                      <a:pt x="54" y="62"/>
                      <a:pt x="54" y="62"/>
                      <a:pt x="54" y="62"/>
                    </a:cubicBezTo>
                    <a:cubicBezTo>
                      <a:pt x="54" y="62"/>
                      <a:pt x="53" y="62"/>
                      <a:pt x="53" y="62"/>
                    </a:cubicBezTo>
                    <a:cubicBezTo>
                      <a:pt x="53" y="62"/>
                      <a:pt x="53" y="62"/>
                      <a:pt x="53" y="62"/>
                    </a:cubicBezTo>
                    <a:cubicBezTo>
                      <a:pt x="53" y="62"/>
                      <a:pt x="53" y="61"/>
                      <a:pt x="53" y="61"/>
                    </a:cubicBezTo>
                    <a:cubicBezTo>
                      <a:pt x="52" y="61"/>
                      <a:pt x="52" y="61"/>
                      <a:pt x="52" y="60"/>
                    </a:cubicBezTo>
                    <a:cubicBezTo>
                      <a:pt x="52" y="60"/>
                      <a:pt x="52" y="60"/>
                      <a:pt x="52" y="59"/>
                    </a:cubicBezTo>
                    <a:cubicBezTo>
                      <a:pt x="52" y="59"/>
                      <a:pt x="52" y="59"/>
                      <a:pt x="52" y="59"/>
                    </a:cubicBezTo>
                    <a:cubicBezTo>
                      <a:pt x="52" y="59"/>
                      <a:pt x="52" y="59"/>
                      <a:pt x="52" y="58"/>
                    </a:cubicBezTo>
                    <a:cubicBezTo>
                      <a:pt x="52" y="58"/>
                      <a:pt x="52" y="59"/>
                      <a:pt x="52" y="59"/>
                    </a:cubicBezTo>
                    <a:cubicBezTo>
                      <a:pt x="52" y="59"/>
                      <a:pt x="52" y="59"/>
                      <a:pt x="52" y="59"/>
                    </a:cubicBezTo>
                    <a:cubicBezTo>
                      <a:pt x="53" y="59"/>
                      <a:pt x="53" y="58"/>
                      <a:pt x="53" y="59"/>
                    </a:cubicBezTo>
                    <a:cubicBezTo>
                      <a:pt x="53" y="59"/>
                      <a:pt x="53" y="59"/>
                      <a:pt x="53" y="59"/>
                    </a:cubicBezTo>
                    <a:cubicBezTo>
                      <a:pt x="53" y="58"/>
                      <a:pt x="53" y="58"/>
                      <a:pt x="53" y="58"/>
                    </a:cubicBezTo>
                    <a:cubicBezTo>
                      <a:pt x="54" y="58"/>
                      <a:pt x="54" y="58"/>
                      <a:pt x="53" y="59"/>
                    </a:cubicBezTo>
                    <a:cubicBezTo>
                      <a:pt x="54" y="59"/>
                      <a:pt x="54" y="59"/>
                      <a:pt x="54" y="59"/>
                    </a:cubicBezTo>
                    <a:cubicBezTo>
                      <a:pt x="54" y="58"/>
                      <a:pt x="54" y="58"/>
                      <a:pt x="55" y="59"/>
                    </a:cubicBezTo>
                    <a:cubicBezTo>
                      <a:pt x="55" y="59"/>
                      <a:pt x="55" y="59"/>
                      <a:pt x="55" y="59"/>
                    </a:cubicBezTo>
                    <a:cubicBezTo>
                      <a:pt x="55" y="59"/>
                      <a:pt x="56" y="59"/>
                      <a:pt x="56" y="58"/>
                    </a:cubicBezTo>
                    <a:cubicBezTo>
                      <a:pt x="56" y="58"/>
                      <a:pt x="56" y="58"/>
                      <a:pt x="57" y="58"/>
                    </a:cubicBezTo>
                    <a:cubicBezTo>
                      <a:pt x="57" y="58"/>
                      <a:pt x="57" y="58"/>
                      <a:pt x="57" y="58"/>
                    </a:cubicBezTo>
                    <a:cubicBezTo>
                      <a:pt x="57" y="58"/>
                      <a:pt x="57" y="58"/>
                      <a:pt x="57" y="58"/>
                    </a:cubicBezTo>
                    <a:cubicBezTo>
                      <a:pt x="57" y="58"/>
                      <a:pt x="57" y="58"/>
                      <a:pt x="57" y="58"/>
                    </a:cubicBezTo>
                    <a:cubicBezTo>
                      <a:pt x="57" y="58"/>
                      <a:pt x="57" y="58"/>
                      <a:pt x="57" y="58"/>
                    </a:cubicBezTo>
                    <a:cubicBezTo>
                      <a:pt x="58" y="58"/>
                      <a:pt x="58" y="58"/>
                      <a:pt x="58" y="58"/>
                    </a:cubicBezTo>
                    <a:cubicBezTo>
                      <a:pt x="58" y="58"/>
                      <a:pt x="58" y="58"/>
                      <a:pt x="58" y="58"/>
                    </a:cubicBezTo>
                    <a:cubicBezTo>
                      <a:pt x="58" y="58"/>
                      <a:pt x="58" y="58"/>
                      <a:pt x="58" y="58"/>
                    </a:cubicBezTo>
                    <a:cubicBezTo>
                      <a:pt x="59" y="58"/>
                      <a:pt x="58" y="58"/>
                      <a:pt x="58" y="58"/>
                    </a:cubicBezTo>
                    <a:cubicBezTo>
                      <a:pt x="59" y="58"/>
                      <a:pt x="59" y="59"/>
                      <a:pt x="59" y="59"/>
                    </a:cubicBezTo>
                    <a:cubicBezTo>
                      <a:pt x="59" y="59"/>
                      <a:pt x="59" y="59"/>
                      <a:pt x="59" y="59"/>
                    </a:cubicBezTo>
                    <a:cubicBezTo>
                      <a:pt x="59" y="60"/>
                      <a:pt x="59" y="60"/>
                      <a:pt x="60" y="60"/>
                    </a:cubicBezTo>
                    <a:cubicBezTo>
                      <a:pt x="60" y="60"/>
                      <a:pt x="60" y="60"/>
                      <a:pt x="60" y="60"/>
                    </a:cubicBezTo>
                    <a:cubicBezTo>
                      <a:pt x="60" y="60"/>
                      <a:pt x="60" y="60"/>
                      <a:pt x="60" y="60"/>
                    </a:cubicBezTo>
                    <a:cubicBezTo>
                      <a:pt x="60" y="60"/>
                      <a:pt x="61" y="60"/>
                      <a:pt x="61" y="61"/>
                    </a:cubicBezTo>
                    <a:cubicBezTo>
                      <a:pt x="61" y="61"/>
                      <a:pt x="61" y="61"/>
                      <a:pt x="61" y="61"/>
                    </a:cubicBezTo>
                    <a:cubicBezTo>
                      <a:pt x="60" y="61"/>
                      <a:pt x="60" y="61"/>
                      <a:pt x="61" y="61"/>
                    </a:cubicBezTo>
                    <a:cubicBezTo>
                      <a:pt x="61" y="61"/>
                      <a:pt x="61" y="61"/>
                      <a:pt x="61" y="62"/>
                    </a:cubicBezTo>
                    <a:cubicBezTo>
                      <a:pt x="61" y="62"/>
                      <a:pt x="61" y="62"/>
                      <a:pt x="61" y="62"/>
                    </a:cubicBezTo>
                    <a:cubicBezTo>
                      <a:pt x="60" y="62"/>
                      <a:pt x="60" y="63"/>
                      <a:pt x="61" y="63"/>
                    </a:cubicBezTo>
                    <a:cubicBezTo>
                      <a:pt x="61" y="64"/>
                      <a:pt x="61" y="64"/>
                      <a:pt x="61" y="64"/>
                    </a:cubicBezTo>
                    <a:cubicBezTo>
                      <a:pt x="61" y="65"/>
                      <a:pt x="61" y="65"/>
                      <a:pt x="61" y="65"/>
                    </a:cubicBezTo>
                    <a:cubicBezTo>
                      <a:pt x="61" y="65"/>
                      <a:pt x="61" y="65"/>
                      <a:pt x="61" y="65"/>
                    </a:cubicBezTo>
                    <a:cubicBezTo>
                      <a:pt x="61" y="65"/>
                      <a:pt x="61" y="66"/>
                      <a:pt x="61" y="66"/>
                    </a:cubicBezTo>
                    <a:cubicBezTo>
                      <a:pt x="61" y="66"/>
                      <a:pt x="61" y="66"/>
                      <a:pt x="62" y="66"/>
                    </a:cubicBezTo>
                    <a:cubicBezTo>
                      <a:pt x="62" y="66"/>
                      <a:pt x="62" y="66"/>
                      <a:pt x="62" y="66"/>
                    </a:cubicBezTo>
                    <a:cubicBezTo>
                      <a:pt x="62" y="66"/>
                      <a:pt x="62" y="66"/>
                      <a:pt x="62" y="66"/>
                    </a:cubicBezTo>
                    <a:cubicBezTo>
                      <a:pt x="62" y="67"/>
                      <a:pt x="62" y="67"/>
                      <a:pt x="62" y="67"/>
                    </a:cubicBezTo>
                    <a:cubicBezTo>
                      <a:pt x="62" y="67"/>
                      <a:pt x="62" y="67"/>
                      <a:pt x="62" y="67"/>
                    </a:cubicBezTo>
                    <a:cubicBezTo>
                      <a:pt x="62" y="67"/>
                      <a:pt x="62" y="67"/>
                      <a:pt x="62" y="67"/>
                    </a:cubicBezTo>
                    <a:cubicBezTo>
                      <a:pt x="62" y="67"/>
                      <a:pt x="62" y="67"/>
                      <a:pt x="62" y="67"/>
                    </a:cubicBezTo>
                    <a:cubicBezTo>
                      <a:pt x="62" y="68"/>
                      <a:pt x="62" y="68"/>
                      <a:pt x="62" y="68"/>
                    </a:cubicBezTo>
                    <a:cubicBezTo>
                      <a:pt x="62" y="68"/>
                      <a:pt x="62" y="68"/>
                      <a:pt x="62" y="68"/>
                    </a:cubicBezTo>
                    <a:cubicBezTo>
                      <a:pt x="62" y="68"/>
                      <a:pt x="62" y="68"/>
                      <a:pt x="62" y="68"/>
                    </a:cubicBezTo>
                    <a:cubicBezTo>
                      <a:pt x="62" y="68"/>
                      <a:pt x="63" y="68"/>
                      <a:pt x="63" y="68"/>
                    </a:cubicBezTo>
                    <a:cubicBezTo>
                      <a:pt x="63" y="69"/>
                      <a:pt x="63" y="69"/>
                      <a:pt x="63" y="69"/>
                    </a:cubicBezTo>
                    <a:cubicBezTo>
                      <a:pt x="63" y="69"/>
                      <a:pt x="63" y="69"/>
                      <a:pt x="63" y="69"/>
                    </a:cubicBezTo>
                    <a:close/>
                    <a:moveTo>
                      <a:pt x="52" y="58"/>
                    </a:moveTo>
                    <a:cubicBezTo>
                      <a:pt x="52" y="58"/>
                      <a:pt x="53" y="58"/>
                      <a:pt x="53" y="58"/>
                    </a:cubicBezTo>
                    <a:cubicBezTo>
                      <a:pt x="53" y="58"/>
                      <a:pt x="53" y="58"/>
                      <a:pt x="53" y="58"/>
                    </a:cubicBezTo>
                    <a:cubicBezTo>
                      <a:pt x="53" y="58"/>
                      <a:pt x="53" y="58"/>
                      <a:pt x="53" y="58"/>
                    </a:cubicBezTo>
                    <a:cubicBezTo>
                      <a:pt x="53" y="58"/>
                      <a:pt x="52" y="58"/>
                      <a:pt x="52" y="58"/>
                    </a:cubicBezTo>
                    <a:close/>
                    <a:moveTo>
                      <a:pt x="52" y="58"/>
                    </a:moveTo>
                    <a:cubicBezTo>
                      <a:pt x="52" y="58"/>
                      <a:pt x="52" y="58"/>
                      <a:pt x="52" y="58"/>
                    </a:cubicBezTo>
                    <a:cubicBezTo>
                      <a:pt x="52" y="58"/>
                      <a:pt x="52" y="58"/>
                      <a:pt x="52" y="58"/>
                    </a:cubicBezTo>
                    <a:cubicBezTo>
                      <a:pt x="53" y="58"/>
                      <a:pt x="53" y="58"/>
                      <a:pt x="53" y="58"/>
                    </a:cubicBezTo>
                    <a:cubicBezTo>
                      <a:pt x="53" y="58"/>
                      <a:pt x="53" y="58"/>
                      <a:pt x="52" y="58"/>
                    </a:cubicBezTo>
                    <a:close/>
                    <a:moveTo>
                      <a:pt x="57" y="58"/>
                    </a:moveTo>
                    <a:cubicBezTo>
                      <a:pt x="57" y="58"/>
                      <a:pt x="57" y="58"/>
                      <a:pt x="58" y="58"/>
                    </a:cubicBezTo>
                    <a:cubicBezTo>
                      <a:pt x="58" y="58"/>
                      <a:pt x="58" y="58"/>
                      <a:pt x="58" y="57"/>
                    </a:cubicBezTo>
                    <a:cubicBezTo>
                      <a:pt x="58" y="57"/>
                      <a:pt x="57" y="57"/>
                      <a:pt x="57" y="57"/>
                    </a:cubicBezTo>
                    <a:cubicBezTo>
                      <a:pt x="57" y="57"/>
                      <a:pt x="57" y="57"/>
                      <a:pt x="57" y="57"/>
                    </a:cubicBezTo>
                    <a:cubicBezTo>
                      <a:pt x="57" y="57"/>
                      <a:pt x="57" y="58"/>
                      <a:pt x="57" y="58"/>
                    </a:cubicBezTo>
                    <a:close/>
                    <a:moveTo>
                      <a:pt x="52" y="59"/>
                    </a:moveTo>
                    <a:cubicBezTo>
                      <a:pt x="52" y="60"/>
                      <a:pt x="52" y="60"/>
                      <a:pt x="52" y="60"/>
                    </a:cubicBezTo>
                    <a:cubicBezTo>
                      <a:pt x="52" y="60"/>
                      <a:pt x="52" y="60"/>
                      <a:pt x="52" y="59"/>
                    </a:cubicBezTo>
                    <a:close/>
                    <a:moveTo>
                      <a:pt x="51" y="59"/>
                    </a:moveTo>
                    <a:cubicBezTo>
                      <a:pt x="51" y="59"/>
                      <a:pt x="51" y="59"/>
                      <a:pt x="51" y="59"/>
                    </a:cubicBezTo>
                    <a:cubicBezTo>
                      <a:pt x="51" y="60"/>
                      <a:pt x="51" y="60"/>
                      <a:pt x="51" y="60"/>
                    </a:cubicBezTo>
                    <a:cubicBezTo>
                      <a:pt x="51" y="60"/>
                      <a:pt x="51" y="60"/>
                      <a:pt x="51" y="60"/>
                    </a:cubicBezTo>
                    <a:cubicBezTo>
                      <a:pt x="51" y="60"/>
                      <a:pt x="51" y="59"/>
                      <a:pt x="51" y="59"/>
                    </a:cubicBezTo>
                    <a:close/>
                    <a:moveTo>
                      <a:pt x="40" y="82"/>
                    </a:moveTo>
                    <a:cubicBezTo>
                      <a:pt x="41" y="82"/>
                      <a:pt x="41" y="83"/>
                      <a:pt x="41" y="83"/>
                    </a:cubicBezTo>
                    <a:cubicBezTo>
                      <a:pt x="41" y="83"/>
                      <a:pt x="42" y="83"/>
                      <a:pt x="42" y="83"/>
                    </a:cubicBezTo>
                    <a:cubicBezTo>
                      <a:pt x="43" y="83"/>
                      <a:pt x="43" y="83"/>
                      <a:pt x="43" y="84"/>
                    </a:cubicBezTo>
                    <a:cubicBezTo>
                      <a:pt x="43" y="84"/>
                      <a:pt x="43" y="84"/>
                      <a:pt x="43" y="84"/>
                    </a:cubicBezTo>
                    <a:cubicBezTo>
                      <a:pt x="43" y="85"/>
                      <a:pt x="43" y="85"/>
                      <a:pt x="44" y="85"/>
                    </a:cubicBezTo>
                    <a:cubicBezTo>
                      <a:pt x="44" y="85"/>
                      <a:pt x="44" y="85"/>
                      <a:pt x="45" y="85"/>
                    </a:cubicBezTo>
                    <a:cubicBezTo>
                      <a:pt x="45" y="85"/>
                      <a:pt x="45" y="85"/>
                      <a:pt x="45" y="85"/>
                    </a:cubicBezTo>
                    <a:cubicBezTo>
                      <a:pt x="46" y="85"/>
                      <a:pt x="46" y="84"/>
                      <a:pt x="46" y="83"/>
                    </a:cubicBezTo>
                    <a:cubicBezTo>
                      <a:pt x="46" y="83"/>
                      <a:pt x="46" y="83"/>
                      <a:pt x="46" y="83"/>
                    </a:cubicBezTo>
                    <a:cubicBezTo>
                      <a:pt x="46" y="83"/>
                      <a:pt x="46" y="82"/>
                      <a:pt x="45" y="82"/>
                    </a:cubicBezTo>
                    <a:cubicBezTo>
                      <a:pt x="45" y="82"/>
                      <a:pt x="45" y="82"/>
                      <a:pt x="45" y="82"/>
                    </a:cubicBezTo>
                    <a:cubicBezTo>
                      <a:pt x="45" y="81"/>
                      <a:pt x="45" y="81"/>
                      <a:pt x="45" y="81"/>
                    </a:cubicBezTo>
                    <a:cubicBezTo>
                      <a:pt x="45" y="81"/>
                      <a:pt x="45" y="81"/>
                      <a:pt x="45" y="81"/>
                    </a:cubicBezTo>
                    <a:cubicBezTo>
                      <a:pt x="45" y="81"/>
                      <a:pt x="45" y="81"/>
                      <a:pt x="45" y="81"/>
                    </a:cubicBezTo>
                    <a:cubicBezTo>
                      <a:pt x="45" y="80"/>
                      <a:pt x="45" y="80"/>
                      <a:pt x="45" y="80"/>
                    </a:cubicBezTo>
                    <a:cubicBezTo>
                      <a:pt x="45" y="80"/>
                      <a:pt x="45" y="79"/>
                      <a:pt x="45" y="79"/>
                    </a:cubicBezTo>
                    <a:cubicBezTo>
                      <a:pt x="45" y="79"/>
                      <a:pt x="45" y="79"/>
                      <a:pt x="45" y="78"/>
                    </a:cubicBezTo>
                    <a:cubicBezTo>
                      <a:pt x="45" y="78"/>
                      <a:pt x="45" y="78"/>
                      <a:pt x="45" y="78"/>
                    </a:cubicBezTo>
                    <a:cubicBezTo>
                      <a:pt x="46" y="78"/>
                      <a:pt x="46" y="78"/>
                      <a:pt x="46" y="78"/>
                    </a:cubicBezTo>
                    <a:cubicBezTo>
                      <a:pt x="46" y="77"/>
                      <a:pt x="46" y="77"/>
                      <a:pt x="46" y="77"/>
                    </a:cubicBezTo>
                    <a:cubicBezTo>
                      <a:pt x="46" y="77"/>
                      <a:pt x="46" y="76"/>
                      <a:pt x="46" y="75"/>
                    </a:cubicBezTo>
                    <a:cubicBezTo>
                      <a:pt x="46" y="75"/>
                      <a:pt x="46" y="75"/>
                      <a:pt x="46" y="75"/>
                    </a:cubicBezTo>
                    <a:cubicBezTo>
                      <a:pt x="46" y="75"/>
                      <a:pt x="46" y="75"/>
                      <a:pt x="46" y="75"/>
                    </a:cubicBezTo>
                    <a:cubicBezTo>
                      <a:pt x="46" y="75"/>
                      <a:pt x="46" y="75"/>
                      <a:pt x="46" y="75"/>
                    </a:cubicBezTo>
                    <a:cubicBezTo>
                      <a:pt x="46" y="75"/>
                      <a:pt x="46" y="75"/>
                      <a:pt x="47" y="74"/>
                    </a:cubicBezTo>
                    <a:cubicBezTo>
                      <a:pt x="47" y="74"/>
                      <a:pt x="47" y="74"/>
                      <a:pt x="47" y="74"/>
                    </a:cubicBezTo>
                    <a:cubicBezTo>
                      <a:pt x="47" y="74"/>
                      <a:pt x="47" y="74"/>
                      <a:pt x="47" y="74"/>
                    </a:cubicBezTo>
                    <a:cubicBezTo>
                      <a:pt x="47" y="73"/>
                      <a:pt x="47" y="73"/>
                      <a:pt x="47" y="73"/>
                    </a:cubicBezTo>
                    <a:cubicBezTo>
                      <a:pt x="47" y="73"/>
                      <a:pt x="47" y="73"/>
                      <a:pt x="47" y="73"/>
                    </a:cubicBezTo>
                    <a:cubicBezTo>
                      <a:pt x="47" y="73"/>
                      <a:pt x="47" y="72"/>
                      <a:pt x="47" y="72"/>
                    </a:cubicBezTo>
                    <a:cubicBezTo>
                      <a:pt x="48" y="72"/>
                      <a:pt x="48" y="72"/>
                      <a:pt x="47" y="72"/>
                    </a:cubicBezTo>
                    <a:cubicBezTo>
                      <a:pt x="47" y="72"/>
                      <a:pt x="47" y="71"/>
                      <a:pt x="47" y="71"/>
                    </a:cubicBezTo>
                    <a:cubicBezTo>
                      <a:pt x="47" y="71"/>
                      <a:pt x="47" y="71"/>
                      <a:pt x="46" y="71"/>
                    </a:cubicBezTo>
                    <a:cubicBezTo>
                      <a:pt x="46" y="71"/>
                      <a:pt x="46" y="71"/>
                      <a:pt x="46" y="71"/>
                    </a:cubicBezTo>
                    <a:cubicBezTo>
                      <a:pt x="46" y="71"/>
                      <a:pt x="46" y="71"/>
                      <a:pt x="46" y="71"/>
                    </a:cubicBezTo>
                    <a:cubicBezTo>
                      <a:pt x="46" y="71"/>
                      <a:pt x="46" y="71"/>
                      <a:pt x="46" y="71"/>
                    </a:cubicBezTo>
                    <a:cubicBezTo>
                      <a:pt x="45" y="71"/>
                      <a:pt x="45" y="71"/>
                      <a:pt x="45" y="71"/>
                    </a:cubicBezTo>
                    <a:cubicBezTo>
                      <a:pt x="45" y="71"/>
                      <a:pt x="45" y="71"/>
                      <a:pt x="45" y="71"/>
                    </a:cubicBezTo>
                    <a:cubicBezTo>
                      <a:pt x="45" y="71"/>
                      <a:pt x="45" y="71"/>
                      <a:pt x="44" y="71"/>
                    </a:cubicBezTo>
                    <a:cubicBezTo>
                      <a:pt x="44" y="71"/>
                      <a:pt x="44" y="71"/>
                      <a:pt x="44" y="71"/>
                    </a:cubicBezTo>
                    <a:cubicBezTo>
                      <a:pt x="44" y="71"/>
                      <a:pt x="44" y="71"/>
                      <a:pt x="44" y="71"/>
                    </a:cubicBezTo>
                    <a:cubicBezTo>
                      <a:pt x="43" y="71"/>
                      <a:pt x="43" y="71"/>
                      <a:pt x="43" y="72"/>
                    </a:cubicBezTo>
                    <a:cubicBezTo>
                      <a:pt x="43" y="72"/>
                      <a:pt x="43" y="72"/>
                      <a:pt x="43" y="72"/>
                    </a:cubicBezTo>
                    <a:cubicBezTo>
                      <a:pt x="43" y="73"/>
                      <a:pt x="43" y="73"/>
                      <a:pt x="43" y="74"/>
                    </a:cubicBezTo>
                    <a:cubicBezTo>
                      <a:pt x="42" y="74"/>
                      <a:pt x="42" y="74"/>
                      <a:pt x="42" y="74"/>
                    </a:cubicBezTo>
                    <a:cubicBezTo>
                      <a:pt x="42" y="74"/>
                      <a:pt x="42" y="74"/>
                      <a:pt x="42" y="74"/>
                    </a:cubicBezTo>
                    <a:cubicBezTo>
                      <a:pt x="42" y="74"/>
                      <a:pt x="42" y="75"/>
                      <a:pt x="42" y="75"/>
                    </a:cubicBezTo>
                    <a:cubicBezTo>
                      <a:pt x="42" y="75"/>
                      <a:pt x="42" y="75"/>
                      <a:pt x="42" y="75"/>
                    </a:cubicBezTo>
                    <a:cubicBezTo>
                      <a:pt x="42" y="75"/>
                      <a:pt x="42" y="75"/>
                      <a:pt x="42" y="75"/>
                    </a:cubicBezTo>
                    <a:cubicBezTo>
                      <a:pt x="42" y="75"/>
                      <a:pt x="42" y="75"/>
                      <a:pt x="42" y="75"/>
                    </a:cubicBezTo>
                    <a:cubicBezTo>
                      <a:pt x="42" y="76"/>
                      <a:pt x="42" y="76"/>
                      <a:pt x="42" y="76"/>
                    </a:cubicBezTo>
                    <a:cubicBezTo>
                      <a:pt x="42" y="76"/>
                      <a:pt x="42" y="76"/>
                      <a:pt x="42" y="76"/>
                    </a:cubicBezTo>
                    <a:cubicBezTo>
                      <a:pt x="42" y="77"/>
                      <a:pt x="42" y="77"/>
                      <a:pt x="42" y="77"/>
                    </a:cubicBezTo>
                    <a:cubicBezTo>
                      <a:pt x="42" y="77"/>
                      <a:pt x="43" y="77"/>
                      <a:pt x="42" y="78"/>
                    </a:cubicBezTo>
                    <a:cubicBezTo>
                      <a:pt x="42" y="78"/>
                      <a:pt x="42" y="78"/>
                      <a:pt x="42" y="78"/>
                    </a:cubicBezTo>
                    <a:cubicBezTo>
                      <a:pt x="41" y="78"/>
                      <a:pt x="41" y="78"/>
                      <a:pt x="41" y="78"/>
                    </a:cubicBezTo>
                    <a:cubicBezTo>
                      <a:pt x="41" y="78"/>
                      <a:pt x="40" y="78"/>
                      <a:pt x="40" y="78"/>
                    </a:cubicBezTo>
                    <a:cubicBezTo>
                      <a:pt x="40" y="78"/>
                      <a:pt x="40" y="78"/>
                      <a:pt x="40" y="78"/>
                    </a:cubicBezTo>
                    <a:cubicBezTo>
                      <a:pt x="39" y="78"/>
                      <a:pt x="39" y="78"/>
                      <a:pt x="40" y="79"/>
                    </a:cubicBezTo>
                    <a:cubicBezTo>
                      <a:pt x="40" y="79"/>
                      <a:pt x="39" y="79"/>
                      <a:pt x="39" y="79"/>
                    </a:cubicBezTo>
                    <a:cubicBezTo>
                      <a:pt x="39" y="80"/>
                      <a:pt x="39" y="80"/>
                      <a:pt x="39" y="80"/>
                    </a:cubicBezTo>
                    <a:cubicBezTo>
                      <a:pt x="39" y="80"/>
                      <a:pt x="39" y="80"/>
                      <a:pt x="39" y="81"/>
                    </a:cubicBezTo>
                    <a:cubicBezTo>
                      <a:pt x="39" y="81"/>
                      <a:pt x="39" y="81"/>
                      <a:pt x="40" y="81"/>
                    </a:cubicBezTo>
                    <a:cubicBezTo>
                      <a:pt x="40" y="81"/>
                      <a:pt x="40" y="81"/>
                      <a:pt x="40" y="81"/>
                    </a:cubicBezTo>
                    <a:cubicBezTo>
                      <a:pt x="40" y="82"/>
                      <a:pt x="40" y="82"/>
                      <a:pt x="40" y="82"/>
                    </a:cubicBezTo>
                    <a:close/>
                    <a:moveTo>
                      <a:pt x="47" y="59"/>
                    </a:moveTo>
                    <a:cubicBezTo>
                      <a:pt x="47" y="59"/>
                      <a:pt x="47"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59"/>
                      <a:pt x="48" y="59"/>
                      <a:pt x="48" y="59"/>
                    </a:cubicBezTo>
                    <a:cubicBezTo>
                      <a:pt x="48" y="58"/>
                      <a:pt x="48" y="58"/>
                      <a:pt x="47" y="58"/>
                    </a:cubicBezTo>
                    <a:cubicBezTo>
                      <a:pt x="47" y="58"/>
                      <a:pt x="47" y="58"/>
                      <a:pt x="47" y="58"/>
                    </a:cubicBezTo>
                    <a:cubicBezTo>
                      <a:pt x="47" y="58"/>
                      <a:pt x="47" y="58"/>
                      <a:pt x="47" y="58"/>
                    </a:cubicBezTo>
                    <a:cubicBezTo>
                      <a:pt x="47" y="58"/>
                      <a:pt x="47" y="58"/>
                      <a:pt x="47" y="58"/>
                    </a:cubicBezTo>
                    <a:cubicBezTo>
                      <a:pt x="47" y="58"/>
                      <a:pt x="47" y="59"/>
                      <a:pt x="47" y="59"/>
                    </a:cubicBezTo>
                    <a:cubicBezTo>
                      <a:pt x="47" y="59"/>
                      <a:pt x="47" y="59"/>
                      <a:pt x="47" y="59"/>
                    </a:cubicBezTo>
                    <a:close/>
                    <a:moveTo>
                      <a:pt x="46" y="59"/>
                    </a:moveTo>
                    <a:cubicBezTo>
                      <a:pt x="46" y="59"/>
                      <a:pt x="46" y="59"/>
                      <a:pt x="46" y="59"/>
                    </a:cubicBezTo>
                    <a:cubicBezTo>
                      <a:pt x="45" y="59"/>
                      <a:pt x="45" y="59"/>
                      <a:pt x="45" y="60"/>
                    </a:cubicBezTo>
                    <a:cubicBezTo>
                      <a:pt x="45" y="60"/>
                      <a:pt x="45" y="60"/>
                      <a:pt x="45" y="60"/>
                    </a:cubicBezTo>
                    <a:cubicBezTo>
                      <a:pt x="45" y="59"/>
                      <a:pt x="45" y="59"/>
                      <a:pt x="45" y="59"/>
                    </a:cubicBezTo>
                    <a:cubicBezTo>
                      <a:pt x="45" y="59"/>
                      <a:pt x="45" y="59"/>
                      <a:pt x="44" y="59"/>
                    </a:cubicBezTo>
                    <a:cubicBezTo>
                      <a:pt x="44" y="59"/>
                      <a:pt x="44" y="59"/>
                      <a:pt x="44" y="59"/>
                    </a:cubicBezTo>
                    <a:cubicBezTo>
                      <a:pt x="44" y="59"/>
                      <a:pt x="44" y="59"/>
                      <a:pt x="44" y="59"/>
                    </a:cubicBezTo>
                    <a:cubicBezTo>
                      <a:pt x="44" y="59"/>
                      <a:pt x="44" y="59"/>
                      <a:pt x="44" y="60"/>
                    </a:cubicBezTo>
                    <a:cubicBezTo>
                      <a:pt x="45" y="60"/>
                      <a:pt x="45" y="60"/>
                      <a:pt x="45" y="60"/>
                    </a:cubicBezTo>
                    <a:cubicBezTo>
                      <a:pt x="45" y="61"/>
                      <a:pt x="44" y="61"/>
                      <a:pt x="44" y="61"/>
                    </a:cubicBezTo>
                    <a:cubicBezTo>
                      <a:pt x="44" y="61"/>
                      <a:pt x="44" y="61"/>
                      <a:pt x="44" y="62"/>
                    </a:cubicBezTo>
                    <a:cubicBezTo>
                      <a:pt x="44" y="62"/>
                      <a:pt x="45" y="61"/>
                      <a:pt x="45" y="61"/>
                    </a:cubicBezTo>
                    <a:cubicBezTo>
                      <a:pt x="45" y="62"/>
                      <a:pt x="45" y="62"/>
                      <a:pt x="45" y="62"/>
                    </a:cubicBezTo>
                    <a:cubicBezTo>
                      <a:pt x="45" y="62"/>
                      <a:pt x="44" y="62"/>
                      <a:pt x="44" y="63"/>
                    </a:cubicBezTo>
                    <a:cubicBezTo>
                      <a:pt x="44" y="63"/>
                      <a:pt x="44" y="63"/>
                      <a:pt x="44" y="63"/>
                    </a:cubicBezTo>
                    <a:cubicBezTo>
                      <a:pt x="44" y="63"/>
                      <a:pt x="44" y="63"/>
                      <a:pt x="44" y="63"/>
                    </a:cubicBezTo>
                    <a:cubicBezTo>
                      <a:pt x="44" y="63"/>
                      <a:pt x="44" y="64"/>
                      <a:pt x="44" y="64"/>
                    </a:cubicBezTo>
                    <a:cubicBezTo>
                      <a:pt x="44" y="64"/>
                      <a:pt x="44" y="64"/>
                      <a:pt x="44" y="64"/>
                    </a:cubicBezTo>
                    <a:cubicBezTo>
                      <a:pt x="44" y="64"/>
                      <a:pt x="44" y="64"/>
                      <a:pt x="44" y="64"/>
                    </a:cubicBezTo>
                    <a:cubicBezTo>
                      <a:pt x="45" y="63"/>
                      <a:pt x="45" y="63"/>
                      <a:pt x="46" y="62"/>
                    </a:cubicBezTo>
                    <a:cubicBezTo>
                      <a:pt x="46" y="62"/>
                      <a:pt x="46" y="62"/>
                      <a:pt x="46" y="61"/>
                    </a:cubicBezTo>
                    <a:cubicBezTo>
                      <a:pt x="46" y="61"/>
                      <a:pt x="47" y="62"/>
                      <a:pt x="47" y="62"/>
                    </a:cubicBezTo>
                    <a:cubicBezTo>
                      <a:pt x="47" y="62"/>
                      <a:pt x="47" y="62"/>
                      <a:pt x="47" y="62"/>
                    </a:cubicBezTo>
                    <a:cubicBezTo>
                      <a:pt x="48" y="63"/>
                      <a:pt x="48" y="63"/>
                      <a:pt x="48" y="63"/>
                    </a:cubicBezTo>
                    <a:cubicBezTo>
                      <a:pt x="48" y="63"/>
                      <a:pt x="48" y="63"/>
                      <a:pt x="48" y="63"/>
                    </a:cubicBezTo>
                    <a:cubicBezTo>
                      <a:pt x="49" y="63"/>
                      <a:pt x="49" y="64"/>
                      <a:pt x="49" y="64"/>
                    </a:cubicBezTo>
                    <a:cubicBezTo>
                      <a:pt x="49" y="64"/>
                      <a:pt x="49" y="64"/>
                      <a:pt x="50" y="64"/>
                    </a:cubicBezTo>
                    <a:cubicBezTo>
                      <a:pt x="50" y="64"/>
                      <a:pt x="50" y="64"/>
                      <a:pt x="50" y="65"/>
                    </a:cubicBezTo>
                    <a:cubicBezTo>
                      <a:pt x="50" y="65"/>
                      <a:pt x="51" y="65"/>
                      <a:pt x="51" y="65"/>
                    </a:cubicBezTo>
                    <a:cubicBezTo>
                      <a:pt x="51" y="65"/>
                      <a:pt x="51" y="65"/>
                      <a:pt x="51" y="65"/>
                    </a:cubicBezTo>
                    <a:cubicBezTo>
                      <a:pt x="51" y="64"/>
                      <a:pt x="51" y="64"/>
                      <a:pt x="50" y="64"/>
                    </a:cubicBezTo>
                    <a:cubicBezTo>
                      <a:pt x="50" y="64"/>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2"/>
                      <a:pt x="49" y="62"/>
                      <a:pt x="49" y="61"/>
                    </a:cubicBezTo>
                    <a:cubicBezTo>
                      <a:pt x="49" y="61"/>
                      <a:pt x="49" y="61"/>
                      <a:pt x="49" y="61"/>
                    </a:cubicBezTo>
                    <a:cubicBezTo>
                      <a:pt x="48" y="61"/>
                      <a:pt x="48" y="61"/>
                      <a:pt x="48" y="61"/>
                    </a:cubicBezTo>
                    <a:cubicBezTo>
                      <a:pt x="48" y="61"/>
                      <a:pt x="47" y="60"/>
                      <a:pt x="47" y="60"/>
                    </a:cubicBezTo>
                    <a:cubicBezTo>
                      <a:pt x="47" y="60"/>
                      <a:pt x="47" y="60"/>
                      <a:pt x="46" y="60"/>
                    </a:cubicBezTo>
                    <a:cubicBezTo>
                      <a:pt x="46" y="60"/>
                      <a:pt x="46" y="60"/>
                      <a:pt x="46" y="60"/>
                    </a:cubicBezTo>
                    <a:cubicBezTo>
                      <a:pt x="46" y="59"/>
                      <a:pt x="46" y="59"/>
                      <a:pt x="46" y="59"/>
                    </a:cubicBezTo>
                    <a:cubicBezTo>
                      <a:pt x="46" y="59"/>
                      <a:pt x="46" y="59"/>
                      <a:pt x="46" y="59"/>
                    </a:cubicBezTo>
                    <a:close/>
                    <a:moveTo>
                      <a:pt x="45" y="57"/>
                    </a:moveTo>
                    <a:cubicBezTo>
                      <a:pt x="44" y="57"/>
                      <a:pt x="44" y="57"/>
                      <a:pt x="44" y="57"/>
                    </a:cubicBezTo>
                    <a:cubicBezTo>
                      <a:pt x="44" y="56"/>
                      <a:pt x="44" y="56"/>
                      <a:pt x="44" y="56"/>
                    </a:cubicBezTo>
                    <a:cubicBezTo>
                      <a:pt x="44" y="56"/>
                      <a:pt x="44" y="56"/>
                      <a:pt x="44" y="56"/>
                    </a:cubicBezTo>
                    <a:cubicBezTo>
                      <a:pt x="43" y="56"/>
                      <a:pt x="43" y="56"/>
                      <a:pt x="43" y="55"/>
                    </a:cubicBezTo>
                    <a:cubicBezTo>
                      <a:pt x="43" y="55"/>
                      <a:pt x="42" y="55"/>
                      <a:pt x="42" y="55"/>
                    </a:cubicBezTo>
                    <a:cubicBezTo>
                      <a:pt x="42" y="55"/>
                      <a:pt x="42" y="55"/>
                      <a:pt x="42" y="55"/>
                    </a:cubicBezTo>
                    <a:cubicBezTo>
                      <a:pt x="42" y="55"/>
                      <a:pt x="42" y="56"/>
                      <a:pt x="42" y="56"/>
                    </a:cubicBezTo>
                    <a:cubicBezTo>
                      <a:pt x="43" y="56"/>
                      <a:pt x="43" y="56"/>
                      <a:pt x="43" y="56"/>
                    </a:cubicBezTo>
                    <a:cubicBezTo>
                      <a:pt x="44" y="57"/>
                      <a:pt x="44" y="57"/>
                      <a:pt x="45" y="57"/>
                    </a:cubicBezTo>
                    <a:cubicBezTo>
                      <a:pt x="45" y="57"/>
                      <a:pt x="45" y="58"/>
                      <a:pt x="45" y="58"/>
                    </a:cubicBezTo>
                    <a:cubicBezTo>
                      <a:pt x="45" y="58"/>
                      <a:pt x="45" y="58"/>
                      <a:pt x="45" y="58"/>
                    </a:cubicBezTo>
                    <a:cubicBezTo>
                      <a:pt x="45" y="58"/>
                      <a:pt x="45" y="58"/>
                      <a:pt x="45" y="57"/>
                    </a:cubicBezTo>
                    <a:cubicBezTo>
                      <a:pt x="45" y="57"/>
                      <a:pt x="45" y="57"/>
                      <a:pt x="45" y="57"/>
                    </a:cubicBezTo>
                    <a:close/>
                    <a:moveTo>
                      <a:pt x="34" y="54"/>
                    </a:moveTo>
                    <a:cubicBezTo>
                      <a:pt x="35" y="54"/>
                      <a:pt x="35" y="55"/>
                      <a:pt x="35" y="55"/>
                    </a:cubicBezTo>
                    <a:cubicBezTo>
                      <a:pt x="35" y="55"/>
                      <a:pt x="35" y="55"/>
                      <a:pt x="35" y="55"/>
                    </a:cubicBezTo>
                    <a:cubicBezTo>
                      <a:pt x="35" y="55"/>
                      <a:pt x="35" y="54"/>
                      <a:pt x="35" y="54"/>
                    </a:cubicBezTo>
                    <a:cubicBezTo>
                      <a:pt x="35" y="54"/>
                      <a:pt x="36" y="54"/>
                      <a:pt x="36" y="54"/>
                    </a:cubicBezTo>
                    <a:cubicBezTo>
                      <a:pt x="36" y="54"/>
                      <a:pt x="36" y="53"/>
                      <a:pt x="36" y="53"/>
                    </a:cubicBezTo>
                    <a:cubicBezTo>
                      <a:pt x="36" y="53"/>
                      <a:pt x="36" y="53"/>
                      <a:pt x="36" y="53"/>
                    </a:cubicBezTo>
                    <a:cubicBezTo>
                      <a:pt x="36" y="53"/>
                      <a:pt x="36" y="53"/>
                      <a:pt x="35" y="53"/>
                    </a:cubicBezTo>
                    <a:cubicBezTo>
                      <a:pt x="35" y="53"/>
                      <a:pt x="35" y="53"/>
                      <a:pt x="35" y="53"/>
                    </a:cubicBezTo>
                    <a:cubicBezTo>
                      <a:pt x="35" y="52"/>
                      <a:pt x="35" y="52"/>
                      <a:pt x="35" y="52"/>
                    </a:cubicBezTo>
                    <a:cubicBezTo>
                      <a:pt x="34" y="52"/>
                      <a:pt x="34" y="52"/>
                      <a:pt x="34" y="52"/>
                    </a:cubicBezTo>
                    <a:cubicBezTo>
                      <a:pt x="34" y="52"/>
                      <a:pt x="34" y="52"/>
                      <a:pt x="34" y="53"/>
                    </a:cubicBezTo>
                    <a:cubicBezTo>
                      <a:pt x="34" y="53"/>
                      <a:pt x="34" y="53"/>
                      <a:pt x="33" y="53"/>
                    </a:cubicBezTo>
                    <a:cubicBezTo>
                      <a:pt x="33" y="53"/>
                      <a:pt x="34" y="53"/>
                      <a:pt x="33" y="53"/>
                    </a:cubicBezTo>
                    <a:cubicBezTo>
                      <a:pt x="34" y="54"/>
                      <a:pt x="34" y="54"/>
                      <a:pt x="34" y="54"/>
                    </a:cubicBezTo>
                    <a:close/>
                    <a:moveTo>
                      <a:pt x="52" y="98"/>
                    </a:moveTo>
                    <a:cubicBezTo>
                      <a:pt x="52" y="98"/>
                      <a:pt x="53" y="98"/>
                      <a:pt x="53" y="97"/>
                    </a:cubicBezTo>
                    <a:cubicBezTo>
                      <a:pt x="52" y="97"/>
                      <a:pt x="52" y="97"/>
                      <a:pt x="52" y="98"/>
                    </a:cubicBezTo>
                    <a:close/>
                    <a:moveTo>
                      <a:pt x="44" y="68"/>
                    </a:moveTo>
                    <a:cubicBezTo>
                      <a:pt x="44" y="68"/>
                      <a:pt x="44" y="69"/>
                      <a:pt x="44" y="69"/>
                    </a:cubicBezTo>
                    <a:cubicBezTo>
                      <a:pt x="44" y="69"/>
                      <a:pt x="44" y="69"/>
                      <a:pt x="44" y="69"/>
                    </a:cubicBezTo>
                    <a:cubicBezTo>
                      <a:pt x="44" y="69"/>
                      <a:pt x="44" y="69"/>
                      <a:pt x="44" y="69"/>
                    </a:cubicBezTo>
                    <a:cubicBezTo>
                      <a:pt x="44" y="69"/>
                      <a:pt x="44" y="68"/>
                      <a:pt x="44" y="68"/>
                    </a:cubicBezTo>
                    <a:close/>
                    <a:moveTo>
                      <a:pt x="44" y="67"/>
                    </a:moveTo>
                    <a:cubicBezTo>
                      <a:pt x="45" y="67"/>
                      <a:pt x="44" y="67"/>
                      <a:pt x="45" y="67"/>
                    </a:cubicBezTo>
                    <a:cubicBezTo>
                      <a:pt x="45" y="67"/>
                      <a:pt x="45" y="67"/>
                      <a:pt x="45" y="67"/>
                    </a:cubicBezTo>
                    <a:cubicBezTo>
                      <a:pt x="45" y="67"/>
                      <a:pt x="44" y="67"/>
                      <a:pt x="44" y="67"/>
                    </a:cubicBezTo>
                    <a:cubicBezTo>
                      <a:pt x="44" y="67"/>
                      <a:pt x="44" y="67"/>
                      <a:pt x="44" y="67"/>
                    </a:cubicBezTo>
                    <a:close/>
                    <a:moveTo>
                      <a:pt x="40" y="75"/>
                    </a:moveTo>
                    <a:cubicBezTo>
                      <a:pt x="40" y="76"/>
                      <a:pt x="40" y="76"/>
                      <a:pt x="40" y="75"/>
                    </a:cubicBezTo>
                    <a:cubicBezTo>
                      <a:pt x="40" y="75"/>
                      <a:pt x="40" y="75"/>
                      <a:pt x="41" y="75"/>
                    </a:cubicBezTo>
                    <a:cubicBezTo>
                      <a:pt x="41" y="75"/>
                      <a:pt x="41" y="75"/>
                      <a:pt x="41" y="75"/>
                    </a:cubicBezTo>
                    <a:cubicBezTo>
                      <a:pt x="41" y="75"/>
                      <a:pt x="41" y="74"/>
                      <a:pt x="41" y="74"/>
                    </a:cubicBezTo>
                    <a:cubicBezTo>
                      <a:pt x="41" y="74"/>
                      <a:pt x="41" y="74"/>
                      <a:pt x="41" y="74"/>
                    </a:cubicBezTo>
                    <a:cubicBezTo>
                      <a:pt x="41" y="74"/>
                      <a:pt x="42" y="73"/>
                      <a:pt x="41" y="73"/>
                    </a:cubicBezTo>
                    <a:cubicBezTo>
                      <a:pt x="41" y="73"/>
                      <a:pt x="41" y="73"/>
                      <a:pt x="41" y="73"/>
                    </a:cubicBezTo>
                    <a:cubicBezTo>
                      <a:pt x="41" y="73"/>
                      <a:pt x="41" y="73"/>
                      <a:pt x="41" y="73"/>
                    </a:cubicBezTo>
                    <a:cubicBezTo>
                      <a:pt x="41" y="73"/>
                      <a:pt x="41" y="73"/>
                      <a:pt x="40" y="73"/>
                    </a:cubicBezTo>
                    <a:cubicBezTo>
                      <a:pt x="41" y="73"/>
                      <a:pt x="41" y="73"/>
                      <a:pt x="41" y="73"/>
                    </a:cubicBezTo>
                    <a:cubicBezTo>
                      <a:pt x="41" y="74"/>
                      <a:pt x="40" y="74"/>
                      <a:pt x="40" y="74"/>
                    </a:cubicBezTo>
                    <a:cubicBezTo>
                      <a:pt x="40" y="74"/>
                      <a:pt x="40" y="74"/>
                      <a:pt x="40" y="74"/>
                    </a:cubicBezTo>
                    <a:cubicBezTo>
                      <a:pt x="40" y="74"/>
                      <a:pt x="40" y="74"/>
                      <a:pt x="40" y="75"/>
                    </a:cubicBezTo>
                    <a:cubicBezTo>
                      <a:pt x="40" y="75"/>
                      <a:pt x="40" y="75"/>
                      <a:pt x="40" y="75"/>
                    </a:cubicBezTo>
                    <a:cubicBezTo>
                      <a:pt x="40" y="75"/>
                      <a:pt x="40" y="75"/>
                      <a:pt x="40" y="75"/>
                    </a:cubicBezTo>
                    <a:cubicBezTo>
                      <a:pt x="40" y="75"/>
                      <a:pt x="40" y="75"/>
                      <a:pt x="40" y="75"/>
                    </a:cubicBezTo>
                    <a:cubicBezTo>
                      <a:pt x="40" y="75"/>
                      <a:pt x="40" y="75"/>
                      <a:pt x="40" y="75"/>
                    </a:cubicBezTo>
                    <a:close/>
                    <a:moveTo>
                      <a:pt x="64" y="70"/>
                    </a:moveTo>
                    <a:cubicBezTo>
                      <a:pt x="64" y="69"/>
                      <a:pt x="64" y="69"/>
                      <a:pt x="64" y="69"/>
                    </a:cubicBezTo>
                    <a:cubicBezTo>
                      <a:pt x="64" y="69"/>
                      <a:pt x="64" y="69"/>
                      <a:pt x="63" y="69"/>
                    </a:cubicBezTo>
                    <a:cubicBezTo>
                      <a:pt x="63" y="69"/>
                      <a:pt x="63" y="69"/>
                      <a:pt x="63" y="69"/>
                    </a:cubicBezTo>
                    <a:cubicBezTo>
                      <a:pt x="63" y="69"/>
                      <a:pt x="63" y="69"/>
                      <a:pt x="63" y="69"/>
                    </a:cubicBezTo>
                    <a:cubicBezTo>
                      <a:pt x="63" y="69"/>
                      <a:pt x="63" y="70"/>
                      <a:pt x="64" y="70"/>
                    </a:cubicBezTo>
                    <a:close/>
                    <a:moveTo>
                      <a:pt x="64" y="71"/>
                    </a:moveTo>
                    <a:cubicBezTo>
                      <a:pt x="64" y="71"/>
                      <a:pt x="63" y="71"/>
                      <a:pt x="63" y="71"/>
                    </a:cubicBezTo>
                    <a:cubicBezTo>
                      <a:pt x="63" y="71"/>
                      <a:pt x="63" y="71"/>
                      <a:pt x="63" y="71"/>
                    </a:cubicBezTo>
                    <a:cubicBezTo>
                      <a:pt x="63" y="71"/>
                      <a:pt x="63" y="71"/>
                      <a:pt x="63" y="71"/>
                    </a:cubicBezTo>
                    <a:cubicBezTo>
                      <a:pt x="63" y="71"/>
                      <a:pt x="63" y="71"/>
                      <a:pt x="63" y="71"/>
                    </a:cubicBezTo>
                    <a:cubicBezTo>
                      <a:pt x="63" y="71"/>
                      <a:pt x="63" y="71"/>
                      <a:pt x="63" y="71"/>
                    </a:cubicBezTo>
                    <a:cubicBezTo>
                      <a:pt x="63" y="72"/>
                      <a:pt x="63" y="72"/>
                      <a:pt x="64" y="72"/>
                    </a:cubicBezTo>
                    <a:cubicBezTo>
                      <a:pt x="64" y="72"/>
                      <a:pt x="64" y="72"/>
                      <a:pt x="64" y="72"/>
                    </a:cubicBezTo>
                    <a:cubicBezTo>
                      <a:pt x="64" y="72"/>
                      <a:pt x="64" y="71"/>
                      <a:pt x="64" y="71"/>
                    </a:cubicBezTo>
                    <a:close/>
                    <a:moveTo>
                      <a:pt x="62" y="78"/>
                    </a:moveTo>
                    <a:cubicBezTo>
                      <a:pt x="62" y="78"/>
                      <a:pt x="62" y="78"/>
                      <a:pt x="62" y="78"/>
                    </a:cubicBezTo>
                    <a:cubicBezTo>
                      <a:pt x="62" y="78"/>
                      <a:pt x="62" y="78"/>
                      <a:pt x="62" y="78"/>
                    </a:cubicBezTo>
                    <a:cubicBezTo>
                      <a:pt x="62" y="78"/>
                      <a:pt x="62" y="78"/>
                      <a:pt x="62" y="78"/>
                    </a:cubicBezTo>
                    <a:cubicBezTo>
                      <a:pt x="62" y="78"/>
                      <a:pt x="62" y="78"/>
                      <a:pt x="62" y="78"/>
                    </a:cubicBezTo>
                    <a:close/>
                    <a:moveTo>
                      <a:pt x="63" y="78"/>
                    </a:moveTo>
                    <a:cubicBezTo>
                      <a:pt x="64" y="78"/>
                      <a:pt x="63" y="78"/>
                      <a:pt x="63" y="78"/>
                    </a:cubicBezTo>
                    <a:cubicBezTo>
                      <a:pt x="63" y="77"/>
                      <a:pt x="63" y="77"/>
                      <a:pt x="63" y="77"/>
                    </a:cubicBezTo>
                    <a:cubicBezTo>
                      <a:pt x="63" y="77"/>
                      <a:pt x="63" y="76"/>
                      <a:pt x="63" y="76"/>
                    </a:cubicBezTo>
                    <a:cubicBezTo>
                      <a:pt x="63" y="76"/>
                      <a:pt x="63" y="75"/>
                      <a:pt x="63" y="74"/>
                    </a:cubicBezTo>
                    <a:cubicBezTo>
                      <a:pt x="63" y="74"/>
                      <a:pt x="63" y="74"/>
                      <a:pt x="63" y="74"/>
                    </a:cubicBezTo>
                    <a:cubicBezTo>
                      <a:pt x="63" y="74"/>
                      <a:pt x="63" y="74"/>
                      <a:pt x="63" y="74"/>
                    </a:cubicBezTo>
                    <a:cubicBezTo>
                      <a:pt x="63" y="74"/>
                      <a:pt x="63" y="74"/>
                      <a:pt x="63" y="74"/>
                    </a:cubicBezTo>
                    <a:cubicBezTo>
                      <a:pt x="62" y="74"/>
                      <a:pt x="63" y="74"/>
                      <a:pt x="62" y="74"/>
                    </a:cubicBezTo>
                    <a:cubicBezTo>
                      <a:pt x="62" y="74"/>
                      <a:pt x="62" y="74"/>
                      <a:pt x="62" y="74"/>
                    </a:cubicBezTo>
                    <a:cubicBezTo>
                      <a:pt x="62" y="74"/>
                      <a:pt x="62" y="74"/>
                      <a:pt x="62" y="74"/>
                    </a:cubicBezTo>
                    <a:cubicBezTo>
                      <a:pt x="62" y="74"/>
                      <a:pt x="62" y="74"/>
                      <a:pt x="62" y="74"/>
                    </a:cubicBezTo>
                    <a:cubicBezTo>
                      <a:pt x="62" y="74"/>
                      <a:pt x="62" y="75"/>
                      <a:pt x="62" y="75"/>
                    </a:cubicBezTo>
                    <a:cubicBezTo>
                      <a:pt x="62" y="75"/>
                      <a:pt x="62" y="75"/>
                      <a:pt x="62" y="75"/>
                    </a:cubicBezTo>
                    <a:cubicBezTo>
                      <a:pt x="62" y="75"/>
                      <a:pt x="62" y="75"/>
                      <a:pt x="62" y="75"/>
                    </a:cubicBezTo>
                    <a:cubicBezTo>
                      <a:pt x="62" y="76"/>
                      <a:pt x="62" y="76"/>
                      <a:pt x="62" y="76"/>
                    </a:cubicBezTo>
                    <a:cubicBezTo>
                      <a:pt x="62" y="76"/>
                      <a:pt x="62" y="77"/>
                      <a:pt x="62" y="76"/>
                    </a:cubicBezTo>
                    <a:cubicBezTo>
                      <a:pt x="62" y="77"/>
                      <a:pt x="62" y="77"/>
                      <a:pt x="63" y="77"/>
                    </a:cubicBezTo>
                    <a:cubicBezTo>
                      <a:pt x="63" y="77"/>
                      <a:pt x="63" y="77"/>
                      <a:pt x="63" y="77"/>
                    </a:cubicBezTo>
                    <a:cubicBezTo>
                      <a:pt x="63" y="78"/>
                      <a:pt x="63" y="78"/>
                      <a:pt x="63" y="78"/>
                    </a:cubicBezTo>
                    <a:cubicBezTo>
                      <a:pt x="63" y="78"/>
                      <a:pt x="63" y="78"/>
                      <a:pt x="63" y="78"/>
                    </a:cubicBezTo>
                    <a:cubicBezTo>
                      <a:pt x="63" y="78"/>
                      <a:pt x="63" y="78"/>
                      <a:pt x="63" y="78"/>
                    </a:cubicBezTo>
                    <a:close/>
                    <a:moveTo>
                      <a:pt x="71" y="97"/>
                    </a:moveTo>
                    <a:cubicBezTo>
                      <a:pt x="71" y="97"/>
                      <a:pt x="71" y="97"/>
                      <a:pt x="71" y="97"/>
                    </a:cubicBezTo>
                    <a:cubicBezTo>
                      <a:pt x="71" y="98"/>
                      <a:pt x="70" y="98"/>
                      <a:pt x="70" y="99"/>
                    </a:cubicBezTo>
                    <a:cubicBezTo>
                      <a:pt x="70" y="99"/>
                      <a:pt x="70" y="99"/>
                      <a:pt x="70" y="99"/>
                    </a:cubicBezTo>
                    <a:cubicBezTo>
                      <a:pt x="70" y="99"/>
                      <a:pt x="69" y="99"/>
                      <a:pt x="69" y="99"/>
                    </a:cubicBezTo>
                    <a:cubicBezTo>
                      <a:pt x="69" y="99"/>
                      <a:pt x="69" y="99"/>
                      <a:pt x="69" y="99"/>
                    </a:cubicBezTo>
                    <a:cubicBezTo>
                      <a:pt x="69" y="99"/>
                      <a:pt x="69" y="100"/>
                      <a:pt x="70" y="100"/>
                    </a:cubicBezTo>
                    <a:cubicBezTo>
                      <a:pt x="70" y="100"/>
                      <a:pt x="70" y="100"/>
                      <a:pt x="70" y="100"/>
                    </a:cubicBezTo>
                    <a:cubicBezTo>
                      <a:pt x="70" y="100"/>
                      <a:pt x="69" y="100"/>
                      <a:pt x="69" y="100"/>
                    </a:cubicBezTo>
                    <a:cubicBezTo>
                      <a:pt x="69" y="100"/>
                      <a:pt x="69" y="100"/>
                      <a:pt x="69" y="100"/>
                    </a:cubicBezTo>
                    <a:cubicBezTo>
                      <a:pt x="69" y="100"/>
                      <a:pt x="69" y="99"/>
                      <a:pt x="69" y="99"/>
                    </a:cubicBezTo>
                    <a:cubicBezTo>
                      <a:pt x="69" y="99"/>
                      <a:pt x="68" y="99"/>
                      <a:pt x="68" y="99"/>
                    </a:cubicBezTo>
                    <a:cubicBezTo>
                      <a:pt x="68" y="100"/>
                      <a:pt x="68" y="100"/>
                      <a:pt x="69" y="100"/>
                    </a:cubicBezTo>
                    <a:cubicBezTo>
                      <a:pt x="69" y="100"/>
                      <a:pt x="69" y="101"/>
                      <a:pt x="69" y="101"/>
                    </a:cubicBezTo>
                    <a:cubicBezTo>
                      <a:pt x="69" y="102"/>
                      <a:pt x="69" y="102"/>
                      <a:pt x="69" y="103"/>
                    </a:cubicBezTo>
                    <a:cubicBezTo>
                      <a:pt x="69" y="103"/>
                      <a:pt x="69" y="104"/>
                      <a:pt x="69" y="104"/>
                    </a:cubicBezTo>
                    <a:cubicBezTo>
                      <a:pt x="69" y="104"/>
                      <a:pt x="69" y="104"/>
                      <a:pt x="69" y="104"/>
                    </a:cubicBezTo>
                    <a:cubicBezTo>
                      <a:pt x="69" y="104"/>
                      <a:pt x="68" y="103"/>
                      <a:pt x="68" y="103"/>
                    </a:cubicBezTo>
                    <a:cubicBezTo>
                      <a:pt x="68" y="103"/>
                      <a:pt x="68" y="103"/>
                      <a:pt x="68" y="103"/>
                    </a:cubicBezTo>
                    <a:cubicBezTo>
                      <a:pt x="68" y="103"/>
                      <a:pt x="68" y="102"/>
                      <a:pt x="68" y="102"/>
                    </a:cubicBezTo>
                    <a:cubicBezTo>
                      <a:pt x="68" y="102"/>
                      <a:pt x="68" y="102"/>
                      <a:pt x="68" y="102"/>
                    </a:cubicBezTo>
                    <a:cubicBezTo>
                      <a:pt x="68" y="102"/>
                      <a:pt x="68" y="102"/>
                      <a:pt x="68" y="102"/>
                    </a:cubicBezTo>
                    <a:cubicBezTo>
                      <a:pt x="68" y="101"/>
                      <a:pt x="68" y="101"/>
                      <a:pt x="68" y="101"/>
                    </a:cubicBezTo>
                    <a:cubicBezTo>
                      <a:pt x="68" y="101"/>
                      <a:pt x="68" y="101"/>
                      <a:pt x="68" y="101"/>
                    </a:cubicBezTo>
                    <a:cubicBezTo>
                      <a:pt x="68" y="100"/>
                      <a:pt x="68" y="100"/>
                      <a:pt x="68" y="100"/>
                    </a:cubicBezTo>
                    <a:cubicBezTo>
                      <a:pt x="67" y="100"/>
                      <a:pt x="67" y="100"/>
                      <a:pt x="67" y="100"/>
                    </a:cubicBezTo>
                    <a:cubicBezTo>
                      <a:pt x="67" y="99"/>
                      <a:pt x="67" y="99"/>
                      <a:pt x="67" y="99"/>
                    </a:cubicBezTo>
                    <a:cubicBezTo>
                      <a:pt x="67" y="99"/>
                      <a:pt x="67" y="99"/>
                      <a:pt x="67" y="98"/>
                    </a:cubicBezTo>
                    <a:cubicBezTo>
                      <a:pt x="67" y="98"/>
                      <a:pt x="67" y="98"/>
                      <a:pt x="66" y="98"/>
                    </a:cubicBezTo>
                    <a:cubicBezTo>
                      <a:pt x="66" y="98"/>
                      <a:pt x="66" y="98"/>
                      <a:pt x="66" y="97"/>
                    </a:cubicBezTo>
                    <a:cubicBezTo>
                      <a:pt x="66" y="97"/>
                      <a:pt x="66" y="97"/>
                      <a:pt x="66" y="97"/>
                    </a:cubicBezTo>
                    <a:cubicBezTo>
                      <a:pt x="66" y="97"/>
                      <a:pt x="66" y="97"/>
                      <a:pt x="66" y="97"/>
                    </a:cubicBezTo>
                    <a:cubicBezTo>
                      <a:pt x="66" y="96"/>
                      <a:pt x="66" y="96"/>
                      <a:pt x="66" y="96"/>
                    </a:cubicBezTo>
                    <a:cubicBezTo>
                      <a:pt x="65" y="97"/>
                      <a:pt x="65" y="97"/>
                      <a:pt x="65" y="97"/>
                    </a:cubicBezTo>
                    <a:cubicBezTo>
                      <a:pt x="65" y="97"/>
                      <a:pt x="64" y="97"/>
                      <a:pt x="64" y="97"/>
                    </a:cubicBezTo>
                    <a:cubicBezTo>
                      <a:pt x="64" y="98"/>
                      <a:pt x="64" y="98"/>
                      <a:pt x="65" y="98"/>
                    </a:cubicBezTo>
                    <a:cubicBezTo>
                      <a:pt x="65" y="98"/>
                      <a:pt x="65" y="98"/>
                      <a:pt x="65" y="98"/>
                    </a:cubicBezTo>
                    <a:cubicBezTo>
                      <a:pt x="65" y="98"/>
                      <a:pt x="65" y="98"/>
                      <a:pt x="64" y="98"/>
                    </a:cubicBezTo>
                    <a:cubicBezTo>
                      <a:pt x="64" y="99"/>
                      <a:pt x="64" y="99"/>
                      <a:pt x="64" y="99"/>
                    </a:cubicBezTo>
                    <a:cubicBezTo>
                      <a:pt x="63" y="99"/>
                      <a:pt x="63" y="99"/>
                      <a:pt x="63" y="100"/>
                    </a:cubicBezTo>
                    <a:cubicBezTo>
                      <a:pt x="63" y="100"/>
                      <a:pt x="63" y="100"/>
                      <a:pt x="63" y="100"/>
                    </a:cubicBezTo>
                    <a:cubicBezTo>
                      <a:pt x="63" y="100"/>
                      <a:pt x="63" y="100"/>
                      <a:pt x="63" y="100"/>
                    </a:cubicBezTo>
                    <a:cubicBezTo>
                      <a:pt x="63" y="101"/>
                      <a:pt x="63" y="101"/>
                      <a:pt x="63" y="101"/>
                    </a:cubicBezTo>
                    <a:cubicBezTo>
                      <a:pt x="63" y="101"/>
                      <a:pt x="63" y="101"/>
                      <a:pt x="63" y="101"/>
                    </a:cubicBezTo>
                    <a:cubicBezTo>
                      <a:pt x="63" y="101"/>
                      <a:pt x="63" y="101"/>
                      <a:pt x="63" y="102"/>
                    </a:cubicBezTo>
                    <a:cubicBezTo>
                      <a:pt x="63" y="102"/>
                      <a:pt x="63" y="102"/>
                      <a:pt x="63" y="102"/>
                    </a:cubicBezTo>
                    <a:cubicBezTo>
                      <a:pt x="63" y="102"/>
                      <a:pt x="63" y="102"/>
                      <a:pt x="63" y="102"/>
                    </a:cubicBezTo>
                    <a:cubicBezTo>
                      <a:pt x="63" y="102"/>
                      <a:pt x="64" y="102"/>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5" y="104"/>
                      <a:pt x="65" y="104"/>
                      <a:pt x="65" y="104"/>
                    </a:cubicBezTo>
                    <a:cubicBezTo>
                      <a:pt x="65" y="104"/>
                      <a:pt x="65" y="104"/>
                      <a:pt x="65" y="104"/>
                    </a:cubicBezTo>
                    <a:cubicBezTo>
                      <a:pt x="65" y="104"/>
                      <a:pt x="65" y="104"/>
                      <a:pt x="65" y="104"/>
                    </a:cubicBezTo>
                    <a:cubicBezTo>
                      <a:pt x="65" y="104"/>
                      <a:pt x="65" y="105"/>
                      <a:pt x="65" y="105"/>
                    </a:cubicBezTo>
                    <a:cubicBezTo>
                      <a:pt x="65" y="105"/>
                      <a:pt x="65" y="106"/>
                      <a:pt x="65" y="107"/>
                    </a:cubicBezTo>
                    <a:cubicBezTo>
                      <a:pt x="65" y="107"/>
                      <a:pt x="65" y="107"/>
                      <a:pt x="65" y="107"/>
                    </a:cubicBezTo>
                    <a:cubicBezTo>
                      <a:pt x="65" y="107"/>
                      <a:pt x="64" y="108"/>
                      <a:pt x="64" y="108"/>
                    </a:cubicBezTo>
                    <a:cubicBezTo>
                      <a:pt x="64" y="108"/>
                      <a:pt x="64" y="108"/>
                      <a:pt x="64" y="108"/>
                    </a:cubicBezTo>
                    <a:cubicBezTo>
                      <a:pt x="64" y="108"/>
                      <a:pt x="64" y="109"/>
                      <a:pt x="63" y="109"/>
                    </a:cubicBezTo>
                    <a:cubicBezTo>
                      <a:pt x="63" y="110"/>
                      <a:pt x="63" y="110"/>
                      <a:pt x="63" y="110"/>
                    </a:cubicBezTo>
                    <a:cubicBezTo>
                      <a:pt x="63" y="110"/>
                      <a:pt x="63" y="110"/>
                      <a:pt x="63" y="110"/>
                    </a:cubicBezTo>
                    <a:cubicBezTo>
                      <a:pt x="63" y="110"/>
                      <a:pt x="62" y="110"/>
                      <a:pt x="62" y="109"/>
                    </a:cubicBezTo>
                    <a:cubicBezTo>
                      <a:pt x="63" y="109"/>
                      <a:pt x="62" y="109"/>
                      <a:pt x="62" y="109"/>
                    </a:cubicBezTo>
                    <a:cubicBezTo>
                      <a:pt x="62" y="109"/>
                      <a:pt x="62" y="109"/>
                      <a:pt x="62" y="108"/>
                    </a:cubicBezTo>
                    <a:cubicBezTo>
                      <a:pt x="61" y="108"/>
                      <a:pt x="62" y="108"/>
                      <a:pt x="62" y="108"/>
                    </a:cubicBezTo>
                    <a:cubicBezTo>
                      <a:pt x="62" y="108"/>
                      <a:pt x="62" y="108"/>
                      <a:pt x="62" y="107"/>
                    </a:cubicBezTo>
                    <a:cubicBezTo>
                      <a:pt x="62" y="107"/>
                      <a:pt x="62" y="107"/>
                      <a:pt x="62" y="107"/>
                    </a:cubicBezTo>
                    <a:cubicBezTo>
                      <a:pt x="62" y="107"/>
                      <a:pt x="62" y="107"/>
                      <a:pt x="62" y="107"/>
                    </a:cubicBezTo>
                    <a:cubicBezTo>
                      <a:pt x="62" y="107"/>
                      <a:pt x="62" y="107"/>
                      <a:pt x="62" y="107"/>
                    </a:cubicBezTo>
                    <a:cubicBezTo>
                      <a:pt x="62" y="106"/>
                      <a:pt x="62" y="106"/>
                      <a:pt x="62" y="106"/>
                    </a:cubicBezTo>
                    <a:cubicBezTo>
                      <a:pt x="62" y="106"/>
                      <a:pt x="62" y="106"/>
                      <a:pt x="62" y="106"/>
                    </a:cubicBezTo>
                    <a:cubicBezTo>
                      <a:pt x="61" y="106"/>
                      <a:pt x="61" y="106"/>
                      <a:pt x="61" y="106"/>
                    </a:cubicBezTo>
                    <a:cubicBezTo>
                      <a:pt x="61" y="107"/>
                      <a:pt x="61" y="107"/>
                      <a:pt x="61" y="107"/>
                    </a:cubicBezTo>
                    <a:cubicBezTo>
                      <a:pt x="61" y="107"/>
                      <a:pt x="61" y="108"/>
                      <a:pt x="61" y="108"/>
                    </a:cubicBezTo>
                    <a:cubicBezTo>
                      <a:pt x="60" y="108"/>
                      <a:pt x="60" y="108"/>
                      <a:pt x="60" y="108"/>
                    </a:cubicBezTo>
                    <a:cubicBezTo>
                      <a:pt x="59" y="108"/>
                      <a:pt x="59" y="108"/>
                      <a:pt x="58" y="107"/>
                    </a:cubicBezTo>
                    <a:cubicBezTo>
                      <a:pt x="58" y="107"/>
                      <a:pt x="58" y="107"/>
                      <a:pt x="58" y="107"/>
                    </a:cubicBezTo>
                    <a:cubicBezTo>
                      <a:pt x="58" y="107"/>
                      <a:pt x="57" y="107"/>
                      <a:pt x="57" y="107"/>
                    </a:cubicBezTo>
                    <a:cubicBezTo>
                      <a:pt x="57" y="107"/>
                      <a:pt x="56" y="107"/>
                      <a:pt x="56" y="106"/>
                    </a:cubicBezTo>
                    <a:cubicBezTo>
                      <a:pt x="56" y="106"/>
                      <a:pt x="56" y="106"/>
                      <a:pt x="56" y="106"/>
                    </a:cubicBezTo>
                    <a:cubicBezTo>
                      <a:pt x="55" y="106"/>
                      <a:pt x="55" y="106"/>
                      <a:pt x="55" y="106"/>
                    </a:cubicBezTo>
                    <a:cubicBezTo>
                      <a:pt x="55" y="106"/>
                      <a:pt x="55" y="106"/>
                      <a:pt x="55" y="106"/>
                    </a:cubicBezTo>
                    <a:cubicBezTo>
                      <a:pt x="54" y="106"/>
                      <a:pt x="54" y="106"/>
                      <a:pt x="54" y="106"/>
                    </a:cubicBezTo>
                    <a:cubicBezTo>
                      <a:pt x="54" y="106"/>
                      <a:pt x="54" y="105"/>
                      <a:pt x="54" y="105"/>
                    </a:cubicBezTo>
                    <a:cubicBezTo>
                      <a:pt x="54" y="105"/>
                      <a:pt x="54" y="105"/>
                      <a:pt x="54" y="105"/>
                    </a:cubicBezTo>
                    <a:cubicBezTo>
                      <a:pt x="53" y="105"/>
                      <a:pt x="53" y="104"/>
                      <a:pt x="53" y="103"/>
                    </a:cubicBezTo>
                    <a:cubicBezTo>
                      <a:pt x="53" y="103"/>
                      <a:pt x="53" y="103"/>
                      <a:pt x="53" y="103"/>
                    </a:cubicBezTo>
                    <a:cubicBezTo>
                      <a:pt x="53" y="103"/>
                      <a:pt x="53" y="102"/>
                      <a:pt x="53" y="102"/>
                    </a:cubicBezTo>
                    <a:cubicBezTo>
                      <a:pt x="53" y="102"/>
                      <a:pt x="53" y="102"/>
                      <a:pt x="53" y="102"/>
                    </a:cubicBezTo>
                    <a:cubicBezTo>
                      <a:pt x="53" y="102"/>
                      <a:pt x="53" y="102"/>
                      <a:pt x="53" y="102"/>
                    </a:cubicBezTo>
                    <a:cubicBezTo>
                      <a:pt x="53" y="102"/>
                      <a:pt x="53" y="102"/>
                      <a:pt x="53" y="102"/>
                    </a:cubicBezTo>
                    <a:cubicBezTo>
                      <a:pt x="53" y="102"/>
                      <a:pt x="53" y="102"/>
                      <a:pt x="52" y="102"/>
                    </a:cubicBezTo>
                    <a:cubicBezTo>
                      <a:pt x="52" y="102"/>
                      <a:pt x="52" y="101"/>
                      <a:pt x="52" y="101"/>
                    </a:cubicBezTo>
                    <a:cubicBezTo>
                      <a:pt x="52" y="100"/>
                      <a:pt x="52" y="100"/>
                      <a:pt x="53" y="99"/>
                    </a:cubicBezTo>
                    <a:cubicBezTo>
                      <a:pt x="53" y="99"/>
                      <a:pt x="53" y="99"/>
                      <a:pt x="53" y="99"/>
                    </a:cubicBezTo>
                    <a:cubicBezTo>
                      <a:pt x="53" y="99"/>
                      <a:pt x="53" y="99"/>
                      <a:pt x="53" y="99"/>
                    </a:cubicBezTo>
                    <a:cubicBezTo>
                      <a:pt x="54" y="98"/>
                      <a:pt x="54" y="98"/>
                      <a:pt x="54" y="97"/>
                    </a:cubicBezTo>
                    <a:cubicBezTo>
                      <a:pt x="54" y="97"/>
                      <a:pt x="54" y="97"/>
                      <a:pt x="54" y="97"/>
                    </a:cubicBezTo>
                    <a:cubicBezTo>
                      <a:pt x="54" y="97"/>
                      <a:pt x="54" y="97"/>
                      <a:pt x="54" y="97"/>
                    </a:cubicBezTo>
                    <a:cubicBezTo>
                      <a:pt x="54" y="97"/>
                      <a:pt x="54" y="97"/>
                      <a:pt x="54" y="97"/>
                    </a:cubicBezTo>
                    <a:cubicBezTo>
                      <a:pt x="53" y="97"/>
                      <a:pt x="53" y="96"/>
                      <a:pt x="53" y="96"/>
                    </a:cubicBezTo>
                    <a:cubicBezTo>
                      <a:pt x="52" y="95"/>
                      <a:pt x="52" y="95"/>
                      <a:pt x="52" y="95"/>
                    </a:cubicBezTo>
                    <a:cubicBezTo>
                      <a:pt x="51" y="95"/>
                      <a:pt x="51" y="95"/>
                      <a:pt x="51" y="95"/>
                    </a:cubicBezTo>
                    <a:cubicBezTo>
                      <a:pt x="51" y="95"/>
                      <a:pt x="51" y="95"/>
                      <a:pt x="51" y="95"/>
                    </a:cubicBezTo>
                    <a:cubicBezTo>
                      <a:pt x="50" y="95"/>
                      <a:pt x="50" y="95"/>
                      <a:pt x="50" y="94"/>
                    </a:cubicBezTo>
                    <a:cubicBezTo>
                      <a:pt x="50" y="94"/>
                      <a:pt x="50" y="94"/>
                      <a:pt x="49" y="94"/>
                    </a:cubicBezTo>
                    <a:cubicBezTo>
                      <a:pt x="49" y="94"/>
                      <a:pt x="49" y="94"/>
                      <a:pt x="49" y="94"/>
                    </a:cubicBezTo>
                    <a:cubicBezTo>
                      <a:pt x="49" y="94"/>
                      <a:pt x="49" y="94"/>
                      <a:pt x="49" y="94"/>
                    </a:cubicBezTo>
                    <a:cubicBezTo>
                      <a:pt x="49" y="94"/>
                      <a:pt x="48" y="94"/>
                      <a:pt x="48" y="94"/>
                    </a:cubicBezTo>
                    <a:cubicBezTo>
                      <a:pt x="48" y="94"/>
                      <a:pt x="48" y="94"/>
                      <a:pt x="48" y="95"/>
                    </a:cubicBezTo>
                    <a:cubicBezTo>
                      <a:pt x="48" y="95"/>
                      <a:pt x="48" y="95"/>
                      <a:pt x="48" y="95"/>
                    </a:cubicBezTo>
                    <a:cubicBezTo>
                      <a:pt x="48" y="95"/>
                      <a:pt x="48" y="95"/>
                      <a:pt x="48" y="95"/>
                    </a:cubicBezTo>
                    <a:cubicBezTo>
                      <a:pt x="48" y="96"/>
                      <a:pt x="48" y="96"/>
                      <a:pt x="47" y="96"/>
                    </a:cubicBezTo>
                    <a:cubicBezTo>
                      <a:pt x="47" y="96"/>
                      <a:pt x="47" y="96"/>
                      <a:pt x="47" y="96"/>
                    </a:cubicBezTo>
                    <a:cubicBezTo>
                      <a:pt x="47" y="96"/>
                      <a:pt x="48" y="96"/>
                      <a:pt x="48" y="97"/>
                    </a:cubicBezTo>
                    <a:cubicBezTo>
                      <a:pt x="48" y="97"/>
                      <a:pt x="48" y="97"/>
                      <a:pt x="48" y="97"/>
                    </a:cubicBezTo>
                    <a:cubicBezTo>
                      <a:pt x="48" y="97"/>
                      <a:pt x="48" y="97"/>
                      <a:pt x="48" y="97"/>
                    </a:cubicBezTo>
                    <a:cubicBezTo>
                      <a:pt x="48" y="97"/>
                      <a:pt x="48" y="97"/>
                      <a:pt x="48" y="97"/>
                    </a:cubicBezTo>
                    <a:cubicBezTo>
                      <a:pt x="48" y="98"/>
                      <a:pt x="48" y="98"/>
                      <a:pt x="48" y="97"/>
                    </a:cubicBezTo>
                    <a:cubicBezTo>
                      <a:pt x="48" y="97"/>
                      <a:pt x="47" y="97"/>
                      <a:pt x="47" y="97"/>
                    </a:cubicBezTo>
                    <a:cubicBezTo>
                      <a:pt x="47" y="97"/>
                      <a:pt x="47" y="97"/>
                      <a:pt x="47" y="97"/>
                    </a:cubicBezTo>
                    <a:cubicBezTo>
                      <a:pt x="47" y="97"/>
                      <a:pt x="47" y="96"/>
                      <a:pt x="47" y="96"/>
                    </a:cubicBezTo>
                    <a:cubicBezTo>
                      <a:pt x="47" y="96"/>
                      <a:pt x="46" y="96"/>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5"/>
                      <a:pt x="46" y="95"/>
                    </a:cubicBezTo>
                    <a:cubicBezTo>
                      <a:pt x="46" y="95"/>
                      <a:pt x="46" y="95"/>
                      <a:pt x="46" y="95"/>
                    </a:cubicBezTo>
                    <a:cubicBezTo>
                      <a:pt x="46" y="95"/>
                      <a:pt x="46" y="95"/>
                      <a:pt x="46" y="95"/>
                    </a:cubicBezTo>
                    <a:cubicBezTo>
                      <a:pt x="46" y="95"/>
                      <a:pt x="45" y="95"/>
                      <a:pt x="45" y="95"/>
                    </a:cubicBezTo>
                    <a:cubicBezTo>
                      <a:pt x="45" y="95"/>
                      <a:pt x="45" y="96"/>
                      <a:pt x="45" y="96"/>
                    </a:cubicBezTo>
                    <a:cubicBezTo>
                      <a:pt x="45" y="96"/>
                      <a:pt x="45" y="96"/>
                      <a:pt x="45" y="96"/>
                    </a:cubicBezTo>
                    <a:cubicBezTo>
                      <a:pt x="45" y="96"/>
                      <a:pt x="45" y="96"/>
                      <a:pt x="45" y="96"/>
                    </a:cubicBezTo>
                    <a:cubicBezTo>
                      <a:pt x="45" y="96"/>
                      <a:pt x="45" y="96"/>
                      <a:pt x="45" y="97"/>
                    </a:cubicBezTo>
                    <a:cubicBezTo>
                      <a:pt x="45" y="97"/>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8"/>
                      <a:pt x="44" y="98"/>
                    </a:cubicBezTo>
                    <a:cubicBezTo>
                      <a:pt x="44" y="98"/>
                      <a:pt x="44" y="98"/>
                      <a:pt x="44" y="98"/>
                    </a:cubicBezTo>
                    <a:cubicBezTo>
                      <a:pt x="44" y="97"/>
                      <a:pt x="44" y="97"/>
                      <a:pt x="44" y="97"/>
                    </a:cubicBezTo>
                    <a:cubicBezTo>
                      <a:pt x="44" y="97"/>
                      <a:pt x="44" y="97"/>
                      <a:pt x="44" y="98"/>
                    </a:cubicBezTo>
                    <a:cubicBezTo>
                      <a:pt x="45" y="98"/>
                      <a:pt x="44" y="98"/>
                      <a:pt x="44" y="98"/>
                    </a:cubicBezTo>
                    <a:cubicBezTo>
                      <a:pt x="44" y="98"/>
                      <a:pt x="44" y="98"/>
                      <a:pt x="44" y="98"/>
                    </a:cubicBezTo>
                    <a:cubicBezTo>
                      <a:pt x="44" y="98"/>
                      <a:pt x="44" y="98"/>
                      <a:pt x="44" y="98"/>
                    </a:cubicBezTo>
                    <a:cubicBezTo>
                      <a:pt x="44" y="98"/>
                      <a:pt x="44" y="98"/>
                      <a:pt x="43" y="98"/>
                    </a:cubicBezTo>
                    <a:cubicBezTo>
                      <a:pt x="43" y="98"/>
                      <a:pt x="43" y="98"/>
                      <a:pt x="43" y="98"/>
                    </a:cubicBezTo>
                    <a:cubicBezTo>
                      <a:pt x="43" y="97"/>
                      <a:pt x="43" y="97"/>
                      <a:pt x="43" y="97"/>
                    </a:cubicBezTo>
                    <a:cubicBezTo>
                      <a:pt x="43" y="97"/>
                      <a:pt x="43" y="97"/>
                      <a:pt x="43" y="97"/>
                    </a:cubicBezTo>
                    <a:cubicBezTo>
                      <a:pt x="43" y="97"/>
                      <a:pt x="43" y="97"/>
                      <a:pt x="43" y="97"/>
                    </a:cubicBezTo>
                    <a:cubicBezTo>
                      <a:pt x="43" y="96"/>
                      <a:pt x="43" y="96"/>
                      <a:pt x="43" y="96"/>
                    </a:cubicBezTo>
                    <a:cubicBezTo>
                      <a:pt x="43" y="96"/>
                      <a:pt x="43" y="96"/>
                      <a:pt x="43" y="96"/>
                    </a:cubicBezTo>
                    <a:cubicBezTo>
                      <a:pt x="43" y="96"/>
                      <a:pt x="43" y="95"/>
                      <a:pt x="43" y="95"/>
                    </a:cubicBezTo>
                    <a:cubicBezTo>
                      <a:pt x="43" y="95"/>
                      <a:pt x="43" y="95"/>
                      <a:pt x="43" y="95"/>
                    </a:cubicBezTo>
                    <a:cubicBezTo>
                      <a:pt x="43" y="95"/>
                      <a:pt x="43" y="95"/>
                      <a:pt x="43" y="95"/>
                    </a:cubicBezTo>
                    <a:cubicBezTo>
                      <a:pt x="42" y="95"/>
                      <a:pt x="42" y="95"/>
                      <a:pt x="42" y="95"/>
                    </a:cubicBezTo>
                    <a:cubicBezTo>
                      <a:pt x="42" y="95"/>
                      <a:pt x="42" y="95"/>
                      <a:pt x="41" y="95"/>
                    </a:cubicBezTo>
                    <a:cubicBezTo>
                      <a:pt x="41" y="95"/>
                      <a:pt x="41" y="96"/>
                      <a:pt x="41" y="96"/>
                    </a:cubicBezTo>
                    <a:cubicBezTo>
                      <a:pt x="41" y="96"/>
                      <a:pt x="41" y="96"/>
                      <a:pt x="41" y="96"/>
                    </a:cubicBezTo>
                    <a:cubicBezTo>
                      <a:pt x="40" y="97"/>
                      <a:pt x="41" y="96"/>
                      <a:pt x="41" y="97"/>
                    </a:cubicBezTo>
                    <a:cubicBezTo>
                      <a:pt x="41" y="97"/>
                      <a:pt x="41" y="97"/>
                      <a:pt x="40" y="97"/>
                    </a:cubicBezTo>
                    <a:cubicBezTo>
                      <a:pt x="40" y="97"/>
                      <a:pt x="40" y="97"/>
                      <a:pt x="40" y="98"/>
                    </a:cubicBezTo>
                    <a:cubicBezTo>
                      <a:pt x="40" y="98"/>
                      <a:pt x="40" y="98"/>
                      <a:pt x="40" y="98"/>
                    </a:cubicBezTo>
                    <a:cubicBezTo>
                      <a:pt x="40" y="98"/>
                      <a:pt x="40" y="98"/>
                      <a:pt x="40" y="98"/>
                    </a:cubicBezTo>
                    <a:cubicBezTo>
                      <a:pt x="40" y="98"/>
                      <a:pt x="40" y="98"/>
                      <a:pt x="40" y="98"/>
                    </a:cubicBezTo>
                    <a:cubicBezTo>
                      <a:pt x="39" y="98"/>
                      <a:pt x="40" y="99"/>
                      <a:pt x="39" y="99"/>
                    </a:cubicBezTo>
                    <a:cubicBezTo>
                      <a:pt x="39" y="99"/>
                      <a:pt x="39" y="99"/>
                      <a:pt x="39" y="99"/>
                    </a:cubicBezTo>
                    <a:cubicBezTo>
                      <a:pt x="39" y="99"/>
                      <a:pt x="39" y="100"/>
                      <a:pt x="39" y="100"/>
                    </a:cubicBezTo>
                    <a:cubicBezTo>
                      <a:pt x="39" y="100"/>
                      <a:pt x="39" y="100"/>
                      <a:pt x="39" y="100"/>
                    </a:cubicBezTo>
                    <a:cubicBezTo>
                      <a:pt x="39" y="100"/>
                      <a:pt x="39" y="100"/>
                      <a:pt x="39" y="100"/>
                    </a:cubicBezTo>
                    <a:cubicBezTo>
                      <a:pt x="39" y="101"/>
                      <a:pt x="39" y="101"/>
                      <a:pt x="39" y="101"/>
                    </a:cubicBezTo>
                    <a:cubicBezTo>
                      <a:pt x="39" y="101"/>
                      <a:pt x="39" y="101"/>
                      <a:pt x="39" y="102"/>
                    </a:cubicBezTo>
                    <a:cubicBezTo>
                      <a:pt x="39" y="102"/>
                      <a:pt x="38" y="102"/>
                      <a:pt x="38" y="102"/>
                    </a:cubicBezTo>
                    <a:cubicBezTo>
                      <a:pt x="38" y="102"/>
                      <a:pt x="38" y="102"/>
                      <a:pt x="38" y="101"/>
                    </a:cubicBezTo>
                    <a:cubicBezTo>
                      <a:pt x="38" y="101"/>
                      <a:pt x="38" y="101"/>
                      <a:pt x="37" y="101"/>
                    </a:cubicBezTo>
                    <a:cubicBezTo>
                      <a:pt x="37" y="101"/>
                      <a:pt x="37" y="101"/>
                      <a:pt x="37" y="101"/>
                    </a:cubicBezTo>
                    <a:cubicBezTo>
                      <a:pt x="37" y="101"/>
                      <a:pt x="37" y="101"/>
                      <a:pt x="37" y="101"/>
                    </a:cubicBezTo>
                    <a:cubicBezTo>
                      <a:pt x="37" y="101"/>
                      <a:pt x="37" y="100"/>
                      <a:pt x="37" y="100"/>
                    </a:cubicBezTo>
                    <a:cubicBezTo>
                      <a:pt x="37" y="100"/>
                      <a:pt x="37" y="100"/>
                      <a:pt x="37" y="100"/>
                    </a:cubicBezTo>
                    <a:cubicBezTo>
                      <a:pt x="37" y="100"/>
                      <a:pt x="37" y="100"/>
                      <a:pt x="37" y="100"/>
                    </a:cubicBezTo>
                    <a:cubicBezTo>
                      <a:pt x="37" y="99"/>
                      <a:pt x="37" y="99"/>
                      <a:pt x="38" y="99"/>
                    </a:cubicBezTo>
                    <a:cubicBezTo>
                      <a:pt x="38" y="99"/>
                      <a:pt x="38" y="99"/>
                      <a:pt x="38" y="99"/>
                    </a:cubicBezTo>
                    <a:cubicBezTo>
                      <a:pt x="37" y="98"/>
                      <a:pt x="38" y="98"/>
                      <a:pt x="38" y="97"/>
                    </a:cubicBezTo>
                    <a:cubicBezTo>
                      <a:pt x="38" y="97"/>
                      <a:pt x="38" y="97"/>
                      <a:pt x="38" y="97"/>
                    </a:cubicBezTo>
                    <a:cubicBezTo>
                      <a:pt x="38" y="97"/>
                      <a:pt x="38" y="97"/>
                      <a:pt x="38" y="97"/>
                    </a:cubicBezTo>
                    <a:cubicBezTo>
                      <a:pt x="38" y="97"/>
                      <a:pt x="38" y="97"/>
                      <a:pt x="38" y="96"/>
                    </a:cubicBezTo>
                    <a:cubicBezTo>
                      <a:pt x="38" y="96"/>
                      <a:pt x="38" y="96"/>
                      <a:pt x="38" y="96"/>
                    </a:cubicBezTo>
                    <a:cubicBezTo>
                      <a:pt x="38" y="96"/>
                      <a:pt x="38" y="96"/>
                      <a:pt x="38" y="96"/>
                    </a:cubicBezTo>
                    <a:cubicBezTo>
                      <a:pt x="38" y="96"/>
                      <a:pt x="38" y="96"/>
                      <a:pt x="38" y="96"/>
                    </a:cubicBezTo>
                    <a:cubicBezTo>
                      <a:pt x="38" y="96"/>
                      <a:pt x="38" y="96"/>
                      <a:pt x="38" y="96"/>
                    </a:cubicBezTo>
                    <a:cubicBezTo>
                      <a:pt x="38" y="95"/>
                      <a:pt x="38" y="95"/>
                      <a:pt x="38" y="95"/>
                    </a:cubicBezTo>
                    <a:cubicBezTo>
                      <a:pt x="39" y="94"/>
                      <a:pt x="39" y="94"/>
                      <a:pt x="39" y="94"/>
                    </a:cubicBezTo>
                    <a:cubicBezTo>
                      <a:pt x="39" y="93"/>
                      <a:pt x="39" y="93"/>
                      <a:pt x="40" y="93"/>
                    </a:cubicBezTo>
                    <a:cubicBezTo>
                      <a:pt x="40" y="93"/>
                      <a:pt x="40" y="93"/>
                      <a:pt x="40" y="93"/>
                    </a:cubicBezTo>
                    <a:cubicBezTo>
                      <a:pt x="41" y="93"/>
                      <a:pt x="41" y="93"/>
                      <a:pt x="41" y="93"/>
                    </a:cubicBezTo>
                    <a:cubicBezTo>
                      <a:pt x="41" y="93"/>
                      <a:pt x="41" y="93"/>
                      <a:pt x="41" y="93"/>
                    </a:cubicBezTo>
                    <a:cubicBezTo>
                      <a:pt x="41" y="93"/>
                      <a:pt x="41" y="93"/>
                      <a:pt x="42" y="92"/>
                    </a:cubicBezTo>
                    <a:cubicBezTo>
                      <a:pt x="42" y="92"/>
                      <a:pt x="42" y="92"/>
                      <a:pt x="42" y="92"/>
                    </a:cubicBezTo>
                    <a:cubicBezTo>
                      <a:pt x="42" y="92"/>
                      <a:pt x="42" y="92"/>
                      <a:pt x="42" y="92"/>
                    </a:cubicBezTo>
                    <a:cubicBezTo>
                      <a:pt x="42" y="92"/>
                      <a:pt x="43" y="92"/>
                      <a:pt x="43" y="92"/>
                    </a:cubicBezTo>
                    <a:cubicBezTo>
                      <a:pt x="43" y="92"/>
                      <a:pt x="43" y="92"/>
                      <a:pt x="43" y="92"/>
                    </a:cubicBezTo>
                    <a:cubicBezTo>
                      <a:pt x="44" y="92"/>
                      <a:pt x="44" y="92"/>
                      <a:pt x="44" y="91"/>
                    </a:cubicBezTo>
                    <a:cubicBezTo>
                      <a:pt x="44" y="91"/>
                      <a:pt x="44" y="91"/>
                      <a:pt x="44" y="91"/>
                    </a:cubicBezTo>
                    <a:cubicBezTo>
                      <a:pt x="44" y="91"/>
                      <a:pt x="44" y="91"/>
                      <a:pt x="44" y="91"/>
                    </a:cubicBezTo>
                    <a:cubicBezTo>
                      <a:pt x="44" y="91"/>
                      <a:pt x="44" y="91"/>
                      <a:pt x="44" y="91"/>
                    </a:cubicBezTo>
                    <a:cubicBezTo>
                      <a:pt x="44" y="91"/>
                      <a:pt x="44" y="91"/>
                      <a:pt x="44" y="91"/>
                    </a:cubicBezTo>
                    <a:cubicBezTo>
                      <a:pt x="44" y="90"/>
                      <a:pt x="44" y="90"/>
                      <a:pt x="44" y="90"/>
                    </a:cubicBezTo>
                    <a:cubicBezTo>
                      <a:pt x="44" y="90"/>
                      <a:pt x="44" y="90"/>
                      <a:pt x="44" y="90"/>
                    </a:cubicBezTo>
                    <a:cubicBezTo>
                      <a:pt x="44" y="89"/>
                      <a:pt x="45" y="89"/>
                      <a:pt x="46" y="89"/>
                    </a:cubicBezTo>
                    <a:cubicBezTo>
                      <a:pt x="46" y="89"/>
                      <a:pt x="46" y="89"/>
                      <a:pt x="46" y="89"/>
                    </a:cubicBezTo>
                    <a:cubicBezTo>
                      <a:pt x="46" y="89"/>
                      <a:pt x="46" y="89"/>
                      <a:pt x="46" y="89"/>
                    </a:cubicBezTo>
                    <a:cubicBezTo>
                      <a:pt x="47" y="89"/>
                      <a:pt x="46" y="89"/>
                      <a:pt x="47" y="88"/>
                    </a:cubicBezTo>
                    <a:cubicBezTo>
                      <a:pt x="47" y="88"/>
                      <a:pt x="47" y="88"/>
                      <a:pt x="47" y="88"/>
                    </a:cubicBezTo>
                    <a:cubicBezTo>
                      <a:pt x="47" y="88"/>
                      <a:pt x="47" y="88"/>
                      <a:pt x="47" y="88"/>
                    </a:cubicBezTo>
                    <a:cubicBezTo>
                      <a:pt x="47" y="88"/>
                      <a:pt x="47" y="88"/>
                      <a:pt x="47" y="88"/>
                    </a:cubicBezTo>
                    <a:cubicBezTo>
                      <a:pt x="47" y="87"/>
                      <a:pt x="47" y="88"/>
                      <a:pt x="47" y="88"/>
                    </a:cubicBezTo>
                    <a:cubicBezTo>
                      <a:pt x="48" y="88"/>
                      <a:pt x="48" y="88"/>
                      <a:pt x="48" y="88"/>
                    </a:cubicBezTo>
                    <a:cubicBezTo>
                      <a:pt x="48" y="88"/>
                      <a:pt x="48" y="88"/>
                      <a:pt x="49" y="88"/>
                    </a:cubicBezTo>
                    <a:cubicBezTo>
                      <a:pt x="49" y="88"/>
                      <a:pt x="49" y="88"/>
                      <a:pt x="49" y="88"/>
                    </a:cubicBezTo>
                    <a:cubicBezTo>
                      <a:pt x="49" y="88"/>
                      <a:pt x="49" y="88"/>
                      <a:pt x="49" y="88"/>
                    </a:cubicBezTo>
                    <a:cubicBezTo>
                      <a:pt x="49" y="88"/>
                      <a:pt x="49" y="88"/>
                      <a:pt x="49" y="88"/>
                    </a:cubicBezTo>
                    <a:cubicBezTo>
                      <a:pt x="50" y="88"/>
                      <a:pt x="50" y="89"/>
                      <a:pt x="50" y="89"/>
                    </a:cubicBezTo>
                    <a:cubicBezTo>
                      <a:pt x="50" y="89"/>
                      <a:pt x="50" y="89"/>
                      <a:pt x="50" y="89"/>
                    </a:cubicBezTo>
                    <a:cubicBezTo>
                      <a:pt x="50" y="89"/>
                      <a:pt x="51" y="89"/>
                      <a:pt x="51" y="90"/>
                    </a:cubicBezTo>
                    <a:cubicBezTo>
                      <a:pt x="51" y="90"/>
                      <a:pt x="51" y="90"/>
                      <a:pt x="51" y="90"/>
                    </a:cubicBezTo>
                    <a:cubicBezTo>
                      <a:pt x="51" y="90"/>
                      <a:pt x="51" y="90"/>
                      <a:pt x="51" y="91"/>
                    </a:cubicBezTo>
                    <a:cubicBezTo>
                      <a:pt x="51" y="91"/>
                      <a:pt x="51" y="91"/>
                      <a:pt x="51" y="92"/>
                    </a:cubicBezTo>
                    <a:cubicBezTo>
                      <a:pt x="50" y="92"/>
                      <a:pt x="50" y="92"/>
                      <a:pt x="50" y="92"/>
                    </a:cubicBezTo>
                    <a:cubicBezTo>
                      <a:pt x="50" y="92"/>
                      <a:pt x="50" y="92"/>
                      <a:pt x="50" y="92"/>
                    </a:cubicBezTo>
                    <a:cubicBezTo>
                      <a:pt x="50" y="92"/>
                      <a:pt x="50" y="92"/>
                      <a:pt x="50" y="92"/>
                    </a:cubicBezTo>
                    <a:cubicBezTo>
                      <a:pt x="50" y="93"/>
                      <a:pt x="50" y="93"/>
                      <a:pt x="50" y="93"/>
                    </a:cubicBezTo>
                    <a:cubicBezTo>
                      <a:pt x="50" y="93"/>
                      <a:pt x="49" y="93"/>
                      <a:pt x="49" y="93"/>
                    </a:cubicBezTo>
                    <a:cubicBezTo>
                      <a:pt x="49" y="93"/>
                      <a:pt x="49" y="93"/>
                      <a:pt x="49" y="93"/>
                    </a:cubicBezTo>
                    <a:cubicBezTo>
                      <a:pt x="49" y="93"/>
                      <a:pt x="49" y="93"/>
                      <a:pt x="49" y="93"/>
                    </a:cubicBezTo>
                    <a:cubicBezTo>
                      <a:pt x="49" y="93"/>
                      <a:pt x="49"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2"/>
                      <a:pt x="51" y="92"/>
                      <a:pt x="51" y="92"/>
                    </a:cubicBezTo>
                    <a:cubicBezTo>
                      <a:pt x="51" y="92"/>
                      <a:pt x="51" y="92"/>
                      <a:pt x="51" y="92"/>
                    </a:cubicBezTo>
                    <a:cubicBezTo>
                      <a:pt x="51" y="92"/>
                      <a:pt x="51" y="92"/>
                      <a:pt x="51" y="92"/>
                    </a:cubicBezTo>
                    <a:cubicBezTo>
                      <a:pt x="51" y="92"/>
                      <a:pt x="51" y="92"/>
                      <a:pt x="51" y="92"/>
                    </a:cubicBezTo>
                    <a:cubicBezTo>
                      <a:pt x="51" y="92"/>
                      <a:pt x="51" y="92"/>
                      <a:pt x="52" y="92"/>
                    </a:cubicBezTo>
                    <a:cubicBezTo>
                      <a:pt x="52" y="92"/>
                      <a:pt x="52" y="92"/>
                      <a:pt x="52" y="91"/>
                    </a:cubicBezTo>
                    <a:cubicBezTo>
                      <a:pt x="52" y="91"/>
                      <a:pt x="52" y="91"/>
                      <a:pt x="52" y="91"/>
                    </a:cubicBezTo>
                    <a:cubicBezTo>
                      <a:pt x="52" y="91"/>
                      <a:pt x="52" y="91"/>
                      <a:pt x="53" y="91"/>
                    </a:cubicBezTo>
                    <a:cubicBezTo>
                      <a:pt x="53" y="91"/>
                      <a:pt x="53" y="91"/>
                      <a:pt x="53" y="91"/>
                    </a:cubicBezTo>
                    <a:cubicBezTo>
                      <a:pt x="53" y="91"/>
                      <a:pt x="53" y="91"/>
                      <a:pt x="53" y="91"/>
                    </a:cubicBezTo>
                    <a:cubicBezTo>
                      <a:pt x="53" y="91"/>
                      <a:pt x="54" y="91"/>
                      <a:pt x="54" y="90"/>
                    </a:cubicBezTo>
                    <a:cubicBezTo>
                      <a:pt x="54" y="90"/>
                      <a:pt x="53" y="90"/>
                      <a:pt x="53" y="90"/>
                    </a:cubicBezTo>
                    <a:cubicBezTo>
                      <a:pt x="53" y="90"/>
                      <a:pt x="53" y="90"/>
                      <a:pt x="54" y="90"/>
                    </a:cubicBezTo>
                    <a:cubicBezTo>
                      <a:pt x="54" y="90"/>
                      <a:pt x="54" y="89"/>
                      <a:pt x="54" y="89"/>
                    </a:cubicBezTo>
                    <a:cubicBezTo>
                      <a:pt x="54" y="89"/>
                      <a:pt x="54" y="89"/>
                      <a:pt x="54" y="89"/>
                    </a:cubicBezTo>
                    <a:cubicBezTo>
                      <a:pt x="53" y="89"/>
                      <a:pt x="53" y="88"/>
                      <a:pt x="54" y="88"/>
                    </a:cubicBezTo>
                    <a:cubicBezTo>
                      <a:pt x="54" y="88"/>
                      <a:pt x="54" y="88"/>
                      <a:pt x="54" y="88"/>
                    </a:cubicBezTo>
                    <a:cubicBezTo>
                      <a:pt x="54" y="88"/>
                      <a:pt x="54" y="88"/>
                      <a:pt x="54" y="88"/>
                    </a:cubicBezTo>
                    <a:cubicBezTo>
                      <a:pt x="54" y="88"/>
                      <a:pt x="54" y="88"/>
                      <a:pt x="54" y="88"/>
                    </a:cubicBezTo>
                    <a:cubicBezTo>
                      <a:pt x="55" y="87"/>
                      <a:pt x="55" y="88"/>
                      <a:pt x="55" y="88"/>
                    </a:cubicBezTo>
                    <a:cubicBezTo>
                      <a:pt x="55" y="88"/>
                      <a:pt x="55" y="88"/>
                      <a:pt x="55" y="88"/>
                    </a:cubicBezTo>
                    <a:cubicBezTo>
                      <a:pt x="55" y="88"/>
                      <a:pt x="55" y="88"/>
                      <a:pt x="56" y="88"/>
                    </a:cubicBezTo>
                    <a:cubicBezTo>
                      <a:pt x="56" y="88"/>
                      <a:pt x="56" y="88"/>
                      <a:pt x="56" y="88"/>
                    </a:cubicBezTo>
                    <a:cubicBezTo>
                      <a:pt x="56" y="88"/>
                      <a:pt x="56" y="88"/>
                      <a:pt x="56" y="89"/>
                    </a:cubicBezTo>
                    <a:cubicBezTo>
                      <a:pt x="57" y="89"/>
                      <a:pt x="57" y="89"/>
                      <a:pt x="57" y="89"/>
                    </a:cubicBezTo>
                    <a:cubicBezTo>
                      <a:pt x="57" y="88"/>
                      <a:pt x="57" y="88"/>
                      <a:pt x="57" y="88"/>
                    </a:cubicBezTo>
                    <a:cubicBezTo>
                      <a:pt x="57" y="88"/>
                      <a:pt x="57" y="88"/>
                      <a:pt x="57" y="87"/>
                    </a:cubicBezTo>
                    <a:cubicBezTo>
                      <a:pt x="57" y="87"/>
                      <a:pt x="57" y="87"/>
                      <a:pt x="57" y="87"/>
                    </a:cubicBezTo>
                    <a:cubicBezTo>
                      <a:pt x="57" y="86"/>
                      <a:pt x="57" y="86"/>
                      <a:pt x="57" y="86"/>
                    </a:cubicBezTo>
                    <a:cubicBezTo>
                      <a:pt x="57" y="86"/>
                      <a:pt x="57" y="86"/>
                      <a:pt x="57" y="86"/>
                    </a:cubicBezTo>
                    <a:cubicBezTo>
                      <a:pt x="57" y="85"/>
                      <a:pt x="57" y="85"/>
                      <a:pt x="57" y="85"/>
                    </a:cubicBezTo>
                    <a:cubicBezTo>
                      <a:pt x="57" y="85"/>
                      <a:pt x="57" y="85"/>
                      <a:pt x="57" y="85"/>
                    </a:cubicBezTo>
                    <a:cubicBezTo>
                      <a:pt x="58" y="85"/>
                      <a:pt x="58" y="85"/>
                      <a:pt x="58" y="85"/>
                    </a:cubicBezTo>
                    <a:cubicBezTo>
                      <a:pt x="58" y="85"/>
                      <a:pt x="59" y="85"/>
                      <a:pt x="59" y="86"/>
                    </a:cubicBezTo>
                    <a:cubicBezTo>
                      <a:pt x="59" y="86"/>
                      <a:pt x="60" y="86"/>
                      <a:pt x="60" y="86"/>
                    </a:cubicBezTo>
                    <a:cubicBezTo>
                      <a:pt x="60" y="86"/>
                      <a:pt x="60" y="85"/>
                      <a:pt x="60" y="85"/>
                    </a:cubicBezTo>
                    <a:cubicBezTo>
                      <a:pt x="60" y="85"/>
                      <a:pt x="60" y="85"/>
                      <a:pt x="60" y="84"/>
                    </a:cubicBezTo>
                    <a:cubicBezTo>
                      <a:pt x="60" y="84"/>
                      <a:pt x="60" y="84"/>
                      <a:pt x="60" y="84"/>
                    </a:cubicBezTo>
                    <a:cubicBezTo>
                      <a:pt x="60" y="84"/>
                      <a:pt x="60" y="84"/>
                      <a:pt x="60" y="84"/>
                    </a:cubicBezTo>
                    <a:cubicBezTo>
                      <a:pt x="60" y="84"/>
                      <a:pt x="61" y="84"/>
                      <a:pt x="61" y="85"/>
                    </a:cubicBezTo>
                    <a:cubicBezTo>
                      <a:pt x="61" y="85"/>
                      <a:pt x="62" y="85"/>
                      <a:pt x="62" y="85"/>
                    </a:cubicBezTo>
                    <a:cubicBezTo>
                      <a:pt x="62" y="84"/>
                      <a:pt x="63" y="84"/>
                      <a:pt x="63" y="84"/>
                    </a:cubicBezTo>
                    <a:cubicBezTo>
                      <a:pt x="63" y="84"/>
                      <a:pt x="63" y="84"/>
                      <a:pt x="63" y="83"/>
                    </a:cubicBezTo>
                    <a:cubicBezTo>
                      <a:pt x="62" y="83"/>
                      <a:pt x="62" y="82"/>
                      <a:pt x="62" y="82"/>
                    </a:cubicBezTo>
                    <a:cubicBezTo>
                      <a:pt x="62" y="82"/>
                      <a:pt x="62" y="82"/>
                      <a:pt x="62" y="82"/>
                    </a:cubicBezTo>
                    <a:cubicBezTo>
                      <a:pt x="62" y="81"/>
                      <a:pt x="62" y="80"/>
                      <a:pt x="61" y="80"/>
                    </a:cubicBezTo>
                    <a:cubicBezTo>
                      <a:pt x="61" y="80"/>
                      <a:pt x="61" y="79"/>
                      <a:pt x="61" y="79"/>
                    </a:cubicBezTo>
                    <a:cubicBezTo>
                      <a:pt x="61" y="79"/>
                      <a:pt x="61" y="79"/>
                      <a:pt x="62" y="79"/>
                    </a:cubicBezTo>
                    <a:cubicBezTo>
                      <a:pt x="62" y="79"/>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3" y="79"/>
                    </a:cubicBezTo>
                    <a:cubicBezTo>
                      <a:pt x="63" y="79"/>
                      <a:pt x="63" y="79"/>
                      <a:pt x="63" y="79"/>
                    </a:cubicBezTo>
                    <a:cubicBezTo>
                      <a:pt x="63" y="79"/>
                      <a:pt x="63" y="79"/>
                      <a:pt x="63" y="79"/>
                    </a:cubicBezTo>
                    <a:cubicBezTo>
                      <a:pt x="63" y="79"/>
                      <a:pt x="63" y="79"/>
                      <a:pt x="63" y="79"/>
                    </a:cubicBezTo>
                    <a:cubicBezTo>
                      <a:pt x="63" y="79"/>
                      <a:pt x="63" y="79"/>
                      <a:pt x="63" y="79"/>
                    </a:cubicBezTo>
                    <a:cubicBezTo>
                      <a:pt x="63" y="80"/>
                      <a:pt x="63" y="80"/>
                      <a:pt x="63" y="80"/>
                    </a:cubicBezTo>
                    <a:cubicBezTo>
                      <a:pt x="63" y="80"/>
                      <a:pt x="64" y="80"/>
                      <a:pt x="64" y="80"/>
                    </a:cubicBezTo>
                    <a:cubicBezTo>
                      <a:pt x="64" y="80"/>
                      <a:pt x="64" y="80"/>
                      <a:pt x="65" y="80"/>
                    </a:cubicBezTo>
                    <a:cubicBezTo>
                      <a:pt x="65" y="80"/>
                      <a:pt x="65" y="80"/>
                      <a:pt x="65" y="81"/>
                    </a:cubicBezTo>
                    <a:cubicBezTo>
                      <a:pt x="65" y="81"/>
                      <a:pt x="65" y="81"/>
                      <a:pt x="65" y="81"/>
                    </a:cubicBezTo>
                    <a:cubicBezTo>
                      <a:pt x="65" y="81"/>
                      <a:pt x="66" y="81"/>
                      <a:pt x="66" y="82"/>
                    </a:cubicBezTo>
                    <a:cubicBezTo>
                      <a:pt x="66" y="82"/>
                      <a:pt x="66" y="82"/>
                      <a:pt x="66" y="82"/>
                    </a:cubicBezTo>
                    <a:cubicBezTo>
                      <a:pt x="67" y="82"/>
                      <a:pt x="67" y="82"/>
                      <a:pt x="67" y="82"/>
                    </a:cubicBezTo>
                    <a:cubicBezTo>
                      <a:pt x="67" y="82"/>
                      <a:pt x="67" y="82"/>
                      <a:pt x="67" y="82"/>
                    </a:cubicBezTo>
                    <a:cubicBezTo>
                      <a:pt x="67" y="82"/>
                      <a:pt x="67" y="82"/>
                      <a:pt x="67" y="82"/>
                    </a:cubicBezTo>
                    <a:cubicBezTo>
                      <a:pt x="67" y="82"/>
                      <a:pt x="67" y="83"/>
                      <a:pt x="67" y="83"/>
                    </a:cubicBezTo>
                    <a:cubicBezTo>
                      <a:pt x="67" y="83"/>
                      <a:pt x="67" y="83"/>
                      <a:pt x="67" y="83"/>
                    </a:cubicBezTo>
                    <a:cubicBezTo>
                      <a:pt x="68" y="83"/>
                      <a:pt x="68" y="84"/>
                      <a:pt x="68" y="84"/>
                    </a:cubicBezTo>
                    <a:cubicBezTo>
                      <a:pt x="68" y="84"/>
                      <a:pt x="68" y="84"/>
                      <a:pt x="68" y="84"/>
                    </a:cubicBezTo>
                    <a:cubicBezTo>
                      <a:pt x="68" y="84"/>
                      <a:pt x="68" y="84"/>
                      <a:pt x="68" y="84"/>
                    </a:cubicBezTo>
                    <a:cubicBezTo>
                      <a:pt x="68" y="84"/>
                      <a:pt x="69" y="85"/>
                      <a:pt x="68" y="85"/>
                    </a:cubicBezTo>
                    <a:cubicBezTo>
                      <a:pt x="68" y="85"/>
                      <a:pt x="68" y="85"/>
                      <a:pt x="68" y="85"/>
                    </a:cubicBezTo>
                    <a:cubicBezTo>
                      <a:pt x="69" y="85"/>
                      <a:pt x="69" y="85"/>
                      <a:pt x="68" y="85"/>
                    </a:cubicBezTo>
                    <a:cubicBezTo>
                      <a:pt x="68" y="86"/>
                      <a:pt x="68" y="86"/>
                      <a:pt x="67" y="87"/>
                    </a:cubicBezTo>
                    <a:cubicBezTo>
                      <a:pt x="67" y="87"/>
                      <a:pt x="67" y="87"/>
                      <a:pt x="67" y="87"/>
                    </a:cubicBezTo>
                    <a:cubicBezTo>
                      <a:pt x="67" y="87"/>
                      <a:pt x="67" y="87"/>
                      <a:pt x="67" y="88"/>
                    </a:cubicBezTo>
                    <a:cubicBezTo>
                      <a:pt x="68" y="87"/>
                      <a:pt x="68" y="87"/>
                      <a:pt x="69" y="87"/>
                    </a:cubicBezTo>
                    <a:cubicBezTo>
                      <a:pt x="69" y="87"/>
                      <a:pt x="69" y="87"/>
                      <a:pt x="69" y="88"/>
                    </a:cubicBezTo>
                    <a:cubicBezTo>
                      <a:pt x="69" y="88"/>
                      <a:pt x="69" y="88"/>
                      <a:pt x="69" y="88"/>
                    </a:cubicBezTo>
                    <a:cubicBezTo>
                      <a:pt x="69" y="88"/>
                      <a:pt x="69" y="88"/>
                      <a:pt x="69" y="88"/>
                    </a:cubicBezTo>
                    <a:cubicBezTo>
                      <a:pt x="69" y="88"/>
                      <a:pt x="69" y="88"/>
                      <a:pt x="69" y="88"/>
                    </a:cubicBezTo>
                    <a:cubicBezTo>
                      <a:pt x="69" y="89"/>
                      <a:pt x="69" y="89"/>
                      <a:pt x="69" y="89"/>
                    </a:cubicBezTo>
                    <a:cubicBezTo>
                      <a:pt x="69" y="89"/>
                      <a:pt x="69" y="89"/>
                      <a:pt x="69" y="89"/>
                    </a:cubicBezTo>
                    <a:cubicBezTo>
                      <a:pt x="69" y="90"/>
                      <a:pt x="69" y="90"/>
                      <a:pt x="69" y="90"/>
                    </a:cubicBezTo>
                    <a:cubicBezTo>
                      <a:pt x="69" y="90"/>
                      <a:pt x="69" y="90"/>
                      <a:pt x="69" y="90"/>
                    </a:cubicBezTo>
                    <a:cubicBezTo>
                      <a:pt x="69" y="90"/>
                      <a:pt x="69" y="89"/>
                      <a:pt x="70" y="90"/>
                    </a:cubicBezTo>
                    <a:cubicBezTo>
                      <a:pt x="70" y="90"/>
                      <a:pt x="70" y="91"/>
                      <a:pt x="70" y="91"/>
                    </a:cubicBezTo>
                    <a:cubicBezTo>
                      <a:pt x="70" y="91"/>
                      <a:pt x="70" y="91"/>
                      <a:pt x="69" y="91"/>
                    </a:cubicBezTo>
                    <a:cubicBezTo>
                      <a:pt x="70" y="92"/>
                      <a:pt x="70" y="92"/>
                      <a:pt x="69" y="92"/>
                    </a:cubicBezTo>
                    <a:cubicBezTo>
                      <a:pt x="69" y="92"/>
                      <a:pt x="69" y="92"/>
                      <a:pt x="69" y="92"/>
                    </a:cubicBezTo>
                    <a:cubicBezTo>
                      <a:pt x="69" y="92"/>
                      <a:pt x="69" y="92"/>
                      <a:pt x="70" y="93"/>
                    </a:cubicBezTo>
                    <a:cubicBezTo>
                      <a:pt x="70" y="93"/>
                      <a:pt x="70" y="93"/>
                      <a:pt x="70" y="93"/>
                    </a:cubicBezTo>
                    <a:cubicBezTo>
                      <a:pt x="70" y="93"/>
                      <a:pt x="70" y="93"/>
                      <a:pt x="70" y="93"/>
                    </a:cubicBezTo>
                    <a:cubicBezTo>
                      <a:pt x="70" y="93"/>
                      <a:pt x="71" y="93"/>
                      <a:pt x="71" y="93"/>
                    </a:cubicBezTo>
                    <a:cubicBezTo>
                      <a:pt x="71" y="93"/>
                      <a:pt x="71" y="94"/>
                      <a:pt x="71" y="94"/>
                    </a:cubicBezTo>
                    <a:cubicBezTo>
                      <a:pt x="71" y="94"/>
                      <a:pt x="71" y="94"/>
                      <a:pt x="71" y="95"/>
                    </a:cubicBezTo>
                    <a:cubicBezTo>
                      <a:pt x="71" y="95"/>
                      <a:pt x="71" y="95"/>
                      <a:pt x="71" y="95"/>
                    </a:cubicBezTo>
                    <a:cubicBezTo>
                      <a:pt x="71" y="95"/>
                      <a:pt x="71" y="95"/>
                      <a:pt x="71" y="95"/>
                    </a:cubicBezTo>
                    <a:cubicBezTo>
                      <a:pt x="71" y="95"/>
                      <a:pt x="71" y="96"/>
                      <a:pt x="71" y="96"/>
                    </a:cubicBezTo>
                    <a:cubicBezTo>
                      <a:pt x="71" y="96"/>
                      <a:pt x="71" y="96"/>
                      <a:pt x="71" y="96"/>
                    </a:cubicBezTo>
                    <a:cubicBezTo>
                      <a:pt x="71" y="96"/>
                      <a:pt x="71" y="96"/>
                      <a:pt x="71" y="96"/>
                    </a:cubicBezTo>
                    <a:cubicBezTo>
                      <a:pt x="71" y="96"/>
                      <a:pt x="71" y="96"/>
                      <a:pt x="71" y="97"/>
                    </a:cubicBezTo>
                    <a:close/>
                    <a:moveTo>
                      <a:pt x="61" y="85"/>
                    </a:moveTo>
                    <a:cubicBezTo>
                      <a:pt x="61" y="85"/>
                      <a:pt x="61" y="85"/>
                      <a:pt x="60" y="85"/>
                    </a:cubicBezTo>
                    <a:cubicBezTo>
                      <a:pt x="61" y="85"/>
                      <a:pt x="61" y="85"/>
                      <a:pt x="61" y="85"/>
                    </a:cubicBezTo>
                    <a:close/>
                    <a:moveTo>
                      <a:pt x="65" y="98"/>
                    </a:move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9"/>
                      <a:pt x="65" y="99"/>
                      <a:pt x="65" y="99"/>
                    </a:cubicBezTo>
                    <a:cubicBezTo>
                      <a:pt x="65" y="99"/>
                      <a:pt x="65" y="99"/>
                      <a:pt x="65" y="99"/>
                    </a:cubicBezTo>
                    <a:cubicBezTo>
                      <a:pt x="65" y="100"/>
                      <a:pt x="65" y="100"/>
                      <a:pt x="65" y="100"/>
                    </a:cubicBezTo>
                    <a:cubicBezTo>
                      <a:pt x="66" y="100"/>
                      <a:pt x="66" y="100"/>
                      <a:pt x="66" y="99"/>
                    </a:cubicBezTo>
                    <a:cubicBezTo>
                      <a:pt x="66" y="99"/>
                      <a:pt x="65" y="99"/>
                      <a:pt x="65" y="98"/>
                    </a:cubicBezTo>
                    <a:cubicBezTo>
                      <a:pt x="65" y="98"/>
                      <a:pt x="65" y="98"/>
                      <a:pt x="65" y="98"/>
                    </a:cubicBezTo>
                    <a:cubicBezTo>
                      <a:pt x="65" y="98"/>
                      <a:pt x="65" y="98"/>
                      <a:pt x="65" y="98"/>
                    </a:cubicBezTo>
                    <a:cubicBezTo>
                      <a:pt x="66" y="98"/>
                      <a:pt x="66" y="98"/>
                      <a:pt x="65" y="98"/>
                    </a:cubicBezTo>
                    <a:close/>
                    <a:moveTo>
                      <a:pt x="65" y="100"/>
                    </a:moveTo>
                    <a:cubicBezTo>
                      <a:pt x="65" y="100"/>
                      <a:pt x="65" y="100"/>
                      <a:pt x="65" y="100"/>
                    </a:cubicBezTo>
                    <a:cubicBezTo>
                      <a:pt x="65" y="100"/>
                      <a:pt x="65" y="100"/>
                      <a:pt x="65" y="100"/>
                    </a:cubicBezTo>
                    <a:cubicBezTo>
                      <a:pt x="65" y="99"/>
                      <a:pt x="65" y="99"/>
                      <a:pt x="65" y="100"/>
                    </a:cubicBezTo>
                    <a:close/>
                    <a:moveTo>
                      <a:pt x="46" y="82"/>
                    </a:moveTo>
                    <a:cubicBezTo>
                      <a:pt x="47" y="82"/>
                      <a:pt x="47" y="82"/>
                      <a:pt x="47" y="81"/>
                    </a:cubicBezTo>
                    <a:cubicBezTo>
                      <a:pt x="47" y="80"/>
                      <a:pt x="47" y="80"/>
                      <a:pt x="48" y="79"/>
                    </a:cubicBezTo>
                    <a:cubicBezTo>
                      <a:pt x="48" y="79"/>
                      <a:pt x="48" y="78"/>
                      <a:pt x="48" y="78"/>
                    </a:cubicBezTo>
                    <a:cubicBezTo>
                      <a:pt x="48" y="78"/>
                      <a:pt x="48" y="77"/>
                      <a:pt x="48" y="77"/>
                    </a:cubicBezTo>
                    <a:cubicBezTo>
                      <a:pt x="49" y="77"/>
                      <a:pt x="49" y="77"/>
                      <a:pt x="49" y="77"/>
                    </a:cubicBezTo>
                    <a:cubicBezTo>
                      <a:pt x="49" y="77"/>
                      <a:pt x="49" y="76"/>
                      <a:pt x="49" y="76"/>
                    </a:cubicBezTo>
                    <a:cubicBezTo>
                      <a:pt x="50" y="76"/>
                      <a:pt x="50" y="76"/>
                      <a:pt x="50" y="76"/>
                    </a:cubicBezTo>
                    <a:cubicBezTo>
                      <a:pt x="50" y="76"/>
                      <a:pt x="50" y="76"/>
                      <a:pt x="50" y="76"/>
                    </a:cubicBezTo>
                    <a:cubicBezTo>
                      <a:pt x="50" y="76"/>
                      <a:pt x="50" y="76"/>
                      <a:pt x="51" y="76"/>
                    </a:cubicBezTo>
                    <a:cubicBezTo>
                      <a:pt x="51" y="76"/>
                      <a:pt x="51" y="76"/>
                      <a:pt x="51" y="76"/>
                    </a:cubicBezTo>
                    <a:cubicBezTo>
                      <a:pt x="51" y="75"/>
                      <a:pt x="51" y="75"/>
                      <a:pt x="51" y="75"/>
                    </a:cubicBezTo>
                    <a:cubicBezTo>
                      <a:pt x="51" y="75"/>
                      <a:pt x="51" y="75"/>
                      <a:pt x="51" y="75"/>
                    </a:cubicBezTo>
                    <a:cubicBezTo>
                      <a:pt x="51" y="75"/>
                      <a:pt x="51" y="75"/>
                      <a:pt x="51" y="75"/>
                    </a:cubicBezTo>
                    <a:cubicBezTo>
                      <a:pt x="51" y="75"/>
                      <a:pt x="51" y="75"/>
                      <a:pt x="51" y="75"/>
                    </a:cubicBezTo>
                    <a:cubicBezTo>
                      <a:pt x="51" y="74"/>
                      <a:pt x="51" y="74"/>
                      <a:pt x="51" y="74"/>
                    </a:cubicBezTo>
                    <a:cubicBezTo>
                      <a:pt x="51" y="73"/>
                      <a:pt x="51" y="73"/>
                      <a:pt x="51" y="73"/>
                    </a:cubicBezTo>
                    <a:cubicBezTo>
                      <a:pt x="51" y="73"/>
                      <a:pt x="51" y="72"/>
                      <a:pt x="51" y="72"/>
                    </a:cubicBezTo>
                    <a:cubicBezTo>
                      <a:pt x="51" y="72"/>
                      <a:pt x="51" y="71"/>
                      <a:pt x="51" y="71"/>
                    </a:cubicBezTo>
                    <a:cubicBezTo>
                      <a:pt x="51" y="71"/>
                      <a:pt x="51" y="71"/>
                      <a:pt x="51" y="70"/>
                    </a:cubicBezTo>
                    <a:cubicBezTo>
                      <a:pt x="51" y="70"/>
                      <a:pt x="51" y="70"/>
                      <a:pt x="50" y="70"/>
                    </a:cubicBezTo>
                    <a:cubicBezTo>
                      <a:pt x="50" y="70"/>
                      <a:pt x="50" y="70"/>
                      <a:pt x="50" y="70"/>
                    </a:cubicBezTo>
                    <a:cubicBezTo>
                      <a:pt x="51" y="69"/>
                      <a:pt x="51" y="69"/>
                      <a:pt x="51" y="69"/>
                    </a:cubicBezTo>
                    <a:cubicBezTo>
                      <a:pt x="51" y="69"/>
                      <a:pt x="51" y="68"/>
                      <a:pt x="51" y="68"/>
                    </a:cubicBezTo>
                    <a:cubicBezTo>
                      <a:pt x="51" y="68"/>
                      <a:pt x="51" y="68"/>
                      <a:pt x="51" y="68"/>
                    </a:cubicBezTo>
                    <a:cubicBezTo>
                      <a:pt x="50" y="68"/>
                      <a:pt x="50" y="68"/>
                      <a:pt x="50" y="69"/>
                    </a:cubicBezTo>
                    <a:cubicBezTo>
                      <a:pt x="50" y="69"/>
                      <a:pt x="50" y="69"/>
                      <a:pt x="50" y="69"/>
                    </a:cubicBezTo>
                    <a:cubicBezTo>
                      <a:pt x="50" y="69"/>
                      <a:pt x="50" y="69"/>
                      <a:pt x="50" y="69"/>
                    </a:cubicBezTo>
                    <a:cubicBezTo>
                      <a:pt x="50" y="69"/>
                      <a:pt x="50" y="69"/>
                      <a:pt x="50" y="69"/>
                    </a:cubicBezTo>
                    <a:cubicBezTo>
                      <a:pt x="50" y="69"/>
                      <a:pt x="50" y="69"/>
                      <a:pt x="50" y="70"/>
                    </a:cubicBezTo>
                    <a:cubicBezTo>
                      <a:pt x="50" y="70"/>
                      <a:pt x="50" y="70"/>
                      <a:pt x="50" y="70"/>
                    </a:cubicBezTo>
                    <a:cubicBezTo>
                      <a:pt x="50" y="70"/>
                      <a:pt x="50" y="71"/>
                      <a:pt x="50" y="71"/>
                    </a:cubicBezTo>
                    <a:cubicBezTo>
                      <a:pt x="49" y="71"/>
                      <a:pt x="49" y="71"/>
                      <a:pt x="50" y="71"/>
                    </a:cubicBezTo>
                    <a:cubicBezTo>
                      <a:pt x="49" y="72"/>
                      <a:pt x="49" y="72"/>
                      <a:pt x="49" y="73"/>
                    </a:cubicBezTo>
                    <a:cubicBezTo>
                      <a:pt x="49" y="73"/>
                      <a:pt x="49" y="73"/>
                      <a:pt x="48" y="73"/>
                    </a:cubicBezTo>
                    <a:cubicBezTo>
                      <a:pt x="48" y="73"/>
                      <a:pt x="48" y="73"/>
                      <a:pt x="49" y="73"/>
                    </a:cubicBezTo>
                    <a:cubicBezTo>
                      <a:pt x="49" y="74"/>
                      <a:pt x="49" y="74"/>
                      <a:pt x="48" y="74"/>
                    </a:cubicBezTo>
                    <a:cubicBezTo>
                      <a:pt x="48" y="74"/>
                      <a:pt x="48" y="74"/>
                      <a:pt x="48" y="74"/>
                    </a:cubicBezTo>
                    <a:cubicBezTo>
                      <a:pt x="48" y="75"/>
                      <a:pt x="48" y="75"/>
                      <a:pt x="48" y="75"/>
                    </a:cubicBezTo>
                    <a:cubicBezTo>
                      <a:pt x="48" y="75"/>
                      <a:pt x="48" y="75"/>
                      <a:pt x="48" y="75"/>
                    </a:cubicBezTo>
                    <a:cubicBezTo>
                      <a:pt x="48" y="75"/>
                      <a:pt x="48" y="76"/>
                      <a:pt x="48" y="76"/>
                    </a:cubicBezTo>
                    <a:cubicBezTo>
                      <a:pt x="47" y="76"/>
                      <a:pt x="47" y="76"/>
                      <a:pt x="47" y="76"/>
                    </a:cubicBezTo>
                    <a:cubicBezTo>
                      <a:pt x="47" y="76"/>
                      <a:pt x="47" y="77"/>
                      <a:pt x="47" y="77"/>
                    </a:cubicBezTo>
                    <a:cubicBezTo>
                      <a:pt x="47" y="77"/>
                      <a:pt x="47" y="77"/>
                      <a:pt x="47" y="77"/>
                    </a:cubicBezTo>
                    <a:cubicBezTo>
                      <a:pt x="47" y="77"/>
                      <a:pt x="47" y="78"/>
                      <a:pt x="47" y="78"/>
                    </a:cubicBezTo>
                    <a:cubicBezTo>
                      <a:pt x="46" y="78"/>
                      <a:pt x="46" y="78"/>
                      <a:pt x="46" y="78"/>
                    </a:cubicBezTo>
                    <a:cubicBezTo>
                      <a:pt x="47" y="79"/>
                      <a:pt x="47" y="79"/>
                      <a:pt x="46" y="79"/>
                    </a:cubicBezTo>
                    <a:cubicBezTo>
                      <a:pt x="46" y="79"/>
                      <a:pt x="46" y="79"/>
                      <a:pt x="46" y="80"/>
                    </a:cubicBezTo>
                    <a:cubicBezTo>
                      <a:pt x="46" y="80"/>
                      <a:pt x="46" y="80"/>
                      <a:pt x="46" y="80"/>
                    </a:cubicBezTo>
                    <a:cubicBezTo>
                      <a:pt x="46" y="80"/>
                      <a:pt x="46" y="80"/>
                      <a:pt x="46" y="80"/>
                    </a:cubicBezTo>
                    <a:cubicBezTo>
                      <a:pt x="46" y="81"/>
                      <a:pt x="46" y="81"/>
                      <a:pt x="46" y="81"/>
                    </a:cubicBezTo>
                    <a:cubicBezTo>
                      <a:pt x="46" y="81"/>
                      <a:pt x="46" y="82"/>
                      <a:pt x="46" y="82"/>
                    </a:cubicBezTo>
                    <a:cubicBezTo>
                      <a:pt x="46" y="82"/>
                      <a:pt x="46" y="82"/>
                      <a:pt x="46" y="82"/>
                    </a:cubicBezTo>
                    <a:cubicBezTo>
                      <a:pt x="46" y="82"/>
                      <a:pt x="46" y="82"/>
                      <a:pt x="46" y="82"/>
                    </a:cubicBezTo>
                    <a:cubicBezTo>
                      <a:pt x="46" y="82"/>
                      <a:pt x="46" y="82"/>
                      <a:pt x="46" y="82"/>
                    </a:cubicBezTo>
                    <a:close/>
                    <a:moveTo>
                      <a:pt x="53" y="73"/>
                    </a:moveTo>
                    <a:cubicBezTo>
                      <a:pt x="53" y="73"/>
                      <a:pt x="53" y="73"/>
                      <a:pt x="53" y="73"/>
                    </a:cubicBezTo>
                    <a:cubicBezTo>
                      <a:pt x="53" y="73"/>
                      <a:pt x="53" y="73"/>
                      <a:pt x="53" y="73"/>
                    </a:cubicBezTo>
                    <a:cubicBezTo>
                      <a:pt x="53" y="73"/>
                      <a:pt x="54" y="73"/>
                      <a:pt x="54" y="73"/>
                    </a:cubicBezTo>
                    <a:cubicBezTo>
                      <a:pt x="54" y="73"/>
                      <a:pt x="54" y="73"/>
                      <a:pt x="54" y="73"/>
                    </a:cubicBezTo>
                    <a:cubicBezTo>
                      <a:pt x="54" y="72"/>
                      <a:pt x="54" y="72"/>
                      <a:pt x="54" y="72"/>
                    </a:cubicBezTo>
                    <a:cubicBezTo>
                      <a:pt x="54" y="72"/>
                      <a:pt x="54" y="72"/>
                      <a:pt x="54" y="72"/>
                    </a:cubicBezTo>
                    <a:cubicBezTo>
                      <a:pt x="54" y="73"/>
                      <a:pt x="54" y="73"/>
                      <a:pt x="53" y="72"/>
                    </a:cubicBezTo>
                    <a:cubicBezTo>
                      <a:pt x="53" y="72"/>
                      <a:pt x="53" y="72"/>
                      <a:pt x="53" y="72"/>
                    </a:cubicBezTo>
                    <a:cubicBezTo>
                      <a:pt x="53" y="72"/>
                      <a:pt x="53" y="73"/>
                      <a:pt x="53" y="73"/>
                    </a:cubicBezTo>
                    <a:cubicBezTo>
                      <a:pt x="53" y="73"/>
                      <a:pt x="53" y="73"/>
                      <a:pt x="53" y="73"/>
                    </a:cubicBezTo>
                    <a:close/>
                    <a:moveTo>
                      <a:pt x="51" y="76"/>
                    </a:moveTo>
                    <a:cubicBezTo>
                      <a:pt x="51" y="76"/>
                      <a:pt x="51" y="76"/>
                      <a:pt x="51" y="76"/>
                    </a:cubicBezTo>
                    <a:cubicBezTo>
                      <a:pt x="51" y="76"/>
                      <a:pt x="51" y="76"/>
                      <a:pt x="51" y="76"/>
                    </a:cubicBezTo>
                    <a:cubicBezTo>
                      <a:pt x="51" y="76"/>
                      <a:pt x="51" y="76"/>
                      <a:pt x="51" y="76"/>
                    </a:cubicBezTo>
                    <a:cubicBezTo>
                      <a:pt x="51" y="76"/>
                      <a:pt x="51" y="76"/>
                      <a:pt x="51" y="76"/>
                    </a:cubicBezTo>
                    <a:close/>
                    <a:moveTo>
                      <a:pt x="55" y="72"/>
                    </a:moveTo>
                    <a:cubicBezTo>
                      <a:pt x="54" y="72"/>
                      <a:pt x="54" y="72"/>
                      <a:pt x="54" y="72"/>
                    </a:cubicBezTo>
                    <a:cubicBezTo>
                      <a:pt x="54" y="72"/>
                      <a:pt x="54" y="72"/>
                      <a:pt x="54" y="72"/>
                    </a:cubicBezTo>
                    <a:cubicBezTo>
                      <a:pt x="55" y="72"/>
                      <a:pt x="55" y="72"/>
                      <a:pt x="55" y="72"/>
                    </a:cubicBezTo>
                    <a:cubicBezTo>
                      <a:pt x="55" y="72"/>
                      <a:pt x="55" y="71"/>
                      <a:pt x="55" y="72"/>
                    </a:cubicBezTo>
                    <a:close/>
                    <a:moveTo>
                      <a:pt x="48" y="68"/>
                    </a:moveTo>
                    <a:cubicBezTo>
                      <a:pt x="48" y="69"/>
                      <a:pt x="48" y="69"/>
                      <a:pt x="48" y="69"/>
                    </a:cubicBezTo>
                    <a:cubicBezTo>
                      <a:pt x="48" y="69"/>
                      <a:pt x="48" y="69"/>
                      <a:pt x="49" y="69"/>
                    </a:cubicBezTo>
                    <a:cubicBezTo>
                      <a:pt x="49" y="69"/>
                      <a:pt x="49" y="69"/>
                      <a:pt x="49" y="69"/>
                    </a:cubicBezTo>
                    <a:cubicBezTo>
                      <a:pt x="49" y="69"/>
                      <a:pt x="49" y="69"/>
                      <a:pt x="49" y="69"/>
                    </a:cubicBezTo>
                    <a:cubicBezTo>
                      <a:pt x="49" y="68"/>
                      <a:pt x="48" y="68"/>
                      <a:pt x="48" y="68"/>
                    </a:cubicBezTo>
                    <a:close/>
                    <a:moveTo>
                      <a:pt x="50" y="68"/>
                    </a:moveTo>
                    <a:cubicBezTo>
                      <a:pt x="50" y="68"/>
                      <a:pt x="50" y="68"/>
                      <a:pt x="50" y="68"/>
                    </a:cubicBezTo>
                    <a:cubicBezTo>
                      <a:pt x="50" y="68"/>
                      <a:pt x="50" y="68"/>
                      <a:pt x="50" y="68"/>
                    </a:cubicBezTo>
                    <a:cubicBezTo>
                      <a:pt x="50" y="68"/>
                      <a:pt x="50" y="68"/>
                      <a:pt x="50" y="68"/>
                    </a:cubicBezTo>
                    <a:cubicBezTo>
                      <a:pt x="50" y="68"/>
                      <a:pt x="50" y="68"/>
                      <a:pt x="50" y="68"/>
                    </a:cubicBezTo>
                    <a:close/>
                    <a:moveTo>
                      <a:pt x="51" y="48"/>
                    </a:moveTo>
                    <a:cubicBezTo>
                      <a:pt x="52" y="48"/>
                      <a:pt x="52" y="48"/>
                      <a:pt x="52" y="48"/>
                    </a:cubicBezTo>
                    <a:cubicBezTo>
                      <a:pt x="52" y="48"/>
                      <a:pt x="52" y="48"/>
                      <a:pt x="51" y="48"/>
                    </a:cubicBezTo>
                    <a:cubicBezTo>
                      <a:pt x="51" y="48"/>
                      <a:pt x="51" y="48"/>
                      <a:pt x="51" y="48"/>
                    </a:cubicBezTo>
                    <a:cubicBezTo>
                      <a:pt x="51" y="48"/>
                      <a:pt x="51" y="48"/>
                      <a:pt x="51" y="48"/>
                    </a:cubicBezTo>
                    <a:close/>
                    <a:moveTo>
                      <a:pt x="50" y="51"/>
                    </a:moveTo>
                    <a:cubicBezTo>
                      <a:pt x="50" y="51"/>
                      <a:pt x="50" y="51"/>
                      <a:pt x="51" y="51"/>
                    </a:cubicBezTo>
                    <a:cubicBezTo>
                      <a:pt x="51" y="51"/>
                      <a:pt x="51" y="51"/>
                      <a:pt x="51" y="51"/>
                    </a:cubicBezTo>
                    <a:cubicBezTo>
                      <a:pt x="51" y="51"/>
                      <a:pt x="51" y="51"/>
                      <a:pt x="51" y="51"/>
                    </a:cubicBezTo>
                    <a:cubicBezTo>
                      <a:pt x="51" y="51"/>
                      <a:pt x="51" y="51"/>
                      <a:pt x="51" y="51"/>
                    </a:cubicBezTo>
                    <a:cubicBezTo>
                      <a:pt x="52" y="51"/>
                      <a:pt x="52" y="51"/>
                      <a:pt x="52" y="51"/>
                    </a:cubicBezTo>
                    <a:cubicBezTo>
                      <a:pt x="52" y="51"/>
                      <a:pt x="52" y="51"/>
                      <a:pt x="52" y="50"/>
                    </a:cubicBezTo>
                    <a:cubicBezTo>
                      <a:pt x="52" y="50"/>
                      <a:pt x="52" y="50"/>
                      <a:pt x="52" y="50"/>
                    </a:cubicBezTo>
                    <a:cubicBezTo>
                      <a:pt x="52" y="50"/>
                      <a:pt x="52" y="50"/>
                      <a:pt x="52" y="50"/>
                    </a:cubicBezTo>
                    <a:cubicBezTo>
                      <a:pt x="52" y="50"/>
                      <a:pt x="52" y="50"/>
                      <a:pt x="52" y="50"/>
                    </a:cubicBezTo>
                    <a:cubicBezTo>
                      <a:pt x="52" y="50"/>
                      <a:pt x="52" y="50"/>
                      <a:pt x="52" y="50"/>
                    </a:cubicBezTo>
                    <a:cubicBezTo>
                      <a:pt x="52" y="50"/>
                      <a:pt x="52" y="49"/>
                      <a:pt x="52" y="49"/>
                    </a:cubicBezTo>
                    <a:cubicBezTo>
                      <a:pt x="52" y="49"/>
                      <a:pt x="52" y="49"/>
                      <a:pt x="52" y="49"/>
                    </a:cubicBezTo>
                    <a:cubicBezTo>
                      <a:pt x="52" y="49"/>
                      <a:pt x="52" y="49"/>
                      <a:pt x="52" y="49"/>
                    </a:cubicBezTo>
                    <a:cubicBezTo>
                      <a:pt x="52" y="49"/>
                      <a:pt x="52" y="49"/>
                      <a:pt x="52" y="49"/>
                    </a:cubicBezTo>
                    <a:cubicBezTo>
                      <a:pt x="52" y="48"/>
                      <a:pt x="52" y="48"/>
                      <a:pt x="52" y="48"/>
                    </a:cubicBezTo>
                    <a:cubicBezTo>
                      <a:pt x="51" y="48"/>
                      <a:pt x="51" y="48"/>
                      <a:pt x="51" y="48"/>
                    </a:cubicBezTo>
                    <a:cubicBezTo>
                      <a:pt x="51" y="48"/>
                      <a:pt x="51" y="48"/>
                      <a:pt x="51" y="48"/>
                    </a:cubicBezTo>
                    <a:cubicBezTo>
                      <a:pt x="51" y="48"/>
                      <a:pt x="51" y="48"/>
                      <a:pt x="51" y="48"/>
                    </a:cubicBezTo>
                    <a:cubicBezTo>
                      <a:pt x="51" y="47"/>
                      <a:pt x="51" y="47"/>
                      <a:pt x="51" y="47"/>
                    </a:cubicBezTo>
                    <a:cubicBezTo>
                      <a:pt x="50" y="47"/>
                      <a:pt x="50" y="48"/>
                      <a:pt x="50" y="48"/>
                    </a:cubicBezTo>
                    <a:cubicBezTo>
                      <a:pt x="50" y="49"/>
                      <a:pt x="50" y="49"/>
                      <a:pt x="50" y="50"/>
                    </a:cubicBezTo>
                    <a:cubicBezTo>
                      <a:pt x="50" y="50"/>
                      <a:pt x="50" y="50"/>
                      <a:pt x="50" y="50"/>
                    </a:cubicBezTo>
                    <a:cubicBezTo>
                      <a:pt x="49" y="50"/>
                      <a:pt x="49" y="50"/>
                      <a:pt x="49" y="50"/>
                    </a:cubicBezTo>
                    <a:cubicBezTo>
                      <a:pt x="49" y="51"/>
                      <a:pt x="50" y="51"/>
                      <a:pt x="50" y="51"/>
                    </a:cubicBezTo>
                    <a:close/>
                    <a:moveTo>
                      <a:pt x="56" y="84"/>
                    </a:moveTo>
                    <a:cubicBezTo>
                      <a:pt x="56" y="84"/>
                      <a:pt x="57" y="84"/>
                      <a:pt x="57" y="84"/>
                    </a:cubicBezTo>
                    <a:cubicBezTo>
                      <a:pt x="57" y="84"/>
                      <a:pt x="57" y="84"/>
                      <a:pt x="57" y="84"/>
                    </a:cubicBezTo>
                    <a:cubicBezTo>
                      <a:pt x="57" y="84"/>
                      <a:pt x="57" y="83"/>
                      <a:pt x="57" y="83"/>
                    </a:cubicBezTo>
                    <a:cubicBezTo>
                      <a:pt x="57" y="83"/>
                      <a:pt x="56" y="83"/>
                      <a:pt x="56" y="83"/>
                    </a:cubicBezTo>
                    <a:cubicBezTo>
                      <a:pt x="56" y="83"/>
                      <a:pt x="56" y="83"/>
                      <a:pt x="56" y="83"/>
                    </a:cubicBezTo>
                    <a:cubicBezTo>
                      <a:pt x="56" y="84"/>
                      <a:pt x="56" y="84"/>
                      <a:pt x="56" y="84"/>
                    </a:cubicBezTo>
                    <a:close/>
                    <a:moveTo>
                      <a:pt x="48" y="49"/>
                    </a:moveTo>
                    <a:cubicBezTo>
                      <a:pt x="48" y="49"/>
                      <a:pt x="48" y="48"/>
                      <a:pt x="48" y="48"/>
                    </a:cubicBezTo>
                    <a:cubicBezTo>
                      <a:pt x="48" y="48"/>
                      <a:pt x="48" y="48"/>
                      <a:pt x="48" y="48"/>
                    </a:cubicBezTo>
                    <a:cubicBezTo>
                      <a:pt x="48" y="49"/>
                      <a:pt x="48" y="49"/>
                      <a:pt x="48" y="49"/>
                    </a:cubicBezTo>
                    <a:close/>
                    <a:moveTo>
                      <a:pt x="46" y="49"/>
                    </a:moveTo>
                    <a:cubicBezTo>
                      <a:pt x="47" y="49"/>
                      <a:pt x="47" y="49"/>
                      <a:pt x="47" y="48"/>
                    </a:cubicBezTo>
                    <a:cubicBezTo>
                      <a:pt x="47" y="48"/>
                      <a:pt x="46" y="48"/>
                      <a:pt x="46" y="49"/>
                    </a:cubicBezTo>
                    <a:cubicBezTo>
                      <a:pt x="46" y="49"/>
                      <a:pt x="46" y="49"/>
                      <a:pt x="46" y="49"/>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28" y="13"/>
                    </a:moveTo>
                    <a:cubicBezTo>
                      <a:pt x="28" y="13"/>
                      <a:pt x="28" y="13"/>
                      <a:pt x="29" y="13"/>
                    </a:cubicBezTo>
                    <a:cubicBezTo>
                      <a:pt x="29" y="13"/>
                      <a:pt x="29" y="13"/>
                      <a:pt x="29" y="13"/>
                    </a:cubicBezTo>
                    <a:cubicBezTo>
                      <a:pt x="29" y="13"/>
                      <a:pt x="29" y="13"/>
                      <a:pt x="29" y="13"/>
                    </a:cubicBezTo>
                    <a:cubicBezTo>
                      <a:pt x="28" y="13"/>
                      <a:pt x="28" y="13"/>
                      <a:pt x="28" y="13"/>
                    </a:cubicBezTo>
                    <a:cubicBezTo>
                      <a:pt x="28" y="13"/>
                      <a:pt x="28" y="13"/>
                      <a:pt x="28" y="13"/>
                    </a:cubicBezTo>
                    <a:cubicBezTo>
                      <a:pt x="28" y="13"/>
                      <a:pt x="28" y="13"/>
                      <a:pt x="28" y="13"/>
                    </a:cubicBezTo>
                    <a:close/>
                    <a:moveTo>
                      <a:pt x="32" y="13"/>
                    </a:moveTo>
                    <a:cubicBezTo>
                      <a:pt x="32" y="13"/>
                      <a:pt x="32" y="13"/>
                      <a:pt x="32" y="13"/>
                    </a:cubicBezTo>
                    <a:cubicBezTo>
                      <a:pt x="32" y="13"/>
                      <a:pt x="32" y="13"/>
                      <a:pt x="32" y="13"/>
                    </a:cubicBezTo>
                    <a:cubicBezTo>
                      <a:pt x="32" y="12"/>
                      <a:pt x="33" y="12"/>
                      <a:pt x="32" y="12"/>
                    </a:cubicBezTo>
                    <a:cubicBezTo>
                      <a:pt x="32" y="12"/>
                      <a:pt x="32" y="12"/>
                      <a:pt x="32" y="12"/>
                    </a:cubicBezTo>
                    <a:cubicBezTo>
                      <a:pt x="32" y="12"/>
                      <a:pt x="31" y="13"/>
                      <a:pt x="32" y="13"/>
                    </a:cubicBezTo>
                    <a:cubicBezTo>
                      <a:pt x="32" y="13"/>
                      <a:pt x="32" y="13"/>
                      <a:pt x="32" y="13"/>
                    </a:cubicBezTo>
                    <a:cubicBezTo>
                      <a:pt x="31" y="13"/>
                      <a:pt x="31" y="13"/>
                      <a:pt x="31" y="13"/>
                    </a:cubicBezTo>
                    <a:cubicBezTo>
                      <a:pt x="31" y="13"/>
                      <a:pt x="31" y="13"/>
                      <a:pt x="32" y="13"/>
                    </a:cubicBezTo>
                    <a:close/>
                    <a:moveTo>
                      <a:pt x="28" y="10"/>
                    </a:moveTo>
                    <a:cubicBezTo>
                      <a:pt x="28" y="10"/>
                      <a:pt x="28" y="10"/>
                      <a:pt x="29" y="10"/>
                    </a:cubicBezTo>
                    <a:cubicBezTo>
                      <a:pt x="29" y="10"/>
                      <a:pt x="29" y="10"/>
                      <a:pt x="29" y="10"/>
                    </a:cubicBezTo>
                    <a:cubicBezTo>
                      <a:pt x="29" y="10"/>
                      <a:pt x="29" y="10"/>
                      <a:pt x="29" y="10"/>
                    </a:cubicBezTo>
                    <a:cubicBezTo>
                      <a:pt x="29" y="10"/>
                      <a:pt x="29" y="10"/>
                      <a:pt x="29" y="10"/>
                    </a:cubicBezTo>
                    <a:cubicBezTo>
                      <a:pt x="29" y="10"/>
                      <a:pt x="29" y="10"/>
                      <a:pt x="29" y="9"/>
                    </a:cubicBezTo>
                    <a:cubicBezTo>
                      <a:pt x="29" y="9"/>
                      <a:pt x="29" y="9"/>
                      <a:pt x="29" y="9"/>
                    </a:cubicBezTo>
                    <a:cubicBezTo>
                      <a:pt x="29" y="9"/>
                      <a:pt x="29" y="9"/>
                      <a:pt x="28" y="9"/>
                    </a:cubicBezTo>
                    <a:cubicBezTo>
                      <a:pt x="28" y="9"/>
                      <a:pt x="28" y="10"/>
                      <a:pt x="28" y="10"/>
                    </a:cubicBezTo>
                    <a:cubicBezTo>
                      <a:pt x="28" y="10"/>
                      <a:pt x="28" y="10"/>
                      <a:pt x="28" y="10"/>
                    </a:cubicBezTo>
                    <a:close/>
                    <a:moveTo>
                      <a:pt x="27" y="12"/>
                    </a:moveTo>
                    <a:cubicBezTo>
                      <a:pt x="27" y="12"/>
                      <a:pt x="27" y="12"/>
                      <a:pt x="27" y="11"/>
                    </a:cubicBezTo>
                    <a:cubicBezTo>
                      <a:pt x="27" y="11"/>
                      <a:pt x="27" y="11"/>
                      <a:pt x="27" y="11"/>
                    </a:cubicBezTo>
                    <a:cubicBezTo>
                      <a:pt x="27" y="12"/>
                      <a:pt x="27" y="12"/>
                      <a:pt x="27" y="12"/>
                    </a:cubicBezTo>
                    <a:close/>
                    <a:moveTo>
                      <a:pt x="50" y="80"/>
                    </a:moveTo>
                    <a:cubicBezTo>
                      <a:pt x="50" y="80"/>
                      <a:pt x="50" y="81"/>
                      <a:pt x="50" y="81"/>
                    </a:cubicBezTo>
                    <a:cubicBezTo>
                      <a:pt x="50" y="81"/>
                      <a:pt x="50" y="81"/>
                      <a:pt x="50" y="81"/>
                    </a:cubicBezTo>
                    <a:cubicBezTo>
                      <a:pt x="50" y="81"/>
                      <a:pt x="50" y="81"/>
                      <a:pt x="50" y="81"/>
                    </a:cubicBezTo>
                    <a:cubicBezTo>
                      <a:pt x="50" y="81"/>
                      <a:pt x="51" y="81"/>
                      <a:pt x="51" y="81"/>
                    </a:cubicBezTo>
                    <a:cubicBezTo>
                      <a:pt x="51" y="81"/>
                      <a:pt x="51" y="81"/>
                      <a:pt x="51" y="81"/>
                    </a:cubicBezTo>
                    <a:cubicBezTo>
                      <a:pt x="51" y="81"/>
                      <a:pt x="52" y="81"/>
                      <a:pt x="52" y="81"/>
                    </a:cubicBezTo>
                    <a:cubicBezTo>
                      <a:pt x="52" y="81"/>
                      <a:pt x="53" y="81"/>
                      <a:pt x="54" y="80"/>
                    </a:cubicBezTo>
                    <a:cubicBezTo>
                      <a:pt x="54" y="80"/>
                      <a:pt x="54" y="80"/>
                      <a:pt x="54" y="80"/>
                    </a:cubicBezTo>
                    <a:cubicBezTo>
                      <a:pt x="54" y="80"/>
                      <a:pt x="55" y="80"/>
                      <a:pt x="55" y="79"/>
                    </a:cubicBezTo>
                    <a:cubicBezTo>
                      <a:pt x="55" y="79"/>
                      <a:pt x="55" y="79"/>
                      <a:pt x="55" y="79"/>
                    </a:cubicBezTo>
                    <a:cubicBezTo>
                      <a:pt x="55" y="79"/>
                      <a:pt x="55" y="79"/>
                      <a:pt x="55" y="80"/>
                    </a:cubicBezTo>
                    <a:cubicBezTo>
                      <a:pt x="55" y="80"/>
                      <a:pt x="55" y="80"/>
                      <a:pt x="55" y="80"/>
                    </a:cubicBezTo>
                    <a:cubicBezTo>
                      <a:pt x="55" y="79"/>
                      <a:pt x="55" y="79"/>
                      <a:pt x="55" y="79"/>
                    </a:cubicBezTo>
                    <a:cubicBezTo>
                      <a:pt x="56" y="79"/>
                      <a:pt x="56" y="79"/>
                      <a:pt x="55" y="79"/>
                    </a:cubicBezTo>
                    <a:cubicBezTo>
                      <a:pt x="55" y="79"/>
                      <a:pt x="55" y="79"/>
                      <a:pt x="55" y="79"/>
                    </a:cubicBezTo>
                    <a:cubicBezTo>
                      <a:pt x="55" y="79"/>
                      <a:pt x="55" y="79"/>
                      <a:pt x="55" y="78"/>
                    </a:cubicBezTo>
                    <a:cubicBezTo>
                      <a:pt x="55" y="78"/>
                      <a:pt x="55" y="78"/>
                      <a:pt x="55" y="78"/>
                    </a:cubicBezTo>
                    <a:cubicBezTo>
                      <a:pt x="55" y="78"/>
                      <a:pt x="55" y="78"/>
                      <a:pt x="55" y="77"/>
                    </a:cubicBezTo>
                    <a:cubicBezTo>
                      <a:pt x="55" y="77"/>
                      <a:pt x="55" y="77"/>
                      <a:pt x="54" y="77"/>
                    </a:cubicBezTo>
                    <a:cubicBezTo>
                      <a:pt x="54" y="77"/>
                      <a:pt x="54" y="77"/>
                      <a:pt x="54" y="77"/>
                    </a:cubicBezTo>
                    <a:cubicBezTo>
                      <a:pt x="54" y="77"/>
                      <a:pt x="54" y="76"/>
                      <a:pt x="53" y="77"/>
                    </a:cubicBezTo>
                    <a:cubicBezTo>
                      <a:pt x="53" y="76"/>
                      <a:pt x="52" y="76"/>
                      <a:pt x="52" y="77"/>
                    </a:cubicBezTo>
                    <a:cubicBezTo>
                      <a:pt x="52" y="77"/>
                      <a:pt x="52" y="77"/>
                      <a:pt x="52" y="77"/>
                    </a:cubicBezTo>
                    <a:cubicBezTo>
                      <a:pt x="51" y="77"/>
                      <a:pt x="51" y="77"/>
                      <a:pt x="51" y="77"/>
                    </a:cubicBezTo>
                    <a:cubicBezTo>
                      <a:pt x="51" y="77"/>
                      <a:pt x="51" y="77"/>
                      <a:pt x="51" y="77"/>
                    </a:cubicBezTo>
                    <a:cubicBezTo>
                      <a:pt x="51" y="78"/>
                      <a:pt x="51" y="78"/>
                      <a:pt x="51" y="78"/>
                    </a:cubicBezTo>
                    <a:cubicBezTo>
                      <a:pt x="51" y="78"/>
                      <a:pt x="51" y="78"/>
                      <a:pt x="51" y="78"/>
                    </a:cubicBezTo>
                    <a:cubicBezTo>
                      <a:pt x="50" y="78"/>
                      <a:pt x="50" y="79"/>
                      <a:pt x="49" y="79"/>
                    </a:cubicBezTo>
                    <a:cubicBezTo>
                      <a:pt x="49" y="79"/>
                      <a:pt x="49" y="80"/>
                      <a:pt x="49" y="80"/>
                    </a:cubicBezTo>
                    <a:cubicBezTo>
                      <a:pt x="50" y="80"/>
                      <a:pt x="50" y="80"/>
                      <a:pt x="50" y="80"/>
                    </a:cubicBezTo>
                    <a:cubicBezTo>
                      <a:pt x="50" y="80"/>
                      <a:pt x="50" y="80"/>
                      <a:pt x="50" y="80"/>
                    </a:cubicBezTo>
                    <a:cubicBezTo>
                      <a:pt x="50" y="80"/>
                      <a:pt x="50" y="80"/>
                      <a:pt x="50" y="80"/>
                    </a:cubicBezTo>
                    <a:cubicBezTo>
                      <a:pt x="50" y="80"/>
                      <a:pt x="50" y="80"/>
                      <a:pt x="50" y="80"/>
                    </a:cubicBezTo>
                    <a:close/>
                    <a:moveTo>
                      <a:pt x="49" y="81"/>
                    </a:moveTo>
                    <a:cubicBezTo>
                      <a:pt x="50" y="81"/>
                      <a:pt x="50" y="81"/>
                      <a:pt x="50" y="81"/>
                    </a:cubicBezTo>
                    <a:cubicBezTo>
                      <a:pt x="50" y="81"/>
                      <a:pt x="50" y="81"/>
                      <a:pt x="50" y="81"/>
                    </a:cubicBezTo>
                    <a:cubicBezTo>
                      <a:pt x="50" y="81"/>
                      <a:pt x="50" y="81"/>
                      <a:pt x="50" y="80"/>
                    </a:cubicBezTo>
                    <a:cubicBezTo>
                      <a:pt x="50" y="81"/>
                      <a:pt x="49" y="81"/>
                      <a:pt x="49" y="81"/>
                    </a:cubicBezTo>
                    <a:cubicBezTo>
                      <a:pt x="49" y="81"/>
                      <a:pt x="49" y="81"/>
                      <a:pt x="49" y="81"/>
                    </a:cubicBezTo>
                    <a:cubicBezTo>
                      <a:pt x="49" y="81"/>
                      <a:pt x="49" y="81"/>
                      <a:pt x="49" y="81"/>
                    </a:cubicBezTo>
                    <a:close/>
                    <a:moveTo>
                      <a:pt x="55" y="77"/>
                    </a:moveTo>
                    <a:cubicBezTo>
                      <a:pt x="55" y="77"/>
                      <a:pt x="55" y="77"/>
                      <a:pt x="55" y="77"/>
                    </a:cubicBezTo>
                    <a:cubicBezTo>
                      <a:pt x="55" y="77"/>
                      <a:pt x="55" y="77"/>
                      <a:pt x="55" y="77"/>
                    </a:cubicBezTo>
                    <a:cubicBezTo>
                      <a:pt x="55" y="76"/>
                      <a:pt x="55" y="77"/>
                      <a:pt x="55" y="77"/>
                    </a:cubicBezTo>
                    <a:cubicBezTo>
                      <a:pt x="55" y="77"/>
                      <a:pt x="55" y="77"/>
                      <a:pt x="55" y="77"/>
                    </a:cubicBezTo>
                    <a:close/>
                    <a:moveTo>
                      <a:pt x="53" y="76"/>
                    </a:moveTo>
                    <a:cubicBezTo>
                      <a:pt x="53" y="76"/>
                      <a:pt x="53" y="76"/>
                      <a:pt x="53" y="76"/>
                    </a:cubicBezTo>
                    <a:cubicBezTo>
                      <a:pt x="53" y="76"/>
                      <a:pt x="53" y="76"/>
                      <a:pt x="53" y="76"/>
                    </a:cubicBezTo>
                    <a:cubicBezTo>
                      <a:pt x="53" y="76"/>
                      <a:pt x="53" y="76"/>
                      <a:pt x="52" y="76"/>
                    </a:cubicBezTo>
                    <a:cubicBezTo>
                      <a:pt x="52" y="76"/>
                      <a:pt x="52" y="76"/>
                      <a:pt x="52" y="76"/>
                    </a:cubicBezTo>
                    <a:cubicBezTo>
                      <a:pt x="52" y="76"/>
                      <a:pt x="52" y="76"/>
                      <a:pt x="53" y="76"/>
                    </a:cubicBezTo>
                    <a:close/>
                    <a:moveTo>
                      <a:pt x="53" y="65"/>
                    </a:moveTo>
                    <a:cubicBezTo>
                      <a:pt x="53" y="65"/>
                      <a:pt x="53" y="65"/>
                      <a:pt x="53" y="65"/>
                    </a:cubicBezTo>
                    <a:cubicBezTo>
                      <a:pt x="53" y="65"/>
                      <a:pt x="53" y="66"/>
                      <a:pt x="53" y="66"/>
                    </a:cubicBezTo>
                    <a:cubicBezTo>
                      <a:pt x="53" y="66"/>
                      <a:pt x="53" y="66"/>
                      <a:pt x="53" y="66"/>
                    </a:cubicBezTo>
                    <a:cubicBezTo>
                      <a:pt x="53" y="66"/>
                      <a:pt x="53" y="66"/>
                      <a:pt x="53" y="66"/>
                    </a:cubicBezTo>
                    <a:cubicBezTo>
                      <a:pt x="53" y="66"/>
                      <a:pt x="53" y="66"/>
                      <a:pt x="53" y="66"/>
                    </a:cubicBezTo>
                    <a:cubicBezTo>
                      <a:pt x="53" y="66"/>
                      <a:pt x="54" y="66"/>
                      <a:pt x="54" y="66"/>
                    </a:cubicBezTo>
                    <a:cubicBezTo>
                      <a:pt x="54" y="67"/>
                      <a:pt x="54" y="67"/>
                      <a:pt x="54" y="67"/>
                    </a:cubicBezTo>
                    <a:cubicBezTo>
                      <a:pt x="54" y="67"/>
                      <a:pt x="54" y="67"/>
                      <a:pt x="54" y="67"/>
                    </a:cubicBezTo>
                    <a:cubicBezTo>
                      <a:pt x="54" y="67"/>
                      <a:pt x="55" y="67"/>
                      <a:pt x="55" y="66"/>
                    </a:cubicBezTo>
                    <a:cubicBezTo>
                      <a:pt x="55" y="66"/>
                      <a:pt x="55" y="66"/>
                      <a:pt x="55" y="66"/>
                    </a:cubicBezTo>
                    <a:cubicBezTo>
                      <a:pt x="55" y="66"/>
                      <a:pt x="55" y="66"/>
                      <a:pt x="54" y="66"/>
                    </a:cubicBezTo>
                    <a:cubicBezTo>
                      <a:pt x="54" y="66"/>
                      <a:pt x="54" y="66"/>
                      <a:pt x="54" y="65"/>
                    </a:cubicBezTo>
                    <a:cubicBezTo>
                      <a:pt x="54" y="65"/>
                      <a:pt x="53" y="65"/>
                      <a:pt x="53" y="65"/>
                    </a:cubicBezTo>
                    <a:close/>
                    <a:moveTo>
                      <a:pt x="52" y="64"/>
                    </a:moveTo>
                    <a:cubicBezTo>
                      <a:pt x="52" y="64"/>
                      <a:pt x="52" y="64"/>
                      <a:pt x="52" y="64"/>
                    </a:cubicBezTo>
                    <a:cubicBezTo>
                      <a:pt x="52" y="64"/>
                      <a:pt x="52" y="64"/>
                      <a:pt x="52" y="64"/>
                    </a:cubicBezTo>
                    <a:cubicBezTo>
                      <a:pt x="53" y="64"/>
                      <a:pt x="53" y="64"/>
                      <a:pt x="53" y="64"/>
                    </a:cubicBezTo>
                    <a:cubicBezTo>
                      <a:pt x="53" y="64"/>
                      <a:pt x="53" y="64"/>
                      <a:pt x="52" y="64"/>
                    </a:cubicBezTo>
                    <a:close/>
                    <a:moveTo>
                      <a:pt x="28" y="53"/>
                    </a:moveTo>
                    <a:cubicBezTo>
                      <a:pt x="28" y="53"/>
                      <a:pt x="28" y="53"/>
                      <a:pt x="28" y="52"/>
                    </a:cubicBezTo>
                    <a:cubicBezTo>
                      <a:pt x="28" y="52"/>
                      <a:pt x="28" y="52"/>
                      <a:pt x="28" y="52"/>
                    </a:cubicBezTo>
                    <a:cubicBezTo>
                      <a:pt x="28" y="53"/>
                      <a:pt x="28" y="53"/>
                      <a:pt x="28" y="53"/>
                    </a:cubicBezTo>
                    <a:close/>
                    <a:moveTo>
                      <a:pt x="27" y="52"/>
                    </a:moveTo>
                    <a:cubicBezTo>
                      <a:pt x="27" y="52"/>
                      <a:pt x="27" y="52"/>
                      <a:pt x="27" y="52"/>
                    </a:cubicBezTo>
                    <a:cubicBezTo>
                      <a:pt x="27" y="52"/>
                      <a:pt x="27" y="52"/>
                      <a:pt x="27" y="52"/>
                    </a:cubicBezTo>
                    <a:cubicBezTo>
                      <a:pt x="27" y="52"/>
                      <a:pt x="26" y="52"/>
                      <a:pt x="26" y="52"/>
                    </a:cubicBezTo>
                    <a:cubicBezTo>
                      <a:pt x="26" y="52"/>
                      <a:pt x="26" y="52"/>
                      <a:pt x="26" y="52"/>
                    </a:cubicBezTo>
                    <a:cubicBezTo>
                      <a:pt x="27" y="52"/>
                      <a:pt x="27" y="52"/>
                      <a:pt x="27" y="52"/>
                    </a:cubicBezTo>
                    <a:close/>
                    <a:moveTo>
                      <a:pt x="32" y="1"/>
                    </a:move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2" y="0"/>
                      <a:pt x="32" y="0"/>
                    </a:cubicBezTo>
                    <a:cubicBezTo>
                      <a:pt x="32" y="0"/>
                      <a:pt x="32" y="0"/>
                      <a:pt x="32" y="0"/>
                    </a:cubicBezTo>
                    <a:cubicBezTo>
                      <a:pt x="32" y="0"/>
                      <a:pt x="32" y="0"/>
                      <a:pt x="32" y="0"/>
                    </a:cubicBezTo>
                    <a:cubicBezTo>
                      <a:pt x="32" y="0"/>
                      <a:pt x="32" y="0"/>
                      <a:pt x="32" y="0"/>
                    </a:cubicBezTo>
                    <a:cubicBezTo>
                      <a:pt x="32" y="0"/>
                      <a:pt x="32" y="0"/>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lose/>
                    <a:moveTo>
                      <a:pt x="33" y="6"/>
                    </a:moveTo>
                    <a:cubicBezTo>
                      <a:pt x="33" y="6"/>
                      <a:pt x="33" y="6"/>
                      <a:pt x="33" y="6"/>
                    </a:cubicBezTo>
                    <a:cubicBezTo>
                      <a:pt x="33" y="6"/>
                      <a:pt x="33" y="6"/>
                      <a:pt x="33" y="6"/>
                    </a:cubicBezTo>
                    <a:cubicBezTo>
                      <a:pt x="33" y="5"/>
                      <a:pt x="33" y="5"/>
                      <a:pt x="33" y="5"/>
                    </a:cubicBezTo>
                    <a:cubicBezTo>
                      <a:pt x="33" y="5"/>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7"/>
                    </a:cubicBezTo>
                    <a:cubicBezTo>
                      <a:pt x="33" y="7"/>
                      <a:pt x="33" y="7"/>
                      <a:pt x="33" y="7"/>
                    </a:cubicBezTo>
                    <a:cubicBezTo>
                      <a:pt x="33" y="7"/>
                      <a:pt x="33" y="7"/>
                      <a:pt x="33" y="7"/>
                    </a:cubicBezTo>
                    <a:cubicBezTo>
                      <a:pt x="33" y="7"/>
                      <a:pt x="33" y="7"/>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lose/>
                    <a:moveTo>
                      <a:pt x="34" y="5"/>
                    </a:move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5" y="4"/>
                      <a:pt x="34" y="4"/>
                    </a:cubicBezTo>
                    <a:cubicBezTo>
                      <a:pt x="34"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lose/>
                    <a:moveTo>
                      <a:pt x="33" y="6"/>
                    </a:move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2" y="6"/>
                      <a:pt x="33" y="6"/>
                      <a:pt x="32" y="6"/>
                    </a:cubicBezTo>
                    <a:cubicBezTo>
                      <a:pt x="32" y="6"/>
                      <a:pt x="32" y="6"/>
                      <a:pt x="32" y="6"/>
                    </a:cubicBezTo>
                    <a:cubicBezTo>
                      <a:pt x="32" y="6"/>
                      <a:pt x="32" y="6"/>
                      <a:pt x="33" y="6"/>
                    </a:cubicBezTo>
                    <a:close/>
                    <a:moveTo>
                      <a:pt x="34" y="1"/>
                    </a:move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lose/>
                    <a:moveTo>
                      <a:pt x="35" y="103"/>
                    </a:moveTo>
                    <a:cubicBezTo>
                      <a:pt x="35" y="103"/>
                      <a:pt x="35" y="104"/>
                      <a:pt x="35" y="104"/>
                    </a:cubicBezTo>
                    <a:cubicBezTo>
                      <a:pt x="35" y="104"/>
                      <a:pt x="35" y="104"/>
                      <a:pt x="35" y="104"/>
                    </a:cubicBezTo>
                    <a:cubicBezTo>
                      <a:pt x="35" y="104"/>
                      <a:pt x="35" y="104"/>
                      <a:pt x="35" y="104"/>
                    </a:cubicBezTo>
                    <a:cubicBezTo>
                      <a:pt x="35" y="104"/>
                      <a:pt x="35" y="104"/>
                      <a:pt x="35" y="103"/>
                    </a:cubicBezTo>
                    <a:close/>
                    <a:moveTo>
                      <a:pt x="40" y="103"/>
                    </a:moveTo>
                    <a:cubicBezTo>
                      <a:pt x="40" y="103"/>
                      <a:pt x="39" y="103"/>
                      <a:pt x="39" y="103"/>
                    </a:cubicBezTo>
                    <a:cubicBezTo>
                      <a:pt x="39" y="103"/>
                      <a:pt x="39" y="103"/>
                      <a:pt x="39" y="103"/>
                    </a:cubicBezTo>
                    <a:cubicBezTo>
                      <a:pt x="38" y="103"/>
                      <a:pt x="38" y="103"/>
                      <a:pt x="38" y="103"/>
                    </a:cubicBezTo>
                    <a:cubicBezTo>
                      <a:pt x="37" y="103"/>
                      <a:pt x="37" y="103"/>
                      <a:pt x="37" y="103"/>
                    </a:cubicBezTo>
                    <a:cubicBezTo>
                      <a:pt x="37" y="103"/>
                      <a:pt x="37" y="103"/>
                      <a:pt x="37" y="103"/>
                    </a:cubicBezTo>
                    <a:cubicBezTo>
                      <a:pt x="36" y="103"/>
                      <a:pt x="36" y="104"/>
                      <a:pt x="36" y="104"/>
                    </a:cubicBezTo>
                    <a:cubicBezTo>
                      <a:pt x="36" y="104"/>
                      <a:pt x="36" y="104"/>
                      <a:pt x="36" y="104"/>
                    </a:cubicBezTo>
                    <a:cubicBezTo>
                      <a:pt x="37" y="104"/>
                      <a:pt x="37" y="104"/>
                      <a:pt x="37" y="104"/>
                    </a:cubicBezTo>
                    <a:cubicBezTo>
                      <a:pt x="37" y="105"/>
                      <a:pt x="37" y="105"/>
                      <a:pt x="38" y="105"/>
                    </a:cubicBezTo>
                    <a:cubicBezTo>
                      <a:pt x="38" y="105"/>
                      <a:pt x="39" y="105"/>
                      <a:pt x="39" y="105"/>
                    </a:cubicBezTo>
                    <a:cubicBezTo>
                      <a:pt x="39" y="105"/>
                      <a:pt x="39" y="105"/>
                      <a:pt x="39" y="104"/>
                    </a:cubicBezTo>
                    <a:cubicBezTo>
                      <a:pt x="39" y="104"/>
                      <a:pt x="39" y="104"/>
                      <a:pt x="40" y="104"/>
                    </a:cubicBezTo>
                    <a:cubicBezTo>
                      <a:pt x="40" y="104"/>
                      <a:pt x="40" y="104"/>
                      <a:pt x="40" y="104"/>
                    </a:cubicBezTo>
                    <a:cubicBezTo>
                      <a:pt x="40" y="103"/>
                      <a:pt x="40" y="103"/>
                      <a:pt x="40" y="103"/>
                    </a:cubicBezTo>
                    <a:close/>
                    <a:moveTo>
                      <a:pt x="31" y="65"/>
                    </a:moveTo>
                    <a:cubicBezTo>
                      <a:pt x="31" y="65"/>
                      <a:pt x="32" y="65"/>
                      <a:pt x="32" y="65"/>
                    </a:cubicBezTo>
                    <a:cubicBezTo>
                      <a:pt x="32" y="65"/>
                      <a:pt x="32" y="65"/>
                      <a:pt x="32" y="65"/>
                    </a:cubicBezTo>
                    <a:cubicBezTo>
                      <a:pt x="32" y="65"/>
                      <a:pt x="32" y="65"/>
                      <a:pt x="31" y="65"/>
                    </a:cubicBezTo>
                    <a:close/>
                    <a:moveTo>
                      <a:pt x="36" y="75"/>
                    </a:moveTo>
                    <a:cubicBezTo>
                      <a:pt x="36" y="74"/>
                      <a:pt x="36" y="74"/>
                      <a:pt x="36" y="74"/>
                    </a:cubicBezTo>
                    <a:cubicBezTo>
                      <a:pt x="36" y="74"/>
                      <a:pt x="36" y="74"/>
                      <a:pt x="36" y="73"/>
                    </a:cubicBezTo>
                    <a:cubicBezTo>
                      <a:pt x="36" y="73"/>
                      <a:pt x="35" y="73"/>
                      <a:pt x="35" y="73"/>
                    </a:cubicBezTo>
                    <a:cubicBezTo>
                      <a:pt x="35" y="73"/>
                      <a:pt x="36" y="73"/>
                      <a:pt x="36" y="73"/>
                    </a:cubicBezTo>
                    <a:cubicBezTo>
                      <a:pt x="35" y="72"/>
                      <a:pt x="36" y="72"/>
                      <a:pt x="36" y="72"/>
                    </a:cubicBezTo>
                    <a:cubicBezTo>
                      <a:pt x="36" y="72"/>
                      <a:pt x="36" y="72"/>
                      <a:pt x="36" y="71"/>
                    </a:cubicBezTo>
                    <a:cubicBezTo>
                      <a:pt x="36" y="71"/>
                      <a:pt x="36" y="71"/>
                      <a:pt x="36" y="71"/>
                    </a:cubicBezTo>
                    <a:cubicBezTo>
                      <a:pt x="36" y="71"/>
                      <a:pt x="36" y="71"/>
                      <a:pt x="36" y="71"/>
                    </a:cubicBezTo>
                    <a:cubicBezTo>
                      <a:pt x="36" y="71"/>
                      <a:pt x="36" y="71"/>
                      <a:pt x="36" y="70"/>
                    </a:cubicBezTo>
                    <a:cubicBezTo>
                      <a:pt x="36" y="70"/>
                      <a:pt x="36" y="70"/>
                      <a:pt x="36" y="70"/>
                    </a:cubicBezTo>
                    <a:cubicBezTo>
                      <a:pt x="36" y="69"/>
                      <a:pt x="36" y="69"/>
                      <a:pt x="36" y="69"/>
                    </a:cubicBezTo>
                    <a:cubicBezTo>
                      <a:pt x="36" y="69"/>
                      <a:pt x="36" y="69"/>
                      <a:pt x="36" y="69"/>
                    </a:cubicBezTo>
                    <a:cubicBezTo>
                      <a:pt x="36" y="69"/>
                      <a:pt x="36" y="69"/>
                      <a:pt x="36" y="68"/>
                    </a:cubicBezTo>
                    <a:cubicBezTo>
                      <a:pt x="36" y="68"/>
                      <a:pt x="36" y="68"/>
                      <a:pt x="36" y="68"/>
                    </a:cubicBezTo>
                    <a:cubicBezTo>
                      <a:pt x="36" y="68"/>
                      <a:pt x="36" y="68"/>
                      <a:pt x="36" y="68"/>
                    </a:cubicBezTo>
                    <a:cubicBezTo>
                      <a:pt x="36" y="67"/>
                      <a:pt x="36" y="67"/>
                      <a:pt x="36" y="67"/>
                    </a:cubicBezTo>
                    <a:cubicBezTo>
                      <a:pt x="36" y="67"/>
                      <a:pt x="36" y="66"/>
                      <a:pt x="36" y="66"/>
                    </a:cubicBezTo>
                    <a:cubicBezTo>
                      <a:pt x="36" y="66"/>
                      <a:pt x="36" y="66"/>
                      <a:pt x="36" y="66"/>
                    </a:cubicBezTo>
                    <a:cubicBezTo>
                      <a:pt x="36" y="66"/>
                      <a:pt x="36" y="66"/>
                      <a:pt x="36" y="66"/>
                    </a:cubicBezTo>
                    <a:cubicBezTo>
                      <a:pt x="35" y="66"/>
                      <a:pt x="35" y="65"/>
                      <a:pt x="35" y="66"/>
                    </a:cubicBezTo>
                    <a:cubicBezTo>
                      <a:pt x="35" y="66"/>
                      <a:pt x="35" y="66"/>
                      <a:pt x="35" y="66"/>
                    </a:cubicBezTo>
                    <a:cubicBezTo>
                      <a:pt x="35" y="66"/>
                      <a:pt x="34" y="66"/>
                      <a:pt x="35" y="65"/>
                    </a:cubicBezTo>
                    <a:cubicBezTo>
                      <a:pt x="34" y="65"/>
                      <a:pt x="35" y="65"/>
                      <a:pt x="35" y="65"/>
                    </a:cubicBezTo>
                    <a:cubicBezTo>
                      <a:pt x="34" y="65"/>
                      <a:pt x="34" y="64"/>
                      <a:pt x="34" y="64"/>
                    </a:cubicBezTo>
                    <a:cubicBezTo>
                      <a:pt x="34" y="64"/>
                      <a:pt x="35" y="64"/>
                      <a:pt x="35" y="64"/>
                    </a:cubicBezTo>
                    <a:cubicBezTo>
                      <a:pt x="35" y="64"/>
                      <a:pt x="35" y="64"/>
                      <a:pt x="35" y="64"/>
                    </a:cubicBezTo>
                    <a:cubicBezTo>
                      <a:pt x="35" y="64"/>
                      <a:pt x="35" y="64"/>
                      <a:pt x="35" y="64"/>
                    </a:cubicBezTo>
                    <a:cubicBezTo>
                      <a:pt x="35" y="64"/>
                      <a:pt x="35" y="64"/>
                      <a:pt x="35" y="64"/>
                    </a:cubicBezTo>
                    <a:cubicBezTo>
                      <a:pt x="35" y="64"/>
                      <a:pt x="35" y="64"/>
                      <a:pt x="36" y="64"/>
                    </a:cubicBezTo>
                    <a:cubicBezTo>
                      <a:pt x="36" y="64"/>
                      <a:pt x="36" y="64"/>
                      <a:pt x="36" y="64"/>
                    </a:cubicBezTo>
                    <a:cubicBezTo>
                      <a:pt x="36" y="64"/>
                      <a:pt x="36" y="65"/>
                      <a:pt x="36" y="65"/>
                    </a:cubicBezTo>
                    <a:cubicBezTo>
                      <a:pt x="36" y="65"/>
                      <a:pt x="36" y="65"/>
                      <a:pt x="36" y="65"/>
                    </a:cubicBezTo>
                    <a:cubicBezTo>
                      <a:pt x="36" y="65"/>
                      <a:pt x="37" y="65"/>
                      <a:pt x="37" y="65"/>
                    </a:cubicBezTo>
                    <a:cubicBezTo>
                      <a:pt x="37" y="65"/>
                      <a:pt x="37" y="65"/>
                      <a:pt x="37" y="65"/>
                    </a:cubicBezTo>
                    <a:cubicBezTo>
                      <a:pt x="37" y="65"/>
                      <a:pt x="37" y="65"/>
                      <a:pt x="38" y="65"/>
                    </a:cubicBezTo>
                    <a:cubicBezTo>
                      <a:pt x="38" y="65"/>
                      <a:pt x="38" y="65"/>
                      <a:pt x="38" y="65"/>
                    </a:cubicBezTo>
                    <a:cubicBezTo>
                      <a:pt x="38" y="65"/>
                      <a:pt x="38" y="66"/>
                      <a:pt x="38" y="66"/>
                    </a:cubicBezTo>
                    <a:cubicBezTo>
                      <a:pt x="38" y="66"/>
                      <a:pt x="38" y="66"/>
                      <a:pt x="38" y="66"/>
                    </a:cubicBezTo>
                    <a:cubicBezTo>
                      <a:pt x="39" y="66"/>
                      <a:pt x="39" y="66"/>
                      <a:pt x="39" y="66"/>
                    </a:cubicBezTo>
                    <a:cubicBezTo>
                      <a:pt x="39" y="66"/>
                      <a:pt x="39" y="67"/>
                      <a:pt x="39" y="67"/>
                    </a:cubicBezTo>
                    <a:cubicBezTo>
                      <a:pt x="39" y="67"/>
                      <a:pt x="39" y="67"/>
                      <a:pt x="39" y="67"/>
                    </a:cubicBezTo>
                    <a:cubicBezTo>
                      <a:pt x="39" y="67"/>
                      <a:pt x="40" y="67"/>
                      <a:pt x="40" y="67"/>
                    </a:cubicBezTo>
                    <a:cubicBezTo>
                      <a:pt x="40" y="67"/>
                      <a:pt x="40" y="67"/>
                      <a:pt x="40" y="67"/>
                    </a:cubicBezTo>
                    <a:cubicBezTo>
                      <a:pt x="40" y="67"/>
                      <a:pt x="40" y="67"/>
                      <a:pt x="40" y="67"/>
                    </a:cubicBezTo>
                    <a:cubicBezTo>
                      <a:pt x="40" y="67"/>
                      <a:pt x="41" y="67"/>
                      <a:pt x="41" y="67"/>
                    </a:cubicBezTo>
                    <a:cubicBezTo>
                      <a:pt x="41" y="67"/>
                      <a:pt x="41" y="66"/>
                      <a:pt x="41" y="66"/>
                    </a:cubicBezTo>
                    <a:cubicBezTo>
                      <a:pt x="41" y="66"/>
                      <a:pt x="41" y="66"/>
                      <a:pt x="41" y="66"/>
                    </a:cubicBezTo>
                    <a:cubicBezTo>
                      <a:pt x="41" y="66"/>
                      <a:pt x="42" y="66"/>
                      <a:pt x="42" y="66"/>
                    </a:cubicBezTo>
                    <a:cubicBezTo>
                      <a:pt x="42" y="67"/>
                      <a:pt x="42" y="67"/>
                      <a:pt x="42" y="67"/>
                    </a:cubicBezTo>
                    <a:cubicBezTo>
                      <a:pt x="42" y="67"/>
                      <a:pt x="42" y="67"/>
                      <a:pt x="42" y="67"/>
                    </a:cubicBezTo>
                    <a:cubicBezTo>
                      <a:pt x="42" y="67"/>
                      <a:pt x="42" y="67"/>
                      <a:pt x="42" y="67"/>
                    </a:cubicBezTo>
                    <a:cubicBezTo>
                      <a:pt x="43" y="67"/>
                      <a:pt x="43" y="67"/>
                      <a:pt x="44" y="67"/>
                    </a:cubicBezTo>
                    <a:cubicBezTo>
                      <a:pt x="44" y="67"/>
                      <a:pt x="44" y="67"/>
                      <a:pt x="44" y="67"/>
                    </a:cubicBezTo>
                    <a:cubicBezTo>
                      <a:pt x="44" y="66"/>
                      <a:pt x="44" y="66"/>
                      <a:pt x="44" y="66"/>
                    </a:cubicBezTo>
                    <a:cubicBezTo>
                      <a:pt x="44" y="67"/>
                      <a:pt x="44" y="67"/>
                      <a:pt x="44" y="68"/>
                    </a:cubicBezTo>
                    <a:cubicBezTo>
                      <a:pt x="44" y="68"/>
                      <a:pt x="44" y="68"/>
                      <a:pt x="44" y="69"/>
                    </a:cubicBezTo>
                    <a:cubicBezTo>
                      <a:pt x="44" y="69"/>
                      <a:pt x="44" y="69"/>
                      <a:pt x="44" y="69"/>
                    </a:cubicBezTo>
                    <a:cubicBezTo>
                      <a:pt x="44" y="69"/>
                      <a:pt x="44" y="69"/>
                      <a:pt x="44" y="69"/>
                    </a:cubicBezTo>
                    <a:cubicBezTo>
                      <a:pt x="44" y="70"/>
                      <a:pt x="44" y="69"/>
                      <a:pt x="44" y="70"/>
                    </a:cubicBezTo>
                    <a:cubicBezTo>
                      <a:pt x="44" y="70"/>
                      <a:pt x="43" y="70"/>
                      <a:pt x="43" y="70"/>
                    </a:cubicBezTo>
                    <a:cubicBezTo>
                      <a:pt x="43" y="70"/>
                      <a:pt x="43" y="70"/>
                      <a:pt x="43" y="70"/>
                    </a:cubicBezTo>
                    <a:cubicBezTo>
                      <a:pt x="43" y="70"/>
                      <a:pt x="44" y="70"/>
                      <a:pt x="43" y="71"/>
                    </a:cubicBezTo>
                    <a:cubicBezTo>
                      <a:pt x="43" y="71"/>
                      <a:pt x="43" y="71"/>
                      <a:pt x="43" y="70"/>
                    </a:cubicBezTo>
                    <a:cubicBezTo>
                      <a:pt x="43" y="70"/>
                      <a:pt x="43" y="70"/>
                      <a:pt x="43" y="70"/>
                    </a:cubicBezTo>
                    <a:cubicBezTo>
                      <a:pt x="43" y="70"/>
                      <a:pt x="43" y="70"/>
                      <a:pt x="43" y="70"/>
                    </a:cubicBezTo>
                    <a:cubicBezTo>
                      <a:pt x="43" y="71"/>
                      <a:pt x="42" y="71"/>
                      <a:pt x="42" y="71"/>
                    </a:cubicBezTo>
                    <a:cubicBezTo>
                      <a:pt x="42" y="71"/>
                      <a:pt x="42" y="71"/>
                      <a:pt x="42" y="71"/>
                    </a:cubicBezTo>
                    <a:cubicBezTo>
                      <a:pt x="42" y="71"/>
                      <a:pt x="42" y="71"/>
                      <a:pt x="42" y="71"/>
                    </a:cubicBezTo>
                    <a:cubicBezTo>
                      <a:pt x="42" y="71"/>
                      <a:pt x="42" y="71"/>
                      <a:pt x="42" y="71"/>
                    </a:cubicBezTo>
                    <a:cubicBezTo>
                      <a:pt x="42" y="71"/>
                      <a:pt x="42" y="71"/>
                      <a:pt x="42" y="71"/>
                    </a:cubicBezTo>
                    <a:cubicBezTo>
                      <a:pt x="42" y="71"/>
                      <a:pt x="42" y="72"/>
                      <a:pt x="42" y="72"/>
                    </a:cubicBezTo>
                    <a:cubicBezTo>
                      <a:pt x="42" y="73"/>
                      <a:pt x="41"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39" y="73"/>
                    </a:cubicBezTo>
                    <a:cubicBezTo>
                      <a:pt x="39" y="73"/>
                      <a:pt x="39" y="74"/>
                      <a:pt x="38" y="74"/>
                    </a:cubicBezTo>
                    <a:cubicBezTo>
                      <a:pt x="38" y="74"/>
                      <a:pt x="38" y="74"/>
                      <a:pt x="38" y="74"/>
                    </a:cubicBezTo>
                    <a:cubicBezTo>
                      <a:pt x="37" y="74"/>
                      <a:pt x="37" y="74"/>
                      <a:pt x="37" y="74"/>
                    </a:cubicBezTo>
                    <a:cubicBezTo>
                      <a:pt x="37" y="75"/>
                      <a:pt x="37" y="75"/>
                      <a:pt x="36" y="75"/>
                    </a:cubicBezTo>
                    <a:cubicBezTo>
                      <a:pt x="36" y="75"/>
                      <a:pt x="36" y="75"/>
                      <a:pt x="36" y="75"/>
                    </a:cubicBezTo>
                    <a:cubicBezTo>
                      <a:pt x="36" y="76"/>
                      <a:pt x="36" y="76"/>
                      <a:pt x="35" y="75"/>
                    </a:cubicBezTo>
                    <a:cubicBezTo>
                      <a:pt x="35" y="75"/>
                      <a:pt x="35" y="75"/>
                      <a:pt x="35" y="75"/>
                    </a:cubicBezTo>
                    <a:cubicBezTo>
                      <a:pt x="35" y="75"/>
                      <a:pt x="35" y="75"/>
                      <a:pt x="36" y="75"/>
                    </a:cubicBezTo>
                    <a:close/>
                    <a:moveTo>
                      <a:pt x="32" y="65"/>
                    </a:moveTo>
                    <a:cubicBezTo>
                      <a:pt x="32" y="64"/>
                      <a:pt x="32" y="64"/>
                      <a:pt x="32" y="64"/>
                    </a:cubicBezTo>
                    <a:cubicBezTo>
                      <a:pt x="32" y="64"/>
                      <a:pt x="32" y="65"/>
                      <a:pt x="32" y="65"/>
                    </a:cubicBezTo>
                    <a:cubicBezTo>
                      <a:pt x="32" y="65"/>
                      <a:pt x="32" y="65"/>
                      <a:pt x="32" y="65"/>
                    </a:cubicBezTo>
                    <a:close/>
                    <a:moveTo>
                      <a:pt x="31" y="63"/>
                    </a:moveTo>
                    <a:cubicBezTo>
                      <a:pt x="31" y="63"/>
                      <a:pt x="31" y="63"/>
                      <a:pt x="31" y="63"/>
                    </a:cubicBezTo>
                    <a:cubicBezTo>
                      <a:pt x="31" y="63"/>
                      <a:pt x="31" y="63"/>
                      <a:pt x="31" y="63"/>
                    </a:cubicBezTo>
                    <a:cubicBezTo>
                      <a:pt x="31" y="64"/>
                      <a:pt x="31" y="64"/>
                      <a:pt x="31" y="64"/>
                    </a:cubicBezTo>
                    <a:cubicBezTo>
                      <a:pt x="31" y="64"/>
                      <a:pt x="31" y="64"/>
                      <a:pt x="31" y="64"/>
                    </a:cubicBezTo>
                    <a:cubicBezTo>
                      <a:pt x="31" y="64"/>
                      <a:pt x="31" y="64"/>
                      <a:pt x="31" y="64"/>
                    </a:cubicBezTo>
                    <a:cubicBezTo>
                      <a:pt x="31" y="64"/>
                      <a:pt x="31" y="63"/>
                      <a:pt x="31" y="63"/>
                    </a:cubicBezTo>
                    <a:close/>
                    <a:moveTo>
                      <a:pt x="30" y="65"/>
                    </a:moveTo>
                    <a:cubicBezTo>
                      <a:pt x="30" y="65"/>
                      <a:pt x="30" y="65"/>
                      <a:pt x="31" y="65"/>
                    </a:cubicBezTo>
                    <a:cubicBezTo>
                      <a:pt x="31" y="65"/>
                      <a:pt x="31" y="65"/>
                      <a:pt x="30" y="65"/>
                    </a:cubicBezTo>
                    <a:close/>
                    <a:moveTo>
                      <a:pt x="51" y="54"/>
                    </a:moveTo>
                    <a:cubicBezTo>
                      <a:pt x="51" y="54"/>
                      <a:pt x="51" y="54"/>
                      <a:pt x="51" y="54"/>
                    </a:cubicBezTo>
                    <a:cubicBezTo>
                      <a:pt x="51" y="54"/>
                      <a:pt x="50" y="54"/>
                      <a:pt x="50" y="54"/>
                    </a:cubicBezTo>
                    <a:cubicBezTo>
                      <a:pt x="50" y="54"/>
                      <a:pt x="51" y="54"/>
                      <a:pt x="51" y="54"/>
                    </a:cubicBezTo>
                    <a:cubicBezTo>
                      <a:pt x="51" y="54"/>
                      <a:pt x="51" y="54"/>
                      <a:pt x="51" y="54"/>
                    </a:cubicBezTo>
                    <a:close/>
                    <a:moveTo>
                      <a:pt x="49" y="53"/>
                    </a:moveTo>
                    <a:cubicBezTo>
                      <a:pt x="49" y="53"/>
                      <a:pt x="49" y="53"/>
                      <a:pt x="49" y="54"/>
                    </a:cubicBezTo>
                    <a:cubicBezTo>
                      <a:pt x="49" y="54"/>
                      <a:pt x="50" y="54"/>
                      <a:pt x="50" y="53"/>
                    </a:cubicBezTo>
                    <a:cubicBezTo>
                      <a:pt x="50" y="53"/>
                      <a:pt x="49" y="53"/>
                      <a:pt x="49" y="53"/>
                    </a:cubicBezTo>
                    <a:cubicBezTo>
                      <a:pt x="49" y="53"/>
                      <a:pt x="49" y="53"/>
                      <a:pt x="49"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4" name="Freeform 842">
                <a:extLst>
                  <a:ext uri="{FF2B5EF4-FFF2-40B4-BE49-F238E27FC236}">
                    <a16:creationId xmlns:a16="http://schemas.microsoft.com/office/drawing/2014/main" id="{0EC9CF66-1506-E442-C27E-57F674558685}"/>
                  </a:ext>
                </a:extLst>
              </p:cNvPr>
              <p:cNvSpPr>
                <a:spLocks/>
              </p:cNvSpPr>
              <p:nvPr/>
            </p:nvSpPr>
            <p:spPr bwMode="auto">
              <a:xfrm>
                <a:off x="7094538" y="3767138"/>
                <a:ext cx="407987" cy="428625"/>
              </a:xfrm>
              <a:custGeom>
                <a:avLst/>
                <a:gdLst>
                  <a:gd name="T0" fmla="*/ 95 w 98"/>
                  <a:gd name="T1" fmla="*/ 40 h 103"/>
                  <a:gd name="T2" fmla="*/ 92 w 98"/>
                  <a:gd name="T3" fmla="*/ 43 h 103"/>
                  <a:gd name="T4" fmla="*/ 93 w 98"/>
                  <a:gd name="T5" fmla="*/ 46 h 103"/>
                  <a:gd name="T6" fmla="*/ 93 w 98"/>
                  <a:gd name="T7" fmla="*/ 48 h 103"/>
                  <a:gd name="T8" fmla="*/ 85 w 98"/>
                  <a:gd name="T9" fmla="*/ 56 h 103"/>
                  <a:gd name="T10" fmla="*/ 77 w 98"/>
                  <a:gd name="T11" fmla="*/ 66 h 103"/>
                  <a:gd name="T12" fmla="*/ 70 w 98"/>
                  <a:gd name="T13" fmla="*/ 73 h 103"/>
                  <a:gd name="T14" fmla="*/ 66 w 98"/>
                  <a:gd name="T15" fmla="*/ 71 h 103"/>
                  <a:gd name="T16" fmla="*/ 58 w 98"/>
                  <a:gd name="T17" fmla="*/ 79 h 103"/>
                  <a:gd name="T18" fmla="*/ 63 w 98"/>
                  <a:gd name="T19" fmla="*/ 83 h 103"/>
                  <a:gd name="T20" fmla="*/ 63 w 98"/>
                  <a:gd name="T21" fmla="*/ 86 h 103"/>
                  <a:gd name="T22" fmla="*/ 63 w 98"/>
                  <a:gd name="T23" fmla="*/ 89 h 103"/>
                  <a:gd name="T24" fmla="*/ 66 w 98"/>
                  <a:gd name="T25" fmla="*/ 92 h 103"/>
                  <a:gd name="T26" fmla="*/ 69 w 98"/>
                  <a:gd name="T27" fmla="*/ 99 h 103"/>
                  <a:gd name="T28" fmla="*/ 66 w 98"/>
                  <a:gd name="T29" fmla="*/ 100 h 103"/>
                  <a:gd name="T30" fmla="*/ 62 w 98"/>
                  <a:gd name="T31" fmla="*/ 100 h 103"/>
                  <a:gd name="T32" fmla="*/ 60 w 98"/>
                  <a:gd name="T33" fmla="*/ 100 h 103"/>
                  <a:gd name="T34" fmla="*/ 53 w 98"/>
                  <a:gd name="T35" fmla="*/ 102 h 103"/>
                  <a:gd name="T36" fmla="*/ 50 w 98"/>
                  <a:gd name="T37" fmla="*/ 102 h 103"/>
                  <a:gd name="T38" fmla="*/ 46 w 98"/>
                  <a:gd name="T39" fmla="*/ 102 h 103"/>
                  <a:gd name="T40" fmla="*/ 41 w 98"/>
                  <a:gd name="T41" fmla="*/ 95 h 103"/>
                  <a:gd name="T42" fmla="*/ 35 w 98"/>
                  <a:gd name="T43" fmla="*/ 90 h 103"/>
                  <a:gd name="T44" fmla="*/ 26 w 98"/>
                  <a:gd name="T45" fmla="*/ 92 h 103"/>
                  <a:gd name="T46" fmla="*/ 17 w 98"/>
                  <a:gd name="T47" fmla="*/ 92 h 103"/>
                  <a:gd name="T48" fmla="*/ 5 w 98"/>
                  <a:gd name="T49" fmla="*/ 92 h 103"/>
                  <a:gd name="T50" fmla="*/ 7 w 98"/>
                  <a:gd name="T51" fmla="*/ 88 h 103"/>
                  <a:gd name="T52" fmla="*/ 9 w 98"/>
                  <a:gd name="T53" fmla="*/ 83 h 103"/>
                  <a:gd name="T54" fmla="*/ 16 w 98"/>
                  <a:gd name="T55" fmla="*/ 80 h 103"/>
                  <a:gd name="T56" fmla="*/ 13 w 98"/>
                  <a:gd name="T57" fmla="*/ 77 h 103"/>
                  <a:gd name="T58" fmla="*/ 9 w 98"/>
                  <a:gd name="T59" fmla="*/ 68 h 103"/>
                  <a:gd name="T60" fmla="*/ 4 w 98"/>
                  <a:gd name="T61" fmla="*/ 62 h 103"/>
                  <a:gd name="T62" fmla="*/ 14 w 98"/>
                  <a:gd name="T63" fmla="*/ 60 h 103"/>
                  <a:gd name="T64" fmla="*/ 28 w 98"/>
                  <a:gd name="T65" fmla="*/ 60 h 103"/>
                  <a:gd name="T66" fmla="*/ 36 w 98"/>
                  <a:gd name="T67" fmla="*/ 56 h 103"/>
                  <a:gd name="T68" fmla="*/ 37 w 98"/>
                  <a:gd name="T69" fmla="*/ 49 h 103"/>
                  <a:gd name="T70" fmla="*/ 46 w 98"/>
                  <a:gd name="T71" fmla="*/ 46 h 103"/>
                  <a:gd name="T72" fmla="*/ 47 w 98"/>
                  <a:gd name="T73" fmla="*/ 44 h 103"/>
                  <a:gd name="T74" fmla="*/ 51 w 98"/>
                  <a:gd name="T75" fmla="*/ 43 h 103"/>
                  <a:gd name="T76" fmla="*/ 57 w 98"/>
                  <a:gd name="T77" fmla="*/ 41 h 103"/>
                  <a:gd name="T78" fmla="*/ 57 w 98"/>
                  <a:gd name="T79" fmla="*/ 36 h 103"/>
                  <a:gd name="T80" fmla="*/ 62 w 98"/>
                  <a:gd name="T81" fmla="*/ 31 h 103"/>
                  <a:gd name="T82" fmla="*/ 63 w 98"/>
                  <a:gd name="T83" fmla="*/ 27 h 103"/>
                  <a:gd name="T84" fmla="*/ 64 w 98"/>
                  <a:gd name="T85" fmla="*/ 24 h 103"/>
                  <a:gd name="T86" fmla="*/ 67 w 98"/>
                  <a:gd name="T87" fmla="*/ 24 h 103"/>
                  <a:gd name="T88" fmla="*/ 68 w 98"/>
                  <a:gd name="T89" fmla="*/ 21 h 103"/>
                  <a:gd name="T90" fmla="*/ 72 w 98"/>
                  <a:gd name="T91" fmla="*/ 15 h 103"/>
                  <a:gd name="T92" fmla="*/ 72 w 98"/>
                  <a:gd name="T93" fmla="*/ 11 h 103"/>
                  <a:gd name="T94" fmla="*/ 72 w 98"/>
                  <a:gd name="T95" fmla="*/ 4 h 103"/>
                  <a:gd name="T96" fmla="*/ 78 w 98"/>
                  <a:gd name="T97" fmla="*/ 1 h 103"/>
                  <a:gd name="T98" fmla="*/ 87 w 98"/>
                  <a:gd name="T99" fmla="*/ 0 h 103"/>
                  <a:gd name="T100" fmla="*/ 83 w 98"/>
                  <a:gd name="T101" fmla="*/ 2 h 103"/>
                  <a:gd name="T102" fmla="*/ 79 w 98"/>
                  <a:gd name="T103" fmla="*/ 5 h 103"/>
                  <a:gd name="T104" fmla="*/ 83 w 98"/>
                  <a:gd name="T105" fmla="*/ 9 h 103"/>
                  <a:gd name="T106" fmla="*/ 85 w 98"/>
                  <a:gd name="T107" fmla="*/ 11 h 103"/>
                  <a:gd name="T108" fmla="*/ 88 w 98"/>
                  <a:gd name="T109" fmla="*/ 14 h 103"/>
                  <a:gd name="T110" fmla="*/ 87 w 98"/>
                  <a:gd name="T111" fmla="*/ 18 h 103"/>
                  <a:gd name="T112" fmla="*/ 85 w 98"/>
                  <a:gd name="T113" fmla="*/ 22 h 103"/>
                  <a:gd name="T114" fmla="*/ 86 w 98"/>
                  <a:gd name="T115" fmla="*/ 28 h 103"/>
                  <a:gd name="T116" fmla="*/ 89 w 98"/>
                  <a:gd name="T117" fmla="*/ 33 h 103"/>
                  <a:gd name="T118" fmla="*/ 94 w 98"/>
                  <a:gd name="T119" fmla="*/ 34 h 103"/>
                  <a:gd name="T120" fmla="*/ 97 w 98"/>
                  <a:gd name="T121"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03">
                    <a:moveTo>
                      <a:pt x="98" y="38"/>
                    </a:moveTo>
                    <a:cubicBezTo>
                      <a:pt x="97" y="40"/>
                      <a:pt x="97" y="40"/>
                      <a:pt x="97" y="40"/>
                    </a:cubicBezTo>
                    <a:cubicBezTo>
                      <a:pt x="95" y="40"/>
                      <a:pt x="95" y="40"/>
                      <a:pt x="95" y="40"/>
                    </a:cubicBezTo>
                    <a:cubicBezTo>
                      <a:pt x="95" y="40"/>
                      <a:pt x="92" y="42"/>
                      <a:pt x="92" y="42"/>
                    </a:cubicBezTo>
                    <a:cubicBezTo>
                      <a:pt x="92" y="43"/>
                      <a:pt x="92" y="43"/>
                      <a:pt x="92" y="43"/>
                    </a:cubicBezTo>
                    <a:cubicBezTo>
                      <a:pt x="92" y="43"/>
                      <a:pt x="92" y="43"/>
                      <a:pt x="92" y="43"/>
                    </a:cubicBezTo>
                    <a:cubicBezTo>
                      <a:pt x="92" y="43"/>
                      <a:pt x="92" y="43"/>
                      <a:pt x="92" y="43"/>
                    </a:cubicBezTo>
                    <a:cubicBezTo>
                      <a:pt x="93" y="44"/>
                      <a:pt x="93" y="44"/>
                      <a:pt x="93" y="44"/>
                    </a:cubicBezTo>
                    <a:cubicBezTo>
                      <a:pt x="93" y="44"/>
                      <a:pt x="93" y="46"/>
                      <a:pt x="93" y="46"/>
                    </a:cubicBezTo>
                    <a:cubicBezTo>
                      <a:pt x="93" y="46"/>
                      <a:pt x="93" y="46"/>
                      <a:pt x="93" y="46"/>
                    </a:cubicBezTo>
                    <a:cubicBezTo>
                      <a:pt x="92" y="47"/>
                      <a:pt x="92" y="47"/>
                      <a:pt x="92" y="47"/>
                    </a:cubicBezTo>
                    <a:cubicBezTo>
                      <a:pt x="93" y="48"/>
                      <a:pt x="93" y="48"/>
                      <a:pt x="93" y="48"/>
                    </a:cubicBezTo>
                    <a:cubicBezTo>
                      <a:pt x="88" y="52"/>
                      <a:pt x="88" y="52"/>
                      <a:pt x="88" y="52"/>
                    </a:cubicBezTo>
                    <a:cubicBezTo>
                      <a:pt x="88" y="55"/>
                      <a:pt x="88" y="55"/>
                      <a:pt x="88" y="55"/>
                    </a:cubicBezTo>
                    <a:cubicBezTo>
                      <a:pt x="85" y="56"/>
                      <a:pt x="85" y="56"/>
                      <a:pt x="85" y="56"/>
                    </a:cubicBezTo>
                    <a:cubicBezTo>
                      <a:pt x="85" y="56"/>
                      <a:pt x="84" y="58"/>
                      <a:pt x="84" y="59"/>
                    </a:cubicBezTo>
                    <a:cubicBezTo>
                      <a:pt x="83" y="59"/>
                      <a:pt x="82" y="64"/>
                      <a:pt x="82" y="64"/>
                    </a:cubicBezTo>
                    <a:cubicBezTo>
                      <a:pt x="82" y="64"/>
                      <a:pt x="78" y="66"/>
                      <a:pt x="77" y="66"/>
                    </a:cubicBezTo>
                    <a:cubicBezTo>
                      <a:pt x="77" y="67"/>
                      <a:pt x="76" y="68"/>
                      <a:pt x="76" y="68"/>
                    </a:cubicBezTo>
                    <a:cubicBezTo>
                      <a:pt x="76" y="69"/>
                      <a:pt x="75" y="72"/>
                      <a:pt x="75" y="72"/>
                    </a:cubicBezTo>
                    <a:cubicBezTo>
                      <a:pt x="75" y="72"/>
                      <a:pt x="71" y="73"/>
                      <a:pt x="70" y="73"/>
                    </a:cubicBezTo>
                    <a:cubicBezTo>
                      <a:pt x="70" y="73"/>
                      <a:pt x="69" y="73"/>
                      <a:pt x="69" y="73"/>
                    </a:cubicBezTo>
                    <a:cubicBezTo>
                      <a:pt x="67" y="74"/>
                      <a:pt x="67" y="74"/>
                      <a:pt x="67" y="74"/>
                    </a:cubicBezTo>
                    <a:cubicBezTo>
                      <a:pt x="66" y="71"/>
                      <a:pt x="66" y="71"/>
                      <a:pt x="66" y="71"/>
                    </a:cubicBezTo>
                    <a:cubicBezTo>
                      <a:pt x="64" y="71"/>
                      <a:pt x="64" y="71"/>
                      <a:pt x="64" y="71"/>
                    </a:cubicBezTo>
                    <a:cubicBezTo>
                      <a:pt x="64" y="71"/>
                      <a:pt x="61" y="75"/>
                      <a:pt x="61" y="75"/>
                    </a:cubicBezTo>
                    <a:cubicBezTo>
                      <a:pt x="61" y="75"/>
                      <a:pt x="58" y="79"/>
                      <a:pt x="58" y="79"/>
                    </a:cubicBezTo>
                    <a:cubicBezTo>
                      <a:pt x="58" y="81"/>
                      <a:pt x="58" y="81"/>
                      <a:pt x="58" y="81"/>
                    </a:cubicBezTo>
                    <a:cubicBezTo>
                      <a:pt x="58" y="81"/>
                      <a:pt x="60" y="82"/>
                      <a:pt x="60" y="82"/>
                    </a:cubicBezTo>
                    <a:cubicBezTo>
                      <a:pt x="60" y="82"/>
                      <a:pt x="63" y="83"/>
                      <a:pt x="63" y="83"/>
                    </a:cubicBezTo>
                    <a:cubicBezTo>
                      <a:pt x="63" y="83"/>
                      <a:pt x="63" y="84"/>
                      <a:pt x="63" y="85"/>
                    </a:cubicBezTo>
                    <a:cubicBezTo>
                      <a:pt x="63" y="86"/>
                      <a:pt x="63" y="86"/>
                      <a:pt x="63" y="86"/>
                    </a:cubicBezTo>
                    <a:cubicBezTo>
                      <a:pt x="63" y="86"/>
                      <a:pt x="63" y="86"/>
                      <a:pt x="63" y="86"/>
                    </a:cubicBezTo>
                    <a:cubicBezTo>
                      <a:pt x="63" y="87"/>
                      <a:pt x="62" y="87"/>
                      <a:pt x="62" y="88"/>
                    </a:cubicBezTo>
                    <a:cubicBezTo>
                      <a:pt x="62" y="88"/>
                      <a:pt x="62" y="88"/>
                      <a:pt x="62" y="88"/>
                    </a:cubicBezTo>
                    <a:cubicBezTo>
                      <a:pt x="62" y="88"/>
                      <a:pt x="63" y="89"/>
                      <a:pt x="63" y="89"/>
                    </a:cubicBezTo>
                    <a:cubicBezTo>
                      <a:pt x="63" y="89"/>
                      <a:pt x="64" y="89"/>
                      <a:pt x="64" y="89"/>
                    </a:cubicBezTo>
                    <a:cubicBezTo>
                      <a:pt x="66" y="89"/>
                      <a:pt x="66" y="89"/>
                      <a:pt x="66" y="89"/>
                    </a:cubicBezTo>
                    <a:cubicBezTo>
                      <a:pt x="66" y="92"/>
                      <a:pt x="66" y="92"/>
                      <a:pt x="66" y="92"/>
                    </a:cubicBezTo>
                    <a:cubicBezTo>
                      <a:pt x="69" y="97"/>
                      <a:pt x="69" y="97"/>
                      <a:pt x="69" y="97"/>
                    </a:cubicBezTo>
                    <a:cubicBezTo>
                      <a:pt x="69" y="97"/>
                      <a:pt x="69" y="98"/>
                      <a:pt x="69" y="98"/>
                    </a:cubicBezTo>
                    <a:cubicBezTo>
                      <a:pt x="68" y="98"/>
                      <a:pt x="69" y="99"/>
                      <a:pt x="69" y="99"/>
                    </a:cubicBezTo>
                    <a:cubicBezTo>
                      <a:pt x="69" y="99"/>
                      <a:pt x="69" y="99"/>
                      <a:pt x="69" y="99"/>
                    </a:cubicBezTo>
                    <a:cubicBezTo>
                      <a:pt x="69" y="99"/>
                      <a:pt x="67" y="100"/>
                      <a:pt x="67" y="100"/>
                    </a:cubicBezTo>
                    <a:cubicBezTo>
                      <a:pt x="67" y="100"/>
                      <a:pt x="66" y="100"/>
                      <a:pt x="66" y="100"/>
                    </a:cubicBezTo>
                    <a:cubicBezTo>
                      <a:pt x="65" y="99"/>
                      <a:pt x="65" y="99"/>
                      <a:pt x="65" y="99"/>
                    </a:cubicBezTo>
                    <a:cubicBezTo>
                      <a:pt x="65" y="99"/>
                      <a:pt x="64" y="99"/>
                      <a:pt x="64" y="99"/>
                    </a:cubicBezTo>
                    <a:cubicBezTo>
                      <a:pt x="64" y="99"/>
                      <a:pt x="63" y="100"/>
                      <a:pt x="62" y="100"/>
                    </a:cubicBezTo>
                    <a:cubicBezTo>
                      <a:pt x="62" y="100"/>
                      <a:pt x="62" y="100"/>
                      <a:pt x="62" y="100"/>
                    </a:cubicBezTo>
                    <a:cubicBezTo>
                      <a:pt x="60" y="100"/>
                      <a:pt x="60" y="100"/>
                      <a:pt x="60" y="100"/>
                    </a:cubicBezTo>
                    <a:cubicBezTo>
                      <a:pt x="60" y="100"/>
                      <a:pt x="60" y="100"/>
                      <a:pt x="60" y="100"/>
                    </a:cubicBezTo>
                    <a:cubicBezTo>
                      <a:pt x="54" y="100"/>
                      <a:pt x="54" y="100"/>
                      <a:pt x="54" y="100"/>
                    </a:cubicBezTo>
                    <a:cubicBezTo>
                      <a:pt x="54" y="100"/>
                      <a:pt x="53" y="100"/>
                      <a:pt x="53" y="100"/>
                    </a:cubicBezTo>
                    <a:cubicBezTo>
                      <a:pt x="53" y="100"/>
                      <a:pt x="53" y="102"/>
                      <a:pt x="53" y="102"/>
                    </a:cubicBezTo>
                    <a:cubicBezTo>
                      <a:pt x="51" y="102"/>
                      <a:pt x="51" y="102"/>
                      <a:pt x="51" y="102"/>
                    </a:cubicBezTo>
                    <a:cubicBezTo>
                      <a:pt x="51" y="102"/>
                      <a:pt x="51" y="102"/>
                      <a:pt x="51" y="102"/>
                    </a:cubicBezTo>
                    <a:cubicBezTo>
                      <a:pt x="51" y="102"/>
                      <a:pt x="50" y="102"/>
                      <a:pt x="50" y="102"/>
                    </a:cubicBezTo>
                    <a:cubicBezTo>
                      <a:pt x="50" y="102"/>
                      <a:pt x="50" y="103"/>
                      <a:pt x="49" y="103"/>
                    </a:cubicBezTo>
                    <a:cubicBezTo>
                      <a:pt x="49" y="103"/>
                      <a:pt x="49" y="103"/>
                      <a:pt x="49" y="102"/>
                    </a:cubicBezTo>
                    <a:cubicBezTo>
                      <a:pt x="48" y="102"/>
                      <a:pt x="47" y="102"/>
                      <a:pt x="46" y="102"/>
                    </a:cubicBezTo>
                    <a:cubicBezTo>
                      <a:pt x="45" y="102"/>
                      <a:pt x="45" y="101"/>
                      <a:pt x="44" y="100"/>
                    </a:cubicBezTo>
                    <a:cubicBezTo>
                      <a:pt x="44" y="99"/>
                      <a:pt x="44" y="99"/>
                      <a:pt x="44" y="98"/>
                    </a:cubicBezTo>
                    <a:cubicBezTo>
                      <a:pt x="44" y="96"/>
                      <a:pt x="43" y="95"/>
                      <a:pt x="41" y="95"/>
                    </a:cubicBezTo>
                    <a:cubicBezTo>
                      <a:pt x="40" y="95"/>
                      <a:pt x="39" y="95"/>
                      <a:pt x="40" y="93"/>
                    </a:cubicBezTo>
                    <a:cubicBezTo>
                      <a:pt x="40" y="91"/>
                      <a:pt x="39" y="90"/>
                      <a:pt x="37" y="90"/>
                    </a:cubicBezTo>
                    <a:cubicBezTo>
                      <a:pt x="37" y="90"/>
                      <a:pt x="36" y="90"/>
                      <a:pt x="35" y="90"/>
                    </a:cubicBezTo>
                    <a:cubicBezTo>
                      <a:pt x="34" y="91"/>
                      <a:pt x="32" y="91"/>
                      <a:pt x="31" y="91"/>
                    </a:cubicBezTo>
                    <a:cubicBezTo>
                      <a:pt x="30" y="91"/>
                      <a:pt x="29" y="92"/>
                      <a:pt x="28" y="91"/>
                    </a:cubicBezTo>
                    <a:cubicBezTo>
                      <a:pt x="27" y="92"/>
                      <a:pt x="27" y="91"/>
                      <a:pt x="26" y="92"/>
                    </a:cubicBezTo>
                    <a:cubicBezTo>
                      <a:pt x="24" y="93"/>
                      <a:pt x="23" y="91"/>
                      <a:pt x="22" y="90"/>
                    </a:cubicBezTo>
                    <a:cubicBezTo>
                      <a:pt x="21" y="91"/>
                      <a:pt x="19" y="91"/>
                      <a:pt x="18" y="91"/>
                    </a:cubicBezTo>
                    <a:cubicBezTo>
                      <a:pt x="18" y="91"/>
                      <a:pt x="18" y="92"/>
                      <a:pt x="17" y="92"/>
                    </a:cubicBezTo>
                    <a:cubicBezTo>
                      <a:pt x="16" y="92"/>
                      <a:pt x="15" y="92"/>
                      <a:pt x="14" y="92"/>
                    </a:cubicBezTo>
                    <a:cubicBezTo>
                      <a:pt x="12" y="91"/>
                      <a:pt x="10" y="92"/>
                      <a:pt x="8" y="93"/>
                    </a:cubicBezTo>
                    <a:cubicBezTo>
                      <a:pt x="7" y="93"/>
                      <a:pt x="6" y="92"/>
                      <a:pt x="5" y="92"/>
                    </a:cubicBezTo>
                    <a:cubicBezTo>
                      <a:pt x="5" y="92"/>
                      <a:pt x="5" y="92"/>
                      <a:pt x="5" y="92"/>
                    </a:cubicBezTo>
                    <a:cubicBezTo>
                      <a:pt x="5" y="90"/>
                      <a:pt x="5" y="90"/>
                      <a:pt x="5" y="90"/>
                    </a:cubicBezTo>
                    <a:cubicBezTo>
                      <a:pt x="7" y="88"/>
                      <a:pt x="7" y="88"/>
                      <a:pt x="7" y="88"/>
                    </a:cubicBezTo>
                    <a:cubicBezTo>
                      <a:pt x="7" y="85"/>
                      <a:pt x="7" y="85"/>
                      <a:pt x="7" y="85"/>
                    </a:cubicBezTo>
                    <a:cubicBezTo>
                      <a:pt x="9" y="85"/>
                      <a:pt x="9" y="85"/>
                      <a:pt x="9" y="85"/>
                    </a:cubicBezTo>
                    <a:cubicBezTo>
                      <a:pt x="9" y="83"/>
                      <a:pt x="9" y="83"/>
                      <a:pt x="9" y="83"/>
                    </a:cubicBezTo>
                    <a:cubicBezTo>
                      <a:pt x="13" y="83"/>
                      <a:pt x="13" y="83"/>
                      <a:pt x="13" y="83"/>
                    </a:cubicBezTo>
                    <a:cubicBezTo>
                      <a:pt x="15" y="82"/>
                      <a:pt x="15" y="82"/>
                      <a:pt x="15" y="82"/>
                    </a:cubicBezTo>
                    <a:cubicBezTo>
                      <a:pt x="16" y="80"/>
                      <a:pt x="16" y="80"/>
                      <a:pt x="16" y="80"/>
                    </a:cubicBezTo>
                    <a:cubicBezTo>
                      <a:pt x="16" y="79"/>
                      <a:pt x="16" y="79"/>
                      <a:pt x="16" y="79"/>
                    </a:cubicBezTo>
                    <a:cubicBezTo>
                      <a:pt x="15" y="77"/>
                      <a:pt x="15" y="77"/>
                      <a:pt x="15" y="77"/>
                    </a:cubicBezTo>
                    <a:cubicBezTo>
                      <a:pt x="13" y="77"/>
                      <a:pt x="13" y="77"/>
                      <a:pt x="13" y="77"/>
                    </a:cubicBezTo>
                    <a:cubicBezTo>
                      <a:pt x="13" y="70"/>
                      <a:pt x="13" y="70"/>
                      <a:pt x="13" y="70"/>
                    </a:cubicBezTo>
                    <a:cubicBezTo>
                      <a:pt x="11" y="70"/>
                      <a:pt x="11" y="70"/>
                      <a:pt x="11" y="70"/>
                    </a:cubicBezTo>
                    <a:cubicBezTo>
                      <a:pt x="9" y="68"/>
                      <a:pt x="9" y="68"/>
                      <a:pt x="9" y="68"/>
                    </a:cubicBezTo>
                    <a:cubicBezTo>
                      <a:pt x="7" y="67"/>
                      <a:pt x="7" y="67"/>
                      <a:pt x="7" y="67"/>
                    </a:cubicBezTo>
                    <a:cubicBezTo>
                      <a:pt x="4" y="64"/>
                      <a:pt x="4" y="64"/>
                      <a:pt x="4" y="64"/>
                    </a:cubicBezTo>
                    <a:cubicBezTo>
                      <a:pt x="4" y="62"/>
                      <a:pt x="4" y="62"/>
                      <a:pt x="4" y="62"/>
                    </a:cubicBezTo>
                    <a:cubicBezTo>
                      <a:pt x="0" y="57"/>
                      <a:pt x="0" y="57"/>
                      <a:pt x="0" y="57"/>
                    </a:cubicBezTo>
                    <a:cubicBezTo>
                      <a:pt x="11" y="61"/>
                      <a:pt x="11" y="61"/>
                      <a:pt x="11" y="61"/>
                    </a:cubicBezTo>
                    <a:cubicBezTo>
                      <a:pt x="14" y="60"/>
                      <a:pt x="14" y="60"/>
                      <a:pt x="14" y="60"/>
                    </a:cubicBezTo>
                    <a:cubicBezTo>
                      <a:pt x="21" y="61"/>
                      <a:pt x="21" y="61"/>
                      <a:pt x="21" y="61"/>
                    </a:cubicBezTo>
                    <a:cubicBezTo>
                      <a:pt x="24" y="59"/>
                      <a:pt x="24" y="59"/>
                      <a:pt x="24" y="59"/>
                    </a:cubicBezTo>
                    <a:cubicBezTo>
                      <a:pt x="24" y="59"/>
                      <a:pt x="28" y="60"/>
                      <a:pt x="28" y="60"/>
                    </a:cubicBezTo>
                    <a:cubicBezTo>
                      <a:pt x="28" y="60"/>
                      <a:pt x="30" y="59"/>
                      <a:pt x="31" y="59"/>
                    </a:cubicBezTo>
                    <a:cubicBezTo>
                      <a:pt x="31" y="59"/>
                      <a:pt x="37" y="57"/>
                      <a:pt x="37" y="57"/>
                    </a:cubicBezTo>
                    <a:cubicBezTo>
                      <a:pt x="37" y="57"/>
                      <a:pt x="37" y="56"/>
                      <a:pt x="36" y="56"/>
                    </a:cubicBezTo>
                    <a:cubicBezTo>
                      <a:pt x="36" y="55"/>
                      <a:pt x="36" y="53"/>
                      <a:pt x="36" y="53"/>
                    </a:cubicBezTo>
                    <a:cubicBezTo>
                      <a:pt x="36" y="53"/>
                      <a:pt x="37" y="50"/>
                      <a:pt x="37" y="50"/>
                    </a:cubicBezTo>
                    <a:cubicBezTo>
                      <a:pt x="37" y="50"/>
                      <a:pt x="37" y="49"/>
                      <a:pt x="37" y="49"/>
                    </a:cubicBezTo>
                    <a:cubicBezTo>
                      <a:pt x="41" y="46"/>
                      <a:pt x="41" y="46"/>
                      <a:pt x="41" y="46"/>
                    </a:cubicBezTo>
                    <a:cubicBezTo>
                      <a:pt x="41" y="46"/>
                      <a:pt x="42" y="47"/>
                      <a:pt x="43" y="47"/>
                    </a:cubicBezTo>
                    <a:cubicBezTo>
                      <a:pt x="43" y="47"/>
                      <a:pt x="46" y="46"/>
                      <a:pt x="46" y="46"/>
                    </a:cubicBezTo>
                    <a:cubicBezTo>
                      <a:pt x="47" y="46"/>
                      <a:pt x="47" y="46"/>
                      <a:pt x="47" y="46"/>
                    </a:cubicBezTo>
                    <a:cubicBezTo>
                      <a:pt x="45" y="44"/>
                      <a:pt x="45" y="44"/>
                      <a:pt x="45" y="44"/>
                    </a:cubicBezTo>
                    <a:cubicBezTo>
                      <a:pt x="47" y="44"/>
                      <a:pt x="47" y="44"/>
                      <a:pt x="47" y="44"/>
                    </a:cubicBezTo>
                    <a:cubicBezTo>
                      <a:pt x="49" y="42"/>
                      <a:pt x="49" y="42"/>
                      <a:pt x="49" y="42"/>
                    </a:cubicBezTo>
                    <a:cubicBezTo>
                      <a:pt x="49" y="42"/>
                      <a:pt x="50" y="42"/>
                      <a:pt x="51" y="42"/>
                    </a:cubicBezTo>
                    <a:cubicBezTo>
                      <a:pt x="51" y="42"/>
                      <a:pt x="51" y="43"/>
                      <a:pt x="51" y="43"/>
                    </a:cubicBezTo>
                    <a:cubicBezTo>
                      <a:pt x="53" y="42"/>
                      <a:pt x="53" y="42"/>
                      <a:pt x="53" y="42"/>
                    </a:cubicBezTo>
                    <a:cubicBezTo>
                      <a:pt x="55" y="44"/>
                      <a:pt x="55" y="44"/>
                      <a:pt x="55" y="44"/>
                    </a:cubicBezTo>
                    <a:cubicBezTo>
                      <a:pt x="57" y="41"/>
                      <a:pt x="57" y="41"/>
                      <a:pt x="57" y="41"/>
                    </a:cubicBezTo>
                    <a:cubicBezTo>
                      <a:pt x="57" y="39"/>
                      <a:pt x="57" y="39"/>
                      <a:pt x="57" y="39"/>
                    </a:cubicBezTo>
                    <a:cubicBezTo>
                      <a:pt x="57" y="39"/>
                      <a:pt x="57" y="38"/>
                      <a:pt x="57" y="38"/>
                    </a:cubicBezTo>
                    <a:cubicBezTo>
                      <a:pt x="57" y="38"/>
                      <a:pt x="57" y="36"/>
                      <a:pt x="57" y="36"/>
                    </a:cubicBezTo>
                    <a:cubicBezTo>
                      <a:pt x="58" y="35"/>
                      <a:pt x="58" y="35"/>
                      <a:pt x="58" y="35"/>
                    </a:cubicBezTo>
                    <a:cubicBezTo>
                      <a:pt x="58" y="32"/>
                      <a:pt x="58" y="32"/>
                      <a:pt x="58" y="32"/>
                    </a:cubicBezTo>
                    <a:cubicBezTo>
                      <a:pt x="62" y="31"/>
                      <a:pt x="62" y="31"/>
                      <a:pt x="62" y="31"/>
                    </a:cubicBezTo>
                    <a:cubicBezTo>
                      <a:pt x="64" y="30"/>
                      <a:pt x="64" y="30"/>
                      <a:pt x="64" y="30"/>
                    </a:cubicBezTo>
                    <a:cubicBezTo>
                      <a:pt x="64" y="30"/>
                      <a:pt x="64" y="29"/>
                      <a:pt x="64" y="28"/>
                    </a:cubicBezTo>
                    <a:cubicBezTo>
                      <a:pt x="64" y="28"/>
                      <a:pt x="63" y="27"/>
                      <a:pt x="63" y="27"/>
                    </a:cubicBezTo>
                    <a:cubicBezTo>
                      <a:pt x="61" y="25"/>
                      <a:pt x="61" y="25"/>
                      <a:pt x="61" y="25"/>
                    </a:cubicBezTo>
                    <a:cubicBezTo>
                      <a:pt x="61" y="24"/>
                      <a:pt x="61" y="24"/>
                      <a:pt x="61" y="24"/>
                    </a:cubicBezTo>
                    <a:cubicBezTo>
                      <a:pt x="64" y="24"/>
                      <a:pt x="64" y="24"/>
                      <a:pt x="64" y="24"/>
                    </a:cubicBezTo>
                    <a:cubicBezTo>
                      <a:pt x="64" y="25"/>
                      <a:pt x="64" y="25"/>
                      <a:pt x="64" y="25"/>
                    </a:cubicBezTo>
                    <a:cubicBezTo>
                      <a:pt x="66" y="25"/>
                      <a:pt x="66" y="25"/>
                      <a:pt x="66" y="25"/>
                    </a:cubicBezTo>
                    <a:cubicBezTo>
                      <a:pt x="67" y="24"/>
                      <a:pt x="67" y="24"/>
                      <a:pt x="67" y="24"/>
                    </a:cubicBezTo>
                    <a:cubicBezTo>
                      <a:pt x="69" y="24"/>
                      <a:pt x="69" y="24"/>
                      <a:pt x="69" y="24"/>
                    </a:cubicBezTo>
                    <a:cubicBezTo>
                      <a:pt x="70" y="22"/>
                      <a:pt x="70" y="22"/>
                      <a:pt x="70" y="22"/>
                    </a:cubicBezTo>
                    <a:cubicBezTo>
                      <a:pt x="68" y="21"/>
                      <a:pt x="68" y="21"/>
                      <a:pt x="68" y="21"/>
                    </a:cubicBezTo>
                    <a:cubicBezTo>
                      <a:pt x="68" y="20"/>
                      <a:pt x="68" y="20"/>
                      <a:pt x="68" y="20"/>
                    </a:cubicBezTo>
                    <a:cubicBezTo>
                      <a:pt x="68" y="20"/>
                      <a:pt x="71" y="17"/>
                      <a:pt x="71" y="17"/>
                    </a:cubicBezTo>
                    <a:cubicBezTo>
                      <a:pt x="71" y="17"/>
                      <a:pt x="72" y="16"/>
                      <a:pt x="72" y="15"/>
                    </a:cubicBezTo>
                    <a:cubicBezTo>
                      <a:pt x="72" y="15"/>
                      <a:pt x="72" y="14"/>
                      <a:pt x="72" y="13"/>
                    </a:cubicBezTo>
                    <a:cubicBezTo>
                      <a:pt x="72" y="13"/>
                      <a:pt x="72" y="12"/>
                      <a:pt x="72" y="12"/>
                    </a:cubicBezTo>
                    <a:cubicBezTo>
                      <a:pt x="72" y="12"/>
                      <a:pt x="72" y="11"/>
                      <a:pt x="72" y="11"/>
                    </a:cubicBezTo>
                    <a:cubicBezTo>
                      <a:pt x="71" y="8"/>
                      <a:pt x="71" y="8"/>
                      <a:pt x="71" y="8"/>
                    </a:cubicBezTo>
                    <a:cubicBezTo>
                      <a:pt x="70" y="7"/>
                      <a:pt x="70" y="7"/>
                      <a:pt x="70" y="7"/>
                    </a:cubicBezTo>
                    <a:cubicBezTo>
                      <a:pt x="72" y="4"/>
                      <a:pt x="72" y="4"/>
                      <a:pt x="72" y="4"/>
                    </a:cubicBezTo>
                    <a:cubicBezTo>
                      <a:pt x="74" y="4"/>
                      <a:pt x="74" y="4"/>
                      <a:pt x="74" y="4"/>
                    </a:cubicBezTo>
                    <a:cubicBezTo>
                      <a:pt x="74" y="4"/>
                      <a:pt x="74" y="3"/>
                      <a:pt x="74" y="3"/>
                    </a:cubicBezTo>
                    <a:cubicBezTo>
                      <a:pt x="74" y="3"/>
                      <a:pt x="78" y="1"/>
                      <a:pt x="78" y="1"/>
                    </a:cubicBezTo>
                    <a:cubicBezTo>
                      <a:pt x="79" y="0"/>
                      <a:pt x="79" y="0"/>
                      <a:pt x="79" y="0"/>
                    </a:cubicBezTo>
                    <a:cubicBezTo>
                      <a:pt x="85" y="0"/>
                      <a:pt x="85" y="0"/>
                      <a:pt x="85" y="0"/>
                    </a:cubicBezTo>
                    <a:cubicBezTo>
                      <a:pt x="87" y="0"/>
                      <a:pt x="87" y="0"/>
                      <a:pt x="87" y="0"/>
                    </a:cubicBezTo>
                    <a:cubicBezTo>
                      <a:pt x="88" y="0"/>
                      <a:pt x="88" y="0"/>
                      <a:pt x="88" y="0"/>
                    </a:cubicBezTo>
                    <a:cubicBezTo>
                      <a:pt x="87" y="1"/>
                      <a:pt x="87" y="1"/>
                      <a:pt x="87" y="1"/>
                    </a:cubicBezTo>
                    <a:cubicBezTo>
                      <a:pt x="83" y="2"/>
                      <a:pt x="83" y="2"/>
                      <a:pt x="83" y="2"/>
                    </a:cubicBezTo>
                    <a:cubicBezTo>
                      <a:pt x="83" y="2"/>
                      <a:pt x="82" y="3"/>
                      <a:pt x="82" y="4"/>
                    </a:cubicBezTo>
                    <a:cubicBezTo>
                      <a:pt x="82" y="4"/>
                      <a:pt x="81" y="5"/>
                      <a:pt x="80" y="5"/>
                    </a:cubicBezTo>
                    <a:cubicBezTo>
                      <a:pt x="80" y="5"/>
                      <a:pt x="79" y="5"/>
                      <a:pt x="79" y="5"/>
                    </a:cubicBezTo>
                    <a:cubicBezTo>
                      <a:pt x="79" y="7"/>
                      <a:pt x="79" y="7"/>
                      <a:pt x="79" y="7"/>
                    </a:cubicBezTo>
                    <a:cubicBezTo>
                      <a:pt x="80" y="8"/>
                      <a:pt x="80" y="8"/>
                      <a:pt x="80" y="8"/>
                    </a:cubicBezTo>
                    <a:cubicBezTo>
                      <a:pt x="80" y="8"/>
                      <a:pt x="83" y="9"/>
                      <a:pt x="83" y="9"/>
                    </a:cubicBezTo>
                    <a:cubicBezTo>
                      <a:pt x="83" y="9"/>
                      <a:pt x="84" y="10"/>
                      <a:pt x="84" y="11"/>
                    </a:cubicBezTo>
                    <a:cubicBezTo>
                      <a:pt x="84" y="11"/>
                      <a:pt x="84" y="11"/>
                      <a:pt x="84" y="11"/>
                    </a:cubicBezTo>
                    <a:cubicBezTo>
                      <a:pt x="85" y="11"/>
                      <a:pt x="85" y="11"/>
                      <a:pt x="85" y="11"/>
                    </a:cubicBezTo>
                    <a:cubicBezTo>
                      <a:pt x="85" y="11"/>
                      <a:pt x="87" y="12"/>
                      <a:pt x="87" y="12"/>
                    </a:cubicBezTo>
                    <a:cubicBezTo>
                      <a:pt x="87" y="12"/>
                      <a:pt x="88" y="14"/>
                      <a:pt x="88" y="14"/>
                    </a:cubicBezTo>
                    <a:cubicBezTo>
                      <a:pt x="88" y="14"/>
                      <a:pt x="88" y="14"/>
                      <a:pt x="88" y="14"/>
                    </a:cubicBezTo>
                    <a:cubicBezTo>
                      <a:pt x="88" y="14"/>
                      <a:pt x="90" y="16"/>
                      <a:pt x="90" y="16"/>
                    </a:cubicBezTo>
                    <a:cubicBezTo>
                      <a:pt x="92" y="18"/>
                      <a:pt x="92" y="18"/>
                      <a:pt x="92" y="18"/>
                    </a:cubicBezTo>
                    <a:cubicBezTo>
                      <a:pt x="87" y="18"/>
                      <a:pt x="87" y="18"/>
                      <a:pt x="87" y="18"/>
                    </a:cubicBezTo>
                    <a:cubicBezTo>
                      <a:pt x="87" y="18"/>
                      <a:pt x="86" y="19"/>
                      <a:pt x="86" y="19"/>
                    </a:cubicBezTo>
                    <a:cubicBezTo>
                      <a:pt x="86" y="20"/>
                      <a:pt x="85" y="22"/>
                      <a:pt x="85" y="22"/>
                    </a:cubicBezTo>
                    <a:cubicBezTo>
                      <a:pt x="85" y="22"/>
                      <a:pt x="85" y="22"/>
                      <a:pt x="85" y="22"/>
                    </a:cubicBezTo>
                    <a:cubicBezTo>
                      <a:pt x="85" y="22"/>
                      <a:pt x="85" y="24"/>
                      <a:pt x="85" y="24"/>
                    </a:cubicBezTo>
                    <a:cubicBezTo>
                      <a:pt x="86" y="25"/>
                      <a:pt x="86" y="26"/>
                      <a:pt x="86" y="26"/>
                    </a:cubicBezTo>
                    <a:cubicBezTo>
                      <a:pt x="86" y="26"/>
                      <a:pt x="86" y="28"/>
                      <a:pt x="86" y="28"/>
                    </a:cubicBezTo>
                    <a:cubicBezTo>
                      <a:pt x="86" y="29"/>
                      <a:pt x="86" y="30"/>
                      <a:pt x="86" y="30"/>
                    </a:cubicBezTo>
                    <a:cubicBezTo>
                      <a:pt x="86" y="31"/>
                      <a:pt x="87" y="32"/>
                      <a:pt x="87" y="32"/>
                    </a:cubicBezTo>
                    <a:cubicBezTo>
                      <a:pt x="87" y="32"/>
                      <a:pt x="88" y="33"/>
                      <a:pt x="89" y="33"/>
                    </a:cubicBezTo>
                    <a:cubicBezTo>
                      <a:pt x="89" y="33"/>
                      <a:pt x="91" y="34"/>
                      <a:pt x="91" y="34"/>
                    </a:cubicBezTo>
                    <a:cubicBezTo>
                      <a:pt x="91" y="34"/>
                      <a:pt x="92" y="34"/>
                      <a:pt x="92" y="34"/>
                    </a:cubicBezTo>
                    <a:cubicBezTo>
                      <a:pt x="93" y="34"/>
                      <a:pt x="94" y="34"/>
                      <a:pt x="94" y="34"/>
                    </a:cubicBezTo>
                    <a:cubicBezTo>
                      <a:pt x="94" y="37"/>
                      <a:pt x="94" y="37"/>
                      <a:pt x="94" y="37"/>
                    </a:cubicBezTo>
                    <a:cubicBezTo>
                      <a:pt x="95" y="37"/>
                      <a:pt x="95" y="37"/>
                      <a:pt x="95" y="37"/>
                    </a:cubicBezTo>
                    <a:cubicBezTo>
                      <a:pt x="97" y="37"/>
                      <a:pt x="97" y="37"/>
                      <a:pt x="97" y="37"/>
                    </a:cubicBezTo>
                    <a:lnTo>
                      <a:pt x="98" y="3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5" name="Freeform 844">
                <a:extLst>
                  <a:ext uri="{FF2B5EF4-FFF2-40B4-BE49-F238E27FC236}">
                    <a16:creationId xmlns:a16="http://schemas.microsoft.com/office/drawing/2014/main" id="{FA916803-FB9B-BEA2-3AA3-F178C49D51B6}"/>
                  </a:ext>
                </a:extLst>
              </p:cNvPr>
              <p:cNvSpPr>
                <a:spLocks/>
              </p:cNvSpPr>
              <p:nvPr/>
            </p:nvSpPr>
            <p:spPr bwMode="auto">
              <a:xfrm>
                <a:off x="8885238" y="3541713"/>
                <a:ext cx="177800" cy="196850"/>
              </a:xfrm>
              <a:custGeom>
                <a:avLst/>
                <a:gdLst>
                  <a:gd name="T0" fmla="*/ 39 w 43"/>
                  <a:gd name="T1" fmla="*/ 1 h 47"/>
                  <a:gd name="T2" fmla="*/ 38 w 43"/>
                  <a:gd name="T3" fmla="*/ 0 h 47"/>
                  <a:gd name="T4" fmla="*/ 37 w 43"/>
                  <a:gd name="T5" fmla="*/ 2 h 47"/>
                  <a:gd name="T6" fmla="*/ 35 w 43"/>
                  <a:gd name="T7" fmla="*/ 6 h 47"/>
                  <a:gd name="T8" fmla="*/ 34 w 43"/>
                  <a:gd name="T9" fmla="*/ 5 h 47"/>
                  <a:gd name="T10" fmla="*/ 32 w 43"/>
                  <a:gd name="T11" fmla="*/ 8 h 47"/>
                  <a:gd name="T12" fmla="*/ 25 w 43"/>
                  <a:gd name="T13" fmla="*/ 9 h 47"/>
                  <a:gd name="T14" fmla="*/ 27 w 43"/>
                  <a:gd name="T15" fmla="*/ 12 h 47"/>
                  <a:gd name="T16" fmla="*/ 26 w 43"/>
                  <a:gd name="T17" fmla="*/ 14 h 47"/>
                  <a:gd name="T18" fmla="*/ 24 w 43"/>
                  <a:gd name="T19" fmla="*/ 14 h 47"/>
                  <a:gd name="T20" fmla="*/ 17 w 43"/>
                  <a:gd name="T21" fmla="*/ 11 h 47"/>
                  <a:gd name="T22" fmla="*/ 15 w 43"/>
                  <a:gd name="T23" fmla="*/ 13 h 47"/>
                  <a:gd name="T24" fmla="*/ 13 w 43"/>
                  <a:gd name="T25" fmla="*/ 16 h 47"/>
                  <a:gd name="T26" fmla="*/ 10 w 43"/>
                  <a:gd name="T27" fmla="*/ 19 h 47"/>
                  <a:gd name="T28" fmla="*/ 6 w 43"/>
                  <a:gd name="T29" fmla="*/ 22 h 47"/>
                  <a:gd name="T30" fmla="*/ 1 w 43"/>
                  <a:gd name="T31" fmla="*/ 26 h 47"/>
                  <a:gd name="T32" fmla="*/ 1 w 43"/>
                  <a:gd name="T33" fmla="*/ 29 h 47"/>
                  <a:gd name="T34" fmla="*/ 6 w 43"/>
                  <a:gd name="T35" fmla="*/ 31 h 47"/>
                  <a:gd name="T36" fmla="*/ 7 w 43"/>
                  <a:gd name="T37" fmla="*/ 33 h 47"/>
                  <a:gd name="T38" fmla="*/ 6 w 43"/>
                  <a:gd name="T39" fmla="*/ 35 h 47"/>
                  <a:gd name="T40" fmla="*/ 4 w 43"/>
                  <a:gd name="T41" fmla="*/ 41 h 47"/>
                  <a:gd name="T42" fmla="*/ 3 w 43"/>
                  <a:gd name="T43" fmla="*/ 42 h 47"/>
                  <a:gd name="T44" fmla="*/ 3 w 43"/>
                  <a:gd name="T45" fmla="*/ 43 h 47"/>
                  <a:gd name="T46" fmla="*/ 4 w 43"/>
                  <a:gd name="T47" fmla="*/ 44 h 47"/>
                  <a:gd name="T48" fmla="*/ 5 w 43"/>
                  <a:gd name="T49" fmla="*/ 45 h 47"/>
                  <a:gd name="T50" fmla="*/ 8 w 43"/>
                  <a:gd name="T51" fmla="*/ 46 h 47"/>
                  <a:gd name="T52" fmla="*/ 13 w 43"/>
                  <a:gd name="T53" fmla="*/ 46 h 47"/>
                  <a:gd name="T54" fmla="*/ 13 w 43"/>
                  <a:gd name="T55" fmla="*/ 47 h 47"/>
                  <a:gd name="T56" fmla="*/ 15 w 43"/>
                  <a:gd name="T57" fmla="*/ 46 h 47"/>
                  <a:gd name="T58" fmla="*/ 19 w 43"/>
                  <a:gd name="T59" fmla="*/ 42 h 47"/>
                  <a:gd name="T60" fmla="*/ 25 w 43"/>
                  <a:gd name="T61" fmla="*/ 42 h 47"/>
                  <a:gd name="T62" fmla="*/ 26 w 43"/>
                  <a:gd name="T63" fmla="*/ 41 h 47"/>
                  <a:gd name="T64" fmla="*/ 26 w 43"/>
                  <a:gd name="T65" fmla="*/ 38 h 47"/>
                  <a:gd name="T66" fmla="*/ 21 w 43"/>
                  <a:gd name="T67" fmla="*/ 34 h 47"/>
                  <a:gd name="T68" fmla="*/ 21 w 43"/>
                  <a:gd name="T69" fmla="*/ 30 h 47"/>
                  <a:gd name="T70" fmla="*/ 27 w 43"/>
                  <a:gd name="T71" fmla="*/ 26 h 47"/>
                  <a:gd name="T72" fmla="*/ 29 w 43"/>
                  <a:gd name="T73" fmla="*/ 24 h 47"/>
                  <a:gd name="T74" fmla="*/ 35 w 43"/>
                  <a:gd name="T75" fmla="*/ 19 h 47"/>
                  <a:gd name="T76" fmla="*/ 36 w 43"/>
                  <a:gd name="T77" fmla="*/ 15 h 47"/>
                  <a:gd name="T78" fmla="*/ 36 w 43"/>
                  <a:gd name="T79" fmla="*/ 13 h 47"/>
                  <a:gd name="T80" fmla="*/ 41 w 43"/>
                  <a:gd name="T81" fmla="*/ 5 h 47"/>
                  <a:gd name="T82" fmla="*/ 42 w 43"/>
                  <a:gd name="T83" fmla="*/ 6 h 47"/>
                  <a:gd name="T84" fmla="*/ 42 w 43"/>
                  <a:gd name="T85" fmla="*/ 5 h 47"/>
                  <a:gd name="T86" fmla="*/ 42 w 43"/>
                  <a:gd name="T8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47">
                    <a:moveTo>
                      <a:pt x="41" y="3"/>
                    </a:moveTo>
                    <a:cubicBezTo>
                      <a:pt x="39" y="1"/>
                      <a:pt x="39" y="1"/>
                      <a:pt x="39" y="1"/>
                    </a:cubicBezTo>
                    <a:cubicBezTo>
                      <a:pt x="39" y="0"/>
                      <a:pt x="39" y="0"/>
                      <a:pt x="39" y="0"/>
                    </a:cubicBezTo>
                    <a:cubicBezTo>
                      <a:pt x="38" y="0"/>
                      <a:pt x="38" y="0"/>
                      <a:pt x="38" y="0"/>
                    </a:cubicBezTo>
                    <a:cubicBezTo>
                      <a:pt x="38" y="0"/>
                      <a:pt x="38" y="1"/>
                      <a:pt x="38" y="1"/>
                    </a:cubicBezTo>
                    <a:cubicBezTo>
                      <a:pt x="38" y="1"/>
                      <a:pt x="37" y="2"/>
                      <a:pt x="37" y="2"/>
                    </a:cubicBezTo>
                    <a:cubicBezTo>
                      <a:pt x="37" y="2"/>
                      <a:pt x="36" y="5"/>
                      <a:pt x="36" y="5"/>
                    </a:cubicBezTo>
                    <a:cubicBezTo>
                      <a:pt x="35" y="6"/>
                      <a:pt x="35" y="6"/>
                      <a:pt x="35" y="6"/>
                    </a:cubicBezTo>
                    <a:cubicBezTo>
                      <a:pt x="35" y="6"/>
                      <a:pt x="35" y="5"/>
                      <a:pt x="35" y="5"/>
                    </a:cubicBezTo>
                    <a:cubicBezTo>
                      <a:pt x="35" y="5"/>
                      <a:pt x="34" y="5"/>
                      <a:pt x="34" y="5"/>
                    </a:cubicBezTo>
                    <a:cubicBezTo>
                      <a:pt x="34" y="5"/>
                      <a:pt x="33" y="8"/>
                      <a:pt x="32" y="8"/>
                    </a:cubicBezTo>
                    <a:cubicBezTo>
                      <a:pt x="32" y="8"/>
                      <a:pt x="32" y="8"/>
                      <a:pt x="32" y="8"/>
                    </a:cubicBezTo>
                    <a:cubicBezTo>
                      <a:pt x="31" y="8"/>
                      <a:pt x="30" y="9"/>
                      <a:pt x="30" y="9"/>
                    </a:cubicBezTo>
                    <a:cubicBezTo>
                      <a:pt x="25" y="9"/>
                      <a:pt x="25" y="9"/>
                      <a:pt x="25" y="9"/>
                    </a:cubicBezTo>
                    <a:cubicBezTo>
                      <a:pt x="25" y="9"/>
                      <a:pt x="25" y="11"/>
                      <a:pt x="25" y="11"/>
                    </a:cubicBezTo>
                    <a:cubicBezTo>
                      <a:pt x="25" y="11"/>
                      <a:pt x="26" y="12"/>
                      <a:pt x="27" y="12"/>
                    </a:cubicBezTo>
                    <a:cubicBezTo>
                      <a:pt x="27" y="12"/>
                      <a:pt x="27" y="13"/>
                      <a:pt x="27" y="13"/>
                    </a:cubicBezTo>
                    <a:cubicBezTo>
                      <a:pt x="27" y="13"/>
                      <a:pt x="26" y="14"/>
                      <a:pt x="26" y="14"/>
                    </a:cubicBezTo>
                    <a:cubicBezTo>
                      <a:pt x="25" y="15"/>
                      <a:pt x="25" y="15"/>
                      <a:pt x="25" y="15"/>
                    </a:cubicBezTo>
                    <a:cubicBezTo>
                      <a:pt x="24" y="14"/>
                      <a:pt x="24" y="14"/>
                      <a:pt x="24" y="14"/>
                    </a:cubicBezTo>
                    <a:cubicBezTo>
                      <a:pt x="20" y="14"/>
                      <a:pt x="20" y="14"/>
                      <a:pt x="20" y="14"/>
                    </a:cubicBezTo>
                    <a:cubicBezTo>
                      <a:pt x="17" y="11"/>
                      <a:pt x="17" y="11"/>
                      <a:pt x="17" y="11"/>
                    </a:cubicBezTo>
                    <a:cubicBezTo>
                      <a:pt x="17" y="11"/>
                      <a:pt x="17" y="12"/>
                      <a:pt x="17" y="12"/>
                    </a:cubicBezTo>
                    <a:cubicBezTo>
                      <a:pt x="17" y="12"/>
                      <a:pt x="15" y="13"/>
                      <a:pt x="15" y="13"/>
                    </a:cubicBezTo>
                    <a:cubicBezTo>
                      <a:pt x="15" y="13"/>
                      <a:pt x="15" y="15"/>
                      <a:pt x="15" y="15"/>
                    </a:cubicBezTo>
                    <a:cubicBezTo>
                      <a:pt x="15" y="15"/>
                      <a:pt x="13" y="15"/>
                      <a:pt x="13" y="16"/>
                    </a:cubicBezTo>
                    <a:cubicBezTo>
                      <a:pt x="13" y="16"/>
                      <a:pt x="11" y="19"/>
                      <a:pt x="11" y="19"/>
                    </a:cubicBezTo>
                    <a:cubicBezTo>
                      <a:pt x="10" y="19"/>
                      <a:pt x="10" y="19"/>
                      <a:pt x="10" y="19"/>
                    </a:cubicBezTo>
                    <a:cubicBezTo>
                      <a:pt x="8" y="21"/>
                      <a:pt x="8" y="21"/>
                      <a:pt x="8" y="21"/>
                    </a:cubicBezTo>
                    <a:cubicBezTo>
                      <a:pt x="8" y="21"/>
                      <a:pt x="6" y="22"/>
                      <a:pt x="6" y="22"/>
                    </a:cubicBezTo>
                    <a:cubicBezTo>
                      <a:pt x="6" y="22"/>
                      <a:pt x="3" y="24"/>
                      <a:pt x="3" y="25"/>
                    </a:cubicBezTo>
                    <a:cubicBezTo>
                      <a:pt x="2" y="25"/>
                      <a:pt x="1" y="26"/>
                      <a:pt x="1" y="26"/>
                    </a:cubicBezTo>
                    <a:cubicBezTo>
                      <a:pt x="0" y="28"/>
                      <a:pt x="0" y="28"/>
                      <a:pt x="0" y="28"/>
                    </a:cubicBezTo>
                    <a:cubicBezTo>
                      <a:pt x="0" y="28"/>
                      <a:pt x="1" y="28"/>
                      <a:pt x="1" y="29"/>
                    </a:cubicBezTo>
                    <a:cubicBezTo>
                      <a:pt x="2" y="29"/>
                      <a:pt x="2" y="30"/>
                      <a:pt x="3" y="30"/>
                    </a:cubicBezTo>
                    <a:cubicBezTo>
                      <a:pt x="4" y="30"/>
                      <a:pt x="5" y="30"/>
                      <a:pt x="6" y="31"/>
                    </a:cubicBezTo>
                    <a:cubicBezTo>
                      <a:pt x="6" y="31"/>
                      <a:pt x="7" y="32"/>
                      <a:pt x="7" y="32"/>
                    </a:cubicBezTo>
                    <a:cubicBezTo>
                      <a:pt x="7" y="32"/>
                      <a:pt x="7" y="32"/>
                      <a:pt x="7" y="33"/>
                    </a:cubicBezTo>
                    <a:cubicBezTo>
                      <a:pt x="7" y="33"/>
                      <a:pt x="7" y="33"/>
                      <a:pt x="7" y="33"/>
                    </a:cubicBezTo>
                    <a:cubicBezTo>
                      <a:pt x="6" y="34"/>
                      <a:pt x="6" y="34"/>
                      <a:pt x="6" y="35"/>
                    </a:cubicBezTo>
                    <a:cubicBezTo>
                      <a:pt x="5" y="36"/>
                      <a:pt x="5" y="37"/>
                      <a:pt x="6" y="38"/>
                    </a:cubicBezTo>
                    <a:cubicBezTo>
                      <a:pt x="5" y="39"/>
                      <a:pt x="4" y="40"/>
                      <a:pt x="4" y="41"/>
                    </a:cubicBezTo>
                    <a:cubicBezTo>
                      <a:pt x="3" y="41"/>
                      <a:pt x="3" y="42"/>
                      <a:pt x="3" y="42"/>
                    </a:cubicBezTo>
                    <a:cubicBezTo>
                      <a:pt x="3" y="42"/>
                      <a:pt x="3" y="42"/>
                      <a:pt x="3" y="42"/>
                    </a:cubicBezTo>
                    <a:cubicBezTo>
                      <a:pt x="3" y="42"/>
                      <a:pt x="3" y="43"/>
                      <a:pt x="3" y="43"/>
                    </a:cubicBezTo>
                    <a:cubicBezTo>
                      <a:pt x="3" y="43"/>
                      <a:pt x="3" y="43"/>
                      <a:pt x="3" y="43"/>
                    </a:cubicBezTo>
                    <a:cubicBezTo>
                      <a:pt x="3" y="43"/>
                      <a:pt x="3" y="43"/>
                      <a:pt x="3" y="43"/>
                    </a:cubicBezTo>
                    <a:cubicBezTo>
                      <a:pt x="4" y="43"/>
                      <a:pt x="5" y="43"/>
                      <a:pt x="4" y="44"/>
                    </a:cubicBezTo>
                    <a:cubicBezTo>
                      <a:pt x="4" y="44"/>
                      <a:pt x="4" y="44"/>
                      <a:pt x="4" y="44"/>
                    </a:cubicBezTo>
                    <a:cubicBezTo>
                      <a:pt x="4" y="45"/>
                      <a:pt x="5" y="45"/>
                      <a:pt x="5" y="45"/>
                    </a:cubicBezTo>
                    <a:cubicBezTo>
                      <a:pt x="6" y="45"/>
                      <a:pt x="6" y="46"/>
                      <a:pt x="7" y="46"/>
                    </a:cubicBezTo>
                    <a:cubicBezTo>
                      <a:pt x="8" y="46"/>
                      <a:pt x="8" y="46"/>
                      <a:pt x="8" y="46"/>
                    </a:cubicBezTo>
                    <a:cubicBezTo>
                      <a:pt x="9" y="47"/>
                      <a:pt x="11" y="47"/>
                      <a:pt x="12" y="46"/>
                    </a:cubicBezTo>
                    <a:cubicBezTo>
                      <a:pt x="12" y="46"/>
                      <a:pt x="13" y="46"/>
                      <a:pt x="13" y="46"/>
                    </a:cubicBezTo>
                    <a:cubicBezTo>
                      <a:pt x="13" y="46"/>
                      <a:pt x="13" y="46"/>
                      <a:pt x="13" y="46"/>
                    </a:cubicBezTo>
                    <a:cubicBezTo>
                      <a:pt x="13" y="46"/>
                      <a:pt x="13" y="47"/>
                      <a:pt x="13" y="47"/>
                    </a:cubicBezTo>
                    <a:cubicBezTo>
                      <a:pt x="14" y="47"/>
                      <a:pt x="14" y="47"/>
                      <a:pt x="14" y="47"/>
                    </a:cubicBezTo>
                    <a:cubicBezTo>
                      <a:pt x="15" y="47"/>
                      <a:pt x="15" y="46"/>
                      <a:pt x="15" y="46"/>
                    </a:cubicBezTo>
                    <a:cubicBezTo>
                      <a:pt x="16" y="45"/>
                      <a:pt x="17" y="44"/>
                      <a:pt x="18" y="43"/>
                    </a:cubicBezTo>
                    <a:cubicBezTo>
                      <a:pt x="18" y="43"/>
                      <a:pt x="18" y="42"/>
                      <a:pt x="19" y="42"/>
                    </a:cubicBezTo>
                    <a:cubicBezTo>
                      <a:pt x="19" y="42"/>
                      <a:pt x="20" y="42"/>
                      <a:pt x="20" y="42"/>
                    </a:cubicBezTo>
                    <a:cubicBezTo>
                      <a:pt x="22" y="42"/>
                      <a:pt x="23" y="42"/>
                      <a:pt x="25" y="42"/>
                    </a:cubicBezTo>
                    <a:cubicBezTo>
                      <a:pt x="25" y="42"/>
                      <a:pt x="25" y="42"/>
                      <a:pt x="26" y="42"/>
                    </a:cubicBezTo>
                    <a:cubicBezTo>
                      <a:pt x="26" y="42"/>
                      <a:pt x="26" y="41"/>
                      <a:pt x="26" y="41"/>
                    </a:cubicBezTo>
                    <a:cubicBezTo>
                      <a:pt x="27" y="41"/>
                      <a:pt x="27" y="40"/>
                      <a:pt x="27" y="40"/>
                    </a:cubicBezTo>
                    <a:cubicBezTo>
                      <a:pt x="27" y="39"/>
                      <a:pt x="26" y="38"/>
                      <a:pt x="26" y="38"/>
                    </a:cubicBezTo>
                    <a:cubicBezTo>
                      <a:pt x="25" y="37"/>
                      <a:pt x="25" y="37"/>
                      <a:pt x="24" y="37"/>
                    </a:cubicBezTo>
                    <a:cubicBezTo>
                      <a:pt x="23" y="36"/>
                      <a:pt x="22" y="35"/>
                      <a:pt x="21" y="34"/>
                    </a:cubicBezTo>
                    <a:cubicBezTo>
                      <a:pt x="21" y="34"/>
                      <a:pt x="21" y="33"/>
                      <a:pt x="20" y="33"/>
                    </a:cubicBezTo>
                    <a:cubicBezTo>
                      <a:pt x="21" y="32"/>
                      <a:pt x="21" y="31"/>
                      <a:pt x="21" y="30"/>
                    </a:cubicBezTo>
                    <a:cubicBezTo>
                      <a:pt x="21" y="29"/>
                      <a:pt x="21" y="28"/>
                      <a:pt x="22" y="28"/>
                    </a:cubicBezTo>
                    <a:cubicBezTo>
                      <a:pt x="24" y="28"/>
                      <a:pt x="25" y="26"/>
                      <a:pt x="27" y="26"/>
                    </a:cubicBezTo>
                    <a:cubicBezTo>
                      <a:pt x="27" y="26"/>
                      <a:pt x="28" y="26"/>
                      <a:pt x="28" y="25"/>
                    </a:cubicBezTo>
                    <a:cubicBezTo>
                      <a:pt x="28" y="25"/>
                      <a:pt x="28" y="25"/>
                      <a:pt x="29" y="24"/>
                    </a:cubicBezTo>
                    <a:cubicBezTo>
                      <a:pt x="30" y="23"/>
                      <a:pt x="32" y="22"/>
                      <a:pt x="33" y="20"/>
                    </a:cubicBezTo>
                    <a:cubicBezTo>
                      <a:pt x="34" y="20"/>
                      <a:pt x="34" y="20"/>
                      <a:pt x="35" y="19"/>
                    </a:cubicBezTo>
                    <a:cubicBezTo>
                      <a:pt x="36" y="19"/>
                      <a:pt x="36" y="19"/>
                      <a:pt x="36" y="18"/>
                    </a:cubicBezTo>
                    <a:cubicBezTo>
                      <a:pt x="36" y="17"/>
                      <a:pt x="36" y="16"/>
                      <a:pt x="36" y="15"/>
                    </a:cubicBezTo>
                    <a:cubicBezTo>
                      <a:pt x="36" y="15"/>
                      <a:pt x="36" y="15"/>
                      <a:pt x="36" y="14"/>
                    </a:cubicBezTo>
                    <a:cubicBezTo>
                      <a:pt x="36" y="14"/>
                      <a:pt x="36" y="14"/>
                      <a:pt x="36" y="13"/>
                    </a:cubicBezTo>
                    <a:cubicBezTo>
                      <a:pt x="36" y="12"/>
                      <a:pt x="36" y="11"/>
                      <a:pt x="37" y="11"/>
                    </a:cubicBezTo>
                    <a:cubicBezTo>
                      <a:pt x="38" y="9"/>
                      <a:pt x="40" y="7"/>
                      <a:pt x="41" y="5"/>
                    </a:cubicBezTo>
                    <a:cubicBezTo>
                      <a:pt x="42" y="5"/>
                      <a:pt x="42" y="5"/>
                      <a:pt x="42" y="6"/>
                    </a:cubicBezTo>
                    <a:cubicBezTo>
                      <a:pt x="42" y="6"/>
                      <a:pt x="42" y="6"/>
                      <a:pt x="42" y="6"/>
                    </a:cubicBezTo>
                    <a:cubicBezTo>
                      <a:pt x="42" y="6"/>
                      <a:pt x="43" y="6"/>
                      <a:pt x="43" y="6"/>
                    </a:cubicBezTo>
                    <a:cubicBezTo>
                      <a:pt x="43" y="6"/>
                      <a:pt x="42" y="5"/>
                      <a:pt x="42" y="5"/>
                    </a:cubicBezTo>
                    <a:cubicBezTo>
                      <a:pt x="43" y="5"/>
                      <a:pt x="43" y="5"/>
                      <a:pt x="43" y="5"/>
                    </a:cubicBezTo>
                    <a:cubicBezTo>
                      <a:pt x="42" y="4"/>
                      <a:pt x="42" y="4"/>
                      <a:pt x="42" y="4"/>
                    </a:cubicBezTo>
                    <a:lnTo>
                      <a:pt x="4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6" name="Freeform 845">
                <a:extLst>
                  <a:ext uri="{FF2B5EF4-FFF2-40B4-BE49-F238E27FC236}">
                    <a16:creationId xmlns:a16="http://schemas.microsoft.com/office/drawing/2014/main" id="{353A1821-7157-9827-A980-0A581E31584F}"/>
                  </a:ext>
                </a:extLst>
              </p:cNvPr>
              <p:cNvSpPr>
                <a:spLocks/>
              </p:cNvSpPr>
              <p:nvPr/>
            </p:nvSpPr>
            <p:spPr bwMode="auto">
              <a:xfrm>
                <a:off x="7635875" y="3987800"/>
                <a:ext cx="228600" cy="130175"/>
              </a:xfrm>
              <a:custGeom>
                <a:avLst/>
                <a:gdLst>
                  <a:gd name="T0" fmla="*/ 2 w 55"/>
                  <a:gd name="T1" fmla="*/ 9 h 31"/>
                  <a:gd name="T2" fmla="*/ 0 w 55"/>
                  <a:gd name="T3" fmla="*/ 12 h 31"/>
                  <a:gd name="T4" fmla="*/ 10 w 55"/>
                  <a:gd name="T5" fmla="*/ 18 h 31"/>
                  <a:gd name="T6" fmla="*/ 13 w 55"/>
                  <a:gd name="T7" fmla="*/ 19 h 31"/>
                  <a:gd name="T8" fmla="*/ 16 w 55"/>
                  <a:gd name="T9" fmla="*/ 21 h 31"/>
                  <a:gd name="T10" fmla="*/ 18 w 55"/>
                  <a:gd name="T11" fmla="*/ 22 h 31"/>
                  <a:gd name="T12" fmla="*/ 22 w 55"/>
                  <a:gd name="T13" fmla="*/ 24 h 31"/>
                  <a:gd name="T14" fmla="*/ 25 w 55"/>
                  <a:gd name="T15" fmla="*/ 24 h 31"/>
                  <a:gd name="T16" fmla="*/ 27 w 55"/>
                  <a:gd name="T17" fmla="*/ 22 h 31"/>
                  <a:gd name="T18" fmla="*/ 31 w 55"/>
                  <a:gd name="T19" fmla="*/ 24 h 31"/>
                  <a:gd name="T20" fmla="*/ 34 w 55"/>
                  <a:gd name="T21" fmla="*/ 28 h 31"/>
                  <a:gd name="T22" fmla="*/ 37 w 55"/>
                  <a:gd name="T23" fmla="*/ 27 h 31"/>
                  <a:gd name="T24" fmla="*/ 39 w 55"/>
                  <a:gd name="T25" fmla="*/ 29 h 31"/>
                  <a:gd name="T26" fmla="*/ 43 w 55"/>
                  <a:gd name="T27" fmla="*/ 29 h 31"/>
                  <a:gd name="T28" fmla="*/ 46 w 55"/>
                  <a:gd name="T29" fmla="*/ 31 h 31"/>
                  <a:gd name="T30" fmla="*/ 48 w 55"/>
                  <a:gd name="T31" fmla="*/ 31 h 31"/>
                  <a:gd name="T32" fmla="*/ 50 w 55"/>
                  <a:gd name="T33" fmla="*/ 31 h 31"/>
                  <a:gd name="T34" fmla="*/ 52 w 55"/>
                  <a:gd name="T35" fmla="*/ 31 h 31"/>
                  <a:gd name="T36" fmla="*/ 54 w 55"/>
                  <a:gd name="T37" fmla="*/ 31 h 31"/>
                  <a:gd name="T38" fmla="*/ 54 w 55"/>
                  <a:gd name="T39" fmla="*/ 26 h 31"/>
                  <a:gd name="T40" fmla="*/ 55 w 55"/>
                  <a:gd name="T41" fmla="*/ 21 h 31"/>
                  <a:gd name="T42" fmla="*/ 53 w 55"/>
                  <a:gd name="T43" fmla="*/ 19 h 31"/>
                  <a:gd name="T44" fmla="*/ 48 w 55"/>
                  <a:gd name="T45" fmla="*/ 20 h 31"/>
                  <a:gd name="T46" fmla="*/ 43 w 55"/>
                  <a:gd name="T47" fmla="*/ 18 h 31"/>
                  <a:gd name="T48" fmla="*/ 41 w 55"/>
                  <a:gd name="T49" fmla="*/ 18 h 31"/>
                  <a:gd name="T50" fmla="*/ 39 w 55"/>
                  <a:gd name="T51" fmla="*/ 17 h 31"/>
                  <a:gd name="T52" fmla="*/ 34 w 55"/>
                  <a:gd name="T53" fmla="*/ 16 h 31"/>
                  <a:gd name="T54" fmla="*/ 33 w 55"/>
                  <a:gd name="T55" fmla="*/ 14 h 31"/>
                  <a:gd name="T56" fmla="*/ 28 w 55"/>
                  <a:gd name="T57" fmla="*/ 12 h 31"/>
                  <a:gd name="T58" fmla="*/ 28 w 55"/>
                  <a:gd name="T59" fmla="*/ 9 h 31"/>
                  <a:gd name="T60" fmla="*/ 26 w 55"/>
                  <a:gd name="T61" fmla="*/ 9 h 31"/>
                  <a:gd name="T62" fmla="*/ 23 w 55"/>
                  <a:gd name="T63" fmla="*/ 9 h 31"/>
                  <a:gd name="T64" fmla="*/ 21 w 55"/>
                  <a:gd name="T65" fmla="*/ 6 h 31"/>
                  <a:gd name="T66" fmla="*/ 18 w 55"/>
                  <a:gd name="T67" fmla="*/ 5 h 31"/>
                  <a:gd name="T68" fmla="*/ 15 w 55"/>
                  <a:gd name="T69" fmla="*/ 3 h 31"/>
                  <a:gd name="T70" fmla="*/ 14 w 55"/>
                  <a:gd name="T71" fmla="*/ 1 h 31"/>
                  <a:gd name="T72" fmla="*/ 12 w 55"/>
                  <a:gd name="T73" fmla="*/ 0 h 31"/>
                  <a:gd name="T74" fmla="*/ 9 w 55"/>
                  <a:gd name="T75" fmla="*/ 2 h 31"/>
                  <a:gd name="T76" fmla="*/ 7 w 55"/>
                  <a:gd name="T77" fmla="*/ 3 h 31"/>
                  <a:gd name="T78" fmla="*/ 3 w 55"/>
                  <a:gd name="T7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31">
                    <a:moveTo>
                      <a:pt x="2" y="5"/>
                    </a:moveTo>
                    <a:cubicBezTo>
                      <a:pt x="2" y="9"/>
                      <a:pt x="2" y="9"/>
                      <a:pt x="2" y="9"/>
                    </a:cubicBezTo>
                    <a:cubicBezTo>
                      <a:pt x="0" y="10"/>
                      <a:pt x="0" y="10"/>
                      <a:pt x="0" y="10"/>
                    </a:cubicBezTo>
                    <a:cubicBezTo>
                      <a:pt x="0" y="12"/>
                      <a:pt x="0" y="12"/>
                      <a:pt x="0" y="12"/>
                    </a:cubicBezTo>
                    <a:cubicBezTo>
                      <a:pt x="2" y="14"/>
                      <a:pt x="2" y="14"/>
                      <a:pt x="2" y="14"/>
                    </a:cubicBezTo>
                    <a:cubicBezTo>
                      <a:pt x="10" y="18"/>
                      <a:pt x="10" y="18"/>
                      <a:pt x="10" y="18"/>
                    </a:cubicBezTo>
                    <a:cubicBezTo>
                      <a:pt x="12" y="19"/>
                      <a:pt x="12" y="19"/>
                      <a:pt x="12" y="19"/>
                    </a:cubicBezTo>
                    <a:cubicBezTo>
                      <a:pt x="13" y="19"/>
                      <a:pt x="13" y="19"/>
                      <a:pt x="13" y="19"/>
                    </a:cubicBezTo>
                    <a:cubicBezTo>
                      <a:pt x="16" y="21"/>
                      <a:pt x="16" y="21"/>
                      <a:pt x="16" y="21"/>
                    </a:cubicBezTo>
                    <a:cubicBezTo>
                      <a:pt x="16" y="21"/>
                      <a:pt x="16" y="21"/>
                      <a:pt x="16" y="21"/>
                    </a:cubicBezTo>
                    <a:cubicBezTo>
                      <a:pt x="18" y="21"/>
                      <a:pt x="18" y="21"/>
                      <a:pt x="18" y="21"/>
                    </a:cubicBezTo>
                    <a:cubicBezTo>
                      <a:pt x="18" y="22"/>
                      <a:pt x="18" y="22"/>
                      <a:pt x="18" y="22"/>
                    </a:cubicBezTo>
                    <a:cubicBezTo>
                      <a:pt x="21" y="23"/>
                      <a:pt x="21" y="23"/>
                      <a:pt x="21" y="23"/>
                    </a:cubicBezTo>
                    <a:cubicBezTo>
                      <a:pt x="22" y="24"/>
                      <a:pt x="22" y="24"/>
                      <a:pt x="22" y="24"/>
                    </a:cubicBezTo>
                    <a:cubicBezTo>
                      <a:pt x="23" y="23"/>
                      <a:pt x="23" y="23"/>
                      <a:pt x="23" y="23"/>
                    </a:cubicBezTo>
                    <a:cubicBezTo>
                      <a:pt x="23" y="23"/>
                      <a:pt x="25" y="24"/>
                      <a:pt x="25" y="24"/>
                    </a:cubicBezTo>
                    <a:cubicBezTo>
                      <a:pt x="25" y="24"/>
                      <a:pt x="26" y="23"/>
                      <a:pt x="26" y="23"/>
                    </a:cubicBezTo>
                    <a:cubicBezTo>
                      <a:pt x="27" y="22"/>
                      <a:pt x="27" y="22"/>
                      <a:pt x="27" y="22"/>
                    </a:cubicBezTo>
                    <a:cubicBezTo>
                      <a:pt x="27" y="22"/>
                      <a:pt x="29" y="23"/>
                      <a:pt x="29" y="23"/>
                    </a:cubicBezTo>
                    <a:cubicBezTo>
                      <a:pt x="29" y="23"/>
                      <a:pt x="31" y="24"/>
                      <a:pt x="31" y="24"/>
                    </a:cubicBezTo>
                    <a:cubicBezTo>
                      <a:pt x="31" y="26"/>
                      <a:pt x="31" y="26"/>
                      <a:pt x="31" y="26"/>
                    </a:cubicBezTo>
                    <a:cubicBezTo>
                      <a:pt x="34" y="28"/>
                      <a:pt x="34" y="28"/>
                      <a:pt x="34" y="28"/>
                    </a:cubicBezTo>
                    <a:cubicBezTo>
                      <a:pt x="36" y="28"/>
                      <a:pt x="36" y="28"/>
                      <a:pt x="36" y="28"/>
                    </a:cubicBezTo>
                    <a:cubicBezTo>
                      <a:pt x="37" y="27"/>
                      <a:pt x="37" y="27"/>
                      <a:pt x="37" y="27"/>
                    </a:cubicBezTo>
                    <a:cubicBezTo>
                      <a:pt x="37" y="27"/>
                      <a:pt x="38" y="28"/>
                      <a:pt x="38" y="28"/>
                    </a:cubicBezTo>
                    <a:cubicBezTo>
                      <a:pt x="38" y="28"/>
                      <a:pt x="39" y="29"/>
                      <a:pt x="39" y="29"/>
                    </a:cubicBezTo>
                    <a:cubicBezTo>
                      <a:pt x="40" y="29"/>
                      <a:pt x="40" y="29"/>
                      <a:pt x="40" y="29"/>
                    </a:cubicBezTo>
                    <a:cubicBezTo>
                      <a:pt x="43" y="29"/>
                      <a:pt x="43" y="29"/>
                      <a:pt x="43" y="29"/>
                    </a:cubicBezTo>
                    <a:cubicBezTo>
                      <a:pt x="44" y="30"/>
                      <a:pt x="44" y="30"/>
                      <a:pt x="44" y="30"/>
                    </a:cubicBezTo>
                    <a:cubicBezTo>
                      <a:pt x="46" y="31"/>
                      <a:pt x="46" y="31"/>
                      <a:pt x="46" y="31"/>
                    </a:cubicBezTo>
                    <a:cubicBezTo>
                      <a:pt x="47" y="30"/>
                      <a:pt x="47" y="30"/>
                      <a:pt x="47" y="30"/>
                    </a:cubicBezTo>
                    <a:cubicBezTo>
                      <a:pt x="47" y="30"/>
                      <a:pt x="48" y="31"/>
                      <a:pt x="48" y="31"/>
                    </a:cubicBezTo>
                    <a:cubicBezTo>
                      <a:pt x="48" y="31"/>
                      <a:pt x="49" y="31"/>
                      <a:pt x="49" y="31"/>
                    </a:cubicBezTo>
                    <a:cubicBezTo>
                      <a:pt x="50" y="31"/>
                      <a:pt x="50" y="31"/>
                      <a:pt x="50" y="31"/>
                    </a:cubicBezTo>
                    <a:cubicBezTo>
                      <a:pt x="50" y="31"/>
                      <a:pt x="51" y="30"/>
                      <a:pt x="51" y="31"/>
                    </a:cubicBezTo>
                    <a:cubicBezTo>
                      <a:pt x="52" y="31"/>
                      <a:pt x="52" y="31"/>
                      <a:pt x="52" y="31"/>
                    </a:cubicBezTo>
                    <a:cubicBezTo>
                      <a:pt x="52" y="31"/>
                      <a:pt x="52" y="30"/>
                      <a:pt x="53" y="30"/>
                    </a:cubicBezTo>
                    <a:cubicBezTo>
                      <a:pt x="53" y="30"/>
                      <a:pt x="54" y="31"/>
                      <a:pt x="54" y="31"/>
                    </a:cubicBezTo>
                    <a:cubicBezTo>
                      <a:pt x="55" y="29"/>
                      <a:pt x="55" y="29"/>
                      <a:pt x="55" y="29"/>
                    </a:cubicBezTo>
                    <a:cubicBezTo>
                      <a:pt x="55" y="29"/>
                      <a:pt x="54" y="26"/>
                      <a:pt x="54" y="26"/>
                    </a:cubicBezTo>
                    <a:cubicBezTo>
                      <a:pt x="54" y="25"/>
                      <a:pt x="54" y="22"/>
                      <a:pt x="54" y="22"/>
                    </a:cubicBezTo>
                    <a:cubicBezTo>
                      <a:pt x="54" y="22"/>
                      <a:pt x="55" y="21"/>
                      <a:pt x="55" y="21"/>
                    </a:cubicBezTo>
                    <a:cubicBezTo>
                      <a:pt x="55" y="21"/>
                      <a:pt x="55" y="19"/>
                      <a:pt x="55" y="19"/>
                    </a:cubicBezTo>
                    <a:cubicBezTo>
                      <a:pt x="53" y="19"/>
                      <a:pt x="53" y="19"/>
                      <a:pt x="53" y="19"/>
                    </a:cubicBezTo>
                    <a:cubicBezTo>
                      <a:pt x="53" y="19"/>
                      <a:pt x="52" y="20"/>
                      <a:pt x="51" y="20"/>
                    </a:cubicBezTo>
                    <a:cubicBezTo>
                      <a:pt x="50" y="20"/>
                      <a:pt x="48" y="20"/>
                      <a:pt x="48" y="20"/>
                    </a:cubicBezTo>
                    <a:cubicBezTo>
                      <a:pt x="48" y="20"/>
                      <a:pt x="45" y="18"/>
                      <a:pt x="45" y="18"/>
                    </a:cubicBezTo>
                    <a:cubicBezTo>
                      <a:pt x="45" y="18"/>
                      <a:pt x="43" y="18"/>
                      <a:pt x="43" y="18"/>
                    </a:cubicBezTo>
                    <a:cubicBezTo>
                      <a:pt x="43" y="18"/>
                      <a:pt x="43" y="19"/>
                      <a:pt x="42" y="19"/>
                    </a:cubicBezTo>
                    <a:cubicBezTo>
                      <a:pt x="41" y="19"/>
                      <a:pt x="41" y="18"/>
                      <a:pt x="41" y="18"/>
                    </a:cubicBezTo>
                    <a:cubicBezTo>
                      <a:pt x="40" y="18"/>
                      <a:pt x="40" y="18"/>
                      <a:pt x="40" y="18"/>
                    </a:cubicBezTo>
                    <a:cubicBezTo>
                      <a:pt x="40" y="18"/>
                      <a:pt x="39" y="17"/>
                      <a:pt x="39" y="17"/>
                    </a:cubicBezTo>
                    <a:cubicBezTo>
                      <a:pt x="38" y="16"/>
                      <a:pt x="38" y="16"/>
                      <a:pt x="37" y="16"/>
                    </a:cubicBezTo>
                    <a:cubicBezTo>
                      <a:pt x="37" y="16"/>
                      <a:pt x="35" y="16"/>
                      <a:pt x="34" y="16"/>
                    </a:cubicBezTo>
                    <a:cubicBezTo>
                      <a:pt x="34" y="16"/>
                      <a:pt x="33" y="16"/>
                      <a:pt x="33" y="15"/>
                    </a:cubicBezTo>
                    <a:cubicBezTo>
                      <a:pt x="33" y="15"/>
                      <a:pt x="34" y="14"/>
                      <a:pt x="33" y="14"/>
                    </a:cubicBezTo>
                    <a:cubicBezTo>
                      <a:pt x="33" y="14"/>
                      <a:pt x="32" y="14"/>
                      <a:pt x="31" y="14"/>
                    </a:cubicBezTo>
                    <a:cubicBezTo>
                      <a:pt x="30" y="14"/>
                      <a:pt x="28" y="12"/>
                      <a:pt x="28" y="12"/>
                    </a:cubicBezTo>
                    <a:cubicBezTo>
                      <a:pt x="28" y="11"/>
                      <a:pt x="28" y="11"/>
                      <a:pt x="28" y="11"/>
                    </a:cubicBezTo>
                    <a:cubicBezTo>
                      <a:pt x="28" y="9"/>
                      <a:pt x="28" y="9"/>
                      <a:pt x="28" y="9"/>
                    </a:cubicBezTo>
                    <a:cubicBezTo>
                      <a:pt x="26" y="9"/>
                      <a:pt x="26" y="9"/>
                      <a:pt x="26" y="9"/>
                    </a:cubicBezTo>
                    <a:cubicBezTo>
                      <a:pt x="26" y="9"/>
                      <a:pt x="26" y="9"/>
                      <a:pt x="26" y="9"/>
                    </a:cubicBezTo>
                    <a:cubicBezTo>
                      <a:pt x="24" y="9"/>
                      <a:pt x="24" y="9"/>
                      <a:pt x="24" y="9"/>
                    </a:cubicBezTo>
                    <a:cubicBezTo>
                      <a:pt x="24" y="9"/>
                      <a:pt x="23" y="9"/>
                      <a:pt x="23" y="9"/>
                    </a:cubicBezTo>
                    <a:cubicBezTo>
                      <a:pt x="23" y="8"/>
                      <a:pt x="22" y="7"/>
                      <a:pt x="22" y="7"/>
                    </a:cubicBezTo>
                    <a:cubicBezTo>
                      <a:pt x="22" y="7"/>
                      <a:pt x="22" y="6"/>
                      <a:pt x="21" y="6"/>
                    </a:cubicBezTo>
                    <a:cubicBezTo>
                      <a:pt x="21" y="6"/>
                      <a:pt x="19" y="6"/>
                      <a:pt x="19" y="6"/>
                    </a:cubicBezTo>
                    <a:cubicBezTo>
                      <a:pt x="19" y="6"/>
                      <a:pt x="18" y="6"/>
                      <a:pt x="18" y="5"/>
                    </a:cubicBezTo>
                    <a:cubicBezTo>
                      <a:pt x="18" y="5"/>
                      <a:pt x="17" y="4"/>
                      <a:pt x="17" y="4"/>
                    </a:cubicBezTo>
                    <a:cubicBezTo>
                      <a:pt x="17" y="4"/>
                      <a:pt x="15" y="3"/>
                      <a:pt x="15" y="3"/>
                    </a:cubicBezTo>
                    <a:cubicBezTo>
                      <a:pt x="14" y="3"/>
                      <a:pt x="14" y="3"/>
                      <a:pt x="14" y="3"/>
                    </a:cubicBezTo>
                    <a:cubicBezTo>
                      <a:pt x="14" y="1"/>
                      <a:pt x="14" y="1"/>
                      <a:pt x="14" y="1"/>
                    </a:cubicBezTo>
                    <a:cubicBezTo>
                      <a:pt x="14" y="1"/>
                      <a:pt x="13" y="1"/>
                      <a:pt x="13" y="0"/>
                    </a:cubicBezTo>
                    <a:cubicBezTo>
                      <a:pt x="13" y="0"/>
                      <a:pt x="12" y="0"/>
                      <a:pt x="12" y="0"/>
                    </a:cubicBezTo>
                    <a:cubicBezTo>
                      <a:pt x="9" y="0"/>
                      <a:pt x="9" y="0"/>
                      <a:pt x="9" y="0"/>
                    </a:cubicBezTo>
                    <a:cubicBezTo>
                      <a:pt x="9" y="2"/>
                      <a:pt x="9" y="2"/>
                      <a:pt x="9" y="2"/>
                    </a:cubicBezTo>
                    <a:cubicBezTo>
                      <a:pt x="8" y="2"/>
                      <a:pt x="8" y="2"/>
                      <a:pt x="8" y="2"/>
                    </a:cubicBezTo>
                    <a:cubicBezTo>
                      <a:pt x="7" y="3"/>
                      <a:pt x="7" y="3"/>
                      <a:pt x="7" y="3"/>
                    </a:cubicBezTo>
                    <a:cubicBezTo>
                      <a:pt x="6" y="1"/>
                      <a:pt x="6" y="1"/>
                      <a:pt x="6" y="1"/>
                    </a:cubicBezTo>
                    <a:cubicBezTo>
                      <a:pt x="3" y="4"/>
                      <a:pt x="3" y="4"/>
                      <a:pt x="3" y="4"/>
                    </a:cubicBezTo>
                    <a:lnTo>
                      <a:pt x="2"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7" name="Freeform 846">
                <a:extLst>
                  <a:ext uri="{FF2B5EF4-FFF2-40B4-BE49-F238E27FC236}">
                    <a16:creationId xmlns:a16="http://schemas.microsoft.com/office/drawing/2014/main" id="{481B3C73-88B8-CA17-2CC5-C1DCEC6E6D81}"/>
                  </a:ext>
                </a:extLst>
              </p:cNvPr>
              <p:cNvSpPr>
                <a:spLocks noEditPoints="1"/>
              </p:cNvSpPr>
              <p:nvPr/>
            </p:nvSpPr>
            <p:spPr bwMode="auto">
              <a:xfrm>
                <a:off x="7972425" y="4054475"/>
                <a:ext cx="250825" cy="550863"/>
              </a:xfrm>
              <a:custGeom>
                <a:avLst/>
                <a:gdLst>
                  <a:gd name="T0" fmla="*/ 57 w 60"/>
                  <a:gd name="T1" fmla="*/ 54 h 132"/>
                  <a:gd name="T2" fmla="*/ 54 w 60"/>
                  <a:gd name="T3" fmla="*/ 59 h 132"/>
                  <a:gd name="T4" fmla="*/ 49 w 60"/>
                  <a:gd name="T5" fmla="*/ 62 h 132"/>
                  <a:gd name="T6" fmla="*/ 42 w 60"/>
                  <a:gd name="T7" fmla="*/ 66 h 132"/>
                  <a:gd name="T8" fmla="*/ 40 w 60"/>
                  <a:gd name="T9" fmla="*/ 73 h 132"/>
                  <a:gd name="T10" fmla="*/ 42 w 60"/>
                  <a:gd name="T11" fmla="*/ 81 h 132"/>
                  <a:gd name="T12" fmla="*/ 48 w 60"/>
                  <a:gd name="T13" fmla="*/ 89 h 132"/>
                  <a:gd name="T14" fmla="*/ 46 w 60"/>
                  <a:gd name="T15" fmla="*/ 96 h 132"/>
                  <a:gd name="T16" fmla="*/ 52 w 60"/>
                  <a:gd name="T17" fmla="*/ 109 h 132"/>
                  <a:gd name="T18" fmla="*/ 54 w 60"/>
                  <a:gd name="T19" fmla="*/ 120 h 132"/>
                  <a:gd name="T20" fmla="*/ 50 w 60"/>
                  <a:gd name="T21" fmla="*/ 129 h 132"/>
                  <a:gd name="T22" fmla="*/ 48 w 60"/>
                  <a:gd name="T23" fmla="*/ 129 h 132"/>
                  <a:gd name="T24" fmla="*/ 49 w 60"/>
                  <a:gd name="T25" fmla="*/ 124 h 132"/>
                  <a:gd name="T26" fmla="*/ 49 w 60"/>
                  <a:gd name="T27" fmla="*/ 119 h 132"/>
                  <a:gd name="T28" fmla="*/ 48 w 60"/>
                  <a:gd name="T29" fmla="*/ 114 h 132"/>
                  <a:gd name="T30" fmla="*/ 46 w 60"/>
                  <a:gd name="T31" fmla="*/ 108 h 132"/>
                  <a:gd name="T32" fmla="*/ 44 w 60"/>
                  <a:gd name="T33" fmla="*/ 106 h 132"/>
                  <a:gd name="T34" fmla="*/ 42 w 60"/>
                  <a:gd name="T35" fmla="*/ 100 h 132"/>
                  <a:gd name="T36" fmla="*/ 41 w 60"/>
                  <a:gd name="T37" fmla="*/ 92 h 132"/>
                  <a:gd name="T38" fmla="*/ 40 w 60"/>
                  <a:gd name="T39" fmla="*/ 89 h 132"/>
                  <a:gd name="T40" fmla="*/ 37 w 60"/>
                  <a:gd name="T41" fmla="*/ 88 h 132"/>
                  <a:gd name="T42" fmla="*/ 33 w 60"/>
                  <a:gd name="T43" fmla="*/ 81 h 132"/>
                  <a:gd name="T44" fmla="*/ 33 w 60"/>
                  <a:gd name="T45" fmla="*/ 87 h 132"/>
                  <a:gd name="T46" fmla="*/ 30 w 60"/>
                  <a:gd name="T47" fmla="*/ 86 h 132"/>
                  <a:gd name="T48" fmla="*/ 28 w 60"/>
                  <a:gd name="T49" fmla="*/ 89 h 132"/>
                  <a:gd name="T50" fmla="*/ 23 w 60"/>
                  <a:gd name="T51" fmla="*/ 92 h 132"/>
                  <a:gd name="T52" fmla="*/ 20 w 60"/>
                  <a:gd name="T53" fmla="*/ 92 h 132"/>
                  <a:gd name="T54" fmla="*/ 18 w 60"/>
                  <a:gd name="T55" fmla="*/ 92 h 132"/>
                  <a:gd name="T56" fmla="*/ 19 w 60"/>
                  <a:gd name="T57" fmla="*/ 88 h 132"/>
                  <a:gd name="T58" fmla="*/ 17 w 60"/>
                  <a:gd name="T59" fmla="*/ 92 h 132"/>
                  <a:gd name="T60" fmla="*/ 17 w 60"/>
                  <a:gd name="T61" fmla="*/ 88 h 132"/>
                  <a:gd name="T62" fmla="*/ 18 w 60"/>
                  <a:gd name="T63" fmla="*/ 82 h 132"/>
                  <a:gd name="T64" fmla="*/ 17 w 60"/>
                  <a:gd name="T65" fmla="*/ 77 h 132"/>
                  <a:gd name="T66" fmla="*/ 15 w 60"/>
                  <a:gd name="T67" fmla="*/ 73 h 132"/>
                  <a:gd name="T68" fmla="*/ 12 w 60"/>
                  <a:gd name="T69" fmla="*/ 70 h 132"/>
                  <a:gd name="T70" fmla="*/ 9 w 60"/>
                  <a:gd name="T71" fmla="*/ 70 h 132"/>
                  <a:gd name="T72" fmla="*/ 9 w 60"/>
                  <a:gd name="T73" fmla="*/ 69 h 132"/>
                  <a:gd name="T74" fmla="*/ 11 w 60"/>
                  <a:gd name="T75" fmla="*/ 67 h 132"/>
                  <a:gd name="T76" fmla="*/ 9 w 60"/>
                  <a:gd name="T77" fmla="*/ 64 h 132"/>
                  <a:gd name="T78" fmla="*/ 6 w 60"/>
                  <a:gd name="T79" fmla="*/ 62 h 132"/>
                  <a:gd name="T80" fmla="*/ 5 w 60"/>
                  <a:gd name="T81" fmla="*/ 61 h 132"/>
                  <a:gd name="T82" fmla="*/ 1 w 60"/>
                  <a:gd name="T83" fmla="*/ 60 h 132"/>
                  <a:gd name="T84" fmla="*/ 0 w 60"/>
                  <a:gd name="T85" fmla="*/ 55 h 132"/>
                  <a:gd name="T86" fmla="*/ 4 w 60"/>
                  <a:gd name="T87" fmla="*/ 49 h 132"/>
                  <a:gd name="T88" fmla="*/ 18 w 60"/>
                  <a:gd name="T89" fmla="*/ 30 h 132"/>
                  <a:gd name="T90" fmla="*/ 19 w 60"/>
                  <a:gd name="T91" fmla="*/ 21 h 132"/>
                  <a:gd name="T92" fmla="*/ 22 w 60"/>
                  <a:gd name="T93" fmla="*/ 11 h 132"/>
                  <a:gd name="T94" fmla="*/ 27 w 60"/>
                  <a:gd name="T95" fmla="*/ 6 h 132"/>
                  <a:gd name="T96" fmla="*/ 34 w 60"/>
                  <a:gd name="T97" fmla="*/ 5 h 132"/>
                  <a:gd name="T98" fmla="*/ 34 w 60"/>
                  <a:gd name="T99" fmla="*/ 0 h 132"/>
                  <a:gd name="T100" fmla="*/ 40 w 60"/>
                  <a:gd name="T101" fmla="*/ 1 h 132"/>
                  <a:gd name="T102" fmla="*/ 45 w 60"/>
                  <a:gd name="T103" fmla="*/ 11 h 132"/>
                  <a:gd name="T104" fmla="*/ 39 w 60"/>
                  <a:gd name="T105" fmla="*/ 25 h 132"/>
                  <a:gd name="T106" fmla="*/ 39 w 60"/>
                  <a:gd name="T107" fmla="*/ 31 h 132"/>
                  <a:gd name="T108" fmla="*/ 45 w 60"/>
                  <a:gd name="T109" fmla="*/ 35 h 132"/>
                  <a:gd name="T110" fmla="*/ 50 w 60"/>
                  <a:gd name="T111" fmla="*/ 40 h 132"/>
                  <a:gd name="T112" fmla="*/ 50 w 60"/>
                  <a:gd name="T113" fmla="*/ 46 h 132"/>
                  <a:gd name="T114" fmla="*/ 52 w 60"/>
                  <a:gd name="T115" fmla="*/ 51 h 132"/>
                  <a:gd name="T116" fmla="*/ 60 w 60"/>
                  <a:gd name="T117" fmla="*/ 52 h 132"/>
                  <a:gd name="T118" fmla="*/ 10 w 60"/>
                  <a:gd name="T119"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2">
                    <a:moveTo>
                      <a:pt x="60" y="52"/>
                    </a:moveTo>
                    <a:cubicBezTo>
                      <a:pt x="60" y="52"/>
                      <a:pt x="59" y="53"/>
                      <a:pt x="59" y="53"/>
                    </a:cubicBezTo>
                    <a:cubicBezTo>
                      <a:pt x="59" y="53"/>
                      <a:pt x="58" y="54"/>
                      <a:pt x="57" y="54"/>
                    </a:cubicBezTo>
                    <a:cubicBezTo>
                      <a:pt x="57" y="54"/>
                      <a:pt x="57" y="54"/>
                      <a:pt x="57" y="54"/>
                    </a:cubicBezTo>
                    <a:cubicBezTo>
                      <a:pt x="56" y="54"/>
                      <a:pt x="56" y="55"/>
                      <a:pt x="56" y="55"/>
                    </a:cubicBezTo>
                    <a:cubicBezTo>
                      <a:pt x="55" y="56"/>
                      <a:pt x="56" y="56"/>
                      <a:pt x="56" y="57"/>
                    </a:cubicBezTo>
                    <a:cubicBezTo>
                      <a:pt x="56" y="58"/>
                      <a:pt x="56" y="57"/>
                      <a:pt x="55" y="57"/>
                    </a:cubicBezTo>
                    <a:cubicBezTo>
                      <a:pt x="54" y="58"/>
                      <a:pt x="54" y="58"/>
                      <a:pt x="54" y="59"/>
                    </a:cubicBezTo>
                    <a:cubicBezTo>
                      <a:pt x="54" y="59"/>
                      <a:pt x="53" y="59"/>
                      <a:pt x="52" y="59"/>
                    </a:cubicBezTo>
                    <a:cubicBezTo>
                      <a:pt x="51" y="59"/>
                      <a:pt x="50" y="60"/>
                      <a:pt x="50" y="60"/>
                    </a:cubicBezTo>
                    <a:cubicBezTo>
                      <a:pt x="50" y="61"/>
                      <a:pt x="50" y="61"/>
                      <a:pt x="50" y="62"/>
                    </a:cubicBezTo>
                    <a:cubicBezTo>
                      <a:pt x="50" y="62"/>
                      <a:pt x="49" y="62"/>
                      <a:pt x="49" y="62"/>
                    </a:cubicBezTo>
                    <a:cubicBezTo>
                      <a:pt x="48" y="62"/>
                      <a:pt x="48" y="62"/>
                      <a:pt x="47" y="63"/>
                    </a:cubicBezTo>
                    <a:cubicBezTo>
                      <a:pt x="47" y="63"/>
                      <a:pt x="47" y="65"/>
                      <a:pt x="46" y="65"/>
                    </a:cubicBezTo>
                    <a:cubicBezTo>
                      <a:pt x="46" y="65"/>
                      <a:pt x="45" y="66"/>
                      <a:pt x="44" y="66"/>
                    </a:cubicBezTo>
                    <a:cubicBezTo>
                      <a:pt x="44" y="66"/>
                      <a:pt x="43" y="66"/>
                      <a:pt x="42" y="66"/>
                    </a:cubicBezTo>
                    <a:cubicBezTo>
                      <a:pt x="42" y="66"/>
                      <a:pt x="41" y="66"/>
                      <a:pt x="40" y="67"/>
                    </a:cubicBezTo>
                    <a:cubicBezTo>
                      <a:pt x="40" y="67"/>
                      <a:pt x="40" y="69"/>
                      <a:pt x="40" y="70"/>
                    </a:cubicBezTo>
                    <a:cubicBezTo>
                      <a:pt x="40" y="70"/>
                      <a:pt x="39" y="71"/>
                      <a:pt x="39" y="71"/>
                    </a:cubicBezTo>
                    <a:cubicBezTo>
                      <a:pt x="39" y="72"/>
                      <a:pt x="40" y="73"/>
                      <a:pt x="40" y="73"/>
                    </a:cubicBezTo>
                    <a:cubicBezTo>
                      <a:pt x="39" y="74"/>
                      <a:pt x="38" y="74"/>
                      <a:pt x="37" y="75"/>
                    </a:cubicBezTo>
                    <a:cubicBezTo>
                      <a:pt x="36" y="76"/>
                      <a:pt x="37" y="76"/>
                      <a:pt x="38" y="76"/>
                    </a:cubicBezTo>
                    <a:cubicBezTo>
                      <a:pt x="38" y="76"/>
                      <a:pt x="39" y="76"/>
                      <a:pt x="40" y="78"/>
                    </a:cubicBezTo>
                    <a:cubicBezTo>
                      <a:pt x="41" y="81"/>
                      <a:pt x="42" y="80"/>
                      <a:pt x="42" y="81"/>
                    </a:cubicBezTo>
                    <a:cubicBezTo>
                      <a:pt x="42" y="81"/>
                      <a:pt x="43" y="83"/>
                      <a:pt x="44" y="84"/>
                    </a:cubicBezTo>
                    <a:cubicBezTo>
                      <a:pt x="44" y="85"/>
                      <a:pt x="46" y="86"/>
                      <a:pt x="46" y="86"/>
                    </a:cubicBezTo>
                    <a:cubicBezTo>
                      <a:pt x="46" y="86"/>
                      <a:pt x="46" y="87"/>
                      <a:pt x="46" y="88"/>
                    </a:cubicBezTo>
                    <a:cubicBezTo>
                      <a:pt x="47" y="88"/>
                      <a:pt x="48" y="89"/>
                      <a:pt x="48" y="89"/>
                    </a:cubicBezTo>
                    <a:cubicBezTo>
                      <a:pt x="48" y="90"/>
                      <a:pt x="47" y="90"/>
                      <a:pt x="46" y="91"/>
                    </a:cubicBezTo>
                    <a:cubicBezTo>
                      <a:pt x="46" y="91"/>
                      <a:pt x="46" y="92"/>
                      <a:pt x="46" y="92"/>
                    </a:cubicBezTo>
                    <a:cubicBezTo>
                      <a:pt x="46" y="93"/>
                      <a:pt x="46" y="93"/>
                      <a:pt x="46" y="94"/>
                    </a:cubicBezTo>
                    <a:cubicBezTo>
                      <a:pt x="46" y="95"/>
                      <a:pt x="46" y="95"/>
                      <a:pt x="46" y="96"/>
                    </a:cubicBezTo>
                    <a:cubicBezTo>
                      <a:pt x="45" y="96"/>
                      <a:pt x="45" y="97"/>
                      <a:pt x="45" y="98"/>
                    </a:cubicBezTo>
                    <a:cubicBezTo>
                      <a:pt x="45" y="98"/>
                      <a:pt x="46" y="100"/>
                      <a:pt x="47" y="101"/>
                    </a:cubicBezTo>
                    <a:cubicBezTo>
                      <a:pt x="48" y="102"/>
                      <a:pt x="50" y="103"/>
                      <a:pt x="51" y="105"/>
                    </a:cubicBezTo>
                    <a:cubicBezTo>
                      <a:pt x="52" y="106"/>
                      <a:pt x="52" y="107"/>
                      <a:pt x="52" y="109"/>
                    </a:cubicBezTo>
                    <a:cubicBezTo>
                      <a:pt x="52" y="111"/>
                      <a:pt x="52" y="111"/>
                      <a:pt x="52" y="111"/>
                    </a:cubicBezTo>
                    <a:cubicBezTo>
                      <a:pt x="53" y="112"/>
                      <a:pt x="53" y="113"/>
                      <a:pt x="54" y="115"/>
                    </a:cubicBezTo>
                    <a:cubicBezTo>
                      <a:pt x="54" y="116"/>
                      <a:pt x="54" y="117"/>
                      <a:pt x="54" y="118"/>
                    </a:cubicBezTo>
                    <a:cubicBezTo>
                      <a:pt x="54" y="119"/>
                      <a:pt x="54" y="120"/>
                      <a:pt x="54" y="120"/>
                    </a:cubicBezTo>
                    <a:cubicBezTo>
                      <a:pt x="54" y="121"/>
                      <a:pt x="54" y="121"/>
                      <a:pt x="54" y="122"/>
                    </a:cubicBezTo>
                    <a:cubicBezTo>
                      <a:pt x="53" y="122"/>
                      <a:pt x="53" y="124"/>
                      <a:pt x="53" y="125"/>
                    </a:cubicBezTo>
                    <a:cubicBezTo>
                      <a:pt x="52" y="125"/>
                      <a:pt x="51" y="126"/>
                      <a:pt x="51" y="127"/>
                    </a:cubicBezTo>
                    <a:cubicBezTo>
                      <a:pt x="51" y="127"/>
                      <a:pt x="50" y="128"/>
                      <a:pt x="50" y="129"/>
                    </a:cubicBezTo>
                    <a:cubicBezTo>
                      <a:pt x="50" y="130"/>
                      <a:pt x="49" y="132"/>
                      <a:pt x="49" y="132"/>
                    </a:cubicBezTo>
                    <a:cubicBezTo>
                      <a:pt x="49" y="132"/>
                      <a:pt x="48" y="132"/>
                      <a:pt x="48" y="132"/>
                    </a:cubicBezTo>
                    <a:cubicBezTo>
                      <a:pt x="48" y="132"/>
                      <a:pt x="48" y="132"/>
                      <a:pt x="48" y="131"/>
                    </a:cubicBezTo>
                    <a:cubicBezTo>
                      <a:pt x="48" y="130"/>
                      <a:pt x="48" y="130"/>
                      <a:pt x="48" y="129"/>
                    </a:cubicBezTo>
                    <a:cubicBezTo>
                      <a:pt x="47" y="129"/>
                      <a:pt x="47" y="128"/>
                      <a:pt x="47" y="128"/>
                    </a:cubicBezTo>
                    <a:cubicBezTo>
                      <a:pt x="48" y="128"/>
                      <a:pt x="48" y="127"/>
                      <a:pt x="49" y="127"/>
                    </a:cubicBezTo>
                    <a:cubicBezTo>
                      <a:pt x="49" y="126"/>
                      <a:pt x="50" y="126"/>
                      <a:pt x="49" y="125"/>
                    </a:cubicBezTo>
                    <a:cubicBezTo>
                      <a:pt x="49" y="125"/>
                      <a:pt x="48" y="125"/>
                      <a:pt x="49" y="124"/>
                    </a:cubicBezTo>
                    <a:cubicBezTo>
                      <a:pt x="49" y="124"/>
                      <a:pt x="50" y="123"/>
                      <a:pt x="50" y="123"/>
                    </a:cubicBezTo>
                    <a:cubicBezTo>
                      <a:pt x="50" y="123"/>
                      <a:pt x="49" y="121"/>
                      <a:pt x="49" y="121"/>
                    </a:cubicBezTo>
                    <a:cubicBezTo>
                      <a:pt x="49" y="121"/>
                      <a:pt x="49" y="121"/>
                      <a:pt x="50" y="120"/>
                    </a:cubicBezTo>
                    <a:cubicBezTo>
                      <a:pt x="50" y="120"/>
                      <a:pt x="50" y="119"/>
                      <a:pt x="49" y="119"/>
                    </a:cubicBezTo>
                    <a:cubicBezTo>
                      <a:pt x="49" y="118"/>
                      <a:pt x="49" y="118"/>
                      <a:pt x="48" y="118"/>
                    </a:cubicBezTo>
                    <a:cubicBezTo>
                      <a:pt x="48" y="117"/>
                      <a:pt x="48" y="117"/>
                      <a:pt x="49" y="117"/>
                    </a:cubicBezTo>
                    <a:cubicBezTo>
                      <a:pt x="49" y="116"/>
                      <a:pt x="49" y="116"/>
                      <a:pt x="49" y="115"/>
                    </a:cubicBezTo>
                    <a:cubicBezTo>
                      <a:pt x="49" y="115"/>
                      <a:pt x="49" y="115"/>
                      <a:pt x="48" y="114"/>
                    </a:cubicBezTo>
                    <a:cubicBezTo>
                      <a:pt x="48" y="114"/>
                      <a:pt x="47" y="114"/>
                      <a:pt x="47" y="113"/>
                    </a:cubicBezTo>
                    <a:cubicBezTo>
                      <a:pt x="47" y="112"/>
                      <a:pt x="47" y="110"/>
                      <a:pt x="47" y="110"/>
                    </a:cubicBezTo>
                    <a:cubicBezTo>
                      <a:pt x="47" y="110"/>
                      <a:pt x="46" y="110"/>
                      <a:pt x="46" y="109"/>
                    </a:cubicBezTo>
                    <a:cubicBezTo>
                      <a:pt x="46" y="108"/>
                      <a:pt x="46" y="108"/>
                      <a:pt x="46" y="108"/>
                    </a:cubicBezTo>
                    <a:cubicBezTo>
                      <a:pt x="46" y="108"/>
                      <a:pt x="46" y="107"/>
                      <a:pt x="45" y="108"/>
                    </a:cubicBezTo>
                    <a:cubicBezTo>
                      <a:pt x="45" y="108"/>
                      <a:pt x="45" y="109"/>
                      <a:pt x="45" y="108"/>
                    </a:cubicBezTo>
                    <a:cubicBezTo>
                      <a:pt x="45" y="108"/>
                      <a:pt x="44" y="108"/>
                      <a:pt x="44" y="108"/>
                    </a:cubicBezTo>
                    <a:cubicBezTo>
                      <a:pt x="44" y="107"/>
                      <a:pt x="44" y="107"/>
                      <a:pt x="44" y="106"/>
                    </a:cubicBezTo>
                    <a:cubicBezTo>
                      <a:pt x="44" y="105"/>
                      <a:pt x="44" y="104"/>
                      <a:pt x="44" y="104"/>
                    </a:cubicBezTo>
                    <a:cubicBezTo>
                      <a:pt x="44" y="104"/>
                      <a:pt x="44" y="103"/>
                      <a:pt x="43" y="102"/>
                    </a:cubicBezTo>
                    <a:cubicBezTo>
                      <a:pt x="43" y="102"/>
                      <a:pt x="43" y="101"/>
                      <a:pt x="43" y="101"/>
                    </a:cubicBezTo>
                    <a:cubicBezTo>
                      <a:pt x="43" y="101"/>
                      <a:pt x="43" y="100"/>
                      <a:pt x="42" y="100"/>
                    </a:cubicBezTo>
                    <a:cubicBezTo>
                      <a:pt x="42" y="100"/>
                      <a:pt x="42" y="99"/>
                      <a:pt x="42" y="99"/>
                    </a:cubicBezTo>
                    <a:cubicBezTo>
                      <a:pt x="42" y="98"/>
                      <a:pt x="42" y="98"/>
                      <a:pt x="41" y="97"/>
                    </a:cubicBezTo>
                    <a:cubicBezTo>
                      <a:pt x="41" y="97"/>
                      <a:pt x="41" y="96"/>
                      <a:pt x="41" y="96"/>
                    </a:cubicBezTo>
                    <a:cubicBezTo>
                      <a:pt x="41" y="92"/>
                      <a:pt x="41" y="92"/>
                      <a:pt x="41" y="92"/>
                    </a:cubicBezTo>
                    <a:cubicBezTo>
                      <a:pt x="41" y="92"/>
                      <a:pt x="40" y="92"/>
                      <a:pt x="40" y="92"/>
                    </a:cubicBezTo>
                    <a:cubicBezTo>
                      <a:pt x="40" y="91"/>
                      <a:pt x="40" y="91"/>
                      <a:pt x="40" y="91"/>
                    </a:cubicBezTo>
                    <a:cubicBezTo>
                      <a:pt x="40" y="91"/>
                      <a:pt x="40" y="91"/>
                      <a:pt x="40" y="90"/>
                    </a:cubicBezTo>
                    <a:cubicBezTo>
                      <a:pt x="40" y="90"/>
                      <a:pt x="40" y="89"/>
                      <a:pt x="40" y="89"/>
                    </a:cubicBezTo>
                    <a:cubicBezTo>
                      <a:pt x="40" y="89"/>
                      <a:pt x="40" y="89"/>
                      <a:pt x="40" y="88"/>
                    </a:cubicBezTo>
                    <a:cubicBezTo>
                      <a:pt x="40" y="88"/>
                      <a:pt x="40" y="87"/>
                      <a:pt x="39" y="87"/>
                    </a:cubicBezTo>
                    <a:cubicBezTo>
                      <a:pt x="39" y="87"/>
                      <a:pt x="39" y="88"/>
                      <a:pt x="38" y="88"/>
                    </a:cubicBezTo>
                    <a:cubicBezTo>
                      <a:pt x="38" y="88"/>
                      <a:pt x="38" y="88"/>
                      <a:pt x="37" y="88"/>
                    </a:cubicBezTo>
                    <a:cubicBezTo>
                      <a:pt x="37" y="87"/>
                      <a:pt x="37" y="87"/>
                      <a:pt x="37" y="87"/>
                    </a:cubicBezTo>
                    <a:cubicBezTo>
                      <a:pt x="37" y="86"/>
                      <a:pt x="36" y="84"/>
                      <a:pt x="35" y="84"/>
                    </a:cubicBezTo>
                    <a:cubicBezTo>
                      <a:pt x="35" y="83"/>
                      <a:pt x="35" y="82"/>
                      <a:pt x="34" y="82"/>
                    </a:cubicBezTo>
                    <a:cubicBezTo>
                      <a:pt x="34" y="82"/>
                      <a:pt x="33" y="81"/>
                      <a:pt x="33" y="81"/>
                    </a:cubicBezTo>
                    <a:cubicBezTo>
                      <a:pt x="33" y="81"/>
                      <a:pt x="33" y="82"/>
                      <a:pt x="33" y="83"/>
                    </a:cubicBezTo>
                    <a:cubicBezTo>
                      <a:pt x="33" y="83"/>
                      <a:pt x="34" y="84"/>
                      <a:pt x="34" y="84"/>
                    </a:cubicBezTo>
                    <a:cubicBezTo>
                      <a:pt x="34" y="84"/>
                      <a:pt x="34" y="85"/>
                      <a:pt x="34" y="85"/>
                    </a:cubicBezTo>
                    <a:cubicBezTo>
                      <a:pt x="33" y="86"/>
                      <a:pt x="34" y="87"/>
                      <a:pt x="33" y="87"/>
                    </a:cubicBezTo>
                    <a:cubicBezTo>
                      <a:pt x="33" y="87"/>
                      <a:pt x="33" y="87"/>
                      <a:pt x="33" y="87"/>
                    </a:cubicBezTo>
                    <a:cubicBezTo>
                      <a:pt x="32" y="87"/>
                      <a:pt x="32" y="88"/>
                      <a:pt x="32" y="88"/>
                    </a:cubicBezTo>
                    <a:cubicBezTo>
                      <a:pt x="32" y="88"/>
                      <a:pt x="31" y="87"/>
                      <a:pt x="30" y="87"/>
                    </a:cubicBezTo>
                    <a:cubicBezTo>
                      <a:pt x="30" y="87"/>
                      <a:pt x="30" y="86"/>
                      <a:pt x="30" y="86"/>
                    </a:cubicBezTo>
                    <a:cubicBezTo>
                      <a:pt x="30" y="87"/>
                      <a:pt x="30" y="87"/>
                      <a:pt x="30" y="88"/>
                    </a:cubicBezTo>
                    <a:cubicBezTo>
                      <a:pt x="30" y="88"/>
                      <a:pt x="31" y="88"/>
                      <a:pt x="31" y="89"/>
                    </a:cubicBezTo>
                    <a:cubicBezTo>
                      <a:pt x="31" y="89"/>
                      <a:pt x="31" y="89"/>
                      <a:pt x="30" y="89"/>
                    </a:cubicBezTo>
                    <a:cubicBezTo>
                      <a:pt x="29" y="89"/>
                      <a:pt x="28" y="89"/>
                      <a:pt x="28" y="89"/>
                    </a:cubicBezTo>
                    <a:cubicBezTo>
                      <a:pt x="28" y="89"/>
                      <a:pt x="28" y="89"/>
                      <a:pt x="27" y="90"/>
                    </a:cubicBezTo>
                    <a:cubicBezTo>
                      <a:pt x="27" y="90"/>
                      <a:pt x="26" y="91"/>
                      <a:pt x="26" y="91"/>
                    </a:cubicBezTo>
                    <a:cubicBezTo>
                      <a:pt x="26" y="91"/>
                      <a:pt x="26" y="91"/>
                      <a:pt x="25" y="92"/>
                    </a:cubicBezTo>
                    <a:cubicBezTo>
                      <a:pt x="25" y="92"/>
                      <a:pt x="24" y="92"/>
                      <a:pt x="23" y="92"/>
                    </a:cubicBezTo>
                    <a:cubicBezTo>
                      <a:pt x="23" y="92"/>
                      <a:pt x="22" y="92"/>
                      <a:pt x="22" y="92"/>
                    </a:cubicBezTo>
                    <a:cubicBezTo>
                      <a:pt x="22" y="92"/>
                      <a:pt x="22" y="92"/>
                      <a:pt x="21" y="92"/>
                    </a:cubicBezTo>
                    <a:cubicBezTo>
                      <a:pt x="21" y="92"/>
                      <a:pt x="20" y="91"/>
                      <a:pt x="20" y="91"/>
                    </a:cubicBezTo>
                    <a:cubicBezTo>
                      <a:pt x="20" y="91"/>
                      <a:pt x="20" y="92"/>
                      <a:pt x="20" y="92"/>
                    </a:cubicBezTo>
                    <a:cubicBezTo>
                      <a:pt x="20" y="92"/>
                      <a:pt x="19" y="92"/>
                      <a:pt x="19" y="92"/>
                    </a:cubicBezTo>
                    <a:cubicBezTo>
                      <a:pt x="19" y="92"/>
                      <a:pt x="19" y="94"/>
                      <a:pt x="19" y="93"/>
                    </a:cubicBezTo>
                    <a:cubicBezTo>
                      <a:pt x="18" y="93"/>
                      <a:pt x="18" y="94"/>
                      <a:pt x="18" y="93"/>
                    </a:cubicBezTo>
                    <a:cubicBezTo>
                      <a:pt x="18" y="93"/>
                      <a:pt x="18" y="92"/>
                      <a:pt x="18" y="92"/>
                    </a:cubicBezTo>
                    <a:cubicBezTo>
                      <a:pt x="18" y="91"/>
                      <a:pt x="18" y="91"/>
                      <a:pt x="19" y="91"/>
                    </a:cubicBezTo>
                    <a:cubicBezTo>
                      <a:pt x="19" y="90"/>
                      <a:pt x="19" y="90"/>
                      <a:pt x="20" y="90"/>
                    </a:cubicBezTo>
                    <a:cubicBezTo>
                      <a:pt x="20" y="89"/>
                      <a:pt x="20" y="88"/>
                      <a:pt x="20" y="88"/>
                    </a:cubicBezTo>
                    <a:cubicBezTo>
                      <a:pt x="20" y="88"/>
                      <a:pt x="19" y="87"/>
                      <a:pt x="19" y="88"/>
                    </a:cubicBezTo>
                    <a:cubicBezTo>
                      <a:pt x="19" y="88"/>
                      <a:pt x="19" y="89"/>
                      <a:pt x="19" y="90"/>
                    </a:cubicBezTo>
                    <a:cubicBezTo>
                      <a:pt x="19" y="90"/>
                      <a:pt x="18" y="90"/>
                      <a:pt x="18" y="90"/>
                    </a:cubicBezTo>
                    <a:cubicBezTo>
                      <a:pt x="18" y="91"/>
                      <a:pt x="17" y="91"/>
                      <a:pt x="17" y="91"/>
                    </a:cubicBezTo>
                    <a:cubicBezTo>
                      <a:pt x="17" y="92"/>
                      <a:pt x="17" y="92"/>
                      <a:pt x="17" y="92"/>
                    </a:cubicBezTo>
                    <a:cubicBezTo>
                      <a:pt x="16" y="92"/>
                      <a:pt x="16" y="92"/>
                      <a:pt x="16" y="92"/>
                    </a:cubicBezTo>
                    <a:cubicBezTo>
                      <a:pt x="16" y="91"/>
                      <a:pt x="17" y="91"/>
                      <a:pt x="16" y="91"/>
                    </a:cubicBezTo>
                    <a:cubicBezTo>
                      <a:pt x="16" y="90"/>
                      <a:pt x="16" y="90"/>
                      <a:pt x="16" y="89"/>
                    </a:cubicBezTo>
                    <a:cubicBezTo>
                      <a:pt x="16" y="89"/>
                      <a:pt x="16" y="88"/>
                      <a:pt x="17" y="88"/>
                    </a:cubicBezTo>
                    <a:cubicBezTo>
                      <a:pt x="17" y="87"/>
                      <a:pt x="17" y="86"/>
                      <a:pt x="17" y="85"/>
                    </a:cubicBezTo>
                    <a:cubicBezTo>
                      <a:pt x="17" y="85"/>
                      <a:pt x="17" y="85"/>
                      <a:pt x="17" y="84"/>
                    </a:cubicBezTo>
                    <a:cubicBezTo>
                      <a:pt x="17" y="84"/>
                      <a:pt x="18" y="83"/>
                      <a:pt x="18" y="83"/>
                    </a:cubicBezTo>
                    <a:cubicBezTo>
                      <a:pt x="18" y="83"/>
                      <a:pt x="18" y="83"/>
                      <a:pt x="18" y="82"/>
                    </a:cubicBezTo>
                    <a:cubicBezTo>
                      <a:pt x="18" y="82"/>
                      <a:pt x="18" y="81"/>
                      <a:pt x="18" y="81"/>
                    </a:cubicBezTo>
                    <a:cubicBezTo>
                      <a:pt x="18" y="80"/>
                      <a:pt x="17" y="80"/>
                      <a:pt x="17" y="79"/>
                    </a:cubicBezTo>
                    <a:cubicBezTo>
                      <a:pt x="17" y="79"/>
                      <a:pt x="17" y="78"/>
                      <a:pt x="17" y="78"/>
                    </a:cubicBezTo>
                    <a:cubicBezTo>
                      <a:pt x="17" y="77"/>
                      <a:pt x="17" y="77"/>
                      <a:pt x="17" y="77"/>
                    </a:cubicBezTo>
                    <a:cubicBezTo>
                      <a:pt x="17" y="77"/>
                      <a:pt x="16" y="76"/>
                      <a:pt x="16" y="76"/>
                    </a:cubicBezTo>
                    <a:cubicBezTo>
                      <a:pt x="16" y="76"/>
                      <a:pt x="15" y="75"/>
                      <a:pt x="15" y="75"/>
                    </a:cubicBezTo>
                    <a:cubicBezTo>
                      <a:pt x="15" y="75"/>
                      <a:pt x="15" y="75"/>
                      <a:pt x="15" y="74"/>
                    </a:cubicBezTo>
                    <a:cubicBezTo>
                      <a:pt x="15" y="74"/>
                      <a:pt x="15" y="73"/>
                      <a:pt x="15" y="73"/>
                    </a:cubicBezTo>
                    <a:cubicBezTo>
                      <a:pt x="14" y="73"/>
                      <a:pt x="14" y="72"/>
                      <a:pt x="13" y="71"/>
                    </a:cubicBezTo>
                    <a:cubicBezTo>
                      <a:pt x="13" y="71"/>
                      <a:pt x="13" y="71"/>
                      <a:pt x="13" y="70"/>
                    </a:cubicBezTo>
                    <a:cubicBezTo>
                      <a:pt x="13" y="69"/>
                      <a:pt x="13" y="69"/>
                      <a:pt x="12" y="69"/>
                    </a:cubicBezTo>
                    <a:cubicBezTo>
                      <a:pt x="12" y="69"/>
                      <a:pt x="12" y="69"/>
                      <a:pt x="12" y="70"/>
                    </a:cubicBezTo>
                    <a:cubicBezTo>
                      <a:pt x="12" y="71"/>
                      <a:pt x="13" y="71"/>
                      <a:pt x="12" y="72"/>
                    </a:cubicBezTo>
                    <a:cubicBezTo>
                      <a:pt x="12" y="72"/>
                      <a:pt x="12" y="72"/>
                      <a:pt x="11" y="72"/>
                    </a:cubicBezTo>
                    <a:cubicBezTo>
                      <a:pt x="11" y="72"/>
                      <a:pt x="11" y="71"/>
                      <a:pt x="10" y="71"/>
                    </a:cubicBezTo>
                    <a:cubicBezTo>
                      <a:pt x="10" y="71"/>
                      <a:pt x="9" y="71"/>
                      <a:pt x="9" y="70"/>
                    </a:cubicBezTo>
                    <a:cubicBezTo>
                      <a:pt x="9" y="70"/>
                      <a:pt x="9" y="69"/>
                      <a:pt x="8" y="69"/>
                    </a:cubicBezTo>
                    <a:cubicBezTo>
                      <a:pt x="8" y="69"/>
                      <a:pt x="7" y="68"/>
                      <a:pt x="7" y="68"/>
                    </a:cubicBezTo>
                    <a:cubicBezTo>
                      <a:pt x="7" y="68"/>
                      <a:pt x="8" y="67"/>
                      <a:pt x="8" y="67"/>
                    </a:cubicBezTo>
                    <a:cubicBezTo>
                      <a:pt x="8" y="67"/>
                      <a:pt x="9" y="68"/>
                      <a:pt x="9" y="69"/>
                    </a:cubicBezTo>
                    <a:cubicBezTo>
                      <a:pt x="10" y="69"/>
                      <a:pt x="11" y="69"/>
                      <a:pt x="10" y="69"/>
                    </a:cubicBezTo>
                    <a:cubicBezTo>
                      <a:pt x="10" y="68"/>
                      <a:pt x="10" y="68"/>
                      <a:pt x="10" y="68"/>
                    </a:cubicBezTo>
                    <a:cubicBezTo>
                      <a:pt x="10" y="67"/>
                      <a:pt x="10" y="67"/>
                      <a:pt x="10" y="67"/>
                    </a:cubicBezTo>
                    <a:cubicBezTo>
                      <a:pt x="10" y="67"/>
                      <a:pt x="10" y="67"/>
                      <a:pt x="11" y="67"/>
                    </a:cubicBezTo>
                    <a:cubicBezTo>
                      <a:pt x="11" y="67"/>
                      <a:pt x="11" y="68"/>
                      <a:pt x="11" y="67"/>
                    </a:cubicBezTo>
                    <a:cubicBezTo>
                      <a:pt x="11" y="67"/>
                      <a:pt x="12" y="67"/>
                      <a:pt x="11" y="66"/>
                    </a:cubicBezTo>
                    <a:cubicBezTo>
                      <a:pt x="11" y="66"/>
                      <a:pt x="11" y="65"/>
                      <a:pt x="10" y="65"/>
                    </a:cubicBezTo>
                    <a:cubicBezTo>
                      <a:pt x="10" y="64"/>
                      <a:pt x="10" y="64"/>
                      <a:pt x="9" y="64"/>
                    </a:cubicBezTo>
                    <a:cubicBezTo>
                      <a:pt x="8" y="64"/>
                      <a:pt x="8" y="64"/>
                      <a:pt x="8" y="64"/>
                    </a:cubicBezTo>
                    <a:cubicBezTo>
                      <a:pt x="8" y="64"/>
                      <a:pt x="8" y="63"/>
                      <a:pt x="7" y="63"/>
                    </a:cubicBezTo>
                    <a:cubicBezTo>
                      <a:pt x="7" y="63"/>
                      <a:pt x="7" y="63"/>
                      <a:pt x="7" y="63"/>
                    </a:cubicBezTo>
                    <a:cubicBezTo>
                      <a:pt x="7" y="63"/>
                      <a:pt x="6" y="62"/>
                      <a:pt x="6" y="62"/>
                    </a:cubicBezTo>
                    <a:cubicBezTo>
                      <a:pt x="6" y="63"/>
                      <a:pt x="7" y="63"/>
                      <a:pt x="6" y="63"/>
                    </a:cubicBezTo>
                    <a:cubicBezTo>
                      <a:pt x="5" y="63"/>
                      <a:pt x="4" y="63"/>
                      <a:pt x="4" y="63"/>
                    </a:cubicBezTo>
                    <a:cubicBezTo>
                      <a:pt x="4" y="63"/>
                      <a:pt x="5" y="62"/>
                      <a:pt x="5" y="62"/>
                    </a:cubicBezTo>
                    <a:cubicBezTo>
                      <a:pt x="5" y="62"/>
                      <a:pt x="6" y="61"/>
                      <a:pt x="5" y="61"/>
                    </a:cubicBezTo>
                    <a:cubicBezTo>
                      <a:pt x="5" y="61"/>
                      <a:pt x="4" y="61"/>
                      <a:pt x="4" y="61"/>
                    </a:cubicBezTo>
                    <a:cubicBezTo>
                      <a:pt x="4" y="61"/>
                      <a:pt x="4" y="61"/>
                      <a:pt x="4" y="61"/>
                    </a:cubicBezTo>
                    <a:cubicBezTo>
                      <a:pt x="3" y="61"/>
                      <a:pt x="4" y="62"/>
                      <a:pt x="3" y="62"/>
                    </a:cubicBezTo>
                    <a:cubicBezTo>
                      <a:pt x="3" y="62"/>
                      <a:pt x="2" y="61"/>
                      <a:pt x="1" y="60"/>
                    </a:cubicBezTo>
                    <a:cubicBezTo>
                      <a:pt x="1" y="60"/>
                      <a:pt x="1" y="60"/>
                      <a:pt x="1" y="59"/>
                    </a:cubicBezTo>
                    <a:cubicBezTo>
                      <a:pt x="0" y="59"/>
                      <a:pt x="0" y="58"/>
                      <a:pt x="0" y="58"/>
                    </a:cubicBezTo>
                    <a:cubicBezTo>
                      <a:pt x="0" y="58"/>
                      <a:pt x="0" y="57"/>
                      <a:pt x="0" y="57"/>
                    </a:cubicBezTo>
                    <a:cubicBezTo>
                      <a:pt x="0" y="57"/>
                      <a:pt x="0" y="56"/>
                      <a:pt x="0" y="55"/>
                    </a:cubicBezTo>
                    <a:cubicBezTo>
                      <a:pt x="0" y="55"/>
                      <a:pt x="0" y="54"/>
                      <a:pt x="1" y="54"/>
                    </a:cubicBezTo>
                    <a:cubicBezTo>
                      <a:pt x="2" y="54"/>
                      <a:pt x="3" y="53"/>
                      <a:pt x="3" y="52"/>
                    </a:cubicBezTo>
                    <a:cubicBezTo>
                      <a:pt x="3" y="51"/>
                      <a:pt x="3" y="51"/>
                      <a:pt x="3" y="50"/>
                    </a:cubicBezTo>
                    <a:cubicBezTo>
                      <a:pt x="3" y="50"/>
                      <a:pt x="3" y="50"/>
                      <a:pt x="4" y="49"/>
                    </a:cubicBezTo>
                    <a:cubicBezTo>
                      <a:pt x="5" y="48"/>
                      <a:pt x="7" y="41"/>
                      <a:pt x="7" y="41"/>
                    </a:cubicBezTo>
                    <a:cubicBezTo>
                      <a:pt x="7" y="40"/>
                      <a:pt x="8" y="33"/>
                      <a:pt x="8" y="33"/>
                    </a:cubicBezTo>
                    <a:cubicBezTo>
                      <a:pt x="8" y="33"/>
                      <a:pt x="14" y="32"/>
                      <a:pt x="14" y="32"/>
                    </a:cubicBezTo>
                    <a:cubicBezTo>
                      <a:pt x="15" y="32"/>
                      <a:pt x="17" y="31"/>
                      <a:pt x="18" y="30"/>
                    </a:cubicBezTo>
                    <a:cubicBezTo>
                      <a:pt x="18" y="29"/>
                      <a:pt x="19" y="28"/>
                      <a:pt x="19" y="27"/>
                    </a:cubicBezTo>
                    <a:cubicBezTo>
                      <a:pt x="19" y="26"/>
                      <a:pt x="20" y="24"/>
                      <a:pt x="20" y="24"/>
                    </a:cubicBezTo>
                    <a:cubicBezTo>
                      <a:pt x="20" y="23"/>
                      <a:pt x="19" y="23"/>
                      <a:pt x="19" y="22"/>
                    </a:cubicBezTo>
                    <a:cubicBezTo>
                      <a:pt x="19" y="22"/>
                      <a:pt x="18" y="22"/>
                      <a:pt x="19" y="21"/>
                    </a:cubicBezTo>
                    <a:cubicBezTo>
                      <a:pt x="19" y="20"/>
                      <a:pt x="20" y="19"/>
                      <a:pt x="20" y="19"/>
                    </a:cubicBezTo>
                    <a:cubicBezTo>
                      <a:pt x="21" y="18"/>
                      <a:pt x="21" y="16"/>
                      <a:pt x="21" y="15"/>
                    </a:cubicBezTo>
                    <a:cubicBezTo>
                      <a:pt x="21" y="15"/>
                      <a:pt x="20" y="15"/>
                      <a:pt x="21" y="14"/>
                    </a:cubicBezTo>
                    <a:cubicBezTo>
                      <a:pt x="21" y="13"/>
                      <a:pt x="22" y="12"/>
                      <a:pt x="22" y="11"/>
                    </a:cubicBezTo>
                    <a:cubicBezTo>
                      <a:pt x="23" y="11"/>
                      <a:pt x="23" y="10"/>
                      <a:pt x="23" y="10"/>
                    </a:cubicBezTo>
                    <a:cubicBezTo>
                      <a:pt x="24" y="10"/>
                      <a:pt x="24" y="10"/>
                      <a:pt x="25" y="9"/>
                    </a:cubicBezTo>
                    <a:cubicBezTo>
                      <a:pt x="25" y="9"/>
                      <a:pt x="26" y="9"/>
                      <a:pt x="26" y="8"/>
                    </a:cubicBezTo>
                    <a:cubicBezTo>
                      <a:pt x="26" y="7"/>
                      <a:pt x="27" y="7"/>
                      <a:pt x="27" y="6"/>
                    </a:cubicBezTo>
                    <a:cubicBezTo>
                      <a:pt x="28" y="6"/>
                      <a:pt x="29" y="6"/>
                      <a:pt x="29" y="6"/>
                    </a:cubicBezTo>
                    <a:cubicBezTo>
                      <a:pt x="30" y="5"/>
                      <a:pt x="31" y="4"/>
                      <a:pt x="31" y="4"/>
                    </a:cubicBezTo>
                    <a:cubicBezTo>
                      <a:pt x="31" y="4"/>
                      <a:pt x="31" y="5"/>
                      <a:pt x="32" y="5"/>
                    </a:cubicBezTo>
                    <a:cubicBezTo>
                      <a:pt x="33" y="5"/>
                      <a:pt x="34" y="5"/>
                      <a:pt x="34" y="5"/>
                    </a:cubicBezTo>
                    <a:cubicBezTo>
                      <a:pt x="33" y="5"/>
                      <a:pt x="33" y="4"/>
                      <a:pt x="33" y="3"/>
                    </a:cubicBezTo>
                    <a:cubicBezTo>
                      <a:pt x="33" y="3"/>
                      <a:pt x="33" y="3"/>
                      <a:pt x="34" y="2"/>
                    </a:cubicBezTo>
                    <a:cubicBezTo>
                      <a:pt x="34" y="2"/>
                      <a:pt x="35" y="2"/>
                      <a:pt x="35" y="2"/>
                    </a:cubicBezTo>
                    <a:cubicBezTo>
                      <a:pt x="34" y="1"/>
                      <a:pt x="34" y="1"/>
                      <a:pt x="34" y="0"/>
                    </a:cubicBezTo>
                    <a:cubicBezTo>
                      <a:pt x="35" y="0"/>
                      <a:pt x="35" y="0"/>
                      <a:pt x="35" y="0"/>
                    </a:cubicBezTo>
                    <a:cubicBezTo>
                      <a:pt x="35" y="0"/>
                      <a:pt x="36" y="0"/>
                      <a:pt x="37" y="0"/>
                    </a:cubicBezTo>
                    <a:cubicBezTo>
                      <a:pt x="37" y="0"/>
                      <a:pt x="38" y="0"/>
                      <a:pt x="38" y="0"/>
                    </a:cubicBezTo>
                    <a:cubicBezTo>
                      <a:pt x="38" y="0"/>
                      <a:pt x="40" y="1"/>
                      <a:pt x="40" y="1"/>
                    </a:cubicBezTo>
                    <a:cubicBezTo>
                      <a:pt x="40" y="2"/>
                      <a:pt x="42" y="3"/>
                      <a:pt x="42" y="3"/>
                    </a:cubicBezTo>
                    <a:cubicBezTo>
                      <a:pt x="42" y="4"/>
                      <a:pt x="42" y="4"/>
                      <a:pt x="44" y="5"/>
                    </a:cubicBezTo>
                    <a:cubicBezTo>
                      <a:pt x="45" y="6"/>
                      <a:pt x="44" y="7"/>
                      <a:pt x="45" y="8"/>
                    </a:cubicBezTo>
                    <a:cubicBezTo>
                      <a:pt x="45" y="9"/>
                      <a:pt x="45" y="10"/>
                      <a:pt x="45" y="11"/>
                    </a:cubicBezTo>
                    <a:cubicBezTo>
                      <a:pt x="46" y="12"/>
                      <a:pt x="46" y="13"/>
                      <a:pt x="46" y="14"/>
                    </a:cubicBezTo>
                    <a:cubicBezTo>
                      <a:pt x="46" y="15"/>
                      <a:pt x="44" y="17"/>
                      <a:pt x="44" y="17"/>
                    </a:cubicBezTo>
                    <a:cubicBezTo>
                      <a:pt x="44" y="18"/>
                      <a:pt x="40" y="22"/>
                      <a:pt x="40" y="22"/>
                    </a:cubicBezTo>
                    <a:cubicBezTo>
                      <a:pt x="39" y="23"/>
                      <a:pt x="40" y="24"/>
                      <a:pt x="39" y="25"/>
                    </a:cubicBezTo>
                    <a:cubicBezTo>
                      <a:pt x="39" y="25"/>
                      <a:pt x="38" y="25"/>
                      <a:pt x="38" y="25"/>
                    </a:cubicBezTo>
                    <a:cubicBezTo>
                      <a:pt x="38" y="25"/>
                      <a:pt x="37" y="26"/>
                      <a:pt x="37" y="27"/>
                    </a:cubicBezTo>
                    <a:cubicBezTo>
                      <a:pt x="37" y="28"/>
                      <a:pt x="37" y="29"/>
                      <a:pt x="37" y="29"/>
                    </a:cubicBezTo>
                    <a:cubicBezTo>
                      <a:pt x="37" y="30"/>
                      <a:pt x="38" y="31"/>
                      <a:pt x="39" y="31"/>
                    </a:cubicBezTo>
                    <a:cubicBezTo>
                      <a:pt x="40" y="32"/>
                      <a:pt x="39" y="33"/>
                      <a:pt x="39" y="34"/>
                    </a:cubicBezTo>
                    <a:cubicBezTo>
                      <a:pt x="39" y="35"/>
                      <a:pt x="41" y="34"/>
                      <a:pt x="42" y="34"/>
                    </a:cubicBezTo>
                    <a:cubicBezTo>
                      <a:pt x="42" y="33"/>
                      <a:pt x="44" y="33"/>
                      <a:pt x="44" y="33"/>
                    </a:cubicBezTo>
                    <a:cubicBezTo>
                      <a:pt x="44" y="33"/>
                      <a:pt x="45" y="35"/>
                      <a:pt x="45" y="35"/>
                    </a:cubicBezTo>
                    <a:cubicBezTo>
                      <a:pt x="45" y="35"/>
                      <a:pt x="47" y="35"/>
                      <a:pt x="47" y="36"/>
                    </a:cubicBezTo>
                    <a:cubicBezTo>
                      <a:pt x="48" y="36"/>
                      <a:pt x="47" y="37"/>
                      <a:pt x="47" y="38"/>
                    </a:cubicBezTo>
                    <a:cubicBezTo>
                      <a:pt x="47" y="39"/>
                      <a:pt x="49" y="39"/>
                      <a:pt x="49" y="39"/>
                    </a:cubicBezTo>
                    <a:cubicBezTo>
                      <a:pt x="49" y="39"/>
                      <a:pt x="49" y="40"/>
                      <a:pt x="50" y="40"/>
                    </a:cubicBezTo>
                    <a:cubicBezTo>
                      <a:pt x="51" y="39"/>
                      <a:pt x="51" y="39"/>
                      <a:pt x="52" y="40"/>
                    </a:cubicBezTo>
                    <a:cubicBezTo>
                      <a:pt x="52" y="40"/>
                      <a:pt x="53" y="40"/>
                      <a:pt x="53" y="41"/>
                    </a:cubicBezTo>
                    <a:cubicBezTo>
                      <a:pt x="53" y="42"/>
                      <a:pt x="52" y="43"/>
                      <a:pt x="52" y="44"/>
                    </a:cubicBezTo>
                    <a:cubicBezTo>
                      <a:pt x="51" y="45"/>
                      <a:pt x="50" y="46"/>
                      <a:pt x="50" y="46"/>
                    </a:cubicBezTo>
                    <a:cubicBezTo>
                      <a:pt x="49" y="47"/>
                      <a:pt x="53" y="44"/>
                      <a:pt x="54" y="44"/>
                    </a:cubicBezTo>
                    <a:cubicBezTo>
                      <a:pt x="54" y="44"/>
                      <a:pt x="54" y="46"/>
                      <a:pt x="55" y="46"/>
                    </a:cubicBezTo>
                    <a:cubicBezTo>
                      <a:pt x="56" y="46"/>
                      <a:pt x="51" y="48"/>
                      <a:pt x="52" y="49"/>
                    </a:cubicBezTo>
                    <a:cubicBezTo>
                      <a:pt x="52" y="49"/>
                      <a:pt x="52" y="50"/>
                      <a:pt x="52" y="51"/>
                    </a:cubicBezTo>
                    <a:cubicBezTo>
                      <a:pt x="53" y="52"/>
                      <a:pt x="53" y="52"/>
                      <a:pt x="54" y="51"/>
                    </a:cubicBezTo>
                    <a:cubicBezTo>
                      <a:pt x="56" y="51"/>
                      <a:pt x="57" y="51"/>
                      <a:pt x="58" y="50"/>
                    </a:cubicBezTo>
                    <a:cubicBezTo>
                      <a:pt x="58" y="50"/>
                      <a:pt x="60" y="50"/>
                      <a:pt x="60" y="51"/>
                    </a:cubicBezTo>
                    <a:cubicBezTo>
                      <a:pt x="60" y="51"/>
                      <a:pt x="60" y="52"/>
                      <a:pt x="60" y="52"/>
                    </a:cubicBezTo>
                    <a:close/>
                    <a:moveTo>
                      <a:pt x="9" y="73"/>
                    </a:moveTo>
                    <a:cubicBezTo>
                      <a:pt x="9" y="73"/>
                      <a:pt x="9" y="74"/>
                      <a:pt x="9" y="74"/>
                    </a:cubicBezTo>
                    <a:cubicBezTo>
                      <a:pt x="10" y="74"/>
                      <a:pt x="11" y="74"/>
                      <a:pt x="11" y="74"/>
                    </a:cubicBezTo>
                    <a:cubicBezTo>
                      <a:pt x="11" y="73"/>
                      <a:pt x="10" y="72"/>
                      <a:pt x="10" y="72"/>
                    </a:cubicBezTo>
                    <a:cubicBezTo>
                      <a:pt x="9" y="72"/>
                      <a:pt x="8" y="72"/>
                      <a:pt x="9" y="7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8" name="Freeform 847">
                <a:extLst>
                  <a:ext uri="{FF2B5EF4-FFF2-40B4-BE49-F238E27FC236}">
                    <a16:creationId xmlns:a16="http://schemas.microsoft.com/office/drawing/2014/main" id="{25F353B9-B904-DD08-AAD3-879C7BCBDD78}"/>
                  </a:ext>
                </a:extLst>
              </p:cNvPr>
              <p:cNvSpPr>
                <a:spLocks/>
              </p:cNvSpPr>
              <p:nvPr/>
            </p:nvSpPr>
            <p:spPr bwMode="auto">
              <a:xfrm>
                <a:off x="7851775" y="3154363"/>
                <a:ext cx="908050" cy="442913"/>
              </a:xfrm>
              <a:custGeom>
                <a:avLst/>
                <a:gdLst>
                  <a:gd name="T0" fmla="*/ 4 w 218"/>
                  <a:gd name="T1" fmla="*/ 40 h 106"/>
                  <a:gd name="T2" fmla="*/ 10 w 218"/>
                  <a:gd name="T3" fmla="*/ 45 h 106"/>
                  <a:gd name="T4" fmla="*/ 16 w 218"/>
                  <a:gd name="T5" fmla="*/ 46 h 106"/>
                  <a:gd name="T6" fmla="*/ 22 w 218"/>
                  <a:gd name="T7" fmla="*/ 57 h 106"/>
                  <a:gd name="T8" fmla="*/ 22 w 218"/>
                  <a:gd name="T9" fmla="*/ 62 h 106"/>
                  <a:gd name="T10" fmla="*/ 20 w 218"/>
                  <a:gd name="T11" fmla="*/ 70 h 106"/>
                  <a:gd name="T12" fmla="*/ 29 w 218"/>
                  <a:gd name="T13" fmla="*/ 74 h 106"/>
                  <a:gd name="T14" fmla="*/ 52 w 218"/>
                  <a:gd name="T15" fmla="*/ 81 h 106"/>
                  <a:gd name="T16" fmla="*/ 58 w 218"/>
                  <a:gd name="T17" fmla="*/ 94 h 106"/>
                  <a:gd name="T18" fmla="*/ 81 w 218"/>
                  <a:gd name="T19" fmla="*/ 97 h 106"/>
                  <a:gd name="T20" fmla="*/ 95 w 218"/>
                  <a:gd name="T21" fmla="*/ 98 h 106"/>
                  <a:gd name="T22" fmla="*/ 113 w 218"/>
                  <a:gd name="T23" fmla="*/ 104 h 106"/>
                  <a:gd name="T24" fmla="*/ 117 w 218"/>
                  <a:gd name="T25" fmla="*/ 106 h 106"/>
                  <a:gd name="T26" fmla="*/ 153 w 218"/>
                  <a:gd name="T27" fmla="*/ 96 h 106"/>
                  <a:gd name="T28" fmla="*/ 164 w 218"/>
                  <a:gd name="T29" fmla="*/ 84 h 106"/>
                  <a:gd name="T30" fmla="*/ 164 w 218"/>
                  <a:gd name="T31" fmla="*/ 74 h 106"/>
                  <a:gd name="T32" fmla="*/ 177 w 218"/>
                  <a:gd name="T33" fmla="*/ 76 h 106"/>
                  <a:gd name="T34" fmla="*/ 193 w 218"/>
                  <a:gd name="T35" fmla="*/ 67 h 106"/>
                  <a:gd name="T36" fmla="*/ 201 w 218"/>
                  <a:gd name="T37" fmla="*/ 59 h 106"/>
                  <a:gd name="T38" fmla="*/ 211 w 218"/>
                  <a:gd name="T39" fmla="*/ 57 h 106"/>
                  <a:gd name="T40" fmla="*/ 218 w 218"/>
                  <a:gd name="T41" fmla="*/ 55 h 106"/>
                  <a:gd name="T42" fmla="*/ 200 w 218"/>
                  <a:gd name="T43" fmla="*/ 47 h 106"/>
                  <a:gd name="T44" fmla="*/ 188 w 218"/>
                  <a:gd name="T45" fmla="*/ 45 h 106"/>
                  <a:gd name="T46" fmla="*/ 196 w 218"/>
                  <a:gd name="T47" fmla="*/ 26 h 106"/>
                  <a:gd name="T48" fmla="*/ 186 w 218"/>
                  <a:gd name="T49" fmla="*/ 24 h 106"/>
                  <a:gd name="T50" fmla="*/ 174 w 218"/>
                  <a:gd name="T51" fmla="*/ 24 h 106"/>
                  <a:gd name="T52" fmla="*/ 155 w 218"/>
                  <a:gd name="T53" fmla="*/ 32 h 106"/>
                  <a:gd name="T54" fmla="*/ 145 w 218"/>
                  <a:gd name="T55" fmla="*/ 31 h 106"/>
                  <a:gd name="T56" fmla="*/ 137 w 218"/>
                  <a:gd name="T57" fmla="*/ 28 h 106"/>
                  <a:gd name="T58" fmla="*/ 131 w 218"/>
                  <a:gd name="T59" fmla="*/ 22 h 106"/>
                  <a:gd name="T60" fmla="*/ 126 w 218"/>
                  <a:gd name="T61" fmla="*/ 21 h 106"/>
                  <a:gd name="T62" fmla="*/ 116 w 218"/>
                  <a:gd name="T63" fmla="*/ 20 h 106"/>
                  <a:gd name="T64" fmla="*/ 110 w 218"/>
                  <a:gd name="T65" fmla="*/ 22 h 106"/>
                  <a:gd name="T66" fmla="*/ 102 w 218"/>
                  <a:gd name="T67" fmla="*/ 20 h 106"/>
                  <a:gd name="T68" fmla="*/ 98 w 218"/>
                  <a:gd name="T69" fmla="*/ 12 h 106"/>
                  <a:gd name="T70" fmla="*/ 93 w 218"/>
                  <a:gd name="T71" fmla="*/ 8 h 106"/>
                  <a:gd name="T72" fmla="*/ 82 w 218"/>
                  <a:gd name="T73" fmla="*/ 3 h 106"/>
                  <a:gd name="T74" fmla="*/ 75 w 218"/>
                  <a:gd name="T75" fmla="*/ 3 h 106"/>
                  <a:gd name="T76" fmla="*/ 71 w 218"/>
                  <a:gd name="T77" fmla="*/ 8 h 106"/>
                  <a:gd name="T78" fmla="*/ 68 w 218"/>
                  <a:gd name="T79" fmla="*/ 12 h 106"/>
                  <a:gd name="T80" fmla="*/ 70 w 218"/>
                  <a:gd name="T81" fmla="*/ 17 h 106"/>
                  <a:gd name="T82" fmla="*/ 69 w 218"/>
                  <a:gd name="T83" fmla="*/ 25 h 106"/>
                  <a:gd name="T84" fmla="*/ 64 w 218"/>
                  <a:gd name="T85" fmla="*/ 26 h 106"/>
                  <a:gd name="T86" fmla="*/ 52 w 218"/>
                  <a:gd name="T87" fmla="*/ 25 h 106"/>
                  <a:gd name="T88" fmla="*/ 45 w 218"/>
                  <a:gd name="T89" fmla="*/ 22 h 106"/>
                  <a:gd name="T90" fmla="*/ 36 w 218"/>
                  <a:gd name="T91" fmla="*/ 16 h 106"/>
                  <a:gd name="T92" fmla="*/ 31 w 218"/>
                  <a:gd name="T93" fmla="*/ 15 h 106"/>
                  <a:gd name="T94" fmla="*/ 22 w 218"/>
                  <a:gd name="T95" fmla="*/ 19 h 106"/>
                  <a:gd name="T96" fmla="*/ 17 w 218"/>
                  <a:gd name="T97" fmla="*/ 23 h 106"/>
                  <a:gd name="T98" fmla="*/ 13 w 218"/>
                  <a:gd name="T99" fmla="*/ 26 h 106"/>
                  <a:gd name="T100" fmla="*/ 10 w 218"/>
                  <a:gd name="T101" fmla="*/ 28 h 106"/>
                  <a:gd name="T102" fmla="*/ 7 w 218"/>
                  <a:gd name="T103" fmla="*/ 30 h 106"/>
                  <a:gd name="T104" fmla="*/ 1 w 218"/>
                  <a:gd name="T105" fmla="*/ 3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06">
                    <a:moveTo>
                      <a:pt x="0" y="36"/>
                    </a:moveTo>
                    <a:cubicBezTo>
                      <a:pt x="2" y="37"/>
                      <a:pt x="2" y="37"/>
                      <a:pt x="2" y="37"/>
                    </a:cubicBezTo>
                    <a:cubicBezTo>
                      <a:pt x="2" y="39"/>
                      <a:pt x="2" y="39"/>
                      <a:pt x="2" y="39"/>
                    </a:cubicBezTo>
                    <a:cubicBezTo>
                      <a:pt x="2" y="39"/>
                      <a:pt x="4" y="40"/>
                      <a:pt x="4" y="40"/>
                    </a:cubicBezTo>
                    <a:cubicBezTo>
                      <a:pt x="4" y="40"/>
                      <a:pt x="5" y="41"/>
                      <a:pt x="5" y="41"/>
                    </a:cubicBezTo>
                    <a:cubicBezTo>
                      <a:pt x="6" y="42"/>
                      <a:pt x="6" y="42"/>
                      <a:pt x="6" y="42"/>
                    </a:cubicBezTo>
                    <a:cubicBezTo>
                      <a:pt x="8" y="45"/>
                      <a:pt x="8" y="45"/>
                      <a:pt x="8" y="45"/>
                    </a:cubicBezTo>
                    <a:cubicBezTo>
                      <a:pt x="8" y="45"/>
                      <a:pt x="10" y="45"/>
                      <a:pt x="10" y="45"/>
                    </a:cubicBezTo>
                    <a:cubicBezTo>
                      <a:pt x="10" y="45"/>
                      <a:pt x="11" y="44"/>
                      <a:pt x="11" y="44"/>
                    </a:cubicBezTo>
                    <a:cubicBezTo>
                      <a:pt x="12" y="44"/>
                      <a:pt x="12" y="45"/>
                      <a:pt x="13" y="45"/>
                    </a:cubicBezTo>
                    <a:cubicBezTo>
                      <a:pt x="13" y="45"/>
                      <a:pt x="14" y="46"/>
                      <a:pt x="14" y="46"/>
                    </a:cubicBezTo>
                    <a:cubicBezTo>
                      <a:pt x="16" y="46"/>
                      <a:pt x="16" y="46"/>
                      <a:pt x="16" y="46"/>
                    </a:cubicBezTo>
                    <a:cubicBezTo>
                      <a:pt x="17" y="47"/>
                      <a:pt x="17" y="47"/>
                      <a:pt x="17" y="47"/>
                    </a:cubicBezTo>
                    <a:cubicBezTo>
                      <a:pt x="17" y="47"/>
                      <a:pt x="18" y="48"/>
                      <a:pt x="18" y="48"/>
                    </a:cubicBezTo>
                    <a:cubicBezTo>
                      <a:pt x="18" y="48"/>
                      <a:pt x="19" y="53"/>
                      <a:pt x="19" y="53"/>
                    </a:cubicBezTo>
                    <a:cubicBezTo>
                      <a:pt x="22" y="57"/>
                      <a:pt x="22" y="57"/>
                      <a:pt x="22" y="57"/>
                    </a:cubicBezTo>
                    <a:cubicBezTo>
                      <a:pt x="22" y="57"/>
                      <a:pt x="22" y="58"/>
                      <a:pt x="22" y="59"/>
                    </a:cubicBezTo>
                    <a:cubicBezTo>
                      <a:pt x="22" y="59"/>
                      <a:pt x="22" y="60"/>
                      <a:pt x="22" y="60"/>
                    </a:cubicBezTo>
                    <a:cubicBezTo>
                      <a:pt x="22" y="60"/>
                      <a:pt x="21" y="61"/>
                      <a:pt x="21" y="61"/>
                    </a:cubicBezTo>
                    <a:cubicBezTo>
                      <a:pt x="21" y="61"/>
                      <a:pt x="22" y="62"/>
                      <a:pt x="22" y="62"/>
                    </a:cubicBezTo>
                    <a:cubicBezTo>
                      <a:pt x="22" y="63"/>
                      <a:pt x="22" y="65"/>
                      <a:pt x="22" y="65"/>
                    </a:cubicBezTo>
                    <a:cubicBezTo>
                      <a:pt x="22" y="65"/>
                      <a:pt x="21" y="66"/>
                      <a:pt x="21" y="66"/>
                    </a:cubicBezTo>
                    <a:cubicBezTo>
                      <a:pt x="21" y="67"/>
                      <a:pt x="20" y="68"/>
                      <a:pt x="20" y="68"/>
                    </a:cubicBezTo>
                    <a:cubicBezTo>
                      <a:pt x="20" y="68"/>
                      <a:pt x="20" y="70"/>
                      <a:pt x="20" y="70"/>
                    </a:cubicBezTo>
                    <a:cubicBezTo>
                      <a:pt x="20" y="70"/>
                      <a:pt x="20" y="71"/>
                      <a:pt x="21" y="71"/>
                    </a:cubicBezTo>
                    <a:cubicBezTo>
                      <a:pt x="21" y="72"/>
                      <a:pt x="22" y="72"/>
                      <a:pt x="22" y="72"/>
                    </a:cubicBezTo>
                    <a:cubicBezTo>
                      <a:pt x="23" y="72"/>
                      <a:pt x="25" y="73"/>
                      <a:pt x="25" y="73"/>
                    </a:cubicBezTo>
                    <a:cubicBezTo>
                      <a:pt x="25" y="73"/>
                      <a:pt x="29" y="74"/>
                      <a:pt x="29" y="74"/>
                    </a:cubicBezTo>
                    <a:cubicBezTo>
                      <a:pt x="38" y="74"/>
                      <a:pt x="38" y="74"/>
                      <a:pt x="38" y="74"/>
                    </a:cubicBezTo>
                    <a:cubicBezTo>
                      <a:pt x="41" y="75"/>
                      <a:pt x="41" y="75"/>
                      <a:pt x="41" y="75"/>
                    </a:cubicBezTo>
                    <a:cubicBezTo>
                      <a:pt x="49" y="81"/>
                      <a:pt x="49" y="81"/>
                      <a:pt x="49" y="81"/>
                    </a:cubicBezTo>
                    <a:cubicBezTo>
                      <a:pt x="52" y="81"/>
                      <a:pt x="52" y="81"/>
                      <a:pt x="52" y="81"/>
                    </a:cubicBezTo>
                    <a:cubicBezTo>
                      <a:pt x="52" y="83"/>
                      <a:pt x="52" y="83"/>
                      <a:pt x="52" y="83"/>
                    </a:cubicBezTo>
                    <a:cubicBezTo>
                      <a:pt x="53" y="84"/>
                      <a:pt x="53" y="84"/>
                      <a:pt x="53" y="84"/>
                    </a:cubicBezTo>
                    <a:cubicBezTo>
                      <a:pt x="55" y="90"/>
                      <a:pt x="55" y="90"/>
                      <a:pt x="55" y="90"/>
                    </a:cubicBezTo>
                    <a:cubicBezTo>
                      <a:pt x="58" y="94"/>
                      <a:pt x="58" y="94"/>
                      <a:pt x="58" y="94"/>
                    </a:cubicBezTo>
                    <a:cubicBezTo>
                      <a:pt x="59" y="95"/>
                      <a:pt x="59" y="95"/>
                      <a:pt x="59" y="95"/>
                    </a:cubicBezTo>
                    <a:cubicBezTo>
                      <a:pt x="62" y="95"/>
                      <a:pt x="62" y="95"/>
                      <a:pt x="62" y="95"/>
                    </a:cubicBezTo>
                    <a:cubicBezTo>
                      <a:pt x="64" y="95"/>
                      <a:pt x="64" y="95"/>
                      <a:pt x="64" y="95"/>
                    </a:cubicBezTo>
                    <a:cubicBezTo>
                      <a:pt x="81" y="97"/>
                      <a:pt x="81" y="97"/>
                      <a:pt x="81" y="97"/>
                    </a:cubicBezTo>
                    <a:cubicBezTo>
                      <a:pt x="86" y="97"/>
                      <a:pt x="86" y="97"/>
                      <a:pt x="86" y="97"/>
                    </a:cubicBezTo>
                    <a:cubicBezTo>
                      <a:pt x="89" y="96"/>
                      <a:pt x="89" y="96"/>
                      <a:pt x="89" y="96"/>
                    </a:cubicBezTo>
                    <a:cubicBezTo>
                      <a:pt x="89" y="96"/>
                      <a:pt x="92" y="97"/>
                      <a:pt x="92" y="97"/>
                    </a:cubicBezTo>
                    <a:cubicBezTo>
                      <a:pt x="92" y="97"/>
                      <a:pt x="95" y="98"/>
                      <a:pt x="95" y="98"/>
                    </a:cubicBezTo>
                    <a:cubicBezTo>
                      <a:pt x="95" y="98"/>
                      <a:pt x="97" y="100"/>
                      <a:pt x="97" y="100"/>
                    </a:cubicBezTo>
                    <a:cubicBezTo>
                      <a:pt x="101" y="101"/>
                      <a:pt x="101" y="101"/>
                      <a:pt x="101" y="101"/>
                    </a:cubicBezTo>
                    <a:cubicBezTo>
                      <a:pt x="107" y="104"/>
                      <a:pt x="107" y="104"/>
                      <a:pt x="107" y="104"/>
                    </a:cubicBezTo>
                    <a:cubicBezTo>
                      <a:pt x="113" y="104"/>
                      <a:pt x="113" y="104"/>
                      <a:pt x="113" y="104"/>
                    </a:cubicBezTo>
                    <a:cubicBezTo>
                      <a:pt x="114" y="105"/>
                      <a:pt x="114" y="105"/>
                      <a:pt x="114" y="105"/>
                    </a:cubicBezTo>
                    <a:cubicBezTo>
                      <a:pt x="116" y="106"/>
                      <a:pt x="116" y="106"/>
                      <a:pt x="116" y="106"/>
                    </a:cubicBezTo>
                    <a:cubicBezTo>
                      <a:pt x="117" y="106"/>
                      <a:pt x="117" y="106"/>
                      <a:pt x="117" y="106"/>
                    </a:cubicBezTo>
                    <a:cubicBezTo>
                      <a:pt x="117" y="106"/>
                      <a:pt x="117" y="106"/>
                      <a:pt x="117" y="106"/>
                    </a:cubicBezTo>
                    <a:cubicBezTo>
                      <a:pt x="122" y="103"/>
                      <a:pt x="122" y="103"/>
                      <a:pt x="122" y="103"/>
                    </a:cubicBezTo>
                    <a:cubicBezTo>
                      <a:pt x="133" y="98"/>
                      <a:pt x="133" y="98"/>
                      <a:pt x="133" y="98"/>
                    </a:cubicBezTo>
                    <a:cubicBezTo>
                      <a:pt x="148" y="98"/>
                      <a:pt x="148" y="98"/>
                      <a:pt x="148" y="98"/>
                    </a:cubicBezTo>
                    <a:cubicBezTo>
                      <a:pt x="153" y="96"/>
                      <a:pt x="153" y="96"/>
                      <a:pt x="153" y="96"/>
                    </a:cubicBezTo>
                    <a:cubicBezTo>
                      <a:pt x="154" y="95"/>
                      <a:pt x="154" y="95"/>
                      <a:pt x="154" y="95"/>
                    </a:cubicBezTo>
                    <a:cubicBezTo>
                      <a:pt x="158" y="90"/>
                      <a:pt x="158" y="90"/>
                      <a:pt x="158" y="90"/>
                    </a:cubicBezTo>
                    <a:cubicBezTo>
                      <a:pt x="164" y="87"/>
                      <a:pt x="164" y="87"/>
                      <a:pt x="164" y="87"/>
                    </a:cubicBezTo>
                    <a:cubicBezTo>
                      <a:pt x="164" y="84"/>
                      <a:pt x="164" y="84"/>
                      <a:pt x="164" y="84"/>
                    </a:cubicBezTo>
                    <a:cubicBezTo>
                      <a:pt x="164" y="84"/>
                      <a:pt x="161" y="82"/>
                      <a:pt x="161" y="82"/>
                    </a:cubicBezTo>
                    <a:cubicBezTo>
                      <a:pt x="161" y="81"/>
                      <a:pt x="161" y="79"/>
                      <a:pt x="161" y="79"/>
                    </a:cubicBezTo>
                    <a:cubicBezTo>
                      <a:pt x="161" y="79"/>
                      <a:pt x="161" y="78"/>
                      <a:pt x="162" y="77"/>
                    </a:cubicBezTo>
                    <a:cubicBezTo>
                      <a:pt x="162" y="77"/>
                      <a:pt x="164" y="74"/>
                      <a:pt x="164" y="74"/>
                    </a:cubicBezTo>
                    <a:cubicBezTo>
                      <a:pt x="166" y="74"/>
                      <a:pt x="166" y="74"/>
                      <a:pt x="166" y="74"/>
                    </a:cubicBezTo>
                    <a:cubicBezTo>
                      <a:pt x="170" y="76"/>
                      <a:pt x="170" y="76"/>
                      <a:pt x="170" y="76"/>
                    </a:cubicBezTo>
                    <a:cubicBezTo>
                      <a:pt x="173" y="76"/>
                      <a:pt x="173" y="76"/>
                      <a:pt x="173" y="76"/>
                    </a:cubicBezTo>
                    <a:cubicBezTo>
                      <a:pt x="177" y="76"/>
                      <a:pt x="177" y="76"/>
                      <a:pt x="177" y="76"/>
                    </a:cubicBezTo>
                    <a:cubicBezTo>
                      <a:pt x="180" y="73"/>
                      <a:pt x="180" y="73"/>
                      <a:pt x="180" y="73"/>
                    </a:cubicBezTo>
                    <a:cubicBezTo>
                      <a:pt x="182" y="70"/>
                      <a:pt x="182" y="70"/>
                      <a:pt x="182" y="70"/>
                    </a:cubicBezTo>
                    <a:cubicBezTo>
                      <a:pt x="190" y="70"/>
                      <a:pt x="190" y="70"/>
                      <a:pt x="190" y="70"/>
                    </a:cubicBezTo>
                    <a:cubicBezTo>
                      <a:pt x="193" y="67"/>
                      <a:pt x="193" y="67"/>
                      <a:pt x="193" y="67"/>
                    </a:cubicBezTo>
                    <a:cubicBezTo>
                      <a:pt x="193" y="65"/>
                      <a:pt x="193" y="65"/>
                      <a:pt x="193" y="65"/>
                    </a:cubicBezTo>
                    <a:cubicBezTo>
                      <a:pt x="196" y="61"/>
                      <a:pt x="196" y="61"/>
                      <a:pt x="196" y="61"/>
                    </a:cubicBezTo>
                    <a:cubicBezTo>
                      <a:pt x="201" y="61"/>
                      <a:pt x="201" y="61"/>
                      <a:pt x="201" y="61"/>
                    </a:cubicBezTo>
                    <a:cubicBezTo>
                      <a:pt x="201" y="59"/>
                      <a:pt x="201" y="59"/>
                      <a:pt x="201" y="59"/>
                    </a:cubicBezTo>
                    <a:cubicBezTo>
                      <a:pt x="204" y="59"/>
                      <a:pt x="204" y="59"/>
                      <a:pt x="204" y="59"/>
                    </a:cubicBezTo>
                    <a:cubicBezTo>
                      <a:pt x="206" y="58"/>
                      <a:pt x="206" y="58"/>
                      <a:pt x="206" y="58"/>
                    </a:cubicBezTo>
                    <a:cubicBezTo>
                      <a:pt x="207" y="57"/>
                      <a:pt x="207" y="57"/>
                      <a:pt x="207" y="57"/>
                    </a:cubicBezTo>
                    <a:cubicBezTo>
                      <a:pt x="211" y="57"/>
                      <a:pt x="211" y="57"/>
                      <a:pt x="211" y="57"/>
                    </a:cubicBezTo>
                    <a:cubicBezTo>
                      <a:pt x="214" y="58"/>
                      <a:pt x="214" y="58"/>
                      <a:pt x="214" y="58"/>
                    </a:cubicBezTo>
                    <a:cubicBezTo>
                      <a:pt x="216" y="58"/>
                      <a:pt x="216" y="58"/>
                      <a:pt x="216" y="58"/>
                    </a:cubicBezTo>
                    <a:cubicBezTo>
                      <a:pt x="218" y="58"/>
                      <a:pt x="218" y="58"/>
                      <a:pt x="218" y="58"/>
                    </a:cubicBezTo>
                    <a:cubicBezTo>
                      <a:pt x="218" y="55"/>
                      <a:pt x="218" y="55"/>
                      <a:pt x="218" y="55"/>
                    </a:cubicBezTo>
                    <a:cubicBezTo>
                      <a:pt x="209" y="45"/>
                      <a:pt x="209" y="45"/>
                      <a:pt x="209" y="45"/>
                    </a:cubicBezTo>
                    <a:cubicBezTo>
                      <a:pt x="204" y="45"/>
                      <a:pt x="204" y="45"/>
                      <a:pt x="204" y="45"/>
                    </a:cubicBezTo>
                    <a:cubicBezTo>
                      <a:pt x="201" y="48"/>
                      <a:pt x="201" y="48"/>
                      <a:pt x="201" y="48"/>
                    </a:cubicBezTo>
                    <a:cubicBezTo>
                      <a:pt x="200" y="47"/>
                      <a:pt x="200" y="47"/>
                      <a:pt x="200" y="47"/>
                    </a:cubicBezTo>
                    <a:cubicBezTo>
                      <a:pt x="197" y="45"/>
                      <a:pt x="197" y="45"/>
                      <a:pt x="197" y="45"/>
                    </a:cubicBezTo>
                    <a:cubicBezTo>
                      <a:pt x="193" y="45"/>
                      <a:pt x="193" y="45"/>
                      <a:pt x="193" y="45"/>
                    </a:cubicBezTo>
                    <a:cubicBezTo>
                      <a:pt x="191" y="48"/>
                      <a:pt x="191" y="48"/>
                      <a:pt x="191" y="48"/>
                    </a:cubicBezTo>
                    <a:cubicBezTo>
                      <a:pt x="188" y="45"/>
                      <a:pt x="188" y="45"/>
                      <a:pt x="188" y="45"/>
                    </a:cubicBezTo>
                    <a:cubicBezTo>
                      <a:pt x="188" y="43"/>
                      <a:pt x="188" y="43"/>
                      <a:pt x="188" y="43"/>
                    </a:cubicBezTo>
                    <a:cubicBezTo>
                      <a:pt x="190" y="42"/>
                      <a:pt x="190" y="42"/>
                      <a:pt x="190" y="42"/>
                    </a:cubicBezTo>
                    <a:cubicBezTo>
                      <a:pt x="190" y="39"/>
                      <a:pt x="190" y="39"/>
                      <a:pt x="190" y="39"/>
                    </a:cubicBezTo>
                    <a:cubicBezTo>
                      <a:pt x="196" y="26"/>
                      <a:pt x="196" y="26"/>
                      <a:pt x="196" y="26"/>
                    </a:cubicBezTo>
                    <a:cubicBezTo>
                      <a:pt x="193" y="23"/>
                      <a:pt x="193" y="23"/>
                      <a:pt x="193" y="23"/>
                    </a:cubicBezTo>
                    <a:cubicBezTo>
                      <a:pt x="190" y="25"/>
                      <a:pt x="190" y="25"/>
                      <a:pt x="190" y="25"/>
                    </a:cubicBezTo>
                    <a:cubicBezTo>
                      <a:pt x="188" y="25"/>
                      <a:pt x="188" y="25"/>
                      <a:pt x="188" y="25"/>
                    </a:cubicBezTo>
                    <a:cubicBezTo>
                      <a:pt x="186" y="24"/>
                      <a:pt x="186" y="24"/>
                      <a:pt x="186" y="24"/>
                    </a:cubicBezTo>
                    <a:cubicBezTo>
                      <a:pt x="183" y="22"/>
                      <a:pt x="183" y="22"/>
                      <a:pt x="183" y="22"/>
                    </a:cubicBezTo>
                    <a:cubicBezTo>
                      <a:pt x="183" y="22"/>
                      <a:pt x="180" y="21"/>
                      <a:pt x="180" y="21"/>
                    </a:cubicBezTo>
                    <a:cubicBezTo>
                      <a:pt x="180" y="21"/>
                      <a:pt x="179" y="21"/>
                      <a:pt x="179" y="21"/>
                    </a:cubicBezTo>
                    <a:cubicBezTo>
                      <a:pt x="174" y="24"/>
                      <a:pt x="174" y="24"/>
                      <a:pt x="174" y="24"/>
                    </a:cubicBezTo>
                    <a:cubicBezTo>
                      <a:pt x="171" y="28"/>
                      <a:pt x="171" y="28"/>
                      <a:pt x="171" y="28"/>
                    </a:cubicBezTo>
                    <a:cubicBezTo>
                      <a:pt x="165" y="30"/>
                      <a:pt x="165" y="30"/>
                      <a:pt x="165" y="30"/>
                    </a:cubicBezTo>
                    <a:cubicBezTo>
                      <a:pt x="157" y="33"/>
                      <a:pt x="157" y="33"/>
                      <a:pt x="157" y="33"/>
                    </a:cubicBezTo>
                    <a:cubicBezTo>
                      <a:pt x="155" y="32"/>
                      <a:pt x="155" y="32"/>
                      <a:pt x="155" y="32"/>
                    </a:cubicBezTo>
                    <a:cubicBezTo>
                      <a:pt x="154" y="32"/>
                      <a:pt x="154" y="32"/>
                      <a:pt x="154" y="32"/>
                    </a:cubicBezTo>
                    <a:cubicBezTo>
                      <a:pt x="152" y="33"/>
                      <a:pt x="152" y="33"/>
                      <a:pt x="152" y="33"/>
                    </a:cubicBezTo>
                    <a:cubicBezTo>
                      <a:pt x="151" y="33"/>
                      <a:pt x="151" y="33"/>
                      <a:pt x="151" y="33"/>
                    </a:cubicBezTo>
                    <a:cubicBezTo>
                      <a:pt x="151" y="33"/>
                      <a:pt x="146" y="31"/>
                      <a:pt x="145" y="31"/>
                    </a:cubicBezTo>
                    <a:cubicBezTo>
                      <a:pt x="145" y="31"/>
                      <a:pt x="140" y="31"/>
                      <a:pt x="140" y="31"/>
                    </a:cubicBezTo>
                    <a:cubicBezTo>
                      <a:pt x="140" y="30"/>
                      <a:pt x="140" y="30"/>
                      <a:pt x="140" y="30"/>
                    </a:cubicBezTo>
                    <a:cubicBezTo>
                      <a:pt x="138" y="28"/>
                      <a:pt x="138" y="28"/>
                      <a:pt x="138" y="28"/>
                    </a:cubicBezTo>
                    <a:cubicBezTo>
                      <a:pt x="137" y="28"/>
                      <a:pt x="137" y="28"/>
                      <a:pt x="137" y="28"/>
                    </a:cubicBezTo>
                    <a:cubicBezTo>
                      <a:pt x="137" y="25"/>
                      <a:pt x="137" y="25"/>
                      <a:pt x="137" y="25"/>
                    </a:cubicBezTo>
                    <a:cubicBezTo>
                      <a:pt x="134" y="24"/>
                      <a:pt x="134" y="24"/>
                      <a:pt x="134" y="24"/>
                    </a:cubicBezTo>
                    <a:cubicBezTo>
                      <a:pt x="132" y="24"/>
                      <a:pt x="132" y="24"/>
                      <a:pt x="132" y="24"/>
                    </a:cubicBezTo>
                    <a:cubicBezTo>
                      <a:pt x="132" y="24"/>
                      <a:pt x="131" y="23"/>
                      <a:pt x="131" y="22"/>
                    </a:cubicBezTo>
                    <a:cubicBezTo>
                      <a:pt x="131" y="22"/>
                      <a:pt x="130" y="21"/>
                      <a:pt x="130" y="21"/>
                    </a:cubicBezTo>
                    <a:cubicBezTo>
                      <a:pt x="129" y="21"/>
                      <a:pt x="128" y="20"/>
                      <a:pt x="128" y="20"/>
                    </a:cubicBezTo>
                    <a:cubicBezTo>
                      <a:pt x="126" y="20"/>
                      <a:pt x="126" y="20"/>
                      <a:pt x="126" y="20"/>
                    </a:cubicBezTo>
                    <a:cubicBezTo>
                      <a:pt x="126" y="21"/>
                      <a:pt x="126" y="21"/>
                      <a:pt x="126" y="21"/>
                    </a:cubicBezTo>
                    <a:cubicBezTo>
                      <a:pt x="125" y="21"/>
                      <a:pt x="125" y="21"/>
                      <a:pt x="125" y="21"/>
                    </a:cubicBezTo>
                    <a:cubicBezTo>
                      <a:pt x="123" y="19"/>
                      <a:pt x="123" y="19"/>
                      <a:pt x="123" y="19"/>
                    </a:cubicBezTo>
                    <a:cubicBezTo>
                      <a:pt x="117" y="19"/>
                      <a:pt x="117" y="19"/>
                      <a:pt x="117" y="19"/>
                    </a:cubicBezTo>
                    <a:cubicBezTo>
                      <a:pt x="116" y="20"/>
                      <a:pt x="116" y="20"/>
                      <a:pt x="116" y="20"/>
                    </a:cubicBezTo>
                    <a:cubicBezTo>
                      <a:pt x="114" y="20"/>
                      <a:pt x="114" y="20"/>
                      <a:pt x="114" y="20"/>
                    </a:cubicBezTo>
                    <a:cubicBezTo>
                      <a:pt x="113" y="20"/>
                      <a:pt x="113" y="20"/>
                      <a:pt x="113" y="20"/>
                    </a:cubicBezTo>
                    <a:cubicBezTo>
                      <a:pt x="111" y="23"/>
                      <a:pt x="111" y="23"/>
                      <a:pt x="111" y="23"/>
                    </a:cubicBezTo>
                    <a:cubicBezTo>
                      <a:pt x="111" y="23"/>
                      <a:pt x="110" y="22"/>
                      <a:pt x="110" y="22"/>
                    </a:cubicBezTo>
                    <a:cubicBezTo>
                      <a:pt x="110" y="22"/>
                      <a:pt x="105" y="22"/>
                      <a:pt x="105" y="22"/>
                    </a:cubicBezTo>
                    <a:cubicBezTo>
                      <a:pt x="104" y="21"/>
                      <a:pt x="104" y="21"/>
                      <a:pt x="104" y="21"/>
                    </a:cubicBezTo>
                    <a:cubicBezTo>
                      <a:pt x="103" y="21"/>
                      <a:pt x="103" y="21"/>
                      <a:pt x="103" y="21"/>
                    </a:cubicBezTo>
                    <a:cubicBezTo>
                      <a:pt x="102" y="20"/>
                      <a:pt x="102" y="20"/>
                      <a:pt x="102" y="20"/>
                    </a:cubicBezTo>
                    <a:cubicBezTo>
                      <a:pt x="102" y="20"/>
                      <a:pt x="100" y="19"/>
                      <a:pt x="100" y="18"/>
                    </a:cubicBezTo>
                    <a:cubicBezTo>
                      <a:pt x="100" y="18"/>
                      <a:pt x="99" y="17"/>
                      <a:pt x="99" y="17"/>
                    </a:cubicBezTo>
                    <a:cubicBezTo>
                      <a:pt x="98" y="16"/>
                      <a:pt x="98" y="16"/>
                      <a:pt x="98" y="16"/>
                    </a:cubicBezTo>
                    <a:cubicBezTo>
                      <a:pt x="98" y="16"/>
                      <a:pt x="98" y="12"/>
                      <a:pt x="98" y="12"/>
                    </a:cubicBezTo>
                    <a:cubicBezTo>
                      <a:pt x="98" y="12"/>
                      <a:pt x="98" y="11"/>
                      <a:pt x="98" y="10"/>
                    </a:cubicBezTo>
                    <a:cubicBezTo>
                      <a:pt x="97" y="10"/>
                      <a:pt x="97" y="9"/>
                      <a:pt x="96" y="9"/>
                    </a:cubicBezTo>
                    <a:cubicBezTo>
                      <a:pt x="96" y="9"/>
                      <a:pt x="94" y="8"/>
                      <a:pt x="94" y="8"/>
                    </a:cubicBezTo>
                    <a:cubicBezTo>
                      <a:pt x="94" y="8"/>
                      <a:pt x="93" y="8"/>
                      <a:pt x="93" y="8"/>
                    </a:cubicBezTo>
                    <a:cubicBezTo>
                      <a:pt x="92" y="8"/>
                      <a:pt x="90" y="8"/>
                      <a:pt x="90" y="8"/>
                    </a:cubicBezTo>
                    <a:cubicBezTo>
                      <a:pt x="87" y="5"/>
                      <a:pt x="87" y="5"/>
                      <a:pt x="87" y="5"/>
                    </a:cubicBezTo>
                    <a:cubicBezTo>
                      <a:pt x="82" y="5"/>
                      <a:pt x="82" y="5"/>
                      <a:pt x="82" y="5"/>
                    </a:cubicBezTo>
                    <a:cubicBezTo>
                      <a:pt x="82" y="3"/>
                      <a:pt x="82" y="3"/>
                      <a:pt x="82" y="3"/>
                    </a:cubicBezTo>
                    <a:cubicBezTo>
                      <a:pt x="79" y="3"/>
                      <a:pt x="79" y="3"/>
                      <a:pt x="79" y="3"/>
                    </a:cubicBezTo>
                    <a:cubicBezTo>
                      <a:pt x="75" y="0"/>
                      <a:pt x="75" y="0"/>
                      <a:pt x="75" y="0"/>
                    </a:cubicBezTo>
                    <a:cubicBezTo>
                      <a:pt x="75" y="0"/>
                      <a:pt x="75" y="1"/>
                      <a:pt x="75" y="1"/>
                    </a:cubicBezTo>
                    <a:cubicBezTo>
                      <a:pt x="75" y="2"/>
                      <a:pt x="75" y="3"/>
                      <a:pt x="75" y="3"/>
                    </a:cubicBezTo>
                    <a:cubicBezTo>
                      <a:pt x="75" y="3"/>
                      <a:pt x="74" y="4"/>
                      <a:pt x="74" y="4"/>
                    </a:cubicBezTo>
                    <a:cubicBezTo>
                      <a:pt x="72" y="5"/>
                      <a:pt x="72" y="5"/>
                      <a:pt x="72" y="5"/>
                    </a:cubicBezTo>
                    <a:cubicBezTo>
                      <a:pt x="72" y="5"/>
                      <a:pt x="72" y="5"/>
                      <a:pt x="72" y="5"/>
                    </a:cubicBezTo>
                    <a:cubicBezTo>
                      <a:pt x="72" y="6"/>
                      <a:pt x="71" y="7"/>
                      <a:pt x="71" y="8"/>
                    </a:cubicBezTo>
                    <a:cubicBezTo>
                      <a:pt x="71" y="8"/>
                      <a:pt x="70" y="9"/>
                      <a:pt x="70" y="9"/>
                    </a:cubicBezTo>
                    <a:cubicBezTo>
                      <a:pt x="70" y="9"/>
                      <a:pt x="69" y="9"/>
                      <a:pt x="69" y="9"/>
                    </a:cubicBezTo>
                    <a:cubicBezTo>
                      <a:pt x="69" y="10"/>
                      <a:pt x="70" y="10"/>
                      <a:pt x="69" y="10"/>
                    </a:cubicBezTo>
                    <a:cubicBezTo>
                      <a:pt x="69" y="11"/>
                      <a:pt x="69" y="11"/>
                      <a:pt x="68" y="12"/>
                    </a:cubicBezTo>
                    <a:cubicBezTo>
                      <a:pt x="68" y="12"/>
                      <a:pt x="68" y="12"/>
                      <a:pt x="68" y="13"/>
                    </a:cubicBezTo>
                    <a:cubicBezTo>
                      <a:pt x="68" y="14"/>
                      <a:pt x="69" y="15"/>
                      <a:pt x="69" y="15"/>
                    </a:cubicBezTo>
                    <a:cubicBezTo>
                      <a:pt x="70" y="15"/>
                      <a:pt x="70" y="15"/>
                      <a:pt x="70" y="15"/>
                    </a:cubicBezTo>
                    <a:cubicBezTo>
                      <a:pt x="70" y="17"/>
                      <a:pt x="70" y="17"/>
                      <a:pt x="70" y="17"/>
                    </a:cubicBezTo>
                    <a:cubicBezTo>
                      <a:pt x="71" y="19"/>
                      <a:pt x="71" y="19"/>
                      <a:pt x="71" y="19"/>
                    </a:cubicBezTo>
                    <a:cubicBezTo>
                      <a:pt x="71" y="21"/>
                      <a:pt x="71" y="21"/>
                      <a:pt x="71" y="21"/>
                    </a:cubicBezTo>
                    <a:cubicBezTo>
                      <a:pt x="70" y="23"/>
                      <a:pt x="70" y="23"/>
                      <a:pt x="70" y="23"/>
                    </a:cubicBezTo>
                    <a:cubicBezTo>
                      <a:pt x="69" y="25"/>
                      <a:pt x="69" y="25"/>
                      <a:pt x="69" y="25"/>
                    </a:cubicBezTo>
                    <a:cubicBezTo>
                      <a:pt x="68" y="25"/>
                      <a:pt x="68" y="25"/>
                      <a:pt x="68" y="25"/>
                    </a:cubicBezTo>
                    <a:cubicBezTo>
                      <a:pt x="68" y="24"/>
                      <a:pt x="68" y="24"/>
                      <a:pt x="68" y="24"/>
                    </a:cubicBezTo>
                    <a:cubicBezTo>
                      <a:pt x="66" y="26"/>
                      <a:pt x="66" y="26"/>
                      <a:pt x="66" y="26"/>
                    </a:cubicBezTo>
                    <a:cubicBezTo>
                      <a:pt x="64" y="26"/>
                      <a:pt x="64" y="26"/>
                      <a:pt x="64" y="26"/>
                    </a:cubicBezTo>
                    <a:cubicBezTo>
                      <a:pt x="63" y="25"/>
                      <a:pt x="63" y="25"/>
                      <a:pt x="63" y="25"/>
                    </a:cubicBezTo>
                    <a:cubicBezTo>
                      <a:pt x="58" y="25"/>
                      <a:pt x="58" y="25"/>
                      <a:pt x="58" y="25"/>
                    </a:cubicBezTo>
                    <a:cubicBezTo>
                      <a:pt x="55" y="23"/>
                      <a:pt x="55" y="23"/>
                      <a:pt x="55" y="23"/>
                    </a:cubicBezTo>
                    <a:cubicBezTo>
                      <a:pt x="52" y="25"/>
                      <a:pt x="52" y="25"/>
                      <a:pt x="52" y="25"/>
                    </a:cubicBezTo>
                    <a:cubicBezTo>
                      <a:pt x="52" y="25"/>
                      <a:pt x="50" y="25"/>
                      <a:pt x="50" y="24"/>
                    </a:cubicBezTo>
                    <a:cubicBezTo>
                      <a:pt x="50" y="24"/>
                      <a:pt x="49" y="24"/>
                      <a:pt x="49" y="24"/>
                    </a:cubicBezTo>
                    <a:cubicBezTo>
                      <a:pt x="48" y="23"/>
                      <a:pt x="46" y="23"/>
                      <a:pt x="46" y="23"/>
                    </a:cubicBezTo>
                    <a:cubicBezTo>
                      <a:pt x="46" y="23"/>
                      <a:pt x="45" y="22"/>
                      <a:pt x="45" y="22"/>
                    </a:cubicBezTo>
                    <a:cubicBezTo>
                      <a:pt x="45" y="22"/>
                      <a:pt x="44" y="20"/>
                      <a:pt x="44" y="20"/>
                    </a:cubicBezTo>
                    <a:cubicBezTo>
                      <a:pt x="44" y="20"/>
                      <a:pt x="44" y="18"/>
                      <a:pt x="44" y="18"/>
                    </a:cubicBezTo>
                    <a:cubicBezTo>
                      <a:pt x="36" y="18"/>
                      <a:pt x="36" y="18"/>
                      <a:pt x="36" y="18"/>
                    </a:cubicBezTo>
                    <a:cubicBezTo>
                      <a:pt x="36" y="16"/>
                      <a:pt x="36" y="16"/>
                      <a:pt x="36" y="16"/>
                    </a:cubicBezTo>
                    <a:cubicBezTo>
                      <a:pt x="34" y="15"/>
                      <a:pt x="34" y="15"/>
                      <a:pt x="34" y="15"/>
                    </a:cubicBezTo>
                    <a:cubicBezTo>
                      <a:pt x="33" y="16"/>
                      <a:pt x="33" y="16"/>
                      <a:pt x="33" y="16"/>
                    </a:cubicBezTo>
                    <a:cubicBezTo>
                      <a:pt x="32" y="16"/>
                      <a:pt x="32" y="16"/>
                      <a:pt x="32" y="16"/>
                    </a:cubicBezTo>
                    <a:cubicBezTo>
                      <a:pt x="31" y="15"/>
                      <a:pt x="31" y="15"/>
                      <a:pt x="31" y="15"/>
                    </a:cubicBezTo>
                    <a:cubicBezTo>
                      <a:pt x="30" y="16"/>
                      <a:pt x="30" y="16"/>
                      <a:pt x="30" y="16"/>
                    </a:cubicBezTo>
                    <a:cubicBezTo>
                      <a:pt x="27" y="16"/>
                      <a:pt x="27" y="16"/>
                      <a:pt x="27" y="16"/>
                    </a:cubicBezTo>
                    <a:cubicBezTo>
                      <a:pt x="25" y="19"/>
                      <a:pt x="25" y="19"/>
                      <a:pt x="25" y="19"/>
                    </a:cubicBezTo>
                    <a:cubicBezTo>
                      <a:pt x="22" y="19"/>
                      <a:pt x="22" y="19"/>
                      <a:pt x="22" y="19"/>
                    </a:cubicBezTo>
                    <a:cubicBezTo>
                      <a:pt x="20" y="21"/>
                      <a:pt x="20" y="21"/>
                      <a:pt x="20" y="21"/>
                    </a:cubicBezTo>
                    <a:cubicBezTo>
                      <a:pt x="20" y="21"/>
                      <a:pt x="20" y="21"/>
                      <a:pt x="20" y="21"/>
                    </a:cubicBezTo>
                    <a:cubicBezTo>
                      <a:pt x="18" y="22"/>
                      <a:pt x="18" y="22"/>
                      <a:pt x="18" y="22"/>
                    </a:cubicBezTo>
                    <a:cubicBezTo>
                      <a:pt x="18" y="22"/>
                      <a:pt x="17" y="22"/>
                      <a:pt x="17" y="23"/>
                    </a:cubicBezTo>
                    <a:cubicBezTo>
                      <a:pt x="17" y="23"/>
                      <a:pt x="15" y="24"/>
                      <a:pt x="15" y="24"/>
                    </a:cubicBezTo>
                    <a:cubicBezTo>
                      <a:pt x="15" y="24"/>
                      <a:pt x="13" y="25"/>
                      <a:pt x="13" y="25"/>
                    </a:cubicBezTo>
                    <a:cubicBezTo>
                      <a:pt x="13" y="25"/>
                      <a:pt x="13" y="25"/>
                      <a:pt x="13" y="25"/>
                    </a:cubicBezTo>
                    <a:cubicBezTo>
                      <a:pt x="13" y="25"/>
                      <a:pt x="12" y="26"/>
                      <a:pt x="13" y="26"/>
                    </a:cubicBezTo>
                    <a:cubicBezTo>
                      <a:pt x="13" y="26"/>
                      <a:pt x="13" y="27"/>
                      <a:pt x="13" y="27"/>
                    </a:cubicBezTo>
                    <a:cubicBezTo>
                      <a:pt x="13" y="27"/>
                      <a:pt x="13" y="28"/>
                      <a:pt x="13" y="28"/>
                    </a:cubicBezTo>
                    <a:cubicBezTo>
                      <a:pt x="12" y="28"/>
                      <a:pt x="12" y="28"/>
                      <a:pt x="11" y="28"/>
                    </a:cubicBezTo>
                    <a:cubicBezTo>
                      <a:pt x="11" y="28"/>
                      <a:pt x="10" y="28"/>
                      <a:pt x="10" y="28"/>
                    </a:cubicBezTo>
                    <a:cubicBezTo>
                      <a:pt x="10" y="28"/>
                      <a:pt x="9" y="29"/>
                      <a:pt x="9" y="29"/>
                    </a:cubicBezTo>
                    <a:cubicBezTo>
                      <a:pt x="9" y="29"/>
                      <a:pt x="9" y="29"/>
                      <a:pt x="8" y="29"/>
                    </a:cubicBezTo>
                    <a:cubicBezTo>
                      <a:pt x="8" y="29"/>
                      <a:pt x="8" y="29"/>
                      <a:pt x="8" y="29"/>
                    </a:cubicBezTo>
                    <a:cubicBezTo>
                      <a:pt x="8" y="29"/>
                      <a:pt x="8" y="29"/>
                      <a:pt x="7" y="30"/>
                    </a:cubicBezTo>
                    <a:cubicBezTo>
                      <a:pt x="7" y="30"/>
                      <a:pt x="5" y="30"/>
                      <a:pt x="5" y="30"/>
                    </a:cubicBezTo>
                    <a:cubicBezTo>
                      <a:pt x="5" y="30"/>
                      <a:pt x="3" y="30"/>
                      <a:pt x="3" y="30"/>
                    </a:cubicBezTo>
                    <a:cubicBezTo>
                      <a:pt x="2" y="32"/>
                      <a:pt x="2" y="32"/>
                      <a:pt x="2" y="32"/>
                    </a:cubicBezTo>
                    <a:cubicBezTo>
                      <a:pt x="1" y="32"/>
                      <a:pt x="1" y="32"/>
                      <a:pt x="1" y="32"/>
                    </a:cubicBezTo>
                    <a:cubicBezTo>
                      <a:pt x="0" y="33"/>
                      <a:pt x="0" y="33"/>
                      <a:pt x="0" y="33"/>
                    </a:cubicBezTo>
                    <a:cubicBezTo>
                      <a:pt x="1" y="34"/>
                      <a:pt x="1" y="34"/>
                      <a:pt x="1" y="34"/>
                    </a:cubicBezTo>
                    <a:lnTo>
                      <a:pt x="0" y="3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9" name="Freeform 848">
                <a:extLst>
                  <a:ext uri="{FF2B5EF4-FFF2-40B4-BE49-F238E27FC236}">
                    <a16:creationId xmlns:a16="http://schemas.microsoft.com/office/drawing/2014/main" id="{8D20011D-6D1C-1FB3-1190-EC2D05D24CCC}"/>
                  </a:ext>
                </a:extLst>
              </p:cNvPr>
              <p:cNvSpPr>
                <a:spLocks noEditPoints="1"/>
              </p:cNvSpPr>
              <p:nvPr/>
            </p:nvSpPr>
            <p:spPr bwMode="auto">
              <a:xfrm>
                <a:off x="8205788" y="4683125"/>
                <a:ext cx="536575" cy="192088"/>
              </a:xfrm>
              <a:custGeom>
                <a:avLst/>
                <a:gdLst>
                  <a:gd name="T0" fmla="*/ 77 w 129"/>
                  <a:gd name="T1" fmla="*/ 36 h 46"/>
                  <a:gd name="T2" fmla="*/ 114 w 129"/>
                  <a:gd name="T3" fmla="*/ 2 h 46"/>
                  <a:gd name="T4" fmla="*/ 115 w 129"/>
                  <a:gd name="T5" fmla="*/ 3 h 46"/>
                  <a:gd name="T6" fmla="*/ 115 w 129"/>
                  <a:gd name="T7" fmla="*/ 2 h 46"/>
                  <a:gd name="T8" fmla="*/ 124 w 129"/>
                  <a:gd name="T9" fmla="*/ 19 h 46"/>
                  <a:gd name="T10" fmla="*/ 125 w 129"/>
                  <a:gd name="T11" fmla="*/ 20 h 46"/>
                  <a:gd name="T12" fmla="*/ 127 w 129"/>
                  <a:gd name="T13" fmla="*/ 14 h 46"/>
                  <a:gd name="T14" fmla="*/ 125 w 129"/>
                  <a:gd name="T15" fmla="*/ 14 h 46"/>
                  <a:gd name="T16" fmla="*/ 123 w 129"/>
                  <a:gd name="T17" fmla="*/ 12 h 46"/>
                  <a:gd name="T18" fmla="*/ 122 w 129"/>
                  <a:gd name="T19" fmla="*/ 12 h 46"/>
                  <a:gd name="T20" fmla="*/ 120 w 129"/>
                  <a:gd name="T21" fmla="*/ 13 h 46"/>
                  <a:gd name="T22" fmla="*/ 121 w 129"/>
                  <a:gd name="T23" fmla="*/ 12 h 46"/>
                  <a:gd name="T24" fmla="*/ 121 w 129"/>
                  <a:gd name="T25" fmla="*/ 11 h 46"/>
                  <a:gd name="T26" fmla="*/ 120 w 129"/>
                  <a:gd name="T27" fmla="*/ 11 h 46"/>
                  <a:gd name="T28" fmla="*/ 118 w 129"/>
                  <a:gd name="T29" fmla="*/ 11 h 46"/>
                  <a:gd name="T30" fmla="*/ 118 w 129"/>
                  <a:gd name="T31" fmla="*/ 10 h 46"/>
                  <a:gd name="T32" fmla="*/ 119 w 129"/>
                  <a:gd name="T33" fmla="*/ 9 h 46"/>
                  <a:gd name="T34" fmla="*/ 117 w 129"/>
                  <a:gd name="T35" fmla="*/ 7 h 46"/>
                  <a:gd name="T36" fmla="*/ 116 w 129"/>
                  <a:gd name="T37" fmla="*/ 5 h 46"/>
                  <a:gd name="T38" fmla="*/ 114 w 129"/>
                  <a:gd name="T39" fmla="*/ 5 h 46"/>
                  <a:gd name="T40" fmla="*/ 113 w 129"/>
                  <a:gd name="T41" fmla="*/ 7 h 46"/>
                  <a:gd name="T42" fmla="*/ 113 w 129"/>
                  <a:gd name="T43" fmla="*/ 5 h 46"/>
                  <a:gd name="T44" fmla="*/ 112 w 129"/>
                  <a:gd name="T45" fmla="*/ 5 h 46"/>
                  <a:gd name="T46" fmla="*/ 110 w 129"/>
                  <a:gd name="T47" fmla="*/ 9 h 46"/>
                  <a:gd name="T48" fmla="*/ 108 w 129"/>
                  <a:gd name="T49" fmla="*/ 11 h 46"/>
                  <a:gd name="T50" fmla="*/ 105 w 129"/>
                  <a:gd name="T51" fmla="*/ 14 h 46"/>
                  <a:gd name="T52" fmla="*/ 105 w 129"/>
                  <a:gd name="T53" fmla="*/ 17 h 46"/>
                  <a:gd name="T54" fmla="*/ 103 w 129"/>
                  <a:gd name="T55" fmla="*/ 21 h 46"/>
                  <a:gd name="T56" fmla="*/ 101 w 129"/>
                  <a:gd name="T57" fmla="*/ 19 h 46"/>
                  <a:gd name="T58" fmla="*/ 99 w 129"/>
                  <a:gd name="T59" fmla="*/ 25 h 46"/>
                  <a:gd name="T60" fmla="*/ 94 w 129"/>
                  <a:gd name="T61" fmla="*/ 22 h 46"/>
                  <a:gd name="T62" fmla="*/ 91 w 129"/>
                  <a:gd name="T63" fmla="*/ 27 h 46"/>
                  <a:gd name="T64" fmla="*/ 89 w 129"/>
                  <a:gd name="T65" fmla="*/ 30 h 46"/>
                  <a:gd name="T66" fmla="*/ 80 w 129"/>
                  <a:gd name="T67" fmla="*/ 33 h 46"/>
                  <a:gd name="T68" fmla="*/ 78 w 129"/>
                  <a:gd name="T69" fmla="*/ 35 h 46"/>
                  <a:gd name="T70" fmla="*/ 78 w 129"/>
                  <a:gd name="T71" fmla="*/ 37 h 46"/>
                  <a:gd name="T72" fmla="*/ 77 w 129"/>
                  <a:gd name="T73" fmla="*/ 37 h 46"/>
                  <a:gd name="T74" fmla="*/ 77 w 129"/>
                  <a:gd name="T75" fmla="*/ 38 h 46"/>
                  <a:gd name="T76" fmla="*/ 76 w 129"/>
                  <a:gd name="T77" fmla="*/ 40 h 46"/>
                  <a:gd name="T78" fmla="*/ 76 w 129"/>
                  <a:gd name="T79" fmla="*/ 41 h 46"/>
                  <a:gd name="T80" fmla="*/ 77 w 129"/>
                  <a:gd name="T81" fmla="*/ 43 h 46"/>
                  <a:gd name="T82" fmla="*/ 76 w 129"/>
                  <a:gd name="T83" fmla="*/ 43 h 46"/>
                  <a:gd name="T84" fmla="*/ 72 w 129"/>
                  <a:gd name="T85" fmla="*/ 42 h 46"/>
                  <a:gd name="T86" fmla="*/ 72 w 129"/>
                  <a:gd name="T87" fmla="*/ 41 h 46"/>
                  <a:gd name="T88" fmla="*/ 71 w 129"/>
                  <a:gd name="T89" fmla="*/ 41 h 46"/>
                  <a:gd name="T90" fmla="*/ 74 w 129"/>
                  <a:gd name="T91" fmla="*/ 46 h 46"/>
                  <a:gd name="T92" fmla="*/ 103 w 129"/>
                  <a:gd name="T93" fmla="*/ 35 h 46"/>
                  <a:gd name="T94" fmla="*/ 120 w 129"/>
                  <a:gd name="T95" fmla="*/ 22 h 46"/>
                  <a:gd name="T96" fmla="*/ 123 w 129"/>
                  <a:gd name="T97" fmla="*/ 22 h 46"/>
                  <a:gd name="T98" fmla="*/ 125 w 129"/>
                  <a:gd name="T99" fmla="*/ 21 h 46"/>
                  <a:gd name="T100" fmla="*/ 125 w 129"/>
                  <a:gd name="T101" fmla="*/ 21 h 46"/>
                  <a:gd name="T102" fmla="*/ 122 w 129"/>
                  <a:gd name="T103" fmla="*/ 18 h 46"/>
                  <a:gd name="T104" fmla="*/ 123 w 129"/>
                  <a:gd name="T105" fmla="*/ 17 h 46"/>
                  <a:gd name="T106" fmla="*/ 127 w 129"/>
                  <a:gd name="T107" fmla="*/ 17 h 46"/>
                  <a:gd name="T108" fmla="*/ 7 w 129"/>
                  <a:gd name="T109" fmla="*/ 7 h 46"/>
                  <a:gd name="T110" fmla="*/ 2 w 129"/>
                  <a:gd name="T111" fmla="*/ 8 h 46"/>
                  <a:gd name="T112" fmla="*/ 9 w 129"/>
                  <a:gd name="T113" fmla="*/ 26 h 46"/>
                  <a:gd name="T114" fmla="*/ 23 w 129"/>
                  <a:gd name="T115" fmla="*/ 36 h 46"/>
                  <a:gd name="T116" fmla="*/ 28 w 129"/>
                  <a:gd name="T117" fmla="*/ 33 h 46"/>
                  <a:gd name="T118" fmla="*/ 23 w 129"/>
                  <a:gd name="T119" fmla="*/ 14 h 46"/>
                  <a:gd name="T120" fmla="*/ 12 w 129"/>
                  <a:gd name="T121"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46">
                    <a:moveTo>
                      <a:pt x="77" y="35"/>
                    </a:moveTo>
                    <a:cubicBezTo>
                      <a:pt x="77" y="35"/>
                      <a:pt x="77" y="34"/>
                      <a:pt x="77" y="34"/>
                    </a:cubicBezTo>
                    <a:cubicBezTo>
                      <a:pt x="77" y="34"/>
                      <a:pt x="77" y="34"/>
                      <a:pt x="77" y="34"/>
                    </a:cubicBezTo>
                    <a:cubicBezTo>
                      <a:pt x="78" y="34"/>
                      <a:pt x="78" y="34"/>
                      <a:pt x="78" y="34"/>
                    </a:cubicBezTo>
                    <a:cubicBezTo>
                      <a:pt x="78" y="35"/>
                      <a:pt x="78" y="35"/>
                      <a:pt x="78" y="35"/>
                    </a:cubicBezTo>
                    <a:cubicBezTo>
                      <a:pt x="78" y="35"/>
                      <a:pt x="78" y="36"/>
                      <a:pt x="78" y="36"/>
                    </a:cubicBezTo>
                    <a:cubicBezTo>
                      <a:pt x="78" y="36"/>
                      <a:pt x="78" y="36"/>
                      <a:pt x="78" y="36"/>
                    </a:cubicBezTo>
                    <a:cubicBezTo>
                      <a:pt x="78" y="36"/>
                      <a:pt x="78" y="36"/>
                      <a:pt x="78" y="36"/>
                    </a:cubicBezTo>
                    <a:cubicBezTo>
                      <a:pt x="78" y="36"/>
                      <a:pt x="77" y="36"/>
                      <a:pt x="77" y="36"/>
                    </a:cubicBezTo>
                    <a:cubicBezTo>
                      <a:pt x="77" y="36"/>
                      <a:pt x="77" y="36"/>
                      <a:pt x="77" y="36"/>
                    </a:cubicBezTo>
                    <a:cubicBezTo>
                      <a:pt x="77" y="36"/>
                      <a:pt x="77" y="36"/>
                      <a:pt x="77" y="35"/>
                    </a:cubicBezTo>
                    <a:cubicBezTo>
                      <a:pt x="77" y="35"/>
                      <a:pt x="77" y="35"/>
                      <a:pt x="77" y="35"/>
                    </a:cubicBezTo>
                    <a:close/>
                    <a:moveTo>
                      <a:pt x="113" y="3"/>
                    </a:moveTo>
                    <a:cubicBezTo>
                      <a:pt x="113" y="3"/>
                      <a:pt x="113" y="3"/>
                      <a:pt x="114" y="3"/>
                    </a:cubicBezTo>
                    <a:cubicBezTo>
                      <a:pt x="114" y="3"/>
                      <a:pt x="114" y="3"/>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3" y="2"/>
                      <a:pt x="113" y="2"/>
                      <a:pt x="113" y="2"/>
                    </a:cubicBezTo>
                    <a:cubicBezTo>
                      <a:pt x="113" y="2"/>
                      <a:pt x="113" y="2"/>
                      <a:pt x="113" y="3"/>
                    </a:cubicBezTo>
                    <a:cubicBezTo>
                      <a:pt x="113" y="3"/>
                      <a:pt x="113" y="3"/>
                      <a:pt x="113" y="3"/>
                    </a:cubicBezTo>
                    <a:cubicBezTo>
                      <a:pt x="113" y="3"/>
                      <a:pt x="113" y="3"/>
                      <a:pt x="113" y="3"/>
                    </a:cubicBezTo>
                    <a:close/>
                    <a:moveTo>
                      <a:pt x="114" y="3"/>
                    </a:moveTo>
                    <a:cubicBezTo>
                      <a:pt x="114" y="3"/>
                      <a:pt x="114" y="3"/>
                      <a:pt x="114" y="4"/>
                    </a:cubicBezTo>
                    <a:cubicBezTo>
                      <a:pt x="114" y="3"/>
                      <a:pt x="115" y="3"/>
                      <a:pt x="115" y="3"/>
                    </a:cubicBezTo>
                    <a:cubicBezTo>
                      <a:pt x="115" y="3"/>
                      <a:pt x="115" y="3"/>
                      <a:pt x="115" y="3"/>
                    </a:cubicBezTo>
                    <a:cubicBezTo>
                      <a:pt x="115" y="3"/>
                      <a:pt x="115" y="3"/>
                      <a:pt x="115" y="3"/>
                    </a:cubicBezTo>
                    <a:cubicBezTo>
                      <a:pt x="115" y="3"/>
                      <a:pt x="116" y="3"/>
                      <a:pt x="116" y="3"/>
                    </a:cubicBezTo>
                    <a:cubicBezTo>
                      <a:pt x="116" y="3"/>
                      <a:pt x="116" y="3"/>
                      <a:pt x="116" y="3"/>
                    </a:cubicBezTo>
                    <a:cubicBezTo>
                      <a:pt x="116" y="2"/>
                      <a:pt x="116" y="2"/>
                      <a:pt x="116" y="2"/>
                    </a:cubicBezTo>
                    <a:cubicBezTo>
                      <a:pt x="116" y="2"/>
                      <a:pt x="116" y="2"/>
                      <a:pt x="116" y="2"/>
                    </a:cubicBezTo>
                    <a:cubicBezTo>
                      <a:pt x="116" y="2"/>
                      <a:pt x="115" y="2"/>
                      <a:pt x="115" y="2"/>
                    </a:cubicBezTo>
                    <a:cubicBezTo>
                      <a:pt x="115" y="2"/>
                      <a:pt x="115" y="2"/>
                      <a:pt x="115" y="2"/>
                    </a:cubicBezTo>
                    <a:cubicBezTo>
                      <a:pt x="115" y="2"/>
                      <a:pt x="115" y="2"/>
                      <a:pt x="115" y="2"/>
                    </a:cubicBezTo>
                    <a:cubicBezTo>
                      <a:pt x="115" y="2"/>
                      <a:pt x="115" y="2"/>
                      <a:pt x="115" y="2"/>
                    </a:cubicBezTo>
                    <a:cubicBezTo>
                      <a:pt x="114" y="2"/>
                      <a:pt x="114" y="2"/>
                      <a:pt x="114" y="2"/>
                    </a:cubicBezTo>
                    <a:cubicBezTo>
                      <a:pt x="114" y="2"/>
                      <a:pt x="114" y="3"/>
                      <a:pt x="114" y="3"/>
                    </a:cubicBezTo>
                    <a:cubicBezTo>
                      <a:pt x="114" y="3"/>
                      <a:pt x="114" y="3"/>
                      <a:pt x="114" y="3"/>
                    </a:cubicBezTo>
                    <a:cubicBezTo>
                      <a:pt x="114" y="3"/>
                      <a:pt x="114" y="3"/>
                      <a:pt x="114" y="3"/>
                    </a:cubicBezTo>
                    <a:close/>
                    <a:moveTo>
                      <a:pt x="125" y="20"/>
                    </a:moveTo>
                    <a:cubicBezTo>
                      <a:pt x="125" y="20"/>
                      <a:pt x="125" y="20"/>
                      <a:pt x="125" y="20"/>
                    </a:cubicBezTo>
                    <a:cubicBezTo>
                      <a:pt x="125" y="20"/>
                      <a:pt x="125" y="20"/>
                      <a:pt x="125" y="20"/>
                    </a:cubicBezTo>
                    <a:cubicBezTo>
                      <a:pt x="124" y="20"/>
                      <a:pt x="124" y="19"/>
                      <a:pt x="124" y="19"/>
                    </a:cubicBezTo>
                    <a:cubicBezTo>
                      <a:pt x="124" y="19"/>
                      <a:pt x="124" y="19"/>
                      <a:pt x="124" y="19"/>
                    </a:cubicBezTo>
                    <a:cubicBezTo>
                      <a:pt x="124" y="19"/>
                      <a:pt x="124" y="19"/>
                      <a:pt x="124" y="19"/>
                    </a:cubicBezTo>
                    <a:cubicBezTo>
                      <a:pt x="124" y="19"/>
                      <a:pt x="124" y="19"/>
                      <a:pt x="123" y="20"/>
                    </a:cubicBezTo>
                    <a:cubicBezTo>
                      <a:pt x="123" y="20"/>
                      <a:pt x="124" y="20"/>
                      <a:pt x="124" y="20"/>
                    </a:cubicBezTo>
                    <a:cubicBezTo>
                      <a:pt x="124" y="20"/>
                      <a:pt x="124" y="20"/>
                      <a:pt x="124" y="20"/>
                    </a:cubicBezTo>
                    <a:cubicBezTo>
                      <a:pt x="124" y="20"/>
                      <a:pt x="124" y="20"/>
                      <a:pt x="124" y="20"/>
                    </a:cubicBezTo>
                    <a:cubicBezTo>
                      <a:pt x="124" y="20"/>
                      <a:pt x="124" y="20"/>
                      <a:pt x="124" y="20"/>
                    </a:cubicBezTo>
                    <a:cubicBezTo>
                      <a:pt x="124" y="20"/>
                      <a:pt x="124"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lose/>
                    <a:moveTo>
                      <a:pt x="129" y="15"/>
                    </a:moveTo>
                    <a:cubicBezTo>
                      <a:pt x="129" y="15"/>
                      <a:pt x="129" y="15"/>
                      <a:pt x="129" y="14"/>
                    </a:cubicBezTo>
                    <a:cubicBezTo>
                      <a:pt x="129" y="14"/>
                      <a:pt x="128" y="14"/>
                      <a:pt x="128" y="14"/>
                    </a:cubicBezTo>
                    <a:cubicBezTo>
                      <a:pt x="128" y="14"/>
                      <a:pt x="128" y="14"/>
                      <a:pt x="128" y="14"/>
                    </a:cubicBezTo>
                    <a:cubicBezTo>
                      <a:pt x="128" y="14"/>
                      <a:pt x="128" y="14"/>
                      <a:pt x="128" y="14"/>
                    </a:cubicBezTo>
                    <a:cubicBezTo>
                      <a:pt x="128" y="14"/>
                      <a:pt x="127" y="14"/>
                      <a:pt x="127" y="14"/>
                    </a:cubicBezTo>
                    <a:cubicBezTo>
                      <a:pt x="127" y="14"/>
                      <a:pt x="127" y="14"/>
                      <a:pt x="127" y="15"/>
                    </a:cubicBezTo>
                    <a:cubicBezTo>
                      <a:pt x="127" y="15"/>
                      <a:pt x="127" y="15"/>
                      <a:pt x="127" y="15"/>
                    </a:cubicBezTo>
                    <a:cubicBezTo>
                      <a:pt x="127" y="14"/>
                      <a:pt x="127" y="14"/>
                      <a:pt x="127" y="14"/>
                    </a:cubicBezTo>
                    <a:cubicBezTo>
                      <a:pt x="127" y="14"/>
                      <a:pt x="127" y="14"/>
                      <a:pt x="127" y="14"/>
                    </a:cubicBezTo>
                    <a:cubicBezTo>
                      <a:pt x="127" y="14"/>
                      <a:pt x="126" y="14"/>
                      <a:pt x="126" y="14"/>
                    </a:cubicBezTo>
                    <a:cubicBezTo>
                      <a:pt x="126" y="14"/>
                      <a:pt x="126" y="13"/>
                      <a:pt x="125" y="13"/>
                    </a:cubicBezTo>
                    <a:cubicBezTo>
                      <a:pt x="125" y="13"/>
                      <a:pt x="125" y="13"/>
                      <a:pt x="125" y="13"/>
                    </a:cubicBezTo>
                    <a:cubicBezTo>
                      <a:pt x="125" y="13"/>
                      <a:pt x="125" y="13"/>
                      <a:pt x="125" y="13"/>
                    </a:cubicBezTo>
                    <a:cubicBezTo>
                      <a:pt x="125" y="13"/>
                      <a:pt x="125" y="14"/>
                      <a:pt x="125" y="14"/>
                    </a:cubicBezTo>
                    <a:cubicBezTo>
                      <a:pt x="125" y="13"/>
                      <a:pt x="125" y="13"/>
                      <a:pt x="125" y="13"/>
                    </a:cubicBezTo>
                    <a:cubicBezTo>
                      <a:pt x="125" y="13"/>
                      <a:pt x="125" y="13"/>
                      <a:pt x="125" y="13"/>
                    </a:cubicBezTo>
                    <a:cubicBezTo>
                      <a:pt x="125" y="13"/>
                      <a:pt x="125" y="13"/>
                      <a:pt x="125" y="13"/>
                    </a:cubicBezTo>
                    <a:cubicBezTo>
                      <a:pt x="125" y="13"/>
                      <a:pt x="125" y="13"/>
                      <a:pt x="125" y="13"/>
                    </a:cubicBezTo>
                    <a:cubicBezTo>
                      <a:pt x="124" y="12"/>
                      <a:pt x="124" y="12"/>
                      <a:pt x="124" y="12"/>
                    </a:cubicBezTo>
                    <a:cubicBezTo>
                      <a:pt x="124" y="12"/>
                      <a:pt x="124" y="12"/>
                      <a:pt x="124" y="12"/>
                    </a:cubicBezTo>
                    <a:cubicBezTo>
                      <a:pt x="124" y="12"/>
                      <a:pt x="124" y="12"/>
                      <a:pt x="124" y="12"/>
                    </a:cubicBezTo>
                    <a:cubicBezTo>
                      <a:pt x="124"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3"/>
                    </a:cubicBezTo>
                    <a:cubicBezTo>
                      <a:pt x="122" y="13"/>
                      <a:pt x="122" y="13"/>
                      <a:pt x="122" y="13"/>
                    </a:cubicBezTo>
                    <a:cubicBezTo>
                      <a:pt x="122" y="13"/>
                      <a:pt x="122" y="13"/>
                      <a:pt x="122" y="13"/>
                    </a:cubicBezTo>
                    <a:cubicBezTo>
                      <a:pt x="121" y="13"/>
                      <a:pt x="121" y="13"/>
                      <a:pt x="121" y="13"/>
                    </a:cubicBezTo>
                    <a:cubicBezTo>
                      <a:pt x="121" y="13"/>
                      <a:pt x="121" y="13"/>
                      <a:pt x="121" y="13"/>
                    </a:cubicBezTo>
                    <a:cubicBezTo>
                      <a:pt x="121" y="13"/>
                      <a:pt x="121" y="13"/>
                      <a:pt x="121" y="13"/>
                    </a:cubicBezTo>
                    <a:cubicBezTo>
                      <a:pt x="121" y="13"/>
                      <a:pt x="121" y="13"/>
                      <a:pt x="121" y="13"/>
                    </a:cubicBezTo>
                    <a:cubicBezTo>
                      <a:pt x="121" y="13"/>
                      <a:pt x="120" y="13"/>
                      <a:pt x="120" y="13"/>
                    </a:cubicBezTo>
                    <a:cubicBezTo>
                      <a:pt x="120" y="13"/>
                      <a:pt x="121" y="13"/>
                      <a:pt x="120" y="12"/>
                    </a:cubicBezTo>
                    <a:cubicBezTo>
                      <a:pt x="120" y="12"/>
                      <a:pt x="120" y="12"/>
                      <a:pt x="120" y="12"/>
                    </a:cubicBezTo>
                    <a:cubicBezTo>
                      <a:pt x="120" y="12"/>
                      <a:pt x="120" y="12"/>
                      <a:pt x="120" y="12"/>
                    </a:cubicBezTo>
                    <a:cubicBezTo>
                      <a:pt x="120" y="12"/>
                      <a:pt x="120" y="12"/>
                      <a:pt x="120" y="12"/>
                    </a:cubicBezTo>
                    <a:cubicBezTo>
                      <a:pt x="120" y="12"/>
                      <a:pt x="120" y="12"/>
                      <a:pt x="120" y="12"/>
                    </a:cubicBezTo>
                    <a:cubicBezTo>
                      <a:pt x="120"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2" y="12"/>
                      <a:pt x="122" y="12"/>
                    </a:cubicBezTo>
                    <a:cubicBezTo>
                      <a:pt x="122" y="12"/>
                      <a:pt x="122" y="12"/>
                      <a:pt x="121" y="12"/>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0"/>
                      <a:pt x="121" y="10"/>
                      <a:pt x="121" y="10"/>
                    </a:cubicBezTo>
                    <a:cubicBezTo>
                      <a:pt x="121" y="10"/>
                      <a:pt x="121" y="10"/>
                      <a:pt x="121" y="10"/>
                    </a:cubicBezTo>
                    <a:cubicBezTo>
                      <a:pt x="121" y="10"/>
                      <a:pt x="121" y="11"/>
                      <a:pt x="120" y="11"/>
                    </a:cubicBezTo>
                    <a:cubicBezTo>
                      <a:pt x="120" y="11"/>
                      <a:pt x="120" y="11"/>
                      <a:pt x="120" y="11"/>
                    </a:cubicBezTo>
                    <a:cubicBezTo>
                      <a:pt x="120" y="11"/>
                      <a:pt x="120" y="11"/>
                      <a:pt x="120" y="11"/>
                    </a:cubicBezTo>
                    <a:cubicBezTo>
                      <a:pt x="120" y="11"/>
                      <a:pt x="120" y="11"/>
                      <a:pt x="120" y="11"/>
                    </a:cubicBezTo>
                    <a:cubicBezTo>
                      <a:pt x="120" y="11"/>
                      <a:pt x="120" y="11"/>
                      <a:pt x="120" y="11"/>
                    </a:cubicBezTo>
                    <a:cubicBezTo>
                      <a:pt x="120" y="11"/>
                      <a:pt x="119" y="11"/>
                      <a:pt x="119" y="11"/>
                    </a:cubicBezTo>
                    <a:cubicBezTo>
                      <a:pt x="119" y="11"/>
                      <a:pt x="119" y="11"/>
                      <a:pt x="119" y="11"/>
                    </a:cubicBezTo>
                    <a:cubicBezTo>
                      <a:pt x="119" y="11"/>
                      <a:pt x="119" y="11"/>
                      <a:pt x="119" y="11"/>
                    </a:cubicBezTo>
                    <a:cubicBezTo>
                      <a:pt x="119" y="11"/>
                      <a:pt x="119" y="11"/>
                      <a:pt x="118" y="11"/>
                    </a:cubicBezTo>
                    <a:cubicBezTo>
                      <a:pt x="118" y="11"/>
                      <a:pt x="118" y="11"/>
                      <a:pt x="118" y="11"/>
                    </a:cubicBezTo>
                    <a:cubicBezTo>
                      <a:pt x="118" y="11"/>
                      <a:pt x="118" y="11"/>
                      <a:pt x="118" y="11"/>
                    </a:cubicBezTo>
                    <a:cubicBezTo>
                      <a:pt x="118" y="12"/>
                      <a:pt x="118" y="12"/>
                      <a:pt x="117" y="12"/>
                    </a:cubicBezTo>
                    <a:cubicBezTo>
                      <a:pt x="117" y="12"/>
                      <a:pt x="118" y="11"/>
                      <a:pt x="118" y="11"/>
                    </a:cubicBezTo>
                    <a:cubicBezTo>
                      <a:pt x="118" y="11"/>
                      <a:pt x="118" y="11"/>
                      <a:pt x="118" y="11"/>
                    </a:cubicBezTo>
                    <a:cubicBezTo>
                      <a:pt x="118" y="11"/>
                      <a:pt x="118" y="11"/>
                      <a:pt x="119" y="11"/>
                    </a:cubicBezTo>
                    <a:cubicBezTo>
                      <a:pt x="119" y="11"/>
                      <a:pt x="119" y="11"/>
                      <a:pt x="119" y="11"/>
                    </a:cubicBezTo>
                    <a:cubicBezTo>
                      <a:pt x="119" y="11"/>
                      <a:pt x="119" y="11"/>
                      <a:pt x="119" y="11"/>
                    </a:cubicBezTo>
                    <a:cubicBezTo>
                      <a:pt x="119" y="11"/>
                      <a:pt x="119" y="11"/>
                      <a:pt x="119" y="11"/>
                    </a:cubicBezTo>
                    <a:cubicBezTo>
                      <a:pt x="119" y="11"/>
                      <a:pt x="119" y="11"/>
                      <a:pt x="119" y="11"/>
                    </a:cubicBezTo>
                    <a:cubicBezTo>
                      <a:pt x="118" y="11"/>
                      <a:pt x="118" y="11"/>
                      <a:pt x="118" y="11"/>
                    </a:cubicBezTo>
                    <a:cubicBezTo>
                      <a:pt x="118" y="11"/>
                      <a:pt x="118" y="11"/>
                      <a:pt x="118" y="11"/>
                    </a:cubicBezTo>
                    <a:cubicBezTo>
                      <a:pt x="118" y="11"/>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9"/>
                      <a:pt x="118" y="9"/>
                    </a:cubicBezTo>
                    <a:cubicBezTo>
                      <a:pt x="118" y="9"/>
                      <a:pt x="118" y="9"/>
                      <a:pt x="118" y="9"/>
                    </a:cubicBezTo>
                    <a:cubicBezTo>
                      <a:pt x="119" y="9"/>
                      <a:pt x="119" y="9"/>
                      <a:pt x="119" y="9"/>
                    </a:cubicBezTo>
                    <a:cubicBezTo>
                      <a:pt x="119" y="9"/>
                      <a:pt x="119" y="9"/>
                      <a:pt x="119" y="9"/>
                    </a:cubicBezTo>
                    <a:cubicBezTo>
                      <a:pt x="119" y="9"/>
                      <a:pt x="119" y="9"/>
                      <a:pt x="119" y="9"/>
                    </a:cubicBezTo>
                    <a:cubicBezTo>
                      <a:pt x="119" y="8"/>
                      <a:pt x="119" y="8"/>
                      <a:pt x="119" y="8"/>
                    </a:cubicBezTo>
                    <a:cubicBezTo>
                      <a:pt x="119" y="8"/>
                      <a:pt x="119" y="8"/>
                      <a:pt x="119" y="8"/>
                    </a:cubicBezTo>
                    <a:cubicBezTo>
                      <a:pt x="119" y="8"/>
                      <a:pt x="119" y="8"/>
                      <a:pt x="118" y="8"/>
                    </a:cubicBezTo>
                    <a:cubicBezTo>
                      <a:pt x="118" y="7"/>
                      <a:pt x="118" y="7"/>
                      <a:pt x="118" y="7"/>
                    </a:cubicBezTo>
                    <a:cubicBezTo>
                      <a:pt x="118" y="7"/>
                      <a:pt x="118" y="7"/>
                      <a:pt x="118" y="7"/>
                    </a:cubicBezTo>
                    <a:cubicBezTo>
                      <a:pt x="118" y="7"/>
                      <a:pt x="117" y="7"/>
                      <a:pt x="117" y="7"/>
                    </a:cubicBezTo>
                    <a:cubicBezTo>
                      <a:pt x="117" y="7"/>
                      <a:pt x="118"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6" y="7"/>
                      <a:pt x="116" y="7"/>
                      <a:pt x="116" y="7"/>
                    </a:cubicBezTo>
                    <a:cubicBezTo>
                      <a:pt x="116" y="7"/>
                      <a:pt x="116" y="7"/>
                      <a:pt x="116" y="6"/>
                    </a:cubicBezTo>
                    <a:cubicBezTo>
                      <a:pt x="116" y="6"/>
                      <a:pt x="116" y="6"/>
                      <a:pt x="116" y="6"/>
                    </a:cubicBezTo>
                    <a:cubicBezTo>
                      <a:pt x="116" y="6"/>
                      <a:pt x="116" y="6"/>
                      <a:pt x="115" y="6"/>
                    </a:cubicBezTo>
                    <a:cubicBezTo>
                      <a:pt x="115" y="5"/>
                      <a:pt x="115" y="5"/>
                      <a:pt x="116" y="5"/>
                    </a:cubicBezTo>
                    <a:cubicBezTo>
                      <a:pt x="115" y="5"/>
                      <a:pt x="116" y="5"/>
                      <a:pt x="116" y="5"/>
                    </a:cubicBezTo>
                    <a:cubicBezTo>
                      <a:pt x="116" y="5"/>
                      <a:pt x="115" y="5"/>
                      <a:pt x="115" y="4"/>
                    </a:cubicBezTo>
                    <a:cubicBezTo>
                      <a:pt x="115" y="4"/>
                      <a:pt x="115" y="4"/>
                      <a:pt x="115" y="4"/>
                    </a:cubicBezTo>
                    <a:cubicBezTo>
                      <a:pt x="115" y="4"/>
                      <a:pt x="115" y="4"/>
                      <a:pt x="115" y="4"/>
                    </a:cubicBezTo>
                    <a:cubicBezTo>
                      <a:pt x="115" y="4"/>
                      <a:pt x="114" y="4"/>
                      <a:pt x="114" y="4"/>
                    </a:cubicBezTo>
                    <a:cubicBezTo>
                      <a:pt x="114" y="4"/>
                      <a:pt x="114" y="5"/>
                      <a:pt x="114" y="5"/>
                    </a:cubicBezTo>
                    <a:cubicBezTo>
                      <a:pt x="114" y="5"/>
                      <a:pt x="114" y="5"/>
                      <a:pt x="114" y="5"/>
                    </a:cubicBezTo>
                    <a:cubicBezTo>
                      <a:pt x="114" y="5"/>
                      <a:pt x="114" y="5"/>
                      <a:pt x="114" y="5"/>
                    </a:cubicBezTo>
                    <a:cubicBezTo>
                      <a:pt x="114" y="5"/>
                      <a:pt x="114" y="5"/>
                      <a:pt x="114" y="5"/>
                    </a:cubicBezTo>
                    <a:cubicBezTo>
                      <a:pt x="114" y="5"/>
                      <a:pt x="115" y="5"/>
                      <a:pt x="114" y="5"/>
                    </a:cubicBezTo>
                    <a:cubicBezTo>
                      <a:pt x="114" y="5"/>
                      <a:pt x="114" y="5"/>
                      <a:pt x="114" y="5"/>
                    </a:cubicBezTo>
                    <a:cubicBezTo>
                      <a:pt x="114" y="5"/>
                      <a:pt x="114" y="5"/>
                      <a:pt x="114" y="6"/>
                    </a:cubicBezTo>
                    <a:cubicBezTo>
                      <a:pt x="114" y="6"/>
                      <a:pt x="114" y="6"/>
                      <a:pt x="114" y="6"/>
                    </a:cubicBezTo>
                    <a:cubicBezTo>
                      <a:pt x="114" y="6"/>
                      <a:pt x="114" y="6"/>
                      <a:pt x="114" y="6"/>
                    </a:cubicBezTo>
                    <a:cubicBezTo>
                      <a:pt x="114" y="6"/>
                      <a:pt x="114" y="6"/>
                      <a:pt x="114" y="6"/>
                    </a:cubicBezTo>
                    <a:cubicBezTo>
                      <a:pt x="114"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2" y="7"/>
                      <a:pt x="112" y="7"/>
                      <a:pt x="112" y="7"/>
                    </a:cubicBezTo>
                    <a:cubicBezTo>
                      <a:pt x="112" y="7"/>
                      <a:pt x="112" y="7"/>
                      <a:pt x="112" y="7"/>
                    </a:cubicBezTo>
                    <a:cubicBezTo>
                      <a:pt x="113" y="7"/>
                      <a:pt x="113" y="6"/>
                      <a:pt x="113" y="6"/>
                    </a:cubicBezTo>
                    <a:cubicBezTo>
                      <a:pt x="113" y="6"/>
                      <a:pt x="113" y="6"/>
                      <a:pt x="113" y="6"/>
                    </a:cubicBezTo>
                    <a:cubicBezTo>
                      <a:pt x="113" y="6"/>
                      <a:pt x="113" y="6"/>
                      <a:pt x="113" y="6"/>
                    </a:cubicBezTo>
                    <a:cubicBezTo>
                      <a:pt x="113" y="5"/>
                      <a:pt x="113" y="5"/>
                      <a:pt x="113" y="5"/>
                    </a:cubicBezTo>
                    <a:cubicBezTo>
                      <a:pt x="113" y="5"/>
                      <a:pt x="112" y="5"/>
                      <a:pt x="113" y="5"/>
                    </a:cubicBezTo>
                    <a:cubicBezTo>
                      <a:pt x="113" y="5"/>
                      <a:pt x="113" y="5"/>
                      <a:pt x="113" y="5"/>
                    </a:cubicBezTo>
                    <a:cubicBezTo>
                      <a:pt x="113" y="5"/>
                      <a:pt x="113" y="5"/>
                      <a:pt x="113" y="5"/>
                    </a:cubicBezTo>
                    <a:cubicBezTo>
                      <a:pt x="113" y="5"/>
                      <a:pt x="113" y="5"/>
                      <a:pt x="113" y="5"/>
                    </a:cubicBezTo>
                    <a:cubicBezTo>
                      <a:pt x="113" y="5"/>
                      <a:pt x="113" y="5"/>
                      <a:pt x="113" y="5"/>
                    </a:cubicBezTo>
                    <a:cubicBezTo>
                      <a:pt x="113" y="4"/>
                      <a:pt x="112" y="4"/>
                      <a:pt x="112" y="4"/>
                    </a:cubicBezTo>
                    <a:cubicBezTo>
                      <a:pt x="112" y="4"/>
                      <a:pt x="112" y="4"/>
                      <a:pt x="112" y="4"/>
                    </a:cubicBezTo>
                    <a:cubicBezTo>
                      <a:pt x="112" y="4"/>
                      <a:pt x="112" y="4"/>
                      <a:pt x="112" y="4"/>
                    </a:cubicBezTo>
                    <a:cubicBezTo>
                      <a:pt x="112" y="5"/>
                      <a:pt x="112" y="5"/>
                      <a:pt x="112" y="5"/>
                    </a:cubicBezTo>
                    <a:cubicBezTo>
                      <a:pt x="112" y="5"/>
                      <a:pt x="112" y="5"/>
                      <a:pt x="112" y="5"/>
                    </a:cubicBezTo>
                    <a:cubicBezTo>
                      <a:pt x="111" y="5"/>
                      <a:pt x="112" y="5"/>
                      <a:pt x="112" y="6"/>
                    </a:cubicBezTo>
                    <a:cubicBezTo>
                      <a:pt x="112" y="6"/>
                      <a:pt x="111" y="6"/>
                      <a:pt x="111" y="6"/>
                    </a:cubicBezTo>
                    <a:cubicBezTo>
                      <a:pt x="111" y="6"/>
                      <a:pt x="112" y="6"/>
                      <a:pt x="112" y="6"/>
                    </a:cubicBezTo>
                    <a:cubicBezTo>
                      <a:pt x="112" y="6"/>
                      <a:pt x="111" y="7"/>
                      <a:pt x="111" y="7"/>
                    </a:cubicBezTo>
                    <a:cubicBezTo>
                      <a:pt x="111" y="7"/>
                      <a:pt x="111" y="7"/>
                      <a:pt x="111" y="7"/>
                    </a:cubicBezTo>
                    <a:cubicBezTo>
                      <a:pt x="111" y="7"/>
                      <a:pt x="111" y="7"/>
                      <a:pt x="111" y="8"/>
                    </a:cubicBezTo>
                    <a:cubicBezTo>
                      <a:pt x="111" y="8"/>
                      <a:pt x="110" y="8"/>
                      <a:pt x="110" y="8"/>
                    </a:cubicBezTo>
                    <a:cubicBezTo>
                      <a:pt x="110" y="8"/>
                      <a:pt x="110" y="8"/>
                      <a:pt x="110" y="9"/>
                    </a:cubicBezTo>
                    <a:cubicBezTo>
                      <a:pt x="110" y="9"/>
                      <a:pt x="110" y="9"/>
                      <a:pt x="110" y="9"/>
                    </a:cubicBezTo>
                    <a:cubicBezTo>
                      <a:pt x="109" y="9"/>
                      <a:pt x="109" y="9"/>
                      <a:pt x="109" y="9"/>
                    </a:cubicBezTo>
                    <a:cubicBezTo>
                      <a:pt x="109" y="9"/>
                      <a:pt x="109" y="9"/>
                      <a:pt x="109" y="9"/>
                    </a:cubicBezTo>
                    <a:cubicBezTo>
                      <a:pt x="109" y="9"/>
                      <a:pt x="109" y="9"/>
                      <a:pt x="109" y="9"/>
                    </a:cubicBezTo>
                    <a:cubicBezTo>
                      <a:pt x="109" y="10"/>
                      <a:pt x="109" y="10"/>
                      <a:pt x="109" y="10"/>
                    </a:cubicBezTo>
                    <a:cubicBezTo>
                      <a:pt x="109" y="10"/>
                      <a:pt x="109" y="10"/>
                      <a:pt x="108" y="10"/>
                    </a:cubicBezTo>
                    <a:cubicBezTo>
                      <a:pt x="108" y="10"/>
                      <a:pt x="108" y="10"/>
                      <a:pt x="108" y="10"/>
                    </a:cubicBezTo>
                    <a:cubicBezTo>
                      <a:pt x="108" y="10"/>
                      <a:pt x="108" y="10"/>
                      <a:pt x="108" y="10"/>
                    </a:cubicBezTo>
                    <a:cubicBezTo>
                      <a:pt x="108" y="11"/>
                      <a:pt x="108" y="11"/>
                      <a:pt x="108" y="11"/>
                    </a:cubicBezTo>
                    <a:cubicBezTo>
                      <a:pt x="108" y="11"/>
                      <a:pt x="108" y="11"/>
                      <a:pt x="108" y="11"/>
                    </a:cubicBezTo>
                    <a:cubicBezTo>
                      <a:pt x="108" y="11"/>
                      <a:pt x="108" y="11"/>
                      <a:pt x="108" y="12"/>
                    </a:cubicBezTo>
                    <a:cubicBezTo>
                      <a:pt x="108" y="12"/>
                      <a:pt x="108" y="12"/>
                      <a:pt x="108" y="12"/>
                    </a:cubicBezTo>
                    <a:cubicBezTo>
                      <a:pt x="108" y="12"/>
                      <a:pt x="108" y="13"/>
                      <a:pt x="108" y="13"/>
                    </a:cubicBezTo>
                    <a:cubicBezTo>
                      <a:pt x="107" y="13"/>
                      <a:pt x="107" y="13"/>
                      <a:pt x="107" y="13"/>
                    </a:cubicBezTo>
                    <a:cubicBezTo>
                      <a:pt x="107" y="13"/>
                      <a:pt x="107" y="14"/>
                      <a:pt x="107" y="14"/>
                    </a:cubicBezTo>
                    <a:cubicBezTo>
                      <a:pt x="107" y="14"/>
                      <a:pt x="107" y="14"/>
                      <a:pt x="107" y="14"/>
                    </a:cubicBezTo>
                    <a:cubicBezTo>
                      <a:pt x="106" y="14"/>
                      <a:pt x="106" y="14"/>
                      <a:pt x="106" y="14"/>
                    </a:cubicBezTo>
                    <a:cubicBezTo>
                      <a:pt x="105" y="14"/>
                      <a:pt x="105" y="14"/>
                      <a:pt x="105" y="14"/>
                    </a:cubicBezTo>
                    <a:cubicBezTo>
                      <a:pt x="105" y="14"/>
                      <a:pt x="105" y="14"/>
                      <a:pt x="105" y="14"/>
                    </a:cubicBezTo>
                    <a:cubicBezTo>
                      <a:pt x="105" y="14"/>
                      <a:pt x="105" y="14"/>
                      <a:pt x="104" y="15"/>
                    </a:cubicBezTo>
                    <a:cubicBezTo>
                      <a:pt x="104" y="15"/>
                      <a:pt x="104" y="15"/>
                      <a:pt x="104" y="15"/>
                    </a:cubicBezTo>
                    <a:cubicBezTo>
                      <a:pt x="104" y="15"/>
                      <a:pt x="103" y="16"/>
                      <a:pt x="103" y="16"/>
                    </a:cubicBezTo>
                    <a:cubicBezTo>
                      <a:pt x="103" y="16"/>
                      <a:pt x="103" y="16"/>
                      <a:pt x="104" y="16"/>
                    </a:cubicBezTo>
                    <a:cubicBezTo>
                      <a:pt x="104" y="16"/>
                      <a:pt x="104" y="16"/>
                      <a:pt x="104" y="16"/>
                    </a:cubicBezTo>
                    <a:cubicBezTo>
                      <a:pt x="104" y="16"/>
                      <a:pt x="104" y="16"/>
                      <a:pt x="104" y="16"/>
                    </a:cubicBezTo>
                    <a:cubicBezTo>
                      <a:pt x="104" y="16"/>
                      <a:pt x="104" y="17"/>
                      <a:pt x="104" y="17"/>
                    </a:cubicBezTo>
                    <a:cubicBezTo>
                      <a:pt x="105" y="17"/>
                      <a:pt x="105" y="17"/>
                      <a:pt x="105" y="17"/>
                    </a:cubicBezTo>
                    <a:cubicBezTo>
                      <a:pt x="105" y="17"/>
                      <a:pt x="105" y="17"/>
                      <a:pt x="105" y="17"/>
                    </a:cubicBezTo>
                    <a:cubicBezTo>
                      <a:pt x="105" y="17"/>
                      <a:pt x="105" y="17"/>
                      <a:pt x="105" y="17"/>
                    </a:cubicBezTo>
                    <a:cubicBezTo>
                      <a:pt x="105" y="17"/>
                      <a:pt x="105" y="17"/>
                      <a:pt x="105" y="18"/>
                    </a:cubicBezTo>
                    <a:cubicBezTo>
                      <a:pt x="105" y="18"/>
                      <a:pt x="104" y="18"/>
                      <a:pt x="104" y="18"/>
                    </a:cubicBezTo>
                    <a:cubicBezTo>
                      <a:pt x="104" y="18"/>
                      <a:pt x="104" y="18"/>
                      <a:pt x="104" y="18"/>
                    </a:cubicBezTo>
                    <a:cubicBezTo>
                      <a:pt x="104" y="18"/>
                      <a:pt x="104" y="18"/>
                      <a:pt x="104" y="18"/>
                    </a:cubicBezTo>
                    <a:cubicBezTo>
                      <a:pt x="104" y="18"/>
                      <a:pt x="104" y="18"/>
                      <a:pt x="104" y="18"/>
                    </a:cubicBezTo>
                    <a:cubicBezTo>
                      <a:pt x="104" y="18"/>
                      <a:pt x="104" y="19"/>
                      <a:pt x="104" y="19"/>
                    </a:cubicBezTo>
                    <a:cubicBezTo>
                      <a:pt x="104" y="19"/>
                      <a:pt x="104" y="20"/>
                      <a:pt x="104" y="21"/>
                    </a:cubicBezTo>
                    <a:cubicBezTo>
                      <a:pt x="104" y="21"/>
                      <a:pt x="103" y="22"/>
                      <a:pt x="103" y="21"/>
                    </a:cubicBezTo>
                    <a:cubicBezTo>
                      <a:pt x="103" y="21"/>
                      <a:pt x="103" y="20"/>
                      <a:pt x="103" y="20"/>
                    </a:cubicBezTo>
                    <a:cubicBezTo>
                      <a:pt x="103" y="20"/>
                      <a:pt x="103" y="19"/>
                      <a:pt x="103" y="18"/>
                    </a:cubicBezTo>
                    <a:cubicBezTo>
                      <a:pt x="102" y="18"/>
                      <a:pt x="102" y="18"/>
                      <a:pt x="102" y="18"/>
                    </a:cubicBezTo>
                    <a:cubicBezTo>
                      <a:pt x="102" y="18"/>
                      <a:pt x="102" y="19"/>
                      <a:pt x="102" y="19"/>
                    </a:cubicBezTo>
                    <a:cubicBezTo>
                      <a:pt x="102" y="19"/>
                      <a:pt x="102" y="19"/>
                      <a:pt x="102" y="19"/>
                    </a:cubicBezTo>
                    <a:cubicBezTo>
                      <a:pt x="102" y="19"/>
                      <a:pt x="102" y="19"/>
                      <a:pt x="102" y="19"/>
                    </a:cubicBezTo>
                    <a:cubicBezTo>
                      <a:pt x="102" y="19"/>
                      <a:pt x="102" y="19"/>
                      <a:pt x="102" y="19"/>
                    </a:cubicBezTo>
                    <a:cubicBezTo>
                      <a:pt x="102" y="19"/>
                      <a:pt x="101" y="19"/>
                      <a:pt x="101" y="19"/>
                    </a:cubicBezTo>
                    <a:cubicBezTo>
                      <a:pt x="101" y="19"/>
                      <a:pt x="101" y="19"/>
                      <a:pt x="101" y="19"/>
                    </a:cubicBezTo>
                    <a:cubicBezTo>
                      <a:pt x="101" y="19"/>
                      <a:pt x="101" y="19"/>
                      <a:pt x="101" y="19"/>
                    </a:cubicBezTo>
                    <a:cubicBezTo>
                      <a:pt x="101" y="19"/>
                      <a:pt x="101" y="19"/>
                      <a:pt x="101" y="19"/>
                    </a:cubicBezTo>
                    <a:cubicBezTo>
                      <a:pt x="101" y="19"/>
                      <a:pt x="101" y="19"/>
                      <a:pt x="101" y="18"/>
                    </a:cubicBezTo>
                    <a:cubicBezTo>
                      <a:pt x="101" y="18"/>
                      <a:pt x="101" y="18"/>
                      <a:pt x="101" y="18"/>
                    </a:cubicBezTo>
                    <a:cubicBezTo>
                      <a:pt x="102" y="18"/>
                      <a:pt x="101" y="18"/>
                      <a:pt x="101" y="18"/>
                    </a:cubicBezTo>
                    <a:cubicBezTo>
                      <a:pt x="101" y="18"/>
                      <a:pt x="101" y="18"/>
                      <a:pt x="101" y="18"/>
                    </a:cubicBezTo>
                    <a:cubicBezTo>
                      <a:pt x="101" y="19"/>
                      <a:pt x="101" y="21"/>
                      <a:pt x="101" y="21"/>
                    </a:cubicBezTo>
                    <a:cubicBezTo>
                      <a:pt x="101" y="21"/>
                      <a:pt x="101" y="22"/>
                      <a:pt x="101" y="23"/>
                    </a:cubicBezTo>
                    <a:cubicBezTo>
                      <a:pt x="101" y="23"/>
                      <a:pt x="100" y="24"/>
                      <a:pt x="99" y="25"/>
                    </a:cubicBezTo>
                    <a:cubicBezTo>
                      <a:pt x="99" y="25"/>
                      <a:pt x="99" y="24"/>
                      <a:pt x="99" y="23"/>
                    </a:cubicBezTo>
                    <a:cubicBezTo>
                      <a:pt x="99" y="23"/>
                      <a:pt x="98" y="22"/>
                      <a:pt x="98" y="21"/>
                    </a:cubicBezTo>
                    <a:cubicBezTo>
                      <a:pt x="98" y="21"/>
                      <a:pt x="98" y="21"/>
                      <a:pt x="98" y="20"/>
                    </a:cubicBezTo>
                    <a:cubicBezTo>
                      <a:pt x="97" y="20"/>
                      <a:pt x="97" y="20"/>
                      <a:pt x="97" y="20"/>
                    </a:cubicBezTo>
                    <a:cubicBezTo>
                      <a:pt x="97" y="21"/>
                      <a:pt x="97" y="21"/>
                      <a:pt x="96" y="21"/>
                    </a:cubicBezTo>
                    <a:cubicBezTo>
                      <a:pt x="96" y="21"/>
                      <a:pt x="96" y="21"/>
                      <a:pt x="95" y="21"/>
                    </a:cubicBezTo>
                    <a:cubicBezTo>
                      <a:pt x="95" y="21"/>
                      <a:pt x="95" y="21"/>
                      <a:pt x="95" y="21"/>
                    </a:cubicBezTo>
                    <a:cubicBezTo>
                      <a:pt x="95" y="21"/>
                      <a:pt x="95" y="21"/>
                      <a:pt x="94" y="21"/>
                    </a:cubicBezTo>
                    <a:cubicBezTo>
                      <a:pt x="94" y="21"/>
                      <a:pt x="94" y="22"/>
                      <a:pt x="94" y="22"/>
                    </a:cubicBezTo>
                    <a:cubicBezTo>
                      <a:pt x="94" y="22"/>
                      <a:pt x="94" y="23"/>
                      <a:pt x="94" y="23"/>
                    </a:cubicBezTo>
                    <a:cubicBezTo>
                      <a:pt x="94" y="23"/>
                      <a:pt x="94" y="23"/>
                      <a:pt x="94" y="24"/>
                    </a:cubicBezTo>
                    <a:cubicBezTo>
                      <a:pt x="93" y="24"/>
                      <a:pt x="93" y="24"/>
                      <a:pt x="93" y="25"/>
                    </a:cubicBezTo>
                    <a:cubicBezTo>
                      <a:pt x="93" y="25"/>
                      <a:pt x="93" y="25"/>
                      <a:pt x="92" y="25"/>
                    </a:cubicBezTo>
                    <a:cubicBezTo>
                      <a:pt x="92" y="26"/>
                      <a:pt x="92" y="26"/>
                      <a:pt x="92" y="26"/>
                    </a:cubicBezTo>
                    <a:cubicBezTo>
                      <a:pt x="92" y="26"/>
                      <a:pt x="91" y="26"/>
                      <a:pt x="91" y="26"/>
                    </a:cubicBezTo>
                    <a:cubicBezTo>
                      <a:pt x="91" y="26"/>
                      <a:pt x="91" y="27"/>
                      <a:pt x="91" y="27"/>
                    </a:cubicBezTo>
                    <a:cubicBezTo>
                      <a:pt x="91" y="27"/>
                      <a:pt x="91" y="27"/>
                      <a:pt x="91" y="27"/>
                    </a:cubicBezTo>
                    <a:cubicBezTo>
                      <a:pt x="91" y="27"/>
                      <a:pt x="91" y="27"/>
                      <a:pt x="91" y="27"/>
                    </a:cubicBezTo>
                    <a:cubicBezTo>
                      <a:pt x="91" y="28"/>
                      <a:pt x="90" y="28"/>
                      <a:pt x="90" y="28"/>
                    </a:cubicBezTo>
                    <a:cubicBezTo>
                      <a:pt x="90" y="28"/>
                      <a:pt x="90" y="28"/>
                      <a:pt x="90" y="28"/>
                    </a:cubicBezTo>
                    <a:cubicBezTo>
                      <a:pt x="90" y="28"/>
                      <a:pt x="90" y="28"/>
                      <a:pt x="90" y="28"/>
                    </a:cubicBezTo>
                    <a:cubicBezTo>
                      <a:pt x="90" y="29"/>
                      <a:pt x="90" y="29"/>
                      <a:pt x="90" y="29"/>
                    </a:cubicBezTo>
                    <a:cubicBezTo>
                      <a:pt x="89" y="29"/>
                      <a:pt x="89" y="29"/>
                      <a:pt x="89" y="29"/>
                    </a:cubicBezTo>
                    <a:cubicBezTo>
                      <a:pt x="89" y="29"/>
                      <a:pt x="89" y="29"/>
                      <a:pt x="89" y="29"/>
                    </a:cubicBezTo>
                    <a:cubicBezTo>
                      <a:pt x="89" y="30"/>
                      <a:pt x="89" y="30"/>
                      <a:pt x="89" y="30"/>
                    </a:cubicBezTo>
                    <a:cubicBezTo>
                      <a:pt x="89" y="30"/>
                      <a:pt x="89" y="30"/>
                      <a:pt x="89" y="30"/>
                    </a:cubicBezTo>
                    <a:cubicBezTo>
                      <a:pt x="89" y="30"/>
                      <a:pt x="89" y="30"/>
                      <a:pt x="89" y="30"/>
                    </a:cubicBezTo>
                    <a:cubicBezTo>
                      <a:pt x="88" y="31"/>
                      <a:pt x="88" y="31"/>
                      <a:pt x="88" y="31"/>
                    </a:cubicBezTo>
                    <a:cubicBezTo>
                      <a:pt x="88" y="31"/>
                      <a:pt x="87" y="31"/>
                      <a:pt x="87" y="31"/>
                    </a:cubicBezTo>
                    <a:cubicBezTo>
                      <a:pt x="86" y="31"/>
                      <a:pt x="86" y="32"/>
                      <a:pt x="86" y="32"/>
                    </a:cubicBezTo>
                    <a:cubicBezTo>
                      <a:pt x="86" y="32"/>
                      <a:pt x="85" y="32"/>
                      <a:pt x="85" y="32"/>
                    </a:cubicBezTo>
                    <a:cubicBezTo>
                      <a:pt x="85" y="32"/>
                      <a:pt x="85" y="32"/>
                      <a:pt x="84" y="32"/>
                    </a:cubicBezTo>
                    <a:cubicBezTo>
                      <a:pt x="84" y="32"/>
                      <a:pt x="84" y="32"/>
                      <a:pt x="84" y="32"/>
                    </a:cubicBezTo>
                    <a:cubicBezTo>
                      <a:pt x="83" y="32"/>
                      <a:pt x="83" y="32"/>
                      <a:pt x="83" y="32"/>
                    </a:cubicBezTo>
                    <a:cubicBezTo>
                      <a:pt x="83" y="33"/>
                      <a:pt x="82" y="33"/>
                      <a:pt x="82" y="33"/>
                    </a:cubicBezTo>
                    <a:cubicBezTo>
                      <a:pt x="81" y="33"/>
                      <a:pt x="81" y="33"/>
                      <a:pt x="80" y="33"/>
                    </a:cubicBezTo>
                    <a:cubicBezTo>
                      <a:pt x="80" y="33"/>
                      <a:pt x="80" y="33"/>
                      <a:pt x="80" y="33"/>
                    </a:cubicBezTo>
                    <a:cubicBezTo>
                      <a:pt x="80" y="33"/>
                      <a:pt x="80" y="33"/>
                      <a:pt x="80" y="33"/>
                    </a:cubicBezTo>
                    <a:cubicBezTo>
                      <a:pt x="80" y="33"/>
                      <a:pt x="80" y="33"/>
                      <a:pt x="80" y="33"/>
                    </a:cubicBezTo>
                    <a:cubicBezTo>
                      <a:pt x="80" y="34"/>
                      <a:pt x="79" y="33"/>
                      <a:pt x="79" y="33"/>
                    </a:cubicBezTo>
                    <a:cubicBezTo>
                      <a:pt x="79" y="33"/>
                      <a:pt x="79" y="34"/>
                      <a:pt x="79" y="34"/>
                    </a:cubicBezTo>
                    <a:cubicBezTo>
                      <a:pt x="79" y="34"/>
                      <a:pt x="79" y="34"/>
                      <a:pt x="78" y="34"/>
                    </a:cubicBezTo>
                    <a:cubicBezTo>
                      <a:pt x="78" y="34"/>
                      <a:pt x="78" y="34"/>
                      <a:pt x="78" y="34"/>
                    </a:cubicBezTo>
                    <a:cubicBezTo>
                      <a:pt x="78" y="34"/>
                      <a:pt x="78" y="35"/>
                      <a:pt x="78" y="35"/>
                    </a:cubicBezTo>
                    <a:cubicBezTo>
                      <a:pt x="78" y="35"/>
                      <a:pt x="78" y="35"/>
                      <a:pt x="78" y="35"/>
                    </a:cubicBezTo>
                    <a:cubicBezTo>
                      <a:pt x="78" y="36"/>
                      <a:pt x="78" y="36"/>
                      <a:pt x="78" y="36"/>
                    </a:cubicBezTo>
                    <a:cubicBezTo>
                      <a:pt x="78" y="36"/>
                      <a:pt x="78" y="36"/>
                      <a:pt x="78" y="36"/>
                    </a:cubicBezTo>
                    <a:cubicBezTo>
                      <a:pt x="79" y="36"/>
                      <a:pt x="79" y="36"/>
                      <a:pt x="79" y="36"/>
                    </a:cubicBezTo>
                    <a:cubicBezTo>
                      <a:pt x="79" y="36"/>
                      <a:pt x="79" y="36"/>
                      <a:pt x="79" y="36"/>
                    </a:cubicBezTo>
                    <a:cubicBezTo>
                      <a:pt x="79" y="36"/>
                      <a:pt x="79" y="36"/>
                      <a:pt x="79" y="36"/>
                    </a:cubicBezTo>
                    <a:cubicBezTo>
                      <a:pt x="79" y="36"/>
                      <a:pt x="78" y="36"/>
                      <a:pt x="78" y="36"/>
                    </a:cubicBezTo>
                    <a:cubicBezTo>
                      <a:pt x="78" y="36"/>
                      <a:pt x="78" y="36"/>
                      <a:pt x="78" y="36"/>
                    </a:cubicBezTo>
                    <a:cubicBezTo>
                      <a:pt x="78" y="36"/>
                      <a:pt x="78" y="36"/>
                      <a:pt x="78" y="36"/>
                    </a:cubicBezTo>
                    <a:cubicBezTo>
                      <a:pt x="78" y="36"/>
                      <a:pt x="78" y="36"/>
                      <a:pt x="78" y="37"/>
                    </a:cubicBezTo>
                    <a:cubicBezTo>
                      <a:pt x="78" y="37"/>
                      <a:pt x="78" y="37"/>
                      <a:pt x="78" y="37"/>
                    </a:cubicBezTo>
                    <a:cubicBezTo>
                      <a:pt x="78" y="36"/>
                      <a:pt x="78" y="36"/>
                      <a:pt x="78" y="37"/>
                    </a:cubicBezTo>
                    <a:cubicBezTo>
                      <a:pt x="78" y="37"/>
                      <a:pt x="77" y="37"/>
                      <a:pt x="77" y="37"/>
                    </a:cubicBezTo>
                    <a:cubicBezTo>
                      <a:pt x="77" y="37"/>
                      <a:pt x="77" y="37"/>
                      <a:pt x="77" y="37"/>
                    </a:cubicBezTo>
                    <a:cubicBezTo>
                      <a:pt x="77" y="36"/>
                      <a:pt x="77" y="36"/>
                      <a:pt x="77" y="36"/>
                    </a:cubicBezTo>
                    <a:cubicBezTo>
                      <a:pt x="77" y="36"/>
                      <a:pt x="77" y="36"/>
                      <a:pt x="77" y="36"/>
                    </a:cubicBezTo>
                    <a:cubicBezTo>
                      <a:pt x="76" y="36"/>
                      <a:pt x="77" y="37"/>
                      <a:pt x="77" y="37"/>
                    </a:cubicBezTo>
                    <a:cubicBezTo>
                      <a:pt x="77" y="37"/>
                      <a:pt x="76" y="37"/>
                      <a:pt x="77" y="37"/>
                    </a:cubicBezTo>
                    <a:cubicBezTo>
                      <a:pt x="77" y="37"/>
                      <a:pt x="77" y="37"/>
                      <a:pt x="77" y="37"/>
                    </a:cubicBezTo>
                    <a:cubicBezTo>
                      <a:pt x="77" y="38"/>
                      <a:pt x="77" y="38"/>
                      <a:pt x="77" y="38"/>
                    </a:cubicBezTo>
                    <a:cubicBezTo>
                      <a:pt x="77" y="38"/>
                      <a:pt x="77" y="38"/>
                      <a:pt x="77" y="38"/>
                    </a:cubicBezTo>
                    <a:cubicBezTo>
                      <a:pt x="76" y="38"/>
                      <a:pt x="76" y="38"/>
                      <a:pt x="76" y="38"/>
                    </a:cubicBezTo>
                    <a:cubicBezTo>
                      <a:pt x="76" y="38"/>
                      <a:pt x="77" y="38"/>
                      <a:pt x="77" y="38"/>
                    </a:cubicBezTo>
                    <a:cubicBezTo>
                      <a:pt x="77" y="38"/>
                      <a:pt x="77" y="38"/>
                      <a:pt x="77" y="38"/>
                    </a:cubicBezTo>
                    <a:cubicBezTo>
                      <a:pt x="77" y="38"/>
                      <a:pt x="77" y="38"/>
                      <a:pt x="77" y="38"/>
                    </a:cubicBezTo>
                    <a:cubicBezTo>
                      <a:pt x="78" y="38"/>
                      <a:pt x="78" y="38"/>
                      <a:pt x="78" y="38"/>
                    </a:cubicBezTo>
                    <a:cubicBezTo>
                      <a:pt x="78" y="38"/>
                      <a:pt x="77" y="38"/>
                      <a:pt x="77" y="38"/>
                    </a:cubicBezTo>
                    <a:cubicBezTo>
                      <a:pt x="77" y="38"/>
                      <a:pt x="77" y="38"/>
                      <a:pt x="77" y="38"/>
                    </a:cubicBezTo>
                    <a:cubicBezTo>
                      <a:pt x="77" y="38"/>
                      <a:pt x="77" y="38"/>
                      <a:pt x="77" y="38"/>
                    </a:cubicBezTo>
                    <a:cubicBezTo>
                      <a:pt x="77" y="38"/>
                      <a:pt x="77" y="38"/>
                      <a:pt x="77" y="38"/>
                    </a:cubicBezTo>
                    <a:cubicBezTo>
                      <a:pt x="76" y="39"/>
                      <a:pt x="77" y="39"/>
                      <a:pt x="77" y="39"/>
                    </a:cubicBezTo>
                    <a:cubicBezTo>
                      <a:pt x="76" y="39"/>
                      <a:pt x="76" y="39"/>
                      <a:pt x="76" y="39"/>
                    </a:cubicBezTo>
                    <a:cubicBezTo>
                      <a:pt x="76" y="39"/>
                      <a:pt x="76" y="39"/>
                      <a:pt x="76" y="39"/>
                    </a:cubicBezTo>
                    <a:cubicBezTo>
                      <a:pt x="76" y="39"/>
                      <a:pt x="76" y="40"/>
                      <a:pt x="76" y="40"/>
                    </a:cubicBezTo>
                    <a:cubicBezTo>
                      <a:pt x="76" y="40"/>
                      <a:pt x="76" y="40"/>
                      <a:pt x="76" y="40"/>
                    </a:cubicBezTo>
                    <a:cubicBezTo>
                      <a:pt x="76" y="40"/>
                      <a:pt x="76" y="40"/>
                      <a:pt x="76" y="40"/>
                    </a:cubicBezTo>
                    <a:cubicBezTo>
                      <a:pt x="76" y="40"/>
                      <a:pt x="76" y="40"/>
                      <a:pt x="76" y="40"/>
                    </a:cubicBezTo>
                    <a:cubicBezTo>
                      <a:pt x="76" y="41"/>
                      <a:pt x="76" y="41"/>
                      <a:pt x="76" y="41"/>
                    </a:cubicBezTo>
                    <a:cubicBezTo>
                      <a:pt x="76" y="41"/>
                      <a:pt x="76" y="41"/>
                      <a:pt x="76" y="41"/>
                    </a:cubicBezTo>
                    <a:cubicBezTo>
                      <a:pt x="76" y="41"/>
                      <a:pt x="76" y="41"/>
                      <a:pt x="77" y="41"/>
                    </a:cubicBezTo>
                    <a:cubicBezTo>
                      <a:pt x="77" y="41"/>
                      <a:pt x="77" y="41"/>
                      <a:pt x="77" y="41"/>
                    </a:cubicBezTo>
                    <a:cubicBezTo>
                      <a:pt x="77" y="42"/>
                      <a:pt x="77" y="42"/>
                      <a:pt x="77" y="42"/>
                    </a:cubicBezTo>
                    <a:cubicBezTo>
                      <a:pt x="77" y="42"/>
                      <a:pt x="77" y="42"/>
                      <a:pt x="77" y="42"/>
                    </a:cubicBezTo>
                    <a:cubicBezTo>
                      <a:pt x="77" y="42"/>
                      <a:pt x="77" y="42"/>
                      <a:pt x="77" y="42"/>
                    </a:cubicBezTo>
                    <a:cubicBezTo>
                      <a:pt x="77" y="42"/>
                      <a:pt x="77" y="42"/>
                      <a:pt x="77" y="41"/>
                    </a:cubicBezTo>
                    <a:cubicBezTo>
                      <a:pt x="77" y="41"/>
                      <a:pt x="77" y="41"/>
                      <a:pt x="76" y="41"/>
                    </a:cubicBezTo>
                    <a:cubicBezTo>
                      <a:pt x="76" y="41"/>
                      <a:pt x="76" y="41"/>
                      <a:pt x="76" y="41"/>
                    </a:cubicBezTo>
                    <a:cubicBezTo>
                      <a:pt x="76" y="41"/>
                      <a:pt x="76" y="41"/>
                      <a:pt x="76" y="41"/>
                    </a:cubicBezTo>
                    <a:cubicBezTo>
                      <a:pt x="75" y="41"/>
                      <a:pt x="75" y="42"/>
                      <a:pt x="75" y="42"/>
                    </a:cubicBezTo>
                    <a:cubicBezTo>
                      <a:pt x="75" y="42"/>
                      <a:pt x="75" y="42"/>
                      <a:pt x="75" y="42"/>
                    </a:cubicBezTo>
                    <a:cubicBezTo>
                      <a:pt x="75" y="42"/>
                      <a:pt x="76" y="42"/>
                      <a:pt x="76" y="42"/>
                    </a:cubicBezTo>
                    <a:cubicBezTo>
                      <a:pt x="76" y="42"/>
                      <a:pt x="76" y="43"/>
                      <a:pt x="76" y="43"/>
                    </a:cubicBezTo>
                    <a:cubicBezTo>
                      <a:pt x="76" y="43"/>
                      <a:pt x="76" y="43"/>
                      <a:pt x="76" y="43"/>
                    </a:cubicBezTo>
                    <a:cubicBezTo>
                      <a:pt x="76" y="43"/>
                      <a:pt x="77" y="43"/>
                      <a:pt x="77" y="43"/>
                    </a:cubicBezTo>
                    <a:cubicBezTo>
                      <a:pt x="77" y="43"/>
                      <a:pt x="77" y="43"/>
                      <a:pt x="77" y="43"/>
                    </a:cubicBezTo>
                    <a:cubicBezTo>
                      <a:pt x="77" y="43"/>
                      <a:pt x="77" y="43"/>
                      <a:pt x="77" y="43"/>
                    </a:cubicBezTo>
                    <a:cubicBezTo>
                      <a:pt x="77" y="43"/>
                      <a:pt x="77" y="43"/>
                      <a:pt x="78" y="43"/>
                    </a:cubicBezTo>
                    <a:cubicBezTo>
                      <a:pt x="78" y="43"/>
                      <a:pt x="78" y="43"/>
                      <a:pt x="78" y="43"/>
                    </a:cubicBezTo>
                    <a:cubicBezTo>
                      <a:pt x="78" y="43"/>
                      <a:pt x="78" y="43"/>
                      <a:pt x="77" y="43"/>
                    </a:cubicBezTo>
                    <a:cubicBezTo>
                      <a:pt x="77" y="43"/>
                      <a:pt x="77" y="43"/>
                      <a:pt x="77" y="43"/>
                    </a:cubicBezTo>
                    <a:cubicBezTo>
                      <a:pt x="77" y="43"/>
                      <a:pt x="77" y="43"/>
                      <a:pt x="77" y="43"/>
                    </a:cubicBezTo>
                    <a:cubicBezTo>
                      <a:pt x="77" y="43"/>
                      <a:pt x="77" y="43"/>
                      <a:pt x="77" y="43"/>
                    </a:cubicBezTo>
                    <a:cubicBezTo>
                      <a:pt x="76" y="43"/>
                      <a:pt x="76" y="43"/>
                      <a:pt x="76" y="43"/>
                    </a:cubicBezTo>
                    <a:cubicBezTo>
                      <a:pt x="76" y="43"/>
                      <a:pt x="76" y="43"/>
                      <a:pt x="76" y="43"/>
                    </a:cubicBezTo>
                    <a:cubicBezTo>
                      <a:pt x="76" y="43"/>
                      <a:pt x="76" y="43"/>
                      <a:pt x="76" y="43"/>
                    </a:cubicBezTo>
                    <a:cubicBezTo>
                      <a:pt x="75" y="42"/>
                      <a:pt x="75" y="42"/>
                      <a:pt x="75" y="42"/>
                    </a:cubicBezTo>
                    <a:cubicBezTo>
                      <a:pt x="75" y="42"/>
                      <a:pt x="74" y="42"/>
                      <a:pt x="74" y="42"/>
                    </a:cubicBezTo>
                    <a:cubicBezTo>
                      <a:pt x="74" y="42"/>
                      <a:pt x="74" y="42"/>
                      <a:pt x="74" y="42"/>
                    </a:cubicBezTo>
                    <a:cubicBezTo>
                      <a:pt x="74" y="42"/>
                      <a:pt x="73" y="43"/>
                      <a:pt x="73" y="43"/>
                    </a:cubicBezTo>
                    <a:cubicBezTo>
                      <a:pt x="73" y="43"/>
                      <a:pt x="73" y="43"/>
                      <a:pt x="74" y="43"/>
                    </a:cubicBezTo>
                    <a:cubicBezTo>
                      <a:pt x="74" y="42"/>
                      <a:pt x="74" y="42"/>
                      <a:pt x="74" y="42"/>
                    </a:cubicBezTo>
                    <a:cubicBezTo>
                      <a:pt x="74" y="42"/>
                      <a:pt x="73" y="42"/>
                      <a:pt x="73" y="42"/>
                    </a:cubicBezTo>
                    <a:cubicBezTo>
                      <a:pt x="73"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0" y="41"/>
                      <a:pt x="70" y="41"/>
                    </a:cubicBezTo>
                    <a:cubicBezTo>
                      <a:pt x="70" y="41"/>
                      <a:pt x="70" y="41"/>
                      <a:pt x="70" y="41"/>
                    </a:cubicBezTo>
                    <a:cubicBezTo>
                      <a:pt x="70" y="41"/>
                      <a:pt x="70" y="41"/>
                      <a:pt x="70" y="41"/>
                    </a:cubicBezTo>
                    <a:cubicBezTo>
                      <a:pt x="70" y="41"/>
                      <a:pt x="70" y="41"/>
                      <a:pt x="70" y="41"/>
                    </a:cubicBezTo>
                    <a:cubicBezTo>
                      <a:pt x="69" y="41"/>
                      <a:pt x="69" y="41"/>
                      <a:pt x="69" y="41"/>
                    </a:cubicBezTo>
                    <a:cubicBezTo>
                      <a:pt x="69" y="41"/>
                      <a:pt x="69" y="41"/>
                      <a:pt x="69" y="41"/>
                    </a:cubicBezTo>
                    <a:cubicBezTo>
                      <a:pt x="70" y="42"/>
                      <a:pt x="70" y="43"/>
                      <a:pt x="70" y="43"/>
                    </a:cubicBezTo>
                    <a:cubicBezTo>
                      <a:pt x="70" y="43"/>
                      <a:pt x="72" y="45"/>
                      <a:pt x="72" y="45"/>
                    </a:cubicBezTo>
                    <a:cubicBezTo>
                      <a:pt x="72" y="46"/>
                      <a:pt x="73" y="46"/>
                      <a:pt x="74" y="46"/>
                    </a:cubicBezTo>
                    <a:cubicBezTo>
                      <a:pt x="74" y="46"/>
                      <a:pt x="76" y="45"/>
                      <a:pt x="77" y="45"/>
                    </a:cubicBezTo>
                    <a:cubicBezTo>
                      <a:pt x="78" y="45"/>
                      <a:pt x="81" y="46"/>
                      <a:pt x="82" y="45"/>
                    </a:cubicBezTo>
                    <a:cubicBezTo>
                      <a:pt x="83" y="45"/>
                      <a:pt x="85" y="43"/>
                      <a:pt x="86" y="43"/>
                    </a:cubicBezTo>
                    <a:cubicBezTo>
                      <a:pt x="87" y="42"/>
                      <a:pt x="88" y="41"/>
                      <a:pt x="90" y="42"/>
                    </a:cubicBezTo>
                    <a:cubicBezTo>
                      <a:pt x="91" y="42"/>
                      <a:pt x="92" y="44"/>
                      <a:pt x="94" y="43"/>
                    </a:cubicBezTo>
                    <a:cubicBezTo>
                      <a:pt x="95" y="43"/>
                      <a:pt x="96" y="42"/>
                      <a:pt x="97" y="42"/>
                    </a:cubicBezTo>
                    <a:cubicBezTo>
                      <a:pt x="98" y="42"/>
                      <a:pt x="100" y="42"/>
                      <a:pt x="101" y="42"/>
                    </a:cubicBezTo>
                    <a:cubicBezTo>
                      <a:pt x="101" y="41"/>
                      <a:pt x="100" y="40"/>
                      <a:pt x="100" y="39"/>
                    </a:cubicBezTo>
                    <a:cubicBezTo>
                      <a:pt x="101" y="38"/>
                      <a:pt x="102" y="36"/>
                      <a:pt x="103" y="35"/>
                    </a:cubicBezTo>
                    <a:cubicBezTo>
                      <a:pt x="103" y="34"/>
                      <a:pt x="102" y="34"/>
                      <a:pt x="104" y="33"/>
                    </a:cubicBezTo>
                    <a:cubicBezTo>
                      <a:pt x="105" y="31"/>
                      <a:pt x="106" y="30"/>
                      <a:pt x="106" y="29"/>
                    </a:cubicBezTo>
                    <a:cubicBezTo>
                      <a:pt x="106" y="27"/>
                      <a:pt x="107" y="22"/>
                      <a:pt x="108" y="22"/>
                    </a:cubicBezTo>
                    <a:cubicBezTo>
                      <a:pt x="108" y="21"/>
                      <a:pt x="108" y="21"/>
                      <a:pt x="109" y="20"/>
                    </a:cubicBezTo>
                    <a:cubicBezTo>
                      <a:pt x="109" y="20"/>
                      <a:pt x="112" y="21"/>
                      <a:pt x="113" y="21"/>
                    </a:cubicBezTo>
                    <a:cubicBezTo>
                      <a:pt x="114" y="21"/>
                      <a:pt x="117" y="20"/>
                      <a:pt x="117" y="20"/>
                    </a:cubicBezTo>
                    <a:cubicBezTo>
                      <a:pt x="117" y="20"/>
                      <a:pt x="119" y="21"/>
                      <a:pt x="119" y="21"/>
                    </a:cubicBezTo>
                    <a:cubicBezTo>
                      <a:pt x="119" y="21"/>
                      <a:pt x="119" y="22"/>
                      <a:pt x="119" y="22"/>
                    </a:cubicBezTo>
                    <a:cubicBezTo>
                      <a:pt x="119" y="22"/>
                      <a:pt x="120" y="22"/>
                      <a:pt x="120" y="22"/>
                    </a:cubicBezTo>
                    <a:cubicBezTo>
                      <a:pt x="120" y="22"/>
                      <a:pt x="120" y="22"/>
                      <a:pt x="120" y="22"/>
                    </a:cubicBezTo>
                    <a:cubicBezTo>
                      <a:pt x="120" y="22"/>
                      <a:pt x="120" y="22"/>
                      <a:pt x="120" y="22"/>
                    </a:cubicBezTo>
                    <a:cubicBezTo>
                      <a:pt x="120" y="22"/>
                      <a:pt x="120" y="22"/>
                      <a:pt x="120" y="22"/>
                    </a:cubicBezTo>
                    <a:cubicBezTo>
                      <a:pt x="120" y="23"/>
                      <a:pt x="121" y="22"/>
                      <a:pt x="121" y="22"/>
                    </a:cubicBezTo>
                    <a:cubicBezTo>
                      <a:pt x="121" y="22"/>
                      <a:pt x="121" y="23"/>
                      <a:pt x="121" y="23"/>
                    </a:cubicBezTo>
                    <a:cubicBezTo>
                      <a:pt x="121" y="23"/>
                      <a:pt x="122" y="22"/>
                      <a:pt x="122" y="22"/>
                    </a:cubicBezTo>
                    <a:cubicBezTo>
                      <a:pt x="122" y="22"/>
                      <a:pt x="122" y="22"/>
                      <a:pt x="122" y="22"/>
                    </a:cubicBezTo>
                    <a:cubicBezTo>
                      <a:pt x="122" y="22"/>
                      <a:pt x="123" y="22"/>
                      <a:pt x="123" y="22"/>
                    </a:cubicBezTo>
                    <a:cubicBezTo>
                      <a:pt x="123" y="22"/>
                      <a:pt x="123" y="22"/>
                      <a:pt x="123" y="22"/>
                    </a:cubicBezTo>
                    <a:cubicBezTo>
                      <a:pt x="123" y="22"/>
                      <a:pt x="123" y="22"/>
                      <a:pt x="124" y="22"/>
                    </a:cubicBezTo>
                    <a:cubicBezTo>
                      <a:pt x="124" y="22"/>
                      <a:pt x="123" y="22"/>
                      <a:pt x="123" y="22"/>
                    </a:cubicBezTo>
                    <a:cubicBezTo>
                      <a:pt x="124" y="22"/>
                      <a:pt x="124" y="22"/>
                      <a:pt x="124" y="22"/>
                    </a:cubicBezTo>
                    <a:cubicBezTo>
                      <a:pt x="124" y="22"/>
                      <a:pt x="124" y="22"/>
                      <a:pt x="124" y="22"/>
                    </a:cubicBezTo>
                    <a:cubicBezTo>
                      <a:pt x="124" y="22"/>
                      <a:pt x="124" y="22"/>
                      <a:pt x="124" y="22"/>
                    </a:cubicBezTo>
                    <a:cubicBezTo>
                      <a:pt x="124" y="22"/>
                      <a:pt x="124" y="22"/>
                      <a:pt x="125" y="22"/>
                    </a:cubicBezTo>
                    <a:cubicBezTo>
                      <a:pt x="125" y="22"/>
                      <a:pt x="125" y="22"/>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0"/>
                    </a:cubicBezTo>
                    <a:cubicBezTo>
                      <a:pt x="125" y="20"/>
                      <a:pt x="125" y="20"/>
                      <a:pt x="125" y="20"/>
                    </a:cubicBezTo>
                    <a:cubicBezTo>
                      <a:pt x="125" y="21"/>
                      <a:pt x="125" y="21"/>
                      <a:pt x="125" y="21"/>
                    </a:cubicBezTo>
                    <a:cubicBezTo>
                      <a:pt x="125" y="21"/>
                      <a:pt x="124" y="21"/>
                      <a:pt x="124" y="21"/>
                    </a:cubicBezTo>
                    <a:cubicBezTo>
                      <a:pt x="124" y="20"/>
                      <a:pt x="124" y="20"/>
                      <a:pt x="124" y="20"/>
                    </a:cubicBezTo>
                    <a:cubicBezTo>
                      <a:pt x="124" y="20"/>
                      <a:pt x="124" y="20"/>
                      <a:pt x="124" y="20"/>
                    </a:cubicBezTo>
                    <a:cubicBezTo>
                      <a:pt x="124" y="20"/>
                      <a:pt x="124" y="20"/>
                      <a:pt x="123" y="20"/>
                    </a:cubicBezTo>
                    <a:cubicBezTo>
                      <a:pt x="123" y="20"/>
                      <a:pt x="123" y="20"/>
                      <a:pt x="123" y="20"/>
                    </a:cubicBezTo>
                    <a:cubicBezTo>
                      <a:pt x="123" y="20"/>
                      <a:pt x="123" y="20"/>
                      <a:pt x="123" y="19"/>
                    </a:cubicBezTo>
                    <a:cubicBezTo>
                      <a:pt x="123" y="19"/>
                      <a:pt x="123" y="19"/>
                      <a:pt x="122" y="19"/>
                    </a:cubicBezTo>
                    <a:cubicBezTo>
                      <a:pt x="122" y="19"/>
                      <a:pt x="122" y="19"/>
                      <a:pt x="122" y="19"/>
                    </a:cubicBezTo>
                    <a:cubicBezTo>
                      <a:pt x="122" y="19"/>
                      <a:pt x="122" y="19"/>
                      <a:pt x="122" y="18"/>
                    </a:cubicBezTo>
                    <a:cubicBezTo>
                      <a:pt x="122" y="18"/>
                      <a:pt x="122" y="18"/>
                      <a:pt x="122" y="18"/>
                    </a:cubicBezTo>
                    <a:cubicBezTo>
                      <a:pt x="122" y="18"/>
                      <a:pt x="122" y="18"/>
                      <a:pt x="122" y="18"/>
                    </a:cubicBezTo>
                    <a:cubicBezTo>
                      <a:pt x="122" y="18"/>
                      <a:pt x="122" y="18"/>
                      <a:pt x="122" y="18"/>
                    </a:cubicBezTo>
                    <a:cubicBezTo>
                      <a:pt x="122" y="18"/>
                      <a:pt x="122" y="18"/>
                      <a:pt x="122" y="18"/>
                    </a:cubicBezTo>
                    <a:cubicBezTo>
                      <a:pt x="123" y="17"/>
                      <a:pt x="123" y="18"/>
                      <a:pt x="123" y="18"/>
                    </a:cubicBezTo>
                    <a:cubicBezTo>
                      <a:pt x="123" y="18"/>
                      <a:pt x="124" y="18"/>
                      <a:pt x="124" y="17"/>
                    </a:cubicBezTo>
                    <a:cubicBezTo>
                      <a:pt x="124" y="17"/>
                      <a:pt x="123" y="17"/>
                      <a:pt x="123" y="17"/>
                    </a:cubicBezTo>
                    <a:cubicBezTo>
                      <a:pt x="123" y="17"/>
                      <a:pt x="123" y="17"/>
                      <a:pt x="123" y="18"/>
                    </a:cubicBezTo>
                    <a:cubicBezTo>
                      <a:pt x="123" y="18"/>
                      <a:pt x="123" y="17"/>
                      <a:pt x="123" y="17"/>
                    </a:cubicBezTo>
                    <a:cubicBezTo>
                      <a:pt x="123" y="17"/>
                      <a:pt x="123" y="17"/>
                      <a:pt x="123" y="17"/>
                    </a:cubicBezTo>
                    <a:cubicBezTo>
                      <a:pt x="124" y="17"/>
                      <a:pt x="124" y="17"/>
                      <a:pt x="124" y="17"/>
                    </a:cubicBezTo>
                    <a:cubicBezTo>
                      <a:pt x="124" y="17"/>
                      <a:pt x="124" y="18"/>
                      <a:pt x="124" y="18"/>
                    </a:cubicBezTo>
                    <a:cubicBezTo>
                      <a:pt x="124" y="18"/>
                      <a:pt x="125" y="18"/>
                      <a:pt x="125" y="18"/>
                    </a:cubicBezTo>
                    <a:cubicBezTo>
                      <a:pt x="125" y="18"/>
                      <a:pt x="125" y="18"/>
                      <a:pt x="125" y="18"/>
                    </a:cubicBezTo>
                    <a:cubicBezTo>
                      <a:pt x="126" y="18"/>
                      <a:pt x="126" y="18"/>
                      <a:pt x="126" y="18"/>
                    </a:cubicBezTo>
                    <a:cubicBezTo>
                      <a:pt x="126" y="18"/>
                      <a:pt x="126" y="17"/>
                      <a:pt x="126" y="17"/>
                    </a:cubicBezTo>
                    <a:cubicBezTo>
                      <a:pt x="126" y="17"/>
                      <a:pt x="127" y="17"/>
                      <a:pt x="127" y="17"/>
                    </a:cubicBezTo>
                    <a:cubicBezTo>
                      <a:pt x="127" y="17"/>
                      <a:pt x="127" y="17"/>
                      <a:pt x="127" y="17"/>
                    </a:cubicBezTo>
                    <a:cubicBezTo>
                      <a:pt x="127" y="17"/>
                      <a:pt x="128" y="17"/>
                      <a:pt x="128" y="17"/>
                    </a:cubicBezTo>
                    <a:cubicBezTo>
                      <a:pt x="128" y="17"/>
                      <a:pt x="128" y="17"/>
                      <a:pt x="128" y="16"/>
                    </a:cubicBezTo>
                    <a:cubicBezTo>
                      <a:pt x="129" y="16"/>
                      <a:pt x="129" y="16"/>
                      <a:pt x="129" y="16"/>
                    </a:cubicBezTo>
                    <a:cubicBezTo>
                      <a:pt x="129" y="16"/>
                      <a:pt x="129" y="16"/>
                      <a:pt x="129" y="16"/>
                    </a:cubicBezTo>
                    <a:cubicBezTo>
                      <a:pt x="129" y="16"/>
                      <a:pt x="129" y="16"/>
                      <a:pt x="129" y="15"/>
                    </a:cubicBezTo>
                    <a:close/>
                    <a:moveTo>
                      <a:pt x="12" y="7"/>
                    </a:moveTo>
                    <a:cubicBezTo>
                      <a:pt x="12" y="7"/>
                      <a:pt x="11" y="6"/>
                      <a:pt x="10" y="6"/>
                    </a:cubicBezTo>
                    <a:cubicBezTo>
                      <a:pt x="10" y="6"/>
                      <a:pt x="9" y="7"/>
                      <a:pt x="8" y="8"/>
                    </a:cubicBezTo>
                    <a:cubicBezTo>
                      <a:pt x="7" y="8"/>
                      <a:pt x="7" y="7"/>
                      <a:pt x="7" y="7"/>
                    </a:cubicBezTo>
                    <a:cubicBezTo>
                      <a:pt x="6" y="6"/>
                      <a:pt x="7" y="6"/>
                      <a:pt x="7" y="5"/>
                    </a:cubicBezTo>
                    <a:cubicBezTo>
                      <a:pt x="7" y="5"/>
                      <a:pt x="8" y="4"/>
                      <a:pt x="8" y="3"/>
                    </a:cubicBezTo>
                    <a:cubicBezTo>
                      <a:pt x="7" y="3"/>
                      <a:pt x="6" y="3"/>
                      <a:pt x="6" y="2"/>
                    </a:cubicBezTo>
                    <a:cubicBezTo>
                      <a:pt x="5" y="2"/>
                      <a:pt x="5" y="2"/>
                      <a:pt x="4" y="2"/>
                    </a:cubicBezTo>
                    <a:cubicBezTo>
                      <a:pt x="4" y="2"/>
                      <a:pt x="3" y="1"/>
                      <a:pt x="2" y="1"/>
                    </a:cubicBezTo>
                    <a:cubicBezTo>
                      <a:pt x="2" y="0"/>
                      <a:pt x="1" y="1"/>
                      <a:pt x="1" y="2"/>
                    </a:cubicBezTo>
                    <a:cubicBezTo>
                      <a:pt x="1" y="2"/>
                      <a:pt x="1" y="2"/>
                      <a:pt x="0" y="3"/>
                    </a:cubicBezTo>
                    <a:cubicBezTo>
                      <a:pt x="1" y="4"/>
                      <a:pt x="1" y="4"/>
                      <a:pt x="1" y="5"/>
                    </a:cubicBezTo>
                    <a:cubicBezTo>
                      <a:pt x="2" y="6"/>
                      <a:pt x="2" y="7"/>
                      <a:pt x="2" y="8"/>
                    </a:cubicBezTo>
                    <a:cubicBezTo>
                      <a:pt x="2" y="9"/>
                      <a:pt x="3" y="10"/>
                      <a:pt x="3" y="11"/>
                    </a:cubicBezTo>
                    <a:cubicBezTo>
                      <a:pt x="3" y="11"/>
                      <a:pt x="4" y="13"/>
                      <a:pt x="4" y="13"/>
                    </a:cubicBezTo>
                    <a:cubicBezTo>
                      <a:pt x="4" y="14"/>
                      <a:pt x="4" y="15"/>
                      <a:pt x="4" y="15"/>
                    </a:cubicBezTo>
                    <a:cubicBezTo>
                      <a:pt x="4" y="16"/>
                      <a:pt x="3" y="16"/>
                      <a:pt x="4" y="17"/>
                    </a:cubicBezTo>
                    <a:cubicBezTo>
                      <a:pt x="4" y="18"/>
                      <a:pt x="4" y="19"/>
                      <a:pt x="4" y="19"/>
                    </a:cubicBezTo>
                    <a:cubicBezTo>
                      <a:pt x="5" y="20"/>
                      <a:pt x="5" y="21"/>
                      <a:pt x="6" y="21"/>
                    </a:cubicBezTo>
                    <a:cubicBezTo>
                      <a:pt x="7" y="22"/>
                      <a:pt x="7" y="22"/>
                      <a:pt x="9" y="23"/>
                    </a:cubicBezTo>
                    <a:cubicBezTo>
                      <a:pt x="10" y="24"/>
                      <a:pt x="10" y="25"/>
                      <a:pt x="10" y="26"/>
                    </a:cubicBezTo>
                    <a:cubicBezTo>
                      <a:pt x="10" y="26"/>
                      <a:pt x="9" y="26"/>
                      <a:pt x="9" y="26"/>
                    </a:cubicBezTo>
                    <a:cubicBezTo>
                      <a:pt x="9" y="27"/>
                      <a:pt x="9" y="27"/>
                      <a:pt x="9" y="28"/>
                    </a:cubicBezTo>
                    <a:cubicBezTo>
                      <a:pt x="10" y="28"/>
                      <a:pt x="10" y="28"/>
                      <a:pt x="11" y="28"/>
                    </a:cubicBezTo>
                    <a:cubicBezTo>
                      <a:pt x="13" y="29"/>
                      <a:pt x="13" y="29"/>
                      <a:pt x="14" y="30"/>
                    </a:cubicBezTo>
                    <a:cubicBezTo>
                      <a:pt x="15" y="30"/>
                      <a:pt x="14" y="30"/>
                      <a:pt x="15" y="31"/>
                    </a:cubicBezTo>
                    <a:cubicBezTo>
                      <a:pt x="15" y="33"/>
                      <a:pt x="15" y="32"/>
                      <a:pt x="16" y="33"/>
                    </a:cubicBezTo>
                    <a:cubicBezTo>
                      <a:pt x="17" y="33"/>
                      <a:pt x="17" y="33"/>
                      <a:pt x="18" y="33"/>
                    </a:cubicBezTo>
                    <a:cubicBezTo>
                      <a:pt x="19" y="33"/>
                      <a:pt x="18" y="33"/>
                      <a:pt x="19" y="34"/>
                    </a:cubicBezTo>
                    <a:cubicBezTo>
                      <a:pt x="19" y="34"/>
                      <a:pt x="20" y="35"/>
                      <a:pt x="20" y="35"/>
                    </a:cubicBezTo>
                    <a:cubicBezTo>
                      <a:pt x="21" y="36"/>
                      <a:pt x="22" y="36"/>
                      <a:pt x="23" y="36"/>
                    </a:cubicBezTo>
                    <a:cubicBezTo>
                      <a:pt x="24" y="36"/>
                      <a:pt x="24" y="36"/>
                      <a:pt x="24" y="36"/>
                    </a:cubicBezTo>
                    <a:cubicBezTo>
                      <a:pt x="25" y="37"/>
                      <a:pt x="25" y="37"/>
                      <a:pt x="26" y="37"/>
                    </a:cubicBezTo>
                    <a:cubicBezTo>
                      <a:pt x="26" y="38"/>
                      <a:pt x="27" y="38"/>
                      <a:pt x="28" y="37"/>
                    </a:cubicBezTo>
                    <a:cubicBezTo>
                      <a:pt x="28" y="37"/>
                      <a:pt x="28" y="37"/>
                      <a:pt x="28" y="36"/>
                    </a:cubicBezTo>
                    <a:cubicBezTo>
                      <a:pt x="28" y="36"/>
                      <a:pt x="28" y="36"/>
                      <a:pt x="29" y="36"/>
                    </a:cubicBezTo>
                    <a:cubicBezTo>
                      <a:pt x="29" y="36"/>
                      <a:pt x="29" y="37"/>
                      <a:pt x="29" y="37"/>
                    </a:cubicBezTo>
                    <a:cubicBezTo>
                      <a:pt x="29" y="38"/>
                      <a:pt x="30" y="37"/>
                      <a:pt x="30" y="36"/>
                    </a:cubicBezTo>
                    <a:cubicBezTo>
                      <a:pt x="30" y="36"/>
                      <a:pt x="30" y="35"/>
                      <a:pt x="30" y="35"/>
                    </a:cubicBezTo>
                    <a:cubicBezTo>
                      <a:pt x="29" y="34"/>
                      <a:pt x="29" y="34"/>
                      <a:pt x="28" y="33"/>
                    </a:cubicBezTo>
                    <a:cubicBezTo>
                      <a:pt x="28" y="33"/>
                      <a:pt x="28" y="32"/>
                      <a:pt x="27" y="31"/>
                    </a:cubicBezTo>
                    <a:cubicBezTo>
                      <a:pt x="27" y="31"/>
                      <a:pt x="27" y="30"/>
                      <a:pt x="27" y="29"/>
                    </a:cubicBezTo>
                    <a:cubicBezTo>
                      <a:pt x="27" y="29"/>
                      <a:pt x="27" y="29"/>
                      <a:pt x="26" y="28"/>
                    </a:cubicBezTo>
                    <a:cubicBezTo>
                      <a:pt x="26" y="28"/>
                      <a:pt x="25" y="28"/>
                      <a:pt x="24" y="27"/>
                    </a:cubicBezTo>
                    <a:cubicBezTo>
                      <a:pt x="24" y="26"/>
                      <a:pt x="24" y="26"/>
                      <a:pt x="24" y="25"/>
                    </a:cubicBezTo>
                    <a:cubicBezTo>
                      <a:pt x="24" y="25"/>
                      <a:pt x="24" y="22"/>
                      <a:pt x="23" y="22"/>
                    </a:cubicBezTo>
                    <a:cubicBezTo>
                      <a:pt x="23" y="22"/>
                      <a:pt x="23" y="21"/>
                      <a:pt x="23" y="20"/>
                    </a:cubicBezTo>
                    <a:cubicBezTo>
                      <a:pt x="23" y="20"/>
                      <a:pt x="23" y="17"/>
                      <a:pt x="23" y="16"/>
                    </a:cubicBezTo>
                    <a:cubicBezTo>
                      <a:pt x="24" y="15"/>
                      <a:pt x="23" y="14"/>
                      <a:pt x="23" y="14"/>
                    </a:cubicBezTo>
                    <a:cubicBezTo>
                      <a:pt x="23" y="13"/>
                      <a:pt x="23" y="12"/>
                      <a:pt x="22" y="12"/>
                    </a:cubicBezTo>
                    <a:cubicBezTo>
                      <a:pt x="22" y="11"/>
                      <a:pt x="21" y="10"/>
                      <a:pt x="20" y="10"/>
                    </a:cubicBezTo>
                    <a:cubicBezTo>
                      <a:pt x="20" y="9"/>
                      <a:pt x="18" y="8"/>
                      <a:pt x="18" y="7"/>
                    </a:cubicBezTo>
                    <a:cubicBezTo>
                      <a:pt x="18" y="7"/>
                      <a:pt x="16" y="6"/>
                      <a:pt x="16" y="5"/>
                    </a:cubicBezTo>
                    <a:cubicBezTo>
                      <a:pt x="16" y="5"/>
                      <a:pt x="16" y="4"/>
                      <a:pt x="16" y="4"/>
                    </a:cubicBezTo>
                    <a:cubicBezTo>
                      <a:pt x="15" y="4"/>
                      <a:pt x="15" y="4"/>
                      <a:pt x="15" y="5"/>
                    </a:cubicBezTo>
                    <a:cubicBezTo>
                      <a:pt x="14" y="5"/>
                      <a:pt x="14" y="5"/>
                      <a:pt x="13" y="5"/>
                    </a:cubicBezTo>
                    <a:cubicBezTo>
                      <a:pt x="13" y="6"/>
                      <a:pt x="13" y="6"/>
                      <a:pt x="13" y="6"/>
                    </a:cubicBezTo>
                    <a:cubicBezTo>
                      <a:pt x="13" y="7"/>
                      <a:pt x="12" y="7"/>
                      <a:pt x="12"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0" name="Freeform 850">
                <a:extLst>
                  <a:ext uri="{FF2B5EF4-FFF2-40B4-BE49-F238E27FC236}">
                    <a16:creationId xmlns:a16="http://schemas.microsoft.com/office/drawing/2014/main" id="{82A2978B-03B9-AE4E-2157-9E188F67A745}"/>
                  </a:ext>
                </a:extLst>
              </p:cNvPr>
              <p:cNvSpPr>
                <a:spLocks/>
              </p:cNvSpPr>
              <p:nvPr/>
            </p:nvSpPr>
            <p:spPr bwMode="auto">
              <a:xfrm>
                <a:off x="8193088" y="4241800"/>
                <a:ext cx="233362" cy="254000"/>
              </a:xfrm>
              <a:custGeom>
                <a:avLst/>
                <a:gdLst>
                  <a:gd name="T0" fmla="*/ 54 w 56"/>
                  <a:gd name="T1" fmla="*/ 47 h 61"/>
                  <a:gd name="T2" fmla="*/ 54 w 56"/>
                  <a:gd name="T3" fmla="*/ 45 h 61"/>
                  <a:gd name="T4" fmla="*/ 50 w 56"/>
                  <a:gd name="T5" fmla="*/ 42 h 61"/>
                  <a:gd name="T6" fmla="*/ 47 w 56"/>
                  <a:gd name="T7" fmla="*/ 39 h 61"/>
                  <a:gd name="T8" fmla="*/ 44 w 56"/>
                  <a:gd name="T9" fmla="*/ 36 h 61"/>
                  <a:gd name="T10" fmla="*/ 40 w 56"/>
                  <a:gd name="T11" fmla="*/ 31 h 61"/>
                  <a:gd name="T12" fmla="*/ 36 w 56"/>
                  <a:gd name="T13" fmla="*/ 28 h 61"/>
                  <a:gd name="T14" fmla="*/ 32 w 56"/>
                  <a:gd name="T15" fmla="*/ 27 h 61"/>
                  <a:gd name="T16" fmla="*/ 29 w 56"/>
                  <a:gd name="T17" fmla="*/ 24 h 61"/>
                  <a:gd name="T18" fmla="*/ 29 w 56"/>
                  <a:gd name="T19" fmla="*/ 21 h 61"/>
                  <a:gd name="T20" fmla="*/ 33 w 56"/>
                  <a:gd name="T21" fmla="*/ 19 h 61"/>
                  <a:gd name="T22" fmla="*/ 35 w 56"/>
                  <a:gd name="T23" fmla="*/ 16 h 61"/>
                  <a:gd name="T24" fmla="*/ 33 w 56"/>
                  <a:gd name="T25" fmla="*/ 13 h 61"/>
                  <a:gd name="T26" fmla="*/ 27 w 56"/>
                  <a:gd name="T27" fmla="*/ 11 h 61"/>
                  <a:gd name="T28" fmla="*/ 22 w 56"/>
                  <a:gd name="T29" fmla="*/ 11 h 61"/>
                  <a:gd name="T30" fmla="*/ 18 w 56"/>
                  <a:gd name="T31" fmla="*/ 7 h 61"/>
                  <a:gd name="T32" fmla="*/ 17 w 56"/>
                  <a:gd name="T33" fmla="*/ 3 h 61"/>
                  <a:gd name="T34" fmla="*/ 14 w 56"/>
                  <a:gd name="T35" fmla="*/ 0 h 61"/>
                  <a:gd name="T36" fmla="*/ 10 w 56"/>
                  <a:gd name="T37" fmla="*/ 3 h 61"/>
                  <a:gd name="T38" fmla="*/ 8 w 56"/>
                  <a:gd name="T39" fmla="*/ 8 h 61"/>
                  <a:gd name="T40" fmla="*/ 4 w 56"/>
                  <a:gd name="T41" fmla="*/ 9 h 61"/>
                  <a:gd name="T42" fmla="*/ 3 w 56"/>
                  <a:gd name="T43" fmla="*/ 12 h 61"/>
                  <a:gd name="T44" fmla="*/ 0 w 56"/>
                  <a:gd name="T45" fmla="*/ 14 h 61"/>
                  <a:gd name="T46" fmla="*/ 4 w 56"/>
                  <a:gd name="T47" fmla="*/ 16 h 61"/>
                  <a:gd name="T48" fmla="*/ 4 w 56"/>
                  <a:gd name="T49" fmla="*/ 22 h 61"/>
                  <a:gd name="T50" fmla="*/ 9 w 56"/>
                  <a:gd name="T51" fmla="*/ 23 h 61"/>
                  <a:gd name="T52" fmla="*/ 9 w 56"/>
                  <a:gd name="T53" fmla="*/ 27 h 61"/>
                  <a:gd name="T54" fmla="*/ 9 w 56"/>
                  <a:gd name="T55" fmla="*/ 34 h 61"/>
                  <a:gd name="T56" fmla="*/ 13 w 56"/>
                  <a:gd name="T57" fmla="*/ 32 h 61"/>
                  <a:gd name="T58" fmla="*/ 16 w 56"/>
                  <a:gd name="T59" fmla="*/ 32 h 61"/>
                  <a:gd name="T60" fmla="*/ 22 w 56"/>
                  <a:gd name="T61" fmla="*/ 33 h 61"/>
                  <a:gd name="T62" fmla="*/ 25 w 56"/>
                  <a:gd name="T63" fmla="*/ 30 h 61"/>
                  <a:gd name="T64" fmla="*/ 29 w 56"/>
                  <a:gd name="T65" fmla="*/ 31 h 61"/>
                  <a:gd name="T66" fmla="*/ 35 w 56"/>
                  <a:gd name="T67" fmla="*/ 38 h 61"/>
                  <a:gd name="T68" fmla="*/ 35 w 56"/>
                  <a:gd name="T69" fmla="*/ 43 h 61"/>
                  <a:gd name="T70" fmla="*/ 40 w 56"/>
                  <a:gd name="T71" fmla="*/ 45 h 61"/>
                  <a:gd name="T72" fmla="*/ 42 w 56"/>
                  <a:gd name="T73" fmla="*/ 49 h 61"/>
                  <a:gd name="T74" fmla="*/ 42 w 56"/>
                  <a:gd name="T75" fmla="*/ 53 h 61"/>
                  <a:gd name="T76" fmla="*/ 40 w 56"/>
                  <a:gd name="T77" fmla="*/ 57 h 61"/>
                  <a:gd name="T78" fmla="*/ 44 w 56"/>
                  <a:gd name="T79" fmla="*/ 60 h 61"/>
                  <a:gd name="T80" fmla="*/ 47 w 56"/>
                  <a:gd name="T81" fmla="*/ 58 h 61"/>
                  <a:gd name="T82" fmla="*/ 50 w 56"/>
                  <a:gd name="T83" fmla="*/ 56 h 61"/>
                  <a:gd name="T84" fmla="*/ 54 w 56"/>
                  <a:gd name="T85" fmla="*/ 57 h 61"/>
                  <a:gd name="T86" fmla="*/ 54 w 56"/>
                  <a:gd name="T87" fmla="*/ 53 h 61"/>
                  <a:gd name="T88" fmla="*/ 56 w 56"/>
                  <a:gd name="T8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61">
                    <a:moveTo>
                      <a:pt x="56" y="49"/>
                    </a:moveTo>
                    <a:cubicBezTo>
                      <a:pt x="55" y="49"/>
                      <a:pt x="54" y="49"/>
                      <a:pt x="54" y="48"/>
                    </a:cubicBezTo>
                    <a:cubicBezTo>
                      <a:pt x="54" y="48"/>
                      <a:pt x="54" y="47"/>
                      <a:pt x="54" y="47"/>
                    </a:cubicBezTo>
                    <a:cubicBezTo>
                      <a:pt x="55" y="46"/>
                      <a:pt x="55" y="46"/>
                      <a:pt x="55" y="46"/>
                    </a:cubicBezTo>
                    <a:cubicBezTo>
                      <a:pt x="55" y="45"/>
                      <a:pt x="55" y="45"/>
                      <a:pt x="55" y="45"/>
                    </a:cubicBezTo>
                    <a:cubicBezTo>
                      <a:pt x="55" y="45"/>
                      <a:pt x="54" y="45"/>
                      <a:pt x="54" y="45"/>
                    </a:cubicBezTo>
                    <a:cubicBezTo>
                      <a:pt x="53" y="45"/>
                      <a:pt x="53" y="44"/>
                      <a:pt x="52" y="44"/>
                    </a:cubicBezTo>
                    <a:cubicBezTo>
                      <a:pt x="52" y="43"/>
                      <a:pt x="51" y="44"/>
                      <a:pt x="51" y="43"/>
                    </a:cubicBezTo>
                    <a:cubicBezTo>
                      <a:pt x="50" y="43"/>
                      <a:pt x="50" y="43"/>
                      <a:pt x="50" y="42"/>
                    </a:cubicBezTo>
                    <a:cubicBezTo>
                      <a:pt x="50" y="42"/>
                      <a:pt x="50" y="42"/>
                      <a:pt x="49" y="42"/>
                    </a:cubicBezTo>
                    <a:cubicBezTo>
                      <a:pt x="49" y="41"/>
                      <a:pt x="48" y="41"/>
                      <a:pt x="48" y="41"/>
                    </a:cubicBezTo>
                    <a:cubicBezTo>
                      <a:pt x="48" y="40"/>
                      <a:pt x="47" y="39"/>
                      <a:pt x="47" y="39"/>
                    </a:cubicBezTo>
                    <a:cubicBezTo>
                      <a:pt x="47" y="39"/>
                      <a:pt x="46" y="39"/>
                      <a:pt x="46" y="38"/>
                    </a:cubicBezTo>
                    <a:cubicBezTo>
                      <a:pt x="45" y="38"/>
                      <a:pt x="44" y="38"/>
                      <a:pt x="44" y="38"/>
                    </a:cubicBezTo>
                    <a:cubicBezTo>
                      <a:pt x="44" y="37"/>
                      <a:pt x="44" y="37"/>
                      <a:pt x="44" y="36"/>
                    </a:cubicBezTo>
                    <a:cubicBezTo>
                      <a:pt x="43" y="36"/>
                      <a:pt x="42" y="35"/>
                      <a:pt x="42" y="35"/>
                    </a:cubicBezTo>
                    <a:cubicBezTo>
                      <a:pt x="42" y="34"/>
                      <a:pt x="42" y="33"/>
                      <a:pt x="41" y="33"/>
                    </a:cubicBezTo>
                    <a:cubicBezTo>
                      <a:pt x="41" y="33"/>
                      <a:pt x="40" y="32"/>
                      <a:pt x="40" y="31"/>
                    </a:cubicBezTo>
                    <a:cubicBezTo>
                      <a:pt x="40" y="31"/>
                      <a:pt x="39" y="31"/>
                      <a:pt x="39" y="31"/>
                    </a:cubicBezTo>
                    <a:cubicBezTo>
                      <a:pt x="38" y="30"/>
                      <a:pt x="37" y="29"/>
                      <a:pt x="37" y="29"/>
                    </a:cubicBezTo>
                    <a:cubicBezTo>
                      <a:pt x="37" y="29"/>
                      <a:pt x="37" y="28"/>
                      <a:pt x="36" y="28"/>
                    </a:cubicBezTo>
                    <a:cubicBezTo>
                      <a:pt x="36" y="28"/>
                      <a:pt x="35" y="28"/>
                      <a:pt x="35" y="28"/>
                    </a:cubicBezTo>
                    <a:cubicBezTo>
                      <a:pt x="34" y="28"/>
                      <a:pt x="34" y="27"/>
                      <a:pt x="34" y="27"/>
                    </a:cubicBezTo>
                    <a:cubicBezTo>
                      <a:pt x="33" y="27"/>
                      <a:pt x="32" y="27"/>
                      <a:pt x="32" y="27"/>
                    </a:cubicBezTo>
                    <a:cubicBezTo>
                      <a:pt x="31" y="27"/>
                      <a:pt x="31" y="26"/>
                      <a:pt x="31" y="26"/>
                    </a:cubicBezTo>
                    <a:cubicBezTo>
                      <a:pt x="30" y="26"/>
                      <a:pt x="29" y="25"/>
                      <a:pt x="29" y="25"/>
                    </a:cubicBezTo>
                    <a:cubicBezTo>
                      <a:pt x="29" y="25"/>
                      <a:pt x="29" y="24"/>
                      <a:pt x="29" y="24"/>
                    </a:cubicBezTo>
                    <a:cubicBezTo>
                      <a:pt x="30" y="24"/>
                      <a:pt x="30" y="23"/>
                      <a:pt x="29" y="23"/>
                    </a:cubicBezTo>
                    <a:cubicBezTo>
                      <a:pt x="29" y="23"/>
                      <a:pt x="28" y="22"/>
                      <a:pt x="28" y="22"/>
                    </a:cubicBezTo>
                    <a:cubicBezTo>
                      <a:pt x="28" y="22"/>
                      <a:pt x="29" y="21"/>
                      <a:pt x="29" y="21"/>
                    </a:cubicBezTo>
                    <a:cubicBezTo>
                      <a:pt x="29" y="21"/>
                      <a:pt x="30" y="21"/>
                      <a:pt x="31" y="21"/>
                    </a:cubicBezTo>
                    <a:cubicBezTo>
                      <a:pt x="31" y="20"/>
                      <a:pt x="32" y="20"/>
                      <a:pt x="32" y="20"/>
                    </a:cubicBezTo>
                    <a:cubicBezTo>
                      <a:pt x="33" y="20"/>
                      <a:pt x="33" y="20"/>
                      <a:pt x="33" y="19"/>
                    </a:cubicBezTo>
                    <a:cubicBezTo>
                      <a:pt x="33" y="19"/>
                      <a:pt x="33" y="18"/>
                      <a:pt x="34" y="18"/>
                    </a:cubicBezTo>
                    <a:cubicBezTo>
                      <a:pt x="34" y="17"/>
                      <a:pt x="34" y="17"/>
                      <a:pt x="34" y="17"/>
                    </a:cubicBezTo>
                    <a:cubicBezTo>
                      <a:pt x="34" y="17"/>
                      <a:pt x="35" y="17"/>
                      <a:pt x="35" y="16"/>
                    </a:cubicBezTo>
                    <a:cubicBezTo>
                      <a:pt x="35" y="16"/>
                      <a:pt x="35" y="16"/>
                      <a:pt x="34" y="15"/>
                    </a:cubicBezTo>
                    <a:cubicBezTo>
                      <a:pt x="33" y="15"/>
                      <a:pt x="33" y="15"/>
                      <a:pt x="33" y="14"/>
                    </a:cubicBezTo>
                    <a:cubicBezTo>
                      <a:pt x="33" y="14"/>
                      <a:pt x="33" y="13"/>
                      <a:pt x="33" y="13"/>
                    </a:cubicBezTo>
                    <a:cubicBezTo>
                      <a:pt x="32" y="13"/>
                      <a:pt x="31" y="12"/>
                      <a:pt x="31" y="12"/>
                    </a:cubicBezTo>
                    <a:cubicBezTo>
                      <a:pt x="30" y="12"/>
                      <a:pt x="30" y="11"/>
                      <a:pt x="30" y="11"/>
                    </a:cubicBezTo>
                    <a:cubicBezTo>
                      <a:pt x="29" y="11"/>
                      <a:pt x="28" y="11"/>
                      <a:pt x="27" y="11"/>
                    </a:cubicBezTo>
                    <a:cubicBezTo>
                      <a:pt x="27" y="12"/>
                      <a:pt x="27" y="12"/>
                      <a:pt x="26" y="12"/>
                    </a:cubicBezTo>
                    <a:cubicBezTo>
                      <a:pt x="26" y="12"/>
                      <a:pt x="25" y="11"/>
                      <a:pt x="25" y="11"/>
                    </a:cubicBezTo>
                    <a:cubicBezTo>
                      <a:pt x="24" y="11"/>
                      <a:pt x="22" y="11"/>
                      <a:pt x="22" y="11"/>
                    </a:cubicBezTo>
                    <a:cubicBezTo>
                      <a:pt x="22" y="11"/>
                      <a:pt x="21" y="10"/>
                      <a:pt x="20" y="9"/>
                    </a:cubicBezTo>
                    <a:cubicBezTo>
                      <a:pt x="20" y="9"/>
                      <a:pt x="19" y="8"/>
                      <a:pt x="19" y="8"/>
                    </a:cubicBezTo>
                    <a:cubicBezTo>
                      <a:pt x="19" y="7"/>
                      <a:pt x="18" y="7"/>
                      <a:pt x="18" y="7"/>
                    </a:cubicBezTo>
                    <a:cubicBezTo>
                      <a:pt x="19" y="6"/>
                      <a:pt x="19" y="6"/>
                      <a:pt x="19" y="5"/>
                    </a:cubicBezTo>
                    <a:cubicBezTo>
                      <a:pt x="18" y="5"/>
                      <a:pt x="18" y="5"/>
                      <a:pt x="18" y="4"/>
                    </a:cubicBezTo>
                    <a:cubicBezTo>
                      <a:pt x="17" y="4"/>
                      <a:pt x="17" y="3"/>
                      <a:pt x="17" y="3"/>
                    </a:cubicBezTo>
                    <a:cubicBezTo>
                      <a:pt x="16" y="2"/>
                      <a:pt x="16" y="2"/>
                      <a:pt x="15" y="1"/>
                    </a:cubicBezTo>
                    <a:cubicBezTo>
                      <a:pt x="14" y="1"/>
                      <a:pt x="14" y="1"/>
                      <a:pt x="14" y="1"/>
                    </a:cubicBezTo>
                    <a:cubicBezTo>
                      <a:pt x="14" y="0"/>
                      <a:pt x="14" y="0"/>
                      <a:pt x="14" y="0"/>
                    </a:cubicBezTo>
                    <a:cubicBezTo>
                      <a:pt x="14" y="0"/>
                      <a:pt x="11" y="0"/>
                      <a:pt x="11" y="0"/>
                    </a:cubicBezTo>
                    <a:cubicBezTo>
                      <a:pt x="11" y="0"/>
                      <a:pt x="10" y="1"/>
                      <a:pt x="10" y="1"/>
                    </a:cubicBezTo>
                    <a:cubicBezTo>
                      <a:pt x="10" y="2"/>
                      <a:pt x="10" y="3"/>
                      <a:pt x="10" y="3"/>
                    </a:cubicBezTo>
                    <a:cubicBezTo>
                      <a:pt x="10" y="3"/>
                      <a:pt x="10" y="5"/>
                      <a:pt x="11" y="6"/>
                    </a:cubicBezTo>
                    <a:cubicBezTo>
                      <a:pt x="11" y="6"/>
                      <a:pt x="11" y="8"/>
                      <a:pt x="11" y="8"/>
                    </a:cubicBezTo>
                    <a:cubicBezTo>
                      <a:pt x="10" y="8"/>
                      <a:pt x="9" y="8"/>
                      <a:pt x="8" y="8"/>
                    </a:cubicBezTo>
                    <a:cubicBezTo>
                      <a:pt x="8" y="8"/>
                      <a:pt x="7" y="7"/>
                      <a:pt x="7" y="7"/>
                    </a:cubicBezTo>
                    <a:cubicBezTo>
                      <a:pt x="7" y="7"/>
                      <a:pt x="6" y="8"/>
                      <a:pt x="6" y="8"/>
                    </a:cubicBezTo>
                    <a:cubicBezTo>
                      <a:pt x="6" y="8"/>
                      <a:pt x="5" y="9"/>
                      <a:pt x="4" y="9"/>
                    </a:cubicBezTo>
                    <a:cubicBezTo>
                      <a:pt x="4" y="9"/>
                      <a:pt x="4" y="9"/>
                      <a:pt x="4" y="9"/>
                    </a:cubicBezTo>
                    <a:cubicBezTo>
                      <a:pt x="3" y="9"/>
                      <a:pt x="3" y="10"/>
                      <a:pt x="3" y="10"/>
                    </a:cubicBezTo>
                    <a:cubicBezTo>
                      <a:pt x="2" y="11"/>
                      <a:pt x="3" y="11"/>
                      <a:pt x="3" y="12"/>
                    </a:cubicBezTo>
                    <a:cubicBezTo>
                      <a:pt x="3" y="13"/>
                      <a:pt x="3" y="12"/>
                      <a:pt x="2" y="12"/>
                    </a:cubicBezTo>
                    <a:cubicBezTo>
                      <a:pt x="1" y="13"/>
                      <a:pt x="1" y="13"/>
                      <a:pt x="1" y="14"/>
                    </a:cubicBezTo>
                    <a:cubicBezTo>
                      <a:pt x="1" y="14"/>
                      <a:pt x="0" y="14"/>
                      <a:pt x="0" y="14"/>
                    </a:cubicBezTo>
                    <a:cubicBezTo>
                      <a:pt x="0" y="15"/>
                      <a:pt x="0" y="15"/>
                      <a:pt x="0" y="16"/>
                    </a:cubicBezTo>
                    <a:cubicBezTo>
                      <a:pt x="1" y="16"/>
                      <a:pt x="2" y="15"/>
                      <a:pt x="2" y="15"/>
                    </a:cubicBezTo>
                    <a:cubicBezTo>
                      <a:pt x="2" y="15"/>
                      <a:pt x="4" y="16"/>
                      <a:pt x="4" y="16"/>
                    </a:cubicBezTo>
                    <a:cubicBezTo>
                      <a:pt x="4" y="17"/>
                      <a:pt x="4" y="18"/>
                      <a:pt x="4" y="19"/>
                    </a:cubicBezTo>
                    <a:cubicBezTo>
                      <a:pt x="4" y="19"/>
                      <a:pt x="4" y="20"/>
                      <a:pt x="4" y="20"/>
                    </a:cubicBezTo>
                    <a:cubicBezTo>
                      <a:pt x="4" y="20"/>
                      <a:pt x="4" y="21"/>
                      <a:pt x="4" y="22"/>
                    </a:cubicBezTo>
                    <a:cubicBezTo>
                      <a:pt x="4" y="22"/>
                      <a:pt x="5" y="22"/>
                      <a:pt x="6" y="21"/>
                    </a:cubicBezTo>
                    <a:cubicBezTo>
                      <a:pt x="7" y="21"/>
                      <a:pt x="8" y="21"/>
                      <a:pt x="9" y="21"/>
                    </a:cubicBezTo>
                    <a:cubicBezTo>
                      <a:pt x="10" y="21"/>
                      <a:pt x="9" y="22"/>
                      <a:pt x="9" y="23"/>
                    </a:cubicBezTo>
                    <a:cubicBezTo>
                      <a:pt x="9" y="23"/>
                      <a:pt x="9" y="23"/>
                      <a:pt x="8" y="24"/>
                    </a:cubicBezTo>
                    <a:cubicBezTo>
                      <a:pt x="8" y="24"/>
                      <a:pt x="9" y="25"/>
                      <a:pt x="9" y="26"/>
                    </a:cubicBezTo>
                    <a:cubicBezTo>
                      <a:pt x="9" y="27"/>
                      <a:pt x="9" y="27"/>
                      <a:pt x="9" y="27"/>
                    </a:cubicBezTo>
                    <a:cubicBezTo>
                      <a:pt x="8" y="28"/>
                      <a:pt x="9" y="29"/>
                      <a:pt x="9" y="29"/>
                    </a:cubicBezTo>
                    <a:cubicBezTo>
                      <a:pt x="9" y="30"/>
                      <a:pt x="9" y="31"/>
                      <a:pt x="9" y="31"/>
                    </a:cubicBezTo>
                    <a:cubicBezTo>
                      <a:pt x="9" y="32"/>
                      <a:pt x="9" y="34"/>
                      <a:pt x="9" y="34"/>
                    </a:cubicBezTo>
                    <a:cubicBezTo>
                      <a:pt x="10" y="35"/>
                      <a:pt x="10" y="34"/>
                      <a:pt x="10" y="33"/>
                    </a:cubicBezTo>
                    <a:cubicBezTo>
                      <a:pt x="11" y="33"/>
                      <a:pt x="11" y="33"/>
                      <a:pt x="12" y="33"/>
                    </a:cubicBezTo>
                    <a:cubicBezTo>
                      <a:pt x="13" y="33"/>
                      <a:pt x="13" y="32"/>
                      <a:pt x="13" y="32"/>
                    </a:cubicBezTo>
                    <a:cubicBezTo>
                      <a:pt x="13" y="31"/>
                      <a:pt x="13" y="31"/>
                      <a:pt x="14" y="31"/>
                    </a:cubicBezTo>
                    <a:cubicBezTo>
                      <a:pt x="14" y="31"/>
                      <a:pt x="14" y="31"/>
                      <a:pt x="15" y="31"/>
                    </a:cubicBezTo>
                    <a:cubicBezTo>
                      <a:pt x="15" y="31"/>
                      <a:pt x="16" y="31"/>
                      <a:pt x="16" y="32"/>
                    </a:cubicBezTo>
                    <a:cubicBezTo>
                      <a:pt x="17" y="32"/>
                      <a:pt x="18" y="32"/>
                      <a:pt x="19" y="32"/>
                    </a:cubicBezTo>
                    <a:cubicBezTo>
                      <a:pt x="19" y="32"/>
                      <a:pt x="19" y="33"/>
                      <a:pt x="20" y="33"/>
                    </a:cubicBezTo>
                    <a:cubicBezTo>
                      <a:pt x="20" y="33"/>
                      <a:pt x="22" y="33"/>
                      <a:pt x="22" y="33"/>
                    </a:cubicBezTo>
                    <a:cubicBezTo>
                      <a:pt x="23" y="33"/>
                      <a:pt x="23" y="32"/>
                      <a:pt x="23" y="32"/>
                    </a:cubicBezTo>
                    <a:cubicBezTo>
                      <a:pt x="23" y="31"/>
                      <a:pt x="23" y="31"/>
                      <a:pt x="24" y="31"/>
                    </a:cubicBezTo>
                    <a:cubicBezTo>
                      <a:pt x="24" y="30"/>
                      <a:pt x="24" y="30"/>
                      <a:pt x="25" y="30"/>
                    </a:cubicBezTo>
                    <a:cubicBezTo>
                      <a:pt x="25" y="30"/>
                      <a:pt x="25" y="30"/>
                      <a:pt x="26" y="29"/>
                    </a:cubicBezTo>
                    <a:cubicBezTo>
                      <a:pt x="26" y="29"/>
                      <a:pt x="27" y="29"/>
                      <a:pt x="27" y="30"/>
                    </a:cubicBezTo>
                    <a:cubicBezTo>
                      <a:pt x="28" y="30"/>
                      <a:pt x="29" y="30"/>
                      <a:pt x="29" y="31"/>
                    </a:cubicBezTo>
                    <a:cubicBezTo>
                      <a:pt x="30" y="31"/>
                      <a:pt x="30" y="31"/>
                      <a:pt x="31" y="32"/>
                    </a:cubicBezTo>
                    <a:cubicBezTo>
                      <a:pt x="32" y="33"/>
                      <a:pt x="33" y="34"/>
                      <a:pt x="34" y="34"/>
                    </a:cubicBezTo>
                    <a:cubicBezTo>
                      <a:pt x="35" y="35"/>
                      <a:pt x="35" y="37"/>
                      <a:pt x="35" y="38"/>
                    </a:cubicBezTo>
                    <a:cubicBezTo>
                      <a:pt x="35" y="39"/>
                      <a:pt x="35" y="39"/>
                      <a:pt x="35" y="39"/>
                    </a:cubicBezTo>
                    <a:cubicBezTo>
                      <a:pt x="35" y="39"/>
                      <a:pt x="36" y="40"/>
                      <a:pt x="36" y="41"/>
                    </a:cubicBezTo>
                    <a:cubicBezTo>
                      <a:pt x="35" y="42"/>
                      <a:pt x="35" y="42"/>
                      <a:pt x="35" y="43"/>
                    </a:cubicBezTo>
                    <a:cubicBezTo>
                      <a:pt x="35" y="43"/>
                      <a:pt x="36" y="44"/>
                      <a:pt x="36" y="44"/>
                    </a:cubicBezTo>
                    <a:cubicBezTo>
                      <a:pt x="37" y="44"/>
                      <a:pt x="37" y="45"/>
                      <a:pt x="38" y="45"/>
                    </a:cubicBezTo>
                    <a:cubicBezTo>
                      <a:pt x="38" y="45"/>
                      <a:pt x="39" y="45"/>
                      <a:pt x="40" y="45"/>
                    </a:cubicBezTo>
                    <a:cubicBezTo>
                      <a:pt x="40" y="46"/>
                      <a:pt x="40" y="46"/>
                      <a:pt x="40" y="47"/>
                    </a:cubicBezTo>
                    <a:cubicBezTo>
                      <a:pt x="40" y="47"/>
                      <a:pt x="41" y="47"/>
                      <a:pt x="41" y="48"/>
                    </a:cubicBezTo>
                    <a:cubicBezTo>
                      <a:pt x="42" y="48"/>
                      <a:pt x="42" y="49"/>
                      <a:pt x="42" y="49"/>
                    </a:cubicBezTo>
                    <a:cubicBezTo>
                      <a:pt x="42" y="49"/>
                      <a:pt x="42" y="50"/>
                      <a:pt x="42" y="50"/>
                    </a:cubicBezTo>
                    <a:cubicBezTo>
                      <a:pt x="42" y="50"/>
                      <a:pt x="42" y="51"/>
                      <a:pt x="41" y="51"/>
                    </a:cubicBezTo>
                    <a:cubicBezTo>
                      <a:pt x="41" y="52"/>
                      <a:pt x="41" y="53"/>
                      <a:pt x="42" y="53"/>
                    </a:cubicBezTo>
                    <a:cubicBezTo>
                      <a:pt x="42" y="53"/>
                      <a:pt x="42" y="55"/>
                      <a:pt x="42" y="55"/>
                    </a:cubicBezTo>
                    <a:cubicBezTo>
                      <a:pt x="42" y="56"/>
                      <a:pt x="41" y="56"/>
                      <a:pt x="41" y="56"/>
                    </a:cubicBezTo>
                    <a:cubicBezTo>
                      <a:pt x="40" y="57"/>
                      <a:pt x="40" y="57"/>
                      <a:pt x="40" y="57"/>
                    </a:cubicBezTo>
                    <a:cubicBezTo>
                      <a:pt x="40" y="57"/>
                      <a:pt x="40" y="57"/>
                      <a:pt x="40" y="57"/>
                    </a:cubicBezTo>
                    <a:cubicBezTo>
                      <a:pt x="41" y="58"/>
                      <a:pt x="41" y="59"/>
                      <a:pt x="42" y="59"/>
                    </a:cubicBezTo>
                    <a:cubicBezTo>
                      <a:pt x="43" y="59"/>
                      <a:pt x="44" y="59"/>
                      <a:pt x="44" y="60"/>
                    </a:cubicBezTo>
                    <a:cubicBezTo>
                      <a:pt x="45" y="60"/>
                      <a:pt x="46" y="61"/>
                      <a:pt x="46" y="61"/>
                    </a:cubicBezTo>
                    <a:cubicBezTo>
                      <a:pt x="47" y="61"/>
                      <a:pt x="47" y="61"/>
                      <a:pt x="47" y="60"/>
                    </a:cubicBezTo>
                    <a:cubicBezTo>
                      <a:pt x="47" y="59"/>
                      <a:pt x="48" y="59"/>
                      <a:pt x="47" y="58"/>
                    </a:cubicBezTo>
                    <a:cubicBezTo>
                      <a:pt x="46" y="57"/>
                      <a:pt x="46" y="57"/>
                      <a:pt x="46" y="56"/>
                    </a:cubicBezTo>
                    <a:cubicBezTo>
                      <a:pt x="47" y="56"/>
                      <a:pt x="47" y="56"/>
                      <a:pt x="48" y="56"/>
                    </a:cubicBezTo>
                    <a:cubicBezTo>
                      <a:pt x="49" y="56"/>
                      <a:pt x="49" y="56"/>
                      <a:pt x="50" y="56"/>
                    </a:cubicBezTo>
                    <a:cubicBezTo>
                      <a:pt x="51" y="57"/>
                      <a:pt x="51" y="57"/>
                      <a:pt x="52" y="57"/>
                    </a:cubicBezTo>
                    <a:cubicBezTo>
                      <a:pt x="52" y="57"/>
                      <a:pt x="53" y="58"/>
                      <a:pt x="54" y="58"/>
                    </a:cubicBezTo>
                    <a:cubicBezTo>
                      <a:pt x="54" y="58"/>
                      <a:pt x="54" y="57"/>
                      <a:pt x="54" y="57"/>
                    </a:cubicBezTo>
                    <a:cubicBezTo>
                      <a:pt x="54" y="57"/>
                      <a:pt x="55" y="56"/>
                      <a:pt x="55" y="56"/>
                    </a:cubicBezTo>
                    <a:cubicBezTo>
                      <a:pt x="55" y="55"/>
                      <a:pt x="55" y="55"/>
                      <a:pt x="54" y="54"/>
                    </a:cubicBezTo>
                    <a:cubicBezTo>
                      <a:pt x="54" y="53"/>
                      <a:pt x="54" y="53"/>
                      <a:pt x="54" y="53"/>
                    </a:cubicBezTo>
                    <a:cubicBezTo>
                      <a:pt x="54" y="52"/>
                      <a:pt x="54" y="52"/>
                      <a:pt x="54" y="52"/>
                    </a:cubicBezTo>
                    <a:cubicBezTo>
                      <a:pt x="55" y="51"/>
                      <a:pt x="56" y="51"/>
                      <a:pt x="56" y="50"/>
                    </a:cubicBezTo>
                    <a:cubicBezTo>
                      <a:pt x="56" y="50"/>
                      <a:pt x="56" y="49"/>
                      <a:pt x="56" y="4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1" name="Freeform 851">
                <a:extLst>
                  <a:ext uri="{FF2B5EF4-FFF2-40B4-BE49-F238E27FC236}">
                    <a16:creationId xmlns:a16="http://schemas.microsoft.com/office/drawing/2014/main" id="{8EE3D075-D5CA-DDDC-A6B8-D88F289A1677}"/>
                  </a:ext>
                </a:extLst>
              </p:cNvPr>
              <p:cNvSpPr>
                <a:spLocks/>
              </p:cNvSpPr>
              <p:nvPr/>
            </p:nvSpPr>
            <p:spPr bwMode="auto">
              <a:xfrm>
                <a:off x="7332663" y="3533775"/>
                <a:ext cx="307975" cy="150813"/>
              </a:xfrm>
              <a:custGeom>
                <a:avLst/>
                <a:gdLst>
                  <a:gd name="T0" fmla="*/ 7 w 74"/>
                  <a:gd name="T1" fmla="*/ 29 h 36"/>
                  <a:gd name="T2" fmla="*/ 4 w 74"/>
                  <a:gd name="T3" fmla="*/ 28 h 36"/>
                  <a:gd name="T4" fmla="*/ 1 w 74"/>
                  <a:gd name="T5" fmla="*/ 29 h 36"/>
                  <a:gd name="T6" fmla="*/ 0 w 74"/>
                  <a:gd name="T7" fmla="*/ 30 h 36"/>
                  <a:gd name="T8" fmla="*/ 1 w 74"/>
                  <a:gd name="T9" fmla="*/ 33 h 36"/>
                  <a:gd name="T10" fmla="*/ 9 w 74"/>
                  <a:gd name="T11" fmla="*/ 33 h 36"/>
                  <a:gd name="T12" fmla="*/ 12 w 74"/>
                  <a:gd name="T13" fmla="*/ 34 h 36"/>
                  <a:gd name="T14" fmla="*/ 15 w 74"/>
                  <a:gd name="T15" fmla="*/ 33 h 36"/>
                  <a:gd name="T16" fmla="*/ 17 w 74"/>
                  <a:gd name="T17" fmla="*/ 34 h 36"/>
                  <a:gd name="T18" fmla="*/ 19 w 74"/>
                  <a:gd name="T19" fmla="*/ 35 h 36"/>
                  <a:gd name="T20" fmla="*/ 22 w 74"/>
                  <a:gd name="T21" fmla="*/ 35 h 36"/>
                  <a:gd name="T22" fmla="*/ 25 w 74"/>
                  <a:gd name="T23" fmla="*/ 35 h 36"/>
                  <a:gd name="T24" fmla="*/ 30 w 74"/>
                  <a:gd name="T25" fmla="*/ 34 h 36"/>
                  <a:gd name="T26" fmla="*/ 32 w 74"/>
                  <a:gd name="T27" fmla="*/ 32 h 36"/>
                  <a:gd name="T28" fmla="*/ 31 w 74"/>
                  <a:gd name="T29" fmla="*/ 30 h 36"/>
                  <a:gd name="T30" fmla="*/ 34 w 74"/>
                  <a:gd name="T31" fmla="*/ 28 h 36"/>
                  <a:gd name="T32" fmla="*/ 37 w 74"/>
                  <a:gd name="T33" fmla="*/ 26 h 36"/>
                  <a:gd name="T34" fmla="*/ 38 w 74"/>
                  <a:gd name="T35" fmla="*/ 25 h 36"/>
                  <a:gd name="T36" fmla="*/ 42 w 74"/>
                  <a:gd name="T37" fmla="*/ 24 h 36"/>
                  <a:gd name="T38" fmla="*/ 45 w 74"/>
                  <a:gd name="T39" fmla="*/ 26 h 36"/>
                  <a:gd name="T40" fmla="*/ 48 w 74"/>
                  <a:gd name="T41" fmla="*/ 26 h 36"/>
                  <a:gd name="T42" fmla="*/ 50 w 74"/>
                  <a:gd name="T43" fmla="*/ 23 h 36"/>
                  <a:gd name="T44" fmla="*/ 52 w 74"/>
                  <a:gd name="T45" fmla="*/ 20 h 36"/>
                  <a:gd name="T46" fmla="*/ 58 w 74"/>
                  <a:gd name="T47" fmla="*/ 19 h 36"/>
                  <a:gd name="T48" fmla="*/ 60 w 74"/>
                  <a:gd name="T49" fmla="*/ 16 h 36"/>
                  <a:gd name="T50" fmla="*/ 70 w 74"/>
                  <a:gd name="T51" fmla="*/ 13 h 36"/>
                  <a:gd name="T52" fmla="*/ 73 w 74"/>
                  <a:gd name="T53" fmla="*/ 11 h 36"/>
                  <a:gd name="T54" fmla="*/ 72 w 74"/>
                  <a:gd name="T55" fmla="*/ 7 h 36"/>
                  <a:gd name="T56" fmla="*/ 67 w 74"/>
                  <a:gd name="T57" fmla="*/ 5 h 36"/>
                  <a:gd name="T58" fmla="*/ 61 w 74"/>
                  <a:gd name="T59" fmla="*/ 3 h 36"/>
                  <a:gd name="T60" fmla="*/ 54 w 74"/>
                  <a:gd name="T61" fmla="*/ 2 h 36"/>
                  <a:gd name="T62" fmla="*/ 49 w 74"/>
                  <a:gd name="T63" fmla="*/ 3 h 36"/>
                  <a:gd name="T64" fmla="*/ 45 w 74"/>
                  <a:gd name="T65" fmla="*/ 3 h 36"/>
                  <a:gd name="T66" fmla="*/ 42 w 74"/>
                  <a:gd name="T67" fmla="*/ 3 h 36"/>
                  <a:gd name="T68" fmla="*/ 37 w 74"/>
                  <a:gd name="T69" fmla="*/ 2 h 36"/>
                  <a:gd name="T70" fmla="*/ 31 w 74"/>
                  <a:gd name="T71" fmla="*/ 1 h 36"/>
                  <a:gd name="T72" fmla="*/ 28 w 74"/>
                  <a:gd name="T73" fmla="*/ 4 h 36"/>
                  <a:gd name="T74" fmla="*/ 19 w 74"/>
                  <a:gd name="T75" fmla="*/ 4 h 36"/>
                  <a:gd name="T76" fmla="*/ 13 w 74"/>
                  <a:gd name="T77" fmla="*/ 4 h 36"/>
                  <a:gd name="T78" fmla="*/ 12 w 74"/>
                  <a:gd name="T79" fmla="*/ 6 h 36"/>
                  <a:gd name="T80" fmla="*/ 11 w 74"/>
                  <a:gd name="T81" fmla="*/ 8 h 36"/>
                  <a:gd name="T82" fmla="*/ 12 w 74"/>
                  <a:gd name="T83" fmla="*/ 10 h 36"/>
                  <a:gd name="T84" fmla="*/ 10 w 74"/>
                  <a:gd name="T85" fmla="*/ 12 h 36"/>
                  <a:gd name="T86" fmla="*/ 6 w 74"/>
                  <a:gd name="T87" fmla="*/ 16 h 36"/>
                  <a:gd name="T88" fmla="*/ 10 w 74"/>
                  <a:gd name="T89" fmla="*/ 17 h 36"/>
                  <a:gd name="T90" fmla="*/ 12 w 74"/>
                  <a:gd name="T91" fmla="*/ 19 h 36"/>
                  <a:gd name="T92" fmla="*/ 14 w 74"/>
                  <a:gd name="T93" fmla="*/ 18 h 36"/>
                  <a:gd name="T94" fmla="*/ 15 w 74"/>
                  <a:gd name="T95" fmla="*/ 16 h 36"/>
                  <a:gd name="T96" fmla="*/ 17 w 74"/>
                  <a:gd name="T97" fmla="*/ 18 h 36"/>
                  <a:gd name="T98" fmla="*/ 19 w 74"/>
                  <a:gd name="T99" fmla="*/ 20 h 36"/>
                  <a:gd name="T100" fmla="*/ 23 w 74"/>
                  <a:gd name="T101" fmla="*/ 22 h 36"/>
                  <a:gd name="T102" fmla="*/ 26 w 74"/>
                  <a:gd name="T103" fmla="*/ 23 h 36"/>
                  <a:gd name="T104" fmla="*/ 23 w 74"/>
                  <a:gd name="T105" fmla="*/ 25 h 36"/>
                  <a:gd name="T106" fmla="*/ 21 w 74"/>
                  <a:gd name="T107" fmla="*/ 24 h 36"/>
                  <a:gd name="T108" fmla="*/ 19 w 74"/>
                  <a:gd name="T109" fmla="*/ 25 h 36"/>
                  <a:gd name="T110" fmla="*/ 16 w 74"/>
                  <a:gd name="T111" fmla="*/ 28 h 36"/>
                  <a:gd name="T112" fmla="*/ 14 w 74"/>
                  <a:gd name="T113" fmla="*/ 26 h 36"/>
                  <a:gd name="T114" fmla="*/ 12 w 74"/>
                  <a:gd name="T115" fmla="*/ 27 h 36"/>
                  <a:gd name="T116" fmla="*/ 12 w 74"/>
                  <a:gd name="T117" fmla="*/ 30 h 36"/>
                  <a:gd name="T118" fmla="*/ 11 w 74"/>
                  <a:gd name="T119" fmla="*/ 28 h 36"/>
                  <a:gd name="T120" fmla="*/ 10 w 74"/>
                  <a:gd name="T121" fmla="*/ 28 h 36"/>
                  <a:gd name="T122" fmla="*/ 9 w 74"/>
                  <a:gd name="T12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36">
                    <a:moveTo>
                      <a:pt x="9" y="30"/>
                    </a:moveTo>
                    <a:cubicBezTo>
                      <a:pt x="7" y="29"/>
                      <a:pt x="7" y="29"/>
                      <a:pt x="7" y="29"/>
                    </a:cubicBezTo>
                    <a:cubicBezTo>
                      <a:pt x="6" y="28"/>
                      <a:pt x="6" y="28"/>
                      <a:pt x="6" y="28"/>
                    </a:cubicBezTo>
                    <a:cubicBezTo>
                      <a:pt x="4" y="28"/>
                      <a:pt x="4" y="28"/>
                      <a:pt x="4" y="28"/>
                    </a:cubicBezTo>
                    <a:cubicBezTo>
                      <a:pt x="2" y="28"/>
                      <a:pt x="2" y="28"/>
                      <a:pt x="2" y="28"/>
                    </a:cubicBezTo>
                    <a:cubicBezTo>
                      <a:pt x="1" y="29"/>
                      <a:pt x="1" y="29"/>
                      <a:pt x="1" y="29"/>
                    </a:cubicBezTo>
                    <a:cubicBezTo>
                      <a:pt x="0" y="29"/>
                      <a:pt x="0" y="29"/>
                      <a:pt x="0" y="29"/>
                    </a:cubicBezTo>
                    <a:cubicBezTo>
                      <a:pt x="0" y="29"/>
                      <a:pt x="0" y="30"/>
                      <a:pt x="0" y="30"/>
                    </a:cubicBezTo>
                    <a:cubicBezTo>
                      <a:pt x="0" y="31"/>
                      <a:pt x="0" y="32"/>
                      <a:pt x="0" y="32"/>
                    </a:cubicBezTo>
                    <a:cubicBezTo>
                      <a:pt x="1" y="33"/>
                      <a:pt x="1" y="33"/>
                      <a:pt x="1" y="33"/>
                    </a:cubicBezTo>
                    <a:cubicBezTo>
                      <a:pt x="3" y="33"/>
                      <a:pt x="3" y="33"/>
                      <a:pt x="3" y="33"/>
                    </a:cubicBezTo>
                    <a:cubicBezTo>
                      <a:pt x="9" y="33"/>
                      <a:pt x="9" y="33"/>
                      <a:pt x="9" y="33"/>
                    </a:cubicBezTo>
                    <a:cubicBezTo>
                      <a:pt x="10" y="34"/>
                      <a:pt x="10" y="34"/>
                      <a:pt x="10" y="34"/>
                    </a:cubicBezTo>
                    <a:cubicBezTo>
                      <a:pt x="12" y="34"/>
                      <a:pt x="12" y="34"/>
                      <a:pt x="12" y="34"/>
                    </a:cubicBezTo>
                    <a:cubicBezTo>
                      <a:pt x="12" y="34"/>
                      <a:pt x="14" y="33"/>
                      <a:pt x="14" y="33"/>
                    </a:cubicBezTo>
                    <a:cubicBezTo>
                      <a:pt x="14" y="33"/>
                      <a:pt x="15" y="33"/>
                      <a:pt x="15" y="33"/>
                    </a:cubicBezTo>
                    <a:cubicBezTo>
                      <a:pt x="16" y="34"/>
                      <a:pt x="16" y="34"/>
                      <a:pt x="16" y="34"/>
                    </a:cubicBezTo>
                    <a:cubicBezTo>
                      <a:pt x="16" y="34"/>
                      <a:pt x="17" y="34"/>
                      <a:pt x="17" y="34"/>
                    </a:cubicBezTo>
                    <a:cubicBezTo>
                      <a:pt x="17" y="34"/>
                      <a:pt x="17" y="35"/>
                      <a:pt x="17" y="35"/>
                    </a:cubicBezTo>
                    <a:cubicBezTo>
                      <a:pt x="17" y="35"/>
                      <a:pt x="19" y="35"/>
                      <a:pt x="19" y="35"/>
                    </a:cubicBezTo>
                    <a:cubicBezTo>
                      <a:pt x="20" y="36"/>
                      <a:pt x="20" y="36"/>
                      <a:pt x="20" y="36"/>
                    </a:cubicBezTo>
                    <a:cubicBezTo>
                      <a:pt x="20" y="36"/>
                      <a:pt x="21" y="35"/>
                      <a:pt x="22" y="35"/>
                    </a:cubicBezTo>
                    <a:cubicBezTo>
                      <a:pt x="22" y="35"/>
                      <a:pt x="23" y="34"/>
                      <a:pt x="23" y="34"/>
                    </a:cubicBezTo>
                    <a:cubicBezTo>
                      <a:pt x="24" y="34"/>
                      <a:pt x="25" y="34"/>
                      <a:pt x="25" y="35"/>
                    </a:cubicBezTo>
                    <a:cubicBezTo>
                      <a:pt x="25" y="35"/>
                      <a:pt x="28" y="34"/>
                      <a:pt x="28" y="34"/>
                    </a:cubicBezTo>
                    <a:cubicBezTo>
                      <a:pt x="28" y="34"/>
                      <a:pt x="30" y="34"/>
                      <a:pt x="30" y="34"/>
                    </a:cubicBezTo>
                    <a:cubicBezTo>
                      <a:pt x="30" y="34"/>
                      <a:pt x="31" y="34"/>
                      <a:pt x="31" y="34"/>
                    </a:cubicBezTo>
                    <a:cubicBezTo>
                      <a:pt x="31" y="34"/>
                      <a:pt x="32" y="33"/>
                      <a:pt x="32" y="32"/>
                    </a:cubicBezTo>
                    <a:cubicBezTo>
                      <a:pt x="31" y="32"/>
                      <a:pt x="31" y="32"/>
                      <a:pt x="31" y="31"/>
                    </a:cubicBezTo>
                    <a:cubicBezTo>
                      <a:pt x="31" y="31"/>
                      <a:pt x="31" y="30"/>
                      <a:pt x="31" y="30"/>
                    </a:cubicBezTo>
                    <a:cubicBezTo>
                      <a:pt x="32" y="29"/>
                      <a:pt x="33" y="29"/>
                      <a:pt x="33" y="29"/>
                    </a:cubicBezTo>
                    <a:cubicBezTo>
                      <a:pt x="33" y="29"/>
                      <a:pt x="34" y="29"/>
                      <a:pt x="34" y="28"/>
                    </a:cubicBezTo>
                    <a:cubicBezTo>
                      <a:pt x="34" y="28"/>
                      <a:pt x="36" y="27"/>
                      <a:pt x="36" y="27"/>
                    </a:cubicBezTo>
                    <a:cubicBezTo>
                      <a:pt x="36" y="27"/>
                      <a:pt x="37" y="26"/>
                      <a:pt x="37" y="26"/>
                    </a:cubicBezTo>
                    <a:cubicBezTo>
                      <a:pt x="38" y="26"/>
                      <a:pt x="38" y="26"/>
                      <a:pt x="38" y="26"/>
                    </a:cubicBezTo>
                    <a:cubicBezTo>
                      <a:pt x="38" y="26"/>
                      <a:pt x="38" y="25"/>
                      <a:pt x="38" y="25"/>
                    </a:cubicBezTo>
                    <a:cubicBezTo>
                      <a:pt x="39" y="25"/>
                      <a:pt x="40" y="25"/>
                      <a:pt x="40" y="25"/>
                    </a:cubicBezTo>
                    <a:cubicBezTo>
                      <a:pt x="42" y="24"/>
                      <a:pt x="42" y="24"/>
                      <a:pt x="42" y="24"/>
                    </a:cubicBezTo>
                    <a:cubicBezTo>
                      <a:pt x="43" y="26"/>
                      <a:pt x="43" y="26"/>
                      <a:pt x="43" y="26"/>
                    </a:cubicBezTo>
                    <a:cubicBezTo>
                      <a:pt x="45" y="26"/>
                      <a:pt x="45" y="26"/>
                      <a:pt x="45" y="26"/>
                    </a:cubicBezTo>
                    <a:cubicBezTo>
                      <a:pt x="47" y="25"/>
                      <a:pt x="47" y="25"/>
                      <a:pt x="47" y="25"/>
                    </a:cubicBezTo>
                    <a:cubicBezTo>
                      <a:pt x="48" y="26"/>
                      <a:pt x="48" y="26"/>
                      <a:pt x="48" y="26"/>
                    </a:cubicBezTo>
                    <a:cubicBezTo>
                      <a:pt x="49" y="25"/>
                      <a:pt x="49" y="25"/>
                      <a:pt x="49" y="25"/>
                    </a:cubicBezTo>
                    <a:cubicBezTo>
                      <a:pt x="49" y="25"/>
                      <a:pt x="50" y="23"/>
                      <a:pt x="50" y="23"/>
                    </a:cubicBezTo>
                    <a:cubicBezTo>
                      <a:pt x="50" y="23"/>
                      <a:pt x="50" y="22"/>
                      <a:pt x="50" y="21"/>
                    </a:cubicBezTo>
                    <a:cubicBezTo>
                      <a:pt x="50" y="21"/>
                      <a:pt x="52" y="20"/>
                      <a:pt x="52" y="20"/>
                    </a:cubicBezTo>
                    <a:cubicBezTo>
                      <a:pt x="57" y="20"/>
                      <a:pt x="57" y="20"/>
                      <a:pt x="57" y="20"/>
                    </a:cubicBezTo>
                    <a:cubicBezTo>
                      <a:pt x="58" y="19"/>
                      <a:pt x="58" y="19"/>
                      <a:pt x="58" y="19"/>
                    </a:cubicBezTo>
                    <a:cubicBezTo>
                      <a:pt x="60" y="18"/>
                      <a:pt x="60" y="18"/>
                      <a:pt x="60" y="18"/>
                    </a:cubicBezTo>
                    <a:cubicBezTo>
                      <a:pt x="60" y="16"/>
                      <a:pt x="60" y="16"/>
                      <a:pt x="60" y="16"/>
                    </a:cubicBezTo>
                    <a:cubicBezTo>
                      <a:pt x="65" y="15"/>
                      <a:pt x="65" y="15"/>
                      <a:pt x="65" y="15"/>
                    </a:cubicBezTo>
                    <a:cubicBezTo>
                      <a:pt x="70" y="13"/>
                      <a:pt x="70" y="13"/>
                      <a:pt x="70" y="13"/>
                    </a:cubicBezTo>
                    <a:cubicBezTo>
                      <a:pt x="70" y="13"/>
                      <a:pt x="72" y="11"/>
                      <a:pt x="72" y="11"/>
                    </a:cubicBezTo>
                    <a:cubicBezTo>
                      <a:pt x="72" y="11"/>
                      <a:pt x="73" y="11"/>
                      <a:pt x="73" y="11"/>
                    </a:cubicBezTo>
                    <a:cubicBezTo>
                      <a:pt x="74" y="9"/>
                      <a:pt x="74" y="9"/>
                      <a:pt x="74" y="9"/>
                    </a:cubicBezTo>
                    <a:cubicBezTo>
                      <a:pt x="72" y="7"/>
                      <a:pt x="72" y="7"/>
                      <a:pt x="72" y="7"/>
                    </a:cubicBezTo>
                    <a:cubicBezTo>
                      <a:pt x="69" y="7"/>
                      <a:pt x="69" y="7"/>
                      <a:pt x="69" y="7"/>
                    </a:cubicBezTo>
                    <a:cubicBezTo>
                      <a:pt x="67" y="5"/>
                      <a:pt x="67" y="5"/>
                      <a:pt x="67" y="5"/>
                    </a:cubicBezTo>
                    <a:cubicBezTo>
                      <a:pt x="67" y="4"/>
                      <a:pt x="67" y="4"/>
                      <a:pt x="67" y="4"/>
                    </a:cubicBezTo>
                    <a:cubicBezTo>
                      <a:pt x="61" y="3"/>
                      <a:pt x="61" y="3"/>
                      <a:pt x="61" y="3"/>
                    </a:cubicBezTo>
                    <a:cubicBezTo>
                      <a:pt x="55" y="3"/>
                      <a:pt x="55" y="3"/>
                      <a:pt x="55" y="3"/>
                    </a:cubicBezTo>
                    <a:cubicBezTo>
                      <a:pt x="54" y="2"/>
                      <a:pt x="54" y="2"/>
                      <a:pt x="54" y="2"/>
                    </a:cubicBezTo>
                    <a:cubicBezTo>
                      <a:pt x="51" y="2"/>
                      <a:pt x="51" y="2"/>
                      <a:pt x="51" y="2"/>
                    </a:cubicBezTo>
                    <a:cubicBezTo>
                      <a:pt x="49" y="3"/>
                      <a:pt x="49" y="3"/>
                      <a:pt x="49" y="3"/>
                    </a:cubicBezTo>
                    <a:cubicBezTo>
                      <a:pt x="47" y="3"/>
                      <a:pt x="47" y="3"/>
                      <a:pt x="47" y="3"/>
                    </a:cubicBezTo>
                    <a:cubicBezTo>
                      <a:pt x="45" y="3"/>
                      <a:pt x="45" y="3"/>
                      <a:pt x="45" y="3"/>
                    </a:cubicBezTo>
                    <a:cubicBezTo>
                      <a:pt x="45" y="3"/>
                      <a:pt x="43" y="4"/>
                      <a:pt x="43" y="4"/>
                    </a:cubicBezTo>
                    <a:cubicBezTo>
                      <a:pt x="42" y="4"/>
                      <a:pt x="42" y="4"/>
                      <a:pt x="42" y="3"/>
                    </a:cubicBezTo>
                    <a:cubicBezTo>
                      <a:pt x="41" y="3"/>
                      <a:pt x="39" y="3"/>
                      <a:pt x="39" y="3"/>
                    </a:cubicBezTo>
                    <a:cubicBezTo>
                      <a:pt x="39" y="3"/>
                      <a:pt x="37" y="2"/>
                      <a:pt x="37" y="2"/>
                    </a:cubicBezTo>
                    <a:cubicBezTo>
                      <a:pt x="33" y="0"/>
                      <a:pt x="33" y="0"/>
                      <a:pt x="33" y="0"/>
                    </a:cubicBezTo>
                    <a:cubicBezTo>
                      <a:pt x="33" y="0"/>
                      <a:pt x="31" y="1"/>
                      <a:pt x="31" y="1"/>
                    </a:cubicBezTo>
                    <a:cubicBezTo>
                      <a:pt x="31" y="1"/>
                      <a:pt x="29" y="2"/>
                      <a:pt x="29" y="2"/>
                    </a:cubicBezTo>
                    <a:cubicBezTo>
                      <a:pt x="28" y="4"/>
                      <a:pt x="28" y="4"/>
                      <a:pt x="28" y="4"/>
                    </a:cubicBezTo>
                    <a:cubicBezTo>
                      <a:pt x="28" y="8"/>
                      <a:pt x="28" y="8"/>
                      <a:pt x="28" y="8"/>
                    </a:cubicBezTo>
                    <a:cubicBezTo>
                      <a:pt x="19" y="4"/>
                      <a:pt x="19" y="4"/>
                      <a:pt x="19" y="4"/>
                    </a:cubicBezTo>
                    <a:cubicBezTo>
                      <a:pt x="17" y="3"/>
                      <a:pt x="17" y="3"/>
                      <a:pt x="17" y="3"/>
                    </a:cubicBezTo>
                    <a:cubicBezTo>
                      <a:pt x="17" y="3"/>
                      <a:pt x="13" y="4"/>
                      <a:pt x="13" y="4"/>
                    </a:cubicBezTo>
                    <a:cubicBezTo>
                      <a:pt x="13" y="4"/>
                      <a:pt x="13" y="5"/>
                      <a:pt x="13" y="5"/>
                    </a:cubicBezTo>
                    <a:cubicBezTo>
                      <a:pt x="12" y="6"/>
                      <a:pt x="12" y="6"/>
                      <a:pt x="12" y="6"/>
                    </a:cubicBezTo>
                    <a:cubicBezTo>
                      <a:pt x="12" y="7"/>
                      <a:pt x="12" y="7"/>
                      <a:pt x="12" y="7"/>
                    </a:cubicBezTo>
                    <a:cubicBezTo>
                      <a:pt x="11" y="8"/>
                      <a:pt x="11" y="8"/>
                      <a:pt x="11" y="8"/>
                    </a:cubicBezTo>
                    <a:cubicBezTo>
                      <a:pt x="11" y="9"/>
                      <a:pt x="11" y="9"/>
                      <a:pt x="11" y="9"/>
                    </a:cubicBezTo>
                    <a:cubicBezTo>
                      <a:pt x="12" y="10"/>
                      <a:pt x="12" y="10"/>
                      <a:pt x="12" y="10"/>
                    </a:cubicBezTo>
                    <a:cubicBezTo>
                      <a:pt x="11" y="10"/>
                      <a:pt x="11" y="10"/>
                      <a:pt x="11" y="10"/>
                    </a:cubicBezTo>
                    <a:cubicBezTo>
                      <a:pt x="10" y="12"/>
                      <a:pt x="10" y="12"/>
                      <a:pt x="10" y="12"/>
                    </a:cubicBezTo>
                    <a:cubicBezTo>
                      <a:pt x="7" y="15"/>
                      <a:pt x="7" y="15"/>
                      <a:pt x="7" y="15"/>
                    </a:cubicBezTo>
                    <a:cubicBezTo>
                      <a:pt x="6" y="16"/>
                      <a:pt x="6" y="16"/>
                      <a:pt x="6" y="16"/>
                    </a:cubicBezTo>
                    <a:cubicBezTo>
                      <a:pt x="6" y="16"/>
                      <a:pt x="8" y="16"/>
                      <a:pt x="8" y="16"/>
                    </a:cubicBezTo>
                    <a:cubicBezTo>
                      <a:pt x="8" y="16"/>
                      <a:pt x="10" y="17"/>
                      <a:pt x="10" y="17"/>
                    </a:cubicBezTo>
                    <a:cubicBezTo>
                      <a:pt x="10" y="17"/>
                      <a:pt x="10" y="19"/>
                      <a:pt x="10" y="19"/>
                    </a:cubicBezTo>
                    <a:cubicBezTo>
                      <a:pt x="11" y="19"/>
                      <a:pt x="12" y="19"/>
                      <a:pt x="12" y="19"/>
                    </a:cubicBezTo>
                    <a:cubicBezTo>
                      <a:pt x="13" y="19"/>
                      <a:pt x="14" y="19"/>
                      <a:pt x="14" y="19"/>
                    </a:cubicBezTo>
                    <a:cubicBezTo>
                      <a:pt x="14" y="18"/>
                      <a:pt x="14" y="18"/>
                      <a:pt x="14" y="18"/>
                    </a:cubicBezTo>
                    <a:cubicBezTo>
                      <a:pt x="15" y="18"/>
                      <a:pt x="15" y="18"/>
                      <a:pt x="15" y="18"/>
                    </a:cubicBezTo>
                    <a:cubicBezTo>
                      <a:pt x="15" y="18"/>
                      <a:pt x="15" y="16"/>
                      <a:pt x="15" y="16"/>
                    </a:cubicBezTo>
                    <a:cubicBezTo>
                      <a:pt x="15" y="16"/>
                      <a:pt x="16" y="16"/>
                      <a:pt x="17" y="16"/>
                    </a:cubicBezTo>
                    <a:cubicBezTo>
                      <a:pt x="17" y="17"/>
                      <a:pt x="17" y="18"/>
                      <a:pt x="17" y="18"/>
                    </a:cubicBezTo>
                    <a:cubicBezTo>
                      <a:pt x="17" y="19"/>
                      <a:pt x="18" y="18"/>
                      <a:pt x="19" y="19"/>
                    </a:cubicBezTo>
                    <a:cubicBezTo>
                      <a:pt x="20" y="19"/>
                      <a:pt x="19" y="20"/>
                      <a:pt x="19" y="20"/>
                    </a:cubicBezTo>
                    <a:cubicBezTo>
                      <a:pt x="19" y="20"/>
                      <a:pt x="21" y="20"/>
                      <a:pt x="21" y="20"/>
                    </a:cubicBezTo>
                    <a:cubicBezTo>
                      <a:pt x="21" y="21"/>
                      <a:pt x="22" y="22"/>
                      <a:pt x="23" y="22"/>
                    </a:cubicBezTo>
                    <a:cubicBezTo>
                      <a:pt x="23" y="22"/>
                      <a:pt x="25" y="22"/>
                      <a:pt x="25" y="22"/>
                    </a:cubicBezTo>
                    <a:cubicBezTo>
                      <a:pt x="26" y="23"/>
                      <a:pt x="26" y="23"/>
                      <a:pt x="26" y="23"/>
                    </a:cubicBezTo>
                    <a:cubicBezTo>
                      <a:pt x="26" y="23"/>
                      <a:pt x="24" y="23"/>
                      <a:pt x="24" y="23"/>
                    </a:cubicBezTo>
                    <a:cubicBezTo>
                      <a:pt x="24" y="23"/>
                      <a:pt x="23" y="24"/>
                      <a:pt x="23" y="25"/>
                    </a:cubicBezTo>
                    <a:cubicBezTo>
                      <a:pt x="23" y="25"/>
                      <a:pt x="23" y="24"/>
                      <a:pt x="22" y="24"/>
                    </a:cubicBezTo>
                    <a:cubicBezTo>
                      <a:pt x="22" y="24"/>
                      <a:pt x="21" y="24"/>
                      <a:pt x="21" y="24"/>
                    </a:cubicBezTo>
                    <a:cubicBezTo>
                      <a:pt x="21" y="25"/>
                      <a:pt x="21" y="25"/>
                      <a:pt x="21" y="25"/>
                    </a:cubicBezTo>
                    <a:cubicBezTo>
                      <a:pt x="21" y="25"/>
                      <a:pt x="19" y="25"/>
                      <a:pt x="19" y="25"/>
                    </a:cubicBezTo>
                    <a:cubicBezTo>
                      <a:pt x="19" y="26"/>
                      <a:pt x="18" y="26"/>
                      <a:pt x="18" y="27"/>
                    </a:cubicBezTo>
                    <a:cubicBezTo>
                      <a:pt x="18" y="27"/>
                      <a:pt x="17" y="27"/>
                      <a:pt x="16" y="28"/>
                    </a:cubicBezTo>
                    <a:cubicBezTo>
                      <a:pt x="16" y="28"/>
                      <a:pt x="15" y="27"/>
                      <a:pt x="15" y="27"/>
                    </a:cubicBezTo>
                    <a:cubicBezTo>
                      <a:pt x="15" y="27"/>
                      <a:pt x="14" y="26"/>
                      <a:pt x="14" y="26"/>
                    </a:cubicBezTo>
                    <a:cubicBezTo>
                      <a:pt x="14" y="26"/>
                      <a:pt x="13" y="26"/>
                      <a:pt x="12" y="26"/>
                    </a:cubicBezTo>
                    <a:cubicBezTo>
                      <a:pt x="12" y="26"/>
                      <a:pt x="12" y="27"/>
                      <a:pt x="12" y="27"/>
                    </a:cubicBezTo>
                    <a:cubicBezTo>
                      <a:pt x="12" y="27"/>
                      <a:pt x="13" y="28"/>
                      <a:pt x="12" y="29"/>
                    </a:cubicBezTo>
                    <a:cubicBezTo>
                      <a:pt x="12" y="29"/>
                      <a:pt x="12" y="30"/>
                      <a:pt x="12" y="30"/>
                    </a:cubicBezTo>
                    <a:cubicBezTo>
                      <a:pt x="12" y="30"/>
                      <a:pt x="12" y="29"/>
                      <a:pt x="12" y="29"/>
                    </a:cubicBezTo>
                    <a:cubicBezTo>
                      <a:pt x="12" y="29"/>
                      <a:pt x="12" y="28"/>
                      <a:pt x="11" y="28"/>
                    </a:cubicBezTo>
                    <a:cubicBezTo>
                      <a:pt x="11" y="28"/>
                      <a:pt x="11" y="28"/>
                      <a:pt x="11" y="28"/>
                    </a:cubicBezTo>
                    <a:cubicBezTo>
                      <a:pt x="10" y="28"/>
                      <a:pt x="10" y="28"/>
                      <a:pt x="10" y="28"/>
                    </a:cubicBezTo>
                    <a:cubicBezTo>
                      <a:pt x="9" y="29"/>
                      <a:pt x="9" y="29"/>
                      <a:pt x="9" y="29"/>
                    </a:cubicBezTo>
                    <a:lnTo>
                      <a:pt x="9"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2" name="Freeform 853">
                <a:extLst>
                  <a:ext uri="{FF2B5EF4-FFF2-40B4-BE49-F238E27FC236}">
                    <a16:creationId xmlns:a16="http://schemas.microsoft.com/office/drawing/2014/main" id="{41B7F791-2520-66C4-2CBB-3654B66AF111}"/>
                  </a:ext>
                </a:extLst>
              </p:cNvPr>
              <p:cNvSpPr>
                <a:spLocks/>
              </p:cNvSpPr>
              <p:nvPr/>
            </p:nvSpPr>
            <p:spPr bwMode="auto">
              <a:xfrm>
                <a:off x="6686550" y="3005138"/>
                <a:ext cx="1144587" cy="628650"/>
              </a:xfrm>
              <a:custGeom>
                <a:avLst/>
                <a:gdLst>
                  <a:gd name="T0" fmla="*/ 82 w 275"/>
                  <a:gd name="T1" fmla="*/ 105 h 151"/>
                  <a:gd name="T2" fmla="*/ 126 w 275"/>
                  <a:gd name="T3" fmla="*/ 123 h 151"/>
                  <a:gd name="T4" fmla="*/ 136 w 275"/>
                  <a:gd name="T5" fmla="*/ 139 h 151"/>
                  <a:gd name="T6" fmla="*/ 149 w 275"/>
                  <a:gd name="T7" fmla="*/ 148 h 151"/>
                  <a:gd name="T8" fmla="*/ 164 w 275"/>
                  <a:gd name="T9" fmla="*/ 138 h 151"/>
                  <a:gd name="T10" fmla="*/ 174 w 275"/>
                  <a:gd name="T11" fmla="*/ 131 h 151"/>
                  <a:gd name="T12" fmla="*/ 197 w 275"/>
                  <a:gd name="T13" fmla="*/ 130 h 151"/>
                  <a:gd name="T14" fmla="*/ 216 w 275"/>
                  <a:gd name="T15" fmla="*/ 130 h 151"/>
                  <a:gd name="T16" fmla="*/ 229 w 275"/>
                  <a:gd name="T17" fmla="*/ 133 h 151"/>
                  <a:gd name="T18" fmla="*/ 233 w 275"/>
                  <a:gd name="T19" fmla="*/ 127 h 151"/>
                  <a:gd name="T20" fmla="*/ 228 w 275"/>
                  <a:gd name="T21" fmla="*/ 112 h 151"/>
                  <a:gd name="T22" fmla="*/ 241 w 275"/>
                  <a:gd name="T23" fmla="*/ 108 h 151"/>
                  <a:gd name="T24" fmla="*/ 259 w 275"/>
                  <a:gd name="T25" fmla="*/ 91 h 151"/>
                  <a:gd name="T26" fmla="*/ 265 w 275"/>
                  <a:gd name="T27" fmla="*/ 83 h 151"/>
                  <a:gd name="T28" fmla="*/ 273 w 275"/>
                  <a:gd name="T29" fmla="*/ 70 h 151"/>
                  <a:gd name="T30" fmla="*/ 270 w 275"/>
                  <a:gd name="T31" fmla="*/ 65 h 151"/>
                  <a:gd name="T32" fmla="*/ 260 w 275"/>
                  <a:gd name="T33" fmla="*/ 58 h 151"/>
                  <a:gd name="T34" fmla="*/ 250 w 275"/>
                  <a:gd name="T35" fmla="*/ 49 h 151"/>
                  <a:gd name="T36" fmla="*/ 241 w 275"/>
                  <a:gd name="T37" fmla="*/ 51 h 151"/>
                  <a:gd name="T38" fmla="*/ 233 w 275"/>
                  <a:gd name="T39" fmla="*/ 46 h 151"/>
                  <a:gd name="T40" fmla="*/ 203 w 275"/>
                  <a:gd name="T41" fmla="*/ 15 h 151"/>
                  <a:gd name="T42" fmla="*/ 202 w 275"/>
                  <a:gd name="T43" fmla="*/ 12 h 151"/>
                  <a:gd name="T44" fmla="*/ 193 w 275"/>
                  <a:gd name="T45" fmla="*/ 18 h 151"/>
                  <a:gd name="T46" fmla="*/ 184 w 275"/>
                  <a:gd name="T47" fmla="*/ 21 h 151"/>
                  <a:gd name="T48" fmla="*/ 182 w 275"/>
                  <a:gd name="T49" fmla="*/ 16 h 151"/>
                  <a:gd name="T50" fmla="*/ 173 w 275"/>
                  <a:gd name="T51" fmla="*/ 12 h 151"/>
                  <a:gd name="T52" fmla="*/ 168 w 275"/>
                  <a:gd name="T53" fmla="*/ 8 h 151"/>
                  <a:gd name="T54" fmla="*/ 160 w 275"/>
                  <a:gd name="T55" fmla="*/ 2 h 151"/>
                  <a:gd name="T56" fmla="*/ 148 w 275"/>
                  <a:gd name="T57" fmla="*/ 3 h 151"/>
                  <a:gd name="T58" fmla="*/ 127 w 275"/>
                  <a:gd name="T59" fmla="*/ 10 h 151"/>
                  <a:gd name="T60" fmla="*/ 114 w 275"/>
                  <a:gd name="T61" fmla="*/ 13 h 151"/>
                  <a:gd name="T62" fmla="*/ 102 w 275"/>
                  <a:gd name="T63" fmla="*/ 16 h 151"/>
                  <a:gd name="T64" fmla="*/ 99 w 275"/>
                  <a:gd name="T65" fmla="*/ 19 h 151"/>
                  <a:gd name="T66" fmla="*/ 100 w 275"/>
                  <a:gd name="T67" fmla="*/ 23 h 151"/>
                  <a:gd name="T68" fmla="*/ 103 w 275"/>
                  <a:gd name="T69" fmla="*/ 28 h 151"/>
                  <a:gd name="T70" fmla="*/ 95 w 275"/>
                  <a:gd name="T71" fmla="*/ 40 h 151"/>
                  <a:gd name="T72" fmla="*/ 102 w 275"/>
                  <a:gd name="T73" fmla="*/ 47 h 151"/>
                  <a:gd name="T74" fmla="*/ 90 w 275"/>
                  <a:gd name="T75" fmla="*/ 55 h 151"/>
                  <a:gd name="T76" fmla="*/ 79 w 275"/>
                  <a:gd name="T77" fmla="*/ 48 h 151"/>
                  <a:gd name="T78" fmla="*/ 69 w 275"/>
                  <a:gd name="T79" fmla="*/ 49 h 151"/>
                  <a:gd name="T80" fmla="*/ 58 w 275"/>
                  <a:gd name="T81" fmla="*/ 51 h 151"/>
                  <a:gd name="T82" fmla="*/ 54 w 275"/>
                  <a:gd name="T83" fmla="*/ 52 h 151"/>
                  <a:gd name="T84" fmla="*/ 40 w 275"/>
                  <a:gd name="T85" fmla="*/ 41 h 151"/>
                  <a:gd name="T86" fmla="*/ 30 w 275"/>
                  <a:gd name="T87" fmla="*/ 41 h 151"/>
                  <a:gd name="T88" fmla="*/ 17 w 275"/>
                  <a:gd name="T89" fmla="*/ 53 h 151"/>
                  <a:gd name="T90" fmla="*/ 11 w 275"/>
                  <a:gd name="T91" fmla="*/ 60 h 151"/>
                  <a:gd name="T92" fmla="*/ 2 w 275"/>
                  <a:gd name="T93" fmla="*/ 66 h 151"/>
                  <a:gd name="T94" fmla="*/ 3 w 275"/>
                  <a:gd name="T95" fmla="*/ 77 h 151"/>
                  <a:gd name="T96" fmla="*/ 12 w 275"/>
                  <a:gd name="T97" fmla="*/ 84 h 151"/>
                  <a:gd name="T98" fmla="*/ 21 w 275"/>
                  <a:gd name="T99" fmla="*/ 99 h 151"/>
                  <a:gd name="T100" fmla="*/ 38 w 275"/>
                  <a:gd name="T101" fmla="*/ 93 h 151"/>
                  <a:gd name="T102" fmla="*/ 47 w 275"/>
                  <a:gd name="T103" fmla="*/ 97 h 151"/>
                  <a:gd name="T104" fmla="*/ 53 w 275"/>
                  <a:gd name="T105" fmla="*/ 103 h 151"/>
                  <a:gd name="T106" fmla="*/ 49 w 275"/>
                  <a:gd name="T107" fmla="*/ 111 h 151"/>
                  <a:gd name="T108" fmla="*/ 46 w 275"/>
                  <a:gd name="T109" fmla="*/ 114 h 151"/>
                  <a:gd name="T110" fmla="*/ 37 w 275"/>
                  <a:gd name="T111" fmla="*/ 106 h 151"/>
                  <a:gd name="T112" fmla="*/ 33 w 275"/>
                  <a:gd name="T113" fmla="*/ 115 h 151"/>
                  <a:gd name="T114" fmla="*/ 30 w 275"/>
                  <a:gd name="T115" fmla="*/ 120 h 151"/>
                  <a:gd name="T116" fmla="*/ 43 w 275"/>
                  <a:gd name="T117" fmla="*/ 13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5" h="151">
                    <a:moveTo>
                      <a:pt x="48" y="136"/>
                    </a:moveTo>
                    <a:cubicBezTo>
                      <a:pt x="48" y="136"/>
                      <a:pt x="51" y="135"/>
                      <a:pt x="51" y="135"/>
                    </a:cubicBezTo>
                    <a:cubicBezTo>
                      <a:pt x="51" y="135"/>
                      <a:pt x="54" y="135"/>
                      <a:pt x="55" y="136"/>
                    </a:cubicBezTo>
                    <a:cubicBezTo>
                      <a:pt x="56" y="137"/>
                      <a:pt x="59" y="141"/>
                      <a:pt x="59" y="141"/>
                    </a:cubicBezTo>
                    <a:cubicBezTo>
                      <a:pt x="61" y="145"/>
                      <a:pt x="61" y="145"/>
                      <a:pt x="61" y="145"/>
                    </a:cubicBezTo>
                    <a:cubicBezTo>
                      <a:pt x="65" y="145"/>
                      <a:pt x="65" y="145"/>
                      <a:pt x="65" y="145"/>
                    </a:cubicBezTo>
                    <a:cubicBezTo>
                      <a:pt x="65" y="110"/>
                      <a:pt x="65" y="110"/>
                      <a:pt x="65" y="110"/>
                    </a:cubicBezTo>
                    <a:cubicBezTo>
                      <a:pt x="82" y="105"/>
                      <a:pt x="82" y="105"/>
                      <a:pt x="82" y="105"/>
                    </a:cubicBezTo>
                    <a:cubicBezTo>
                      <a:pt x="92" y="110"/>
                      <a:pt x="92" y="110"/>
                      <a:pt x="92" y="110"/>
                    </a:cubicBezTo>
                    <a:cubicBezTo>
                      <a:pt x="99" y="116"/>
                      <a:pt x="99" y="116"/>
                      <a:pt x="99" y="116"/>
                    </a:cubicBezTo>
                    <a:cubicBezTo>
                      <a:pt x="100" y="118"/>
                      <a:pt x="100" y="118"/>
                      <a:pt x="100" y="118"/>
                    </a:cubicBezTo>
                    <a:cubicBezTo>
                      <a:pt x="105" y="124"/>
                      <a:pt x="105" y="124"/>
                      <a:pt x="105" y="124"/>
                    </a:cubicBezTo>
                    <a:cubicBezTo>
                      <a:pt x="111" y="123"/>
                      <a:pt x="111" y="123"/>
                      <a:pt x="111" y="123"/>
                    </a:cubicBezTo>
                    <a:cubicBezTo>
                      <a:pt x="119" y="123"/>
                      <a:pt x="119" y="123"/>
                      <a:pt x="119" y="123"/>
                    </a:cubicBezTo>
                    <a:cubicBezTo>
                      <a:pt x="123" y="124"/>
                      <a:pt x="123" y="124"/>
                      <a:pt x="123" y="124"/>
                    </a:cubicBezTo>
                    <a:cubicBezTo>
                      <a:pt x="126" y="123"/>
                      <a:pt x="126" y="123"/>
                      <a:pt x="126" y="123"/>
                    </a:cubicBezTo>
                    <a:cubicBezTo>
                      <a:pt x="129" y="126"/>
                      <a:pt x="129" y="126"/>
                      <a:pt x="129" y="126"/>
                    </a:cubicBezTo>
                    <a:cubicBezTo>
                      <a:pt x="131" y="130"/>
                      <a:pt x="131" y="130"/>
                      <a:pt x="131" y="130"/>
                    </a:cubicBezTo>
                    <a:cubicBezTo>
                      <a:pt x="132" y="130"/>
                      <a:pt x="132" y="130"/>
                      <a:pt x="132" y="130"/>
                    </a:cubicBezTo>
                    <a:cubicBezTo>
                      <a:pt x="133" y="129"/>
                      <a:pt x="133" y="129"/>
                      <a:pt x="133" y="129"/>
                    </a:cubicBezTo>
                    <a:cubicBezTo>
                      <a:pt x="133" y="129"/>
                      <a:pt x="133" y="129"/>
                      <a:pt x="133" y="129"/>
                    </a:cubicBezTo>
                    <a:cubicBezTo>
                      <a:pt x="133" y="129"/>
                      <a:pt x="133" y="134"/>
                      <a:pt x="133" y="134"/>
                    </a:cubicBezTo>
                    <a:cubicBezTo>
                      <a:pt x="133" y="134"/>
                      <a:pt x="133" y="139"/>
                      <a:pt x="133" y="139"/>
                    </a:cubicBezTo>
                    <a:cubicBezTo>
                      <a:pt x="136" y="139"/>
                      <a:pt x="136" y="139"/>
                      <a:pt x="136" y="139"/>
                    </a:cubicBezTo>
                    <a:cubicBezTo>
                      <a:pt x="137" y="146"/>
                      <a:pt x="137" y="146"/>
                      <a:pt x="137" y="146"/>
                    </a:cubicBezTo>
                    <a:cubicBezTo>
                      <a:pt x="146" y="146"/>
                      <a:pt x="146" y="146"/>
                      <a:pt x="146" y="146"/>
                    </a:cubicBezTo>
                    <a:cubicBezTo>
                      <a:pt x="147" y="147"/>
                      <a:pt x="147" y="147"/>
                      <a:pt x="147" y="147"/>
                    </a:cubicBezTo>
                    <a:cubicBezTo>
                      <a:pt x="146" y="149"/>
                      <a:pt x="146" y="149"/>
                      <a:pt x="146" y="149"/>
                    </a:cubicBezTo>
                    <a:cubicBezTo>
                      <a:pt x="150" y="151"/>
                      <a:pt x="150" y="151"/>
                      <a:pt x="150" y="151"/>
                    </a:cubicBezTo>
                    <a:cubicBezTo>
                      <a:pt x="151" y="151"/>
                      <a:pt x="151" y="151"/>
                      <a:pt x="151" y="151"/>
                    </a:cubicBezTo>
                    <a:cubicBezTo>
                      <a:pt x="151" y="151"/>
                      <a:pt x="151" y="150"/>
                      <a:pt x="150" y="150"/>
                    </a:cubicBezTo>
                    <a:cubicBezTo>
                      <a:pt x="150" y="149"/>
                      <a:pt x="149" y="148"/>
                      <a:pt x="149" y="148"/>
                    </a:cubicBezTo>
                    <a:cubicBezTo>
                      <a:pt x="151" y="147"/>
                      <a:pt x="151" y="147"/>
                      <a:pt x="151" y="147"/>
                    </a:cubicBezTo>
                    <a:cubicBezTo>
                      <a:pt x="153" y="146"/>
                      <a:pt x="153" y="146"/>
                      <a:pt x="153" y="146"/>
                    </a:cubicBezTo>
                    <a:cubicBezTo>
                      <a:pt x="153" y="144"/>
                      <a:pt x="153" y="144"/>
                      <a:pt x="153" y="144"/>
                    </a:cubicBezTo>
                    <a:cubicBezTo>
                      <a:pt x="155" y="143"/>
                      <a:pt x="155" y="143"/>
                      <a:pt x="155" y="143"/>
                    </a:cubicBezTo>
                    <a:cubicBezTo>
                      <a:pt x="156" y="142"/>
                      <a:pt x="156" y="142"/>
                      <a:pt x="156" y="142"/>
                    </a:cubicBezTo>
                    <a:cubicBezTo>
                      <a:pt x="159" y="141"/>
                      <a:pt x="159" y="141"/>
                      <a:pt x="159" y="141"/>
                    </a:cubicBezTo>
                    <a:cubicBezTo>
                      <a:pt x="159" y="141"/>
                      <a:pt x="162" y="138"/>
                      <a:pt x="162" y="138"/>
                    </a:cubicBezTo>
                    <a:cubicBezTo>
                      <a:pt x="163" y="138"/>
                      <a:pt x="164" y="138"/>
                      <a:pt x="164" y="138"/>
                    </a:cubicBezTo>
                    <a:cubicBezTo>
                      <a:pt x="166" y="136"/>
                      <a:pt x="166" y="136"/>
                      <a:pt x="166" y="136"/>
                    </a:cubicBezTo>
                    <a:cubicBezTo>
                      <a:pt x="166" y="135"/>
                      <a:pt x="166" y="135"/>
                      <a:pt x="166" y="135"/>
                    </a:cubicBezTo>
                    <a:cubicBezTo>
                      <a:pt x="167" y="134"/>
                      <a:pt x="167" y="134"/>
                      <a:pt x="167" y="134"/>
                    </a:cubicBezTo>
                    <a:cubicBezTo>
                      <a:pt x="167" y="133"/>
                      <a:pt x="167" y="133"/>
                      <a:pt x="167" y="133"/>
                    </a:cubicBezTo>
                    <a:cubicBezTo>
                      <a:pt x="168" y="132"/>
                      <a:pt x="168" y="132"/>
                      <a:pt x="168" y="132"/>
                    </a:cubicBezTo>
                    <a:cubicBezTo>
                      <a:pt x="168" y="132"/>
                      <a:pt x="168" y="131"/>
                      <a:pt x="168" y="131"/>
                    </a:cubicBezTo>
                    <a:cubicBezTo>
                      <a:pt x="168" y="131"/>
                      <a:pt x="172" y="130"/>
                      <a:pt x="172" y="130"/>
                    </a:cubicBezTo>
                    <a:cubicBezTo>
                      <a:pt x="174" y="131"/>
                      <a:pt x="174" y="131"/>
                      <a:pt x="174" y="131"/>
                    </a:cubicBezTo>
                    <a:cubicBezTo>
                      <a:pt x="183" y="135"/>
                      <a:pt x="183" y="135"/>
                      <a:pt x="183" y="135"/>
                    </a:cubicBezTo>
                    <a:cubicBezTo>
                      <a:pt x="183" y="131"/>
                      <a:pt x="183" y="131"/>
                      <a:pt x="183" y="131"/>
                    </a:cubicBezTo>
                    <a:cubicBezTo>
                      <a:pt x="184" y="129"/>
                      <a:pt x="184" y="129"/>
                      <a:pt x="184" y="129"/>
                    </a:cubicBezTo>
                    <a:cubicBezTo>
                      <a:pt x="184" y="129"/>
                      <a:pt x="186" y="128"/>
                      <a:pt x="186" y="128"/>
                    </a:cubicBezTo>
                    <a:cubicBezTo>
                      <a:pt x="186" y="128"/>
                      <a:pt x="188" y="127"/>
                      <a:pt x="188" y="127"/>
                    </a:cubicBezTo>
                    <a:cubicBezTo>
                      <a:pt x="192" y="129"/>
                      <a:pt x="192" y="129"/>
                      <a:pt x="192" y="129"/>
                    </a:cubicBezTo>
                    <a:cubicBezTo>
                      <a:pt x="192" y="129"/>
                      <a:pt x="194" y="130"/>
                      <a:pt x="194" y="130"/>
                    </a:cubicBezTo>
                    <a:cubicBezTo>
                      <a:pt x="194" y="130"/>
                      <a:pt x="196" y="130"/>
                      <a:pt x="197" y="130"/>
                    </a:cubicBezTo>
                    <a:cubicBezTo>
                      <a:pt x="197" y="131"/>
                      <a:pt x="197" y="131"/>
                      <a:pt x="198" y="131"/>
                    </a:cubicBezTo>
                    <a:cubicBezTo>
                      <a:pt x="198" y="131"/>
                      <a:pt x="200" y="130"/>
                      <a:pt x="200" y="130"/>
                    </a:cubicBezTo>
                    <a:cubicBezTo>
                      <a:pt x="202" y="130"/>
                      <a:pt x="202" y="130"/>
                      <a:pt x="202" y="130"/>
                    </a:cubicBezTo>
                    <a:cubicBezTo>
                      <a:pt x="204" y="130"/>
                      <a:pt x="204" y="130"/>
                      <a:pt x="204" y="130"/>
                    </a:cubicBezTo>
                    <a:cubicBezTo>
                      <a:pt x="206" y="129"/>
                      <a:pt x="206" y="129"/>
                      <a:pt x="206" y="129"/>
                    </a:cubicBezTo>
                    <a:cubicBezTo>
                      <a:pt x="209" y="129"/>
                      <a:pt x="209" y="129"/>
                      <a:pt x="209" y="129"/>
                    </a:cubicBezTo>
                    <a:cubicBezTo>
                      <a:pt x="210" y="130"/>
                      <a:pt x="210" y="130"/>
                      <a:pt x="210" y="130"/>
                    </a:cubicBezTo>
                    <a:cubicBezTo>
                      <a:pt x="216" y="130"/>
                      <a:pt x="216" y="130"/>
                      <a:pt x="216" y="130"/>
                    </a:cubicBezTo>
                    <a:cubicBezTo>
                      <a:pt x="222" y="131"/>
                      <a:pt x="222" y="131"/>
                      <a:pt x="222" y="131"/>
                    </a:cubicBezTo>
                    <a:cubicBezTo>
                      <a:pt x="222" y="132"/>
                      <a:pt x="222" y="132"/>
                      <a:pt x="222" y="132"/>
                    </a:cubicBezTo>
                    <a:cubicBezTo>
                      <a:pt x="224" y="134"/>
                      <a:pt x="224" y="134"/>
                      <a:pt x="224" y="134"/>
                    </a:cubicBezTo>
                    <a:cubicBezTo>
                      <a:pt x="227" y="134"/>
                      <a:pt x="227" y="134"/>
                      <a:pt x="227" y="134"/>
                    </a:cubicBezTo>
                    <a:cubicBezTo>
                      <a:pt x="229" y="136"/>
                      <a:pt x="229" y="136"/>
                      <a:pt x="229" y="136"/>
                    </a:cubicBezTo>
                    <a:cubicBezTo>
                      <a:pt x="229" y="136"/>
                      <a:pt x="229" y="136"/>
                      <a:pt x="229" y="136"/>
                    </a:cubicBezTo>
                    <a:cubicBezTo>
                      <a:pt x="229" y="136"/>
                      <a:pt x="229" y="134"/>
                      <a:pt x="229" y="134"/>
                    </a:cubicBezTo>
                    <a:cubicBezTo>
                      <a:pt x="229" y="134"/>
                      <a:pt x="229" y="133"/>
                      <a:pt x="229" y="133"/>
                    </a:cubicBezTo>
                    <a:cubicBezTo>
                      <a:pt x="228" y="133"/>
                      <a:pt x="228" y="132"/>
                      <a:pt x="228" y="132"/>
                    </a:cubicBezTo>
                    <a:cubicBezTo>
                      <a:pt x="230" y="130"/>
                      <a:pt x="230" y="130"/>
                      <a:pt x="230" y="130"/>
                    </a:cubicBezTo>
                    <a:cubicBezTo>
                      <a:pt x="231" y="130"/>
                      <a:pt x="231" y="130"/>
                      <a:pt x="231" y="130"/>
                    </a:cubicBezTo>
                    <a:cubicBezTo>
                      <a:pt x="231" y="130"/>
                      <a:pt x="232" y="130"/>
                      <a:pt x="231" y="130"/>
                    </a:cubicBezTo>
                    <a:cubicBezTo>
                      <a:pt x="231" y="130"/>
                      <a:pt x="230" y="129"/>
                      <a:pt x="230" y="129"/>
                    </a:cubicBezTo>
                    <a:cubicBezTo>
                      <a:pt x="230" y="129"/>
                      <a:pt x="230" y="129"/>
                      <a:pt x="230" y="129"/>
                    </a:cubicBezTo>
                    <a:cubicBezTo>
                      <a:pt x="231" y="128"/>
                      <a:pt x="231" y="128"/>
                      <a:pt x="231" y="128"/>
                    </a:cubicBezTo>
                    <a:cubicBezTo>
                      <a:pt x="233" y="127"/>
                      <a:pt x="233" y="127"/>
                      <a:pt x="233" y="127"/>
                    </a:cubicBezTo>
                    <a:cubicBezTo>
                      <a:pt x="233" y="126"/>
                      <a:pt x="233" y="126"/>
                      <a:pt x="233" y="126"/>
                    </a:cubicBezTo>
                    <a:cubicBezTo>
                      <a:pt x="233" y="126"/>
                      <a:pt x="232" y="125"/>
                      <a:pt x="232" y="125"/>
                    </a:cubicBezTo>
                    <a:cubicBezTo>
                      <a:pt x="232" y="125"/>
                      <a:pt x="232" y="123"/>
                      <a:pt x="232" y="123"/>
                    </a:cubicBezTo>
                    <a:cubicBezTo>
                      <a:pt x="231" y="121"/>
                      <a:pt x="231" y="121"/>
                      <a:pt x="231" y="121"/>
                    </a:cubicBezTo>
                    <a:cubicBezTo>
                      <a:pt x="230" y="119"/>
                      <a:pt x="230" y="119"/>
                      <a:pt x="230" y="119"/>
                    </a:cubicBezTo>
                    <a:cubicBezTo>
                      <a:pt x="230" y="114"/>
                      <a:pt x="230" y="114"/>
                      <a:pt x="230" y="114"/>
                    </a:cubicBezTo>
                    <a:cubicBezTo>
                      <a:pt x="229" y="113"/>
                      <a:pt x="229" y="113"/>
                      <a:pt x="229" y="113"/>
                    </a:cubicBezTo>
                    <a:cubicBezTo>
                      <a:pt x="228" y="112"/>
                      <a:pt x="228" y="112"/>
                      <a:pt x="228" y="112"/>
                    </a:cubicBezTo>
                    <a:cubicBezTo>
                      <a:pt x="228" y="112"/>
                      <a:pt x="227" y="112"/>
                      <a:pt x="227" y="112"/>
                    </a:cubicBezTo>
                    <a:cubicBezTo>
                      <a:pt x="227" y="112"/>
                      <a:pt x="227" y="111"/>
                      <a:pt x="227" y="111"/>
                    </a:cubicBezTo>
                    <a:cubicBezTo>
                      <a:pt x="229" y="110"/>
                      <a:pt x="229" y="110"/>
                      <a:pt x="229" y="110"/>
                    </a:cubicBezTo>
                    <a:cubicBezTo>
                      <a:pt x="232" y="109"/>
                      <a:pt x="232" y="109"/>
                      <a:pt x="232" y="109"/>
                    </a:cubicBezTo>
                    <a:cubicBezTo>
                      <a:pt x="232" y="109"/>
                      <a:pt x="234" y="109"/>
                      <a:pt x="234" y="109"/>
                    </a:cubicBezTo>
                    <a:cubicBezTo>
                      <a:pt x="235" y="109"/>
                      <a:pt x="236" y="108"/>
                      <a:pt x="236" y="108"/>
                    </a:cubicBezTo>
                    <a:cubicBezTo>
                      <a:pt x="236" y="108"/>
                      <a:pt x="239" y="106"/>
                      <a:pt x="239" y="106"/>
                    </a:cubicBezTo>
                    <a:cubicBezTo>
                      <a:pt x="241" y="108"/>
                      <a:pt x="241" y="108"/>
                      <a:pt x="241" y="108"/>
                    </a:cubicBezTo>
                    <a:cubicBezTo>
                      <a:pt x="245" y="108"/>
                      <a:pt x="245" y="108"/>
                      <a:pt x="245" y="108"/>
                    </a:cubicBezTo>
                    <a:cubicBezTo>
                      <a:pt x="245" y="106"/>
                      <a:pt x="245" y="106"/>
                      <a:pt x="245" y="106"/>
                    </a:cubicBezTo>
                    <a:cubicBezTo>
                      <a:pt x="245" y="106"/>
                      <a:pt x="243" y="106"/>
                      <a:pt x="243" y="106"/>
                    </a:cubicBezTo>
                    <a:cubicBezTo>
                      <a:pt x="243" y="106"/>
                      <a:pt x="242" y="105"/>
                      <a:pt x="242" y="105"/>
                    </a:cubicBezTo>
                    <a:cubicBezTo>
                      <a:pt x="245" y="98"/>
                      <a:pt x="245" y="98"/>
                      <a:pt x="245" y="98"/>
                    </a:cubicBezTo>
                    <a:cubicBezTo>
                      <a:pt x="248" y="88"/>
                      <a:pt x="248" y="88"/>
                      <a:pt x="248" y="88"/>
                    </a:cubicBezTo>
                    <a:cubicBezTo>
                      <a:pt x="253" y="91"/>
                      <a:pt x="253" y="91"/>
                      <a:pt x="253" y="91"/>
                    </a:cubicBezTo>
                    <a:cubicBezTo>
                      <a:pt x="259" y="91"/>
                      <a:pt x="259" y="91"/>
                      <a:pt x="259" y="91"/>
                    </a:cubicBezTo>
                    <a:cubicBezTo>
                      <a:pt x="261" y="92"/>
                      <a:pt x="261" y="92"/>
                      <a:pt x="261" y="92"/>
                    </a:cubicBezTo>
                    <a:cubicBezTo>
                      <a:pt x="263" y="91"/>
                      <a:pt x="263" y="91"/>
                      <a:pt x="263" y="91"/>
                    </a:cubicBezTo>
                    <a:cubicBezTo>
                      <a:pt x="264" y="90"/>
                      <a:pt x="264" y="90"/>
                      <a:pt x="264" y="90"/>
                    </a:cubicBezTo>
                    <a:cubicBezTo>
                      <a:pt x="265" y="90"/>
                      <a:pt x="265" y="90"/>
                      <a:pt x="265" y="90"/>
                    </a:cubicBezTo>
                    <a:cubicBezTo>
                      <a:pt x="266" y="89"/>
                      <a:pt x="266" y="89"/>
                      <a:pt x="266" y="89"/>
                    </a:cubicBezTo>
                    <a:cubicBezTo>
                      <a:pt x="266" y="87"/>
                      <a:pt x="266" y="87"/>
                      <a:pt x="266" y="87"/>
                    </a:cubicBezTo>
                    <a:cubicBezTo>
                      <a:pt x="265" y="87"/>
                      <a:pt x="265" y="87"/>
                      <a:pt x="265" y="87"/>
                    </a:cubicBezTo>
                    <a:cubicBezTo>
                      <a:pt x="265" y="83"/>
                      <a:pt x="265" y="83"/>
                      <a:pt x="265" y="83"/>
                    </a:cubicBezTo>
                    <a:cubicBezTo>
                      <a:pt x="265" y="83"/>
                      <a:pt x="265" y="82"/>
                      <a:pt x="265" y="82"/>
                    </a:cubicBezTo>
                    <a:cubicBezTo>
                      <a:pt x="265" y="82"/>
                      <a:pt x="265" y="80"/>
                      <a:pt x="265" y="80"/>
                    </a:cubicBezTo>
                    <a:cubicBezTo>
                      <a:pt x="265" y="80"/>
                      <a:pt x="265" y="79"/>
                      <a:pt x="265" y="79"/>
                    </a:cubicBezTo>
                    <a:cubicBezTo>
                      <a:pt x="265" y="79"/>
                      <a:pt x="266" y="77"/>
                      <a:pt x="266" y="77"/>
                    </a:cubicBezTo>
                    <a:cubicBezTo>
                      <a:pt x="266" y="77"/>
                      <a:pt x="268" y="76"/>
                      <a:pt x="269" y="76"/>
                    </a:cubicBezTo>
                    <a:cubicBezTo>
                      <a:pt x="269" y="76"/>
                      <a:pt x="271" y="75"/>
                      <a:pt x="272" y="75"/>
                    </a:cubicBezTo>
                    <a:cubicBezTo>
                      <a:pt x="272" y="75"/>
                      <a:pt x="273" y="74"/>
                      <a:pt x="273" y="74"/>
                    </a:cubicBezTo>
                    <a:cubicBezTo>
                      <a:pt x="273" y="70"/>
                      <a:pt x="273" y="70"/>
                      <a:pt x="273" y="70"/>
                    </a:cubicBezTo>
                    <a:cubicBezTo>
                      <a:pt x="275" y="67"/>
                      <a:pt x="275" y="67"/>
                      <a:pt x="275" y="67"/>
                    </a:cubicBezTo>
                    <a:cubicBezTo>
                      <a:pt x="275" y="67"/>
                      <a:pt x="274" y="66"/>
                      <a:pt x="274" y="66"/>
                    </a:cubicBezTo>
                    <a:cubicBezTo>
                      <a:pt x="274" y="66"/>
                      <a:pt x="273" y="65"/>
                      <a:pt x="273" y="65"/>
                    </a:cubicBezTo>
                    <a:cubicBezTo>
                      <a:pt x="273" y="64"/>
                      <a:pt x="272" y="64"/>
                      <a:pt x="272" y="64"/>
                    </a:cubicBezTo>
                    <a:cubicBezTo>
                      <a:pt x="272" y="63"/>
                      <a:pt x="273" y="62"/>
                      <a:pt x="273" y="62"/>
                    </a:cubicBezTo>
                    <a:cubicBezTo>
                      <a:pt x="273" y="62"/>
                      <a:pt x="272" y="62"/>
                      <a:pt x="272" y="62"/>
                    </a:cubicBezTo>
                    <a:cubicBezTo>
                      <a:pt x="272" y="62"/>
                      <a:pt x="271" y="63"/>
                      <a:pt x="270" y="64"/>
                    </a:cubicBezTo>
                    <a:cubicBezTo>
                      <a:pt x="270" y="64"/>
                      <a:pt x="270" y="65"/>
                      <a:pt x="270" y="65"/>
                    </a:cubicBezTo>
                    <a:cubicBezTo>
                      <a:pt x="269" y="65"/>
                      <a:pt x="269" y="65"/>
                      <a:pt x="268" y="65"/>
                    </a:cubicBezTo>
                    <a:cubicBezTo>
                      <a:pt x="267" y="65"/>
                      <a:pt x="267" y="65"/>
                      <a:pt x="266" y="64"/>
                    </a:cubicBezTo>
                    <a:cubicBezTo>
                      <a:pt x="265" y="64"/>
                      <a:pt x="264" y="64"/>
                      <a:pt x="264" y="64"/>
                    </a:cubicBezTo>
                    <a:cubicBezTo>
                      <a:pt x="264" y="64"/>
                      <a:pt x="263" y="64"/>
                      <a:pt x="263" y="63"/>
                    </a:cubicBezTo>
                    <a:cubicBezTo>
                      <a:pt x="262" y="63"/>
                      <a:pt x="262" y="62"/>
                      <a:pt x="262" y="62"/>
                    </a:cubicBezTo>
                    <a:cubicBezTo>
                      <a:pt x="262" y="62"/>
                      <a:pt x="262" y="61"/>
                      <a:pt x="262" y="61"/>
                    </a:cubicBezTo>
                    <a:cubicBezTo>
                      <a:pt x="262" y="60"/>
                      <a:pt x="262" y="59"/>
                      <a:pt x="262" y="59"/>
                    </a:cubicBezTo>
                    <a:cubicBezTo>
                      <a:pt x="262" y="59"/>
                      <a:pt x="260" y="58"/>
                      <a:pt x="260" y="58"/>
                    </a:cubicBezTo>
                    <a:cubicBezTo>
                      <a:pt x="260" y="58"/>
                      <a:pt x="259" y="57"/>
                      <a:pt x="259" y="57"/>
                    </a:cubicBezTo>
                    <a:cubicBezTo>
                      <a:pt x="258" y="57"/>
                      <a:pt x="256" y="58"/>
                      <a:pt x="256" y="58"/>
                    </a:cubicBezTo>
                    <a:cubicBezTo>
                      <a:pt x="256" y="58"/>
                      <a:pt x="256" y="56"/>
                      <a:pt x="256" y="56"/>
                    </a:cubicBezTo>
                    <a:cubicBezTo>
                      <a:pt x="256" y="56"/>
                      <a:pt x="255" y="54"/>
                      <a:pt x="255" y="54"/>
                    </a:cubicBezTo>
                    <a:cubicBezTo>
                      <a:pt x="255" y="54"/>
                      <a:pt x="254" y="53"/>
                      <a:pt x="254" y="52"/>
                    </a:cubicBezTo>
                    <a:cubicBezTo>
                      <a:pt x="254" y="52"/>
                      <a:pt x="253" y="51"/>
                      <a:pt x="253" y="51"/>
                    </a:cubicBezTo>
                    <a:cubicBezTo>
                      <a:pt x="253" y="50"/>
                      <a:pt x="251" y="50"/>
                      <a:pt x="251" y="50"/>
                    </a:cubicBezTo>
                    <a:cubicBezTo>
                      <a:pt x="250" y="49"/>
                      <a:pt x="250" y="49"/>
                      <a:pt x="250" y="49"/>
                    </a:cubicBezTo>
                    <a:cubicBezTo>
                      <a:pt x="248" y="49"/>
                      <a:pt x="248" y="49"/>
                      <a:pt x="248" y="49"/>
                    </a:cubicBezTo>
                    <a:cubicBezTo>
                      <a:pt x="248" y="49"/>
                      <a:pt x="248" y="50"/>
                      <a:pt x="248" y="50"/>
                    </a:cubicBezTo>
                    <a:cubicBezTo>
                      <a:pt x="248" y="51"/>
                      <a:pt x="246" y="51"/>
                      <a:pt x="246" y="51"/>
                    </a:cubicBezTo>
                    <a:cubicBezTo>
                      <a:pt x="246" y="51"/>
                      <a:pt x="246" y="50"/>
                      <a:pt x="246" y="50"/>
                    </a:cubicBezTo>
                    <a:cubicBezTo>
                      <a:pt x="246" y="50"/>
                      <a:pt x="245" y="51"/>
                      <a:pt x="245" y="51"/>
                    </a:cubicBezTo>
                    <a:cubicBezTo>
                      <a:pt x="245" y="52"/>
                      <a:pt x="244" y="52"/>
                      <a:pt x="244" y="52"/>
                    </a:cubicBezTo>
                    <a:cubicBezTo>
                      <a:pt x="244" y="52"/>
                      <a:pt x="243" y="52"/>
                      <a:pt x="243" y="52"/>
                    </a:cubicBezTo>
                    <a:cubicBezTo>
                      <a:pt x="242" y="52"/>
                      <a:pt x="241" y="52"/>
                      <a:pt x="241" y="51"/>
                    </a:cubicBezTo>
                    <a:cubicBezTo>
                      <a:pt x="240" y="51"/>
                      <a:pt x="239" y="51"/>
                      <a:pt x="239" y="51"/>
                    </a:cubicBezTo>
                    <a:cubicBezTo>
                      <a:pt x="239" y="51"/>
                      <a:pt x="238" y="52"/>
                      <a:pt x="238" y="52"/>
                    </a:cubicBezTo>
                    <a:cubicBezTo>
                      <a:pt x="237" y="51"/>
                      <a:pt x="237" y="51"/>
                      <a:pt x="237" y="51"/>
                    </a:cubicBezTo>
                    <a:cubicBezTo>
                      <a:pt x="237" y="50"/>
                      <a:pt x="237" y="50"/>
                      <a:pt x="237" y="50"/>
                    </a:cubicBezTo>
                    <a:cubicBezTo>
                      <a:pt x="237" y="50"/>
                      <a:pt x="235" y="50"/>
                      <a:pt x="235" y="49"/>
                    </a:cubicBezTo>
                    <a:cubicBezTo>
                      <a:pt x="235" y="49"/>
                      <a:pt x="235" y="49"/>
                      <a:pt x="235" y="49"/>
                    </a:cubicBezTo>
                    <a:cubicBezTo>
                      <a:pt x="235" y="48"/>
                      <a:pt x="235" y="47"/>
                      <a:pt x="235" y="47"/>
                    </a:cubicBezTo>
                    <a:cubicBezTo>
                      <a:pt x="235" y="47"/>
                      <a:pt x="234" y="47"/>
                      <a:pt x="233" y="46"/>
                    </a:cubicBezTo>
                    <a:cubicBezTo>
                      <a:pt x="233" y="46"/>
                      <a:pt x="231" y="47"/>
                      <a:pt x="231" y="47"/>
                    </a:cubicBezTo>
                    <a:cubicBezTo>
                      <a:pt x="231" y="47"/>
                      <a:pt x="230" y="47"/>
                      <a:pt x="230" y="48"/>
                    </a:cubicBezTo>
                    <a:cubicBezTo>
                      <a:pt x="231" y="48"/>
                      <a:pt x="231" y="48"/>
                      <a:pt x="231" y="49"/>
                    </a:cubicBezTo>
                    <a:cubicBezTo>
                      <a:pt x="231" y="49"/>
                      <a:pt x="230" y="50"/>
                      <a:pt x="230" y="50"/>
                    </a:cubicBezTo>
                    <a:cubicBezTo>
                      <a:pt x="228" y="50"/>
                      <a:pt x="228" y="50"/>
                      <a:pt x="228" y="50"/>
                    </a:cubicBezTo>
                    <a:cubicBezTo>
                      <a:pt x="228" y="52"/>
                      <a:pt x="228" y="52"/>
                      <a:pt x="228" y="52"/>
                    </a:cubicBezTo>
                    <a:cubicBezTo>
                      <a:pt x="213" y="24"/>
                      <a:pt x="213" y="24"/>
                      <a:pt x="213" y="24"/>
                    </a:cubicBezTo>
                    <a:cubicBezTo>
                      <a:pt x="203" y="15"/>
                      <a:pt x="203" y="15"/>
                      <a:pt x="203" y="15"/>
                    </a:cubicBezTo>
                    <a:cubicBezTo>
                      <a:pt x="203" y="14"/>
                      <a:pt x="203" y="14"/>
                      <a:pt x="203" y="14"/>
                    </a:cubicBezTo>
                    <a:cubicBezTo>
                      <a:pt x="205" y="14"/>
                      <a:pt x="205" y="14"/>
                      <a:pt x="205" y="14"/>
                    </a:cubicBezTo>
                    <a:cubicBezTo>
                      <a:pt x="205" y="14"/>
                      <a:pt x="206" y="13"/>
                      <a:pt x="206" y="13"/>
                    </a:cubicBezTo>
                    <a:cubicBezTo>
                      <a:pt x="206" y="13"/>
                      <a:pt x="206" y="12"/>
                      <a:pt x="206" y="12"/>
                    </a:cubicBezTo>
                    <a:cubicBezTo>
                      <a:pt x="206" y="12"/>
                      <a:pt x="206" y="11"/>
                      <a:pt x="206" y="11"/>
                    </a:cubicBezTo>
                    <a:cubicBezTo>
                      <a:pt x="206" y="11"/>
                      <a:pt x="205" y="11"/>
                      <a:pt x="205" y="11"/>
                    </a:cubicBezTo>
                    <a:cubicBezTo>
                      <a:pt x="205" y="11"/>
                      <a:pt x="205" y="12"/>
                      <a:pt x="205" y="12"/>
                    </a:cubicBezTo>
                    <a:cubicBezTo>
                      <a:pt x="204" y="12"/>
                      <a:pt x="203" y="12"/>
                      <a:pt x="202" y="12"/>
                    </a:cubicBezTo>
                    <a:cubicBezTo>
                      <a:pt x="202" y="12"/>
                      <a:pt x="202" y="13"/>
                      <a:pt x="202" y="13"/>
                    </a:cubicBezTo>
                    <a:cubicBezTo>
                      <a:pt x="202" y="13"/>
                      <a:pt x="200" y="14"/>
                      <a:pt x="200" y="14"/>
                    </a:cubicBezTo>
                    <a:cubicBezTo>
                      <a:pt x="199" y="14"/>
                      <a:pt x="199" y="14"/>
                      <a:pt x="198" y="14"/>
                    </a:cubicBezTo>
                    <a:cubicBezTo>
                      <a:pt x="197" y="14"/>
                      <a:pt x="197" y="14"/>
                      <a:pt x="197" y="14"/>
                    </a:cubicBezTo>
                    <a:cubicBezTo>
                      <a:pt x="196" y="16"/>
                      <a:pt x="196" y="16"/>
                      <a:pt x="196" y="16"/>
                    </a:cubicBezTo>
                    <a:cubicBezTo>
                      <a:pt x="196" y="16"/>
                      <a:pt x="196" y="17"/>
                      <a:pt x="196" y="17"/>
                    </a:cubicBezTo>
                    <a:cubicBezTo>
                      <a:pt x="196" y="18"/>
                      <a:pt x="194" y="18"/>
                      <a:pt x="194" y="18"/>
                    </a:cubicBezTo>
                    <a:cubicBezTo>
                      <a:pt x="194" y="18"/>
                      <a:pt x="194" y="19"/>
                      <a:pt x="193" y="18"/>
                    </a:cubicBezTo>
                    <a:cubicBezTo>
                      <a:pt x="192" y="18"/>
                      <a:pt x="192" y="18"/>
                      <a:pt x="192" y="18"/>
                    </a:cubicBezTo>
                    <a:cubicBezTo>
                      <a:pt x="192" y="18"/>
                      <a:pt x="192" y="19"/>
                      <a:pt x="192" y="19"/>
                    </a:cubicBezTo>
                    <a:cubicBezTo>
                      <a:pt x="191" y="20"/>
                      <a:pt x="191" y="19"/>
                      <a:pt x="190" y="20"/>
                    </a:cubicBezTo>
                    <a:cubicBezTo>
                      <a:pt x="190" y="20"/>
                      <a:pt x="190" y="20"/>
                      <a:pt x="190" y="20"/>
                    </a:cubicBezTo>
                    <a:cubicBezTo>
                      <a:pt x="190" y="21"/>
                      <a:pt x="190" y="22"/>
                      <a:pt x="189" y="22"/>
                    </a:cubicBezTo>
                    <a:cubicBezTo>
                      <a:pt x="189" y="22"/>
                      <a:pt x="188" y="21"/>
                      <a:pt x="187" y="20"/>
                    </a:cubicBezTo>
                    <a:cubicBezTo>
                      <a:pt x="187" y="20"/>
                      <a:pt x="185" y="19"/>
                      <a:pt x="185" y="20"/>
                    </a:cubicBezTo>
                    <a:cubicBezTo>
                      <a:pt x="185" y="20"/>
                      <a:pt x="184" y="21"/>
                      <a:pt x="184" y="21"/>
                    </a:cubicBezTo>
                    <a:cubicBezTo>
                      <a:pt x="184" y="22"/>
                      <a:pt x="184" y="22"/>
                      <a:pt x="184" y="22"/>
                    </a:cubicBezTo>
                    <a:cubicBezTo>
                      <a:pt x="184" y="22"/>
                      <a:pt x="182" y="21"/>
                      <a:pt x="182" y="21"/>
                    </a:cubicBezTo>
                    <a:cubicBezTo>
                      <a:pt x="182" y="20"/>
                      <a:pt x="182" y="19"/>
                      <a:pt x="182" y="19"/>
                    </a:cubicBezTo>
                    <a:cubicBezTo>
                      <a:pt x="182" y="18"/>
                      <a:pt x="183" y="18"/>
                      <a:pt x="183" y="18"/>
                    </a:cubicBezTo>
                    <a:cubicBezTo>
                      <a:pt x="184" y="18"/>
                      <a:pt x="183" y="18"/>
                      <a:pt x="184" y="17"/>
                    </a:cubicBezTo>
                    <a:cubicBezTo>
                      <a:pt x="185" y="17"/>
                      <a:pt x="185" y="16"/>
                      <a:pt x="185" y="16"/>
                    </a:cubicBezTo>
                    <a:cubicBezTo>
                      <a:pt x="185" y="16"/>
                      <a:pt x="185" y="14"/>
                      <a:pt x="184" y="15"/>
                    </a:cubicBezTo>
                    <a:cubicBezTo>
                      <a:pt x="183" y="16"/>
                      <a:pt x="182" y="16"/>
                      <a:pt x="182" y="16"/>
                    </a:cubicBezTo>
                    <a:cubicBezTo>
                      <a:pt x="180" y="15"/>
                      <a:pt x="180" y="15"/>
                      <a:pt x="180" y="15"/>
                    </a:cubicBezTo>
                    <a:cubicBezTo>
                      <a:pt x="179" y="15"/>
                      <a:pt x="179" y="15"/>
                      <a:pt x="179" y="15"/>
                    </a:cubicBezTo>
                    <a:cubicBezTo>
                      <a:pt x="179" y="15"/>
                      <a:pt x="178" y="14"/>
                      <a:pt x="178" y="15"/>
                    </a:cubicBezTo>
                    <a:cubicBezTo>
                      <a:pt x="177" y="15"/>
                      <a:pt x="177" y="15"/>
                      <a:pt x="177" y="15"/>
                    </a:cubicBezTo>
                    <a:cubicBezTo>
                      <a:pt x="177" y="16"/>
                      <a:pt x="176" y="16"/>
                      <a:pt x="176" y="16"/>
                    </a:cubicBezTo>
                    <a:cubicBezTo>
                      <a:pt x="175" y="16"/>
                      <a:pt x="175" y="15"/>
                      <a:pt x="175" y="14"/>
                    </a:cubicBezTo>
                    <a:cubicBezTo>
                      <a:pt x="175" y="14"/>
                      <a:pt x="176" y="13"/>
                      <a:pt x="175" y="12"/>
                    </a:cubicBezTo>
                    <a:cubicBezTo>
                      <a:pt x="174" y="12"/>
                      <a:pt x="174" y="11"/>
                      <a:pt x="173" y="12"/>
                    </a:cubicBezTo>
                    <a:cubicBezTo>
                      <a:pt x="173" y="12"/>
                      <a:pt x="174" y="13"/>
                      <a:pt x="173" y="14"/>
                    </a:cubicBezTo>
                    <a:cubicBezTo>
                      <a:pt x="173" y="14"/>
                      <a:pt x="172" y="14"/>
                      <a:pt x="172" y="14"/>
                    </a:cubicBezTo>
                    <a:cubicBezTo>
                      <a:pt x="171" y="14"/>
                      <a:pt x="170" y="15"/>
                      <a:pt x="170" y="14"/>
                    </a:cubicBezTo>
                    <a:cubicBezTo>
                      <a:pt x="170" y="14"/>
                      <a:pt x="168" y="14"/>
                      <a:pt x="168" y="14"/>
                    </a:cubicBezTo>
                    <a:cubicBezTo>
                      <a:pt x="168" y="14"/>
                      <a:pt x="168" y="14"/>
                      <a:pt x="167" y="14"/>
                    </a:cubicBezTo>
                    <a:cubicBezTo>
                      <a:pt x="166" y="13"/>
                      <a:pt x="166" y="12"/>
                      <a:pt x="166" y="12"/>
                    </a:cubicBezTo>
                    <a:cubicBezTo>
                      <a:pt x="166" y="12"/>
                      <a:pt x="168" y="10"/>
                      <a:pt x="168" y="10"/>
                    </a:cubicBezTo>
                    <a:cubicBezTo>
                      <a:pt x="168" y="10"/>
                      <a:pt x="169" y="9"/>
                      <a:pt x="168" y="8"/>
                    </a:cubicBezTo>
                    <a:cubicBezTo>
                      <a:pt x="167" y="8"/>
                      <a:pt x="166" y="7"/>
                      <a:pt x="166" y="7"/>
                    </a:cubicBezTo>
                    <a:cubicBezTo>
                      <a:pt x="166" y="7"/>
                      <a:pt x="166" y="6"/>
                      <a:pt x="166" y="5"/>
                    </a:cubicBezTo>
                    <a:cubicBezTo>
                      <a:pt x="166" y="5"/>
                      <a:pt x="166" y="4"/>
                      <a:pt x="166" y="4"/>
                    </a:cubicBezTo>
                    <a:cubicBezTo>
                      <a:pt x="166" y="4"/>
                      <a:pt x="166" y="3"/>
                      <a:pt x="166" y="2"/>
                    </a:cubicBezTo>
                    <a:cubicBezTo>
                      <a:pt x="166" y="2"/>
                      <a:pt x="165" y="1"/>
                      <a:pt x="164" y="1"/>
                    </a:cubicBezTo>
                    <a:cubicBezTo>
                      <a:pt x="163" y="1"/>
                      <a:pt x="162" y="1"/>
                      <a:pt x="162" y="1"/>
                    </a:cubicBezTo>
                    <a:cubicBezTo>
                      <a:pt x="162" y="1"/>
                      <a:pt x="161" y="2"/>
                      <a:pt x="161" y="2"/>
                    </a:cubicBezTo>
                    <a:cubicBezTo>
                      <a:pt x="161" y="2"/>
                      <a:pt x="160" y="2"/>
                      <a:pt x="160" y="2"/>
                    </a:cubicBezTo>
                    <a:cubicBezTo>
                      <a:pt x="159" y="2"/>
                      <a:pt x="157" y="0"/>
                      <a:pt x="157" y="0"/>
                    </a:cubicBezTo>
                    <a:cubicBezTo>
                      <a:pt x="154" y="0"/>
                      <a:pt x="154" y="0"/>
                      <a:pt x="154" y="0"/>
                    </a:cubicBezTo>
                    <a:cubicBezTo>
                      <a:pt x="154" y="0"/>
                      <a:pt x="153" y="0"/>
                      <a:pt x="153" y="0"/>
                    </a:cubicBezTo>
                    <a:cubicBezTo>
                      <a:pt x="153" y="0"/>
                      <a:pt x="151" y="0"/>
                      <a:pt x="151" y="0"/>
                    </a:cubicBezTo>
                    <a:cubicBezTo>
                      <a:pt x="151" y="0"/>
                      <a:pt x="151" y="1"/>
                      <a:pt x="150" y="1"/>
                    </a:cubicBezTo>
                    <a:cubicBezTo>
                      <a:pt x="150" y="1"/>
                      <a:pt x="148" y="2"/>
                      <a:pt x="148" y="2"/>
                    </a:cubicBezTo>
                    <a:cubicBezTo>
                      <a:pt x="148" y="2"/>
                      <a:pt x="147" y="2"/>
                      <a:pt x="148" y="2"/>
                    </a:cubicBezTo>
                    <a:cubicBezTo>
                      <a:pt x="148" y="3"/>
                      <a:pt x="148" y="3"/>
                      <a:pt x="148" y="3"/>
                    </a:cubicBezTo>
                    <a:cubicBezTo>
                      <a:pt x="148" y="4"/>
                      <a:pt x="148" y="4"/>
                      <a:pt x="148" y="4"/>
                    </a:cubicBezTo>
                    <a:cubicBezTo>
                      <a:pt x="147" y="4"/>
                      <a:pt x="144" y="5"/>
                      <a:pt x="144" y="6"/>
                    </a:cubicBezTo>
                    <a:cubicBezTo>
                      <a:pt x="144" y="6"/>
                      <a:pt x="134" y="8"/>
                      <a:pt x="134" y="8"/>
                    </a:cubicBezTo>
                    <a:cubicBezTo>
                      <a:pt x="134" y="8"/>
                      <a:pt x="132" y="8"/>
                      <a:pt x="132" y="8"/>
                    </a:cubicBezTo>
                    <a:cubicBezTo>
                      <a:pt x="132" y="8"/>
                      <a:pt x="131" y="9"/>
                      <a:pt x="131" y="9"/>
                    </a:cubicBezTo>
                    <a:cubicBezTo>
                      <a:pt x="131" y="9"/>
                      <a:pt x="130" y="8"/>
                      <a:pt x="130" y="9"/>
                    </a:cubicBezTo>
                    <a:cubicBezTo>
                      <a:pt x="129" y="9"/>
                      <a:pt x="127" y="9"/>
                      <a:pt x="127" y="9"/>
                    </a:cubicBezTo>
                    <a:cubicBezTo>
                      <a:pt x="127" y="9"/>
                      <a:pt x="127" y="10"/>
                      <a:pt x="127" y="10"/>
                    </a:cubicBezTo>
                    <a:cubicBezTo>
                      <a:pt x="127" y="11"/>
                      <a:pt x="127" y="12"/>
                      <a:pt x="127" y="12"/>
                    </a:cubicBezTo>
                    <a:cubicBezTo>
                      <a:pt x="123" y="11"/>
                      <a:pt x="123" y="11"/>
                      <a:pt x="123" y="11"/>
                    </a:cubicBezTo>
                    <a:cubicBezTo>
                      <a:pt x="123" y="11"/>
                      <a:pt x="122" y="12"/>
                      <a:pt x="121" y="12"/>
                    </a:cubicBezTo>
                    <a:cubicBezTo>
                      <a:pt x="121" y="12"/>
                      <a:pt x="119" y="12"/>
                      <a:pt x="119" y="13"/>
                    </a:cubicBezTo>
                    <a:cubicBezTo>
                      <a:pt x="119" y="13"/>
                      <a:pt x="118" y="13"/>
                      <a:pt x="118" y="13"/>
                    </a:cubicBezTo>
                    <a:cubicBezTo>
                      <a:pt x="118" y="13"/>
                      <a:pt x="117" y="13"/>
                      <a:pt x="117" y="13"/>
                    </a:cubicBezTo>
                    <a:cubicBezTo>
                      <a:pt x="116" y="13"/>
                      <a:pt x="115" y="13"/>
                      <a:pt x="115" y="13"/>
                    </a:cubicBezTo>
                    <a:cubicBezTo>
                      <a:pt x="114" y="13"/>
                      <a:pt x="114" y="13"/>
                      <a:pt x="114" y="13"/>
                    </a:cubicBezTo>
                    <a:cubicBezTo>
                      <a:pt x="113" y="14"/>
                      <a:pt x="113" y="14"/>
                      <a:pt x="113" y="14"/>
                    </a:cubicBezTo>
                    <a:cubicBezTo>
                      <a:pt x="112" y="15"/>
                      <a:pt x="110" y="15"/>
                      <a:pt x="110" y="15"/>
                    </a:cubicBezTo>
                    <a:cubicBezTo>
                      <a:pt x="110" y="15"/>
                      <a:pt x="109" y="16"/>
                      <a:pt x="109" y="16"/>
                    </a:cubicBezTo>
                    <a:cubicBezTo>
                      <a:pt x="107" y="15"/>
                      <a:pt x="107" y="15"/>
                      <a:pt x="107" y="15"/>
                    </a:cubicBezTo>
                    <a:cubicBezTo>
                      <a:pt x="107" y="15"/>
                      <a:pt x="106" y="15"/>
                      <a:pt x="106" y="16"/>
                    </a:cubicBezTo>
                    <a:cubicBezTo>
                      <a:pt x="105" y="16"/>
                      <a:pt x="106" y="16"/>
                      <a:pt x="105" y="16"/>
                    </a:cubicBezTo>
                    <a:cubicBezTo>
                      <a:pt x="104" y="16"/>
                      <a:pt x="103" y="15"/>
                      <a:pt x="103" y="15"/>
                    </a:cubicBezTo>
                    <a:cubicBezTo>
                      <a:pt x="103" y="16"/>
                      <a:pt x="102" y="16"/>
                      <a:pt x="102" y="16"/>
                    </a:cubicBezTo>
                    <a:cubicBezTo>
                      <a:pt x="101" y="16"/>
                      <a:pt x="100" y="16"/>
                      <a:pt x="100" y="16"/>
                    </a:cubicBezTo>
                    <a:cubicBezTo>
                      <a:pt x="100" y="16"/>
                      <a:pt x="100" y="16"/>
                      <a:pt x="100" y="16"/>
                    </a:cubicBezTo>
                    <a:cubicBezTo>
                      <a:pt x="100" y="17"/>
                      <a:pt x="100" y="17"/>
                      <a:pt x="99" y="17"/>
                    </a:cubicBezTo>
                    <a:cubicBezTo>
                      <a:pt x="99" y="17"/>
                      <a:pt x="98" y="17"/>
                      <a:pt x="98" y="17"/>
                    </a:cubicBezTo>
                    <a:cubicBezTo>
                      <a:pt x="98" y="17"/>
                      <a:pt x="98" y="17"/>
                      <a:pt x="98" y="17"/>
                    </a:cubicBezTo>
                    <a:cubicBezTo>
                      <a:pt x="98" y="17"/>
                      <a:pt x="98" y="17"/>
                      <a:pt x="98" y="17"/>
                    </a:cubicBezTo>
                    <a:cubicBezTo>
                      <a:pt x="98" y="17"/>
                      <a:pt x="99" y="18"/>
                      <a:pt x="99" y="18"/>
                    </a:cubicBezTo>
                    <a:cubicBezTo>
                      <a:pt x="99" y="18"/>
                      <a:pt x="100" y="18"/>
                      <a:pt x="99" y="19"/>
                    </a:cubicBezTo>
                    <a:cubicBezTo>
                      <a:pt x="99" y="19"/>
                      <a:pt x="99" y="19"/>
                      <a:pt x="98" y="20"/>
                    </a:cubicBezTo>
                    <a:cubicBezTo>
                      <a:pt x="98" y="20"/>
                      <a:pt x="98" y="20"/>
                      <a:pt x="98" y="20"/>
                    </a:cubicBezTo>
                    <a:cubicBezTo>
                      <a:pt x="98" y="20"/>
                      <a:pt x="98" y="20"/>
                      <a:pt x="99" y="20"/>
                    </a:cubicBezTo>
                    <a:cubicBezTo>
                      <a:pt x="100" y="20"/>
                      <a:pt x="101" y="21"/>
                      <a:pt x="102" y="21"/>
                    </a:cubicBezTo>
                    <a:cubicBezTo>
                      <a:pt x="102" y="21"/>
                      <a:pt x="102" y="21"/>
                      <a:pt x="102" y="21"/>
                    </a:cubicBezTo>
                    <a:cubicBezTo>
                      <a:pt x="102" y="21"/>
                      <a:pt x="103" y="22"/>
                      <a:pt x="103" y="22"/>
                    </a:cubicBezTo>
                    <a:cubicBezTo>
                      <a:pt x="102" y="22"/>
                      <a:pt x="101" y="22"/>
                      <a:pt x="100" y="23"/>
                    </a:cubicBezTo>
                    <a:cubicBezTo>
                      <a:pt x="100" y="23"/>
                      <a:pt x="100" y="23"/>
                      <a:pt x="100" y="23"/>
                    </a:cubicBezTo>
                    <a:cubicBezTo>
                      <a:pt x="100" y="23"/>
                      <a:pt x="100" y="24"/>
                      <a:pt x="101" y="24"/>
                    </a:cubicBezTo>
                    <a:cubicBezTo>
                      <a:pt x="102" y="24"/>
                      <a:pt x="103" y="25"/>
                      <a:pt x="104" y="25"/>
                    </a:cubicBezTo>
                    <a:cubicBezTo>
                      <a:pt x="104" y="26"/>
                      <a:pt x="104" y="26"/>
                      <a:pt x="104" y="26"/>
                    </a:cubicBezTo>
                    <a:cubicBezTo>
                      <a:pt x="105" y="26"/>
                      <a:pt x="105" y="26"/>
                      <a:pt x="105" y="26"/>
                    </a:cubicBezTo>
                    <a:cubicBezTo>
                      <a:pt x="105" y="26"/>
                      <a:pt x="106" y="26"/>
                      <a:pt x="106" y="27"/>
                    </a:cubicBezTo>
                    <a:cubicBezTo>
                      <a:pt x="106" y="27"/>
                      <a:pt x="106" y="27"/>
                      <a:pt x="106" y="28"/>
                    </a:cubicBezTo>
                    <a:cubicBezTo>
                      <a:pt x="106" y="28"/>
                      <a:pt x="105" y="28"/>
                      <a:pt x="105" y="28"/>
                    </a:cubicBezTo>
                    <a:cubicBezTo>
                      <a:pt x="104" y="28"/>
                      <a:pt x="103" y="28"/>
                      <a:pt x="103" y="28"/>
                    </a:cubicBezTo>
                    <a:cubicBezTo>
                      <a:pt x="102" y="28"/>
                      <a:pt x="102" y="28"/>
                      <a:pt x="102" y="28"/>
                    </a:cubicBezTo>
                    <a:cubicBezTo>
                      <a:pt x="101" y="27"/>
                      <a:pt x="99" y="28"/>
                      <a:pt x="99" y="28"/>
                    </a:cubicBezTo>
                    <a:cubicBezTo>
                      <a:pt x="97" y="30"/>
                      <a:pt x="97" y="30"/>
                      <a:pt x="97" y="30"/>
                    </a:cubicBezTo>
                    <a:cubicBezTo>
                      <a:pt x="97" y="32"/>
                      <a:pt x="97" y="32"/>
                      <a:pt x="97" y="32"/>
                    </a:cubicBezTo>
                    <a:cubicBezTo>
                      <a:pt x="99" y="34"/>
                      <a:pt x="99" y="34"/>
                      <a:pt x="99" y="34"/>
                    </a:cubicBezTo>
                    <a:cubicBezTo>
                      <a:pt x="97" y="36"/>
                      <a:pt x="97" y="36"/>
                      <a:pt x="97" y="36"/>
                    </a:cubicBezTo>
                    <a:cubicBezTo>
                      <a:pt x="92" y="39"/>
                      <a:pt x="92" y="39"/>
                      <a:pt x="92" y="39"/>
                    </a:cubicBezTo>
                    <a:cubicBezTo>
                      <a:pt x="95" y="40"/>
                      <a:pt x="95" y="40"/>
                      <a:pt x="95" y="40"/>
                    </a:cubicBezTo>
                    <a:cubicBezTo>
                      <a:pt x="95" y="43"/>
                      <a:pt x="95" y="43"/>
                      <a:pt x="95" y="43"/>
                    </a:cubicBezTo>
                    <a:cubicBezTo>
                      <a:pt x="98" y="43"/>
                      <a:pt x="98" y="43"/>
                      <a:pt x="98" y="43"/>
                    </a:cubicBezTo>
                    <a:cubicBezTo>
                      <a:pt x="98" y="43"/>
                      <a:pt x="98" y="44"/>
                      <a:pt x="98" y="44"/>
                    </a:cubicBezTo>
                    <a:cubicBezTo>
                      <a:pt x="98" y="44"/>
                      <a:pt x="99" y="44"/>
                      <a:pt x="99" y="44"/>
                    </a:cubicBezTo>
                    <a:cubicBezTo>
                      <a:pt x="101" y="44"/>
                      <a:pt x="101" y="44"/>
                      <a:pt x="101" y="44"/>
                    </a:cubicBezTo>
                    <a:cubicBezTo>
                      <a:pt x="102" y="45"/>
                      <a:pt x="102" y="45"/>
                      <a:pt x="102" y="45"/>
                    </a:cubicBezTo>
                    <a:cubicBezTo>
                      <a:pt x="103" y="46"/>
                      <a:pt x="103" y="46"/>
                      <a:pt x="103" y="46"/>
                    </a:cubicBezTo>
                    <a:cubicBezTo>
                      <a:pt x="102" y="47"/>
                      <a:pt x="102" y="47"/>
                      <a:pt x="102" y="47"/>
                    </a:cubicBezTo>
                    <a:cubicBezTo>
                      <a:pt x="102" y="50"/>
                      <a:pt x="102" y="50"/>
                      <a:pt x="102" y="50"/>
                    </a:cubicBezTo>
                    <a:cubicBezTo>
                      <a:pt x="102" y="50"/>
                      <a:pt x="102" y="51"/>
                      <a:pt x="101" y="51"/>
                    </a:cubicBezTo>
                    <a:cubicBezTo>
                      <a:pt x="101" y="51"/>
                      <a:pt x="100" y="52"/>
                      <a:pt x="100" y="52"/>
                    </a:cubicBezTo>
                    <a:cubicBezTo>
                      <a:pt x="99" y="52"/>
                      <a:pt x="98" y="53"/>
                      <a:pt x="98" y="53"/>
                    </a:cubicBezTo>
                    <a:cubicBezTo>
                      <a:pt x="94" y="53"/>
                      <a:pt x="94" y="53"/>
                      <a:pt x="94" y="53"/>
                    </a:cubicBezTo>
                    <a:cubicBezTo>
                      <a:pt x="94" y="53"/>
                      <a:pt x="92" y="51"/>
                      <a:pt x="92" y="51"/>
                    </a:cubicBezTo>
                    <a:cubicBezTo>
                      <a:pt x="92" y="51"/>
                      <a:pt x="92" y="52"/>
                      <a:pt x="92" y="52"/>
                    </a:cubicBezTo>
                    <a:cubicBezTo>
                      <a:pt x="92" y="52"/>
                      <a:pt x="90" y="55"/>
                      <a:pt x="90" y="55"/>
                    </a:cubicBezTo>
                    <a:cubicBezTo>
                      <a:pt x="89" y="55"/>
                      <a:pt x="89" y="55"/>
                      <a:pt x="89" y="55"/>
                    </a:cubicBezTo>
                    <a:cubicBezTo>
                      <a:pt x="89" y="53"/>
                      <a:pt x="89" y="53"/>
                      <a:pt x="89" y="53"/>
                    </a:cubicBezTo>
                    <a:cubicBezTo>
                      <a:pt x="84" y="53"/>
                      <a:pt x="84" y="53"/>
                      <a:pt x="84" y="53"/>
                    </a:cubicBezTo>
                    <a:cubicBezTo>
                      <a:pt x="84" y="53"/>
                      <a:pt x="82" y="51"/>
                      <a:pt x="82" y="51"/>
                    </a:cubicBezTo>
                    <a:cubicBezTo>
                      <a:pt x="82" y="51"/>
                      <a:pt x="82" y="49"/>
                      <a:pt x="82" y="49"/>
                    </a:cubicBezTo>
                    <a:cubicBezTo>
                      <a:pt x="81" y="49"/>
                      <a:pt x="81" y="49"/>
                      <a:pt x="81" y="49"/>
                    </a:cubicBezTo>
                    <a:cubicBezTo>
                      <a:pt x="81" y="48"/>
                      <a:pt x="81" y="48"/>
                      <a:pt x="81" y="48"/>
                    </a:cubicBezTo>
                    <a:cubicBezTo>
                      <a:pt x="81" y="48"/>
                      <a:pt x="79" y="48"/>
                      <a:pt x="79" y="48"/>
                    </a:cubicBezTo>
                    <a:cubicBezTo>
                      <a:pt x="79" y="49"/>
                      <a:pt x="78" y="48"/>
                      <a:pt x="78" y="48"/>
                    </a:cubicBezTo>
                    <a:cubicBezTo>
                      <a:pt x="78" y="48"/>
                      <a:pt x="77" y="48"/>
                      <a:pt x="77" y="48"/>
                    </a:cubicBezTo>
                    <a:cubicBezTo>
                      <a:pt x="77" y="49"/>
                      <a:pt x="77" y="49"/>
                      <a:pt x="77" y="50"/>
                    </a:cubicBezTo>
                    <a:cubicBezTo>
                      <a:pt x="76" y="50"/>
                      <a:pt x="76" y="50"/>
                      <a:pt x="76" y="50"/>
                    </a:cubicBezTo>
                    <a:cubicBezTo>
                      <a:pt x="75" y="50"/>
                      <a:pt x="74" y="50"/>
                      <a:pt x="74" y="50"/>
                    </a:cubicBezTo>
                    <a:cubicBezTo>
                      <a:pt x="74" y="50"/>
                      <a:pt x="73" y="48"/>
                      <a:pt x="72" y="48"/>
                    </a:cubicBezTo>
                    <a:cubicBezTo>
                      <a:pt x="72" y="48"/>
                      <a:pt x="70" y="48"/>
                      <a:pt x="70" y="48"/>
                    </a:cubicBezTo>
                    <a:cubicBezTo>
                      <a:pt x="69" y="49"/>
                      <a:pt x="69" y="49"/>
                      <a:pt x="69" y="49"/>
                    </a:cubicBezTo>
                    <a:cubicBezTo>
                      <a:pt x="69" y="49"/>
                      <a:pt x="68" y="49"/>
                      <a:pt x="68" y="49"/>
                    </a:cubicBezTo>
                    <a:cubicBezTo>
                      <a:pt x="68" y="49"/>
                      <a:pt x="67" y="49"/>
                      <a:pt x="67" y="50"/>
                    </a:cubicBezTo>
                    <a:cubicBezTo>
                      <a:pt x="67" y="50"/>
                      <a:pt x="67" y="51"/>
                      <a:pt x="67" y="51"/>
                    </a:cubicBezTo>
                    <a:cubicBezTo>
                      <a:pt x="67" y="51"/>
                      <a:pt x="66" y="50"/>
                      <a:pt x="66" y="50"/>
                    </a:cubicBezTo>
                    <a:cubicBezTo>
                      <a:pt x="66" y="51"/>
                      <a:pt x="65" y="52"/>
                      <a:pt x="65" y="52"/>
                    </a:cubicBezTo>
                    <a:cubicBezTo>
                      <a:pt x="65" y="52"/>
                      <a:pt x="63" y="54"/>
                      <a:pt x="63" y="54"/>
                    </a:cubicBezTo>
                    <a:cubicBezTo>
                      <a:pt x="62" y="54"/>
                      <a:pt x="62" y="54"/>
                      <a:pt x="62" y="54"/>
                    </a:cubicBezTo>
                    <a:cubicBezTo>
                      <a:pt x="62" y="54"/>
                      <a:pt x="58" y="51"/>
                      <a:pt x="58" y="51"/>
                    </a:cubicBezTo>
                    <a:cubicBezTo>
                      <a:pt x="58" y="51"/>
                      <a:pt x="59" y="50"/>
                      <a:pt x="58" y="50"/>
                    </a:cubicBezTo>
                    <a:cubicBezTo>
                      <a:pt x="58" y="50"/>
                      <a:pt x="57" y="49"/>
                      <a:pt x="56" y="49"/>
                    </a:cubicBezTo>
                    <a:cubicBezTo>
                      <a:pt x="56" y="49"/>
                      <a:pt x="55" y="48"/>
                      <a:pt x="55" y="49"/>
                    </a:cubicBezTo>
                    <a:cubicBezTo>
                      <a:pt x="55" y="50"/>
                      <a:pt x="55" y="50"/>
                      <a:pt x="55" y="50"/>
                    </a:cubicBezTo>
                    <a:cubicBezTo>
                      <a:pt x="55" y="50"/>
                      <a:pt x="56" y="52"/>
                      <a:pt x="56" y="53"/>
                    </a:cubicBezTo>
                    <a:cubicBezTo>
                      <a:pt x="56" y="53"/>
                      <a:pt x="56" y="54"/>
                      <a:pt x="56" y="54"/>
                    </a:cubicBezTo>
                    <a:cubicBezTo>
                      <a:pt x="56" y="54"/>
                      <a:pt x="55" y="55"/>
                      <a:pt x="54" y="54"/>
                    </a:cubicBezTo>
                    <a:cubicBezTo>
                      <a:pt x="54" y="54"/>
                      <a:pt x="53" y="53"/>
                      <a:pt x="54" y="52"/>
                    </a:cubicBezTo>
                    <a:cubicBezTo>
                      <a:pt x="54" y="52"/>
                      <a:pt x="54" y="51"/>
                      <a:pt x="54" y="51"/>
                    </a:cubicBezTo>
                    <a:cubicBezTo>
                      <a:pt x="54" y="50"/>
                      <a:pt x="52" y="49"/>
                      <a:pt x="52" y="49"/>
                    </a:cubicBezTo>
                    <a:cubicBezTo>
                      <a:pt x="52" y="49"/>
                      <a:pt x="51" y="47"/>
                      <a:pt x="51" y="47"/>
                    </a:cubicBezTo>
                    <a:cubicBezTo>
                      <a:pt x="50" y="47"/>
                      <a:pt x="49" y="46"/>
                      <a:pt x="48" y="46"/>
                    </a:cubicBezTo>
                    <a:cubicBezTo>
                      <a:pt x="48" y="46"/>
                      <a:pt x="46" y="43"/>
                      <a:pt x="46" y="43"/>
                    </a:cubicBezTo>
                    <a:cubicBezTo>
                      <a:pt x="43" y="44"/>
                      <a:pt x="43" y="44"/>
                      <a:pt x="43" y="44"/>
                    </a:cubicBezTo>
                    <a:cubicBezTo>
                      <a:pt x="43" y="44"/>
                      <a:pt x="42" y="45"/>
                      <a:pt x="41" y="44"/>
                    </a:cubicBezTo>
                    <a:cubicBezTo>
                      <a:pt x="41" y="44"/>
                      <a:pt x="40" y="41"/>
                      <a:pt x="40" y="41"/>
                    </a:cubicBezTo>
                    <a:cubicBezTo>
                      <a:pt x="40" y="41"/>
                      <a:pt x="39" y="42"/>
                      <a:pt x="39" y="42"/>
                    </a:cubicBezTo>
                    <a:cubicBezTo>
                      <a:pt x="38" y="42"/>
                      <a:pt x="37" y="42"/>
                      <a:pt x="37" y="42"/>
                    </a:cubicBezTo>
                    <a:cubicBezTo>
                      <a:pt x="37" y="42"/>
                      <a:pt x="36" y="43"/>
                      <a:pt x="36" y="43"/>
                    </a:cubicBezTo>
                    <a:cubicBezTo>
                      <a:pt x="36" y="44"/>
                      <a:pt x="34" y="43"/>
                      <a:pt x="34" y="43"/>
                    </a:cubicBezTo>
                    <a:cubicBezTo>
                      <a:pt x="34" y="43"/>
                      <a:pt x="34" y="44"/>
                      <a:pt x="34" y="44"/>
                    </a:cubicBezTo>
                    <a:cubicBezTo>
                      <a:pt x="33" y="44"/>
                      <a:pt x="33" y="43"/>
                      <a:pt x="33" y="43"/>
                    </a:cubicBezTo>
                    <a:cubicBezTo>
                      <a:pt x="33" y="43"/>
                      <a:pt x="32" y="42"/>
                      <a:pt x="32" y="42"/>
                    </a:cubicBezTo>
                    <a:cubicBezTo>
                      <a:pt x="32" y="42"/>
                      <a:pt x="30" y="41"/>
                      <a:pt x="30" y="41"/>
                    </a:cubicBezTo>
                    <a:cubicBezTo>
                      <a:pt x="29" y="42"/>
                      <a:pt x="29" y="42"/>
                      <a:pt x="29" y="42"/>
                    </a:cubicBezTo>
                    <a:cubicBezTo>
                      <a:pt x="28" y="43"/>
                      <a:pt x="28" y="43"/>
                      <a:pt x="28" y="43"/>
                    </a:cubicBezTo>
                    <a:cubicBezTo>
                      <a:pt x="27" y="44"/>
                      <a:pt x="27" y="44"/>
                      <a:pt x="27" y="44"/>
                    </a:cubicBezTo>
                    <a:cubicBezTo>
                      <a:pt x="26" y="45"/>
                      <a:pt x="26" y="45"/>
                      <a:pt x="26" y="45"/>
                    </a:cubicBezTo>
                    <a:cubicBezTo>
                      <a:pt x="23" y="48"/>
                      <a:pt x="23" y="48"/>
                      <a:pt x="23" y="48"/>
                    </a:cubicBezTo>
                    <a:cubicBezTo>
                      <a:pt x="20" y="48"/>
                      <a:pt x="20" y="48"/>
                      <a:pt x="20" y="48"/>
                    </a:cubicBezTo>
                    <a:cubicBezTo>
                      <a:pt x="20" y="51"/>
                      <a:pt x="20" y="51"/>
                      <a:pt x="20" y="51"/>
                    </a:cubicBezTo>
                    <a:cubicBezTo>
                      <a:pt x="17" y="53"/>
                      <a:pt x="17" y="53"/>
                      <a:pt x="17" y="53"/>
                    </a:cubicBezTo>
                    <a:cubicBezTo>
                      <a:pt x="15" y="53"/>
                      <a:pt x="15" y="53"/>
                      <a:pt x="15" y="53"/>
                    </a:cubicBezTo>
                    <a:cubicBezTo>
                      <a:pt x="15" y="54"/>
                      <a:pt x="15" y="54"/>
                      <a:pt x="15" y="54"/>
                    </a:cubicBezTo>
                    <a:cubicBezTo>
                      <a:pt x="15" y="54"/>
                      <a:pt x="15" y="55"/>
                      <a:pt x="15" y="55"/>
                    </a:cubicBezTo>
                    <a:cubicBezTo>
                      <a:pt x="15" y="56"/>
                      <a:pt x="15" y="58"/>
                      <a:pt x="15" y="58"/>
                    </a:cubicBezTo>
                    <a:cubicBezTo>
                      <a:pt x="17" y="60"/>
                      <a:pt x="17" y="60"/>
                      <a:pt x="17" y="60"/>
                    </a:cubicBezTo>
                    <a:cubicBezTo>
                      <a:pt x="14" y="62"/>
                      <a:pt x="14" y="62"/>
                      <a:pt x="14" y="62"/>
                    </a:cubicBezTo>
                    <a:cubicBezTo>
                      <a:pt x="14" y="62"/>
                      <a:pt x="12" y="62"/>
                      <a:pt x="12" y="61"/>
                    </a:cubicBezTo>
                    <a:cubicBezTo>
                      <a:pt x="12" y="61"/>
                      <a:pt x="11" y="60"/>
                      <a:pt x="11" y="60"/>
                    </a:cubicBezTo>
                    <a:cubicBezTo>
                      <a:pt x="11" y="60"/>
                      <a:pt x="11" y="59"/>
                      <a:pt x="11" y="58"/>
                    </a:cubicBezTo>
                    <a:cubicBezTo>
                      <a:pt x="10" y="58"/>
                      <a:pt x="8" y="55"/>
                      <a:pt x="8" y="55"/>
                    </a:cubicBezTo>
                    <a:cubicBezTo>
                      <a:pt x="6" y="56"/>
                      <a:pt x="6" y="56"/>
                      <a:pt x="6" y="56"/>
                    </a:cubicBezTo>
                    <a:cubicBezTo>
                      <a:pt x="6" y="56"/>
                      <a:pt x="6" y="58"/>
                      <a:pt x="6" y="58"/>
                    </a:cubicBezTo>
                    <a:cubicBezTo>
                      <a:pt x="6" y="58"/>
                      <a:pt x="6" y="59"/>
                      <a:pt x="6" y="59"/>
                    </a:cubicBezTo>
                    <a:cubicBezTo>
                      <a:pt x="6" y="59"/>
                      <a:pt x="5" y="61"/>
                      <a:pt x="5" y="61"/>
                    </a:cubicBezTo>
                    <a:cubicBezTo>
                      <a:pt x="3" y="61"/>
                      <a:pt x="3" y="61"/>
                      <a:pt x="3" y="61"/>
                    </a:cubicBezTo>
                    <a:cubicBezTo>
                      <a:pt x="3" y="61"/>
                      <a:pt x="2" y="65"/>
                      <a:pt x="2" y="66"/>
                    </a:cubicBezTo>
                    <a:cubicBezTo>
                      <a:pt x="2" y="66"/>
                      <a:pt x="2" y="66"/>
                      <a:pt x="2" y="66"/>
                    </a:cubicBezTo>
                    <a:cubicBezTo>
                      <a:pt x="3" y="68"/>
                      <a:pt x="3" y="68"/>
                      <a:pt x="3" y="68"/>
                    </a:cubicBezTo>
                    <a:cubicBezTo>
                      <a:pt x="4" y="69"/>
                      <a:pt x="4" y="69"/>
                      <a:pt x="4" y="69"/>
                    </a:cubicBezTo>
                    <a:cubicBezTo>
                      <a:pt x="4" y="69"/>
                      <a:pt x="3" y="70"/>
                      <a:pt x="3" y="70"/>
                    </a:cubicBezTo>
                    <a:cubicBezTo>
                      <a:pt x="3" y="71"/>
                      <a:pt x="2" y="72"/>
                      <a:pt x="2" y="72"/>
                    </a:cubicBezTo>
                    <a:cubicBezTo>
                      <a:pt x="1" y="73"/>
                      <a:pt x="1" y="73"/>
                      <a:pt x="1" y="74"/>
                    </a:cubicBezTo>
                    <a:cubicBezTo>
                      <a:pt x="1" y="74"/>
                      <a:pt x="0" y="76"/>
                      <a:pt x="0" y="76"/>
                    </a:cubicBezTo>
                    <a:cubicBezTo>
                      <a:pt x="0" y="76"/>
                      <a:pt x="3" y="77"/>
                      <a:pt x="3" y="77"/>
                    </a:cubicBezTo>
                    <a:cubicBezTo>
                      <a:pt x="3" y="77"/>
                      <a:pt x="5" y="77"/>
                      <a:pt x="5" y="78"/>
                    </a:cubicBezTo>
                    <a:cubicBezTo>
                      <a:pt x="5" y="78"/>
                      <a:pt x="5" y="80"/>
                      <a:pt x="5" y="80"/>
                    </a:cubicBezTo>
                    <a:cubicBezTo>
                      <a:pt x="5" y="80"/>
                      <a:pt x="4" y="82"/>
                      <a:pt x="4" y="82"/>
                    </a:cubicBezTo>
                    <a:cubicBezTo>
                      <a:pt x="4" y="82"/>
                      <a:pt x="5" y="83"/>
                      <a:pt x="5" y="83"/>
                    </a:cubicBezTo>
                    <a:cubicBezTo>
                      <a:pt x="5" y="83"/>
                      <a:pt x="6" y="84"/>
                      <a:pt x="6" y="84"/>
                    </a:cubicBezTo>
                    <a:cubicBezTo>
                      <a:pt x="6" y="84"/>
                      <a:pt x="7" y="83"/>
                      <a:pt x="7" y="83"/>
                    </a:cubicBezTo>
                    <a:cubicBezTo>
                      <a:pt x="7" y="83"/>
                      <a:pt x="9" y="83"/>
                      <a:pt x="10" y="83"/>
                    </a:cubicBezTo>
                    <a:cubicBezTo>
                      <a:pt x="10" y="83"/>
                      <a:pt x="12" y="84"/>
                      <a:pt x="12" y="84"/>
                    </a:cubicBezTo>
                    <a:cubicBezTo>
                      <a:pt x="17" y="93"/>
                      <a:pt x="17" y="93"/>
                      <a:pt x="17" y="93"/>
                    </a:cubicBezTo>
                    <a:cubicBezTo>
                      <a:pt x="16" y="94"/>
                      <a:pt x="16" y="94"/>
                      <a:pt x="16" y="94"/>
                    </a:cubicBezTo>
                    <a:cubicBezTo>
                      <a:pt x="15" y="93"/>
                      <a:pt x="15" y="93"/>
                      <a:pt x="15" y="93"/>
                    </a:cubicBezTo>
                    <a:cubicBezTo>
                      <a:pt x="14" y="94"/>
                      <a:pt x="14" y="94"/>
                      <a:pt x="14" y="94"/>
                    </a:cubicBezTo>
                    <a:cubicBezTo>
                      <a:pt x="14" y="95"/>
                      <a:pt x="14" y="95"/>
                      <a:pt x="14" y="95"/>
                    </a:cubicBezTo>
                    <a:cubicBezTo>
                      <a:pt x="16" y="95"/>
                      <a:pt x="16" y="95"/>
                      <a:pt x="16" y="95"/>
                    </a:cubicBezTo>
                    <a:cubicBezTo>
                      <a:pt x="19" y="98"/>
                      <a:pt x="19" y="98"/>
                      <a:pt x="19" y="98"/>
                    </a:cubicBezTo>
                    <a:cubicBezTo>
                      <a:pt x="20" y="98"/>
                      <a:pt x="20" y="99"/>
                      <a:pt x="21" y="99"/>
                    </a:cubicBezTo>
                    <a:cubicBezTo>
                      <a:pt x="22" y="99"/>
                      <a:pt x="23" y="99"/>
                      <a:pt x="23" y="98"/>
                    </a:cubicBezTo>
                    <a:cubicBezTo>
                      <a:pt x="23" y="98"/>
                      <a:pt x="23" y="97"/>
                      <a:pt x="23" y="97"/>
                    </a:cubicBezTo>
                    <a:cubicBezTo>
                      <a:pt x="24" y="95"/>
                      <a:pt x="26" y="93"/>
                      <a:pt x="28" y="92"/>
                    </a:cubicBezTo>
                    <a:cubicBezTo>
                      <a:pt x="29" y="92"/>
                      <a:pt x="29" y="92"/>
                      <a:pt x="30" y="91"/>
                    </a:cubicBezTo>
                    <a:cubicBezTo>
                      <a:pt x="31" y="91"/>
                      <a:pt x="32" y="90"/>
                      <a:pt x="33" y="90"/>
                    </a:cubicBezTo>
                    <a:cubicBezTo>
                      <a:pt x="34" y="90"/>
                      <a:pt x="34" y="91"/>
                      <a:pt x="35" y="92"/>
                    </a:cubicBezTo>
                    <a:cubicBezTo>
                      <a:pt x="36" y="92"/>
                      <a:pt x="36" y="93"/>
                      <a:pt x="37" y="93"/>
                    </a:cubicBezTo>
                    <a:cubicBezTo>
                      <a:pt x="38" y="93"/>
                      <a:pt x="38" y="92"/>
                      <a:pt x="38" y="93"/>
                    </a:cubicBezTo>
                    <a:cubicBezTo>
                      <a:pt x="39" y="93"/>
                      <a:pt x="39" y="93"/>
                      <a:pt x="39" y="93"/>
                    </a:cubicBezTo>
                    <a:cubicBezTo>
                      <a:pt x="40" y="94"/>
                      <a:pt x="40" y="93"/>
                      <a:pt x="40" y="93"/>
                    </a:cubicBezTo>
                    <a:cubicBezTo>
                      <a:pt x="41" y="92"/>
                      <a:pt x="40" y="92"/>
                      <a:pt x="41" y="92"/>
                    </a:cubicBezTo>
                    <a:cubicBezTo>
                      <a:pt x="41" y="91"/>
                      <a:pt x="41" y="91"/>
                      <a:pt x="41" y="91"/>
                    </a:cubicBezTo>
                    <a:cubicBezTo>
                      <a:pt x="42" y="91"/>
                      <a:pt x="42" y="92"/>
                      <a:pt x="43" y="92"/>
                    </a:cubicBezTo>
                    <a:cubicBezTo>
                      <a:pt x="44" y="92"/>
                      <a:pt x="45" y="92"/>
                      <a:pt x="45" y="92"/>
                    </a:cubicBezTo>
                    <a:cubicBezTo>
                      <a:pt x="45" y="92"/>
                      <a:pt x="45" y="93"/>
                      <a:pt x="45" y="93"/>
                    </a:cubicBezTo>
                    <a:cubicBezTo>
                      <a:pt x="46" y="94"/>
                      <a:pt x="47" y="96"/>
                      <a:pt x="47" y="97"/>
                    </a:cubicBezTo>
                    <a:cubicBezTo>
                      <a:pt x="47" y="98"/>
                      <a:pt x="47" y="98"/>
                      <a:pt x="47" y="98"/>
                    </a:cubicBezTo>
                    <a:cubicBezTo>
                      <a:pt x="47" y="99"/>
                      <a:pt x="47" y="99"/>
                      <a:pt x="47" y="99"/>
                    </a:cubicBezTo>
                    <a:cubicBezTo>
                      <a:pt x="46" y="100"/>
                      <a:pt x="47" y="101"/>
                      <a:pt x="46" y="101"/>
                    </a:cubicBezTo>
                    <a:cubicBezTo>
                      <a:pt x="46" y="102"/>
                      <a:pt x="45" y="102"/>
                      <a:pt x="45" y="103"/>
                    </a:cubicBezTo>
                    <a:cubicBezTo>
                      <a:pt x="45" y="103"/>
                      <a:pt x="46" y="103"/>
                      <a:pt x="46" y="104"/>
                    </a:cubicBezTo>
                    <a:cubicBezTo>
                      <a:pt x="47" y="104"/>
                      <a:pt x="48" y="105"/>
                      <a:pt x="49" y="106"/>
                    </a:cubicBezTo>
                    <a:cubicBezTo>
                      <a:pt x="49" y="105"/>
                      <a:pt x="49" y="104"/>
                      <a:pt x="50" y="104"/>
                    </a:cubicBezTo>
                    <a:cubicBezTo>
                      <a:pt x="51" y="103"/>
                      <a:pt x="52" y="103"/>
                      <a:pt x="53" y="103"/>
                    </a:cubicBezTo>
                    <a:cubicBezTo>
                      <a:pt x="54" y="104"/>
                      <a:pt x="54" y="105"/>
                      <a:pt x="55" y="106"/>
                    </a:cubicBezTo>
                    <a:cubicBezTo>
                      <a:pt x="56" y="107"/>
                      <a:pt x="57" y="107"/>
                      <a:pt x="57" y="108"/>
                    </a:cubicBezTo>
                    <a:cubicBezTo>
                      <a:pt x="57" y="109"/>
                      <a:pt x="56" y="110"/>
                      <a:pt x="56" y="110"/>
                    </a:cubicBezTo>
                    <a:cubicBezTo>
                      <a:pt x="55" y="110"/>
                      <a:pt x="54" y="111"/>
                      <a:pt x="54" y="111"/>
                    </a:cubicBezTo>
                    <a:cubicBezTo>
                      <a:pt x="53" y="111"/>
                      <a:pt x="53" y="111"/>
                      <a:pt x="53" y="110"/>
                    </a:cubicBezTo>
                    <a:cubicBezTo>
                      <a:pt x="52" y="110"/>
                      <a:pt x="52" y="111"/>
                      <a:pt x="52" y="111"/>
                    </a:cubicBezTo>
                    <a:cubicBezTo>
                      <a:pt x="51" y="111"/>
                      <a:pt x="51" y="111"/>
                      <a:pt x="50" y="111"/>
                    </a:cubicBezTo>
                    <a:cubicBezTo>
                      <a:pt x="50" y="111"/>
                      <a:pt x="50" y="111"/>
                      <a:pt x="49" y="111"/>
                    </a:cubicBezTo>
                    <a:cubicBezTo>
                      <a:pt x="49" y="112"/>
                      <a:pt x="49" y="112"/>
                      <a:pt x="49" y="112"/>
                    </a:cubicBezTo>
                    <a:cubicBezTo>
                      <a:pt x="48" y="114"/>
                      <a:pt x="47" y="115"/>
                      <a:pt x="46" y="117"/>
                    </a:cubicBezTo>
                    <a:cubicBezTo>
                      <a:pt x="46" y="117"/>
                      <a:pt x="46" y="117"/>
                      <a:pt x="45" y="118"/>
                    </a:cubicBezTo>
                    <a:cubicBezTo>
                      <a:pt x="45" y="118"/>
                      <a:pt x="44" y="118"/>
                      <a:pt x="44" y="117"/>
                    </a:cubicBezTo>
                    <a:cubicBezTo>
                      <a:pt x="43" y="117"/>
                      <a:pt x="43" y="117"/>
                      <a:pt x="43" y="117"/>
                    </a:cubicBezTo>
                    <a:cubicBezTo>
                      <a:pt x="43" y="117"/>
                      <a:pt x="44" y="116"/>
                      <a:pt x="44" y="116"/>
                    </a:cubicBezTo>
                    <a:cubicBezTo>
                      <a:pt x="44" y="116"/>
                      <a:pt x="45" y="116"/>
                      <a:pt x="45" y="116"/>
                    </a:cubicBezTo>
                    <a:cubicBezTo>
                      <a:pt x="46" y="116"/>
                      <a:pt x="46" y="115"/>
                      <a:pt x="46" y="114"/>
                    </a:cubicBezTo>
                    <a:cubicBezTo>
                      <a:pt x="47" y="113"/>
                      <a:pt x="47" y="112"/>
                      <a:pt x="48" y="112"/>
                    </a:cubicBezTo>
                    <a:cubicBezTo>
                      <a:pt x="48" y="111"/>
                      <a:pt x="49" y="111"/>
                      <a:pt x="49" y="110"/>
                    </a:cubicBezTo>
                    <a:cubicBezTo>
                      <a:pt x="50" y="110"/>
                      <a:pt x="49" y="109"/>
                      <a:pt x="49" y="108"/>
                    </a:cubicBezTo>
                    <a:cubicBezTo>
                      <a:pt x="48" y="108"/>
                      <a:pt x="48" y="109"/>
                      <a:pt x="47" y="109"/>
                    </a:cubicBezTo>
                    <a:cubicBezTo>
                      <a:pt x="46" y="109"/>
                      <a:pt x="45" y="109"/>
                      <a:pt x="44" y="108"/>
                    </a:cubicBezTo>
                    <a:cubicBezTo>
                      <a:pt x="43" y="108"/>
                      <a:pt x="43" y="108"/>
                      <a:pt x="43" y="108"/>
                    </a:cubicBezTo>
                    <a:cubicBezTo>
                      <a:pt x="41" y="107"/>
                      <a:pt x="40" y="108"/>
                      <a:pt x="39" y="107"/>
                    </a:cubicBezTo>
                    <a:cubicBezTo>
                      <a:pt x="38" y="107"/>
                      <a:pt x="38" y="106"/>
                      <a:pt x="37" y="106"/>
                    </a:cubicBezTo>
                    <a:cubicBezTo>
                      <a:pt x="37" y="106"/>
                      <a:pt x="37" y="107"/>
                      <a:pt x="36" y="107"/>
                    </a:cubicBezTo>
                    <a:cubicBezTo>
                      <a:pt x="35" y="107"/>
                      <a:pt x="34" y="107"/>
                      <a:pt x="33" y="108"/>
                    </a:cubicBezTo>
                    <a:cubicBezTo>
                      <a:pt x="33" y="109"/>
                      <a:pt x="33" y="109"/>
                      <a:pt x="33" y="110"/>
                    </a:cubicBezTo>
                    <a:cubicBezTo>
                      <a:pt x="33" y="110"/>
                      <a:pt x="32" y="110"/>
                      <a:pt x="32" y="111"/>
                    </a:cubicBezTo>
                    <a:cubicBezTo>
                      <a:pt x="31" y="112"/>
                      <a:pt x="32" y="113"/>
                      <a:pt x="33" y="114"/>
                    </a:cubicBezTo>
                    <a:cubicBezTo>
                      <a:pt x="34" y="114"/>
                      <a:pt x="34" y="114"/>
                      <a:pt x="35" y="114"/>
                    </a:cubicBezTo>
                    <a:cubicBezTo>
                      <a:pt x="35" y="114"/>
                      <a:pt x="35" y="115"/>
                      <a:pt x="35" y="115"/>
                    </a:cubicBezTo>
                    <a:cubicBezTo>
                      <a:pt x="34" y="116"/>
                      <a:pt x="34" y="116"/>
                      <a:pt x="33" y="115"/>
                    </a:cubicBezTo>
                    <a:cubicBezTo>
                      <a:pt x="33" y="115"/>
                      <a:pt x="33" y="115"/>
                      <a:pt x="33" y="115"/>
                    </a:cubicBezTo>
                    <a:cubicBezTo>
                      <a:pt x="33" y="115"/>
                      <a:pt x="32" y="115"/>
                      <a:pt x="32" y="115"/>
                    </a:cubicBezTo>
                    <a:cubicBezTo>
                      <a:pt x="31" y="115"/>
                      <a:pt x="31" y="115"/>
                      <a:pt x="31" y="115"/>
                    </a:cubicBezTo>
                    <a:cubicBezTo>
                      <a:pt x="30" y="114"/>
                      <a:pt x="29" y="114"/>
                      <a:pt x="28" y="114"/>
                    </a:cubicBezTo>
                    <a:cubicBezTo>
                      <a:pt x="27" y="114"/>
                      <a:pt x="27" y="114"/>
                      <a:pt x="26" y="114"/>
                    </a:cubicBezTo>
                    <a:cubicBezTo>
                      <a:pt x="25" y="115"/>
                      <a:pt x="25" y="116"/>
                      <a:pt x="25" y="116"/>
                    </a:cubicBezTo>
                    <a:cubicBezTo>
                      <a:pt x="26" y="117"/>
                      <a:pt x="27" y="117"/>
                      <a:pt x="28" y="117"/>
                    </a:cubicBezTo>
                    <a:cubicBezTo>
                      <a:pt x="29" y="118"/>
                      <a:pt x="30" y="119"/>
                      <a:pt x="30" y="120"/>
                    </a:cubicBezTo>
                    <a:cubicBezTo>
                      <a:pt x="30" y="121"/>
                      <a:pt x="31" y="123"/>
                      <a:pt x="32" y="123"/>
                    </a:cubicBezTo>
                    <a:cubicBezTo>
                      <a:pt x="32" y="124"/>
                      <a:pt x="33" y="124"/>
                      <a:pt x="33" y="124"/>
                    </a:cubicBezTo>
                    <a:cubicBezTo>
                      <a:pt x="33" y="125"/>
                      <a:pt x="33" y="125"/>
                      <a:pt x="33" y="126"/>
                    </a:cubicBezTo>
                    <a:cubicBezTo>
                      <a:pt x="33" y="126"/>
                      <a:pt x="33" y="127"/>
                      <a:pt x="33" y="128"/>
                    </a:cubicBezTo>
                    <a:cubicBezTo>
                      <a:pt x="34" y="128"/>
                      <a:pt x="35" y="128"/>
                      <a:pt x="36" y="129"/>
                    </a:cubicBezTo>
                    <a:cubicBezTo>
                      <a:pt x="36" y="129"/>
                      <a:pt x="36" y="130"/>
                      <a:pt x="37" y="130"/>
                    </a:cubicBezTo>
                    <a:cubicBezTo>
                      <a:pt x="37" y="131"/>
                      <a:pt x="39" y="131"/>
                      <a:pt x="40" y="131"/>
                    </a:cubicBezTo>
                    <a:cubicBezTo>
                      <a:pt x="41" y="131"/>
                      <a:pt x="42" y="131"/>
                      <a:pt x="43" y="132"/>
                    </a:cubicBezTo>
                    <a:cubicBezTo>
                      <a:pt x="43" y="132"/>
                      <a:pt x="43" y="132"/>
                      <a:pt x="43" y="132"/>
                    </a:cubicBezTo>
                    <a:cubicBezTo>
                      <a:pt x="43" y="133"/>
                      <a:pt x="43" y="133"/>
                      <a:pt x="43" y="133"/>
                    </a:cubicBezTo>
                    <a:cubicBezTo>
                      <a:pt x="42" y="134"/>
                      <a:pt x="42" y="136"/>
                      <a:pt x="41" y="137"/>
                    </a:cubicBezTo>
                    <a:cubicBezTo>
                      <a:pt x="40" y="138"/>
                      <a:pt x="41" y="139"/>
                      <a:pt x="41" y="139"/>
                    </a:cubicBezTo>
                    <a:cubicBezTo>
                      <a:pt x="41" y="140"/>
                      <a:pt x="41" y="140"/>
                      <a:pt x="41" y="140"/>
                    </a:cubicBezTo>
                    <a:cubicBezTo>
                      <a:pt x="42" y="139"/>
                      <a:pt x="44" y="138"/>
                      <a:pt x="44" y="138"/>
                    </a:cubicBezTo>
                    <a:cubicBezTo>
                      <a:pt x="44" y="137"/>
                      <a:pt x="48" y="136"/>
                      <a:pt x="48" y="1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3" name="Freeform 855">
                <a:extLst>
                  <a:ext uri="{FF2B5EF4-FFF2-40B4-BE49-F238E27FC236}">
                    <a16:creationId xmlns:a16="http://schemas.microsoft.com/office/drawing/2014/main" id="{026B5B4A-42E6-7851-2080-6750A9518924}"/>
                  </a:ext>
                </a:extLst>
              </p:cNvPr>
              <p:cNvSpPr>
                <a:spLocks/>
              </p:cNvSpPr>
              <p:nvPr/>
            </p:nvSpPr>
            <p:spPr bwMode="auto">
              <a:xfrm>
                <a:off x="9026525" y="3841750"/>
                <a:ext cx="3175" cy="4763"/>
              </a:xfrm>
              <a:custGeom>
                <a:avLst/>
                <a:gdLst>
                  <a:gd name="T0" fmla="*/ 0 w 1"/>
                  <a:gd name="T1" fmla="*/ 1 h 1"/>
                  <a:gd name="T2" fmla="*/ 0 w 1"/>
                  <a:gd name="T3" fmla="*/ 1 h 1"/>
                  <a:gd name="T4" fmla="*/ 0 w 1"/>
                  <a:gd name="T5" fmla="*/ 1 h 1"/>
                  <a:gd name="T6" fmla="*/ 1 w 1"/>
                  <a:gd name="T7" fmla="*/ 0 h 1"/>
                  <a:gd name="T8" fmla="*/ 0 w 1"/>
                  <a:gd name="T9" fmla="*/ 0 h 1"/>
                  <a:gd name="T10" fmla="*/ 0 w 1"/>
                  <a:gd name="T11" fmla="*/ 1 h 1"/>
                  <a:gd name="T12" fmla="*/ 0 w 1"/>
                  <a:gd name="T13" fmla="*/ 1 h 1"/>
                  <a:gd name="T14" fmla="*/ 0 w 1"/>
                  <a:gd name="T15" fmla="*/ 1 h 1"/>
                  <a:gd name="T16" fmla="*/ 0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1"/>
                    </a:moveTo>
                    <a:cubicBezTo>
                      <a:pt x="0" y="1"/>
                      <a:pt x="0" y="1"/>
                      <a:pt x="0" y="1"/>
                    </a:cubicBezTo>
                    <a:cubicBezTo>
                      <a:pt x="0" y="1"/>
                      <a:pt x="0" y="1"/>
                      <a:pt x="0" y="1"/>
                    </a:cubicBezTo>
                    <a:cubicBezTo>
                      <a:pt x="0" y="1"/>
                      <a:pt x="1" y="1"/>
                      <a:pt x="1" y="0"/>
                    </a:cubicBezTo>
                    <a:cubicBezTo>
                      <a:pt x="1" y="0"/>
                      <a:pt x="1" y="0"/>
                      <a:pt x="0" y="0"/>
                    </a:cubicBezTo>
                    <a:cubicBezTo>
                      <a:pt x="0" y="0"/>
                      <a:pt x="0" y="0"/>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4" name="Freeform 856">
                <a:extLst>
                  <a:ext uri="{FF2B5EF4-FFF2-40B4-BE49-F238E27FC236}">
                    <a16:creationId xmlns:a16="http://schemas.microsoft.com/office/drawing/2014/main" id="{D59BBAFA-130A-6EAC-FECC-3AF96B341D58}"/>
                  </a:ext>
                </a:extLst>
              </p:cNvPr>
              <p:cNvSpPr>
                <a:spLocks/>
              </p:cNvSpPr>
              <p:nvPr/>
            </p:nvSpPr>
            <p:spPr bwMode="auto">
              <a:xfrm>
                <a:off x="9021763" y="3859213"/>
                <a:ext cx="0" cy="3175"/>
              </a:xfrm>
              <a:custGeom>
                <a:avLst/>
                <a:gdLst>
                  <a:gd name="T0" fmla="*/ 0 h 1"/>
                  <a:gd name="T1" fmla="*/ 0 h 1"/>
                  <a:gd name="T2" fmla="*/ 0 h 1"/>
                  <a:gd name="T3" fmla="*/ 0 h 1"/>
                  <a:gd name="T4" fmla="*/ 0 h 1"/>
                  <a:gd name="T5" fmla="*/ 0 h 1"/>
                  <a:gd name="T6" fmla="*/ 0 h 1"/>
                  <a:gd name="T7" fmla="*/ 0 h 1"/>
                  <a:gd name="T8" fmla="*/ 0 h 1"/>
                  <a:gd name="T9" fmla="*/ 0 h 1"/>
                  <a:gd name="T1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5" name="Freeform 857">
                <a:extLst>
                  <a:ext uri="{FF2B5EF4-FFF2-40B4-BE49-F238E27FC236}">
                    <a16:creationId xmlns:a16="http://schemas.microsoft.com/office/drawing/2014/main" id="{5355CDAB-8E3E-4BE6-E1AA-26F9E27479C9}"/>
                  </a:ext>
                </a:extLst>
              </p:cNvPr>
              <p:cNvSpPr>
                <a:spLocks/>
              </p:cNvSpPr>
              <p:nvPr/>
            </p:nvSpPr>
            <p:spPr bwMode="auto">
              <a:xfrm>
                <a:off x="8867775" y="4179888"/>
                <a:ext cx="4762" cy="0"/>
              </a:xfrm>
              <a:custGeom>
                <a:avLst/>
                <a:gdLst>
                  <a:gd name="T0" fmla="*/ 0 w 1"/>
                  <a:gd name="T1" fmla="*/ 0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0" y="0"/>
                      <a:pt x="0" y="0"/>
                      <a:pt x="0"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6" name="Freeform 858">
                <a:extLst>
                  <a:ext uri="{FF2B5EF4-FFF2-40B4-BE49-F238E27FC236}">
                    <a16:creationId xmlns:a16="http://schemas.microsoft.com/office/drawing/2014/main" id="{E4E8CC3F-212E-89B2-E73B-5BD4196E98CA}"/>
                  </a:ext>
                </a:extLst>
              </p:cNvPr>
              <p:cNvSpPr>
                <a:spLocks noEditPoints="1"/>
              </p:cNvSpPr>
              <p:nvPr/>
            </p:nvSpPr>
            <p:spPr bwMode="auto">
              <a:xfrm>
                <a:off x="8972550" y="3441700"/>
                <a:ext cx="515937" cy="646113"/>
              </a:xfrm>
              <a:custGeom>
                <a:avLst/>
                <a:gdLst>
                  <a:gd name="T0" fmla="*/ 1 w 124"/>
                  <a:gd name="T1" fmla="*/ 153 h 155"/>
                  <a:gd name="T2" fmla="*/ 1 w 124"/>
                  <a:gd name="T3" fmla="*/ 154 h 155"/>
                  <a:gd name="T4" fmla="*/ 0 w 124"/>
                  <a:gd name="T5" fmla="*/ 154 h 155"/>
                  <a:gd name="T6" fmla="*/ 2 w 124"/>
                  <a:gd name="T7" fmla="*/ 152 h 155"/>
                  <a:gd name="T8" fmla="*/ 3 w 124"/>
                  <a:gd name="T9" fmla="*/ 151 h 155"/>
                  <a:gd name="T10" fmla="*/ 4 w 124"/>
                  <a:gd name="T11" fmla="*/ 151 h 155"/>
                  <a:gd name="T12" fmla="*/ 8 w 124"/>
                  <a:gd name="T13" fmla="*/ 146 h 155"/>
                  <a:gd name="T14" fmla="*/ 12 w 124"/>
                  <a:gd name="T15" fmla="*/ 141 h 155"/>
                  <a:gd name="T16" fmla="*/ 12 w 124"/>
                  <a:gd name="T17" fmla="*/ 142 h 155"/>
                  <a:gd name="T18" fmla="*/ 13 w 124"/>
                  <a:gd name="T19" fmla="*/ 140 h 155"/>
                  <a:gd name="T20" fmla="*/ 12 w 124"/>
                  <a:gd name="T21" fmla="*/ 141 h 155"/>
                  <a:gd name="T22" fmla="*/ 12 w 124"/>
                  <a:gd name="T23" fmla="*/ 140 h 155"/>
                  <a:gd name="T24" fmla="*/ 15 w 124"/>
                  <a:gd name="T25" fmla="*/ 140 h 155"/>
                  <a:gd name="T26" fmla="*/ 2 w 124"/>
                  <a:gd name="T27" fmla="*/ 153 h 155"/>
                  <a:gd name="T28" fmla="*/ 2 w 124"/>
                  <a:gd name="T29" fmla="*/ 153 h 155"/>
                  <a:gd name="T30" fmla="*/ 31 w 124"/>
                  <a:gd name="T31" fmla="*/ 104 h 155"/>
                  <a:gd name="T32" fmla="*/ 49 w 124"/>
                  <a:gd name="T33" fmla="*/ 100 h 155"/>
                  <a:gd name="T34" fmla="*/ 40 w 124"/>
                  <a:gd name="T35" fmla="*/ 102 h 155"/>
                  <a:gd name="T36" fmla="*/ 35 w 124"/>
                  <a:gd name="T37" fmla="*/ 108 h 155"/>
                  <a:gd name="T38" fmla="*/ 38 w 124"/>
                  <a:gd name="T39" fmla="*/ 111 h 155"/>
                  <a:gd name="T40" fmla="*/ 49 w 124"/>
                  <a:gd name="T41" fmla="*/ 103 h 155"/>
                  <a:gd name="T42" fmla="*/ 29 w 124"/>
                  <a:gd name="T43" fmla="*/ 108 h 155"/>
                  <a:gd name="T44" fmla="*/ 21 w 124"/>
                  <a:gd name="T45" fmla="*/ 103 h 155"/>
                  <a:gd name="T46" fmla="*/ 15 w 124"/>
                  <a:gd name="T47" fmla="*/ 109 h 155"/>
                  <a:gd name="T48" fmla="*/ 16 w 124"/>
                  <a:gd name="T49" fmla="*/ 112 h 155"/>
                  <a:gd name="T50" fmla="*/ 20 w 124"/>
                  <a:gd name="T51" fmla="*/ 110 h 155"/>
                  <a:gd name="T52" fmla="*/ 19 w 124"/>
                  <a:gd name="T53" fmla="*/ 120 h 155"/>
                  <a:gd name="T54" fmla="*/ 23 w 124"/>
                  <a:gd name="T55" fmla="*/ 124 h 155"/>
                  <a:gd name="T56" fmla="*/ 30 w 124"/>
                  <a:gd name="T57" fmla="*/ 112 h 155"/>
                  <a:gd name="T58" fmla="*/ 12 w 124"/>
                  <a:gd name="T59" fmla="*/ 110 h 155"/>
                  <a:gd name="T60" fmla="*/ 9 w 124"/>
                  <a:gd name="T61" fmla="*/ 113 h 155"/>
                  <a:gd name="T62" fmla="*/ 11 w 124"/>
                  <a:gd name="T63" fmla="*/ 108 h 155"/>
                  <a:gd name="T64" fmla="*/ 19 w 124"/>
                  <a:gd name="T65" fmla="*/ 116 h 155"/>
                  <a:gd name="T66" fmla="*/ 24 w 124"/>
                  <a:gd name="T67" fmla="*/ 130 h 155"/>
                  <a:gd name="T68" fmla="*/ 47 w 124"/>
                  <a:gd name="T69" fmla="*/ 98 h 155"/>
                  <a:gd name="T70" fmla="*/ 98 w 124"/>
                  <a:gd name="T71" fmla="*/ 49 h 155"/>
                  <a:gd name="T72" fmla="*/ 91 w 124"/>
                  <a:gd name="T73" fmla="*/ 43 h 155"/>
                  <a:gd name="T74" fmla="*/ 86 w 124"/>
                  <a:gd name="T75" fmla="*/ 54 h 155"/>
                  <a:gd name="T76" fmla="*/ 76 w 124"/>
                  <a:gd name="T77" fmla="*/ 74 h 155"/>
                  <a:gd name="T78" fmla="*/ 67 w 124"/>
                  <a:gd name="T79" fmla="*/ 73 h 155"/>
                  <a:gd name="T80" fmla="*/ 56 w 124"/>
                  <a:gd name="T81" fmla="*/ 89 h 155"/>
                  <a:gd name="T82" fmla="*/ 49 w 124"/>
                  <a:gd name="T83" fmla="*/ 88 h 155"/>
                  <a:gd name="T84" fmla="*/ 32 w 124"/>
                  <a:gd name="T85" fmla="*/ 94 h 155"/>
                  <a:gd name="T86" fmla="*/ 25 w 124"/>
                  <a:gd name="T87" fmla="*/ 102 h 155"/>
                  <a:gd name="T88" fmla="*/ 34 w 124"/>
                  <a:gd name="T89" fmla="*/ 100 h 155"/>
                  <a:gd name="T90" fmla="*/ 40 w 124"/>
                  <a:gd name="T91" fmla="*/ 99 h 155"/>
                  <a:gd name="T92" fmla="*/ 46 w 124"/>
                  <a:gd name="T93" fmla="*/ 96 h 155"/>
                  <a:gd name="T94" fmla="*/ 53 w 124"/>
                  <a:gd name="T95" fmla="*/ 99 h 155"/>
                  <a:gd name="T96" fmla="*/ 58 w 124"/>
                  <a:gd name="T97" fmla="*/ 104 h 155"/>
                  <a:gd name="T98" fmla="*/ 63 w 124"/>
                  <a:gd name="T99" fmla="*/ 94 h 155"/>
                  <a:gd name="T100" fmla="*/ 68 w 124"/>
                  <a:gd name="T101" fmla="*/ 97 h 155"/>
                  <a:gd name="T102" fmla="*/ 79 w 124"/>
                  <a:gd name="T103" fmla="*/ 94 h 155"/>
                  <a:gd name="T104" fmla="*/ 84 w 124"/>
                  <a:gd name="T105" fmla="*/ 93 h 155"/>
                  <a:gd name="T106" fmla="*/ 90 w 124"/>
                  <a:gd name="T107" fmla="*/ 79 h 155"/>
                  <a:gd name="T108" fmla="*/ 96 w 124"/>
                  <a:gd name="T109" fmla="*/ 64 h 155"/>
                  <a:gd name="T110" fmla="*/ 98 w 124"/>
                  <a:gd name="T111" fmla="*/ 58 h 155"/>
                  <a:gd name="T112" fmla="*/ 52 w 124"/>
                  <a:gd name="T113" fmla="*/ 97 h 155"/>
                  <a:gd name="T114" fmla="*/ 122 w 124"/>
                  <a:gd name="T115" fmla="*/ 22 h 155"/>
                  <a:gd name="T116" fmla="*/ 105 w 124"/>
                  <a:gd name="T117" fmla="*/ 9 h 155"/>
                  <a:gd name="T118" fmla="*/ 88 w 124"/>
                  <a:gd name="T119" fmla="*/ 21 h 155"/>
                  <a:gd name="T120" fmla="*/ 90 w 124"/>
                  <a:gd name="T121" fmla="*/ 35 h 155"/>
                  <a:gd name="T122" fmla="*/ 100 w 124"/>
                  <a:gd name="T123" fmla="*/ 30 h 155"/>
                  <a:gd name="T124" fmla="*/ 120 w 124"/>
                  <a:gd name="T1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 h="155">
                    <a:moveTo>
                      <a:pt x="10" y="144"/>
                    </a:moveTo>
                    <a:cubicBezTo>
                      <a:pt x="10" y="144"/>
                      <a:pt x="10" y="144"/>
                      <a:pt x="10" y="144"/>
                    </a:cubicBezTo>
                    <a:cubicBezTo>
                      <a:pt x="10" y="144"/>
                      <a:pt x="10" y="144"/>
                      <a:pt x="10" y="144"/>
                    </a:cubicBezTo>
                    <a:cubicBezTo>
                      <a:pt x="10" y="144"/>
                      <a:pt x="10" y="144"/>
                      <a:pt x="10" y="144"/>
                    </a:cubicBezTo>
                    <a:cubicBezTo>
                      <a:pt x="10" y="144"/>
                      <a:pt x="10" y="144"/>
                      <a:pt x="10" y="145"/>
                    </a:cubicBezTo>
                    <a:cubicBezTo>
                      <a:pt x="10" y="145"/>
                      <a:pt x="10" y="145"/>
                      <a:pt x="10" y="145"/>
                    </a:cubicBezTo>
                    <a:cubicBezTo>
                      <a:pt x="10" y="145"/>
                      <a:pt x="10" y="145"/>
                      <a:pt x="10" y="145"/>
                    </a:cubicBezTo>
                    <a:cubicBezTo>
                      <a:pt x="9" y="145"/>
                      <a:pt x="9" y="145"/>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4"/>
                      <a:pt x="10" y="144"/>
                    </a:cubicBezTo>
                    <a:cubicBezTo>
                      <a:pt x="10" y="144"/>
                      <a:pt x="10" y="144"/>
                      <a:pt x="10" y="144"/>
                    </a:cubicBezTo>
                    <a:cubicBezTo>
                      <a:pt x="10" y="144"/>
                      <a:pt x="10" y="144"/>
                      <a:pt x="10" y="144"/>
                    </a:cubicBezTo>
                    <a:cubicBezTo>
                      <a:pt x="10" y="144"/>
                      <a:pt x="10" y="144"/>
                      <a:pt x="10" y="144"/>
                    </a:cubicBezTo>
                    <a:close/>
                    <a:moveTo>
                      <a:pt x="2" y="152"/>
                    </a:moveTo>
                    <a:cubicBezTo>
                      <a:pt x="1" y="152"/>
                      <a:pt x="1" y="152"/>
                      <a:pt x="1" y="152"/>
                    </a:cubicBezTo>
                    <a:cubicBezTo>
                      <a:pt x="1" y="152"/>
                      <a:pt x="1" y="152"/>
                      <a:pt x="1" y="152"/>
                    </a:cubicBezTo>
                    <a:cubicBezTo>
                      <a:pt x="1" y="152"/>
                      <a:pt x="1" y="152"/>
                      <a:pt x="1" y="152"/>
                    </a:cubicBezTo>
                    <a:cubicBezTo>
                      <a:pt x="1" y="152"/>
                      <a:pt x="1" y="153"/>
                      <a:pt x="1" y="153"/>
                    </a:cubicBezTo>
                    <a:cubicBezTo>
                      <a:pt x="1" y="153"/>
                      <a:pt x="1" y="153"/>
                      <a:pt x="2" y="153"/>
                    </a:cubicBezTo>
                    <a:cubicBezTo>
                      <a:pt x="2" y="153"/>
                      <a:pt x="2" y="153"/>
                      <a:pt x="2" y="153"/>
                    </a:cubicBezTo>
                    <a:cubicBezTo>
                      <a:pt x="1" y="153"/>
                      <a:pt x="1"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0"/>
                    </a:cubicBezTo>
                    <a:cubicBezTo>
                      <a:pt x="2" y="150"/>
                      <a:pt x="2" y="150"/>
                      <a:pt x="2" y="150"/>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4" y="151"/>
                    </a:cubicBezTo>
                    <a:cubicBezTo>
                      <a:pt x="4" y="151"/>
                      <a:pt x="4" y="151"/>
                      <a:pt x="4" y="151"/>
                    </a:cubicBezTo>
                    <a:cubicBezTo>
                      <a:pt x="4" y="151"/>
                      <a:pt x="4" y="151"/>
                      <a:pt x="4" y="151"/>
                    </a:cubicBezTo>
                    <a:cubicBezTo>
                      <a:pt x="4" y="151"/>
                      <a:pt x="4" y="151"/>
                      <a:pt x="4" y="151"/>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1"/>
                      <a:pt x="5" y="151"/>
                    </a:cubicBezTo>
                    <a:cubicBezTo>
                      <a:pt x="5" y="151"/>
                      <a:pt x="5" y="151"/>
                      <a:pt x="5" y="151"/>
                    </a:cubicBezTo>
                    <a:cubicBezTo>
                      <a:pt x="5" y="151"/>
                      <a:pt x="5"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3" y="151"/>
                      <a:pt x="3" y="151"/>
                    </a:cubicBezTo>
                    <a:cubicBezTo>
                      <a:pt x="4" y="151"/>
                      <a:pt x="3" y="151"/>
                      <a:pt x="3" y="151"/>
                    </a:cubicBezTo>
                    <a:cubicBezTo>
                      <a:pt x="3" y="151"/>
                      <a:pt x="3" y="151"/>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moveTo>
                      <a:pt x="8" y="146"/>
                    </a:moveTo>
                    <a:cubicBezTo>
                      <a:pt x="8" y="146"/>
                      <a:pt x="8" y="146"/>
                      <a:pt x="8" y="146"/>
                    </a:cubicBezTo>
                    <a:cubicBezTo>
                      <a:pt x="8" y="146"/>
                      <a:pt x="8" y="146"/>
                      <a:pt x="8"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7"/>
                      <a:pt x="7" y="147"/>
                    </a:cubicBezTo>
                    <a:cubicBezTo>
                      <a:pt x="7" y="147"/>
                      <a:pt x="7" y="147"/>
                      <a:pt x="7" y="147"/>
                    </a:cubicBezTo>
                    <a:cubicBezTo>
                      <a:pt x="7" y="147"/>
                      <a:pt x="7" y="146"/>
                      <a:pt x="7" y="146"/>
                    </a:cubicBezTo>
                    <a:cubicBezTo>
                      <a:pt x="7" y="146"/>
                      <a:pt x="8" y="146"/>
                      <a:pt x="8" y="146"/>
                    </a:cubicBezTo>
                    <a:cubicBezTo>
                      <a:pt x="8" y="146"/>
                      <a:pt x="8" y="146"/>
                      <a:pt x="8" y="146"/>
                    </a:cubicBezTo>
                    <a:cubicBezTo>
                      <a:pt x="8" y="146"/>
                      <a:pt x="8" y="146"/>
                      <a:pt x="8" y="146"/>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1"/>
                    </a:cubicBezTo>
                    <a:cubicBezTo>
                      <a:pt x="12" y="141"/>
                      <a:pt x="12" y="141"/>
                      <a:pt x="12" y="141"/>
                    </a:cubicBezTo>
                    <a:cubicBezTo>
                      <a:pt x="12" y="141"/>
                      <a:pt x="12" y="141"/>
                      <a:pt x="12" y="141"/>
                    </a:cubicBezTo>
                    <a:cubicBezTo>
                      <a:pt x="12" y="141"/>
                      <a:pt x="12" y="141"/>
                      <a:pt x="12" y="141"/>
                    </a:cubicBezTo>
                    <a:cubicBezTo>
                      <a:pt x="12" y="141"/>
                      <a:pt x="12" y="142"/>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3" y="142"/>
                    </a:cubicBezTo>
                    <a:cubicBezTo>
                      <a:pt x="13" y="142"/>
                      <a:pt x="12" y="142"/>
                      <a:pt x="12" y="142"/>
                    </a:cubicBezTo>
                    <a:close/>
                    <a:moveTo>
                      <a:pt x="17" y="140"/>
                    </a:moveTo>
                    <a:cubicBezTo>
                      <a:pt x="17" y="140"/>
                      <a:pt x="17" y="140"/>
                      <a:pt x="17" y="140"/>
                    </a:cubicBezTo>
                    <a:cubicBezTo>
                      <a:pt x="17" y="140"/>
                      <a:pt x="17" y="140"/>
                      <a:pt x="17" y="140"/>
                    </a:cubicBezTo>
                    <a:cubicBezTo>
                      <a:pt x="17" y="141"/>
                      <a:pt x="17" y="141"/>
                      <a:pt x="16" y="141"/>
                    </a:cubicBezTo>
                    <a:cubicBezTo>
                      <a:pt x="16" y="141"/>
                      <a:pt x="16" y="141"/>
                      <a:pt x="16" y="141"/>
                    </a:cubicBezTo>
                    <a:cubicBezTo>
                      <a:pt x="16" y="141"/>
                      <a:pt x="16" y="141"/>
                      <a:pt x="16" y="141"/>
                    </a:cubicBezTo>
                    <a:cubicBezTo>
                      <a:pt x="16" y="141"/>
                      <a:pt x="16" y="141"/>
                      <a:pt x="16" y="141"/>
                    </a:cubicBezTo>
                    <a:cubicBezTo>
                      <a:pt x="16" y="141"/>
                      <a:pt x="16" y="141"/>
                      <a:pt x="16" y="141"/>
                    </a:cubicBezTo>
                    <a:cubicBezTo>
                      <a:pt x="16" y="141"/>
                      <a:pt x="16" y="141"/>
                      <a:pt x="17" y="141"/>
                    </a:cubicBezTo>
                    <a:cubicBezTo>
                      <a:pt x="17" y="141"/>
                      <a:pt x="17" y="141"/>
                      <a:pt x="17" y="141"/>
                    </a:cubicBezTo>
                    <a:cubicBezTo>
                      <a:pt x="17" y="141"/>
                      <a:pt x="17" y="141"/>
                      <a:pt x="17" y="141"/>
                    </a:cubicBezTo>
                    <a:cubicBezTo>
                      <a:pt x="17" y="141"/>
                      <a:pt x="17" y="141"/>
                      <a:pt x="17" y="141"/>
                    </a:cubicBezTo>
                    <a:cubicBezTo>
                      <a:pt x="17" y="141"/>
                      <a:pt x="17" y="140"/>
                      <a:pt x="17" y="140"/>
                    </a:cubicBezTo>
                    <a:close/>
                    <a:moveTo>
                      <a:pt x="15" y="140"/>
                    </a:move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1"/>
                    </a:cubicBezTo>
                    <a:cubicBezTo>
                      <a:pt x="14" y="141"/>
                      <a:pt x="14" y="141"/>
                      <a:pt x="13" y="141"/>
                    </a:cubicBezTo>
                    <a:cubicBezTo>
                      <a:pt x="13" y="141"/>
                      <a:pt x="13" y="141"/>
                      <a:pt x="13" y="141"/>
                    </a:cubicBezTo>
                    <a:cubicBezTo>
                      <a:pt x="13" y="140"/>
                      <a:pt x="13" y="141"/>
                      <a:pt x="13" y="140"/>
                    </a:cubicBezTo>
                    <a:cubicBezTo>
                      <a:pt x="13" y="140"/>
                      <a:pt x="13" y="140"/>
                      <a:pt x="13" y="140"/>
                    </a:cubicBezTo>
                    <a:cubicBezTo>
                      <a:pt x="13" y="140"/>
                      <a:pt x="13" y="140"/>
                      <a:pt x="13" y="140"/>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2" y="141"/>
                    </a:cubicBezTo>
                    <a:cubicBezTo>
                      <a:pt x="12" y="141"/>
                      <a:pt x="12" y="141"/>
                      <a:pt x="12" y="141"/>
                    </a:cubicBezTo>
                    <a:cubicBezTo>
                      <a:pt x="13" y="141"/>
                      <a:pt x="13" y="141"/>
                      <a:pt x="13" y="142"/>
                    </a:cubicBezTo>
                    <a:cubicBezTo>
                      <a:pt x="13" y="142"/>
                      <a:pt x="13" y="142"/>
                      <a:pt x="13" y="142"/>
                    </a:cubicBezTo>
                    <a:cubicBezTo>
                      <a:pt x="13" y="142"/>
                      <a:pt x="13" y="142"/>
                      <a:pt x="13" y="142"/>
                    </a:cubicBezTo>
                    <a:cubicBezTo>
                      <a:pt x="13" y="142"/>
                      <a:pt x="13" y="142"/>
                      <a:pt x="13" y="142"/>
                    </a:cubicBezTo>
                    <a:cubicBezTo>
                      <a:pt x="13" y="142"/>
                      <a:pt x="13" y="142"/>
                      <a:pt x="12" y="142"/>
                    </a:cubicBezTo>
                    <a:cubicBezTo>
                      <a:pt x="12" y="142"/>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1" y="141"/>
                      <a:pt x="11" y="141"/>
                    </a:cubicBezTo>
                    <a:cubicBezTo>
                      <a:pt x="11" y="141"/>
                      <a:pt x="11" y="141"/>
                      <a:pt x="11" y="141"/>
                    </a:cubicBezTo>
                    <a:cubicBezTo>
                      <a:pt x="11" y="141"/>
                      <a:pt x="11" y="141"/>
                      <a:pt x="11" y="140"/>
                    </a:cubicBezTo>
                    <a:cubicBezTo>
                      <a:pt x="11" y="140"/>
                      <a:pt x="11" y="140"/>
                      <a:pt x="11" y="140"/>
                    </a:cubicBezTo>
                    <a:cubicBezTo>
                      <a:pt x="11" y="140"/>
                      <a:pt x="11" y="141"/>
                      <a:pt x="12" y="140"/>
                    </a:cubicBezTo>
                    <a:cubicBezTo>
                      <a:pt x="12" y="140"/>
                      <a:pt x="12" y="140"/>
                      <a:pt x="12" y="141"/>
                    </a:cubicBezTo>
                    <a:cubicBezTo>
                      <a:pt x="12" y="141"/>
                      <a:pt x="12" y="141"/>
                      <a:pt x="12" y="141"/>
                    </a:cubicBezTo>
                    <a:cubicBezTo>
                      <a:pt x="12" y="141"/>
                      <a:pt x="12" y="141"/>
                      <a:pt x="12" y="141"/>
                    </a:cubicBezTo>
                    <a:cubicBezTo>
                      <a:pt x="12" y="140"/>
                      <a:pt x="12" y="140"/>
                      <a:pt x="12" y="140"/>
                    </a:cubicBezTo>
                    <a:cubicBezTo>
                      <a:pt x="12" y="140"/>
                      <a:pt x="12" y="140"/>
                      <a:pt x="12" y="141"/>
                    </a:cubicBezTo>
                    <a:cubicBezTo>
                      <a:pt x="12" y="141"/>
                      <a:pt x="12" y="141"/>
                      <a:pt x="12" y="141"/>
                    </a:cubicBezTo>
                    <a:cubicBezTo>
                      <a:pt x="12" y="141"/>
                      <a:pt x="12" y="140"/>
                      <a:pt x="12" y="141"/>
                    </a:cubicBezTo>
                    <a:cubicBezTo>
                      <a:pt x="12" y="141"/>
                      <a:pt x="12" y="141"/>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39"/>
                      <a:pt x="14" y="139"/>
                    </a:cubicBezTo>
                    <a:cubicBezTo>
                      <a:pt x="14" y="139"/>
                      <a:pt x="14" y="139"/>
                      <a:pt x="14" y="139"/>
                    </a:cubicBezTo>
                    <a:cubicBezTo>
                      <a:pt x="14" y="139"/>
                      <a:pt x="14" y="139"/>
                      <a:pt x="14" y="139"/>
                    </a:cubicBezTo>
                    <a:cubicBezTo>
                      <a:pt x="14" y="139"/>
                      <a:pt x="14" y="139"/>
                      <a:pt x="15" y="139"/>
                    </a:cubicBezTo>
                    <a:cubicBezTo>
                      <a:pt x="15" y="139"/>
                      <a:pt x="15" y="139"/>
                      <a:pt x="15" y="139"/>
                    </a:cubicBezTo>
                    <a:cubicBezTo>
                      <a:pt x="15" y="139"/>
                      <a:pt x="15" y="139"/>
                      <a:pt x="14" y="139"/>
                    </a:cubicBezTo>
                    <a:cubicBezTo>
                      <a:pt x="14" y="139"/>
                      <a:pt x="14" y="140"/>
                      <a:pt x="14" y="140"/>
                    </a:cubicBezTo>
                    <a:cubicBezTo>
                      <a:pt x="14" y="140"/>
                      <a:pt x="14" y="140"/>
                      <a:pt x="14" y="140"/>
                    </a:cubicBezTo>
                    <a:cubicBezTo>
                      <a:pt x="14" y="140"/>
                      <a:pt x="15" y="140"/>
                      <a:pt x="15" y="140"/>
                    </a:cubicBezTo>
                    <a:cubicBezTo>
                      <a:pt x="15" y="140"/>
                      <a:pt x="15" y="139"/>
                      <a:pt x="15" y="139"/>
                    </a:cubicBezTo>
                    <a:cubicBezTo>
                      <a:pt x="15" y="140"/>
                      <a:pt x="15" y="140"/>
                      <a:pt x="15" y="140"/>
                    </a:cubicBezTo>
                    <a:cubicBezTo>
                      <a:pt x="15" y="140"/>
                      <a:pt x="15" y="140"/>
                      <a:pt x="15" y="140"/>
                    </a:cubicBezTo>
                    <a:cubicBezTo>
                      <a:pt x="14" y="140"/>
                      <a:pt x="15" y="140"/>
                      <a:pt x="15" y="140"/>
                    </a:cubicBezTo>
                    <a:cubicBezTo>
                      <a:pt x="15" y="140"/>
                      <a:pt x="15" y="140"/>
                      <a:pt x="15" y="140"/>
                    </a:cubicBezTo>
                    <a:cubicBezTo>
                      <a:pt x="15" y="140"/>
                      <a:pt x="15" y="140"/>
                      <a:pt x="15" y="140"/>
                    </a:cubicBezTo>
                    <a:cubicBezTo>
                      <a:pt x="15" y="140"/>
                      <a:pt x="15" y="140"/>
                      <a:pt x="15" y="140"/>
                    </a:cubicBezTo>
                    <a:cubicBezTo>
                      <a:pt x="15" y="140"/>
                      <a:pt x="15" y="139"/>
                      <a:pt x="15" y="139"/>
                    </a:cubicBezTo>
                    <a:cubicBezTo>
                      <a:pt x="15" y="139"/>
                      <a:pt x="15" y="140"/>
                      <a:pt x="15" y="140"/>
                    </a:cubicBezTo>
                    <a:cubicBezTo>
                      <a:pt x="15" y="140"/>
                      <a:pt x="15" y="140"/>
                      <a:pt x="15" y="140"/>
                    </a:cubicBezTo>
                    <a:cubicBezTo>
                      <a:pt x="15" y="140"/>
                      <a:pt x="15" y="140"/>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40"/>
                      <a:pt x="15" y="140"/>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11" y="142"/>
                    </a:move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lose/>
                    <a:moveTo>
                      <a:pt x="12" y="140"/>
                    </a:move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lose/>
                    <a:moveTo>
                      <a:pt x="2" y="154"/>
                    </a:moveTo>
                    <a:cubicBezTo>
                      <a:pt x="2" y="154"/>
                      <a:pt x="2" y="154"/>
                      <a:pt x="2" y="154"/>
                    </a:cubicBezTo>
                    <a:cubicBezTo>
                      <a:pt x="2" y="154"/>
                      <a:pt x="2" y="154"/>
                      <a:pt x="2" y="154"/>
                    </a:cubicBezTo>
                    <a:cubicBezTo>
                      <a:pt x="2" y="154"/>
                      <a:pt x="2" y="154"/>
                      <a:pt x="2" y="154"/>
                    </a:cubicBezTo>
                    <a:cubicBezTo>
                      <a:pt x="2" y="154"/>
                      <a:pt x="2" y="154"/>
                      <a:pt x="2" y="154"/>
                    </a:cubicBezTo>
                    <a:close/>
                    <a:moveTo>
                      <a:pt x="1" y="154"/>
                    </a:moveTo>
                    <a:cubicBezTo>
                      <a:pt x="1" y="154"/>
                      <a:pt x="1" y="154"/>
                      <a:pt x="1" y="154"/>
                    </a:cubicBezTo>
                    <a:cubicBezTo>
                      <a:pt x="1" y="154"/>
                      <a:pt x="1" y="154"/>
                      <a:pt x="1" y="154"/>
                    </a:cubicBezTo>
                    <a:cubicBezTo>
                      <a:pt x="1" y="154"/>
                      <a:pt x="1" y="154"/>
                      <a:pt x="2" y="154"/>
                    </a:cubicBezTo>
                    <a:cubicBezTo>
                      <a:pt x="2" y="154"/>
                      <a:pt x="2" y="154"/>
                      <a:pt x="2" y="154"/>
                    </a:cubicBezTo>
                    <a:cubicBezTo>
                      <a:pt x="1" y="154"/>
                      <a:pt x="1" y="154"/>
                      <a:pt x="1" y="154"/>
                    </a:cubicBezTo>
                    <a:close/>
                    <a:moveTo>
                      <a:pt x="32" y="103"/>
                    </a:moveTo>
                    <a:cubicBezTo>
                      <a:pt x="32" y="103"/>
                      <a:pt x="31" y="103"/>
                      <a:pt x="31" y="104"/>
                    </a:cubicBezTo>
                    <a:cubicBezTo>
                      <a:pt x="32" y="104"/>
                      <a:pt x="32" y="104"/>
                      <a:pt x="32" y="103"/>
                    </a:cubicBezTo>
                    <a:close/>
                    <a:moveTo>
                      <a:pt x="33" y="103"/>
                    </a:moveTo>
                    <a:cubicBezTo>
                      <a:pt x="33" y="103"/>
                      <a:pt x="33" y="103"/>
                      <a:pt x="33" y="102"/>
                    </a:cubicBezTo>
                    <a:cubicBezTo>
                      <a:pt x="33" y="102"/>
                      <a:pt x="32" y="102"/>
                      <a:pt x="32" y="103"/>
                    </a:cubicBezTo>
                    <a:cubicBezTo>
                      <a:pt x="32" y="103"/>
                      <a:pt x="32" y="103"/>
                      <a:pt x="32" y="103"/>
                    </a:cubicBezTo>
                    <a:cubicBezTo>
                      <a:pt x="32" y="103"/>
                      <a:pt x="33" y="103"/>
                      <a:pt x="33" y="103"/>
                    </a:cubicBezTo>
                    <a:cubicBezTo>
                      <a:pt x="33" y="103"/>
                      <a:pt x="33" y="103"/>
                      <a:pt x="33" y="103"/>
                    </a:cubicBezTo>
                    <a:cubicBezTo>
                      <a:pt x="33" y="103"/>
                      <a:pt x="34" y="103"/>
                      <a:pt x="34" y="103"/>
                    </a:cubicBezTo>
                    <a:cubicBezTo>
                      <a:pt x="34" y="103"/>
                      <a:pt x="34" y="103"/>
                      <a:pt x="34" y="103"/>
                    </a:cubicBezTo>
                    <a:cubicBezTo>
                      <a:pt x="34" y="103"/>
                      <a:pt x="34" y="103"/>
                      <a:pt x="34" y="103"/>
                    </a:cubicBezTo>
                    <a:cubicBezTo>
                      <a:pt x="34" y="102"/>
                      <a:pt x="34" y="103"/>
                      <a:pt x="34" y="103"/>
                    </a:cubicBezTo>
                    <a:cubicBezTo>
                      <a:pt x="33" y="103"/>
                      <a:pt x="33" y="103"/>
                      <a:pt x="33" y="103"/>
                    </a:cubicBezTo>
                    <a:close/>
                    <a:moveTo>
                      <a:pt x="30" y="103"/>
                    </a:moveTo>
                    <a:cubicBezTo>
                      <a:pt x="30" y="103"/>
                      <a:pt x="30" y="102"/>
                      <a:pt x="30" y="102"/>
                    </a:cubicBezTo>
                    <a:cubicBezTo>
                      <a:pt x="30" y="102"/>
                      <a:pt x="30" y="102"/>
                      <a:pt x="30" y="103"/>
                    </a:cubicBezTo>
                    <a:close/>
                    <a:moveTo>
                      <a:pt x="31" y="104"/>
                    </a:moveTo>
                    <a:cubicBezTo>
                      <a:pt x="31" y="104"/>
                      <a:pt x="31" y="104"/>
                      <a:pt x="31" y="104"/>
                    </a:cubicBezTo>
                    <a:cubicBezTo>
                      <a:pt x="31" y="104"/>
                      <a:pt x="31" y="104"/>
                      <a:pt x="31" y="104"/>
                    </a:cubicBezTo>
                    <a:cubicBezTo>
                      <a:pt x="31" y="104"/>
                      <a:pt x="31" y="104"/>
                      <a:pt x="31" y="104"/>
                    </a:cubicBezTo>
                    <a:cubicBezTo>
                      <a:pt x="31" y="104"/>
                      <a:pt x="31" y="104"/>
                      <a:pt x="31" y="104"/>
                    </a:cubicBezTo>
                    <a:close/>
                    <a:moveTo>
                      <a:pt x="32" y="104"/>
                    </a:moveTo>
                    <a:cubicBezTo>
                      <a:pt x="32" y="104"/>
                      <a:pt x="33" y="104"/>
                      <a:pt x="33" y="104"/>
                    </a:cubicBezTo>
                    <a:cubicBezTo>
                      <a:pt x="33" y="104"/>
                      <a:pt x="33" y="104"/>
                      <a:pt x="32" y="104"/>
                    </a:cubicBezTo>
                    <a:close/>
                    <a:moveTo>
                      <a:pt x="83" y="103"/>
                    </a:moveTo>
                    <a:cubicBezTo>
                      <a:pt x="83" y="103"/>
                      <a:pt x="82" y="103"/>
                      <a:pt x="82" y="103"/>
                    </a:cubicBezTo>
                    <a:cubicBezTo>
                      <a:pt x="82" y="103"/>
                      <a:pt x="83" y="103"/>
                      <a:pt x="83" y="103"/>
                    </a:cubicBezTo>
                    <a:cubicBezTo>
                      <a:pt x="83" y="103"/>
                      <a:pt x="83" y="103"/>
                      <a:pt x="83" y="103"/>
                    </a:cubicBezTo>
                    <a:cubicBezTo>
                      <a:pt x="83" y="103"/>
                      <a:pt x="83" y="103"/>
                      <a:pt x="83" y="103"/>
                    </a:cubicBezTo>
                    <a:close/>
                    <a:moveTo>
                      <a:pt x="81" y="96"/>
                    </a:moveTo>
                    <a:cubicBezTo>
                      <a:pt x="81" y="96"/>
                      <a:pt x="81" y="96"/>
                      <a:pt x="81" y="96"/>
                    </a:cubicBezTo>
                    <a:cubicBezTo>
                      <a:pt x="81" y="96"/>
                      <a:pt x="81" y="97"/>
                      <a:pt x="81" y="97"/>
                    </a:cubicBezTo>
                    <a:cubicBezTo>
                      <a:pt x="82" y="97"/>
                      <a:pt x="81" y="96"/>
                      <a:pt x="82" y="96"/>
                    </a:cubicBezTo>
                    <a:cubicBezTo>
                      <a:pt x="82" y="96"/>
                      <a:pt x="81" y="96"/>
                      <a:pt x="81" y="96"/>
                    </a:cubicBezTo>
                    <a:close/>
                    <a:moveTo>
                      <a:pt x="80" y="99"/>
                    </a:moveTo>
                    <a:cubicBezTo>
                      <a:pt x="80" y="99"/>
                      <a:pt x="81" y="99"/>
                      <a:pt x="80" y="99"/>
                    </a:cubicBezTo>
                    <a:cubicBezTo>
                      <a:pt x="80" y="99"/>
                      <a:pt x="80" y="99"/>
                      <a:pt x="80" y="99"/>
                    </a:cubicBezTo>
                    <a:close/>
                    <a:moveTo>
                      <a:pt x="84" y="109"/>
                    </a:moveTo>
                    <a:cubicBezTo>
                      <a:pt x="84" y="109"/>
                      <a:pt x="84" y="109"/>
                      <a:pt x="84" y="109"/>
                    </a:cubicBezTo>
                    <a:cubicBezTo>
                      <a:pt x="84" y="109"/>
                      <a:pt x="84" y="109"/>
                      <a:pt x="84" y="110"/>
                    </a:cubicBezTo>
                    <a:cubicBezTo>
                      <a:pt x="84" y="110"/>
                      <a:pt x="84" y="110"/>
                      <a:pt x="84" y="110"/>
                    </a:cubicBezTo>
                    <a:cubicBezTo>
                      <a:pt x="84" y="110"/>
                      <a:pt x="84" y="110"/>
                      <a:pt x="84" y="109"/>
                    </a:cubicBezTo>
                    <a:cubicBezTo>
                      <a:pt x="84" y="109"/>
                      <a:pt x="84" y="109"/>
                      <a:pt x="84" y="109"/>
                    </a:cubicBezTo>
                    <a:close/>
                    <a:moveTo>
                      <a:pt x="82" y="101"/>
                    </a:moveTo>
                    <a:cubicBezTo>
                      <a:pt x="82" y="101"/>
                      <a:pt x="82" y="101"/>
                      <a:pt x="82" y="101"/>
                    </a:cubicBezTo>
                    <a:cubicBezTo>
                      <a:pt x="82" y="102"/>
                      <a:pt x="82" y="102"/>
                      <a:pt x="82" y="102"/>
                    </a:cubicBezTo>
                    <a:cubicBezTo>
                      <a:pt x="82" y="102"/>
                      <a:pt x="82" y="102"/>
                      <a:pt x="82" y="101"/>
                    </a:cubicBezTo>
                    <a:cubicBezTo>
                      <a:pt x="82" y="101"/>
                      <a:pt x="82" y="101"/>
                      <a:pt x="82" y="101"/>
                    </a:cubicBezTo>
                    <a:close/>
                    <a:moveTo>
                      <a:pt x="49" y="103"/>
                    </a:moveTo>
                    <a:cubicBezTo>
                      <a:pt x="49" y="103"/>
                      <a:pt x="49" y="103"/>
                      <a:pt x="49" y="103"/>
                    </a:cubicBezTo>
                    <a:cubicBezTo>
                      <a:pt x="49" y="103"/>
                      <a:pt x="49" y="102"/>
                      <a:pt x="49" y="102"/>
                    </a:cubicBezTo>
                    <a:cubicBezTo>
                      <a:pt x="49" y="102"/>
                      <a:pt x="49" y="102"/>
                      <a:pt x="48" y="102"/>
                    </a:cubicBezTo>
                    <a:cubicBezTo>
                      <a:pt x="48" y="102"/>
                      <a:pt x="48" y="101"/>
                      <a:pt x="49" y="101"/>
                    </a:cubicBezTo>
                    <a:cubicBezTo>
                      <a:pt x="49" y="101"/>
                      <a:pt x="49" y="101"/>
                      <a:pt x="49" y="101"/>
                    </a:cubicBezTo>
                    <a:cubicBezTo>
                      <a:pt x="49" y="101"/>
                      <a:pt x="49" y="101"/>
                      <a:pt x="49" y="100"/>
                    </a:cubicBezTo>
                    <a:cubicBezTo>
                      <a:pt x="49" y="100"/>
                      <a:pt x="49" y="100"/>
                      <a:pt x="49" y="100"/>
                    </a:cubicBezTo>
                    <a:cubicBezTo>
                      <a:pt x="49" y="100"/>
                      <a:pt x="49" y="100"/>
                      <a:pt x="49" y="100"/>
                    </a:cubicBezTo>
                    <a:cubicBezTo>
                      <a:pt x="49" y="100"/>
                      <a:pt x="48" y="100"/>
                      <a:pt x="48" y="100"/>
                    </a:cubicBezTo>
                    <a:cubicBezTo>
                      <a:pt x="48" y="100"/>
                      <a:pt x="48" y="100"/>
                      <a:pt x="48" y="100"/>
                    </a:cubicBezTo>
                    <a:cubicBezTo>
                      <a:pt x="48" y="100"/>
                      <a:pt x="48" y="100"/>
                      <a:pt x="48" y="100"/>
                    </a:cubicBezTo>
                    <a:cubicBezTo>
                      <a:pt x="48" y="100"/>
                      <a:pt x="48" y="100"/>
                      <a:pt x="47" y="100"/>
                    </a:cubicBezTo>
                    <a:cubicBezTo>
                      <a:pt x="47" y="100"/>
                      <a:pt x="47" y="100"/>
                      <a:pt x="47" y="100"/>
                    </a:cubicBezTo>
                    <a:cubicBezTo>
                      <a:pt x="47" y="100"/>
                      <a:pt x="46" y="100"/>
                      <a:pt x="46" y="100"/>
                    </a:cubicBezTo>
                    <a:cubicBezTo>
                      <a:pt x="46" y="100"/>
                      <a:pt x="46" y="99"/>
                      <a:pt x="46" y="99"/>
                    </a:cubicBezTo>
                    <a:cubicBezTo>
                      <a:pt x="46" y="99"/>
                      <a:pt x="46" y="99"/>
                      <a:pt x="46" y="99"/>
                    </a:cubicBezTo>
                    <a:cubicBezTo>
                      <a:pt x="46" y="99"/>
                      <a:pt x="46" y="99"/>
                      <a:pt x="46" y="99"/>
                    </a:cubicBezTo>
                    <a:cubicBezTo>
                      <a:pt x="46" y="99"/>
                      <a:pt x="46" y="99"/>
                      <a:pt x="46" y="99"/>
                    </a:cubicBezTo>
                    <a:cubicBezTo>
                      <a:pt x="46" y="99"/>
                      <a:pt x="45" y="99"/>
                      <a:pt x="45" y="99"/>
                    </a:cubicBezTo>
                    <a:cubicBezTo>
                      <a:pt x="45" y="99"/>
                      <a:pt x="45" y="99"/>
                      <a:pt x="45" y="99"/>
                    </a:cubicBezTo>
                    <a:cubicBezTo>
                      <a:pt x="45" y="99"/>
                      <a:pt x="45" y="99"/>
                      <a:pt x="45" y="99"/>
                    </a:cubicBezTo>
                    <a:cubicBezTo>
                      <a:pt x="45" y="99"/>
                      <a:pt x="44" y="99"/>
                      <a:pt x="44" y="99"/>
                    </a:cubicBezTo>
                    <a:cubicBezTo>
                      <a:pt x="44" y="99"/>
                      <a:pt x="44" y="99"/>
                      <a:pt x="44" y="99"/>
                    </a:cubicBezTo>
                    <a:cubicBezTo>
                      <a:pt x="44" y="99"/>
                      <a:pt x="44" y="99"/>
                      <a:pt x="44" y="99"/>
                    </a:cubicBezTo>
                    <a:cubicBezTo>
                      <a:pt x="44" y="99"/>
                      <a:pt x="44" y="99"/>
                      <a:pt x="44" y="99"/>
                    </a:cubicBezTo>
                    <a:cubicBezTo>
                      <a:pt x="44" y="99"/>
                      <a:pt x="44" y="99"/>
                      <a:pt x="44" y="99"/>
                    </a:cubicBezTo>
                    <a:cubicBezTo>
                      <a:pt x="43" y="100"/>
                      <a:pt x="43" y="100"/>
                      <a:pt x="43" y="100"/>
                    </a:cubicBezTo>
                    <a:cubicBezTo>
                      <a:pt x="43" y="100"/>
                      <a:pt x="43" y="100"/>
                      <a:pt x="43" y="100"/>
                    </a:cubicBezTo>
                    <a:cubicBezTo>
                      <a:pt x="43" y="100"/>
                      <a:pt x="43" y="100"/>
                      <a:pt x="43" y="100"/>
                    </a:cubicBezTo>
                    <a:cubicBezTo>
                      <a:pt x="42" y="100"/>
                      <a:pt x="42" y="100"/>
                      <a:pt x="42" y="100"/>
                    </a:cubicBezTo>
                    <a:cubicBezTo>
                      <a:pt x="42" y="100"/>
                      <a:pt x="42" y="100"/>
                      <a:pt x="42" y="100"/>
                    </a:cubicBezTo>
                    <a:cubicBezTo>
                      <a:pt x="42" y="100"/>
                      <a:pt x="42" y="100"/>
                      <a:pt x="42" y="100"/>
                    </a:cubicBezTo>
                    <a:cubicBezTo>
                      <a:pt x="42" y="100"/>
                      <a:pt x="42" y="100"/>
                      <a:pt x="42" y="100"/>
                    </a:cubicBezTo>
                    <a:cubicBezTo>
                      <a:pt x="42" y="100"/>
                      <a:pt x="42" y="100"/>
                      <a:pt x="42" y="101"/>
                    </a:cubicBezTo>
                    <a:cubicBezTo>
                      <a:pt x="42" y="101"/>
                      <a:pt x="42" y="101"/>
                      <a:pt x="42" y="101"/>
                    </a:cubicBezTo>
                    <a:cubicBezTo>
                      <a:pt x="42" y="101"/>
                      <a:pt x="42" y="101"/>
                      <a:pt x="42" y="101"/>
                    </a:cubicBezTo>
                    <a:cubicBezTo>
                      <a:pt x="42" y="102"/>
                      <a:pt x="42" y="102"/>
                      <a:pt x="42" y="102"/>
                    </a:cubicBezTo>
                    <a:cubicBezTo>
                      <a:pt x="42" y="102"/>
                      <a:pt x="42" y="102"/>
                      <a:pt x="42" y="102"/>
                    </a:cubicBezTo>
                    <a:cubicBezTo>
                      <a:pt x="42" y="102"/>
                      <a:pt x="41" y="102"/>
                      <a:pt x="41" y="102"/>
                    </a:cubicBezTo>
                    <a:cubicBezTo>
                      <a:pt x="41" y="102"/>
                      <a:pt x="41" y="102"/>
                      <a:pt x="41" y="102"/>
                    </a:cubicBezTo>
                    <a:cubicBezTo>
                      <a:pt x="41" y="102"/>
                      <a:pt x="40" y="102"/>
                      <a:pt x="40" y="102"/>
                    </a:cubicBezTo>
                    <a:cubicBezTo>
                      <a:pt x="40" y="102"/>
                      <a:pt x="40" y="102"/>
                      <a:pt x="40" y="102"/>
                    </a:cubicBezTo>
                    <a:cubicBezTo>
                      <a:pt x="39" y="102"/>
                      <a:pt x="39" y="102"/>
                      <a:pt x="39" y="102"/>
                    </a:cubicBezTo>
                    <a:cubicBezTo>
                      <a:pt x="39" y="102"/>
                      <a:pt x="39" y="103"/>
                      <a:pt x="39" y="103"/>
                    </a:cubicBezTo>
                    <a:cubicBezTo>
                      <a:pt x="39" y="103"/>
                      <a:pt x="38" y="103"/>
                      <a:pt x="38" y="103"/>
                    </a:cubicBezTo>
                    <a:cubicBezTo>
                      <a:pt x="38" y="102"/>
                      <a:pt x="38" y="102"/>
                      <a:pt x="38" y="102"/>
                    </a:cubicBezTo>
                    <a:cubicBezTo>
                      <a:pt x="38" y="102"/>
                      <a:pt x="38" y="102"/>
                      <a:pt x="38" y="102"/>
                    </a:cubicBezTo>
                    <a:cubicBezTo>
                      <a:pt x="38" y="102"/>
                      <a:pt x="38" y="102"/>
                      <a:pt x="38" y="102"/>
                    </a:cubicBezTo>
                    <a:cubicBezTo>
                      <a:pt x="38" y="102"/>
                      <a:pt x="38" y="101"/>
                      <a:pt x="38" y="101"/>
                    </a:cubicBezTo>
                    <a:cubicBezTo>
                      <a:pt x="38" y="101"/>
                      <a:pt x="38" y="101"/>
                      <a:pt x="38" y="101"/>
                    </a:cubicBezTo>
                    <a:cubicBezTo>
                      <a:pt x="38" y="101"/>
                      <a:pt x="38" y="101"/>
                      <a:pt x="38" y="101"/>
                    </a:cubicBezTo>
                    <a:cubicBezTo>
                      <a:pt x="37" y="101"/>
                      <a:pt x="37" y="101"/>
                      <a:pt x="37" y="101"/>
                    </a:cubicBezTo>
                    <a:cubicBezTo>
                      <a:pt x="37" y="101"/>
                      <a:pt x="37" y="101"/>
                      <a:pt x="37" y="101"/>
                    </a:cubicBezTo>
                    <a:cubicBezTo>
                      <a:pt x="37" y="101"/>
                      <a:pt x="37" y="102"/>
                      <a:pt x="37" y="102"/>
                    </a:cubicBezTo>
                    <a:cubicBezTo>
                      <a:pt x="36" y="102"/>
                      <a:pt x="36" y="102"/>
                      <a:pt x="36" y="103"/>
                    </a:cubicBezTo>
                    <a:cubicBezTo>
                      <a:pt x="36" y="103"/>
                      <a:pt x="36" y="103"/>
                      <a:pt x="36" y="103"/>
                    </a:cubicBezTo>
                    <a:cubicBezTo>
                      <a:pt x="36" y="103"/>
                      <a:pt x="36" y="104"/>
                      <a:pt x="36" y="104"/>
                    </a:cubicBezTo>
                    <a:cubicBezTo>
                      <a:pt x="36" y="104"/>
                      <a:pt x="36" y="104"/>
                      <a:pt x="36" y="104"/>
                    </a:cubicBezTo>
                    <a:cubicBezTo>
                      <a:pt x="36" y="104"/>
                      <a:pt x="36" y="104"/>
                      <a:pt x="36" y="104"/>
                    </a:cubicBezTo>
                    <a:cubicBezTo>
                      <a:pt x="35" y="105"/>
                      <a:pt x="35" y="105"/>
                      <a:pt x="35" y="105"/>
                    </a:cubicBezTo>
                    <a:cubicBezTo>
                      <a:pt x="34" y="105"/>
                      <a:pt x="34" y="105"/>
                      <a:pt x="34" y="106"/>
                    </a:cubicBezTo>
                    <a:cubicBezTo>
                      <a:pt x="34" y="106"/>
                      <a:pt x="34" y="106"/>
                      <a:pt x="34" y="106"/>
                    </a:cubicBezTo>
                    <a:cubicBezTo>
                      <a:pt x="33" y="106"/>
                      <a:pt x="32" y="107"/>
                      <a:pt x="32" y="107"/>
                    </a:cubicBezTo>
                    <a:cubicBezTo>
                      <a:pt x="32" y="107"/>
                      <a:pt x="32" y="107"/>
                      <a:pt x="32" y="107"/>
                    </a:cubicBezTo>
                    <a:cubicBezTo>
                      <a:pt x="32" y="107"/>
                      <a:pt x="32" y="107"/>
                      <a:pt x="32" y="107"/>
                    </a:cubicBezTo>
                    <a:cubicBezTo>
                      <a:pt x="32" y="107"/>
                      <a:pt x="32" y="107"/>
                      <a:pt x="32" y="107"/>
                    </a:cubicBezTo>
                    <a:cubicBezTo>
                      <a:pt x="32" y="107"/>
                      <a:pt x="33" y="107"/>
                      <a:pt x="33" y="106"/>
                    </a:cubicBezTo>
                    <a:cubicBezTo>
                      <a:pt x="33" y="106"/>
                      <a:pt x="33" y="106"/>
                      <a:pt x="34" y="106"/>
                    </a:cubicBezTo>
                    <a:cubicBezTo>
                      <a:pt x="34" y="107"/>
                      <a:pt x="34" y="107"/>
                      <a:pt x="34" y="107"/>
                    </a:cubicBezTo>
                    <a:cubicBezTo>
                      <a:pt x="34" y="107"/>
                      <a:pt x="34" y="107"/>
                      <a:pt x="34" y="107"/>
                    </a:cubicBezTo>
                    <a:cubicBezTo>
                      <a:pt x="34" y="107"/>
                      <a:pt x="34" y="107"/>
                      <a:pt x="34" y="107"/>
                    </a:cubicBezTo>
                    <a:cubicBezTo>
                      <a:pt x="34" y="107"/>
                      <a:pt x="34" y="108"/>
                      <a:pt x="34" y="108"/>
                    </a:cubicBezTo>
                    <a:cubicBezTo>
                      <a:pt x="34" y="108"/>
                      <a:pt x="34" y="108"/>
                      <a:pt x="34" y="108"/>
                    </a:cubicBezTo>
                    <a:cubicBezTo>
                      <a:pt x="34" y="108"/>
                      <a:pt x="34" y="108"/>
                      <a:pt x="35" y="108"/>
                    </a:cubicBezTo>
                    <a:cubicBezTo>
                      <a:pt x="35" y="108"/>
                      <a:pt x="35" y="108"/>
                      <a:pt x="35" y="108"/>
                    </a:cubicBezTo>
                    <a:cubicBezTo>
                      <a:pt x="35" y="108"/>
                      <a:pt x="35" y="108"/>
                      <a:pt x="35" y="108"/>
                    </a:cubicBezTo>
                    <a:cubicBezTo>
                      <a:pt x="35" y="108"/>
                      <a:pt x="35" y="108"/>
                      <a:pt x="35" y="108"/>
                    </a:cubicBezTo>
                    <a:cubicBezTo>
                      <a:pt x="35" y="108"/>
                      <a:pt x="35" y="108"/>
                      <a:pt x="35" y="108"/>
                    </a:cubicBezTo>
                    <a:cubicBezTo>
                      <a:pt x="34" y="108"/>
                      <a:pt x="34" y="108"/>
                      <a:pt x="35" y="108"/>
                    </a:cubicBezTo>
                    <a:cubicBezTo>
                      <a:pt x="35" y="108"/>
                      <a:pt x="35" y="108"/>
                      <a:pt x="35" y="108"/>
                    </a:cubicBezTo>
                    <a:cubicBezTo>
                      <a:pt x="35" y="108"/>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1"/>
                      <a:pt x="34" y="111"/>
                    </a:cubicBezTo>
                    <a:cubicBezTo>
                      <a:pt x="34" y="111"/>
                      <a:pt x="34" y="111"/>
                      <a:pt x="34" y="111"/>
                    </a:cubicBezTo>
                    <a:cubicBezTo>
                      <a:pt x="34" y="111"/>
                      <a:pt x="34" y="111"/>
                      <a:pt x="34" y="111"/>
                    </a:cubicBezTo>
                    <a:cubicBezTo>
                      <a:pt x="34" y="111"/>
                      <a:pt x="34"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6" y="111"/>
                      <a:pt x="36" y="111"/>
                    </a:cubicBezTo>
                    <a:cubicBezTo>
                      <a:pt x="36" y="111"/>
                      <a:pt x="36" y="111"/>
                      <a:pt x="36" y="111"/>
                    </a:cubicBezTo>
                    <a:cubicBezTo>
                      <a:pt x="36" y="111"/>
                      <a:pt x="36" y="111"/>
                      <a:pt x="36" y="111"/>
                    </a:cubicBezTo>
                    <a:cubicBezTo>
                      <a:pt x="35" y="112"/>
                      <a:pt x="35" y="112"/>
                      <a:pt x="35" y="112"/>
                    </a:cubicBezTo>
                    <a:cubicBezTo>
                      <a:pt x="35" y="112"/>
                      <a:pt x="36" y="112"/>
                      <a:pt x="36" y="112"/>
                    </a:cubicBezTo>
                    <a:cubicBezTo>
                      <a:pt x="36" y="112"/>
                      <a:pt x="36" y="112"/>
                      <a:pt x="36" y="112"/>
                    </a:cubicBezTo>
                    <a:cubicBezTo>
                      <a:pt x="36" y="112"/>
                      <a:pt x="36" y="112"/>
                      <a:pt x="37" y="112"/>
                    </a:cubicBezTo>
                    <a:cubicBezTo>
                      <a:pt x="37" y="112"/>
                      <a:pt x="37" y="112"/>
                      <a:pt x="37" y="112"/>
                    </a:cubicBezTo>
                    <a:cubicBezTo>
                      <a:pt x="38" y="112"/>
                      <a:pt x="38" y="112"/>
                      <a:pt x="38" y="112"/>
                    </a:cubicBezTo>
                    <a:cubicBezTo>
                      <a:pt x="38" y="112"/>
                      <a:pt x="38" y="112"/>
                      <a:pt x="38" y="112"/>
                    </a:cubicBezTo>
                    <a:cubicBezTo>
                      <a:pt x="37" y="112"/>
                      <a:pt x="37" y="111"/>
                      <a:pt x="38" y="111"/>
                    </a:cubicBezTo>
                    <a:cubicBezTo>
                      <a:pt x="38" y="111"/>
                      <a:pt x="38" y="111"/>
                      <a:pt x="38" y="111"/>
                    </a:cubicBezTo>
                    <a:cubicBezTo>
                      <a:pt x="38" y="111"/>
                      <a:pt x="38" y="110"/>
                      <a:pt x="38" y="110"/>
                    </a:cubicBezTo>
                    <a:cubicBezTo>
                      <a:pt x="38" y="110"/>
                      <a:pt x="38" y="110"/>
                      <a:pt x="38" y="110"/>
                    </a:cubicBezTo>
                    <a:cubicBezTo>
                      <a:pt x="38" y="110"/>
                      <a:pt x="38" y="110"/>
                      <a:pt x="38" y="110"/>
                    </a:cubicBezTo>
                    <a:cubicBezTo>
                      <a:pt x="38" y="110"/>
                      <a:pt x="38" y="110"/>
                      <a:pt x="38" y="110"/>
                    </a:cubicBezTo>
                    <a:cubicBezTo>
                      <a:pt x="38" y="110"/>
                      <a:pt x="38" y="110"/>
                      <a:pt x="38" y="110"/>
                    </a:cubicBezTo>
                    <a:cubicBezTo>
                      <a:pt x="39" y="110"/>
                      <a:pt x="39" y="109"/>
                      <a:pt x="39" y="109"/>
                    </a:cubicBezTo>
                    <a:cubicBezTo>
                      <a:pt x="39" y="109"/>
                      <a:pt x="39" y="109"/>
                      <a:pt x="39" y="109"/>
                    </a:cubicBezTo>
                    <a:cubicBezTo>
                      <a:pt x="40" y="109"/>
                      <a:pt x="39" y="108"/>
                      <a:pt x="39" y="108"/>
                    </a:cubicBezTo>
                    <a:cubicBezTo>
                      <a:pt x="39" y="107"/>
                      <a:pt x="40" y="107"/>
                      <a:pt x="40" y="107"/>
                    </a:cubicBezTo>
                    <a:cubicBezTo>
                      <a:pt x="40" y="107"/>
                      <a:pt x="40" y="107"/>
                      <a:pt x="40" y="107"/>
                    </a:cubicBezTo>
                    <a:cubicBezTo>
                      <a:pt x="40" y="107"/>
                      <a:pt x="40" y="107"/>
                      <a:pt x="41" y="107"/>
                    </a:cubicBezTo>
                    <a:cubicBezTo>
                      <a:pt x="41" y="107"/>
                      <a:pt x="41" y="107"/>
                      <a:pt x="41" y="107"/>
                    </a:cubicBezTo>
                    <a:cubicBezTo>
                      <a:pt x="41" y="107"/>
                      <a:pt x="41" y="107"/>
                      <a:pt x="41" y="106"/>
                    </a:cubicBezTo>
                    <a:cubicBezTo>
                      <a:pt x="41" y="106"/>
                      <a:pt x="41" y="106"/>
                      <a:pt x="42" y="106"/>
                    </a:cubicBezTo>
                    <a:cubicBezTo>
                      <a:pt x="42" y="106"/>
                      <a:pt x="42" y="106"/>
                      <a:pt x="42" y="106"/>
                    </a:cubicBezTo>
                    <a:cubicBezTo>
                      <a:pt x="42" y="106"/>
                      <a:pt x="42" y="106"/>
                      <a:pt x="42" y="106"/>
                    </a:cubicBezTo>
                    <a:cubicBezTo>
                      <a:pt x="42" y="106"/>
                      <a:pt x="42" y="106"/>
                      <a:pt x="43" y="106"/>
                    </a:cubicBezTo>
                    <a:cubicBezTo>
                      <a:pt x="43" y="106"/>
                      <a:pt x="43" y="106"/>
                      <a:pt x="44" y="106"/>
                    </a:cubicBezTo>
                    <a:cubicBezTo>
                      <a:pt x="44" y="106"/>
                      <a:pt x="44" y="106"/>
                      <a:pt x="44" y="106"/>
                    </a:cubicBezTo>
                    <a:cubicBezTo>
                      <a:pt x="44" y="106"/>
                      <a:pt x="44" y="106"/>
                      <a:pt x="44" y="106"/>
                    </a:cubicBezTo>
                    <a:cubicBezTo>
                      <a:pt x="44" y="107"/>
                      <a:pt x="45" y="107"/>
                      <a:pt x="45" y="108"/>
                    </a:cubicBezTo>
                    <a:cubicBezTo>
                      <a:pt x="45" y="108"/>
                      <a:pt x="46" y="108"/>
                      <a:pt x="46" y="108"/>
                    </a:cubicBezTo>
                    <a:cubicBezTo>
                      <a:pt x="46" y="108"/>
                      <a:pt x="46" y="108"/>
                      <a:pt x="46" y="108"/>
                    </a:cubicBezTo>
                    <a:cubicBezTo>
                      <a:pt x="46" y="108"/>
                      <a:pt x="46" y="108"/>
                      <a:pt x="46" y="108"/>
                    </a:cubicBezTo>
                    <a:cubicBezTo>
                      <a:pt x="46" y="107"/>
                      <a:pt x="46" y="107"/>
                      <a:pt x="46" y="107"/>
                    </a:cubicBezTo>
                    <a:cubicBezTo>
                      <a:pt x="46" y="106"/>
                      <a:pt x="47" y="106"/>
                      <a:pt x="47" y="106"/>
                    </a:cubicBezTo>
                    <a:cubicBezTo>
                      <a:pt x="47" y="106"/>
                      <a:pt x="47" y="106"/>
                      <a:pt x="47" y="106"/>
                    </a:cubicBezTo>
                    <a:cubicBezTo>
                      <a:pt x="47" y="106"/>
                      <a:pt x="47" y="106"/>
                      <a:pt x="47" y="106"/>
                    </a:cubicBezTo>
                    <a:cubicBezTo>
                      <a:pt x="47" y="105"/>
                      <a:pt x="47" y="105"/>
                      <a:pt x="47" y="105"/>
                    </a:cubicBezTo>
                    <a:cubicBezTo>
                      <a:pt x="47" y="105"/>
                      <a:pt x="47" y="105"/>
                      <a:pt x="48" y="105"/>
                    </a:cubicBezTo>
                    <a:cubicBezTo>
                      <a:pt x="48" y="105"/>
                      <a:pt x="48" y="104"/>
                      <a:pt x="48" y="104"/>
                    </a:cubicBezTo>
                    <a:cubicBezTo>
                      <a:pt x="48" y="104"/>
                      <a:pt x="48" y="104"/>
                      <a:pt x="48" y="104"/>
                    </a:cubicBezTo>
                    <a:cubicBezTo>
                      <a:pt x="48" y="104"/>
                      <a:pt x="48" y="104"/>
                      <a:pt x="49" y="104"/>
                    </a:cubicBezTo>
                    <a:cubicBezTo>
                      <a:pt x="49" y="104"/>
                      <a:pt x="49" y="104"/>
                      <a:pt x="49" y="104"/>
                    </a:cubicBezTo>
                    <a:cubicBezTo>
                      <a:pt x="49" y="104"/>
                      <a:pt x="49" y="104"/>
                      <a:pt x="49" y="104"/>
                    </a:cubicBezTo>
                    <a:cubicBezTo>
                      <a:pt x="49" y="103"/>
                      <a:pt x="49" y="103"/>
                      <a:pt x="49" y="103"/>
                    </a:cubicBezTo>
                    <a:close/>
                    <a:moveTo>
                      <a:pt x="34" y="109"/>
                    </a:moveTo>
                    <a:cubicBezTo>
                      <a:pt x="34" y="109"/>
                      <a:pt x="34" y="109"/>
                      <a:pt x="34" y="109"/>
                    </a:cubicBezTo>
                    <a:cubicBezTo>
                      <a:pt x="34" y="109"/>
                      <a:pt x="34" y="109"/>
                      <a:pt x="34" y="109"/>
                    </a:cubicBezTo>
                    <a:cubicBezTo>
                      <a:pt x="34" y="109"/>
                      <a:pt x="34" y="109"/>
                      <a:pt x="34" y="109"/>
                    </a:cubicBezTo>
                    <a:close/>
                    <a:moveTo>
                      <a:pt x="38" y="85"/>
                    </a:moveTo>
                    <a:cubicBezTo>
                      <a:pt x="38" y="85"/>
                      <a:pt x="38" y="85"/>
                      <a:pt x="38" y="85"/>
                    </a:cubicBezTo>
                    <a:cubicBezTo>
                      <a:pt x="38" y="85"/>
                      <a:pt x="38" y="85"/>
                      <a:pt x="38" y="84"/>
                    </a:cubicBezTo>
                    <a:cubicBezTo>
                      <a:pt x="38" y="84"/>
                      <a:pt x="38" y="84"/>
                      <a:pt x="38" y="85"/>
                    </a:cubicBezTo>
                    <a:cubicBezTo>
                      <a:pt x="37" y="85"/>
                      <a:pt x="37" y="85"/>
                      <a:pt x="38" y="85"/>
                    </a:cubicBezTo>
                    <a:cubicBezTo>
                      <a:pt x="38" y="85"/>
                      <a:pt x="38" y="85"/>
                      <a:pt x="38" y="85"/>
                    </a:cubicBezTo>
                    <a:close/>
                    <a:moveTo>
                      <a:pt x="38" y="85"/>
                    </a:moveTo>
                    <a:cubicBezTo>
                      <a:pt x="38" y="85"/>
                      <a:pt x="38" y="85"/>
                      <a:pt x="38" y="85"/>
                    </a:cubicBezTo>
                    <a:cubicBezTo>
                      <a:pt x="39" y="85"/>
                      <a:pt x="39" y="85"/>
                      <a:pt x="39" y="85"/>
                    </a:cubicBezTo>
                    <a:cubicBezTo>
                      <a:pt x="39" y="85"/>
                      <a:pt x="39" y="85"/>
                      <a:pt x="38" y="85"/>
                    </a:cubicBezTo>
                    <a:cubicBezTo>
                      <a:pt x="38" y="85"/>
                      <a:pt x="38" y="85"/>
                      <a:pt x="38" y="85"/>
                    </a:cubicBezTo>
                    <a:close/>
                    <a:moveTo>
                      <a:pt x="40" y="84"/>
                    </a:moveTo>
                    <a:cubicBezTo>
                      <a:pt x="40" y="84"/>
                      <a:pt x="40" y="84"/>
                      <a:pt x="40" y="83"/>
                    </a:cubicBezTo>
                    <a:cubicBezTo>
                      <a:pt x="40" y="83"/>
                      <a:pt x="40" y="83"/>
                      <a:pt x="40" y="83"/>
                    </a:cubicBezTo>
                    <a:cubicBezTo>
                      <a:pt x="39" y="83"/>
                      <a:pt x="39" y="83"/>
                      <a:pt x="39" y="83"/>
                    </a:cubicBezTo>
                    <a:cubicBezTo>
                      <a:pt x="39" y="84"/>
                      <a:pt x="39" y="84"/>
                      <a:pt x="40" y="84"/>
                    </a:cubicBezTo>
                    <a:close/>
                    <a:moveTo>
                      <a:pt x="38" y="85"/>
                    </a:moveTo>
                    <a:cubicBezTo>
                      <a:pt x="38" y="85"/>
                      <a:pt x="38" y="85"/>
                      <a:pt x="38" y="85"/>
                    </a:cubicBezTo>
                    <a:cubicBezTo>
                      <a:pt x="38" y="85"/>
                      <a:pt x="38" y="85"/>
                      <a:pt x="38" y="85"/>
                    </a:cubicBezTo>
                    <a:close/>
                    <a:moveTo>
                      <a:pt x="31" y="111"/>
                    </a:moveTo>
                    <a:cubicBezTo>
                      <a:pt x="31" y="111"/>
                      <a:pt x="31" y="111"/>
                      <a:pt x="31" y="111"/>
                    </a:cubicBezTo>
                    <a:cubicBezTo>
                      <a:pt x="31" y="111"/>
                      <a:pt x="30" y="110"/>
                      <a:pt x="30" y="110"/>
                    </a:cubicBezTo>
                    <a:cubicBezTo>
                      <a:pt x="30" y="110"/>
                      <a:pt x="31" y="110"/>
                      <a:pt x="31" y="110"/>
                    </a:cubicBezTo>
                    <a:cubicBezTo>
                      <a:pt x="31" y="110"/>
                      <a:pt x="31" y="110"/>
                      <a:pt x="31" y="110"/>
                    </a:cubicBezTo>
                    <a:cubicBezTo>
                      <a:pt x="31" y="110"/>
                      <a:pt x="31" y="110"/>
                      <a:pt x="31" y="110"/>
                    </a:cubicBezTo>
                    <a:cubicBezTo>
                      <a:pt x="31" y="110"/>
                      <a:pt x="30" y="110"/>
                      <a:pt x="30" y="110"/>
                    </a:cubicBezTo>
                    <a:cubicBezTo>
                      <a:pt x="30" y="110"/>
                      <a:pt x="30" y="110"/>
                      <a:pt x="30" y="109"/>
                    </a:cubicBezTo>
                    <a:cubicBezTo>
                      <a:pt x="30" y="109"/>
                      <a:pt x="30" y="109"/>
                      <a:pt x="30" y="109"/>
                    </a:cubicBezTo>
                    <a:cubicBezTo>
                      <a:pt x="30" y="109"/>
                      <a:pt x="30" y="109"/>
                      <a:pt x="30" y="109"/>
                    </a:cubicBezTo>
                    <a:cubicBezTo>
                      <a:pt x="30" y="109"/>
                      <a:pt x="30" y="109"/>
                      <a:pt x="30" y="109"/>
                    </a:cubicBezTo>
                    <a:cubicBezTo>
                      <a:pt x="30" y="109"/>
                      <a:pt x="30" y="109"/>
                      <a:pt x="30" y="108"/>
                    </a:cubicBezTo>
                    <a:cubicBezTo>
                      <a:pt x="30" y="108"/>
                      <a:pt x="29" y="108"/>
                      <a:pt x="29" y="108"/>
                    </a:cubicBezTo>
                    <a:cubicBezTo>
                      <a:pt x="29" y="108"/>
                      <a:pt x="29" y="108"/>
                      <a:pt x="28" y="108"/>
                    </a:cubicBezTo>
                    <a:cubicBezTo>
                      <a:pt x="28" y="108"/>
                      <a:pt x="28" y="108"/>
                      <a:pt x="28" y="108"/>
                    </a:cubicBezTo>
                    <a:cubicBezTo>
                      <a:pt x="28" y="108"/>
                      <a:pt x="28" y="108"/>
                      <a:pt x="28" y="108"/>
                    </a:cubicBezTo>
                    <a:cubicBezTo>
                      <a:pt x="28" y="108"/>
                      <a:pt x="28" y="107"/>
                      <a:pt x="28" y="107"/>
                    </a:cubicBezTo>
                    <a:cubicBezTo>
                      <a:pt x="28" y="107"/>
                      <a:pt x="28" y="107"/>
                      <a:pt x="28" y="107"/>
                    </a:cubicBezTo>
                    <a:cubicBezTo>
                      <a:pt x="28" y="107"/>
                      <a:pt x="28" y="107"/>
                      <a:pt x="28" y="107"/>
                    </a:cubicBezTo>
                    <a:cubicBezTo>
                      <a:pt x="28" y="107"/>
                      <a:pt x="28" y="107"/>
                      <a:pt x="28" y="107"/>
                    </a:cubicBezTo>
                    <a:cubicBezTo>
                      <a:pt x="29" y="107"/>
                      <a:pt x="29" y="107"/>
                      <a:pt x="29" y="107"/>
                    </a:cubicBezTo>
                    <a:cubicBezTo>
                      <a:pt x="29" y="107"/>
                      <a:pt x="29" y="107"/>
                      <a:pt x="29" y="106"/>
                    </a:cubicBezTo>
                    <a:cubicBezTo>
                      <a:pt x="29" y="106"/>
                      <a:pt x="29" y="105"/>
                      <a:pt x="29" y="105"/>
                    </a:cubicBezTo>
                    <a:cubicBezTo>
                      <a:pt x="28" y="105"/>
                      <a:pt x="28" y="105"/>
                      <a:pt x="27" y="105"/>
                    </a:cubicBezTo>
                    <a:cubicBezTo>
                      <a:pt x="27" y="105"/>
                      <a:pt x="27" y="106"/>
                      <a:pt x="27" y="106"/>
                    </a:cubicBezTo>
                    <a:cubicBezTo>
                      <a:pt x="26" y="106"/>
                      <a:pt x="26" y="106"/>
                      <a:pt x="26" y="105"/>
                    </a:cubicBezTo>
                    <a:cubicBezTo>
                      <a:pt x="26" y="105"/>
                      <a:pt x="26"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4" y="105"/>
                      <a:pt x="24" y="105"/>
                      <a:pt x="24" y="104"/>
                    </a:cubicBezTo>
                    <a:cubicBezTo>
                      <a:pt x="24" y="104"/>
                      <a:pt x="24" y="104"/>
                      <a:pt x="24" y="104"/>
                    </a:cubicBezTo>
                    <a:cubicBezTo>
                      <a:pt x="24" y="104"/>
                      <a:pt x="24" y="104"/>
                      <a:pt x="24" y="104"/>
                    </a:cubicBezTo>
                    <a:cubicBezTo>
                      <a:pt x="24" y="104"/>
                      <a:pt x="24" y="104"/>
                      <a:pt x="24" y="104"/>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3" y="103"/>
                    </a:cubicBezTo>
                    <a:cubicBezTo>
                      <a:pt x="23" y="103"/>
                      <a:pt x="23" y="103"/>
                      <a:pt x="23" y="103"/>
                    </a:cubicBezTo>
                    <a:cubicBezTo>
                      <a:pt x="23" y="103"/>
                      <a:pt x="23" y="103"/>
                      <a:pt x="23" y="103"/>
                    </a:cubicBezTo>
                    <a:cubicBezTo>
                      <a:pt x="23" y="102"/>
                      <a:pt x="23" y="102"/>
                      <a:pt x="23" y="103"/>
                    </a:cubicBezTo>
                    <a:cubicBezTo>
                      <a:pt x="23" y="103"/>
                      <a:pt x="22" y="103"/>
                      <a:pt x="22" y="103"/>
                    </a:cubicBezTo>
                    <a:cubicBezTo>
                      <a:pt x="22" y="103"/>
                      <a:pt x="22" y="103"/>
                      <a:pt x="22" y="103"/>
                    </a:cubicBezTo>
                    <a:cubicBezTo>
                      <a:pt x="22" y="103"/>
                      <a:pt x="21" y="103"/>
                      <a:pt x="21" y="103"/>
                    </a:cubicBezTo>
                    <a:cubicBezTo>
                      <a:pt x="21" y="103"/>
                      <a:pt x="21" y="103"/>
                      <a:pt x="21" y="103"/>
                    </a:cubicBezTo>
                    <a:cubicBezTo>
                      <a:pt x="20" y="103"/>
                      <a:pt x="20" y="104"/>
                      <a:pt x="21" y="104"/>
                    </a:cubicBezTo>
                    <a:cubicBezTo>
                      <a:pt x="20" y="104"/>
                      <a:pt x="20" y="104"/>
                      <a:pt x="20" y="104"/>
                    </a:cubicBezTo>
                    <a:cubicBezTo>
                      <a:pt x="20" y="104"/>
                      <a:pt x="20" y="104"/>
                      <a:pt x="20" y="105"/>
                    </a:cubicBezTo>
                    <a:cubicBezTo>
                      <a:pt x="20" y="105"/>
                      <a:pt x="20" y="105"/>
                      <a:pt x="19" y="105"/>
                    </a:cubicBezTo>
                    <a:cubicBezTo>
                      <a:pt x="19" y="105"/>
                      <a:pt x="19" y="105"/>
                      <a:pt x="19" y="105"/>
                    </a:cubicBezTo>
                    <a:cubicBezTo>
                      <a:pt x="19" y="105"/>
                      <a:pt x="19" y="105"/>
                      <a:pt x="19" y="105"/>
                    </a:cubicBezTo>
                    <a:cubicBezTo>
                      <a:pt x="18" y="105"/>
                      <a:pt x="18" y="105"/>
                      <a:pt x="18" y="105"/>
                    </a:cubicBezTo>
                    <a:cubicBezTo>
                      <a:pt x="18" y="105"/>
                      <a:pt x="18" y="105"/>
                      <a:pt x="18" y="106"/>
                    </a:cubicBezTo>
                    <a:cubicBezTo>
                      <a:pt x="18" y="106"/>
                      <a:pt x="18" y="106"/>
                      <a:pt x="18" y="106"/>
                    </a:cubicBezTo>
                    <a:cubicBezTo>
                      <a:pt x="18" y="106"/>
                      <a:pt x="18" y="106"/>
                      <a:pt x="18" y="106"/>
                    </a:cubicBezTo>
                    <a:cubicBezTo>
                      <a:pt x="18" y="106"/>
                      <a:pt x="18" y="106"/>
                      <a:pt x="18" y="106"/>
                    </a:cubicBezTo>
                    <a:cubicBezTo>
                      <a:pt x="18" y="106"/>
                      <a:pt x="18" y="106"/>
                      <a:pt x="18" y="106"/>
                    </a:cubicBezTo>
                    <a:cubicBezTo>
                      <a:pt x="18" y="106"/>
                      <a:pt x="18" y="106"/>
                      <a:pt x="18" y="107"/>
                    </a:cubicBezTo>
                    <a:cubicBezTo>
                      <a:pt x="18" y="107"/>
                      <a:pt x="17" y="107"/>
                      <a:pt x="17" y="107"/>
                    </a:cubicBezTo>
                    <a:cubicBezTo>
                      <a:pt x="17" y="106"/>
                      <a:pt x="17" y="106"/>
                      <a:pt x="17" y="106"/>
                    </a:cubicBezTo>
                    <a:cubicBezTo>
                      <a:pt x="17" y="106"/>
                      <a:pt x="17" y="106"/>
                      <a:pt x="17" y="106"/>
                    </a:cubicBezTo>
                    <a:cubicBezTo>
                      <a:pt x="17" y="106"/>
                      <a:pt x="16" y="106"/>
                      <a:pt x="16" y="106"/>
                    </a:cubicBezTo>
                    <a:cubicBezTo>
                      <a:pt x="16" y="106"/>
                      <a:pt x="16" y="106"/>
                      <a:pt x="16" y="106"/>
                    </a:cubicBezTo>
                    <a:cubicBezTo>
                      <a:pt x="16" y="106"/>
                      <a:pt x="16" y="106"/>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8"/>
                      <a:pt x="16" y="108"/>
                    </a:cubicBezTo>
                    <a:cubicBezTo>
                      <a:pt x="16" y="108"/>
                      <a:pt x="16" y="108"/>
                      <a:pt x="16" y="108"/>
                    </a:cubicBezTo>
                    <a:cubicBezTo>
                      <a:pt x="16" y="107"/>
                      <a:pt x="16" y="107"/>
                      <a:pt x="16" y="107"/>
                    </a:cubicBezTo>
                    <a:cubicBezTo>
                      <a:pt x="16" y="107"/>
                      <a:pt x="16" y="107"/>
                      <a:pt x="16" y="107"/>
                    </a:cubicBezTo>
                    <a:cubicBezTo>
                      <a:pt x="16" y="107"/>
                      <a:pt x="16" y="107"/>
                      <a:pt x="16" y="107"/>
                    </a:cubicBezTo>
                    <a:cubicBezTo>
                      <a:pt x="15" y="107"/>
                      <a:pt x="15" y="107"/>
                      <a:pt x="15" y="107"/>
                    </a:cubicBezTo>
                    <a:cubicBezTo>
                      <a:pt x="15" y="107"/>
                      <a:pt x="15" y="107"/>
                      <a:pt x="14" y="107"/>
                    </a:cubicBezTo>
                    <a:cubicBezTo>
                      <a:pt x="14" y="108"/>
                      <a:pt x="15" y="108"/>
                      <a:pt x="14" y="108"/>
                    </a:cubicBezTo>
                    <a:cubicBezTo>
                      <a:pt x="14" y="108"/>
                      <a:pt x="14" y="109"/>
                      <a:pt x="15" y="109"/>
                    </a:cubicBezTo>
                    <a:cubicBezTo>
                      <a:pt x="15" y="109"/>
                      <a:pt x="15" y="109"/>
                      <a:pt x="15" y="109"/>
                    </a:cubicBezTo>
                    <a:cubicBezTo>
                      <a:pt x="15" y="109"/>
                      <a:pt x="15" y="109"/>
                      <a:pt x="15" y="110"/>
                    </a:cubicBezTo>
                    <a:cubicBezTo>
                      <a:pt x="15" y="109"/>
                      <a:pt x="15" y="109"/>
                      <a:pt x="15" y="109"/>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7" y="110"/>
                      <a:pt x="17" y="110"/>
                    </a:cubicBezTo>
                    <a:cubicBezTo>
                      <a:pt x="17" y="110"/>
                      <a:pt x="17" y="110"/>
                      <a:pt x="17" y="110"/>
                    </a:cubicBezTo>
                    <a:cubicBezTo>
                      <a:pt x="17" y="110"/>
                      <a:pt x="17" y="110"/>
                      <a:pt x="17" y="111"/>
                    </a:cubicBezTo>
                    <a:cubicBezTo>
                      <a:pt x="17" y="111"/>
                      <a:pt x="17" y="111"/>
                      <a:pt x="17" y="111"/>
                    </a:cubicBezTo>
                    <a:cubicBezTo>
                      <a:pt x="17" y="111"/>
                      <a:pt x="17" y="111"/>
                      <a:pt x="17" y="111"/>
                    </a:cubicBezTo>
                    <a:cubicBezTo>
                      <a:pt x="17" y="111"/>
                      <a:pt x="17" y="111"/>
                      <a:pt x="17" y="111"/>
                    </a:cubicBezTo>
                    <a:cubicBezTo>
                      <a:pt x="17" y="111"/>
                      <a:pt x="17" y="111"/>
                      <a:pt x="17" y="111"/>
                    </a:cubicBezTo>
                    <a:cubicBezTo>
                      <a:pt x="17" y="111"/>
                      <a:pt x="17" y="111"/>
                      <a:pt x="17" y="112"/>
                    </a:cubicBezTo>
                    <a:cubicBezTo>
                      <a:pt x="17" y="112"/>
                      <a:pt x="17" y="111"/>
                      <a:pt x="17" y="111"/>
                    </a:cubicBezTo>
                    <a:cubicBezTo>
                      <a:pt x="17" y="111"/>
                      <a:pt x="16" y="111"/>
                      <a:pt x="16" y="111"/>
                    </a:cubicBezTo>
                    <a:cubicBezTo>
                      <a:pt x="16" y="111"/>
                      <a:pt x="16" y="111"/>
                      <a:pt x="16" y="111"/>
                    </a:cubicBezTo>
                    <a:cubicBezTo>
                      <a:pt x="16" y="112"/>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5" y="110"/>
                      <a:pt x="15" y="110"/>
                      <a:pt x="15" y="110"/>
                    </a:cubicBezTo>
                    <a:cubicBezTo>
                      <a:pt x="15" y="110"/>
                      <a:pt x="15" y="110"/>
                      <a:pt x="15" y="110"/>
                    </a:cubicBezTo>
                    <a:cubicBezTo>
                      <a:pt x="15" y="110"/>
                      <a:pt x="15" y="110"/>
                      <a:pt x="15" y="110"/>
                    </a:cubicBezTo>
                    <a:cubicBezTo>
                      <a:pt x="15" y="110"/>
                      <a:pt x="15" y="111"/>
                      <a:pt x="15" y="112"/>
                    </a:cubicBezTo>
                    <a:cubicBezTo>
                      <a:pt x="16" y="112"/>
                      <a:pt x="16" y="112"/>
                      <a:pt x="16" y="112"/>
                    </a:cubicBezTo>
                    <a:cubicBezTo>
                      <a:pt x="16" y="112"/>
                      <a:pt x="16" y="112"/>
                      <a:pt x="16" y="112"/>
                    </a:cubicBezTo>
                    <a:cubicBezTo>
                      <a:pt x="16" y="112"/>
                      <a:pt x="16" y="113"/>
                      <a:pt x="16" y="113"/>
                    </a:cubicBezTo>
                    <a:cubicBezTo>
                      <a:pt x="16" y="113"/>
                      <a:pt x="16" y="113"/>
                      <a:pt x="16" y="113"/>
                    </a:cubicBezTo>
                    <a:cubicBezTo>
                      <a:pt x="16" y="113"/>
                      <a:pt x="16" y="113"/>
                      <a:pt x="16" y="114"/>
                    </a:cubicBezTo>
                    <a:cubicBezTo>
                      <a:pt x="16" y="113"/>
                      <a:pt x="17" y="113"/>
                      <a:pt x="17" y="113"/>
                    </a:cubicBezTo>
                    <a:cubicBezTo>
                      <a:pt x="17" y="112"/>
                      <a:pt x="17" y="112"/>
                      <a:pt x="17" y="112"/>
                    </a:cubicBezTo>
                    <a:cubicBezTo>
                      <a:pt x="17" y="112"/>
                      <a:pt x="17" y="112"/>
                      <a:pt x="17" y="112"/>
                    </a:cubicBezTo>
                    <a:cubicBezTo>
                      <a:pt x="17" y="112"/>
                      <a:pt x="17" y="112"/>
                      <a:pt x="18" y="112"/>
                    </a:cubicBezTo>
                    <a:cubicBezTo>
                      <a:pt x="18" y="112"/>
                      <a:pt x="18" y="112"/>
                      <a:pt x="18" y="112"/>
                    </a:cubicBezTo>
                    <a:cubicBezTo>
                      <a:pt x="19" y="112"/>
                      <a:pt x="19" y="112"/>
                      <a:pt x="19" y="112"/>
                    </a:cubicBezTo>
                    <a:cubicBezTo>
                      <a:pt x="19" y="113"/>
                      <a:pt x="19" y="113"/>
                      <a:pt x="19" y="113"/>
                    </a:cubicBezTo>
                    <a:cubicBezTo>
                      <a:pt x="18" y="113"/>
                      <a:pt x="18" y="113"/>
                      <a:pt x="18" y="113"/>
                    </a:cubicBezTo>
                    <a:cubicBezTo>
                      <a:pt x="18" y="113"/>
                      <a:pt x="18" y="113"/>
                      <a:pt x="19" y="113"/>
                    </a:cubicBezTo>
                    <a:cubicBezTo>
                      <a:pt x="19" y="113"/>
                      <a:pt x="19" y="113"/>
                      <a:pt x="19" y="113"/>
                    </a:cubicBezTo>
                    <a:cubicBezTo>
                      <a:pt x="19" y="113"/>
                      <a:pt x="19" y="113"/>
                      <a:pt x="19" y="113"/>
                    </a:cubicBezTo>
                    <a:cubicBezTo>
                      <a:pt x="20" y="113"/>
                      <a:pt x="20" y="113"/>
                      <a:pt x="20" y="112"/>
                    </a:cubicBezTo>
                    <a:cubicBezTo>
                      <a:pt x="20" y="112"/>
                      <a:pt x="20" y="112"/>
                      <a:pt x="20" y="112"/>
                    </a:cubicBezTo>
                    <a:cubicBezTo>
                      <a:pt x="20" y="111"/>
                      <a:pt x="20" y="111"/>
                      <a:pt x="19" y="111"/>
                    </a:cubicBezTo>
                    <a:cubicBezTo>
                      <a:pt x="19" y="111"/>
                      <a:pt x="19" y="111"/>
                      <a:pt x="19" y="111"/>
                    </a:cubicBezTo>
                    <a:cubicBezTo>
                      <a:pt x="19" y="111"/>
                      <a:pt x="19" y="111"/>
                      <a:pt x="19" y="111"/>
                    </a:cubicBezTo>
                    <a:cubicBezTo>
                      <a:pt x="19" y="112"/>
                      <a:pt x="18" y="111"/>
                      <a:pt x="18" y="111"/>
                    </a:cubicBezTo>
                    <a:cubicBezTo>
                      <a:pt x="18" y="111"/>
                      <a:pt x="18" y="111"/>
                      <a:pt x="18" y="111"/>
                    </a:cubicBezTo>
                    <a:cubicBezTo>
                      <a:pt x="19" y="111"/>
                      <a:pt x="19" y="111"/>
                      <a:pt x="19" y="111"/>
                    </a:cubicBezTo>
                    <a:cubicBezTo>
                      <a:pt x="19" y="111"/>
                      <a:pt x="19" y="111"/>
                      <a:pt x="19" y="111"/>
                    </a:cubicBezTo>
                    <a:cubicBezTo>
                      <a:pt x="19" y="111"/>
                      <a:pt x="19" y="110"/>
                      <a:pt x="19" y="110"/>
                    </a:cubicBezTo>
                    <a:cubicBezTo>
                      <a:pt x="19" y="110"/>
                      <a:pt x="19" y="110"/>
                      <a:pt x="18" y="110"/>
                    </a:cubicBezTo>
                    <a:cubicBezTo>
                      <a:pt x="18" y="109"/>
                      <a:pt x="18" y="109"/>
                      <a:pt x="19" y="109"/>
                    </a:cubicBezTo>
                    <a:cubicBezTo>
                      <a:pt x="19" y="109"/>
                      <a:pt x="19" y="109"/>
                      <a:pt x="19" y="108"/>
                    </a:cubicBezTo>
                    <a:cubicBezTo>
                      <a:pt x="19" y="109"/>
                      <a:pt x="19" y="109"/>
                      <a:pt x="19" y="109"/>
                    </a:cubicBezTo>
                    <a:cubicBezTo>
                      <a:pt x="19" y="109"/>
                      <a:pt x="20" y="109"/>
                      <a:pt x="20" y="109"/>
                    </a:cubicBezTo>
                    <a:cubicBezTo>
                      <a:pt x="20" y="109"/>
                      <a:pt x="20" y="109"/>
                      <a:pt x="20" y="109"/>
                    </a:cubicBezTo>
                    <a:cubicBezTo>
                      <a:pt x="20" y="109"/>
                      <a:pt x="20" y="109"/>
                      <a:pt x="20" y="109"/>
                    </a:cubicBezTo>
                    <a:cubicBezTo>
                      <a:pt x="20" y="109"/>
                      <a:pt x="20" y="109"/>
                      <a:pt x="20" y="109"/>
                    </a:cubicBezTo>
                    <a:cubicBezTo>
                      <a:pt x="20" y="109"/>
                      <a:pt x="20" y="109"/>
                      <a:pt x="20" y="109"/>
                    </a:cubicBezTo>
                    <a:cubicBezTo>
                      <a:pt x="20" y="109"/>
                      <a:pt x="20" y="110"/>
                      <a:pt x="20" y="110"/>
                    </a:cubicBezTo>
                    <a:cubicBezTo>
                      <a:pt x="20" y="110"/>
                      <a:pt x="20" y="110"/>
                      <a:pt x="20" y="110"/>
                    </a:cubicBezTo>
                    <a:cubicBezTo>
                      <a:pt x="20" y="110"/>
                      <a:pt x="20" y="110"/>
                      <a:pt x="20" y="110"/>
                    </a:cubicBezTo>
                    <a:cubicBezTo>
                      <a:pt x="20" y="110"/>
                      <a:pt x="20" y="110"/>
                      <a:pt x="20" y="110"/>
                    </a:cubicBezTo>
                    <a:cubicBezTo>
                      <a:pt x="20" y="110"/>
                      <a:pt x="20" y="110"/>
                      <a:pt x="20" y="111"/>
                    </a:cubicBezTo>
                    <a:cubicBezTo>
                      <a:pt x="20" y="111"/>
                      <a:pt x="21" y="111"/>
                      <a:pt x="21" y="111"/>
                    </a:cubicBezTo>
                    <a:cubicBezTo>
                      <a:pt x="21" y="111"/>
                      <a:pt x="21" y="111"/>
                      <a:pt x="21" y="111"/>
                    </a:cubicBezTo>
                    <a:cubicBezTo>
                      <a:pt x="22" y="112"/>
                      <a:pt x="22" y="112"/>
                      <a:pt x="21" y="113"/>
                    </a:cubicBezTo>
                    <a:cubicBezTo>
                      <a:pt x="21" y="113"/>
                      <a:pt x="21" y="113"/>
                      <a:pt x="20" y="113"/>
                    </a:cubicBezTo>
                    <a:cubicBezTo>
                      <a:pt x="20" y="113"/>
                      <a:pt x="20" y="113"/>
                      <a:pt x="20" y="113"/>
                    </a:cubicBezTo>
                    <a:cubicBezTo>
                      <a:pt x="20" y="114"/>
                      <a:pt x="20" y="114"/>
                      <a:pt x="20" y="114"/>
                    </a:cubicBezTo>
                    <a:cubicBezTo>
                      <a:pt x="20" y="114"/>
                      <a:pt x="20" y="114"/>
                      <a:pt x="20" y="114"/>
                    </a:cubicBezTo>
                    <a:cubicBezTo>
                      <a:pt x="21" y="114"/>
                      <a:pt x="20" y="114"/>
                      <a:pt x="20" y="114"/>
                    </a:cubicBezTo>
                    <a:cubicBezTo>
                      <a:pt x="20" y="113"/>
                      <a:pt x="20" y="113"/>
                      <a:pt x="20" y="113"/>
                    </a:cubicBezTo>
                    <a:cubicBezTo>
                      <a:pt x="20" y="113"/>
                      <a:pt x="21" y="113"/>
                      <a:pt x="21" y="113"/>
                    </a:cubicBezTo>
                    <a:cubicBezTo>
                      <a:pt x="21" y="113"/>
                      <a:pt x="21" y="114"/>
                      <a:pt x="21" y="114"/>
                    </a:cubicBezTo>
                    <a:cubicBezTo>
                      <a:pt x="21" y="114"/>
                      <a:pt x="21" y="114"/>
                      <a:pt x="21" y="114"/>
                    </a:cubicBezTo>
                    <a:cubicBezTo>
                      <a:pt x="21" y="113"/>
                      <a:pt x="21" y="113"/>
                      <a:pt x="22" y="113"/>
                    </a:cubicBezTo>
                    <a:cubicBezTo>
                      <a:pt x="22" y="113"/>
                      <a:pt x="22" y="113"/>
                      <a:pt x="22" y="113"/>
                    </a:cubicBezTo>
                    <a:cubicBezTo>
                      <a:pt x="21" y="114"/>
                      <a:pt x="21" y="114"/>
                      <a:pt x="21" y="114"/>
                    </a:cubicBezTo>
                    <a:cubicBezTo>
                      <a:pt x="21" y="114"/>
                      <a:pt x="21" y="114"/>
                      <a:pt x="21" y="115"/>
                    </a:cubicBezTo>
                    <a:cubicBezTo>
                      <a:pt x="21" y="115"/>
                      <a:pt x="21" y="115"/>
                      <a:pt x="21" y="115"/>
                    </a:cubicBezTo>
                    <a:cubicBezTo>
                      <a:pt x="21" y="115"/>
                      <a:pt x="21" y="115"/>
                      <a:pt x="21" y="115"/>
                    </a:cubicBezTo>
                    <a:cubicBezTo>
                      <a:pt x="21" y="115"/>
                      <a:pt x="21" y="115"/>
                      <a:pt x="21" y="116"/>
                    </a:cubicBezTo>
                    <a:cubicBezTo>
                      <a:pt x="21" y="116"/>
                      <a:pt x="21" y="116"/>
                      <a:pt x="20" y="116"/>
                    </a:cubicBezTo>
                    <a:cubicBezTo>
                      <a:pt x="20" y="116"/>
                      <a:pt x="20" y="116"/>
                      <a:pt x="20" y="116"/>
                    </a:cubicBezTo>
                    <a:cubicBezTo>
                      <a:pt x="20" y="117"/>
                      <a:pt x="20" y="117"/>
                      <a:pt x="20" y="117"/>
                    </a:cubicBezTo>
                    <a:cubicBezTo>
                      <a:pt x="20" y="117"/>
                      <a:pt x="20" y="117"/>
                      <a:pt x="20" y="117"/>
                    </a:cubicBezTo>
                    <a:cubicBezTo>
                      <a:pt x="20" y="117"/>
                      <a:pt x="20" y="117"/>
                      <a:pt x="19" y="117"/>
                    </a:cubicBezTo>
                    <a:cubicBezTo>
                      <a:pt x="19" y="117"/>
                      <a:pt x="19" y="117"/>
                      <a:pt x="19" y="117"/>
                    </a:cubicBezTo>
                    <a:cubicBezTo>
                      <a:pt x="19" y="117"/>
                      <a:pt x="19" y="117"/>
                      <a:pt x="19" y="117"/>
                    </a:cubicBezTo>
                    <a:cubicBezTo>
                      <a:pt x="19" y="117"/>
                      <a:pt x="19" y="117"/>
                      <a:pt x="19" y="117"/>
                    </a:cubicBezTo>
                    <a:cubicBezTo>
                      <a:pt x="19" y="116"/>
                      <a:pt x="18" y="116"/>
                      <a:pt x="18" y="117"/>
                    </a:cubicBezTo>
                    <a:cubicBezTo>
                      <a:pt x="18" y="117"/>
                      <a:pt x="18" y="117"/>
                      <a:pt x="18" y="117"/>
                    </a:cubicBezTo>
                    <a:cubicBezTo>
                      <a:pt x="19" y="117"/>
                      <a:pt x="19" y="118"/>
                      <a:pt x="19" y="118"/>
                    </a:cubicBezTo>
                    <a:cubicBezTo>
                      <a:pt x="19" y="118"/>
                      <a:pt x="19" y="118"/>
                      <a:pt x="19" y="118"/>
                    </a:cubicBezTo>
                    <a:cubicBezTo>
                      <a:pt x="19" y="119"/>
                      <a:pt x="19" y="119"/>
                      <a:pt x="19" y="119"/>
                    </a:cubicBezTo>
                    <a:cubicBezTo>
                      <a:pt x="19" y="119"/>
                      <a:pt x="19" y="120"/>
                      <a:pt x="19" y="120"/>
                    </a:cubicBezTo>
                    <a:cubicBezTo>
                      <a:pt x="18" y="120"/>
                      <a:pt x="19" y="120"/>
                      <a:pt x="19" y="120"/>
                    </a:cubicBezTo>
                    <a:cubicBezTo>
                      <a:pt x="19" y="120"/>
                      <a:pt x="19" y="120"/>
                      <a:pt x="19" y="121"/>
                    </a:cubicBezTo>
                    <a:cubicBezTo>
                      <a:pt x="19" y="121"/>
                      <a:pt x="19" y="121"/>
                      <a:pt x="19" y="121"/>
                    </a:cubicBezTo>
                    <a:cubicBezTo>
                      <a:pt x="19" y="121"/>
                      <a:pt x="20" y="121"/>
                      <a:pt x="20" y="121"/>
                    </a:cubicBezTo>
                    <a:cubicBezTo>
                      <a:pt x="20" y="122"/>
                      <a:pt x="20" y="122"/>
                      <a:pt x="19" y="122"/>
                    </a:cubicBezTo>
                    <a:cubicBezTo>
                      <a:pt x="19" y="123"/>
                      <a:pt x="19" y="123"/>
                      <a:pt x="19" y="123"/>
                    </a:cubicBezTo>
                    <a:cubicBezTo>
                      <a:pt x="18" y="123"/>
                      <a:pt x="18" y="123"/>
                      <a:pt x="18" y="123"/>
                    </a:cubicBezTo>
                    <a:cubicBezTo>
                      <a:pt x="18" y="123"/>
                      <a:pt x="18" y="123"/>
                      <a:pt x="18" y="123"/>
                    </a:cubicBezTo>
                    <a:cubicBezTo>
                      <a:pt x="19" y="123"/>
                      <a:pt x="19" y="124"/>
                      <a:pt x="19" y="124"/>
                    </a:cubicBezTo>
                    <a:cubicBezTo>
                      <a:pt x="19" y="124"/>
                      <a:pt x="19" y="124"/>
                      <a:pt x="19" y="124"/>
                    </a:cubicBezTo>
                    <a:cubicBezTo>
                      <a:pt x="19" y="124"/>
                      <a:pt x="20" y="124"/>
                      <a:pt x="20" y="124"/>
                    </a:cubicBezTo>
                    <a:cubicBezTo>
                      <a:pt x="21" y="124"/>
                      <a:pt x="21" y="124"/>
                      <a:pt x="21" y="125"/>
                    </a:cubicBezTo>
                    <a:cubicBezTo>
                      <a:pt x="21" y="125"/>
                      <a:pt x="21" y="125"/>
                      <a:pt x="21" y="125"/>
                    </a:cubicBezTo>
                    <a:cubicBezTo>
                      <a:pt x="21" y="125"/>
                      <a:pt x="22" y="125"/>
                      <a:pt x="22" y="124"/>
                    </a:cubicBezTo>
                    <a:cubicBezTo>
                      <a:pt x="22" y="124"/>
                      <a:pt x="22" y="124"/>
                      <a:pt x="22" y="124"/>
                    </a:cubicBezTo>
                    <a:cubicBezTo>
                      <a:pt x="21" y="124"/>
                      <a:pt x="21" y="124"/>
                      <a:pt x="21" y="123"/>
                    </a:cubicBezTo>
                    <a:cubicBezTo>
                      <a:pt x="21" y="123"/>
                      <a:pt x="21" y="123"/>
                      <a:pt x="21" y="123"/>
                    </a:cubicBezTo>
                    <a:cubicBezTo>
                      <a:pt x="21" y="123"/>
                      <a:pt x="21" y="123"/>
                      <a:pt x="21" y="123"/>
                    </a:cubicBezTo>
                    <a:cubicBezTo>
                      <a:pt x="21" y="122"/>
                      <a:pt x="21" y="122"/>
                      <a:pt x="21" y="122"/>
                    </a:cubicBezTo>
                    <a:cubicBezTo>
                      <a:pt x="21" y="122"/>
                      <a:pt x="21" y="122"/>
                      <a:pt x="21" y="122"/>
                    </a:cubicBezTo>
                    <a:cubicBezTo>
                      <a:pt x="21" y="122"/>
                      <a:pt x="21" y="122"/>
                      <a:pt x="21" y="122"/>
                    </a:cubicBezTo>
                    <a:cubicBezTo>
                      <a:pt x="21" y="122"/>
                      <a:pt x="21" y="122"/>
                      <a:pt x="21" y="122"/>
                    </a:cubicBezTo>
                    <a:cubicBezTo>
                      <a:pt x="21" y="121"/>
                      <a:pt x="22" y="121"/>
                      <a:pt x="22" y="121"/>
                    </a:cubicBezTo>
                    <a:cubicBezTo>
                      <a:pt x="22" y="121"/>
                      <a:pt x="22" y="120"/>
                      <a:pt x="22" y="120"/>
                    </a:cubicBezTo>
                    <a:cubicBezTo>
                      <a:pt x="22" y="121"/>
                      <a:pt x="22" y="121"/>
                      <a:pt x="22" y="121"/>
                    </a:cubicBezTo>
                    <a:cubicBezTo>
                      <a:pt x="22" y="121"/>
                      <a:pt x="23" y="121"/>
                      <a:pt x="23" y="121"/>
                    </a:cubicBezTo>
                    <a:cubicBezTo>
                      <a:pt x="23" y="121"/>
                      <a:pt x="23" y="121"/>
                      <a:pt x="23" y="121"/>
                    </a:cubicBezTo>
                    <a:cubicBezTo>
                      <a:pt x="23" y="121"/>
                      <a:pt x="23" y="121"/>
                      <a:pt x="23" y="122"/>
                    </a:cubicBezTo>
                    <a:cubicBezTo>
                      <a:pt x="23" y="122"/>
                      <a:pt x="23" y="122"/>
                      <a:pt x="22" y="122"/>
                    </a:cubicBezTo>
                    <a:cubicBezTo>
                      <a:pt x="22" y="122"/>
                      <a:pt x="22" y="122"/>
                      <a:pt x="22" y="122"/>
                    </a:cubicBezTo>
                    <a:cubicBezTo>
                      <a:pt x="22" y="121"/>
                      <a:pt x="22" y="121"/>
                      <a:pt x="22" y="121"/>
                    </a:cubicBezTo>
                    <a:cubicBezTo>
                      <a:pt x="22" y="121"/>
                      <a:pt x="21" y="121"/>
                      <a:pt x="21" y="122"/>
                    </a:cubicBezTo>
                    <a:cubicBezTo>
                      <a:pt x="21" y="122"/>
                      <a:pt x="22" y="122"/>
                      <a:pt x="22" y="122"/>
                    </a:cubicBezTo>
                    <a:cubicBezTo>
                      <a:pt x="22" y="122"/>
                      <a:pt x="22" y="122"/>
                      <a:pt x="22" y="122"/>
                    </a:cubicBezTo>
                    <a:cubicBezTo>
                      <a:pt x="22" y="122"/>
                      <a:pt x="22" y="123"/>
                      <a:pt x="22" y="123"/>
                    </a:cubicBezTo>
                    <a:cubicBezTo>
                      <a:pt x="23" y="123"/>
                      <a:pt x="23" y="123"/>
                      <a:pt x="23" y="124"/>
                    </a:cubicBezTo>
                    <a:cubicBezTo>
                      <a:pt x="23" y="124"/>
                      <a:pt x="23" y="125"/>
                      <a:pt x="22" y="126"/>
                    </a:cubicBezTo>
                    <a:cubicBezTo>
                      <a:pt x="22" y="126"/>
                      <a:pt x="22" y="126"/>
                      <a:pt x="22" y="126"/>
                    </a:cubicBezTo>
                    <a:cubicBezTo>
                      <a:pt x="22" y="126"/>
                      <a:pt x="22" y="126"/>
                      <a:pt x="22" y="126"/>
                    </a:cubicBezTo>
                    <a:cubicBezTo>
                      <a:pt x="22" y="126"/>
                      <a:pt x="23" y="126"/>
                      <a:pt x="23" y="126"/>
                    </a:cubicBezTo>
                    <a:cubicBezTo>
                      <a:pt x="23" y="126"/>
                      <a:pt x="23" y="126"/>
                      <a:pt x="23" y="126"/>
                    </a:cubicBezTo>
                    <a:cubicBezTo>
                      <a:pt x="24" y="125"/>
                      <a:pt x="24" y="125"/>
                      <a:pt x="24" y="125"/>
                    </a:cubicBezTo>
                    <a:cubicBezTo>
                      <a:pt x="24" y="125"/>
                      <a:pt x="24" y="124"/>
                      <a:pt x="25" y="124"/>
                    </a:cubicBezTo>
                    <a:cubicBezTo>
                      <a:pt x="25" y="124"/>
                      <a:pt x="25" y="124"/>
                      <a:pt x="25" y="124"/>
                    </a:cubicBezTo>
                    <a:cubicBezTo>
                      <a:pt x="25" y="124"/>
                      <a:pt x="25" y="124"/>
                      <a:pt x="25" y="124"/>
                    </a:cubicBezTo>
                    <a:cubicBezTo>
                      <a:pt x="25" y="124"/>
                      <a:pt x="25" y="124"/>
                      <a:pt x="25" y="124"/>
                    </a:cubicBezTo>
                    <a:cubicBezTo>
                      <a:pt x="24" y="123"/>
                      <a:pt x="24" y="124"/>
                      <a:pt x="24" y="123"/>
                    </a:cubicBezTo>
                    <a:cubicBezTo>
                      <a:pt x="24" y="123"/>
                      <a:pt x="25" y="123"/>
                      <a:pt x="25" y="123"/>
                    </a:cubicBezTo>
                    <a:cubicBezTo>
                      <a:pt x="25" y="123"/>
                      <a:pt x="25" y="123"/>
                      <a:pt x="25" y="123"/>
                    </a:cubicBezTo>
                    <a:cubicBezTo>
                      <a:pt x="25" y="123"/>
                      <a:pt x="26" y="123"/>
                      <a:pt x="26" y="123"/>
                    </a:cubicBezTo>
                    <a:cubicBezTo>
                      <a:pt x="26" y="123"/>
                      <a:pt x="26" y="123"/>
                      <a:pt x="26" y="123"/>
                    </a:cubicBezTo>
                    <a:cubicBezTo>
                      <a:pt x="26" y="123"/>
                      <a:pt x="26" y="123"/>
                      <a:pt x="26" y="123"/>
                    </a:cubicBezTo>
                    <a:cubicBezTo>
                      <a:pt x="27" y="123"/>
                      <a:pt x="27" y="123"/>
                      <a:pt x="27" y="123"/>
                    </a:cubicBezTo>
                    <a:cubicBezTo>
                      <a:pt x="27" y="122"/>
                      <a:pt x="27" y="122"/>
                      <a:pt x="27" y="122"/>
                    </a:cubicBezTo>
                    <a:cubicBezTo>
                      <a:pt x="27" y="121"/>
                      <a:pt x="27" y="121"/>
                      <a:pt x="27" y="121"/>
                    </a:cubicBezTo>
                    <a:cubicBezTo>
                      <a:pt x="27" y="120"/>
                      <a:pt x="28" y="120"/>
                      <a:pt x="27" y="120"/>
                    </a:cubicBezTo>
                    <a:cubicBezTo>
                      <a:pt x="27" y="120"/>
                      <a:pt x="27" y="119"/>
                      <a:pt x="27" y="119"/>
                    </a:cubicBezTo>
                    <a:cubicBezTo>
                      <a:pt x="27" y="119"/>
                      <a:pt x="28" y="119"/>
                      <a:pt x="28" y="118"/>
                    </a:cubicBezTo>
                    <a:cubicBezTo>
                      <a:pt x="28" y="118"/>
                      <a:pt x="27" y="118"/>
                      <a:pt x="27" y="118"/>
                    </a:cubicBezTo>
                    <a:cubicBezTo>
                      <a:pt x="28" y="118"/>
                      <a:pt x="28" y="118"/>
                      <a:pt x="28" y="117"/>
                    </a:cubicBezTo>
                    <a:cubicBezTo>
                      <a:pt x="28" y="117"/>
                      <a:pt x="28" y="116"/>
                      <a:pt x="28" y="116"/>
                    </a:cubicBezTo>
                    <a:cubicBezTo>
                      <a:pt x="28" y="116"/>
                      <a:pt x="28" y="116"/>
                      <a:pt x="28" y="115"/>
                    </a:cubicBezTo>
                    <a:cubicBezTo>
                      <a:pt x="28" y="115"/>
                      <a:pt x="28" y="115"/>
                      <a:pt x="28" y="115"/>
                    </a:cubicBezTo>
                    <a:cubicBezTo>
                      <a:pt x="28" y="115"/>
                      <a:pt x="29" y="115"/>
                      <a:pt x="29" y="115"/>
                    </a:cubicBezTo>
                    <a:cubicBezTo>
                      <a:pt x="29" y="115"/>
                      <a:pt x="29" y="115"/>
                      <a:pt x="29" y="114"/>
                    </a:cubicBezTo>
                    <a:cubicBezTo>
                      <a:pt x="29" y="114"/>
                      <a:pt x="29" y="114"/>
                      <a:pt x="29" y="114"/>
                    </a:cubicBezTo>
                    <a:cubicBezTo>
                      <a:pt x="29" y="114"/>
                      <a:pt x="29" y="114"/>
                      <a:pt x="29" y="114"/>
                    </a:cubicBezTo>
                    <a:cubicBezTo>
                      <a:pt x="29" y="114"/>
                      <a:pt x="29" y="114"/>
                      <a:pt x="29" y="114"/>
                    </a:cubicBezTo>
                    <a:cubicBezTo>
                      <a:pt x="29" y="114"/>
                      <a:pt x="29" y="113"/>
                      <a:pt x="29" y="113"/>
                    </a:cubicBezTo>
                    <a:cubicBezTo>
                      <a:pt x="30" y="113"/>
                      <a:pt x="30" y="113"/>
                      <a:pt x="30" y="112"/>
                    </a:cubicBezTo>
                    <a:cubicBezTo>
                      <a:pt x="30" y="112"/>
                      <a:pt x="30" y="112"/>
                      <a:pt x="30" y="112"/>
                    </a:cubicBezTo>
                    <a:cubicBezTo>
                      <a:pt x="30" y="112"/>
                      <a:pt x="30" y="112"/>
                      <a:pt x="30" y="112"/>
                    </a:cubicBezTo>
                    <a:cubicBezTo>
                      <a:pt x="31" y="112"/>
                      <a:pt x="31" y="112"/>
                      <a:pt x="31" y="112"/>
                    </a:cubicBezTo>
                    <a:cubicBezTo>
                      <a:pt x="31" y="112"/>
                      <a:pt x="31" y="112"/>
                      <a:pt x="31" y="112"/>
                    </a:cubicBezTo>
                    <a:cubicBezTo>
                      <a:pt x="31" y="111"/>
                      <a:pt x="31" y="111"/>
                      <a:pt x="31" y="111"/>
                    </a:cubicBezTo>
                    <a:close/>
                    <a:moveTo>
                      <a:pt x="73" y="70"/>
                    </a:moveTo>
                    <a:cubicBezTo>
                      <a:pt x="73" y="70"/>
                      <a:pt x="74" y="70"/>
                      <a:pt x="74" y="70"/>
                    </a:cubicBezTo>
                    <a:cubicBezTo>
                      <a:pt x="74" y="70"/>
                      <a:pt x="74" y="70"/>
                      <a:pt x="74" y="70"/>
                    </a:cubicBezTo>
                    <a:cubicBezTo>
                      <a:pt x="74" y="70"/>
                      <a:pt x="75" y="70"/>
                      <a:pt x="75" y="69"/>
                    </a:cubicBezTo>
                    <a:cubicBezTo>
                      <a:pt x="75" y="69"/>
                      <a:pt x="75" y="69"/>
                      <a:pt x="76" y="68"/>
                    </a:cubicBezTo>
                    <a:cubicBezTo>
                      <a:pt x="76" y="68"/>
                      <a:pt x="76" y="68"/>
                      <a:pt x="76" y="68"/>
                    </a:cubicBezTo>
                    <a:cubicBezTo>
                      <a:pt x="75" y="68"/>
                      <a:pt x="75" y="68"/>
                      <a:pt x="75" y="68"/>
                    </a:cubicBezTo>
                    <a:cubicBezTo>
                      <a:pt x="75" y="68"/>
                      <a:pt x="75" y="68"/>
                      <a:pt x="75" y="68"/>
                    </a:cubicBezTo>
                    <a:cubicBezTo>
                      <a:pt x="75" y="68"/>
                      <a:pt x="75" y="68"/>
                      <a:pt x="75" y="67"/>
                    </a:cubicBezTo>
                    <a:cubicBezTo>
                      <a:pt x="75" y="67"/>
                      <a:pt x="75" y="67"/>
                      <a:pt x="75" y="67"/>
                    </a:cubicBezTo>
                    <a:cubicBezTo>
                      <a:pt x="75" y="67"/>
                      <a:pt x="75" y="66"/>
                      <a:pt x="75" y="66"/>
                    </a:cubicBezTo>
                    <a:cubicBezTo>
                      <a:pt x="75" y="66"/>
                      <a:pt x="75" y="66"/>
                      <a:pt x="75" y="66"/>
                    </a:cubicBezTo>
                    <a:cubicBezTo>
                      <a:pt x="75" y="66"/>
                      <a:pt x="75" y="66"/>
                      <a:pt x="75" y="66"/>
                    </a:cubicBezTo>
                    <a:cubicBezTo>
                      <a:pt x="75" y="66"/>
                      <a:pt x="75" y="66"/>
                      <a:pt x="75" y="66"/>
                    </a:cubicBezTo>
                    <a:cubicBezTo>
                      <a:pt x="74" y="67"/>
                      <a:pt x="74" y="67"/>
                      <a:pt x="74" y="68"/>
                    </a:cubicBezTo>
                    <a:cubicBezTo>
                      <a:pt x="73" y="68"/>
                      <a:pt x="73" y="68"/>
                      <a:pt x="73" y="68"/>
                    </a:cubicBezTo>
                    <a:cubicBezTo>
                      <a:pt x="73" y="69"/>
                      <a:pt x="73" y="69"/>
                      <a:pt x="73" y="69"/>
                    </a:cubicBezTo>
                    <a:cubicBezTo>
                      <a:pt x="74" y="69"/>
                      <a:pt x="74" y="69"/>
                      <a:pt x="74" y="69"/>
                    </a:cubicBezTo>
                    <a:cubicBezTo>
                      <a:pt x="74" y="68"/>
                      <a:pt x="74" y="69"/>
                      <a:pt x="74" y="69"/>
                    </a:cubicBezTo>
                    <a:cubicBezTo>
                      <a:pt x="74" y="69"/>
                      <a:pt x="74" y="69"/>
                      <a:pt x="74" y="69"/>
                    </a:cubicBezTo>
                    <a:cubicBezTo>
                      <a:pt x="74" y="69"/>
                      <a:pt x="74" y="70"/>
                      <a:pt x="73" y="70"/>
                    </a:cubicBezTo>
                    <a:close/>
                    <a:moveTo>
                      <a:pt x="12" y="110"/>
                    </a:moveTo>
                    <a:cubicBezTo>
                      <a:pt x="11" y="110"/>
                      <a:pt x="11" y="110"/>
                      <a:pt x="11" y="110"/>
                    </a:cubicBezTo>
                    <a:cubicBezTo>
                      <a:pt x="11" y="110"/>
                      <a:pt x="11" y="110"/>
                      <a:pt x="11" y="109"/>
                    </a:cubicBezTo>
                    <a:cubicBezTo>
                      <a:pt x="11" y="109"/>
                      <a:pt x="11" y="110"/>
                      <a:pt x="11" y="110"/>
                    </a:cubicBezTo>
                    <a:cubicBezTo>
                      <a:pt x="11" y="110"/>
                      <a:pt x="11" y="110"/>
                      <a:pt x="11" y="110"/>
                    </a:cubicBezTo>
                    <a:cubicBezTo>
                      <a:pt x="11" y="110"/>
                      <a:pt x="11" y="110"/>
                      <a:pt x="11" y="110"/>
                    </a:cubicBezTo>
                    <a:cubicBezTo>
                      <a:pt x="11" y="110"/>
                      <a:pt x="11" y="111"/>
                      <a:pt x="11" y="111"/>
                    </a:cubicBezTo>
                    <a:cubicBezTo>
                      <a:pt x="11" y="111"/>
                      <a:pt x="11" y="111"/>
                      <a:pt x="11" y="112"/>
                    </a:cubicBezTo>
                    <a:cubicBezTo>
                      <a:pt x="11" y="111"/>
                      <a:pt x="11" y="111"/>
                      <a:pt x="11" y="111"/>
                    </a:cubicBezTo>
                    <a:cubicBezTo>
                      <a:pt x="11" y="111"/>
                      <a:pt x="11" y="111"/>
                      <a:pt x="11" y="111"/>
                    </a:cubicBezTo>
                    <a:cubicBezTo>
                      <a:pt x="12" y="111"/>
                      <a:pt x="12" y="111"/>
                      <a:pt x="12" y="110"/>
                    </a:cubicBezTo>
                    <a:cubicBezTo>
                      <a:pt x="12" y="110"/>
                      <a:pt x="12" y="110"/>
                      <a:pt x="12" y="110"/>
                    </a:cubicBezTo>
                    <a:close/>
                    <a:moveTo>
                      <a:pt x="14" y="107"/>
                    </a:moveTo>
                    <a:cubicBezTo>
                      <a:pt x="14" y="107"/>
                      <a:pt x="14" y="107"/>
                      <a:pt x="14" y="107"/>
                    </a:cubicBezTo>
                    <a:cubicBezTo>
                      <a:pt x="14" y="107"/>
                      <a:pt x="14" y="107"/>
                      <a:pt x="14" y="107"/>
                    </a:cubicBezTo>
                    <a:cubicBezTo>
                      <a:pt x="14" y="107"/>
                      <a:pt x="14" y="107"/>
                      <a:pt x="14" y="107"/>
                    </a:cubicBezTo>
                    <a:cubicBezTo>
                      <a:pt x="14" y="107"/>
                      <a:pt x="14" y="107"/>
                      <a:pt x="14" y="108"/>
                    </a:cubicBezTo>
                    <a:cubicBezTo>
                      <a:pt x="14" y="108"/>
                      <a:pt x="13" y="108"/>
                      <a:pt x="13" y="108"/>
                    </a:cubicBezTo>
                    <a:cubicBezTo>
                      <a:pt x="13" y="109"/>
                      <a:pt x="13" y="109"/>
                      <a:pt x="13" y="109"/>
                    </a:cubicBezTo>
                    <a:cubicBezTo>
                      <a:pt x="13" y="109"/>
                      <a:pt x="13" y="109"/>
                      <a:pt x="14" y="109"/>
                    </a:cubicBezTo>
                    <a:cubicBezTo>
                      <a:pt x="14" y="109"/>
                      <a:pt x="14" y="108"/>
                      <a:pt x="14" y="108"/>
                    </a:cubicBezTo>
                    <a:cubicBezTo>
                      <a:pt x="14" y="108"/>
                      <a:pt x="14" y="108"/>
                      <a:pt x="14" y="108"/>
                    </a:cubicBezTo>
                    <a:cubicBezTo>
                      <a:pt x="14" y="108"/>
                      <a:pt x="14" y="107"/>
                      <a:pt x="14" y="107"/>
                    </a:cubicBezTo>
                    <a:cubicBezTo>
                      <a:pt x="14" y="107"/>
                      <a:pt x="14" y="107"/>
                      <a:pt x="14" y="107"/>
                    </a:cubicBezTo>
                    <a:close/>
                    <a:moveTo>
                      <a:pt x="15" y="110"/>
                    </a:moveTo>
                    <a:cubicBezTo>
                      <a:pt x="15" y="110"/>
                      <a:pt x="15" y="110"/>
                      <a:pt x="15" y="110"/>
                    </a:cubicBezTo>
                    <a:cubicBezTo>
                      <a:pt x="15" y="110"/>
                      <a:pt x="15" y="110"/>
                      <a:pt x="15" y="110"/>
                    </a:cubicBezTo>
                    <a:cubicBezTo>
                      <a:pt x="15" y="110"/>
                      <a:pt x="15" y="110"/>
                      <a:pt x="15" y="110"/>
                    </a:cubicBezTo>
                    <a:close/>
                    <a:moveTo>
                      <a:pt x="14" y="109"/>
                    </a:moveTo>
                    <a:cubicBezTo>
                      <a:pt x="14" y="109"/>
                      <a:pt x="14" y="109"/>
                      <a:pt x="14" y="109"/>
                    </a:cubicBezTo>
                    <a:cubicBezTo>
                      <a:pt x="14" y="109"/>
                      <a:pt x="14" y="109"/>
                      <a:pt x="14" y="109"/>
                    </a:cubicBezTo>
                    <a:cubicBezTo>
                      <a:pt x="14" y="109"/>
                      <a:pt x="14" y="109"/>
                      <a:pt x="14" y="109"/>
                    </a:cubicBezTo>
                    <a:cubicBezTo>
                      <a:pt x="14" y="109"/>
                      <a:pt x="14" y="109"/>
                      <a:pt x="14" y="109"/>
                    </a:cubicBezTo>
                    <a:close/>
                    <a:moveTo>
                      <a:pt x="10" y="111"/>
                    </a:moveTo>
                    <a:cubicBezTo>
                      <a:pt x="10" y="111"/>
                      <a:pt x="10" y="112"/>
                      <a:pt x="10" y="112"/>
                    </a:cubicBezTo>
                    <a:cubicBezTo>
                      <a:pt x="10" y="112"/>
                      <a:pt x="10" y="111"/>
                      <a:pt x="10" y="111"/>
                    </a:cubicBezTo>
                    <a:cubicBezTo>
                      <a:pt x="10" y="111"/>
                      <a:pt x="10" y="111"/>
                      <a:pt x="10" y="111"/>
                    </a:cubicBezTo>
                    <a:close/>
                    <a:moveTo>
                      <a:pt x="10" y="112"/>
                    </a:moveTo>
                    <a:cubicBezTo>
                      <a:pt x="10" y="112"/>
                      <a:pt x="9" y="112"/>
                      <a:pt x="9" y="112"/>
                    </a:cubicBezTo>
                    <a:cubicBezTo>
                      <a:pt x="9" y="112"/>
                      <a:pt x="9" y="112"/>
                      <a:pt x="9" y="112"/>
                    </a:cubicBezTo>
                    <a:cubicBezTo>
                      <a:pt x="9" y="112"/>
                      <a:pt x="9" y="112"/>
                      <a:pt x="8" y="112"/>
                    </a:cubicBezTo>
                    <a:cubicBezTo>
                      <a:pt x="8" y="112"/>
                      <a:pt x="8" y="112"/>
                      <a:pt x="8" y="112"/>
                    </a:cubicBezTo>
                    <a:cubicBezTo>
                      <a:pt x="8" y="112"/>
                      <a:pt x="8" y="113"/>
                      <a:pt x="8" y="113"/>
                    </a:cubicBezTo>
                    <a:cubicBezTo>
                      <a:pt x="8" y="113"/>
                      <a:pt x="8" y="113"/>
                      <a:pt x="8" y="113"/>
                    </a:cubicBezTo>
                    <a:cubicBezTo>
                      <a:pt x="8" y="113"/>
                      <a:pt x="8" y="113"/>
                      <a:pt x="8" y="113"/>
                    </a:cubicBezTo>
                    <a:cubicBezTo>
                      <a:pt x="8" y="113"/>
                      <a:pt x="8" y="114"/>
                      <a:pt x="8" y="113"/>
                    </a:cubicBezTo>
                    <a:cubicBezTo>
                      <a:pt x="9" y="113"/>
                      <a:pt x="9" y="113"/>
                      <a:pt x="9" y="114"/>
                    </a:cubicBezTo>
                    <a:cubicBezTo>
                      <a:pt x="9" y="113"/>
                      <a:pt x="9" y="113"/>
                      <a:pt x="9" y="113"/>
                    </a:cubicBezTo>
                    <a:cubicBezTo>
                      <a:pt x="10" y="113"/>
                      <a:pt x="10" y="113"/>
                      <a:pt x="10" y="113"/>
                    </a:cubicBezTo>
                    <a:cubicBezTo>
                      <a:pt x="10" y="113"/>
                      <a:pt x="10" y="113"/>
                      <a:pt x="10" y="113"/>
                    </a:cubicBezTo>
                    <a:cubicBezTo>
                      <a:pt x="10" y="113"/>
                      <a:pt x="10" y="113"/>
                      <a:pt x="10" y="112"/>
                    </a:cubicBezTo>
                    <a:close/>
                    <a:moveTo>
                      <a:pt x="10" y="112"/>
                    </a:moveTo>
                    <a:cubicBezTo>
                      <a:pt x="10" y="112"/>
                      <a:pt x="9" y="112"/>
                      <a:pt x="9" y="112"/>
                    </a:cubicBezTo>
                    <a:cubicBezTo>
                      <a:pt x="9" y="112"/>
                      <a:pt x="10" y="112"/>
                      <a:pt x="10" y="112"/>
                    </a:cubicBezTo>
                    <a:cubicBezTo>
                      <a:pt x="10" y="112"/>
                      <a:pt x="10" y="112"/>
                      <a:pt x="10" y="112"/>
                    </a:cubicBezTo>
                    <a:cubicBezTo>
                      <a:pt x="10" y="112"/>
                      <a:pt x="10" y="112"/>
                      <a:pt x="10" y="112"/>
                    </a:cubicBezTo>
                    <a:close/>
                    <a:moveTo>
                      <a:pt x="10" y="112"/>
                    </a:moveTo>
                    <a:cubicBezTo>
                      <a:pt x="10" y="112"/>
                      <a:pt x="11" y="112"/>
                      <a:pt x="11" y="112"/>
                    </a:cubicBezTo>
                    <a:cubicBezTo>
                      <a:pt x="11" y="112"/>
                      <a:pt x="11" y="112"/>
                      <a:pt x="11" y="112"/>
                    </a:cubicBezTo>
                    <a:cubicBezTo>
                      <a:pt x="10" y="112"/>
                      <a:pt x="10" y="112"/>
                      <a:pt x="10" y="112"/>
                    </a:cubicBezTo>
                    <a:close/>
                    <a:moveTo>
                      <a:pt x="11" y="109"/>
                    </a:moveTo>
                    <a:cubicBezTo>
                      <a:pt x="11" y="108"/>
                      <a:pt x="11" y="108"/>
                      <a:pt x="11" y="109"/>
                    </a:cubicBezTo>
                    <a:cubicBezTo>
                      <a:pt x="11" y="109"/>
                      <a:pt x="11" y="109"/>
                      <a:pt x="11" y="109"/>
                    </a:cubicBezTo>
                    <a:cubicBezTo>
                      <a:pt x="11" y="109"/>
                      <a:pt x="11" y="109"/>
                      <a:pt x="11" y="109"/>
                    </a:cubicBezTo>
                    <a:close/>
                    <a:moveTo>
                      <a:pt x="11" y="111"/>
                    </a:moveTo>
                    <a:cubicBezTo>
                      <a:pt x="11" y="111"/>
                      <a:pt x="11" y="111"/>
                      <a:pt x="11" y="111"/>
                    </a:cubicBezTo>
                    <a:cubicBezTo>
                      <a:pt x="10" y="111"/>
                      <a:pt x="10" y="111"/>
                      <a:pt x="10" y="111"/>
                    </a:cubicBezTo>
                    <a:cubicBezTo>
                      <a:pt x="10" y="111"/>
                      <a:pt x="11" y="111"/>
                      <a:pt x="11" y="111"/>
                    </a:cubicBezTo>
                    <a:cubicBezTo>
                      <a:pt x="11" y="111"/>
                      <a:pt x="11" y="111"/>
                      <a:pt x="11" y="111"/>
                    </a:cubicBezTo>
                    <a:cubicBezTo>
                      <a:pt x="11" y="111"/>
                      <a:pt x="11" y="111"/>
                      <a:pt x="11" y="111"/>
                    </a:cubicBezTo>
                    <a:close/>
                    <a:moveTo>
                      <a:pt x="11" y="109"/>
                    </a:moveTo>
                    <a:cubicBezTo>
                      <a:pt x="11" y="109"/>
                      <a:pt x="11" y="109"/>
                      <a:pt x="11" y="109"/>
                    </a:cubicBezTo>
                    <a:cubicBezTo>
                      <a:pt x="12" y="109"/>
                      <a:pt x="12" y="109"/>
                      <a:pt x="12" y="109"/>
                    </a:cubicBezTo>
                    <a:cubicBezTo>
                      <a:pt x="12" y="109"/>
                      <a:pt x="11" y="109"/>
                      <a:pt x="11" y="109"/>
                    </a:cubicBezTo>
                    <a:cubicBezTo>
                      <a:pt x="11" y="109"/>
                      <a:pt x="11" y="109"/>
                      <a:pt x="11" y="109"/>
                    </a:cubicBezTo>
                    <a:close/>
                    <a:moveTo>
                      <a:pt x="13" y="107"/>
                    </a:moveTo>
                    <a:cubicBezTo>
                      <a:pt x="14" y="107"/>
                      <a:pt x="14" y="107"/>
                      <a:pt x="14" y="107"/>
                    </a:cubicBezTo>
                    <a:cubicBezTo>
                      <a:pt x="14" y="107"/>
                      <a:pt x="14" y="107"/>
                      <a:pt x="13" y="107"/>
                    </a:cubicBezTo>
                    <a:cubicBezTo>
                      <a:pt x="13" y="107"/>
                      <a:pt x="13" y="107"/>
                      <a:pt x="13" y="107"/>
                    </a:cubicBezTo>
                    <a:cubicBezTo>
                      <a:pt x="13" y="107"/>
                      <a:pt x="13" y="107"/>
                      <a:pt x="13" y="107"/>
                    </a:cubicBezTo>
                    <a:close/>
                    <a:moveTo>
                      <a:pt x="11" y="108"/>
                    </a:moveTo>
                    <a:cubicBezTo>
                      <a:pt x="12" y="108"/>
                      <a:pt x="12" y="108"/>
                      <a:pt x="12" y="108"/>
                    </a:cubicBezTo>
                    <a:cubicBezTo>
                      <a:pt x="12" y="108"/>
                      <a:pt x="11" y="108"/>
                      <a:pt x="11" y="108"/>
                    </a:cubicBezTo>
                    <a:cubicBezTo>
                      <a:pt x="11" y="108"/>
                      <a:pt x="11" y="108"/>
                      <a:pt x="11" y="108"/>
                    </a:cubicBezTo>
                    <a:cubicBezTo>
                      <a:pt x="11" y="108"/>
                      <a:pt x="11" y="108"/>
                      <a:pt x="11" y="108"/>
                    </a:cubicBezTo>
                    <a:close/>
                    <a:moveTo>
                      <a:pt x="14" y="106"/>
                    </a:moveTo>
                    <a:cubicBezTo>
                      <a:pt x="14" y="106"/>
                      <a:pt x="14" y="106"/>
                      <a:pt x="14" y="106"/>
                    </a:cubicBezTo>
                    <a:cubicBezTo>
                      <a:pt x="14" y="106"/>
                      <a:pt x="14" y="106"/>
                      <a:pt x="14" y="106"/>
                    </a:cubicBezTo>
                    <a:cubicBezTo>
                      <a:pt x="14" y="106"/>
                      <a:pt x="14" y="106"/>
                      <a:pt x="14" y="106"/>
                    </a:cubicBezTo>
                    <a:close/>
                    <a:moveTo>
                      <a:pt x="16" y="107"/>
                    </a:moveTo>
                    <a:cubicBezTo>
                      <a:pt x="16" y="107"/>
                      <a:pt x="16" y="107"/>
                      <a:pt x="16" y="107"/>
                    </a:cubicBezTo>
                    <a:cubicBezTo>
                      <a:pt x="16" y="107"/>
                      <a:pt x="16" y="107"/>
                      <a:pt x="16" y="107"/>
                    </a:cubicBezTo>
                    <a:cubicBezTo>
                      <a:pt x="16" y="107"/>
                      <a:pt x="16" y="107"/>
                      <a:pt x="16" y="107"/>
                    </a:cubicBezTo>
                    <a:cubicBezTo>
                      <a:pt x="16" y="107"/>
                      <a:pt x="16" y="107"/>
                      <a:pt x="16" y="107"/>
                    </a:cubicBezTo>
                    <a:close/>
                    <a:moveTo>
                      <a:pt x="15" y="104"/>
                    </a:moveTo>
                    <a:cubicBezTo>
                      <a:pt x="16" y="104"/>
                      <a:pt x="16" y="104"/>
                      <a:pt x="16" y="104"/>
                    </a:cubicBezTo>
                    <a:cubicBezTo>
                      <a:pt x="16" y="104"/>
                      <a:pt x="16" y="103"/>
                      <a:pt x="16" y="103"/>
                    </a:cubicBezTo>
                    <a:cubicBezTo>
                      <a:pt x="16" y="103"/>
                      <a:pt x="15" y="103"/>
                      <a:pt x="15" y="103"/>
                    </a:cubicBezTo>
                    <a:cubicBezTo>
                      <a:pt x="15" y="104"/>
                      <a:pt x="15" y="104"/>
                      <a:pt x="15" y="104"/>
                    </a:cubicBezTo>
                    <a:cubicBezTo>
                      <a:pt x="15" y="104"/>
                      <a:pt x="15" y="105"/>
                      <a:pt x="15" y="104"/>
                    </a:cubicBezTo>
                    <a:close/>
                    <a:moveTo>
                      <a:pt x="19" y="116"/>
                    </a:moveTo>
                    <a:cubicBezTo>
                      <a:pt x="19" y="116"/>
                      <a:pt x="19" y="115"/>
                      <a:pt x="19" y="115"/>
                    </a:cubicBezTo>
                    <a:cubicBezTo>
                      <a:pt x="19" y="115"/>
                      <a:pt x="19" y="115"/>
                      <a:pt x="19" y="115"/>
                    </a:cubicBezTo>
                    <a:cubicBezTo>
                      <a:pt x="19" y="115"/>
                      <a:pt x="20" y="115"/>
                      <a:pt x="20" y="115"/>
                    </a:cubicBezTo>
                    <a:cubicBezTo>
                      <a:pt x="20" y="115"/>
                      <a:pt x="20" y="115"/>
                      <a:pt x="20" y="115"/>
                    </a:cubicBezTo>
                    <a:cubicBezTo>
                      <a:pt x="20" y="115"/>
                      <a:pt x="20" y="115"/>
                      <a:pt x="20" y="114"/>
                    </a:cubicBezTo>
                    <a:cubicBezTo>
                      <a:pt x="20" y="114"/>
                      <a:pt x="20" y="114"/>
                      <a:pt x="20" y="114"/>
                    </a:cubicBezTo>
                    <a:cubicBezTo>
                      <a:pt x="20" y="114"/>
                      <a:pt x="20" y="114"/>
                      <a:pt x="20" y="114"/>
                    </a:cubicBezTo>
                    <a:cubicBezTo>
                      <a:pt x="20" y="114"/>
                      <a:pt x="20" y="114"/>
                      <a:pt x="20" y="114"/>
                    </a:cubicBezTo>
                    <a:cubicBezTo>
                      <a:pt x="19" y="114"/>
                      <a:pt x="19" y="115"/>
                      <a:pt x="19" y="115"/>
                    </a:cubicBezTo>
                    <a:cubicBezTo>
                      <a:pt x="19" y="115"/>
                      <a:pt x="19" y="114"/>
                      <a:pt x="19" y="114"/>
                    </a:cubicBezTo>
                    <a:cubicBezTo>
                      <a:pt x="19" y="114"/>
                      <a:pt x="18" y="114"/>
                      <a:pt x="18" y="114"/>
                    </a:cubicBezTo>
                    <a:cubicBezTo>
                      <a:pt x="18" y="114"/>
                      <a:pt x="17" y="115"/>
                      <a:pt x="17" y="115"/>
                    </a:cubicBezTo>
                    <a:cubicBezTo>
                      <a:pt x="17" y="115"/>
                      <a:pt x="17" y="116"/>
                      <a:pt x="17" y="116"/>
                    </a:cubicBezTo>
                    <a:cubicBezTo>
                      <a:pt x="17" y="116"/>
                      <a:pt x="17" y="116"/>
                      <a:pt x="17" y="116"/>
                    </a:cubicBezTo>
                    <a:cubicBezTo>
                      <a:pt x="17" y="116"/>
                      <a:pt x="18" y="116"/>
                      <a:pt x="17" y="117"/>
                    </a:cubicBezTo>
                    <a:cubicBezTo>
                      <a:pt x="18" y="117"/>
                      <a:pt x="18" y="117"/>
                      <a:pt x="18" y="116"/>
                    </a:cubicBezTo>
                    <a:cubicBezTo>
                      <a:pt x="18" y="116"/>
                      <a:pt x="18" y="116"/>
                      <a:pt x="18" y="116"/>
                    </a:cubicBezTo>
                    <a:cubicBezTo>
                      <a:pt x="18" y="116"/>
                      <a:pt x="18" y="116"/>
                      <a:pt x="19" y="116"/>
                    </a:cubicBezTo>
                    <a:close/>
                    <a:moveTo>
                      <a:pt x="19" y="116"/>
                    </a:moveTo>
                    <a:cubicBezTo>
                      <a:pt x="19" y="116"/>
                      <a:pt x="19" y="116"/>
                      <a:pt x="19" y="116"/>
                    </a:cubicBezTo>
                    <a:cubicBezTo>
                      <a:pt x="19" y="116"/>
                      <a:pt x="19" y="116"/>
                      <a:pt x="19" y="116"/>
                    </a:cubicBezTo>
                    <a:cubicBezTo>
                      <a:pt x="19" y="116"/>
                      <a:pt x="19" y="116"/>
                      <a:pt x="19" y="116"/>
                    </a:cubicBezTo>
                    <a:cubicBezTo>
                      <a:pt x="19" y="116"/>
                      <a:pt x="19" y="116"/>
                      <a:pt x="19" y="116"/>
                    </a:cubicBezTo>
                    <a:close/>
                    <a:moveTo>
                      <a:pt x="20" y="115"/>
                    </a:moveTo>
                    <a:cubicBezTo>
                      <a:pt x="20" y="116"/>
                      <a:pt x="20" y="116"/>
                      <a:pt x="20" y="116"/>
                    </a:cubicBezTo>
                    <a:cubicBezTo>
                      <a:pt x="20" y="116"/>
                      <a:pt x="20" y="116"/>
                      <a:pt x="20" y="115"/>
                    </a:cubicBezTo>
                    <a:close/>
                    <a:moveTo>
                      <a:pt x="35" y="112"/>
                    </a:moveTo>
                    <a:cubicBezTo>
                      <a:pt x="35" y="112"/>
                      <a:pt x="35" y="112"/>
                      <a:pt x="35" y="112"/>
                    </a:cubicBezTo>
                    <a:cubicBezTo>
                      <a:pt x="35" y="112"/>
                      <a:pt x="35" y="113"/>
                      <a:pt x="35" y="113"/>
                    </a:cubicBezTo>
                    <a:cubicBezTo>
                      <a:pt x="35" y="113"/>
                      <a:pt x="35" y="113"/>
                      <a:pt x="35" y="112"/>
                    </a:cubicBezTo>
                    <a:cubicBezTo>
                      <a:pt x="35" y="112"/>
                      <a:pt x="35" y="112"/>
                      <a:pt x="35" y="112"/>
                    </a:cubicBezTo>
                    <a:close/>
                    <a:moveTo>
                      <a:pt x="16" y="119"/>
                    </a:moveTo>
                    <a:cubicBezTo>
                      <a:pt x="16" y="119"/>
                      <a:pt x="16" y="119"/>
                      <a:pt x="16" y="119"/>
                    </a:cubicBezTo>
                    <a:cubicBezTo>
                      <a:pt x="16" y="120"/>
                      <a:pt x="16" y="120"/>
                      <a:pt x="17" y="120"/>
                    </a:cubicBezTo>
                    <a:cubicBezTo>
                      <a:pt x="17" y="120"/>
                      <a:pt x="17" y="120"/>
                      <a:pt x="17" y="120"/>
                    </a:cubicBezTo>
                    <a:cubicBezTo>
                      <a:pt x="17" y="120"/>
                      <a:pt x="17" y="120"/>
                      <a:pt x="17" y="120"/>
                    </a:cubicBezTo>
                    <a:cubicBezTo>
                      <a:pt x="17" y="120"/>
                      <a:pt x="16" y="119"/>
                      <a:pt x="16" y="119"/>
                    </a:cubicBezTo>
                    <a:close/>
                    <a:moveTo>
                      <a:pt x="24" y="128"/>
                    </a:moveTo>
                    <a:cubicBezTo>
                      <a:pt x="24" y="128"/>
                      <a:pt x="24" y="128"/>
                      <a:pt x="24" y="128"/>
                    </a:cubicBezTo>
                    <a:cubicBezTo>
                      <a:pt x="24" y="128"/>
                      <a:pt x="24" y="128"/>
                      <a:pt x="24" y="128"/>
                    </a:cubicBezTo>
                    <a:cubicBezTo>
                      <a:pt x="24" y="128"/>
                      <a:pt x="24" y="129"/>
                      <a:pt x="24" y="129"/>
                    </a:cubicBezTo>
                    <a:cubicBezTo>
                      <a:pt x="24" y="129"/>
                      <a:pt x="24" y="129"/>
                      <a:pt x="24" y="129"/>
                    </a:cubicBezTo>
                    <a:cubicBezTo>
                      <a:pt x="24" y="129"/>
                      <a:pt x="24" y="129"/>
                      <a:pt x="24" y="129"/>
                    </a:cubicBezTo>
                    <a:cubicBezTo>
                      <a:pt x="24" y="130"/>
                      <a:pt x="24" y="130"/>
                      <a:pt x="23" y="130"/>
                    </a:cubicBezTo>
                    <a:cubicBezTo>
                      <a:pt x="23" y="130"/>
                      <a:pt x="23" y="130"/>
                      <a:pt x="23" y="130"/>
                    </a:cubicBezTo>
                    <a:cubicBezTo>
                      <a:pt x="23" y="130"/>
                      <a:pt x="23" y="130"/>
                      <a:pt x="23" y="131"/>
                    </a:cubicBezTo>
                    <a:cubicBezTo>
                      <a:pt x="23" y="131"/>
                      <a:pt x="23" y="131"/>
                      <a:pt x="23" y="131"/>
                    </a:cubicBezTo>
                    <a:cubicBezTo>
                      <a:pt x="23" y="131"/>
                      <a:pt x="23" y="131"/>
                      <a:pt x="23" y="131"/>
                    </a:cubicBezTo>
                    <a:cubicBezTo>
                      <a:pt x="23" y="131"/>
                      <a:pt x="23" y="131"/>
                      <a:pt x="24" y="131"/>
                    </a:cubicBezTo>
                    <a:cubicBezTo>
                      <a:pt x="24" y="131"/>
                      <a:pt x="24" y="131"/>
                      <a:pt x="24" y="131"/>
                    </a:cubicBezTo>
                    <a:cubicBezTo>
                      <a:pt x="24" y="131"/>
                      <a:pt x="24" y="131"/>
                      <a:pt x="24" y="131"/>
                    </a:cubicBezTo>
                    <a:cubicBezTo>
                      <a:pt x="24" y="131"/>
                      <a:pt x="24" y="131"/>
                      <a:pt x="24" y="130"/>
                    </a:cubicBezTo>
                    <a:cubicBezTo>
                      <a:pt x="24" y="130"/>
                      <a:pt x="24" y="130"/>
                      <a:pt x="24" y="130"/>
                    </a:cubicBezTo>
                    <a:cubicBezTo>
                      <a:pt x="24" y="130"/>
                      <a:pt x="24" y="130"/>
                      <a:pt x="24" y="130"/>
                    </a:cubicBezTo>
                    <a:cubicBezTo>
                      <a:pt x="24" y="130"/>
                      <a:pt x="24" y="130"/>
                      <a:pt x="24" y="130"/>
                    </a:cubicBezTo>
                    <a:cubicBezTo>
                      <a:pt x="24" y="129"/>
                      <a:pt x="24" y="129"/>
                      <a:pt x="24" y="129"/>
                    </a:cubicBezTo>
                    <a:cubicBezTo>
                      <a:pt x="24" y="129"/>
                      <a:pt x="25" y="129"/>
                      <a:pt x="25" y="129"/>
                    </a:cubicBezTo>
                    <a:cubicBezTo>
                      <a:pt x="25" y="128"/>
                      <a:pt x="25" y="128"/>
                      <a:pt x="25" y="128"/>
                    </a:cubicBezTo>
                    <a:cubicBezTo>
                      <a:pt x="25" y="128"/>
                      <a:pt x="25" y="128"/>
                      <a:pt x="25" y="128"/>
                    </a:cubicBezTo>
                    <a:cubicBezTo>
                      <a:pt x="24" y="128"/>
                      <a:pt x="24" y="128"/>
                      <a:pt x="24" y="128"/>
                    </a:cubicBezTo>
                    <a:close/>
                    <a:moveTo>
                      <a:pt x="15" y="121"/>
                    </a:moveTo>
                    <a:cubicBezTo>
                      <a:pt x="15" y="121"/>
                      <a:pt x="15" y="121"/>
                      <a:pt x="15" y="121"/>
                    </a:cubicBezTo>
                    <a:cubicBezTo>
                      <a:pt x="15" y="121"/>
                      <a:pt x="15" y="121"/>
                      <a:pt x="15" y="121"/>
                    </a:cubicBezTo>
                    <a:cubicBezTo>
                      <a:pt x="16" y="121"/>
                      <a:pt x="16" y="121"/>
                      <a:pt x="16" y="120"/>
                    </a:cubicBezTo>
                    <a:cubicBezTo>
                      <a:pt x="15" y="120"/>
                      <a:pt x="15" y="121"/>
                      <a:pt x="15" y="121"/>
                    </a:cubicBezTo>
                    <a:close/>
                    <a:moveTo>
                      <a:pt x="22" y="131"/>
                    </a:moveTo>
                    <a:cubicBezTo>
                      <a:pt x="21" y="131"/>
                      <a:pt x="21" y="131"/>
                      <a:pt x="21" y="131"/>
                    </a:cubicBezTo>
                    <a:cubicBezTo>
                      <a:pt x="21" y="131"/>
                      <a:pt x="21" y="131"/>
                      <a:pt x="21" y="131"/>
                    </a:cubicBezTo>
                    <a:cubicBezTo>
                      <a:pt x="21" y="131"/>
                      <a:pt x="21" y="131"/>
                      <a:pt x="21" y="131"/>
                    </a:cubicBezTo>
                    <a:cubicBezTo>
                      <a:pt x="21" y="131"/>
                      <a:pt x="21" y="131"/>
                      <a:pt x="21" y="131"/>
                    </a:cubicBezTo>
                    <a:cubicBezTo>
                      <a:pt x="21" y="130"/>
                      <a:pt x="20" y="131"/>
                      <a:pt x="20" y="131"/>
                    </a:cubicBezTo>
                    <a:cubicBezTo>
                      <a:pt x="20" y="131"/>
                      <a:pt x="20" y="131"/>
                      <a:pt x="20" y="131"/>
                    </a:cubicBezTo>
                    <a:cubicBezTo>
                      <a:pt x="20" y="131"/>
                      <a:pt x="20" y="131"/>
                      <a:pt x="20" y="131"/>
                    </a:cubicBezTo>
                    <a:cubicBezTo>
                      <a:pt x="20" y="131"/>
                      <a:pt x="20" y="131"/>
                      <a:pt x="20" y="131"/>
                    </a:cubicBezTo>
                    <a:cubicBezTo>
                      <a:pt x="20" y="132"/>
                      <a:pt x="20" y="132"/>
                      <a:pt x="20" y="132"/>
                    </a:cubicBezTo>
                    <a:cubicBezTo>
                      <a:pt x="20" y="132"/>
                      <a:pt x="20" y="132"/>
                      <a:pt x="20" y="132"/>
                    </a:cubicBezTo>
                    <a:cubicBezTo>
                      <a:pt x="20" y="132"/>
                      <a:pt x="21" y="132"/>
                      <a:pt x="21" y="132"/>
                    </a:cubicBezTo>
                    <a:cubicBezTo>
                      <a:pt x="21" y="132"/>
                      <a:pt x="21" y="132"/>
                      <a:pt x="21" y="132"/>
                    </a:cubicBezTo>
                    <a:cubicBezTo>
                      <a:pt x="22" y="132"/>
                      <a:pt x="22" y="132"/>
                      <a:pt x="22" y="132"/>
                    </a:cubicBezTo>
                    <a:cubicBezTo>
                      <a:pt x="22" y="131"/>
                      <a:pt x="22" y="131"/>
                      <a:pt x="22" y="131"/>
                    </a:cubicBezTo>
                    <a:cubicBezTo>
                      <a:pt x="22" y="131"/>
                      <a:pt x="22" y="131"/>
                      <a:pt x="22" y="131"/>
                    </a:cubicBezTo>
                    <a:close/>
                    <a:moveTo>
                      <a:pt x="46" y="98"/>
                    </a:moveTo>
                    <a:cubicBezTo>
                      <a:pt x="46" y="98"/>
                      <a:pt x="46" y="98"/>
                      <a:pt x="46" y="98"/>
                    </a:cubicBezTo>
                    <a:cubicBezTo>
                      <a:pt x="46" y="98"/>
                      <a:pt x="46" y="98"/>
                      <a:pt x="46" y="98"/>
                    </a:cubicBezTo>
                    <a:cubicBezTo>
                      <a:pt x="46" y="98"/>
                      <a:pt x="46" y="98"/>
                      <a:pt x="46" y="98"/>
                    </a:cubicBezTo>
                    <a:cubicBezTo>
                      <a:pt x="46" y="98"/>
                      <a:pt x="46" y="98"/>
                      <a:pt x="46" y="99"/>
                    </a:cubicBezTo>
                    <a:cubicBezTo>
                      <a:pt x="46" y="99"/>
                      <a:pt x="46" y="99"/>
                      <a:pt x="46" y="99"/>
                    </a:cubicBezTo>
                    <a:cubicBezTo>
                      <a:pt x="46" y="99"/>
                      <a:pt x="46" y="99"/>
                      <a:pt x="46" y="99"/>
                    </a:cubicBezTo>
                    <a:cubicBezTo>
                      <a:pt x="46" y="98"/>
                      <a:pt x="46" y="98"/>
                      <a:pt x="46" y="98"/>
                    </a:cubicBezTo>
                    <a:cubicBezTo>
                      <a:pt x="46" y="98"/>
                      <a:pt x="46" y="98"/>
                      <a:pt x="46" y="98"/>
                    </a:cubicBezTo>
                    <a:cubicBezTo>
                      <a:pt x="46"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7"/>
                      <a:pt x="47" y="98"/>
                    </a:cubicBezTo>
                    <a:cubicBezTo>
                      <a:pt x="47" y="98"/>
                      <a:pt x="47" y="98"/>
                      <a:pt x="47" y="98"/>
                    </a:cubicBezTo>
                    <a:cubicBezTo>
                      <a:pt x="47"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lose/>
                    <a:moveTo>
                      <a:pt x="99" y="55"/>
                    </a:moveTo>
                    <a:cubicBezTo>
                      <a:pt x="99" y="55"/>
                      <a:pt x="99" y="55"/>
                      <a:pt x="99" y="55"/>
                    </a:cubicBezTo>
                    <a:cubicBezTo>
                      <a:pt x="99" y="55"/>
                      <a:pt x="99" y="55"/>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3"/>
                    </a:cubicBezTo>
                    <a:cubicBezTo>
                      <a:pt x="99" y="53"/>
                      <a:pt x="99" y="53"/>
                      <a:pt x="99" y="53"/>
                    </a:cubicBezTo>
                    <a:cubicBezTo>
                      <a:pt x="99" y="53"/>
                      <a:pt x="99" y="53"/>
                      <a:pt x="99" y="53"/>
                    </a:cubicBezTo>
                    <a:cubicBezTo>
                      <a:pt x="99" y="53"/>
                      <a:pt x="99" y="53"/>
                      <a:pt x="99" y="52"/>
                    </a:cubicBezTo>
                    <a:cubicBezTo>
                      <a:pt x="99" y="52"/>
                      <a:pt x="99" y="52"/>
                      <a:pt x="99" y="52"/>
                    </a:cubicBezTo>
                    <a:cubicBezTo>
                      <a:pt x="99" y="51"/>
                      <a:pt x="99" y="51"/>
                      <a:pt x="99" y="51"/>
                    </a:cubicBezTo>
                    <a:cubicBezTo>
                      <a:pt x="99" y="51"/>
                      <a:pt x="98" y="51"/>
                      <a:pt x="98" y="51"/>
                    </a:cubicBezTo>
                    <a:cubicBezTo>
                      <a:pt x="98" y="51"/>
                      <a:pt x="98" y="51"/>
                      <a:pt x="98" y="51"/>
                    </a:cubicBezTo>
                    <a:cubicBezTo>
                      <a:pt x="98" y="51"/>
                      <a:pt x="98" y="50"/>
                      <a:pt x="98" y="50"/>
                    </a:cubicBezTo>
                    <a:cubicBezTo>
                      <a:pt x="98" y="50"/>
                      <a:pt x="98" y="50"/>
                      <a:pt x="98" y="49"/>
                    </a:cubicBezTo>
                    <a:cubicBezTo>
                      <a:pt x="98" y="49"/>
                      <a:pt x="98" y="49"/>
                      <a:pt x="98" y="49"/>
                    </a:cubicBezTo>
                    <a:cubicBezTo>
                      <a:pt x="98" y="49"/>
                      <a:pt x="98" y="49"/>
                      <a:pt x="98" y="49"/>
                    </a:cubicBezTo>
                    <a:cubicBezTo>
                      <a:pt x="98" y="48"/>
                      <a:pt x="97" y="48"/>
                      <a:pt x="97" y="48"/>
                    </a:cubicBezTo>
                    <a:cubicBezTo>
                      <a:pt x="97" y="48"/>
                      <a:pt x="97" y="47"/>
                      <a:pt x="97" y="47"/>
                    </a:cubicBezTo>
                    <a:cubicBezTo>
                      <a:pt x="97" y="47"/>
                      <a:pt x="97" y="47"/>
                      <a:pt x="97" y="47"/>
                    </a:cubicBezTo>
                    <a:cubicBezTo>
                      <a:pt x="97" y="47"/>
                      <a:pt x="97" y="47"/>
                      <a:pt x="97" y="47"/>
                    </a:cubicBezTo>
                    <a:cubicBezTo>
                      <a:pt x="97" y="47"/>
                      <a:pt x="96" y="46"/>
                      <a:pt x="96" y="46"/>
                    </a:cubicBezTo>
                    <a:cubicBezTo>
                      <a:pt x="96" y="46"/>
                      <a:pt x="96" y="46"/>
                      <a:pt x="96" y="46"/>
                    </a:cubicBezTo>
                    <a:cubicBezTo>
                      <a:pt x="96" y="46"/>
                      <a:pt x="96" y="46"/>
                      <a:pt x="96" y="46"/>
                    </a:cubicBezTo>
                    <a:cubicBezTo>
                      <a:pt x="95" y="46"/>
                      <a:pt x="95" y="45"/>
                      <a:pt x="95" y="45"/>
                    </a:cubicBezTo>
                    <a:cubicBezTo>
                      <a:pt x="95" y="44"/>
                      <a:pt x="95" y="43"/>
                      <a:pt x="95" y="42"/>
                    </a:cubicBezTo>
                    <a:cubicBezTo>
                      <a:pt x="95" y="42"/>
                      <a:pt x="95" y="42"/>
                      <a:pt x="95" y="41"/>
                    </a:cubicBezTo>
                    <a:cubicBezTo>
                      <a:pt x="95" y="41"/>
                      <a:pt x="95" y="40"/>
                      <a:pt x="95" y="39"/>
                    </a:cubicBezTo>
                    <a:cubicBezTo>
                      <a:pt x="95" y="39"/>
                      <a:pt x="95" y="39"/>
                      <a:pt x="95" y="38"/>
                    </a:cubicBezTo>
                    <a:cubicBezTo>
                      <a:pt x="95" y="38"/>
                      <a:pt x="95" y="39"/>
                      <a:pt x="95" y="39"/>
                    </a:cubicBezTo>
                    <a:cubicBezTo>
                      <a:pt x="94" y="39"/>
                      <a:pt x="94" y="39"/>
                      <a:pt x="94" y="39"/>
                    </a:cubicBezTo>
                    <a:cubicBezTo>
                      <a:pt x="93" y="38"/>
                      <a:pt x="93" y="38"/>
                      <a:pt x="92" y="38"/>
                    </a:cubicBezTo>
                    <a:cubicBezTo>
                      <a:pt x="92" y="38"/>
                      <a:pt x="92" y="37"/>
                      <a:pt x="92" y="37"/>
                    </a:cubicBezTo>
                    <a:cubicBezTo>
                      <a:pt x="92" y="37"/>
                      <a:pt x="92" y="37"/>
                      <a:pt x="92" y="37"/>
                    </a:cubicBezTo>
                    <a:cubicBezTo>
                      <a:pt x="92" y="37"/>
                      <a:pt x="92" y="37"/>
                      <a:pt x="92" y="37"/>
                    </a:cubicBezTo>
                    <a:cubicBezTo>
                      <a:pt x="92" y="38"/>
                      <a:pt x="91" y="38"/>
                      <a:pt x="91" y="38"/>
                    </a:cubicBezTo>
                    <a:cubicBezTo>
                      <a:pt x="91" y="38"/>
                      <a:pt x="91" y="38"/>
                      <a:pt x="91" y="39"/>
                    </a:cubicBezTo>
                    <a:cubicBezTo>
                      <a:pt x="91" y="39"/>
                      <a:pt x="91" y="40"/>
                      <a:pt x="91" y="40"/>
                    </a:cubicBezTo>
                    <a:cubicBezTo>
                      <a:pt x="91" y="41"/>
                      <a:pt x="91" y="41"/>
                      <a:pt x="91" y="41"/>
                    </a:cubicBezTo>
                    <a:cubicBezTo>
                      <a:pt x="91" y="41"/>
                      <a:pt x="91" y="41"/>
                      <a:pt x="91" y="41"/>
                    </a:cubicBezTo>
                    <a:cubicBezTo>
                      <a:pt x="92" y="41"/>
                      <a:pt x="92" y="40"/>
                      <a:pt x="92" y="40"/>
                    </a:cubicBezTo>
                    <a:cubicBezTo>
                      <a:pt x="93" y="40"/>
                      <a:pt x="93" y="40"/>
                      <a:pt x="93" y="40"/>
                    </a:cubicBezTo>
                    <a:cubicBezTo>
                      <a:pt x="93" y="40"/>
                      <a:pt x="93" y="40"/>
                      <a:pt x="93" y="40"/>
                    </a:cubicBezTo>
                    <a:cubicBezTo>
                      <a:pt x="94" y="40"/>
                      <a:pt x="94" y="40"/>
                      <a:pt x="94" y="41"/>
                    </a:cubicBezTo>
                    <a:cubicBezTo>
                      <a:pt x="94" y="41"/>
                      <a:pt x="94" y="42"/>
                      <a:pt x="94" y="42"/>
                    </a:cubicBezTo>
                    <a:cubicBezTo>
                      <a:pt x="94" y="42"/>
                      <a:pt x="94" y="43"/>
                      <a:pt x="93" y="43"/>
                    </a:cubicBezTo>
                    <a:cubicBezTo>
                      <a:pt x="93" y="43"/>
                      <a:pt x="93" y="43"/>
                      <a:pt x="93" y="43"/>
                    </a:cubicBezTo>
                    <a:cubicBezTo>
                      <a:pt x="93" y="43"/>
                      <a:pt x="92" y="43"/>
                      <a:pt x="92" y="43"/>
                    </a:cubicBezTo>
                    <a:cubicBezTo>
                      <a:pt x="92" y="43"/>
                      <a:pt x="92" y="43"/>
                      <a:pt x="92" y="43"/>
                    </a:cubicBezTo>
                    <a:cubicBezTo>
                      <a:pt x="92" y="43"/>
                      <a:pt x="92" y="43"/>
                      <a:pt x="92" y="43"/>
                    </a:cubicBezTo>
                    <a:cubicBezTo>
                      <a:pt x="92" y="42"/>
                      <a:pt x="92" y="42"/>
                      <a:pt x="91" y="42"/>
                    </a:cubicBezTo>
                    <a:cubicBezTo>
                      <a:pt x="91" y="42"/>
                      <a:pt x="91" y="42"/>
                      <a:pt x="91" y="43"/>
                    </a:cubicBezTo>
                    <a:cubicBezTo>
                      <a:pt x="91" y="43"/>
                      <a:pt x="91" y="43"/>
                      <a:pt x="91" y="43"/>
                    </a:cubicBezTo>
                    <a:cubicBezTo>
                      <a:pt x="91" y="43"/>
                      <a:pt x="91" y="43"/>
                      <a:pt x="91" y="43"/>
                    </a:cubicBezTo>
                    <a:cubicBezTo>
                      <a:pt x="91" y="44"/>
                      <a:pt x="91" y="44"/>
                      <a:pt x="90" y="44"/>
                    </a:cubicBezTo>
                    <a:cubicBezTo>
                      <a:pt x="90" y="44"/>
                      <a:pt x="90" y="44"/>
                      <a:pt x="90" y="43"/>
                    </a:cubicBezTo>
                    <a:cubicBezTo>
                      <a:pt x="90" y="43"/>
                      <a:pt x="90" y="43"/>
                      <a:pt x="90" y="43"/>
                    </a:cubicBezTo>
                    <a:cubicBezTo>
                      <a:pt x="90" y="42"/>
                      <a:pt x="90" y="42"/>
                      <a:pt x="90" y="41"/>
                    </a:cubicBezTo>
                    <a:cubicBezTo>
                      <a:pt x="90" y="40"/>
                      <a:pt x="90" y="40"/>
                      <a:pt x="90" y="40"/>
                    </a:cubicBezTo>
                    <a:cubicBezTo>
                      <a:pt x="89" y="40"/>
                      <a:pt x="89" y="40"/>
                      <a:pt x="89" y="40"/>
                    </a:cubicBezTo>
                    <a:cubicBezTo>
                      <a:pt x="89" y="41"/>
                      <a:pt x="88" y="40"/>
                      <a:pt x="88" y="40"/>
                    </a:cubicBezTo>
                    <a:cubicBezTo>
                      <a:pt x="88" y="40"/>
                      <a:pt x="88" y="40"/>
                      <a:pt x="88" y="40"/>
                    </a:cubicBezTo>
                    <a:cubicBezTo>
                      <a:pt x="88" y="40"/>
                      <a:pt x="88" y="40"/>
                      <a:pt x="88" y="40"/>
                    </a:cubicBezTo>
                    <a:cubicBezTo>
                      <a:pt x="88" y="40"/>
                      <a:pt x="88" y="40"/>
                      <a:pt x="88" y="40"/>
                    </a:cubicBezTo>
                    <a:cubicBezTo>
                      <a:pt x="88" y="40"/>
                      <a:pt x="88" y="41"/>
                      <a:pt x="87" y="41"/>
                    </a:cubicBezTo>
                    <a:cubicBezTo>
                      <a:pt x="87" y="41"/>
                      <a:pt x="88" y="41"/>
                      <a:pt x="88" y="41"/>
                    </a:cubicBezTo>
                    <a:cubicBezTo>
                      <a:pt x="88" y="42"/>
                      <a:pt x="88" y="42"/>
                      <a:pt x="88" y="42"/>
                    </a:cubicBezTo>
                    <a:cubicBezTo>
                      <a:pt x="88" y="42"/>
                      <a:pt x="88" y="42"/>
                      <a:pt x="88" y="42"/>
                    </a:cubicBezTo>
                    <a:cubicBezTo>
                      <a:pt x="88" y="42"/>
                      <a:pt x="87" y="43"/>
                      <a:pt x="87" y="43"/>
                    </a:cubicBezTo>
                    <a:cubicBezTo>
                      <a:pt x="87" y="44"/>
                      <a:pt x="87" y="44"/>
                      <a:pt x="86" y="44"/>
                    </a:cubicBezTo>
                    <a:cubicBezTo>
                      <a:pt x="86" y="44"/>
                      <a:pt x="86" y="44"/>
                      <a:pt x="86" y="44"/>
                    </a:cubicBezTo>
                    <a:cubicBezTo>
                      <a:pt x="86" y="44"/>
                      <a:pt x="85" y="44"/>
                      <a:pt x="85" y="45"/>
                    </a:cubicBezTo>
                    <a:cubicBezTo>
                      <a:pt x="85" y="45"/>
                      <a:pt x="85" y="45"/>
                      <a:pt x="85" y="45"/>
                    </a:cubicBezTo>
                    <a:cubicBezTo>
                      <a:pt x="84" y="46"/>
                      <a:pt x="84" y="46"/>
                      <a:pt x="85" y="46"/>
                    </a:cubicBezTo>
                    <a:cubicBezTo>
                      <a:pt x="85" y="46"/>
                      <a:pt x="85" y="46"/>
                      <a:pt x="85" y="46"/>
                    </a:cubicBezTo>
                    <a:cubicBezTo>
                      <a:pt x="85" y="47"/>
                      <a:pt x="85" y="47"/>
                      <a:pt x="85" y="47"/>
                    </a:cubicBezTo>
                    <a:cubicBezTo>
                      <a:pt x="85" y="47"/>
                      <a:pt x="85" y="47"/>
                      <a:pt x="85" y="47"/>
                    </a:cubicBezTo>
                    <a:cubicBezTo>
                      <a:pt x="85" y="47"/>
                      <a:pt x="85" y="47"/>
                      <a:pt x="85" y="48"/>
                    </a:cubicBezTo>
                    <a:cubicBezTo>
                      <a:pt x="86" y="48"/>
                      <a:pt x="86" y="48"/>
                      <a:pt x="86" y="48"/>
                    </a:cubicBezTo>
                    <a:cubicBezTo>
                      <a:pt x="85" y="49"/>
                      <a:pt x="85" y="49"/>
                      <a:pt x="85" y="50"/>
                    </a:cubicBezTo>
                    <a:cubicBezTo>
                      <a:pt x="85" y="50"/>
                      <a:pt x="85" y="50"/>
                      <a:pt x="85" y="51"/>
                    </a:cubicBezTo>
                    <a:cubicBezTo>
                      <a:pt x="84" y="51"/>
                      <a:pt x="84" y="51"/>
                      <a:pt x="84" y="51"/>
                    </a:cubicBezTo>
                    <a:cubicBezTo>
                      <a:pt x="83" y="51"/>
                      <a:pt x="83" y="51"/>
                      <a:pt x="83" y="51"/>
                    </a:cubicBezTo>
                    <a:cubicBezTo>
                      <a:pt x="83" y="51"/>
                      <a:pt x="83" y="51"/>
                      <a:pt x="83" y="51"/>
                    </a:cubicBezTo>
                    <a:cubicBezTo>
                      <a:pt x="83" y="51"/>
                      <a:pt x="83" y="52"/>
                      <a:pt x="84" y="52"/>
                    </a:cubicBezTo>
                    <a:cubicBezTo>
                      <a:pt x="84" y="52"/>
                      <a:pt x="84" y="52"/>
                      <a:pt x="84" y="52"/>
                    </a:cubicBezTo>
                    <a:cubicBezTo>
                      <a:pt x="85" y="52"/>
                      <a:pt x="85" y="52"/>
                      <a:pt x="85" y="52"/>
                    </a:cubicBezTo>
                    <a:cubicBezTo>
                      <a:pt x="86" y="53"/>
                      <a:pt x="86" y="53"/>
                      <a:pt x="86" y="53"/>
                    </a:cubicBezTo>
                    <a:cubicBezTo>
                      <a:pt x="86" y="53"/>
                      <a:pt x="86" y="53"/>
                      <a:pt x="86" y="54"/>
                    </a:cubicBezTo>
                    <a:cubicBezTo>
                      <a:pt x="86" y="54"/>
                      <a:pt x="86" y="54"/>
                      <a:pt x="86" y="54"/>
                    </a:cubicBezTo>
                    <a:cubicBezTo>
                      <a:pt x="86" y="54"/>
                      <a:pt x="86" y="54"/>
                      <a:pt x="86" y="54"/>
                    </a:cubicBezTo>
                    <a:cubicBezTo>
                      <a:pt x="86" y="54"/>
                      <a:pt x="86" y="54"/>
                      <a:pt x="86" y="54"/>
                    </a:cubicBezTo>
                    <a:cubicBezTo>
                      <a:pt x="86" y="55"/>
                      <a:pt x="86" y="55"/>
                      <a:pt x="86" y="55"/>
                    </a:cubicBezTo>
                    <a:cubicBezTo>
                      <a:pt x="86" y="56"/>
                      <a:pt x="86" y="56"/>
                      <a:pt x="86" y="56"/>
                    </a:cubicBezTo>
                    <a:cubicBezTo>
                      <a:pt x="86" y="56"/>
                      <a:pt x="86" y="56"/>
                      <a:pt x="86" y="56"/>
                    </a:cubicBezTo>
                    <a:cubicBezTo>
                      <a:pt x="86" y="56"/>
                      <a:pt x="85" y="57"/>
                      <a:pt x="85" y="57"/>
                    </a:cubicBezTo>
                    <a:cubicBezTo>
                      <a:pt x="85" y="57"/>
                      <a:pt x="85" y="57"/>
                      <a:pt x="85" y="57"/>
                    </a:cubicBezTo>
                    <a:cubicBezTo>
                      <a:pt x="85" y="58"/>
                      <a:pt x="85" y="58"/>
                      <a:pt x="85" y="58"/>
                    </a:cubicBezTo>
                    <a:cubicBezTo>
                      <a:pt x="85" y="58"/>
                      <a:pt x="85" y="58"/>
                      <a:pt x="85" y="59"/>
                    </a:cubicBezTo>
                    <a:cubicBezTo>
                      <a:pt x="85" y="59"/>
                      <a:pt x="85" y="59"/>
                      <a:pt x="85" y="59"/>
                    </a:cubicBezTo>
                    <a:cubicBezTo>
                      <a:pt x="85" y="59"/>
                      <a:pt x="84" y="60"/>
                      <a:pt x="84" y="60"/>
                    </a:cubicBezTo>
                    <a:cubicBezTo>
                      <a:pt x="84" y="60"/>
                      <a:pt x="84" y="60"/>
                      <a:pt x="84" y="60"/>
                    </a:cubicBezTo>
                    <a:cubicBezTo>
                      <a:pt x="84" y="60"/>
                      <a:pt x="84" y="60"/>
                      <a:pt x="84" y="61"/>
                    </a:cubicBezTo>
                    <a:cubicBezTo>
                      <a:pt x="84" y="61"/>
                      <a:pt x="84" y="61"/>
                      <a:pt x="84" y="61"/>
                    </a:cubicBezTo>
                    <a:cubicBezTo>
                      <a:pt x="84" y="61"/>
                      <a:pt x="84" y="61"/>
                      <a:pt x="84" y="61"/>
                    </a:cubicBezTo>
                    <a:cubicBezTo>
                      <a:pt x="84" y="61"/>
                      <a:pt x="84" y="62"/>
                      <a:pt x="84" y="62"/>
                    </a:cubicBezTo>
                    <a:cubicBezTo>
                      <a:pt x="84" y="62"/>
                      <a:pt x="83" y="62"/>
                      <a:pt x="83" y="62"/>
                    </a:cubicBezTo>
                    <a:cubicBezTo>
                      <a:pt x="83" y="62"/>
                      <a:pt x="83" y="62"/>
                      <a:pt x="83" y="62"/>
                    </a:cubicBezTo>
                    <a:cubicBezTo>
                      <a:pt x="83" y="62"/>
                      <a:pt x="83" y="62"/>
                      <a:pt x="83" y="63"/>
                    </a:cubicBezTo>
                    <a:cubicBezTo>
                      <a:pt x="83" y="63"/>
                      <a:pt x="83" y="63"/>
                      <a:pt x="83" y="63"/>
                    </a:cubicBezTo>
                    <a:cubicBezTo>
                      <a:pt x="82" y="63"/>
                      <a:pt x="82" y="64"/>
                      <a:pt x="82" y="64"/>
                    </a:cubicBezTo>
                    <a:cubicBezTo>
                      <a:pt x="82" y="64"/>
                      <a:pt x="82" y="64"/>
                      <a:pt x="82" y="64"/>
                    </a:cubicBezTo>
                    <a:cubicBezTo>
                      <a:pt x="82" y="64"/>
                      <a:pt x="82" y="64"/>
                      <a:pt x="82" y="64"/>
                    </a:cubicBezTo>
                    <a:cubicBezTo>
                      <a:pt x="82" y="64"/>
                      <a:pt x="82" y="64"/>
                      <a:pt x="82" y="64"/>
                    </a:cubicBezTo>
                    <a:cubicBezTo>
                      <a:pt x="81" y="65"/>
                      <a:pt x="82" y="66"/>
                      <a:pt x="81" y="67"/>
                    </a:cubicBezTo>
                    <a:cubicBezTo>
                      <a:pt x="81" y="67"/>
                      <a:pt x="81" y="67"/>
                      <a:pt x="81" y="67"/>
                    </a:cubicBezTo>
                    <a:cubicBezTo>
                      <a:pt x="81" y="68"/>
                      <a:pt x="81" y="68"/>
                      <a:pt x="80" y="68"/>
                    </a:cubicBezTo>
                    <a:cubicBezTo>
                      <a:pt x="80" y="69"/>
                      <a:pt x="80" y="69"/>
                      <a:pt x="80" y="69"/>
                    </a:cubicBezTo>
                    <a:cubicBezTo>
                      <a:pt x="80" y="69"/>
                      <a:pt x="80" y="69"/>
                      <a:pt x="79" y="69"/>
                    </a:cubicBezTo>
                    <a:cubicBezTo>
                      <a:pt x="79" y="69"/>
                      <a:pt x="79" y="69"/>
                      <a:pt x="79" y="69"/>
                    </a:cubicBezTo>
                    <a:cubicBezTo>
                      <a:pt x="79" y="69"/>
                      <a:pt x="79" y="69"/>
                      <a:pt x="79" y="69"/>
                    </a:cubicBezTo>
                    <a:cubicBezTo>
                      <a:pt x="78" y="69"/>
                      <a:pt x="78" y="70"/>
                      <a:pt x="78" y="70"/>
                    </a:cubicBezTo>
                    <a:cubicBezTo>
                      <a:pt x="77" y="70"/>
                      <a:pt x="77" y="70"/>
                      <a:pt x="77" y="70"/>
                    </a:cubicBezTo>
                    <a:cubicBezTo>
                      <a:pt x="77" y="71"/>
                      <a:pt x="77" y="72"/>
                      <a:pt x="76" y="73"/>
                    </a:cubicBezTo>
                    <a:cubicBezTo>
                      <a:pt x="76" y="73"/>
                      <a:pt x="76" y="74"/>
                      <a:pt x="76" y="74"/>
                    </a:cubicBezTo>
                    <a:cubicBezTo>
                      <a:pt x="75" y="74"/>
                      <a:pt x="75" y="74"/>
                      <a:pt x="75" y="74"/>
                    </a:cubicBezTo>
                    <a:cubicBezTo>
                      <a:pt x="75" y="74"/>
                      <a:pt x="75" y="74"/>
                      <a:pt x="75" y="74"/>
                    </a:cubicBezTo>
                    <a:cubicBezTo>
                      <a:pt x="75" y="74"/>
                      <a:pt x="75" y="74"/>
                      <a:pt x="75" y="74"/>
                    </a:cubicBezTo>
                    <a:cubicBezTo>
                      <a:pt x="74" y="74"/>
                      <a:pt x="74" y="75"/>
                      <a:pt x="74" y="75"/>
                    </a:cubicBezTo>
                    <a:cubicBezTo>
                      <a:pt x="74" y="76"/>
                      <a:pt x="73" y="76"/>
                      <a:pt x="73" y="76"/>
                    </a:cubicBezTo>
                    <a:cubicBezTo>
                      <a:pt x="73" y="76"/>
                      <a:pt x="73" y="76"/>
                      <a:pt x="73" y="76"/>
                    </a:cubicBezTo>
                    <a:cubicBezTo>
                      <a:pt x="72" y="76"/>
                      <a:pt x="72" y="76"/>
                      <a:pt x="72" y="76"/>
                    </a:cubicBezTo>
                    <a:cubicBezTo>
                      <a:pt x="72" y="76"/>
                      <a:pt x="72" y="76"/>
                      <a:pt x="72" y="76"/>
                    </a:cubicBezTo>
                    <a:cubicBezTo>
                      <a:pt x="72" y="76"/>
                      <a:pt x="72" y="76"/>
                      <a:pt x="72" y="76"/>
                    </a:cubicBezTo>
                    <a:cubicBezTo>
                      <a:pt x="71" y="76"/>
                      <a:pt x="71" y="76"/>
                      <a:pt x="71" y="76"/>
                    </a:cubicBezTo>
                    <a:cubicBezTo>
                      <a:pt x="71" y="77"/>
                      <a:pt x="71" y="77"/>
                      <a:pt x="70" y="77"/>
                    </a:cubicBezTo>
                    <a:cubicBezTo>
                      <a:pt x="70" y="77"/>
                      <a:pt x="70" y="77"/>
                      <a:pt x="69" y="77"/>
                    </a:cubicBezTo>
                    <a:cubicBezTo>
                      <a:pt x="69" y="77"/>
                      <a:pt x="69" y="77"/>
                      <a:pt x="69" y="77"/>
                    </a:cubicBezTo>
                    <a:cubicBezTo>
                      <a:pt x="69" y="77"/>
                      <a:pt x="69" y="77"/>
                      <a:pt x="69" y="77"/>
                    </a:cubicBezTo>
                    <a:cubicBezTo>
                      <a:pt x="68" y="78"/>
                      <a:pt x="68" y="78"/>
                      <a:pt x="68" y="78"/>
                    </a:cubicBezTo>
                    <a:cubicBezTo>
                      <a:pt x="68" y="78"/>
                      <a:pt x="68" y="78"/>
                      <a:pt x="68" y="78"/>
                    </a:cubicBezTo>
                    <a:cubicBezTo>
                      <a:pt x="68" y="78"/>
                      <a:pt x="68" y="79"/>
                      <a:pt x="67" y="79"/>
                    </a:cubicBezTo>
                    <a:cubicBezTo>
                      <a:pt x="66" y="79"/>
                      <a:pt x="65" y="79"/>
                      <a:pt x="65" y="78"/>
                    </a:cubicBezTo>
                    <a:cubicBezTo>
                      <a:pt x="65" y="78"/>
                      <a:pt x="65" y="78"/>
                      <a:pt x="65" y="77"/>
                    </a:cubicBezTo>
                    <a:cubicBezTo>
                      <a:pt x="65" y="77"/>
                      <a:pt x="65" y="77"/>
                      <a:pt x="65" y="77"/>
                    </a:cubicBezTo>
                    <a:cubicBezTo>
                      <a:pt x="65" y="77"/>
                      <a:pt x="65" y="77"/>
                      <a:pt x="65" y="77"/>
                    </a:cubicBezTo>
                    <a:cubicBezTo>
                      <a:pt x="65" y="77"/>
                      <a:pt x="65" y="77"/>
                      <a:pt x="65" y="76"/>
                    </a:cubicBezTo>
                    <a:cubicBezTo>
                      <a:pt x="65" y="76"/>
                      <a:pt x="65" y="76"/>
                      <a:pt x="65" y="76"/>
                    </a:cubicBezTo>
                    <a:cubicBezTo>
                      <a:pt x="65" y="77"/>
                      <a:pt x="65" y="77"/>
                      <a:pt x="65" y="76"/>
                    </a:cubicBezTo>
                    <a:cubicBezTo>
                      <a:pt x="64" y="76"/>
                      <a:pt x="64" y="76"/>
                      <a:pt x="64" y="76"/>
                    </a:cubicBezTo>
                    <a:cubicBezTo>
                      <a:pt x="64" y="76"/>
                      <a:pt x="64" y="77"/>
                      <a:pt x="64" y="76"/>
                    </a:cubicBezTo>
                    <a:cubicBezTo>
                      <a:pt x="64" y="76"/>
                      <a:pt x="64" y="76"/>
                      <a:pt x="64" y="76"/>
                    </a:cubicBezTo>
                    <a:cubicBezTo>
                      <a:pt x="64" y="76"/>
                      <a:pt x="64" y="76"/>
                      <a:pt x="64" y="76"/>
                    </a:cubicBezTo>
                    <a:cubicBezTo>
                      <a:pt x="64" y="76"/>
                      <a:pt x="64" y="76"/>
                      <a:pt x="64" y="75"/>
                    </a:cubicBezTo>
                    <a:cubicBezTo>
                      <a:pt x="64" y="75"/>
                      <a:pt x="65" y="75"/>
                      <a:pt x="65" y="75"/>
                    </a:cubicBezTo>
                    <a:cubicBezTo>
                      <a:pt x="65" y="76"/>
                      <a:pt x="65" y="76"/>
                      <a:pt x="65" y="75"/>
                    </a:cubicBezTo>
                    <a:cubicBezTo>
                      <a:pt x="65" y="75"/>
                      <a:pt x="66" y="75"/>
                      <a:pt x="66" y="75"/>
                    </a:cubicBezTo>
                    <a:cubicBezTo>
                      <a:pt x="66" y="75"/>
                      <a:pt x="66" y="74"/>
                      <a:pt x="66" y="75"/>
                    </a:cubicBezTo>
                    <a:cubicBezTo>
                      <a:pt x="67" y="75"/>
                      <a:pt x="67" y="74"/>
                      <a:pt x="67" y="74"/>
                    </a:cubicBezTo>
                    <a:cubicBezTo>
                      <a:pt x="67" y="74"/>
                      <a:pt x="67" y="73"/>
                      <a:pt x="67" y="73"/>
                    </a:cubicBezTo>
                    <a:cubicBezTo>
                      <a:pt x="67" y="73"/>
                      <a:pt x="67" y="73"/>
                      <a:pt x="67" y="73"/>
                    </a:cubicBezTo>
                    <a:cubicBezTo>
                      <a:pt x="67" y="73"/>
                      <a:pt x="67" y="73"/>
                      <a:pt x="67" y="73"/>
                    </a:cubicBezTo>
                    <a:cubicBezTo>
                      <a:pt x="66" y="73"/>
                      <a:pt x="66" y="73"/>
                      <a:pt x="66" y="73"/>
                    </a:cubicBezTo>
                    <a:cubicBezTo>
                      <a:pt x="65" y="73"/>
                      <a:pt x="65" y="74"/>
                      <a:pt x="64" y="74"/>
                    </a:cubicBezTo>
                    <a:cubicBezTo>
                      <a:pt x="64" y="74"/>
                      <a:pt x="63" y="74"/>
                      <a:pt x="63" y="74"/>
                    </a:cubicBezTo>
                    <a:cubicBezTo>
                      <a:pt x="63" y="75"/>
                      <a:pt x="63" y="75"/>
                      <a:pt x="63" y="75"/>
                    </a:cubicBezTo>
                    <a:cubicBezTo>
                      <a:pt x="63" y="75"/>
                      <a:pt x="63" y="76"/>
                      <a:pt x="63" y="76"/>
                    </a:cubicBezTo>
                    <a:cubicBezTo>
                      <a:pt x="63" y="76"/>
                      <a:pt x="63" y="76"/>
                      <a:pt x="63" y="76"/>
                    </a:cubicBezTo>
                    <a:cubicBezTo>
                      <a:pt x="63" y="76"/>
                      <a:pt x="63" y="77"/>
                      <a:pt x="63" y="77"/>
                    </a:cubicBezTo>
                    <a:cubicBezTo>
                      <a:pt x="64" y="77"/>
                      <a:pt x="63" y="78"/>
                      <a:pt x="63" y="78"/>
                    </a:cubicBezTo>
                    <a:cubicBezTo>
                      <a:pt x="63" y="79"/>
                      <a:pt x="63" y="80"/>
                      <a:pt x="62" y="81"/>
                    </a:cubicBezTo>
                    <a:cubicBezTo>
                      <a:pt x="62" y="81"/>
                      <a:pt x="62" y="81"/>
                      <a:pt x="62" y="81"/>
                    </a:cubicBezTo>
                    <a:cubicBezTo>
                      <a:pt x="62" y="81"/>
                      <a:pt x="62" y="81"/>
                      <a:pt x="62" y="81"/>
                    </a:cubicBezTo>
                    <a:cubicBezTo>
                      <a:pt x="61" y="81"/>
                      <a:pt x="61" y="82"/>
                      <a:pt x="61" y="82"/>
                    </a:cubicBezTo>
                    <a:cubicBezTo>
                      <a:pt x="60" y="82"/>
                      <a:pt x="60" y="83"/>
                      <a:pt x="60" y="83"/>
                    </a:cubicBezTo>
                    <a:cubicBezTo>
                      <a:pt x="60" y="83"/>
                      <a:pt x="60" y="83"/>
                      <a:pt x="60" y="83"/>
                    </a:cubicBezTo>
                    <a:cubicBezTo>
                      <a:pt x="60" y="83"/>
                      <a:pt x="60" y="83"/>
                      <a:pt x="59" y="83"/>
                    </a:cubicBezTo>
                    <a:cubicBezTo>
                      <a:pt x="59" y="83"/>
                      <a:pt x="59" y="84"/>
                      <a:pt x="59" y="84"/>
                    </a:cubicBezTo>
                    <a:cubicBezTo>
                      <a:pt x="59" y="84"/>
                      <a:pt x="59" y="84"/>
                      <a:pt x="59" y="84"/>
                    </a:cubicBezTo>
                    <a:cubicBezTo>
                      <a:pt x="59" y="84"/>
                      <a:pt x="58" y="85"/>
                      <a:pt x="58" y="85"/>
                    </a:cubicBezTo>
                    <a:cubicBezTo>
                      <a:pt x="58" y="85"/>
                      <a:pt x="58" y="86"/>
                      <a:pt x="58" y="86"/>
                    </a:cubicBezTo>
                    <a:cubicBezTo>
                      <a:pt x="58" y="86"/>
                      <a:pt x="58" y="87"/>
                      <a:pt x="58" y="87"/>
                    </a:cubicBezTo>
                    <a:cubicBezTo>
                      <a:pt x="59" y="87"/>
                      <a:pt x="59" y="87"/>
                      <a:pt x="59" y="87"/>
                    </a:cubicBezTo>
                    <a:cubicBezTo>
                      <a:pt x="59" y="87"/>
                      <a:pt x="59" y="87"/>
                      <a:pt x="59" y="87"/>
                    </a:cubicBezTo>
                    <a:cubicBezTo>
                      <a:pt x="59" y="88"/>
                      <a:pt x="59" y="88"/>
                      <a:pt x="59" y="88"/>
                    </a:cubicBezTo>
                    <a:cubicBezTo>
                      <a:pt x="58" y="88"/>
                      <a:pt x="58" y="88"/>
                      <a:pt x="58" y="88"/>
                    </a:cubicBezTo>
                    <a:cubicBezTo>
                      <a:pt x="58" y="88"/>
                      <a:pt x="58" y="88"/>
                      <a:pt x="58" y="88"/>
                    </a:cubicBezTo>
                    <a:cubicBezTo>
                      <a:pt x="58" y="88"/>
                      <a:pt x="58" y="88"/>
                      <a:pt x="58" y="88"/>
                    </a:cubicBezTo>
                    <a:cubicBezTo>
                      <a:pt x="58" y="88"/>
                      <a:pt x="58" y="88"/>
                      <a:pt x="58" y="88"/>
                    </a:cubicBezTo>
                    <a:cubicBezTo>
                      <a:pt x="58" y="88"/>
                      <a:pt x="58" y="88"/>
                      <a:pt x="58" y="89"/>
                    </a:cubicBezTo>
                    <a:cubicBezTo>
                      <a:pt x="58" y="89"/>
                      <a:pt x="58" y="89"/>
                      <a:pt x="57" y="89"/>
                    </a:cubicBezTo>
                    <a:cubicBezTo>
                      <a:pt x="57" y="89"/>
                      <a:pt x="57" y="89"/>
                      <a:pt x="57" y="89"/>
                    </a:cubicBezTo>
                    <a:cubicBezTo>
                      <a:pt x="57" y="89"/>
                      <a:pt x="57" y="89"/>
                      <a:pt x="57" y="89"/>
                    </a:cubicBezTo>
                    <a:cubicBezTo>
                      <a:pt x="57" y="89"/>
                      <a:pt x="57" y="89"/>
                      <a:pt x="57" y="89"/>
                    </a:cubicBezTo>
                    <a:cubicBezTo>
                      <a:pt x="57" y="90"/>
                      <a:pt x="57" y="89"/>
                      <a:pt x="57" y="89"/>
                    </a:cubicBezTo>
                    <a:cubicBezTo>
                      <a:pt x="57" y="89"/>
                      <a:pt x="57" y="89"/>
                      <a:pt x="56" y="89"/>
                    </a:cubicBezTo>
                    <a:cubicBezTo>
                      <a:pt x="56" y="89"/>
                      <a:pt x="56" y="89"/>
                      <a:pt x="56" y="89"/>
                    </a:cubicBezTo>
                    <a:cubicBezTo>
                      <a:pt x="56" y="89"/>
                      <a:pt x="56" y="90"/>
                      <a:pt x="56" y="89"/>
                    </a:cubicBezTo>
                    <a:cubicBezTo>
                      <a:pt x="57" y="89"/>
                      <a:pt x="56" y="90"/>
                      <a:pt x="56" y="90"/>
                    </a:cubicBezTo>
                    <a:cubicBezTo>
                      <a:pt x="56" y="90"/>
                      <a:pt x="56" y="90"/>
                      <a:pt x="56" y="90"/>
                    </a:cubicBezTo>
                    <a:cubicBezTo>
                      <a:pt x="56" y="90"/>
                      <a:pt x="56" y="90"/>
                      <a:pt x="56" y="90"/>
                    </a:cubicBezTo>
                    <a:cubicBezTo>
                      <a:pt x="56" y="90"/>
                      <a:pt x="56" y="90"/>
                      <a:pt x="56" y="90"/>
                    </a:cubicBezTo>
                    <a:cubicBezTo>
                      <a:pt x="56" y="90"/>
                      <a:pt x="56" y="90"/>
                      <a:pt x="56" y="90"/>
                    </a:cubicBezTo>
                    <a:cubicBezTo>
                      <a:pt x="56" y="90"/>
                      <a:pt x="56" y="90"/>
                      <a:pt x="56" y="89"/>
                    </a:cubicBezTo>
                    <a:cubicBezTo>
                      <a:pt x="56" y="89"/>
                      <a:pt x="55" y="90"/>
                      <a:pt x="55" y="90"/>
                    </a:cubicBezTo>
                    <a:cubicBezTo>
                      <a:pt x="55" y="90"/>
                      <a:pt x="55" y="90"/>
                      <a:pt x="55" y="90"/>
                    </a:cubicBezTo>
                    <a:cubicBezTo>
                      <a:pt x="55" y="90"/>
                      <a:pt x="55" y="89"/>
                      <a:pt x="55" y="89"/>
                    </a:cubicBezTo>
                    <a:cubicBezTo>
                      <a:pt x="55" y="89"/>
                      <a:pt x="55" y="89"/>
                      <a:pt x="55" y="89"/>
                    </a:cubicBezTo>
                    <a:cubicBezTo>
                      <a:pt x="55" y="89"/>
                      <a:pt x="54" y="89"/>
                      <a:pt x="54" y="89"/>
                    </a:cubicBezTo>
                    <a:cubicBezTo>
                      <a:pt x="54" y="89"/>
                      <a:pt x="54" y="89"/>
                      <a:pt x="54" y="89"/>
                    </a:cubicBezTo>
                    <a:cubicBezTo>
                      <a:pt x="54" y="89"/>
                      <a:pt x="54" y="89"/>
                      <a:pt x="54" y="89"/>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3" y="90"/>
                    </a:cubicBezTo>
                    <a:cubicBezTo>
                      <a:pt x="53" y="90"/>
                      <a:pt x="53" y="89"/>
                      <a:pt x="53" y="89"/>
                    </a:cubicBezTo>
                    <a:cubicBezTo>
                      <a:pt x="53" y="89"/>
                      <a:pt x="53" y="89"/>
                      <a:pt x="53" y="89"/>
                    </a:cubicBezTo>
                    <a:cubicBezTo>
                      <a:pt x="53" y="89"/>
                      <a:pt x="53" y="89"/>
                      <a:pt x="53" y="89"/>
                    </a:cubicBezTo>
                    <a:cubicBezTo>
                      <a:pt x="53" y="89"/>
                      <a:pt x="53" y="89"/>
                      <a:pt x="53" y="89"/>
                    </a:cubicBezTo>
                    <a:cubicBezTo>
                      <a:pt x="53" y="89"/>
                      <a:pt x="53" y="89"/>
                      <a:pt x="53" y="89"/>
                    </a:cubicBezTo>
                    <a:cubicBezTo>
                      <a:pt x="53" y="89"/>
                      <a:pt x="53" y="89"/>
                      <a:pt x="53" y="88"/>
                    </a:cubicBezTo>
                    <a:cubicBezTo>
                      <a:pt x="53" y="88"/>
                      <a:pt x="54" y="88"/>
                      <a:pt x="53" y="88"/>
                    </a:cubicBezTo>
                    <a:cubicBezTo>
                      <a:pt x="53" y="88"/>
                      <a:pt x="53" y="87"/>
                      <a:pt x="53" y="88"/>
                    </a:cubicBezTo>
                    <a:cubicBezTo>
                      <a:pt x="52" y="88"/>
                      <a:pt x="52" y="88"/>
                      <a:pt x="52" y="88"/>
                    </a:cubicBezTo>
                    <a:cubicBezTo>
                      <a:pt x="51" y="88"/>
                      <a:pt x="51" y="89"/>
                      <a:pt x="51" y="88"/>
                    </a:cubicBezTo>
                    <a:cubicBezTo>
                      <a:pt x="51" y="88"/>
                      <a:pt x="51" y="88"/>
                      <a:pt x="50" y="88"/>
                    </a:cubicBezTo>
                    <a:cubicBezTo>
                      <a:pt x="50" y="88"/>
                      <a:pt x="50" y="88"/>
                      <a:pt x="50" y="88"/>
                    </a:cubicBezTo>
                    <a:cubicBezTo>
                      <a:pt x="50" y="88"/>
                      <a:pt x="50" y="88"/>
                      <a:pt x="50" y="88"/>
                    </a:cubicBezTo>
                    <a:cubicBezTo>
                      <a:pt x="50" y="88"/>
                      <a:pt x="49" y="88"/>
                      <a:pt x="49" y="88"/>
                    </a:cubicBezTo>
                    <a:cubicBezTo>
                      <a:pt x="49" y="88"/>
                      <a:pt x="49" y="88"/>
                      <a:pt x="49" y="88"/>
                    </a:cubicBezTo>
                    <a:cubicBezTo>
                      <a:pt x="48" y="88"/>
                      <a:pt x="48" y="88"/>
                      <a:pt x="48" y="89"/>
                    </a:cubicBezTo>
                    <a:cubicBezTo>
                      <a:pt x="48" y="89"/>
                      <a:pt x="47" y="89"/>
                      <a:pt x="47" y="89"/>
                    </a:cubicBezTo>
                    <a:cubicBezTo>
                      <a:pt x="47" y="89"/>
                      <a:pt x="47" y="89"/>
                      <a:pt x="47" y="89"/>
                    </a:cubicBezTo>
                    <a:cubicBezTo>
                      <a:pt x="47" y="89"/>
                      <a:pt x="47" y="89"/>
                      <a:pt x="47" y="89"/>
                    </a:cubicBezTo>
                    <a:cubicBezTo>
                      <a:pt x="47" y="89"/>
                      <a:pt x="46" y="89"/>
                      <a:pt x="46" y="89"/>
                    </a:cubicBezTo>
                    <a:cubicBezTo>
                      <a:pt x="46" y="89"/>
                      <a:pt x="46" y="89"/>
                      <a:pt x="46" y="89"/>
                    </a:cubicBezTo>
                    <a:cubicBezTo>
                      <a:pt x="46" y="89"/>
                      <a:pt x="46" y="89"/>
                      <a:pt x="45" y="90"/>
                    </a:cubicBezTo>
                    <a:cubicBezTo>
                      <a:pt x="45" y="90"/>
                      <a:pt x="45" y="89"/>
                      <a:pt x="44" y="89"/>
                    </a:cubicBezTo>
                    <a:cubicBezTo>
                      <a:pt x="44" y="90"/>
                      <a:pt x="44" y="90"/>
                      <a:pt x="43" y="90"/>
                    </a:cubicBezTo>
                    <a:cubicBezTo>
                      <a:pt x="43" y="90"/>
                      <a:pt x="42" y="90"/>
                      <a:pt x="42" y="90"/>
                    </a:cubicBezTo>
                    <a:cubicBezTo>
                      <a:pt x="42" y="89"/>
                      <a:pt x="41" y="90"/>
                      <a:pt x="41" y="90"/>
                    </a:cubicBezTo>
                    <a:cubicBezTo>
                      <a:pt x="40" y="90"/>
                      <a:pt x="40" y="90"/>
                      <a:pt x="40" y="90"/>
                    </a:cubicBezTo>
                    <a:cubicBezTo>
                      <a:pt x="40" y="90"/>
                      <a:pt x="40" y="90"/>
                      <a:pt x="40" y="89"/>
                    </a:cubicBezTo>
                    <a:cubicBezTo>
                      <a:pt x="39" y="89"/>
                      <a:pt x="40" y="89"/>
                      <a:pt x="40" y="89"/>
                    </a:cubicBezTo>
                    <a:cubicBezTo>
                      <a:pt x="40" y="89"/>
                      <a:pt x="40" y="89"/>
                      <a:pt x="40" y="89"/>
                    </a:cubicBezTo>
                    <a:cubicBezTo>
                      <a:pt x="40" y="89"/>
                      <a:pt x="40" y="89"/>
                      <a:pt x="40" y="89"/>
                    </a:cubicBezTo>
                    <a:cubicBezTo>
                      <a:pt x="39" y="89"/>
                      <a:pt x="39" y="89"/>
                      <a:pt x="38" y="89"/>
                    </a:cubicBezTo>
                    <a:cubicBezTo>
                      <a:pt x="38" y="89"/>
                      <a:pt x="38" y="89"/>
                      <a:pt x="38" y="89"/>
                    </a:cubicBezTo>
                    <a:cubicBezTo>
                      <a:pt x="38" y="89"/>
                      <a:pt x="38" y="89"/>
                      <a:pt x="38" y="89"/>
                    </a:cubicBezTo>
                    <a:cubicBezTo>
                      <a:pt x="37" y="90"/>
                      <a:pt x="37" y="90"/>
                      <a:pt x="37" y="90"/>
                    </a:cubicBezTo>
                    <a:cubicBezTo>
                      <a:pt x="37" y="90"/>
                      <a:pt x="36" y="90"/>
                      <a:pt x="36" y="90"/>
                    </a:cubicBezTo>
                    <a:cubicBezTo>
                      <a:pt x="36" y="90"/>
                      <a:pt x="36" y="90"/>
                      <a:pt x="36" y="90"/>
                    </a:cubicBezTo>
                    <a:cubicBezTo>
                      <a:pt x="36" y="90"/>
                      <a:pt x="35" y="90"/>
                      <a:pt x="35" y="90"/>
                    </a:cubicBezTo>
                    <a:cubicBezTo>
                      <a:pt x="35" y="90"/>
                      <a:pt x="35" y="90"/>
                      <a:pt x="35" y="90"/>
                    </a:cubicBezTo>
                    <a:cubicBezTo>
                      <a:pt x="36" y="91"/>
                      <a:pt x="36" y="91"/>
                      <a:pt x="36" y="91"/>
                    </a:cubicBezTo>
                    <a:cubicBezTo>
                      <a:pt x="35" y="91"/>
                      <a:pt x="35" y="92"/>
                      <a:pt x="34" y="92"/>
                    </a:cubicBezTo>
                    <a:cubicBezTo>
                      <a:pt x="34" y="92"/>
                      <a:pt x="34" y="92"/>
                      <a:pt x="34" y="92"/>
                    </a:cubicBezTo>
                    <a:cubicBezTo>
                      <a:pt x="34" y="92"/>
                      <a:pt x="34" y="92"/>
                      <a:pt x="34" y="93"/>
                    </a:cubicBezTo>
                    <a:cubicBezTo>
                      <a:pt x="34" y="93"/>
                      <a:pt x="33" y="93"/>
                      <a:pt x="33" y="93"/>
                    </a:cubicBezTo>
                    <a:cubicBezTo>
                      <a:pt x="33" y="93"/>
                      <a:pt x="33"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1" y="95"/>
                    </a:cubicBezTo>
                    <a:cubicBezTo>
                      <a:pt x="31" y="95"/>
                      <a:pt x="31" y="95"/>
                      <a:pt x="31" y="95"/>
                    </a:cubicBezTo>
                    <a:cubicBezTo>
                      <a:pt x="31" y="95"/>
                      <a:pt x="31" y="95"/>
                      <a:pt x="31" y="95"/>
                    </a:cubicBezTo>
                    <a:cubicBezTo>
                      <a:pt x="30" y="96"/>
                      <a:pt x="30" y="96"/>
                      <a:pt x="30" y="96"/>
                    </a:cubicBezTo>
                    <a:cubicBezTo>
                      <a:pt x="30" y="96"/>
                      <a:pt x="29" y="96"/>
                      <a:pt x="29" y="97"/>
                    </a:cubicBezTo>
                    <a:cubicBezTo>
                      <a:pt x="29" y="97"/>
                      <a:pt x="29" y="97"/>
                      <a:pt x="29" y="97"/>
                    </a:cubicBezTo>
                    <a:cubicBezTo>
                      <a:pt x="29" y="97"/>
                      <a:pt x="29" y="97"/>
                      <a:pt x="28" y="97"/>
                    </a:cubicBezTo>
                    <a:cubicBezTo>
                      <a:pt x="28" y="97"/>
                      <a:pt x="28" y="97"/>
                      <a:pt x="28" y="97"/>
                    </a:cubicBezTo>
                    <a:cubicBezTo>
                      <a:pt x="28" y="97"/>
                      <a:pt x="28" y="98"/>
                      <a:pt x="27" y="98"/>
                    </a:cubicBezTo>
                    <a:cubicBezTo>
                      <a:pt x="27" y="98"/>
                      <a:pt x="27" y="98"/>
                      <a:pt x="27" y="98"/>
                    </a:cubicBezTo>
                    <a:cubicBezTo>
                      <a:pt x="27" y="98"/>
                      <a:pt x="27" y="99"/>
                      <a:pt x="27" y="99"/>
                    </a:cubicBezTo>
                    <a:cubicBezTo>
                      <a:pt x="26" y="99"/>
                      <a:pt x="26" y="99"/>
                      <a:pt x="26" y="99"/>
                    </a:cubicBezTo>
                    <a:cubicBezTo>
                      <a:pt x="26" y="99"/>
                      <a:pt x="26" y="99"/>
                      <a:pt x="26" y="99"/>
                    </a:cubicBezTo>
                    <a:cubicBezTo>
                      <a:pt x="26" y="99"/>
                      <a:pt x="26" y="99"/>
                      <a:pt x="26" y="99"/>
                    </a:cubicBezTo>
                    <a:cubicBezTo>
                      <a:pt x="26" y="99"/>
                      <a:pt x="25" y="98"/>
                      <a:pt x="25" y="99"/>
                    </a:cubicBezTo>
                    <a:cubicBezTo>
                      <a:pt x="25" y="99"/>
                      <a:pt x="25" y="99"/>
                      <a:pt x="25" y="99"/>
                    </a:cubicBezTo>
                    <a:cubicBezTo>
                      <a:pt x="25" y="98"/>
                      <a:pt x="25" y="99"/>
                      <a:pt x="24" y="99"/>
                    </a:cubicBezTo>
                    <a:cubicBezTo>
                      <a:pt x="24" y="99"/>
                      <a:pt x="24" y="98"/>
                      <a:pt x="24" y="99"/>
                    </a:cubicBezTo>
                    <a:cubicBezTo>
                      <a:pt x="24" y="99"/>
                      <a:pt x="24" y="99"/>
                      <a:pt x="24" y="99"/>
                    </a:cubicBezTo>
                    <a:cubicBezTo>
                      <a:pt x="25" y="99"/>
                      <a:pt x="24" y="99"/>
                      <a:pt x="24" y="99"/>
                    </a:cubicBezTo>
                    <a:cubicBezTo>
                      <a:pt x="24" y="99"/>
                      <a:pt x="24" y="99"/>
                      <a:pt x="24" y="99"/>
                    </a:cubicBezTo>
                    <a:cubicBezTo>
                      <a:pt x="23" y="99"/>
                      <a:pt x="24" y="99"/>
                      <a:pt x="24" y="100"/>
                    </a:cubicBezTo>
                    <a:cubicBezTo>
                      <a:pt x="23" y="100"/>
                      <a:pt x="23" y="100"/>
                      <a:pt x="23" y="100"/>
                    </a:cubicBezTo>
                    <a:cubicBezTo>
                      <a:pt x="23" y="100"/>
                      <a:pt x="23" y="100"/>
                      <a:pt x="23" y="100"/>
                    </a:cubicBezTo>
                    <a:cubicBezTo>
                      <a:pt x="24" y="100"/>
                      <a:pt x="24" y="101"/>
                      <a:pt x="23" y="101"/>
                    </a:cubicBezTo>
                    <a:cubicBezTo>
                      <a:pt x="23" y="101"/>
                      <a:pt x="23" y="101"/>
                      <a:pt x="23" y="101"/>
                    </a:cubicBezTo>
                    <a:cubicBezTo>
                      <a:pt x="24" y="102"/>
                      <a:pt x="24" y="102"/>
                      <a:pt x="24" y="102"/>
                    </a:cubicBezTo>
                    <a:cubicBezTo>
                      <a:pt x="24" y="102"/>
                      <a:pt x="24" y="102"/>
                      <a:pt x="23" y="103"/>
                    </a:cubicBezTo>
                    <a:cubicBezTo>
                      <a:pt x="23" y="103"/>
                      <a:pt x="23" y="103"/>
                      <a:pt x="24" y="103"/>
                    </a:cubicBezTo>
                    <a:cubicBezTo>
                      <a:pt x="24" y="103"/>
                      <a:pt x="24" y="103"/>
                      <a:pt x="24" y="103"/>
                    </a:cubicBezTo>
                    <a:cubicBezTo>
                      <a:pt x="24" y="103"/>
                      <a:pt x="24" y="103"/>
                      <a:pt x="24" y="103"/>
                    </a:cubicBezTo>
                    <a:cubicBezTo>
                      <a:pt x="24" y="103"/>
                      <a:pt x="24" y="103"/>
                      <a:pt x="24" y="103"/>
                    </a:cubicBezTo>
                    <a:cubicBezTo>
                      <a:pt x="24" y="102"/>
                      <a:pt x="24" y="102"/>
                      <a:pt x="24" y="102"/>
                    </a:cubicBezTo>
                    <a:cubicBezTo>
                      <a:pt x="24" y="102"/>
                      <a:pt x="24" y="102"/>
                      <a:pt x="24" y="102"/>
                    </a:cubicBezTo>
                    <a:cubicBezTo>
                      <a:pt x="24" y="102"/>
                      <a:pt x="24" y="102"/>
                      <a:pt x="24" y="102"/>
                    </a:cubicBezTo>
                    <a:cubicBezTo>
                      <a:pt x="24" y="102"/>
                      <a:pt x="25" y="102"/>
                      <a:pt x="25" y="102"/>
                    </a:cubicBezTo>
                    <a:cubicBezTo>
                      <a:pt x="25" y="102"/>
                      <a:pt x="25" y="102"/>
                      <a:pt x="25" y="102"/>
                    </a:cubicBezTo>
                    <a:cubicBezTo>
                      <a:pt x="25" y="102"/>
                      <a:pt x="25" y="102"/>
                      <a:pt x="25" y="102"/>
                    </a:cubicBezTo>
                    <a:cubicBezTo>
                      <a:pt x="25" y="102"/>
                      <a:pt x="25" y="102"/>
                      <a:pt x="25" y="102"/>
                    </a:cubicBezTo>
                    <a:cubicBezTo>
                      <a:pt x="25" y="102"/>
                      <a:pt x="25" y="103"/>
                      <a:pt x="26" y="102"/>
                    </a:cubicBezTo>
                    <a:cubicBezTo>
                      <a:pt x="26" y="103"/>
                      <a:pt x="26" y="103"/>
                      <a:pt x="26" y="102"/>
                    </a:cubicBezTo>
                    <a:cubicBezTo>
                      <a:pt x="27" y="102"/>
                      <a:pt x="27" y="102"/>
                      <a:pt x="27" y="102"/>
                    </a:cubicBezTo>
                    <a:cubicBezTo>
                      <a:pt x="27" y="102"/>
                      <a:pt x="27" y="102"/>
                      <a:pt x="27" y="102"/>
                    </a:cubicBezTo>
                    <a:cubicBezTo>
                      <a:pt x="27" y="102"/>
                      <a:pt x="27" y="102"/>
                      <a:pt x="27" y="102"/>
                    </a:cubicBezTo>
                    <a:cubicBezTo>
                      <a:pt x="27" y="102"/>
                      <a:pt x="28" y="102"/>
                      <a:pt x="28" y="102"/>
                    </a:cubicBezTo>
                    <a:cubicBezTo>
                      <a:pt x="28" y="102"/>
                      <a:pt x="28" y="102"/>
                      <a:pt x="28" y="102"/>
                    </a:cubicBezTo>
                    <a:cubicBezTo>
                      <a:pt x="28" y="102"/>
                      <a:pt x="28" y="102"/>
                      <a:pt x="28" y="102"/>
                    </a:cubicBezTo>
                    <a:cubicBezTo>
                      <a:pt x="29" y="102"/>
                      <a:pt x="29" y="102"/>
                      <a:pt x="29" y="102"/>
                    </a:cubicBezTo>
                    <a:cubicBezTo>
                      <a:pt x="29" y="102"/>
                      <a:pt x="29" y="101"/>
                      <a:pt x="30" y="102"/>
                    </a:cubicBezTo>
                    <a:cubicBezTo>
                      <a:pt x="30" y="102"/>
                      <a:pt x="30" y="102"/>
                      <a:pt x="30" y="102"/>
                    </a:cubicBezTo>
                    <a:cubicBezTo>
                      <a:pt x="29" y="102"/>
                      <a:pt x="29" y="102"/>
                      <a:pt x="30" y="102"/>
                    </a:cubicBezTo>
                    <a:cubicBezTo>
                      <a:pt x="30" y="102"/>
                      <a:pt x="30" y="102"/>
                      <a:pt x="30" y="102"/>
                    </a:cubicBezTo>
                    <a:cubicBezTo>
                      <a:pt x="30" y="102"/>
                      <a:pt x="30" y="102"/>
                      <a:pt x="30" y="102"/>
                    </a:cubicBezTo>
                    <a:cubicBezTo>
                      <a:pt x="31" y="102"/>
                      <a:pt x="31" y="103"/>
                      <a:pt x="31" y="103"/>
                    </a:cubicBezTo>
                    <a:cubicBezTo>
                      <a:pt x="32" y="103"/>
                      <a:pt x="32" y="103"/>
                      <a:pt x="32" y="103"/>
                    </a:cubicBezTo>
                    <a:cubicBezTo>
                      <a:pt x="32" y="103"/>
                      <a:pt x="32" y="103"/>
                      <a:pt x="32" y="103"/>
                    </a:cubicBezTo>
                    <a:cubicBezTo>
                      <a:pt x="32" y="103"/>
                      <a:pt x="32" y="103"/>
                      <a:pt x="32" y="102"/>
                    </a:cubicBezTo>
                    <a:cubicBezTo>
                      <a:pt x="32" y="102"/>
                      <a:pt x="32" y="102"/>
                      <a:pt x="32" y="102"/>
                    </a:cubicBezTo>
                    <a:cubicBezTo>
                      <a:pt x="32" y="101"/>
                      <a:pt x="32" y="101"/>
                      <a:pt x="33" y="101"/>
                    </a:cubicBezTo>
                    <a:cubicBezTo>
                      <a:pt x="33" y="101"/>
                      <a:pt x="33" y="101"/>
                      <a:pt x="33" y="101"/>
                    </a:cubicBezTo>
                    <a:cubicBezTo>
                      <a:pt x="33" y="101"/>
                      <a:pt x="33" y="101"/>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99"/>
                    </a:cubicBezTo>
                    <a:cubicBezTo>
                      <a:pt x="33" y="99"/>
                      <a:pt x="33" y="99"/>
                      <a:pt x="34" y="99"/>
                    </a:cubicBezTo>
                    <a:cubicBezTo>
                      <a:pt x="34" y="99"/>
                      <a:pt x="34" y="99"/>
                      <a:pt x="34" y="99"/>
                    </a:cubicBezTo>
                    <a:cubicBezTo>
                      <a:pt x="34" y="99"/>
                      <a:pt x="34" y="99"/>
                      <a:pt x="34" y="100"/>
                    </a:cubicBezTo>
                    <a:cubicBezTo>
                      <a:pt x="34" y="100"/>
                      <a:pt x="34" y="100"/>
                      <a:pt x="34" y="100"/>
                    </a:cubicBezTo>
                    <a:cubicBezTo>
                      <a:pt x="34" y="100"/>
                      <a:pt x="34" y="100"/>
                      <a:pt x="34" y="100"/>
                    </a:cubicBezTo>
                    <a:cubicBezTo>
                      <a:pt x="34" y="100"/>
                      <a:pt x="34" y="100"/>
                      <a:pt x="34" y="100"/>
                    </a:cubicBezTo>
                    <a:cubicBezTo>
                      <a:pt x="34" y="100"/>
                      <a:pt x="34" y="100"/>
                      <a:pt x="34" y="100"/>
                    </a:cubicBezTo>
                    <a:cubicBezTo>
                      <a:pt x="34" y="100"/>
                      <a:pt x="34" y="100"/>
                      <a:pt x="35" y="100"/>
                    </a:cubicBezTo>
                    <a:cubicBezTo>
                      <a:pt x="35" y="100"/>
                      <a:pt x="35" y="100"/>
                      <a:pt x="35" y="100"/>
                    </a:cubicBezTo>
                    <a:cubicBezTo>
                      <a:pt x="35" y="101"/>
                      <a:pt x="34" y="101"/>
                      <a:pt x="34" y="101"/>
                    </a:cubicBezTo>
                    <a:cubicBezTo>
                      <a:pt x="34" y="101"/>
                      <a:pt x="34" y="101"/>
                      <a:pt x="34" y="101"/>
                    </a:cubicBezTo>
                    <a:cubicBezTo>
                      <a:pt x="34" y="101"/>
                      <a:pt x="34" y="101"/>
                      <a:pt x="34" y="101"/>
                    </a:cubicBezTo>
                    <a:cubicBezTo>
                      <a:pt x="34" y="101"/>
                      <a:pt x="35" y="101"/>
                      <a:pt x="35" y="101"/>
                    </a:cubicBezTo>
                    <a:cubicBezTo>
                      <a:pt x="35" y="101"/>
                      <a:pt x="35" y="101"/>
                      <a:pt x="35" y="101"/>
                    </a:cubicBezTo>
                    <a:cubicBezTo>
                      <a:pt x="35" y="101"/>
                      <a:pt x="35" y="100"/>
                      <a:pt x="35" y="100"/>
                    </a:cubicBezTo>
                    <a:cubicBezTo>
                      <a:pt x="35" y="100"/>
                      <a:pt x="35" y="100"/>
                      <a:pt x="35" y="100"/>
                    </a:cubicBezTo>
                    <a:cubicBezTo>
                      <a:pt x="35" y="100"/>
                      <a:pt x="35" y="100"/>
                      <a:pt x="35" y="100"/>
                    </a:cubicBezTo>
                    <a:cubicBezTo>
                      <a:pt x="35" y="101"/>
                      <a:pt x="36" y="101"/>
                      <a:pt x="36" y="101"/>
                    </a:cubicBezTo>
                    <a:cubicBezTo>
                      <a:pt x="36" y="101"/>
                      <a:pt x="36" y="101"/>
                      <a:pt x="36" y="101"/>
                    </a:cubicBezTo>
                    <a:cubicBezTo>
                      <a:pt x="36" y="101"/>
                      <a:pt x="36" y="101"/>
                      <a:pt x="36" y="101"/>
                    </a:cubicBezTo>
                    <a:cubicBezTo>
                      <a:pt x="36" y="101"/>
                      <a:pt x="36" y="101"/>
                      <a:pt x="36" y="101"/>
                    </a:cubicBezTo>
                    <a:cubicBezTo>
                      <a:pt x="36" y="100"/>
                      <a:pt x="36" y="101"/>
                      <a:pt x="36" y="100"/>
                    </a:cubicBezTo>
                    <a:cubicBezTo>
                      <a:pt x="36" y="100"/>
                      <a:pt x="36" y="100"/>
                      <a:pt x="36" y="100"/>
                    </a:cubicBezTo>
                    <a:cubicBezTo>
                      <a:pt x="36" y="100"/>
                      <a:pt x="36" y="100"/>
                      <a:pt x="36" y="100"/>
                    </a:cubicBezTo>
                    <a:cubicBezTo>
                      <a:pt x="36" y="100"/>
                      <a:pt x="36" y="100"/>
                      <a:pt x="36" y="100"/>
                    </a:cubicBezTo>
                    <a:cubicBezTo>
                      <a:pt x="36" y="100"/>
                      <a:pt x="36" y="100"/>
                      <a:pt x="36" y="100"/>
                    </a:cubicBezTo>
                    <a:cubicBezTo>
                      <a:pt x="36" y="100"/>
                      <a:pt x="37" y="99"/>
                      <a:pt x="37" y="100"/>
                    </a:cubicBezTo>
                    <a:cubicBezTo>
                      <a:pt x="37" y="100"/>
                      <a:pt x="37" y="100"/>
                      <a:pt x="37" y="99"/>
                    </a:cubicBezTo>
                    <a:cubicBezTo>
                      <a:pt x="37" y="99"/>
                      <a:pt x="37" y="99"/>
                      <a:pt x="38" y="99"/>
                    </a:cubicBezTo>
                    <a:cubicBezTo>
                      <a:pt x="38" y="99"/>
                      <a:pt x="38" y="99"/>
                      <a:pt x="38" y="99"/>
                    </a:cubicBezTo>
                    <a:cubicBezTo>
                      <a:pt x="38" y="99"/>
                      <a:pt x="38" y="99"/>
                      <a:pt x="38" y="99"/>
                    </a:cubicBezTo>
                    <a:cubicBezTo>
                      <a:pt x="38" y="99"/>
                      <a:pt x="38" y="99"/>
                      <a:pt x="38" y="99"/>
                    </a:cubicBezTo>
                    <a:cubicBezTo>
                      <a:pt x="39" y="99"/>
                      <a:pt x="39" y="99"/>
                      <a:pt x="39" y="99"/>
                    </a:cubicBezTo>
                    <a:cubicBezTo>
                      <a:pt x="39" y="99"/>
                      <a:pt x="39" y="99"/>
                      <a:pt x="39" y="99"/>
                    </a:cubicBezTo>
                    <a:cubicBezTo>
                      <a:pt x="39" y="99"/>
                      <a:pt x="39" y="99"/>
                      <a:pt x="39" y="99"/>
                    </a:cubicBezTo>
                    <a:cubicBezTo>
                      <a:pt x="39" y="99"/>
                      <a:pt x="39" y="99"/>
                      <a:pt x="39" y="99"/>
                    </a:cubicBezTo>
                    <a:cubicBezTo>
                      <a:pt x="39" y="99"/>
                      <a:pt x="39" y="99"/>
                      <a:pt x="39"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8"/>
                      <a:pt x="40" y="98"/>
                      <a:pt x="40" y="98"/>
                    </a:cubicBezTo>
                    <a:cubicBezTo>
                      <a:pt x="40" y="98"/>
                      <a:pt x="41" y="98"/>
                      <a:pt x="41" y="98"/>
                    </a:cubicBezTo>
                    <a:cubicBezTo>
                      <a:pt x="41" y="98"/>
                      <a:pt x="41" y="98"/>
                      <a:pt x="41" y="98"/>
                    </a:cubicBezTo>
                    <a:cubicBezTo>
                      <a:pt x="41" y="98"/>
                      <a:pt x="41" y="98"/>
                      <a:pt x="41" y="98"/>
                    </a:cubicBezTo>
                    <a:cubicBezTo>
                      <a:pt x="41" y="98"/>
                      <a:pt x="41" y="98"/>
                      <a:pt x="41" y="98"/>
                    </a:cubicBezTo>
                    <a:cubicBezTo>
                      <a:pt x="41" y="98"/>
                      <a:pt x="41" y="98"/>
                      <a:pt x="41" y="98"/>
                    </a:cubicBezTo>
                    <a:cubicBezTo>
                      <a:pt x="41" y="98"/>
                      <a:pt x="41" y="98"/>
                      <a:pt x="42" y="98"/>
                    </a:cubicBezTo>
                    <a:cubicBezTo>
                      <a:pt x="42" y="98"/>
                      <a:pt x="42" y="98"/>
                      <a:pt x="42" y="98"/>
                    </a:cubicBezTo>
                    <a:cubicBezTo>
                      <a:pt x="42" y="98"/>
                      <a:pt x="42" y="98"/>
                      <a:pt x="42" y="98"/>
                    </a:cubicBezTo>
                    <a:cubicBezTo>
                      <a:pt x="42" y="98"/>
                      <a:pt x="42" y="98"/>
                      <a:pt x="42" y="98"/>
                    </a:cubicBezTo>
                    <a:cubicBezTo>
                      <a:pt x="42" y="98"/>
                      <a:pt x="42" y="98"/>
                      <a:pt x="43" y="98"/>
                    </a:cubicBezTo>
                    <a:cubicBezTo>
                      <a:pt x="43" y="98"/>
                      <a:pt x="43" y="98"/>
                      <a:pt x="43" y="98"/>
                    </a:cubicBezTo>
                    <a:cubicBezTo>
                      <a:pt x="43" y="98"/>
                      <a:pt x="43" y="98"/>
                      <a:pt x="43" y="98"/>
                    </a:cubicBezTo>
                    <a:cubicBezTo>
                      <a:pt x="43" y="98"/>
                      <a:pt x="43" y="98"/>
                      <a:pt x="43" y="98"/>
                    </a:cubicBezTo>
                    <a:cubicBezTo>
                      <a:pt x="43" y="98"/>
                      <a:pt x="44" y="98"/>
                      <a:pt x="44" y="98"/>
                    </a:cubicBezTo>
                    <a:cubicBezTo>
                      <a:pt x="44" y="98"/>
                      <a:pt x="44" y="98"/>
                      <a:pt x="44" y="98"/>
                    </a:cubicBezTo>
                    <a:cubicBezTo>
                      <a:pt x="44" y="98"/>
                      <a:pt x="44" y="98"/>
                      <a:pt x="44" y="98"/>
                    </a:cubicBezTo>
                    <a:cubicBezTo>
                      <a:pt x="44" y="98"/>
                      <a:pt x="44" y="98"/>
                      <a:pt x="44" y="98"/>
                    </a:cubicBezTo>
                    <a:cubicBezTo>
                      <a:pt x="44" y="98"/>
                      <a:pt x="44" y="98"/>
                      <a:pt x="45" y="98"/>
                    </a:cubicBezTo>
                    <a:cubicBezTo>
                      <a:pt x="45" y="98"/>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7"/>
                      <a:pt x="45" y="97"/>
                    </a:cubicBezTo>
                    <a:cubicBezTo>
                      <a:pt x="45" y="97"/>
                      <a:pt x="45" y="97"/>
                      <a:pt x="45" y="97"/>
                    </a:cubicBezTo>
                    <a:cubicBezTo>
                      <a:pt x="45" y="97"/>
                      <a:pt x="45" y="97"/>
                      <a:pt x="45" y="97"/>
                    </a:cubicBezTo>
                    <a:cubicBezTo>
                      <a:pt x="45" y="97"/>
                      <a:pt x="45" y="97"/>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8" y="96"/>
                      <a:pt x="48" y="96"/>
                      <a:pt x="48" y="96"/>
                    </a:cubicBezTo>
                    <a:cubicBezTo>
                      <a:pt x="48" y="96"/>
                      <a:pt x="48" y="96"/>
                      <a:pt x="48" y="96"/>
                    </a:cubicBezTo>
                    <a:cubicBezTo>
                      <a:pt x="48" y="96"/>
                      <a:pt x="48" y="96"/>
                      <a:pt x="48" y="96"/>
                    </a:cubicBezTo>
                    <a:cubicBezTo>
                      <a:pt x="48" y="96"/>
                      <a:pt x="49" y="96"/>
                      <a:pt x="49" y="96"/>
                    </a:cubicBezTo>
                    <a:cubicBezTo>
                      <a:pt x="49" y="96"/>
                      <a:pt x="49" y="96"/>
                      <a:pt x="49" y="96"/>
                    </a:cubicBezTo>
                    <a:cubicBezTo>
                      <a:pt x="49" y="96"/>
                      <a:pt x="49" y="96"/>
                      <a:pt x="49" y="96"/>
                    </a:cubicBezTo>
                    <a:cubicBezTo>
                      <a:pt x="49" y="96"/>
                      <a:pt x="49" y="96"/>
                      <a:pt x="49" y="96"/>
                    </a:cubicBezTo>
                    <a:cubicBezTo>
                      <a:pt x="49" y="96"/>
                      <a:pt x="50" y="96"/>
                      <a:pt x="50" y="96"/>
                    </a:cubicBezTo>
                    <a:cubicBezTo>
                      <a:pt x="50" y="96"/>
                      <a:pt x="50" y="96"/>
                      <a:pt x="50" y="96"/>
                    </a:cubicBezTo>
                    <a:cubicBezTo>
                      <a:pt x="50" y="96"/>
                      <a:pt x="50" y="96"/>
                      <a:pt x="50" y="96"/>
                    </a:cubicBezTo>
                    <a:cubicBezTo>
                      <a:pt x="51" y="96"/>
                      <a:pt x="51" y="96"/>
                      <a:pt x="51" y="97"/>
                    </a:cubicBezTo>
                    <a:cubicBezTo>
                      <a:pt x="51" y="97"/>
                      <a:pt x="51" y="97"/>
                      <a:pt x="51" y="97"/>
                    </a:cubicBezTo>
                    <a:cubicBezTo>
                      <a:pt x="51" y="97"/>
                      <a:pt x="52" y="97"/>
                      <a:pt x="52" y="97"/>
                    </a:cubicBezTo>
                    <a:cubicBezTo>
                      <a:pt x="52" y="97"/>
                      <a:pt x="52" y="97"/>
                      <a:pt x="52" y="97"/>
                    </a:cubicBezTo>
                    <a:cubicBezTo>
                      <a:pt x="52" y="97"/>
                      <a:pt x="52" y="97"/>
                      <a:pt x="52" y="97"/>
                    </a:cubicBezTo>
                    <a:cubicBezTo>
                      <a:pt x="52" y="97"/>
                      <a:pt x="53" y="97"/>
                      <a:pt x="53" y="96"/>
                    </a:cubicBezTo>
                    <a:cubicBezTo>
                      <a:pt x="54" y="96"/>
                      <a:pt x="54" y="96"/>
                      <a:pt x="54" y="97"/>
                    </a:cubicBezTo>
                    <a:cubicBezTo>
                      <a:pt x="54" y="97"/>
                      <a:pt x="54" y="97"/>
                      <a:pt x="54" y="97"/>
                    </a:cubicBezTo>
                    <a:cubicBezTo>
                      <a:pt x="54" y="97"/>
                      <a:pt x="54" y="97"/>
                      <a:pt x="54" y="97"/>
                    </a:cubicBezTo>
                    <a:cubicBezTo>
                      <a:pt x="54" y="98"/>
                      <a:pt x="54" y="98"/>
                      <a:pt x="54" y="98"/>
                    </a:cubicBezTo>
                    <a:cubicBezTo>
                      <a:pt x="53" y="98"/>
                      <a:pt x="53" y="99"/>
                      <a:pt x="53" y="98"/>
                    </a:cubicBezTo>
                    <a:cubicBezTo>
                      <a:pt x="53" y="98"/>
                      <a:pt x="53" y="98"/>
                      <a:pt x="53" y="98"/>
                    </a:cubicBezTo>
                    <a:cubicBezTo>
                      <a:pt x="53" y="98"/>
                      <a:pt x="53" y="98"/>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2" y="99"/>
                      <a:pt x="52" y="99"/>
                      <a:pt x="52" y="99"/>
                    </a:cubicBezTo>
                    <a:cubicBezTo>
                      <a:pt x="52" y="99"/>
                      <a:pt x="52" y="99"/>
                      <a:pt x="52" y="100"/>
                    </a:cubicBezTo>
                    <a:cubicBezTo>
                      <a:pt x="52" y="100"/>
                      <a:pt x="52" y="100"/>
                      <a:pt x="52" y="100"/>
                    </a:cubicBezTo>
                    <a:cubicBezTo>
                      <a:pt x="52" y="100"/>
                      <a:pt x="52" y="100"/>
                      <a:pt x="52" y="100"/>
                    </a:cubicBezTo>
                    <a:cubicBezTo>
                      <a:pt x="52" y="100"/>
                      <a:pt x="52" y="100"/>
                      <a:pt x="52" y="100"/>
                    </a:cubicBezTo>
                    <a:cubicBezTo>
                      <a:pt x="52" y="100"/>
                      <a:pt x="52" y="100"/>
                      <a:pt x="52" y="100"/>
                    </a:cubicBezTo>
                    <a:cubicBezTo>
                      <a:pt x="52" y="100"/>
                      <a:pt x="52" y="100"/>
                      <a:pt x="52" y="101"/>
                    </a:cubicBezTo>
                    <a:cubicBezTo>
                      <a:pt x="53" y="101"/>
                      <a:pt x="53" y="101"/>
                      <a:pt x="52" y="101"/>
                    </a:cubicBezTo>
                    <a:cubicBezTo>
                      <a:pt x="52" y="101"/>
                      <a:pt x="52" y="101"/>
                      <a:pt x="52" y="102"/>
                    </a:cubicBezTo>
                    <a:cubicBezTo>
                      <a:pt x="52" y="102"/>
                      <a:pt x="53" y="102"/>
                      <a:pt x="52" y="102"/>
                    </a:cubicBezTo>
                    <a:cubicBezTo>
                      <a:pt x="52" y="102"/>
                      <a:pt x="52" y="102"/>
                      <a:pt x="52" y="102"/>
                    </a:cubicBezTo>
                    <a:cubicBezTo>
                      <a:pt x="52" y="103"/>
                      <a:pt x="52" y="103"/>
                      <a:pt x="52" y="103"/>
                    </a:cubicBezTo>
                    <a:cubicBezTo>
                      <a:pt x="52" y="103"/>
                      <a:pt x="52" y="103"/>
                      <a:pt x="52" y="103"/>
                    </a:cubicBezTo>
                    <a:cubicBezTo>
                      <a:pt x="52" y="103"/>
                      <a:pt x="53" y="104"/>
                      <a:pt x="53" y="104"/>
                    </a:cubicBezTo>
                    <a:cubicBezTo>
                      <a:pt x="53" y="104"/>
                      <a:pt x="53" y="104"/>
                      <a:pt x="53" y="104"/>
                    </a:cubicBezTo>
                    <a:cubicBezTo>
                      <a:pt x="53" y="104"/>
                      <a:pt x="53" y="104"/>
                      <a:pt x="53" y="104"/>
                    </a:cubicBezTo>
                    <a:cubicBezTo>
                      <a:pt x="53" y="104"/>
                      <a:pt x="53" y="104"/>
                      <a:pt x="53" y="104"/>
                    </a:cubicBezTo>
                    <a:cubicBezTo>
                      <a:pt x="53" y="104"/>
                      <a:pt x="53" y="104"/>
                      <a:pt x="54" y="104"/>
                    </a:cubicBezTo>
                    <a:cubicBezTo>
                      <a:pt x="54" y="104"/>
                      <a:pt x="54" y="104"/>
                      <a:pt x="54" y="104"/>
                    </a:cubicBezTo>
                    <a:cubicBezTo>
                      <a:pt x="54" y="104"/>
                      <a:pt x="54" y="104"/>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6"/>
                      <a:pt x="55" y="106"/>
                    </a:cubicBezTo>
                    <a:cubicBezTo>
                      <a:pt x="55" y="106"/>
                      <a:pt x="55" y="106"/>
                      <a:pt x="55" y="106"/>
                    </a:cubicBezTo>
                    <a:cubicBezTo>
                      <a:pt x="55" y="106"/>
                      <a:pt x="55" y="106"/>
                      <a:pt x="55" y="106"/>
                    </a:cubicBezTo>
                    <a:cubicBezTo>
                      <a:pt x="56" y="106"/>
                      <a:pt x="56" y="106"/>
                      <a:pt x="57" y="107"/>
                    </a:cubicBezTo>
                    <a:cubicBezTo>
                      <a:pt x="57" y="107"/>
                      <a:pt x="57" y="107"/>
                      <a:pt x="57" y="107"/>
                    </a:cubicBezTo>
                    <a:cubicBezTo>
                      <a:pt x="57" y="107"/>
                      <a:pt x="57" y="107"/>
                      <a:pt x="57" y="106"/>
                    </a:cubicBezTo>
                    <a:cubicBezTo>
                      <a:pt x="57" y="106"/>
                      <a:pt x="57" y="106"/>
                      <a:pt x="57" y="106"/>
                    </a:cubicBezTo>
                    <a:cubicBezTo>
                      <a:pt x="57" y="106"/>
                      <a:pt x="57" y="106"/>
                      <a:pt x="57" y="106"/>
                    </a:cubicBezTo>
                    <a:cubicBezTo>
                      <a:pt x="57" y="106"/>
                      <a:pt x="58" y="106"/>
                      <a:pt x="58" y="105"/>
                    </a:cubicBezTo>
                    <a:cubicBezTo>
                      <a:pt x="58" y="105"/>
                      <a:pt x="58" y="105"/>
                      <a:pt x="58" y="104"/>
                    </a:cubicBezTo>
                    <a:cubicBezTo>
                      <a:pt x="58" y="104"/>
                      <a:pt x="58" y="104"/>
                      <a:pt x="58" y="104"/>
                    </a:cubicBezTo>
                    <a:cubicBezTo>
                      <a:pt x="58" y="104"/>
                      <a:pt x="58" y="104"/>
                      <a:pt x="58" y="104"/>
                    </a:cubicBezTo>
                    <a:cubicBezTo>
                      <a:pt x="58" y="104"/>
                      <a:pt x="58" y="104"/>
                      <a:pt x="58" y="104"/>
                    </a:cubicBezTo>
                    <a:cubicBezTo>
                      <a:pt x="59" y="104"/>
                      <a:pt x="59" y="103"/>
                      <a:pt x="59" y="103"/>
                    </a:cubicBezTo>
                    <a:cubicBezTo>
                      <a:pt x="59" y="103"/>
                      <a:pt x="59" y="103"/>
                      <a:pt x="60" y="103"/>
                    </a:cubicBezTo>
                    <a:cubicBezTo>
                      <a:pt x="60" y="103"/>
                      <a:pt x="60" y="103"/>
                      <a:pt x="60" y="102"/>
                    </a:cubicBezTo>
                    <a:cubicBezTo>
                      <a:pt x="60" y="102"/>
                      <a:pt x="60" y="102"/>
                      <a:pt x="60" y="102"/>
                    </a:cubicBezTo>
                    <a:cubicBezTo>
                      <a:pt x="60" y="102"/>
                      <a:pt x="60" y="102"/>
                      <a:pt x="60" y="102"/>
                    </a:cubicBezTo>
                    <a:cubicBezTo>
                      <a:pt x="60" y="102"/>
                      <a:pt x="60" y="102"/>
                      <a:pt x="60" y="102"/>
                    </a:cubicBezTo>
                    <a:cubicBezTo>
                      <a:pt x="60" y="102"/>
                      <a:pt x="60" y="102"/>
                      <a:pt x="60" y="101"/>
                    </a:cubicBezTo>
                    <a:cubicBezTo>
                      <a:pt x="60" y="101"/>
                      <a:pt x="60" y="101"/>
                      <a:pt x="60" y="101"/>
                    </a:cubicBezTo>
                    <a:cubicBezTo>
                      <a:pt x="60" y="101"/>
                      <a:pt x="60" y="101"/>
                      <a:pt x="60" y="101"/>
                    </a:cubicBezTo>
                    <a:cubicBezTo>
                      <a:pt x="60" y="101"/>
                      <a:pt x="60" y="101"/>
                      <a:pt x="60" y="101"/>
                    </a:cubicBezTo>
                    <a:cubicBezTo>
                      <a:pt x="60" y="101"/>
                      <a:pt x="60" y="101"/>
                      <a:pt x="60" y="100"/>
                    </a:cubicBezTo>
                    <a:cubicBezTo>
                      <a:pt x="61" y="101"/>
                      <a:pt x="61" y="101"/>
                      <a:pt x="61" y="101"/>
                    </a:cubicBezTo>
                    <a:cubicBezTo>
                      <a:pt x="61" y="101"/>
                      <a:pt x="61" y="101"/>
                      <a:pt x="61" y="100"/>
                    </a:cubicBezTo>
                    <a:cubicBezTo>
                      <a:pt x="61" y="100"/>
                      <a:pt x="62" y="100"/>
                      <a:pt x="62" y="100"/>
                    </a:cubicBezTo>
                    <a:cubicBezTo>
                      <a:pt x="62" y="100"/>
                      <a:pt x="62" y="100"/>
                      <a:pt x="62" y="100"/>
                    </a:cubicBezTo>
                    <a:cubicBezTo>
                      <a:pt x="63" y="100"/>
                      <a:pt x="63" y="100"/>
                      <a:pt x="63" y="99"/>
                    </a:cubicBezTo>
                    <a:cubicBezTo>
                      <a:pt x="63" y="99"/>
                      <a:pt x="63" y="99"/>
                      <a:pt x="63" y="100"/>
                    </a:cubicBezTo>
                    <a:cubicBezTo>
                      <a:pt x="63" y="100"/>
                      <a:pt x="63" y="100"/>
                      <a:pt x="63" y="100"/>
                    </a:cubicBezTo>
                    <a:cubicBezTo>
                      <a:pt x="63" y="100"/>
                      <a:pt x="63" y="100"/>
                      <a:pt x="64" y="100"/>
                    </a:cubicBezTo>
                    <a:cubicBezTo>
                      <a:pt x="64" y="100"/>
                      <a:pt x="64" y="100"/>
                      <a:pt x="64" y="100"/>
                    </a:cubicBezTo>
                    <a:cubicBezTo>
                      <a:pt x="64" y="100"/>
                      <a:pt x="64" y="100"/>
                      <a:pt x="64" y="100"/>
                    </a:cubicBezTo>
                    <a:cubicBezTo>
                      <a:pt x="64" y="100"/>
                      <a:pt x="64" y="100"/>
                      <a:pt x="63" y="100"/>
                    </a:cubicBezTo>
                    <a:cubicBezTo>
                      <a:pt x="64" y="100"/>
                      <a:pt x="64" y="100"/>
                      <a:pt x="64" y="100"/>
                    </a:cubicBezTo>
                    <a:cubicBezTo>
                      <a:pt x="64" y="100"/>
                      <a:pt x="64" y="100"/>
                      <a:pt x="64" y="99"/>
                    </a:cubicBezTo>
                    <a:cubicBezTo>
                      <a:pt x="64" y="99"/>
                      <a:pt x="64" y="99"/>
                      <a:pt x="64" y="99"/>
                    </a:cubicBezTo>
                    <a:cubicBezTo>
                      <a:pt x="64" y="99"/>
                      <a:pt x="65" y="99"/>
                      <a:pt x="64" y="98"/>
                    </a:cubicBezTo>
                    <a:cubicBezTo>
                      <a:pt x="64" y="98"/>
                      <a:pt x="64" y="98"/>
                      <a:pt x="64" y="98"/>
                    </a:cubicBezTo>
                    <a:cubicBezTo>
                      <a:pt x="64" y="98"/>
                      <a:pt x="64" y="98"/>
                      <a:pt x="64" y="98"/>
                    </a:cubicBezTo>
                    <a:cubicBezTo>
                      <a:pt x="64" y="98"/>
                      <a:pt x="64" y="98"/>
                      <a:pt x="64" y="98"/>
                    </a:cubicBezTo>
                    <a:cubicBezTo>
                      <a:pt x="64" y="98"/>
                      <a:pt x="64" y="98"/>
                      <a:pt x="64" y="98"/>
                    </a:cubicBezTo>
                    <a:cubicBezTo>
                      <a:pt x="64" y="98"/>
                      <a:pt x="63" y="98"/>
                      <a:pt x="63" y="98"/>
                    </a:cubicBezTo>
                    <a:cubicBezTo>
                      <a:pt x="63" y="98"/>
                      <a:pt x="62" y="97"/>
                      <a:pt x="62" y="97"/>
                    </a:cubicBezTo>
                    <a:cubicBezTo>
                      <a:pt x="62" y="97"/>
                      <a:pt x="62" y="97"/>
                      <a:pt x="62" y="96"/>
                    </a:cubicBezTo>
                    <a:cubicBezTo>
                      <a:pt x="62" y="96"/>
                      <a:pt x="62" y="95"/>
                      <a:pt x="63" y="94"/>
                    </a:cubicBezTo>
                    <a:cubicBezTo>
                      <a:pt x="63" y="94"/>
                      <a:pt x="63" y="94"/>
                      <a:pt x="63" y="94"/>
                    </a:cubicBezTo>
                    <a:cubicBezTo>
                      <a:pt x="63" y="94"/>
                      <a:pt x="63" y="94"/>
                      <a:pt x="63" y="94"/>
                    </a:cubicBezTo>
                    <a:cubicBezTo>
                      <a:pt x="63" y="94"/>
                      <a:pt x="63" y="94"/>
                      <a:pt x="63" y="94"/>
                    </a:cubicBezTo>
                    <a:cubicBezTo>
                      <a:pt x="63" y="94"/>
                      <a:pt x="63" y="94"/>
                      <a:pt x="63" y="94"/>
                    </a:cubicBezTo>
                    <a:cubicBezTo>
                      <a:pt x="64" y="94"/>
                      <a:pt x="64" y="94"/>
                      <a:pt x="64" y="94"/>
                    </a:cubicBezTo>
                    <a:cubicBezTo>
                      <a:pt x="64" y="94"/>
                      <a:pt x="64" y="94"/>
                      <a:pt x="64" y="95"/>
                    </a:cubicBezTo>
                    <a:cubicBezTo>
                      <a:pt x="64" y="95"/>
                      <a:pt x="64" y="95"/>
                      <a:pt x="64" y="95"/>
                    </a:cubicBezTo>
                    <a:cubicBezTo>
                      <a:pt x="64" y="95"/>
                      <a:pt x="64" y="95"/>
                      <a:pt x="64" y="95"/>
                    </a:cubicBezTo>
                    <a:cubicBezTo>
                      <a:pt x="64" y="95"/>
                      <a:pt x="64" y="95"/>
                      <a:pt x="64" y="95"/>
                    </a:cubicBezTo>
                    <a:cubicBezTo>
                      <a:pt x="64" y="96"/>
                      <a:pt x="64" y="96"/>
                      <a:pt x="64" y="96"/>
                    </a:cubicBezTo>
                    <a:cubicBezTo>
                      <a:pt x="65" y="96"/>
                      <a:pt x="65" y="96"/>
                      <a:pt x="65" y="96"/>
                    </a:cubicBezTo>
                    <a:cubicBezTo>
                      <a:pt x="65" y="96"/>
                      <a:pt x="65" y="96"/>
                      <a:pt x="65" y="96"/>
                    </a:cubicBezTo>
                    <a:cubicBezTo>
                      <a:pt x="64" y="96"/>
                      <a:pt x="64" y="95"/>
                      <a:pt x="64" y="95"/>
                    </a:cubicBezTo>
                    <a:cubicBezTo>
                      <a:pt x="64" y="95"/>
                      <a:pt x="65" y="95"/>
                      <a:pt x="65" y="95"/>
                    </a:cubicBezTo>
                    <a:cubicBezTo>
                      <a:pt x="65" y="95"/>
                      <a:pt x="65" y="95"/>
                      <a:pt x="65" y="95"/>
                    </a:cubicBezTo>
                    <a:cubicBezTo>
                      <a:pt x="65" y="95"/>
                      <a:pt x="65" y="96"/>
                      <a:pt x="65" y="96"/>
                    </a:cubicBezTo>
                    <a:cubicBezTo>
                      <a:pt x="65" y="96"/>
                      <a:pt x="65" y="96"/>
                      <a:pt x="65" y="96"/>
                    </a:cubicBezTo>
                    <a:cubicBezTo>
                      <a:pt x="66" y="96"/>
                      <a:pt x="66" y="96"/>
                      <a:pt x="66" y="96"/>
                    </a:cubicBezTo>
                    <a:cubicBezTo>
                      <a:pt x="66" y="96"/>
                      <a:pt x="66" y="96"/>
                      <a:pt x="66" y="96"/>
                    </a:cubicBezTo>
                    <a:cubicBezTo>
                      <a:pt x="66" y="96"/>
                      <a:pt x="66" y="95"/>
                      <a:pt x="66" y="95"/>
                    </a:cubicBezTo>
                    <a:cubicBezTo>
                      <a:pt x="66" y="95"/>
                      <a:pt x="67" y="96"/>
                      <a:pt x="67" y="96"/>
                    </a:cubicBezTo>
                    <a:cubicBezTo>
                      <a:pt x="67" y="95"/>
                      <a:pt x="67" y="96"/>
                      <a:pt x="67" y="96"/>
                    </a:cubicBezTo>
                    <a:cubicBezTo>
                      <a:pt x="67" y="96"/>
                      <a:pt x="67" y="96"/>
                      <a:pt x="67" y="96"/>
                    </a:cubicBezTo>
                    <a:cubicBezTo>
                      <a:pt x="67" y="96"/>
                      <a:pt x="67" y="96"/>
                      <a:pt x="67" y="96"/>
                    </a:cubicBezTo>
                    <a:cubicBezTo>
                      <a:pt x="67" y="96"/>
                      <a:pt x="67" y="96"/>
                      <a:pt x="67" y="96"/>
                    </a:cubicBezTo>
                    <a:cubicBezTo>
                      <a:pt x="67" y="96"/>
                      <a:pt x="67" y="97"/>
                      <a:pt x="67" y="96"/>
                    </a:cubicBezTo>
                    <a:cubicBezTo>
                      <a:pt x="67" y="96"/>
                      <a:pt x="67" y="96"/>
                      <a:pt x="67" y="96"/>
                    </a:cubicBezTo>
                    <a:cubicBezTo>
                      <a:pt x="67" y="97"/>
                      <a:pt x="66" y="97"/>
                      <a:pt x="66" y="97"/>
                    </a:cubicBezTo>
                    <a:cubicBezTo>
                      <a:pt x="66" y="97"/>
                      <a:pt x="66" y="97"/>
                      <a:pt x="66" y="97"/>
                    </a:cubicBezTo>
                    <a:cubicBezTo>
                      <a:pt x="65" y="97"/>
                      <a:pt x="65" y="97"/>
                      <a:pt x="65" y="97"/>
                    </a:cubicBezTo>
                    <a:cubicBezTo>
                      <a:pt x="65" y="97"/>
                      <a:pt x="65" y="97"/>
                      <a:pt x="65" y="97"/>
                    </a:cubicBezTo>
                    <a:cubicBezTo>
                      <a:pt x="65" y="97"/>
                      <a:pt x="65" y="97"/>
                      <a:pt x="65" y="97"/>
                    </a:cubicBezTo>
                    <a:cubicBezTo>
                      <a:pt x="65" y="97"/>
                      <a:pt x="65" y="97"/>
                      <a:pt x="65" y="97"/>
                    </a:cubicBezTo>
                    <a:cubicBezTo>
                      <a:pt x="65" y="97"/>
                      <a:pt x="66" y="97"/>
                      <a:pt x="66" y="97"/>
                    </a:cubicBezTo>
                    <a:cubicBezTo>
                      <a:pt x="67" y="97"/>
                      <a:pt x="67" y="97"/>
                      <a:pt x="68" y="97"/>
                    </a:cubicBezTo>
                    <a:cubicBezTo>
                      <a:pt x="68" y="97"/>
                      <a:pt x="68" y="97"/>
                      <a:pt x="68" y="97"/>
                    </a:cubicBezTo>
                    <a:cubicBezTo>
                      <a:pt x="68" y="97"/>
                      <a:pt x="68" y="97"/>
                      <a:pt x="68" y="97"/>
                    </a:cubicBezTo>
                    <a:cubicBezTo>
                      <a:pt x="68" y="97"/>
                      <a:pt x="68" y="97"/>
                      <a:pt x="68" y="97"/>
                    </a:cubicBezTo>
                    <a:cubicBezTo>
                      <a:pt x="69" y="97"/>
                      <a:pt x="69" y="97"/>
                      <a:pt x="70" y="97"/>
                    </a:cubicBezTo>
                    <a:cubicBezTo>
                      <a:pt x="70" y="97"/>
                      <a:pt x="70" y="97"/>
                      <a:pt x="70" y="97"/>
                    </a:cubicBezTo>
                    <a:cubicBezTo>
                      <a:pt x="70" y="97"/>
                      <a:pt x="70" y="97"/>
                      <a:pt x="70" y="97"/>
                    </a:cubicBezTo>
                    <a:cubicBezTo>
                      <a:pt x="71" y="97"/>
                      <a:pt x="71" y="97"/>
                      <a:pt x="71" y="97"/>
                    </a:cubicBezTo>
                    <a:cubicBezTo>
                      <a:pt x="72" y="97"/>
                      <a:pt x="73" y="97"/>
                      <a:pt x="73" y="97"/>
                    </a:cubicBezTo>
                    <a:cubicBezTo>
                      <a:pt x="73" y="97"/>
                      <a:pt x="73" y="96"/>
                      <a:pt x="73" y="96"/>
                    </a:cubicBezTo>
                    <a:cubicBezTo>
                      <a:pt x="74" y="96"/>
                      <a:pt x="74" y="95"/>
                      <a:pt x="74" y="95"/>
                    </a:cubicBezTo>
                    <a:cubicBezTo>
                      <a:pt x="74" y="95"/>
                      <a:pt x="74" y="95"/>
                      <a:pt x="74" y="95"/>
                    </a:cubicBezTo>
                    <a:cubicBezTo>
                      <a:pt x="74"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3"/>
                      <a:pt x="76" y="93"/>
                    </a:cubicBezTo>
                    <a:cubicBezTo>
                      <a:pt x="76" y="93"/>
                      <a:pt x="76" y="93"/>
                      <a:pt x="76" y="93"/>
                    </a:cubicBezTo>
                    <a:cubicBezTo>
                      <a:pt x="76" y="93"/>
                      <a:pt x="76" y="93"/>
                      <a:pt x="77" y="93"/>
                    </a:cubicBezTo>
                    <a:cubicBezTo>
                      <a:pt x="77" y="93"/>
                      <a:pt x="77" y="93"/>
                      <a:pt x="77" y="93"/>
                    </a:cubicBezTo>
                    <a:cubicBezTo>
                      <a:pt x="77" y="93"/>
                      <a:pt x="77" y="93"/>
                      <a:pt x="77" y="93"/>
                    </a:cubicBezTo>
                    <a:cubicBezTo>
                      <a:pt x="77" y="93"/>
                      <a:pt x="78" y="93"/>
                      <a:pt x="78" y="93"/>
                    </a:cubicBezTo>
                    <a:cubicBezTo>
                      <a:pt x="78" y="93"/>
                      <a:pt x="78" y="93"/>
                      <a:pt x="78" y="94"/>
                    </a:cubicBezTo>
                    <a:cubicBezTo>
                      <a:pt x="78" y="94"/>
                      <a:pt x="78" y="94"/>
                      <a:pt x="77" y="94"/>
                    </a:cubicBezTo>
                    <a:cubicBezTo>
                      <a:pt x="77" y="94"/>
                      <a:pt x="77" y="94"/>
                      <a:pt x="77" y="94"/>
                    </a:cubicBezTo>
                    <a:cubicBezTo>
                      <a:pt x="77" y="94"/>
                      <a:pt x="77" y="94"/>
                      <a:pt x="77" y="95"/>
                    </a:cubicBezTo>
                    <a:cubicBezTo>
                      <a:pt x="77" y="95"/>
                      <a:pt x="77" y="95"/>
                      <a:pt x="77" y="95"/>
                    </a:cubicBezTo>
                    <a:cubicBezTo>
                      <a:pt x="77" y="96"/>
                      <a:pt x="77" y="96"/>
                      <a:pt x="77" y="96"/>
                    </a:cubicBezTo>
                    <a:cubicBezTo>
                      <a:pt x="77" y="96"/>
                      <a:pt x="77" y="96"/>
                      <a:pt x="77" y="96"/>
                    </a:cubicBezTo>
                    <a:cubicBezTo>
                      <a:pt x="77" y="96"/>
                      <a:pt x="77" y="97"/>
                      <a:pt x="77" y="97"/>
                    </a:cubicBezTo>
                    <a:cubicBezTo>
                      <a:pt x="77" y="97"/>
                      <a:pt x="77" y="97"/>
                      <a:pt x="78" y="97"/>
                    </a:cubicBezTo>
                    <a:cubicBezTo>
                      <a:pt x="78" y="97"/>
                      <a:pt x="78" y="97"/>
                      <a:pt x="79" y="96"/>
                    </a:cubicBezTo>
                    <a:cubicBezTo>
                      <a:pt x="79" y="96"/>
                      <a:pt x="79" y="96"/>
                      <a:pt x="79" y="96"/>
                    </a:cubicBezTo>
                    <a:cubicBezTo>
                      <a:pt x="79" y="96"/>
                      <a:pt x="79" y="96"/>
                      <a:pt x="79" y="95"/>
                    </a:cubicBezTo>
                    <a:cubicBezTo>
                      <a:pt x="79" y="95"/>
                      <a:pt x="79" y="95"/>
                      <a:pt x="79" y="95"/>
                    </a:cubicBezTo>
                    <a:cubicBezTo>
                      <a:pt x="79" y="95"/>
                      <a:pt x="80" y="94"/>
                      <a:pt x="79" y="94"/>
                    </a:cubicBezTo>
                    <a:cubicBezTo>
                      <a:pt x="79" y="94"/>
                      <a:pt x="79" y="94"/>
                      <a:pt x="79" y="93"/>
                    </a:cubicBezTo>
                    <a:cubicBezTo>
                      <a:pt x="79" y="93"/>
                      <a:pt x="79" y="93"/>
                      <a:pt x="80" y="93"/>
                    </a:cubicBezTo>
                    <a:cubicBezTo>
                      <a:pt x="80" y="93"/>
                      <a:pt x="80" y="93"/>
                      <a:pt x="80" y="93"/>
                    </a:cubicBezTo>
                    <a:cubicBezTo>
                      <a:pt x="80" y="93"/>
                      <a:pt x="80" y="92"/>
                      <a:pt x="80" y="92"/>
                    </a:cubicBezTo>
                    <a:cubicBezTo>
                      <a:pt x="80" y="92"/>
                      <a:pt x="80" y="92"/>
                      <a:pt x="80" y="92"/>
                    </a:cubicBezTo>
                    <a:cubicBezTo>
                      <a:pt x="80" y="92"/>
                      <a:pt x="80" y="92"/>
                      <a:pt x="80" y="91"/>
                    </a:cubicBezTo>
                    <a:cubicBezTo>
                      <a:pt x="81" y="91"/>
                      <a:pt x="81" y="91"/>
                      <a:pt x="81" y="91"/>
                    </a:cubicBezTo>
                    <a:cubicBezTo>
                      <a:pt x="81" y="91"/>
                      <a:pt x="81" y="91"/>
                      <a:pt x="81" y="91"/>
                    </a:cubicBezTo>
                    <a:cubicBezTo>
                      <a:pt x="81" y="91"/>
                      <a:pt x="81" y="91"/>
                      <a:pt x="81" y="91"/>
                    </a:cubicBezTo>
                    <a:cubicBezTo>
                      <a:pt x="81" y="91"/>
                      <a:pt x="81" y="91"/>
                      <a:pt x="82" y="91"/>
                    </a:cubicBezTo>
                    <a:cubicBezTo>
                      <a:pt x="82" y="91"/>
                      <a:pt x="82" y="91"/>
                      <a:pt x="82" y="91"/>
                    </a:cubicBezTo>
                    <a:cubicBezTo>
                      <a:pt x="83" y="92"/>
                      <a:pt x="83" y="92"/>
                      <a:pt x="83" y="93"/>
                    </a:cubicBezTo>
                    <a:cubicBezTo>
                      <a:pt x="83" y="93"/>
                      <a:pt x="83" y="93"/>
                      <a:pt x="83" y="93"/>
                    </a:cubicBezTo>
                    <a:cubicBezTo>
                      <a:pt x="83" y="93"/>
                      <a:pt x="83" y="93"/>
                      <a:pt x="83" y="93"/>
                    </a:cubicBezTo>
                    <a:cubicBezTo>
                      <a:pt x="83" y="93"/>
                      <a:pt x="83" y="93"/>
                      <a:pt x="83" y="93"/>
                    </a:cubicBezTo>
                    <a:cubicBezTo>
                      <a:pt x="83" y="93"/>
                      <a:pt x="83" y="93"/>
                      <a:pt x="83" y="93"/>
                    </a:cubicBezTo>
                    <a:cubicBezTo>
                      <a:pt x="83" y="92"/>
                      <a:pt x="83" y="92"/>
                      <a:pt x="83" y="92"/>
                    </a:cubicBezTo>
                    <a:cubicBezTo>
                      <a:pt x="83" y="92"/>
                      <a:pt x="83" y="92"/>
                      <a:pt x="83" y="92"/>
                    </a:cubicBezTo>
                    <a:cubicBezTo>
                      <a:pt x="84" y="92"/>
                      <a:pt x="84" y="92"/>
                      <a:pt x="84" y="92"/>
                    </a:cubicBezTo>
                    <a:cubicBezTo>
                      <a:pt x="84" y="92"/>
                      <a:pt x="83" y="92"/>
                      <a:pt x="83" y="92"/>
                    </a:cubicBezTo>
                    <a:cubicBezTo>
                      <a:pt x="83" y="92"/>
                      <a:pt x="83" y="92"/>
                      <a:pt x="83" y="91"/>
                    </a:cubicBezTo>
                    <a:cubicBezTo>
                      <a:pt x="83" y="91"/>
                      <a:pt x="83" y="91"/>
                      <a:pt x="83" y="91"/>
                    </a:cubicBezTo>
                    <a:cubicBezTo>
                      <a:pt x="83" y="91"/>
                      <a:pt x="83" y="91"/>
                      <a:pt x="83" y="91"/>
                    </a:cubicBezTo>
                    <a:cubicBezTo>
                      <a:pt x="83" y="91"/>
                      <a:pt x="83" y="91"/>
                      <a:pt x="83" y="90"/>
                    </a:cubicBezTo>
                    <a:cubicBezTo>
                      <a:pt x="83" y="90"/>
                      <a:pt x="84" y="90"/>
                      <a:pt x="84" y="90"/>
                    </a:cubicBezTo>
                    <a:cubicBezTo>
                      <a:pt x="84" y="90"/>
                      <a:pt x="84" y="90"/>
                      <a:pt x="84" y="90"/>
                    </a:cubicBezTo>
                    <a:cubicBezTo>
                      <a:pt x="84" y="90"/>
                      <a:pt x="84" y="90"/>
                      <a:pt x="84" y="90"/>
                    </a:cubicBezTo>
                    <a:cubicBezTo>
                      <a:pt x="84" y="90"/>
                      <a:pt x="85" y="90"/>
                      <a:pt x="85" y="90"/>
                    </a:cubicBezTo>
                    <a:cubicBezTo>
                      <a:pt x="85" y="90"/>
                      <a:pt x="85" y="91"/>
                      <a:pt x="85" y="91"/>
                    </a:cubicBezTo>
                    <a:cubicBezTo>
                      <a:pt x="85" y="91"/>
                      <a:pt x="84" y="91"/>
                      <a:pt x="84" y="91"/>
                    </a:cubicBezTo>
                    <a:cubicBezTo>
                      <a:pt x="84" y="91"/>
                      <a:pt x="84" y="91"/>
                      <a:pt x="84" y="91"/>
                    </a:cubicBezTo>
                    <a:cubicBezTo>
                      <a:pt x="84" y="91"/>
                      <a:pt x="84" y="91"/>
                      <a:pt x="84" y="92"/>
                    </a:cubicBezTo>
                    <a:cubicBezTo>
                      <a:pt x="84" y="92"/>
                      <a:pt x="84" y="92"/>
                      <a:pt x="84" y="92"/>
                    </a:cubicBezTo>
                    <a:cubicBezTo>
                      <a:pt x="84" y="92"/>
                      <a:pt x="84" y="92"/>
                      <a:pt x="84" y="92"/>
                    </a:cubicBezTo>
                    <a:cubicBezTo>
                      <a:pt x="84" y="92"/>
                      <a:pt x="84" y="92"/>
                      <a:pt x="84" y="92"/>
                    </a:cubicBezTo>
                    <a:cubicBezTo>
                      <a:pt x="84" y="92"/>
                      <a:pt x="84" y="93"/>
                      <a:pt x="84" y="93"/>
                    </a:cubicBezTo>
                    <a:cubicBezTo>
                      <a:pt x="84" y="93"/>
                      <a:pt x="84" y="93"/>
                      <a:pt x="84" y="93"/>
                    </a:cubicBezTo>
                    <a:cubicBezTo>
                      <a:pt x="84" y="94"/>
                      <a:pt x="84" y="94"/>
                      <a:pt x="84" y="94"/>
                    </a:cubicBezTo>
                    <a:cubicBezTo>
                      <a:pt x="84" y="94"/>
                      <a:pt x="84" y="94"/>
                      <a:pt x="84" y="94"/>
                    </a:cubicBezTo>
                    <a:cubicBezTo>
                      <a:pt x="84" y="94"/>
                      <a:pt x="84" y="94"/>
                      <a:pt x="84" y="94"/>
                    </a:cubicBezTo>
                    <a:cubicBezTo>
                      <a:pt x="84" y="94"/>
                      <a:pt x="84" y="94"/>
                      <a:pt x="84" y="95"/>
                    </a:cubicBezTo>
                    <a:cubicBezTo>
                      <a:pt x="84" y="95"/>
                      <a:pt x="85" y="95"/>
                      <a:pt x="85" y="94"/>
                    </a:cubicBezTo>
                    <a:cubicBezTo>
                      <a:pt x="85" y="94"/>
                      <a:pt x="85" y="94"/>
                      <a:pt x="86" y="94"/>
                    </a:cubicBezTo>
                    <a:cubicBezTo>
                      <a:pt x="86" y="93"/>
                      <a:pt x="86" y="93"/>
                      <a:pt x="86" y="93"/>
                    </a:cubicBezTo>
                    <a:cubicBezTo>
                      <a:pt x="86" y="93"/>
                      <a:pt x="86" y="93"/>
                      <a:pt x="86" y="93"/>
                    </a:cubicBezTo>
                    <a:cubicBezTo>
                      <a:pt x="87" y="93"/>
                      <a:pt x="87" y="93"/>
                      <a:pt x="87" y="93"/>
                    </a:cubicBezTo>
                    <a:cubicBezTo>
                      <a:pt x="88" y="92"/>
                      <a:pt x="88" y="92"/>
                      <a:pt x="88" y="92"/>
                    </a:cubicBezTo>
                    <a:cubicBezTo>
                      <a:pt x="88" y="91"/>
                      <a:pt x="88" y="91"/>
                      <a:pt x="88" y="91"/>
                    </a:cubicBezTo>
                    <a:cubicBezTo>
                      <a:pt x="88" y="90"/>
                      <a:pt x="88" y="90"/>
                      <a:pt x="88" y="89"/>
                    </a:cubicBezTo>
                    <a:cubicBezTo>
                      <a:pt x="89" y="89"/>
                      <a:pt x="89" y="89"/>
                      <a:pt x="89" y="89"/>
                    </a:cubicBezTo>
                    <a:cubicBezTo>
                      <a:pt x="89" y="89"/>
                      <a:pt x="89" y="89"/>
                      <a:pt x="90" y="88"/>
                    </a:cubicBezTo>
                    <a:cubicBezTo>
                      <a:pt x="90" y="88"/>
                      <a:pt x="90" y="88"/>
                      <a:pt x="91" y="88"/>
                    </a:cubicBezTo>
                    <a:cubicBezTo>
                      <a:pt x="91" y="88"/>
                      <a:pt x="91" y="88"/>
                      <a:pt x="91" y="88"/>
                    </a:cubicBezTo>
                    <a:cubicBezTo>
                      <a:pt x="91" y="88"/>
                      <a:pt x="91" y="88"/>
                      <a:pt x="91" y="88"/>
                    </a:cubicBezTo>
                    <a:cubicBezTo>
                      <a:pt x="91" y="87"/>
                      <a:pt x="90" y="87"/>
                      <a:pt x="90" y="86"/>
                    </a:cubicBezTo>
                    <a:cubicBezTo>
                      <a:pt x="90" y="86"/>
                      <a:pt x="90" y="86"/>
                      <a:pt x="90" y="86"/>
                    </a:cubicBezTo>
                    <a:cubicBezTo>
                      <a:pt x="90" y="86"/>
                      <a:pt x="90" y="87"/>
                      <a:pt x="90" y="86"/>
                    </a:cubicBezTo>
                    <a:cubicBezTo>
                      <a:pt x="90" y="86"/>
                      <a:pt x="90" y="86"/>
                      <a:pt x="90" y="86"/>
                    </a:cubicBezTo>
                    <a:cubicBezTo>
                      <a:pt x="90" y="86"/>
                      <a:pt x="90" y="86"/>
                      <a:pt x="90" y="86"/>
                    </a:cubicBezTo>
                    <a:cubicBezTo>
                      <a:pt x="90" y="86"/>
                      <a:pt x="90" y="86"/>
                      <a:pt x="90" y="86"/>
                    </a:cubicBezTo>
                    <a:cubicBezTo>
                      <a:pt x="90" y="85"/>
                      <a:pt x="89" y="84"/>
                      <a:pt x="89" y="84"/>
                    </a:cubicBezTo>
                    <a:cubicBezTo>
                      <a:pt x="89" y="84"/>
                      <a:pt x="89" y="84"/>
                      <a:pt x="89" y="84"/>
                    </a:cubicBezTo>
                    <a:cubicBezTo>
                      <a:pt x="89" y="84"/>
                      <a:pt x="89" y="83"/>
                      <a:pt x="89" y="83"/>
                    </a:cubicBezTo>
                    <a:cubicBezTo>
                      <a:pt x="89" y="83"/>
                      <a:pt x="89" y="83"/>
                      <a:pt x="89" y="83"/>
                    </a:cubicBezTo>
                    <a:cubicBezTo>
                      <a:pt x="89" y="83"/>
                      <a:pt x="89" y="83"/>
                      <a:pt x="89" y="83"/>
                    </a:cubicBezTo>
                    <a:cubicBezTo>
                      <a:pt x="89" y="83"/>
                      <a:pt x="90" y="83"/>
                      <a:pt x="90" y="82"/>
                    </a:cubicBezTo>
                    <a:cubicBezTo>
                      <a:pt x="90" y="82"/>
                      <a:pt x="90" y="82"/>
                      <a:pt x="90" y="82"/>
                    </a:cubicBezTo>
                    <a:cubicBezTo>
                      <a:pt x="89" y="82"/>
                      <a:pt x="90" y="81"/>
                      <a:pt x="90" y="81"/>
                    </a:cubicBezTo>
                    <a:cubicBezTo>
                      <a:pt x="90" y="81"/>
                      <a:pt x="90" y="81"/>
                      <a:pt x="90" y="81"/>
                    </a:cubicBezTo>
                    <a:cubicBezTo>
                      <a:pt x="90" y="81"/>
                      <a:pt x="90" y="80"/>
                      <a:pt x="90" y="80"/>
                    </a:cubicBezTo>
                    <a:cubicBezTo>
                      <a:pt x="90" y="80"/>
                      <a:pt x="90" y="80"/>
                      <a:pt x="90" y="79"/>
                    </a:cubicBezTo>
                    <a:cubicBezTo>
                      <a:pt x="90" y="79"/>
                      <a:pt x="90" y="79"/>
                      <a:pt x="90" y="79"/>
                    </a:cubicBezTo>
                    <a:cubicBezTo>
                      <a:pt x="91" y="79"/>
                      <a:pt x="91" y="79"/>
                      <a:pt x="91" y="79"/>
                    </a:cubicBezTo>
                    <a:cubicBezTo>
                      <a:pt x="91" y="79"/>
                      <a:pt x="91" y="78"/>
                      <a:pt x="91" y="78"/>
                    </a:cubicBezTo>
                    <a:cubicBezTo>
                      <a:pt x="91" y="78"/>
                      <a:pt x="91" y="78"/>
                      <a:pt x="91" y="78"/>
                    </a:cubicBezTo>
                    <a:cubicBezTo>
                      <a:pt x="91" y="78"/>
                      <a:pt x="91" y="78"/>
                      <a:pt x="91" y="78"/>
                    </a:cubicBezTo>
                    <a:cubicBezTo>
                      <a:pt x="91" y="78"/>
                      <a:pt x="91" y="78"/>
                      <a:pt x="91" y="78"/>
                    </a:cubicBezTo>
                    <a:cubicBezTo>
                      <a:pt x="91" y="78"/>
                      <a:pt x="91" y="78"/>
                      <a:pt x="91" y="78"/>
                    </a:cubicBezTo>
                    <a:cubicBezTo>
                      <a:pt x="92" y="78"/>
                      <a:pt x="92" y="77"/>
                      <a:pt x="92" y="77"/>
                    </a:cubicBezTo>
                    <a:cubicBezTo>
                      <a:pt x="92" y="77"/>
                      <a:pt x="92" y="77"/>
                      <a:pt x="92" y="76"/>
                    </a:cubicBezTo>
                    <a:cubicBezTo>
                      <a:pt x="92" y="76"/>
                      <a:pt x="92" y="76"/>
                      <a:pt x="92" y="76"/>
                    </a:cubicBezTo>
                    <a:cubicBezTo>
                      <a:pt x="92" y="76"/>
                      <a:pt x="92" y="76"/>
                      <a:pt x="92" y="76"/>
                    </a:cubicBezTo>
                    <a:cubicBezTo>
                      <a:pt x="92" y="76"/>
                      <a:pt x="92" y="75"/>
                      <a:pt x="92" y="75"/>
                    </a:cubicBezTo>
                    <a:cubicBezTo>
                      <a:pt x="92" y="75"/>
                      <a:pt x="92" y="74"/>
                      <a:pt x="92" y="73"/>
                    </a:cubicBezTo>
                    <a:cubicBezTo>
                      <a:pt x="92" y="73"/>
                      <a:pt x="92" y="73"/>
                      <a:pt x="92" y="73"/>
                    </a:cubicBezTo>
                    <a:cubicBezTo>
                      <a:pt x="92" y="72"/>
                      <a:pt x="92" y="71"/>
                      <a:pt x="92" y="70"/>
                    </a:cubicBezTo>
                    <a:cubicBezTo>
                      <a:pt x="92" y="70"/>
                      <a:pt x="92" y="70"/>
                      <a:pt x="92" y="69"/>
                    </a:cubicBezTo>
                    <a:cubicBezTo>
                      <a:pt x="92" y="69"/>
                      <a:pt x="92" y="69"/>
                      <a:pt x="92" y="69"/>
                    </a:cubicBezTo>
                    <a:cubicBezTo>
                      <a:pt x="92" y="69"/>
                      <a:pt x="92" y="69"/>
                      <a:pt x="92" y="69"/>
                    </a:cubicBezTo>
                    <a:cubicBezTo>
                      <a:pt x="92" y="69"/>
                      <a:pt x="92" y="69"/>
                      <a:pt x="92" y="69"/>
                    </a:cubicBezTo>
                    <a:cubicBezTo>
                      <a:pt x="92" y="69"/>
                      <a:pt x="92" y="68"/>
                      <a:pt x="92" y="68"/>
                    </a:cubicBezTo>
                    <a:cubicBezTo>
                      <a:pt x="91" y="67"/>
                      <a:pt x="92" y="67"/>
                      <a:pt x="92" y="66"/>
                    </a:cubicBezTo>
                    <a:cubicBezTo>
                      <a:pt x="92" y="66"/>
                      <a:pt x="92" y="66"/>
                      <a:pt x="92" y="65"/>
                    </a:cubicBezTo>
                    <a:cubicBezTo>
                      <a:pt x="93" y="65"/>
                      <a:pt x="93" y="65"/>
                      <a:pt x="93" y="65"/>
                    </a:cubicBezTo>
                    <a:cubicBezTo>
                      <a:pt x="93" y="65"/>
                      <a:pt x="93" y="65"/>
                      <a:pt x="93" y="65"/>
                    </a:cubicBezTo>
                    <a:cubicBezTo>
                      <a:pt x="93" y="65"/>
                      <a:pt x="93" y="65"/>
                      <a:pt x="93" y="66"/>
                    </a:cubicBezTo>
                    <a:cubicBezTo>
                      <a:pt x="93" y="66"/>
                      <a:pt x="93" y="66"/>
                      <a:pt x="93" y="66"/>
                    </a:cubicBezTo>
                    <a:cubicBezTo>
                      <a:pt x="93" y="66"/>
                      <a:pt x="93" y="66"/>
                      <a:pt x="93" y="66"/>
                    </a:cubicBezTo>
                    <a:cubicBezTo>
                      <a:pt x="93" y="65"/>
                      <a:pt x="93" y="65"/>
                      <a:pt x="94" y="65"/>
                    </a:cubicBezTo>
                    <a:cubicBezTo>
                      <a:pt x="94" y="65"/>
                      <a:pt x="95" y="65"/>
                      <a:pt x="95" y="65"/>
                    </a:cubicBezTo>
                    <a:cubicBezTo>
                      <a:pt x="95" y="65"/>
                      <a:pt x="95" y="65"/>
                      <a:pt x="95" y="65"/>
                    </a:cubicBezTo>
                    <a:cubicBezTo>
                      <a:pt x="95" y="66"/>
                      <a:pt x="95" y="66"/>
                      <a:pt x="96" y="66"/>
                    </a:cubicBezTo>
                    <a:cubicBezTo>
                      <a:pt x="96" y="66"/>
                      <a:pt x="96" y="66"/>
                      <a:pt x="96" y="66"/>
                    </a:cubicBezTo>
                    <a:cubicBezTo>
                      <a:pt x="96" y="66"/>
                      <a:pt x="96" y="66"/>
                      <a:pt x="96" y="66"/>
                    </a:cubicBezTo>
                    <a:cubicBezTo>
                      <a:pt x="96" y="66"/>
                      <a:pt x="96" y="66"/>
                      <a:pt x="96" y="66"/>
                    </a:cubicBezTo>
                    <a:cubicBezTo>
                      <a:pt x="96" y="65"/>
                      <a:pt x="95" y="65"/>
                      <a:pt x="96" y="65"/>
                    </a:cubicBezTo>
                    <a:cubicBezTo>
                      <a:pt x="96" y="65"/>
                      <a:pt x="96" y="65"/>
                      <a:pt x="96" y="65"/>
                    </a:cubicBezTo>
                    <a:cubicBezTo>
                      <a:pt x="96" y="64"/>
                      <a:pt x="96" y="64"/>
                      <a:pt x="96" y="64"/>
                    </a:cubicBezTo>
                    <a:cubicBezTo>
                      <a:pt x="96" y="64"/>
                      <a:pt x="95" y="64"/>
                      <a:pt x="96" y="64"/>
                    </a:cubicBezTo>
                    <a:cubicBezTo>
                      <a:pt x="96" y="64"/>
                      <a:pt x="96" y="64"/>
                      <a:pt x="96" y="64"/>
                    </a:cubicBezTo>
                    <a:cubicBezTo>
                      <a:pt x="96" y="64"/>
                      <a:pt x="96" y="64"/>
                      <a:pt x="96" y="64"/>
                    </a:cubicBezTo>
                    <a:cubicBezTo>
                      <a:pt x="96" y="64"/>
                      <a:pt x="96" y="64"/>
                      <a:pt x="96" y="64"/>
                    </a:cubicBezTo>
                    <a:cubicBezTo>
                      <a:pt x="96" y="64"/>
                      <a:pt x="95" y="64"/>
                      <a:pt x="95" y="64"/>
                    </a:cubicBezTo>
                    <a:cubicBezTo>
                      <a:pt x="95" y="64"/>
                      <a:pt x="95" y="63"/>
                      <a:pt x="96" y="63"/>
                    </a:cubicBezTo>
                    <a:cubicBezTo>
                      <a:pt x="96" y="63"/>
                      <a:pt x="96" y="63"/>
                      <a:pt x="96" y="63"/>
                    </a:cubicBezTo>
                    <a:cubicBezTo>
                      <a:pt x="96" y="63"/>
                      <a:pt x="96" y="63"/>
                      <a:pt x="96" y="63"/>
                    </a:cubicBezTo>
                    <a:cubicBezTo>
                      <a:pt x="95" y="63"/>
                      <a:pt x="95" y="63"/>
                      <a:pt x="95" y="63"/>
                    </a:cubicBezTo>
                    <a:cubicBezTo>
                      <a:pt x="95" y="63"/>
                      <a:pt x="95" y="63"/>
                      <a:pt x="96" y="63"/>
                    </a:cubicBezTo>
                    <a:cubicBezTo>
                      <a:pt x="96" y="62"/>
                      <a:pt x="96" y="62"/>
                      <a:pt x="96" y="62"/>
                    </a:cubicBezTo>
                    <a:cubicBezTo>
                      <a:pt x="96" y="62"/>
                      <a:pt x="96" y="62"/>
                      <a:pt x="96" y="62"/>
                    </a:cubicBezTo>
                    <a:cubicBezTo>
                      <a:pt x="96" y="62"/>
                      <a:pt x="96" y="61"/>
                      <a:pt x="96" y="61"/>
                    </a:cubicBezTo>
                    <a:cubicBezTo>
                      <a:pt x="96" y="61"/>
                      <a:pt x="96" y="61"/>
                      <a:pt x="96" y="61"/>
                    </a:cubicBezTo>
                    <a:cubicBezTo>
                      <a:pt x="96" y="61"/>
                      <a:pt x="97" y="61"/>
                      <a:pt x="97" y="61"/>
                    </a:cubicBezTo>
                    <a:cubicBezTo>
                      <a:pt x="97" y="61"/>
                      <a:pt x="97" y="61"/>
                      <a:pt x="97" y="61"/>
                    </a:cubicBezTo>
                    <a:cubicBezTo>
                      <a:pt x="97" y="60"/>
                      <a:pt x="97" y="60"/>
                      <a:pt x="97" y="60"/>
                    </a:cubicBezTo>
                    <a:cubicBezTo>
                      <a:pt x="97" y="60"/>
                      <a:pt x="97" y="60"/>
                      <a:pt x="96" y="60"/>
                    </a:cubicBezTo>
                    <a:cubicBezTo>
                      <a:pt x="97" y="60"/>
                      <a:pt x="97" y="60"/>
                      <a:pt x="97" y="60"/>
                    </a:cubicBezTo>
                    <a:cubicBezTo>
                      <a:pt x="97" y="60"/>
                      <a:pt x="97" y="60"/>
                      <a:pt x="97" y="60"/>
                    </a:cubicBezTo>
                    <a:cubicBezTo>
                      <a:pt x="96" y="60"/>
                      <a:pt x="96"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8" y="59"/>
                      <a:pt x="98" y="60"/>
                    </a:cubicBezTo>
                    <a:cubicBezTo>
                      <a:pt x="98" y="60"/>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8"/>
                      <a:pt x="98" y="58"/>
                    </a:cubicBezTo>
                    <a:cubicBezTo>
                      <a:pt x="98" y="58"/>
                      <a:pt x="98" y="58"/>
                      <a:pt x="98" y="58"/>
                    </a:cubicBezTo>
                    <a:cubicBezTo>
                      <a:pt x="98" y="58"/>
                      <a:pt x="99" y="58"/>
                      <a:pt x="99" y="58"/>
                    </a:cubicBezTo>
                    <a:cubicBezTo>
                      <a:pt x="98" y="58"/>
                      <a:pt x="99" y="57"/>
                      <a:pt x="98" y="57"/>
                    </a:cubicBezTo>
                    <a:cubicBezTo>
                      <a:pt x="98" y="57"/>
                      <a:pt x="98" y="57"/>
                      <a:pt x="98" y="57"/>
                    </a:cubicBezTo>
                    <a:cubicBezTo>
                      <a:pt x="98" y="57"/>
                      <a:pt x="99" y="57"/>
                      <a:pt x="99" y="56"/>
                    </a:cubicBezTo>
                    <a:cubicBezTo>
                      <a:pt x="99" y="56"/>
                      <a:pt x="99" y="56"/>
                      <a:pt x="99" y="56"/>
                    </a:cubicBezTo>
                    <a:cubicBezTo>
                      <a:pt x="99" y="56"/>
                      <a:pt x="99" y="56"/>
                      <a:pt x="99" y="56"/>
                    </a:cubicBezTo>
                    <a:cubicBezTo>
                      <a:pt x="99" y="56"/>
                      <a:pt x="99" y="56"/>
                      <a:pt x="99" y="56"/>
                    </a:cubicBezTo>
                    <a:cubicBezTo>
                      <a:pt x="99" y="56"/>
                      <a:pt x="99" y="56"/>
                      <a:pt x="99" y="56"/>
                    </a:cubicBezTo>
                    <a:cubicBezTo>
                      <a:pt x="99" y="55"/>
                      <a:pt x="99" y="55"/>
                      <a:pt x="99" y="55"/>
                    </a:cubicBezTo>
                    <a:close/>
                    <a:moveTo>
                      <a:pt x="86" y="57"/>
                    </a:moveTo>
                    <a:cubicBezTo>
                      <a:pt x="86" y="57"/>
                      <a:pt x="86" y="57"/>
                      <a:pt x="86" y="57"/>
                    </a:cubicBezTo>
                    <a:cubicBezTo>
                      <a:pt x="86" y="57"/>
                      <a:pt x="86" y="57"/>
                      <a:pt x="86" y="57"/>
                    </a:cubicBezTo>
                    <a:close/>
                    <a:moveTo>
                      <a:pt x="65" y="76"/>
                    </a:moveTo>
                    <a:cubicBezTo>
                      <a:pt x="65" y="76"/>
                      <a:pt x="65" y="76"/>
                      <a:pt x="65" y="76"/>
                    </a:cubicBezTo>
                    <a:cubicBezTo>
                      <a:pt x="65" y="76"/>
                      <a:pt x="65" y="76"/>
                      <a:pt x="65" y="76"/>
                    </a:cubicBezTo>
                    <a:cubicBezTo>
                      <a:pt x="65" y="76"/>
                      <a:pt x="65" y="76"/>
                      <a:pt x="65" y="76"/>
                    </a:cubicBezTo>
                    <a:cubicBezTo>
                      <a:pt x="65" y="76"/>
                      <a:pt x="65" y="76"/>
                      <a:pt x="65" y="76"/>
                    </a:cubicBezTo>
                    <a:cubicBezTo>
                      <a:pt x="65" y="76"/>
                      <a:pt x="65" y="76"/>
                      <a:pt x="65" y="76"/>
                    </a:cubicBezTo>
                    <a:close/>
                    <a:moveTo>
                      <a:pt x="51" y="98"/>
                    </a:moveTo>
                    <a:cubicBezTo>
                      <a:pt x="51" y="98"/>
                      <a:pt x="50" y="98"/>
                      <a:pt x="50" y="98"/>
                    </a:cubicBezTo>
                    <a:cubicBezTo>
                      <a:pt x="50" y="98"/>
                      <a:pt x="50" y="98"/>
                      <a:pt x="50" y="98"/>
                    </a:cubicBezTo>
                    <a:cubicBezTo>
                      <a:pt x="50" y="98"/>
                      <a:pt x="50" y="99"/>
                      <a:pt x="50" y="99"/>
                    </a:cubicBezTo>
                    <a:cubicBezTo>
                      <a:pt x="50" y="99"/>
                      <a:pt x="50" y="99"/>
                      <a:pt x="50" y="99"/>
                    </a:cubicBezTo>
                    <a:cubicBezTo>
                      <a:pt x="50" y="99"/>
                      <a:pt x="49" y="99"/>
                      <a:pt x="49" y="99"/>
                    </a:cubicBezTo>
                    <a:cubicBezTo>
                      <a:pt x="49" y="99"/>
                      <a:pt x="49" y="99"/>
                      <a:pt x="49" y="99"/>
                    </a:cubicBezTo>
                    <a:cubicBezTo>
                      <a:pt x="49" y="100"/>
                      <a:pt x="49" y="100"/>
                      <a:pt x="49" y="100"/>
                    </a:cubicBezTo>
                    <a:cubicBezTo>
                      <a:pt x="49" y="100"/>
                      <a:pt x="49" y="100"/>
                      <a:pt x="49" y="100"/>
                    </a:cubicBezTo>
                    <a:cubicBezTo>
                      <a:pt x="50" y="101"/>
                      <a:pt x="50" y="101"/>
                      <a:pt x="50" y="100"/>
                    </a:cubicBezTo>
                    <a:cubicBezTo>
                      <a:pt x="50" y="100"/>
                      <a:pt x="51" y="100"/>
                      <a:pt x="51" y="100"/>
                    </a:cubicBezTo>
                    <a:cubicBezTo>
                      <a:pt x="51" y="100"/>
                      <a:pt x="51" y="100"/>
                      <a:pt x="51" y="99"/>
                    </a:cubicBezTo>
                    <a:cubicBezTo>
                      <a:pt x="51" y="99"/>
                      <a:pt x="51" y="99"/>
                      <a:pt x="51" y="99"/>
                    </a:cubicBezTo>
                    <a:cubicBezTo>
                      <a:pt x="51" y="99"/>
                      <a:pt x="51" y="99"/>
                      <a:pt x="51" y="99"/>
                    </a:cubicBezTo>
                    <a:cubicBezTo>
                      <a:pt x="51" y="99"/>
                      <a:pt x="51" y="99"/>
                      <a:pt x="51" y="99"/>
                    </a:cubicBezTo>
                    <a:cubicBezTo>
                      <a:pt x="51" y="98"/>
                      <a:pt x="51" y="98"/>
                      <a:pt x="51" y="98"/>
                    </a:cubicBezTo>
                    <a:cubicBezTo>
                      <a:pt x="51" y="98"/>
                      <a:pt x="51" y="98"/>
                      <a:pt x="51" y="98"/>
                    </a:cubicBezTo>
                    <a:cubicBezTo>
                      <a:pt x="51" y="98"/>
                      <a:pt x="51" y="98"/>
                      <a:pt x="52" y="97"/>
                    </a:cubicBezTo>
                    <a:cubicBezTo>
                      <a:pt x="52" y="97"/>
                      <a:pt x="52" y="97"/>
                      <a:pt x="52" y="97"/>
                    </a:cubicBezTo>
                    <a:cubicBezTo>
                      <a:pt x="52" y="97"/>
                      <a:pt x="52" y="97"/>
                      <a:pt x="52" y="97"/>
                    </a:cubicBezTo>
                    <a:cubicBezTo>
                      <a:pt x="51" y="97"/>
                      <a:pt x="51" y="97"/>
                      <a:pt x="51" y="97"/>
                    </a:cubicBezTo>
                    <a:cubicBezTo>
                      <a:pt x="51" y="97"/>
                      <a:pt x="51" y="98"/>
                      <a:pt x="51" y="98"/>
                    </a:cubicBezTo>
                    <a:close/>
                    <a:moveTo>
                      <a:pt x="93" y="4"/>
                    </a:moveTo>
                    <a:cubicBezTo>
                      <a:pt x="94" y="4"/>
                      <a:pt x="94" y="4"/>
                      <a:pt x="94" y="4"/>
                    </a:cubicBezTo>
                    <a:cubicBezTo>
                      <a:pt x="94" y="3"/>
                      <a:pt x="94" y="3"/>
                      <a:pt x="93" y="3"/>
                    </a:cubicBezTo>
                    <a:cubicBezTo>
                      <a:pt x="93" y="3"/>
                      <a:pt x="93" y="3"/>
                      <a:pt x="93" y="3"/>
                    </a:cubicBezTo>
                    <a:cubicBezTo>
                      <a:pt x="92" y="4"/>
                      <a:pt x="93" y="4"/>
                      <a:pt x="93" y="4"/>
                    </a:cubicBezTo>
                    <a:cubicBezTo>
                      <a:pt x="93" y="4"/>
                      <a:pt x="93" y="4"/>
                      <a:pt x="93" y="4"/>
                    </a:cubicBezTo>
                    <a:close/>
                    <a:moveTo>
                      <a:pt x="80" y="38"/>
                    </a:moveTo>
                    <a:cubicBezTo>
                      <a:pt x="81" y="38"/>
                      <a:pt x="81" y="38"/>
                      <a:pt x="81" y="38"/>
                    </a:cubicBezTo>
                    <a:cubicBezTo>
                      <a:pt x="81" y="38"/>
                      <a:pt x="81" y="38"/>
                      <a:pt x="81" y="38"/>
                    </a:cubicBezTo>
                    <a:cubicBezTo>
                      <a:pt x="80" y="38"/>
                      <a:pt x="80" y="38"/>
                      <a:pt x="80" y="38"/>
                    </a:cubicBezTo>
                    <a:cubicBezTo>
                      <a:pt x="80" y="38"/>
                      <a:pt x="80" y="38"/>
                      <a:pt x="80" y="38"/>
                    </a:cubicBezTo>
                    <a:close/>
                    <a:moveTo>
                      <a:pt x="81" y="32"/>
                    </a:moveTo>
                    <a:cubicBezTo>
                      <a:pt x="81" y="33"/>
                      <a:pt x="81" y="33"/>
                      <a:pt x="81" y="33"/>
                    </a:cubicBezTo>
                    <a:cubicBezTo>
                      <a:pt x="81" y="33"/>
                      <a:pt x="81" y="33"/>
                      <a:pt x="81" y="33"/>
                    </a:cubicBezTo>
                    <a:cubicBezTo>
                      <a:pt x="81" y="33"/>
                      <a:pt x="82" y="32"/>
                      <a:pt x="82" y="32"/>
                    </a:cubicBezTo>
                    <a:cubicBezTo>
                      <a:pt x="82" y="32"/>
                      <a:pt x="82" y="32"/>
                      <a:pt x="82" y="31"/>
                    </a:cubicBezTo>
                    <a:cubicBezTo>
                      <a:pt x="82" y="31"/>
                      <a:pt x="82" y="31"/>
                      <a:pt x="82" y="31"/>
                    </a:cubicBezTo>
                    <a:cubicBezTo>
                      <a:pt x="81" y="31"/>
                      <a:pt x="81" y="32"/>
                      <a:pt x="81" y="32"/>
                    </a:cubicBezTo>
                    <a:cubicBezTo>
                      <a:pt x="81" y="32"/>
                      <a:pt x="81" y="32"/>
                      <a:pt x="81" y="32"/>
                    </a:cubicBezTo>
                    <a:close/>
                    <a:moveTo>
                      <a:pt x="92" y="3"/>
                    </a:moveTo>
                    <a:cubicBezTo>
                      <a:pt x="92" y="3"/>
                      <a:pt x="92" y="2"/>
                      <a:pt x="92" y="2"/>
                    </a:cubicBezTo>
                    <a:cubicBezTo>
                      <a:pt x="92" y="2"/>
                      <a:pt x="92" y="2"/>
                      <a:pt x="92" y="1"/>
                    </a:cubicBezTo>
                    <a:cubicBezTo>
                      <a:pt x="92" y="1"/>
                      <a:pt x="92" y="1"/>
                      <a:pt x="92" y="1"/>
                    </a:cubicBezTo>
                    <a:cubicBezTo>
                      <a:pt x="92" y="1"/>
                      <a:pt x="92" y="1"/>
                      <a:pt x="91" y="1"/>
                    </a:cubicBezTo>
                    <a:cubicBezTo>
                      <a:pt x="92" y="1"/>
                      <a:pt x="92" y="2"/>
                      <a:pt x="92" y="2"/>
                    </a:cubicBezTo>
                    <a:cubicBezTo>
                      <a:pt x="92" y="2"/>
                      <a:pt x="92" y="3"/>
                      <a:pt x="92" y="3"/>
                    </a:cubicBezTo>
                    <a:close/>
                    <a:moveTo>
                      <a:pt x="124" y="21"/>
                    </a:moveTo>
                    <a:cubicBezTo>
                      <a:pt x="124" y="21"/>
                      <a:pt x="124" y="21"/>
                      <a:pt x="124" y="21"/>
                    </a:cubicBezTo>
                    <a:cubicBezTo>
                      <a:pt x="124" y="21"/>
                      <a:pt x="123" y="21"/>
                      <a:pt x="123" y="21"/>
                    </a:cubicBezTo>
                    <a:cubicBezTo>
                      <a:pt x="122" y="21"/>
                      <a:pt x="122" y="21"/>
                      <a:pt x="122" y="22"/>
                    </a:cubicBezTo>
                    <a:cubicBezTo>
                      <a:pt x="122" y="22"/>
                      <a:pt x="122" y="22"/>
                      <a:pt x="122" y="22"/>
                    </a:cubicBezTo>
                    <a:cubicBezTo>
                      <a:pt x="122" y="22"/>
                      <a:pt x="122" y="22"/>
                      <a:pt x="122" y="22"/>
                    </a:cubicBezTo>
                    <a:cubicBezTo>
                      <a:pt x="121" y="22"/>
                      <a:pt x="121" y="22"/>
                      <a:pt x="121" y="22"/>
                    </a:cubicBezTo>
                    <a:cubicBezTo>
                      <a:pt x="121" y="21"/>
                      <a:pt x="121" y="21"/>
                      <a:pt x="121" y="21"/>
                    </a:cubicBezTo>
                    <a:cubicBezTo>
                      <a:pt x="121" y="21"/>
                      <a:pt x="121" y="21"/>
                      <a:pt x="121" y="21"/>
                    </a:cubicBezTo>
                    <a:cubicBezTo>
                      <a:pt x="121" y="21"/>
                      <a:pt x="121" y="21"/>
                      <a:pt x="121" y="21"/>
                    </a:cubicBezTo>
                    <a:cubicBezTo>
                      <a:pt x="121" y="21"/>
                      <a:pt x="121" y="20"/>
                      <a:pt x="121" y="19"/>
                    </a:cubicBezTo>
                    <a:cubicBezTo>
                      <a:pt x="121" y="19"/>
                      <a:pt x="120" y="19"/>
                      <a:pt x="120" y="18"/>
                    </a:cubicBezTo>
                    <a:cubicBezTo>
                      <a:pt x="120" y="18"/>
                      <a:pt x="120" y="18"/>
                      <a:pt x="120" y="18"/>
                    </a:cubicBezTo>
                    <a:cubicBezTo>
                      <a:pt x="120" y="17"/>
                      <a:pt x="119" y="17"/>
                      <a:pt x="119" y="17"/>
                    </a:cubicBezTo>
                    <a:cubicBezTo>
                      <a:pt x="119" y="17"/>
                      <a:pt x="120" y="16"/>
                      <a:pt x="120" y="16"/>
                    </a:cubicBezTo>
                    <a:cubicBezTo>
                      <a:pt x="120" y="16"/>
                      <a:pt x="120" y="15"/>
                      <a:pt x="120" y="15"/>
                    </a:cubicBezTo>
                    <a:cubicBezTo>
                      <a:pt x="120" y="15"/>
                      <a:pt x="120" y="14"/>
                      <a:pt x="121" y="14"/>
                    </a:cubicBezTo>
                    <a:cubicBezTo>
                      <a:pt x="121" y="14"/>
                      <a:pt x="121" y="14"/>
                      <a:pt x="121" y="14"/>
                    </a:cubicBezTo>
                    <a:cubicBezTo>
                      <a:pt x="121" y="14"/>
                      <a:pt x="121" y="14"/>
                      <a:pt x="121" y="13"/>
                    </a:cubicBezTo>
                    <a:cubicBezTo>
                      <a:pt x="121" y="13"/>
                      <a:pt x="121" y="13"/>
                      <a:pt x="121" y="13"/>
                    </a:cubicBezTo>
                    <a:cubicBezTo>
                      <a:pt x="121" y="13"/>
                      <a:pt x="121" y="12"/>
                      <a:pt x="121" y="12"/>
                    </a:cubicBezTo>
                    <a:cubicBezTo>
                      <a:pt x="121" y="12"/>
                      <a:pt x="121" y="12"/>
                      <a:pt x="121" y="12"/>
                    </a:cubicBezTo>
                    <a:cubicBezTo>
                      <a:pt x="120" y="12"/>
                      <a:pt x="120" y="13"/>
                      <a:pt x="119" y="14"/>
                    </a:cubicBezTo>
                    <a:cubicBezTo>
                      <a:pt x="119" y="14"/>
                      <a:pt x="118" y="14"/>
                      <a:pt x="118" y="15"/>
                    </a:cubicBezTo>
                    <a:cubicBezTo>
                      <a:pt x="118" y="15"/>
                      <a:pt x="117" y="16"/>
                      <a:pt x="117" y="16"/>
                    </a:cubicBezTo>
                    <a:cubicBezTo>
                      <a:pt x="116" y="16"/>
                      <a:pt x="116" y="16"/>
                      <a:pt x="115" y="15"/>
                    </a:cubicBezTo>
                    <a:cubicBezTo>
                      <a:pt x="115" y="15"/>
                      <a:pt x="115" y="15"/>
                      <a:pt x="114" y="15"/>
                    </a:cubicBezTo>
                    <a:cubicBezTo>
                      <a:pt x="114" y="15"/>
                      <a:pt x="114" y="15"/>
                      <a:pt x="114" y="15"/>
                    </a:cubicBezTo>
                    <a:cubicBezTo>
                      <a:pt x="114" y="15"/>
                      <a:pt x="114" y="15"/>
                      <a:pt x="114" y="15"/>
                    </a:cubicBezTo>
                    <a:cubicBezTo>
                      <a:pt x="114" y="14"/>
                      <a:pt x="114" y="14"/>
                      <a:pt x="114" y="14"/>
                    </a:cubicBezTo>
                    <a:cubicBezTo>
                      <a:pt x="114" y="14"/>
                      <a:pt x="114" y="14"/>
                      <a:pt x="113" y="14"/>
                    </a:cubicBezTo>
                    <a:cubicBezTo>
                      <a:pt x="113" y="14"/>
                      <a:pt x="113" y="14"/>
                      <a:pt x="113" y="14"/>
                    </a:cubicBezTo>
                    <a:cubicBezTo>
                      <a:pt x="113" y="14"/>
                      <a:pt x="113" y="14"/>
                      <a:pt x="112" y="14"/>
                    </a:cubicBezTo>
                    <a:cubicBezTo>
                      <a:pt x="112" y="14"/>
                      <a:pt x="112" y="14"/>
                      <a:pt x="112" y="14"/>
                    </a:cubicBezTo>
                    <a:cubicBezTo>
                      <a:pt x="112" y="14"/>
                      <a:pt x="112" y="14"/>
                      <a:pt x="112" y="14"/>
                    </a:cubicBezTo>
                    <a:cubicBezTo>
                      <a:pt x="111" y="14"/>
                      <a:pt x="111" y="14"/>
                      <a:pt x="111" y="14"/>
                    </a:cubicBezTo>
                    <a:cubicBezTo>
                      <a:pt x="111" y="14"/>
                      <a:pt x="110" y="14"/>
                      <a:pt x="110" y="14"/>
                    </a:cubicBezTo>
                    <a:cubicBezTo>
                      <a:pt x="110" y="14"/>
                      <a:pt x="110" y="13"/>
                      <a:pt x="110" y="13"/>
                    </a:cubicBezTo>
                    <a:cubicBezTo>
                      <a:pt x="110" y="13"/>
                      <a:pt x="110" y="13"/>
                      <a:pt x="110" y="13"/>
                    </a:cubicBezTo>
                    <a:cubicBezTo>
                      <a:pt x="109" y="12"/>
                      <a:pt x="108" y="12"/>
                      <a:pt x="107" y="11"/>
                    </a:cubicBezTo>
                    <a:cubicBezTo>
                      <a:pt x="107" y="11"/>
                      <a:pt x="106" y="10"/>
                      <a:pt x="106" y="10"/>
                    </a:cubicBezTo>
                    <a:cubicBezTo>
                      <a:pt x="105" y="10"/>
                      <a:pt x="105" y="10"/>
                      <a:pt x="105" y="9"/>
                    </a:cubicBezTo>
                    <a:cubicBezTo>
                      <a:pt x="105" y="9"/>
                      <a:pt x="105" y="9"/>
                      <a:pt x="104" y="8"/>
                    </a:cubicBezTo>
                    <a:cubicBezTo>
                      <a:pt x="104" y="8"/>
                      <a:pt x="103" y="7"/>
                      <a:pt x="103" y="7"/>
                    </a:cubicBezTo>
                    <a:cubicBezTo>
                      <a:pt x="103" y="6"/>
                      <a:pt x="103" y="6"/>
                      <a:pt x="103" y="6"/>
                    </a:cubicBezTo>
                    <a:cubicBezTo>
                      <a:pt x="102" y="6"/>
                      <a:pt x="102" y="5"/>
                      <a:pt x="102" y="5"/>
                    </a:cubicBezTo>
                    <a:cubicBezTo>
                      <a:pt x="101" y="4"/>
                      <a:pt x="101" y="3"/>
                      <a:pt x="100" y="3"/>
                    </a:cubicBezTo>
                    <a:cubicBezTo>
                      <a:pt x="100" y="2"/>
                      <a:pt x="100" y="2"/>
                      <a:pt x="100" y="2"/>
                    </a:cubicBezTo>
                    <a:cubicBezTo>
                      <a:pt x="99" y="2"/>
                      <a:pt x="99" y="1"/>
                      <a:pt x="98" y="0"/>
                    </a:cubicBezTo>
                    <a:cubicBezTo>
                      <a:pt x="98" y="0"/>
                      <a:pt x="98" y="0"/>
                      <a:pt x="98" y="0"/>
                    </a:cubicBezTo>
                    <a:cubicBezTo>
                      <a:pt x="98" y="1"/>
                      <a:pt x="98" y="1"/>
                      <a:pt x="98" y="1"/>
                    </a:cubicBezTo>
                    <a:cubicBezTo>
                      <a:pt x="98" y="1"/>
                      <a:pt x="97" y="1"/>
                      <a:pt x="97" y="1"/>
                    </a:cubicBezTo>
                    <a:cubicBezTo>
                      <a:pt x="97" y="1"/>
                      <a:pt x="97" y="1"/>
                      <a:pt x="97" y="1"/>
                    </a:cubicBezTo>
                    <a:cubicBezTo>
                      <a:pt x="96" y="1"/>
                      <a:pt x="96" y="1"/>
                      <a:pt x="96" y="1"/>
                    </a:cubicBezTo>
                    <a:cubicBezTo>
                      <a:pt x="96" y="1"/>
                      <a:pt x="96" y="1"/>
                      <a:pt x="96" y="1"/>
                    </a:cubicBezTo>
                    <a:cubicBezTo>
                      <a:pt x="96" y="1"/>
                      <a:pt x="96" y="1"/>
                      <a:pt x="96" y="2"/>
                    </a:cubicBezTo>
                    <a:cubicBezTo>
                      <a:pt x="96" y="2"/>
                      <a:pt x="96" y="2"/>
                      <a:pt x="96" y="2"/>
                    </a:cubicBezTo>
                    <a:cubicBezTo>
                      <a:pt x="96" y="3"/>
                      <a:pt x="95" y="3"/>
                      <a:pt x="96" y="4"/>
                    </a:cubicBezTo>
                    <a:cubicBezTo>
                      <a:pt x="96" y="4"/>
                      <a:pt x="96" y="4"/>
                      <a:pt x="96" y="5"/>
                    </a:cubicBezTo>
                    <a:cubicBezTo>
                      <a:pt x="97" y="6"/>
                      <a:pt x="97" y="7"/>
                      <a:pt x="97" y="9"/>
                    </a:cubicBezTo>
                    <a:cubicBezTo>
                      <a:pt x="97" y="9"/>
                      <a:pt x="97" y="9"/>
                      <a:pt x="97" y="10"/>
                    </a:cubicBezTo>
                    <a:cubicBezTo>
                      <a:pt x="97" y="10"/>
                      <a:pt x="97" y="11"/>
                      <a:pt x="96" y="11"/>
                    </a:cubicBezTo>
                    <a:cubicBezTo>
                      <a:pt x="96" y="12"/>
                      <a:pt x="96" y="12"/>
                      <a:pt x="96" y="12"/>
                    </a:cubicBezTo>
                    <a:cubicBezTo>
                      <a:pt x="96" y="13"/>
                      <a:pt x="96" y="14"/>
                      <a:pt x="96" y="14"/>
                    </a:cubicBezTo>
                    <a:cubicBezTo>
                      <a:pt x="96" y="16"/>
                      <a:pt x="96" y="16"/>
                      <a:pt x="95" y="16"/>
                    </a:cubicBezTo>
                    <a:cubicBezTo>
                      <a:pt x="94" y="17"/>
                      <a:pt x="94" y="17"/>
                      <a:pt x="94" y="18"/>
                    </a:cubicBezTo>
                    <a:cubicBezTo>
                      <a:pt x="94" y="18"/>
                      <a:pt x="94" y="18"/>
                      <a:pt x="94" y="19"/>
                    </a:cubicBezTo>
                    <a:cubicBezTo>
                      <a:pt x="94" y="19"/>
                      <a:pt x="94" y="19"/>
                      <a:pt x="94" y="19"/>
                    </a:cubicBezTo>
                    <a:cubicBezTo>
                      <a:pt x="94" y="19"/>
                      <a:pt x="94" y="19"/>
                      <a:pt x="94" y="20"/>
                    </a:cubicBezTo>
                    <a:cubicBezTo>
                      <a:pt x="95" y="20"/>
                      <a:pt x="95" y="21"/>
                      <a:pt x="94" y="22"/>
                    </a:cubicBezTo>
                    <a:cubicBezTo>
                      <a:pt x="94" y="22"/>
                      <a:pt x="93" y="23"/>
                      <a:pt x="93" y="23"/>
                    </a:cubicBezTo>
                    <a:cubicBezTo>
                      <a:pt x="93" y="23"/>
                      <a:pt x="92" y="23"/>
                      <a:pt x="92" y="22"/>
                    </a:cubicBezTo>
                    <a:cubicBezTo>
                      <a:pt x="92" y="22"/>
                      <a:pt x="92" y="22"/>
                      <a:pt x="92" y="22"/>
                    </a:cubicBezTo>
                    <a:cubicBezTo>
                      <a:pt x="92" y="22"/>
                      <a:pt x="91" y="22"/>
                      <a:pt x="91" y="22"/>
                    </a:cubicBezTo>
                    <a:cubicBezTo>
                      <a:pt x="91" y="22"/>
                      <a:pt x="91" y="22"/>
                      <a:pt x="90" y="22"/>
                    </a:cubicBezTo>
                    <a:cubicBezTo>
                      <a:pt x="90" y="22"/>
                      <a:pt x="90" y="22"/>
                      <a:pt x="90" y="22"/>
                    </a:cubicBezTo>
                    <a:cubicBezTo>
                      <a:pt x="90" y="22"/>
                      <a:pt x="89" y="22"/>
                      <a:pt x="89" y="21"/>
                    </a:cubicBezTo>
                    <a:cubicBezTo>
                      <a:pt x="89" y="21"/>
                      <a:pt x="89" y="21"/>
                      <a:pt x="88" y="21"/>
                    </a:cubicBezTo>
                    <a:cubicBezTo>
                      <a:pt x="88" y="21"/>
                      <a:pt x="88" y="21"/>
                      <a:pt x="88" y="21"/>
                    </a:cubicBezTo>
                    <a:cubicBezTo>
                      <a:pt x="88" y="21"/>
                      <a:pt x="88" y="21"/>
                      <a:pt x="88" y="21"/>
                    </a:cubicBezTo>
                    <a:cubicBezTo>
                      <a:pt x="87" y="21"/>
                      <a:pt x="87" y="21"/>
                      <a:pt x="87" y="21"/>
                    </a:cubicBezTo>
                    <a:cubicBezTo>
                      <a:pt x="87" y="21"/>
                      <a:pt x="87" y="22"/>
                      <a:pt x="87" y="22"/>
                    </a:cubicBezTo>
                    <a:cubicBezTo>
                      <a:pt x="87" y="22"/>
                      <a:pt x="87" y="22"/>
                      <a:pt x="87" y="22"/>
                    </a:cubicBezTo>
                    <a:cubicBezTo>
                      <a:pt x="88" y="23"/>
                      <a:pt x="88" y="23"/>
                      <a:pt x="88" y="23"/>
                    </a:cubicBezTo>
                    <a:cubicBezTo>
                      <a:pt x="89" y="24"/>
                      <a:pt x="89" y="24"/>
                      <a:pt x="88" y="25"/>
                    </a:cubicBezTo>
                    <a:cubicBezTo>
                      <a:pt x="87" y="25"/>
                      <a:pt x="87" y="25"/>
                      <a:pt x="87" y="26"/>
                    </a:cubicBezTo>
                    <a:cubicBezTo>
                      <a:pt x="87" y="26"/>
                      <a:pt x="87" y="26"/>
                      <a:pt x="87" y="26"/>
                    </a:cubicBezTo>
                    <a:cubicBezTo>
                      <a:pt x="87" y="26"/>
                      <a:pt x="87" y="26"/>
                      <a:pt x="87" y="26"/>
                    </a:cubicBezTo>
                    <a:cubicBezTo>
                      <a:pt x="86" y="26"/>
                      <a:pt x="86" y="26"/>
                      <a:pt x="86" y="26"/>
                    </a:cubicBezTo>
                    <a:cubicBezTo>
                      <a:pt x="86" y="26"/>
                      <a:pt x="86" y="26"/>
                      <a:pt x="86" y="26"/>
                    </a:cubicBezTo>
                    <a:cubicBezTo>
                      <a:pt x="86" y="26"/>
                      <a:pt x="86" y="27"/>
                      <a:pt x="85" y="27"/>
                    </a:cubicBezTo>
                    <a:cubicBezTo>
                      <a:pt x="85" y="27"/>
                      <a:pt x="85" y="27"/>
                      <a:pt x="85" y="27"/>
                    </a:cubicBezTo>
                    <a:cubicBezTo>
                      <a:pt x="84" y="27"/>
                      <a:pt x="84" y="28"/>
                      <a:pt x="84" y="28"/>
                    </a:cubicBezTo>
                    <a:cubicBezTo>
                      <a:pt x="84" y="29"/>
                      <a:pt x="84" y="30"/>
                      <a:pt x="83" y="30"/>
                    </a:cubicBezTo>
                    <a:cubicBezTo>
                      <a:pt x="83" y="30"/>
                      <a:pt x="83" y="31"/>
                      <a:pt x="84" y="31"/>
                    </a:cubicBezTo>
                    <a:cubicBezTo>
                      <a:pt x="84" y="31"/>
                      <a:pt x="84" y="32"/>
                      <a:pt x="84" y="32"/>
                    </a:cubicBezTo>
                    <a:cubicBezTo>
                      <a:pt x="84" y="32"/>
                      <a:pt x="84" y="32"/>
                      <a:pt x="85" y="32"/>
                    </a:cubicBezTo>
                    <a:cubicBezTo>
                      <a:pt x="85" y="32"/>
                      <a:pt x="85" y="32"/>
                      <a:pt x="85" y="32"/>
                    </a:cubicBezTo>
                    <a:cubicBezTo>
                      <a:pt x="86" y="33"/>
                      <a:pt x="86" y="34"/>
                      <a:pt x="86" y="34"/>
                    </a:cubicBezTo>
                    <a:cubicBezTo>
                      <a:pt x="86" y="35"/>
                      <a:pt x="86" y="35"/>
                      <a:pt x="85" y="35"/>
                    </a:cubicBezTo>
                    <a:cubicBezTo>
                      <a:pt x="85" y="35"/>
                      <a:pt x="85" y="35"/>
                      <a:pt x="85" y="35"/>
                    </a:cubicBezTo>
                    <a:cubicBezTo>
                      <a:pt x="85" y="36"/>
                      <a:pt x="85" y="36"/>
                      <a:pt x="85" y="36"/>
                    </a:cubicBezTo>
                    <a:cubicBezTo>
                      <a:pt x="85" y="37"/>
                      <a:pt x="85" y="37"/>
                      <a:pt x="85" y="38"/>
                    </a:cubicBezTo>
                    <a:cubicBezTo>
                      <a:pt x="85" y="38"/>
                      <a:pt x="85" y="39"/>
                      <a:pt x="86" y="39"/>
                    </a:cubicBezTo>
                    <a:cubicBezTo>
                      <a:pt x="86" y="39"/>
                      <a:pt x="86" y="39"/>
                      <a:pt x="86" y="39"/>
                    </a:cubicBezTo>
                    <a:cubicBezTo>
                      <a:pt x="86" y="39"/>
                      <a:pt x="86" y="39"/>
                      <a:pt x="86" y="38"/>
                    </a:cubicBezTo>
                    <a:cubicBezTo>
                      <a:pt x="87" y="38"/>
                      <a:pt x="87" y="38"/>
                      <a:pt x="87" y="38"/>
                    </a:cubicBezTo>
                    <a:cubicBezTo>
                      <a:pt x="88" y="38"/>
                      <a:pt x="88" y="38"/>
                      <a:pt x="88" y="37"/>
                    </a:cubicBezTo>
                    <a:cubicBezTo>
                      <a:pt x="88" y="37"/>
                      <a:pt x="88" y="37"/>
                      <a:pt x="88" y="36"/>
                    </a:cubicBezTo>
                    <a:cubicBezTo>
                      <a:pt x="88" y="36"/>
                      <a:pt x="88" y="36"/>
                      <a:pt x="88" y="36"/>
                    </a:cubicBezTo>
                    <a:cubicBezTo>
                      <a:pt x="89" y="36"/>
                      <a:pt x="89" y="36"/>
                      <a:pt x="89" y="36"/>
                    </a:cubicBezTo>
                    <a:cubicBezTo>
                      <a:pt x="89" y="35"/>
                      <a:pt x="89" y="35"/>
                      <a:pt x="89" y="35"/>
                    </a:cubicBezTo>
                    <a:cubicBezTo>
                      <a:pt x="89" y="35"/>
                      <a:pt x="89" y="35"/>
                      <a:pt x="90" y="35"/>
                    </a:cubicBezTo>
                    <a:cubicBezTo>
                      <a:pt x="90" y="35"/>
                      <a:pt x="90" y="35"/>
                      <a:pt x="90" y="35"/>
                    </a:cubicBezTo>
                    <a:cubicBezTo>
                      <a:pt x="90" y="35"/>
                      <a:pt x="90" y="36"/>
                      <a:pt x="90" y="36"/>
                    </a:cubicBezTo>
                    <a:cubicBezTo>
                      <a:pt x="90" y="36"/>
                      <a:pt x="90" y="36"/>
                      <a:pt x="90" y="36"/>
                    </a:cubicBezTo>
                    <a:cubicBezTo>
                      <a:pt x="90" y="36"/>
                      <a:pt x="90" y="35"/>
                      <a:pt x="90" y="35"/>
                    </a:cubicBezTo>
                    <a:cubicBezTo>
                      <a:pt x="91" y="36"/>
                      <a:pt x="91" y="36"/>
                      <a:pt x="91" y="36"/>
                    </a:cubicBezTo>
                    <a:cubicBezTo>
                      <a:pt x="92" y="36"/>
                      <a:pt x="92" y="36"/>
                      <a:pt x="92" y="36"/>
                    </a:cubicBezTo>
                    <a:cubicBezTo>
                      <a:pt x="92" y="36"/>
                      <a:pt x="92" y="35"/>
                      <a:pt x="93" y="35"/>
                    </a:cubicBezTo>
                    <a:cubicBezTo>
                      <a:pt x="93" y="35"/>
                      <a:pt x="93" y="35"/>
                      <a:pt x="93" y="35"/>
                    </a:cubicBezTo>
                    <a:cubicBezTo>
                      <a:pt x="93" y="35"/>
                      <a:pt x="92" y="34"/>
                      <a:pt x="92" y="34"/>
                    </a:cubicBezTo>
                    <a:cubicBezTo>
                      <a:pt x="92" y="34"/>
                      <a:pt x="91" y="34"/>
                      <a:pt x="91" y="34"/>
                    </a:cubicBezTo>
                    <a:cubicBezTo>
                      <a:pt x="91" y="33"/>
                      <a:pt x="91" y="33"/>
                      <a:pt x="90" y="33"/>
                    </a:cubicBezTo>
                    <a:cubicBezTo>
                      <a:pt x="90" y="32"/>
                      <a:pt x="90" y="32"/>
                      <a:pt x="89" y="32"/>
                    </a:cubicBezTo>
                    <a:cubicBezTo>
                      <a:pt x="89" y="32"/>
                      <a:pt x="89" y="32"/>
                      <a:pt x="89" y="32"/>
                    </a:cubicBezTo>
                    <a:cubicBezTo>
                      <a:pt x="89" y="32"/>
                      <a:pt x="88" y="32"/>
                      <a:pt x="88" y="32"/>
                    </a:cubicBezTo>
                    <a:cubicBezTo>
                      <a:pt x="88" y="32"/>
                      <a:pt x="88" y="31"/>
                      <a:pt x="87" y="31"/>
                    </a:cubicBezTo>
                    <a:cubicBezTo>
                      <a:pt x="87" y="31"/>
                      <a:pt x="87" y="31"/>
                      <a:pt x="87" y="30"/>
                    </a:cubicBezTo>
                    <a:cubicBezTo>
                      <a:pt x="87" y="30"/>
                      <a:pt x="87" y="30"/>
                      <a:pt x="87" y="29"/>
                    </a:cubicBezTo>
                    <a:cubicBezTo>
                      <a:pt x="87" y="29"/>
                      <a:pt x="88" y="28"/>
                      <a:pt x="88" y="28"/>
                    </a:cubicBezTo>
                    <a:cubicBezTo>
                      <a:pt x="88" y="28"/>
                      <a:pt x="88" y="28"/>
                      <a:pt x="89" y="28"/>
                    </a:cubicBezTo>
                    <a:cubicBezTo>
                      <a:pt x="89" y="28"/>
                      <a:pt x="90" y="28"/>
                      <a:pt x="90" y="28"/>
                    </a:cubicBezTo>
                    <a:cubicBezTo>
                      <a:pt x="90" y="29"/>
                      <a:pt x="90" y="29"/>
                      <a:pt x="91" y="29"/>
                    </a:cubicBezTo>
                    <a:cubicBezTo>
                      <a:pt x="91" y="29"/>
                      <a:pt x="91" y="29"/>
                      <a:pt x="91" y="30"/>
                    </a:cubicBezTo>
                    <a:cubicBezTo>
                      <a:pt x="91" y="30"/>
                      <a:pt x="91" y="30"/>
                      <a:pt x="92" y="30"/>
                    </a:cubicBezTo>
                    <a:cubicBezTo>
                      <a:pt x="92" y="30"/>
                      <a:pt x="92" y="30"/>
                      <a:pt x="92" y="30"/>
                    </a:cubicBezTo>
                    <a:cubicBezTo>
                      <a:pt x="92" y="30"/>
                      <a:pt x="91" y="30"/>
                      <a:pt x="91" y="30"/>
                    </a:cubicBezTo>
                    <a:cubicBezTo>
                      <a:pt x="92" y="31"/>
                      <a:pt x="92" y="30"/>
                      <a:pt x="92" y="30"/>
                    </a:cubicBezTo>
                    <a:cubicBezTo>
                      <a:pt x="92" y="30"/>
                      <a:pt x="92" y="30"/>
                      <a:pt x="92" y="30"/>
                    </a:cubicBezTo>
                    <a:cubicBezTo>
                      <a:pt x="92" y="30"/>
                      <a:pt x="93" y="29"/>
                      <a:pt x="93" y="29"/>
                    </a:cubicBezTo>
                    <a:cubicBezTo>
                      <a:pt x="93" y="29"/>
                      <a:pt x="94" y="29"/>
                      <a:pt x="94" y="29"/>
                    </a:cubicBezTo>
                    <a:cubicBezTo>
                      <a:pt x="94" y="29"/>
                      <a:pt x="94" y="28"/>
                      <a:pt x="94" y="28"/>
                    </a:cubicBezTo>
                    <a:cubicBezTo>
                      <a:pt x="94" y="28"/>
                      <a:pt x="95" y="28"/>
                      <a:pt x="95" y="28"/>
                    </a:cubicBezTo>
                    <a:cubicBezTo>
                      <a:pt x="95" y="28"/>
                      <a:pt x="95" y="28"/>
                      <a:pt x="95" y="28"/>
                    </a:cubicBezTo>
                    <a:cubicBezTo>
                      <a:pt x="95" y="28"/>
                      <a:pt x="96" y="28"/>
                      <a:pt x="96" y="28"/>
                    </a:cubicBezTo>
                    <a:cubicBezTo>
                      <a:pt x="96" y="28"/>
                      <a:pt x="96" y="28"/>
                      <a:pt x="96" y="28"/>
                    </a:cubicBezTo>
                    <a:cubicBezTo>
                      <a:pt x="97" y="28"/>
                      <a:pt x="98" y="28"/>
                      <a:pt x="98" y="29"/>
                    </a:cubicBezTo>
                    <a:cubicBezTo>
                      <a:pt x="98" y="29"/>
                      <a:pt x="99" y="29"/>
                      <a:pt x="99" y="29"/>
                    </a:cubicBezTo>
                    <a:cubicBezTo>
                      <a:pt x="100" y="29"/>
                      <a:pt x="100" y="30"/>
                      <a:pt x="100" y="30"/>
                    </a:cubicBezTo>
                    <a:cubicBezTo>
                      <a:pt x="101" y="30"/>
                      <a:pt x="101" y="30"/>
                      <a:pt x="101" y="31"/>
                    </a:cubicBezTo>
                    <a:cubicBezTo>
                      <a:pt x="102" y="31"/>
                      <a:pt x="102" y="31"/>
                      <a:pt x="103" y="31"/>
                    </a:cubicBezTo>
                    <a:cubicBezTo>
                      <a:pt x="103" y="32"/>
                      <a:pt x="104" y="32"/>
                      <a:pt x="105" y="32"/>
                    </a:cubicBezTo>
                    <a:cubicBezTo>
                      <a:pt x="105" y="32"/>
                      <a:pt x="105" y="32"/>
                      <a:pt x="105" y="32"/>
                    </a:cubicBezTo>
                    <a:cubicBezTo>
                      <a:pt x="105" y="33"/>
                      <a:pt x="105" y="33"/>
                      <a:pt x="106" y="33"/>
                    </a:cubicBezTo>
                    <a:cubicBezTo>
                      <a:pt x="106" y="33"/>
                      <a:pt x="106" y="33"/>
                      <a:pt x="106" y="33"/>
                    </a:cubicBezTo>
                    <a:cubicBezTo>
                      <a:pt x="106" y="34"/>
                      <a:pt x="107" y="34"/>
                      <a:pt x="107" y="34"/>
                    </a:cubicBezTo>
                    <a:cubicBezTo>
                      <a:pt x="107" y="34"/>
                      <a:pt x="107" y="33"/>
                      <a:pt x="107" y="33"/>
                    </a:cubicBezTo>
                    <a:cubicBezTo>
                      <a:pt x="107" y="33"/>
                      <a:pt x="107" y="33"/>
                      <a:pt x="107" y="33"/>
                    </a:cubicBezTo>
                    <a:cubicBezTo>
                      <a:pt x="107" y="32"/>
                      <a:pt x="107" y="32"/>
                      <a:pt x="108" y="32"/>
                    </a:cubicBezTo>
                    <a:cubicBezTo>
                      <a:pt x="108" y="32"/>
                      <a:pt x="108" y="31"/>
                      <a:pt x="107" y="31"/>
                    </a:cubicBezTo>
                    <a:cubicBezTo>
                      <a:pt x="107" y="31"/>
                      <a:pt x="107" y="31"/>
                      <a:pt x="107" y="31"/>
                    </a:cubicBezTo>
                    <a:cubicBezTo>
                      <a:pt x="108" y="30"/>
                      <a:pt x="108" y="29"/>
                      <a:pt x="109" y="28"/>
                    </a:cubicBezTo>
                    <a:cubicBezTo>
                      <a:pt x="109" y="28"/>
                      <a:pt x="109" y="28"/>
                      <a:pt x="110" y="27"/>
                    </a:cubicBezTo>
                    <a:cubicBezTo>
                      <a:pt x="110" y="27"/>
                      <a:pt x="111" y="26"/>
                      <a:pt x="111" y="26"/>
                    </a:cubicBezTo>
                    <a:cubicBezTo>
                      <a:pt x="111" y="26"/>
                      <a:pt x="111" y="26"/>
                      <a:pt x="111" y="26"/>
                    </a:cubicBezTo>
                    <a:cubicBezTo>
                      <a:pt x="112" y="25"/>
                      <a:pt x="112" y="25"/>
                      <a:pt x="113" y="25"/>
                    </a:cubicBezTo>
                    <a:cubicBezTo>
                      <a:pt x="113" y="24"/>
                      <a:pt x="114" y="24"/>
                      <a:pt x="114" y="24"/>
                    </a:cubicBezTo>
                    <a:cubicBezTo>
                      <a:pt x="114" y="24"/>
                      <a:pt x="115" y="24"/>
                      <a:pt x="115" y="24"/>
                    </a:cubicBezTo>
                    <a:cubicBezTo>
                      <a:pt x="115" y="25"/>
                      <a:pt x="115" y="25"/>
                      <a:pt x="115" y="25"/>
                    </a:cubicBezTo>
                    <a:cubicBezTo>
                      <a:pt x="115" y="25"/>
                      <a:pt x="115" y="25"/>
                      <a:pt x="116" y="25"/>
                    </a:cubicBezTo>
                    <a:cubicBezTo>
                      <a:pt x="116" y="25"/>
                      <a:pt x="117" y="25"/>
                      <a:pt x="117" y="25"/>
                    </a:cubicBezTo>
                    <a:cubicBezTo>
                      <a:pt x="117" y="25"/>
                      <a:pt x="117" y="25"/>
                      <a:pt x="117" y="25"/>
                    </a:cubicBezTo>
                    <a:cubicBezTo>
                      <a:pt x="117" y="25"/>
                      <a:pt x="117" y="25"/>
                      <a:pt x="117" y="25"/>
                    </a:cubicBezTo>
                    <a:cubicBezTo>
                      <a:pt x="117" y="24"/>
                      <a:pt x="117" y="24"/>
                      <a:pt x="117" y="24"/>
                    </a:cubicBezTo>
                    <a:cubicBezTo>
                      <a:pt x="117" y="24"/>
                      <a:pt x="117"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9" y="24"/>
                      <a:pt x="119" y="24"/>
                      <a:pt x="119" y="24"/>
                    </a:cubicBezTo>
                    <a:cubicBezTo>
                      <a:pt x="119" y="24"/>
                      <a:pt x="119" y="24"/>
                      <a:pt x="120" y="24"/>
                    </a:cubicBezTo>
                    <a:cubicBezTo>
                      <a:pt x="120" y="24"/>
                      <a:pt x="120" y="24"/>
                      <a:pt x="120" y="23"/>
                    </a:cubicBezTo>
                    <a:cubicBezTo>
                      <a:pt x="120" y="23"/>
                      <a:pt x="120" y="23"/>
                      <a:pt x="120" y="23"/>
                    </a:cubicBezTo>
                    <a:cubicBezTo>
                      <a:pt x="120" y="23"/>
                      <a:pt x="120" y="23"/>
                      <a:pt x="120" y="23"/>
                    </a:cubicBezTo>
                    <a:cubicBezTo>
                      <a:pt x="120" y="23"/>
                      <a:pt x="120" y="23"/>
                      <a:pt x="120" y="23"/>
                    </a:cubicBezTo>
                    <a:cubicBezTo>
                      <a:pt x="120" y="23"/>
                      <a:pt x="120" y="23"/>
                      <a:pt x="121" y="23"/>
                    </a:cubicBezTo>
                    <a:cubicBezTo>
                      <a:pt x="121" y="22"/>
                      <a:pt x="122" y="23"/>
                      <a:pt x="122" y="22"/>
                    </a:cubicBezTo>
                    <a:cubicBezTo>
                      <a:pt x="122" y="22"/>
                      <a:pt x="122" y="22"/>
                      <a:pt x="122" y="22"/>
                    </a:cubicBezTo>
                    <a:cubicBezTo>
                      <a:pt x="123" y="22"/>
                      <a:pt x="123" y="22"/>
                      <a:pt x="123" y="22"/>
                    </a:cubicBezTo>
                    <a:cubicBezTo>
                      <a:pt x="123" y="22"/>
                      <a:pt x="123" y="21"/>
                      <a:pt x="123" y="21"/>
                    </a:cubicBezTo>
                    <a:cubicBezTo>
                      <a:pt x="124" y="21"/>
                      <a:pt x="124" y="21"/>
                      <a:pt x="124" y="21"/>
                    </a:cubicBezTo>
                    <a:cubicBezTo>
                      <a:pt x="124" y="21"/>
                      <a:pt x="124" y="21"/>
                      <a:pt x="124" y="21"/>
                    </a:cubicBezTo>
                    <a:close/>
                    <a:moveTo>
                      <a:pt x="111" y="13"/>
                    </a:moveTo>
                    <a:cubicBezTo>
                      <a:pt x="111" y="13"/>
                      <a:pt x="112" y="13"/>
                      <a:pt x="112" y="14"/>
                    </a:cubicBezTo>
                    <a:cubicBezTo>
                      <a:pt x="112" y="13"/>
                      <a:pt x="111" y="13"/>
                      <a:pt x="111" y="13"/>
                    </a:cubicBezTo>
                    <a:close/>
                    <a:moveTo>
                      <a:pt x="36" y="101"/>
                    </a:moveTo>
                    <a:cubicBezTo>
                      <a:pt x="37" y="101"/>
                      <a:pt x="37" y="101"/>
                      <a:pt x="37" y="101"/>
                    </a:cubicBezTo>
                    <a:cubicBezTo>
                      <a:pt x="37" y="101"/>
                      <a:pt x="37" y="101"/>
                      <a:pt x="37" y="101"/>
                    </a:cubicBezTo>
                    <a:cubicBezTo>
                      <a:pt x="37" y="101"/>
                      <a:pt x="37" y="101"/>
                      <a:pt x="37" y="101"/>
                    </a:cubicBezTo>
                    <a:cubicBezTo>
                      <a:pt x="37" y="101"/>
                      <a:pt x="36" y="101"/>
                      <a:pt x="36" y="101"/>
                    </a:cubicBezTo>
                    <a:close/>
                    <a:moveTo>
                      <a:pt x="37" y="100"/>
                    </a:moveTo>
                    <a:cubicBezTo>
                      <a:pt x="37" y="100"/>
                      <a:pt x="37" y="100"/>
                      <a:pt x="37" y="100"/>
                    </a:cubicBezTo>
                    <a:cubicBezTo>
                      <a:pt x="37" y="100"/>
                      <a:pt x="37" y="100"/>
                      <a:pt x="37" y="100"/>
                    </a:cubicBezTo>
                    <a:cubicBezTo>
                      <a:pt x="37" y="100"/>
                      <a:pt x="37" y="100"/>
                      <a:pt x="37" y="100"/>
                    </a:cubicBezTo>
                    <a:cubicBezTo>
                      <a:pt x="37" y="100"/>
                      <a:pt x="37" y="100"/>
                      <a:pt x="37" y="100"/>
                    </a:cubicBezTo>
                    <a:close/>
                    <a:moveTo>
                      <a:pt x="34" y="100"/>
                    </a:moveTo>
                    <a:cubicBezTo>
                      <a:pt x="34" y="100"/>
                      <a:pt x="34" y="100"/>
                      <a:pt x="34" y="100"/>
                    </a:cubicBezTo>
                    <a:cubicBezTo>
                      <a:pt x="33" y="100"/>
                      <a:pt x="34" y="100"/>
                      <a:pt x="34" y="100"/>
                    </a:cubicBezTo>
                    <a:cubicBezTo>
                      <a:pt x="34" y="100"/>
                      <a:pt x="34" y="100"/>
                      <a:pt x="34" y="100"/>
                    </a:cubicBezTo>
                    <a:cubicBezTo>
                      <a:pt x="34" y="100"/>
                      <a:pt x="34" y="101"/>
                      <a:pt x="34" y="101"/>
                    </a:cubicBezTo>
                    <a:cubicBezTo>
                      <a:pt x="34" y="101"/>
                      <a:pt x="34" y="101"/>
                      <a:pt x="34" y="101"/>
                    </a:cubicBezTo>
                    <a:cubicBezTo>
                      <a:pt x="34" y="100"/>
                      <a:pt x="34" y="100"/>
                      <a:pt x="34" y="100"/>
                    </a:cubicBezTo>
                    <a:cubicBezTo>
                      <a:pt x="34" y="100"/>
                      <a:pt x="34" y="100"/>
                      <a:pt x="34" y="100"/>
                    </a:cubicBezTo>
                    <a:cubicBezTo>
                      <a:pt x="34" y="100"/>
                      <a:pt x="34" y="100"/>
                      <a:pt x="34" y="100"/>
                    </a:cubicBezTo>
                    <a:cubicBezTo>
                      <a:pt x="34" y="100"/>
                      <a:pt x="34" y="100"/>
                      <a:pt x="34" y="10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7" name="Freeform 861">
                <a:extLst>
                  <a:ext uri="{FF2B5EF4-FFF2-40B4-BE49-F238E27FC236}">
                    <a16:creationId xmlns:a16="http://schemas.microsoft.com/office/drawing/2014/main" id="{B12854F9-BB44-F3B2-EE7D-1FE3CD9DD872}"/>
                  </a:ext>
                </a:extLst>
              </p:cNvPr>
              <p:cNvSpPr>
                <a:spLocks noEditPoints="1"/>
              </p:cNvSpPr>
              <p:nvPr/>
            </p:nvSpPr>
            <p:spPr bwMode="auto">
              <a:xfrm>
                <a:off x="6611938" y="3662363"/>
                <a:ext cx="549275" cy="492125"/>
              </a:xfrm>
              <a:custGeom>
                <a:avLst/>
                <a:gdLst>
                  <a:gd name="T0" fmla="*/ 81 w 132"/>
                  <a:gd name="T1" fmla="*/ 105 h 118"/>
                  <a:gd name="T2" fmla="*/ 123 w 132"/>
                  <a:gd name="T3" fmla="*/ 113 h 118"/>
                  <a:gd name="T4" fmla="*/ 129 w 132"/>
                  <a:gd name="T5" fmla="*/ 108 h 118"/>
                  <a:gd name="T6" fmla="*/ 131 w 132"/>
                  <a:gd name="T7" fmla="*/ 102 h 118"/>
                  <a:gd name="T8" fmla="*/ 125 w 132"/>
                  <a:gd name="T9" fmla="*/ 93 h 118"/>
                  <a:gd name="T10" fmla="*/ 116 w 132"/>
                  <a:gd name="T11" fmla="*/ 82 h 118"/>
                  <a:gd name="T12" fmla="*/ 118 w 132"/>
                  <a:gd name="T13" fmla="*/ 70 h 118"/>
                  <a:gd name="T14" fmla="*/ 114 w 132"/>
                  <a:gd name="T15" fmla="*/ 56 h 118"/>
                  <a:gd name="T16" fmla="*/ 116 w 132"/>
                  <a:gd name="T17" fmla="*/ 47 h 118"/>
                  <a:gd name="T18" fmla="*/ 118 w 132"/>
                  <a:gd name="T19" fmla="*/ 40 h 118"/>
                  <a:gd name="T20" fmla="*/ 118 w 132"/>
                  <a:gd name="T21" fmla="*/ 36 h 118"/>
                  <a:gd name="T22" fmla="*/ 117 w 132"/>
                  <a:gd name="T23" fmla="*/ 35 h 118"/>
                  <a:gd name="T24" fmla="*/ 118 w 132"/>
                  <a:gd name="T25" fmla="*/ 30 h 118"/>
                  <a:gd name="T26" fmla="*/ 108 w 132"/>
                  <a:gd name="T27" fmla="*/ 23 h 118"/>
                  <a:gd name="T28" fmla="*/ 103 w 132"/>
                  <a:gd name="T29" fmla="*/ 19 h 118"/>
                  <a:gd name="T30" fmla="*/ 95 w 132"/>
                  <a:gd name="T31" fmla="*/ 17 h 118"/>
                  <a:gd name="T32" fmla="*/ 88 w 132"/>
                  <a:gd name="T33" fmla="*/ 13 h 118"/>
                  <a:gd name="T34" fmla="*/ 77 w 132"/>
                  <a:gd name="T35" fmla="*/ 16 h 118"/>
                  <a:gd name="T36" fmla="*/ 69 w 132"/>
                  <a:gd name="T37" fmla="*/ 21 h 118"/>
                  <a:gd name="T38" fmla="*/ 67 w 132"/>
                  <a:gd name="T39" fmla="*/ 25 h 118"/>
                  <a:gd name="T40" fmla="*/ 59 w 132"/>
                  <a:gd name="T41" fmla="*/ 28 h 118"/>
                  <a:gd name="T42" fmla="*/ 43 w 132"/>
                  <a:gd name="T43" fmla="*/ 21 h 118"/>
                  <a:gd name="T44" fmla="*/ 35 w 132"/>
                  <a:gd name="T45" fmla="*/ 17 h 118"/>
                  <a:gd name="T46" fmla="*/ 35 w 132"/>
                  <a:gd name="T47" fmla="*/ 6 h 118"/>
                  <a:gd name="T48" fmla="*/ 33 w 132"/>
                  <a:gd name="T49" fmla="*/ 10 h 118"/>
                  <a:gd name="T50" fmla="*/ 29 w 132"/>
                  <a:gd name="T51" fmla="*/ 9 h 118"/>
                  <a:gd name="T52" fmla="*/ 30 w 132"/>
                  <a:gd name="T53" fmla="*/ 4 h 118"/>
                  <a:gd name="T54" fmla="*/ 26 w 132"/>
                  <a:gd name="T55" fmla="*/ 0 h 118"/>
                  <a:gd name="T56" fmla="*/ 21 w 132"/>
                  <a:gd name="T57" fmla="*/ 5 h 118"/>
                  <a:gd name="T58" fmla="*/ 9 w 132"/>
                  <a:gd name="T59" fmla="*/ 5 h 118"/>
                  <a:gd name="T60" fmla="*/ 3 w 132"/>
                  <a:gd name="T61" fmla="*/ 3 h 118"/>
                  <a:gd name="T62" fmla="*/ 2 w 132"/>
                  <a:gd name="T63" fmla="*/ 10 h 118"/>
                  <a:gd name="T64" fmla="*/ 2 w 132"/>
                  <a:gd name="T65" fmla="*/ 16 h 118"/>
                  <a:gd name="T66" fmla="*/ 5 w 132"/>
                  <a:gd name="T67" fmla="*/ 19 h 118"/>
                  <a:gd name="T68" fmla="*/ 7 w 132"/>
                  <a:gd name="T69" fmla="*/ 23 h 118"/>
                  <a:gd name="T70" fmla="*/ 9 w 132"/>
                  <a:gd name="T71" fmla="*/ 29 h 118"/>
                  <a:gd name="T72" fmla="*/ 14 w 132"/>
                  <a:gd name="T73" fmla="*/ 34 h 118"/>
                  <a:gd name="T74" fmla="*/ 16 w 132"/>
                  <a:gd name="T75" fmla="*/ 38 h 118"/>
                  <a:gd name="T76" fmla="*/ 13 w 132"/>
                  <a:gd name="T77" fmla="*/ 42 h 118"/>
                  <a:gd name="T78" fmla="*/ 12 w 132"/>
                  <a:gd name="T79" fmla="*/ 47 h 118"/>
                  <a:gd name="T80" fmla="*/ 14 w 132"/>
                  <a:gd name="T81" fmla="*/ 52 h 118"/>
                  <a:gd name="T82" fmla="*/ 15 w 132"/>
                  <a:gd name="T83" fmla="*/ 57 h 118"/>
                  <a:gd name="T84" fmla="*/ 26 w 132"/>
                  <a:gd name="T85" fmla="*/ 64 h 118"/>
                  <a:gd name="T86" fmla="*/ 29 w 132"/>
                  <a:gd name="T87" fmla="*/ 74 h 118"/>
                  <a:gd name="T88" fmla="*/ 36 w 132"/>
                  <a:gd name="T89" fmla="*/ 78 h 118"/>
                  <a:gd name="T90" fmla="*/ 44 w 132"/>
                  <a:gd name="T91" fmla="*/ 80 h 118"/>
                  <a:gd name="T92" fmla="*/ 49 w 132"/>
                  <a:gd name="T93" fmla="*/ 90 h 118"/>
                  <a:gd name="T94" fmla="*/ 60 w 132"/>
                  <a:gd name="T95" fmla="*/ 100 h 118"/>
                  <a:gd name="T96" fmla="*/ 73 w 132"/>
                  <a:gd name="T97" fmla="*/ 107 h 118"/>
                  <a:gd name="T98" fmla="*/ 84 w 132"/>
                  <a:gd name="T99" fmla="*/ 103 h 118"/>
                  <a:gd name="T100" fmla="*/ 92 w 132"/>
                  <a:gd name="T101" fmla="*/ 112 h 118"/>
                  <a:gd name="T102" fmla="*/ 107 w 132"/>
                  <a:gd name="T103" fmla="*/ 115 h 118"/>
                  <a:gd name="T104" fmla="*/ 121 w 132"/>
                  <a:gd name="T105"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 h="118">
                    <a:moveTo>
                      <a:pt x="84" y="104"/>
                    </a:moveTo>
                    <a:cubicBezTo>
                      <a:pt x="84" y="105"/>
                      <a:pt x="84" y="105"/>
                      <a:pt x="84" y="105"/>
                    </a:cubicBezTo>
                    <a:cubicBezTo>
                      <a:pt x="82" y="106"/>
                      <a:pt x="81" y="106"/>
                      <a:pt x="79" y="107"/>
                    </a:cubicBezTo>
                    <a:cubicBezTo>
                      <a:pt x="79" y="105"/>
                      <a:pt x="81" y="106"/>
                      <a:pt x="81" y="105"/>
                    </a:cubicBezTo>
                    <a:cubicBezTo>
                      <a:pt x="81" y="105"/>
                      <a:pt x="82" y="105"/>
                      <a:pt x="82" y="105"/>
                    </a:cubicBezTo>
                    <a:cubicBezTo>
                      <a:pt x="82" y="104"/>
                      <a:pt x="83" y="104"/>
                      <a:pt x="84" y="104"/>
                    </a:cubicBezTo>
                    <a:cubicBezTo>
                      <a:pt x="84" y="104"/>
                      <a:pt x="85" y="104"/>
                      <a:pt x="84" y="104"/>
                    </a:cubicBezTo>
                    <a:close/>
                    <a:moveTo>
                      <a:pt x="123" y="113"/>
                    </a:moveTo>
                    <a:cubicBezTo>
                      <a:pt x="123" y="110"/>
                      <a:pt x="123" y="110"/>
                      <a:pt x="123" y="110"/>
                    </a:cubicBezTo>
                    <a:cubicBezTo>
                      <a:pt x="125" y="110"/>
                      <a:pt x="125" y="110"/>
                      <a:pt x="125" y="110"/>
                    </a:cubicBezTo>
                    <a:cubicBezTo>
                      <a:pt x="125" y="108"/>
                      <a:pt x="125" y="108"/>
                      <a:pt x="125" y="108"/>
                    </a:cubicBezTo>
                    <a:cubicBezTo>
                      <a:pt x="129" y="108"/>
                      <a:pt x="129" y="108"/>
                      <a:pt x="129" y="108"/>
                    </a:cubicBezTo>
                    <a:cubicBezTo>
                      <a:pt x="131" y="107"/>
                      <a:pt x="131" y="107"/>
                      <a:pt x="131" y="107"/>
                    </a:cubicBezTo>
                    <a:cubicBezTo>
                      <a:pt x="132" y="105"/>
                      <a:pt x="132" y="105"/>
                      <a:pt x="132" y="105"/>
                    </a:cubicBezTo>
                    <a:cubicBezTo>
                      <a:pt x="132" y="104"/>
                      <a:pt x="132" y="104"/>
                      <a:pt x="132" y="104"/>
                    </a:cubicBezTo>
                    <a:cubicBezTo>
                      <a:pt x="131" y="102"/>
                      <a:pt x="131" y="102"/>
                      <a:pt x="131" y="102"/>
                    </a:cubicBezTo>
                    <a:cubicBezTo>
                      <a:pt x="129" y="102"/>
                      <a:pt x="129" y="102"/>
                      <a:pt x="129" y="102"/>
                    </a:cubicBezTo>
                    <a:cubicBezTo>
                      <a:pt x="129" y="95"/>
                      <a:pt x="129" y="95"/>
                      <a:pt x="129" y="95"/>
                    </a:cubicBezTo>
                    <a:cubicBezTo>
                      <a:pt x="127" y="95"/>
                      <a:pt x="127" y="95"/>
                      <a:pt x="127" y="95"/>
                    </a:cubicBezTo>
                    <a:cubicBezTo>
                      <a:pt x="125" y="93"/>
                      <a:pt x="125" y="93"/>
                      <a:pt x="125" y="93"/>
                    </a:cubicBezTo>
                    <a:cubicBezTo>
                      <a:pt x="123" y="92"/>
                      <a:pt x="123" y="92"/>
                      <a:pt x="123" y="92"/>
                    </a:cubicBezTo>
                    <a:cubicBezTo>
                      <a:pt x="120" y="89"/>
                      <a:pt x="120" y="89"/>
                      <a:pt x="120" y="89"/>
                    </a:cubicBezTo>
                    <a:cubicBezTo>
                      <a:pt x="120" y="87"/>
                      <a:pt x="120" y="87"/>
                      <a:pt x="120" y="87"/>
                    </a:cubicBezTo>
                    <a:cubicBezTo>
                      <a:pt x="116" y="82"/>
                      <a:pt x="116" y="82"/>
                      <a:pt x="116" y="82"/>
                    </a:cubicBezTo>
                    <a:cubicBezTo>
                      <a:pt x="122" y="74"/>
                      <a:pt x="122" y="74"/>
                      <a:pt x="122" y="74"/>
                    </a:cubicBezTo>
                    <a:cubicBezTo>
                      <a:pt x="122" y="71"/>
                      <a:pt x="122" y="71"/>
                      <a:pt x="122" y="71"/>
                    </a:cubicBezTo>
                    <a:cubicBezTo>
                      <a:pt x="121" y="70"/>
                      <a:pt x="121" y="70"/>
                      <a:pt x="121" y="70"/>
                    </a:cubicBezTo>
                    <a:cubicBezTo>
                      <a:pt x="118" y="70"/>
                      <a:pt x="118" y="70"/>
                      <a:pt x="118" y="70"/>
                    </a:cubicBezTo>
                    <a:cubicBezTo>
                      <a:pt x="116" y="69"/>
                      <a:pt x="116" y="69"/>
                      <a:pt x="116" y="69"/>
                    </a:cubicBezTo>
                    <a:cubicBezTo>
                      <a:pt x="116" y="63"/>
                      <a:pt x="116" y="63"/>
                      <a:pt x="116" y="63"/>
                    </a:cubicBezTo>
                    <a:cubicBezTo>
                      <a:pt x="114" y="58"/>
                      <a:pt x="114" y="58"/>
                      <a:pt x="114" y="58"/>
                    </a:cubicBezTo>
                    <a:cubicBezTo>
                      <a:pt x="114" y="56"/>
                      <a:pt x="114" y="56"/>
                      <a:pt x="114" y="56"/>
                    </a:cubicBezTo>
                    <a:cubicBezTo>
                      <a:pt x="116" y="53"/>
                      <a:pt x="116" y="53"/>
                      <a:pt x="116" y="53"/>
                    </a:cubicBezTo>
                    <a:cubicBezTo>
                      <a:pt x="114" y="52"/>
                      <a:pt x="114" y="52"/>
                      <a:pt x="114" y="52"/>
                    </a:cubicBezTo>
                    <a:cubicBezTo>
                      <a:pt x="114" y="47"/>
                      <a:pt x="114" y="47"/>
                      <a:pt x="114" y="47"/>
                    </a:cubicBezTo>
                    <a:cubicBezTo>
                      <a:pt x="116" y="47"/>
                      <a:pt x="116" y="47"/>
                      <a:pt x="116" y="47"/>
                    </a:cubicBezTo>
                    <a:cubicBezTo>
                      <a:pt x="115" y="45"/>
                      <a:pt x="115" y="45"/>
                      <a:pt x="115" y="45"/>
                    </a:cubicBezTo>
                    <a:cubicBezTo>
                      <a:pt x="117" y="43"/>
                      <a:pt x="117" y="43"/>
                      <a:pt x="117" y="43"/>
                    </a:cubicBezTo>
                    <a:cubicBezTo>
                      <a:pt x="117" y="43"/>
                      <a:pt x="117" y="41"/>
                      <a:pt x="117" y="41"/>
                    </a:cubicBezTo>
                    <a:cubicBezTo>
                      <a:pt x="117" y="41"/>
                      <a:pt x="118" y="40"/>
                      <a:pt x="118" y="40"/>
                    </a:cubicBezTo>
                    <a:cubicBezTo>
                      <a:pt x="118" y="40"/>
                      <a:pt x="118" y="39"/>
                      <a:pt x="118" y="39"/>
                    </a:cubicBezTo>
                    <a:cubicBezTo>
                      <a:pt x="118" y="38"/>
                      <a:pt x="118" y="38"/>
                      <a:pt x="118" y="38"/>
                    </a:cubicBezTo>
                    <a:cubicBezTo>
                      <a:pt x="118" y="36"/>
                      <a:pt x="118" y="36"/>
                      <a:pt x="118" y="36"/>
                    </a:cubicBezTo>
                    <a:cubicBezTo>
                      <a:pt x="118" y="36"/>
                      <a:pt x="118" y="36"/>
                      <a:pt x="118" y="36"/>
                    </a:cubicBezTo>
                    <a:cubicBezTo>
                      <a:pt x="118" y="36"/>
                      <a:pt x="118" y="36"/>
                      <a:pt x="118" y="36"/>
                    </a:cubicBezTo>
                    <a:cubicBezTo>
                      <a:pt x="118" y="36"/>
                      <a:pt x="118" y="36"/>
                      <a:pt x="118" y="36"/>
                    </a:cubicBezTo>
                    <a:cubicBezTo>
                      <a:pt x="118" y="35"/>
                      <a:pt x="118" y="35"/>
                      <a:pt x="118" y="35"/>
                    </a:cubicBezTo>
                    <a:cubicBezTo>
                      <a:pt x="117" y="35"/>
                      <a:pt x="117" y="35"/>
                      <a:pt x="117" y="35"/>
                    </a:cubicBezTo>
                    <a:cubicBezTo>
                      <a:pt x="117" y="33"/>
                      <a:pt x="117" y="33"/>
                      <a:pt x="117" y="33"/>
                    </a:cubicBezTo>
                    <a:cubicBezTo>
                      <a:pt x="117" y="33"/>
                      <a:pt x="118" y="32"/>
                      <a:pt x="118" y="32"/>
                    </a:cubicBezTo>
                    <a:cubicBezTo>
                      <a:pt x="118" y="32"/>
                      <a:pt x="118" y="31"/>
                      <a:pt x="118" y="31"/>
                    </a:cubicBezTo>
                    <a:cubicBezTo>
                      <a:pt x="118" y="30"/>
                      <a:pt x="118" y="30"/>
                      <a:pt x="118" y="30"/>
                    </a:cubicBezTo>
                    <a:cubicBezTo>
                      <a:pt x="118" y="27"/>
                      <a:pt x="118" y="27"/>
                      <a:pt x="118" y="27"/>
                    </a:cubicBezTo>
                    <a:cubicBezTo>
                      <a:pt x="112" y="27"/>
                      <a:pt x="112" y="27"/>
                      <a:pt x="112" y="27"/>
                    </a:cubicBezTo>
                    <a:cubicBezTo>
                      <a:pt x="112" y="27"/>
                      <a:pt x="110" y="24"/>
                      <a:pt x="110" y="23"/>
                    </a:cubicBezTo>
                    <a:cubicBezTo>
                      <a:pt x="109" y="23"/>
                      <a:pt x="108" y="23"/>
                      <a:pt x="108" y="23"/>
                    </a:cubicBezTo>
                    <a:cubicBezTo>
                      <a:pt x="106" y="23"/>
                      <a:pt x="106" y="23"/>
                      <a:pt x="106" y="23"/>
                    </a:cubicBezTo>
                    <a:cubicBezTo>
                      <a:pt x="106" y="23"/>
                      <a:pt x="106" y="21"/>
                      <a:pt x="106" y="20"/>
                    </a:cubicBezTo>
                    <a:cubicBezTo>
                      <a:pt x="106" y="20"/>
                      <a:pt x="105" y="19"/>
                      <a:pt x="105" y="19"/>
                    </a:cubicBezTo>
                    <a:cubicBezTo>
                      <a:pt x="104" y="19"/>
                      <a:pt x="103" y="19"/>
                      <a:pt x="103" y="19"/>
                    </a:cubicBezTo>
                    <a:cubicBezTo>
                      <a:pt x="103" y="19"/>
                      <a:pt x="101" y="18"/>
                      <a:pt x="101" y="18"/>
                    </a:cubicBezTo>
                    <a:cubicBezTo>
                      <a:pt x="101" y="18"/>
                      <a:pt x="99" y="19"/>
                      <a:pt x="99" y="19"/>
                    </a:cubicBezTo>
                    <a:cubicBezTo>
                      <a:pt x="99" y="19"/>
                      <a:pt x="98" y="18"/>
                      <a:pt x="98" y="18"/>
                    </a:cubicBezTo>
                    <a:cubicBezTo>
                      <a:pt x="98" y="18"/>
                      <a:pt x="96" y="17"/>
                      <a:pt x="95" y="17"/>
                    </a:cubicBezTo>
                    <a:cubicBezTo>
                      <a:pt x="95" y="17"/>
                      <a:pt x="92" y="16"/>
                      <a:pt x="92" y="16"/>
                    </a:cubicBezTo>
                    <a:cubicBezTo>
                      <a:pt x="91" y="13"/>
                      <a:pt x="91" y="13"/>
                      <a:pt x="91" y="13"/>
                    </a:cubicBezTo>
                    <a:cubicBezTo>
                      <a:pt x="90" y="14"/>
                      <a:pt x="90" y="14"/>
                      <a:pt x="90" y="14"/>
                    </a:cubicBezTo>
                    <a:cubicBezTo>
                      <a:pt x="88" y="13"/>
                      <a:pt x="88" y="13"/>
                      <a:pt x="88" y="13"/>
                    </a:cubicBezTo>
                    <a:cubicBezTo>
                      <a:pt x="86" y="14"/>
                      <a:pt x="86" y="14"/>
                      <a:pt x="86" y="14"/>
                    </a:cubicBezTo>
                    <a:cubicBezTo>
                      <a:pt x="86" y="14"/>
                      <a:pt x="84" y="15"/>
                      <a:pt x="84" y="15"/>
                    </a:cubicBezTo>
                    <a:cubicBezTo>
                      <a:pt x="84" y="15"/>
                      <a:pt x="79" y="15"/>
                      <a:pt x="79" y="15"/>
                    </a:cubicBezTo>
                    <a:cubicBezTo>
                      <a:pt x="78" y="15"/>
                      <a:pt x="77" y="16"/>
                      <a:pt x="77" y="16"/>
                    </a:cubicBezTo>
                    <a:cubicBezTo>
                      <a:pt x="76" y="17"/>
                      <a:pt x="75" y="18"/>
                      <a:pt x="74" y="18"/>
                    </a:cubicBezTo>
                    <a:cubicBezTo>
                      <a:pt x="74" y="19"/>
                      <a:pt x="74" y="20"/>
                      <a:pt x="74" y="20"/>
                    </a:cubicBezTo>
                    <a:cubicBezTo>
                      <a:pt x="74" y="21"/>
                      <a:pt x="72" y="21"/>
                      <a:pt x="72" y="21"/>
                    </a:cubicBezTo>
                    <a:cubicBezTo>
                      <a:pt x="69" y="21"/>
                      <a:pt x="69" y="21"/>
                      <a:pt x="69" y="21"/>
                    </a:cubicBezTo>
                    <a:cubicBezTo>
                      <a:pt x="69" y="22"/>
                      <a:pt x="69" y="24"/>
                      <a:pt x="69" y="24"/>
                    </a:cubicBezTo>
                    <a:cubicBezTo>
                      <a:pt x="70" y="25"/>
                      <a:pt x="70" y="25"/>
                      <a:pt x="70" y="26"/>
                    </a:cubicBezTo>
                    <a:cubicBezTo>
                      <a:pt x="70" y="26"/>
                      <a:pt x="69" y="27"/>
                      <a:pt x="68" y="26"/>
                    </a:cubicBezTo>
                    <a:cubicBezTo>
                      <a:pt x="68" y="26"/>
                      <a:pt x="68" y="25"/>
                      <a:pt x="67" y="25"/>
                    </a:cubicBezTo>
                    <a:cubicBezTo>
                      <a:pt x="67" y="26"/>
                      <a:pt x="66" y="26"/>
                      <a:pt x="66" y="26"/>
                    </a:cubicBezTo>
                    <a:cubicBezTo>
                      <a:pt x="66" y="26"/>
                      <a:pt x="65" y="26"/>
                      <a:pt x="65" y="26"/>
                    </a:cubicBezTo>
                    <a:cubicBezTo>
                      <a:pt x="64" y="26"/>
                      <a:pt x="63" y="26"/>
                      <a:pt x="62" y="27"/>
                    </a:cubicBezTo>
                    <a:cubicBezTo>
                      <a:pt x="61" y="27"/>
                      <a:pt x="60" y="28"/>
                      <a:pt x="59" y="28"/>
                    </a:cubicBezTo>
                    <a:cubicBezTo>
                      <a:pt x="58" y="28"/>
                      <a:pt x="57" y="28"/>
                      <a:pt x="56" y="28"/>
                    </a:cubicBezTo>
                    <a:cubicBezTo>
                      <a:pt x="53" y="28"/>
                      <a:pt x="51" y="27"/>
                      <a:pt x="48" y="26"/>
                    </a:cubicBezTo>
                    <a:cubicBezTo>
                      <a:pt x="46" y="25"/>
                      <a:pt x="44" y="23"/>
                      <a:pt x="43" y="21"/>
                    </a:cubicBezTo>
                    <a:cubicBezTo>
                      <a:pt x="43" y="21"/>
                      <a:pt x="43" y="21"/>
                      <a:pt x="43" y="21"/>
                    </a:cubicBezTo>
                    <a:cubicBezTo>
                      <a:pt x="42" y="21"/>
                      <a:pt x="42" y="21"/>
                      <a:pt x="42" y="21"/>
                    </a:cubicBezTo>
                    <a:cubicBezTo>
                      <a:pt x="41" y="20"/>
                      <a:pt x="40" y="20"/>
                      <a:pt x="39" y="20"/>
                    </a:cubicBezTo>
                    <a:cubicBezTo>
                      <a:pt x="39" y="20"/>
                      <a:pt x="38" y="20"/>
                      <a:pt x="37" y="20"/>
                    </a:cubicBezTo>
                    <a:cubicBezTo>
                      <a:pt x="36" y="20"/>
                      <a:pt x="35" y="18"/>
                      <a:pt x="35" y="17"/>
                    </a:cubicBezTo>
                    <a:cubicBezTo>
                      <a:pt x="35" y="16"/>
                      <a:pt x="35" y="15"/>
                      <a:pt x="34" y="13"/>
                    </a:cubicBezTo>
                    <a:cubicBezTo>
                      <a:pt x="34" y="13"/>
                      <a:pt x="34" y="11"/>
                      <a:pt x="34" y="10"/>
                    </a:cubicBezTo>
                    <a:cubicBezTo>
                      <a:pt x="35" y="10"/>
                      <a:pt x="35" y="7"/>
                      <a:pt x="35" y="7"/>
                    </a:cubicBezTo>
                    <a:cubicBezTo>
                      <a:pt x="35" y="7"/>
                      <a:pt x="35" y="6"/>
                      <a:pt x="35" y="6"/>
                    </a:cubicBezTo>
                    <a:cubicBezTo>
                      <a:pt x="35" y="6"/>
                      <a:pt x="35" y="5"/>
                      <a:pt x="34" y="5"/>
                    </a:cubicBezTo>
                    <a:cubicBezTo>
                      <a:pt x="34" y="6"/>
                      <a:pt x="34" y="7"/>
                      <a:pt x="34" y="7"/>
                    </a:cubicBezTo>
                    <a:cubicBezTo>
                      <a:pt x="33" y="8"/>
                      <a:pt x="33" y="8"/>
                      <a:pt x="33" y="8"/>
                    </a:cubicBezTo>
                    <a:cubicBezTo>
                      <a:pt x="33" y="9"/>
                      <a:pt x="33" y="9"/>
                      <a:pt x="33" y="10"/>
                    </a:cubicBezTo>
                    <a:cubicBezTo>
                      <a:pt x="33" y="11"/>
                      <a:pt x="33" y="11"/>
                      <a:pt x="33" y="12"/>
                    </a:cubicBezTo>
                    <a:cubicBezTo>
                      <a:pt x="32" y="12"/>
                      <a:pt x="31" y="11"/>
                      <a:pt x="31" y="11"/>
                    </a:cubicBezTo>
                    <a:cubicBezTo>
                      <a:pt x="30" y="10"/>
                      <a:pt x="30" y="10"/>
                      <a:pt x="30" y="10"/>
                    </a:cubicBezTo>
                    <a:cubicBezTo>
                      <a:pt x="29" y="10"/>
                      <a:pt x="29" y="10"/>
                      <a:pt x="29" y="9"/>
                    </a:cubicBezTo>
                    <a:cubicBezTo>
                      <a:pt x="29" y="9"/>
                      <a:pt x="27" y="9"/>
                      <a:pt x="28" y="8"/>
                    </a:cubicBezTo>
                    <a:cubicBezTo>
                      <a:pt x="28" y="7"/>
                      <a:pt x="29" y="7"/>
                      <a:pt x="29" y="7"/>
                    </a:cubicBezTo>
                    <a:cubicBezTo>
                      <a:pt x="30" y="6"/>
                      <a:pt x="29" y="5"/>
                      <a:pt x="28" y="5"/>
                    </a:cubicBezTo>
                    <a:cubicBezTo>
                      <a:pt x="28" y="4"/>
                      <a:pt x="29" y="4"/>
                      <a:pt x="30" y="4"/>
                    </a:cubicBezTo>
                    <a:cubicBezTo>
                      <a:pt x="30" y="3"/>
                      <a:pt x="29" y="2"/>
                      <a:pt x="28" y="1"/>
                    </a:cubicBezTo>
                    <a:cubicBezTo>
                      <a:pt x="28" y="1"/>
                      <a:pt x="28" y="1"/>
                      <a:pt x="27" y="1"/>
                    </a:cubicBezTo>
                    <a:cubicBezTo>
                      <a:pt x="27" y="1"/>
                      <a:pt x="27" y="1"/>
                      <a:pt x="27" y="1"/>
                    </a:cubicBezTo>
                    <a:cubicBezTo>
                      <a:pt x="27" y="1"/>
                      <a:pt x="26" y="0"/>
                      <a:pt x="26" y="0"/>
                    </a:cubicBezTo>
                    <a:cubicBezTo>
                      <a:pt x="26" y="1"/>
                      <a:pt x="25" y="2"/>
                      <a:pt x="24" y="2"/>
                    </a:cubicBezTo>
                    <a:cubicBezTo>
                      <a:pt x="24" y="2"/>
                      <a:pt x="24" y="2"/>
                      <a:pt x="23" y="3"/>
                    </a:cubicBezTo>
                    <a:cubicBezTo>
                      <a:pt x="23" y="3"/>
                      <a:pt x="22" y="3"/>
                      <a:pt x="22" y="3"/>
                    </a:cubicBezTo>
                    <a:cubicBezTo>
                      <a:pt x="22" y="4"/>
                      <a:pt x="21" y="4"/>
                      <a:pt x="21" y="5"/>
                    </a:cubicBezTo>
                    <a:cubicBezTo>
                      <a:pt x="21" y="5"/>
                      <a:pt x="20" y="5"/>
                      <a:pt x="20" y="5"/>
                    </a:cubicBezTo>
                    <a:cubicBezTo>
                      <a:pt x="19" y="6"/>
                      <a:pt x="19" y="7"/>
                      <a:pt x="17" y="7"/>
                    </a:cubicBezTo>
                    <a:cubicBezTo>
                      <a:pt x="16" y="7"/>
                      <a:pt x="16" y="8"/>
                      <a:pt x="15" y="8"/>
                    </a:cubicBezTo>
                    <a:cubicBezTo>
                      <a:pt x="13" y="8"/>
                      <a:pt x="11" y="7"/>
                      <a:pt x="9" y="5"/>
                    </a:cubicBezTo>
                    <a:cubicBezTo>
                      <a:pt x="9" y="5"/>
                      <a:pt x="8" y="4"/>
                      <a:pt x="7" y="3"/>
                    </a:cubicBezTo>
                    <a:cubicBezTo>
                      <a:pt x="7" y="2"/>
                      <a:pt x="6" y="1"/>
                      <a:pt x="6" y="1"/>
                    </a:cubicBezTo>
                    <a:cubicBezTo>
                      <a:pt x="5" y="0"/>
                      <a:pt x="4" y="0"/>
                      <a:pt x="4" y="1"/>
                    </a:cubicBezTo>
                    <a:cubicBezTo>
                      <a:pt x="3" y="2"/>
                      <a:pt x="4" y="3"/>
                      <a:pt x="3" y="3"/>
                    </a:cubicBezTo>
                    <a:cubicBezTo>
                      <a:pt x="2" y="3"/>
                      <a:pt x="1" y="3"/>
                      <a:pt x="1" y="3"/>
                    </a:cubicBezTo>
                    <a:cubicBezTo>
                      <a:pt x="0" y="4"/>
                      <a:pt x="1" y="5"/>
                      <a:pt x="1" y="5"/>
                    </a:cubicBezTo>
                    <a:cubicBezTo>
                      <a:pt x="2" y="6"/>
                      <a:pt x="2" y="7"/>
                      <a:pt x="2" y="8"/>
                    </a:cubicBezTo>
                    <a:cubicBezTo>
                      <a:pt x="2" y="8"/>
                      <a:pt x="2" y="9"/>
                      <a:pt x="2" y="10"/>
                    </a:cubicBezTo>
                    <a:cubicBezTo>
                      <a:pt x="3" y="10"/>
                      <a:pt x="2" y="11"/>
                      <a:pt x="3" y="11"/>
                    </a:cubicBezTo>
                    <a:cubicBezTo>
                      <a:pt x="3" y="12"/>
                      <a:pt x="4" y="12"/>
                      <a:pt x="3" y="13"/>
                    </a:cubicBezTo>
                    <a:cubicBezTo>
                      <a:pt x="3" y="14"/>
                      <a:pt x="3" y="14"/>
                      <a:pt x="3" y="15"/>
                    </a:cubicBezTo>
                    <a:cubicBezTo>
                      <a:pt x="2" y="15"/>
                      <a:pt x="2" y="15"/>
                      <a:pt x="2" y="16"/>
                    </a:cubicBezTo>
                    <a:cubicBezTo>
                      <a:pt x="3" y="16"/>
                      <a:pt x="3" y="16"/>
                      <a:pt x="4" y="17"/>
                    </a:cubicBezTo>
                    <a:cubicBezTo>
                      <a:pt x="4" y="17"/>
                      <a:pt x="4" y="17"/>
                      <a:pt x="4" y="18"/>
                    </a:cubicBezTo>
                    <a:cubicBezTo>
                      <a:pt x="4" y="18"/>
                      <a:pt x="4" y="18"/>
                      <a:pt x="4" y="19"/>
                    </a:cubicBezTo>
                    <a:cubicBezTo>
                      <a:pt x="4" y="19"/>
                      <a:pt x="5" y="19"/>
                      <a:pt x="5" y="19"/>
                    </a:cubicBezTo>
                    <a:cubicBezTo>
                      <a:pt x="5" y="19"/>
                      <a:pt x="4" y="20"/>
                      <a:pt x="4" y="20"/>
                    </a:cubicBezTo>
                    <a:cubicBezTo>
                      <a:pt x="5" y="20"/>
                      <a:pt x="6" y="20"/>
                      <a:pt x="6" y="21"/>
                    </a:cubicBezTo>
                    <a:cubicBezTo>
                      <a:pt x="6" y="22"/>
                      <a:pt x="5" y="22"/>
                      <a:pt x="5" y="22"/>
                    </a:cubicBezTo>
                    <a:cubicBezTo>
                      <a:pt x="7" y="23"/>
                      <a:pt x="7" y="23"/>
                      <a:pt x="7" y="23"/>
                    </a:cubicBezTo>
                    <a:cubicBezTo>
                      <a:pt x="8" y="25"/>
                      <a:pt x="8" y="25"/>
                      <a:pt x="8" y="25"/>
                    </a:cubicBezTo>
                    <a:cubicBezTo>
                      <a:pt x="7" y="26"/>
                      <a:pt x="7" y="26"/>
                      <a:pt x="7" y="26"/>
                    </a:cubicBezTo>
                    <a:cubicBezTo>
                      <a:pt x="7" y="26"/>
                      <a:pt x="8" y="27"/>
                      <a:pt x="8" y="27"/>
                    </a:cubicBezTo>
                    <a:cubicBezTo>
                      <a:pt x="8" y="28"/>
                      <a:pt x="9" y="29"/>
                      <a:pt x="9" y="29"/>
                    </a:cubicBezTo>
                    <a:cubicBezTo>
                      <a:pt x="9" y="29"/>
                      <a:pt x="10" y="29"/>
                      <a:pt x="10" y="29"/>
                    </a:cubicBezTo>
                    <a:cubicBezTo>
                      <a:pt x="10" y="30"/>
                      <a:pt x="11" y="32"/>
                      <a:pt x="11" y="33"/>
                    </a:cubicBezTo>
                    <a:cubicBezTo>
                      <a:pt x="11" y="33"/>
                      <a:pt x="12" y="33"/>
                      <a:pt x="12" y="33"/>
                    </a:cubicBezTo>
                    <a:cubicBezTo>
                      <a:pt x="14" y="34"/>
                      <a:pt x="14" y="34"/>
                      <a:pt x="14" y="34"/>
                    </a:cubicBezTo>
                    <a:cubicBezTo>
                      <a:pt x="17" y="34"/>
                      <a:pt x="17" y="34"/>
                      <a:pt x="17" y="34"/>
                    </a:cubicBezTo>
                    <a:cubicBezTo>
                      <a:pt x="15" y="36"/>
                      <a:pt x="15" y="36"/>
                      <a:pt x="15" y="36"/>
                    </a:cubicBezTo>
                    <a:cubicBezTo>
                      <a:pt x="15" y="37"/>
                      <a:pt x="15" y="37"/>
                      <a:pt x="15" y="37"/>
                    </a:cubicBezTo>
                    <a:cubicBezTo>
                      <a:pt x="16" y="38"/>
                      <a:pt x="16" y="38"/>
                      <a:pt x="16" y="38"/>
                    </a:cubicBezTo>
                    <a:cubicBezTo>
                      <a:pt x="16" y="40"/>
                      <a:pt x="16" y="40"/>
                      <a:pt x="16" y="40"/>
                    </a:cubicBezTo>
                    <a:cubicBezTo>
                      <a:pt x="14" y="40"/>
                      <a:pt x="14" y="40"/>
                      <a:pt x="14" y="40"/>
                    </a:cubicBezTo>
                    <a:cubicBezTo>
                      <a:pt x="14" y="40"/>
                      <a:pt x="14" y="42"/>
                      <a:pt x="14" y="42"/>
                    </a:cubicBezTo>
                    <a:cubicBezTo>
                      <a:pt x="14" y="42"/>
                      <a:pt x="13" y="42"/>
                      <a:pt x="13" y="42"/>
                    </a:cubicBezTo>
                    <a:cubicBezTo>
                      <a:pt x="13" y="44"/>
                      <a:pt x="13" y="44"/>
                      <a:pt x="13" y="44"/>
                    </a:cubicBezTo>
                    <a:cubicBezTo>
                      <a:pt x="11" y="45"/>
                      <a:pt x="11" y="45"/>
                      <a:pt x="11" y="45"/>
                    </a:cubicBezTo>
                    <a:cubicBezTo>
                      <a:pt x="11" y="45"/>
                      <a:pt x="11" y="45"/>
                      <a:pt x="11" y="45"/>
                    </a:cubicBezTo>
                    <a:cubicBezTo>
                      <a:pt x="11" y="45"/>
                      <a:pt x="12" y="47"/>
                      <a:pt x="12" y="47"/>
                    </a:cubicBezTo>
                    <a:cubicBezTo>
                      <a:pt x="12" y="47"/>
                      <a:pt x="11" y="48"/>
                      <a:pt x="11" y="49"/>
                    </a:cubicBezTo>
                    <a:cubicBezTo>
                      <a:pt x="11" y="49"/>
                      <a:pt x="11" y="50"/>
                      <a:pt x="11" y="50"/>
                    </a:cubicBezTo>
                    <a:cubicBezTo>
                      <a:pt x="11" y="50"/>
                      <a:pt x="12" y="51"/>
                      <a:pt x="12" y="51"/>
                    </a:cubicBezTo>
                    <a:cubicBezTo>
                      <a:pt x="12" y="52"/>
                      <a:pt x="14" y="52"/>
                      <a:pt x="14" y="52"/>
                    </a:cubicBezTo>
                    <a:cubicBezTo>
                      <a:pt x="14" y="52"/>
                      <a:pt x="14" y="53"/>
                      <a:pt x="14" y="53"/>
                    </a:cubicBezTo>
                    <a:cubicBezTo>
                      <a:pt x="15" y="53"/>
                      <a:pt x="15" y="53"/>
                      <a:pt x="15" y="53"/>
                    </a:cubicBezTo>
                    <a:cubicBezTo>
                      <a:pt x="16" y="55"/>
                      <a:pt x="16" y="55"/>
                      <a:pt x="16" y="55"/>
                    </a:cubicBezTo>
                    <a:cubicBezTo>
                      <a:pt x="16" y="55"/>
                      <a:pt x="15" y="57"/>
                      <a:pt x="15" y="57"/>
                    </a:cubicBezTo>
                    <a:cubicBezTo>
                      <a:pt x="15" y="57"/>
                      <a:pt x="19" y="58"/>
                      <a:pt x="19" y="58"/>
                    </a:cubicBezTo>
                    <a:cubicBezTo>
                      <a:pt x="22" y="61"/>
                      <a:pt x="22" y="61"/>
                      <a:pt x="22" y="61"/>
                    </a:cubicBezTo>
                    <a:cubicBezTo>
                      <a:pt x="25" y="62"/>
                      <a:pt x="25" y="62"/>
                      <a:pt x="25" y="62"/>
                    </a:cubicBezTo>
                    <a:cubicBezTo>
                      <a:pt x="25" y="62"/>
                      <a:pt x="25" y="64"/>
                      <a:pt x="26" y="64"/>
                    </a:cubicBezTo>
                    <a:cubicBezTo>
                      <a:pt x="26" y="64"/>
                      <a:pt x="27" y="67"/>
                      <a:pt x="27" y="67"/>
                    </a:cubicBezTo>
                    <a:cubicBezTo>
                      <a:pt x="27" y="67"/>
                      <a:pt x="27" y="71"/>
                      <a:pt x="27" y="71"/>
                    </a:cubicBezTo>
                    <a:cubicBezTo>
                      <a:pt x="27" y="71"/>
                      <a:pt x="27" y="73"/>
                      <a:pt x="27" y="73"/>
                    </a:cubicBezTo>
                    <a:cubicBezTo>
                      <a:pt x="27" y="73"/>
                      <a:pt x="28" y="74"/>
                      <a:pt x="29" y="74"/>
                    </a:cubicBezTo>
                    <a:cubicBezTo>
                      <a:pt x="29" y="74"/>
                      <a:pt x="29" y="77"/>
                      <a:pt x="29" y="77"/>
                    </a:cubicBezTo>
                    <a:cubicBezTo>
                      <a:pt x="29" y="78"/>
                      <a:pt x="32" y="81"/>
                      <a:pt x="32" y="81"/>
                    </a:cubicBezTo>
                    <a:cubicBezTo>
                      <a:pt x="32" y="81"/>
                      <a:pt x="33" y="81"/>
                      <a:pt x="33" y="81"/>
                    </a:cubicBezTo>
                    <a:cubicBezTo>
                      <a:pt x="34" y="80"/>
                      <a:pt x="36" y="80"/>
                      <a:pt x="36" y="78"/>
                    </a:cubicBezTo>
                    <a:cubicBezTo>
                      <a:pt x="35" y="77"/>
                      <a:pt x="36" y="77"/>
                      <a:pt x="36" y="78"/>
                    </a:cubicBezTo>
                    <a:cubicBezTo>
                      <a:pt x="37" y="79"/>
                      <a:pt x="38" y="79"/>
                      <a:pt x="39" y="79"/>
                    </a:cubicBezTo>
                    <a:cubicBezTo>
                      <a:pt x="40" y="80"/>
                      <a:pt x="40" y="81"/>
                      <a:pt x="41" y="80"/>
                    </a:cubicBezTo>
                    <a:cubicBezTo>
                      <a:pt x="42" y="79"/>
                      <a:pt x="44" y="79"/>
                      <a:pt x="44" y="80"/>
                    </a:cubicBezTo>
                    <a:cubicBezTo>
                      <a:pt x="44" y="82"/>
                      <a:pt x="45" y="83"/>
                      <a:pt x="47" y="84"/>
                    </a:cubicBezTo>
                    <a:cubicBezTo>
                      <a:pt x="48" y="85"/>
                      <a:pt x="47" y="87"/>
                      <a:pt x="49" y="88"/>
                    </a:cubicBezTo>
                    <a:cubicBezTo>
                      <a:pt x="49" y="88"/>
                      <a:pt x="49" y="88"/>
                      <a:pt x="49" y="89"/>
                    </a:cubicBezTo>
                    <a:cubicBezTo>
                      <a:pt x="49" y="89"/>
                      <a:pt x="49" y="89"/>
                      <a:pt x="49" y="90"/>
                    </a:cubicBezTo>
                    <a:cubicBezTo>
                      <a:pt x="50" y="90"/>
                      <a:pt x="50" y="91"/>
                      <a:pt x="50" y="92"/>
                    </a:cubicBezTo>
                    <a:cubicBezTo>
                      <a:pt x="52" y="96"/>
                      <a:pt x="52" y="97"/>
                      <a:pt x="57" y="97"/>
                    </a:cubicBezTo>
                    <a:cubicBezTo>
                      <a:pt x="57" y="97"/>
                      <a:pt x="57" y="97"/>
                      <a:pt x="57" y="98"/>
                    </a:cubicBezTo>
                    <a:cubicBezTo>
                      <a:pt x="58" y="99"/>
                      <a:pt x="60" y="99"/>
                      <a:pt x="60" y="100"/>
                    </a:cubicBezTo>
                    <a:cubicBezTo>
                      <a:pt x="61" y="102"/>
                      <a:pt x="63" y="103"/>
                      <a:pt x="64" y="103"/>
                    </a:cubicBezTo>
                    <a:cubicBezTo>
                      <a:pt x="65" y="103"/>
                      <a:pt x="66" y="103"/>
                      <a:pt x="67" y="105"/>
                    </a:cubicBezTo>
                    <a:cubicBezTo>
                      <a:pt x="67" y="105"/>
                      <a:pt x="68" y="106"/>
                      <a:pt x="69" y="106"/>
                    </a:cubicBezTo>
                    <a:cubicBezTo>
                      <a:pt x="71" y="105"/>
                      <a:pt x="72" y="106"/>
                      <a:pt x="73" y="107"/>
                    </a:cubicBezTo>
                    <a:cubicBezTo>
                      <a:pt x="74" y="107"/>
                      <a:pt x="76" y="107"/>
                      <a:pt x="77" y="106"/>
                    </a:cubicBezTo>
                    <a:cubicBezTo>
                      <a:pt x="78" y="105"/>
                      <a:pt x="79" y="105"/>
                      <a:pt x="81" y="105"/>
                    </a:cubicBezTo>
                    <a:cubicBezTo>
                      <a:pt x="81" y="104"/>
                      <a:pt x="81" y="103"/>
                      <a:pt x="82" y="103"/>
                    </a:cubicBezTo>
                    <a:cubicBezTo>
                      <a:pt x="83" y="103"/>
                      <a:pt x="84" y="103"/>
                      <a:pt x="84" y="103"/>
                    </a:cubicBezTo>
                    <a:cubicBezTo>
                      <a:pt x="85" y="102"/>
                      <a:pt x="85" y="102"/>
                      <a:pt x="86" y="102"/>
                    </a:cubicBezTo>
                    <a:cubicBezTo>
                      <a:pt x="88" y="102"/>
                      <a:pt x="89" y="102"/>
                      <a:pt x="90" y="103"/>
                    </a:cubicBezTo>
                    <a:cubicBezTo>
                      <a:pt x="90" y="105"/>
                      <a:pt x="91" y="106"/>
                      <a:pt x="91" y="107"/>
                    </a:cubicBezTo>
                    <a:cubicBezTo>
                      <a:pt x="91" y="109"/>
                      <a:pt x="91" y="111"/>
                      <a:pt x="92" y="112"/>
                    </a:cubicBezTo>
                    <a:cubicBezTo>
                      <a:pt x="92" y="113"/>
                      <a:pt x="93" y="113"/>
                      <a:pt x="93" y="113"/>
                    </a:cubicBezTo>
                    <a:cubicBezTo>
                      <a:pt x="95" y="113"/>
                      <a:pt x="96" y="114"/>
                      <a:pt x="97" y="114"/>
                    </a:cubicBezTo>
                    <a:cubicBezTo>
                      <a:pt x="100" y="114"/>
                      <a:pt x="103" y="115"/>
                      <a:pt x="105" y="115"/>
                    </a:cubicBezTo>
                    <a:cubicBezTo>
                      <a:pt x="106" y="115"/>
                      <a:pt x="106" y="115"/>
                      <a:pt x="107" y="115"/>
                    </a:cubicBezTo>
                    <a:cubicBezTo>
                      <a:pt x="109" y="116"/>
                      <a:pt x="111" y="116"/>
                      <a:pt x="114" y="115"/>
                    </a:cubicBezTo>
                    <a:cubicBezTo>
                      <a:pt x="114" y="115"/>
                      <a:pt x="114" y="115"/>
                      <a:pt x="114" y="115"/>
                    </a:cubicBezTo>
                    <a:cubicBezTo>
                      <a:pt x="115" y="117"/>
                      <a:pt x="117" y="116"/>
                      <a:pt x="119" y="117"/>
                    </a:cubicBezTo>
                    <a:cubicBezTo>
                      <a:pt x="120" y="118"/>
                      <a:pt x="120" y="118"/>
                      <a:pt x="121" y="117"/>
                    </a:cubicBezTo>
                    <a:cubicBezTo>
                      <a:pt x="121" y="117"/>
                      <a:pt x="121" y="117"/>
                      <a:pt x="121" y="117"/>
                    </a:cubicBezTo>
                    <a:cubicBezTo>
                      <a:pt x="121" y="115"/>
                      <a:pt x="121" y="115"/>
                      <a:pt x="121" y="115"/>
                    </a:cubicBezTo>
                    <a:lnTo>
                      <a:pt x="123" y="1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8" name="Freeform 863">
                <a:extLst>
                  <a:ext uri="{FF2B5EF4-FFF2-40B4-BE49-F238E27FC236}">
                    <a16:creationId xmlns:a16="http://schemas.microsoft.com/office/drawing/2014/main" id="{03D0087A-DEB9-14A3-A6ED-28AC48F17AA4}"/>
                  </a:ext>
                </a:extLst>
              </p:cNvPr>
              <p:cNvSpPr>
                <a:spLocks/>
              </p:cNvSpPr>
              <p:nvPr/>
            </p:nvSpPr>
            <p:spPr bwMode="auto">
              <a:xfrm>
                <a:off x="7302500" y="3762375"/>
                <a:ext cx="812800" cy="896938"/>
              </a:xfrm>
              <a:custGeom>
                <a:avLst/>
                <a:gdLst>
                  <a:gd name="T0" fmla="*/ 186 w 195"/>
                  <a:gd name="T1" fmla="*/ 79 h 215"/>
                  <a:gd name="T2" fmla="*/ 180 w 195"/>
                  <a:gd name="T3" fmla="*/ 92 h 215"/>
                  <a:gd name="T4" fmla="*/ 165 w 195"/>
                  <a:gd name="T5" fmla="*/ 118 h 215"/>
                  <a:gd name="T6" fmla="*/ 160 w 195"/>
                  <a:gd name="T7" fmla="*/ 107 h 215"/>
                  <a:gd name="T8" fmla="*/ 155 w 195"/>
                  <a:gd name="T9" fmla="*/ 106 h 215"/>
                  <a:gd name="T10" fmla="*/ 162 w 195"/>
                  <a:gd name="T11" fmla="*/ 97 h 215"/>
                  <a:gd name="T12" fmla="*/ 150 w 195"/>
                  <a:gd name="T13" fmla="*/ 94 h 215"/>
                  <a:gd name="T14" fmla="*/ 146 w 195"/>
                  <a:gd name="T15" fmla="*/ 86 h 215"/>
                  <a:gd name="T16" fmla="*/ 140 w 195"/>
                  <a:gd name="T17" fmla="*/ 86 h 215"/>
                  <a:gd name="T18" fmla="*/ 134 w 195"/>
                  <a:gd name="T19" fmla="*/ 88 h 215"/>
                  <a:gd name="T20" fmla="*/ 140 w 195"/>
                  <a:gd name="T21" fmla="*/ 94 h 215"/>
                  <a:gd name="T22" fmla="*/ 134 w 195"/>
                  <a:gd name="T23" fmla="*/ 99 h 215"/>
                  <a:gd name="T24" fmla="*/ 138 w 195"/>
                  <a:gd name="T25" fmla="*/ 104 h 215"/>
                  <a:gd name="T26" fmla="*/ 140 w 195"/>
                  <a:gd name="T27" fmla="*/ 111 h 215"/>
                  <a:gd name="T28" fmla="*/ 135 w 195"/>
                  <a:gd name="T29" fmla="*/ 119 h 215"/>
                  <a:gd name="T30" fmla="*/ 119 w 195"/>
                  <a:gd name="T31" fmla="*/ 133 h 215"/>
                  <a:gd name="T32" fmla="*/ 97 w 195"/>
                  <a:gd name="T33" fmla="*/ 151 h 215"/>
                  <a:gd name="T34" fmla="*/ 89 w 195"/>
                  <a:gd name="T35" fmla="*/ 158 h 215"/>
                  <a:gd name="T36" fmla="*/ 80 w 195"/>
                  <a:gd name="T37" fmla="*/ 176 h 215"/>
                  <a:gd name="T38" fmla="*/ 79 w 195"/>
                  <a:gd name="T39" fmla="*/ 199 h 215"/>
                  <a:gd name="T40" fmla="*/ 67 w 195"/>
                  <a:gd name="T41" fmla="*/ 210 h 215"/>
                  <a:gd name="T42" fmla="*/ 52 w 195"/>
                  <a:gd name="T43" fmla="*/ 195 h 215"/>
                  <a:gd name="T44" fmla="*/ 40 w 195"/>
                  <a:gd name="T45" fmla="*/ 167 h 215"/>
                  <a:gd name="T46" fmla="*/ 31 w 195"/>
                  <a:gd name="T47" fmla="*/ 129 h 215"/>
                  <a:gd name="T48" fmla="*/ 28 w 195"/>
                  <a:gd name="T49" fmla="*/ 115 h 215"/>
                  <a:gd name="T50" fmla="*/ 14 w 195"/>
                  <a:gd name="T51" fmla="*/ 124 h 215"/>
                  <a:gd name="T52" fmla="*/ 13 w 195"/>
                  <a:gd name="T53" fmla="*/ 110 h 215"/>
                  <a:gd name="T54" fmla="*/ 3 w 195"/>
                  <a:gd name="T55" fmla="*/ 101 h 215"/>
                  <a:gd name="T56" fmla="*/ 15 w 195"/>
                  <a:gd name="T57" fmla="*/ 100 h 215"/>
                  <a:gd name="T58" fmla="*/ 16 w 195"/>
                  <a:gd name="T59" fmla="*/ 93 h 215"/>
                  <a:gd name="T60" fmla="*/ 13 w 195"/>
                  <a:gd name="T61" fmla="*/ 87 h 215"/>
                  <a:gd name="T62" fmla="*/ 14 w 195"/>
                  <a:gd name="T63" fmla="*/ 72 h 215"/>
                  <a:gd name="T64" fmla="*/ 27 w 195"/>
                  <a:gd name="T65" fmla="*/ 67 h 215"/>
                  <a:gd name="T66" fmla="*/ 42 w 195"/>
                  <a:gd name="T67" fmla="*/ 48 h 215"/>
                  <a:gd name="T68" fmla="*/ 42 w 195"/>
                  <a:gd name="T69" fmla="*/ 43 h 215"/>
                  <a:gd name="T70" fmla="*/ 44 w 195"/>
                  <a:gd name="T71" fmla="*/ 35 h 215"/>
                  <a:gd name="T72" fmla="*/ 36 w 195"/>
                  <a:gd name="T73" fmla="*/ 27 h 215"/>
                  <a:gd name="T74" fmla="*/ 40 w 195"/>
                  <a:gd name="T75" fmla="*/ 17 h 215"/>
                  <a:gd name="T76" fmla="*/ 33 w 195"/>
                  <a:gd name="T77" fmla="*/ 10 h 215"/>
                  <a:gd name="T78" fmla="*/ 37 w 195"/>
                  <a:gd name="T79" fmla="*/ 2 h 215"/>
                  <a:gd name="T80" fmla="*/ 50 w 195"/>
                  <a:gd name="T81" fmla="*/ 3 h 215"/>
                  <a:gd name="T82" fmla="*/ 62 w 195"/>
                  <a:gd name="T83" fmla="*/ 12 h 215"/>
                  <a:gd name="T84" fmla="*/ 77 w 195"/>
                  <a:gd name="T85" fmla="*/ 10 h 215"/>
                  <a:gd name="T86" fmla="*/ 80 w 195"/>
                  <a:gd name="T87" fmla="*/ 18 h 215"/>
                  <a:gd name="T88" fmla="*/ 71 w 195"/>
                  <a:gd name="T89" fmla="*/ 27 h 215"/>
                  <a:gd name="T90" fmla="*/ 76 w 195"/>
                  <a:gd name="T91" fmla="*/ 37 h 215"/>
                  <a:gd name="T92" fmla="*/ 69 w 195"/>
                  <a:gd name="T93" fmla="*/ 40 h 215"/>
                  <a:gd name="T94" fmla="*/ 75 w 195"/>
                  <a:gd name="T95" fmla="*/ 49 h 215"/>
                  <a:gd name="T96" fmla="*/ 82 w 195"/>
                  <a:gd name="T97" fmla="*/ 60 h 215"/>
                  <a:gd name="T98" fmla="*/ 93 w 195"/>
                  <a:gd name="T99" fmla="*/ 73 h 215"/>
                  <a:gd name="T100" fmla="*/ 103 w 195"/>
                  <a:gd name="T101" fmla="*/ 77 h 215"/>
                  <a:gd name="T102" fmla="*/ 114 w 195"/>
                  <a:gd name="T103" fmla="*/ 82 h 215"/>
                  <a:gd name="T104" fmla="*/ 124 w 195"/>
                  <a:gd name="T105" fmla="*/ 84 h 215"/>
                  <a:gd name="T106" fmla="*/ 132 w 195"/>
                  <a:gd name="T107" fmla="*/ 85 h 215"/>
                  <a:gd name="T108" fmla="*/ 135 w 195"/>
                  <a:gd name="T109" fmla="*/ 73 h 215"/>
                  <a:gd name="T110" fmla="*/ 140 w 195"/>
                  <a:gd name="T111" fmla="*/ 77 h 215"/>
                  <a:gd name="T112" fmla="*/ 151 w 195"/>
                  <a:gd name="T113" fmla="*/ 81 h 215"/>
                  <a:gd name="T114" fmla="*/ 158 w 195"/>
                  <a:gd name="T115" fmla="*/ 76 h 215"/>
                  <a:gd name="T116" fmla="*/ 168 w 195"/>
                  <a:gd name="T117" fmla="*/ 70 h 215"/>
                  <a:gd name="T118" fmla="*/ 183 w 195"/>
                  <a:gd name="T119" fmla="*/ 64 h 215"/>
                  <a:gd name="T120" fmla="*/ 194 w 195"/>
                  <a:gd name="T121" fmla="*/ 7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 h="215">
                    <a:moveTo>
                      <a:pt x="194" y="75"/>
                    </a:moveTo>
                    <a:cubicBezTo>
                      <a:pt x="195" y="75"/>
                      <a:pt x="194" y="75"/>
                      <a:pt x="193" y="75"/>
                    </a:cubicBezTo>
                    <a:cubicBezTo>
                      <a:pt x="192" y="75"/>
                      <a:pt x="192" y="74"/>
                      <a:pt x="192" y="74"/>
                    </a:cubicBezTo>
                    <a:cubicBezTo>
                      <a:pt x="192" y="74"/>
                      <a:pt x="191" y="75"/>
                      <a:pt x="190" y="76"/>
                    </a:cubicBezTo>
                    <a:cubicBezTo>
                      <a:pt x="190" y="76"/>
                      <a:pt x="189" y="76"/>
                      <a:pt x="188" y="76"/>
                    </a:cubicBezTo>
                    <a:cubicBezTo>
                      <a:pt x="188" y="77"/>
                      <a:pt x="187" y="77"/>
                      <a:pt x="187" y="78"/>
                    </a:cubicBezTo>
                    <a:cubicBezTo>
                      <a:pt x="187" y="79"/>
                      <a:pt x="186" y="79"/>
                      <a:pt x="186" y="79"/>
                    </a:cubicBezTo>
                    <a:cubicBezTo>
                      <a:pt x="185" y="80"/>
                      <a:pt x="185" y="80"/>
                      <a:pt x="184" y="80"/>
                    </a:cubicBezTo>
                    <a:cubicBezTo>
                      <a:pt x="184" y="80"/>
                      <a:pt x="184" y="81"/>
                      <a:pt x="183" y="81"/>
                    </a:cubicBezTo>
                    <a:cubicBezTo>
                      <a:pt x="183" y="82"/>
                      <a:pt x="182" y="83"/>
                      <a:pt x="182" y="84"/>
                    </a:cubicBezTo>
                    <a:cubicBezTo>
                      <a:pt x="181" y="85"/>
                      <a:pt x="182" y="85"/>
                      <a:pt x="182" y="85"/>
                    </a:cubicBezTo>
                    <a:cubicBezTo>
                      <a:pt x="182" y="86"/>
                      <a:pt x="182" y="88"/>
                      <a:pt x="181" y="89"/>
                    </a:cubicBezTo>
                    <a:cubicBezTo>
                      <a:pt x="181" y="89"/>
                      <a:pt x="180" y="90"/>
                      <a:pt x="180" y="91"/>
                    </a:cubicBezTo>
                    <a:cubicBezTo>
                      <a:pt x="179" y="92"/>
                      <a:pt x="180" y="92"/>
                      <a:pt x="180" y="92"/>
                    </a:cubicBezTo>
                    <a:cubicBezTo>
                      <a:pt x="180" y="93"/>
                      <a:pt x="181" y="93"/>
                      <a:pt x="181" y="94"/>
                    </a:cubicBezTo>
                    <a:cubicBezTo>
                      <a:pt x="181" y="94"/>
                      <a:pt x="180" y="96"/>
                      <a:pt x="180" y="97"/>
                    </a:cubicBezTo>
                    <a:cubicBezTo>
                      <a:pt x="180" y="98"/>
                      <a:pt x="179" y="99"/>
                      <a:pt x="179" y="100"/>
                    </a:cubicBezTo>
                    <a:cubicBezTo>
                      <a:pt x="178" y="101"/>
                      <a:pt x="176" y="102"/>
                      <a:pt x="175" y="102"/>
                    </a:cubicBezTo>
                    <a:cubicBezTo>
                      <a:pt x="175" y="102"/>
                      <a:pt x="169" y="103"/>
                      <a:pt x="169" y="103"/>
                    </a:cubicBezTo>
                    <a:cubicBezTo>
                      <a:pt x="169" y="103"/>
                      <a:pt x="168" y="110"/>
                      <a:pt x="168" y="111"/>
                    </a:cubicBezTo>
                    <a:cubicBezTo>
                      <a:pt x="168" y="111"/>
                      <a:pt x="167" y="116"/>
                      <a:pt x="165" y="118"/>
                    </a:cubicBezTo>
                    <a:cubicBezTo>
                      <a:pt x="164" y="115"/>
                      <a:pt x="164" y="115"/>
                      <a:pt x="164" y="115"/>
                    </a:cubicBezTo>
                    <a:cubicBezTo>
                      <a:pt x="164" y="112"/>
                      <a:pt x="164" y="112"/>
                      <a:pt x="164" y="112"/>
                    </a:cubicBezTo>
                    <a:cubicBezTo>
                      <a:pt x="163" y="109"/>
                      <a:pt x="163" y="109"/>
                      <a:pt x="163" y="109"/>
                    </a:cubicBezTo>
                    <a:cubicBezTo>
                      <a:pt x="163" y="105"/>
                      <a:pt x="163" y="105"/>
                      <a:pt x="163" y="105"/>
                    </a:cubicBezTo>
                    <a:cubicBezTo>
                      <a:pt x="162" y="105"/>
                      <a:pt x="162" y="105"/>
                      <a:pt x="162" y="105"/>
                    </a:cubicBezTo>
                    <a:cubicBezTo>
                      <a:pt x="161" y="105"/>
                      <a:pt x="161" y="105"/>
                      <a:pt x="161" y="105"/>
                    </a:cubicBezTo>
                    <a:cubicBezTo>
                      <a:pt x="160" y="107"/>
                      <a:pt x="160" y="107"/>
                      <a:pt x="160" y="107"/>
                    </a:cubicBezTo>
                    <a:cubicBezTo>
                      <a:pt x="160" y="108"/>
                      <a:pt x="160" y="108"/>
                      <a:pt x="160" y="108"/>
                    </a:cubicBezTo>
                    <a:cubicBezTo>
                      <a:pt x="160" y="109"/>
                      <a:pt x="160" y="109"/>
                      <a:pt x="160" y="109"/>
                    </a:cubicBezTo>
                    <a:cubicBezTo>
                      <a:pt x="160" y="109"/>
                      <a:pt x="159" y="110"/>
                      <a:pt x="159" y="110"/>
                    </a:cubicBezTo>
                    <a:cubicBezTo>
                      <a:pt x="159" y="110"/>
                      <a:pt x="158" y="110"/>
                      <a:pt x="158" y="109"/>
                    </a:cubicBezTo>
                    <a:cubicBezTo>
                      <a:pt x="157" y="109"/>
                      <a:pt x="156" y="109"/>
                      <a:pt x="156" y="109"/>
                    </a:cubicBezTo>
                    <a:cubicBezTo>
                      <a:pt x="156" y="108"/>
                      <a:pt x="156" y="108"/>
                      <a:pt x="156" y="108"/>
                    </a:cubicBezTo>
                    <a:cubicBezTo>
                      <a:pt x="156" y="108"/>
                      <a:pt x="155" y="107"/>
                      <a:pt x="155" y="106"/>
                    </a:cubicBezTo>
                    <a:cubicBezTo>
                      <a:pt x="155" y="106"/>
                      <a:pt x="156" y="105"/>
                      <a:pt x="155" y="105"/>
                    </a:cubicBezTo>
                    <a:cubicBezTo>
                      <a:pt x="155" y="104"/>
                      <a:pt x="157" y="102"/>
                      <a:pt x="157" y="102"/>
                    </a:cubicBezTo>
                    <a:cubicBezTo>
                      <a:pt x="157" y="102"/>
                      <a:pt x="158" y="103"/>
                      <a:pt x="158" y="102"/>
                    </a:cubicBezTo>
                    <a:cubicBezTo>
                      <a:pt x="159" y="102"/>
                      <a:pt x="159" y="102"/>
                      <a:pt x="160" y="102"/>
                    </a:cubicBezTo>
                    <a:cubicBezTo>
                      <a:pt x="160" y="101"/>
                      <a:pt x="161" y="100"/>
                      <a:pt x="161" y="100"/>
                    </a:cubicBezTo>
                    <a:cubicBezTo>
                      <a:pt x="162" y="100"/>
                      <a:pt x="162" y="100"/>
                      <a:pt x="162" y="100"/>
                    </a:cubicBezTo>
                    <a:cubicBezTo>
                      <a:pt x="162" y="100"/>
                      <a:pt x="162" y="98"/>
                      <a:pt x="162" y="97"/>
                    </a:cubicBezTo>
                    <a:cubicBezTo>
                      <a:pt x="162" y="97"/>
                      <a:pt x="162" y="96"/>
                      <a:pt x="162" y="96"/>
                    </a:cubicBezTo>
                    <a:cubicBezTo>
                      <a:pt x="162" y="96"/>
                      <a:pt x="163" y="96"/>
                      <a:pt x="163" y="96"/>
                    </a:cubicBezTo>
                    <a:cubicBezTo>
                      <a:pt x="163" y="96"/>
                      <a:pt x="163" y="96"/>
                      <a:pt x="163" y="95"/>
                    </a:cubicBezTo>
                    <a:cubicBezTo>
                      <a:pt x="163" y="95"/>
                      <a:pt x="163" y="95"/>
                      <a:pt x="163" y="95"/>
                    </a:cubicBezTo>
                    <a:cubicBezTo>
                      <a:pt x="163" y="95"/>
                      <a:pt x="162" y="95"/>
                      <a:pt x="161" y="95"/>
                    </a:cubicBezTo>
                    <a:cubicBezTo>
                      <a:pt x="161" y="94"/>
                      <a:pt x="153" y="94"/>
                      <a:pt x="152" y="94"/>
                    </a:cubicBezTo>
                    <a:cubicBezTo>
                      <a:pt x="150" y="94"/>
                      <a:pt x="150" y="94"/>
                      <a:pt x="150" y="94"/>
                    </a:cubicBezTo>
                    <a:cubicBezTo>
                      <a:pt x="150" y="94"/>
                      <a:pt x="149" y="94"/>
                      <a:pt x="148" y="94"/>
                    </a:cubicBezTo>
                    <a:cubicBezTo>
                      <a:pt x="147" y="94"/>
                      <a:pt x="146" y="93"/>
                      <a:pt x="146" y="93"/>
                    </a:cubicBezTo>
                    <a:cubicBezTo>
                      <a:pt x="146" y="93"/>
                      <a:pt x="146" y="92"/>
                      <a:pt x="146" y="92"/>
                    </a:cubicBezTo>
                    <a:cubicBezTo>
                      <a:pt x="146" y="92"/>
                      <a:pt x="147" y="91"/>
                      <a:pt x="147" y="91"/>
                    </a:cubicBezTo>
                    <a:cubicBezTo>
                      <a:pt x="147" y="90"/>
                      <a:pt x="147" y="90"/>
                      <a:pt x="147" y="89"/>
                    </a:cubicBezTo>
                    <a:cubicBezTo>
                      <a:pt x="147" y="89"/>
                      <a:pt x="146" y="88"/>
                      <a:pt x="146" y="88"/>
                    </a:cubicBezTo>
                    <a:cubicBezTo>
                      <a:pt x="146" y="88"/>
                      <a:pt x="146" y="87"/>
                      <a:pt x="146" y="86"/>
                    </a:cubicBezTo>
                    <a:cubicBezTo>
                      <a:pt x="145" y="86"/>
                      <a:pt x="145" y="87"/>
                      <a:pt x="145" y="87"/>
                    </a:cubicBezTo>
                    <a:cubicBezTo>
                      <a:pt x="145" y="87"/>
                      <a:pt x="145" y="88"/>
                      <a:pt x="145" y="88"/>
                    </a:cubicBezTo>
                    <a:cubicBezTo>
                      <a:pt x="144" y="88"/>
                      <a:pt x="144" y="88"/>
                      <a:pt x="144" y="88"/>
                    </a:cubicBezTo>
                    <a:cubicBezTo>
                      <a:pt x="144" y="88"/>
                      <a:pt x="142" y="87"/>
                      <a:pt x="142" y="87"/>
                    </a:cubicBezTo>
                    <a:cubicBezTo>
                      <a:pt x="141" y="85"/>
                      <a:pt x="141" y="85"/>
                      <a:pt x="141" y="85"/>
                    </a:cubicBezTo>
                    <a:cubicBezTo>
                      <a:pt x="140" y="85"/>
                      <a:pt x="140" y="85"/>
                      <a:pt x="140" y="85"/>
                    </a:cubicBezTo>
                    <a:cubicBezTo>
                      <a:pt x="140" y="86"/>
                      <a:pt x="140" y="86"/>
                      <a:pt x="140" y="86"/>
                    </a:cubicBezTo>
                    <a:cubicBezTo>
                      <a:pt x="138" y="86"/>
                      <a:pt x="138" y="86"/>
                      <a:pt x="138" y="86"/>
                    </a:cubicBezTo>
                    <a:cubicBezTo>
                      <a:pt x="137" y="84"/>
                      <a:pt x="137" y="84"/>
                      <a:pt x="137" y="84"/>
                    </a:cubicBezTo>
                    <a:cubicBezTo>
                      <a:pt x="136" y="84"/>
                      <a:pt x="136" y="84"/>
                      <a:pt x="136" y="84"/>
                    </a:cubicBezTo>
                    <a:cubicBezTo>
                      <a:pt x="136" y="84"/>
                      <a:pt x="136" y="85"/>
                      <a:pt x="136" y="85"/>
                    </a:cubicBezTo>
                    <a:cubicBezTo>
                      <a:pt x="136" y="85"/>
                      <a:pt x="136" y="86"/>
                      <a:pt x="136" y="86"/>
                    </a:cubicBezTo>
                    <a:cubicBezTo>
                      <a:pt x="135" y="86"/>
                      <a:pt x="135" y="86"/>
                      <a:pt x="135" y="86"/>
                    </a:cubicBezTo>
                    <a:cubicBezTo>
                      <a:pt x="135" y="86"/>
                      <a:pt x="134" y="88"/>
                      <a:pt x="134" y="88"/>
                    </a:cubicBezTo>
                    <a:cubicBezTo>
                      <a:pt x="134" y="88"/>
                      <a:pt x="134" y="89"/>
                      <a:pt x="134" y="89"/>
                    </a:cubicBezTo>
                    <a:cubicBezTo>
                      <a:pt x="136" y="91"/>
                      <a:pt x="136" y="91"/>
                      <a:pt x="136" y="91"/>
                    </a:cubicBezTo>
                    <a:cubicBezTo>
                      <a:pt x="136" y="91"/>
                      <a:pt x="137" y="91"/>
                      <a:pt x="138" y="91"/>
                    </a:cubicBezTo>
                    <a:cubicBezTo>
                      <a:pt x="138" y="91"/>
                      <a:pt x="139" y="91"/>
                      <a:pt x="139" y="91"/>
                    </a:cubicBezTo>
                    <a:cubicBezTo>
                      <a:pt x="139" y="91"/>
                      <a:pt x="140" y="92"/>
                      <a:pt x="140" y="92"/>
                    </a:cubicBezTo>
                    <a:cubicBezTo>
                      <a:pt x="140" y="93"/>
                      <a:pt x="140" y="94"/>
                      <a:pt x="140" y="94"/>
                    </a:cubicBezTo>
                    <a:cubicBezTo>
                      <a:pt x="140" y="94"/>
                      <a:pt x="140" y="94"/>
                      <a:pt x="140" y="94"/>
                    </a:cubicBezTo>
                    <a:cubicBezTo>
                      <a:pt x="139" y="94"/>
                      <a:pt x="138" y="94"/>
                      <a:pt x="138" y="94"/>
                    </a:cubicBezTo>
                    <a:cubicBezTo>
                      <a:pt x="138" y="94"/>
                      <a:pt x="136" y="94"/>
                      <a:pt x="136" y="94"/>
                    </a:cubicBezTo>
                    <a:cubicBezTo>
                      <a:pt x="136" y="94"/>
                      <a:pt x="137" y="95"/>
                      <a:pt x="137" y="95"/>
                    </a:cubicBezTo>
                    <a:cubicBezTo>
                      <a:pt x="137" y="95"/>
                      <a:pt x="137" y="96"/>
                      <a:pt x="136" y="96"/>
                    </a:cubicBezTo>
                    <a:cubicBezTo>
                      <a:pt x="136" y="96"/>
                      <a:pt x="135" y="96"/>
                      <a:pt x="135" y="96"/>
                    </a:cubicBezTo>
                    <a:cubicBezTo>
                      <a:pt x="134" y="96"/>
                      <a:pt x="134" y="96"/>
                      <a:pt x="134" y="97"/>
                    </a:cubicBezTo>
                    <a:cubicBezTo>
                      <a:pt x="134" y="97"/>
                      <a:pt x="134" y="99"/>
                      <a:pt x="134" y="99"/>
                    </a:cubicBezTo>
                    <a:cubicBezTo>
                      <a:pt x="134" y="99"/>
                      <a:pt x="135" y="99"/>
                      <a:pt x="135" y="99"/>
                    </a:cubicBezTo>
                    <a:cubicBezTo>
                      <a:pt x="135" y="100"/>
                      <a:pt x="136" y="100"/>
                      <a:pt x="137" y="100"/>
                    </a:cubicBezTo>
                    <a:cubicBezTo>
                      <a:pt x="137" y="100"/>
                      <a:pt x="138" y="100"/>
                      <a:pt x="138" y="100"/>
                    </a:cubicBezTo>
                    <a:cubicBezTo>
                      <a:pt x="139" y="101"/>
                      <a:pt x="139" y="101"/>
                      <a:pt x="139" y="101"/>
                    </a:cubicBezTo>
                    <a:cubicBezTo>
                      <a:pt x="139" y="102"/>
                      <a:pt x="139" y="102"/>
                      <a:pt x="139" y="103"/>
                    </a:cubicBezTo>
                    <a:cubicBezTo>
                      <a:pt x="139" y="103"/>
                      <a:pt x="139" y="104"/>
                      <a:pt x="139" y="104"/>
                    </a:cubicBezTo>
                    <a:cubicBezTo>
                      <a:pt x="139" y="104"/>
                      <a:pt x="138" y="104"/>
                      <a:pt x="138" y="104"/>
                    </a:cubicBezTo>
                    <a:cubicBezTo>
                      <a:pt x="138" y="105"/>
                      <a:pt x="137" y="105"/>
                      <a:pt x="137" y="105"/>
                    </a:cubicBezTo>
                    <a:cubicBezTo>
                      <a:pt x="138" y="106"/>
                      <a:pt x="138" y="106"/>
                      <a:pt x="138" y="107"/>
                    </a:cubicBezTo>
                    <a:cubicBezTo>
                      <a:pt x="139" y="107"/>
                      <a:pt x="139" y="107"/>
                      <a:pt x="139" y="107"/>
                    </a:cubicBezTo>
                    <a:cubicBezTo>
                      <a:pt x="139" y="108"/>
                      <a:pt x="138" y="108"/>
                      <a:pt x="139" y="108"/>
                    </a:cubicBezTo>
                    <a:cubicBezTo>
                      <a:pt x="139" y="108"/>
                      <a:pt x="139" y="108"/>
                      <a:pt x="140" y="109"/>
                    </a:cubicBezTo>
                    <a:cubicBezTo>
                      <a:pt x="140" y="109"/>
                      <a:pt x="140" y="110"/>
                      <a:pt x="140" y="110"/>
                    </a:cubicBezTo>
                    <a:cubicBezTo>
                      <a:pt x="140" y="110"/>
                      <a:pt x="140" y="111"/>
                      <a:pt x="140" y="111"/>
                    </a:cubicBezTo>
                    <a:cubicBezTo>
                      <a:pt x="140" y="111"/>
                      <a:pt x="141" y="114"/>
                      <a:pt x="141" y="114"/>
                    </a:cubicBezTo>
                    <a:cubicBezTo>
                      <a:pt x="141" y="118"/>
                      <a:pt x="141" y="118"/>
                      <a:pt x="141" y="118"/>
                    </a:cubicBezTo>
                    <a:cubicBezTo>
                      <a:pt x="141" y="119"/>
                      <a:pt x="139" y="120"/>
                      <a:pt x="138" y="120"/>
                    </a:cubicBezTo>
                    <a:cubicBezTo>
                      <a:pt x="138" y="120"/>
                      <a:pt x="138" y="120"/>
                      <a:pt x="138" y="120"/>
                    </a:cubicBezTo>
                    <a:cubicBezTo>
                      <a:pt x="137" y="120"/>
                      <a:pt x="137" y="120"/>
                      <a:pt x="136" y="120"/>
                    </a:cubicBezTo>
                    <a:cubicBezTo>
                      <a:pt x="136" y="119"/>
                      <a:pt x="136" y="119"/>
                      <a:pt x="135" y="119"/>
                    </a:cubicBezTo>
                    <a:cubicBezTo>
                      <a:pt x="135" y="119"/>
                      <a:pt x="135" y="119"/>
                      <a:pt x="135" y="119"/>
                    </a:cubicBezTo>
                    <a:cubicBezTo>
                      <a:pt x="135" y="119"/>
                      <a:pt x="135" y="118"/>
                      <a:pt x="135" y="117"/>
                    </a:cubicBezTo>
                    <a:cubicBezTo>
                      <a:pt x="135" y="117"/>
                      <a:pt x="135" y="117"/>
                      <a:pt x="135" y="116"/>
                    </a:cubicBezTo>
                    <a:cubicBezTo>
                      <a:pt x="133" y="118"/>
                      <a:pt x="131" y="120"/>
                      <a:pt x="129" y="120"/>
                    </a:cubicBezTo>
                    <a:cubicBezTo>
                      <a:pt x="127" y="120"/>
                      <a:pt x="126" y="123"/>
                      <a:pt x="127" y="124"/>
                    </a:cubicBezTo>
                    <a:cubicBezTo>
                      <a:pt x="127" y="126"/>
                      <a:pt x="127" y="128"/>
                      <a:pt x="125" y="129"/>
                    </a:cubicBezTo>
                    <a:cubicBezTo>
                      <a:pt x="125" y="129"/>
                      <a:pt x="124" y="130"/>
                      <a:pt x="124" y="130"/>
                    </a:cubicBezTo>
                    <a:cubicBezTo>
                      <a:pt x="123" y="132"/>
                      <a:pt x="121" y="132"/>
                      <a:pt x="119" y="133"/>
                    </a:cubicBezTo>
                    <a:cubicBezTo>
                      <a:pt x="119" y="133"/>
                      <a:pt x="117" y="134"/>
                      <a:pt x="116" y="132"/>
                    </a:cubicBezTo>
                    <a:cubicBezTo>
                      <a:pt x="116" y="132"/>
                      <a:pt x="115" y="133"/>
                      <a:pt x="115" y="134"/>
                    </a:cubicBezTo>
                    <a:cubicBezTo>
                      <a:pt x="115" y="135"/>
                      <a:pt x="115" y="135"/>
                      <a:pt x="114" y="136"/>
                    </a:cubicBezTo>
                    <a:cubicBezTo>
                      <a:pt x="112" y="136"/>
                      <a:pt x="112" y="138"/>
                      <a:pt x="111" y="139"/>
                    </a:cubicBezTo>
                    <a:cubicBezTo>
                      <a:pt x="110" y="141"/>
                      <a:pt x="109" y="142"/>
                      <a:pt x="107" y="143"/>
                    </a:cubicBezTo>
                    <a:cubicBezTo>
                      <a:pt x="105" y="144"/>
                      <a:pt x="103" y="146"/>
                      <a:pt x="102" y="148"/>
                    </a:cubicBezTo>
                    <a:cubicBezTo>
                      <a:pt x="101" y="150"/>
                      <a:pt x="99" y="150"/>
                      <a:pt x="97" y="151"/>
                    </a:cubicBezTo>
                    <a:cubicBezTo>
                      <a:pt x="97" y="151"/>
                      <a:pt x="96" y="151"/>
                      <a:pt x="96" y="151"/>
                    </a:cubicBezTo>
                    <a:cubicBezTo>
                      <a:pt x="96" y="152"/>
                      <a:pt x="95" y="152"/>
                      <a:pt x="95" y="153"/>
                    </a:cubicBezTo>
                    <a:cubicBezTo>
                      <a:pt x="96" y="154"/>
                      <a:pt x="95" y="155"/>
                      <a:pt x="93" y="154"/>
                    </a:cubicBezTo>
                    <a:cubicBezTo>
                      <a:pt x="93" y="155"/>
                      <a:pt x="93" y="155"/>
                      <a:pt x="93" y="155"/>
                    </a:cubicBezTo>
                    <a:cubicBezTo>
                      <a:pt x="94" y="155"/>
                      <a:pt x="95" y="154"/>
                      <a:pt x="95" y="155"/>
                    </a:cubicBezTo>
                    <a:cubicBezTo>
                      <a:pt x="95" y="156"/>
                      <a:pt x="94" y="156"/>
                      <a:pt x="94" y="157"/>
                    </a:cubicBezTo>
                    <a:cubicBezTo>
                      <a:pt x="92" y="157"/>
                      <a:pt x="90" y="157"/>
                      <a:pt x="89" y="158"/>
                    </a:cubicBezTo>
                    <a:cubicBezTo>
                      <a:pt x="88" y="158"/>
                      <a:pt x="88" y="158"/>
                      <a:pt x="88" y="159"/>
                    </a:cubicBezTo>
                    <a:cubicBezTo>
                      <a:pt x="87" y="162"/>
                      <a:pt x="86" y="162"/>
                      <a:pt x="84" y="160"/>
                    </a:cubicBezTo>
                    <a:cubicBezTo>
                      <a:pt x="81" y="161"/>
                      <a:pt x="80" y="165"/>
                      <a:pt x="80" y="167"/>
                    </a:cubicBezTo>
                    <a:cubicBezTo>
                      <a:pt x="81" y="169"/>
                      <a:pt x="82" y="170"/>
                      <a:pt x="81" y="172"/>
                    </a:cubicBezTo>
                    <a:cubicBezTo>
                      <a:pt x="80" y="172"/>
                      <a:pt x="81" y="172"/>
                      <a:pt x="81" y="173"/>
                    </a:cubicBezTo>
                    <a:cubicBezTo>
                      <a:pt x="82" y="173"/>
                      <a:pt x="81" y="174"/>
                      <a:pt x="80" y="175"/>
                    </a:cubicBezTo>
                    <a:cubicBezTo>
                      <a:pt x="80" y="175"/>
                      <a:pt x="80" y="176"/>
                      <a:pt x="80" y="176"/>
                    </a:cubicBezTo>
                    <a:cubicBezTo>
                      <a:pt x="82" y="177"/>
                      <a:pt x="81" y="179"/>
                      <a:pt x="81" y="181"/>
                    </a:cubicBezTo>
                    <a:cubicBezTo>
                      <a:pt x="82" y="184"/>
                      <a:pt x="80" y="186"/>
                      <a:pt x="78" y="188"/>
                    </a:cubicBezTo>
                    <a:cubicBezTo>
                      <a:pt x="78" y="188"/>
                      <a:pt x="78" y="189"/>
                      <a:pt x="78" y="189"/>
                    </a:cubicBezTo>
                    <a:cubicBezTo>
                      <a:pt x="78" y="190"/>
                      <a:pt x="79" y="192"/>
                      <a:pt x="79" y="193"/>
                    </a:cubicBezTo>
                    <a:cubicBezTo>
                      <a:pt x="79" y="194"/>
                      <a:pt x="79" y="194"/>
                      <a:pt x="78" y="195"/>
                    </a:cubicBezTo>
                    <a:cubicBezTo>
                      <a:pt x="78" y="195"/>
                      <a:pt x="78" y="195"/>
                      <a:pt x="78" y="195"/>
                    </a:cubicBezTo>
                    <a:cubicBezTo>
                      <a:pt x="79" y="196"/>
                      <a:pt x="79" y="198"/>
                      <a:pt x="79" y="199"/>
                    </a:cubicBezTo>
                    <a:cubicBezTo>
                      <a:pt x="79" y="200"/>
                      <a:pt x="77" y="200"/>
                      <a:pt x="76" y="199"/>
                    </a:cubicBezTo>
                    <a:cubicBezTo>
                      <a:pt x="75" y="199"/>
                      <a:pt x="75" y="199"/>
                      <a:pt x="75" y="199"/>
                    </a:cubicBezTo>
                    <a:cubicBezTo>
                      <a:pt x="75" y="201"/>
                      <a:pt x="74" y="202"/>
                      <a:pt x="73" y="203"/>
                    </a:cubicBezTo>
                    <a:cubicBezTo>
                      <a:pt x="73" y="204"/>
                      <a:pt x="72" y="205"/>
                      <a:pt x="73" y="206"/>
                    </a:cubicBezTo>
                    <a:cubicBezTo>
                      <a:pt x="73" y="206"/>
                      <a:pt x="73" y="207"/>
                      <a:pt x="72" y="207"/>
                    </a:cubicBezTo>
                    <a:cubicBezTo>
                      <a:pt x="71" y="207"/>
                      <a:pt x="70" y="207"/>
                      <a:pt x="68" y="208"/>
                    </a:cubicBezTo>
                    <a:cubicBezTo>
                      <a:pt x="68" y="209"/>
                      <a:pt x="67" y="209"/>
                      <a:pt x="67" y="210"/>
                    </a:cubicBezTo>
                    <a:cubicBezTo>
                      <a:pt x="67" y="213"/>
                      <a:pt x="64" y="215"/>
                      <a:pt x="62" y="214"/>
                    </a:cubicBezTo>
                    <a:cubicBezTo>
                      <a:pt x="62" y="214"/>
                      <a:pt x="62" y="214"/>
                      <a:pt x="62" y="213"/>
                    </a:cubicBezTo>
                    <a:cubicBezTo>
                      <a:pt x="62" y="214"/>
                      <a:pt x="62" y="214"/>
                      <a:pt x="62" y="214"/>
                    </a:cubicBezTo>
                    <a:cubicBezTo>
                      <a:pt x="59" y="213"/>
                      <a:pt x="58" y="211"/>
                      <a:pt x="57" y="209"/>
                    </a:cubicBezTo>
                    <a:cubicBezTo>
                      <a:pt x="56" y="207"/>
                      <a:pt x="55" y="205"/>
                      <a:pt x="55" y="203"/>
                    </a:cubicBezTo>
                    <a:cubicBezTo>
                      <a:pt x="55" y="201"/>
                      <a:pt x="54" y="199"/>
                      <a:pt x="53" y="197"/>
                    </a:cubicBezTo>
                    <a:cubicBezTo>
                      <a:pt x="52" y="196"/>
                      <a:pt x="52" y="196"/>
                      <a:pt x="52" y="195"/>
                    </a:cubicBezTo>
                    <a:cubicBezTo>
                      <a:pt x="51" y="192"/>
                      <a:pt x="50" y="190"/>
                      <a:pt x="48" y="188"/>
                    </a:cubicBezTo>
                    <a:cubicBezTo>
                      <a:pt x="47" y="186"/>
                      <a:pt x="45" y="184"/>
                      <a:pt x="45" y="181"/>
                    </a:cubicBezTo>
                    <a:cubicBezTo>
                      <a:pt x="44" y="179"/>
                      <a:pt x="44" y="177"/>
                      <a:pt x="44" y="175"/>
                    </a:cubicBezTo>
                    <a:cubicBezTo>
                      <a:pt x="42" y="174"/>
                      <a:pt x="42" y="173"/>
                      <a:pt x="42" y="171"/>
                    </a:cubicBezTo>
                    <a:cubicBezTo>
                      <a:pt x="42" y="171"/>
                      <a:pt x="42" y="171"/>
                      <a:pt x="42" y="171"/>
                    </a:cubicBezTo>
                    <a:cubicBezTo>
                      <a:pt x="41" y="170"/>
                      <a:pt x="41" y="170"/>
                      <a:pt x="41" y="169"/>
                    </a:cubicBezTo>
                    <a:cubicBezTo>
                      <a:pt x="41" y="169"/>
                      <a:pt x="40" y="168"/>
                      <a:pt x="40" y="167"/>
                    </a:cubicBezTo>
                    <a:cubicBezTo>
                      <a:pt x="39" y="167"/>
                      <a:pt x="39" y="165"/>
                      <a:pt x="39" y="165"/>
                    </a:cubicBezTo>
                    <a:cubicBezTo>
                      <a:pt x="38" y="163"/>
                      <a:pt x="37" y="161"/>
                      <a:pt x="36" y="160"/>
                    </a:cubicBezTo>
                    <a:cubicBezTo>
                      <a:pt x="36" y="159"/>
                      <a:pt x="35" y="159"/>
                      <a:pt x="35" y="158"/>
                    </a:cubicBezTo>
                    <a:cubicBezTo>
                      <a:pt x="35" y="156"/>
                      <a:pt x="34" y="153"/>
                      <a:pt x="34" y="151"/>
                    </a:cubicBezTo>
                    <a:cubicBezTo>
                      <a:pt x="34" y="149"/>
                      <a:pt x="33" y="147"/>
                      <a:pt x="32" y="145"/>
                    </a:cubicBezTo>
                    <a:cubicBezTo>
                      <a:pt x="32" y="144"/>
                      <a:pt x="32" y="143"/>
                      <a:pt x="32" y="142"/>
                    </a:cubicBezTo>
                    <a:cubicBezTo>
                      <a:pt x="31" y="138"/>
                      <a:pt x="30" y="133"/>
                      <a:pt x="31" y="129"/>
                    </a:cubicBezTo>
                    <a:cubicBezTo>
                      <a:pt x="31" y="128"/>
                      <a:pt x="31" y="128"/>
                      <a:pt x="31" y="127"/>
                    </a:cubicBezTo>
                    <a:cubicBezTo>
                      <a:pt x="32" y="126"/>
                      <a:pt x="31" y="125"/>
                      <a:pt x="31" y="124"/>
                    </a:cubicBezTo>
                    <a:cubicBezTo>
                      <a:pt x="30" y="123"/>
                      <a:pt x="30" y="121"/>
                      <a:pt x="30" y="120"/>
                    </a:cubicBezTo>
                    <a:cubicBezTo>
                      <a:pt x="30" y="120"/>
                      <a:pt x="30" y="120"/>
                      <a:pt x="30" y="120"/>
                    </a:cubicBezTo>
                    <a:cubicBezTo>
                      <a:pt x="29" y="118"/>
                      <a:pt x="30" y="116"/>
                      <a:pt x="29" y="114"/>
                    </a:cubicBezTo>
                    <a:cubicBezTo>
                      <a:pt x="29" y="113"/>
                      <a:pt x="28" y="113"/>
                      <a:pt x="28" y="113"/>
                    </a:cubicBezTo>
                    <a:cubicBezTo>
                      <a:pt x="28" y="114"/>
                      <a:pt x="28" y="115"/>
                      <a:pt x="28" y="115"/>
                    </a:cubicBezTo>
                    <a:cubicBezTo>
                      <a:pt x="27" y="116"/>
                      <a:pt x="27" y="116"/>
                      <a:pt x="27" y="117"/>
                    </a:cubicBezTo>
                    <a:cubicBezTo>
                      <a:pt x="28" y="119"/>
                      <a:pt x="27" y="121"/>
                      <a:pt x="26" y="122"/>
                    </a:cubicBezTo>
                    <a:cubicBezTo>
                      <a:pt x="26" y="123"/>
                      <a:pt x="26" y="123"/>
                      <a:pt x="26" y="123"/>
                    </a:cubicBezTo>
                    <a:cubicBezTo>
                      <a:pt x="24" y="124"/>
                      <a:pt x="22" y="126"/>
                      <a:pt x="19" y="126"/>
                    </a:cubicBezTo>
                    <a:cubicBezTo>
                      <a:pt x="19" y="125"/>
                      <a:pt x="18" y="127"/>
                      <a:pt x="18" y="126"/>
                    </a:cubicBezTo>
                    <a:cubicBezTo>
                      <a:pt x="17" y="126"/>
                      <a:pt x="16" y="126"/>
                      <a:pt x="16" y="125"/>
                    </a:cubicBezTo>
                    <a:cubicBezTo>
                      <a:pt x="15" y="125"/>
                      <a:pt x="15" y="125"/>
                      <a:pt x="14" y="124"/>
                    </a:cubicBezTo>
                    <a:cubicBezTo>
                      <a:pt x="13" y="123"/>
                      <a:pt x="11" y="122"/>
                      <a:pt x="11" y="120"/>
                    </a:cubicBezTo>
                    <a:cubicBezTo>
                      <a:pt x="10" y="120"/>
                      <a:pt x="10" y="119"/>
                      <a:pt x="9" y="119"/>
                    </a:cubicBezTo>
                    <a:cubicBezTo>
                      <a:pt x="7" y="118"/>
                      <a:pt x="7" y="116"/>
                      <a:pt x="5" y="115"/>
                    </a:cubicBezTo>
                    <a:cubicBezTo>
                      <a:pt x="5" y="114"/>
                      <a:pt x="6" y="114"/>
                      <a:pt x="6" y="114"/>
                    </a:cubicBezTo>
                    <a:cubicBezTo>
                      <a:pt x="8" y="115"/>
                      <a:pt x="10" y="114"/>
                      <a:pt x="12" y="113"/>
                    </a:cubicBezTo>
                    <a:cubicBezTo>
                      <a:pt x="12" y="112"/>
                      <a:pt x="14" y="113"/>
                      <a:pt x="14" y="111"/>
                    </a:cubicBezTo>
                    <a:cubicBezTo>
                      <a:pt x="15" y="110"/>
                      <a:pt x="14" y="110"/>
                      <a:pt x="13" y="110"/>
                    </a:cubicBezTo>
                    <a:cubicBezTo>
                      <a:pt x="13" y="110"/>
                      <a:pt x="12" y="110"/>
                      <a:pt x="12" y="110"/>
                    </a:cubicBezTo>
                    <a:cubicBezTo>
                      <a:pt x="9" y="112"/>
                      <a:pt x="4" y="110"/>
                      <a:pt x="2" y="107"/>
                    </a:cubicBezTo>
                    <a:cubicBezTo>
                      <a:pt x="2" y="107"/>
                      <a:pt x="3" y="106"/>
                      <a:pt x="2" y="105"/>
                    </a:cubicBezTo>
                    <a:cubicBezTo>
                      <a:pt x="1" y="105"/>
                      <a:pt x="1" y="105"/>
                      <a:pt x="0" y="104"/>
                    </a:cubicBezTo>
                    <a:cubicBezTo>
                      <a:pt x="0" y="104"/>
                      <a:pt x="1" y="104"/>
                      <a:pt x="1" y="103"/>
                    </a:cubicBezTo>
                    <a:cubicBezTo>
                      <a:pt x="3" y="103"/>
                      <a:pt x="3" y="103"/>
                      <a:pt x="3" y="103"/>
                    </a:cubicBezTo>
                    <a:cubicBezTo>
                      <a:pt x="3" y="103"/>
                      <a:pt x="3" y="101"/>
                      <a:pt x="3" y="101"/>
                    </a:cubicBezTo>
                    <a:cubicBezTo>
                      <a:pt x="3" y="101"/>
                      <a:pt x="4" y="101"/>
                      <a:pt x="4" y="101"/>
                    </a:cubicBezTo>
                    <a:cubicBezTo>
                      <a:pt x="10" y="101"/>
                      <a:pt x="10" y="101"/>
                      <a:pt x="10" y="101"/>
                    </a:cubicBezTo>
                    <a:cubicBezTo>
                      <a:pt x="10" y="101"/>
                      <a:pt x="10" y="101"/>
                      <a:pt x="10" y="101"/>
                    </a:cubicBezTo>
                    <a:cubicBezTo>
                      <a:pt x="12" y="101"/>
                      <a:pt x="12" y="101"/>
                      <a:pt x="12" y="101"/>
                    </a:cubicBezTo>
                    <a:cubicBezTo>
                      <a:pt x="12" y="101"/>
                      <a:pt x="12" y="101"/>
                      <a:pt x="12" y="101"/>
                    </a:cubicBezTo>
                    <a:cubicBezTo>
                      <a:pt x="13" y="101"/>
                      <a:pt x="14" y="100"/>
                      <a:pt x="14" y="100"/>
                    </a:cubicBezTo>
                    <a:cubicBezTo>
                      <a:pt x="14" y="100"/>
                      <a:pt x="15" y="100"/>
                      <a:pt x="15" y="100"/>
                    </a:cubicBezTo>
                    <a:cubicBezTo>
                      <a:pt x="16" y="101"/>
                      <a:pt x="16" y="101"/>
                      <a:pt x="16" y="101"/>
                    </a:cubicBezTo>
                    <a:cubicBezTo>
                      <a:pt x="16" y="101"/>
                      <a:pt x="17" y="101"/>
                      <a:pt x="17" y="101"/>
                    </a:cubicBezTo>
                    <a:cubicBezTo>
                      <a:pt x="17" y="101"/>
                      <a:pt x="19" y="100"/>
                      <a:pt x="19" y="100"/>
                    </a:cubicBezTo>
                    <a:cubicBezTo>
                      <a:pt x="19" y="100"/>
                      <a:pt x="19" y="100"/>
                      <a:pt x="19" y="100"/>
                    </a:cubicBezTo>
                    <a:cubicBezTo>
                      <a:pt x="19" y="100"/>
                      <a:pt x="18" y="99"/>
                      <a:pt x="19" y="99"/>
                    </a:cubicBezTo>
                    <a:cubicBezTo>
                      <a:pt x="19" y="99"/>
                      <a:pt x="19" y="98"/>
                      <a:pt x="19" y="98"/>
                    </a:cubicBezTo>
                    <a:cubicBezTo>
                      <a:pt x="16" y="93"/>
                      <a:pt x="16" y="93"/>
                      <a:pt x="16" y="93"/>
                    </a:cubicBezTo>
                    <a:cubicBezTo>
                      <a:pt x="16" y="90"/>
                      <a:pt x="16" y="90"/>
                      <a:pt x="16" y="90"/>
                    </a:cubicBezTo>
                    <a:cubicBezTo>
                      <a:pt x="14" y="90"/>
                      <a:pt x="14" y="90"/>
                      <a:pt x="14" y="90"/>
                    </a:cubicBezTo>
                    <a:cubicBezTo>
                      <a:pt x="14" y="90"/>
                      <a:pt x="13" y="90"/>
                      <a:pt x="13" y="90"/>
                    </a:cubicBezTo>
                    <a:cubicBezTo>
                      <a:pt x="13" y="90"/>
                      <a:pt x="12" y="89"/>
                      <a:pt x="12" y="89"/>
                    </a:cubicBezTo>
                    <a:cubicBezTo>
                      <a:pt x="12" y="89"/>
                      <a:pt x="12" y="89"/>
                      <a:pt x="12" y="89"/>
                    </a:cubicBezTo>
                    <a:cubicBezTo>
                      <a:pt x="12" y="88"/>
                      <a:pt x="13" y="88"/>
                      <a:pt x="13" y="87"/>
                    </a:cubicBezTo>
                    <a:cubicBezTo>
                      <a:pt x="13" y="87"/>
                      <a:pt x="13" y="87"/>
                      <a:pt x="13" y="87"/>
                    </a:cubicBezTo>
                    <a:cubicBezTo>
                      <a:pt x="13" y="87"/>
                      <a:pt x="13" y="87"/>
                      <a:pt x="13" y="86"/>
                    </a:cubicBezTo>
                    <a:cubicBezTo>
                      <a:pt x="13" y="85"/>
                      <a:pt x="13" y="84"/>
                      <a:pt x="13" y="84"/>
                    </a:cubicBezTo>
                    <a:cubicBezTo>
                      <a:pt x="13" y="84"/>
                      <a:pt x="10" y="83"/>
                      <a:pt x="10" y="83"/>
                    </a:cubicBezTo>
                    <a:cubicBezTo>
                      <a:pt x="10" y="83"/>
                      <a:pt x="8" y="82"/>
                      <a:pt x="8" y="82"/>
                    </a:cubicBezTo>
                    <a:cubicBezTo>
                      <a:pt x="8" y="80"/>
                      <a:pt x="8" y="80"/>
                      <a:pt x="8" y="80"/>
                    </a:cubicBezTo>
                    <a:cubicBezTo>
                      <a:pt x="8" y="80"/>
                      <a:pt x="11" y="76"/>
                      <a:pt x="11" y="76"/>
                    </a:cubicBezTo>
                    <a:cubicBezTo>
                      <a:pt x="11" y="76"/>
                      <a:pt x="14" y="72"/>
                      <a:pt x="14" y="72"/>
                    </a:cubicBezTo>
                    <a:cubicBezTo>
                      <a:pt x="16" y="72"/>
                      <a:pt x="16" y="72"/>
                      <a:pt x="16" y="72"/>
                    </a:cubicBezTo>
                    <a:cubicBezTo>
                      <a:pt x="17" y="75"/>
                      <a:pt x="17" y="75"/>
                      <a:pt x="17" y="75"/>
                    </a:cubicBezTo>
                    <a:cubicBezTo>
                      <a:pt x="19" y="74"/>
                      <a:pt x="19" y="74"/>
                      <a:pt x="19" y="74"/>
                    </a:cubicBezTo>
                    <a:cubicBezTo>
                      <a:pt x="19" y="74"/>
                      <a:pt x="20" y="74"/>
                      <a:pt x="20" y="74"/>
                    </a:cubicBezTo>
                    <a:cubicBezTo>
                      <a:pt x="21" y="74"/>
                      <a:pt x="25" y="73"/>
                      <a:pt x="25" y="73"/>
                    </a:cubicBezTo>
                    <a:cubicBezTo>
                      <a:pt x="25" y="73"/>
                      <a:pt x="26" y="70"/>
                      <a:pt x="26" y="69"/>
                    </a:cubicBezTo>
                    <a:cubicBezTo>
                      <a:pt x="26" y="69"/>
                      <a:pt x="27" y="68"/>
                      <a:pt x="27" y="67"/>
                    </a:cubicBezTo>
                    <a:cubicBezTo>
                      <a:pt x="28" y="67"/>
                      <a:pt x="32" y="65"/>
                      <a:pt x="32" y="65"/>
                    </a:cubicBezTo>
                    <a:cubicBezTo>
                      <a:pt x="32" y="65"/>
                      <a:pt x="33" y="60"/>
                      <a:pt x="34" y="60"/>
                    </a:cubicBezTo>
                    <a:cubicBezTo>
                      <a:pt x="34" y="59"/>
                      <a:pt x="35" y="57"/>
                      <a:pt x="35" y="57"/>
                    </a:cubicBezTo>
                    <a:cubicBezTo>
                      <a:pt x="38" y="56"/>
                      <a:pt x="38" y="56"/>
                      <a:pt x="38" y="56"/>
                    </a:cubicBezTo>
                    <a:cubicBezTo>
                      <a:pt x="38" y="53"/>
                      <a:pt x="38" y="53"/>
                      <a:pt x="38" y="53"/>
                    </a:cubicBezTo>
                    <a:cubicBezTo>
                      <a:pt x="43" y="49"/>
                      <a:pt x="43" y="49"/>
                      <a:pt x="43" y="49"/>
                    </a:cubicBezTo>
                    <a:cubicBezTo>
                      <a:pt x="42" y="48"/>
                      <a:pt x="42" y="48"/>
                      <a:pt x="42" y="48"/>
                    </a:cubicBezTo>
                    <a:cubicBezTo>
                      <a:pt x="43" y="47"/>
                      <a:pt x="43" y="47"/>
                      <a:pt x="43" y="47"/>
                    </a:cubicBezTo>
                    <a:cubicBezTo>
                      <a:pt x="43" y="47"/>
                      <a:pt x="43" y="47"/>
                      <a:pt x="43" y="47"/>
                    </a:cubicBezTo>
                    <a:cubicBezTo>
                      <a:pt x="43" y="47"/>
                      <a:pt x="43" y="45"/>
                      <a:pt x="43" y="45"/>
                    </a:cubicBezTo>
                    <a:cubicBezTo>
                      <a:pt x="43" y="45"/>
                      <a:pt x="43" y="45"/>
                      <a:pt x="42" y="44"/>
                    </a:cubicBezTo>
                    <a:cubicBezTo>
                      <a:pt x="42" y="44"/>
                      <a:pt x="42" y="44"/>
                      <a:pt x="42" y="44"/>
                    </a:cubicBezTo>
                    <a:cubicBezTo>
                      <a:pt x="42" y="44"/>
                      <a:pt x="42" y="44"/>
                      <a:pt x="42" y="44"/>
                    </a:cubicBezTo>
                    <a:cubicBezTo>
                      <a:pt x="42" y="44"/>
                      <a:pt x="42" y="44"/>
                      <a:pt x="42" y="43"/>
                    </a:cubicBezTo>
                    <a:cubicBezTo>
                      <a:pt x="42" y="43"/>
                      <a:pt x="45" y="41"/>
                      <a:pt x="45" y="41"/>
                    </a:cubicBezTo>
                    <a:cubicBezTo>
                      <a:pt x="47" y="41"/>
                      <a:pt x="47" y="41"/>
                      <a:pt x="47" y="41"/>
                    </a:cubicBezTo>
                    <a:cubicBezTo>
                      <a:pt x="48" y="39"/>
                      <a:pt x="48" y="39"/>
                      <a:pt x="48" y="39"/>
                    </a:cubicBezTo>
                    <a:cubicBezTo>
                      <a:pt x="47" y="38"/>
                      <a:pt x="47" y="38"/>
                      <a:pt x="47" y="38"/>
                    </a:cubicBezTo>
                    <a:cubicBezTo>
                      <a:pt x="45" y="38"/>
                      <a:pt x="45" y="38"/>
                      <a:pt x="45" y="38"/>
                    </a:cubicBezTo>
                    <a:cubicBezTo>
                      <a:pt x="44" y="38"/>
                      <a:pt x="44" y="38"/>
                      <a:pt x="44" y="38"/>
                    </a:cubicBezTo>
                    <a:cubicBezTo>
                      <a:pt x="44" y="35"/>
                      <a:pt x="44" y="35"/>
                      <a:pt x="44" y="35"/>
                    </a:cubicBezTo>
                    <a:cubicBezTo>
                      <a:pt x="44" y="35"/>
                      <a:pt x="43" y="35"/>
                      <a:pt x="42" y="35"/>
                    </a:cubicBezTo>
                    <a:cubicBezTo>
                      <a:pt x="42" y="35"/>
                      <a:pt x="41" y="35"/>
                      <a:pt x="41" y="35"/>
                    </a:cubicBezTo>
                    <a:cubicBezTo>
                      <a:pt x="41" y="35"/>
                      <a:pt x="39" y="34"/>
                      <a:pt x="39" y="34"/>
                    </a:cubicBezTo>
                    <a:cubicBezTo>
                      <a:pt x="38" y="34"/>
                      <a:pt x="37" y="33"/>
                      <a:pt x="37" y="33"/>
                    </a:cubicBezTo>
                    <a:cubicBezTo>
                      <a:pt x="37" y="33"/>
                      <a:pt x="36" y="32"/>
                      <a:pt x="36" y="31"/>
                    </a:cubicBezTo>
                    <a:cubicBezTo>
                      <a:pt x="36" y="31"/>
                      <a:pt x="36" y="30"/>
                      <a:pt x="36" y="29"/>
                    </a:cubicBezTo>
                    <a:cubicBezTo>
                      <a:pt x="36" y="29"/>
                      <a:pt x="36" y="27"/>
                      <a:pt x="36" y="27"/>
                    </a:cubicBezTo>
                    <a:cubicBezTo>
                      <a:pt x="36" y="27"/>
                      <a:pt x="36" y="26"/>
                      <a:pt x="35" y="25"/>
                    </a:cubicBezTo>
                    <a:cubicBezTo>
                      <a:pt x="35" y="25"/>
                      <a:pt x="35" y="23"/>
                      <a:pt x="35" y="23"/>
                    </a:cubicBezTo>
                    <a:cubicBezTo>
                      <a:pt x="35" y="23"/>
                      <a:pt x="35" y="23"/>
                      <a:pt x="35" y="23"/>
                    </a:cubicBezTo>
                    <a:cubicBezTo>
                      <a:pt x="35" y="23"/>
                      <a:pt x="36" y="21"/>
                      <a:pt x="36" y="20"/>
                    </a:cubicBezTo>
                    <a:cubicBezTo>
                      <a:pt x="36" y="20"/>
                      <a:pt x="37" y="19"/>
                      <a:pt x="37" y="19"/>
                    </a:cubicBezTo>
                    <a:cubicBezTo>
                      <a:pt x="42" y="19"/>
                      <a:pt x="42" y="19"/>
                      <a:pt x="42" y="19"/>
                    </a:cubicBezTo>
                    <a:cubicBezTo>
                      <a:pt x="40" y="17"/>
                      <a:pt x="40" y="17"/>
                      <a:pt x="40" y="17"/>
                    </a:cubicBezTo>
                    <a:cubicBezTo>
                      <a:pt x="40" y="17"/>
                      <a:pt x="38" y="15"/>
                      <a:pt x="38" y="15"/>
                    </a:cubicBezTo>
                    <a:cubicBezTo>
                      <a:pt x="38" y="15"/>
                      <a:pt x="38" y="15"/>
                      <a:pt x="38" y="15"/>
                    </a:cubicBezTo>
                    <a:cubicBezTo>
                      <a:pt x="38" y="15"/>
                      <a:pt x="37" y="13"/>
                      <a:pt x="37" y="13"/>
                    </a:cubicBezTo>
                    <a:cubicBezTo>
                      <a:pt x="37" y="13"/>
                      <a:pt x="35" y="12"/>
                      <a:pt x="35" y="12"/>
                    </a:cubicBezTo>
                    <a:cubicBezTo>
                      <a:pt x="34" y="12"/>
                      <a:pt x="34" y="12"/>
                      <a:pt x="34" y="12"/>
                    </a:cubicBezTo>
                    <a:cubicBezTo>
                      <a:pt x="34" y="12"/>
                      <a:pt x="34" y="12"/>
                      <a:pt x="34" y="12"/>
                    </a:cubicBezTo>
                    <a:cubicBezTo>
                      <a:pt x="34" y="11"/>
                      <a:pt x="33" y="10"/>
                      <a:pt x="33" y="10"/>
                    </a:cubicBezTo>
                    <a:cubicBezTo>
                      <a:pt x="33" y="10"/>
                      <a:pt x="30" y="9"/>
                      <a:pt x="30" y="9"/>
                    </a:cubicBezTo>
                    <a:cubicBezTo>
                      <a:pt x="29" y="8"/>
                      <a:pt x="29" y="8"/>
                      <a:pt x="29" y="8"/>
                    </a:cubicBezTo>
                    <a:cubicBezTo>
                      <a:pt x="29" y="6"/>
                      <a:pt x="29" y="6"/>
                      <a:pt x="29" y="6"/>
                    </a:cubicBezTo>
                    <a:cubicBezTo>
                      <a:pt x="29" y="6"/>
                      <a:pt x="30" y="6"/>
                      <a:pt x="30" y="6"/>
                    </a:cubicBezTo>
                    <a:cubicBezTo>
                      <a:pt x="31" y="6"/>
                      <a:pt x="32" y="5"/>
                      <a:pt x="32" y="5"/>
                    </a:cubicBezTo>
                    <a:cubicBezTo>
                      <a:pt x="32" y="4"/>
                      <a:pt x="33" y="3"/>
                      <a:pt x="33" y="3"/>
                    </a:cubicBezTo>
                    <a:cubicBezTo>
                      <a:pt x="37" y="2"/>
                      <a:pt x="37" y="2"/>
                      <a:pt x="37" y="2"/>
                    </a:cubicBezTo>
                    <a:cubicBezTo>
                      <a:pt x="38" y="1"/>
                      <a:pt x="38" y="1"/>
                      <a:pt x="38" y="1"/>
                    </a:cubicBezTo>
                    <a:cubicBezTo>
                      <a:pt x="38" y="1"/>
                      <a:pt x="39" y="1"/>
                      <a:pt x="40" y="1"/>
                    </a:cubicBezTo>
                    <a:cubicBezTo>
                      <a:pt x="41" y="1"/>
                      <a:pt x="42" y="1"/>
                      <a:pt x="42" y="0"/>
                    </a:cubicBezTo>
                    <a:cubicBezTo>
                      <a:pt x="42" y="0"/>
                      <a:pt x="43" y="0"/>
                      <a:pt x="43" y="0"/>
                    </a:cubicBezTo>
                    <a:cubicBezTo>
                      <a:pt x="47" y="0"/>
                      <a:pt x="47" y="0"/>
                      <a:pt x="47" y="0"/>
                    </a:cubicBezTo>
                    <a:cubicBezTo>
                      <a:pt x="48" y="2"/>
                      <a:pt x="48" y="2"/>
                      <a:pt x="48" y="2"/>
                    </a:cubicBezTo>
                    <a:cubicBezTo>
                      <a:pt x="48" y="2"/>
                      <a:pt x="49" y="2"/>
                      <a:pt x="50" y="3"/>
                    </a:cubicBezTo>
                    <a:cubicBezTo>
                      <a:pt x="50" y="3"/>
                      <a:pt x="52" y="3"/>
                      <a:pt x="52" y="3"/>
                    </a:cubicBezTo>
                    <a:cubicBezTo>
                      <a:pt x="53" y="4"/>
                      <a:pt x="55" y="5"/>
                      <a:pt x="55" y="5"/>
                    </a:cubicBezTo>
                    <a:cubicBezTo>
                      <a:pt x="57" y="7"/>
                      <a:pt x="57" y="7"/>
                      <a:pt x="57" y="7"/>
                    </a:cubicBezTo>
                    <a:cubicBezTo>
                      <a:pt x="57" y="9"/>
                      <a:pt x="57" y="9"/>
                      <a:pt x="57" y="9"/>
                    </a:cubicBezTo>
                    <a:cubicBezTo>
                      <a:pt x="59" y="11"/>
                      <a:pt x="59" y="11"/>
                      <a:pt x="59" y="11"/>
                    </a:cubicBezTo>
                    <a:cubicBezTo>
                      <a:pt x="59" y="11"/>
                      <a:pt x="62" y="11"/>
                      <a:pt x="62" y="11"/>
                    </a:cubicBezTo>
                    <a:cubicBezTo>
                      <a:pt x="63" y="11"/>
                      <a:pt x="62" y="12"/>
                      <a:pt x="62" y="12"/>
                    </a:cubicBezTo>
                    <a:cubicBezTo>
                      <a:pt x="63" y="13"/>
                      <a:pt x="63" y="13"/>
                      <a:pt x="63" y="13"/>
                    </a:cubicBezTo>
                    <a:cubicBezTo>
                      <a:pt x="66" y="12"/>
                      <a:pt x="66" y="12"/>
                      <a:pt x="66" y="12"/>
                    </a:cubicBezTo>
                    <a:cubicBezTo>
                      <a:pt x="68" y="11"/>
                      <a:pt x="68" y="11"/>
                      <a:pt x="68" y="11"/>
                    </a:cubicBezTo>
                    <a:cubicBezTo>
                      <a:pt x="69" y="10"/>
                      <a:pt x="69" y="10"/>
                      <a:pt x="69" y="10"/>
                    </a:cubicBezTo>
                    <a:cubicBezTo>
                      <a:pt x="69" y="10"/>
                      <a:pt x="70" y="9"/>
                      <a:pt x="72" y="9"/>
                    </a:cubicBezTo>
                    <a:cubicBezTo>
                      <a:pt x="73" y="9"/>
                      <a:pt x="76" y="9"/>
                      <a:pt x="76" y="9"/>
                    </a:cubicBezTo>
                    <a:cubicBezTo>
                      <a:pt x="77" y="10"/>
                      <a:pt x="77" y="10"/>
                      <a:pt x="77" y="10"/>
                    </a:cubicBezTo>
                    <a:cubicBezTo>
                      <a:pt x="77" y="10"/>
                      <a:pt x="77" y="11"/>
                      <a:pt x="78" y="12"/>
                    </a:cubicBezTo>
                    <a:cubicBezTo>
                      <a:pt x="78" y="12"/>
                      <a:pt x="79" y="13"/>
                      <a:pt x="79" y="13"/>
                    </a:cubicBezTo>
                    <a:cubicBezTo>
                      <a:pt x="82" y="12"/>
                      <a:pt x="82" y="12"/>
                      <a:pt x="82" y="12"/>
                    </a:cubicBezTo>
                    <a:cubicBezTo>
                      <a:pt x="82" y="12"/>
                      <a:pt x="82" y="14"/>
                      <a:pt x="82" y="15"/>
                    </a:cubicBezTo>
                    <a:cubicBezTo>
                      <a:pt x="82" y="15"/>
                      <a:pt x="82" y="15"/>
                      <a:pt x="82" y="16"/>
                    </a:cubicBezTo>
                    <a:cubicBezTo>
                      <a:pt x="82" y="16"/>
                      <a:pt x="81" y="17"/>
                      <a:pt x="81" y="17"/>
                    </a:cubicBezTo>
                    <a:cubicBezTo>
                      <a:pt x="81" y="17"/>
                      <a:pt x="80" y="18"/>
                      <a:pt x="80" y="18"/>
                    </a:cubicBezTo>
                    <a:cubicBezTo>
                      <a:pt x="79" y="18"/>
                      <a:pt x="79" y="19"/>
                      <a:pt x="78" y="19"/>
                    </a:cubicBezTo>
                    <a:cubicBezTo>
                      <a:pt x="78" y="20"/>
                      <a:pt x="78" y="21"/>
                      <a:pt x="78" y="21"/>
                    </a:cubicBezTo>
                    <a:cubicBezTo>
                      <a:pt x="78" y="23"/>
                      <a:pt x="78" y="23"/>
                      <a:pt x="78" y="23"/>
                    </a:cubicBezTo>
                    <a:cubicBezTo>
                      <a:pt x="78" y="23"/>
                      <a:pt x="77" y="25"/>
                      <a:pt x="76" y="25"/>
                    </a:cubicBezTo>
                    <a:cubicBezTo>
                      <a:pt x="76" y="25"/>
                      <a:pt x="75" y="26"/>
                      <a:pt x="75" y="26"/>
                    </a:cubicBezTo>
                    <a:cubicBezTo>
                      <a:pt x="74" y="26"/>
                      <a:pt x="73" y="27"/>
                      <a:pt x="73" y="27"/>
                    </a:cubicBezTo>
                    <a:cubicBezTo>
                      <a:pt x="73" y="27"/>
                      <a:pt x="72" y="27"/>
                      <a:pt x="71" y="27"/>
                    </a:cubicBezTo>
                    <a:cubicBezTo>
                      <a:pt x="71" y="28"/>
                      <a:pt x="71" y="28"/>
                      <a:pt x="71" y="28"/>
                    </a:cubicBezTo>
                    <a:cubicBezTo>
                      <a:pt x="72" y="30"/>
                      <a:pt x="72" y="30"/>
                      <a:pt x="72" y="30"/>
                    </a:cubicBezTo>
                    <a:cubicBezTo>
                      <a:pt x="74" y="32"/>
                      <a:pt x="74" y="32"/>
                      <a:pt x="74" y="32"/>
                    </a:cubicBezTo>
                    <a:cubicBezTo>
                      <a:pt x="75" y="33"/>
                      <a:pt x="75" y="33"/>
                      <a:pt x="75" y="33"/>
                    </a:cubicBezTo>
                    <a:cubicBezTo>
                      <a:pt x="75" y="33"/>
                      <a:pt x="76" y="34"/>
                      <a:pt x="76" y="34"/>
                    </a:cubicBezTo>
                    <a:cubicBezTo>
                      <a:pt x="77" y="35"/>
                      <a:pt x="76" y="36"/>
                      <a:pt x="76" y="36"/>
                    </a:cubicBezTo>
                    <a:cubicBezTo>
                      <a:pt x="76" y="37"/>
                      <a:pt x="76" y="37"/>
                      <a:pt x="76" y="37"/>
                    </a:cubicBezTo>
                    <a:cubicBezTo>
                      <a:pt x="74" y="37"/>
                      <a:pt x="74" y="37"/>
                      <a:pt x="74" y="37"/>
                    </a:cubicBezTo>
                    <a:cubicBezTo>
                      <a:pt x="74" y="37"/>
                      <a:pt x="73" y="38"/>
                      <a:pt x="72" y="38"/>
                    </a:cubicBezTo>
                    <a:cubicBezTo>
                      <a:pt x="72" y="38"/>
                      <a:pt x="72" y="36"/>
                      <a:pt x="72" y="36"/>
                    </a:cubicBezTo>
                    <a:cubicBezTo>
                      <a:pt x="70" y="36"/>
                      <a:pt x="70" y="36"/>
                      <a:pt x="70" y="36"/>
                    </a:cubicBezTo>
                    <a:cubicBezTo>
                      <a:pt x="69" y="37"/>
                      <a:pt x="69" y="37"/>
                      <a:pt x="69" y="37"/>
                    </a:cubicBezTo>
                    <a:cubicBezTo>
                      <a:pt x="69" y="37"/>
                      <a:pt x="69" y="38"/>
                      <a:pt x="69" y="39"/>
                    </a:cubicBezTo>
                    <a:cubicBezTo>
                      <a:pt x="69" y="39"/>
                      <a:pt x="69" y="40"/>
                      <a:pt x="69" y="40"/>
                    </a:cubicBezTo>
                    <a:cubicBezTo>
                      <a:pt x="69" y="40"/>
                      <a:pt x="70" y="40"/>
                      <a:pt x="71" y="41"/>
                    </a:cubicBezTo>
                    <a:cubicBezTo>
                      <a:pt x="72" y="41"/>
                      <a:pt x="71" y="42"/>
                      <a:pt x="71" y="42"/>
                    </a:cubicBezTo>
                    <a:cubicBezTo>
                      <a:pt x="71" y="42"/>
                      <a:pt x="71" y="44"/>
                      <a:pt x="72" y="44"/>
                    </a:cubicBezTo>
                    <a:cubicBezTo>
                      <a:pt x="73" y="45"/>
                      <a:pt x="71" y="46"/>
                      <a:pt x="71" y="46"/>
                    </a:cubicBezTo>
                    <a:cubicBezTo>
                      <a:pt x="71" y="46"/>
                      <a:pt x="71" y="47"/>
                      <a:pt x="72" y="47"/>
                    </a:cubicBezTo>
                    <a:cubicBezTo>
                      <a:pt x="72" y="47"/>
                      <a:pt x="73" y="48"/>
                      <a:pt x="73" y="48"/>
                    </a:cubicBezTo>
                    <a:cubicBezTo>
                      <a:pt x="75" y="49"/>
                      <a:pt x="75" y="49"/>
                      <a:pt x="75" y="49"/>
                    </a:cubicBezTo>
                    <a:cubicBezTo>
                      <a:pt x="75" y="49"/>
                      <a:pt x="76" y="49"/>
                      <a:pt x="77" y="49"/>
                    </a:cubicBezTo>
                    <a:cubicBezTo>
                      <a:pt x="77" y="49"/>
                      <a:pt x="80" y="51"/>
                      <a:pt x="80" y="51"/>
                    </a:cubicBezTo>
                    <a:cubicBezTo>
                      <a:pt x="80" y="51"/>
                      <a:pt x="81" y="52"/>
                      <a:pt x="81" y="52"/>
                    </a:cubicBezTo>
                    <a:cubicBezTo>
                      <a:pt x="84" y="54"/>
                      <a:pt x="84" y="54"/>
                      <a:pt x="84" y="54"/>
                    </a:cubicBezTo>
                    <a:cubicBezTo>
                      <a:pt x="86" y="55"/>
                      <a:pt x="86" y="55"/>
                      <a:pt x="86" y="55"/>
                    </a:cubicBezTo>
                    <a:cubicBezTo>
                      <a:pt x="83" y="58"/>
                      <a:pt x="83" y="58"/>
                      <a:pt x="83" y="58"/>
                    </a:cubicBezTo>
                    <a:cubicBezTo>
                      <a:pt x="82" y="60"/>
                      <a:pt x="82" y="60"/>
                      <a:pt x="82" y="60"/>
                    </a:cubicBezTo>
                    <a:cubicBezTo>
                      <a:pt x="82" y="63"/>
                      <a:pt x="82" y="63"/>
                      <a:pt x="82" y="63"/>
                    </a:cubicBezTo>
                    <a:cubicBezTo>
                      <a:pt x="80" y="64"/>
                      <a:pt x="80" y="64"/>
                      <a:pt x="80" y="64"/>
                    </a:cubicBezTo>
                    <a:cubicBezTo>
                      <a:pt x="80" y="66"/>
                      <a:pt x="80" y="66"/>
                      <a:pt x="80" y="66"/>
                    </a:cubicBezTo>
                    <a:cubicBezTo>
                      <a:pt x="82" y="68"/>
                      <a:pt x="82" y="68"/>
                      <a:pt x="82" y="68"/>
                    </a:cubicBezTo>
                    <a:cubicBezTo>
                      <a:pt x="90" y="72"/>
                      <a:pt x="90" y="72"/>
                      <a:pt x="90" y="72"/>
                    </a:cubicBezTo>
                    <a:cubicBezTo>
                      <a:pt x="92" y="73"/>
                      <a:pt x="92" y="73"/>
                      <a:pt x="92" y="73"/>
                    </a:cubicBezTo>
                    <a:cubicBezTo>
                      <a:pt x="93" y="73"/>
                      <a:pt x="93" y="73"/>
                      <a:pt x="93" y="73"/>
                    </a:cubicBezTo>
                    <a:cubicBezTo>
                      <a:pt x="96" y="75"/>
                      <a:pt x="96" y="75"/>
                      <a:pt x="96" y="75"/>
                    </a:cubicBezTo>
                    <a:cubicBezTo>
                      <a:pt x="96" y="75"/>
                      <a:pt x="96" y="75"/>
                      <a:pt x="96" y="75"/>
                    </a:cubicBezTo>
                    <a:cubicBezTo>
                      <a:pt x="98" y="75"/>
                      <a:pt x="98" y="75"/>
                      <a:pt x="98" y="75"/>
                    </a:cubicBezTo>
                    <a:cubicBezTo>
                      <a:pt x="98" y="76"/>
                      <a:pt x="98" y="76"/>
                      <a:pt x="98" y="76"/>
                    </a:cubicBezTo>
                    <a:cubicBezTo>
                      <a:pt x="101" y="77"/>
                      <a:pt x="101" y="77"/>
                      <a:pt x="101" y="77"/>
                    </a:cubicBezTo>
                    <a:cubicBezTo>
                      <a:pt x="102" y="78"/>
                      <a:pt x="102" y="78"/>
                      <a:pt x="102" y="78"/>
                    </a:cubicBezTo>
                    <a:cubicBezTo>
                      <a:pt x="103" y="77"/>
                      <a:pt x="103" y="77"/>
                      <a:pt x="103" y="77"/>
                    </a:cubicBezTo>
                    <a:cubicBezTo>
                      <a:pt x="103" y="77"/>
                      <a:pt x="105" y="78"/>
                      <a:pt x="105" y="78"/>
                    </a:cubicBezTo>
                    <a:cubicBezTo>
                      <a:pt x="105" y="78"/>
                      <a:pt x="106" y="77"/>
                      <a:pt x="106" y="77"/>
                    </a:cubicBezTo>
                    <a:cubicBezTo>
                      <a:pt x="107" y="76"/>
                      <a:pt x="107" y="76"/>
                      <a:pt x="107" y="76"/>
                    </a:cubicBezTo>
                    <a:cubicBezTo>
                      <a:pt x="107" y="76"/>
                      <a:pt x="109" y="77"/>
                      <a:pt x="109" y="77"/>
                    </a:cubicBezTo>
                    <a:cubicBezTo>
                      <a:pt x="109" y="77"/>
                      <a:pt x="111" y="78"/>
                      <a:pt x="111" y="78"/>
                    </a:cubicBezTo>
                    <a:cubicBezTo>
                      <a:pt x="111" y="80"/>
                      <a:pt x="111" y="80"/>
                      <a:pt x="111" y="80"/>
                    </a:cubicBezTo>
                    <a:cubicBezTo>
                      <a:pt x="114" y="82"/>
                      <a:pt x="114" y="82"/>
                      <a:pt x="114" y="82"/>
                    </a:cubicBezTo>
                    <a:cubicBezTo>
                      <a:pt x="116" y="82"/>
                      <a:pt x="116" y="82"/>
                      <a:pt x="116" y="82"/>
                    </a:cubicBezTo>
                    <a:cubicBezTo>
                      <a:pt x="117" y="81"/>
                      <a:pt x="117" y="81"/>
                      <a:pt x="117" y="81"/>
                    </a:cubicBezTo>
                    <a:cubicBezTo>
                      <a:pt x="117" y="81"/>
                      <a:pt x="118" y="82"/>
                      <a:pt x="118" y="82"/>
                    </a:cubicBezTo>
                    <a:cubicBezTo>
                      <a:pt x="118" y="82"/>
                      <a:pt x="119" y="83"/>
                      <a:pt x="119" y="83"/>
                    </a:cubicBezTo>
                    <a:cubicBezTo>
                      <a:pt x="120" y="83"/>
                      <a:pt x="120" y="83"/>
                      <a:pt x="120" y="83"/>
                    </a:cubicBezTo>
                    <a:cubicBezTo>
                      <a:pt x="123" y="83"/>
                      <a:pt x="123" y="83"/>
                      <a:pt x="123" y="83"/>
                    </a:cubicBezTo>
                    <a:cubicBezTo>
                      <a:pt x="124" y="84"/>
                      <a:pt x="124" y="84"/>
                      <a:pt x="124" y="84"/>
                    </a:cubicBezTo>
                    <a:cubicBezTo>
                      <a:pt x="126" y="85"/>
                      <a:pt x="126" y="85"/>
                      <a:pt x="126" y="85"/>
                    </a:cubicBezTo>
                    <a:cubicBezTo>
                      <a:pt x="127" y="84"/>
                      <a:pt x="127" y="84"/>
                      <a:pt x="127" y="84"/>
                    </a:cubicBezTo>
                    <a:cubicBezTo>
                      <a:pt x="127" y="84"/>
                      <a:pt x="128" y="85"/>
                      <a:pt x="128" y="85"/>
                    </a:cubicBezTo>
                    <a:cubicBezTo>
                      <a:pt x="128" y="85"/>
                      <a:pt x="129" y="85"/>
                      <a:pt x="129" y="85"/>
                    </a:cubicBezTo>
                    <a:cubicBezTo>
                      <a:pt x="130" y="85"/>
                      <a:pt x="130" y="85"/>
                      <a:pt x="130" y="85"/>
                    </a:cubicBezTo>
                    <a:cubicBezTo>
                      <a:pt x="130" y="85"/>
                      <a:pt x="131" y="84"/>
                      <a:pt x="131" y="85"/>
                    </a:cubicBezTo>
                    <a:cubicBezTo>
                      <a:pt x="132" y="85"/>
                      <a:pt x="132" y="85"/>
                      <a:pt x="132" y="85"/>
                    </a:cubicBezTo>
                    <a:cubicBezTo>
                      <a:pt x="132" y="85"/>
                      <a:pt x="132" y="84"/>
                      <a:pt x="133" y="84"/>
                    </a:cubicBezTo>
                    <a:cubicBezTo>
                      <a:pt x="133" y="84"/>
                      <a:pt x="134" y="85"/>
                      <a:pt x="134" y="85"/>
                    </a:cubicBezTo>
                    <a:cubicBezTo>
                      <a:pt x="135" y="83"/>
                      <a:pt x="135" y="83"/>
                      <a:pt x="135" y="83"/>
                    </a:cubicBezTo>
                    <a:cubicBezTo>
                      <a:pt x="135" y="83"/>
                      <a:pt x="134" y="80"/>
                      <a:pt x="134" y="80"/>
                    </a:cubicBezTo>
                    <a:cubicBezTo>
                      <a:pt x="134" y="79"/>
                      <a:pt x="134" y="76"/>
                      <a:pt x="134" y="76"/>
                    </a:cubicBezTo>
                    <a:cubicBezTo>
                      <a:pt x="134" y="76"/>
                      <a:pt x="135" y="75"/>
                      <a:pt x="135" y="75"/>
                    </a:cubicBezTo>
                    <a:cubicBezTo>
                      <a:pt x="135" y="75"/>
                      <a:pt x="135" y="73"/>
                      <a:pt x="135" y="73"/>
                    </a:cubicBezTo>
                    <a:cubicBezTo>
                      <a:pt x="135" y="73"/>
                      <a:pt x="135" y="73"/>
                      <a:pt x="135" y="73"/>
                    </a:cubicBezTo>
                    <a:cubicBezTo>
                      <a:pt x="137" y="72"/>
                      <a:pt x="137" y="72"/>
                      <a:pt x="137" y="72"/>
                    </a:cubicBezTo>
                    <a:cubicBezTo>
                      <a:pt x="138" y="72"/>
                      <a:pt x="138" y="72"/>
                      <a:pt x="138" y="72"/>
                    </a:cubicBezTo>
                    <a:cubicBezTo>
                      <a:pt x="140" y="73"/>
                      <a:pt x="140" y="73"/>
                      <a:pt x="140" y="73"/>
                    </a:cubicBezTo>
                    <a:cubicBezTo>
                      <a:pt x="139" y="74"/>
                      <a:pt x="139" y="74"/>
                      <a:pt x="139" y="74"/>
                    </a:cubicBezTo>
                    <a:cubicBezTo>
                      <a:pt x="139" y="77"/>
                      <a:pt x="139" y="77"/>
                      <a:pt x="139" y="77"/>
                    </a:cubicBezTo>
                    <a:cubicBezTo>
                      <a:pt x="140" y="77"/>
                      <a:pt x="140" y="77"/>
                      <a:pt x="140" y="77"/>
                    </a:cubicBezTo>
                    <a:cubicBezTo>
                      <a:pt x="139" y="80"/>
                      <a:pt x="139" y="80"/>
                      <a:pt x="139" y="80"/>
                    </a:cubicBezTo>
                    <a:cubicBezTo>
                      <a:pt x="141" y="82"/>
                      <a:pt x="141" y="82"/>
                      <a:pt x="141" y="82"/>
                    </a:cubicBezTo>
                    <a:cubicBezTo>
                      <a:pt x="141" y="82"/>
                      <a:pt x="143" y="82"/>
                      <a:pt x="143" y="82"/>
                    </a:cubicBezTo>
                    <a:cubicBezTo>
                      <a:pt x="144" y="82"/>
                      <a:pt x="146" y="82"/>
                      <a:pt x="146" y="82"/>
                    </a:cubicBezTo>
                    <a:cubicBezTo>
                      <a:pt x="146" y="82"/>
                      <a:pt x="148" y="82"/>
                      <a:pt x="148" y="82"/>
                    </a:cubicBezTo>
                    <a:cubicBezTo>
                      <a:pt x="148" y="82"/>
                      <a:pt x="149" y="81"/>
                      <a:pt x="149" y="81"/>
                    </a:cubicBezTo>
                    <a:cubicBezTo>
                      <a:pt x="151" y="81"/>
                      <a:pt x="151" y="81"/>
                      <a:pt x="151" y="81"/>
                    </a:cubicBezTo>
                    <a:cubicBezTo>
                      <a:pt x="152" y="82"/>
                      <a:pt x="152" y="82"/>
                      <a:pt x="152" y="82"/>
                    </a:cubicBezTo>
                    <a:cubicBezTo>
                      <a:pt x="154" y="82"/>
                      <a:pt x="154" y="82"/>
                      <a:pt x="154" y="82"/>
                    </a:cubicBezTo>
                    <a:cubicBezTo>
                      <a:pt x="154" y="82"/>
                      <a:pt x="158" y="82"/>
                      <a:pt x="159" y="81"/>
                    </a:cubicBezTo>
                    <a:cubicBezTo>
                      <a:pt x="160" y="81"/>
                      <a:pt x="161" y="81"/>
                      <a:pt x="161" y="81"/>
                    </a:cubicBezTo>
                    <a:cubicBezTo>
                      <a:pt x="162" y="77"/>
                      <a:pt x="162" y="77"/>
                      <a:pt x="162" y="77"/>
                    </a:cubicBezTo>
                    <a:cubicBezTo>
                      <a:pt x="162" y="77"/>
                      <a:pt x="161" y="77"/>
                      <a:pt x="160" y="76"/>
                    </a:cubicBezTo>
                    <a:cubicBezTo>
                      <a:pt x="160" y="76"/>
                      <a:pt x="158" y="76"/>
                      <a:pt x="158" y="76"/>
                    </a:cubicBezTo>
                    <a:cubicBezTo>
                      <a:pt x="158" y="75"/>
                      <a:pt x="158" y="75"/>
                      <a:pt x="158" y="75"/>
                    </a:cubicBezTo>
                    <a:cubicBezTo>
                      <a:pt x="160" y="75"/>
                      <a:pt x="160" y="75"/>
                      <a:pt x="160" y="75"/>
                    </a:cubicBezTo>
                    <a:cubicBezTo>
                      <a:pt x="160" y="75"/>
                      <a:pt x="162" y="74"/>
                      <a:pt x="162" y="74"/>
                    </a:cubicBezTo>
                    <a:cubicBezTo>
                      <a:pt x="163" y="74"/>
                      <a:pt x="164" y="74"/>
                      <a:pt x="165" y="73"/>
                    </a:cubicBezTo>
                    <a:cubicBezTo>
                      <a:pt x="165" y="73"/>
                      <a:pt x="166" y="73"/>
                      <a:pt x="166" y="72"/>
                    </a:cubicBezTo>
                    <a:cubicBezTo>
                      <a:pt x="166" y="72"/>
                      <a:pt x="166" y="71"/>
                      <a:pt x="166" y="71"/>
                    </a:cubicBezTo>
                    <a:cubicBezTo>
                      <a:pt x="166" y="71"/>
                      <a:pt x="168" y="71"/>
                      <a:pt x="168" y="70"/>
                    </a:cubicBezTo>
                    <a:cubicBezTo>
                      <a:pt x="168" y="69"/>
                      <a:pt x="169" y="69"/>
                      <a:pt x="169" y="68"/>
                    </a:cubicBezTo>
                    <a:cubicBezTo>
                      <a:pt x="170" y="68"/>
                      <a:pt x="171" y="68"/>
                      <a:pt x="172" y="67"/>
                    </a:cubicBezTo>
                    <a:cubicBezTo>
                      <a:pt x="173" y="67"/>
                      <a:pt x="174" y="67"/>
                      <a:pt x="174" y="67"/>
                    </a:cubicBezTo>
                    <a:cubicBezTo>
                      <a:pt x="175" y="66"/>
                      <a:pt x="176" y="65"/>
                      <a:pt x="176" y="65"/>
                    </a:cubicBezTo>
                    <a:cubicBezTo>
                      <a:pt x="176" y="64"/>
                      <a:pt x="176" y="64"/>
                      <a:pt x="177" y="64"/>
                    </a:cubicBezTo>
                    <a:cubicBezTo>
                      <a:pt x="177" y="63"/>
                      <a:pt x="179" y="63"/>
                      <a:pt x="179" y="63"/>
                    </a:cubicBezTo>
                    <a:cubicBezTo>
                      <a:pt x="180" y="63"/>
                      <a:pt x="181" y="64"/>
                      <a:pt x="183" y="64"/>
                    </a:cubicBezTo>
                    <a:cubicBezTo>
                      <a:pt x="184" y="65"/>
                      <a:pt x="185" y="64"/>
                      <a:pt x="185" y="63"/>
                    </a:cubicBezTo>
                    <a:cubicBezTo>
                      <a:pt x="185" y="63"/>
                      <a:pt x="188" y="62"/>
                      <a:pt x="188" y="62"/>
                    </a:cubicBezTo>
                    <a:cubicBezTo>
                      <a:pt x="189" y="62"/>
                      <a:pt x="190" y="63"/>
                      <a:pt x="190" y="63"/>
                    </a:cubicBezTo>
                    <a:cubicBezTo>
                      <a:pt x="190" y="64"/>
                      <a:pt x="192" y="66"/>
                      <a:pt x="192" y="67"/>
                    </a:cubicBezTo>
                    <a:cubicBezTo>
                      <a:pt x="192" y="67"/>
                      <a:pt x="191" y="69"/>
                      <a:pt x="191" y="69"/>
                    </a:cubicBezTo>
                    <a:cubicBezTo>
                      <a:pt x="191" y="70"/>
                      <a:pt x="189" y="71"/>
                      <a:pt x="189" y="71"/>
                    </a:cubicBezTo>
                    <a:cubicBezTo>
                      <a:pt x="194" y="73"/>
                      <a:pt x="194" y="73"/>
                      <a:pt x="194" y="73"/>
                    </a:cubicBezTo>
                    <a:cubicBezTo>
                      <a:pt x="194" y="74"/>
                      <a:pt x="194" y="75"/>
                      <a:pt x="194" y="7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9" name="Freeform 864">
                <a:extLst>
                  <a:ext uri="{FF2B5EF4-FFF2-40B4-BE49-F238E27FC236}">
                    <a16:creationId xmlns:a16="http://schemas.microsoft.com/office/drawing/2014/main" id="{95CDBCE1-B160-1892-C53C-A47D23C4ACD2}"/>
                  </a:ext>
                </a:extLst>
              </p:cNvPr>
              <p:cNvSpPr>
                <a:spLocks/>
              </p:cNvSpPr>
              <p:nvPr/>
            </p:nvSpPr>
            <p:spPr bwMode="auto">
              <a:xfrm>
                <a:off x="6499225" y="3517900"/>
                <a:ext cx="192087" cy="100013"/>
              </a:xfrm>
              <a:custGeom>
                <a:avLst/>
                <a:gdLst>
                  <a:gd name="T0" fmla="*/ 42 w 46"/>
                  <a:gd name="T1" fmla="*/ 15 h 24"/>
                  <a:gd name="T2" fmla="*/ 40 w 46"/>
                  <a:gd name="T3" fmla="*/ 14 h 24"/>
                  <a:gd name="T4" fmla="*/ 39 w 46"/>
                  <a:gd name="T5" fmla="*/ 11 h 24"/>
                  <a:gd name="T6" fmla="*/ 36 w 46"/>
                  <a:gd name="T7" fmla="*/ 10 h 24"/>
                  <a:gd name="T8" fmla="*/ 34 w 46"/>
                  <a:gd name="T9" fmla="*/ 8 h 24"/>
                  <a:gd name="T10" fmla="*/ 30 w 46"/>
                  <a:gd name="T11" fmla="*/ 9 h 24"/>
                  <a:gd name="T12" fmla="*/ 28 w 46"/>
                  <a:gd name="T13" fmla="*/ 9 h 24"/>
                  <a:gd name="T14" fmla="*/ 26 w 46"/>
                  <a:gd name="T15" fmla="*/ 9 h 24"/>
                  <a:gd name="T16" fmla="*/ 26 w 46"/>
                  <a:gd name="T17" fmla="*/ 8 h 24"/>
                  <a:gd name="T18" fmla="*/ 23 w 46"/>
                  <a:gd name="T19" fmla="*/ 7 h 24"/>
                  <a:gd name="T20" fmla="*/ 21 w 46"/>
                  <a:gd name="T21" fmla="*/ 5 h 24"/>
                  <a:gd name="T22" fmla="*/ 19 w 46"/>
                  <a:gd name="T23" fmla="*/ 4 h 24"/>
                  <a:gd name="T24" fmla="*/ 14 w 46"/>
                  <a:gd name="T25" fmla="*/ 4 h 24"/>
                  <a:gd name="T26" fmla="*/ 10 w 46"/>
                  <a:gd name="T27" fmla="*/ 3 h 24"/>
                  <a:gd name="T28" fmla="*/ 8 w 46"/>
                  <a:gd name="T29" fmla="*/ 2 h 24"/>
                  <a:gd name="T30" fmla="*/ 5 w 46"/>
                  <a:gd name="T31" fmla="*/ 1 h 24"/>
                  <a:gd name="T32" fmla="*/ 3 w 46"/>
                  <a:gd name="T33" fmla="*/ 1 h 24"/>
                  <a:gd name="T34" fmla="*/ 2 w 46"/>
                  <a:gd name="T35" fmla="*/ 3 h 24"/>
                  <a:gd name="T36" fmla="*/ 5 w 46"/>
                  <a:gd name="T37" fmla="*/ 5 h 24"/>
                  <a:gd name="T38" fmla="*/ 8 w 46"/>
                  <a:gd name="T39" fmla="*/ 7 h 24"/>
                  <a:gd name="T40" fmla="*/ 11 w 46"/>
                  <a:gd name="T41" fmla="*/ 10 h 24"/>
                  <a:gd name="T42" fmla="*/ 13 w 46"/>
                  <a:gd name="T43" fmla="*/ 17 h 24"/>
                  <a:gd name="T44" fmla="*/ 13 w 46"/>
                  <a:gd name="T45" fmla="*/ 20 h 24"/>
                  <a:gd name="T46" fmla="*/ 18 w 46"/>
                  <a:gd name="T47" fmla="*/ 20 h 24"/>
                  <a:gd name="T48" fmla="*/ 20 w 46"/>
                  <a:gd name="T49" fmla="*/ 20 h 24"/>
                  <a:gd name="T50" fmla="*/ 22 w 46"/>
                  <a:gd name="T51" fmla="*/ 21 h 24"/>
                  <a:gd name="T52" fmla="*/ 24 w 46"/>
                  <a:gd name="T53" fmla="*/ 23 h 24"/>
                  <a:gd name="T54" fmla="*/ 27 w 46"/>
                  <a:gd name="T55" fmla="*/ 23 h 24"/>
                  <a:gd name="T56" fmla="*/ 29 w 46"/>
                  <a:gd name="T57" fmla="*/ 22 h 24"/>
                  <a:gd name="T58" fmla="*/ 31 w 46"/>
                  <a:gd name="T59" fmla="*/ 22 h 24"/>
                  <a:gd name="T60" fmla="*/ 33 w 46"/>
                  <a:gd name="T61" fmla="*/ 22 h 24"/>
                  <a:gd name="T62" fmla="*/ 37 w 46"/>
                  <a:gd name="T63" fmla="*/ 20 h 24"/>
                  <a:gd name="T64" fmla="*/ 41 w 46"/>
                  <a:gd name="T65" fmla="*/ 22 h 24"/>
                  <a:gd name="T66" fmla="*/ 44 w 46"/>
                  <a:gd name="T67" fmla="*/ 23 h 24"/>
                  <a:gd name="T68" fmla="*/ 44 w 46"/>
                  <a:gd name="T69" fmla="*/ 20 h 24"/>
                  <a:gd name="T70" fmla="*/ 43 w 46"/>
                  <a:gd name="T71" fmla="*/ 19 h 24"/>
                  <a:gd name="T72" fmla="*/ 43 w 46"/>
                  <a:gd name="T73" fmla="*/ 17 h 24"/>
                  <a:gd name="T74" fmla="*/ 44 w 46"/>
                  <a:gd name="T75" fmla="*/ 16 h 24"/>
                  <a:gd name="T76" fmla="*/ 43 w 46"/>
                  <a:gd name="T7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24">
                    <a:moveTo>
                      <a:pt x="43" y="15"/>
                    </a:moveTo>
                    <a:cubicBezTo>
                      <a:pt x="42" y="15"/>
                      <a:pt x="42" y="15"/>
                      <a:pt x="42" y="15"/>
                    </a:cubicBezTo>
                    <a:cubicBezTo>
                      <a:pt x="42" y="15"/>
                      <a:pt x="41" y="15"/>
                      <a:pt x="41" y="15"/>
                    </a:cubicBezTo>
                    <a:cubicBezTo>
                      <a:pt x="41" y="14"/>
                      <a:pt x="40" y="14"/>
                      <a:pt x="40" y="14"/>
                    </a:cubicBezTo>
                    <a:cubicBezTo>
                      <a:pt x="39" y="14"/>
                      <a:pt x="38" y="13"/>
                      <a:pt x="39" y="12"/>
                    </a:cubicBezTo>
                    <a:cubicBezTo>
                      <a:pt x="39" y="12"/>
                      <a:pt x="39" y="11"/>
                      <a:pt x="39" y="11"/>
                    </a:cubicBezTo>
                    <a:cubicBezTo>
                      <a:pt x="39" y="10"/>
                      <a:pt x="38" y="10"/>
                      <a:pt x="38" y="10"/>
                    </a:cubicBezTo>
                    <a:cubicBezTo>
                      <a:pt x="37" y="10"/>
                      <a:pt x="37" y="10"/>
                      <a:pt x="36" y="10"/>
                    </a:cubicBezTo>
                    <a:cubicBezTo>
                      <a:pt x="36" y="9"/>
                      <a:pt x="36" y="9"/>
                      <a:pt x="35" y="9"/>
                    </a:cubicBezTo>
                    <a:cubicBezTo>
                      <a:pt x="35" y="9"/>
                      <a:pt x="34" y="8"/>
                      <a:pt x="34" y="8"/>
                    </a:cubicBezTo>
                    <a:cubicBezTo>
                      <a:pt x="33" y="8"/>
                      <a:pt x="33" y="9"/>
                      <a:pt x="33" y="9"/>
                    </a:cubicBezTo>
                    <a:cubicBezTo>
                      <a:pt x="32" y="8"/>
                      <a:pt x="31" y="8"/>
                      <a:pt x="30" y="9"/>
                    </a:cubicBezTo>
                    <a:cubicBezTo>
                      <a:pt x="30" y="9"/>
                      <a:pt x="29" y="9"/>
                      <a:pt x="28" y="9"/>
                    </a:cubicBezTo>
                    <a:cubicBezTo>
                      <a:pt x="28" y="9"/>
                      <a:pt x="28" y="9"/>
                      <a:pt x="28" y="9"/>
                    </a:cubicBezTo>
                    <a:cubicBezTo>
                      <a:pt x="28" y="9"/>
                      <a:pt x="27" y="10"/>
                      <a:pt x="27" y="10"/>
                    </a:cubicBezTo>
                    <a:cubicBezTo>
                      <a:pt x="27" y="9"/>
                      <a:pt x="26" y="10"/>
                      <a:pt x="26" y="9"/>
                    </a:cubicBezTo>
                    <a:cubicBezTo>
                      <a:pt x="26" y="9"/>
                      <a:pt x="26" y="9"/>
                      <a:pt x="26" y="9"/>
                    </a:cubicBezTo>
                    <a:cubicBezTo>
                      <a:pt x="26" y="8"/>
                      <a:pt x="26" y="8"/>
                      <a:pt x="26" y="8"/>
                    </a:cubicBezTo>
                    <a:cubicBezTo>
                      <a:pt x="25" y="8"/>
                      <a:pt x="25" y="8"/>
                      <a:pt x="25" y="7"/>
                    </a:cubicBezTo>
                    <a:cubicBezTo>
                      <a:pt x="24" y="7"/>
                      <a:pt x="24" y="7"/>
                      <a:pt x="23" y="7"/>
                    </a:cubicBezTo>
                    <a:cubicBezTo>
                      <a:pt x="23" y="7"/>
                      <a:pt x="22" y="6"/>
                      <a:pt x="22" y="6"/>
                    </a:cubicBezTo>
                    <a:cubicBezTo>
                      <a:pt x="21" y="6"/>
                      <a:pt x="21" y="5"/>
                      <a:pt x="21" y="5"/>
                    </a:cubicBezTo>
                    <a:cubicBezTo>
                      <a:pt x="21" y="5"/>
                      <a:pt x="20" y="4"/>
                      <a:pt x="20" y="4"/>
                    </a:cubicBezTo>
                    <a:cubicBezTo>
                      <a:pt x="19" y="4"/>
                      <a:pt x="19" y="4"/>
                      <a:pt x="19" y="4"/>
                    </a:cubicBezTo>
                    <a:cubicBezTo>
                      <a:pt x="18" y="5"/>
                      <a:pt x="17" y="4"/>
                      <a:pt x="16" y="4"/>
                    </a:cubicBezTo>
                    <a:cubicBezTo>
                      <a:pt x="15" y="4"/>
                      <a:pt x="15" y="4"/>
                      <a:pt x="14" y="4"/>
                    </a:cubicBezTo>
                    <a:cubicBezTo>
                      <a:pt x="14" y="4"/>
                      <a:pt x="13" y="4"/>
                      <a:pt x="13" y="4"/>
                    </a:cubicBezTo>
                    <a:cubicBezTo>
                      <a:pt x="12" y="4"/>
                      <a:pt x="11" y="4"/>
                      <a:pt x="10" y="3"/>
                    </a:cubicBezTo>
                    <a:cubicBezTo>
                      <a:pt x="10" y="3"/>
                      <a:pt x="10" y="3"/>
                      <a:pt x="9" y="2"/>
                    </a:cubicBezTo>
                    <a:cubicBezTo>
                      <a:pt x="9" y="2"/>
                      <a:pt x="8" y="2"/>
                      <a:pt x="8" y="2"/>
                    </a:cubicBezTo>
                    <a:cubicBezTo>
                      <a:pt x="7" y="2"/>
                      <a:pt x="7" y="2"/>
                      <a:pt x="7" y="2"/>
                    </a:cubicBezTo>
                    <a:cubicBezTo>
                      <a:pt x="6" y="1"/>
                      <a:pt x="6" y="1"/>
                      <a:pt x="5" y="1"/>
                    </a:cubicBezTo>
                    <a:cubicBezTo>
                      <a:pt x="5" y="1"/>
                      <a:pt x="4" y="1"/>
                      <a:pt x="4" y="1"/>
                    </a:cubicBezTo>
                    <a:cubicBezTo>
                      <a:pt x="4" y="1"/>
                      <a:pt x="3" y="1"/>
                      <a:pt x="3" y="1"/>
                    </a:cubicBezTo>
                    <a:cubicBezTo>
                      <a:pt x="2" y="0"/>
                      <a:pt x="1" y="1"/>
                      <a:pt x="0" y="2"/>
                    </a:cubicBezTo>
                    <a:cubicBezTo>
                      <a:pt x="1" y="2"/>
                      <a:pt x="1" y="2"/>
                      <a:pt x="2" y="3"/>
                    </a:cubicBezTo>
                    <a:cubicBezTo>
                      <a:pt x="2" y="3"/>
                      <a:pt x="2" y="4"/>
                      <a:pt x="2" y="4"/>
                    </a:cubicBezTo>
                    <a:cubicBezTo>
                      <a:pt x="3" y="5"/>
                      <a:pt x="4" y="5"/>
                      <a:pt x="5" y="5"/>
                    </a:cubicBezTo>
                    <a:cubicBezTo>
                      <a:pt x="6" y="5"/>
                      <a:pt x="7" y="5"/>
                      <a:pt x="7" y="6"/>
                    </a:cubicBezTo>
                    <a:cubicBezTo>
                      <a:pt x="8" y="6"/>
                      <a:pt x="8" y="7"/>
                      <a:pt x="8" y="7"/>
                    </a:cubicBezTo>
                    <a:cubicBezTo>
                      <a:pt x="8" y="8"/>
                      <a:pt x="9" y="8"/>
                      <a:pt x="9" y="8"/>
                    </a:cubicBezTo>
                    <a:cubicBezTo>
                      <a:pt x="10" y="9"/>
                      <a:pt x="11" y="9"/>
                      <a:pt x="11" y="10"/>
                    </a:cubicBezTo>
                    <a:cubicBezTo>
                      <a:pt x="11" y="11"/>
                      <a:pt x="11" y="12"/>
                      <a:pt x="12" y="13"/>
                    </a:cubicBezTo>
                    <a:cubicBezTo>
                      <a:pt x="12" y="15"/>
                      <a:pt x="13" y="16"/>
                      <a:pt x="13" y="17"/>
                    </a:cubicBezTo>
                    <a:cubicBezTo>
                      <a:pt x="12" y="18"/>
                      <a:pt x="11" y="18"/>
                      <a:pt x="11" y="19"/>
                    </a:cubicBezTo>
                    <a:cubicBezTo>
                      <a:pt x="12" y="20"/>
                      <a:pt x="12" y="20"/>
                      <a:pt x="13" y="20"/>
                    </a:cubicBezTo>
                    <a:cubicBezTo>
                      <a:pt x="14" y="19"/>
                      <a:pt x="15" y="19"/>
                      <a:pt x="16" y="20"/>
                    </a:cubicBezTo>
                    <a:cubicBezTo>
                      <a:pt x="17" y="20"/>
                      <a:pt x="17" y="20"/>
                      <a:pt x="18" y="20"/>
                    </a:cubicBezTo>
                    <a:cubicBezTo>
                      <a:pt x="18" y="19"/>
                      <a:pt x="18" y="19"/>
                      <a:pt x="19" y="19"/>
                    </a:cubicBezTo>
                    <a:cubicBezTo>
                      <a:pt x="20" y="19"/>
                      <a:pt x="19" y="19"/>
                      <a:pt x="20" y="20"/>
                    </a:cubicBezTo>
                    <a:cubicBezTo>
                      <a:pt x="20" y="20"/>
                      <a:pt x="21" y="20"/>
                      <a:pt x="21" y="21"/>
                    </a:cubicBezTo>
                    <a:cubicBezTo>
                      <a:pt x="22" y="21"/>
                      <a:pt x="22" y="21"/>
                      <a:pt x="22" y="21"/>
                    </a:cubicBezTo>
                    <a:cubicBezTo>
                      <a:pt x="22" y="22"/>
                      <a:pt x="22" y="22"/>
                      <a:pt x="22" y="22"/>
                    </a:cubicBezTo>
                    <a:cubicBezTo>
                      <a:pt x="23" y="23"/>
                      <a:pt x="24" y="22"/>
                      <a:pt x="24" y="23"/>
                    </a:cubicBezTo>
                    <a:cubicBezTo>
                      <a:pt x="25" y="23"/>
                      <a:pt x="25" y="23"/>
                      <a:pt x="26" y="23"/>
                    </a:cubicBezTo>
                    <a:cubicBezTo>
                      <a:pt x="26" y="23"/>
                      <a:pt x="27" y="23"/>
                      <a:pt x="27" y="23"/>
                    </a:cubicBezTo>
                    <a:cubicBezTo>
                      <a:pt x="27" y="23"/>
                      <a:pt x="28" y="23"/>
                      <a:pt x="28" y="22"/>
                    </a:cubicBezTo>
                    <a:cubicBezTo>
                      <a:pt x="29" y="22"/>
                      <a:pt x="29" y="22"/>
                      <a:pt x="29" y="22"/>
                    </a:cubicBezTo>
                    <a:cubicBezTo>
                      <a:pt x="29" y="22"/>
                      <a:pt x="30" y="22"/>
                      <a:pt x="30" y="22"/>
                    </a:cubicBezTo>
                    <a:cubicBezTo>
                      <a:pt x="30" y="22"/>
                      <a:pt x="31" y="22"/>
                      <a:pt x="31" y="22"/>
                    </a:cubicBezTo>
                    <a:cubicBezTo>
                      <a:pt x="31" y="22"/>
                      <a:pt x="31" y="22"/>
                      <a:pt x="31" y="22"/>
                    </a:cubicBezTo>
                    <a:cubicBezTo>
                      <a:pt x="32" y="22"/>
                      <a:pt x="32" y="22"/>
                      <a:pt x="33" y="22"/>
                    </a:cubicBezTo>
                    <a:cubicBezTo>
                      <a:pt x="33" y="22"/>
                      <a:pt x="34" y="21"/>
                      <a:pt x="34" y="22"/>
                    </a:cubicBezTo>
                    <a:cubicBezTo>
                      <a:pt x="35" y="21"/>
                      <a:pt x="36" y="20"/>
                      <a:pt x="37" y="20"/>
                    </a:cubicBezTo>
                    <a:cubicBezTo>
                      <a:pt x="37" y="20"/>
                      <a:pt x="38" y="20"/>
                      <a:pt x="39" y="21"/>
                    </a:cubicBezTo>
                    <a:cubicBezTo>
                      <a:pt x="40" y="22"/>
                      <a:pt x="40" y="23"/>
                      <a:pt x="41" y="22"/>
                    </a:cubicBezTo>
                    <a:cubicBezTo>
                      <a:pt x="42" y="22"/>
                      <a:pt x="42" y="22"/>
                      <a:pt x="43" y="22"/>
                    </a:cubicBezTo>
                    <a:cubicBezTo>
                      <a:pt x="43" y="23"/>
                      <a:pt x="43" y="23"/>
                      <a:pt x="44" y="23"/>
                    </a:cubicBezTo>
                    <a:cubicBezTo>
                      <a:pt x="45" y="24"/>
                      <a:pt x="45" y="23"/>
                      <a:pt x="46" y="22"/>
                    </a:cubicBezTo>
                    <a:cubicBezTo>
                      <a:pt x="46" y="21"/>
                      <a:pt x="45" y="20"/>
                      <a:pt x="44" y="20"/>
                    </a:cubicBezTo>
                    <a:cubicBezTo>
                      <a:pt x="43" y="20"/>
                      <a:pt x="43" y="20"/>
                      <a:pt x="43" y="19"/>
                    </a:cubicBezTo>
                    <a:cubicBezTo>
                      <a:pt x="43" y="19"/>
                      <a:pt x="43" y="19"/>
                      <a:pt x="43" y="19"/>
                    </a:cubicBezTo>
                    <a:cubicBezTo>
                      <a:pt x="43" y="19"/>
                      <a:pt x="43" y="18"/>
                      <a:pt x="43" y="18"/>
                    </a:cubicBezTo>
                    <a:cubicBezTo>
                      <a:pt x="42" y="18"/>
                      <a:pt x="42" y="18"/>
                      <a:pt x="43" y="17"/>
                    </a:cubicBezTo>
                    <a:cubicBezTo>
                      <a:pt x="43" y="17"/>
                      <a:pt x="43" y="17"/>
                      <a:pt x="44" y="17"/>
                    </a:cubicBezTo>
                    <a:cubicBezTo>
                      <a:pt x="44" y="17"/>
                      <a:pt x="44" y="16"/>
                      <a:pt x="44" y="16"/>
                    </a:cubicBezTo>
                    <a:cubicBezTo>
                      <a:pt x="44" y="15"/>
                      <a:pt x="43" y="16"/>
                      <a:pt x="43" y="15"/>
                    </a:cubicBezTo>
                    <a:cubicBezTo>
                      <a:pt x="42" y="15"/>
                      <a:pt x="43" y="16"/>
                      <a:pt x="43"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0" name="Freeform 838">
                <a:extLst>
                  <a:ext uri="{FF2B5EF4-FFF2-40B4-BE49-F238E27FC236}">
                    <a16:creationId xmlns:a16="http://schemas.microsoft.com/office/drawing/2014/main" id="{E7FA72D1-8F9D-3712-5950-6345C1353FBF}"/>
                  </a:ext>
                </a:extLst>
              </p:cNvPr>
              <p:cNvSpPr>
                <a:spLocks/>
              </p:cNvSpPr>
              <p:nvPr/>
            </p:nvSpPr>
            <p:spPr bwMode="auto">
              <a:xfrm>
                <a:off x="5934075" y="3000375"/>
                <a:ext cx="90487" cy="58738"/>
              </a:xfrm>
              <a:custGeom>
                <a:avLst/>
                <a:gdLst>
                  <a:gd name="T0" fmla="*/ 0 w 22"/>
                  <a:gd name="T1" fmla="*/ 12 h 14"/>
                  <a:gd name="T2" fmla="*/ 2 w 22"/>
                  <a:gd name="T3" fmla="*/ 8 h 14"/>
                  <a:gd name="T4" fmla="*/ 2 w 22"/>
                  <a:gd name="T5" fmla="*/ 6 h 14"/>
                  <a:gd name="T6" fmla="*/ 3 w 22"/>
                  <a:gd name="T7" fmla="*/ 6 h 14"/>
                  <a:gd name="T8" fmla="*/ 7 w 22"/>
                  <a:gd name="T9" fmla="*/ 4 h 14"/>
                  <a:gd name="T10" fmla="*/ 8 w 22"/>
                  <a:gd name="T11" fmla="*/ 2 h 14"/>
                  <a:gd name="T12" fmla="*/ 9 w 22"/>
                  <a:gd name="T13" fmla="*/ 0 h 14"/>
                  <a:gd name="T14" fmla="*/ 8 w 22"/>
                  <a:gd name="T15" fmla="*/ 3 h 14"/>
                  <a:gd name="T16" fmla="*/ 6 w 22"/>
                  <a:gd name="T17" fmla="*/ 6 h 14"/>
                  <a:gd name="T18" fmla="*/ 7 w 22"/>
                  <a:gd name="T19" fmla="*/ 6 h 14"/>
                  <a:gd name="T20" fmla="*/ 8 w 22"/>
                  <a:gd name="T21" fmla="*/ 7 h 14"/>
                  <a:gd name="T22" fmla="*/ 10 w 22"/>
                  <a:gd name="T23" fmla="*/ 7 h 14"/>
                  <a:gd name="T24" fmla="*/ 10 w 22"/>
                  <a:gd name="T25" fmla="*/ 5 h 14"/>
                  <a:gd name="T26" fmla="*/ 11 w 22"/>
                  <a:gd name="T27" fmla="*/ 3 h 14"/>
                  <a:gd name="T28" fmla="*/ 12 w 22"/>
                  <a:gd name="T29" fmla="*/ 3 h 14"/>
                  <a:gd name="T30" fmla="*/ 12 w 22"/>
                  <a:gd name="T31" fmla="*/ 4 h 14"/>
                  <a:gd name="T32" fmla="*/ 13 w 22"/>
                  <a:gd name="T33" fmla="*/ 3 h 14"/>
                  <a:gd name="T34" fmla="*/ 13 w 22"/>
                  <a:gd name="T35" fmla="*/ 4 h 14"/>
                  <a:gd name="T36" fmla="*/ 14 w 22"/>
                  <a:gd name="T37" fmla="*/ 4 h 14"/>
                  <a:gd name="T38" fmla="*/ 16 w 22"/>
                  <a:gd name="T39" fmla="*/ 5 h 14"/>
                  <a:gd name="T40" fmla="*/ 17 w 22"/>
                  <a:gd name="T41" fmla="*/ 6 h 14"/>
                  <a:gd name="T42" fmla="*/ 17 w 22"/>
                  <a:gd name="T43" fmla="*/ 5 h 14"/>
                  <a:gd name="T44" fmla="*/ 19 w 22"/>
                  <a:gd name="T45" fmla="*/ 5 h 14"/>
                  <a:gd name="T46" fmla="*/ 20 w 22"/>
                  <a:gd name="T47" fmla="*/ 6 h 14"/>
                  <a:gd name="T48" fmla="*/ 21 w 22"/>
                  <a:gd name="T49" fmla="*/ 7 h 14"/>
                  <a:gd name="T50" fmla="*/ 20 w 22"/>
                  <a:gd name="T51" fmla="*/ 10 h 14"/>
                  <a:gd name="T52" fmla="*/ 20 w 22"/>
                  <a:gd name="T53" fmla="*/ 12 h 14"/>
                  <a:gd name="T54" fmla="*/ 21 w 22"/>
                  <a:gd name="T55" fmla="*/ 13 h 14"/>
                  <a:gd name="T56" fmla="*/ 17 w 22"/>
                  <a:gd name="T57" fmla="*/ 13 h 14"/>
                  <a:gd name="T58" fmla="*/ 14 w 22"/>
                  <a:gd name="T59" fmla="*/ 13 h 14"/>
                  <a:gd name="T60" fmla="*/ 10 w 22"/>
                  <a:gd name="T61" fmla="*/ 13 h 14"/>
                  <a:gd name="T62" fmla="*/ 7 w 22"/>
                  <a:gd name="T63" fmla="*/ 13 h 14"/>
                  <a:gd name="T64" fmla="*/ 0 w 22"/>
                  <a:gd name="T6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14">
                    <a:moveTo>
                      <a:pt x="0" y="12"/>
                    </a:moveTo>
                    <a:cubicBezTo>
                      <a:pt x="1" y="11"/>
                      <a:pt x="2" y="10"/>
                      <a:pt x="2" y="8"/>
                    </a:cubicBezTo>
                    <a:cubicBezTo>
                      <a:pt x="2" y="8"/>
                      <a:pt x="1" y="7"/>
                      <a:pt x="2" y="6"/>
                    </a:cubicBezTo>
                    <a:cubicBezTo>
                      <a:pt x="2" y="6"/>
                      <a:pt x="3" y="6"/>
                      <a:pt x="3" y="6"/>
                    </a:cubicBezTo>
                    <a:cubicBezTo>
                      <a:pt x="5" y="6"/>
                      <a:pt x="6" y="6"/>
                      <a:pt x="7" y="4"/>
                    </a:cubicBezTo>
                    <a:cubicBezTo>
                      <a:pt x="7" y="4"/>
                      <a:pt x="8" y="3"/>
                      <a:pt x="8" y="2"/>
                    </a:cubicBezTo>
                    <a:cubicBezTo>
                      <a:pt x="9" y="2"/>
                      <a:pt x="9" y="1"/>
                      <a:pt x="9" y="0"/>
                    </a:cubicBezTo>
                    <a:cubicBezTo>
                      <a:pt x="10" y="1"/>
                      <a:pt x="9" y="2"/>
                      <a:pt x="8" y="3"/>
                    </a:cubicBezTo>
                    <a:cubicBezTo>
                      <a:pt x="8" y="4"/>
                      <a:pt x="7" y="5"/>
                      <a:pt x="6" y="6"/>
                    </a:cubicBezTo>
                    <a:cubicBezTo>
                      <a:pt x="6" y="6"/>
                      <a:pt x="6" y="6"/>
                      <a:pt x="7" y="6"/>
                    </a:cubicBezTo>
                    <a:cubicBezTo>
                      <a:pt x="7" y="6"/>
                      <a:pt x="7" y="6"/>
                      <a:pt x="8" y="7"/>
                    </a:cubicBezTo>
                    <a:cubicBezTo>
                      <a:pt x="8" y="7"/>
                      <a:pt x="9" y="7"/>
                      <a:pt x="10" y="7"/>
                    </a:cubicBezTo>
                    <a:cubicBezTo>
                      <a:pt x="11" y="6"/>
                      <a:pt x="10" y="5"/>
                      <a:pt x="10" y="5"/>
                    </a:cubicBezTo>
                    <a:cubicBezTo>
                      <a:pt x="10" y="4"/>
                      <a:pt x="11" y="3"/>
                      <a:pt x="11" y="3"/>
                    </a:cubicBezTo>
                    <a:cubicBezTo>
                      <a:pt x="11" y="2"/>
                      <a:pt x="11" y="3"/>
                      <a:pt x="12" y="3"/>
                    </a:cubicBezTo>
                    <a:cubicBezTo>
                      <a:pt x="12" y="3"/>
                      <a:pt x="12" y="3"/>
                      <a:pt x="12" y="4"/>
                    </a:cubicBezTo>
                    <a:cubicBezTo>
                      <a:pt x="13" y="4"/>
                      <a:pt x="13" y="4"/>
                      <a:pt x="13" y="3"/>
                    </a:cubicBezTo>
                    <a:cubicBezTo>
                      <a:pt x="13" y="4"/>
                      <a:pt x="13" y="4"/>
                      <a:pt x="13" y="4"/>
                    </a:cubicBezTo>
                    <a:cubicBezTo>
                      <a:pt x="13" y="4"/>
                      <a:pt x="14" y="4"/>
                      <a:pt x="14" y="4"/>
                    </a:cubicBezTo>
                    <a:cubicBezTo>
                      <a:pt x="14" y="5"/>
                      <a:pt x="15" y="5"/>
                      <a:pt x="16" y="5"/>
                    </a:cubicBezTo>
                    <a:cubicBezTo>
                      <a:pt x="16" y="5"/>
                      <a:pt x="16" y="6"/>
                      <a:pt x="17" y="6"/>
                    </a:cubicBezTo>
                    <a:cubicBezTo>
                      <a:pt x="17" y="5"/>
                      <a:pt x="17" y="5"/>
                      <a:pt x="17" y="5"/>
                    </a:cubicBezTo>
                    <a:cubicBezTo>
                      <a:pt x="17" y="5"/>
                      <a:pt x="19" y="5"/>
                      <a:pt x="19" y="5"/>
                    </a:cubicBezTo>
                    <a:cubicBezTo>
                      <a:pt x="19" y="5"/>
                      <a:pt x="20" y="6"/>
                      <a:pt x="20" y="6"/>
                    </a:cubicBezTo>
                    <a:cubicBezTo>
                      <a:pt x="20" y="7"/>
                      <a:pt x="21" y="7"/>
                      <a:pt x="21" y="7"/>
                    </a:cubicBezTo>
                    <a:cubicBezTo>
                      <a:pt x="22" y="8"/>
                      <a:pt x="20" y="9"/>
                      <a:pt x="20" y="10"/>
                    </a:cubicBezTo>
                    <a:cubicBezTo>
                      <a:pt x="20" y="11"/>
                      <a:pt x="20" y="11"/>
                      <a:pt x="20" y="12"/>
                    </a:cubicBezTo>
                    <a:cubicBezTo>
                      <a:pt x="20" y="12"/>
                      <a:pt x="20" y="13"/>
                      <a:pt x="21" y="13"/>
                    </a:cubicBezTo>
                    <a:cubicBezTo>
                      <a:pt x="19" y="14"/>
                      <a:pt x="18" y="13"/>
                      <a:pt x="17" y="13"/>
                    </a:cubicBezTo>
                    <a:cubicBezTo>
                      <a:pt x="16" y="13"/>
                      <a:pt x="15" y="13"/>
                      <a:pt x="14" y="13"/>
                    </a:cubicBezTo>
                    <a:cubicBezTo>
                      <a:pt x="13" y="13"/>
                      <a:pt x="11" y="13"/>
                      <a:pt x="10" y="13"/>
                    </a:cubicBezTo>
                    <a:cubicBezTo>
                      <a:pt x="9" y="13"/>
                      <a:pt x="8" y="13"/>
                      <a:pt x="7" y="13"/>
                    </a:cubicBezTo>
                    <a:cubicBezTo>
                      <a:pt x="4" y="12"/>
                      <a:pt x="2" y="12"/>
                      <a:pt x="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1" name="Freeform 866">
                <a:extLst>
                  <a:ext uri="{FF2B5EF4-FFF2-40B4-BE49-F238E27FC236}">
                    <a16:creationId xmlns:a16="http://schemas.microsoft.com/office/drawing/2014/main" id="{9BEB4A38-E0B6-4C3D-D0D0-EE7ED187441B}"/>
                  </a:ext>
                </a:extLst>
              </p:cNvPr>
              <p:cNvSpPr>
                <a:spLocks noEditPoints="1"/>
              </p:cNvSpPr>
              <p:nvPr/>
            </p:nvSpPr>
            <p:spPr bwMode="auto">
              <a:xfrm>
                <a:off x="7453313" y="3092450"/>
                <a:ext cx="1727200" cy="1279525"/>
              </a:xfrm>
              <a:custGeom>
                <a:avLst/>
                <a:gdLst>
                  <a:gd name="T0" fmla="*/ 239 w 415"/>
                  <a:gd name="T1" fmla="*/ 296 h 307"/>
                  <a:gd name="T2" fmla="*/ 266 w 415"/>
                  <a:gd name="T3" fmla="*/ 280 h 307"/>
                  <a:gd name="T4" fmla="*/ 313 w 415"/>
                  <a:gd name="T5" fmla="*/ 251 h 307"/>
                  <a:gd name="T6" fmla="*/ 400 w 415"/>
                  <a:gd name="T7" fmla="*/ 61 h 307"/>
                  <a:gd name="T8" fmla="*/ 374 w 415"/>
                  <a:gd name="T9" fmla="*/ 43 h 307"/>
                  <a:gd name="T10" fmla="*/ 360 w 415"/>
                  <a:gd name="T11" fmla="*/ 22 h 307"/>
                  <a:gd name="T12" fmla="*/ 347 w 415"/>
                  <a:gd name="T13" fmla="*/ 5 h 307"/>
                  <a:gd name="T14" fmla="*/ 321 w 415"/>
                  <a:gd name="T15" fmla="*/ 3 h 307"/>
                  <a:gd name="T16" fmla="*/ 315 w 415"/>
                  <a:gd name="T17" fmla="*/ 22 h 307"/>
                  <a:gd name="T18" fmla="*/ 293 w 415"/>
                  <a:gd name="T19" fmla="*/ 41 h 307"/>
                  <a:gd name="T20" fmla="*/ 312 w 415"/>
                  <a:gd name="T21" fmla="*/ 73 h 307"/>
                  <a:gd name="T22" fmla="*/ 269 w 415"/>
                  <a:gd name="T23" fmla="*/ 91 h 307"/>
                  <a:gd name="T24" fmla="*/ 213 w 415"/>
                  <a:gd name="T25" fmla="*/ 121 h 307"/>
                  <a:gd name="T26" fmla="*/ 155 w 415"/>
                  <a:gd name="T27" fmla="*/ 110 h 307"/>
                  <a:gd name="T28" fmla="*/ 117 w 415"/>
                  <a:gd name="T29" fmla="*/ 81 h 307"/>
                  <a:gd name="T30" fmla="*/ 104 w 415"/>
                  <a:gd name="T31" fmla="*/ 60 h 307"/>
                  <a:gd name="T32" fmla="*/ 88 w 415"/>
                  <a:gd name="T33" fmla="*/ 54 h 307"/>
                  <a:gd name="T34" fmla="*/ 69 w 415"/>
                  <a:gd name="T35" fmla="*/ 70 h 307"/>
                  <a:gd name="T36" fmla="*/ 44 w 415"/>
                  <a:gd name="T37" fmla="*/ 91 h 307"/>
                  <a:gd name="T38" fmla="*/ 44 w 415"/>
                  <a:gd name="T39" fmla="*/ 111 h 307"/>
                  <a:gd name="T40" fmla="*/ 21 w 415"/>
                  <a:gd name="T41" fmla="*/ 129 h 307"/>
                  <a:gd name="T42" fmla="*/ 2 w 415"/>
                  <a:gd name="T43" fmla="*/ 137 h 307"/>
                  <a:gd name="T44" fmla="*/ 10 w 415"/>
                  <a:gd name="T45" fmla="*/ 158 h 307"/>
                  <a:gd name="T46" fmla="*/ 27 w 415"/>
                  <a:gd name="T47" fmla="*/ 174 h 307"/>
                  <a:gd name="T48" fmla="*/ 42 w 415"/>
                  <a:gd name="T49" fmla="*/ 182 h 307"/>
                  <a:gd name="T50" fmla="*/ 36 w 415"/>
                  <a:gd name="T51" fmla="*/ 197 h 307"/>
                  <a:gd name="T52" fmla="*/ 48 w 415"/>
                  <a:gd name="T53" fmla="*/ 215 h 307"/>
                  <a:gd name="T54" fmla="*/ 66 w 415"/>
                  <a:gd name="T55" fmla="*/ 222 h 307"/>
                  <a:gd name="T56" fmla="*/ 85 w 415"/>
                  <a:gd name="T57" fmla="*/ 233 h 307"/>
                  <a:gd name="T58" fmla="*/ 106 w 415"/>
                  <a:gd name="T59" fmla="*/ 235 h 307"/>
                  <a:gd name="T60" fmla="*/ 140 w 415"/>
                  <a:gd name="T61" fmla="*/ 226 h 307"/>
                  <a:gd name="T62" fmla="*/ 162 w 415"/>
                  <a:gd name="T63" fmla="*/ 231 h 307"/>
                  <a:gd name="T64" fmla="*/ 164 w 415"/>
                  <a:gd name="T65" fmla="*/ 265 h 307"/>
                  <a:gd name="T66" fmla="*/ 177 w 415"/>
                  <a:gd name="T67" fmla="*/ 282 h 307"/>
                  <a:gd name="T68" fmla="*/ 198 w 415"/>
                  <a:gd name="T69" fmla="*/ 274 h 307"/>
                  <a:gd name="T70" fmla="*/ 222 w 415"/>
                  <a:gd name="T71" fmla="*/ 278 h 307"/>
                  <a:gd name="T72" fmla="*/ 245 w 415"/>
                  <a:gd name="T73" fmla="*/ 285 h 307"/>
                  <a:gd name="T74" fmla="*/ 273 w 415"/>
                  <a:gd name="T75" fmla="*/ 274 h 307"/>
                  <a:gd name="T76" fmla="*/ 295 w 415"/>
                  <a:gd name="T77" fmla="*/ 266 h 307"/>
                  <a:gd name="T78" fmla="*/ 309 w 415"/>
                  <a:gd name="T79" fmla="*/ 253 h 307"/>
                  <a:gd name="T80" fmla="*/ 313 w 415"/>
                  <a:gd name="T81" fmla="*/ 243 h 307"/>
                  <a:gd name="T82" fmla="*/ 328 w 415"/>
                  <a:gd name="T83" fmla="*/ 223 h 307"/>
                  <a:gd name="T84" fmla="*/ 320 w 415"/>
                  <a:gd name="T85" fmla="*/ 214 h 307"/>
                  <a:gd name="T86" fmla="*/ 328 w 415"/>
                  <a:gd name="T87" fmla="*/ 205 h 307"/>
                  <a:gd name="T88" fmla="*/ 320 w 415"/>
                  <a:gd name="T89" fmla="*/ 192 h 307"/>
                  <a:gd name="T90" fmla="*/ 310 w 415"/>
                  <a:gd name="T91" fmla="*/ 179 h 307"/>
                  <a:gd name="T92" fmla="*/ 316 w 415"/>
                  <a:gd name="T93" fmla="*/ 167 h 307"/>
                  <a:gd name="T94" fmla="*/ 324 w 415"/>
                  <a:gd name="T95" fmla="*/ 163 h 307"/>
                  <a:gd name="T96" fmla="*/ 328 w 415"/>
                  <a:gd name="T97" fmla="*/ 156 h 307"/>
                  <a:gd name="T98" fmla="*/ 305 w 415"/>
                  <a:gd name="T99" fmla="*/ 152 h 307"/>
                  <a:gd name="T100" fmla="*/ 303 w 415"/>
                  <a:gd name="T101" fmla="*/ 142 h 307"/>
                  <a:gd name="T102" fmla="*/ 310 w 415"/>
                  <a:gd name="T103" fmla="*/ 137 h 307"/>
                  <a:gd name="T104" fmla="*/ 325 w 415"/>
                  <a:gd name="T105" fmla="*/ 127 h 307"/>
                  <a:gd name="T106" fmla="*/ 322 w 415"/>
                  <a:gd name="T107" fmla="*/ 145 h 307"/>
                  <a:gd name="T108" fmla="*/ 344 w 415"/>
                  <a:gd name="T109" fmla="*/ 135 h 307"/>
                  <a:gd name="T110" fmla="*/ 369 w 415"/>
                  <a:gd name="T111" fmla="*/ 123 h 307"/>
                  <a:gd name="T112" fmla="*/ 382 w 415"/>
                  <a:gd name="T113" fmla="*/ 108 h 307"/>
                  <a:gd name="T114" fmla="*/ 391 w 415"/>
                  <a:gd name="T115" fmla="*/ 100 h 307"/>
                  <a:gd name="T116" fmla="*/ 406 w 415"/>
                  <a:gd name="T117" fmla="*/ 8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5" h="307">
                    <a:moveTo>
                      <a:pt x="253" y="292"/>
                    </a:moveTo>
                    <a:cubicBezTo>
                      <a:pt x="253" y="293"/>
                      <a:pt x="253" y="293"/>
                      <a:pt x="253" y="294"/>
                    </a:cubicBezTo>
                    <a:cubicBezTo>
                      <a:pt x="253" y="294"/>
                      <a:pt x="253" y="295"/>
                      <a:pt x="253" y="295"/>
                    </a:cubicBezTo>
                    <a:cubicBezTo>
                      <a:pt x="251" y="297"/>
                      <a:pt x="251" y="298"/>
                      <a:pt x="250" y="301"/>
                    </a:cubicBezTo>
                    <a:cubicBezTo>
                      <a:pt x="250" y="301"/>
                      <a:pt x="250" y="301"/>
                      <a:pt x="250" y="301"/>
                    </a:cubicBezTo>
                    <a:cubicBezTo>
                      <a:pt x="248" y="302"/>
                      <a:pt x="247" y="304"/>
                      <a:pt x="245" y="304"/>
                    </a:cubicBezTo>
                    <a:cubicBezTo>
                      <a:pt x="245" y="303"/>
                      <a:pt x="245" y="304"/>
                      <a:pt x="245" y="304"/>
                    </a:cubicBezTo>
                    <a:cubicBezTo>
                      <a:pt x="244" y="307"/>
                      <a:pt x="243" y="304"/>
                      <a:pt x="242" y="304"/>
                    </a:cubicBezTo>
                    <a:cubicBezTo>
                      <a:pt x="241" y="304"/>
                      <a:pt x="240" y="304"/>
                      <a:pt x="240" y="304"/>
                    </a:cubicBezTo>
                    <a:cubicBezTo>
                      <a:pt x="238" y="303"/>
                      <a:pt x="238" y="303"/>
                      <a:pt x="238" y="302"/>
                    </a:cubicBezTo>
                    <a:cubicBezTo>
                      <a:pt x="238" y="301"/>
                      <a:pt x="238" y="301"/>
                      <a:pt x="238" y="301"/>
                    </a:cubicBezTo>
                    <a:cubicBezTo>
                      <a:pt x="238" y="301"/>
                      <a:pt x="238" y="300"/>
                      <a:pt x="238" y="300"/>
                    </a:cubicBezTo>
                    <a:cubicBezTo>
                      <a:pt x="238" y="300"/>
                      <a:pt x="238" y="299"/>
                      <a:pt x="238" y="299"/>
                    </a:cubicBezTo>
                    <a:cubicBezTo>
                      <a:pt x="238" y="299"/>
                      <a:pt x="238" y="299"/>
                      <a:pt x="238" y="299"/>
                    </a:cubicBezTo>
                    <a:cubicBezTo>
                      <a:pt x="238" y="297"/>
                      <a:pt x="238" y="296"/>
                      <a:pt x="239" y="296"/>
                    </a:cubicBezTo>
                    <a:cubicBezTo>
                      <a:pt x="240" y="296"/>
                      <a:pt x="241" y="295"/>
                      <a:pt x="241" y="295"/>
                    </a:cubicBezTo>
                    <a:cubicBezTo>
                      <a:pt x="241" y="293"/>
                      <a:pt x="243" y="293"/>
                      <a:pt x="244" y="292"/>
                    </a:cubicBezTo>
                    <a:cubicBezTo>
                      <a:pt x="244" y="292"/>
                      <a:pt x="245" y="292"/>
                      <a:pt x="245" y="292"/>
                    </a:cubicBezTo>
                    <a:cubicBezTo>
                      <a:pt x="247" y="293"/>
                      <a:pt x="249" y="292"/>
                      <a:pt x="251" y="292"/>
                    </a:cubicBezTo>
                    <a:cubicBezTo>
                      <a:pt x="252" y="291"/>
                      <a:pt x="253" y="292"/>
                      <a:pt x="253" y="292"/>
                    </a:cubicBezTo>
                    <a:close/>
                    <a:moveTo>
                      <a:pt x="327" y="217"/>
                    </a:moveTo>
                    <a:cubicBezTo>
                      <a:pt x="327" y="218"/>
                      <a:pt x="329" y="217"/>
                      <a:pt x="329" y="218"/>
                    </a:cubicBezTo>
                    <a:cubicBezTo>
                      <a:pt x="329" y="218"/>
                      <a:pt x="329" y="218"/>
                      <a:pt x="329" y="218"/>
                    </a:cubicBezTo>
                    <a:cubicBezTo>
                      <a:pt x="329" y="218"/>
                      <a:pt x="330" y="218"/>
                      <a:pt x="330" y="218"/>
                    </a:cubicBezTo>
                    <a:cubicBezTo>
                      <a:pt x="330" y="218"/>
                      <a:pt x="330" y="218"/>
                      <a:pt x="330" y="217"/>
                    </a:cubicBezTo>
                    <a:cubicBezTo>
                      <a:pt x="330" y="217"/>
                      <a:pt x="330" y="217"/>
                      <a:pt x="330" y="217"/>
                    </a:cubicBezTo>
                    <a:cubicBezTo>
                      <a:pt x="330" y="217"/>
                      <a:pt x="330" y="217"/>
                      <a:pt x="329" y="217"/>
                    </a:cubicBezTo>
                    <a:cubicBezTo>
                      <a:pt x="329" y="216"/>
                      <a:pt x="329" y="216"/>
                      <a:pt x="328" y="216"/>
                    </a:cubicBezTo>
                    <a:cubicBezTo>
                      <a:pt x="328" y="216"/>
                      <a:pt x="327" y="216"/>
                      <a:pt x="327" y="217"/>
                    </a:cubicBezTo>
                    <a:close/>
                    <a:moveTo>
                      <a:pt x="266" y="280"/>
                    </a:moveTo>
                    <a:cubicBezTo>
                      <a:pt x="265" y="280"/>
                      <a:pt x="265" y="280"/>
                      <a:pt x="265" y="280"/>
                    </a:cubicBezTo>
                    <a:cubicBezTo>
                      <a:pt x="265" y="280"/>
                      <a:pt x="265" y="281"/>
                      <a:pt x="265" y="281"/>
                    </a:cubicBezTo>
                    <a:cubicBezTo>
                      <a:pt x="265" y="281"/>
                      <a:pt x="265" y="281"/>
                      <a:pt x="265" y="281"/>
                    </a:cubicBezTo>
                    <a:cubicBezTo>
                      <a:pt x="266" y="281"/>
                      <a:pt x="266" y="281"/>
                      <a:pt x="266" y="281"/>
                    </a:cubicBezTo>
                    <a:cubicBezTo>
                      <a:pt x="266" y="281"/>
                      <a:pt x="266" y="281"/>
                      <a:pt x="266" y="281"/>
                    </a:cubicBezTo>
                    <a:cubicBezTo>
                      <a:pt x="266" y="281"/>
                      <a:pt x="266" y="280"/>
                      <a:pt x="266" y="280"/>
                    </a:cubicBezTo>
                    <a:cubicBezTo>
                      <a:pt x="266" y="280"/>
                      <a:pt x="266" y="280"/>
                      <a:pt x="266" y="280"/>
                    </a:cubicBezTo>
                    <a:cubicBezTo>
                      <a:pt x="266" y="280"/>
                      <a:pt x="266" y="280"/>
                      <a:pt x="266" y="280"/>
                    </a:cubicBezTo>
                    <a:close/>
                    <a:moveTo>
                      <a:pt x="329" y="215"/>
                    </a:moveTo>
                    <a:cubicBezTo>
                      <a:pt x="329" y="215"/>
                      <a:pt x="329" y="215"/>
                      <a:pt x="329" y="215"/>
                    </a:cubicBezTo>
                    <a:cubicBezTo>
                      <a:pt x="329" y="215"/>
                      <a:pt x="329" y="215"/>
                      <a:pt x="329" y="215"/>
                    </a:cubicBezTo>
                    <a:cubicBezTo>
                      <a:pt x="329" y="215"/>
                      <a:pt x="329" y="215"/>
                      <a:pt x="329" y="215"/>
                    </a:cubicBezTo>
                    <a:cubicBezTo>
                      <a:pt x="329" y="215"/>
                      <a:pt x="329" y="216"/>
                      <a:pt x="329" y="215"/>
                    </a:cubicBezTo>
                    <a:close/>
                    <a:moveTo>
                      <a:pt x="313" y="251"/>
                    </a:moveTo>
                    <a:cubicBezTo>
                      <a:pt x="313" y="251"/>
                      <a:pt x="313" y="251"/>
                      <a:pt x="313" y="251"/>
                    </a:cubicBezTo>
                    <a:cubicBezTo>
                      <a:pt x="312" y="251"/>
                      <a:pt x="312" y="251"/>
                      <a:pt x="312" y="251"/>
                    </a:cubicBezTo>
                    <a:cubicBezTo>
                      <a:pt x="312" y="252"/>
                      <a:pt x="312" y="252"/>
                      <a:pt x="312" y="252"/>
                    </a:cubicBezTo>
                    <a:cubicBezTo>
                      <a:pt x="312" y="252"/>
                      <a:pt x="312" y="252"/>
                      <a:pt x="313" y="252"/>
                    </a:cubicBezTo>
                    <a:cubicBezTo>
                      <a:pt x="313" y="252"/>
                      <a:pt x="313" y="252"/>
                      <a:pt x="313" y="252"/>
                    </a:cubicBezTo>
                    <a:cubicBezTo>
                      <a:pt x="313" y="252"/>
                      <a:pt x="313" y="252"/>
                      <a:pt x="313" y="251"/>
                    </a:cubicBezTo>
                    <a:close/>
                    <a:moveTo>
                      <a:pt x="415" y="63"/>
                    </a:moveTo>
                    <a:cubicBezTo>
                      <a:pt x="415" y="62"/>
                      <a:pt x="414" y="61"/>
                      <a:pt x="414" y="60"/>
                    </a:cubicBezTo>
                    <a:cubicBezTo>
                      <a:pt x="414" y="59"/>
                      <a:pt x="414" y="58"/>
                      <a:pt x="415" y="57"/>
                    </a:cubicBezTo>
                    <a:cubicBezTo>
                      <a:pt x="413" y="56"/>
                      <a:pt x="412" y="56"/>
                      <a:pt x="410" y="56"/>
                    </a:cubicBezTo>
                    <a:cubicBezTo>
                      <a:pt x="410" y="56"/>
                      <a:pt x="410" y="56"/>
                      <a:pt x="409" y="56"/>
                    </a:cubicBezTo>
                    <a:cubicBezTo>
                      <a:pt x="409" y="56"/>
                      <a:pt x="409" y="57"/>
                      <a:pt x="409" y="57"/>
                    </a:cubicBezTo>
                    <a:cubicBezTo>
                      <a:pt x="408" y="57"/>
                      <a:pt x="408" y="58"/>
                      <a:pt x="407" y="58"/>
                    </a:cubicBezTo>
                    <a:cubicBezTo>
                      <a:pt x="403" y="59"/>
                      <a:pt x="403" y="59"/>
                      <a:pt x="403" y="59"/>
                    </a:cubicBezTo>
                    <a:cubicBezTo>
                      <a:pt x="401" y="60"/>
                      <a:pt x="401" y="60"/>
                      <a:pt x="401" y="60"/>
                    </a:cubicBezTo>
                    <a:cubicBezTo>
                      <a:pt x="400" y="61"/>
                      <a:pt x="400" y="61"/>
                      <a:pt x="400" y="61"/>
                    </a:cubicBezTo>
                    <a:cubicBezTo>
                      <a:pt x="400" y="63"/>
                      <a:pt x="400" y="63"/>
                      <a:pt x="400" y="63"/>
                    </a:cubicBezTo>
                    <a:cubicBezTo>
                      <a:pt x="389" y="63"/>
                      <a:pt x="389" y="63"/>
                      <a:pt x="389" y="63"/>
                    </a:cubicBezTo>
                    <a:cubicBezTo>
                      <a:pt x="387" y="59"/>
                      <a:pt x="387" y="59"/>
                      <a:pt x="387" y="59"/>
                    </a:cubicBezTo>
                    <a:cubicBezTo>
                      <a:pt x="388" y="57"/>
                      <a:pt x="388" y="57"/>
                      <a:pt x="388" y="57"/>
                    </a:cubicBezTo>
                    <a:cubicBezTo>
                      <a:pt x="388" y="55"/>
                      <a:pt x="388" y="55"/>
                      <a:pt x="388" y="55"/>
                    </a:cubicBezTo>
                    <a:cubicBezTo>
                      <a:pt x="386" y="54"/>
                      <a:pt x="386" y="54"/>
                      <a:pt x="386" y="54"/>
                    </a:cubicBezTo>
                    <a:cubicBezTo>
                      <a:pt x="386" y="54"/>
                      <a:pt x="386" y="54"/>
                      <a:pt x="386" y="53"/>
                    </a:cubicBezTo>
                    <a:cubicBezTo>
                      <a:pt x="386" y="53"/>
                      <a:pt x="387" y="51"/>
                      <a:pt x="387" y="51"/>
                    </a:cubicBezTo>
                    <a:cubicBezTo>
                      <a:pt x="387" y="51"/>
                      <a:pt x="384" y="51"/>
                      <a:pt x="384" y="51"/>
                    </a:cubicBezTo>
                    <a:cubicBezTo>
                      <a:pt x="384" y="51"/>
                      <a:pt x="380" y="47"/>
                      <a:pt x="380" y="46"/>
                    </a:cubicBezTo>
                    <a:cubicBezTo>
                      <a:pt x="380" y="46"/>
                      <a:pt x="379" y="45"/>
                      <a:pt x="379" y="45"/>
                    </a:cubicBezTo>
                    <a:cubicBezTo>
                      <a:pt x="378" y="46"/>
                      <a:pt x="378" y="46"/>
                      <a:pt x="378" y="46"/>
                    </a:cubicBezTo>
                    <a:cubicBezTo>
                      <a:pt x="378" y="46"/>
                      <a:pt x="376" y="46"/>
                      <a:pt x="376" y="45"/>
                    </a:cubicBezTo>
                    <a:cubicBezTo>
                      <a:pt x="375" y="45"/>
                      <a:pt x="374" y="44"/>
                      <a:pt x="374" y="44"/>
                    </a:cubicBezTo>
                    <a:cubicBezTo>
                      <a:pt x="374" y="43"/>
                      <a:pt x="374" y="43"/>
                      <a:pt x="374" y="43"/>
                    </a:cubicBezTo>
                    <a:cubicBezTo>
                      <a:pt x="368" y="43"/>
                      <a:pt x="368" y="43"/>
                      <a:pt x="368" y="43"/>
                    </a:cubicBezTo>
                    <a:cubicBezTo>
                      <a:pt x="368" y="43"/>
                      <a:pt x="367" y="42"/>
                      <a:pt x="366" y="42"/>
                    </a:cubicBezTo>
                    <a:cubicBezTo>
                      <a:pt x="366" y="42"/>
                      <a:pt x="366" y="41"/>
                      <a:pt x="366" y="41"/>
                    </a:cubicBezTo>
                    <a:cubicBezTo>
                      <a:pt x="366" y="41"/>
                      <a:pt x="366" y="40"/>
                      <a:pt x="366" y="39"/>
                    </a:cubicBezTo>
                    <a:cubicBezTo>
                      <a:pt x="366" y="39"/>
                      <a:pt x="366" y="39"/>
                      <a:pt x="366" y="38"/>
                    </a:cubicBezTo>
                    <a:cubicBezTo>
                      <a:pt x="366" y="38"/>
                      <a:pt x="366" y="37"/>
                      <a:pt x="366" y="37"/>
                    </a:cubicBezTo>
                    <a:cubicBezTo>
                      <a:pt x="366" y="37"/>
                      <a:pt x="365" y="36"/>
                      <a:pt x="365" y="36"/>
                    </a:cubicBezTo>
                    <a:cubicBezTo>
                      <a:pt x="365" y="36"/>
                      <a:pt x="364" y="34"/>
                      <a:pt x="364" y="33"/>
                    </a:cubicBezTo>
                    <a:cubicBezTo>
                      <a:pt x="364" y="33"/>
                      <a:pt x="364" y="32"/>
                      <a:pt x="364" y="31"/>
                    </a:cubicBezTo>
                    <a:cubicBezTo>
                      <a:pt x="364" y="31"/>
                      <a:pt x="364" y="30"/>
                      <a:pt x="363" y="29"/>
                    </a:cubicBezTo>
                    <a:cubicBezTo>
                      <a:pt x="362" y="28"/>
                      <a:pt x="362" y="28"/>
                      <a:pt x="362" y="27"/>
                    </a:cubicBezTo>
                    <a:cubicBezTo>
                      <a:pt x="361" y="27"/>
                      <a:pt x="361" y="27"/>
                      <a:pt x="361" y="26"/>
                    </a:cubicBezTo>
                    <a:cubicBezTo>
                      <a:pt x="361" y="26"/>
                      <a:pt x="361" y="25"/>
                      <a:pt x="361" y="25"/>
                    </a:cubicBezTo>
                    <a:cubicBezTo>
                      <a:pt x="361" y="24"/>
                      <a:pt x="361" y="24"/>
                      <a:pt x="361" y="23"/>
                    </a:cubicBezTo>
                    <a:cubicBezTo>
                      <a:pt x="360" y="23"/>
                      <a:pt x="360" y="22"/>
                      <a:pt x="360" y="22"/>
                    </a:cubicBezTo>
                    <a:cubicBezTo>
                      <a:pt x="360" y="22"/>
                      <a:pt x="360" y="22"/>
                      <a:pt x="360" y="21"/>
                    </a:cubicBezTo>
                    <a:cubicBezTo>
                      <a:pt x="360" y="20"/>
                      <a:pt x="359" y="20"/>
                      <a:pt x="359" y="19"/>
                    </a:cubicBezTo>
                    <a:cubicBezTo>
                      <a:pt x="359" y="19"/>
                      <a:pt x="358" y="19"/>
                      <a:pt x="358" y="18"/>
                    </a:cubicBezTo>
                    <a:cubicBezTo>
                      <a:pt x="359" y="18"/>
                      <a:pt x="359" y="17"/>
                      <a:pt x="359" y="17"/>
                    </a:cubicBezTo>
                    <a:cubicBezTo>
                      <a:pt x="359" y="17"/>
                      <a:pt x="359" y="16"/>
                      <a:pt x="358" y="15"/>
                    </a:cubicBezTo>
                    <a:cubicBezTo>
                      <a:pt x="358" y="15"/>
                      <a:pt x="357" y="15"/>
                      <a:pt x="357" y="15"/>
                    </a:cubicBezTo>
                    <a:cubicBezTo>
                      <a:pt x="357" y="14"/>
                      <a:pt x="358" y="14"/>
                      <a:pt x="357" y="13"/>
                    </a:cubicBezTo>
                    <a:cubicBezTo>
                      <a:pt x="357" y="13"/>
                      <a:pt x="356" y="12"/>
                      <a:pt x="355" y="11"/>
                    </a:cubicBezTo>
                    <a:cubicBezTo>
                      <a:pt x="355" y="11"/>
                      <a:pt x="355" y="11"/>
                      <a:pt x="355" y="10"/>
                    </a:cubicBezTo>
                    <a:cubicBezTo>
                      <a:pt x="355" y="10"/>
                      <a:pt x="356" y="9"/>
                      <a:pt x="355" y="9"/>
                    </a:cubicBezTo>
                    <a:cubicBezTo>
                      <a:pt x="354" y="8"/>
                      <a:pt x="354" y="8"/>
                      <a:pt x="353" y="7"/>
                    </a:cubicBezTo>
                    <a:cubicBezTo>
                      <a:pt x="353" y="6"/>
                      <a:pt x="354" y="6"/>
                      <a:pt x="352" y="5"/>
                    </a:cubicBezTo>
                    <a:cubicBezTo>
                      <a:pt x="351" y="4"/>
                      <a:pt x="351" y="4"/>
                      <a:pt x="350" y="4"/>
                    </a:cubicBezTo>
                    <a:cubicBezTo>
                      <a:pt x="349" y="4"/>
                      <a:pt x="349" y="4"/>
                      <a:pt x="349" y="4"/>
                    </a:cubicBezTo>
                    <a:cubicBezTo>
                      <a:pt x="348" y="5"/>
                      <a:pt x="348" y="5"/>
                      <a:pt x="347" y="5"/>
                    </a:cubicBezTo>
                    <a:cubicBezTo>
                      <a:pt x="347" y="5"/>
                      <a:pt x="347" y="5"/>
                      <a:pt x="347" y="5"/>
                    </a:cubicBezTo>
                    <a:cubicBezTo>
                      <a:pt x="347" y="5"/>
                      <a:pt x="347" y="5"/>
                      <a:pt x="347" y="5"/>
                    </a:cubicBezTo>
                    <a:cubicBezTo>
                      <a:pt x="347" y="5"/>
                      <a:pt x="347" y="5"/>
                      <a:pt x="346" y="4"/>
                    </a:cubicBezTo>
                    <a:cubicBezTo>
                      <a:pt x="343" y="3"/>
                      <a:pt x="341" y="1"/>
                      <a:pt x="341" y="1"/>
                    </a:cubicBezTo>
                    <a:cubicBezTo>
                      <a:pt x="340" y="1"/>
                      <a:pt x="339" y="0"/>
                      <a:pt x="338" y="0"/>
                    </a:cubicBezTo>
                    <a:cubicBezTo>
                      <a:pt x="338" y="0"/>
                      <a:pt x="336" y="0"/>
                      <a:pt x="336" y="0"/>
                    </a:cubicBezTo>
                    <a:cubicBezTo>
                      <a:pt x="336" y="0"/>
                      <a:pt x="333" y="1"/>
                      <a:pt x="333" y="1"/>
                    </a:cubicBezTo>
                    <a:cubicBezTo>
                      <a:pt x="333" y="1"/>
                      <a:pt x="333" y="1"/>
                      <a:pt x="332" y="1"/>
                    </a:cubicBezTo>
                    <a:cubicBezTo>
                      <a:pt x="332" y="2"/>
                      <a:pt x="332" y="2"/>
                      <a:pt x="331" y="2"/>
                    </a:cubicBezTo>
                    <a:cubicBezTo>
                      <a:pt x="330" y="1"/>
                      <a:pt x="330" y="1"/>
                      <a:pt x="330" y="1"/>
                    </a:cubicBezTo>
                    <a:cubicBezTo>
                      <a:pt x="329" y="1"/>
                      <a:pt x="329" y="1"/>
                      <a:pt x="328" y="1"/>
                    </a:cubicBezTo>
                    <a:cubicBezTo>
                      <a:pt x="328" y="1"/>
                      <a:pt x="328" y="1"/>
                      <a:pt x="327" y="2"/>
                    </a:cubicBezTo>
                    <a:cubicBezTo>
                      <a:pt x="326" y="2"/>
                      <a:pt x="325" y="2"/>
                      <a:pt x="325" y="2"/>
                    </a:cubicBezTo>
                    <a:cubicBezTo>
                      <a:pt x="325" y="2"/>
                      <a:pt x="325" y="3"/>
                      <a:pt x="324" y="3"/>
                    </a:cubicBezTo>
                    <a:cubicBezTo>
                      <a:pt x="323" y="3"/>
                      <a:pt x="321" y="3"/>
                      <a:pt x="321" y="3"/>
                    </a:cubicBezTo>
                    <a:cubicBezTo>
                      <a:pt x="321" y="3"/>
                      <a:pt x="320" y="3"/>
                      <a:pt x="320" y="3"/>
                    </a:cubicBezTo>
                    <a:cubicBezTo>
                      <a:pt x="320" y="3"/>
                      <a:pt x="318" y="6"/>
                      <a:pt x="317" y="7"/>
                    </a:cubicBezTo>
                    <a:cubicBezTo>
                      <a:pt x="317" y="7"/>
                      <a:pt x="315" y="8"/>
                      <a:pt x="315" y="8"/>
                    </a:cubicBezTo>
                    <a:cubicBezTo>
                      <a:pt x="315" y="9"/>
                      <a:pt x="315" y="10"/>
                      <a:pt x="315" y="10"/>
                    </a:cubicBezTo>
                    <a:cubicBezTo>
                      <a:pt x="315" y="11"/>
                      <a:pt x="315" y="11"/>
                      <a:pt x="315" y="11"/>
                    </a:cubicBezTo>
                    <a:cubicBezTo>
                      <a:pt x="315" y="11"/>
                      <a:pt x="316" y="10"/>
                      <a:pt x="316" y="10"/>
                    </a:cubicBezTo>
                    <a:cubicBezTo>
                      <a:pt x="316" y="10"/>
                      <a:pt x="317" y="10"/>
                      <a:pt x="318" y="11"/>
                    </a:cubicBezTo>
                    <a:cubicBezTo>
                      <a:pt x="318" y="11"/>
                      <a:pt x="320" y="11"/>
                      <a:pt x="320" y="11"/>
                    </a:cubicBezTo>
                    <a:cubicBezTo>
                      <a:pt x="320" y="12"/>
                      <a:pt x="319" y="12"/>
                      <a:pt x="319" y="12"/>
                    </a:cubicBezTo>
                    <a:cubicBezTo>
                      <a:pt x="319" y="12"/>
                      <a:pt x="319" y="13"/>
                      <a:pt x="319" y="14"/>
                    </a:cubicBezTo>
                    <a:cubicBezTo>
                      <a:pt x="319" y="14"/>
                      <a:pt x="319" y="14"/>
                      <a:pt x="319" y="15"/>
                    </a:cubicBezTo>
                    <a:cubicBezTo>
                      <a:pt x="320" y="15"/>
                      <a:pt x="320" y="16"/>
                      <a:pt x="320" y="17"/>
                    </a:cubicBezTo>
                    <a:cubicBezTo>
                      <a:pt x="320" y="17"/>
                      <a:pt x="320" y="17"/>
                      <a:pt x="320" y="17"/>
                    </a:cubicBezTo>
                    <a:cubicBezTo>
                      <a:pt x="316" y="20"/>
                      <a:pt x="316" y="20"/>
                      <a:pt x="316" y="20"/>
                    </a:cubicBezTo>
                    <a:cubicBezTo>
                      <a:pt x="316" y="20"/>
                      <a:pt x="315" y="22"/>
                      <a:pt x="315" y="22"/>
                    </a:cubicBezTo>
                    <a:cubicBezTo>
                      <a:pt x="315" y="22"/>
                      <a:pt x="313" y="27"/>
                      <a:pt x="313" y="27"/>
                    </a:cubicBezTo>
                    <a:cubicBezTo>
                      <a:pt x="313" y="27"/>
                      <a:pt x="311" y="31"/>
                      <a:pt x="311" y="31"/>
                    </a:cubicBezTo>
                    <a:cubicBezTo>
                      <a:pt x="310" y="32"/>
                      <a:pt x="310" y="32"/>
                      <a:pt x="310" y="32"/>
                    </a:cubicBezTo>
                    <a:cubicBezTo>
                      <a:pt x="310" y="34"/>
                      <a:pt x="310" y="34"/>
                      <a:pt x="310" y="34"/>
                    </a:cubicBezTo>
                    <a:cubicBezTo>
                      <a:pt x="309" y="35"/>
                      <a:pt x="309" y="35"/>
                      <a:pt x="309" y="35"/>
                    </a:cubicBezTo>
                    <a:cubicBezTo>
                      <a:pt x="309" y="35"/>
                      <a:pt x="309" y="35"/>
                      <a:pt x="309" y="35"/>
                    </a:cubicBezTo>
                    <a:cubicBezTo>
                      <a:pt x="309" y="36"/>
                      <a:pt x="310" y="36"/>
                      <a:pt x="310" y="36"/>
                    </a:cubicBezTo>
                    <a:cubicBezTo>
                      <a:pt x="310" y="36"/>
                      <a:pt x="310" y="37"/>
                      <a:pt x="310" y="38"/>
                    </a:cubicBezTo>
                    <a:cubicBezTo>
                      <a:pt x="310" y="38"/>
                      <a:pt x="308" y="39"/>
                      <a:pt x="308" y="39"/>
                    </a:cubicBezTo>
                    <a:cubicBezTo>
                      <a:pt x="305" y="40"/>
                      <a:pt x="305" y="40"/>
                      <a:pt x="305" y="40"/>
                    </a:cubicBezTo>
                    <a:cubicBezTo>
                      <a:pt x="300" y="44"/>
                      <a:pt x="300" y="44"/>
                      <a:pt x="300" y="44"/>
                    </a:cubicBezTo>
                    <a:cubicBezTo>
                      <a:pt x="298" y="44"/>
                      <a:pt x="298" y="44"/>
                      <a:pt x="298" y="44"/>
                    </a:cubicBezTo>
                    <a:cubicBezTo>
                      <a:pt x="296" y="43"/>
                      <a:pt x="296" y="43"/>
                      <a:pt x="296" y="43"/>
                    </a:cubicBezTo>
                    <a:cubicBezTo>
                      <a:pt x="294" y="42"/>
                      <a:pt x="294" y="42"/>
                      <a:pt x="294" y="42"/>
                    </a:cubicBezTo>
                    <a:cubicBezTo>
                      <a:pt x="293" y="41"/>
                      <a:pt x="293" y="41"/>
                      <a:pt x="293" y="41"/>
                    </a:cubicBezTo>
                    <a:cubicBezTo>
                      <a:pt x="292" y="41"/>
                      <a:pt x="292" y="41"/>
                      <a:pt x="292" y="41"/>
                    </a:cubicBezTo>
                    <a:cubicBezTo>
                      <a:pt x="286" y="54"/>
                      <a:pt x="286" y="54"/>
                      <a:pt x="286" y="54"/>
                    </a:cubicBezTo>
                    <a:cubicBezTo>
                      <a:pt x="286" y="57"/>
                      <a:pt x="286" y="57"/>
                      <a:pt x="286" y="57"/>
                    </a:cubicBezTo>
                    <a:cubicBezTo>
                      <a:pt x="284" y="58"/>
                      <a:pt x="284" y="58"/>
                      <a:pt x="284" y="58"/>
                    </a:cubicBezTo>
                    <a:cubicBezTo>
                      <a:pt x="284" y="60"/>
                      <a:pt x="284" y="60"/>
                      <a:pt x="284" y="60"/>
                    </a:cubicBezTo>
                    <a:cubicBezTo>
                      <a:pt x="287" y="63"/>
                      <a:pt x="287" y="63"/>
                      <a:pt x="287" y="63"/>
                    </a:cubicBezTo>
                    <a:cubicBezTo>
                      <a:pt x="289" y="60"/>
                      <a:pt x="289" y="60"/>
                      <a:pt x="289" y="60"/>
                    </a:cubicBezTo>
                    <a:cubicBezTo>
                      <a:pt x="293" y="60"/>
                      <a:pt x="293" y="60"/>
                      <a:pt x="293" y="60"/>
                    </a:cubicBezTo>
                    <a:cubicBezTo>
                      <a:pt x="296" y="62"/>
                      <a:pt x="296" y="62"/>
                      <a:pt x="296" y="62"/>
                    </a:cubicBezTo>
                    <a:cubicBezTo>
                      <a:pt x="297" y="63"/>
                      <a:pt x="297" y="63"/>
                      <a:pt x="297" y="63"/>
                    </a:cubicBezTo>
                    <a:cubicBezTo>
                      <a:pt x="300" y="60"/>
                      <a:pt x="300" y="60"/>
                      <a:pt x="300" y="60"/>
                    </a:cubicBezTo>
                    <a:cubicBezTo>
                      <a:pt x="305" y="60"/>
                      <a:pt x="305" y="60"/>
                      <a:pt x="305" y="60"/>
                    </a:cubicBezTo>
                    <a:cubicBezTo>
                      <a:pt x="314" y="70"/>
                      <a:pt x="314" y="70"/>
                      <a:pt x="314" y="70"/>
                    </a:cubicBezTo>
                    <a:cubicBezTo>
                      <a:pt x="314" y="73"/>
                      <a:pt x="314" y="73"/>
                      <a:pt x="314" y="73"/>
                    </a:cubicBezTo>
                    <a:cubicBezTo>
                      <a:pt x="312" y="73"/>
                      <a:pt x="312" y="73"/>
                      <a:pt x="312" y="73"/>
                    </a:cubicBezTo>
                    <a:cubicBezTo>
                      <a:pt x="310" y="73"/>
                      <a:pt x="310" y="73"/>
                      <a:pt x="310" y="73"/>
                    </a:cubicBezTo>
                    <a:cubicBezTo>
                      <a:pt x="307" y="72"/>
                      <a:pt x="307" y="72"/>
                      <a:pt x="307" y="72"/>
                    </a:cubicBezTo>
                    <a:cubicBezTo>
                      <a:pt x="303" y="72"/>
                      <a:pt x="303" y="72"/>
                      <a:pt x="303" y="72"/>
                    </a:cubicBezTo>
                    <a:cubicBezTo>
                      <a:pt x="302" y="73"/>
                      <a:pt x="302" y="73"/>
                      <a:pt x="302" y="73"/>
                    </a:cubicBezTo>
                    <a:cubicBezTo>
                      <a:pt x="300" y="74"/>
                      <a:pt x="300" y="74"/>
                      <a:pt x="300" y="74"/>
                    </a:cubicBezTo>
                    <a:cubicBezTo>
                      <a:pt x="297" y="74"/>
                      <a:pt x="297" y="74"/>
                      <a:pt x="297" y="74"/>
                    </a:cubicBezTo>
                    <a:cubicBezTo>
                      <a:pt x="297" y="76"/>
                      <a:pt x="297" y="76"/>
                      <a:pt x="297" y="76"/>
                    </a:cubicBezTo>
                    <a:cubicBezTo>
                      <a:pt x="292" y="76"/>
                      <a:pt x="292" y="76"/>
                      <a:pt x="292" y="76"/>
                    </a:cubicBezTo>
                    <a:cubicBezTo>
                      <a:pt x="289" y="80"/>
                      <a:pt x="289" y="80"/>
                      <a:pt x="289" y="80"/>
                    </a:cubicBezTo>
                    <a:cubicBezTo>
                      <a:pt x="289" y="82"/>
                      <a:pt x="289" y="82"/>
                      <a:pt x="289" y="82"/>
                    </a:cubicBezTo>
                    <a:cubicBezTo>
                      <a:pt x="286" y="85"/>
                      <a:pt x="286" y="85"/>
                      <a:pt x="286" y="85"/>
                    </a:cubicBezTo>
                    <a:cubicBezTo>
                      <a:pt x="278" y="85"/>
                      <a:pt x="278" y="85"/>
                      <a:pt x="278" y="85"/>
                    </a:cubicBezTo>
                    <a:cubicBezTo>
                      <a:pt x="276" y="88"/>
                      <a:pt x="276" y="88"/>
                      <a:pt x="276" y="88"/>
                    </a:cubicBezTo>
                    <a:cubicBezTo>
                      <a:pt x="273" y="91"/>
                      <a:pt x="273" y="91"/>
                      <a:pt x="273" y="91"/>
                    </a:cubicBezTo>
                    <a:cubicBezTo>
                      <a:pt x="269" y="91"/>
                      <a:pt x="269" y="91"/>
                      <a:pt x="269" y="91"/>
                    </a:cubicBezTo>
                    <a:cubicBezTo>
                      <a:pt x="266" y="91"/>
                      <a:pt x="266" y="91"/>
                      <a:pt x="266" y="91"/>
                    </a:cubicBezTo>
                    <a:cubicBezTo>
                      <a:pt x="262" y="89"/>
                      <a:pt x="262" y="89"/>
                      <a:pt x="262" y="89"/>
                    </a:cubicBezTo>
                    <a:cubicBezTo>
                      <a:pt x="260" y="89"/>
                      <a:pt x="260" y="89"/>
                      <a:pt x="260" y="89"/>
                    </a:cubicBezTo>
                    <a:cubicBezTo>
                      <a:pt x="260" y="89"/>
                      <a:pt x="258" y="92"/>
                      <a:pt x="258" y="92"/>
                    </a:cubicBezTo>
                    <a:cubicBezTo>
                      <a:pt x="257" y="93"/>
                      <a:pt x="257" y="94"/>
                      <a:pt x="257" y="94"/>
                    </a:cubicBezTo>
                    <a:cubicBezTo>
                      <a:pt x="257" y="94"/>
                      <a:pt x="257" y="96"/>
                      <a:pt x="257" y="97"/>
                    </a:cubicBezTo>
                    <a:cubicBezTo>
                      <a:pt x="257" y="97"/>
                      <a:pt x="260" y="99"/>
                      <a:pt x="260" y="99"/>
                    </a:cubicBezTo>
                    <a:cubicBezTo>
                      <a:pt x="260" y="102"/>
                      <a:pt x="260" y="102"/>
                      <a:pt x="260" y="102"/>
                    </a:cubicBezTo>
                    <a:cubicBezTo>
                      <a:pt x="254" y="105"/>
                      <a:pt x="254" y="105"/>
                      <a:pt x="254" y="105"/>
                    </a:cubicBezTo>
                    <a:cubicBezTo>
                      <a:pt x="250" y="110"/>
                      <a:pt x="250" y="110"/>
                      <a:pt x="250" y="110"/>
                    </a:cubicBezTo>
                    <a:cubicBezTo>
                      <a:pt x="249" y="111"/>
                      <a:pt x="249" y="111"/>
                      <a:pt x="249" y="111"/>
                    </a:cubicBezTo>
                    <a:cubicBezTo>
                      <a:pt x="244" y="113"/>
                      <a:pt x="244" y="113"/>
                      <a:pt x="244" y="113"/>
                    </a:cubicBezTo>
                    <a:cubicBezTo>
                      <a:pt x="229" y="113"/>
                      <a:pt x="229" y="113"/>
                      <a:pt x="229" y="113"/>
                    </a:cubicBezTo>
                    <a:cubicBezTo>
                      <a:pt x="218" y="118"/>
                      <a:pt x="218" y="118"/>
                      <a:pt x="218" y="118"/>
                    </a:cubicBezTo>
                    <a:cubicBezTo>
                      <a:pt x="213" y="121"/>
                      <a:pt x="213" y="121"/>
                      <a:pt x="213" y="121"/>
                    </a:cubicBezTo>
                    <a:cubicBezTo>
                      <a:pt x="213" y="121"/>
                      <a:pt x="213" y="121"/>
                      <a:pt x="213" y="121"/>
                    </a:cubicBezTo>
                    <a:cubicBezTo>
                      <a:pt x="212" y="121"/>
                      <a:pt x="212" y="121"/>
                      <a:pt x="212" y="121"/>
                    </a:cubicBezTo>
                    <a:cubicBezTo>
                      <a:pt x="210" y="120"/>
                      <a:pt x="210" y="120"/>
                      <a:pt x="210" y="120"/>
                    </a:cubicBezTo>
                    <a:cubicBezTo>
                      <a:pt x="209" y="119"/>
                      <a:pt x="209" y="119"/>
                      <a:pt x="209" y="119"/>
                    </a:cubicBezTo>
                    <a:cubicBezTo>
                      <a:pt x="203" y="119"/>
                      <a:pt x="203" y="119"/>
                      <a:pt x="203" y="119"/>
                    </a:cubicBezTo>
                    <a:cubicBezTo>
                      <a:pt x="197" y="116"/>
                      <a:pt x="197" y="116"/>
                      <a:pt x="197" y="116"/>
                    </a:cubicBezTo>
                    <a:cubicBezTo>
                      <a:pt x="193" y="115"/>
                      <a:pt x="193" y="115"/>
                      <a:pt x="193" y="115"/>
                    </a:cubicBezTo>
                    <a:cubicBezTo>
                      <a:pt x="193" y="115"/>
                      <a:pt x="191" y="113"/>
                      <a:pt x="191" y="113"/>
                    </a:cubicBezTo>
                    <a:cubicBezTo>
                      <a:pt x="191" y="113"/>
                      <a:pt x="188" y="112"/>
                      <a:pt x="188" y="112"/>
                    </a:cubicBezTo>
                    <a:cubicBezTo>
                      <a:pt x="188" y="112"/>
                      <a:pt x="185" y="111"/>
                      <a:pt x="185" y="111"/>
                    </a:cubicBezTo>
                    <a:cubicBezTo>
                      <a:pt x="182" y="112"/>
                      <a:pt x="182" y="112"/>
                      <a:pt x="182" y="112"/>
                    </a:cubicBezTo>
                    <a:cubicBezTo>
                      <a:pt x="177" y="112"/>
                      <a:pt x="177" y="112"/>
                      <a:pt x="177" y="112"/>
                    </a:cubicBezTo>
                    <a:cubicBezTo>
                      <a:pt x="160" y="110"/>
                      <a:pt x="160" y="110"/>
                      <a:pt x="160" y="110"/>
                    </a:cubicBezTo>
                    <a:cubicBezTo>
                      <a:pt x="158" y="110"/>
                      <a:pt x="158" y="110"/>
                      <a:pt x="158" y="110"/>
                    </a:cubicBezTo>
                    <a:cubicBezTo>
                      <a:pt x="155" y="110"/>
                      <a:pt x="155" y="110"/>
                      <a:pt x="155" y="110"/>
                    </a:cubicBezTo>
                    <a:cubicBezTo>
                      <a:pt x="154" y="109"/>
                      <a:pt x="154" y="109"/>
                      <a:pt x="154" y="109"/>
                    </a:cubicBezTo>
                    <a:cubicBezTo>
                      <a:pt x="151" y="105"/>
                      <a:pt x="151" y="105"/>
                      <a:pt x="151" y="105"/>
                    </a:cubicBezTo>
                    <a:cubicBezTo>
                      <a:pt x="149" y="99"/>
                      <a:pt x="149" y="99"/>
                      <a:pt x="149" y="99"/>
                    </a:cubicBezTo>
                    <a:cubicBezTo>
                      <a:pt x="148" y="98"/>
                      <a:pt x="148" y="98"/>
                      <a:pt x="148" y="98"/>
                    </a:cubicBezTo>
                    <a:cubicBezTo>
                      <a:pt x="148" y="96"/>
                      <a:pt x="148" y="96"/>
                      <a:pt x="148" y="96"/>
                    </a:cubicBezTo>
                    <a:cubicBezTo>
                      <a:pt x="145" y="96"/>
                      <a:pt x="145" y="96"/>
                      <a:pt x="145" y="96"/>
                    </a:cubicBezTo>
                    <a:cubicBezTo>
                      <a:pt x="137" y="90"/>
                      <a:pt x="137" y="90"/>
                      <a:pt x="137" y="90"/>
                    </a:cubicBezTo>
                    <a:cubicBezTo>
                      <a:pt x="134" y="89"/>
                      <a:pt x="134" y="89"/>
                      <a:pt x="134" y="89"/>
                    </a:cubicBezTo>
                    <a:cubicBezTo>
                      <a:pt x="125" y="89"/>
                      <a:pt x="125" y="89"/>
                      <a:pt x="125" y="89"/>
                    </a:cubicBezTo>
                    <a:cubicBezTo>
                      <a:pt x="125" y="89"/>
                      <a:pt x="121" y="88"/>
                      <a:pt x="121" y="88"/>
                    </a:cubicBezTo>
                    <a:cubicBezTo>
                      <a:pt x="121" y="88"/>
                      <a:pt x="119" y="87"/>
                      <a:pt x="118" y="87"/>
                    </a:cubicBezTo>
                    <a:cubicBezTo>
                      <a:pt x="118" y="87"/>
                      <a:pt x="117" y="87"/>
                      <a:pt x="117" y="86"/>
                    </a:cubicBezTo>
                    <a:cubicBezTo>
                      <a:pt x="116" y="86"/>
                      <a:pt x="116" y="85"/>
                      <a:pt x="116" y="85"/>
                    </a:cubicBezTo>
                    <a:cubicBezTo>
                      <a:pt x="116" y="85"/>
                      <a:pt x="116" y="83"/>
                      <a:pt x="116" y="83"/>
                    </a:cubicBezTo>
                    <a:cubicBezTo>
                      <a:pt x="116" y="83"/>
                      <a:pt x="117" y="82"/>
                      <a:pt x="117" y="81"/>
                    </a:cubicBezTo>
                    <a:cubicBezTo>
                      <a:pt x="117" y="81"/>
                      <a:pt x="118" y="80"/>
                      <a:pt x="118" y="80"/>
                    </a:cubicBezTo>
                    <a:cubicBezTo>
                      <a:pt x="118" y="80"/>
                      <a:pt x="118" y="78"/>
                      <a:pt x="118" y="77"/>
                    </a:cubicBezTo>
                    <a:cubicBezTo>
                      <a:pt x="118" y="77"/>
                      <a:pt x="117" y="76"/>
                      <a:pt x="117" y="76"/>
                    </a:cubicBezTo>
                    <a:cubicBezTo>
                      <a:pt x="117" y="76"/>
                      <a:pt x="118" y="75"/>
                      <a:pt x="118" y="75"/>
                    </a:cubicBezTo>
                    <a:cubicBezTo>
                      <a:pt x="118" y="75"/>
                      <a:pt x="118" y="74"/>
                      <a:pt x="118" y="74"/>
                    </a:cubicBezTo>
                    <a:cubicBezTo>
                      <a:pt x="118" y="73"/>
                      <a:pt x="118" y="72"/>
                      <a:pt x="118" y="72"/>
                    </a:cubicBezTo>
                    <a:cubicBezTo>
                      <a:pt x="115" y="68"/>
                      <a:pt x="115" y="68"/>
                      <a:pt x="115" y="68"/>
                    </a:cubicBezTo>
                    <a:cubicBezTo>
                      <a:pt x="115" y="68"/>
                      <a:pt x="114" y="63"/>
                      <a:pt x="114" y="63"/>
                    </a:cubicBezTo>
                    <a:cubicBezTo>
                      <a:pt x="114" y="63"/>
                      <a:pt x="113" y="62"/>
                      <a:pt x="113" y="62"/>
                    </a:cubicBezTo>
                    <a:cubicBezTo>
                      <a:pt x="112" y="61"/>
                      <a:pt x="112" y="61"/>
                      <a:pt x="112" y="61"/>
                    </a:cubicBezTo>
                    <a:cubicBezTo>
                      <a:pt x="110" y="61"/>
                      <a:pt x="110" y="61"/>
                      <a:pt x="110" y="61"/>
                    </a:cubicBezTo>
                    <a:cubicBezTo>
                      <a:pt x="110" y="61"/>
                      <a:pt x="109" y="60"/>
                      <a:pt x="109" y="60"/>
                    </a:cubicBezTo>
                    <a:cubicBezTo>
                      <a:pt x="108" y="60"/>
                      <a:pt x="108" y="59"/>
                      <a:pt x="107" y="59"/>
                    </a:cubicBezTo>
                    <a:cubicBezTo>
                      <a:pt x="107" y="59"/>
                      <a:pt x="106" y="60"/>
                      <a:pt x="106" y="60"/>
                    </a:cubicBezTo>
                    <a:cubicBezTo>
                      <a:pt x="106" y="60"/>
                      <a:pt x="104" y="60"/>
                      <a:pt x="104" y="60"/>
                    </a:cubicBezTo>
                    <a:cubicBezTo>
                      <a:pt x="102" y="57"/>
                      <a:pt x="102" y="57"/>
                      <a:pt x="102" y="57"/>
                    </a:cubicBezTo>
                    <a:cubicBezTo>
                      <a:pt x="101" y="56"/>
                      <a:pt x="101" y="56"/>
                      <a:pt x="101" y="56"/>
                    </a:cubicBezTo>
                    <a:cubicBezTo>
                      <a:pt x="101" y="56"/>
                      <a:pt x="100" y="55"/>
                      <a:pt x="100" y="55"/>
                    </a:cubicBezTo>
                    <a:cubicBezTo>
                      <a:pt x="100" y="55"/>
                      <a:pt x="98" y="54"/>
                      <a:pt x="98" y="54"/>
                    </a:cubicBezTo>
                    <a:cubicBezTo>
                      <a:pt x="98" y="52"/>
                      <a:pt x="98" y="52"/>
                      <a:pt x="98" y="52"/>
                    </a:cubicBezTo>
                    <a:cubicBezTo>
                      <a:pt x="96" y="51"/>
                      <a:pt x="96" y="51"/>
                      <a:pt x="96" y="51"/>
                    </a:cubicBezTo>
                    <a:cubicBezTo>
                      <a:pt x="97" y="49"/>
                      <a:pt x="97" y="49"/>
                      <a:pt x="97" y="49"/>
                    </a:cubicBezTo>
                    <a:cubicBezTo>
                      <a:pt x="96" y="48"/>
                      <a:pt x="96" y="48"/>
                      <a:pt x="96" y="48"/>
                    </a:cubicBezTo>
                    <a:cubicBezTo>
                      <a:pt x="96" y="48"/>
                      <a:pt x="96" y="48"/>
                      <a:pt x="96" y="48"/>
                    </a:cubicBezTo>
                    <a:cubicBezTo>
                      <a:pt x="93" y="48"/>
                      <a:pt x="93" y="48"/>
                      <a:pt x="93" y="48"/>
                    </a:cubicBezTo>
                    <a:cubicBezTo>
                      <a:pt x="92" y="47"/>
                      <a:pt x="92" y="47"/>
                      <a:pt x="92" y="47"/>
                    </a:cubicBezTo>
                    <a:cubicBezTo>
                      <a:pt x="92" y="47"/>
                      <a:pt x="91" y="46"/>
                      <a:pt x="91" y="46"/>
                    </a:cubicBezTo>
                    <a:cubicBezTo>
                      <a:pt x="89" y="49"/>
                      <a:pt x="89" y="49"/>
                      <a:pt x="89" y="49"/>
                    </a:cubicBezTo>
                    <a:cubicBezTo>
                      <a:pt x="89" y="53"/>
                      <a:pt x="89" y="53"/>
                      <a:pt x="89" y="53"/>
                    </a:cubicBezTo>
                    <a:cubicBezTo>
                      <a:pt x="89" y="53"/>
                      <a:pt x="88" y="54"/>
                      <a:pt x="88" y="54"/>
                    </a:cubicBezTo>
                    <a:cubicBezTo>
                      <a:pt x="87" y="54"/>
                      <a:pt x="85" y="55"/>
                      <a:pt x="85" y="55"/>
                    </a:cubicBezTo>
                    <a:cubicBezTo>
                      <a:pt x="84" y="55"/>
                      <a:pt x="82" y="56"/>
                      <a:pt x="82" y="56"/>
                    </a:cubicBezTo>
                    <a:cubicBezTo>
                      <a:pt x="82" y="56"/>
                      <a:pt x="81" y="58"/>
                      <a:pt x="81" y="58"/>
                    </a:cubicBezTo>
                    <a:cubicBezTo>
                      <a:pt x="81" y="58"/>
                      <a:pt x="81" y="59"/>
                      <a:pt x="81" y="59"/>
                    </a:cubicBezTo>
                    <a:cubicBezTo>
                      <a:pt x="81" y="59"/>
                      <a:pt x="81" y="61"/>
                      <a:pt x="81" y="61"/>
                    </a:cubicBezTo>
                    <a:cubicBezTo>
                      <a:pt x="81" y="61"/>
                      <a:pt x="81" y="62"/>
                      <a:pt x="81" y="62"/>
                    </a:cubicBezTo>
                    <a:cubicBezTo>
                      <a:pt x="81" y="66"/>
                      <a:pt x="81" y="66"/>
                      <a:pt x="81" y="66"/>
                    </a:cubicBezTo>
                    <a:cubicBezTo>
                      <a:pt x="82" y="66"/>
                      <a:pt x="82" y="66"/>
                      <a:pt x="82" y="66"/>
                    </a:cubicBezTo>
                    <a:cubicBezTo>
                      <a:pt x="82" y="68"/>
                      <a:pt x="82" y="68"/>
                      <a:pt x="82" y="68"/>
                    </a:cubicBezTo>
                    <a:cubicBezTo>
                      <a:pt x="81" y="69"/>
                      <a:pt x="81" y="69"/>
                      <a:pt x="81" y="69"/>
                    </a:cubicBezTo>
                    <a:cubicBezTo>
                      <a:pt x="80" y="69"/>
                      <a:pt x="80" y="69"/>
                      <a:pt x="80" y="69"/>
                    </a:cubicBezTo>
                    <a:cubicBezTo>
                      <a:pt x="79" y="70"/>
                      <a:pt x="79" y="70"/>
                      <a:pt x="79" y="70"/>
                    </a:cubicBezTo>
                    <a:cubicBezTo>
                      <a:pt x="77" y="71"/>
                      <a:pt x="77" y="71"/>
                      <a:pt x="77" y="71"/>
                    </a:cubicBezTo>
                    <a:cubicBezTo>
                      <a:pt x="75" y="70"/>
                      <a:pt x="75" y="70"/>
                      <a:pt x="75" y="70"/>
                    </a:cubicBezTo>
                    <a:cubicBezTo>
                      <a:pt x="69" y="70"/>
                      <a:pt x="69" y="70"/>
                      <a:pt x="69" y="70"/>
                    </a:cubicBezTo>
                    <a:cubicBezTo>
                      <a:pt x="64" y="67"/>
                      <a:pt x="64" y="67"/>
                      <a:pt x="64" y="67"/>
                    </a:cubicBezTo>
                    <a:cubicBezTo>
                      <a:pt x="61" y="77"/>
                      <a:pt x="61" y="77"/>
                      <a:pt x="61" y="77"/>
                    </a:cubicBezTo>
                    <a:cubicBezTo>
                      <a:pt x="58" y="84"/>
                      <a:pt x="58" y="84"/>
                      <a:pt x="58" y="84"/>
                    </a:cubicBezTo>
                    <a:cubicBezTo>
                      <a:pt x="58" y="84"/>
                      <a:pt x="59" y="85"/>
                      <a:pt x="59" y="85"/>
                    </a:cubicBezTo>
                    <a:cubicBezTo>
                      <a:pt x="59" y="85"/>
                      <a:pt x="61" y="85"/>
                      <a:pt x="61" y="85"/>
                    </a:cubicBezTo>
                    <a:cubicBezTo>
                      <a:pt x="61" y="87"/>
                      <a:pt x="61" y="87"/>
                      <a:pt x="61" y="87"/>
                    </a:cubicBezTo>
                    <a:cubicBezTo>
                      <a:pt x="57" y="87"/>
                      <a:pt x="57" y="87"/>
                      <a:pt x="57" y="87"/>
                    </a:cubicBezTo>
                    <a:cubicBezTo>
                      <a:pt x="55" y="85"/>
                      <a:pt x="55" y="85"/>
                      <a:pt x="55" y="85"/>
                    </a:cubicBezTo>
                    <a:cubicBezTo>
                      <a:pt x="55" y="85"/>
                      <a:pt x="52" y="87"/>
                      <a:pt x="52" y="87"/>
                    </a:cubicBezTo>
                    <a:cubicBezTo>
                      <a:pt x="52" y="87"/>
                      <a:pt x="51" y="88"/>
                      <a:pt x="50" y="88"/>
                    </a:cubicBezTo>
                    <a:cubicBezTo>
                      <a:pt x="50" y="88"/>
                      <a:pt x="48" y="88"/>
                      <a:pt x="48" y="88"/>
                    </a:cubicBezTo>
                    <a:cubicBezTo>
                      <a:pt x="45" y="89"/>
                      <a:pt x="45" y="89"/>
                      <a:pt x="45" y="89"/>
                    </a:cubicBezTo>
                    <a:cubicBezTo>
                      <a:pt x="43" y="90"/>
                      <a:pt x="43" y="90"/>
                      <a:pt x="43" y="90"/>
                    </a:cubicBezTo>
                    <a:cubicBezTo>
                      <a:pt x="43" y="90"/>
                      <a:pt x="43" y="91"/>
                      <a:pt x="43" y="91"/>
                    </a:cubicBezTo>
                    <a:cubicBezTo>
                      <a:pt x="43" y="91"/>
                      <a:pt x="44" y="91"/>
                      <a:pt x="44" y="91"/>
                    </a:cubicBezTo>
                    <a:cubicBezTo>
                      <a:pt x="45" y="92"/>
                      <a:pt x="45" y="92"/>
                      <a:pt x="45" y="92"/>
                    </a:cubicBezTo>
                    <a:cubicBezTo>
                      <a:pt x="46" y="93"/>
                      <a:pt x="46" y="93"/>
                      <a:pt x="46" y="93"/>
                    </a:cubicBezTo>
                    <a:cubicBezTo>
                      <a:pt x="46" y="98"/>
                      <a:pt x="46" y="98"/>
                      <a:pt x="46" y="98"/>
                    </a:cubicBezTo>
                    <a:cubicBezTo>
                      <a:pt x="47" y="100"/>
                      <a:pt x="47" y="100"/>
                      <a:pt x="47" y="100"/>
                    </a:cubicBezTo>
                    <a:cubicBezTo>
                      <a:pt x="48" y="102"/>
                      <a:pt x="48" y="102"/>
                      <a:pt x="48" y="102"/>
                    </a:cubicBezTo>
                    <a:cubicBezTo>
                      <a:pt x="48" y="102"/>
                      <a:pt x="48" y="104"/>
                      <a:pt x="48" y="104"/>
                    </a:cubicBezTo>
                    <a:cubicBezTo>
                      <a:pt x="48" y="104"/>
                      <a:pt x="49" y="105"/>
                      <a:pt x="49" y="105"/>
                    </a:cubicBezTo>
                    <a:cubicBezTo>
                      <a:pt x="49" y="106"/>
                      <a:pt x="49" y="106"/>
                      <a:pt x="49" y="106"/>
                    </a:cubicBezTo>
                    <a:cubicBezTo>
                      <a:pt x="47" y="107"/>
                      <a:pt x="47" y="107"/>
                      <a:pt x="47" y="107"/>
                    </a:cubicBezTo>
                    <a:cubicBezTo>
                      <a:pt x="46" y="108"/>
                      <a:pt x="46" y="108"/>
                      <a:pt x="46" y="108"/>
                    </a:cubicBezTo>
                    <a:cubicBezTo>
                      <a:pt x="46" y="108"/>
                      <a:pt x="46" y="108"/>
                      <a:pt x="46" y="108"/>
                    </a:cubicBezTo>
                    <a:cubicBezTo>
                      <a:pt x="46" y="108"/>
                      <a:pt x="47" y="109"/>
                      <a:pt x="47" y="109"/>
                    </a:cubicBezTo>
                    <a:cubicBezTo>
                      <a:pt x="48" y="109"/>
                      <a:pt x="47" y="109"/>
                      <a:pt x="47" y="109"/>
                    </a:cubicBezTo>
                    <a:cubicBezTo>
                      <a:pt x="46" y="109"/>
                      <a:pt x="46" y="109"/>
                      <a:pt x="46" y="109"/>
                    </a:cubicBezTo>
                    <a:cubicBezTo>
                      <a:pt x="44" y="111"/>
                      <a:pt x="44" y="111"/>
                      <a:pt x="44" y="111"/>
                    </a:cubicBezTo>
                    <a:cubicBezTo>
                      <a:pt x="44" y="111"/>
                      <a:pt x="44" y="112"/>
                      <a:pt x="45" y="112"/>
                    </a:cubicBezTo>
                    <a:cubicBezTo>
                      <a:pt x="45" y="112"/>
                      <a:pt x="45" y="113"/>
                      <a:pt x="45" y="113"/>
                    </a:cubicBezTo>
                    <a:cubicBezTo>
                      <a:pt x="45" y="113"/>
                      <a:pt x="45" y="115"/>
                      <a:pt x="45" y="115"/>
                    </a:cubicBezTo>
                    <a:cubicBezTo>
                      <a:pt x="45" y="115"/>
                      <a:pt x="45" y="115"/>
                      <a:pt x="45" y="115"/>
                    </a:cubicBezTo>
                    <a:cubicBezTo>
                      <a:pt x="44" y="117"/>
                      <a:pt x="44" y="117"/>
                      <a:pt x="44" y="117"/>
                    </a:cubicBezTo>
                    <a:cubicBezTo>
                      <a:pt x="44" y="117"/>
                      <a:pt x="43" y="117"/>
                      <a:pt x="43" y="117"/>
                    </a:cubicBezTo>
                    <a:cubicBezTo>
                      <a:pt x="43" y="117"/>
                      <a:pt x="41" y="119"/>
                      <a:pt x="41" y="119"/>
                    </a:cubicBezTo>
                    <a:cubicBezTo>
                      <a:pt x="36" y="121"/>
                      <a:pt x="36" y="121"/>
                      <a:pt x="36" y="121"/>
                    </a:cubicBezTo>
                    <a:cubicBezTo>
                      <a:pt x="31" y="122"/>
                      <a:pt x="31" y="122"/>
                      <a:pt x="31" y="122"/>
                    </a:cubicBezTo>
                    <a:cubicBezTo>
                      <a:pt x="31" y="124"/>
                      <a:pt x="31" y="124"/>
                      <a:pt x="31" y="124"/>
                    </a:cubicBezTo>
                    <a:cubicBezTo>
                      <a:pt x="29" y="125"/>
                      <a:pt x="29" y="125"/>
                      <a:pt x="29" y="125"/>
                    </a:cubicBezTo>
                    <a:cubicBezTo>
                      <a:pt x="28" y="126"/>
                      <a:pt x="28" y="126"/>
                      <a:pt x="28" y="126"/>
                    </a:cubicBezTo>
                    <a:cubicBezTo>
                      <a:pt x="23" y="126"/>
                      <a:pt x="23" y="126"/>
                      <a:pt x="23" y="126"/>
                    </a:cubicBezTo>
                    <a:cubicBezTo>
                      <a:pt x="23" y="126"/>
                      <a:pt x="21" y="127"/>
                      <a:pt x="21" y="127"/>
                    </a:cubicBezTo>
                    <a:cubicBezTo>
                      <a:pt x="21" y="128"/>
                      <a:pt x="21" y="129"/>
                      <a:pt x="21" y="129"/>
                    </a:cubicBezTo>
                    <a:cubicBezTo>
                      <a:pt x="21" y="129"/>
                      <a:pt x="20" y="131"/>
                      <a:pt x="20" y="131"/>
                    </a:cubicBezTo>
                    <a:cubicBezTo>
                      <a:pt x="19" y="132"/>
                      <a:pt x="19" y="132"/>
                      <a:pt x="19" y="132"/>
                    </a:cubicBezTo>
                    <a:cubicBezTo>
                      <a:pt x="18" y="131"/>
                      <a:pt x="18" y="131"/>
                      <a:pt x="18" y="131"/>
                    </a:cubicBezTo>
                    <a:cubicBezTo>
                      <a:pt x="16" y="132"/>
                      <a:pt x="16" y="132"/>
                      <a:pt x="16" y="132"/>
                    </a:cubicBezTo>
                    <a:cubicBezTo>
                      <a:pt x="14" y="132"/>
                      <a:pt x="14" y="132"/>
                      <a:pt x="14" y="132"/>
                    </a:cubicBezTo>
                    <a:cubicBezTo>
                      <a:pt x="13" y="130"/>
                      <a:pt x="13" y="130"/>
                      <a:pt x="13" y="130"/>
                    </a:cubicBezTo>
                    <a:cubicBezTo>
                      <a:pt x="11" y="131"/>
                      <a:pt x="11" y="131"/>
                      <a:pt x="11" y="131"/>
                    </a:cubicBezTo>
                    <a:cubicBezTo>
                      <a:pt x="11" y="131"/>
                      <a:pt x="10" y="131"/>
                      <a:pt x="9" y="131"/>
                    </a:cubicBezTo>
                    <a:cubicBezTo>
                      <a:pt x="9" y="131"/>
                      <a:pt x="9" y="132"/>
                      <a:pt x="9" y="132"/>
                    </a:cubicBezTo>
                    <a:cubicBezTo>
                      <a:pt x="8" y="132"/>
                      <a:pt x="8" y="132"/>
                      <a:pt x="8" y="132"/>
                    </a:cubicBezTo>
                    <a:cubicBezTo>
                      <a:pt x="8" y="132"/>
                      <a:pt x="7" y="133"/>
                      <a:pt x="7" y="133"/>
                    </a:cubicBezTo>
                    <a:cubicBezTo>
                      <a:pt x="7" y="133"/>
                      <a:pt x="5" y="134"/>
                      <a:pt x="5" y="134"/>
                    </a:cubicBezTo>
                    <a:cubicBezTo>
                      <a:pt x="5" y="135"/>
                      <a:pt x="4" y="135"/>
                      <a:pt x="4" y="135"/>
                    </a:cubicBezTo>
                    <a:cubicBezTo>
                      <a:pt x="4" y="135"/>
                      <a:pt x="3" y="135"/>
                      <a:pt x="2" y="136"/>
                    </a:cubicBezTo>
                    <a:cubicBezTo>
                      <a:pt x="2" y="136"/>
                      <a:pt x="2" y="137"/>
                      <a:pt x="2" y="137"/>
                    </a:cubicBezTo>
                    <a:cubicBezTo>
                      <a:pt x="2" y="138"/>
                      <a:pt x="2" y="138"/>
                      <a:pt x="3" y="138"/>
                    </a:cubicBezTo>
                    <a:cubicBezTo>
                      <a:pt x="3" y="139"/>
                      <a:pt x="2" y="140"/>
                      <a:pt x="2" y="140"/>
                    </a:cubicBezTo>
                    <a:cubicBezTo>
                      <a:pt x="2" y="140"/>
                      <a:pt x="1" y="140"/>
                      <a:pt x="1" y="140"/>
                    </a:cubicBezTo>
                    <a:cubicBezTo>
                      <a:pt x="1" y="140"/>
                      <a:pt x="0" y="140"/>
                      <a:pt x="0" y="140"/>
                    </a:cubicBezTo>
                    <a:cubicBezTo>
                      <a:pt x="0" y="141"/>
                      <a:pt x="0" y="141"/>
                      <a:pt x="0" y="141"/>
                    </a:cubicBezTo>
                    <a:cubicBezTo>
                      <a:pt x="2" y="144"/>
                      <a:pt x="2" y="144"/>
                      <a:pt x="2" y="144"/>
                    </a:cubicBezTo>
                    <a:cubicBezTo>
                      <a:pt x="1" y="145"/>
                      <a:pt x="1" y="145"/>
                      <a:pt x="1" y="145"/>
                    </a:cubicBezTo>
                    <a:cubicBezTo>
                      <a:pt x="1" y="145"/>
                      <a:pt x="2" y="148"/>
                      <a:pt x="2" y="148"/>
                    </a:cubicBezTo>
                    <a:cubicBezTo>
                      <a:pt x="3" y="148"/>
                      <a:pt x="4" y="148"/>
                      <a:pt x="4" y="148"/>
                    </a:cubicBezTo>
                    <a:cubicBezTo>
                      <a:pt x="5" y="148"/>
                      <a:pt x="6" y="148"/>
                      <a:pt x="6" y="148"/>
                    </a:cubicBezTo>
                    <a:cubicBezTo>
                      <a:pt x="6" y="148"/>
                      <a:pt x="8" y="149"/>
                      <a:pt x="8" y="150"/>
                    </a:cubicBezTo>
                    <a:cubicBezTo>
                      <a:pt x="8" y="150"/>
                      <a:pt x="8" y="151"/>
                      <a:pt x="9" y="152"/>
                    </a:cubicBezTo>
                    <a:cubicBezTo>
                      <a:pt x="9" y="152"/>
                      <a:pt x="10" y="154"/>
                      <a:pt x="10" y="154"/>
                    </a:cubicBezTo>
                    <a:cubicBezTo>
                      <a:pt x="10" y="155"/>
                      <a:pt x="11" y="157"/>
                      <a:pt x="11" y="157"/>
                    </a:cubicBezTo>
                    <a:cubicBezTo>
                      <a:pt x="11" y="157"/>
                      <a:pt x="10" y="158"/>
                      <a:pt x="10" y="158"/>
                    </a:cubicBezTo>
                    <a:cubicBezTo>
                      <a:pt x="9" y="159"/>
                      <a:pt x="9" y="159"/>
                      <a:pt x="9" y="159"/>
                    </a:cubicBezTo>
                    <a:cubicBezTo>
                      <a:pt x="7" y="159"/>
                      <a:pt x="7" y="159"/>
                      <a:pt x="7" y="159"/>
                    </a:cubicBezTo>
                    <a:cubicBezTo>
                      <a:pt x="7" y="159"/>
                      <a:pt x="6" y="160"/>
                      <a:pt x="6" y="160"/>
                    </a:cubicBezTo>
                    <a:cubicBezTo>
                      <a:pt x="6" y="160"/>
                      <a:pt x="6" y="160"/>
                      <a:pt x="7" y="161"/>
                    </a:cubicBezTo>
                    <a:cubicBezTo>
                      <a:pt x="11" y="161"/>
                      <a:pt x="11" y="161"/>
                      <a:pt x="11" y="161"/>
                    </a:cubicBezTo>
                    <a:cubicBezTo>
                      <a:pt x="12" y="163"/>
                      <a:pt x="12" y="163"/>
                      <a:pt x="12" y="163"/>
                    </a:cubicBezTo>
                    <a:cubicBezTo>
                      <a:pt x="12" y="163"/>
                      <a:pt x="13" y="163"/>
                      <a:pt x="14" y="164"/>
                    </a:cubicBezTo>
                    <a:cubicBezTo>
                      <a:pt x="14" y="164"/>
                      <a:pt x="16" y="164"/>
                      <a:pt x="16" y="164"/>
                    </a:cubicBezTo>
                    <a:cubicBezTo>
                      <a:pt x="17" y="165"/>
                      <a:pt x="19" y="166"/>
                      <a:pt x="19" y="166"/>
                    </a:cubicBezTo>
                    <a:cubicBezTo>
                      <a:pt x="21" y="168"/>
                      <a:pt x="21" y="168"/>
                      <a:pt x="21" y="168"/>
                    </a:cubicBezTo>
                    <a:cubicBezTo>
                      <a:pt x="21" y="170"/>
                      <a:pt x="21" y="170"/>
                      <a:pt x="21" y="170"/>
                    </a:cubicBezTo>
                    <a:cubicBezTo>
                      <a:pt x="23" y="172"/>
                      <a:pt x="23" y="172"/>
                      <a:pt x="23" y="172"/>
                    </a:cubicBezTo>
                    <a:cubicBezTo>
                      <a:pt x="23" y="172"/>
                      <a:pt x="26" y="172"/>
                      <a:pt x="26" y="172"/>
                    </a:cubicBezTo>
                    <a:cubicBezTo>
                      <a:pt x="27" y="172"/>
                      <a:pt x="26" y="173"/>
                      <a:pt x="26" y="173"/>
                    </a:cubicBezTo>
                    <a:cubicBezTo>
                      <a:pt x="27" y="174"/>
                      <a:pt x="27" y="174"/>
                      <a:pt x="27" y="174"/>
                    </a:cubicBezTo>
                    <a:cubicBezTo>
                      <a:pt x="30" y="173"/>
                      <a:pt x="30" y="173"/>
                      <a:pt x="30" y="173"/>
                    </a:cubicBezTo>
                    <a:cubicBezTo>
                      <a:pt x="32" y="172"/>
                      <a:pt x="32" y="172"/>
                      <a:pt x="32" y="172"/>
                    </a:cubicBezTo>
                    <a:cubicBezTo>
                      <a:pt x="33" y="171"/>
                      <a:pt x="33" y="171"/>
                      <a:pt x="33" y="171"/>
                    </a:cubicBezTo>
                    <a:cubicBezTo>
                      <a:pt x="33" y="171"/>
                      <a:pt x="34" y="170"/>
                      <a:pt x="36" y="170"/>
                    </a:cubicBezTo>
                    <a:cubicBezTo>
                      <a:pt x="37" y="170"/>
                      <a:pt x="40" y="170"/>
                      <a:pt x="40" y="170"/>
                    </a:cubicBezTo>
                    <a:cubicBezTo>
                      <a:pt x="41" y="171"/>
                      <a:pt x="41" y="171"/>
                      <a:pt x="41" y="171"/>
                    </a:cubicBezTo>
                    <a:cubicBezTo>
                      <a:pt x="41" y="171"/>
                      <a:pt x="41" y="172"/>
                      <a:pt x="42" y="173"/>
                    </a:cubicBezTo>
                    <a:cubicBezTo>
                      <a:pt x="42" y="173"/>
                      <a:pt x="43" y="174"/>
                      <a:pt x="43" y="174"/>
                    </a:cubicBezTo>
                    <a:cubicBezTo>
                      <a:pt x="46" y="173"/>
                      <a:pt x="46" y="173"/>
                      <a:pt x="46" y="173"/>
                    </a:cubicBezTo>
                    <a:cubicBezTo>
                      <a:pt x="46" y="173"/>
                      <a:pt x="46" y="175"/>
                      <a:pt x="46" y="176"/>
                    </a:cubicBezTo>
                    <a:cubicBezTo>
                      <a:pt x="46" y="176"/>
                      <a:pt x="46" y="176"/>
                      <a:pt x="46" y="177"/>
                    </a:cubicBezTo>
                    <a:cubicBezTo>
                      <a:pt x="46" y="177"/>
                      <a:pt x="45" y="178"/>
                      <a:pt x="45" y="178"/>
                    </a:cubicBezTo>
                    <a:cubicBezTo>
                      <a:pt x="45" y="178"/>
                      <a:pt x="44" y="179"/>
                      <a:pt x="44" y="179"/>
                    </a:cubicBezTo>
                    <a:cubicBezTo>
                      <a:pt x="43" y="179"/>
                      <a:pt x="43" y="180"/>
                      <a:pt x="42" y="180"/>
                    </a:cubicBezTo>
                    <a:cubicBezTo>
                      <a:pt x="42" y="181"/>
                      <a:pt x="42" y="182"/>
                      <a:pt x="42" y="182"/>
                    </a:cubicBezTo>
                    <a:cubicBezTo>
                      <a:pt x="42" y="184"/>
                      <a:pt x="42" y="184"/>
                      <a:pt x="42" y="184"/>
                    </a:cubicBezTo>
                    <a:cubicBezTo>
                      <a:pt x="42" y="184"/>
                      <a:pt x="41" y="186"/>
                      <a:pt x="40" y="186"/>
                    </a:cubicBezTo>
                    <a:cubicBezTo>
                      <a:pt x="40" y="186"/>
                      <a:pt x="39" y="187"/>
                      <a:pt x="39" y="187"/>
                    </a:cubicBezTo>
                    <a:cubicBezTo>
                      <a:pt x="38" y="187"/>
                      <a:pt x="37" y="188"/>
                      <a:pt x="37" y="188"/>
                    </a:cubicBezTo>
                    <a:cubicBezTo>
                      <a:pt x="37" y="188"/>
                      <a:pt x="36" y="188"/>
                      <a:pt x="35" y="188"/>
                    </a:cubicBezTo>
                    <a:cubicBezTo>
                      <a:pt x="35" y="189"/>
                      <a:pt x="35" y="189"/>
                      <a:pt x="35" y="189"/>
                    </a:cubicBezTo>
                    <a:cubicBezTo>
                      <a:pt x="36" y="191"/>
                      <a:pt x="36" y="191"/>
                      <a:pt x="36" y="191"/>
                    </a:cubicBezTo>
                    <a:cubicBezTo>
                      <a:pt x="38" y="193"/>
                      <a:pt x="38" y="193"/>
                      <a:pt x="38" y="193"/>
                    </a:cubicBezTo>
                    <a:cubicBezTo>
                      <a:pt x="39" y="194"/>
                      <a:pt x="39" y="194"/>
                      <a:pt x="39" y="194"/>
                    </a:cubicBezTo>
                    <a:cubicBezTo>
                      <a:pt x="39" y="194"/>
                      <a:pt x="40" y="195"/>
                      <a:pt x="40" y="195"/>
                    </a:cubicBezTo>
                    <a:cubicBezTo>
                      <a:pt x="41" y="196"/>
                      <a:pt x="40" y="197"/>
                      <a:pt x="40" y="197"/>
                    </a:cubicBezTo>
                    <a:cubicBezTo>
                      <a:pt x="40" y="198"/>
                      <a:pt x="40" y="198"/>
                      <a:pt x="40" y="198"/>
                    </a:cubicBezTo>
                    <a:cubicBezTo>
                      <a:pt x="38" y="198"/>
                      <a:pt x="38" y="198"/>
                      <a:pt x="38" y="198"/>
                    </a:cubicBezTo>
                    <a:cubicBezTo>
                      <a:pt x="38" y="198"/>
                      <a:pt x="37" y="199"/>
                      <a:pt x="37" y="199"/>
                    </a:cubicBezTo>
                    <a:cubicBezTo>
                      <a:pt x="36" y="199"/>
                      <a:pt x="36" y="197"/>
                      <a:pt x="36" y="197"/>
                    </a:cubicBezTo>
                    <a:cubicBezTo>
                      <a:pt x="34" y="197"/>
                      <a:pt x="34" y="197"/>
                      <a:pt x="34" y="197"/>
                    </a:cubicBezTo>
                    <a:cubicBezTo>
                      <a:pt x="33" y="198"/>
                      <a:pt x="33" y="198"/>
                      <a:pt x="33" y="198"/>
                    </a:cubicBezTo>
                    <a:cubicBezTo>
                      <a:pt x="33" y="198"/>
                      <a:pt x="33" y="199"/>
                      <a:pt x="33" y="200"/>
                    </a:cubicBezTo>
                    <a:cubicBezTo>
                      <a:pt x="33" y="200"/>
                      <a:pt x="33" y="201"/>
                      <a:pt x="33" y="201"/>
                    </a:cubicBezTo>
                    <a:cubicBezTo>
                      <a:pt x="33" y="201"/>
                      <a:pt x="34" y="201"/>
                      <a:pt x="35" y="202"/>
                    </a:cubicBezTo>
                    <a:cubicBezTo>
                      <a:pt x="36" y="202"/>
                      <a:pt x="35" y="203"/>
                      <a:pt x="35" y="203"/>
                    </a:cubicBezTo>
                    <a:cubicBezTo>
                      <a:pt x="35" y="203"/>
                      <a:pt x="35" y="205"/>
                      <a:pt x="36" y="205"/>
                    </a:cubicBezTo>
                    <a:cubicBezTo>
                      <a:pt x="37" y="206"/>
                      <a:pt x="35" y="207"/>
                      <a:pt x="35" y="207"/>
                    </a:cubicBezTo>
                    <a:cubicBezTo>
                      <a:pt x="35" y="207"/>
                      <a:pt x="35" y="208"/>
                      <a:pt x="36" y="208"/>
                    </a:cubicBezTo>
                    <a:cubicBezTo>
                      <a:pt x="36" y="208"/>
                      <a:pt x="37" y="209"/>
                      <a:pt x="37" y="209"/>
                    </a:cubicBezTo>
                    <a:cubicBezTo>
                      <a:pt x="39" y="210"/>
                      <a:pt x="39" y="210"/>
                      <a:pt x="39" y="210"/>
                    </a:cubicBezTo>
                    <a:cubicBezTo>
                      <a:pt x="39" y="210"/>
                      <a:pt x="40" y="210"/>
                      <a:pt x="41" y="210"/>
                    </a:cubicBezTo>
                    <a:cubicBezTo>
                      <a:pt x="41" y="210"/>
                      <a:pt x="44" y="212"/>
                      <a:pt x="44" y="212"/>
                    </a:cubicBezTo>
                    <a:cubicBezTo>
                      <a:pt x="44" y="212"/>
                      <a:pt x="45" y="213"/>
                      <a:pt x="45" y="213"/>
                    </a:cubicBezTo>
                    <a:cubicBezTo>
                      <a:pt x="48" y="215"/>
                      <a:pt x="48" y="215"/>
                      <a:pt x="48" y="215"/>
                    </a:cubicBezTo>
                    <a:cubicBezTo>
                      <a:pt x="50" y="216"/>
                      <a:pt x="50" y="216"/>
                      <a:pt x="50" y="216"/>
                    </a:cubicBezTo>
                    <a:cubicBezTo>
                      <a:pt x="51" y="218"/>
                      <a:pt x="51" y="218"/>
                      <a:pt x="51" y="218"/>
                    </a:cubicBezTo>
                    <a:cubicBezTo>
                      <a:pt x="52" y="217"/>
                      <a:pt x="52" y="217"/>
                      <a:pt x="52" y="217"/>
                    </a:cubicBezTo>
                    <a:cubicBezTo>
                      <a:pt x="53" y="217"/>
                      <a:pt x="53" y="217"/>
                      <a:pt x="53" y="217"/>
                    </a:cubicBezTo>
                    <a:cubicBezTo>
                      <a:pt x="53" y="215"/>
                      <a:pt x="53" y="215"/>
                      <a:pt x="53" y="215"/>
                    </a:cubicBezTo>
                    <a:cubicBezTo>
                      <a:pt x="56" y="215"/>
                      <a:pt x="56" y="215"/>
                      <a:pt x="56" y="215"/>
                    </a:cubicBezTo>
                    <a:cubicBezTo>
                      <a:pt x="56" y="215"/>
                      <a:pt x="57" y="215"/>
                      <a:pt x="57" y="215"/>
                    </a:cubicBezTo>
                    <a:cubicBezTo>
                      <a:pt x="57" y="216"/>
                      <a:pt x="58" y="216"/>
                      <a:pt x="58" y="216"/>
                    </a:cubicBezTo>
                    <a:cubicBezTo>
                      <a:pt x="58" y="218"/>
                      <a:pt x="58" y="218"/>
                      <a:pt x="58" y="218"/>
                    </a:cubicBezTo>
                    <a:cubicBezTo>
                      <a:pt x="59" y="218"/>
                      <a:pt x="59" y="218"/>
                      <a:pt x="59" y="218"/>
                    </a:cubicBezTo>
                    <a:cubicBezTo>
                      <a:pt x="59" y="218"/>
                      <a:pt x="61" y="219"/>
                      <a:pt x="61" y="219"/>
                    </a:cubicBezTo>
                    <a:cubicBezTo>
                      <a:pt x="61" y="219"/>
                      <a:pt x="62" y="220"/>
                      <a:pt x="62" y="220"/>
                    </a:cubicBezTo>
                    <a:cubicBezTo>
                      <a:pt x="62" y="221"/>
                      <a:pt x="63" y="221"/>
                      <a:pt x="63" y="221"/>
                    </a:cubicBezTo>
                    <a:cubicBezTo>
                      <a:pt x="63" y="221"/>
                      <a:pt x="65" y="221"/>
                      <a:pt x="65" y="221"/>
                    </a:cubicBezTo>
                    <a:cubicBezTo>
                      <a:pt x="66" y="221"/>
                      <a:pt x="66" y="222"/>
                      <a:pt x="66" y="222"/>
                    </a:cubicBezTo>
                    <a:cubicBezTo>
                      <a:pt x="66" y="222"/>
                      <a:pt x="67" y="223"/>
                      <a:pt x="67" y="224"/>
                    </a:cubicBezTo>
                    <a:cubicBezTo>
                      <a:pt x="67" y="224"/>
                      <a:pt x="68" y="224"/>
                      <a:pt x="68" y="224"/>
                    </a:cubicBezTo>
                    <a:cubicBezTo>
                      <a:pt x="70" y="224"/>
                      <a:pt x="70" y="224"/>
                      <a:pt x="70" y="224"/>
                    </a:cubicBezTo>
                    <a:cubicBezTo>
                      <a:pt x="70" y="224"/>
                      <a:pt x="70" y="224"/>
                      <a:pt x="70" y="224"/>
                    </a:cubicBezTo>
                    <a:cubicBezTo>
                      <a:pt x="72" y="224"/>
                      <a:pt x="72" y="224"/>
                      <a:pt x="72" y="224"/>
                    </a:cubicBezTo>
                    <a:cubicBezTo>
                      <a:pt x="72" y="226"/>
                      <a:pt x="72" y="226"/>
                      <a:pt x="72" y="226"/>
                    </a:cubicBezTo>
                    <a:cubicBezTo>
                      <a:pt x="72" y="227"/>
                      <a:pt x="72" y="227"/>
                      <a:pt x="72" y="227"/>
                    </a:cubicBezTo>
                    <a:cubicBezTo>
                      <a:pt x="72" y="227"/>
                      <a:pt x="74" y="229"/>
                      <a:pt x="75" y="229"/>
                    </a:cubicBezTo>
                    <a:cubicBezTo>
                      <a:pt x="76" y="229"/>
                      <a:pt x="77" y="229"/>
                      <a:pt x="77" y="229"/>
                    </a:cubicBezTo>
                    <a:cubicBezTo>
                      <a:pt x="78" y="229"/>
                      <a:pt x="77" y="230"/>
                      <a:pt x="77" y="230"/>
                    </a:cubicBezTo>
                    <a:cubicBezTo>
                      <a:pt x="77" y="231"/>
                      <a:pt x="78" y="231"/>
                      <a:pt x="78" y="231"/>
                    </a:cubicBezTo>
                    <a:cubicBezTo>
                      <a:pt x="79" y="231"/>
                      <a:pt x="81" y="231"/>
                      <a:pt x="81" y="231"/>
                    </a:cubicBezTo>
                    <a:cubicBezTo>
                      <a:pt x="82" y="231"/>
                      <a:pt x="82" y="231"/>
                      <a:pt x="83" y="232"/>
                    </a:cubicBezTo>
                    <a:cubicBezTo>
                      <a:pt x="83" y="232"/>
                      <a:pt x="84" y="233"/>
                      <a:pt x="84" y="233"/>
                    </a:cubicBezTo>
                    <a:cubicBezTo>
                      <a:pt x="84" y="233"/>
                      <a:pt x="84" y="233"/>
                      <a:pt x="85" y="233"/>
                    </a:cubicBezTo>
                    <a:cubicBezTo>
                      <a:pt x="85" y="233"/>
                      <a:pt x="85" y="234"/>
                      <a:pt x="86" y="234"/>
                    </a:cubicBezTo>
                    <a:cubicBezTo>
                      <a:pt x="87" y="234"/>
                      <a:pt x="87" y="233"/>
                      <a:pt x="87" y="233"/>
                    </a:cubicBezTo>
                    <a:cubicBezTo>
                      <a:pt x="87" y="233"/>
                      <a:pt x="89" y="233"/>
                      <a:pt x="89" y="233"/>
                    </a:cubicBezTo>
                    <a:cubicBezTo>
                      <a:pt x="89" y="233"/>
                      <a:pt x="92" y="235"/>
                      <a:pt x="92" y="235"/>
                    </a:cubicBezTo>
                    <a:cubicBezTo>
                      <a:pt x="92" y="235"/>
                      <a:pt x="94" y="235"/>
                      <a:pt x="95" y="235"/>
                    </a:cubicBezTo>
                    <a:cubicBezTo>
                      <a:pt x="96" y="235"/>
                      <a:pt x="97" y="234"/>
                      <a:pt x="97" y="234"/>
                    </a:cubicBezTo>
                    <a:cubicBezTo>
                      <a:pt x="99" y="234"/>
                      <a:pt x="99" y="234"/>
                      <a:pt x="99" y="234"/>
                    </a:cubicBezTo>
                    <a:cubicBezTo>
                      <a:pt x="99" y="234"/>
                      <a:pt x="99" y="234"/>
                      <a:pt x="99" y="234"/>
                    </a:cubicBezTo>
                    <a:cubicBezTo>
                      <a:pt x="101" y="233"/>
                      <a:pt x="101" y="233"/>
                      <a:pt x="101" y="233"/>
                    </a:cubicBezTo>
                    <a:cubicBezTo>
                      <a:pt x="102" y="233"/>
                      <a:pt x="102" y="233"/>
                      <a:pt x="102" y="233"/>
                    </a:cubicBezTo>
                    <a:cubicBezTo>
                      <a:pt x="104" y="234"/>
                      <a:pt x="104" y="234"/>
                      <a:pt x="104" y="234"/>
                    </a:cubicBezTo>
                    <a:cubicBezTo>
                      <a:pt x="103" y="235"/>
                      <a:pt x="103" y="235"/>
                      <a:pt x="103" y="235"/>
                    </a:cubicBezTo>
                    <a:cubicBezTo>
                      <a:pt x="103" y="238"/>
                      <a:pt x="103" y="238"/>
                      <a:pt x="103" y="238"/>
                    </a:cubicBezTo>
                    <a:cubicBezTo>
                      <a:pt x="104" y="238"/>
                      <a:pt x="104" y="238"/>
                      <a:pt x="104" y="238"/>
                    </a:cubicBezTo>
                    <a:cubicBezTo>
                      <a:pt x="106" y="235"/>
                      <a:pt x="106" y="235"/>
                      <a:pt x="106" y="235"/>
                    </a:cubicBezTo>
                    <a:cubicBezTo>
                      <a:pt x="109" y="233"/>
                      <a:pt x="109" y="233"/>
                      <a:pt x="109" y="233"/>
                    </a:cubicBezTo>
                    <a:cubicBezTo>
                      <a:pt x="113" y="233"/>
                      <a:pt x="113" y="233"/>
                      <a:pt x="113" y="233"/>
                    </a:cubicBezTo>
                    <a:cubicBezTo>
                      <a:pt x="116" y="233"/>
                      <a:pt x="116" y="233"/>
                      <a:pt x="116" y="233"/>
                    </a:cubicBezTo>
                    <a:cubicBezTo>
                      <a:pt x="121" y="234"/>
                      <a:pt x="121" y="234"/>
                      <a:pt x="121" y="234"/>
                    </a:cubicBezTo>
                    <a:cubicBezTo>
                      <a:pt x="122" y="236"/>
                      <a:pt x="122" y="236"/>
                      <a:pt x="122" y="236"/>
                    </a:cubicBezTo>
                    <a:cubicBezTo>
                      <a:pt x="124" y="236"/>
                      <a:pt x="124" y="236"/>
                      <a:pt x="124" y="236"/>
                    </a:cubicBezTo>
                    <a:cubicBezTo>
                      <a:pt x="124" y="236"/>
                      <a:pt x="126" y="235"/>
                      <a:pt x="126" y="235"/>
                    </a:cubicBezTo>
                    <a:cubicBezTo>
                      <a:pt x="127" y="235"/>
                      <a:pt x="128" y="235"/>
                      <a:pt x="129" y="234"/>
                    </a:cubicBezTo>
                    <a:cubicBezTo>
                      <a:pt x="129" y="234"/>
                      <a:pt x="130" y="234"/>
                      <a:pt x="130" y="233"/>
                    </a:cubicBezTo>
                    <a:cubicBezTo>
                      <a:pt x="130" y="233"/>
                      <a:pt x="130" y="232"/>
                      <a:pt x="130" y="232"/>
                    </a:cubicBezTo>
                    <a:cubicBezTo>
                      <a:pt x="130" y="232"/>
                      <a:pt x="132" y="232"/>
                      <a:pt x="132" y="231"/>
                    </a:cubicBezTo>
                    <a:cubicBezTo>
                      <a:pt x="132" y="230"/>
                      <a:pt x="133" y="230"/>
                      <a:pt x="133" y="229"/>
                    </a:cubicBezTo>
                    <a:cubicBezTo>
                      <a:pt x="134" y="229"/>
                      <a:pt x="135" y="229"/>
                      <a:pt x="136" y="228"/>
                    </a:cubicBezTo>
                    <a:cubicBezTo>
                      <a:pt x="137" y="228"/>
                      <a:pt x="138" y="228"/>
                      <a:pt x="138" y="228"/>
                    </a:cubicBezTo>
                    <a:cubicBezTo>
                      <a:pt x="139" y="227"/>
                      <a:pt x="140" y="226"/>
                      <a:pt x="140" y="226"/>
                    </a:cubicBezTo>
                    <a:cubicBezTo>
                      <a:pt x="140" y="225"/>
                      <a:pt x="140" y="225"/>
                      <a:pt x="141" y="225"/>
                    </a:cubicBezTo>
                    <a:cubicBezTo>
                      <a:pt x="141" y="224"/>
                      <a:pt x="143" y="224"/>
                      <a:pt x="143" y="224"/>
                    </a:cubicBezTo>
                    <a:cubicBezTo>
                      <a:pt x="144" y="224"/>
                      <a:pt x="145" y="225"/>
                      <a:pt x="147" y="225"/>
                    </a:cubicBezTo>
                    <a:cubicBezTo>
                      <a:pt x="148" y="226"/>
                      <a:pt x="149" y="225"/>
                      <a:pt x="149" y="224"/>
                    </a:cubicBezTo>
                    <a:cubicBezTo>
                      <a:pt x="149" y="224"/>
                      <a:pt x="152" y="223"/>
                      <a:pt x="152" y="223"/>
                    </a:cubicBezTo>
                    <a:cubicBezTo>
                      <a:pt x="153" y="223"/>
                      <a:pt x="154" y="224"/>
                      <a:pt x="154" y="224"/>
                    </a:cubicBezTo>
                    <a:cubicBezTo>
                      <a:pt x="154" y="225"/>
                      <a:pt x="156" y="227"/>
                      <a:pt x="156" y="228"/>
                    </a:cubicBezTo>
                    <a:cubicBezTo>
                      <a:pt x="156" y="228"/>
                      <a:pt x="155" y="230"/>
                      <a:pt x="155" y="230"/>
                    </a:cubicBezTo>
                    <a:cubicBezTo>
                      <a:pt x="155" y="231"/>
                      <a:pt x="153" y="232"/>
                      <a:pt x="153" y="232"/>
                    </a:cubicBezTo>
                    <a:cubicBezTo>
                      <a:pt x="158" y="234"/>
                      <a:pt x="158" y="234"/>
                      <a:pt x="158" y="234"/>
                    </a:cubicBezTo>
                    <a:cubicBezTo>
                      <a:pt x="158" y="234"/>
                      <a:pt x="158" y="234"/>
                      <a:pt x="159" y="233"/>
                    </a:cubicBezTo>
                    <a:cubicBezTo>
                      <a:pt x="159" y="233"/>
                      <a:pt x="160" y="233"/>
                      <a:pt x="160" y="233"/>
                    </a:cubicBezTo>
                    <a:cubicBezTo>
                      <a:pt x="159" y="232"/>
                      <a:pt x="159" y="232"/>
                      <a:pt x="159" y="231"/>
                    </a:cubicBezTo>
                    <a:cubicBezTo>
                      <a:pt x="160" y="231"/>
                      <a:pt x="160" y="231"/>
                      <a:pt x="160" y="231"/>
                    </a:cubicBezTo>
                    <a:cubicBezTo>
                      <a:pt x="160" y="231"/>
                      <a:pt x="161" y="231"/>
                      <a:pt x="162" y="231"/>
                    </a:cubicBezTo>
                    <a:cubicBezTo>
                      <a:pt x="162" y="231"/>
                      <a:pt x="163" y="231"/>
                      <a:pt x="163" y="231"/>
                    </a:cubicBezTo>
                    <a:cubicBezTo>
                      <a:pt x="163" y="231"/>
                      <a:pt x="165" y="232"/>
                      <a:pt x="165" y="232"/>
                    </a:cubicBezTo>
                    <a:cubicBezTo>
                      <a:pt x="165" y="233"/>
                      <a:pt x="167" y="234"/>
                      <a:pt x="167" y="234"/>
                    </a:cubicBezTo>
                    <a:cubicBezTo>
                      <a:pt x="167" y="235"/>
                      <a:pt x="167" y="235"/>
                      <a:pt x="169" y="236"/>
                    </a:cubicBezTo>
                    <a:cubicBezTo>
                      <a:pt x="170" y="237"/>
                      <a:pt x="169" y="238"/>
                      <a:pt x="170" y="239"/>
                    </a:cubicBezTo>
                    <a:cubicBezTo>
                      <a:pt x="170" y="240"/>
                      <a:pt x="170" y="241"/>
                      <a:pt x="170" y="242"/>
                    </a:cubicBezTo>
                    <a:cubicBezTo>
                      <a:pt x="171" y="243"/>
                      <a:pt x="171" y="244"/>
                      <a:pt x="171" y="245"/>
                    </a:cubicBezTo>
                    <a:cubicBezTo>
                      <a:pt x="171" y="246"/>
                      <a:pt x="169" y="248"/>
                      <a:pt x="169" y="248"/>
                    </a:cubicBezTo>
                    <a:cubicBezTo>
                      <a:pt x="169" y="249"/>
                      <a:pt x="165" y="253"/>
                      <a:pt x="165" y="253"/>
                    </a:cubicBezTo>
                    <a:cubicBezTo>
                      <a:pt x="164" y="254"/>
                      <a:pt x="165" y="255"/>
                      <a:pt x="164" y="256"/>
                    </a:cubicBezTo>
                    <a:cubicBezTo>
                      <a:pt x="164" y="256"/>
                      <a:pt x="163" y="256"/>
                      <a:pt x="163" y="256"/>
                    </a:cubicBezTo>
                    <a:cubicBezTo>
                      <a:pt x="163" y="256"/>
                      <a:pt x="162" y="257"/>
                      <a:pt x="162" y="258"/>
                    </a:cubicBezTo>
                    <a:cubicBezTo>
                      <a:pt x="162" y="259"/>
                      <a:pt x="162" y="260"/>
                      <a:pt x="162" y="260"/>
                    </a:cubicBezTo>
                    <a:cubicBezTo>
                      <a:pt x="162" y="261"/>
                      <a:pt x="163" y="262"/>
                      <a:pt x="164" y="262"/>
                    </a:cubicBezTo>
                    <a:cubicBezTo>
                      <a:pt x="165" y="263"/>
                      <a:pt x="164" y="264"/>
                      <a:pt x="164" y="265"/>
                    </a:cubicBezTo>
                    <a:cubicBezTo>
                      <a:pt x="164" y="266"/>
                      <a:pt x="166" y="265"/>
                      <a:pt x="167" y="265"/>
                    </a:cubicBezTo>
                    <a:cubicBezTo>
                      <a:pt x="167" y="264"/>
                      <a:pt x="169" y="264"/>
                      <a:pt x="169" y="264"/>
                    </a:cubicBezTo>
                    <a:cubicBezTo>
                      <a:pt x="169" y="264"/>
                      <a:pt x="170" y="266"/>
                      <a:pt x="170" y="266"/>
                    </a:cubicBezTo>
                    <a:cubicBezTo>
                      <a:pt x="170" y="266"/>
                      <a:pt x="172" y="266"/>
                      <a:pt x="172" y="267"/>
                    </a:cubicBezTo>
                    <a:cubicBezTo>
                      <a:pt x="173" y="267"/>
                      <a:pt x="172" y="268"/>
                      <a:pt x="172" y="269"/>
                    </a:cubicBezTo>
                    <a:cubicBezTo>
                      <a:pt x="172" y="270"/>
                      <a:pt x="174" y="270"/>
                      <a:pt x="174" y="270"/>
                    </a:cubicBezTo>
                    <a:cubicBezTo>
                      <a:pt x="174" y="270"/>
                      <a:pt x="174" y="271"/>
                      <a:pt x="175" y="271"/>
                    </a:cubicBezTo>
                    <a:cubicBezTo>
                      <a:pt x="176" y="270"/>
                      <a:pt x="176" y="270"/>
                      <a:pt x="177" y="271"/>
                    </a:cubicBezTo>
                    <a:cubicBezTo>
                      <a:pt x="177" y="271"/>
                      <a:pt x="178" y="271"/>
                      <a:pt x="178" y="272"/>
                    </a:cubicBezTo>
                    <a:cubicBezTo>
                      <a:pt x="178" y="273"/>
                      <a:pt x="177" y="274"/>
                      <a:pt x="177" y="275"/>
                    </a:cubicBezTo>
                    <a:cubicBezTo>
                      <a:pt x="176" y="276"/>
                      <a:pt x="175" y="277"/>
                      <a:pt x="175" y="277"/>
                    </a:cubicBezTo>
                    <a:cubicBezTo>
                      <a:pt x="174" y="278"/>
                      <a:pt x="178" y="275"/>
                      <a:pt x="179" y="275"/>
                    </a:cubicBezTo>
                    <a:cubicBezTo>
                      <a:pt x="179" y="275"/>
                      <a:pt x="179" y="277"/>
                      <a:pt x="180" y="277"/>
                    </a:cubicBezTo>
                    <a:cubicBezTo>
                      <a:pt x="181" y="277"/>
                      <a:pt x="176" y="279"/>
                      <a:pt x="177" y="280"/>
                    </a:cubicBezTo>
                    <a:cubicBezTo>
                      <a:pt x="177" y="280"/>
                      <a:pt x="177" y="281"/>
                      <a:pt x="177" y="282"/>
                    </a:cubicBezTo>
                    <a:cubicBezTo>
                      <a:pt x="178" y="283"/>
                      <a:pt x="178" y="283"/>
                      <a:pt x="179" y="282"/>
                    </a:cubicBezTo>
                    <a:cubicBezTo>
                      <a:pt x="181" y="282"/>
                      <a:pt x="182" y="282"/>
                      <a:pt x="183" y="281"/>
                    </a:cubicBezTo>
                    <a:cubicBezTo>
                      <a:pt x="183" y="281"/>
                      <a:pt x="185" y="281"/>
                      <a:pt x="185" y="282"/>
                    </a:cubicBezTo>
                    <a:cubicBezTo>
                      <a:pt x="185" y="282"/>
                      <a:pt x="185" y="283"/>
                      <a:pt x="185" y="283"/>
                    </a:cubicBezTo>
                    <a:cubicBezTo>
                      <a:pt x="185" y="283"/>
                      <a:pt x="186" y="284"/>
                      <a:pt x="186" y="284"/>
                    </a:cubicBezTo>
                    <a:cubicBezTo>
                      <a:pt x="187" y="284"/>
                      <a:pt x="188" y="284"/>
                      <a:pt x="189" y="284"/>
                    </a:cubicBezTo>
                    <a:cubicBezTo>
                      <a:pt x="189" y="284"/>
                      <a:pt x="189" y="282"/>
                      <a:pt x="189" y="282"/>
                    </a:cubicBezTo>
                    <a:cubicBezTo>
                      <a:pt x="188" y="281"/>
                      <a:pt x="188" y="279"/>
                      <a:pt x="188" y="279"/>
                    </a:cubicBezTo>
                    <a:cubicBezTo>
                      <a:pt x="188" y="279"/>
                      <a:pt x="188" y="278"/>
                      <a:pt x="188" y="277"/>
                    </a:cubicBezTo>
                    <a:cubicBezTo>
                      <a:pt x="188" y="277"/>
                      <a:pt x="189" y="276"/>
                      <a:pt x="189" y="276"/>
                    </a:cubicBezTo>
                    <a:cubicBezTo>
                      <a:pt x="189" y="276"/>
                      <a:pt x="192" y="276"/>
                      <a:pt x="192" y="276"/>
                    </a:cubicBezTo>
                    <a:cubicBezTo>
                      <a:pt x="192" y="276"/>
                      <a:pt x="193" y="275"/>
                      <a:pt x="193" y="275"/>
                    </a:cubicBezTo>
                    <a:cubicBezTo>
                      <a:pt x="193" y="274"/>
                      <a:pt x="195" y="274"/>
                      <a:pt x="195" y="274"/>
                    </a:cubicBezTo>
                    <a:cubicBezTo>
                      <a:pt x="196" y="275"/>
                      <a:pt x="197" y="275"/>
                      <a:pt x="197" y="275"/>
                    </a:cubicBezTo>
                    <a:cubicBezTo>
                      <a:pt x="197" y="275"/>
                      <a:pt x="198" y="274"/>
                      <a:pt x="198" y="274"/>
                    </a:cubicBezTo>
                    <a:cubicBezTo>
                      <a:pt x="199" y="274"/>
                      <a:pt x="199" y="275"/>
                      <a:pt x="199" y="275"/>
                    </a:cubicBezTo>
                    <a:cubicBezTo>
                      <a:pt x="200" y="274"/>
                      <a:pt x="200" y="274"/>
                      <a:pt x="201" y="274"/>
                    </a:cubicBezTo>
                    <a:cubicBezTo>
                      <a:pt x="201" y="274"/>
                      <a:pt x="202" y="275"/>
                      <a:pt x="203" y="274"/>
                    </a:cubicBezTo>
                    <a:cubicBezTo>
                      <a:pt x="204" y="274"/>
                      <a:pt x="205" y="273"/>
                      <a:pt x="205" y="273"/>
                    </a:cubicBezTo>
                    <a:cubicBezTo>
                      <a:pt x="206" y="273"/>
                      <a:pt x="207" y="273"/>
                      <a:pt x="207" y="273"/>
                    </a:cubicBezTo>
                    <a:cubicBezTo>
                      <a:pt x="207" y="273"/>
                      <a:pt x="209" y="271"/>
                      <a:pt x="209" y="271"/>
                    </a:cubicBezTo>
                    <a:cubicBezTo>
                      <a:pt x="209" y="270"/>
                      <a:pt x="209" y="271"/>
                      <a:pt x="211" y="270"/>
                    </a:cubicBezTo>
                    <a:cubicBezTo>
                      <a:pt x="212" y="270"/>
                      <a:pt x="213" y="270"/>
                      <a:pt x="213" y="270"/>
                    </a:cubicBezTo>
                    <a:cubicBezTo>
                      <a:pt x="213" y="270"/>
                      <a:pt x="214" y="271"/>
                      <a:pt x="214" y="271"/>
                    </a:cubicBezTo>
                    <a:cubicBezTo>
                      <a:pt x="214" y="271"/>
                      <a:pt x="216" y="272"/>
                      <a:pt x="217" y="272"/>
                    </a:cubicBezTo>
                    <a:cubicBezTo>
                      <a:pt x="217" y="272"/>
                      <a:pt x="219" y="272"/>
                      <a:pt x="220" y="273"/>
                    </a:cubicBezTo>
                    <a:cubicBezTo>
                      <a:pt x="220" y="273"/>
                      <a:pt x="222" y="272"/>
                      <a:pt x="222" y="272"/>
                    </a:cubicBezTo>
                    <a:cubicBezTo>
                      <a:pt x="222" y="272"/>
                      <a:pt x="222" y="274"/>
                      <a:pt x="222" y="274"/>
                    </a:cubicBezTo>
                    <a:cubicBezTo>
                      <a:pt x="221" y="275"/>
                      <a:pt x="221" y="276"/>
                      <a:pt x="221" y="276"/>
                    </a:cubicBezTo>
                    <a:cubicBezTo>
                      <a:pt x="221" y="277"/>
                      <a:pt x="222" y="278"/>
                      <a:pt x="222" y="278"/>
                    </a:cubicBezTo>
                    <a:cubicBezTo>
                      <a:pt x="222" y="279"/>
                      <a:pt x="227" y="281"/>
                      <a:pt x="228" y="281"/>
                    </a:cubicBezTo>
                    <a:cubicBezTo>
                      <a:pt x="229" y="282"/>
                      <a:pt x="230" y="281"/>
                      <a:pt x="231" y="281"/>
                    </a:cubicBezTo>
                    <a:cubicBezTo>
                      <a:pt x="231" y="281"/>
                      <a:pt x="231" y="282"/>
                      <a:pt x="231" y="282"/>
                    </a:cubicBezTo>
                    <a:cubicBezTo>
                      <a:pt x="232" y="282"/>
                      <a:pt x="232" y="281"/>
                      <a:pt x="232" y="281"/>
                    </a:cubicBezTo>
                    <a:cubicBezTo>
                      <a:pt x="233" y="281"/>
                      <a:pt x="234" y="282"/>
                      <a:pt x="234" y="281"/>
                    </a:cubicBezTo>
                    <a:cubicBezTo>
                      <a:pt x="234" y="281"/>
                      <a:pt x="235" y="281"/>
                      <a:pt x="235" y="281"/>
                    </a:cubicBezTo>
                    <a:cubicBezTo>
                      <a:pt x="236" y="281"/>
                      <a:pt x="237" y="281"/>
                      <a:pt x="237" y="279"/>
                    </a:cubicBezTo>
                    <a:cubicBezTo>
                      <a:pt x="237" y="279"/>
                      <a:pt x="237" y="279"/>
                      <a:pt x="237" y="279"/>
                    </a:cubicBezTo>
                    <a:cubicBezTo>
                      <a:pt x="238" y="280"/>
                      <a:pt x="239" y="281"/>
                      <a:pt x="240" y="281"/>
                    </a:cubicBezTo>
                    <a:cubicBezTo>
                      <a:pt x="241" y="283"/>
                      <a:pt x="242" y="282"/>
                      <a:pt x="244" y="281"/>
                    </a:cubicBezTo>
                    <a:cubicBezTo>
                      <a:pt x="244" y="281"/>
                      <a:pt x="245" y="281"/>
                      <a:pt x="246" y="282"/>
                    </a:cubicBezTo>
                    <a:cubicBezTo>
                      <a:pt x="246" y="282"/>
                      <a:pt x="246" y="282"/>
                      <a:pt x="246" y="282"/>
                    </a:cubicBezTo>
                    <a:cubicBezTo>
                      <a:pt x="246" y="282"/>
                      <a:pt x="245" y="283"/>
                      <a:pt x="245" y="283"/>
                    </a:cubicBezTo>
                    <a:cubicBezTo>
                      <a:pt x="245" y="283"/>
                      <a:pt x="245" y="283"/>
                      <a:pt x="245" y="283"/>
                    </a:cubicBezTo>
                    <a:cubicBezTo>
                      <a:pt x="245" y="284"/>
                      <a:pt x="245" y="285"/>
                      <a:pt x="245" y="285"/>
                    </a:cubicBezTo>
                    <a:cubicBezTo>
                      <a:pt x="245" y="287"/>
                      <a:pt x="245" y="288"/>
                      <a:pt x="246" y="289"/>
                    </a:cubicBezTo>
                    <a:cubicBezTo>
                      <a:pt x="246" y="290"/>
                      <a:pt x="248" y="291"/>
                      <a:pt x="249" y="290"/>
                    </a:cubicBezTo>
                    <a:cubicBezTo>
                      <a:pt x="250" y="290"/>
                      <a:pt x="250" y="289"/>
                      <a:pt x="250" y="288"/>
                    </a:cubicBezTo>
                    <a:cubicBezTo>
                      <a:pt x="250" y="288"/>
                      <a:pt x="250" y="287"/>
                      <a:pt x="250" y="287"/>
                    </a:cubicBezTo>
                    <a:cubicBezTo>
                      <a:pt x="249" y="286"/>
                      <a:pt x="248" y="286"/>
                      <a:pt x="248" y="286"/>
                    </a:cubicBezTo>
                    <a:cubicBezTo>
                      <a:pt x="248" y="286"/>
                      <a:pt x="248" y="286"/>
                      <a:pt x="248" y="285"/>
                    </a:cubicBezTo>
                    <a:cubicBezTo>
                      <a:pt x="248" y="285"/>
                      <a:pt x="250" y="285"/>
                      <a:pt x="250" y="284"/>
                    </a:cubicBezTo>
                    <a:cubicBezTo>
                      <a:pt x="252" y="282"/>
                      <a:pt x="254" y="281"/>
                      <a:pt x="256" y="281"/>
                    </a:cubicBezTo>
                    <a:cubicBezTo>
                      <a:pt x="257" y="282"/>
                      <a:pt x="258" y="281"/>
                      <a:pt x="258" y="281"/>
                    </a:cubicBezTo>
                    <a:cubicBezTo>
                      <a:pt x="259" y="280"/>
                      <a:pt x="260" y="279"/>
                      <a:pt x="262" y="280"/>
                    </a:cubicBezTo>
                    <a:cubicBezTo>
                      <a:pt x="263" y="280"/>
                      <a:pt x="264" y="279"/>
                      <a:pt x="265" y="279"/>
                    </a:cubicBezTo>
                    <a:cubicBezTo>
                      <a:pt x="266" y="279"/>
                      <a:pt x="266" y="276"/>
                      <a:pt x="268" y="278"/>
                    </a:cubicBezTo>
                    <a:cubicBezTo>
                      <a:pt x="269" y="278"/>
                      <a:pt x="269" y="278"/>
                      <a:pt x="269" y="278"/>
                    </a:cubicBezTo>
                    <a:cubicBezTo>
                      <a:pt x="271" y="277"/>
                      <a:pt x="271" y="275"/>
                      <a:pt x="272" y="273"/>
                    </a:cubicBezTo>
                    <a:cubicBezTo>
                      <a:pt x="272" y="273"/>
                      <a:pt x="273" y="273"/>
                      <a:pt x="273" y="274"/>
                    </a:cubicBezTo>
                    <a:cubicBezTo>
                      <a:pt x="273" y="274"/>
                      <a:pt x="273" y="274"/>
                      <a:pt x="273" y="274"/>
                    </a:cubicBezTo>
                    <a:cubicBezTo>
                      <a:pt x="274" y="276"/>
                      <a:pt x="275" y="276"/>
                      <a:pt x="276" y="274"/>
                    </a:cubicBezTo>
                    <a:cubicBezTo>
                      <a:pt x="276" y="274"/>
                      <a:pt x="277" y="274"/>
                      <a:pt x="277" y="274"/>
                    </a:cubicBezTo>
                    <a:cubicBezTo>
                      <a:pt x="278" y="274"/>
                      <a:pt x="278" y="274"/>
                      <a:pt x="278" y="274"/>
                    </a:cubicBezTo>
                    <a:cubicBezTo>
                      <a:pt x="278" y="274"/>
                      <a:pt x="278" y="273"/>
                      <a:pt x="278" y="273"/>
                    </a:cubicBezTo>
                    <a:cubicBezTo>
                      <a:pt x="278" y="273"/>
                      <a:pt x="278" y="273"/>
                      <a:pt x="278" y="273"/>
                    </a:cubicBezTo>
                    <a:cubicBezTo>
                      <a:pt x="278" y="273"/>
                      <a:pt x="278" y="273"/>
                      <a:pt x="278" y="272"/>
                    </a:cubicBezTo>
                    <a:cubicBezTo>
                      <a:pt x="279" y="272"/>
                      <a:pt x="279" y="273"/>
                      <a:pt x="279" y="273"/>
                    </a:cubicBezTo>
                    <a:cubicBezTo>
                      <a:pt x="280" y="273"/>
                      <a:pt x="280" y="273"/>
                      <a:pt x="281" y="273"/>
                    </a:cubicBezTo>
                    <a:cubicBezTo>
                      <a:pt x="281" y="272"/>
                      <a:pt x="281" y="272"/>
                      <a:pt x="282" y="272"/>
                    </a:cubicBezTo>
                    <a:cubicBezTo>
                      <a:pt x="283" y="272"/>
                      <a:pt x="284" y="273"/>
                      <a:pt x="285" y="271"/>
                    </a:cubicBezTo>
                    <a:cubicBezTo>
                      <a:pt x="285" y="271"/>
                      <a:pt x="286" y="272"/>
                      <a:pt x="286" y="272"/>
                    </a:cubicBezTo>
                    <a:cubicBezTo>
                      <a:pt x="287" y="272"/>
                      <a:pt x="290" y="271"/>
                      <a:pt x="291" y="270"/>
                    </a:cubicBezTo>
                    <a:cubicBezTo>
                      <a:pt x="292" y="269"/>
                      <a:pt x="293" y="268"/>
                      <a:pt x="294" y="266"/>
                    </a:cubicBezTo>
                    <a:cubicBezTo>
                      <a:pt x="294" y="266"/>
                      <a:pt x="294" y="266"/>
                      <a:pt x="295" y="266"/>
                    </a:cubicBezTo>
                    <a:cubicBezTo>
                      <a:pt x="296" y="266"/>
                      <a:pt x="297" y="267"/>
                      <a:pt x="297" y="265"/>
                    </a:cubicBezTo>
                    <a:cubicBezTo>
                      <a:pt x="297" y="265"/>
                      <a:pt x="297" y="264"/>
                      <a:pt x="297" y="264"/>
                    </a:cubicBezTo>
                    <a:cubicBezTo>
                      <a:pt x="297" y="264"/>
                      <a:pt x="297" y="264"/>
                      <a:pt x="297" y="264"/>
                    </a:cubicBezTo>
                    <a:cubicBezTo>
                      <a:pt x="297" y="264"/>
                      <a:pt x="297" y="264"/>
                      <a:pt x="298" y="264"/>
                    </a:cubicBezTo>
                    <a:cubicBezTo>
                      <a:pt x="299" y="264"/>
                      <a:pt x="299" y="263"/>
                      <a:pt x="300" y="263"/>
                    </a:cubicBezTo>
                    <a:cubicBezTo>
                      <a:pt x="300" y="262"/>
                      <a:pt x="302" y="262"/>
                      <a:pt x="302" y="261"/>
                    </a:cubicBezTo>
                    <a:cubicBezTo>
                      <a:pt x="302" y="261"/>
                      <a:pt x="302" y="261"/>
                      <a:pt x="302" y="261"/>
                    </a:cubicBezTo>
                    <a:cubicBezTo>
                      <a:pt x="302" y="261"/>
                      <a:pt x="302" y="260"/>
                      <a:pt x="302" y="260"/>
                    </a:cubicBezTo>
                    <a:cubicBezTo>
                      <a:pt x="302" y="259"/>
                      <a:pt x="303" y="259"/>
                      <a:pt x="304" y="259"/>
                    </a:cubicBezTo>
                    <a:cubicBezTo>
                      <a:pt x="305" y="258"/>
                      <a:pt x="306" y="258"/>
                      <a:pt x="306" y="257"/>
                    </a:cubicBezTo>
                    <a:cubicBezTo>
                      <a:pt x="306" y="257"/>
                      <a:pt x="306" y="257"/>
                      <a:pt x="306" y="257"/>
                    </a:cubicBezTo>
                    <a:cubicBezTo>
                      <a:pt x="305" y="257"/>
                      <a:pt x="305" y="257"/>
                      <a:pt x="305" y="257"/>
                    </a:cubicBezTo>
                    <a:cubicBezTo>
                      <a:pt x="305" y="256"/>
                      <a:pt x="306" y="256"/>
                      <a:pt x="306" y="256"/>
                    </a:cubicBezTo>
                    <a:cubicBezTo>
                      <a:pt x="308" y="256"/>
                      <a:pt x="308" y="254"/>
                      <a:pt x="309" y="254"/>
                    </a:cubicBezTo>
                    <a:cubicBezTo>
                      <a:pt x="309" y="254"/>
                      <a:pt x="309" y="253"/>
                      <a:pt x="309" y="253"/>
                    </a:cubicBezTo>
                    <a:cubicBezTo>
                      <a:pt x="309" y="253"/>
                      <a:pt x="309" y="253"/>
                      <a:pt x="309" y="253"/>
                    </a:cubicBezTo>
                    <a:cubicBezTo>
                      <a:pt x="309" y="252"/>
                      <a:pt x="310" y="252"/>
                      <a:pt x="310" y="252"/>
                    </a:cubicBezTo>
                    <a:cubicBezTo>
                      <a:pt x="310" y="252"/>
                      <a:pt x="311" y="252"/>
                      <a:pt x="311" y="251"/>
                    </a:cubicBezTo>
                    <a:cubicBezTo>
                      <a:pt x="311" y="251"/>
                      <a:pt x="311" y="251"/>
                      <a:pt x="311" y="250"/>
                    </a:cubicBezTo>
                    <a:cubicBezTo>
                      <a:pt x="311" y="250"/>
                      <a:pt x="312" y="249"/>
                      <a:pt x="312" y="249"/>
                    </a:cubicBezTo>
                    <a:cubicBezTo>
                      <a:pt x="312" y="248"/>
                      <a:pt x="312" y="248"/>
                      <a:pt x="312" y="248"/>
                    </a:cubicBezTo>
                    <a:cubicBezTo>
                      <a:pt x="312" y="248"/>
                      <a:pt x="312" y="248"/>
                      <a:pt x="312" y="247"/>
                    </a:cubicBezTo>
                    <a:cubicBezTo>
                      <a:pt x="312" y="247"/>
                      <a:pt x="312" y="246"/>
                      <a:pt x="312" y="245"/>
                    </a:cubicBezTo>
                    <a:cubicBezTo>
                      <a:pt x="313" y="245"/>
                      <a:pt x="313" y="246"/>
                      <a:pt x="314" y="246"/>
                    </a:cubicBezTo>
                    <a:cubicBezTo>
                      <a:pt x="314" y="245"/>
                      <a:pt x="314" y="245"/>
                      <a:pt x="314" y="245"/>
                    </a:cubicBezTo>
                    <a:cubicBezTo>
                      <a:pt x="313" y="245"/>
                      <a:pt x="313" y="244"/>
                      <a:pt x="312" y="244"/>
                    </a:cubicBezTo>
                    <a:cubicBezTo>
                      <a:pt x="312" y="244"/>
                      <a:pt x="312" y="244"/>
                      <a:pt x="312" y="244"/>
                    </a:cubicBezTo>
                    <a:cubicBezTo>
                      <a:pt x="312" y="244"/>
                      <a:pt x="312" y="244"/>
                      <a:pt x="312" y="244"/>
                    </a:cubicBezTo>
                    <a:cubicBezTo>
                      <a:pt x="312" y="243"/>
                      <a:pt x="312" y="243"/>
                      <a:pt x="312" y="243"/>
                    </a:cubicBezTo>
                    <a:cubicBezTo>
                      <a:pt x="312" y="243"/>
                      <a:pt x="313" y="243"/>
                      <a:pt x="313" y="243"/>
                    </a:cubicBezTo>
                    <a:cubicBezTo>
                      <a:pt x="316" y="242"/>
                      <a:pt x="318" y="240"/>
                      <a:pt x="319" y="237"/>
                    </a:cubicBezTo>
                    <a:cubicBezTo>
                      <a:pt x="320" y="235"/>
                      <a:pt x="320" y="233"/>
                      <a:pt x="323" y="232"/>
                    </a:cubicBezTo>
                    <a:cubicBezTo>
                      <a:pt x="323" y="232"/>
                      <a:pt x="323" y="232"/>
                      <a:pt x="323" y="232"/>
                    </a:cubicBezTo>
                    <a:cubicBezTo>
                      <a:pt x="324" y="231"/>
                      <a:pt x="324" y="231"/>
                      <a:pt x="324" y="231"/>
                    </a:cubicBezTo>
                    <a:cubicBezTo>
                      <a:pt x="325" y="231"/>
                      <a:pt x="326" y="231"/>
                      <a:pt x="326" y="230"/>
                    </a:cubicBezTo>
                    <a:cubicBezTo>
                      <a:pt x="326" y="230"/>
                      <a:pt x="326" y="230"/>
                      <a:pt x="325" y="229"/>
                    </a:cubicBezTo>
                    <a:cubicBezTo>
                      <a:pt x="325" y="229"/>
                      <a:pt x="325" y="229"/>
                      <a:pt x="325" y="229"/>
                    </a:cubicBezTo>
                    <a:cubicBezTo>
                      <a:pt x="325" y="229"/>
                      <a:pt x="325" y="229"/>
                      <a:pt x="325" y="229"/>
                    </a:cubicBezTo>
                    <a:cubicBezTo>
                      <a:pt x="325" y="229"/>
                      <a:pt x="325" y="229"/>
                      <a:pt x="325" y="228"/>
                    </a:cubicBezTo>
                    <a:cubicBezTo>
                      <a:pt x="325" y="228"/>
                      <a:pt x="325" y="228"/>
                      <a:pt x="325" y="228"/>
                    </a:cubicBezTo>
                    <a:cubicBezTo>
                      <a:pt x="325" y="228"/>
                      <a:pt x="326" y="227"/>
                      <a:pt x="326" y="227"/>
                    </a:cubicBezTo>
                    <a:cubicBezTo>
                      <a:pt x="326" y="227"/>
                      <a:pt x="326" y="226"/>
                      <a:pt x="326" y="226"/>
                    </a:cubicBezTo>
                    <a:cubicBezTo>
                      <a:pt x="326" y="225"/>
                      <a:pt x="326" y="225"/>
                      <a:pt x="327" y="225"/>
                    </a:cubicBezTo>
                    <a:cubicBezTo>
                      <a:pt x="327" y="225"/>
                      <a:pt x="327" y="225"/>
                      <a:pt x="327" y="225"/>
                    </a:cubicBezTo>
                    <a:cubicBezTo>
                      <a:pt x="328" y="225"/>
                      <a:pt x="328" y="224"/>
                      <a:pt x="328" y="223"/>
                    </a:cubicBezTo>
                    <a:cubicBezTo>
                      <a:pt x="328" y="223"/>
                      <a:pt x="328" y="223"/>
                      <a:pt x="328" y="222"/>
                    </a:cubicBezTo>
                    <a:cubicBezTo>
                      <a:pt x="328" y="222"/>
                      <a:pt x="328" y="221"/>
                      <a:pt x="327" y="221"/>
                    </a:cubicBezTo>
                    <a:cubicBezTo>
                      <a:pt x="327" y="220"/>
                      <a:pt x="327" y="219"/>
                      <a:pt x="328" y="219"/>
                    </a:cubicBezTo>
                    <a:cubicBezTo>
                      <a:pt x="328" y="219"/>
                      <a:pt x="328" y="219"/>
                      <a:pt x="328" y="219"/>
                    </a:cubicBezTo>
                    <a:cubicBezTo>
                      <a:pt x="328" y="219"/>
                      <a:pt x="328" y="219"/>
                      <a:pt x="328" y="219"/>
                    </a:cubicBezTo>
                    <a:cubicBezTo>
                      <a:pt x="328" y="218"/>
                      <a:pt x="328" y="218"/>
                      <a:pt x="328" y="218"/>
                    </a:cubicBezTo>
                    <a:cubicBezTo>
                      <a:pt x="328" y="218"/>
                      <a:pt x="327" y="218"/>
                      <a:pt x="327" y="218"/>
                    </a:cubicBezTo>
                    <a:cubicBezTo>
                      <a:pt x="326" y="217"/>
                      <a:pt x="325" y="216"/>
                      <a:pt x="325" y="216"/>
                    </a:cubicBezTo>
                    <a:cubicBezTo>
                      <a:pt x="324" y="215"/>
                      <a:pt x="324" y="215"/>
                      <a:pt x="324" y="215"/>
                    </a:cubicBezTo>
                    <a:cubicBezTo>
                      <a:pt x="324" y="215"/>
                      <a:pt x="323" y="215"/>
                      <a:pt x="323" y="215"/>
                    </a:cubicBezTo>
                    <a:cubicBezTo>
                      <a:pt x="322" y="215"/>
                      <a:pt x="322" y="215"/>
                      <a:pt x="321" y="215"/>
                    </a:cubicBezTo>
                    <a:cubicBezTo>
                      <a:pt x="321" y="215"/>
                      <a:pt x="321" y="215"/>
                      <a:pt x="321" y="215"/>
                    </a:cubicBezTo>
                    <a:cubicBezTo>
                      <a:pt x="320" y="215"/>
                      <a:pt x="320" y="215"/>
                      <a:pt x="320" y="216"/>
                    </a:cubicBezTo>
                    <a:cubicBezTo>
                      <a:pt x="320" y="216"/>
                      <a:pt x="320" y="215"/>
                      <a:pt x="319" y="215"/>
                    </a:cubicBezTo>
                    <a:cubicBezTo>
                      <a:pt x="320" y="215"/>
                      <a:pt x="320" y="215"/>
                      <a:pt x="320" y="214"/>
                    </a:cubicBezTo>
                    <a:cubicBezTo>
                      <a:pt x="321" y="214"/>
                      <a:pt x="321" y="213"/>
                      <a:pt x="322" y="213"/>
                    </a:cubicBezTo>
                    <a:cubicBezTo>
                      <a:pt x="322" y="213"/>
                      <a:pt x="323" y="213"/>
                      <a:pt x="323" y="212"/>
                    </a:cubicBezTo>
                    <a:cubicBezTo>
                      <a:pt x="323" y="212"/>
                      <a:pt x="323" y="212"/>
                      <a:pt x="323" y="212"/>
                    </a:cubicBezTo>
                    <a:cubicBezTo>
                      <a:pt x="324" y="212"/>
                      <a:pt x="325" y="211"/>
                      <a:pt x="326" y="211"/>
                    </a:cubicBezTo>
                    <a:cubicBezTo>
                      <a:pt x="326" y="211"/>
                      <a:pt x="326" y="211"/>
                      <a:pt x="326" y="211"/>
                    </a:cubicBezTo>
                    <a:cubicBezTo>
                      <a:pt x="327" y="211"/>
                      <a:pt x="327" y="211"/>
                      <a:pt x="327" y="211"/>
                    </a:cubicBezTo>
                    <a:cubicBezTo>
                      <a:pt x="328" y="210"/>
                      <a:pt x="328" y="210"/>
                      <a:pt x="328" y="209"/>
                    </a:cubicBezTo>
                    <a:cubicBezTo>
                      <a:pt x="327" y="209"/>
                      <a:pt x="327" y="209"/>
                      <a:pt x="327" y="208"/>
                    </a:cubicBezTo>
                    <a:cubicBezTo>
                      <a:pt x="327" y="208"/>
                      <a:pt x="327" y="206"/>
                      <a:pt x="326" y="207"/>
                    </a:cubicBezTo>
                    <a:cubicBezTo>
                      <a:pt x="325" y="207"/>
                      <a:pt x="325" y="207"/>
                      <a:pt x="325" y="207"/>
                    </a:cubicBezTo>
                    <a:cubicBezTo>
                      <a:pt x="325" y="206"/>
                      <a:pt x="325" y="206"/>
                      <a:pt x="326" y="206"/>
                    </a:cubicBezTo>
                    <a:cubicBezTo>
                      <a:pt x="326" y="206"/>
                      <a:pt x="326" y="206"/>
                      <a:pt x="326" y="206"/>
                    </a:cubicBezTo>
                    <a:cubicBezTo>
                      <a:pt x="326" y="206"/>
                      <a:pt x="327" y="206"/>
                      <a:pt x="327" y="206"/>
                    </a:cubicBezTo>
                    <a:cubicBezTo>
                      <a:pt x="327" y="206"/>
                      <a:pt x="327" y="206"/>
                      <a:pt x="327" y="206"/>
                    </a:cubicBezTo>
                    <a:cubicBezTo>
                      <a:pt x="328" y="205"/>
                      <a:pt x="328" y="205"/>
                      <a:pt x="328" y="205"/>
                    </a:cubicBezTo>
                    <a:cubicBezTo>
                      <a:pt x="328" y="204"/>
                      <a:pt x="328" y="204"/>
                      <a:pt x="328" y="204"/>
                    </a:cubicBezTo>
                    <a:cubicBezTo>
                      <a:pt x="328" y="204"/>
                      <a:pt x="328" y="203"/>
                      <a:pt x="327" y="203"/>
                    </a:cubicBezTo>
                    <a:cubicBezTo>
                      <a:pt x="327" y="203"/>
                      <a:pt x="327" y="203"/>
                      <a:pt x="327" y="203"/>
                    </a:cubicBezTo>
                    <a:cubicBezTo>
                      <a:pt x="327" y="202"/>
                      <a:pt x="327" y="202"/>
                      <a:pt x="326" y="202"/>
                    </a:cubicBezTo>
                    <a:cubicBezTo>
                      <a:pt x="326" y="201"/>
                      <a:pt x="325" y="200"/>
                      <a:pt x="324" y="200"/>
                    </a:cubicBezTo>
                    <a:cubicBezTo>
                      <a:pt x="324" y="200"/>
                      <a:pt x="324" y="200"/>
                      <a:pt x="324" y="200"/>
                    </a:cubicBezTo>
                    <a:cubicBezTo>
                      <a:pt x="324" y="200"/>
                      <a:pt x="324" y="200"/>
                      <a:pt x="324" y="200"/>
                    </a:cubicBezTo>
                    <a:cubicBezTo>
                      <a:pt x="324" y="199"/>
                      <a:pt x="323" y="198"/>
                      <a:pt x="323" y="198"/>
                    </a:cubicBezTo>
                    <a:cubicBezTo>
                      <a:pt x="323" y="198"/>
                      <a:pt x="322" y="197"/>
                      <a:pt x="322" y="197"/>
                    </a:cubicBezTo>
                    <a:cubicBezTo>
                      <a:pt x="322" y="197"/>
                      <a:pt x="321" y="197"/>
                      <a:pt x="321" y="197"/>
                    </a:cubicBezTo>
                    <a:cubicBezTo>
                      <a:pt x="321" y="196"/>
                      <a:pt x="321" y="196"/>
                      <a:pt x="321" y="196"/>
                    </a:cubicBezTo>
                    <a:cubicBezTo>
                      <a:pt x="321" y="196"/>
                      <a:pt x="321" y="196"/>
                      <a:pt x="321" y="196"/>
                    </a:cubicBezTo>
                    <a:cubicBezTo>
                      <a:pt x="321" y="196"/>
                      <a:pt x="321" y="195"/>
                      <a:pt x="321" y="195"/>
                    </a:cubicBezTo>
                    <a:cubicBezTo>
                      <a:pt x="321" y="194"/>
                      <a:pt x="321" y="194"/>
                      <a:pt x="320" y="193"/>
                    </a:cubicBezTo>
                    <a:cubicBezTo>
                      <a:pt x="320" y="193"/>
                      <a:pt x="320" y="192"/>
                      <a:pt x="320" y="192"/>
                    </a:cubicBezTo>
                    <a:cubicBezTo>
                      <a:pt x="320" y="192"/>
                      <a:pt x="319" y="191"/>
                      <a:pt x="319" y="191"/>
                    </a:cubicBezTo>
                    <a:cubicBezTo>
                      <a:pt x="319" y="191"/>
                      <a:pt x="319" y="190"/>
                      <a:pt x="318" y="190"/>
                    </a:cubicBezTo>
                    <a:cubicBezTo>
                      <a:pt x="318" y="190"/>
                      <a:pt x="318" y="190"/>
                      <a:pt x="318" y="189"/>
                    </a:cubicBezTo>
                    <a:cubicBezTo>
                      <a:pt x="318" y="189"/>
                      <a:pt x="318" y="189"/>
                      <a:pt x="318" y="189"/>
                    </a:cubicBezTo>
                    <a:cubicBezTo>
                      <a:pt x="318" y="187"/>
                      <a:pt x="317" y="186"/>
                      <a:pt x="316" y="185"/>
                    </a:cubicBezTo>
                    <a:cubicBezTo>
                      <a:pt x="316" y="185"/>
                      <a:pt x="316" y="185"/>
                      <a:pt x="316" y="184"/>
                    </a:cubicBezTo>
                    <a:cubicBezTo>
                      <a:pt x="316" y="184"/>
                      <a:pt x="316" y="184"/>
                      <a:pt x="316" y="184"/>
                    </a:cubicBezTo>
                    <a:cubicBezTo>
                      <a:pt x="316" y="183"/>
                      <a:pt x="316" y="183"/>
                      <a:pt x="316" y="183"/>
                    </a:cubicBezTo>
                    <a:cubicBezTo>
                      <a:pt x="316" y="183"/>
                      <a:pt x="316" y="183"/>
                      <a:pt x="316" y="183"/>
                    </a:cubicBezTo>
                    <a:cubicBezTo>
                      <a:pt x="316" y="183"/>
                      <a:pt x="315" y="182"/>
                      <a:pt x="315" y="182"/>
                    </a:cubicBezTo>
                    <a:cubicBezTo>
                      <a:pt x="314" y="182"/>
                      <a:pt x="313" y="181"/>
                      <a:pt x="312" y="181"/>
                    </a:cubicBezTo>
                    <a:cubicBezTo>
                      <a:pt x="312" y="181"/>
                      <a:pt x="312" y="181"/>
                      <a:pt x="311" y="181"/>
                    </a:cubicBezTo>
                    <a:cubicBezTo>
                      <a:pt x="311" y="180"/>
                      <a:pt x="311" y="180"/>
                      <a:pt x="311" y="180"/>
                    </a:cubicBezTo>
                    <a:cubicBezTo>
                      <a:pt x="311" y="180"/>
                      <a:pt x="311" y="180"/>
                      <a:pt x="311" y="180"/>
                    </a:cubicBezTo>
                    <a:cubicBezTo>
                      <a:pt x="311" y="179"/>
                      <a:pt x="310" y="179"/>
                      <a:pt x="310" y="179"/>
                    </a:cubicBezTo>
                    <a:cubicBezTo>
                      <a:pt x="310" y="179"/>
                      <a:pt x="310" y="179"/>
                      <a:pt x="309" y="179"/>
                    </a:cubicBezTo>
                    <a:cubicBezTo>
                      <a:pt x="309" y="177"/>
                      <a:pt x="309" y="177"/>
                      <a:pt x="309" y="177"/>
                    </a:cubicBezTo>
                    <a:cubicBezTo>
                      <a:pt x="310" y="177"/>
                      <a:pt x="310" y="177"/>
                      <a:pt x="310" y="177"/>
                    </a:cubicBezTo>
                    <a:cubicBezTo>
                      <a:pt x="310" y="176"/>
                      <a:pt x="310" y="176"/>
                      <a:pt x="310" y="176"/>
                    </a:cubicBezTo>
                    <a:cubicBezTo>
                      <a:pt x="310" y="175"/>
                      <a:pt x="311" y="175"/>
                      <a:pt x="311" y="175"/>
                    </a:cubicBezTo>
                    <a:cubicBezTo>
                      <a:pt x="311" y="175"/>
                      <a:pt x="311" y="175"/>
                      <a:pt x="311" y="175"/>
                    </a:cubicBezTo>
                    <a:cubicBezTo>
                      <a:pt x="311" y="174"/>
                      <a:pt x="312" y="173"/>
                      <a:pt x="313" y="172"/>
                    </a:cubicBezTo>
                    <a:cubicBezTo>
                      <a:pt x="313" y="172"/>
                      <a:pt x="313" y="172"/>
                      <a:pt x="314" y="171"/>
                    </a:cubicBezTo>
                    <a:cubicBezTo>
                      <a:pt x="315" y="171"/>
                      <a:pt x="316" y="170"/>
                      <a:pt x="315" y="169"/>
                    </a:cubicBezTo>
                    <a:cubicBezTo>
                      <a:pt x="315" y="169"/>
                      <a:pt x="315" y="169"/>
                      <a:pt x="315" y="169"/>
                    </a:cubicBezTo>
                    <a:cubicBezTo>
                      <a:pt x="315" y="169"/>
                      <a:pt x="315" y="169"/>
                      <a:pt x="315" y="169"/>
                    </a:cubicBezTo>
                    <a:cubicBezTo>
                      <a:pt x="315" y="168"/>
                      <a:pt x="315" y="168"/>
                      <a:pt x="315" y="168"/>
                    </a:cubicBezTo>
                    <a:cubicBezTo>
                      <a:pt x="315" y="168"/>
                      <a:pt x="315" y="167"/>
                      <a:pt x="315" y="167"/>
                    </a:cubicBezTo>
                    <a:cubicBezTo>
                      <a:pt x="316" y="167"/>
                      <a:pt x="316" y="167"/>
                      <a:pt x="316" y="167"/>
                    </a:cubicBezTo>
                    <a:cubicBezTo>
                      <a:pt x="316" y="167"/>
                      <a:pt x="316" y="167"/>
                      <a:pt x="316" y="167"/>
                    </a:cubicBezTo>
                    <a:cubicBezTo>
                      <a:pt x="316" y="167"/>
                      <a:pt x="316" y="167"/>
                      <a:pt x="317" y="168"/>
                    </a:cubicBezTo>
                    <a:cubicBezTo>
                      <a:pt x="316" y="168"/>
                      <a:pt x="316" y="168"/>
                      <a:pt x="316" y="168"/>
                    </a:cubicBezTo>
                    <a:cubicBezTo>
                      <a:pt x="317" y="169"/>
                      <a:pt x="318" y="169"/>
                      <a:pt x="319" y="168"/>
                    </a:cubicBezTo>
                    <a:cubicBezTo>
                      <a:pt x="319" y="168"/>
                      <a:pt x="319" y="168"/>
                      <a:pt x="319" y="168"/>
                    </a:cubicBezTo>
                    <a:cubicBezTo>
                      <a:pt x="319" y="168"/>
                      <a:pt x="319" y="168"/>
                      <a:pt x="319" y="167"/>
                    </a:cubicBezTo>
                    <a:cubicBezTo>
                      <a:pt x="319" y="167"/>
                      <a:pt x="319" y="167"/>
                      <a:pt x="319" y="167"/>
                    </a:cubicBezTo>
                    <a:cubicBezTo>
                      <a:pt x="319" y="166"/>
                      <a:pt x="319" y="166"/>
                      <a:pt x="319" y="166"/>
                    </a:cubicBezTo>
                    <a:cubicBezTo>
                      <a:pt x="319" y="166"/>
                      <a:pt x="319" y="166"/>
                      <a:pt x="320" y="166"/>
                    </a:cubicBezTo>
                    <a:cubicBezTo>
                      <a:pt x="320" y="166"/>
                      <a:pt x="320" y="166"/>
                      <a:pt x="320" y="165"/>
                    </a:cubicBezTo>
                    <a:cubicBezTo>
                      <a:pt x="321" y="165"/>
                      <a:pt x="321" y="165"/>
                      <a:pt x="321" y="165"/>
                    </a:cubicBezTo>
                    <a:cubicBezTo>
                      <a:pt x="321" y="165"/>
                      <a:pt x="321" y="165"/>
                      <a:pt x="321" y="165"/>
                    </a:cubicBezTo>
                    <a:cubicBezTo>
                      <a:pt x="321" y="165"/>
                      <a:pt x="321" y="165"/>
                      <a:pt x="321" y="165"/>
                    </a:cubicBezTo>
                    <a:cubicBezTo>
                      <a:pt x="321" y="165"/>
                      <a:pt x="321" y="165"/>
                      <a:pt x="321" y="164"/>
                    </a:cubicBezTo>
                    <a:cubicBezTo>
                      <a:pt x="322" y="164"/>
                      <a:pt x="322" y="164"/>
                      <a:pt x="323" y="163"/>
                    </a:cubicBezTo>
                    <a:cubicBezTo>
                      <a:pt x="323" y="163"/>
                      <a:pt x="323" y="163"/>
                      <a:pt x="324" y="163"/>
                    </a:cubicBezTo>
                    <a:cubicBezTo>
                      <a:pt x="324" y="163"/>
                      <a:pt x="325" y="163"/>
                      <a:pt x="326" y="162"/>
                    </a:cubicBezTo>
                    <a:cubicBezTo>
                      <a:pt x="326" y="162"/>
                      <a:pt x="326" y="162"/>
                      <a:pt x="326" y="162"/>
                    </a:cubicBezTo>
                    <a:cubicBezTo>
                      <a:pt x="326" y="162"/>
                      <a:pt x="326" y="162"/>
                      <a:pt x="326" y="162"/>
                    </a:cubicBezTo>
                    <a:cubicBezTo>
                      <a:pt x="326" y="162"/>
                      <a:pt x="327" y="162"/>
                      <a:pt x="327" y="162"/>
                    </a:cubicBezTo>
                    <a:cubicBezTo>
                      <a:pt x="327" y="162"/>
                      <a:pt x="328" y="162"/>
                      <a:pt x="329" y="162"/>
                    </a:cubicBezTo>
                    <a:cubicBezTo>
                      <a:pt x="329" y="162"/>
                      <a:pt x="329" y="162"/>
                      <a:pt x="329" y="162"/>
                    </a:cubicBezTo>
                    <a:cubicBezTo>
                      <a:pt x="329" y="162"/>
                      <a:pt x="330" y="162"/>
                      <a:pt x="330" y="162"/>
                    </a:cubicBezTo>
                    <a:cubicBezTo>
                      <a:pt x="331" y="162"/>
                      <a:pt x="331" y="161"/>
                      <a:pt x="331" y="161"/>
                    </a:cubicBezTo>
                    <a:cubicBezTo>
                      <a:pt x="331" y="161"/>
                      <a:pt x="331" y="161"/>
                      <a:pt x="331" y="161"/>
                    </a:cubicBezTo>
                    <a:cubicBezTo>
                      <a:pt x="331" y="161"/>
                      <a:pt x="331" y="160"/>
                      <a:pt x="331" y="160"/>
                    </a:cubicBezTo>
                    <a:cubicBezTo>
                      <a:pt x="331" y="160"/>
                      <a:pt x="332" y="160"/>
                      <a:pt x="332" y="159"/>
                    </a:cubicBezTo>
                    <a:cubicBezTo>
                      <a:pt x="332" y="159"/>
                      <a:pt x="332" y="158"/>
                      <a:pt x="332" y="157"/>
                    </a:cubicBezTo>
                    <a:cubicBezTo>
                      <a:pt x="331" y="157"/>
                      <a:pt x="331" y="157"/>
                      <a:pt x="331" y="157"/>
                    </a:cubicBezTo>
                    <a:cubicBezTo>
                      <a:pt x="330" y="157"/>
                      <a:pt x="330" y="157"/>
                      <a:pt x="329" y="157"/>
                    </a:cubicBezTo>
                    <a:cubicBezTo>
                      <a:pt x="329" y="156"/>
                      <a:pt x="328" y="156"/>
                      <a:pt x="328" y="156"/>
                    </a:cubicBezTo>
                    <a:cubicBezTo>
                      <a:pt x="324" y="156"/>
                      <a:pt x="324" y="156"/>
                      <a:pt x="324" y="156"/>
                    </a:cubicBezTo>
                    <a:cubicBezTo>
                      <a:pt x="324" y="156"/>
                      <a:pt x="323" y="156"/>
                      <a:pt x="322" y="156"/>
                    </a:cubicBezTo>
                    <a:cubicBezTo>
                      <a:pt x="322" y="155"/>
                      <a:pt x="322" y="155"/>
                      <a:pt x="321" y="155"/>
                    </a:cubicBezTo>
                    <a:cubicBezTo>
                      <a:pt x="321" y="154"/>
                      <a:pt x="321" y="154"/>
                      <a:pt x="321" y="154"/>
                    </a:cubicBezTo>
                    <a:cubicBezTo>
                      <a:pt x="321" y="154"/>
                      <a:pt x="320" y="154"/>
                      <a:pt x="320" y="154"/>
                    </a:cubicBezTo>
                    <a:cubicBezTo>
                      <a:pt x="319" y="153"/>
                      <a:pt x="317" y="154"/>
                      <a:pt x="316" y="155"/>
                    </a:cubicBezTo>
                    <a:cubicBezTo>
                      <a:pt x="315" y="157"/>
                      <a:pt x="313" y="158"/>
                      <a:pt x="313" y="159"/>
                    </a:cubicBezTo>
                    <a:cubicBezTo>
                      <a:pt x="311" y="160"/>
                      <a:pt x="309" y="160"/>
                      <a:pt x="308" y="158"/>
                    </a:cubicBezTo>
                    <a:cubicBezTo>
                      <a:pt x="308" y="155"/>
                      <a:pt x="308" y="155"/>
                      <a:pt x="308" y="155"/>
                    </a:cubicBezTo>
                    <a:cubicBezTo>
                      <a:pt x="308" y="155"/>
                      <a:pt x="308" y="154"/>
                      <a:pt x="308" y="154"/>
                    </a:cubicBezTo>
                    <a:cubicBezTo>
                      <a:pt x="309" y="154"/>
                      <a:pt x="309" y="153"/>
                      <a:pt x="308" y="153"/>
                    </a:cubicBezTo>
                    <a:cubicBezTo>
                      <a:pt x="308" y="152"/>
                      <a:pt x="308" y="152"/>
                      <a:pt x="308" y="152"/>
                    </a:cubicBezTo>
                    <a:cubicBezTo>
                      <a:pt x="308" y="152"/>
                      <a:pt x="307" y="152"/>
                      <a:pt x="307" y="151"/>
                    </a:cubicBezTo>
                    <a:cubicBezTo>
                      <a:pt x="307" y="151"/>
                      <a:pt x="307" y="151"/>
                      <a:pt x="306" y="151"/>
                    </a:cubicBezTo>
                    <a:cubicBezTo>
                      <a:pt x="306" y="151"/>
                      <a:pt x="306" y="151"/>
                      <a:pt x="305" y="152"/>
                    </a:cubicBezTo>
                    <a:cubicBezTo>
                      <a:pt x="305" y="152"/>
                      <a:pt x="304" y="152"/>
                      <a:pt x="304" y="152"/>
                    </a:cubicBezTo>
                    <a:cubicBezTo>
                      <a:pt x="304" y="152"/>
                      <a:pt x="303" y="152"/>
                      <a:pt x="303" y="151"/>
                    </a:cubicBezTo>
                    <a:cubicBezTo>
                      <a:pt x="302" y="151"/>
                      <a:pt x="301" y="151"/>
                      <a:pt x="300" y="150"/>
                    </a:cubicBezTo>
                    <a:cubicBezTo>
                      <a:pt x="300" y="150"/>
                      <a:pt x="300" y="150"/>
                      <a:pt x="300" y="150"/>
                    </a:cubicBezTo>
                    <a:cubicBezTo>
                      <a:pt x="300" y="149"/>
                      <a:pt x="300" y="149"/>
                      <a:pt x="300" y="149"/>
                    </a:cubicBezTo>
                    <a:cubicBezTo>
                      <a:pt x="300" y="149"/>
                      <a:pt x="300" y="149"/>
                      <a:pt x="299" y="149"/>
                    </a:cubicBezTo>
                    <a:cubicBezTo>
                      <a:pt x="299" y="149"/>
                      <a:pt x="299" y="149"/>
                      <a:pt x="299" y="149"/>
                    </a:cubicBezTo>
                    <a:cubicBezTo>
                      <a:pt x="299" y="149"/>
                      <a:pt x="299" y="149"/>
                      <a:pt x="299" y="149"/>
                    </a:cubicBezTo>
                    <a:cubicBezTo>
                      <a:pt x="299" y="148"/>
                      <a:pt x="299" y="147"/>
                      <a:pt x="298" y="146"/>
                    </a:cubicBezTo>
                    <a:cubicBezTo>
                      <a:pt x="298" y="146"/>
                      <a:pt x="298" y="146"/>
                      <a:pt x="298" y="145"/>
                    </a:cubicBezTo>
                    <a:cubicBezTo>
                      <a:pt x="298" y="145"/>
                      <a:pt x="298" y="145"/>
                      <a:pt x="299" y="145"/>
                    </a:cubicBezTo>
                    <a:cubicBezTo>
                      <a:pt x="299" y="144"/>
                      <a:pt x="300" y="144"/>
                      <a:pt x="300" y="144"/>
                    </a:cubicBezTo>
                    <a:cubicBezTo>
                      <a:pt x="300" y="143"/>
                      <a:pt x="300" y="143"/>
                      <a:pt x="300" y="143"/>
                    </a:cubicBezTo>
                    <a:cubicBezTo>
                      <a:pt x="299" y="142"/>
                      <a:pt x="300" y="142"/>
                      <a:pt x="301" y="142"/>
                    </a:cubicBezTo>
                    <a:cubicBezTo>
                      <a:pt x="301" y="142"/>
                      <a:pt x="302" y="142"/>
                      <a:pt x="303" y="142"/>
                    </a:cubicBezTo>
                    <a:cubicBezTo>
                      <a:pt x="303" y="142"/>
                      <a:pt x="304" y="142"/>
                      <a:pt x="304" y="143"/>
                    </a:cubicBezTo>
                    <a:cubicBezTo>
                      <a:pt x="304" y="143"/>
                      <a:pt x="304" y="144"/>
                      <a:pt x="304" y="144"/>
                    </a:cubicBezTo>
                    <a:cubicBezTo>
                      <a:pt x="304" y="144"/>
                      <a:pt x="305" y="144"/>
                      <a:pt x="305" y="144"/>
                    </a:cubicBezTo>
                    <a:cubicBezTo>
                      <a:pt x="305" y="144"/>
                      <a:pt x="305" y="144"/>
                      <a:pt x="305" y="144"/>
                    </a:cubicBezTo>
                    <a:cubicBezTo>
                      <a:pt x="305" y="144"/>
                      <a:pt x="305" y="144"/>
                      <a:pt x="305" y="143"/>
                    </a:cubicBezTo>
                    <a:cubicBezTo>
                      <a:pt x="305" y="143"/>
                      <a:pt x="305" y="143"/>
                      <a:pt x="306" y="142"/>
                    </a:cubicBezTo>
                    <a:cubicBezTo>
                      <a:pt x="306" y="142"/>
                      <a:pt x="306" y="142"/>
                      <a:pt x="306" y="142"/>
                    </a:cubicBezTo>
                    <a:cubicBezTo>
                      <a:pt x="307" y="142"/>
                      <a:pt x="308" y="142"/>
                      <a:pt x="308" y="141"/>
                    </a:cubicBezTo>
                    <a:cubicBezTo>
                      <a:pt x="308" y="141"/>
                      <a:pt x="309" y="141"/>
                      <a:pt x="309" y="140"/>
                    </a:cubicBezTo>
                    <a:cubicBezTo>
                      <a:pt x="309" y="140"/>
                      <a:pt x="309" y="140"/>
                      <a:pt x="309" y="140"/>
                    </a:cubicBezTo>
                    <a:cubicBezTo>
                      <a:pt x="309" y="140"/>
                      <a:pt x="309" y="140"/>
                      <a:pt x="309" y="139"/>
                    </a:cubicBezTo>
                    <a:cubicBezTo>
                      <a:pt x="309" y="139"/>
                      <a:pt x="309" y="139"/>
                      <a:pt x="309" y="139"/>
                    </a:cubicBezTo>
                    <a:cubicBezTo>
                      <a:pt x="309" y="139"/>
                      <a:pt x="310" y="139"/>
                      <a:pt x="310" y="139"/>
                    </a:cubicBezTo>
                    <a:cubicBezTo>
                      <a:pt x="310" y="138"/>
                      <a:pt x="310" y="138"/>
                      <a:pt x="310" y="137"/>
                    </a:cubicBezTo>
                    <a:cubicBezTo>
                      <a:pt x="310" y="137"/>
                      <a:pt x="310" y="137"/>
                      <a:pt x="310" y="137"/>
                    </a:cubicBezTo>
                    <a:cubicBezTo>
                      <a:pt x="311" y="136"/>
                      <a:pt x="312" y="135"/>
                      <a:pt x="313" y="135"/>
                    </a:cubicBezTo>
                    <a:cubicBezTo>
                      <a:pt x="314" y="134"/>
                      <a:pt x="315" y="134"/>
                      <a:pt x="316" y="133"/>
                    </a:cubicBezTo>
                    <a:cubicBezTo>
                      <a:pt x="317" y="133"/>
                      <a:pt x="318" y="133"/>
                      <a:pt x="318" y="132"/>
                    </a:cubicBezTo>
                    <a:cubicBezTo>
                      <a:pt x="318" y="132"/>
                      <a:pt x="318" y="132"/>
                      <a:pt x="318" y="131"/>
                    </a:cubicBezTo>
                    <a:cubicBezTo>
                      <a:pt x="318" y="131"/>
                      <a:pt x="318" y="131"/>
                      <a:pt x="318" y="131"/>
                    </a:cubicBezTo>
                    <a:cubicBezTo>
                      <a:pt x="318" y="131"/>
                      <a:pt x="319" y="131"/>
                      <a:pt x="319" y="130"/>
                    </a:cubicBezTo>
                    <a:cubicBezTo>
                      <a:pt x="320" y="130"/>
                      <a:pt x="320" y="129"/>
                      <a:pt x="321" y="128"/>
                    </a:cubicBezTo>
                    <a:cubicBezTo>
                      <a:pt x="321" y="128"/>
                      <a:pt x="321" y="128"/>
                      <a:pt x="321" y="128"/>
                    </a:cubicBezTo>
                    <a:cubicBezTo>
                      <a:pt x="322" y="127"/>
                      <a:pt x="322" y="127"/>
                      <a:pt x="322" y="127"/>
                    </a:cubicBezTo>
                    <a:cubicBezTo>
                      <a:pt x="322" y="127"/>
                      <a:pt x="322" y="127"/>
                      <a:pt x="322" y="127"/>
                    </a:cubicBezTo>
                    <a:cubicBezTo>
                      <a:pt x="323" y="126"/>
                      <a:pt x="323" y="126"/>
                      <a:pt x="323" y="126"/>
                    </a:cubicBezTo>
                    <a:cubicBezTo>
                      <a:pt x="324" y="126"/>
                      <a:pt x="324" y="126"/>
                      <a:pt x="324" y="127"/>
                    </a:cubicBezTo>
                    <a:cubicBezTo>
                      <a:pt x="324" y="127"/>
                      <a:pt x="324" y="127"/>
                      <a:pt x="325" y="127"/>
                    </a:cubicBezTo>
                    <a:cubicBezTo>
                      <a:pt x="325" y="127"/>
                      <a:pt x="325" y="127"/>
                      <a:pt x="325" y="127"/>
                    </a:cubicBezTo>
                    <a:cubicBezTo>
                      <a:pt x="325" y="127"/>
                      <a:pt x="325" y="127"/>
                      <a:pt x="325" y="127"/>
                    </a:cubicBezTo>
                    <a:cubicBezTo>
                      <a:pt x="326" y="127"/>
                      <a:pt x="327" y="128"/>
                      <a:pt x="328" y="128"/>
                    </a:cubicBezTo>
                    <a:cubicBezTo>
                      <a:pt x="328" y="128"/>
                      <a:pt x="328" y="128"/>
                      <a:pt x="328" y="128"/>
                    </a:cubicBezTo>
                    <a:cubicBezTo>
                      <a:pt x="328" y="129"/>
                      <a:pt x="329" y="129"/>
                      <a:pt x="329" y="129"/>
                    </a:cubicBezTo>
                    <a:cubicBezTo>
                      <a:pt x="329" y="129"/>
                      <a:pt x="329" y="129"/>
                      <a:pt x="329" y="129"/>
                    </a:cubicBezTo>
                    <a:cubicBezTo>
                      <a:pt x="329" y="129"/>
                      <a:pt x="329" y="130"/>
                      <a:pt x="329" y="130"/>
                    </a:cubicBezTo>
                    <a:cubicBezTo>
                      <a:pt x="329" y="131"/>
                      <a:pt x="329" y="131"/>
                      <a:pt x="329" y="131"/>
                    </a:cubicBezTo>
                    <a:cubicBezTo>
                      <a:pt x="328" y="134"/>
                      <a:pt x="325" y="135"/>
                      <a:pt x="324" y="137"/>
                    </a:cubicBezTo>
                    <a:cubicBezTo>
                      <a:pt x="323" y="139"/>
                      <a:pt x="323" y="140"/>
                      <a:pt x="325" y="141"/>
                    </a:cubicBezTo>
                    <a:cubicBezTo>
                      <a:pt x="326" y="141"/>
                      <a:pt x="325" y="142"/>
                      <a:pt x="325" y="142"/>
                    </a:cubicBezTo>
                    <a:cubicBezTo>
                      <a:pt x="326" y="142"/>
                      <a:pt x="325" y="143"/>
                      <a:pt x="325" y="143"/>
                    </a:cubicBezTo>
                    <a:cubicBezTo>
                      <a:pt x="325" y="143"/>
                      <a:pt x="325" y="143"/>
                      <a:pt x="325" y="143"/>
                    </a:cubicBezTo>
                    <a:cubicBezTo>
                      <a:pt x="325" y="143"/>
                      <a:pt x="325" y="143"/>
                      <a:pt x="325" y="143"/>
                    </a:cubicBezTo>
                    <a:cubicBezTo>
                      <a:pt x="324" y="143"/>
                      <a:pt x="323" y="143"/>
                      <a:pt x="322" y="144"/>
                    </a:cubicBezTo>
                    <a:cubicBezTo>
                      <a:pt x="322" y="144"/>
                      <a:pt x="321" y="144"/>
                      <a:pt x="322" y="145"/>
                    </a:cubicBezTo>
                    <a:cubicBezTo>
                      <a:pt x="322" y="145"/>
                      <a:pt x="322" y="145"/>
                      <a:pt x="322" y="145"/>
                    </a:cubicBezTo>
                    <a:cubicBezTo>
                      <a:pt x="322" y="145"/>
                      <a:pt x="323" y="145"/>
                      <a:pt x="323" y="145"/>
                    </a:cubicBezTo>
                    <a:cubicBezTo>
                      <a:pt x="323" y="145"/>
                      <a:pt x="324" y="145"/>
                      <a:pt x="325" y="145"/>
                    </a:cubicBezTo>
                    <a:cubicBezTo>
                      <a:pt x="325" y="145"/>
                      <a:pt x="325" y="145"/>
                      <a:pt x="325" y="145"/>
                    </a:cubicBezTo>
                    <a:cubicBezTo>
                      <a:pt x="325" y="145"/>
                      <a:pt x="325" y="145"/>
                      <a:pt x="325" y="145"/>
                    </a:cubicBezTo>
                    <a:cubicBezTo>
                      <a:pt x="325" y="144"/>
                      <a:pt x="326" y="144"/>
                      <a:pt x="326" y="144"/>
                    </a:cubicBezTo>
                    <a:cubicBezTo>
                      <a:pt x="326" y="144"/>
                      <a:pt x="327" y="143"/>
                      <a:pt x="327" y="143"/>
                    </a:cubicBezTo>
                    <a:cubicBezTo>
                      <a:pt x="327" y="143"/>
                      <a:pt x="327" y="143"/>
                      <a:pt x="327" y="143"/>
                    </a:cubicBezTo>
                    <a:cubicBezTo>
                      <a:pt x="327" y="143"/>
                      <a:pt x="327" y="143"/>
                      <a:pt x="327" y="143"/>
                    </a:cubicBezTo>
                    <a:cubicBezTo>
                      <a:pt x="327" y="143"/>
                      <a:pt x="327" y="143"/>
                      <a:pt x="328" y="143"/>
                    </a:cubicBezTo>
                    <a:cubicBezTo>
                      <a:pt x="328" y="143"/>
                      <a:pt x="328" y="143"/>
                      <a:pt x="328" y="143"/>
                    </a:cubicBezTo>
                    <a:cubicBezTo>
                      <a:pt x="329" y="142"/>
                      <a:pt x="330" y="140"/>
                      <a:pt x="332" y="139"/>
                    </a:cubicBezTo>
                    <a:cubicBezTo>
                      <a:pt x="335" y="138"/>
                      <a:pt x="338" y="136"/>
                      <a:pt x="342" y="136"/>
                    </a:cubicBezTo>
                    <a:cubicBezTo>
                      <a:pt x="342" y="137"/>
                      <a:pt x="342" y="137"/>
                      <a:pt x="342" y="136"/>
                    </a:cubicBezTo>
                    <a:cubicBezTo>
                      <a:pt x="343" y="136"/>
                      <a:pt x="343" y="136"/>
                      <a:pt x="343" y="135"/>
                    </a:cubicBezTo>
                    <a:cubicBezTo>
                      <a:pt x="343" y="135"/>
                      <a:pt x="343" y="135"/>
                      <a:pt x="344" y="135"/>
                    </a:cubicBezTo>
                    <a:cubicBezTo>
                      <a:pt x="344" y="135"/>
                      <a:pt x="344" y="136"/>
                      <a:pt x="344" y="136"/>
                    </a:cubicBezTo>
                    <a:cubicBezTo>
                      <a:pt x="345" y="134"/>
                      <a:pt x="345" y="134"/>
                      <a:pt x="345" y="134"/>
                    </a:cubicBezTo>
                    <a:cubicBezTo>
                      <a:pt x="345" y="134"/>
                      <a:pt x="346" y="133"/>
                      <a:pt x="347" y="133"/>
                    </a:cubicBezTo>
                    <a:cubicBezTo>
                      <a:pt x="347" y="132"/>
                      <a:pt x="350" y="130"/>
                      <a:pt x="350" y="130"/>
                    </a:cubicBezTo>
                    <a:cubicBezTo>
                      <a:pt x="350" y="130"/>
                      <a:pt x="352" y="129"/>
                      <a:pt x="352" y="129"/>
                    </a:cubicBezTo>
                    <a:cubicBezTo>
                      <a:pt x="354" y="127"/>
                      <a:pt x="354" y="127"/>
                      <a:pt x="354" y="127"/>
                    </a:cubicBezTo>
                    <a:cubicBezTo>
                      <a:pt x="355" y="127"/>
                      <a:pt x="355" y="127"/>
                      <a:pt x="355" y="127"/>
                    </a:cubicBezTo>
                    <a:cubicBezTo>
                      <a:pt x="355" y="127"/>
                      <a:pt x="357" y="124"/>
                      <a:pt x="357" y="124"/>
                    </a:cubicBezTo>
                    <a:cubicBezTo>
                      <a:pt x="357" y="123"/>
                      <a:pt x="359" y="123"/>
                      <a:pt x="359" y="123"/>
                    </a:cubicBezTo>
                    <a:cubicBezTo>
                      <a:pt x="359" y="123"/>
                      <a:pt x="359" y="121"/>
                      <a:pt x="359" y="121"/>
                    </a:cubicBezTo>
                    <a:cubicBezTo>
                      <a:pt x="359" y="121"/>
                      <a:pt x="361" y="120"/>
                      <a:pt x="361" y="120"/>
                    </a:cubicBezTo>
                    <a:cubicBezTo>
                      <a:pt x="361" y="120"/>
                      <a:pt x="361" y="119"/>
                      <a:pt x="361" y="119"/>
                    </a:cubicBezTo>
                    <a:cubicBezTo>
                      <a:pt x="364" y="122"/>
                      <a:pt x="364" y="122"/>
                      <a:pt x="364" y="122"/>
                    </a:cubicBezTo>
                    <a:cubicBezTo>
                      <a:pt x="368" y="122"/>
                      <a:pt x="368" y="122"/>
                      <a:pt x="368" y="122"/>
                    </a:cubicBezTo>
                    <a:cubicBezTo>
                      <a:pt x="369" y="123"/>
                      <a:pt x="369" y="123"/>
                      <a:pt x="369" y="123"/>
                    </a:cubicBezTo>
                    <a:cubicBezTo>
                      <a:pt x="369" y="123"/>
                      <a:pt x="369" y="123"/>
                      <a:pt x="370" y="122"/>
                    </a:cubicBezTo>
                    <a:cubicBezTo>
                      <a:pt x="370" y="122"/>
                      <a:pt x="371" y="121"/>
                      <a:pt x="371" y="121"/>
                    </a:cubicBezTo>
                    <a:cubicBezTo>
                      <a:pt x="371" y="121"/>
                      <a:pt x="371" y="120"/>
                      <a:pt x="371" y="120"/>
                    </a:cubicBezTo>
                    <a:cubicBezTo>
                      <a:pt x="370" y="120"/>
                      <a:pt x="369" y="119"/>
                      <a:pt x="369" y="119"/>
                    </a:cubicBezTo>
                    <a:cubicBezTo>
                      <a:pt x="369" y="119"/>
                      <a:pt x="369" y="117"/>
                      <a:pt x="369" y="117"/>
                    </a:cubicBezTo>
                    <a:cubicBezTo>
                      <a:pt x="374" y="117"/>
                      <a:pt x="374" y="117"/>
                      <a:pt x="374" y="117"/>
                    </a:cubicBezTo>
                    <a:cubicBezTo>
                      <a:pt x="374" y="117"/>
                      <a:pt x="375" y="116"/>
                      <a:pt x="376" y="116"/>
                    </a:cubicBezTo>
                    <a:cubicBezTo>
                      <a:pt x="376" y="116"/>
                      <a:pt x="376" y="116"/>
                      <a:pt x="376" y="116"/>
                    </a:cubicBezTo>
                    <a:cubicBezTo>
                      <a:pt x="377" y="116"/>
                      <a:pt x="378" y="113"/>
                      <a:pt x="378" y="113"/>
                    </a:cubicBezTo>
                    <a:cubicBezTo>
                      <a:pt x="378" y="113"/>
                      <a:pt x="379" y="113"/>
                      <a:pt x="379" y="113"/>
                    </a:cubicBezTo>
                    <a:cubicBezTo>
                      <a:pt x="379" y="113"/>
                      <a:pt x="379" y="114"/>
                      <a:pt x="379" y="114"/>
                    </a:cubicBezTo>
                    <a:cubicBezTo>
                      <a:pt x="380" y="113"/>
                      <a:pt x="380" y="113"/>
                      <a:pt x="380" y="113"/>
                    </a:cubicBezTo>
                    <a:cubicBezTo>
                      <a:pt x="380" y="113"/>
                      <a:pt x="381" y="110"/>
                      <a:pt x="381" y="110"/>
                    </a:cubicBezTo>
                    <a:cubicBezTo>
                      <a:pt x="381" y="110"/>
                      <a:pt x="382" y="109"/>
                      <a:pt x="382" y="109"/>
                    </a:cubicBezTo>
                    <a:cubicBezTo>
                      <a:pt x="382" y="109"/>
                      <a:pt x="382" y="108"/>
                      <a:pt x="382" y="108"/>
                    </a:cubicBezTo>
                    <a:cubicBezTo>
                      <a:pt x="383" y="108"/>
                      <a:pt x="383" y="108"/>
                      <a:pt x="383" y="108"/>
                    </a:cubicBezTo>
                    <a:cubicBezTo>
                      <a:pt x="383" y="109"/>
                      <a:pt x="383" y="109"/>
                      <a:pt x="383" y="109"/>
                    </a:cubicBezTo>
                    <a:cubicBezTo>
                      <a:pt x="385" y="111"/>
                      <a:pt x="385" y="111"/>
                      <a:pt x="385" y="111"/>
                    </a:cubicBezTo>
                    <a:cubicBezTo>
                      <a:pt x="386" y="112"/>
                      <a:pt x="386" y="112"/>
                      <a:pt x="386" y="112"/>
                    </a:cubicBezTo>
                    <a:cubicBezTo>
                      <a:pt x="387" y="113"/>
                      <a:pt x="387" y="113"/>
                      <a:pt x="387" y="113"/>
                    </a:cubicBezTo>
                    <a:cubicBezTo>
                      <a:pt x="387" y="113"/>
                      <a:pt x="387" y="113"/>
                      <a:pt x="387" y="113"/>
                    </a:cubicBezTo>
                    <a:cubicBezTo>
                      <a:pt x="387" y="112"/>
                      <a:pt x="386" y="112"/>
                      <a:pt x="386" y="112"/>
                    </a:cubicBezTo>
                    <a:cubicBezTo>
                      <a:pt x="386" y="111"/>
                      <a:pt x="386" y="111"/>
                      <a:pt x="386" y="111"/>
                    </a:cubicBezTo>
                    <a:cubicBezTo>
                      <a:pt x="386" y="111"/>
                      <a:pt x="386" y="110"/>
                      <a:pt x="386" y="110"/>
                    </a:cubicBezTo>
                    <a:cubicBezTo>
                      <a:pt x="387" y="110"/>
                      <a:pt x="387" y="110"/>
                      <a:pt x="388" y="110"/>
                    </a:cubicBezTo>
                    <a:cubicBezTo>
                      <a:pt x="388" y="110"/>
                      <a:pt x="389" y="110"/>
                      <a:pt x="389" y="109"/>
                    </a:cubicBezTo>
                    <a:cubicBezTo>
                      <a:pt x="390" y="109"/>
                      <a:pt x="390" y="108"/>
                      <a:pt x="390" y="108"/>
                    </a:cubicBezTo>
                    <a:cubicBezTo>
                      <a:pt x="390" y="107"/>
                      <a:pt x="390" y="107"/>
                      <a:pt x="390" y="107"/>
                    </a:cubicBezTo>
                    <a:cubicBezTo>
                      <a:pt x="390" y="106"/>
                      <a:pt x="390" y="106"/>
                      <a:pt x="391" y="106"/>
                    </a:cubicBezTo>
                    <a:cubicBezTo>
                      <a:pt x="392" y="104"/>
                      <a:pt x="390" y="102"/>
                      <a:pt x="391" y="100"/>
                    </a:cubicBezTo>
                    <a:cubicBezTo>
                      <a:pt x="391" y="99"/>
                      <a:pt x="391" y="99"/>
                      <a:pt x="391" y="98"/>
                    </a:cubicBezTo>
                    <a:cubicBezTo>
                      <a:pt x="391" y="98"/>
                      <a:pt x="391" y="98"/>
                      <a:pt x="391" y="97"/>
                    </a:cubicBezTo>
                    <a:cubicBezTo>
                      <a:pt x="391" y="96"/>
                      <a:pt x="390" y="94"/>
                      <a:pt x="389" y="92"/>
                    </a:cubicBezTo>
                    <a:cubicBezTo>
                      <a:pt x="389" y="92"/>
                      <a:pt x="389" y="92"/>
                      <a:pt x="389" y="91"/>
                    </a:cubicBezTo>
                    <a:cubicBezTo>
                      <a:pt x="389" y="91"/>
                      <a:pt x="389" y="91"/>
                      <a:pt x="389" y="91"/>
                    </a:cubicBezTo>
                    <a:cubicBezTo>
                      <a:pt x="390" y="90"/>
                      <a:pt x="391" y="89"/>
                      <a:pt x="392" y="89"/>
                    </a:cubicBezTo>
                    <a:cubicBezTo>
                      <a:pt x="392" y="89"/>
                      <a:pt x="392" y="89"/>
                      <a:pt x="393" y="89"/>
                    </a:cubicBezTo>
                    <a:cubicBezTo>
                      <a:pt x="393" y="89"/>
                      <a:pt x="393" y="89"/>
                      <a:pt x="394" y="89"/>
                    </a:cubicBezTo>
                    <a:cubicBezTo>
                      <a:pt x="394" y="88"/>
                      <a:pt x="394" y="87"/>
                      <a:pt x="395" y="86"/>
                    </a:cubicBezTo>
                    <a:cubicBezTo>
                      <a:pt x="397" y="87"/>
                      <a:pt x="400" y="88"/>
                      <a:pt x="402" y="88"/>
                    </a:cubicBezTo>
                    <a:cubicBezTo>
                      <a:pt x="403" y="88"/>
                      <a:pt x="403" y="89"/>
                      <a:pt x="403" y="88"/>
                    </a:cubicBezTo>
                    <a:cubicBezTo>
                      <a:pt x="404" y="88"/>
                      <a:pt x="404" y="88"/>
                      <a:pt x="404" y="87"/>
                    </a:cubicBezTo>
                    <a:cubicBezTo>
                      <a:pt x="404" y="87"/>
                      <a:pt x="404" y="86"/>
                      <a:pt x="404" y="85"/>
                    </a:cubicBezTo>
                    <a:cubicBezTo>
                      <a:pt x="404" y="85"/>
                      <a:pt x="404" y="84"/>
                      <a:pt x="405" y="84"/>
                    </a:cubicBezTo>
                    <a:cubicBezTo>
                      <a:pt x="406" y="84"/>
                      <a:pt x="406" y="83"/>
                      <a:pt x="406" y="82"/>
                    </a:cubicBezTo>
                    <a:cubicBezTo>
                      <a:pt x="407" y="81"/>
                      <a:pt x="407" y="80"/>
                      <a:pt x="408" y="78"/>
                    </a:cubicBezTo>
                    <a:cubicBezTo>
                      <a:pt x="408" y="78"/>
                      <a:pt x="408" y="78"/>
                      <a:pt x="409" y="77"/>
                    </a:cubicBezTo>
                    <a:cubicBezTo>
                      <a:pt x="409" y="77"/>
                      <a:pt x="409" y="76"/>
                      <a:pt x="409" y="76"/>
                    </a:cubicBezTo>
                    <a:cubicBezTo>
                      <a:pt x="409" y="76"/>
                      <a:pt x="409" y="76"/>
                      <a:pt x="409" y="75"/>
                    </a:cubicBezTo>
                    <a:cubicBezTo>
                      <a:pt x="408" y="75"/>
                      <a:pt x="408" y="74"/>
                      <a:pt x="409" y="73"/>
                    </a:cubicBezTo>
                    <a:cubicBezTo>
                      <a:pt x="409" y="72"/>
                      <a:pt x="410" y="72"/>
                      <a:pt x="410" y="71"/>
                    </a:cubicBezTo>
                    <a:cubicBezTo>
                      <a:pt x="411" y="70"/>
                      <a:pt x="411" y="68"/>
                      <a:pt x="411" y="67"/>
                    </a:cubicBezTo>
                    <a:cubicBezTo>
                      <a:pt x="411" y="67"/>
                      <a:pt x="411" y="67"/>
                      <a:pt x="411" y="67"/>
                    </a:cubicBezTo>
                    <a:cubicBezTo>
                      <a:pt x="411" y="66"/>
                      <a:pt x="412" y="66"/>
                      <a:pt x="412" y="66"/>
                    </a:cubicBezTo>
                    <a:cubicBezTo>
                      <a:pt x="413" y="65"/>
                      <a:pt x="414" y="65"/>
                      <a:pt x="415" y="64"/>
                    </a:cubicBezTo>
                    <a:cubicBezTo>
                      <a:pt x="415" y="64"/>
                      <a:pt x="415" y="64"/>
                      <a:pt x="415" y="63"/>
                    </a:cubicBezTo>
                    <a:cubicBezTo>
                      <a:pt x="415" y="63"/>
                      <a:pt x="415" y="63"/>
                      <a:pt x="415" y="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2" name="Freeform 867">
                <a:extLst>
                  <a:ext uri="{FF2B5EF4-FFF2-40B4-BE49-F238E27FC236}">
                    <a16:creationId xmlns:a16="http://schemas.microsoft.com/office/drawing/2014/main" id="{24B941DE-E18C-04DF-0D45-986FFC6B7875}"/>
                  </a:ext>
                </a:extLst>
              </p:cNvPr>
              <p:cNvSpPr>
                <a:spLocks/>
              </p:cNvSpPr>
              <p:nvPr/>
            </p:nvSpPr>
            <p:spPr bwMode="auto">
              <a:xfrm>
                <a:off x="8280400" y="4475163"/>
                <a:ext cx="150812" cy="120650"/>
              </a:xfrm>
              <a:custGeom>
                <a:avLst/>
                <a:gdLst>
                  <a:gd name="T0" fmla="*/ 36 w 36"/>
                  <a:gd name="T1" fmla="*/ 7 h 29"/>
                  <a:gd name="T2" fmla="*/ 34 w 36"/>
                  <a:gd name="T3" fmla="*/ 4 h 29"/>
                  <a:gd name="T4" fmla="*/ 33 w 36"/>
                  <a:gd name="T5" fmla="*/ 2 h 29"/>
                  <a:gd name="T6" fmla="*/ 29 w 36"/>
                  <a:gd name="T7" fmla="*/ 0 h 29"/>
                  <a:gd name="T8" fmla="*/ 25 w 36"/>
                  <a:gd name="T9" fmla="*/ 0 h 29"/>
                  <a:gd name="T10" fmla="*/ 26 w 36"/>
                  <a:gd name="T11" fmla="*/ 4 h 29"/>
                  <a:gd name="T12" fmla="*/ 23 w 36"/>
                  <a:gd name="T13" fmla="*/ 4 h 29"/>
                  <a:gd name="T14" fmla="*/ 19 w 36"/>
                  <a:gd name="T15" fmla="*/ 1 h 29"/>
                  <a:gd name="T16" fmla="*/ 16 w 36"/>
                  <a:gd name="T17" fmla="*/ 0 h 29"/>
                  <a:gd name="T18" fmla="*/ 12 w 36"/>
                  <a:gd name="T19" fmla="*/ 0 h 29"/>
                  <a:gd name="T20" fmla="*/ 8 w 36"/>
                  <a:gd name="T21" fmla="*/ 0 h 29"/>
                  <a:gd name="T22" fmla="*/ 4 w 36"/>
                  <a:gd name="T23" fmla="*/ 1 h 29"/>
                  <a:gd name="T24" fmla="*/ 1 w 36"/>
                  <a:gd name="T25" fmla="*/ 6 h 29"/>
                  <a:gd name="T26" fmla="*/ 0 w 36"/>
                  <a:gd name="T27" fmla="*/ 10 h 29"/>
                  <a:gd name="T28" fmla="*/ 2 w 36"/>
                  <a:gd name="T29" fmla="*/ 15 h 29"/>
                  <a:gd name="T30" fmla="*/ 2 w 36"/>
                  <a:gd name="T31" fmla="*/ 18 h 29"/>
                  <a:gd name="T32" fmla="*/ 4 w 36"/>
                  <a:gd name="T33" fmla="*/ 20 h 29"/>
                  <a:gd name="T34" fmla="*/ 5 w 36"/>
                  <a:gd name="T35" fmla="*/ 22 h 29"/>
                  <a:gd name="T36" fmla="*/ 6 w 36"/>
                  <a:gd name="T37" fmla="*/ 25 h 29"/>
                  <a:gd name="T38" fmla="*/ 8 w 36"/>
                  <a:gd name="T39" fmla="*/ 26 h 29"/>
                  <a:gd name="T40" fmla="*/ 8 w 36"/>
                  <a:gd name="T41" fmla="*/ 25 h 29"/>
                  <a:gd name="T42" fmla="*/ 10 w 36"/>
                  <a:gd name="T43" fmla="*/ 25 h 29"/>
                  <a:gd name="T44" fmla="*/ 10 w 36"/>
                  <a:gd name="T45" fmla="*/ 26 h 29"/>
                  <a:gd name="T46" fmla="*/ 10 w 36"/>
                  <a:gd name="T47" fmla="*/ 28 h 29"/>
                  <a:gd name="T48" fmla="*/ 11 w 36"/>
                  <a:gd name="T49" fmla="*/ 28 h 29"/>
                  <a:gd name="T50" fmla="*/ 13 w 36"/>
                  <a:gd name="T51" fmla="*/ 28 h 29"/>
                  <a:gd name="T52" fmla="*/ 15 w 36"/>
                  <a:gd name="T53" fmla="*/ 29 h 29"/>
                  <a:gd name="T54" fmla="*/ 18 w 36"/>
                  <a:gd name="T55" fmla="*/ 27 h 29"/>
                  <a:gd name="T56" fmla="*/ 20 w 36"/>
                  <a:gd name="T57" fmla="*/ 25 h 29"/>
                  <a:gd name="T58" fmla="*/ 23 w 36"/>
                  <a:gd name="T59" fmla="*/ 25 h 29"/>
                  <a:gd name="T60" fmla="*/ 26 w 36"/>
                  <a:gd name="T61" fmla="*/ 26 h 29"/>
                  <a:gd name="T62" fmla="*/ 28 w 36"/>
                  <a:gd name="T63" fmla="*/ 25 h 29"/>
                  <a:gd name="T64" fmla="*/ 25 w 36"/>
                  <a:gd name="T65" fmla="*/ 22 h 29"/>
                  <a:gd name="T66" fmla="*/ 27 w 36"/>
                  <a:gd name="T67" fmla="*/ 19 h 29"/>
                  <a:gd name="T68" fmla="*/ 30 w 36"/>
                  <a:gd name="T69" fmla="*/ 18 h 29"/>
                  <a:gd name="T70" fmla="*/ 34 w 36"/>
                  <a:gd name="T71" fmla="*/ 15 h 29"/>
                  <a:gd name="T72" fmla="*/ 35 w 36"/>
                  <a:gd name="T73"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9">
                    <a:moveTo>
                      <a:pt x="35" y="10"/>
                    </a:moveTo>
                    <a:cubicBezTo>
                      <a:pt x="36" y="9"/>
                      <a:pt x="35" y="8"/>
                      <a:pt x="36" y="7"/>
                    </a:cubicBezTo>
                    <a:cubicBezTo>
                      <a:pt x="36" y="6"/>
                      <a:pt x="35" y="6"/>
                      <a:pt x="35" y="5"/>
                    </a:cubicBezTo>
                    <a:cubicBezTo>
                      <a:pt x="35" y="5"/>
                      <a:pt x="34" y="4"/>
                      <a:pt x="34" y="4"/>
                    </a:cubicBezTo>
                    <a:cubicBezTo>
                      <a:pt x="33" y="3"/>
                      <a:pt x="33" y="3"/>
                      <a:pt x="33" y="2"/>
                    </a:cubicBezTo>
                    <a:cubicBezTo>
                      <a:pt x="33" y="2"/>
                      <a:pt x="33" y="2"/>
                      <a:pt x="33" y="2"/>
                    </a:cubicBezTo>
                    <a:cubicBezTo>
                      <a:pt x="32" y="2"/>
                      <a:pt x="31" y="1"/>
                      <a:pt x="31" y="1"/>
                    </a:cubicBezTo>
                    <a:cubicBezTo>
                      <a:pt x="30" y="1"/>
                      <a:pt x="30" y="1"/>
                      <a:pt x="29" y="0"/>
                    </a:cubicBezTo>
                    <a:cubicBezTo>
                      <a:pt x="28" y="0"/>
                      <a:pt x="28" y="0"/>
                      <a:pt x="27" y="0"/>
                    </a:cubicBezTo>
                    <a:cubicBezTo>
                      <a:pt x="26" y="0"/>
                      <a:pt x="26" y="0"/>
                      <a:pt x="25" y="0"/>
                    </a:cubicBezTo>
                    <a:cubicBezTo>
                      <a:pt x="25" y="1"/>
                      <a:pt x="25" y="1"/>
                      <a:pt x="26" y="2"/>
                    </a:cubicBezTo>
                    <a:cubicBezTo>
                      <a:pt x="27" y="3"/>
                      <a:pt x="26" y="3"/>
                      <a:pt x="26" y="4"/>
                    </a:cubicBezTo>
                    <a:cubicBezTo>
                      <a:pt x="26" y="5"/>
                      <a:pt x="26" y="5"/>
                      <a:pt x="25" y="5"/>
                    </a:cubicBezTo>
                    <a:cubicBezTo>
                      <a:pt x="25" y="5"/>
                      <a:pt x="24" y="4"/>
                      <a:pt x="23" y="4"/>
                    </a:cubicBezTo>
                    <a:cubicBezTo>
                      <a:pt x="23" y="3"/>
                      <a:pt x="22" y="3"/>
                      <a:pt x="21" y="3"/>
                    </a:cubicBezTo>
                    <a:cubicBezTo>
                      <a:pt x="20" y="3"/>
                      <a:pt x="20" y="2"/>
                      <a:pt x="19" y="1"/>
                    </a:cubicBezTo>
                    <a:cubicBezTo>
                      <a:pt x="19" y="1"/>
                      <a:pt x="18" y="1"/>
                      <a:pt x="18" y="1"/>
                    </a:cubicBezTo>
                    <a:cubicBezTo>
                      <a:pt x="17" y="1"/>
                      <a:pt x="17" y="0"/>
                      <a:pt x="16" y="0"/>
                    </a:cubicBezTo>
                    <a:cubicBezTo>
                      <a:pt x="16" y="0"/>
                      <a:pt x="15" y="1"/>
                      <a:pt x="14" y="1"/>
                    </a:cubicBezTo>
                    <a:cubicBezTo>
                      <a:pt x="14" y="1"/>
                      <a:pt x="13" y="0"/>
                      <a:pt x="12" y="0"/>
                    </a:cubicBezTo>
                    <a:cubicBezTo>
                      <a:pt x="12" y="0"/>
                      <a:pt x="11" y="1"/>
                      <a:pt x="10" y="1"/>
                    </a:cubicBezTo>
                    <a:cubicBezTo>
                      <a:pt x="10" y="1"/>
                      <a:pt x="9" y="0"/>
                      <a:pt x="8" y="0"/>
                    </a:cubicBezTo>
                    <a:cubicBezTo>
                      <a:pt x="8" y="0"/>
                      <a:pt x="7" y="1"/>
                      <a:pt x="6" y="1"/>
                    </a:cubicBezTo>
                    <a:cubicBezTo>
                      <a:pt x="5" y="1"/>
                      <a:pt x="4" y="1"/>
                      <a:pt x="4" y="1"/>
                    </a:cubicBezTo>
                    <a:cubicBezTo>
                      <a:pt x="3" y="1"/>
                      <a:pt x="2" y="2"/>
                      <a:pt x="2" y="3"/>
                    </a:cubicBezTo>
                    <a:cubicBezTo>
                      <a:pt x="1" y="4"/>
                      <a:pt x="1" y="5"/>
                      <a:pt x="1" y="6"/>
                    </a:cubicBezTo>
                    <a:cubicBezTo>
                      <a:pt x="0" y="6"/>
                      <a:pt x="0" y="7"/>
                      <a:pt x="0" y="7"/>
                    </a:cubicBezTo>
                    <a:cubicBezTo>
                      <a:pt x="0" y="8"/>
                      <a:pt x="0" y="10"/>
                      <a:pt x="0" y="10"/>
                    </a:cubicBezTo>
                    <a:cubicBezTo>
                      <a:pt x="0" y="11"/>
                      <a:pt x="1" y="12"/>
                      <a:pt x="1" y="12"/>
                    </a:cubicBezTo>
                    <a:cubicBezTo>
                      <a:pt x="2" y="12"/>
                      <a:pt x="2" y="15"/>
                      <a:pt x="2" y="15"/>
                    </a:cubicBezTo>
                    <a:cubicBezTo>
                      <a:pt x="2" y="16"/>
                      <a:pt x="2" y="17"/>
                      <a:pt x="2" y="17"/>
                    </a:cubicBezTo>
                    <a:cubicBezTo>
                      <a:pt x="2" y="17"/>
                      <a:pt x="2" y="18"/>
                      <a:pt x="2" y="18"/>
                    </a:cubicBezTo>
                    <a:cubicBezTo>
                      <a:pt x="2" y="19"/>
                      <a:pt x="3" y="19"/>
                      <a:pt x="3" y="19"/>
                    </a:cubicBezTo>
                    <a:cubicBezTo>
                      <a:pt x="3" y="20"/>
                      <a:pt x="3" y="20"/>
                      <a:pt x="4" y="20"/>
                    </a:cubicBezTo>
                    <a:cubicBezTo>
                      <a:pt x="4" y="20"/>
                      <a:pt x="4" y="21"/>
                      <a:pt x="4" y="21"/>
                    </a:cubicBezTo>
                    <a:cubicBezTo>
                      <a:pt x="4" y="22"/>
                      <a:pt x="4" y="22"/>
                      <a:pt x="5" y="22"/>
                    </a:cubicBezTo>
                    <a:cubicBezTo>
                      <a:pt x="5" y="22"/>
                      <a:pt x="5" y="23"/>
                      <a:pt x="5" y="23"/>
                    </a:cubicBezTo>
                    <a:cubicBezTo>
                      <a:pt x="5" y="23"/>
                      <a:pt x="6" y="24"/>
                      <a:pt x="6" y="25"/>
                    </a:cubicBezTo>
                    <a:cubicBezTo>
                      <a:pt x="6" y="25"/>
                      <a:pt x="6" y="25"/>
                      <a:pt x="6" y="26"/>
                    </a:cubicBezTo>
                    <a:cubicBezTo>
                      <a:pt x="7" y="26"/>
                      <a:pt x="7" y="26"/>
                      <a:pt x="8" y="26"/>
                    </a:cubicBezTo>
                    <a:cubicBezTo>
                      <a:pt x="8" y="26"/>
                      <a:pt x="8" y="26"/>
                      <a:pt x="8" y="26"/>
                    </a:cubicBezTo>
                    <a:cubicBezTo>
                      <a:pt x="8" y="26"/>
                      <a:pt x="8" y="25"/>
                      <a:pt x="8" y="25"/>
                    </a:cubicBezTo>
                    <a:cubicBezTo>
                      <a:pt x="8" y="25"/>
                      <a:pt x="9" y="24"/>
                      <a:pt x="9" y="24"/>
                    </a:cubicBezTo>
                    <a:cubicBezTo>
                      <a:pt x="9" y="24"/>
                      <a:pt x="10" y="24"/>
                      <a:pt x="10" y="25"/>
                    </a:cubicBezTo>
                    <a:cubicBezTo>
                      <a:pt x="10" y="25"/>
                      <a:pt x="10" y="25"/>
                      <a:pt x="10" y="26"/>
                    </a:cubicBezTo>
                    <a:cubicBezTo>
                      <a:pt x="10" y="26"/>
                      <a:pt x="10" y="26"/>
                      <a:pt x="10" y="26"/>
                    </a:cubicBezTo>
                    <a:cubicBezTo>
                      <a:pt x="10" y="27"/>
                      <a:pt x="9" y="27"/>
                      <a:pt x="9" y="27"/>
                    </a:cubicBezTo>
                    <a:cubicBezTo>
                      <a:pt x="9" y="28"/>
                      <a:pt x="9" y="28"/>
                      <a:pt x="10" y="28"/>
                    </a:cubicBezTo>
                    <a:cubicBezTo>
                      <a:pt x="10" y="28"/>
                      <a:pt x="10" y="28"/>
                      <a:pt x="11" y="28"/>
                    </a:cubicBezTo>
                    <a:cubicBezTo>
                      <a:pt x="11" y="28"/>
                      <a:pt x="11" y="28"/>
                      <a:pt x="11" y="28"/>
                    </a:cubicBezTo>
                    <a:cubicBezTo>
                      <a:pt x="11" y="28"/>
                      <a:pt x="12" y="27"/>
                      <a:pt x="12" y="27"/>
                    </a:cubicBezTo>
                    <a:cubicBezTo>
                      <a:pt x="12" y="27"/>
                      <a:pt x="13" y="28"/>
                      <a:pt x="13" y="28"/>
                    </a:cubicBezTo>
                    <a:cubicBezTo>
                      <a:pt x="14" y="28"/>
                      <a:pt x="15" y="28"/>
                      <a:pt x="15" y="28"/>
                    </a:cubicBezTo>
                    <a:cubicBezTo>
                      <a:pt x="15" y="29"/>
                      <a:pt x="15" y="29"/>
                      <a:pt x="15" y="29"/>
                    </a:cubicBezTo>
                    <a:cubicBezTo>
                      <a:pt x="16" y="28"/>
                      <a:pt x="17" y="27"/>
                      <a:pt x="17" y="27"/>
                    </a:cubicBezTo>
                    <a:cubicBezTo>
                      <a:pt x="17" y="27"/>
                      <a:pt x="17" y="27"/>
                      <a:pt x="18" y="27"/>
                    </a:cubicBezTo>
                    <a:cubicBezTo>
                      <a:pt x="18" y="27"/>
                      <a:pt x="18" y="26"/>
                      <a:pt x="19" y="26"/>
                    </a:cubicBezTo>
                    <a:cubicBezTo>
                      <a:pt x="19" y="26"/>
                      <a:pt x="19" y="25"/>
                      <a:pt x="20" y="25"/>
                    </a:cubicBezTo>
                    <a:cubicBezTo>
                      <a:pt x="20" y="25"/>
                      <a:pt x="21" y="25"/>
                      <a:pt x="21" y="25"/>
                    </a:cubicBezTo>
                    <a:cubicBezTo>
                      <a:pt x="22" y="25"/>
                      <a:pt x="22" y="25"/>
                      <a:pt x="23" y="25"/>
                    </a:cubicBezTo>
                    <a:cubicBezTo>
                      <a:pt x="24" y="25"/>
                      <a:pt x="24" y="25"/>
                      <a:pt x="24" y="25"/>
                    </a:cubicBezTo>
                    <a:cubicBezTo>
                      <a:pt x="25" y="25"/>
                      <a:pt x="25" y="25"/>
                      <a:pt x="26" y="26"/>
                    </a:cubicBezTo>
                    <a:cubicBezTo>
                      <a:pt x="26" y="26"/>
                      <a:pt x="27" y="26"/>
                      <a:pt x="27" y="26"/>
                    </a:cubicBezTo>
                    <a:cubicBezTo>
                      <a:pt x="28" y="26"/>
                      <a:pt x="28" y="25"/>
                      <a:pt x="28" y="25"/>
                    </a:cubicBezTo>
                    <a:cubicBezTo>
                      <a:pt x="28" y="24"/>
                      <a:pt x="27" y="23"/>
                      <a:pt x="27" y="23"/>
                    </a:cubicBezTo>
                    <a:cubicBezTo>
                      <a:pt x="27" y="23"/>
                      <a:pt x="25" y="23"/>
                      <a:pt x="25" y="22"/>
                    </a:cubicBezTo>
                    <a:cubicBezTo>
                      <a:pt x="25" y="21"/>
                      <a:pt x="25" y="21"/>
                      <a:pt x="25" y="20"/>
                    </a:cubicBezTo>
                    <a:cubicBezTo>
                      <a:pt x="25" y="20"/>
                      <a:pt x="26" y="19"/>
                      <a:pt x="27" y="19"/>
                    </a:cubicBezTo>
                    <a:cubicBezTo>
                      <a:pt x="27" y="19"/>
                      <a:pt x="28" y="19"/>
                      <a:pt x="29" y="19"/>
                    </a:cubicBezTo>
                    <a:cubicBezTo>
                      <a:pt x="29" y="19"/>
                      <a:pt x="29" y="18"/>
                      <a:pt x="30" y="18"/>
                    </a:cubicBezTo>
                    <a:cubicBezTo>
                      <a:pt x="31" y="17"/>
                      <a:pt x="31" y="17"/>
                      <a:pt x="32" y="17"/>
                    </a:cubicBezTo>
                    <a:cubicBezTo>
                      <a:pt x="33" y="16"/>
                      <a:pt x="34" y="15"/>
                      <a:pt x="34" y="15"/>
                    </a:cubicBezTo>
                    <a:cubicBezTo>
                      <a:pt x="35" y="14"/>
                      <a:pt x="35" y="14"/>
                      <a:pt x="35" y="13"/>
                    </a:cubicBezTo>
                    <a:cubicBezTo>
                      <a:pt x="36" y="12"/>
                      <a:pt x="35" y="11"/>
                      <a:pt x="35"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3" name="Freeform 868">
                <a:extLst>
                  <a:ext uri="{FF2B5EF4-FFF2-40B4-BE49-F238E27FC236}">
                    <a16:creationId xmlns:a16="http://schemas.microsoft.com/office/drawing/2014/main" id="{90F40CE8-5249-EC08-C699-39BEADCA95D0}"/>
                  </a:ext>
                </a:extLst>
              </p:cNvPr>
              <p:cNvSpPr>
                <a:spLocks noEditPoints="1"/>
              </p:cNvSpPr>
              <p:nvPr/>
            </p:nvSpPr>
            <p:spPr bwMode="auto">
              <a:xfrm>
                <a:off x="8613775" y="4759325"/>
                <a:ext cx="25400" cy="28575"/>
              </a:xfrm>
              <a:custGeom>
                <a:avLst/>
                <a:gdLst>
                  <a:gd name="T0" fmla="*/ 5 w 6"/>
                  <a:gd name="T1" fmla="*/ 2 h 7"/>
                  <a:gd name="T2" fmla="*/ 5 w 6"/>
                  <a:gd name="T3" fmla="*/ 0 h 7"/>
                  <a:gd name="T4" fmla="*/ 5 w 6"/>
                  <a:gd name="T5" fmla="*/ 1 h 7"/>
                  <a:gd name="T6" fmla="*/ 5 w 6"/>
                  <a:gd name="T7" fmla="*/ 1 h 7"/>
                  <a:gd name="T8" fmla="*/ 6 w 6"/>
                  <a:gd name="T9" fmla="*/ 0 h 7"/>
                  <a:gd name="T10" fmla="*/ 6 w 6"/>
                  <a:gd name="T11" fmla="*/ 0 h 7"/>
                  <a:gd name="T12" fmla="*/ 6 w 6"/>
                  <a:gd name="T13" fmla="*/ 1 h 7"/>
                  <a:gd name="T14" fmla="*/ 6 w 6"/>
                  <a:gd name="T15" fmla="*/ 3 h 7"/>
                  <a:gd name="T16" fmla="*/ 5 w 6"/>
                  <a:gd name="T17" fmla="*/ 3 h 7"/>
                  <a:gd name="T18" fmla="*/ 5 w 6"/>
                  <a:gd name="T19" fmla="*/ 2 h 7"/>
                  <a:gd name="T20" fmla="*/ 1 w 6"/>
                  <a:gd name="T21" fmla="*/ 5 h 7"/>
                  <a:gd name="T22" fmla="*/ 1 w 6"/>
                  <a:gd name="T23" fmla="*/ 7 h 7"/>
                  <a:gd name="T24" fmla="*/ 3 w 6"/>
                  <a:gd name="T25" fmla="*/ 5 h 7"/>
                  <a:gd name="T26" fmla="*/ 3 w 6"/>
                  <a:gd name="T27" fmla="*/ 3 h 7"/>
                  <a:gd name="T28" fmla="*/ 3 w 6"/>
                  <a:gd name="T29" fmla="*/ 0 h 7"/>
                  <a:gd name="T30" fmla="*/ 2 w 6"/>
                  <a:gd name="T31" fmla="*/ 0 h 7"/>
                  <a:gd name="T32" fmla="*/ 2 w 6"/>
                  <a:gd name="T33" fmla="*/ 0 h 7"/>
                  <a:gd name="T34" fmla="*/ 2 w 6"/>
                  <a:gd name="T35" fmla="*/ 1 h 7"/>
                  <a:gd name="T36" fmla="*/ 1 w 6"/>
                  <a:gd name="T37" fmla="*/ 1 h 7"/>
                  <a:gd name="T38" fmla="*/ 0 w 6"/>
                  <a:gd name="T39" fmla="*/ 2 h 7"/>
                  <a:gd name="T40" fmla="*/ 0 w 6"/>
                  <a:gd name="T41" fmla="*/ 3 h 7"/>
                  <a:gd name="T42" fmla="*/ 1 w 6"/>
                  <a:gd name="T4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7">
                    <a:moveTo>
                      <a:pt x="5" y="2"/>
                    </a:moveTo>
                    <a:cubicBezTo>
                      <a:pt x="5" y="2"/>
                      <a:pt x="5" y="1"/>
                      <a:pt x="5" y="0"/>
                    </a:cubicBezTo>
                    <a:cubicBezTo>
                      <a:pt x="5" y="0"/>
                      <a:pt x="5" y="0"/>
                      <a:pt x="5" y="1"/>
                    </a:cubicBezTo>
                    <a:cubicBezTo>
                      <a:pt x="5" y="1"/>
                      <a:pt x="5" y="1"/>
                      <a:pt x="5" y="1"/>
                    </a:cubicBezTo>
                    <a:cubicBezTo>
                      <a:pt x="6" y="1"/>
                      <a:pt x="6" y="0"/>
                      <a:pt x="6" y="0"/>
                    </a:cubicBezTo>
                    <a:cubicBezTo>
                      <a:pt x="6" y="0"/>
                      <a:pt x="6" y="0"/>
                      <a:pt x="6" y="0"/>
                    </a:cubicBezTo>
                    <a:cubicBezTo>
                      <a:pt x="6" y="0"/>
                      <a:pt x="6" y="1"/>
                      <a:pt x="6" y="1"/>
                    </a:cubicBezTo>
                    <a:cubicBezTo>
                      <a:pt x="6" y="1"/>
                      <a:pt x="6" y="2"/>
                      <a:pt x="6" y="3"/>
                    </a:cubicBezTo>
                    <a:cubicBezTo>
                      <a:pt x="6" y="3"/>
                      <a:pt x="5" y="4"/>
                      <a:pt x="5" y="3"/>
                    </a:cubicBezTo>
                    <a:cubicBezTo>
                      <a:pt x="5" y="3"/>
                      <a:pt x="5" y="2"/>
                      <a:pt x="5" y="2"/>
                    </a:cubicBezTo>
                    <a:close/>
                    <a:moveTo>
                      <a:pt x="1" y="5"/>
                    </a:moveTo>
                    <a:cubicBezTo>
                      <a:pt x="1" y="6"/>
                      <a:pt x="1" y="7"/>
                      <a:pt x="1" y="7"/>
                    </a:cubicBezTo>
                    <a:cubicBezTo>
                      <a:pt x="2" y="6"/>
                      <a:pt x="3" y="5"/>
                      <a:pt x="3" y="5"/>
                    </a:cubicBezTo>
                    <a:cubicBezTo>
                      <a:pt x="3" y="4"/>
                      <a:pt x="3" y="3"/>
                      <a:pt x="3" y="3"/>
                    </a:cubicBezTo>
                    <a:cubicBezTo>
                      <a:pt x="3" y="3"/>
                      <a:pt x="3" y="1"/>
                      <a:pt x="3" y="0"/>
                    </a:cubicBezTo>
                    <a:cubicBezTo>
                      <a:pt x="3" y="0"/>
                      <a:pt x="2" y="0"/>
                      <a:pt x="2" y="0"/>
                    </a:cubicBezTo>
                    <a:cubicBezTo>
                      <a:pt x="2" y="0"/>
                      <a:pt x="2" y="0"/>
                      <a:pt x="2" y="0"/>
                    </a:cubicBezTo>
                    <a:cubicBezTo>
                      <a:pt x="2" y="0"/>
                      <a:pt x="2" y="1"/>
                      <a:pt x="2" y="1"/>
                    </a:cubicBezTo>
                    <a:cubicBezTo>
                      <a:pt x="1" y="1"/>
                      <a:pt x="1" y="1"/>
                      <a:pt x="1" y="1"/>
                    </a:cubicBezTo>
                    <a:cubicBezTo>
                      <a:pt x="1" y="1"/>
                      <a:pt x="0" y="2"/>
                      <a:pt x="0" y="2"/>
                    </a:cubicBezTo>
                    <a:cubicBezTo>
                      <a:pt x="0" y="3"/>
                      <a:pt x="0" y="3"/>
                      <a:pt x="0" y="3"/>
                    </a:cubicBezTo>
                    <a:cubicBezTo>
                      <a:pt x="0" y="4"/>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4" name="Freeform 869">
                <a:extLst>
                  <a:ext uri="{FF2B5EF4-FFF2-40B4-BE49-F238E27FC236}">
                    <a16:creationId xmlns:a16="http://schemas.microsoft.com/office/drawing/2014/main" id="{888BF492-944A-E8AD-29B9-A75E7D00C876}"/>
                  </a:ext>
                </a:extLst>
              </p:cNvPr>
              <p:cNvSpPr>
                <a:spLocks/>
              </p:cNvSpPr>
              <p:nvPr/>
            </p:nvSpPr>
            <p:spPr bwMode="auto">
              <a:xfrm>
                <a:off x="7881938" y="4062413"/>
                <a:ext cx="95250" cy="42863"/>
              </a:xfrm>
              <a:custGeom>
                <a:avLst/>
                <a:gdLst>
                  <a:gd name="T0" fmla="*/ 13 w 23"/>
                  <a:gd name="T1" fmla="*/ 0 h 10"/>
                  <a:gd name="T2" fmla="*/ 10 w 23"/>
                  <a:gd name="T3" fmla="*/ 0 h 10"/>
                  <a:gd name="T4" fmla="*/ 6 w 23"/>
                  <a:gd name="T5" fmla="*/ 0 h 10"/>
                  <a:gd name="T6" fmla="*/ 3 w 23"/>
                  <a:gd name="T7" fmla="*/ 2 h 10"/>
                  <a:gd name="T8" fmla="*/ 1 w 23"/>
                  <a:gd name="T9" fmla="*/ 5 h 10"/>
                  <a:gd name="T10" fmla="*/ 0 w 23"/>
                  <a:gd name="T11" fmla="*/ 8 h 10"/>
                  <a:gd name="T12" fmla="*/ 2 w 23"/>
                  <a:gd name="T13" fmla="*/ 10 h 10"/>
                  <a:gd name="T14" fmla="*/ 4 w 23"/>
                  <a:gd name="T15" fmla="*/ 10 h 10"/>
                  <a:gd name="T16" fmla="*/ 7 w 23"/>
                  <a:gd name="T17" fmla="*/ 10 h 10"/>
                  <a:gd name="T18" fmla="*/ 9 w 23"/>
                  <a:gd name="T19" fmla="*/ 10 h 10"/>
                  <a:gd name="T20" fmla="*/ 10 w 23"/>
                  <a:gd name="T21" fmla="*/ 9 h 10"/>
                  <a:gd name="T22" fmla="*/ 12 w 23"/>
                  <a:gd name="T23" fmla="*/ 9 h 10"/>
                  <a:gd name="T24" fmla="*/ 13 w 23"/>
                  <a:gd name="T25" fmla="*/ 10 h 10"/>
                  <a:gd name="T26" fmla="*/ 15 w 23"/>
                  <a:gd name="T27" fmla="*/ 10 h 10"/>
                  <a:gd name="T28" fmla="*/ 20 w 23"/>
                  <a:gd name="T29" fmla="*/ 9 h 10"/>
                  <a:gd name="T30" fmla="*/ 22 w 23"/>
                  <a:gd name="T31" fmla="*/ 9 h 10"/>
                  <a:gd name="T32" fmla="*/ 23 w 23"/>
                  <a:gd name="T33" fmla="*/ 5 h 10"/>
                  <a:gd name="T34" fmla="*/ 21 w 23"/>
                  <a:gd name="T35" fmla="*/ 4 h 10"/>
                  <a:gd name="T36" fmla="*/ 19 w 23"/>
                  <a:gd name="T37" fmla="*/ 4 h 10"/>
                  <a:gd name="T38" fmla="*/ 19 w 23"/>
                  <a:gd name="T39" fmla="*/ 3 h 10"/>
                  <a:gd name="T40" fmla="*/ 18 w 23"/>
                  <a:gd name="T41" fmla="*/ 1 h 10"/>
                  <a:gd name="T42" fmla="*/ 13 w 23"/>
                  <a:gd name="T4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0">
                    <a:moveTo>
                      <a:pt x="13" y="0"/>
                    </a:moveTo>
                    <a:cubicBezTo>
                      <a:pt x="10" y="0"/>
                      <a:pt x="10" y="0"/>
                      <a:pt x="10" y="0"/>
                    </a:cubicBezTo>
                    <a:cubicBezTo>
                      <a:pt x="6" y="0"/>
                      <a:pt x="6" y="0"/>
                      <a:pt x="6" y="0"/>
                    </a:cubicBezTo>
                    <a:cubicBezTo>
                      <a:pt x="3" y="2"/>
                      <a:pt x="3" y="2"/>
                      <a:pt x="3" y="2"/>
                    </a:cubicBezTo>
                    <a:cubicBezTo>
                      <a:pt x="1" y="5"/>
                      <a:pt x="1" y="5"/>
                      <a:pt x="1" y="5"/>
                    </a:cubicBezTo>
                    <a:cubicBezTo>
                      <a:pt x="0" y="8"/>
                      <a:pt x="0" y="8"/>
                      <a:pt x="0" y="8"/>
                    </a:cubicBezTo>
                    <a:cubicBezTo>
                      <a:pt x="2" y="10"/>
                      <a:pt x="2" y="10"/>
                      <a:pt x="2" y="10"/>
                    </a:cubicBezTo>
                    <a:cubicBezTo>
                      <a:pt x="2" y="10"/>
                      <a:pt x="4" y="10"/>
                      <a:pt x="4" y="10"/>
                    </a:cubicBezTo>
                    <a:cubicBezTo>
                      <a:pt x="5" y="10"/>
                      <a:pt x="7" y="10"/>
                      <a:pt x="7" y="10"/>
                    </a:cubicBezTo>
                    <a:cubicBezTo>
                      <a:pt x="7" y="10"/>
                      <a:pt x="9" y="10"/>
                      <a:pt x="9" y="10"/>
                    </a:cubicBezTo>
                    <a:cubicBezTo>
                      <a:pt x="9" y="10"/>
                      <a:pt x="10" y="9"/>
                      <a:pt x="10" y="9"/>
                    </a:cubicBezTo>
                    <a:cubicBezTo>
                      <a:pt x="12" y="9"/>
                      <a:pt x="12" y="9"/>
                      <a:pt x="12" y="9"/>
                    </a:cubicBezTo>
                    <a:cubicBezTo>
                      <a:pt x="13" y="10"/>
                      <a:pt x="13" y="10"/>
                      <a:pt x="13" y="10"/>
                    </a:cubicBezTo>
                    <a:cubicBezTo>
                      <a:pt x="15" y="10"/>
                      <a:pt x="15" y="10"/>
                      <a:pt x="15" y="10"/>
                    </a:cubicBezTo>
                    <a:cubicBezTo>
                      <a:pt x="15" y="10"/>
                      <a:pt x="19" y="10"/>
                      <a:pt x="20" y="9"/>
                    </a:cubicBezTo>
                    <a:cubicBezTo>
                      <a:pt x="21" y="9"/>
                      <a:pt x="22" y="9"/>
                      <a:pt x="22" y="9"/>
                    </a:cubicBezTo>
                    <a:cubicBezTo>
                      <a:pt x="23" y="5"/>
                      <a:pt x="23" y="5"/>
                      <a:pt x="23" y="5"/>
                    </a:cubicBezTo>
                    <a:cubicBezTo>
                      <a:pt x="23" y="5"/>
                      <a:pt x="22" y="5"/>
                      <a:pt x="21" y="4"/>
                    </a:cubicBezTo>
                    <a:cubicBezTo>
                      <a:pt x="21" y="4"/>
                      <a:pt x="19" y="4"/>
                      <a:pt x="19" y="4"/>
                    </a:cubicBezTo>
                    <a:cubicBezTo>
                      <a:pt x="19" y="3"/>
                      <a:pt x="19" y="3"/>
                      <a:pt x="19" y="3"/>
                    </a:cubicBezTo>
                    <a:cubicBezTo>
                      <a:pt x="18" y="1"/>
                      <a:pt x="18" y="1"/>
                      <a:pt x="18" y="1"/>
                    </a:cubicBezTo>
                    <a:lnTo>
                      <a:pt x="13"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5" name="Freeform 870">
                <a:extLst>
                  <a:ext uri="{FF2B5EF4-FFF2-40B4-BE49-F238E27FC236}">
                    <a16:creationId xmlns:a16="http://schemas.microsoft.com/office/drawing/2014/main" id="{80114390-2CC0-70F1-A425-397E6C90CE5A}"/>
                  </a:ext>
                </a:extLst>
              </p:cNvPr>
              <p:cNvSpPr>
                <a:spLocks noEditPoints="1"/>
              </p:cNvSpPr>
              <p:nvPr/>
            </p:nvSpPr>
            <p:spPr bwMode="auto">
              <a:xfrm>
                <a:off x="7861300" y="4113213"/>
                <a:ext cx="128587" cy="166688"/>
              </a:xfrm>
              <a:custGeom>
                <a:avLst/>
                <a:gdLst>
                  <a:gd name="T0" fmla="*/ 22 w 31"/>
                  <a:gd name="T1" fmla="*/ 24 h 40"/>
                  <a:gd name="T2" fmla="*/ 27 w 31"/>
                  <a:gd name="T3" fmla="*/ 11 h 40"/>
                  <a:gd name="T4" fmla="*/ 8 w 31"/>
                  <a:gd name="T5" fmla="*/ 3 h 40"/>
                  <a:gd name="T6" fmla="*/ 4 w 31"/>
                  <a:gd name="T7" fmla="*/ 7 h 40"/>
                  <a:gd name="T8" fmla="*/ 3 w 31"/>
                  <a:gd name="T9" fmla="*/ 16 h 40"/>
                  <a:gd name="T10" fmla="*/ 7 w 31"/>
                  <a:gd name="T11" fmla="*/ 30 h 40"/>
                  <a:gd name="T12" fmla="*/ 8 w 31"/>
                  <a:gd name="T13" fmla="*/ 36 h 40"/>
                  <a:gd name="T14" fmla="*/ 8 w 31"/>
                  <a:gd name="T15" fmla="*/ 36 h 40"/>
                  <a:gd name="T16" fmla="*/ 9 w 31"/>
                  <a:gd name="T17" fmla="*/ 35 h 40"/>
                  <a:gd name="T18" fmla="*/ 9 w 31"/>
                  <a:gd name="T19" fmla="*/ 35 h 40"/>
                  <a:gd name="T20" fmla="*/ 11 w 31"/>
                  <a:gd name="T21" fmla="*/ 35 h 40"/>
                  <a:gd name="T22" fmla="*/ 11 w 31"/>
                  <a:gd name="T23" fmla="*/ 36 h 40"/>
                  <a:gd name="T24" fmla="*/ 12 w 31"/>
                  <a:gd name="T25" fmla="*/ 36 h 40"/>
                  <a:gd name="T26" fmla="*/ 12 w 31"/>
                  <a:gd name="T27" fmla="*/ 37 h 40"/>
                  <a:gd name="T28" fmla="*/ 12 w 31"/>
                  <a:gd name="T29" fmla="*/ 35 h 40"/>
                  <a:gd name="T30" fmla="*/ 13 w 31"/>
                  <a:gd name="T31" fmla="*/ 33 h 40"/>
                  <a:gd name="T32" fmla="*/ 14 w 31"/>
                  <a:gd name="T33" fmla="*/ 35 h 40"/>
                  <a:gd name="T34" fmla="*/ 14 w 31"/>
                  <a:gd name="T35" fmla="*/ 36 h 40"/>
                  <a:gd name="T36" fmla="*/ 15 w 31"/>
                  <a:gd name="T37" fmla="*/ 35 h 40"/>
                  <a:gd name="T38" fmla="*/ 15 w 31"/>
                  <a:gd name="T39" fmla="*/ 37 h 40"/>
                  <a:gd name="T40" fmla="*/ 16 w 31"/>
                  <a:gd name="T41" fmla="*/ 35 h 40"/>
                  <a:gd name="T42" fmla="*/ 17 w 31"/>
                  <a:gd name="T43" fmla="*/ 34 h 40"/>
                  <a:gd name="T44" fmla="*/ 18 w 31"/>
                  <a:gd name="T45" fmla="*/ 31 h 40"/>
                  <a:gd name="T46" fmla="*/ 18 w 31"/>
                  <a:gd name="T47" fmla="*/ 35 h 40"/>
                  <a:gd name="T48" fmla="*/ 19 w 31"/>
                  <a:gd name="T49" fmla="*/ 32 h 40"/>
                  <a:gd name="T50" fmla="*/ 21 w 31"/>
                  <a:gd name="T51" fmla="*/ 32 h 40"/>
                  <a:gd name="T52" fmla="*/ 23 w 31"/>
                  <a:gd name="T53" fmla="*/ 30 h 40"/>
                  <a:gd name="T54" fmla="*/ 26 w 31"/>
                  <a:gd name="T55" fmla="*/ 31 h 40"/>
                  <a:gd name="T56" fmla="*/ 7 w 31"/>
                  <a:gd name="T57" fmla="*/ 34 h 40"/>
                  <a:gd name="T58" fmla="*/ 11 w 31"/>
                  <a:gd name="T59" fmla="*/ 37 h 40"/>
                  <a:gd name="T60" fmla="*/ 11 w 31"/>
                  <a:gd name="T61" fmla="*/ 36 h 40"/>
                  <a:gd name="T62" fmla="*/ 10 w 31"/>
                  <a:gd name="T63" fmla="*/ 38 h 40"/>
                  <a:gd name="T64" fmla="*/ 10 w 31"/>
                  <a:gd name="T65" fmla="*/ 35 h 40"/>
                  <a:gd name="T66" fmla="*/ 10 w 31"/>
                  <a:gd name="T67" fmla="*/ 36 h 40"/>
                  <a:gd name="T68" fmla="*/ 11 w 31"/>
                  <a:gd name="T69" fmla="*/ 38 h 40"/>
                  <a:gd name="T70" fmla="*/ 9 w 31"/>
                  <a:gd name="T71" fmla="*/ 38 h 40"/>
                  <a:gd name="T72" fmla="*/ 8 w 31"/>
                  <a:gd name="T73" fmla="*/ 37 h 40"/>
                  <a:gd name="T74" fmla="*/ 8 w 31"/>
                  <a:gd name="T75" fmla="*/ 38 h 40"/>
                  <a:gd name="T76" fmla="*/ 9 w 31"/>
                  <a:gd name="T77" fmla="*/ 36 h 40"/>
                  <a:gd name="T78" fmla="*/ 9 w 31"/>
                  <a:gd name="T79" fmla="*/ 36 h 40"/>
                  <a:gd name="T80" fmla="*/ 9 w 31"/>
                  <a:gd name="T81" fmla="*/ 35 h 40"/>
                  <a:gd name="T82" fmla="*/ 10 w 31"/>
                  <a:gd name="T83" fmla="*/ 36 h 40"/>
                  <a:gd name="T84" fmla="*/ 10 w 31"/>
                  <a:gd name="T85" fmla="*/ 35 h 40"/>
                  <a:gd name="T86" fmla="*/ 23 w 31"/>
                  <a:gd name="T87" fmla="*/ 31 h 40"/>
                  <a:gd name="T88" fmla="*/ 22 w 31"/>
                  <a:gd name="T89" fmla="*/ 32 h 40"/>
                  <a:gd name="T90" fmla="*/ 20 w 31"/>
                  <a:gd name="T91" fmla="*/ 33 h 40"/>
                  <a:gd name="T92" fmla="*/ 21 w 31"/>
                  <a:gd name="T93" fmla="*/ 35 h 40"/>
                  <a:gd name="T94" fmla="*/ 21 w 31"/>
                  <a:gd name="T95" fmla="*/ 34 h 40"/>
                  <a:gd name="T96" fmla="*/ 20 w 31"/>
                  <a:gd name="T97" fmla="*/ 31 h 40"/>
                  <a:gd name="T98" fmla="*/ 20 w 31"/>
                  <a:gd name="T99" fmla="*/ 35 h 40"/>
                  <a:gd name="T100" fmla="*/ 23 w 31"/>
                  <a:gd name="T101" fmla="*/ 33 h 40"/>
                  <a:gd name="T102" fmla="*/ 18 w 31"/>
                  <a:gd name="T103" fmla="*/ 36 h 40"/>
                  <a:gd name="T104" fmla="*/ 19 w 31"/>
                  <a:gd name="T105" fmla="*/ 37 h 40"/>
                  <a:gd name="T106" fmla="*/ 16 w 31"/>
                  <a:gd name="T107" fmla="*/ 37 h 40"/>
                  <a:gd name="T108" fmla="*/ 18 w 31"/>
                  <a:gd name="T109" fmla="*/ 34 h 40"/>
                  <a:gd name="T110" fmla="*/ 18 w 31"/>
                  <a:gd name="T111" fmla="*/ 36 h 40"/>
                  <a:gd name="T112" fmla="*/ 17 w 31"/>
                  <a:gd name="T113" fmla="*/ 37 h 40"/>
                  <a:gd name="T114" fmla="*/ 19 w 31"/>
                  <a:gd name="T115" fmla="*/ 36 h 40"/>
                  <a:gd name="T116" fmla="*/ 18 w 31"/>
                  <a:gd name="T11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40">
                    <a:moveTo>
                      <a:pt x="30" y="31"/>
                    </a:moveTo>
                    <a:cubicBezTo>
                      <a:pt x="30" y="28"/>
                      <a:pt x="30" y="28"/>
                      <a:pt x="30" y="28"/>
                    </a:cubicBezTo>
                    <a:cubicBezTo>
                      <a:pt x="29" y="25"/>
                      <a:pt x="29" y="25"/>
                      <a:pt x="29" y="25"/>
                    </a:cubicBezTo>
                    <a:cubicBezTo>
                      <a:pt x="29" y="21"/>
                      <a:pt x="29" y="21"/>
                      <a:pt x="29" y="21"/>
                    </a:cubicBezTo>
                    <a:cubicBezTo>
                      <a:pt x="28" y="21"/>
                      <a:pt x="28" y="21"/>
                      <a:pt x="28" y="21"/>
                    </a:cubicBezTo>
                    <a:cubicBezTo>
                      <a:pt x="27" y="21"/>
                      <a:pt x="27" y="21"/>
                      <a:pt x="27" y="21"/>
                    </a:cubicBezTo>
                    <a:cubicBezTo>
                      <a:pt x="26" y="23"/>
                      <a:pt x="26" y="23"/>
                      <a:pt x="26" y="23"/>
                    </a:cubicBezTo>
                    <a:cubicBezTo>
                      <a:pt x="26" y="24"/>
                      <a:pt x="26" y="24"/>
                      <a:pt x="26" y="24"/>
                    </a:cubicBezTo>
                    <a:cubicBezTo>
                      <a:pt x="26" y="25"/>
                      <a:pt x="26" y="25"/>
                      <a:pt x="26" y="25"/>
                    </a:cubicBezTo>
                    <a:cubicBezTo>
                      <a:pt x="26" y="25"/>
                      <a:pt x="25" y="26"/>
                      <a:pt x="25" y="26"/>
                    </a:cubicBezTo>
                    <a:cubicBezTo>
                      <a:pt x="25" y="26"/>
                      <a:pt x="24" y="26"/>
                      <a:pt x="24" y="25"/>
                    </a:cubicBezTo>
                    <a:cubicBezTo>
                      <a:pt x="23" y="25"/>
                      <a:pt x="22" y="25"/>
                      <a:pt x="22" y="25"/>
                    </a:cubicBezTo>
                    <a:cubicBezTo>
                      <a:pt x="22" y="24"/>
                      <a:pt x="22" y="24"/>
                      <a:pt x="22" y="24"/>
                    </a:cubicBezTo>
                    <a:cubicBezTo>
                      <a:pt x="22" y="24"/>
                      <a:pt x="21" y="23"/>
                      <a:pt x="21" y="22"/>
                    </a:cubicBezTo>
                    <a:cubicBezTo>
                      <a:pt x="21" y="22"/>
                      <a:pt x="22" y="21"/>
                      <a:pt x="21" y="21"/>
                    </a:cubicBezTo>
                    <a:cubicBezTo>
                      <a:pt x="21" y="20"/>
                      <a:pt x="23" y="18"/>
                      <a:pt x="23" y="18"/>
                    </a:cubicBezTo>
                    <a:cubicBezTo>
                      <a:pt x="23" y="18"/>
                      <a:pt x="24" y="19"/>
                      <a:pt x="24" y="18"/>
                    </a:cubicBezTo>
                    <a:cubicBezTo>
                      <a:pt x="25" y="18"/>
                      <a:pt x="25" y="18"/>
                      <a:pt x="26" y="18"/>
                    </a:cubicBezTo>
                    <a:cubicBezTo>
                      <a:pt x="26" y="17"/>
                      <a:pt x="27" y="16"/>
                      <a:pt x="27" y="16"/>
                    </a:cubicBezTo>
                    <a:cubicBezTo>
                      <a:pt x="28" y="16"/>
                      <a:pt x="28" y="16"/>
                      <a:pt x="28" y="16"/>
                    </a:cubicBezTo>
                    <a:cubicBezTo>
                      <a:pt x="28" y="16"/>
                      <a:pt x="28" y="14"/>
                      <a:pt x="28" y="13"/>
                    </a:cubicBezTo>
                    <a:cubicBezTo>
                      <a:pt x="28" y="13"/>
                      <a:pt x="28" y="12"/>
                      <a:pt x="28" y="12"/>
                    </a:cubicBezTo>
                    <a:cubicBezTo>
                      <a:pt x="28" y="12"/>
                      <a:pt x="29" y="12"/>
                      <a:pt x="29" y="12"/>
                    </a:cubicBezTo>
                    <a:cubicBezTo>
                      <a:pt x="29" y="12"/>
                      <a:pt x="29" y="12"/>
                      <a:pt x="29" y="11"/>
                    </a:cubicBezTo>
                    <a:cubicBezTo>
                      <a:pt x="29" y="11"/>
                      <a:pt x="29" y="11"/>
                      <a:pt x="29" y="11"/>
                    </a:cubicBezTo>
                    <a:cubicBezTo>
                      <a:pt x="29" y="11"/>
                      <a:pt x="28" y="11"/>
                      <a:pt x="27" y="11"/>
                    </a:cubicBezTo>
                    <a:cubicBezTo>
                      <a:pt x="27" y="10"/>
                      <a:pt x="19" y="10"/>
                      <a:pt x="18" y="10"/>
                    </a:cubicBezTo>
                    <a:cubicBezTo>
                      <a:pt x="18" y="10"/>
                      <a:pt x="16" y="10"/>
                      <a:pt x="16" y="10"/>
                    </a:cubicBezTo>
                    <a:cubicBezTo>
                      <a:pt x="16" y="10"/>
                      <a:pt x="15" y="10"/>
                      <a:pt x="14" y="10"/>
                    </a:cubicBezTo>
                    <a:cubicBezTo>
                      <a:pt x="13" y="10"/>
                      <a:pt x="12" y="9"/>
                      <a:pt x="12" y="9"/>
                    </a:cubicBezTo>
                    <a:cubicBezTo>
                      <a:pt x="12" y="9"/>
                      <a:pt x="12" y="8"/>
                      <a:pt x="12" y="8"/>
                    </a:cubicBezTo>
                    <a:cubicBezTo>
                      <a:pt x="12" y="8"/>
                      <a:pt x="13" y="7"/>
                      <a:pt x="13" y="7"/>
                    </a:cubicBezTo>
                    <a:cubicBezTo>
                      <a:pt x="13" y="6"/>
                      <a:pt x="13" y="6"/>
                      <a:pt x="13" y="5"/>
                    </a:cubicBezTo>
                    <a:cubicBezTo>
                      <a:pt x="13" y="5"/>
                      <a:pt x="12" y="4"/>
                      <a:pt x="12" y="4"/>
                    </a:cubicBezTo>
                    <a:cubicBezTo>
                      <a:pt x="12" y="4"/>
                      <a:pt x="12" y="3"/>
                      <a:pt x="12" y="2"/>
                    </a:cubicBezTo>
                    <a:cubicBezTo>
                      <a:pt x="11" y="2"/>
                      <a:pt x="11" y="3"/>
                      <a:pt x="11" y="3"/>
                    </a:cubicBezTo>
                    <a:cubicBezTo>
                      <a:pt x="11" y="3"/>
                      <a:pt x="11" y="4"/>
                      <a:pt x="11" y="4"/>
                    </a:cubicBezTo>
                    <a:cubicBezTo>
                      <a:pt x="10" y="4"/>
                      <a:pt x="10" y="4"/>
                      <a:pt x="10" y="4"/>
                    </a:cubicBezTo>
                    <a:cubicBezTo>
                      <a:pt x="10" y="4"/>
                      <a:pt x="8" y="3"/>
                      <a:pt x="8" y="3"/>
                    </a:cubicBezTo>
                    <a:cubicBezTo>
                      <a:pt x="7" y="1"/>
                      <a:pt x="7" y="1"/>
                      <a:pt x="7" y="1"/>
                    </a:cubicBezTo>
                    <a:cubicBezTo>
                      <a:pt x="6" y="1"/>
                      <a:pt x="6" y="1"/>
                      <a:pt x="6" y="1"/>
                    </a:cubicBezTo>
                    <a:cubicBezTo>
                      <a:pt x="6" y="2"/>
                      <a:pt x="6" y="2"/>
                      <a:pt x="6" y="2"/>
                    </a:cubicBezTo>
                    <a:cubicBezTo>
                      <a:pt x="4" y="2"/>
                      <a:pt x="4" y="2"/>
                      <a:pt x="4" y="2"/>
                    </a:cubicBezTo>
                    <a:cubicBezTo>
                      <a:pt x="3" y="0"/>
                      <a:pt x="3" y="0"/>
                      <a:pt x="3" y="0"/>
                    </a:cubicBezTo>
                    <a:cubicBezTo>
                      <a:pt x="2" y="0"/>
                      <a:pt x="2" y="0"/>
                      <a:pt x="2" y="0"/>
                    </a:cubicBezTo>
                    <a:cubicBezTo>
                      <a:pt x="2" y="0"/>
                      <a:pt x="2" y="1"/>
                      <a:pt x="2" y="1"/>
                    </a:cubicBezTo>
                    <a:cubicBezTo>
                      <a:pt x="2" y="1"/>
                      <a:pt x="2" y="2"/>
                      <a:pt x="2" y="2"/>
                    </a:cubicBezTo>
                    <a:cubicBezTo>
                      <a:pt x="1" y="2"/>
                      <a:pt x="1" y="2"/>
                      <a:pt x="1" y="2"/>
                    </a:cubicBezTo>
                    <a:cubicBezTo>
                      <a:pt x="1" y="2"/>
                      <a:pt x="0" y="4"/>
                      <a:pt x="0" y="4"/>
                    </a:cubicBezTo>
                    <a:cubicBezTo>
                      <a:pt x="0" y="4"/>
                      <a:pt x="0" y="5"/>
                      <a:pt x="0" y="5"/>
                    </a:cubicBezTo>
                    <a:cubicBezTo>
                      <a:pt x="2" y="7"/>
                      <a:pt x="2" y="7"/>
                      <a:pt x="2" y="7"/>
                    </a:cubicBezTo>
                    <a:cubicBezTo>
                      <a:pt x="2" y="7"/>
                      <a:pt x="3" y="7"/>
                      <a:pt x="4" y="7"/>
                    </a:cubicBezTo>
                    <a:cubicBezTo>
                      <a:pt x="4" y="7"/>
                      <a:pt x="5" y="7"/>
                      <a:pt x="5" y="7"/>
                    </a:cubicBezTo>
                    <a:cubicBezTo>
                      <a:pt x="5" y="7"/>
                      <a:pt x="6" y="8"/>
                      <a:pt x="6" y="8"/>
                    </a:cubicBezTo>
                    <a:cubicBezTo>
                      <a:pt x="6" y="9"/>
                      <a:pt x="6" y="10"/>
                      <a:pt x="6" y="10"/>
                    </a:cubicBezTo>
                    <a:cubicBezTo>
                      <a:pt x="6" y="10"/>
                      <a:pt x="6" y="10"/>
                      <a:pt x="6" y="10"/>
                    </a:cubicBezTo>
                    <a:cubicBezTo>
                      <a:pt x="5" y="10"/>
                      <a:pt x="4" y="10"/>
                      <a:pt x="4" y="10"/>
                    </a:cubicBezTo>
                    <a:cubicBezTo>
                      <a:pt x="4" y="10"/>
                      <a:pt x="2" y="10"/>
                      <a:pt x="2" y="10"/>
                    </a:cubicBezTo>
                    <a:cubicBezTo>
                      <a:pt x="2" y="10"/>
                      <a:pt x="3" y="11"/>
                      <a:pt x="3" y="11"/>
                    </a:cubicBezTo>
                    <a:cubicBezTo>
                      <a:pt x="3" y="11"/>
                      <a:pt x="3" y="12"/>
                      <a:pt x="2" y="12"/>
                    </a:cubicBezTo>
                    <a:cubicBezTo>
                      <a:pt x="2" y="12"/>
                      <a:pt x="1" y="12"/>
                      <a:pt x="1" y="12"/>
                    </a:cubicBezTo>
                    <a:cubicBezTo>
                      <a:pt x="0" y="12"/>
                      <a:pt x="0" y="12"/>
                      <a:pt x="0" y="13"/>
                    </a:cubicBezTo>
                    <a:cubicBezTo>
                      <a:pt x="0" y="13"/>
                      <a:pt x="0" y="15"/>
                      <a:pt x="0" y="15"/>
                    </a:cubicBezTo>
                    <a:cubicBezTo>
                      <a:pt x="0" y="15"/>
                      <a:pt x="1" y="15"/>
                      <a:pt x="1" y="15"/>
                    </a:cubicBezTo>
                    <a:cubicBezTo>
                      <a:pt x="1" y="16"/>
                      <a:pt x="2" y="16"/>
                      <a:pt x="3" y="16"/>
                    </a:cubicBezTo>
                    <a:cubicBezTo>
                      <a:pt x="3" y="16"/>
                      <a:pt x="4" y="16"/>
                      <a:pt x="4" y="16"/>
                    </a:cubicBezTo>
                    <a:cubicBezTo>
                      <a:pt x="5" y="17"/>
                      <a:pt x="5" y="17"/>
                      <a:pt x="5" y="17"/>
                    </a:cubicBezTo>
                    <a:cubicBezTo>
                      <a:pt x="5" y="18"/>
                      <a:pt x="5" y="18"/>
                      <a:pt x="5" y="19"/>
                    </a:cubicBezTo>
                    <a:cubicBezTo>
                      <a:pt x="5" y="19"/>
                      <a:pt x="5" y="20"/>
                      <a:pt x="5" y="20"/>
                    </a:cubicBezTo>
                    <a:cubicBezTo>
                      <a:pt x="5" y="20"/>
                      <a:pt x="4" y="20"/>
                      <a:pt x="4" y="20"/>
                    </a:cubicBezTo>
                    <a:cubicBezTo>
                      <a:pt x="4" y="21"/>
                      <a:pt x="3" y="21"/>
                      <a:pt x="3" y="21"/>
                    </a:cubicBezTo>
                    <a:cubicBezTo>
                      <a:pt x="4" y="22"/>
                      <a:pt x="4" y="22"/>
                      <a:pt x="4" y="23"/>
                    </a:cubicBezTo>
                    <a:cubicBezTo>
                      <a:pt x="5" y="23"/>
                      <a:pt x="5" y="23"/>
                      <a:pt x="5" y="23"/>
                    </a:cubicBezTo>
                    <a:cubicBezTo>
                      <a:pt x="5" y="24"/>
                      <a:pt x="4" y="24"/>
                      <a:pt x="5" y="24"/>
                    </a:cubicBezTo>
                    <a:cubicBezTo>
                      <a:pt x="5" y="24"/>
                      <a:pt x="5" y="24"/>
                      <a:pt x="6" y="25"/>
                    </a:cubicBezTo>
                    <a:cubicBezTo>
                      <a:pt x="6" y="25"/>
                      <a:pt x="6" y="26"/>
                      <a:pt x="6" y="26"/>
                    </a:cubicBezTo>
                    <a:cubicBezTo>
                      <a:pt x="6" y="26"/>
                      <a:pt x="6" y="27"/>
                      <a:pt x="6" y="27"/>
                    </a:cubicBezTo>
                    <a:cubicBezTo>
                      <a:pt x="6" y="27"/>
                      <a:pt x="7" y="30"/>
                      <a:pt x="7" y="30"/>
                    </a:cubicBezTo>
                    <a:cubicBezTo>
                      <a:pt x="7" y="34"/>
                      <a:pt x="7" y="34"/>
                      <a:pt x="7" y="34"/>
                    </a:cubicBezTo>
                    <a:cubicBezTo>
                      <a:pt x="7" y="34"/>
                      <a:pt x="7" y="35"/>
                      <a:pt x="7" y="35"/>
                    </a:cubicBezTo>
                    <a:cubicBezTo>
                      <a:pt x="7" y="35"/>
                      <a:pt x="7" y="35"/>
                      <a:pt x="7" y="35"/>
                    </a:cubicBezTo>
                    <a:cubicBezTo>
                      <a:pt x="7" y="35"/>
                      <a:pt x="7" y="36"/>
                      <a:pt x="7" y="36"/>
                    </a:cubicBezTo>
                    <a:cubicBezTo>
                      <a:pt x="8" y="36"/>
                      <a:pt x="8" y="36"/>
                      <a:pt x="7" y="36"/>
                    </a:cubicBezTo>
                    <a:cubicBezTo>
                      <a:pt x="7" y="36"/>
                      <a:pt x="7" y="36"/>
                      <a:pt x="7" y="36"/>
                    </a:cubicBezTo>
                    <a:cubicBezTo>
                      <a:pt x="8" y="37"/>
                      <a:pt x="7" y="37"/>
                      <a:pt x="8" y="37"/>
                    </a:cubicBezTo>
                    <a:cubicBezTo>
                      <a:pt x="8" y="37"/>
                      <a:pt x="8" y="37"/>
                      <a:pt x="8" y="37"/>
                    </a:cubicBezTo>
                    <a:cubicBezTo>
                      <a:pt x="8" y="37"/>
                      <a:pt x="8" y="37"/>
                      <a:pt x="8" y="37"/>
                    </a:cubicBezTo>
                    <a:cubicBezTo>
                      <a:pt x="8" y="37"/>
                      <a:pt x="8" y="37"/>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6"/>
                      <a:pt x="8" y="36"/>
                      <a:pt x="8" y="36"/>
                    </a:cubicBezTo>
                    <a:cubicBezTo>
                      <a:pt x="8" y="36"/>
                      <a:pt x="8" y="36"/>
                      <a:pt x="8" y="36"/>
                    </a:cubicBezTo>
                    <a:cubicBezTo>
                      <a:pt x="8" y="36"/>
                      <a:pt x="8" y="36"/>
                      <a:pt x="8" y="36"/>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4"/>
                    </a:cubicBezTo>
                    <a:cubicBezTo>
                      <a:pt x="8" y="34"/>
                      <a:pt x="8" y="34"/>
                      <a:pt x="8" y="34"/>
                    </a:cubicBezTo>
                    <a:cubicBezTo>
                      <a:pt x="8" y="34"/>
                      <a:pt x="8" y="34"/>
                      <a:pt x="9" y="34"/>
                    </a:cubicBezTo>
                    <a:cubicBezTo>
                      <a:pt x="9" y="35"/>
                      <a:pt x="9" y="35"/>
                      <a:pt x="8" y="35"/>
                    </a:cubicBezTo>
                    <a:cubicBezTo>
                      <a:pt x="8" y="35"/>
                      <a:pt x="8" y="35"/>
                      <a:pt x="8" y="35"/>
                    </a:cubicBezTo>
                    <a:cubicBezTo>
                      <a:pt x="8" y="35"/>
                      <a:pt x="8" y="35"/>
                      <a:pt x="8" y="35"/>
                    </a:cubicBezTo>
                    <a:cubicBezTo>
                      <a:pt x="8" y="35"/>
                      <a:pt x="8"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6"/>
                      <a:pt x="9" y="36"/>
                    </a:cubicBezTo>
                    <a:cubicBezTo>
                      <a:pt x="9" y="36"/>
                      <a:pt x="9" y="36"/>
                      <a:pt x="9" y="36"/>
                    </a:cubicBezTo>
                    <a:cubicBezTo>
                      <a:pt x="9" y="36"/>
                      <a:pt x="9" y="36"/>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5"/>
                      <a:pt x="10" y="35"/>
                      <a:pt x="10" y="34"/>
                    </a:cubicBezTo>
                    <a:cubicBezTo>
                      <a:pt x="10" y="35"/>
                      <a:pt x="10" y="35"/>
                      <a:pt x="10" y="35"/>
                    </a:cubicBezTo>
                    <a:cubicBezTo>
                      <a:pt x="10" y="35"/>
                      <a:pt x="10" y="35"/>
                      <a:pt x="10" y="35"/>
                    </a:cubicBezTo>
                    <a:cubicBezTo>
                      <a:pt x="11" y="35"/>
                      <a:pt x="10" y="35"/>
                      <a:pt x="10" y="35"/>
                    </a:cubicBezTo>
                    <a:cubicBezTo>
                      <a:pt x="10" y="36"/>
                      <a:pt x="10" y="36"/>
                      <a:pt x="11" y="36"/>
                    </a:cubicBezTo>
                    <a:cubicBezTo>
                      <a:pt x="11" y="36"/>
                      <a:pt x="11" y="35"/>
                      <a:pt x="11" y="35"/>
                    </a:cubicBezTo>
                    <a:cubicBezTo>
                      <a:pt x="11" y="35"/>
                      <a:pt x="11" y="35"/>
                      <a:pt x="11" y="35"/>
                    </a:cubicBezTo>
                    <a:cubicBezTo>
                      <a:pt x="11" y="35"/>
                      <a:pt x="11" y="35"/>
                      <a:pt x="11" y="35"/>
                    </a:cubicBezTo>
                    <a:cubicBezTo>
                      <a:pt x="11" y="35"/>
                      <a:pt x="11" y="35"/>
                      <a:pt x="11" y="34"/>
                    </a:cubicBezTo>
                    <a:cubicBezTo>
                      <a:pt x="11" y="34"/>
                      <a:pt x="11" y="34"/>
                      <a:pt x="11" y="34"/>
                    </a:cubicBezTo>
                    <a:cubicBezTo>
                      <a:pt x="11" y="34"/>
                      <a:pt x="11" y="34"/>
                      <a:pt x="11" y="34"/>
                    </a:cubicBezTo>
                    <a:cubicBezTo>
                      <a:pt x="11" y="34"/>
                      <a:pt x="11" y="34"/>
                      <a:pt x="11" y="34"/>
                    </a:cubicBezTo>
                    <a:cubicBezTo>
                      <a:pt x="11" y="35"/>
                      <a:pt x="11" y="35"/>
                      <a:pt x="11" y="35"/>
                    </a:cubicBezTo>
                    <a:cubicBezTo>
                      <a:pt x="11" y="35"/>
                      <a:pt x="11" y="35"/>
                      <a:pt x="11" y="35"/>
                    </a:cubicBezTo>
                    <a:cubicBezTo>
                      <a:pt x="11" y="35"/>
                      <a:pt x="11" y="35"/>
                      <a:pt x="11" y="35"/>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2" y="36"/>
                      <a:pt x="12" y="35"/>
                    </a:cubicBezTo>
                    <a:cubicBezTo>
                      <a:pt x="11" y="35"/>
                      <a:pt x="11" y="35"/>
                      <a:pt x="11" y="35"/>
                    </a:cubicBezTo>
                    <a:cubicBezTo>
                      <a:pt x="11" y="35"/>
                      <a:pt x="11" y="35"/>
                      <a:pt x="11" y="35"/>
                    </a:cubicBezTo>
                    <a:cubicBezTo>
                      <a:pt x="12" y="35"/>
                      <a:pt x="12" y="35"/>
                      <a:pt x="12" y="35"/>
                    </a:cubicBezTo>
                    <a:cubicBezTo>
                      <a:pt x="12" y="35"/>
                      <a:pt x="12" y="35"/>
                      <a:pt x="12" y="35"/>
                    </a:cubicBezTo>
                    <a:cubicBezTo>
                      <a:pt x="12" y="35"/>
                      <a:pt x="12" y="35"/>
                      <a:pt x="12" y="36"/>
                    </a:cubicBezTo>
                    <a:cubicBezTo>
                      <a:pt x="12" y="36"/>
                      <a:pt x="12" y="36"/>
                      <a:pt x="12" y="36"/>
                    </a:cubicBezTo>
                    <a:cubicBezTo>
                      <a:pt x="12" y="36"/>
                      <a:pt x="12" y="36"/>
                      <a:pt x="12" y="36"/>
                    </a:cubicBezTo>
                    <a:cubicBezTo>
                      <a:pt x="12" y="36"/>
                      <a:pt x="12" y="36"/>
                      <a:pt x="12" y="36"/>
                    </a:cubicBezTo>
                    <a:cubicBezTo>
                      <a:pt x="12" y="36"/>
                      <a:pt x="12" y="36"/>
                      <a:pt x="11" y="36"/>
                    </a:cubicBezTo>
                    <a:cubicBezTo>
                      <a:pt x="11" y="37"/>
                      <a:pt x="11" y="37"/>
                      <a:pt x="11" y="37"/>
                    </a:cubicBezTo>
                    <a:cubicBezTo>
                      <a:pt x="11" y="37"/>
                      <a:pt x="11" y="37"/>
                      <a:pt x="11" y="37"/>
                    </a:cubicBezTo>
                    <a:cubicBezTo>
                      <a:pt x="12" y="37"/>
                      <a:pt x="12" y="37"/>
                      <a:pt x="12" y="37"/>
                    </a:cubicBezTo>
                    <a:cubicBezTo>
                      <a:pt x="12" y="37"/>
                      <a:pt x="12" y="37"/>
                      <a:pt x="12" y="36"/>
                    </a:cubicBezTo>
                    <a:cubicBezTo>
                      <a:pt x="12" y="36"/>
                      <a:pt x="12" y="36"/>
                      <a:pt x="12" y="36"/>
                    </a:cubicBezTo>
                    <a:cubicBezTo>
                      <a:pt x="12" y="36"/>
                      <a:pt x="12" y="36"/>
                      <a:pt x="12" y="36"/>
                    </a:cubicBezTo>
                    <a:cubicBezTo>
                      <a:pt x="12" y="36"/>
                      <a:pt x="12" y="36"/>
                      <a:pt x="12" y="36"/>
                    </a:cubicBezTo>
                    <a:cubicBezTo>
                      <a:pt x="12" y="37"/>
                      <a:pt x="12" y="37"/>
                      <a:pt x="12" y="37"/>
                    </a:cubicBezTo>
                    <a:cubicBezTo>
                      <a:pt x="12" y="37"/>
                      <a:pt x="12" y="37"/>
                      <a:pt x="12" y="37"/>
                    </a:cubicBezTo>
                    <a:cubicBezTo>
                      <a:pt x="12" y="37"/>
                      <a:pt x="12" y="37"/>
                      <a:pt x="12" y="37"/>
                    </a:cubicBezTo>
                    <a:cubicBezTo>
                      <a:pt x="12" y="37"/>
                      <a:pt x="12" y="37"/>
                      <a:pt x="12" y="37"/>
                    </a:cubicBezTo>
                    <a:cubicBezTo>
                      <a:pt x="12" y="37"/>
                      <a:pt x="12" y="37"/>
                      <a:pt x="13" y="37"/>
                    </a:cubicBezTo>
                    <a:cubicBezTo>
                      <a:pt x="13" y="37"/>
                      <a:pt x="13" y="36"/>
                      <a:pt x="13" y="36"/>
                    </a:cubicBezTo>
                    <a:cubicBezTo>
                      <a:pt x="13" y="36"/>
                      <a:pt x="12" y="36"/>
                      <a:pt x="12" y="36"/>
                    </a:cubicBezTo>
                    <a:cubicBezTo>
                      <a:pt x="12" y="36"/>
                      <a:pt x="13" y="36"/>
                      <a:pt x="13" y="36"/>
                    </a:cubicBezTo>
                    <a:cubicBezTo>
                      <a:pt x="13" y="36"/>
                      <a:pt x="13" y="36"/>
                      <a:pt x="13" y="37"/>
                    </a:cubicBezTo>
                    <a:cubicBezTo>
                      <a:pt x="13" y="37"/>
                      <a:pt x="13" y="37"/>
                      <a:pt x="13" y="36"/>
                    </a:cubicBezTo>
                    <a:cubicBezTo>
                      <a:pt x="13" y="36"/>
                      <a:pt x="13" y="36"/>
                      <a:pt x="13" y="36"/>
                    </a:cubicBezTo>
                    <a:cubicBezTo>
                      <a:pt x="13" y="36"/>
                      <a:pt x="13" y="36"/>
                      <a:pt x="13" y="36"/>
                    </a:cubicBezTo>
                    <a:cubicBezTo>
                      <a:pt x="13" y="36"/>
                      <a:pt x="13" y="36"/>
                      <a:pt x="13" y="35"/>
                    </a:cubicBezTo>
                    <a:cubicBezTo>
                      <a:pt x="13" y="35"/>
                      <a:pt x="13" y="35"/>
                      <a:pt x="13" y="35"/>
                    </a:cubicBezTo>
                    <a:cubicBezTo>
                      <a:pt x="12" y="35"/>
                      <a:pt x="12" y="35"/>
                      <a:pt x="12" y="35"/>
                    </a:cubicBezTo>
                    <a:cubicBezTo>
                      <a:pt x="12" y="35"/>
                      <a:pt x="12" y="35"/>
                      <a:pt x="12" y="35"/>
                    </a:cubicBezTo>
                    <a:cubicBezTo>
                      <a:pt x="12" y="35"/>
                      <a:pt x="12" y="35"/>
                      <a:pt x="12" y="35"/>
                    </a:cubicBezTo>
                    <a:cubicBezTo>
                      <a:pt x="12" y="34"/>
                      <a:pt x="13" y="35"/>
                      <a:pt x="13" y="35"/>
                    </a:cubicBezTo>
                    <a:cubicBezTo>
                      <a:pt x="13" y="35"/>
                      <a:pt x="13" y="35"/>
                      <a:pt x="13" y="35"/>
                    </a:cubicBezTo>
                    <a:cubicBezTo>
                      <a:pt x="13" y="35"/>
                      <a:pt x="13" y="35"/>
                      <a:pt x="13" y="35"/>
                    </a:cubicBezTo>
                    <a:cubicBezTo>
                      <a:pt x="13" y="35"/>
                      <a:pt x="12" y="35"/>
                      <a:pt x="12" y="35"/>
                    </a:cubicBezTo>
                    <a:cubicBezTo>
                      <a:pt x="12" y="35"/>
                      <a:pt x="13" y="35"/>
                      <a:pt x="13" y="35"/>
                    </a:cubicBezTo>
                    <a:cubicBezTo>
                      <a:pt x="13" y="35"/>
                      <a:pt x="13" y="35"/>
                      <a:pt x="13" y="35"/>
                    </a:cubicBezTo>
                    <a:cubicBezTo>
                      <a:pt x="13" y="35"/>
                      <a:pt x="13" y="35"/>
                      <a:pt x="13" y="35"/>
                    </a:cubicBezTo>
                    <a:cubicBezTo>
                      <a:pt x="13" y="35"/>
                      <a:pt x="13" y="35"/>
                      <a:pt x="13" y="34"/>
                    </a:cubicBezTo>
                    <a:cubicBezTo>
                      <a:pt x="13" y="34"/>
                      <a:pt x="13" y="34"/>
                      <a:pt x="13" y="34"/>
                    </a:cubicBezTo>
                    <a:cubicBezTo>
                      <a:pt x="13" y="34"/>
                      <a:pt x="13" y="34"/>
                      <a:pt x="13" y="34"/>
                    </a:cubicBezTo>
                    <a:cubicBezTo>
                      <a:pt x="13" y="34"/>
                      <a:pt x="13" y="34"/>
                      <a:pt x="13" y="34"/>
                    </a:cubicBezTo>
                    <a:cubicBezTo>
                      <a:pt x="13" y="34"/>
                      <a:pt x="13" y="34"/>
                      <a:pt x="13" y="33"/>
                    </a:cubicBezTo>
                    <a:cubicBezTo>
                      <a:pt x="13" y="33"/>
                      <a:pt x="13" y="33"/>
                      <a:pt x="13" y="33"/>
                    </a:cubicBezTo>
                    <a:cubicBezTo>
                      <a:pt x="13" y="33"/>
                      <a:pt x="13" y="33"/>
                      <a:pt x="13" y="33"/>
                    </a:cubicBezTo>
                    <a:cubicBezTo>
                      <a:pt x="13" y="33"/>
                      <a:pt x="13" y="33"/>
                      <a:pt x="13" y="33"/>
                    </a:cubicBezTo>
                    <a:cubicBezTo>
                      <a:pt x="13" y="33"/>
                      <a:pt x="13" y="34"/>
                      <a:pt x="13" y="34"/>
                    </a:cubicBezTo>
                    <a:cubicBezTo>
                      <a:pt x="13" y="34"/>
                      <a:pt x="13" y="34"/>
                      <a:pt x="13" y="35"/>
                    </a:cubicBezTo>
                    <a:cubicBezTo>
                      <a:pt x="13" y="35"/>
                      <a:pt x="13" y="35"/>
                      <a:pt x="13" y="35"/>
                    </a:cubicBezTo>
                    <a:cubicBezTo>
                      <a:pt x="13" y="35"/>
                      <a:pt x="13" y="35"/>
                      <a:pt x="13" y="35"/>
                    </a:cubicBezTo>
                    <a:cubicBezTo>
                      <a:pt x="13" y="35"/>
                      <a:pt x="13" y="36"/>
                      <a:pt x="13" y="36"/>
                    </a:cubicBezTo>
                    <a:cubicBezTo>
                      <a:pt x="13" y="36"/>
                      <a:pt x="13" y="36"/>
                      <a:pt x="13" y="36"/>
                    </a:cubicBezTo>
                    <a:cubicBezTo>
                      <a:pt x="14" y="36"/>
                      <a:pt x="14" y="36"/>
                      <a:pt x="14" y="36"/>
                    </a:cubicBezTo>
                    <a:cubicBezTo>
                      <a:pt x="14" y="36"/>
                      <a:pt x="13" y="36"/>
                      <a:pt x="14" y="35"/>
                    </a:cubicBezTo>
                    <a:cubicBezTo>
                      <a:pt x="14" y="35"/>
                      <a:pt x="14" y="35"/>
                      <a:pt x="14" y="35"/>
                    </a:cubicBezTo>
                    <a:cubicBezTo>
                      <a:pt x="14" y="35"/>
                      <a:pt x="14" y="35"/>
                      <a:pt x="14" y="35"/>
                    </a:cubicBezTo>
                    <a:cubicBezTo>
                      <a:pt x="14" y="35"/>
                      <a:pt x="14" y="35"/>
                      <a:pt x="14" y="35"/>
                    </a:cubicBezTo>
                    <a:cubicBezTo>
                      <a:pt x="14" y="35"/>
                      <a:pt x="14" y="35"/>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5"/>
                      <a:pt x="14" y="35"/>
                    </a:cubicBezTo>
                    <a:cubicBezTo>
                      <a:pt x="14" y="35"/>
                      <a:pt x="14" y="35"/>
                      <a:pt x="14" y="35"/>
                    </a:cubicBezTo>
                    <a:cubicBezTo>
                      <a:pt x="14" y="35"/>
                      <a:pt x="14" y="35"/>
                      <a:pt x="14" y="35"/>
                    </a:cubicBezTo>
                    <a:cubicBezTo>
                      <a:pt x="14" y="35"/>
                      <a:pt x="14" y="36"/>
                      <a:pt x="14" y="36"/>
                    </a:cubicBezTo>
                    <a:cubicBezTo>
                      <a:pt x="14" y="36"/>
                      <a:pt x="14" y="36"/>
                      <a:pt x="14" y="36"/>
                    </a:cubicBezTo>
                    <a:cubicBezTo>
                      <a:pt x="14" y="36"/>
                      <a:pt x="14" y="36"/>
                      <a:pt x="14" y="36"/>
                    </a:cubicBezTo>
                    <a:cubicBezTo>
                      <a:pt x="14" y="36"/>
                      <a:pt x="14" y="35"/>
                      <a:pt x="14" y="35"/>
                    </a:cubicBezTo>
                    <a:cubicBezTo>
                      <a:pt x="14" y="35"/>
                      <a:pt x="14" y="35"/>
                      <a:pt x="15" y="35"/>
                    </a:cubicBezTo>
                    <a:cubicBezTo>
                      <a:pt x="15" y="35"/>
                      <a:pt x="15" y="35"/>
                      <a:pt x="15" y="35"/>
                    </a:cubicBezTo>
                    <a:cubicBezTo>
                      <a:pt x="15" y="35"/>
                      <a:pt x="15" y="35"/>
                      <a:pt x="15" y="35"/>
                    </a:cubicBezTo>
                    <a:cubicBezTo>
                      <a:pt x="15" y="34"/>
                      <a:pt x="15" y="34"/>
                      <a:pt x="15" y="34"/>
                    </a:cubicBezTo>
                    <a:cubicBezTo>
                      <a:pt x="15" y="34"/>
                      <a:pt x="15" y="33"/>
                      <a:pt x="15" y="33"/>
                    </a:cubicBezTo>
                    <a:cubicBezTo>
                      <a:pt x="15" y="33"/>
                      <a:pt x="15" y="33"/>
                      <a:pt x="15" y="33"/>
                    </a:cubicBezTo>
                    <a:cubicBezTo>
                      <a:pt x="15" y="33"/>
                      <a:pt x="15" y="33"/>
                      <a:pt x="15" y="33"/>
                    </a:cubicBezTo>
                    <a:cubicBezTo>
                      <a:pt x="15" y="34"/>
                      <a:pt x="15" y="34"/>
                      <a:pt x="15" y="34"/>
                    </a:cubicBezTo>
                    <a:cubicBezTo>
                      <a:pt x="15" y="34"/>
                      <a:pt x="15" y="34"/>
                      <a:pt x="15" y="35"/>
                    </a:cubicBezTo>
                    <a:cubicBezTo>
                      <a:pt x="15" y="35"/>
                      <a:pt x="15" y="35"/>
                      <a:pt x="15" y="35"/>
                    </a:cubicBezTo>
                    <a:cubicBezTo>
                      <a:pt x="15" y="35"/>
                      <a:pt x="15" y="35"/>
                      <a:pt x="15" y="35"/>
                    </a:cubicBezTo>
                    <a:cubicBezTo>
                      <a:pt x="15" y="35"/>
                      <a:pt x="15" y="35"/>
                      <a:pt x="15" y="35"/>
                    </a:cubicBezTo>
                    <a:cubicBezTo>
                      <a:pt x="15" y="35"/>
                      <a:pt x="15" y="35"/>
                      <a:pt x="14" y="35"/>
                    </a:cubicBezTo>
                    <a:cubicBezTo>
                      <a:pt x="14" y="35"/>
                      <a:pt x="14" y="35"/>
                      <a:pt x="14" y="35"/>
                    </a:cubicBezTo>
                    <a:cubicBezTo>
                      <a:pt x="14" y="36"/>
                      <a:pt x="14" y="36"/>
                      <a:pt x="14" y="36"/>
                    </a:cubicBezTo>
                    <a:cubicBezTo>
                      <a:pt x="14" y="36"/>
                      <a:pt x="14" y="36"/>
                      <a:pt x="14" y="36"/>
                    </a:cubicBezTo>
                    <a:cubicBezTo>
                      <a:pt x="14" y="36"/>
                      <a:pt x="14" y="36"/>
                      <a:pt x="14" y="36"/>
                    </a:cubicBezTo>
                    <a:cubicBezTo>
                      <a:pt x="14" y="36"/>
                      <a:pt x="14" y="37"/>
                      <a:pt x="14" y="37"/>
                    </a:cubicBezTo>
                    <a:cubicBezTo>
                      <a:pt x="14" y="37"/>
                      <a:pt x="14" y="37"/>
                      <a:pt x="14" y="37"/>
                    </a:cubicBezTo>
                    <a:cubicBezTo>
                      <a:pt x="14" y="37"/>
                      <a:pt x="14" y="36"/>
                      <a:pt x="14" y="36"/>
                    </a:cubicBezTo>
                    <a:cubicBezTo>
                      <a:pt x="14" y="37"/>
                      <a:pt x="14" y="37"/>
                      <a:pt x="14" y="37"/>
                    </a:cubicBezTo>
                    <a:cubicBezTo>
                      <a:pt x="14" y="37"/>
                      <a:pt x="14" y="37"/>
                      <a:pt x="14" y="37"/>
                    </a:cubicBezTo>
                    <a:cubicBezTo>
                      <a:pt x="14" y="37"/>
                      <a:pt x="14" y="37"/>
                      <a:pt x="14" y="37"/>
                    </a:cubicBezTo>
                    <a:cubicBezTo>
                      <a:pt x="15" y="37"/>
                      <a:pt x="15" y="37"/>
                      <a:pt x="15" y="37"/>
                    </a:cubicBezTo>
                    <a:cubicBezTo>
                      <a:pt x="15" y="37"/>
                      <a:pt x="15" y="37"/>
                      <a:pt x="15" y="37"/>
                    </a:cubicBezTo>
                    <a:cubicBezTo>
                      <a:pt x="15" y="37"/>
                      <a:pt x="15" y="37"/>
                      <a:pt x="15" y="37"/>
                    </a:cubicBezTo>
                    <a:cubicBezTo>
                      <a:pt x="15" y="37"/>
                      <a:pt x="15" y="37"/>
                      <a:pt x="16" y="37"/>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4"/>
                    </a:cubicBezTo>
                    <a:cubicBezTo>
                      <a:pt x="16" y="34"/>
                      <a:pt x="16" y="34"/>
                      <a:pt x="16" y="34"/>
                    </a:cubicBezTo>
                    <a:cubicBezTo>
                      <a:pt x="16" y="34"/>
                      <a:pt x="16" y="34"/>
                      <a:pt x="17" y="34"/>
                    </a:cubicBezTo>
                    <a:cubicBezTo>
                      <a:pt x="17" y="34"/>
                      <a:pt x="16" y="34"/>
                      <a:pt x="16" y="34"/>
                    </a:cubicBezTo>
                    <a:cubicBezTo>
                      <a:pt x="16" y="34"/>
                      <a:pt x="16" y="34"/>
                      <a:pt x="17" y="34"/>
                    </a:cubicBezTo>
                    <a:cubicBezTo>
                      <a:pt x="17" y="34"/>
                      <a:pt x="17" y="34"/>
                      <a:pt x="17" y="34"/>
                    </a:cubicBezTo>
                    <a:cubicBezTo>
                      <a:pt x="17" y="34"/>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7" y="34"/>
                    </a:cubicBezTo>
                    <a:cubicBezTo>
                      <a:pt x="17" y="34"/>
                      <a:pt x="17" y="34"/>
                      <a:pt x="17" y="34"/>
                    </a:cubicBezTo>
                    <a:cubicBezTo>
                      <a:pt x="17" y="34"/>
                      <a:pt x="17" y="34"/>
                      <a:pt x="17" y="34"/>
                    </a:cubicBezTo>
                    <a:cubicBezTo>
                      <a:pt x="17" y="34"/>
                      <a:pt x="18" y="34"/>
                      <a:pt x="18" y="34"/>
                    </a:cubicBezTo>
                    <a:cubicBezTo>
                      <a:pt x="18" y="34"/>
                      <a:pt x="18" y="34"/>
                      <a:pt x="18" y="34"/>
                    </a:cubicBezTo>
                    <a:cubicBezTo>
                      <a:pt x="18" y="33"/>
                      <a:pt x="18" y="33"/>
                      <a:pt x="18" y="33"/>
                    </a:cubicBezTo>
                    <a:cubicBezTo>
                      <a:pt x="18" y="33"/>
                      <a:pt x="18" y="33"/>
                      <a:pt x="18" y="33"/>
                    </a:cubicBezTo>
                    <a:cubicBezTo>
                      <a:pt x="18" y="33"/>
                      <a:pt x="18" y="33"/>
                      <a:pt x="18" y="32"/>
                    </a:cubicBezTo>
                    <a:cubicBezTo>
                      <a:pt x="18" y="32"/>
                      <a:pt x="18" y="32"/>
                      <a:pt x="18" y="32"/>
                    </a:cubicBezTo>
                    <a:cubicBezTo>
                      <a:pt x="18" y="32"/>
                      <a:pt x="18" y="32"/>
                      <a:pt x="18" y="32"/>
                    </a:cubicBezTo>
                    <a:cubicBezTo>
                      <a:pt x="18" y="32"/>
                      <a:pt x="17" y="32"/>
                      <a:pt x="17" y="32"/>
                    </a:cubicBezTo>
                    <a:cubicBezTo>
                      <a:pt x="17" y="32"/>
                      <a:pt x="17" y="31"/>
                      <a:pt x="17" y="31"/>
                    </a:cubicBezTo>
                    <a:cubicBezTo>
                      <a:pt x="17" y="31"/>
                      <a:pt x="17" y="31"/>
                      <a:pt x="17" y="31"/>
                    </a:cubicBezTo>
                    <a:cubicBezTo>
                      <a:pt x="17" y="31"/>
                      <a:pt x="17" y="31"/>
                      <a:pt x="17" y="31"/>
                    </a:cubicBezTo>
                    <a:cubicBezTo>
                      <a:pt x="17" y="31"/>
                      <a:pt x="17" y="31"/>
                      <a:pt x="18" y="31"/>
                    </a:cubicBezTo>
                    <a:cubicBezTo>
                      <a:pt x="18" y="31"/>
                      <a:pt x="18" y="31"/>
                      <a:pt x="18" y="31"/>
                    </a:cubicBezTo>
                    <a:cubicBezTo>
                      <a:pt x="17" y="31"/>
                      <a:pt x="17" y="31"/>
                      <a:pt x="17" y="31"/>
                    </a:cubicBezTo>
                    <a:cubicBezTo>
                      <a:pt x="17" y="31"/>
                      <a:pt x="17" y="31"/>
                      <a:pt x="17" y="31"/>
                    </a:cubicBezTo>
                    <a:cubicBezTo>
                      <a:pt x="17" y="31"/>
                      <a:pt x="18" y="32"/>
                      <a:pt x="18" y="32"/>
                    </a:cubicBezTo>
                    <a:cubicBezTo>
                      <a:pt x="18" y="32"/>
                      <a:pt x="18" y="32"/>
                      <a:pt x="18" y="31"/>
                    </a:cubicBezTo>
                    <a:cubicBezTo>
                      <a:pt x="18" y="31"/>
                      <a:pt x="18" y="31"/>
                      <a:pt x="18" y="31"/>
                    </a:cubicBezTo>
                    <a:cubicBezTo>
                      <a:pt x="18" y="31"/>
                      <a:pt x="18" y="31"/>
                      <a:pt x="18" y="31"/>
                    </a:cubicBezTo>
                    <a:cubicBezTo>
                      <a:pt x="18" y="32"/>
                      <a:pt x="18" y="32"/>
                      <a:pt x="18" y="32"/>
                    </a:cubicBezTo>
                    <a:cubicBezTo>
                      <a:pt x="18" y="32"/>
                      <a:pt x="18" y="32"/>
                      <a:pt x="18" y="32"/>
                    </a:cubicBezTo>
                    <a:cubicBezTo>
                      <a:pt x="18" y="32"/>
                      <a:pt x="18" y="33"/>
                      <a:pt x="18" y="33"/>
                    </a:cubicBezTo>
                    <a:cubicBezTo>
                      <a:pt x="18" y="33"/>
                      <a:pt x="18" y="33"/>
                      <a:pt x="18" y="34"/>
                    </a:cubicBezTo>
                    <a:cubicBezTo>
                      <a:pt x="18" y="34"/>
                      <a:pt x="18" y="34"/>
                      <a:pt x="18" y="35"/>
                    </a:cubicBezTo>
                    <a:cubicBezTo>
                      <a:pt x="18" y="35"/>
                      <a:pt x="18" y="35"/>
                      <a:pt x="18" y="35"/>
                    </a:cubicBezTo>
                    <a:cubicBezTo>
                      <a:pt x="18" y="35"/>
                      <a:pt x="18" y="35"/>
                      <a:pt x="18" y="35"/>
                    </a:cubicBezTo>
                    <a:cubicBezTo>
                      <a:pt x="18" y="35"/>
                      <a:pt x="18" y="36"/>
                      <a:pt x="18" y="36"/>
                    </a:cubicBezTo>
                    <a:cubicBezTo>
                      <a:pt x="18" y="36"/>
                      <a:pt x="18" y="36"/>
                      <a:pt x="18" y="36"/>
                    </a:cubicBezTo>
                    <a:cubicBezTo>
                      <a:pt x="18" y="36"/>
                      <a:pt x="18" y="36"/>
                      <a:pt x="19" y="35"/>
                    </a:cubicBezTo>
                    <a:cubicBezTo>
                      <a:pt x="19" y="35"/>
                      <a:pt x="19" y="35"/>
                      <a:pt x="19" y="35"/>
                    </a:cubicBezTo>
                    <a:cubicBezTo>
                      <a:pt x="19" y="35"/>
                      <a:pt x="19" y="34"/>
                      <a:pt x="19" y="34"/>
                    </a:cubicBezTo>
                    <a:cubicBezTo>
                      <a:pt x="19" y="34"/>
                      <a:pt x="19" y="34"/>
                      <a:pt x="19" y="34"/>
                    </a:cubicBezTo>
                    <a:cubicBezTo>
                      <a:pt x="19" y="34"/>
                      <a:pt x="19" y="33"/>
                      <a:pt x="19" y="33"/>
                    </a:cubicBezTo>
                    <a:cubicBezTo>
                      <a:pt x="19" y="33"/>
                      <a:pt x="19" y="33"/>
                      <a:pt x="19" y="33"/>
                    </a:cubicBezTo>
                    <a:cubicBezTo>
                      <a:pt x="20" y="33"/>
                      <a:pt x="20" y="33"/>
                      <a:pt x="20"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1"/>
                    </a:cubicBezTo>
                    <a:cubicBezTo>
                      <a:pt x="19" y="31"/>
                      <a:pt x="19" y="31"/>
                      <a:pt x="19" y="31"/>
                    </a:cubicBezTo>
                    <a:cubicBezTo>
                      <a:pt x="19" y="31"/>
                      <a:pt x="16" y="23"/>
                      <a:pt x="16" y="22"/>
                    </a:cubicBezTo>
                    <a:cubicBezTo>
                      <a:pt x="16" y="22"/>
                      <a:pt x="16" y="22"/>
                      <a:pt x="16" y="22"/>
                    </a:cubicBezTo>
                    <a:cubicBezTo>
                      <a:pt x="16" y="22"/>
                      <a:pt x="16" y="22"/>
                      <a:pt x="16" y="22"/>
                    </a:cubicBezTo>
                    <a:cubicBezTo>
                      <a:pt x="17" y="22"/>
                      <a:pt x="17" y="22"/>
                      <a:pt x="17" y="22"/>
                    </a:cubicBezTo>
                    <a:cubicBezTo>
                      <a:pt x="17" y="22"/>
                      <a:pt x="17" y="23"/>
                      <a:pt x="17" y="23"/>
                    </a:cubicBezTo>
                    <a:cubicBezTo>
                      <a:pt x="17" y="23"/>
                      <a:pt x="17" y="23"/>
                      <a:pt x="17" y="23"/>
                    </a:cubicBezTo>
                    <a:cubicBezTo>
                      <a:pt x="17" y="23"/>
                      <a:pt x="17" y="23"/>
                      <a:pt x="17" y="23"/>
                    </a:cubicBezTo>
                    <a:cubicBezTo>
                      <a:pt x="17" y="23"/>
                      <a:pt x="20" y="31"/>
                      <a:pt x="20" y="31"/>
                    </a:cubicBezTo>
                    <a:cubicBezTo>
                      <a:pt x="20" y="31"/>
                      <a:pt x="20" y="31"/>
                      <a:pt x="21" y="31"/>
                    </a:cubicBezTo>
                    <a:cubicBezTo>
                      <a:pt x="21" y="32"/>
                      <a:pt x="21" y="32"/>
                      <a:pt x="21" y="32"/>
                    </a:cubicBezTo>
                    <a:cubicBezTo>
                      <a:pt x="21" y="32"/>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1"/>
                    </a:cubicBezTo>
                    <a:cubicBezTo>
                      <a:pt x="22" y="31"/>
                      <a:pt x="23" y="31"/>
                      <a:pt x="22" y="31"/>
                    </a:cubicBezTo>
                    <a:cubicBezTo>
                      <a:pt x="22" y="31"/>
                      <a:pt x="22" y="31"/>
                      <a:pt x="22" y="31"/>
                    </a:cubicBezTo>
                    <a:cubicBezTo>
                      <a:pt x="22" y="31"/>
                      <a:pt x="22" y="31"/>
                      <a:pt x="22" y="30"/>
                    </a:cubicBezTo>
                    <a:cubicBezTo>
                      <a:pt x="22" y="30"/>
                      <a:pt x="22"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29"/>
                      <a:pt x="23" y="29"/>
                      <a:pt x="23" y="29"/>
                    </a:cubicBezTo>
                    <a:cubicBezTo>
                      <a:pt x="23" y="29"/>
                      <a:pt x="23" y="29"/>
                      <a:pt x="23" y="29"/>
                    </a:cubicBezTo>
                    <a:cubicBezTo>
                      <a:pt x="23" y="29"/>
                      <a:pt x="23" y="29"/>
                      <a:pt x="23" y="29"/>
                    </a:cubicBezTo>
                    <a:cubicBezTo>
                      <a:pt x="23" y="30"/>
                      <a:pt x="23" y="30"/>
                      <a:pt x="23" y="30"/>
                    </a:cubicBezTo>
                    <a:cubicBezTo>
                      <a:pt x="23" y="30"/>
                      <a:pt x="23" y="30"/>
                      <a:pt x="23" y="30"/>
                    </a:cubicBezTo>
                    <a:cubicBezTo>
                      <a:pt x="23" y="30"/>
                      <a:pt x="23" y="30"/>
                      <a:pt x="23" y="30"/>
                    </a:cubicBezTo>
                    <a:cubicBezTo>
                      <a:pt x="23" y="30"/>
                      <a:pt x="23" y="30"/>
                      <a:pt x="24" y="30"/>
                    </a:cubicBezTo>
                    <a:cubicBezTo>
                      <a:pt x="24" y="30"/>
                      <a:pt x="24" y="30"/>
                      <a:pt x="24" y="30"/>
                    </a:cubicBezTo>
                    <a:cubicBezTo>
                      <a:pt x="24" y="30"/>
                      <a:pt x="24" y="30"/>
                      <a:pt x="24" y="31"/>
                    </a:cubicBezTo>
                    <a:cubicBezTo>
                      <a:pt x="24" y="31"/>
                      <a:pt x="24" y="31"/>
                      <a:pt x="25" y="31"/>
                    </a:cubicBezTo>
                    <a:cubicBezTo>
                      <a:pt x="25" y="31"/>
                      <a:pt x="25" y="31"/>
                      <a:pt x="26" y="31"/>
                    </a:cubicBezTo>
                    <a:cubicBezTo>
                      <a:pt x="26" y="31"/>
                      <a:pt x="26" y="31"/>
                      <a:pt x="26" y="31"/>
                    </a:cubicBezTo>
                    <a:cubicBezTo>
                      <a:pt x="26" y="32"/>
                      <a:pt x="26" y="33"/>
                      <a:pt x="26" y="34"/>
                    </a:cubicBezTo>
                    <a:cubicBezTo>
                      <a:pt x="26" y="34"/>
                      <a:pt x="26" y="34"/>
                      <a:pt x="26" y="35"/>
                    </a:cubicBezTo>
                    <a:cubicBezTo>
                      <a:pt x="26" y="36"/>
                      <a:pt x="26" y="36"/>
                      <a:pt x="27" y="37"/>
                    </a:cubicBezTo>
                    <a:cubicBezTo>
                      <a:pt x="27" y="38"/>
                      <a:pt x="27" y="39"/>
                      <a:pt x="27" y="39"/>
                    </a:cubicBezTo>
                    <a:cubicBezTo>
                      <a:pt x="28" y="40"/>
                      <a:pt x="28" y="40"/>
                      <a:pt x="28" y="39"/>
                    </a:cubicBezTo>
                    <a:cubicBezTo>
                      <a:pt x="28" y="39"/>
                      <a:pt x="28" y="40"/>
                      <a:pt x="28" y="40"/>
                    </a:cubicBezTo>
                    <a:cubicBezTo>
                      <a:pt x="29" y="39"/>
                      <a:pt x="30" y="39"/>
                      <a:pt x="30" y="38"/>
                    </a:cubicBezTo>
                    <a:cubicBezTo>
                      <a:pt x="30" y="37"/>
                      <a:pt x="30" y="37"/>
                      <a:pt x="30" y="36"/>
                    </a:cubicBezTo>
                    <a:cubicBezTo>
                      <a:pt x="30" y="36"/>
                      <a:pt x="30" y="36"/>
                      <a:pt x="31" y="35"/>
                    </a:cubicBezTo>
                    <a:cubicBezTo>
                      <a:pt x="31" y="35"/>
                      <a:pt x="31" y="34"/>
                      <a:pt x="31" y="34"/>
                    </a:cubicBezTo>
                    <a:lnTo>
                      <a:pt x="30" y="31"/>
                    </a:lnTo>
                    <a:close/>
                    <a:moveTo>
                      <a:pt x="7" y="35"/>
                    </a:moveTo>
                    <a:cubicBezTo>
                      <a:pt x="7" y="35"/>
                      <a:pt x="7" y="35"/>
                      <a:pt x="7" y="34"/>
                    </a:cubicBezTo>
                    <a:cubicBezTo>
                      <a:pt x="7" y="34"/>
                      <a:pt x="7" y="34"/>
                      <a:pt x="7" y="34"/>
                    </a:cubicBezTo>
                    <a:cubicBezTo>
                      <a:pt x="8" y="34"/>
                      <a:pt x="7" y="35"/>
                      <a:pt x="7" y="35"/>
                    </a:cubicBezTo>
                    <a:close/>
                    <a:moveTo>
                      <a:pt x="16" y="33"/>
                    </a:moveTo>
                    <a:cubicBezTo>
                      <a:pt x="16" y="33"/>
                      <a:pt x="16" y="33"/>
                      <a:pt x="15" y="33"/>
                    </a:cubicBezTo>
                    <a:cubicBezTo>
                      <a:pt x="15" y="33"/>
                      <a:pt x="15" y="33"/>
                      <a:pt x="15" y="33"/>
                    </a:cubicBezTo>
                    <a:cubicBezTo>
                      <a:pt x="15" y="33"/>
                      <a:pt x="15" y="33"/>
                      <a:pt x="15" y="33"/>
                    </a:cubicBezTo>
                    <a:cubicBezTo>
                      <a:pt x="15" y="33"/>
                      <a:pt x="15" y="33"/>
                      <a:pt x="16" y="33"/>
                    </a:cubicBezTo>
                    <a:cubicBezTo>
                      <a:pt x="16" y="33"/>
                      <a:pt x="16" y="33"/>
                      <a:pt x="16" y="33"/>
                    </a:cubicBezTo>
                    <a:close/>
                    <a:moveTo>
                      <a:pt x="11" y="37"/>
                    </a:moveTo>
                    <a:cubicBezTo>
                      <a:pt x="12" y="37"/>
                      <a:pt x="12" y="37"/>
                      <a:pt x="12" y="37"/>
                    </a:cubicBezTo>
                    <a:cubicBezTo>
                      <a:pt x="12" y="37"/>
                      <a:pt x="12" y="37"/>
                      <a:pt x="12"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7"/>
                    </a:cubicBezTo>
                    <a:cubicBezTo>
                      <a:pt x="11" y="37"/>
                      <a:pt x="11" y="37"/>
                      <a:pt x="11" y="37"/>
                    </a:cubicBezTo>
                    <a:cubicBezTo>
                      <a:pt x="11" y="37"/>
                      <a:pt x="11" y="37"/>
                      <a:pt x="11" y="37"/>
                    </a:cubicBezTo>
                    <a:close/>
                    <a:moveTo>
                      <a:pt x="10" y="37"/>
                    </a:move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8"/>
                    </a:cubicBezTo>
                    <a:cubicBezTo>
                      <a:pt x="10" y="38"/>
                      <a:pt x="10" y="38"/>
                      <a:pt x="10" y="38"/>
                    </a:cubicBezTo>
                    <a:cubicBezTo>
                      <a:pt x="10" y="38"/>
                      <a:pt x="10" y="38"/>
                      <a:pt x="10" y="38"/>
                    </a:cubicBezTo>
                    <a:cubicBezTo>
                      <a:pt x="10" y="38"/>
                      <a:pt x="10" y="38"/>
                      <a:pt x="10" y="38"/>
                    </a:cubicBezTo>
                    <a:cubicBezTo>
                      <a:pt x="10" y="38"/>
                      <a:pt x="9" y="38"/>
                      <a:pt x="9" y="38"/>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5"/>
                      <a:pt x="9" y="35"/>
                    </a:cubicBezTo>
                    <a:cubicBezTo>
                      <a:pt x="9" y="35"/>
                      <a:pt x="9" y="35"/>
                      <a:pt x="9" y="35"/>
                    </a:cubicBezTo>
                    <a:cubicBezTo>
                      <a:pt x="9" y="35"/>
                      <a:pt x="9" y="35"/>
                      <a:pt x="9"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11" y="38"/>
                    </a:moveTo>
                    <a:cubicBezTo>
                      <a:pt x="11" y="38"/>
                      <a:pt x="11" y="38"/>
                      <a:pt x="11" y="38"/>
                    </a:cubicBezTo>
                    <a:cubicBezTo>
                      <a:pt x="11" y="38"/>
                      <a:pt x="11" y="38"/>
                      <a:pt x="11" y="38"/>
                    </a:cubicBezTo>
                    <a:cubicBezTo>
                      <a:pt x="11" y="38"/>
                      <a:pt x="11" y="38"/>
                      <a:pt x="11" y="37"/>
                    </a:cubicBezTo>
                    <a:cubicBezTo>
                      <a:pt x="11" y="37"/>
                      <a:pt x="11" y="37"/>
                      <a:pt x="11" y="37"/>
                    </a:cubicBezTo>
                    <a:cubicBezTo>
                      <a:pt x="11" y="37"/>
                      <a:pt x="11" y="37"/>
                      <a:pt x="11" y="37"/>
                    </a:cubicBezTo>
                    <a:cubicBezTo>
                      <a:pt x="11" y="37"/>
                      <a:pt x="11" y="37"/>
                      <a:pt x="11" y="37"/>
                    </a:cubicBezTo>
                    <a:cubicBezTo>
                      <a:pt x="10" y="37"/>
                      <a:pt x="10" y="37"/>
                      <a:pt x="10" y="37"/>
                    </a:cubicBezTo>
                    <a:cubicBezTo>
                      <a:pt x="10"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lose/>
                    <a:moveTo>
                      <a:pt x="9" y="38"/>
                    </a:moveTo>
                    <a:cubicBezTo>
                      <a:pt x="9" y="38"/>
                      <a:pt x="9" y="38"/>
                      <a:pt x="9" y="38"/>
                    </a:cubicBezTo>
                    <a:cubicBezTo>
                      <a:pt x="9" y="38"/>
                      <a:pt x="8" y="38"/>
                      <a:pt x="8" y="38"/>
                    </a:cubicBezTo>
                    <a:cubicBezTo>
                      <a:pt x="8" y="38"/>
                      <a:pt x="8" y="38"/>
                      <a:pt x="8" y="38"/>
                    </a:cubicBezTo>
                    <a:cubicBezTo>
                      <a:pt x="8" y="38"/>
                      <a:pt x="8" y="38"/>
                      <a:pt x="8" y="38"/>
                    </a:cubicBezTo>
                    <a:cubicBezTo>
                      <a:pt x="8" y="38"/>
                      <a:pt x="8"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lose/>
                    <a:moveTo>
                      <a:pt x="8" y="37"/>
                    </a:moveTo>
                    <a:cubicBezTo>
                      <a:pt x="8" y="37"/>
                      <a:pt x="8" y="38"/>
                      <a:pt x="8" y="38"/>
                    </a:cubicBezTo>
                    <a:cubicBezTo>
                      <a:pt x="8" y="38"/>
                      <a:pt x="7" y="38"/>
                      <a:pt x="7" y="37"/>
                    </a:cubicBezTo>
                    <a:cubicBezTo>
                      <a:pt x="7" y="37"/>
                      <a:pt x="7" y="37"/>
                      <a:pt x="7" y="37"/>
                    </a:cubicBezTo>
                    <a:cubicBezTo>
                      <a:pt x="7" y="37"/>
                      <a:pt x="7" y="37"/>
                      <a:pt x="7" y="37"/>
                    </a:cubicBezTo>
                    <a:cubicBezTo>
                      <a:pt x="7" y="37"/>
                      <a:pt x="7" y="37"/>
                      <a:pt x="7" y="36"/>
                    </a:cubicBezTo>
                    <a:cubicBezTo>
                      <a:pt x="7" y="36"/>
                      <a:pt x="7" y="36"/>
                      <a:pt x="7" y="36"/>
                    </a:cubicBezTo>
                    <a:cubicBezTo>
                      <a:pt x="7" y="36"/>
                      <a:pt x="7" y="37"/>
                      <a:pt x="7" y="37"/>
                    </a:cubicBezTo>
                    <a:cubicBezTo>
                      <a:pt x="7" y="37"/>
                      <a:pt x="7" y="37"/>
                      <a:pt x="7" y="37"/>
                    </a:cubicBezTo>
                    <a:cubicBezTo>
                      <a:pt x="7" y="37"/>
                      <a:pt x="7" y="37"/>
                      <a:pt x="8" y="37"/>
                    </a:cubicBezTo>
                    <a:close/>
                    <a:moveTo>
                      <a:pt x="9" y="37"/>
                    </a:moveTo>
                    <a:cubicBezTo>
                      <a:pt x="9" y="37"/>
                      <a:pt x="9" y="37"/>
                      <a:pt x="9" y="37"/>
                    </a:cubicBezTo>
                    <a:cubicBezTo>
                      <a:pt x="9" y="37"/>
                      <a:pt x="9" y="37"/>
                      <a:pt x="9" y="37"/>
                    </a:cubicBezTo>
                    <a:cubicBezTo>
                      <a:pt x="8" y="37"/>
                      <a:pt x="8" y="38"/>
                      <a:pt x="8" y="38"/>
                    </a:cubicBezTo>
                    <a:cubicBezTo>
                      <a:pt x="8" y="37"/>
                      <a:pt x="8" y="37"/>
                      <a:pt x="8" y="37"/>
                    </a:cubicBezTo>
                    <a:cubicBezTo>
                      <a:pt x="8" y="37"/>
                      <a:pt x="8" y="37"/>
                      <a:pt x="8" y="37"/>
                    </a:cubicBezTo>
                    <a:cubicBezTo>
                      <a:pt x="8" y="37"/>
                      <a:pt x="8" y="37"/>
                      <a:pt x="8" y="37"/>
                    </a:cubicBezTo>
                    <a:cubicBezTo>
                      <a:pt x="8" y="37"/>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9" y="36"/>
                      <a:pt x="9" y="36"/>
                    </a:cubicBezTo>
                    <a:cubicBezTo>
                      <a:pt x="9" y="36"/>
                      <a:pt x="9" y="36"/>
                      <a:pt x="9" y="36"/>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6"/>
                      <a:pt x="9" y="36"/>
                    </a:cubicBezTo>
                    <a:cubicBezTo>
                      <a:pt x="8" y="36"/>
                      <a:pt x="8" y="36"/>
                      <a:pt x="8" y="36"/>
                    </a:cubicBezTo>
                    <a:cubicBezTo>
                      <a:pt x="8" y="36"/>
                      <a:pt x="8" y="36"/>
                      <a:pt x="8" y="36"/>
                    </a:cubicBezTo>
                    <a:cubicBezTo>
                      <a:pt x="8" y="36"/>
                      <a:pt x="8" y="36"/>
                      <a:pt x="8" y="36"/>
                    </a:cubicBezTo>
                    <a:cubicBezTo>
                      <a:pt x="8" y="36"/>
                      <a:pt x="8" y="36"/>
                      <a:pt x="8" y="36"/>
                    </a:cubicBezTo>
                    <a:cubicBezTo>
                      <a:pt x="9" y="36"/>
                      <a:pt x="9" y="36"/>
                      <a:pt x="9" y="36"/>
                    </a:cubicBezTo>
                    <a:cubicBezTo>
                      <a:pt x="8" y="36"/>
                      <a:pt x="8" y="36"/>
                      <a:pt x="8" y="36"/>
                    </a:cubicBezTo>
                    <a:cubicBezTo>
                      <a:pt x="8" y="36"/>
                      <a:pt x="8" y="36"/>
                      <a:pt x="8" y="35"/>
                    </a:cubicBezTo>
                    <a:cubicBezTo>
                      <a:pt x="8" y="35"/>
                      <a:pt x="9" y="35"/>
                      <a:pt x="9" y="35"/>
                    </a:cubicBezTo>
                    <a:cubicBezTo>
                      <a:pt x="9" y="35"/>
                      <a:pt x="9" y="35"/>
                      <a:pt x="9" y="35"/>
                    </a:cubicBezTo>
                    <a:cubicBezTo>
                      <a:pt x="9" y="35"/>
                      <a:pt x="9" y="35"/>
                      <a:pt x="8" y="35"/>
                    </a:cubicBezTo>
                    <a:cubicBezTo>
                      <a:pt x="9" y="35"/>
                      <a:pt x="9" y="35"/>
                      <a:pt x="9" y="35"/>
                    </a:cubicBezTo>
                    <a:cubicBezTo>
                      <a:pt x="9" y="35"/>
                      <a:pt x="9" y="35"/>
                      <a:pt x="9" y="35"/>
                    </a:cubicBezTo>
                    <a:cubicBezTo>
                      <a:pt x="9" y="35"/>
                      <a:pt x="9" y="35"/>
                      <a:pt x="9" y="35"/>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7"/>
                    </a:cubicBezTo>
                    <a:close/>
                    <a:moveTo>
                      <a:pt x="10" y="35"/>
                    </a:move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lose/>
                    <a:moveTo>
                      <a:pt x="23" y="31"/>
                    </a:moveTo>
                    <a:cubicBezTo>
                      <a:pt x="23" y="31"/>
                      <a:pt x="23" y="31"/>
                      <a:pt x="23" y="31"/>
                    </a:cubicBezTo>
                    <a:cubicBezTo>
                      <a:pt x="23" y="31"/>
                      <a:pt x="22" y="31"/>
                      <a:pt x="22" y="31"/>
                    </a:cubicBezTo>
                    <a:cubicBezTo>
                      <a:pt x="22" y="30"/>
                      <a:pt x="23" y="30"/>
                      <a:pt x="23" y="30"/>
                    </a:cubicBezTo>
                    <a:cubicBezTo>
                      <a:pt x="23" y="30"/>
                      <a:pt x="23" y="30"/>
                      <a:pt x="23" y="30"/>
                    </a:cubicBezTo>
                    <a:cubicBezTo>
                      <a:pt x="23" y="30"/>
                      <a:pt x="23" y="30"/>
                      <a:pt x="23" y="30"/>
                    </a:cubicBezTo>
                    <a:cubicBezTo>
                      <a:pt x="23" y="30"/>
                      <a:pt x="23" y="30"/>
                      <a:pt x="23" y="30"/>
                    </a:cubicBezTo>
                    <a:cubicBezTo>
                      <a:pt x="23" y="30"/>
                      <a:pt x="23" y="30"/>
                      <a:pt x="23" y="31"/>
                    </a:cubicBezTo>
                    <a:cubicBezTo>
                      <a:pt x="23" y="31"/>
                      <a:pt x="23" y="31"/>
                      <a:pt x="23" y="31"/>
                    </a:cubicBezTo>
                    <a:cubicBezTo>
                      <a:pt x="23" y="31"/>
                      <a:pt x="23" y="31"/>
                      <a:pt x="23" y="31"/>
                    </a:cubicBezTo>
                    <a:cubicBezTo>
                      <a:pt x="23" y="31"/>
                      <a:pt x="23" y="31"/>
                      <a:pt x="23" y="31"/>
                    </a:cubicBezTo>
                    <a:cubicBezTo>
                      <a:pt x="23" y="31"/>
                      <a:pt x="23" y="31"/>
                      <a:pt x="23" y="31"/>
                    </a:cubicBezTo>
                    <a:close/>
                    <a:moveTo>
                      <a:pt x="23" y="32"/>
                    </a:moveTo>
                    <a:cubicBezTo>
                      <a:pt x="23" y="32"/>
                      <a:pt x="23" y="32"/>
                      <a:pt x="23" y="32"/>
                    </a:cubicBezTo>
                    <a:cubicBezTo>
                      <a:pt x="23" y="32"/>
                      <a:pt x="23" y="32"/>
                      <a:pt x="23" y="32"/>
                    </a:cubicBezTo>
                    <a:cubicBezTo>
                      <a:pt x="23" y="32"/>
                      <a:pt x="22" y="32"/>
                      <a:pt x="22" y="32"/>
                    </a:cubicBezTo>
                    <a:cubicBezTo>
                      <a:pt x="22" y="33"/>
                      <a:pt x="22" y="33"/>
                      <a:pt x="22" y="33"/>
                    </a:cubicBezTo>
                    <a:cubicBezTo>
                      <a:pt x="22" y="33"/>
                      <a:pt x="22" y="33"/>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3" y="31"/>
                    </a:cubicBezTo>
                    <a:cubicBezTo>
                      <a:pt x="23" y="31"/>
                      <a:pt x="23" y="31"/>
                      <a:pt x="23" y="31"/>
                    </a:cubicBezTo>
                    <a:cubicBezTo>
                      <a:pt x="23" y="31"/>
                      <a:pt x="23" y="31"/>
                      <a:pt x="23" y="31"/>
                    </a:cubicBezTo>
                    <a:cubicBezTo>
                      <a:pt x="23" y="31"/>
                      <a:pt x="23" y="31"/>
                      <a:pt x="23" y="31"/>
                    </a:cubicBezTo>
                    <a:cubicBezTo>
                      <a:pt x="23" y="32"/>
                      <a:pt x="23" y="32"/>
                      <a:pt x="23" y="32"/>
                    </a:cubicBezTo>
                    <a:close/>
                    <a:moveTo>
                      <a:pt x="20" y="32"/>
                    </a:moveTo>
                    <a:cubicBezTo>
                      <a:pt x="20" y="32"/>
                      <a:pt x="21" y="32"/>
                      <a:pt x="21" y="32"/>
                    </a:cubicBezTo>
                    <a:cubicBezTo>
                      <a:pt x="21" y="32"/>
                      <a:pt x="21" y="32"/>
                      <a:pt x="21" y="32"/>
                    </a:cubicBezTo>
                    <a:cubicBezTo>
                      <a:pt x="21" y="32"/>
                      <a:pt x="21" y="32"/>
                      <a:pt x="21" y="32"/>
                    </a:cubicBezTo>
                    <a:cubicBezTo>
                      <a:pt x="21" y="33"/>
                      <a:pt x="21" y="33"/>
                      <a:pt x="21" y="33"/>
                    </a:cubicBezTo>
                    <a:cubicBezTo>
                      <a:pt x="21" y="33"/>
                      <a:pt x="21" y="33"/>
                      <a:pt x="20" y="33"/>
                    </a:cubicBezTo>
                    <a:cubicBezTo>
                      <a:pt x="20" y="33"/>
                      <a:pt x="20" y="33"/>
                      <a:pt x="20" y="33"/>
                    </a:cubicBezTo>
                    <a:cubicBezTo>
                      <a:pt x="20" y="33"/>
                      <a:pt x="20" y="33"/>
                      <a:pt x="20" y="33"/>
                    </a:cubicBezTo>
                    <a:cubicBezTo>
                      <a:pt x="20" y="33"/>
                      <a:pt x="20" y="33"/>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1" y="35"/>
                    </a:moveTo>
                    <a:cubicBezTo>
                      <a:pt x="21" y="35"/>
                      <a:pt x="21" y="35"/>
                      <a:pt x="21" y="35"/>
                    </a:cubicBezTo>
                    <a:cubicBezTo>
                      <a:pt x="21" y="35"/>
                      <a:pt x="21" y="35"/>
                      <a:pt x="21" y="35"/>
                    </a:cubicBezTo>
                    <a:cubicBezTo>
                      <a:pt x="21" y="35"/>
                      <a:pt x="21" y="35"/>
                      <a:pt x="21" y="35"/>
                    </a:cubicBezTo>
                    <a:cubicBezTo>
                      <a:pt x="20" y="35"/>
                      <a:pt x="20" y="35"/>
                      <a:pt x="20" y="35"/>
                    </a:cubicBezTo>
                    <a:cubicBezTo>
                      <a:pt x="20" y="35"/>
                      <a:pt x="20" y="35"/>
                      <a:pt x="20" y="35"/>
                    </a:cubicBezTo>
                    <a:cubicBezTo>
                      <a:pt x="20" y="35"/>
                      <a:pt x="20" y="35"/>
                      <a:pt x="20" y="35"/>
                    </a:cubicBezTo>
                    <a:cubicBezTo>
                      <a:pt x="20" y="35"/>
                      <a:pt x="20" y="35"/>
                      <a:pt x="21" y="35"/>
                    </a:cubicBezTo>
                    <a:cubicBezTo>
                      <a:pt x="21" y="35"/>
                      <a:pt x="21" y="35"/>
                      <a:pt x="21" y="35"/>
                    </a:cubicBezTo>
                    <a:close/>
                    <a:moveTo>
                      <a:pt x="22" y="33"/>
                    </a:moveTo>
                    <a:cubicBezTo>
                      <a:pt x="22" y="34"/>
                      <a:pt x="22" y="34"/>
                      <a:pt x="22" y="34"/>
                    </a:cubicBezTo>
                    <a:cubicBezTo>
                      <a:pt x="22" y="34"/>
                      <a:pt x="22" y="34"/>
                      <a:pt x="22" y="34"/>
                    </a:cubicBezTo>
                    <a:cubicBezTo>
                      <a:pt x="22" y="34"/>
                      <a:pt x="22" y="34"/>
                      <a:pt x="22" y="34"/>
                    </a:cubicBezTo>
                    <a:cubicBezTo>
                      <a:pt x="22"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4"/>
                      <a:pt x="21" y="34"/>
                      <a:pt x="21" y="34"/>
                    </a:cubicBezTo>
                    <a:cubicBezTo>
                      <a:pt x="21" y="34"/>
                      <a:pt x="21" y="34"/>
                      <a:pt x="21" y="34"/>
                    </a:cubicBezTo>
                    <a:cubicBezTo>
                      <a:pt x="21" y="34"/>
                      <a:pt x="21" y="34"/>
                      <a:pt x="21" y="34"/>
                    </a:cubicBezTo>
                    <a:cubicBezTo>
                      <a:pt x="21" y="34"/>
                      <a:pt x="21" y="34"/>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2" y="33"/>
                    </a:cubicBezTo>
                    <a:cubicBezTo>
                      <a:pt x="22" y="33"/>
                      <a:pt x="22" y="33"/>
                      <a:pt x="22" y="33"/>
                    </a:cubicBezTo>
                    <a:close/>
                    <a:moveTo>
                      <a:pt x="20" y="32"/>
                    </a:moveTo>
                    <a:cubicBezTo>
                      <a:pt x="20" y="32"/>
                      <a:pt x="20" y="32"/>
                      <a:pt x="20" y="32"/>
                    </a:cubicBezTo>
                    <a:cubicBezTo>
                      <a:pt x="20" y="32"/>
                      <a:pt x="20" y="32"/>
                      <a:pt x="20" y="32"/>
                    </a:cubicBezTo>
                    <a:cubicBezTo>
                      <a:pt x="20" y="32"/>
                      <a:pt x="19" y="31"/>
                      <a:pt x="20" y="31"/>
                    </a:cubicBezTo>
                    <a:cubicBezTo>
                      <a:pt x="20" y="31"/>
                      <a:pt x="20" y="31"/>
                      <a:pt x="20" y="31"/>
                    </a:cubicBezTo>
                    <a:cubicBezTo>
                      <a:pt x="20" y="31"/>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0" y="34"/>
                    </a:moveTo>
                    <a:cubicBezTo>
                      <a:pt x="20" y="34"/>
                      <a:pt x="20" y="35"/>
                      <a:pt x="20" y="35"/>
                    </a:cubicBezTo>
                    <a:cubicBezTo>
                      <a:pt x="20" y="35"/>
                      <a:pt x="20" y="35"/>
                      <a:pt x="20" y="35"/>
                    </a:cubicBezTo>
                    <a:cubicBezTo>
                      <a:pt x="20" y="35"/>
                      <a:pt x="20" y="35"/>
                      <a:pt x="20" y="35"/>
                    </a:cubicBezTo>
                    <a:cubicBezTo>
                      <a:pt x="20" y="35"/>
                      <a:pt x="20" y="35"/>
                      <a:pt x="20" y="34"/>
                    </a:cubicBezTo>
                    <a:cubicBezTo>
                      <a:pt x="20" y="34"/>
                      <a:pt x="20" y="34"/>
                      <a:pt x="20" y="34"/>
                    </a:cubicBezTo>
                    <a:cubicBezTo>
                      <a:pt x="20" y="34"/>
                      <a:pt x="20" y="34"/>
                      <a:pt x="20" y="34"/>
                    </a:cubicBezTo>
                    <a:cubicBezTo>
                      <a:pt x="20" y="34"/>
                      <a:pt x="20" y="33"/>
                      <a:pt x="20" y="33"/>
                    </a:cubicBezTo>
                    <a:cubicBezTo>
                      <a:pt x="20" y="34"/>
                      <a:pt x="21" y="34"/>
                      <a:pt x="20" y="34"/>
                    </a:cubicBezTo>
                    <a:close/>
                    <a:moveTo>
                      <a:pt x="23" y="33"/>
                    </a:move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lose/>
                    <a:moveTo>
                      <a:pt x="24" y="32"/>
                    </a:moveTo>
                    <a:cubicBezTo>
                      <a:pt x="24" y="32"/>
                      <a:pt x="24" y="32"/>
                      <a:pt x="24" y="32"/>
                    </a:cubicBezTo>
                    <a:cubicBezTo>
                      <a:pt x="24" y="33"/>
                      <a:pt x="24" y="33"/>
                      <a:pt x="24" y="33"/>
                    </a:cubicBezTo>
                    <a:cubicBezTo>
                      <a:pt x="24" y="33"/>
                      <a:pt x="24" y="33"/>
                      <a:pt x="24" y="33"/>
                    </a:cubicBezTo>
                    <a:cubicBezTo>
                      <a:pt x="24" y="33"/>
                      <a:pt x="24" y="32"/>
                      <a:pt x="24" y="32"/>
                    </a:cubicBezTo>
                    <a:cubicBezTo>
                      <a:pt x="23" y="32"/>
                      <a:pt x="23" y="32"/>
                      <a:pt x="23" y="32"/>
                    </a:cubicBezTo>
                    <a:cubicBezTo>
                      <a:pt x="23" y="31"/>
                      <a:pt x="23" y="31"/>
                      <a:pt x="24" y="31"/>
                    </a:cubicBezTo>
                    <a:cubicBezTo>
                      <a:pt x="24" y="31"/>
                      <a:pt x="24" y="31"/>
                      <a:pt x="24" y="31"/>
                    </a:cubicBezTo>
                    <a:cubicBezTo>
                      <a:pt x="24" y="31"/>
                      <a:pt x="24" y="31"/>
                      <a:pt x="24" y="31"/>
                    </a:cubicBezTo>
                    <a:cubicBezTo>
                      <a:pt x="24" y="31"/>
                      <a:pt x="24" y="31"/>
                      <a:pt x="24" y="32"/>
                    </a:cubicBezTo>
                    <a:cubicBezTo>
                      <a:pt x="24" y="32"/>
                      <a:pt x="24" y="32"/>
                      <a:pt x="24" y="32"/>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moveTo>
                      <a:pt x="19" y="36"/>
                    </a:moveTo>
                    <a:cubicBezTo>
                      <a:pt x="19" y="36"/>
                      <a:pt x="19" y="37"/>
                      <a:pt x="19" y="37"/>
                    </a:cubicBezTo>
                    <a:cubicBezTo>
                      <a:pt x="19" y="37"/>
                      <a:pt x="19" y="37"/>
                      <a:pt x="19" y="37"/>
                    </a:cubicBezTo>
                    <a:cubicBezTo>
                      <a:pt x="19" y="37"/>
                      <a:pt x="19"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lose/>
                    <a:moveTo>
                      <a:pt x="17" y="36"/>
                    </a:moveTo>
                    <a:cubicBezTo>
                      <a:pt x="17" y="36"/>
                      <a:pt x="17" y="36"/>
                      <a:pt x="17" y="36"/>
                    </a:cubicBezTo>
                    <a:cubicBezTo>
                      <a:pt x="17" y="36"/>
                      <a:pt x="17" y="36"/>
                      <a:pt x="17" y="36"/>
                    </a:cubicBezTo>
                    <a:cubicBezTo>
                      <a:pt x="17" y="36"/>
                      <a:pt x="17" y="36"/>
                      <a:pt x="16" y="36"/>
                    </a:cubicBezTo>
                    <a:cubicBezTo>
                      <a:pt x="16" y="37"/>
                      <a:pt x="16" y="37"/>
                      <a:pt x="16" y="37"/>
                    </a:cubicBezTo>
                    <a:cubicBezTo>
                      <a:pt x="16" y="37"/>
                      <a:pt x="16" y="36"/>
                      <a:pt x="16" y="37"/>
                    </a:cubicBezTo>
                    <a:cubicBezTo>
                      <a:pt x="16" y="37"/>
                      <a:pt x="16" y="37"/>
                      <a:pt x="16" y="37"/>
                    </a:cubicBezTo>
                    <a:cubicBezTo>
                      <a:pt x="16" y="37"/>
                      <a:pt x="16" y="37"/>
                      <a:pt x="16" y="37"/>
                    </a:cubicBezTo>
                    <a:cubicBezTo>
                      <a:pt x="16" y="36"/>
                      <a:pt x="16" y="36"/>
                      <a:pt x="16" y="36"/>
                    </a:cubicBezTo>
                    <a:cubicBezTo>
                      <a:pt x="16" y="36"/>
                      <a:pt x="16" y="36"/>
                      <a:pt x="16" y="36"/>
                    </a:cubicBezTo>
                    <a:cubicBezTo>
                      <a:pt x="16" y="36"/>
                      <a:pt x="16" y="36"/>
                      <a:pt x="16" y="36"/>
                    </a:cubicBezTo>
                    <a:cubicBezTo>
                      <a:pt x="16" y="36"/>
                      <a:pt x="17" y="35"/>
                      <a:pt x="17"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5"/>
                      <a:pt x="18" y="35"/>
                    </a:cubicBezTo>
                    <a:cubicBezTo>
                      <a:pt x="18" y="35"/>
                      <a:pt x="18" y="35"/>
                      <a:pt x="18" y="35"/>
                    </a:cubicBezTo>
                    <a:cubicBezTo>
                      <a:pt x="18" y="35"/>
                      <a:pt x="18" y="35"/>
                      <a:pt x="18" y="35"/>
                    </a:cubicBezTo>
                    <a:cubicBezTo>
                      <a:pt x="18" y="35"/>
                      <a:pt x="18" y="35"/>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8" y="36"/>
                      <a:pt x="18" y="36"/>
                    </a:cubicBezTo>
                    <a:cubicBezTo>
                      <a:pt x="18" y="36"/>
                      <a:pt x="18" y="36"/>
                      <a:pt x="18" y="36"/>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lose/>
                    <a:moveTo>
                      <a:pt x="19" y="36"/>
                    </a:moveTo>
                    <a:cubicBezTo>
                      <a:pt x="19" y="36"/>
                      <a:pt x="19" y="36"/>
                      <a:pt x="19" y="36"/>
                    </a:cubicBezTo>
                    <a:cubicBezTo>
                      <a:pt x="19" y="36"/>
                      <a:pt x="19" y="37"/>
                      <a:pt x="19" y="37"/>
                    </a:cubicBezTo>
                    <a:cubicBezTo>
                      <a:pt x="19" y="37"/>
                      <a:pt x="19" y="37"/>
                      <a:pt x="19" y="37"/>
                    </a:cubicBezTo>
                    <a:cubicBezTo>
                      <a:pt x="19" y="37"/>
                      <a:pt x="19" y="37"/>
                      <a:pt x="19" y="37"/>
                    </a:cubicBezTo>
                    <a:cubicBezTo>
                      <a:pt x="19" y="37"/>
                      <a:pt x="19" y="36"/>
                      <a:pt x="19" y="36"/>
                    </a:cubicBezTo>
                    <a:cubicBezTo>
                      <a:pt x="19" y="36"/>
                      <a:pt x="19" y="36"/>
                      <a:pt x="19" y="36"/>
                    </a:cubicBezTo>
                    <a:cubicBezTo>
                      <a:pt x="19" y="36"/>
                      <a:pt x="19" y="36"/>
                      <a:pt x="19" y="36"/>
                    </a:cubicBezTo>
                    <a:cubicBezTo>
                      <a:pt x="19" y="36"/>
                      <a:pt x="19" y="36"/>
                      <a:pt x="19"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66" name="Group 265">
                <a:extLst>
                  <a:ext uri="{FF2B5EF4-FFF2-40B4-BE49-F238E27FC236}">
                    <a16:creationId xmlns:a16="http://schemas.microsoft.com/office/drawing/2014/main" id="{F4A2791F-DF38-E03B-F007-F57C7A39F596}"/>
                  </a:ext>
                </a:extLst>
              </p:cNvPr>
              <p:cNvGrpSpPr/>
              <p:nvPr/>
            </p:nvGrpSpPr>
            <p:grpSpPr>
              <a:xfrm>
                <a:off x="6599238" y="3605213"/>
                <a:ext cx="469900" cy="808037"/>
                <a:chOff x="6599238" y="3605213"/>
                <a:chExt cx="469900" cy="808037"/>
              </a:xfrm>
              <a:grpFill/>
            </p:grpSpPr>
            <p:sp>
              <p:nvSpPr>
                <p:cNvPr id="276" name="Freeform 827">
                  <a:extLst>
                    <a:ext uri="{FF2B5EF4-FFF2-40B4-BE49-F238E27FC236}">
                      <a16:creationId xmlns:a16="http://schemas.microsoft.com/office/drawing/2014/main" id="{5A8F9F95-CACA-FA8C-7E75-C2B278543E57}"/>
                    </a:ext>
                  </a:extLst>
                </p:cNvPr>
                <p:cNvSpPr>
                  <a:spLocks/>
                </p:cNvSpPr>
                <p:nvPr/>
              </p:nvSpPr>
              <p:spPr bwMode="auto">
                <a:xfrm>
                  <a:off x="6832600" y="4117975"/>
                  <a:ext cx="138112" cy="115888"/>
                </a:xfrm>
                <a:custGeom>
                  <a:avLst/>
                  <a:gdLst>
                    <a:gd name="T0" fmla="*/ 24 w 33"/>
                    <a:gd name="T1" fmla="*/ 28 h 28"/>
                    <a:gd name="T2" fmla="*/ 24 w 33"/>
                    <a:gd name="T3" fmla="*/ 25 h 28"/>
                    <a:gd name="T4" fmla="*/ 27 w 33"/>
                    <a:gd name="T5" fmla="*/ 21 h 28"/>
                    <a:gd name="T6" fmla="*/ 27 w 33"/>
                    <a:gd name="T7" fmla="*/ 19 h 28"/>
                    <a:gd name="T8" fmla="*/ 26 w 33"/>
                    <a:gd name="T9" fmla="*/ 18 h 28"/>
                    <a:gd name="T10" fmla="*/ 27 w 33"/>
                    <a:gd name="T11" fmla="*/ 18 h 28"/>
                    <a:gd name="T12" fmla="*/ 29 w 33"/>
                    <a:gd name="T13" fmla="*/ 18 h 28"/>
                    <a:gd name="T14" fmla="*/ 30 w 33"/>
                    <a:gd name="T15" fmla="*/ 16 h 28"/>
                    <a:gd name="T16" fmla="*/ 28 w 33"/>
                    <a:gd name="T17" fmla="*/ 15 h 28"/>
                    <a:gd name="T18" fmla="*/ 28 w 33"/>
                    <a:gd name="T19" fmla="*/ 13 h 28"/>
                    <a:gd name="T20" fmla="*/ 29 w 33"/>
                    <a:gd name="T21" fmla="*/ 11 h 28"/>
                    <a:gd name="T22" fmla="*/ 29 w 33"/>
                    <a:gd name="T23" fmla="*/ 11 h 28"/>
                    <a:gd name="T24" fmla="*/ 30 w 33"/>
                    <a:gd name="T25" fmla="*/ 11 h 28"/>
                    <a:gd name="T26" fmla="*/ 30 w 33"/>
                    <a:gd name="T27" fmla="*/ 12 h 28"/>
                    <a:gd name="T28" fmla="*/ 31 w 33"/>
                    <a:gd name="T29" fmla="*/ 12 h 28"/>
                    <a:gd name="T30" fmla="*/ 32 w 33"/>
                    <a:gd name="T31" fmla="*/ 11 h 28"/>
                    <a:gd name="T32" fmla="*/ 33 w 33"/>
                    <a:gd name="T33" fmla="*/ 10 h 28"/>
                    <a:gd name="T34" fmla="*/ 33 w 33"/>
                    <a:gd name="T35" fmla="*/ 10 h 28"/>
                    <a:gd name="T36" fmla="*/ 33 w 33"/>
                    <a:gd name="T37" fmla="*/ 9 h 28"/>
                    <a:gd name="T38" fmla="*/ 33 w 33"/>
                    <a:gd name="T39" fmla="*/ 5 h 28"/>
                    <a:gd name="T40" fmla="*/ 33 w 33"/>
                    <a:gd name="T41" fmla="*/ 4 h 28"/>
                    <a:gd name="T42" fmla="*/ 33 w 33"/>
                    <a:gd name="T43" fmla="*/ 2 h 28"/>
                    <a:gd name="T44" fmla="*/ 33 w 33"/>
                    <a:gd name="T45" fmla="*/ 1 h 28"/>
                    <a:gd name="T46" fmla="*/ 31 w 33"/>
                    <a:gd name="T47" fmla="*/ 2 h 28"/>
                    <a:gd name="T48" fmla="*/ 31 w 33"/>
                    <a:gd name="T49" fmla="*/ 1 h 28"/>
                    <a:gd name="T50" fmla="*/ 31 w 33"/>
                    <a:gd name="T51" fmla="*/ 2 h 28"/>
                    <a:gd name="T52" fmla="*/ 30 w 33"/>
                    <a:gd name="T53" fmla="*/ 4 h 28"/>
                    <a:gd name="T54" fmla="*/ 27 w 33"/>
                    <a:gd name="T55" fmla="*/ 6 h 28"/>
                    <a:gd name="T56" fmla="*/ 24 w 33"/>
                    <a:gd name="T57" fmla="*/ 9 h 28"/>
                    <a:gd name="T58" fmla="*/ 22 w 33"/>
                    <a:gd name="T59" fmla="*/ 11 h 28"/>
                    <a:gd name="T60" fmla="*/ 20 w 33"/>
                    <a:gd name="T61" fmla="*/ 14 h 28"/>
                    <a:gd name="T62" fmla="*/ 18 w 33"/>
                    <a:gd name="T63" fmla="*/ 15 h 28"/>
                    <a:gd name="T64" fmla="*/ 12 w 33"/>
                    <a:gd name="T65" fmla="*/ 16 h 28"/>
                    <a:gd name="T66" fmla="*/ 7 w 33"/>
                    <a:gd name="T67" fmla="*/ 16 h 28"/>
                    <a:gd name="T68" fmla="*/ 2 w 33"/>
                    <a:gd name="T69" fmla="*/ 17 h 28"/>
                    <a:gd name="T70" fmla="*/ 1 w 33"/>
                    <a:gd name="T71" fmla="*/ 16 h 28"/>
                    <a:gd name="T72" fmla="*/ 0 w 33"/>
                    <a:gd name="T73" fmla="*/ 15 h 28"/>
                    <a:gd name="T74" fmla="*/ 6 w 33"/>
                    <a:gd name="T75" fmla="*/ 26 h 28"/>
                    <a:gd name="T76" fmla="*/ 24 w 33"/>
                    <a:gd name="T7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28">
                      <a:moveTo>
                        <a:pt x="24" y="28"/>
                      </a:moveTo>
                      <a:cubicBezTo>
                        <a:pt x="24" y="25"/>
                        <a:pt x="24" y="25"/>
                        <a:pt x="24" y="25"/>
                      </a:cubicBezTo>
                      <a:cubicBezTo>
                        <a:pt x="24" y="25"/>
                        <a:pt x="27" y="22"/>
                        <a:pt x="27" y="21"/>
                      </a:cubicBezTo>
                      <a:cubicBezTo>
                        <a:pt x="27" y="21"/>
                        <a:pt x="27" y="19"/>
                        <a:pt x="27" y="19"/>
                      </a:cubicBezTo>
                      <a:cubicBezTo>
                        <a:pt x="27" y="19"/>
                        <a:pt x="26" y="18"/>
                        <a:pt x="26" y="18"/>
                      </a:cubicBezTo>
                      <a:cubicBezTo>
                        <a:pt x="27" y="18"/>
                        <a:pt x="27" y="18"/>
                        <a:pt x="27" y="18"/>
                      </a:cubicBezTo>
                      <a:cubicBezTo>
                        <a:pt x="29" y="18"/>
                        <a:pt x="29" y="18"/>
                        <a:pt x="29" y="18"/>
                      </a:cubicBezTo>
                      <a:cubicBezTo>
                        <a:pt x="29" y="18"/>
                        <a:pt x="30" y="16"/>
                        <a:pt x="30" y="16"/>
                      </a:cubicBezTo>
                      <a:cubicBezTo>
                        <a:pt x="30" y="16"/>
                        <a:pt x="28" y="16"/>
                        <a:pt x="28" y="15"/>
                      </a:cubicBezTo>
                      <a:cubicBezTo>
                        <a:pt x="28" y="15"/>
                        <a:pt x="28" y="13"/>
                        <a:pt x="28" y="13"/>
                      </a:cubicBezTo>
                      <a:cubicBezTo>
                        <a:pt x="28" y="13"/>
                        <a:pt x="28" y="12"/>
                        <a:pt x="29" y="11"/>
                      </a:cubicBezTo>
                      <a:cubicBezTo>
                        <a:pt x="29" y="11"/>
                        <a:pt x="29" y="11"/>
                        <a:pt x="29" y="11"/>
                      </a:cubicBezTo>
                      <a:cubicBezTo>
                        <a:pt x="29" y="11"/>
                        <a:pt x="30" y="11"/>
                        <a:pt x="30" y="11"/>
                      </a:cubicBezTo>
                      <a:cubicBezTo>
                        <a:pt x="30" y="11"/>
                        <a:pt x="30" y="12"/>
                        <a:pt x="30" y="12"/>
                      </a:cubicBezTo>
                      <a:cubicBezTo>
                        <a:pt x="30" y="12"/>
                        <a:pt x="31" y="12"/>
                        <a:pt x="31" y="12"/>
                      </a:cubicBezTo>
                      <a:cubicBezTo>
                        <a:pt x="31" y="12"/>
                        <a:pt x="32" y="11"/>
                        <a:pt x="32" y="11"/>
                      </a:cubicBezTo>
                      <a:cubicBezTo>
                        <a:pt x="33" y="10"/>
                        <a:pt x="33" y="10"/>
                        <a:pt x="33" y="10"/>
                      </a:cubicBezTo>
                      <a:cubicBezTo>
                        <a:pt x="33" y="10"/>
                        <a:pt x="33" y="10"/>
                        <a:pt x="33" y="10"/>
                      </a:cubicBezTo>
                      <a:cubicBezTo>
                        <a:pt x="33" y="10"/>
                        <a:pt x="33" y="9"/>
                        <a:pt x="33" y="9"/>
                      </a:cubicBezTo>
                      <a:cubicBezTo>
                        <a:pt x="33" y="8"/>
                        <a:pt x="33" y="7"/>
                        <a:pt x="33" y="5"/>
                      </a:cubicBezTo>
                      <a:cubicBezTo>
                        <a:pt x="33" y="5"/>
                        <a:pt x="32" y="4"/>
                        <a:pt x="33" y="4"/>
                      </a:cubicBezTo>
                      <a:cubicBezTo>
                        <a:pt x="33" y="3"/>
                        <a:pt x="33" y="3"/>
                        <a:pt x="33" y="2"/>
                      </a:cubicBezTo>
                      <a:cubicBezTo>
                        <a:pt x="33" y="1"/>
                        <a:pt x="33" y="1"/>
                        <a:pt x="33" y="1"/>
                      </a:cubicBezTo>
                      <a:cubicBezTo>
                        <a:pt x="32" y="0"/>
                        <a:pt x="31" y="1"/>
                        <a:pt x="31" y="2"/>
                      </a:cubicBezTo>
                      <a:cubicBezTo>
                        <a:pt x="31" y="2"/>
                        <a:pt x="31" y="1"/>
                        <a:pt x="31" y="1"/>
                      </a:cubicBezTo>
                      <a:cubicBezTo>
                        <a:pt x="31" y="2"/>
                        <a:pt x="31" y="2"/>
                        <a:pt x="31" y="2"/>
                      </a:cubicBezTo>
                      <a:cubicBezTo>
                        <a:pt x="31" y="3"/>
                        <a:pt x="30" y="3"/>
                        <a:pt x="30" y="4"/>
                      </a:cubicBezTo>
                      <a:cubicBezTo>
                        <a:pt x="29" y="4"/>
                        <a:pt x="28" y="5"/>
                        <a:pt x="27" y="6"/>
                      </a:cubicBezTo>
                      <a:cubicBezTo>
                        <a:pt x="26" y="7"/>
                        <a:pt x="25" y="8"/>
                        <a:pt x="24" y="9"/>
                      </a:cubicBezTo>
                      <a:cubicBezTo>
                        <a:pt x="24" y="10"/>
                        <a:pt x="22" y="10"/>
                        <a:pt x="22" y="11"/>
                      </a:cubicBezTo>
                      <a:cubicBezTo>
                        <a:pt x="21" y="12"/>
                        <a:pt x="21" y="13"/>
                        <a:pt x="20" y="14"/>
                      </a:cubicBezTo>
                      <a:cubicBezTo>
                        <a:pt x="20" y="14"/>
                        <a:pt x="19" y="15"/>
                        <a:pt x="18" y="15"/>
                      </a:cubicBezTo>
                      <a:cubicBezTo>
                        <a:pt x="16" y="17"/>
                        <a:pt x="14" y="16"/>
                        <a:pt x="12" y="16"/>
                      </a:cubicBezTo>
                      <a:cubicBezTo>
                        <a:pt x="10" y="15"/>
                        <a:pt x="8" y="15"/>
                        <a:pt x="7" y="16"/>
                      </a:cubicBezTo>
                      <a:cubicBezTo>
                        <a:pt x="6" y="17"/>
                        <a:pt x="4" y="17"/>
                        <a:pt x="2" y="17"/>
                      </a:cubicBezTo>
                      <a:cubicBezTo>
                        <a:pt x="2" y="17"/>
                        <a:pt x="2" y="16"/>
                        <a:pt x="1" y="16"/>
                      </a:cubicBezTo>
                      <a:cubicBezTo>
                        <a:pt x="1" y="16"/>
                        <a:pt x="1" y="15"/>
                        <a:pt x="0" y="15"/>
                      </a:cubicBezTo>
                      <a:cubicBezTo>
                        <a:pt x="6" y="26"/>
                        <a:pt x="6" y="26"/>
                        <a:pt x="6" y="26"/>
                      </a:cubicBezTo>
                      <a:lnTo>
                        <a:pt x="24"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7" name="Freeform 839">
                  <a:extLst>
                    <a:ext uri="{FF2B5EF4-FFF2-40B4-BE49-F238E27FC236}">
                      <a16:creationId xmlns:a16="http://schemas.microsoft.com/office/drawing/2014/main" id="{68647637-51D5-D087-4761-A6692BF0716C}"/>
                    </a:ext>
                  </a:extLst>
                </p:cNvPr>
                <p:cNvSpPr>
                  <a:spLocks/>
                </p:cNvSpPr>
                <p:nvPr/>
              </p:nvSpPr>
              <p:spPr bwMode="auto">
                <a:xfrm>
                  <a:off x="6807200" y="4121150"/>
                  <a:ext cx="33337" cy="53975"/>
                </a:xfrm>
                <a:custGeom>
                  <a:avLst/>
                  <a:gdLst>
                    <a:gd name="T0" fmla="*/ 2 w 8"/>
                    <a:gd name="T1" fmla="*/ 13 h 13"/>
                    <a:gd name="T2" fmla="*/ 4 w 8"/>
                    <a:gd name="T3" fmla="*/ 13 h 13"/>
                    <a:gd name="T4" fmla="*/ 6 w 8"/>
                    <a:gd name="T5" fmla="*/ 12 h 13"/>
                    <a:gd name="T6" fmla="*/ 6 w 8"/>
                    <a:gd name="T7" fmla="*/ 5 h 13"/>
                    <a:gd name="T8" fmla="*/ 6 w 8"/>
                    <a:gd name="T9" fmla="*/ 4 h 13"/>
                    <a:gd name="T10" fmla="*/ 5 w 8"/>
                    <a:gd name="T11" fmla="*/ 1 h 13"/>
                    <a:gd name="T12" fmla="*/ 4 w 8"/>
                    <a:gd name="T13" fmla="*/ 0 h 13"/>
                    <a:gd name="T14" fmla="*/ 3 w 8"/>
                    <a:gd name="T15" fmla="*/ 1 h 13"/>
                    <a:gd name="T16" fmla="*/ 2 w 8"/>
                    <a:gd name="T17" fmla="*/ 4 h 13"/>
                    <a:gd name="T18" fmla="*/ 1 w 8"/>
                    <a:gd name="T19" fmla="*/ 7 h 13"/>
                    <a:gd name="T20" fmla="*/ 2 w 8"/>
                    <a:gd name="T21" fmla="*/ 9 h 13"/>
                    <a:gd name="T22" fmla="*/ 1 w 8"/>
                    <a:gd name="T23" fmla="*/ 10 h 13"/>
                    <a:gd name="T24" fmla="*/ 1 w 8"/>
                    <a:gd name="T25" fmla="*/ 10 h 13"/>
                    <a:gd name="T26" fmla="*/ 0 w 8"/>
                    <a:gd name="T27" fmla="*/ 12 h 13"/>
                    <a:gd name="T28" fmla="*/ 2 w 8"/>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3">
                      <a:moveTo>
                        <a:pt x="2" y="13"/>
                      </a:moveTo>
                      <a:cubicBezTo>
                        <a:pt x="4" y="13"/>
                        <a:pt x="4" y="13"/>
                        <a:pt x="4" y="13"/>
                      </a:cubicBezTo>
                      <a:cubicBezTo>
                        <a:pt x="6" y="12"/>
                        <a:pt x="6" y="12"/>
                        <a:pt x="6" y="12"/>
                      </a:cubicBezTo>
                      <a:cubicBezTo>
                        <a:pt x="6" y="10"/>
                        <a:pt x="8" y="8"/>
                        <a:pt x="6" y="5"/>
                      </a:cubicBezTo>
                      <a:cubicBezTo>
                        <a:pt x="6" y="5"/>
                        <a:pt x="6" y="5"/>
                        <a:pt x="6" y="4"/>
                      </a:cubicBezTo>
                      <a:cubicBezTo>
                        <a:pt x="6" y="3"/>
                        <a:pt x="7" y="2"/>
                        <a:pt x="5" y="1"/>
                      </a:cubicBezTo>
                      <a:cubicBezTo>
                        <a:pt x="5" y="1"/>
                        <a:pt x="5" y="0"/>
                        <a:pt x="4" y="0"/>
                      </a:cubicBezTo>
                      <a:cubicBezTo>
                        <a:pt x="3" y="0"/>
                        <a:pt x="3" y="1"/>
                        <a:pt x="3" y="1"/>
                      </a:cubicBezTo>
                      <a:cubicBezTo>
                        <a:pt x="2" y="2"/>
                        <a:pt x="2" y="3"/>
                        <a:pt x="2" y="4"/>
                      </a:cubicBezTo>
                      <a:cubicBezTo>
                        <a:pt x="1" y="5"/>
                        <a:pt x="1" y="6"/>
                        <a:pt x="1" y="7"/>
                      </a:cubicBezTo>
                      <a:cubicBezTo>
                        <a:pt x="1" y="8"/>
                        <a:pt x="1" y="8"/>
                        <a:pt x="2" y="9"/>
                      </a:cubicBezTo>
                      <a:cubicBezTo>
                        <a:pt x="2" y="9"/>
                        <a:pt x="2" y="10"/>
                        <a:pt x="1" y="10"/>
                      </a:cubicBezTo>
                      <a:cubicBezTo>
                        <a:pt x="1" y="10"/>
                        <a:pt x="1" y="10"/>
                        <a:pt x="1" y="10"/>
                      </a:cubicBezTo>
                      <a:cubicBezTo>
                        <a:pt x="0" y="12"/>
                        <a:pt x="0" y="12"/>
                        <a:pt x="0" y="12"/>
                      </a:cubicBezTo>
                      <a:lnTo>
                        <a:pt x="2"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8" name="Freeform 843">
                  <a:extLst>
                    <a:ext uri="{FF2B5EF4-FFF2-40B4-BE49-F238E27FC236}">
                      <a16:creationId xmlns:a16="http://schemas.microsoft.com/office/drawing/2014/main" id="{0261767B-7280-A71A-CD35-265A7A582EE4}"/>
                    </a:ext>
                  </a:extLst>
                </p:cNvPr>
                <p:cNvSpPr>
                  <a:spLocks noEditPoints="1"/>
                </p:cNvSpPr>
                <p:nvPr/>
              </p:nvSpPr>
              <p:spPr bwMode="auto">
                <a:xfrm>
                  <a:off x="6840538" y="4159250"/>
                  <a:ext cx="228600" cy="254000"/>
                </a:xfrm>
                <a:custGeom>
                  <a:avLst/>
                  <a:gdLst>
                    <a:gd name="T0" fmla="*/ 48 w 55"/>
                    <a:gd name="T1" fmla="*/ 31 h 61"/>
                    <a:gd name="T2" fmla="*/ 47 w 55"/>
                    <a:gd name="T3" fmla="*/ 34 h 61"/>
                    <a:gd name="T4" fmla="*/ 47 w 55"/>
                    <a:gd name="T5" fmla="*/ 34 h 61"/>
                    <a:gd name="T6" fmla="*/ 47 w 55"/>
                    <a:gd name="T7" fmla="*/ 33 h 61"/>
                    <a:gd name="T8" fmla="*/ 48 w 55"/>
                    <a:gd name="T9" fmla="*/ 31 h 61"/>
                    <a:gd name="T10" fmla="*/ 53 w 55"/>
                    <a:gd name="T11" fmla="*/ 18 h 61"/>
                    <a:gd name="T12" fmla="*/ 52 w 55"/>
                    <a:gd name="T13" fmla="*/ 17 h 61"/>
                    <a:gd name="T14" fmla="*/ 50 w 55"/>
                    <a:gd name="T15" fmla="*/ 15 h 61"/>
                    <a:gd name="T16" fmla="*/ 47 w 55"/>
                    <a:gd name="T17" fmla="*/ 11 h 61"/>
                    <a:gd name="T18" fmla="*/ 45 w 55"/>
                    <a:gd name="T19" fmla="*/ 10 h 61"/>
                    <a:gd name="T20" fmla="*/ 37 w 55"/>
                    <a:gd name="T21" fmla="*/ 8 h 61"/>
                    <a:gd name="T22" fmla="*/ 35 w 55"/>
                    <a:gd name="T23" fmla="*/ 6 h 61"/>
                    <a:gd name="T24" fmla="*/ 31 w 55"/>
                    <a:gd name="T25" fmla="*/ 0 h 61"/>
                    <a:gd name="T26" fmla="*/ 30 w 55"/>
                    <a:gd name="T27" fmla="*/ 1 h 61"/>
                    <a:gd name="T28" fmla="*/ 29 w 55"/>
                    <a:gd name="T29" fmla="*/ 2 h 61"/>
                    <a:gd name="T30" fmla="*/ 28 w 55"/>
                    <a:gd name="T31" fmla="*/ 2 h 61"/>
                    <a:gd name="T32" fmla="*/ 28 w 55"/>
                    <a:gd name="T33" fmla="*/ 1 h 61"/>
                    <a:gd name="T34" fmla="*/ 27 w 55"/>
                    <a:gd name="T35" fmla="*/ 1 h 61"/>
                    <a:gd name="T36" fmla="*/ 27 w 55"/>
                    <a:gd name="T37" fmla="*/ 1 h 61"/>
                    <a:gd name="T38" fmla="*/ 26 w 55"/>
                    <a:gd name="T39" fmla="*/ 3 h 61"/>
                    <a:gd name="T40" fmla="*/ 26 w 55"/>
                    <a:gd name="T41" fmla="*/ 5 h 61"/>
                    <a:gd name="T42" fmla="*/ 28 w 55"/>
                    <a:gd name="T43" fmla="*/ 6 h 61"/>
                    <a:gd name="T44" fmla="*/ 27 w 55"/>
                    <a:gd name="T45" fmla="*/ 8 h 61"/>
                    <a:gd name="T46" fmla="*/ 25 w 55"/>
                    <a:gd name="T47" fmla="*/ 8 h 61"/>
                    <a:gd name="T48" fmla="*/ 24 w 55"/>
                    <a:gd name="T49" fmla="*/ 8 h 61"/>
                    <a:gd name="T50" fmla="*/ 25 w 55"/>
                    <a:gd name="T51" fmla="*/ 9 h 61"/>
                    <a:gd name="T52" fmla="*/ 25 w 55"/>
                    <a:gd name="T53" fmla="*/ 11 h 61"/>
                    <a:gd name="T54" fmla="*/ 22 w 55"/>
                    <a:gd name="T55" fmla="*/ 15 h 61"/>
                    <a:gd name="T56" fmla="*/ 22 w 55"/>
                    <a:gd name="T57" fmla="*/ 18 h 61"/>
                    <a:gd name="T58" fmla="*/ 25 w 55"/>
                    <a:gd name="T59" fmla="*/ 23 h 61"/>
                    <a:gd name="T60" fmla="*/ 21 w 55"/>
                    <a:gd name="T61" fmla="*/ 37 h 61"/>
                    <a:gd name="T62" fmla="*/ 13 w 55"/>
                    <a:gd name="T63" fmla="*/ 40 h 61"/>
                    <a:gd name="T64" fmla="*/ 0 w 55"/>
                    <a:gd name="T65" fmla="*/ 45 h 61"/>
                    <a:gd name="T66" fmla="*/ 7 w 55"/>
                    <a:gd name="T67" fmla="*/ 60 h 61"/>
                    <a:gd name="T68" fmla="*/ 9 w 55"/>
                    <a:gd name="T69" fmla="*/ 60 h 61"/>
                    <a:gd name="T70" fmla="*/ 15 w 55"/>
                    <a:gd name="T71" fmla="*/ 58 h 61"/>
                    <a:gd name="T72" fmla="*/ 20 w 55"/>
                    <a:gd name="T73" fmla="*/ 58 h 61"/>
                    <a:gd name="T74" fmla="*/ 23 w 55"/>
                    <a:gd name="T75" fmla="*/ 57 h 61"/>
                    <a:gd name="T76" fmla="*/ 23 w 55"/>
                    <a:gd name="T77" fmla="*/ 56 h 61"/>
                    <a:gd name="T78" fmla="*/ 23 w 55"/>
                    <a:gd name="T79" fmla="*/ 55 h 61"/>
                    <a:gd name="T80" fmla="*/ 28 w 55"/>
                    <a:gd name="T81" fmla="*/ 51 h 61"/>
                    <a:gd name="T82" fmla="*/ 30 w 55"/>
                    <a:gd name="T83" fmla="*/ 51 h 61"/>
                    <a:gd name="T84" fmla="*/ 32 w 55"/>
                    <a:gd name="T85" fmla="*/ 49 h 61"/>
                    <a:gd name="T86" fmla="*/ 39 w 55"/>
                    <a:gd name="T87" fmla="*/ 44 h 61"/>
                    <a:gd name="T88" fmla="*/ 40 w 55"/>
                    <a:gd name="T89" fmla="*/ 42 h 61"/>
                    <a:gd name="T90" fmla="*/ 40 w 55"/>
                    <a:gd name="T91" fmla="*/ 38 h 61"/>
                    <a:gd name="T92" fmla="*/ 41 w 55"/>
                    <a:gd name="T93" fmla="*/ 37 h 61"/>
                    <a:gd name="T94" fmla="*/ 43 w 55"/>
                    <a:gd name="T95" fmla="*/ 32 h 61"/>
                    <a:gd name="T96" fmla="*/ 44 w 55"/>
                    <a:gd name="T97" fmla="*/ 34 h 61"/>
                    <a:gd name="T98" fmla="*/ 46 w 55"/>
                    <a:gd name="T99" fmla="*/ 33 h 61"/>
                    <a:gd name="T100" fmla="*/ 47 w 55"/>
                    <a:gd name="T101" fmla="*/ 30 h 61"/>
                    <a:gd name="T102" fmla="*/ 50 w 55"/>
                    <a:gd name="T103" fmla="*/ 27 h 61"/>
                    <a:gd name="T104" fmla="*/ 52 w 55"/>
                    <a:gd name="T105" fmla="*/ 24 h 61"/>
                    <a:gd name="T106" fmla="*/ 54 w 55"/>
                    <a:gd name="T107" fmla="*/ 20 h 61"/>
                    <a:gd name="T108" fmla="*/ 53 w 55"/>
                    <a:gd name="T10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 h="61">
                      <a:moveTo>
                        <a:pt x="48" y="31"/>
                      </a:moveTo>
                      <a:cubicBezTo>
                        <a:pt x="49" y="33"/>
                        <a:pt x="48" y="33"/>
                        <a:pt x="47" y="34"/>
                      </a:cubicBezTo>
                      <a:cubicBezTo>
                        <a:pt x="47" y="34"/>
                        <a:pt x="47" y="34"/>
                        <a:pt x="47" y="34"/>
                      </a:cubicBezTo>
                      <a:cubicBezTo>
                        <a:pt x="47" y="34"/>
                        <a:pt x="47" y="34"/>
                        <a:pt x="47" y="33"/>
                      </a:cubicBezTo>
                      <a:cubicBezTo>
                        <a:pt x="47" y="33"/>
                        <a:pt x="48" y="32"/>
                        <a:pt x="48" y="31"/>
                      </a:cubicBezTo>
                      <a:close/>
                      <a:moveTo>
                        <a:pt x="53" y="18"/>
                      </a:moveTo>
                      <a:cubicBezTo>
                        <a:pt x="52" y="18"/>
                        <a:pt x="52" y="17"/>
                        <a:pt x="52" y="17"/>
                      </a:cubicBezTo>
                      <a:cubicBezTo>
                        <a:pt x="51" y="16"/>
                        <a:pt x="50" y="16"/>
                        <a:pt x="50" y="15"/>
                      </a:cubicBezTo>
                      <a:cubicBezTo>
                        <a:pt x="49" y="13"/>
                        <a:pt x="48" y="12"/>
                        <a:pt x="47" y="11"/>
                      </a:cubicBezTo>
                      <a:cubicBezTo>
                        <a:pt x="47" y="10"/>
                        <a:pt x="46" y="10"/>
                        <a:pt x="45" y="10"/>
                      </a:cubicBezTo>
                      <a:cubicBezTo>
                        <a:pt x="43" y="10"/>
                        <a:pt x="40" y="9"/>
                        <a:pt x="37" y="8"/>
                      </a:cubicBezTo>
                      <a:cubicBezTo>
                        <a:pt x="36" y="7"/>
                        <a:pt x="35" y="7"/>
                        <a:pt x="35" y="6"/>
                      </a:cubicBezTo>
                      <a:cubicBezTo>
                        <a:pt x="34" y="4"/>
                        <a:pt x="32" y="3"/>
                        <a:pt x="31" y="0"/>
                      </a:cubicBezTo>
                      <a:cubicBezTo>
                        <a:pt x="30" y="1"/>
                        <a:pt x="30" y="1"/>
                        <a:pt x="30" y="1"/>
                      </a:cubicBezTo>
                      <a:cubicBezTo>
                        <a:pt x="30" y="1"/>
                        <a:pt x="29" y="2"/>
                        <a:pt x="29" y="2"/>
                      </a:cubicBezTo>
                      <a:cubicBezTo>
                        <a:pt x="29" y="2"/>
                        <a:pt x="28" y="2"/>
                        <a:pt x="28" y="2"/>
                      </a:cubicBezTo>
                      <a:cubicBezTo>
                        <a:pt x="28" y="2"/>
                        <a:pt x="28" y="1"/>
                        <a:pt x="28" y="1"/>
                      </a:cubicBezTo>
                      <a:cubicBezTo>
                        <a:pt x="28" y="1"/>
                        <a:pt x="27" y="1"/>
                        <a:pt x="27" y="1"/>
                      </a:cubicBezTo>
                      <a:cubicBezTo>
                        <a:pt x="27" y="1"/>
                        <a:pt x="27" y="1"/>
                        <a:pt x="27" y="1"/>
                      </a:cubicBezTo>
                      <a:cubicBezTo>
                        <a:pt x="26" y="2"/>
                        <a:pt x="26" y="3"/>
                        <a:pt x="26" y="3"/>
                      </a:cubicBezTo>
                      <a:cubicBezTo>
                        <a:pt x="26" y="3"/>
                        <a:pt x="26" y="5"/>
                        <a:pt x="26" y="5"/>
                      </a:cubicBezTo>
                      <a:cubicBezTo>
                        <a:pt x="26" y="6"/>
                        <a:pt x="28" y="6"/>
                        <a:pt x="28" y="6"/>
                      </a:cubicBezTo>
                      <a:cubicBezTo>
                        <a:pt x="28" y="6"/>
                        <a:pt x="27" y="8"/>
                        <a:pt x="27" y="8"/>
                      </a:cubicBezTo>
                      <a:cubicBezTo>
                        <a:pt x="25" y="8"/>
                        <a:pt x="25" y="8"/>
                        <a:pt x="25" y="8"/>
                      </a:cubicBezTo>
                      <a:cubicBezTo>
                        <a:pt x="24" y="8"/>
                        <a:pt x="24" y="8"/>
                        <a:pt x="24" y="8"/>
                      </a:cubicBezTo>
                      <a:cubicBezTo>
                        <a:pt x="24" y="8"/>
                        <a:pt x="25" y="9"/>
                        <a:pt x="25" y="9"/>
                      </a:cubicBezTo>
                      <a:cubicBezTo>
                        <a:pt x="25" y="9"/>
                        <a:pt x="25" y="11"/>
                        <a:pt x="25" y="11"/>
                      </a:cubicBezTo>
                      <a:cubicBezTo>
                        <a:pt x="25" y="12"/>
                        <a:pt x="22" y="15"/>
                        <a:pt x="22" y="15"/>
                      </a:cubicBezTo>
                      <a:cubicBezTo>
                        <a:pt x="22" y="18"/>
                        <a:pt x="22" y="18"/>
                        <a:pt x="22" y="18"/>
                      </a:cubicBezTo>
                      <a:cubicBezTo>
                        <a:pt x="25" y="23"/>
                        <a:pt x="25" y="23"/>
                        <a:pt x="25" y="23"/>
                      </a:cubicBezTo>
                      <a:cubicBezTo>
                        <a:pt x="21" y="37"/>
                        <a:pt x="21" y="37"/>
                        <a:pt x="21" y="37"/>
                      </a:cubicBezTo>
                      <a:cubicBezTo>
                        <a:pt x="13" y="40"/>
                        <a:pt x="13" y="40"/>
                        <a:pt x="13" y="40"/>
                      </a:cubicBezTo>
                      <a:cubicBezTo>
                        <a:pt x="0" y="45"/>
                        <a:pt x="0" y="45"/>
                        <a:pt x="0" y="45"/>
                      </a:cubicBezTo>
                      <a:cubicBezTo>
                        <a:pt x="7" y="60"/>
                        <a:pt x="7" y="60"/>
                        <a:pt x="7" y="60"/>
                      </a:cubicBezTo>
                      <a:cubicBezTo>
                        <a:pt x="8" y="60"/>
                        <a:pt x="8" y="61"/>
                        <a:pt x="9" y="60"/>
                      </a:cubicBezTo>
                      <a:cubicBezTo>
                        <a:pt x="11" y="59"/>
                        <a:pt x="13" y="59"/>
                        <a:pt x="15" y="58"/>
                      </a:cubicBezTo>
                      <a:cubicBezTo>
                        <a:pt x="17" y="58"/>
                        <a:pt x="19" y="57"/>
                        <a:pt x="20" y="58"/>
                      </a:cubicBezTo>
                      <a:cubicBezTo>
                        <a:pt x="21" y="58"/>
                        <a:pt x="22" y="57"/>
                        <a:pt x="23" y="57"/>
                      </a:cubicBezTo>
                      <a:cubicBezTo>
                        <a:pt x="23" y="56"/>
                        <a:pt x="23" y="56"/>
                        <a:pt x="23" y="56"/>
                      </a:cubicBezTo>
                      <a:cubicBezTo>
                        <a:pt x="23" y="55"/>
                        <a:pt x="23" y="55"/>
                        <a:pt x="23" y="55"/>
                      </a:cubicBezTo>
                      <a:cubicBezTo>
                        <a:pt x="23" y="53"/>
                        <a:pt x="25" y="51"/>
                        <a:pt x="28" y="51"/>
                      </a:cubicBezTo>
                      <a:cubicBezTo>
                        <a:pt x="28" y="51"/>
                        <a:pt x="29" y="51"/>
                        <a:pt x="30" y="51"/>
                      </a:cubicBezTo>
                      <a:cubicBezTo>
                        <a:pt x="31" y="51"/>
                        <a:pt x="32" y="50"/>
                        <a:pt x="32" y="49"/>
                      </a:cubicBezTo>
                      <a:cubicBezTo>
                        <a:pt x="33" y="45"/>
                        <a:pt x="35" y="44"/>
                        <a:pt x="39" y="44"/>
                      </a:cubicBezTo>
                      <a:cubicBezTo>
                        <a:pt x="41" y="44"/>
                        <a:pt x="41" y="43"/>
                        <a:pt x="40" y="42"/>
                      </a:cubicBezTo>
                      <a:cubicBezTo>
                        <a:pt x="40" y="41"/>
                        <a:pt x="40" y="39"/>
                        <a:pt x="40" y="38"/>
                      </a:cubicBezTo>
                      <a:cubicBezTo>
                        <a:pt x="41" y="38"/>
                        <a:pt x="41" y="37"/>
                        <a:pt x="41" y="37"/>
                      </a:cubicBezTo>
                      <a:cubicBezTo>
                        <a:pt x="40" y="34"/>
                        <a:pt x="42" y="33"/>
                        <a:pt x="43" y="32"/>
                      </a:cubicBezTo>
                      <a:cubicBezTo>
                        <a:pt x="44" y="33"/>
                        <a:pt x="43" y="34"/>
                        <a:pt x="44" y="34"/>
                      </a:cubicBezTo>
                      <a:cubicBezTo>
                        <a:pt x="45" y="34"/>
                        <a:pt x="46" y="33"/>
                        <a:pt x="46" y="33"/>
                      </a:cubicBezTo>
                      <a:cubicBezTo>
                        <a:pt x="46" y="31"/>
                        <a:pt x="47" y="31"/>
                        <a:pt x="47" y="30"/>
                      </a:cubicBezTo>
                      <a:cubicBezTo>
                        <a:pt x="48" y="28"/>
                        <a:pt x="49" y="27"/>
                        <a:pt x="50" y="27"/>
                      </a:cubicBezTo>
                      <a:cubicBezTo>
                        <a:pt x="51" y="26"/>
                        <a:pt x="51" y="25"/>
                        <a:pt x="52" y="24"/>
                      </a:cubicBezTo>
                      <a:cubicBezTo>
                        <a:pt x="52" y="23"/>
                        <a:pt x="53" y="21"/>
                        <a:pt x="54" y="20"/>
                      </a:cubicBezTo>
                      <a:cubicBezTo>
                        <a:pt x="55" y="19"/>
                        <a:pt x="55" y="18"/>
                        <a:pt x="53"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9" name="Freeform 852">
                  <a:extLst>
                    <a:ext uri="{FF2B5EF4-FFF2-40B4-BE49-F238E27FC236}">
                      <a16:creationId xmlns:a16="http://schemas.microsoft.com/office/drawing/2014/main" id="{B3FAC41D-B641-5385-9987-6CCA66B53A18}"/>
                    </a:ext>
                  </a:extLst>
                </p:cNvPr>
                <p:cNvSpPr>
                  <a:spLocks/>
                </p:cNvSpPr>
                <p:nvPr/>
              </p:nvSpPr>
              <p:spPr bwMode="auto">
                <a:xfrm>
                  <a:off x="6686550" y="4000500"/>
                  <a:ext cx="63500" cy="50800"/>
                </a:xfrm>
                <a:custGeom>
                  <a:avLst/>
                  <a:gdLst>
                    <a:gd name="T0" fmla="*/ 1 w 15"/>
                    <a:gd name="T1" fmla="*/ 7 h 12"/>
                    <a:gd name="T2" fmla="*/ 6 w 15"/>
                    <a:gd name="T3" fmla="*/ 8 h 12"/>
                    <a:gd name="T4" fmla="*/ 8 w 15"/>
                    <a:gd name="T5" fmla="*/ 9 h 12"/>
                    <a:gd name="T6" fmla="*/ 8 w 15"/>
                    <a:gd name="T7" fmla="*/ 12 h 12"/>
                    <a:gd name="T8" fmla="*/ 15 w 15"/>
                    <a:gd name="T9" fmla="*/ 11 h 12"/>
                    <a:gd name="T10" fmla="*/ 14 w 15"/>
                    <a:gd name="T11" fmla="*/ 11 h 12"/>
                    <a:gd name="T12" fmla="*/ 14 w 15"/>
                    <a:gd name="T13" fmla="*/ 10 h 12"/>
                    <a:gd name="T14" fmla="*/ 12 w 15"/>
                    <a:gd name="T15" fmla="*/ 7 h 12"/>
                    <a:gd name="T16" fmla="*/ 10 w 15"/>
                    <a:gd name="T17" fmla="*/ 4 h 12"/>
                    <a:gd name="T18" fmla="*/ 12 w 15"/>
                    <a:gd name="T19" fmla="*/ 3 h 12"/>
                    <a:gd name="T20" fmla="*/ 13 w 15"/>
                    <a:gd name="T21" fmla="*/ 2 h 12"/>
                    <a:gd name="T22" fmla="*/ 13 w 15"/>
                    <a:gd name="T23" fmla="*/ 1 h 12"/>
                    <a:gd name="T24" fmla="*/ 12 w 15"/>
                    <a:gd name="T25" fmla="*/ 0 h 12"/>
                    <a:gd name="T26" fmla="*/ 5 w 15"/>
                    <a:gd name="T27" fmla="*/ 0 h 12"/>
                    <a:gd name="T28" fmla="*/ 1 w 15"/>
                    <a:gd name="T2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 y="7"/>
                      </a:moveTo>
                      <a:cubicBezTo>
                        <a:pt x="0" y="7"/>
                        <a:pt x="6" y="8"/>
                        <a:pt x="6" y="8"/>
                      </a:cubicBezTo>
                      <a:cubicBezTo>
                        <a:pt x="8" y="9"/>
                        <a:pt x="8" y="9"/>
                        <a:pt x="8" y="9"/>
                      </a:cubicBezTo>
                      <a:cubicBezTo>
                        <a:pt x="8" y="12"/>
                        <a:pt x="8" y="12"/>
                        <a:pt x="8" y="12"/>
                      </a:cubicBezTo>
                      <a:cubicBezTo>
                        <a:pt x="15" y="11"/>
                        <a:pt x="15" y="11"/>
                        <a:pt x="15" y="11"/>
                      </a:cubicBezTo>
                      <a:cubicBezTo>
                        <a:pt x="15" y="11"/>
                        <a:pt x="14" y="11"/>
                        <a:pt x="14" y="11"/>
                      </a:cubicBezTo>
                      <a:cubicBezTo>
                        <a:pt x="14" y="11"/>
                        <a:pt x="14" y="11"/>
                        <a:pt x="14" y="10"/>
                      </a:cubicBezTo>
                      <a:cubicBezTo>
                        <a:pt x="14" y="9"/>
                        <a:pt x="13" y="8"/>
                        <a:pt x="12" y="7"/>
                      </a:cubicBezTo>
                      <a:cubicBezTo>
                        <a:pt x="12" y="4"/>
                        <a:pt x="12" y="4"/>
                        <a:pt x="10" y="4"/>
                      </a:cubicBezTo>
                      <a:cubicBezTo>
                        <a:pt x="10" y="3"/>
                        <a:pt x="11" y="3"/>
                        <a:pt x="12" y="3"/>
                      </a:cubicBezTo>
                      <a:cubicBezTo>
                        <a:pt x="13" y="3"/>
                        <a:pt x="13" y="2"/>
                        <a:pt x="13" y="2"/>
                      </a:cubicBezTo>
                      <a:cubicBezTo>
                        <a:pt x="13" y="1"/>
                        <a:pt x="13" y="0"/>
                        <a:pt x="13" y="1"/>
                      </a:cubicBezTo>
                      <a:cubicBezTo>
                        <a:pt x="11" y="1"/>
                        <a:pt x="11" y="0"/>
                        <a:pt x="12" y="0"/>
                      </a:cubicBezTo>
                      <a:cubicBezTo>
                        <a:pt x="5" y="0"/>
                        <a:pt x="5" y="0"/>
                        <a:pt x="5" y="0"/>
                      </a:cubicBezTo>
                      <a:cubicBezTo>
                        <a:pt x="5" y="0"/>
                        <a:pt x="1" y="7"/>
                        <a:pt x="1"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0" name="Freeform 871">
                  <a:extLst>
                    <a:ext uri="{FF2B5EF4-FFF2-40B4-BE49-F238E27FC236}">
                      <a16:creationId xmlns:a16="http://schemas.microsoft.com/office/drawing/2014/main" id="{2BB8541B-C754-C666-991D-BFF0923C2436}"/>
                    </a:ext>
                  </a:extLst>
                </p:cNvPr>
                <p:cNvSpPr>
                  <a:spLocks/>
                </p:cNvSpPr>
                <p:nvPr/>
              </p:nvSpPr>
              <p:spPr bwMode="auto">
                <a:xfrm>
                  <a:off x="6804025" y="4117975"/>
                  <a:ext cx="3175" cy="11113"/>
                </a:xfrm>
                <a:custGeom>
                  <a:avLst/>
                  <a:gdLst>
                    <a:gd name="T0" fmla="*/ 0 w 1"/>
                    <a:gd name="T1" fmla="*/ 3 h 3"/>
                    <a:gd name="T2" fmla="*/ 0 w 1"/>
                    <a:gd name="T3" fmla="*/ 0 h 3"/>
                    <a:gd name="T4" fmla="*/ 0 w 1"/>
                    <a:gd name="T5" fmla="*/ 3 h 3"/>
                  </a:gdLst>
                  <a:ahLst/>
                  <a:cxnLst>
                    <a:cxn ang="0">
                      <a:pos x="T0" y="T1"/>
                    </a:cxn>
                    <a:cxn ang="0">
                      <a:pos x="T2" y="T3"/>
                    </a:cxn>
                    <a:cxn ang="0">
                      <a:pos x="T4" y="T5"/>
                    </a:cxn>
                  </a:cxnLst>
                  <a:rect l="0" t="0" r="r" b="b"/>
                  <a:pathLst>
                    <a:path w="1" h="3">
                      <a:moveTo>
                        <a:pt x="0" y="3"/>
                      </a:moveTo>
                      <a:cubicBezTo>
                        <a:pt x="1" y="2"/>
                        <a:pt x="1" y="1"/>
                        <a:pt x="0" y="0"/>
                      </a:cubicBezTo>
                      <a:cubicBezTo>
                        <a:pt x="0" y="1"/>
                        <a:pt x="0" y="2"/>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1" name="Freeform 873">
                  <a:extLst>
                    <a:ext uri="{FF2B5EF4-FFF2-40B4-BE49-F238E27FC236}">
                      <a16:creationId xmlns:a16="http://schemas.microsoft.com/office/drawing/2014/main" id="{96247647-F966-628E-D949-742F925D0DD9}"/>
                    </a:ext>
                  </a:extLst>
                </p:cNvPr>
                <p:cNvSpPr>
                  <a:spLocks/>
                </p:cNvSpPr>
                <p:nvPr/>
              </p:nvSpPr>
              <p:spPr bwMode="auto">
                <a:xfrm>
                  <a:off x="6599238" y="3605213"/>
                  <a:ext cx="87312" cy="90488"/>
                </a:xfrm>
                <a:custGeom>
                  <a:avLst/>
                  <a:gdLst>
                    <a:gd name="T0" fmla="*/ 9 w 21"/>
                    <a:gd name="T1" fmla="*/ 1 h 22"/>
                    <a:gd name="T2" fmla="*/ 8 w 21"/>
                    <a:gd name="T3" fmla="*/ 1 h 22"/>
                    <a:gd name="T4" fmla="*/ 7 w 21"/>
                    <a:gd name="T5" fmla="*/ 1 h 22"/>
                    <a:gd name="T6" fmla="*/ 5 w 21"/>
                    <a:gd name="T7" fmla="*/ 1 h 22"/>
                    <a:gd name="T8" fmla="*/ 4 w 21"/>
                    <a:gd name="T9" fmla="*/ 1 h 22"/>
                    <a:gd name="T10" fmla="*/ 3 w 21"/>
                    <a:gd name="T11" fmla="*/ 2 h 22"/>
                    <a:gd name="T12" fmla="*/ 2 w 21"/>
                    <a:gd name="T13" fmla="*/ 2 h 22"/>
                    <a:gd name="T14" fmla="*/ 0 w 21"/>
                    <a:gd name="T15" fmla="*/ 2 h 22"/>
                    <a:gd name="T16" fmla="*/ 0 w 21"/>
                    <a:gd name="T17" fmla="*/ 3 h 22"/>
                    <a:gd name="T18" fmla="*/ 1 w 21"/>
                    <a:gd name="T19" fmla="*/ 4 h 22"/>
                    <a:gd name="T20" fmla="*/ 1 w 21"/>
                    <a:gd name="T21" fmla="*/ 6 h 22"/>
                    <a:gd name="T22" fmla="*/ 1 w 21"/>
                    <a:gd name="T23" fmla="*/ 8 h 22"/>
                    <a:gd name="T24" fmla="*/ 2 w 21"/>
                    <a:gd name="T25" fmla="*/ 10 h 22"/>
                    <a:gd name="T26" fmla="*/ 3 w 21"/>
                    <a:gd name="T27" fmla="*/ 12 h 22"/>
                    <a:gd name="T28" fmla="*/ 6 w 21"/>
                    <a:gd name="T29" fmla="*/ 12 h 22"/>
                    <a:gd name="T30" fmla="*/ 7 w 21"/>
                    <a:gd name="T31" fmla="*/ 13 h 22"/>
                    <a:gd name="T32" fmla="*/ 9 w 21"/>
                    <a:gd name="T33" fmla="*/ 15 h 22"/>
                    <a:gd name="T34" fmla="*/ 10 w 21"/>
                    <a:gd name="T35" fmla="*/ 14 h 22"/>
                    <a:gd name="T36" fmla="*/ 11 w 21"/>
                    <a:gd name="T37" fmla="*/ 16 h 22"/>
                    <a:gd name="T38" fmla="*/ 12 w 21"/>
                    <a:gd name="T39" fmla="*/ 16 h 22"/>
                    <a:gd name="T40" fmla="*/ 13 w 21"/>
                    <a:gd name="T41" fmla="*/ 16 h 22"/>
                    <a:gd name="T42" fmla="*/ 14 w 21"/>
                    <a:gd name="T43" fmla="*/ 16 h 22"/>
                    <a:gd name="T44" fmla="*/ 15 w 21"/>
                    <a:gd name="T45" fmla="*/ 16 h 22"/>
                    <a:gd name="T46" fmla="*/ 16 w 21"/>
                    <a:gd name="T47" fmla="*/ 17 h 22"/>
                    <a:gd name="T48" fmla="*/ 17 w 21"/>
                    <a:gd name="T49" fmla="*/ 18 h 22"/>
                    <a:gd name="T50" fmla="*/ 17 w 21"/>
                    <a:gd name="T51" fmla="*/ 20 h 22"/>
                    <a:gd name="T52" fmla="*/ 18 w 21"/>
                    <a:gd name="T53" fmla="*/ 22 h 22"/>
                    <a:gd name="T54" fmla="*/ 20 w 21"/>
                    <a:gd name="T55" fmla="*/ 21 h 22"/>
                    <a:gd name="T56" fmla="*/ 20 w 21"/>
                    <a:gd name="T57" fmla="*/ 20 h 22"/>
                    <a:gd name="T58" fmla="*/ 20 w 21"/>
                    <a:gd name="T59" fmla="*/ 19 h 22"/>
                    <a:gd name="T60" fmla="*/ 21 w 21"/>
                    <a:gd name="T61" fmla="*/ 19 h 22"/>
                    <a:gd name="T62" fmla="*/ 21 w 21"/>
                    <a:gd name="T63" fmla="*/ 18 h 22"/>
                    <a:gd name="T64" fmla="*/ 20 w 21"/>
                    <a:gd name="T65" fmla="*/ 17 h 22"/>
                    <a:gd name="T66" fmla="*/ 20 w 21"/>
                    <a:gd name="T67" fmla="*/ 16 h 22"/>
                    <a:gd name="T68" fmla="*/ 21 w 21"/>
                    <a:gd name="T69" fmla="*/ 16 h 22"/>
                    <a:gd name="T70" fmla="*/ 19 w 21"/>
                    <a:gd name="T71" fmla="*/ 15 h 22"/>
                    <a:gd name="T72" fmla="*/ 17 w 21"/>
                    <a:gd name="T73" fmla="*/ 14 h 22"/>
                    <a:gd name="T74" fmla="*/ 16 w 21"/>
                    <a:gd name="T75" fmla="*/ 13 h 22"/>
                    <a:gd name="T76" fmla="*/ 16 w 21"/>
                    <a:gd name="T77" fmla="*/ 13 h 22"/>
                    <a:gd name="T78" fmla="*/ 15 w 21"/>
                    <a:gd name="T79" fmla="*/ 12 h 22"/>
                    <a:gd name="T80" fmla="*/ 17 w 21"/>
                    <a:gd name="T81" fmla="*/ 11 h 22"/>
                    <a:gd name="T82" fmla="*/ 17 w 21"/>
                    <a:gd name="T83" fmla="*/ 10 h 22"/>
                    <a:gd name="T84" fmla="*/ 16 w 21"/>
                    <a:gd name="T85" fmla="*/ 9 h 22"/>
                    <a:gd name="T86" fmla="*/ 14 w 21"/>
                    <a:gd name="T87" fmla="*/ 8 h 22"/>
                    <a:gd name="T88" fmla="*/ 13 w 21"/>
                    <a:gd name="T89" fmla="*/ 6 h 22"/>
                    <a:gd name="T90" fmla="*/ 15 w 21"/>
                    <a:gd name="T91" fmla="*/ 5 h 22"/>
                    <a:gd name="T92" fmla="*/ 13 w 21"/>
                    <a:gd name="T93" fmla="*/ 3 h 22"/>
                    <a:gd name="T94" fmla="*/ 12 w 21"/>
                    <a:gd name="T95" fmla="*/ 3 h 22"/>
                    <a:gd name="T96" fmla="*/ 11 w 21"/>
                    <a:gd name="T97" fmla="*/ 2 h 22"/>
                    <a:gd name="T98" fmla="*/ 12 w 21"/>
                    <a:gd name="T99" fmla="*/ 2 h 22"/>
                    <a:gd name="T100" fmla="*/ 11 w 21"/>
                    <a:gd name="T101" fmla="*/ 1 h 22"/>
                    <a:gd name="T102" fmla="*/ 10 w 21"/>
                    <a:gd name="T103" fmla="*/ 1 h 22"/>
                    <a:gd name="T104" fmla="*/ 9 w 21"/>
                    <a:gd name="T10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2">
                      <a:moveTo>
                        <a:pt x="9" y="1"/>
                      </a:moveTo>
                      <a:cubicBezTo>
                        <a:pt x="9" y="1"/>
                        <a:pt x="8" y="1"/>
                        <a:pt x="8" y="1"/>
                      </a:cubicBezTo>
                      <a:cubicBezTo>
                        <a:pt x="7" y="1"/>
                        <a:pt x="7" y="1"/>
                        <a:pt x="7" y="1"/>
                      </a:cubicBezTo>
                      <a:cubicBezTo>
                        <a:pt x="6" y="1"/>
                        <a:pt x="5" y="1"/>
                        <a:pt x="5" y="1"/>
                      </a:cubicBezTo>
                      <a:cubicBezTo>
                        <a:pt x="4" y="1"/>
                        <a:pt x="4" y="1"/>
                        <a:pt x="4" y="1"/>
                      </a:cubicBezTo>
                      <a:cubicBezTo>
                        <a:pt x="4" y="2"/>
                        <a:pt x="3" y="2"/>
                        <a:pt x="3" y="2"/>
                      </a:cubicBezTo>
                      <a:cubicBezTo>
                        <a:pt x="2" y="2"/>
                        <a:pt x="2" y="2"/>
                        <a:pt x="2" y="2"/>
                      </a:cubicBezTo>
                      <a:cubicBezTo>
                        <a:pt x="1" y="2"/>
                        <a:pt x="1" y="2"/>
                        <a:pt x="0" y="2"/>
                      </a:cubicBezTo>
                      <a:cubicBezTo>
                        <a:pt x="0" y="2"/>
                        <a:pt x="0" y="3"/>
                        <a:pt x="0" y="3"/>
                      </a:cubicBezTo>
                      <a:cubicBezTo>
                        <a:pt x="1" y="3"/>
                        <a:pt x="1" y="4"/>
                        <a:pt x="1" y="4"/>
                      </a:cubicBezTo>
                      <a:cubicBezTo>
                        <a:pt x="2" y="5"/>
                        <a:pt x="2" y="5"/>
                        <a:pt x="1" y="6"/>
                      </a:cubicBezTo>
                      <a:cubicBezTo>
                        <a:pt x="1" y="7"/>
                        <a:pt x="1" y="8"/>
                        <a:pt x="1" y="8"/>
                      </a:cubicBezTo>
                      <a:cubicBezTo>
                        <a:pt x="1" y="9"/>
                        <a:pt x="2" y="10"/>
                        <a:pt x="2" y="10"/>
                      </a:cubicBezTo>
                      <a:cubicBezTo>
                        <a:pt x="2" y="11"/>
                        <a:pt x="3" y="12"/>
                        <a:pt x="3" y="12"/>
                      </a:cubicBezTo>
                      <a:cubicBezTo>
                        <a:pt x="4" y="12"/>
                        <a:pt x="5" y="11"/>
                        <a:pt x="6" y="12"/>
                      </a:cubicBezTo>
                      <a:cubicBezTo>
                        <a:pt x="7" y="12"/>
                        <a:pt x="7" y="12"/>
                        <a:pt x="7" y="13"/>
                      </a:cubicBezTo>
                      <a:cubicBezTo>
                        <a:pt x="8" y="13"/>
                        <a:pt x="9" y="14"/>
                        <a:pt x="9" y="15"/>
                      </a:cubicBezTo>
                      <a:cubicBezTo>
                        <a:pt x="9" y="14"/>
                        <a:pt x="10" y="14"/>
                        <a:pt x="10" y="14"/>
                      </a:cubicBezTo>
                      <a:cubicBezTo>
                        <a:pt x="11" y="14"/>
                        <a:pt x="11" y="15"/>
                        <a:pt x="11" y="16"/>
                      </a:cubicBezTo>
                      <a:cubicBezTo>
                        <a:pt x="12" y="16"/>
                        <a:pt x="12" y="15"/>
                        <a:pt x="12" y="16"/>
                      </a:cubicBezTo>
                      <a:cubicBezTo>
                        <a:pt x="12" y="16"/>
                        <a:pt x="13" y="16"/>
                        <a:pt x="13" y="16"/>
                      </a:cubicBezTo>
                      <a:cubicBezTo>
                        <a:pt x="13" y="16"/>
                        <a:pt x="14" y="16"/>
                        <a:pt x="14" y="16"/>
                      </a:cubicBezTo>
                      <a:cubicBezTo>
                        <a:pt x="15" y="16"/>
                        <a:pt x="15" y="15"/>
                        <a:pt x="15" y="16"/>
                      </a:cubicBezTo>
                      <a:cubicBezTo>
                        <a:pt x="16" y="16"/>
                        <a:pt x="16" y="17"/>
                        <a:pt x="16" y="17"/>
                      </a:cubicBezTo>
                      <a:cubicBezTo>
                        <a:pt x="16" y="18"/>
                        <a:pt x="17" y="18"/>
                        <a:pt x="17" y="18"/>
                      </a:cubicBezTo>
                      <a:cubicBezTo>
                        <a:pt x="17" y="19"/>
                        <a:pt x="17" y="19"/>
                        <a:pt x="17" y="20"/>
                      </a:cubicBezTo>
                      <a:cubicBezTo>
                        <a:pt x="17" y="20"/>
                        <a:pt x="18" y="21"/>
                        <a:pt x="18" y="22"/>
                      </a:cubicBezTo>
                      <a:cubicBezTo>
                        <a:pt x="19" y="22"/>
                        <a:pt x="19" y="21"/>
                        <a:pt x="20" y="21"/>
                      </a:cubicBezTo>
                      <a:cubicBezTo>
                        <a:pt x="20" y="21"/>
                        <a:pt x="20" y="20"/>
                        <a:pt x="20" y="20"/>
                      </a:cubicBezTo>
                      <a:cubicBezTo>
                        <a:pt x="20" y="19"/>
                        <a:pt x="19" y="19"/>
                        <a:pt x="20" y="19"/>
                      </a:cubicBezTo>
                      <a:cubicBezTo>
                        <a:pt x="20" y="19"/>
                        <a:pt x="21" y="19"/>
                        <a:pt x="21" y="19"/>
                      </a:cubicBezTo>
                      <a:cubicBezTo>
                        <a:pt x="21" y="19"/>
                        <a:pt x="21" y="18"/>
                        <a:pt x="21" y="18"/>
                      </a:cubicBezTo>
                      <a:cubicBezTo>
                        <a:pt x="20" y="18"/>
                        <a:pt x="20" y="17"/>
                        <a:pt x="20" y="17"/>
                      </a:cubicBezTo>
                      <a:cubicBezTo>
                        <a:pt x="19" y="17"/>
                        <a:pt x="20" y="17"/>
                        <a:pt x="20" y="16"/>
                      </a:cubicBezTo>
                      <a:cubicBezTo>
                        <a:pt x="21" y="16"/>
                        <a:pt x="21" y="16"/>
                        <a:pt x="21" y="16"/>
                      </a:cubicBezTo>
                      <a:cubicBezTo>
                        <a:pt x="20" y="15"/>
                        <a:pt x="20" y="16"/>
                        <a:pt x="19" y="15"/>
                      </a:cubicBezTo>
                      <a:cubicBezTo>
                        <a:pt x="19" y="16"/>
                        <a:pt x="17" y="14"/>
                        <a:pt x="17" y="14"/>
                      </a:cubicBezTo>
                      <a:cubicBezTo>
                        <a:pt x="17" y="14"/>
                        <a:pt x="17" y="14"/>
                        <a:pt x="16" y="13"/>
                      </a:cubicBezTo>
                      <a:cubicBezTo>
                        <a:pt x="16" y="13"/>
                        <a:pt x="16" y="13"/>
                        <a:pt x="16" y="13"/>
                      </a:cubicBezTo>
                      <a:cubicBezTo>
                        <a:pt x="16" y="12"/>
                        <a:pt x="15" y="13"/>
                        <a:pt x="15" y="12"/>
                      </a:cubicBezTo>
                      <a:cubicBezTo>
                        <a:pt x="14" y="11"/>
                        <a:pt x="16" y="12"/>
                        <a:pt x="17" y="11"/>
                      </a:cubicBezTo>
                      <a:cubicBezTo>
                        <a:pt x="17" y="11"/>
                        <a:pt x="17" y="10"/>
                        <a:pt x="17" y="10"/>
                      </a:cubicBezTo>
                      <a:cubicBezTo>
                        <a:pt x="17" y="9"/>
                        <a:pt x="16" y="9"/>
                        <a:pt x="16" y="9"/>
                      </a:cubicBezTo>
                      <a:cubicBezTo>
                        <a:pt x="15" y="9"/>
                        <a:pt x="15" y="9"/>
                        <a:pt x="14" y="8"/>
                      </a:cubicBezTo>
                      <a:cubicBezTo>
                        <a:pt x="14" y="8"/>
                        <a:pt x="13" y="7"/>
                        <a:pt x="13" y="6"/>
                      </a:cubicBezTo>
                      <a:cubicBezTo>
                        <a:pt x="13" y="5"/>
                        <a:pt x="14" y="6"/>
                        <a:pt x="15" y="5"/>
                      </a:cubicBezTo>
                      <a:cubicBezTo>
                        <a:pt x="15" y="4"/>
                        <a:pt x="14" y="3"/>
                        <a:pt x="13" y="3"/>
                      </a:cubicBezTo>
                      <a:cubicBezTo>
                        <a:pt x="13" y="3"/>
                        <a:pt x="13" y="3"/>
                        <a:pt x="12" y="3"/>
                      </a:cubicBezTo>
                      <a:cubicBezTo>
                        <a:pt x="12" y="2"/>
                        <a:pt x="11" y="3"/>
                        <a:pt x="11" y="2"/>
                      </a:cubicBezTo>
                      <a:cubicBezTo>
                        <a:pt x="11" y="2"/>
                        <a:pt x="11" y="2"/>
                        <a:pt x="12" y="2"/>
                      </a:cubicBezTo>
                      <a:cubicBezTo>
                        <a:pt x="12" y="2"/>
                        <a:pt x="11" y="1"/>
                        <a:pt x="11" y="1"/>
                      </a:cubicBezTo>
                      <a:cubicBezTo>
                        <a:pt x="11" y="1"/>
                        <a:pt x="10" y="1"/>
                        <a:pt x="10" y="1"/>
                      </a:cubicBezTo>
                      <a:cubicBezTo>
                        <a:pt x="10" y="0"/>
                        <a:pt x="9" y="0"/>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7" name="Freeform 874">
                <a:extLst>
                  <a:ext uri="{FF2B5EF4-FFF2-40B4-BE49-F238E27FC236}">
                    <a16:creationId xmlns:a16="http://schemas.microsoft.com/office/drawing/2014/main" id="{780BA7A8-925E-8500-8F3C-223F0D8606EE}"/>
                  </a:ext>
                </a:extLst>
              </p:cNvPr>
              <p:cNvSpPr>
                <a:spLocks/>
              </p:cNvSpPr>
              <p:nvPr/>
            </p:nvSpPr>
            <p:spPr bwMode="auto">
              <a:xfrm>
                <a:off x="7086600" y="3708400"/>
                <a:ext cx="403225" cy="312738"/>
              </a:xfrm>
              <a:custGeom>
                <a:avLst/>
                <a:gdLst>
                  <a:gd name="T0" fmla="*/ 90 w 97"/>
                  <a:gd name="T1" fmla="*/ 11 h 75"/>
                  <a:gd name="T2" fmla="*/ 86 w 97"/>
                  <a:gd name="T3" fmla="*/ 10 h 75"/>
                  <a:gd name="T4" fmla="*/ 82 w 97"/>
                  <a:gd name="T5" fmla="*/ 13 h 75"/>
                  <a:gd name="T6" fmla="*/ 75 w 97"/>
                  <a:gd name="T7" fmla="*/ 16 h 75"/>
                  <a:gd name="T8" fmla="*/ 74 w 97"/>
                  <a:gd name="T9" fmla="*/ 9 h 75"/>
                  <a:gd name="T10" fmla="*/ 72 w 97"/>
                  <a:gd name="T11" fmla="*/ 4 h 75"/>
                  <a:gd name="T12" fmla="*/ 71 w 97"/>
                  <a:gd name="T13" fmla="*/ 1 h 75"/>
                  <a:gd name="T14" fmla="*/ 67 w 97"/>
                  <a:gd name="T15" fmla="*/ 3 h 75"/>
                  <a:gd name="T16" fmla="*/ 61 w 97"/>
                  <a:gd name="T17" fmla="*/ 9 h 75"/>
                  <a:gd name="T18" fmla="*/ 57 w 97"/>
                  <a:gd name="T19" fmla="*/ 10 h 75"/>
                  <a:gd name="T20" fmla="*/ 50 w 97"/>
                  <a:gd name="T21" fmla="*/ 14 h 75"/>
                  <a:gd name="T22" fmla="*/ 45 w 97"/>
                  <a:gd name="T23" fmla="*/ 12 h 75"/>
                  <a:gd name="T24" fmla="*/ 38 w 97"/>
                  <a:gd name="T25" fmla="*/ 10 h 75"/>
                  <a:gd name="T26" fmla="*/ 34 w 97"/>
                  <a:gd name="T27" fmla="*/ 10 h 75"/>
                  <a:gd name="T28" fmla="*/ 30 w 97"/>
                  <a:gd name="T29" fmla="*/ 11 h 75"/>
                  <a:gd name="T30" fmla="*/ 27 w 97"/>
                  <a:gd name="T31" fmla="*/ 16 h 75"/>
                  <a:gd name="T32" fmla="*/ 23 w 97"/>
                  <a:gd name="T33" fmla="*/ 22 h 75"/>
                  <a:gd name="T34" fmla="*/ 17 w 97"/>
                  <a:gd name="T35" fmla="*/ 23 h 75"/>
                  <a:gd name="T36" fmla="*/ 17 w 97"/>
                  <a:gd name="T37" fmla="*/ 27 h 75"/>
                  <a:gd name="T38" fmla="*/ 13 w 97"/>
                  <a:gd name="T39" fmla="*/ 28 h 75"/>
                  <a:gd name="T40" fmla="*/ 11 w 97"/>
                  <a:gd name="T41" fmla="*/ 28 h 75"/>
                  <a:gd name="T42" fmla="*/ 5 w 97"/>
                  <a:gd name="T43" fmla="*/ 25 h 75"/>
                  <a:gd name="T44" fmla="*/ 4 w 97"/>
                  <a:gd name="T45" fmla="*/ 27 h 75"/>
                  <a:gd name="T46" fmla="*/ 3 w 97"/>
                  <a:gd name="T47" fmla="*/ 30 h 75"/>
                  <a:gd name="T48" fmla="*/ 2 w 97"/>
                  <a:gd name="T49" fmla="*/ 36 h 75"/>
                  <a:gd name="T50" fmla="*/ 2 w 97"/>
                  <a:gd name="T51" fmla="*/ 42 h 75"/>
                  <a:gd name="T52" fmla="*/ 2 w 97"/>
                  <a:gd name="T53" fmla="*/ 52 h 75"/>
                  <a:gd name="T54" fmla="*/ 7 w 97"/>
                  <a:gd name="T55" fmla="*/ 59 h 75"/>
                  <a:gd name="T56" fmla="*/ 2 w 97"/>
                  <a:gd name="T57" fmla="*/ 71 h 75"/>
                  <a:gd name="T58" fmla="*/ 23 w 97"/>
                  <a:gd name="T59" fmla="*/ 75 h 75"/>
                  <a:gd name="T60" fmla="*/ 33 w 97"/>
                  <a:gd name="T61" fmla="*/ 73 h 75"/>
                  <a:gd name="T62" fmla="*/ 38 w 97"/>
                  <a:gd name="T63" fmla="*/ 67 h 75"/>
                  <a:gd name="T64" fmla="*/ 43 w 97"/>
                  <a:gd name="T65" fmla="*/ 60 h 75"/>
                  <a:gd name="T66" fmla="*/ 49 w 97"/>
                  <a:gd name="T67" fmla="*/ 60 h 75"/>
                  <a:gd name="T68" fmla="*/ 51 w 97"/>
                  <a:gd name="T69" fmla="*/ 56 h 75"/>
                  <a:gd name="T70" fmla="*/ 55 w 97"/>
                  <a:gd name="T71" fmla="*/ 56 h 75"/>
                  <a:gd name="T72" fmla="*/ 59 w 97"/>
                  <a:gd name="T73" fmla="*/ 53 h 75"/>
                  <a:gd name="T74" fmla="*/ 60 w 97"/>
                  <a:gd name="T75" fmla="*/ 49 h 75"/>
                  <a:gd name="T76" fmla="*/ 66 w 97"/>
                  <a:gd name="T77" fmla="*/ 44 h 75"/>
                  <a:gd name="T78" fmla="*/ 63 w 97"/>
                  <a:gd name="T79" fmla="*/ 39 h 75"/>
                  <a:gd name="T80" fmla="*/ 66 w 97"/>
                  <a:gd name="T81" fmla="*/ 39 h 75"/>
                  <a:gd name="T82" fmla="*/ 71 w 97"/>
                  <a:gd name="T83" fmla="*/ 38 h 75"/>
                  <a:gd name="T84" fmla="*/ 70 w 97"/>
                  <a:gd name="T85" fmla="*/ 34 h 75"/>
                  <a:gd name="T86" fmla="*/ 74 w 97"/>
                  <a:gd name="T87" fmla="*/ 27 h 75"/>
                  <a:gd name="T88" fmla="*/ 73 w 97"/>
                  <a:gd name="T89" fmla="*/ 22 h 75"/>
                  <a:gd name="T90" fmla="*/ 76 w 97"/>
                  <a:gd name="T91" fmla="*/ 18 h 75"/>
                  <a:gd name="T92" fmla="*/ 81 w 97"/>
                  <a:gd name="T93" fmla="*/ 14 h 75"/>
                  <a:gd name="T94" fmla="*/ 90 w 97"/>
                  <a:gd name="T95" fmla="*/ 14 h 75"/>
                  <a:gd name="T96" fmla="*/ 95 w 97"/>
                  <a:gd name="T97" fmla="*/ 13 h 75"/>
                  <a:gd name="T98" fmla="*/ 97 w 97"/>
                  <a:gd name="T9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75">
                    <a:moveTo>
                      <a:pt x="92" y="9"/>
                    </a:moveTo>
                    <a:cubicBezTo>
                      <a:pt x="92" y="10"/>
                      <a:pt x="91" y="10"/>
                      <a:pt x="91" y="10"/>
                    </a:cubicBezTo>
                    <a:cubicBezTo>
                      <a:pt x="90" y="11"/>
                      <a:pt x="90" y="11"/>
                      <a:pt x="90" y="11"/>
                    </a:cubicBezTo>
                    <a:cubicBezTo>
                      <a:pt x="88" y="11"/>
                      <a:pt x="88" y="11"/>
                      <a:pt x="88" y="11"/>
                    </a:cubicBezTo>
                    <a:cubicBezTo>
                      <a:pt x="89" y="10"/>
                      <a:pt x="89" y="10"/>
                      <a:pt x="89" y="10"/>
                    </a:cubicBezTo>
                    <a:cubicBezTo>
                      <a:pt x="89" y="10"/>
                      <a:pt x="87" y="10"/>
                      <a:pt x="86" y="10"/>
                    </a:cubicBezTo>
                    <a:cubicBezTo>
                      <a:pt x="86" y="10"/>
                      <a:pt x="85" y="10"/>
                      <a:pt x="85" y="10"/>
                    </a:cubicBezTo>
                    <a:cubicBezTo>
                      <a:pt x="85" y="10"/>
                      <a:pt x="83" y="11"/>
                      <a:pt x="83" y="12"/>
                    </a:cubicBezTo>
                    <a:cubicBezTo>
                      <a:pt x="83" y="12"/>
                      <a:pt x="82" y="13"/>
                      <a:pt x="82" y="13"/>
                    </a:cubicBezTo>
                    <a:cubicBezTo>
                      <a:pt x="79" y="13"/>
                      <a:pt x="79" y="13"/>
                      <a:pt x="79" y="13"/>
                    </a:cubicBezTo>
                    <a:cubicBezTo>
                      <a:pt x="77" y="15"/>
                      <a:pt x="77" y="15"/>
                      <a:pt x="77" y="15"/>
                    </a:cubicBezTo>
                    <a:cubicBezTo>
                      <a:pt x="75" y="16"/>
                      <a:pt x="75" y="16"/>
                      <a:pt x="75" y="16"/>
                    </a:cubicBezTo>
                    <a:cubicBezTo>
                      <a:pt x="74" y="13"/>
                      <a:pt x="74" y="13"/>
                      <a:pt x="74" y="13"/>
                    </a:cubicBezTo>
                    <a:cubicBezTo>
                      <a:pt x="74" y="10"/>
                      <a:pt x="74" y="10"/>
                      <a:pt x="74" y="10"/>
                    </a:cubicBezTo>
                    <a:cubicBezTo>
                      <a:pt x="74" y="9"/>
                      <a:pt x="74" y="9"/>
                      <a:pt x="74" y="9"/>
                    </a:cubicBezTo>
                    <a:cubicBezTo>
                      <a:pt x="74" y="5"/>
                      <a:pt x="74" y="5"/>
                      <a:pt x="74" y="5"/>
                    </a:cubicBezTo>
                    <a:cubicBezTo>
                      <a:pt x="72" y="5"/>
                      <a:pt x="72" y="5"/>
                      <a:pt x="72" y="5"/>
                    </a:cubicBezTo>
                    <a:cubicBezTo>
                      <a:pt x="72" y="4"/>
                      <a:pt x="72" y="4"/>
                      <a:pt x="72" y="4"/>
                    </a:cubicBezTo>
                    <a:cubicBezTo>
                      <a:pt x="73" y="3"/>
                      <a:pt x="73" y="3"/>
                      <a:pt x="73" y="3"/>
                    </a:cubicBezTo>
                    <a:cubicBezTo>
                      <a:pt x="73" y="2"/>
                      <a:pt x="73" y="2"/>
                      <a:pt x="73" y="2"/>
                    </a:cubicBezTo>
                    <a:cubicBezTo>
                      <a:pt x="73" y="2"/>
                      <a:pt x="71" y="1"/>
                      <a:pt x="71" y="1"/>
                    </a:cubicBezTo>
                    <a:cubicBezTo>
                      <a:pt x="71" y="1"/>
                      <a:pt x="71" y="0"/>
                      <a:pt x="71" y="0"/>
                    </a:cubicBezTo>
                    <a:cubicBezTo>
                      <a:pt x="71" y="0"/>
                      <a:pt x="69" y="0"/>
                      <a:pt x="69" y="0"/>
                    </a:cubicBezTo>
                    <a:cubicBezTo>
                      <a:pt x="69" y="0"/>
                      <a:pt x="67" y="2"/>
                      <a:pt x="67" y="3"/>
                    </a:cubicBezTo>
                    <a:cubicBezTo>
                      <a:pt x="67" y="3"/>
                      <a:pt x="65" y="5"/>
                      <a:pt x="65" y="5"/>
                    </a:cubicBezTo>
                    <a:cubicBezTo>
                      <a:pt x="65" y="5"/>
                      <a:pt x="65" y="8"/>
                      <a:pt x="65" y="8"/>
                    </a:cubicBezTo>
                    <a:cubicBezTo>
                      <a:pt x="61" y="9"/>
                      <a:pt x="61" y="9"/>
                      <a:pt x="61" y="9"/>
                    </a:cubicBezTo>
                    <a:cubicBezTo>
                      <a:pt x="61" y="9"/>
                      <a:pt x="59" y="11"/>
                      <a:pt x="59" y="12"/>
                    </a:cubicBezTo>
                    <a:cubicBezTo>
                      <a:pt x="59" y="12"/>
                      <a:pt x="59" y="12"/>
                      <a:pt x="59" y="12"/>
                    </a:cubicBezTo>
                    <a:cubicBezTo>
                      <a:pt x="57" y="10"/>
                      <a:pt x="57" y="10"/>
                      <a:pt x="57" y="10"/>
                    </a:cubicBezTo>
                    <a:cubicBezTo>
                      <a:pt x="55" y="11"/>
                      <a:pt x="55" y="11"/>
                      <a:pt x="55" y="11"/>
                    </a:cubicBezTo>
                    <a:cubicBezTo>
                      <a:pt x="53" y="13"/>
                      <a:pt x="53" y="13"/>
                      <a:pt x="53" y="13"/>
                    </a:cubicBezTo>
                    <a:cubicBezTo>
                      <a:pt x="50" y="14"/>
                      <a:pt x="50" y="14"/>
                      <a:pt x="50" y="14"/>
                    </a:cubicBezTo>
                    <a:cubicBezTo>
                      <a:pt x="49" y="12"/>
                      <a:pt x="49" y="12"/>
                      <a:pt x="49" y="12"/>
                    </a:cubicBezTo>
                    <a:cubicBezTo>
                      <a:pt x="47" y="11"/>
                      <a:pt x="47" y="11"/>
                      <a:pt x="47" y="11"/>
                    </a:cubicBezTo>
                    <a:cubicBezTo>
                      <a:pt x="45" y="12"/>
                      <a:pt x="45" y="12"/>
                      <a:pt x="45" y="12"/>
                    </a:cubicBezTo>
                    <a:cubicBezTo>
                      <a:pt x="43" y="10"/>
                      <a:pt x="43" y="10"/>
                      <a:pt x="43" y="10"/>
                    </a:cubicBezTo>
                    <a:cubicBezTo>
                      <a:pt x="40" y="10"/>
                      <a:pt x="40" y="10"/>
                      <a:pt x="40" y="10"/>
                    </a:cubicBezTo>
                    <a:cubicBezTo>
                      <a:pt x="38" y="10"/>
                      <a:pt x="38" y="10"/>
                      <a:pt x="38" y="10"/>
                    </a:cubicBezTo>
                    <a:cubicBezTo>
                      <a:pt x="36" y="9"/>
                      <a:pt x="36" y="9"/>
                      <a:pt x="36" y="9"/>
                    </a:cubicBezTo>
                    <a:cubicBezTo>
                      <a:pt x="36" y="9"/>
                      <a:pt x="34" y="8"/>
                      <a:pt x="34" y="9"/>
                    </a:cubicBezTo>
                    <a:cubicBezTo>
                      <a:pt x="34" y="9"/>
                      <a:pt x="34" y="10"/>
                      <a:pt x="34" y="10"/>
                    </a:cubicBezTo>
                    <a:cubicBezTo>
                      <a:pt x="34" y="10"/>
                      <a:pt x="34" y="11"/>
                      <a:pt x="34" y="11"/>
                    </a:cubicBezTo>
                    <a:cubicBezTo>
                      <a:pt x="31" y="11"/>
                      <a:pt x="31" y="11"/>
                      <a:pt x="31" y="11"/>
                    </a:cubicBezTo>
                    <a:cubicBezTo>
                      <a:pt x="31" y="11"/>
                      <a:pt x="30" y="11"/>
                      <a:pt x="30" y="11"/>
                    </a:cubicBezTo>
                    <a:cubicBezTo>
                      <a:pt x="30" y="12"/>
                      <a:pt x="28" y="12"/>
                      <a:pt x="28" y="12"/>
                    </a:cubicBezTo>
                    <a:cubicBezTo>
                      <a:pt x="28" y="13"/>
                      <a:pt x="28" y="13"/>
                      <a:pt x="28" y="14"/>
                    </a:cubicBezTo>
                    <a:cubicBezTo>
                      <a:pt x="28" y="14"/>
                      <a:pt x="27" y="16"/>
                      <a:pt x="27" y="16"/>
                    </a:cubicBezTo>
                    <a:cubicBezTo>
                      <a:pt x="27" y="16"/>
                      <a:pt x="27" y="19"/>
                      <a:pt x="27" y="19"/>
                    </a:cubicBezTo>
                    <a:cubicBezTo>
                      <a:pt x="27" y="19"/>
                      <a:pt x="23" y="20"/>
                      <a:pt x="23" y="20"/>
                    </a:cubicBezTo>
                    <a:cubicBezTo>
                      <a:pt x="23" y="20"/>
                      <a:pt x="23" y="22"/>
                      <a:pt x="23" y="22"/>
                    </a:cubicBezTo>
                    <a:cubicBezTo>
                      <a:pt x="20" y="22"/>
                      <a:pt x="20" y="22"/>
                      <a:pt x="20" y="22"/>
                    </a:cubicBezTo>
                    <a:cubicBezTo>
                      <a:pt x="17" y="22"/>
                      <a:pt x="17" y="22"/>
                      <a:pt x="17" y="22"/>
                    </a:cubicBezTo>
                    <a:cubicBezTo>
                      <a:pt x="17" y="23"/>
                      <a:pt x="17" y="23"/>
                      <a:pt x="17" y="23"/>
                    </a:cubicBezTo>
                    <a:cubicBezTo>
                      <a:pt x="18" y="24"/>
                      <a:pt x="18" y="24"/>
                      <a:pt x="18" y="24"/>
                    </a:cubicBezTo>
                    <a:cubicBezTo>
                      <a:pt x="17" y="25"/>
                      <a:pt x="17" y="25"/>
                      <a:pt x="17" y="25"/>
                    </a:cubicBezTo>
                    <a:cubicBezTo>
                      <a:pt x="17" y="27"/>
                      <a:pt x="17" y="27"/>
                      <a:pt x="17" y="27"/>
                    </a:cubicBezTo>
                    <a:cubicBezTo>
                      <a:pt x="17" y="27"/>
                      <a:pt x="16" y="27"/>
                      <a:pt x="15" y="27"/>
                    </a:cubicBezTo>
                    <a:cubicBezTo>
                      <a:pt x="15" y="27"/>
                      <a:pt x="15" y="28"/>
                      <a:pt x="14" y="28"/>
                    </a:cubicBezTo>
                    <a:cubicBezTo>
                      <a:pt x="14" y="28"/>
                      <a:pt x="13" y="28"/>
                      <a:pt x="13" y="28"/>
                    </a:cubicBezTo>
                    <a:cubicBezTo>
                      <a:pt x="13" y="28"/>
                      <a:pt x="12" y="27"/>
                      <a:pt x="12" y="27"/>
                    </a:cubicBezTo>
                    <a:cubicBezTo>
                      <a:pt x="12" y="29"/>
                      <a:pt x="12" y="29"/>
                      <a:pt x="12" y="29"/>
                    </a:cubicBezTo>
                    <a:cubicBezTo>
                      <a:pt x="12" y="29"/>
                      <a:pt x="11" y="29"/>
                      <a:pt x="11" y="28"/>
                    </a:cubicBezTo>
                    <a:cubicBezTo>
                      <a:pt x="11" y="28"/>
                      <a:pt x="10" y="26"/>
                      <a:pt x="10" y="26"/>
                    </a:cubicBezTo>
                    <a:cubicBezTo>
                      <a:pt x="6" y="26"/>
                      <a:pt x="6" y="26"/>
                      <a:pt x="6" y="26"/>
                    </a:cubicBezTo>
                    <a:cubicBezTo>
                      <a:pt x="5" y="25"/>
                      <a:pt x="5" y="25"/>
                      <a:pt x="5" y="25"/>
                    </a:cubicBezTo>
                    <a:cubicBezTo>
                      <a:pt x="4" y="25"/>
                      <a:pt x="4" y="25"/>
                      <a:pt x="4" y="25"/>
                    </a:cubicBezTo>
                    <a:cubicBezTo>
                      <a:pt x="4" y="25"/>
                      <a:pt x="4" y="25"/>
                      <a:pt x="4" y="25"/>
                    </a:cubicBezTo>
                    <a:cubicBezTo>
                      <a:pt x="4" y="27"/>
                      <a:pt x="4" y="27"/>
                      <a:pt x="4" y="27"/>
                    </a:cubicBezTo>
                    <a:cubicBezTo>
                      <a:pt x="4" y="28"/>
                      <a:pt x="4" y="28"/>
                      <a:pt x="4" y="28"/>
                    </a:cubicBezTo>
                    <a:cubicBezTo>
                      <a:pt x="4" y="28"/>
                      <a:pt x="4" y="29"/>
                      <a:pt x="4" y="29"/>
                    </a:cubicBezTo>
                    <a:cubicBezTo>
                      <a:pt x="4" y="29"/>
                      <a:pt x="3" y="30"/>
                      <a:pt x="3" y="30"/>
                    </a:cubicBezTo>
                    <a:cubicBezTo>
                      <a:pt x="3" y="30"/>
                      <a:pt x="3" y="32"/>
                      <a:pt x="3" y="32"/>
                    </a:cubicBezTo>
                    <a:cubicBezTo>
                      <a:pt x="1" y="34"/>
                      <a:pt x="1" y="34"/>
                      <a:pt x="1" y="34"/>
                    </a:cubicBezTo>
                    <a:cubicBezTo>
                      <a:pt x="2" y="36"/>
                      <a:pt x="2" y="36"/>
                      <a:pt x="2" y="36"/>
                    </a:cubicBezTo>
                    <a:cubicBezTo>
                      <a:pt x="0" y="36"/>
                      <a:pt x="0" y="36"/>
                      <a:pt x="0" y="36"/>
                    </a:cubicBezTo>
                    <a:cubicBezTo>
                      <a:pt x="0" y="41"/>
                      <a:pt x="0" y="41"/>
                      <a:pt x="0" y="41"/>
                    </a:cubicBezTo>
                    <a:cubicBezTo>
                      <a:pt x="2" y="42"/>
                      <a:pt x="2" y="42"/>
                      <a:pt x="2" y="42"/>
                    </a:cubicBezTo>
                    <a:cubicBezTo>
                      <a:pt x="0" y="45"/>
                      <a:pt x="0" y="45"/>
                      <a:pt x="0" y="45"/>
                    </a:cubicBezTo>
                    <a:cubicBezTo>
                      <a:pt x="0" y="47"/>
                      <a:pt x="0" y="47"/>
                      <a:pt x="0" y="47"/>
                    </a:cubicBezTo>
                    <a:cubicBezTo>
                      <a:pt x="2" y="52"/>
                      <a:pt x="2" y="52"/>
                      <a:pt x="2" y="52"/>
                    </a:cubicBezTo>
                    <a:cubicBezTo>
                      <a:pt x="2" y="58"/>
                      <a:pt x="2" y="58"/>
                      <a:pt x="2" y="58"/>
                    </a:cubicBezTo>
                    <a:cubicBezTo>
                      <a:pt x="4" y="59"/>
                      <a:pt x="4" y="59"/>
                      <a:pt x="4" y="59"/>
                    </a:cubicBezTo>
                    <a:cubicBezTo>
                      <a:pt x="7" y="59"/>
                      <a:pt x="7" y="59"/>
                      <a:pt x="7" y="59"/>
                    </a:cubicBezTo>
                    <a:cubicBezTo>
                      <a:pt x="8" y="60"/>
                      <a:pt x="8" y="60"/>
                      <a:pt x="8" y="60"/>
                    </a:cubicBezTo>
                    <a:cubicBezTo>
                      <a:pt x="8" y="63"/>
                      <a:pt x="8" y="63"/>
                      <a:pt x="8" y="63"/>
                    </a:cubicBezTo>
                    <a:cubicBezTo>
                      <a:pt x="2" y="71"/>
                      <a:pt x="2" y="71"/>
                      <a:pt x="2" y="71"/>
                    </a:cubicBezTo>
                    <a:cubicBezTo>
                      <a:pt x="13" y="75"/>
                      <a:pt x="13" y="75"/>
                      <a:pt x="13" y="75"/>
                    </a:cubicBezTo>
                    <a:cubicBezTo>
                      <a:pt x="16" y="74"/>
                      <a:pt x="16" y="74"/>
                      <a:pt x="16" y="74"/>
                    </a:cubicBezTo>
                    <a:cubicBezTo>
                      <a:pt x="23" y="75"/>
                      <a:pt x="23" y="75"/>
                      <a:pt x="23" y="75"/>
                    </a:cubicBezTo>
                    <a:cubicBezTo>
                      <a:pt x="26" y="73"/>
                      <a:pt x="26" y="73"/>
                      <a:pt x="26" y="73"/>
                    </a:cubicBezTo>
                    <a:cubicBezTo>
                      <a:pt x="26" y="73"/>
                      <a:pt x="30" y="74"/>
                      <a:pt x="30" y="74"/>
                    </a:cubicBezTo>
                    <a:cubicBezTo>
                      <a:pt x="30" y="74"/>
                      <a:pt x="32" y="73"/>
                      <a:pt x="33" y="73"/>
                    </a:cubicBezTo>
                    <a:cubicBezTo>
                      <a:pt x="33" y="73"/>
                      <a:pt x="39" y="71"/>
                      <a:pt x="39" y="71"/>
                    </a:cubicBezTo>
                    <a:cubicBezTo>
                      <a:pt x="39" y="71"/>
                      <a:pt x="39" y="70"/>
                      <a:pt x="38" y="70"/>
                    </a:cubicBezTo>
                    <a:cubicBezTo>
                      <a:pt x="38" y="69"/>
                      <a:pt x="38" y="67"/>
                      <a:pt x="38" y="67"/>
                    </a:cubicBezTo>
                    <a:cubicBezTo>
                      <a:pt x="38" y="67"/>
                      <a:pt x="39" y="64"/>
                      <a:pt x="39" y="64"/>
                    </a:cubicBezTo>
                    <a:cubicBezTo>
                      <a:pt x="39" y="64"/>
                      <a:pt x="39" y="63"/>
                      <a:pt x="39" y="63"/>
                    </a:cubicBezTo>
                    <a:cubicBezTo>
                      <a:pt x="43" y="60"/>
                      <a:pt x="43" y="60"/>
                      <a:pt x="43" y="60"/>
                    </a:cubicBezTo>
                    <a:cubicBezTo>
                      <a:pt x="43" y="60"/>
                      <a:pt x="44" y="61"/>
                      <a:pt x="45" y="61"/>
                    </a:cubicBezTo>
                    <a:cubicBezTo>
                      <a:pt x="45" y="61"/>
                      <a:pt x="48" y="60"/>
                      <a:pt x="48" y="60"/>
                    </a:cubicBezTo>
                    <a:cubicBezTo>
                      <a:pt x="49" y="60"/>
                      <a:pt x="49" y="60"/>
                      <a:pt x="49" y="60"/>
                    </a:cubicBezTo>
                    <a:cubicBezTo>
                      <a:pt x="47" y="58"/>
                      <a:pt x="47" y="58"/>
                      <a:pt x="47" y="58"/>
                    </a:cubicBezTo>
                    <a:cubicBezTo>
                      <a:pt x="49" y="58"/>
                      <a:pt x="49" y="58"/>
                      <a:pt x="49" y="58"/>
                    </a:cubicBezTo>
                    <a:cubicBezTo>
                      <a:pt x="51" y="56"/>
                      <a:pt x="51" y="56"/>
                      <a:pt x="51" y="56"/>
                    </a:cubicBezTo>
                    <a:cubicBezTo>
                      <a:pt x="51" y="56"/>
                      <a:pt x="52" y="56"/>
                      <a:pt x="53" y="56"/>
                    </a:cubicBezTo>
                    <a:cubicBezTo>
                      <a:pt x="53" y="56"/>
                      <a:pt x="53" y="57"/>
                      <a:pt x="53" y="57"/>
                    </a:cubicBezTo>
                    <a:cubicBezTo>
                      <a:pt x="55" y="56"/>
                      <a:pt x="55" y="56"/>
                      <a:pt x="55" y="56"/>
                    </a:cubicBezTo>
                    <a:cubicBezTo>
                      <a:pt x="57" y="58"/>
                      <a:pt x="57" y="58"/>
                      <a:pt x="57" y="58"/>
                    </a:cubicBezTo>
                    <a:cubicBezTo>
                      <a:pt x="59" y="55"/>
                      <a:pt x="59" y="55"/>
                      <a:pt x="59" y="55"/>
                    </a:cubicBezTo>
                    <a:cubicBezTo>
                      <a:pt x="59" y="53"/>
                      <a:pt x="59" y="53"/>
                      <a:pt x="59" y="53"/>
                    </a:cubicBezTo>
                    <a:cubicBezTo>
                      <a:pt x="59" y="53"/>
                      <a:pt x="59" y="52"/>
                      <a:pt x="59" y="52"/>
                    </a:cubicBezTo>
                    <a:cubicBezTo>
                      <a:pt x="59" y="52"/>
                      <a:pt x="59" y="50"/>
                      <a:pt x="59" y="50"/>
                    </a:cubicBezTo>
                    <a:cubicBezTo>
                      <a:pt x="60" y="49"/>
                      <a:pt x="60" y="49"/>
                      <a:pt x="60" y="49"/>
                    </a:cubicBezTo>
                    <a:cubicBezTo>
                      <a:pt x="60" y="46"/>
                      <a:pt x="60" y="46"/>
                      <a:pt x="60" y="46"/>
                    </a:cubicBezTo>
                    <a:cubicBezTo>
                      <a:pt x="64" y="45"/>
                      <a:pt x="64" y="45"/>
                      <a:pt x="64" y="45"/>
                    </a:cubicBezTo>
                    <a:cubicBezTo>
                      <a:pt x="66" y="44"/>
                      <a:pt x="66" y="44"/>
                      <a:pt x="66" y="44"/>
                    </a:cubicBezTo>
                    <a:cubicBezTo>
                      <a:pt x="66" y="44"/>
                      <a:pt x="66" y="43"/>
                      <a:pt x="66" y="42"/>
                    </a:cubicBezTo>
                    <a:cubicBezTo>
                      <a:pt x="66" y="42"/>
                      <a:pt x="65" y="41"/>
                      <a:pt x="65" y="41"/>
                    </a:cubicBezTo>
                    <a:cubicBezTo>
                      <a:pt x="63" y="39"/>
                      <a:pt x="63" y="39"/>
                      <a:pt x="63" y="39"/>
                    </a:cubicBezTo>
                    <a:cubicBezTo>
                      <a:pt x="63" y="38"/>
                      <a:pt x="63" y="38"/>
                      <a:pt x="63" y="38"/>
                    </a:cubicBezTo>
                    <a:cubicBezTo>
                      <a:pt x="66" y="38"/>
                      <a:pt x="66" y="38"/>
                      <a:pt x="66" y="38"/>
                    </a:cubicBezTo>
                    <a:cubicBezTo>
                      <a:pt x="66" y="39"/>
                      <a:pt x="66" y="39"/>
                      <a:pt x="66" y="39"/>
                    </a:cubicBezTo>
                    <a:cubicBezTo>
                      <a:pt x="68" y="39"/>
                      <a:pt x="68" y="39"/>
                      <a:pt x="68" y="39"/>
                    </a:cubicBezTo>
                    <a:cubicBezTo>
                      <a:pt x="69" y="38"/>
                      <a:pt x="69" y="38"/>
                      <a:pt x="69" y="38"/>
                    </a:cubicBezTo>
                    <a:cubicBezTo>
                      <a:pt x="71" y="38"/>
                      <a:pt x="71" y="38"/>
                      <a:pt x="71" y="38"/>
                    </a:cubicBezTo>
                    <a:cubicBezTo>
                      <a:pt x="72" y="36"/>
                      <a:pt x="72" y="36"/>
                      <a:pt x="72" y="36"/>
                    </a:cubicBezTo>
                    <a:cubicBezTo>
                      <a:pt x="70" y="35"/>
                      <a:pt x="70" y="35"/>
                      <a:pt x="70" y="35"/>
                    </a:cubicBezTo>
                    <a:cubicBezTo>
                      <a:pt x="70" y="34"/>
                      <a:pt x="70" y="34"/>
                      <a:pt x="70" y="34"/>
                    </a:cubicBezTo>
                    <a:cubicBezTo>
                      <a:pt x="70" y="34"/>
                      <a:pt x="73" y="31"/>
                      <a:pt x="73" y="31"/>
                    </a:cubicBezTo>
                    <a:cubicBezTo>
                      <a:pt x="73" y="31"/>
                      <a:pt x="74" y="30"/>
                      <a:pt x="74" y="29"/>
                    </a:cubicBezTo>
                    <a:cubicBezTo>
                      <a:pt x="74" y="29"/>
                      <a:pt x="74" y="28"/>
                      <a:pt x="74" y="27"/>
                    </a:cubicBezTo>
                    <a:cubicBezTo>
                      <a:pt x="74" y="27"/>
                      <a:pt x="74" y="26"/>
                      <a:pt x="74" y="26"/>
                    </a:cubicBezTo>
                    <a:cubicBezTo>
                      <a:pt x="74" y="26"/>
                      <a:pt x="74" y="25"/>
                      <a:pt x="74" y="25"/>
                    </a:cubicBezTo>
                    <a:cubicBezTo>
                      <a:pt x="73" y="22"/>
                      <a:pt x="73" y="22"/>
                      <a:pt x="73" y="22"/>
                    </a:cubicBezTo>
                    <a:cubicBezTo>
                      <a:pt x="72" y="21"/>
                      <a:pt x="72" y="21"/>
                      <a:pt x="72" y="21"/>
                    </a:cubicBezTo>
                    <a:cubicBezTo>
                      <a:pt x="74" y="18"/>
                      <a:pt x="74" y="18"/>
                      <a:pt x="74" y="18"/>
                    </a:cubicBezTo>
                    <a:cubicBezTo>
                      <a:pt x="76" y="18"/>
                      <a:pt x="76" y="18"/>
                      <a:pt x="76" y="18"/>
                    </a:cubicBezTo>
                    <a:cubicBezTo>
                      <a:pt x="76" y="18"/>
                      <a:pt x="76" y="17"/>
                      <a:pt x="76" y="17"/>
                    </a:cubicBezTo>
                    <a:cubicBezTo>
                      <a:pt x="76" y="17"/>
                      <a:pt x="80" y="15"/>
                      <a:pt x="80" y="15"/>
                    </a:cubicBezTo>
                    <a:cubicBezTo>
                      <a:pt x="81" y="14"/>
                      <a:pt x="81" y="14"/>
                      <a:pt x="81" y="14"/>
                    </a:cubicBezTo>
                    <a:cubicBezTo>
                      <a:pt x="87" y="14"/>
                      <a:pt x="87" y="14"/>
                      <a:pt x="87" y="14"/>
                    </a:cubicBezTo>
                    <a:cubicBezTo>
                      <a:pt x="88" y="14"/>
                      <a:pt x="88" y="14"/>
                      <a:pt x="88" y="14"/>
                    </a:cubicBezTo>
                    <a:cubicBezTo>
                      <a:pt x="90" y="14"/>
                      <a:pt x="90" y="14"/>
                      <a:pt x="90" y="14"/>
                    </a:cubicBezTo>
                    <a:cubicBezTo>
                      <a:pt x="90" y="14"/>
                      <a:pt x="91" y="14"/>
                      <a:pt x="92" y="14"/>
                    </a:cubicBezTo>
                    <a:cubicBezTo>
                      <a:pt x="93" y="14"/>
                      <a:pt x="94" y="14"/>
                      <a:pt x="94" y="13"/>
                    </a:cubicBezTo>
                    <a:cubicBezTo>
                      <a:pt x="94" y="13"/>
                      <a:pt x="95" y="13"/>
                      <a:pt x="95" y="13"/>
                    </a:cubicBezTo>
                    <a:cubicBezTo>
                      <a:pt x="94" y="12"/>
                      <a:pt x="94" y="12"/>
                      <a:pt x="94" y="12"/>
                    </a:cubicBezTo>
                    <a:cubicBezTo>
                      <a:pt x="94" y="12"/>
                      <a:pt x="95" y="11"/>
                      <a:pt x="95" y="11"/>
                    </a:cubicBezTo>
                    <a:cubicBezTo>
                      <a:pt x="97" y="11"/>
                      <a:pt x="97" y="11"/>
                      <a:pt x="97" y="11"/>
                    </a:cubicBezTo>
                    <a:cubicBezTo>
                      <a:pt x="96" y="9"/>
                      <a:pt x="96" y="9"/>
                      <a:pt x="96" y="9"/>
                    </a:cubicBezTo>
                    <a:cubicBezTo>
                      <a:pt x="96" y="9"/>
                      <a:pt x="93" y="9"/>
                      <a:pt x="9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68" name="Group 267">
                <a:extLst>
                  <a:ext uri="{FF2B5EF4-FFF2-40B4-BE49-F238E27FC236}">
                    <a16:creationId xmlns:a16="http://schemas.microsoft.com/office/drawing/2014/main" id="{AAF2CA41-EF9D-04FA-67BC-6DA8EACB3A61}"/>
                  </a:ext>
                </a:extLst>
              </p:cNvPr>
              <p:cNvGrpSpPr/>
              <p:nvPr/>
            </p:nvGrpSpPr>
            <p:grpSpPr>
              <a:xfrm>
                <a:off x="6283325" y="3584575"/>
                <a:ext cx="511175" cy="444500"/>
                <a:chOff x="6283325" y="3584575"/>
                <a:chExt cx="511175" cy="444500"/>
              </a:xfrm>
              <a:grpFill/>
            </p:grpSpPr>
            <p:sp>
              <p:nvSpPr>
                <p:cNvPr id="269" name="Freeform 854">
                  <a:extLst>
                    <a:ext uri="{FF2B5EF4-FFF2-40B4-BE49-F238E27FC236}">
                      <a16:creationId xmlns:a16="http://schemas.microsoft.com/office/drawing/2014/main" id="{8860CA1F-3954-4564-B5F5-F828E7C1ACDD}"/>
                    </a:ext>
                  </a:extLst>
                </p:cNvPr>
                <p:cNvSpPr>
                  <a:spLocks/>
                </p:cNvSpPr>
                <p:nvPr/>
              </p:nvSpPr>
              <p:spPr bwMode="auto">
                <a:xfrm>
                  <a:off x="6362700" y="3887788"/>
                  <a:ext cx="120650" cy="138113"/>
                </a:xfrm>
                <a:custGeom>
                  <a:avLst/>
                  <a:gdLst>
                    <a:gd name="T0" fmla="*/ 12 w 29"/>
                    <a:gd name="T1" fmla="*/ 28 h 33"/>
                    <a:gd name="T2" fmla="*/ 15 w 29"/>
                    <a:gd name="T3" fmla="*/ 28 h 33"/>
                    <a:gd name="T4" fmla="*/ 17 w 29"/>
                    <a:gd name="T5" fmla="*/ 27 h 33"/>
                    <a:gd name="T6" fmla="*/ 18 w 29"/>
                    <a:gd name="T7" fmla="*/ 25 h 33"/>
                    <a:gd name="T8" fmla="*/ 21 w 29"/>
                    <a:gd name="T9" fmla="*/ 23 h 33"/>
                    <a:gd name="T10" fmla="*/ 14 w 29"/>
                    <a:gd name="T11" fmla="*/ 15 h 33"/>
                    <a:gd name="T12" fmla="*/ 23 w 29"/>
                    <a:gd name="T13" fmla="*/ 13 h 33"/>
                    <a:gd name="T14" fmla="*/ 27 w 29"/>
                    <a:gd name="T15" fmla="*/ 12 h 33"/>
                    <a:gd name="T16" fmla="*/ 29 w 29"/>
                    <a:gd name="T17" fmla="*/ 10 h 33"/>
                    <a:gd name="T18" fmla="*/ 29 w 29"/>
                    <a:gd name="T19" fmla="*/ 9 h 33"/>
                    <a:gd name="T20" fmla="*/ 28 w 29"/>
                    <a:gd name="T21" fmla="*/ 9 h 33"/>
                    <a:gd name="T22" fmla="*/ 28 w 29"/>
                    <a:gd name="T23" fmla="*/ 8 h 33"/>
                    <a:gd name="T24" fmla="*/ 28 w 29"/>
                    <a:gd name="T25" fmla="*/ 7 h 33"/>
                    <a:gd name="T26" fmla="*/ 28 w 29"/>
                    <a:gd name="T27" fmla="*/ 5 h 33"/>
                    <a:gd name="T28" fmla="*/ 27 w 29"/>
                    <a:gd name="T29" fmla="*/ 4 h 33"/>
                    <a:gd name="T30" fmla="*/ 27 w 29"/>
                    <a:gd name="T31" fmla="*/ 2 h 33"/>
                    <a:gd name="T32" fmla="*/ 26 w 29"/>
                    <a:gd name="T33" fmla="*/ 0 h 33"/>
                    <a:gd name="T34" fmla="*/ 26 w 29"/>
                    <a:gd name="T35" fmla="*/ 1 h 33"/>
                    <a:gd name="T36" fmla="*/ 13 w 29"/>
                    <a:gd name="T37" fmla="*/ 9 h 33"/>
                    <a:gd name="T38" fmla="*/ 8 w 29"/>
                    <a:gd name="T39" fmla="*/ 8 h 33"/>
                    <a:gd name="T40" fmla="*/ 6 w 29"/>
                    <a:gd name="T41" fmla="*/ 5 h 33"/>
                    <a:gd name="T42" fmla="*/ 5 w 29"/>
                    <a:gd name="T43" fmla="*/ 6 h 33"/>
                    <a:gd name="T44" fmla="*/ 5 w 29"/>
                    <a:gd name="T45" fmla="*/ 7 h 33"/>
                    <a:gd name="T46" fmla="*/ 4 w 29"/>
                    <a:gd name="T47" fmla="*/ 16 h 33"/>
                    <a:gd name="T48" fmla="*/ 0 w 29"/>
                    <a:gd name="T49" fmla="*/ 32 h 33"/>
                    <a:gd name="T50" fmla="*/ 8 w 29"/>
                    <a:gd name="T51" fmla="*/ 33 h 33"/>
                    <a:gd name="T52" fmla="*/ 12 w 29"/>
                    <a:gd name="T5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3">
                      <a:moveTo>
                        <a:pt x="12" y="28"/>
                      </a:moveTo>
                      <a:cubicBezTo>
                        <a:pt x="15" y="28"/>
                        <a:pt x="15" y="28"/>
                        <a:pt x="15" y="28"/>
                      </a:cubicBezTo>
                      <a:cubicBezTo>
                        <a:pt x="17" y="27"/>
                        <a:pt x="17" y="27"/>
                        <a:pt x="17" y="27"/>
                      </a:cubicBezTo>
                      <a:cubicBezTo>
                        <a:pt x="18" y="25"/>
                        <a:pt x="18" y="25"/>
                        <a:pt x="18" y="25"/>
                      </a:cubicBezTo>
                      <a:cubicBezTo>
                        <a:pt x="21" y="23"/>
                        <a:pt x="21" y="23"/>
                        <a:pt x="21" y="23"/>
                      </a:cubicBezTo>
                      <a:cubicBezTo>
                        <a:pt x="14" y="15"/>
                        <a:pt x="14" y="15"/>
                        <a:pt x="14" y="15"/>
                      </a:cubicBezTo>
                      <a:cubicBezTo>
                        <a:pt x="14" y="15"/>
                        <a:pt x="22" y="13"/>
                        <a:pt x="23" y="13"/>
                      </a:cubicBezTo>
                      <a:cubicBezTo>
                        <a:pt x="23" y="13"/>
                        <a:pt x="27" y="12"/>
                        <a:pt x="27" y="12"/>
                      </a:cubicBezTo>
                      <a:cubicBezTo>
                        <a:pt x="29" y="10"/>
                        <a:pt x="29" y="10"/>
                        <a:pt x="29" y="10"/>
                      </a:cubicBezTo>
                      <a:cubicBezTo>
                        <a:pt x="29" y="10"/>
                        <a:pt x="29" y="9"/>
                        <a:pt x="29" y="9"/>
                      </a:cubicBezTo>
                      <a:cubicBezTo>
                        <a:pt x="29" y="9"/>
                        <a:pt x="28" y="9"/>
                        <a:pt x="28" y="9"/>
                      </a:cubicBezTo>
                      <a:cubicBezTo>
                        <a:pt x="28" y="9"/>
                        <a:pt x="27" y="8"/>
                        <a:pt x="28" y="8"/>
                      </a:cubicBezTo>
                      <a:cubicBezTo>
                        <a:pt x="28" y="8"/>
                        <a:pt x="28" y="7"/>
                        <a:pt x="28" y="7"/>
                      </a:cubicBezTo>
                      <a:cubicBezTo>
                        <a:pt x="28" y="7"/>
                        <a:pt x="28" y="6"/>
                        <a:pt x="28" y="5"/>
                      </a:cubicBezTo>
                      <a:cubicBezTo>
                        <a:pt x="28" y="5"/>
                        <a:pt x="27" y="4"/>
                        <a:pt x="27" y="4"/>
                      </a:cubicBezTo>
                      <a:cubicBezTo>
                        <a:pt x="27" y="4"/>
                        <a:pt x="27" y="2"/>
                        <a:pt x="27" y="2"/>
                      </a:cubicBezTo>
                      <a:cubicBezTo>
                        <a:pt x="27" y="2"/>
                        <a:pt x="26" y="1"/>
                        <a:pt x="26" y="0"/>
                      </a:cubicBezTo>
                      <a:cubicBezTo>
                        <a:pt x="26" y="1"/>
                        <a:pt x="26" y="1"/>
                        <a:pt x="26" y="1"/>
                      </a:cubicBezTo>
                      <a:cubicBezTo>
                        <a:pt x="13" y="9"/>
                        <a:pt x="13" y="9"/>
                        <a:pt x="13" y="9"/>
                      </a:cubicBezTo>
                      <a:cubicBezTo>
                        <a:pt x="8" y="8"/>
                        <a:pt x="8" y="8"/>
                        <a:pt x="8" y="8"/>
                      </a:cubicBezTo>
                      <a:cubicBezTo>
                        <a:pt x="6" y="5"/>
                        <a:pt x="6" y="5"/>
                        <a:pt x="6" y="5"/>
                      </a:cubicBezTo>
                      <a:cubicBezTo>
                        <a:pt x="5" y="6"/>
                        <a:pt x="5" y="6"/>
                        <a:pt x="5" y="6"/>
                      </a:cubicBezTo>
                      <a:cubicBezTo>
                        <a:pt x="5" y="7"/>
                        <a:pt x="5" y="7"/>
                        <a:pt x="5" y="7"/>
                      </a:cubicBezTo>
                      <a:cubicBezTo>
                        <a:pt x="4" y="16"/>
                        <a:pt x="4" y="16"/>
                        <a:pt x="4" y="16"/>
                      </a:cubicBezTo>
                      <a:cubicBezTo>
                        <a:pt x="0" y="32"/>
                        <a:pt x="0" y="32"/>
                        <a:pt x="0" y="32"/>
                      </a:cubicBezTo>
                      <a:cubicBezTo>
                        <a:pt x="8" y="33"/>
                        <a:pt x="8" y="33"/>
                        <a:pt x="8" y="33"/>
                      </a:cubicBezTo>
                      <a:lnTo>
                        <a:pt x="12"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0" name="Freeform 859">
                  <a:extLst>
                    <a:ext uri="{FF2B5EF4-FFF2-40B4-BE49-F238E27FC236}">
                      <a16:creationId xmlns:a16="http://schemas.microsoft.com/office/drawing/2014/main" id="{FA2553E2-BB52-4D84-76DD-EFA31F09DBC2}"/>
                    </a:ext>
                  </a:extLst>
                </p:cNvPr>
                <p:cNvSpPr>
                  <a:spLocks/>
                </p:cNvSpPr>
                <p:nvPr/>
              </p:nvSpPr>
              <p:spPr bwMode="auto">
                <a:xfrm>
                  <a:off x="6342063" y="3895725"/>
                  <a:ext cx="41275" cy="125413"/>
                </a:xfrm>
                <a:custGeom>
                  <a:avLst/>
                  <a:gdLst>
                    <a:gd name="T0" fmla="*/ 7 w 10"/>
                    <a:gd name="T1" fmla="*/ 0 h 30"/>
                    <a:gd name="T2" fmla="*/ 4 w 10"/>
                    <a:gd name="T3" fmla="*/ 7 h 30"/>
                    <a:gd name="T4" fmla="*/ 2 w 10"/>
                    <a:gd name="T5" fmla="*/ 13 h 30"/>
                    <a:gd name="T6" fmla="*/ 0 w 10"/>
                    <a:gd name="T7" fmla="*/ 15 h 30"/>
                    <a:gd name="T8" fmla="*/ 5 w 10"/>
                    <a:gd name="T9" fmla="*/ 30 h 30"/>
                    <a:gd name="T10" fmla="*/ 9 w 10"/>
                    <a:gd name="T11" fmla="*/ 14 h 30"/>
                    <a:gd name="T12" fmla="*/ 10 w 10"/>
                    <a:gd name="T13" fmla="*/ 5 h 30"/>
                    <a:gd name="T14" fmla="*/ 10 w 10"/>
                    <a:gd name="T15" fmla="*/ 4 h 30"/>
                    <a:gd name="T16" fmla="*/ 9 w 10"/>
                    <a:gd name="T17" fmla="*/ 0 h 30"/>
                    <a:gd name="T18" fmla="*/ 7 w 1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0">
                      <a:moveTo>
                        <a:pt x="7" y="0"/>
                      </a:moveTo>
                      <a:cubicBezTo>
                        <a:pt x="6" y="3"/>
                        <a:pt x="5" y="5"/>
                        <a:pt x="4" y="7"/>
                      </a:cubicBezTo>
                      <a:cubicBezTo>
                        <a:pt x="4" y="9"/>
                        <a:pt x="3" y="11"/>
                        <a:pt x="2" y="13"/>
                      </a:cubicBezTo>
                      <a:cubicBezTo>
                        <a:pt x="2" y="14"/>
                        <a:pt x="0" y="15"/>
                        <a:pt x="0" y="15"/>
                      </a:cubicBezTo>
                      <a:cubicBezTo>
                        <a:pt x="5" y="30"/>
                        <a:pt x="5" y="30"/>
                        <a:pt x="5" y="30"/>
                      </a:cubicBezTo>
                      <a:cubicBezTo>
                        <a:pt x="9" y="14"/>
                        <a:pt x="9" y="14"/>
                        <a:pt x="9" y="14"/>
                      </a:cubicBezTo>
                      <a:cubicBezTo>
                        <a:pt x="10" y="5"/>
                        <a:pt x="10" y="5"/>
                        <a:pt x="10" y="5"/>
                      </a:cubicBezTo>
                      <a:cubicBezTo>
                        <a:pt x="10" y="4"/>
                        <a:pt x="10" y="4"/>
                        <a:pt x="10" y="4"/>
                      </a:cubicBezTo>
                      <a:cubicBezTo>
                        <a:pt x="9" y="0"/>
                        <a:pt x="9" y="0"/>
                        <a:pt x="9" y="0"/>
                      </a:cubicBezTo>
                      <a:lnTo>
                        <a:pt x="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1" name="Freeform 860">
                  <a:extLst>
                    <a:ext uri="{FF2B5EF4-FFF2-40B4-BE49-F238E27FC236}">
                      <a16:creationId xmlns:a16="http://schemas.microsoft.com/office/drawing/2014/main" id="{B4A39A70-3D42-0979-A7C7-8014DA51974B}"/>
                    </a:ext>
                  </a:extLst>
                </p:cNvPr>
                <p:cNvSpPr>
                  <a:spLocks/>
                </p:cNvSpPr>
                <p:nvPr/>
              </p:nvSpPr>
              <p:spPr bwMode="auto">
                <a:xfrm>
                  <a:off x="6470650" y="3746500"/>
                  <a:ext cx="274637" cy="282575"/>
                </a:xfrm>
                <a:custGeom>
                  <a:avLst/>
                  <a:gdLst>
                    <a:gd name="T0" fmla="*/ 40 w 66"/>
                    <a:gd name="T1" fmla="*/ 67 h 68"/>
                    <a:gd name="T2" fmla="*/ 57 w 66"/>
                    <a:gd name="T3" fmla="*/ 61 h 68"/>
                    <a:gd name="T4" fmla="*/ 64 w 66"/>
                    <a:gd name="T5" fmla="*/ 60 h 68"/>
                    <a:gd name="T6" fmla="*/ 66 w 66"/>
                    <a:gd name="T7" fmla="*/ 61 h 68"/>
                    <a:gd name="T8" fmla="*/ 63 w 66"/>
                    <a:gd name="T9" fmla="*/ 54 h 68"/>
                    <a:gd name="T10" fmla="*/ 61 w 66"/>
                    <a:gd name="T11" fmla="*/ 51 h 68"/>
                    <a:gd name="T12" fmla="*/ 60 w 66"/>
                    <a:gd name="T13" fmla="*/ 44 h 68"/>
                    <a:gd name="T14" fmla="*/ 56 w 66"/>
                    <a:gd name="T15" fmla="*/ 41 h 68"/>
                    <a:gd name="T16" fmla="*/ 49 w 66"/>
                    <a:gd name="T17" fmla="*/ 37 h 68"/>
                    <a:gd name="T18" fmla="*/ 49 w 66"/>
                    <a:gd name="T19" fmla="*/ 33 h 68"/>
                    <a:gd name="T20" fmla="*/ 48 w 66"/>
                    <a:gd name="T21" fmla="*/ 32 h 68"/>
                    <a:gd name="T22" fmla="*/ 45 w 66"/>
                    <a:gd name="T23" fmla="*/ 30 h 68"/>
                    <a:gd name="T24" fmla="*/ 46 w 66"/>
                    <a:gd name="T25" fmla="*/ 27 h 68"/>
                    <a:gd name="T26" fmla="*/ 45 w 66"/>
                    <a:gd name="T27" fmla="*/ 25 h 68"/>
                    <a:gd name="T28" fmla="*/ 47 w 66"/>
                    <a:gd name="T29" fmla="*/ 22 h 68"/>
                    <a:gd name="T30" fmla="*/ 48 w 66"/>
                    <a:gd name="T31" fmla="*/ 20 h 68"/>
                    <a:gd name="T32" fmla="*/ 50 w 66"/>
                    <a:gd name="T33" fmla="*/ 18 h 68"/>
                    <a:gd name="T34" fmla="*/ 49 w 66"/>
                    <a:gd name="T35" fmla="*/ 16 h 68"/>
                    <a:gd name="T36" fmla="*/ 48 w 66"/>
                    <a:gd name="T37" fmla="*/ 14 h 68"/>
                    <a:gd name="T38" fmla="*/ 45 w 66"/>
                    <a:gd name="T39" fmla="*/ 13 h 68"/>
                    <a:gd name="T40" fmla="*/ 43 w 66"/>
                    <a:gd name="T41" fmla="*/ 9 h 68"/>
                    <a:gd name="T42" fmla="*/ 41 w 66"/>
                    <a:gd name="T43" fmla="*/ 6 h 68"/>
                    <a:gd name="T44" fmla="*/ 41 w 66"/>
                    <a:gd name="T45" fmla="*/ 3 h 68"/>
                    <a:gd name="T46" fmla="*/ 38 w 66"/>
                    <a:gd name="T47" fmla="*/ 2 h 68"/>
                    <a:gd name="T48" fmla="*/ 36 w 66"/>
                    <a:gd name="T49" fmla="*/ 4 h 68"/>
                    <a:gd name="T50" fmla="*/ 35 w 66"/>
                    <a:gd name="T51" fmla="*/ 1 h 68"/>
                    <a:gd name="T52" fmla="*/ 31 w 66"/>
                    <a:gd name="T53" fmla="*/ 1 h 68"/>
                    <a:gd name="T54" fmla="*/ 27 w 66"/>
                    <a:gd name="T55" fmla="*/ 1 h 68"/>
                    <a:gd name="T56" fmla="*/ 24 w 66"/>
                    <a:gd name="T57" fmla="*/ 2 h 68"/>
                    <a:gd name="T58" fmla="*/ 23 w 66"/>
                    <a:gd name="T59" fmla="*/ 5 h 68"/>
                    <a:gd name="T60" fmla="*/ 17 w 66"/>
                    <a:gd name="T61" fmla="*/ 9 h 68"/>
                    <a:gd name="T62" fmla="*/ 17 w 66"/>
                    <a:gd name="T63" fmla="*/ 18 h 68"/>
                    <a:gd name="T64" fmla="*/ 0 w 66"/>
                    <a:gd name="T65" fmla="*/ 34 h 68"/>
                    <a:gd name="T66" fmla="*/ 1 w 66"/>
                    <a:gd name="T67" fmla="*/ 38 h 68"/>
                    <a:gd name="T68" fmla="*/ 2 w 66"/>
                    <a:gd name="T69" fmla="*/ 41 h 68"/>
                    <a:gd name="T70" fmla="*/ 2 w 66"/>
                    <a:gd name="T71" fmla="*/ 43 h 68"/>
                    <a:gd name="T72" fmla="*/ 3 w 66"/>
                    <a:gd name="T73" fmla="*/ 44 h 68"/>
                    <a:gd name="T74" fmla="*/ 21 w 66"/>
                    <a:gd name="T75"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8">
                      <a:moveTo>
                        <a:pt x="21" y="52"/>
                      </a:moveTo>
                      <a:cubicBezTo>
                        <a:pt x="40" y="67"/>
                        <a:pt x="40" y="67"/>
                        <a:pt x="40" y="67"/>
                      </a:cubicBezTo>
                      <a:cubicBezTo>
                        <a:pt x="53" y="68"/>
                        <a:pt x="53" y="68"/>
                        <a:pt x="53" y="68"/>
                      </a:cubicBezTo>
                      <a:cubicBezTo>
                        <a:pt x="53" y="68"/>
                        <a:pt x="57" y="61"/>
                        <a:pt x="57" y="61"/>
                      </a:cubicBezTo>
                      <a:cubicBezTo>
                        <a:pt x="64" y="61"/>
                        <a:pt x="64" y="61"/>
                        <a:pt x="64" y="61"/>
                      </a:cubicBezTo>
                      <a:cubicBezTo>
                        <a:pt x="64" y="61"/>
                        <a:pt x="64" y="60"/>
                        <a:pt x="64" y="60"/>
                      </a:cubicBezTo>
                      <a:cubicBezTo>
                        <a:pt x="64" y="60"/>
                        <a:pt x="64" y="60"/>
                        <a:pt x="65" y="60"/>
                      </a:cubicBezTo>
                      <a:cubicBezTo>
                        <a:pt x="66" y="61"/>
                        <a:pt x="66" y="61"/>
                        <a:pt x="66" y="61"/>
                      </a:cubicBezTo>
                      <a:cubicBezTo>
                        <a:pt x="66" y="61"/>
                        <a:pt x="63" y="58"/>
                        <a:pt x="63" y="57"/>
                      </a:cubicBezTo>
                      <a:cubicBezTo>
                        <a:pt x="63" y="57"/>
                        <a:pt x="63" y="54"/>
                        <a:pt x="63" y="54"/>
                      </a:cubicBezTo>
                      <a:cubicBezTo>
                        <a:pt x="62" y="54"/>
                        <a:pt x="61" y="53"/>
                        <a:pt x="61" y="53"/>
                      </a:cubicBezTo>
                      <a:cubicBezTo>
                        <a:pt x="61" y="53"/>
                        <a:pt x="61" y="51"/>
                        <a:pt x="61" y="51"/>
                      </a:cubicBezTo>
                      <a:cubicBezTo>
                        <a:pt x="61" y="51"/>
                        <a:pt x="61" y="47"/>
                        <a:pt x="61" y="47"/>
                      </a:cubicBezTo>
                      <a:cubicBezTo>
                        <a:pt x="61" y="47"/>
                        <a:pt x="60" y="44"/>
                        <a:pt x="60" y="44"/>
                      </a:cubicBezTo>
                      <a:cubicBezTo>
                        <a:pt x="59" y="44"/>
                        <a:pt x="59" y="42"/>
                        <a:pt x="59" y="42"/>
                      </a:cubicBezTo>
                      <a:cubicBezTo>
                        <a:pt x="56" y="41"/>
                        <a:pt x="56" y="41"/>
                        <a:pt x="56" y="41"/>
                      </a:cubicBezTo>
                      <a:cubicBezTo>
                        <a:pt x="53" y="38"/>
                        <a:pt x="53" y="38"/>
                        <a:pt x="53" y="38"/>
                      </a:cubicBezTo>
                      <a:cubicBezTo>
                        <a:pt x="53" y="38"/>
                        <a:pt x="49" y="37"/>
                        <a:pt x="49" y="37"/>
                      </a:cubicBezTo>
                      <a:cubicBezTo>
                        <a:pt x="49" y="37"/>
                        <a:pt x="50" y="35"/>
                        <a:pt x="50" y="35"/>
                      </a:cubicBezTo>
                      <a:cubicBezTo>
                        <a:pt x="49" y="33"/>
                        <a:pt x="49" y="33"/>
                        <a:pt x="49" y="33"/>
                      </a:cubicBezTo>
                      <a:cubicBezTo>
                        <a:pt x="48" y="33"/>
                        <a:pt x="48" y="33"/>
                        <a:pt x="48" y="33"/>
                      </a:cubicBezTo>
                      <a:cubicBezTo>
                        <a:pt x="48" y="33"/>
                        <a:pt x="48" y="32"/>
                        <a:pt x="48" y="32"/>
                      </a:cubicBezTo>
                      <a:cubicBezTo>
                        <a:pt x="48" y="32"/>
                        <a:pt x="46" y="32"/>
                        <a:pt x="46" y="31"/>
                      </a:cubicBezTo>
                      <a:cubicBezTo>
                        <a:pt x="46" y="31"/>
                        <a:pt x="45" y="30"/>
                        <a:pt x="45" y="30"/>
                      </a:cubicBezTo>
                      <a:cubicBezTo>
                        <a:pt x="45" y="30"/>
                        <a:pt x="45" y="29"/>
                        <a:pt x="45" y="29"/>
                      </a:cubicBezTo>
                      <a:cubicBezTo>
                        <a:pt x="45" y="28"/>
                        <a:pt x="46" y="27"/>
                        <a:pt x="46" y="27"/>
                      </a:cubicBezTo>
                      <a:cubicBezTo>
                        <a:pt x="46" y="27"/>
                        <a:pt x="45" y="25"/>
                        <a:pt x="45" y="25"/>
                      </a:cubicBezTo>
                      <a:cubicBezTo>
                        <a:pt x="45" y="25"/>
                        <a:pt x="45" y="25"/>
                        <a:pt x="45" y="25"/>
                      </a:cubicBezTo>
                      <a:cubicBezTo>
                        <a:pt x="47" y="24"/>
                        <a:pt x="47" y="24"/>
                        <a:pt x="47" y="24"/>
                      </a:cubicBezTo>
                      <a:cubicBezTo>
                        <a:pt x="47" y="22"/>
                        <a:pt x="47" y="22"/>
                        <a:pt x="47" y="22"/>
                      </a:cubicBezTo>
                      <a:cubicBezTo>
                        <a:pt x="47" y="22"/>
                        <a:pt x="48" y="22"/>
                        <a:pt x="48" y="22"/>
                      </a:cubicBezTo>
                      <a:cubicBezTo>
                        <a:pt x="48" y="22"/>
                        <a:pt x="48" y="20"/>
                        <a:pt x="48" y="20"/>
                      </a:cubicBezTo>
                      <a:cubicBezTo>
                        <a:pt x="50" y="20"/>
                        <a:pt x="50" y="20"/>
                        <a:pt x="50" y="20"/>
                      </a:cubicBezTo>
                      <a:cubicBezTo>
                        <a:pt x="50" y="18"/>
                        <a:pt x="50" y="18"/>
                        <a:pt x="50" y="18"/>
                      </a:cubicBezTo>
                      <a:cubicBezTo>
                        <a:pt x="49" y="17"/>
                        <a:pt x="49" y="17"/>
                        <a:pt x="49" y="17"/>
                      </a:cubicBezTo>
                      <a:cubicBezTo>
                        <a:pt x="49" y="16"/>
                        <a:pt x="49" y="16"/>
                        <a:pt x="49" y="16"/>
                      </a:cubicBezTo>
                      <a:cubicBezTo>
                        <a:pt x="51" y="14"/>
                        <a:pt x="51" y="14"/>
                        <a:pt x="51" y="14"/>
                      </a:cubicBezTo>
                      <a:cubicBezTo>
                        <a:pt x="48" y="14"/>
                        <a:pt x="48" y="14"/>
                        <a:pt x="48" y="14"/>
                      </a:cubicBezTo>
                      <a:cubicBezTo>
                        <a:pt x="46" y="13"/>
                        <a:pt x="46" y="13"/>
                        <a:pt x="46" y="13"/>
                      </a:cubicBezTo>
                      <a:cubicBezTo>
                        <a:pt x="46" y="13"/>
                        <a:pt x="45" y="13"/>
                        <a:pt x="45" y="13"/>
                      </a:cubicBezTo>
                      <a:cubicBezTo>
                        <a:pt x="45" y="12"/>
                        <a:pt x="44" y="10"/>
                        <a:pt x="44" y="9"/>
                      </a:cubicBezTo>
                      <a:cubicBezTo>
                        <a:pt x="44" y="9"/>
                        <a:pt x="43" y="9"/>
                        <a:pt x="43" y="9"/>
                      </a:cubicBezTo>
                      <a:cubicBezTo>
                        <a:pt x="43" y="9"/>
                        <a:pt x="42" y="8"/>
                        <a:pt x="42" y="7"/>
                      </a:cubicBezTo>
                      <a:cubicBezTo>
                        <a:pt x="42" y="7"/>
                        <a:pt x="41" y="6"/>
                        <a:pt x="41" y="6"/>
                      </a:cubicBezTo>
                      <a:cubicBezTo>
                        <a:pt x="42" y="5"/>
                        <a:pt x="42" y="5"/>
                        <a:pt x="42" y="5"/>
                      </a:cubicBezTo>
                      <a:cubicBezTo>
                        <a:pt x="41" y="3"/>
                        <a:pt x="41" y="3"/>
                        <a:pt x="41" y="3"/>
                      </a:cubicBezTo>
                      <a:cubicBezTo>
                        <a:pt x="39" y="2"/>
                        <a:pt x="39" y="2"/>
                        <a:pt x="39" y="2"/>
                      </a:cubicBezTo>
                      <a:cubicBezTo>
                        <a:pt x="39" y="3"/>
                        <a:pt x="39" y="2"/>
                        <a:pt x="38" y="2"/>
                      </a:cubicBezTo>
                      <a:cubicBezTo>
                        <a:pt x="38" y="2"/>
                        <a:pt x="37" y="3"/>
                        <a:pt x="37" y="3"/>
                      </a:cubicBezTo>
                      <a:cubicBezTo>
                        <a:pt x="37" y="3"/>
                        <a:pt x="37" y="4"/>
                        <a:pt x="36" y="4"/>
                      </a:cubicBezTo>
                      <a:cubicBezTo>
                        <a:pt x="36" y="3"/>
                        <a:pt x="36" y="3"/>
                        <a:pt x="36" y="3"/>
                      </a:cubicBezTo>
                      <a:cubicBezTo>
                        <a:pt x="36" y="2"/>
                        <a:pt x="36" y="1"/>
                        <a:pt x="35" y="1"/>
                      </a:cubicBezTo>
                      <a:cubicBezTo>
                        <a:pt x="34" y="1"/>
                        <a:pt x="34" y="2"/>
                        <a:pt x="33" y="2"/>
                      </a:cubicBezTo>
                      <a:cubicBezTo>
                        <a:pt x="32" y="2"/>
                        <a:pt x="32" y="1"/>
                        <a:pt x="31" y="1"/>
                      </a:cubicBezTo>
                      <a:cubicBezTo>
                        <a:pt x="31" y="1"/>
                        <a:pt x="30" y="1"/>
                        <a:pt x="30" y="1"/>
                      </a:cubicBezTo>
                      <a:cubicBezTo>
                        <a:pt x="29" y="1"/>
                        <a:pt x="28" y="0"/>
                        <a:pt x="27" y="1"/>
                      </a:cubicBezTo>
                      <a:cubicBezTo>
                        <a:pt x="26" y="1"/>
                        <a:pt x="26" y="2"/>
                        <a:pt x="25" y="2"/>
                      </a:cubicBezTo>
                      <a:cubicBezTo>
                        <a:pt x="25" y="2"/>
                        <a:pt x="24" y="2"/>
                        <a:pt x="24" y="2"/>
                      </a:cubicBezTo>
                      <a:cubicBezTo>
                        <a:pt x="24" y="3"/>
                        <a:pt x="24" y="4"/>
                        <a:pt x="24" y="4"/>
                      </a:cubicBezTo>
                      <a:cubicBezTo>
                        <a:pt x="24" y="4"/>
                        <a:pt x="23" y="5"/>
                        <a:pt x="23" y="5"/>
                      </a:cubicBezTo>
                      <a:cubicBezTo>
                        <a:pt x="20" y="8"/>
                        <a:pt x="20" y="8"/>
                        <a:pt x="20" y="8"/>
                      </a:cubicBezTo>
                      <a:cubicBezTo>
                        <a:pt x="17" y="9"/>
                        <a:pt x="17" y="9"/>
                        <a:pt x="17" y="9"/>
                      </a:cubicBezTo>
                      <a:cubicBezTo>
                        <a:pt x="17" y="9"/>
                        <a:pt x="18" y="14"/>
                        <a:pt x="18" y="15"/>
                      </a:cubicBezTo>
                      <a:cubicBezTo>
                        <a:pt x="18" y="15"/>
                        <a:pt x="17" y="18"/>
                        <a:pt x="17" y="18"/>
                      </a:cubicBezTo>
                      <a:cubicBezTo>
                        <a:pt x="17" y="18"/>
                        <a:pt x="16" y="25"/>
                        <a:pt x="16" y="25"/>
                      </a:cubicBezTo>
                      <a:cubicBezTo>
                        <a:pt x="0" y="34"/>
                        <a:pt x="0" y="34"/>
                        <a:pt x="0" y="34"/>
                      </a:cubicBezTo>
                      <a:cubicBezTo>
                        <a:pt x="0" y="35"/>
                        <a:pt x="1" y="36"/>
                        <a:pt x="1" y="36"/>
                      </a:cubicBezTo>
                      <a:cubicBezTo>
                        <a:pt x="1" y="36"/>
                        <a:pt x="1" y="38"/>
                        <a:pt x="1" y="38"/>
                      </a:cubicBezTo>
                      <a:cubicBezTo>
                        <a:pt x="1" y="38"/>
                        <a:pt x="2" y="39"/>
                        <a:pt x="2" y="39"/>
                      </a:cubicBezTo>
                      <a:cubicBezTo>
                        <a:pt x="2" y="40"/>
                        <a:pt x="2" y="41"/>
                        <a:pt x="2" y="41"/>
                      </a:cubicBezTo>
                      <a:cubicBezTo>
                        <a:pt x="2" y="41"/>
                        <a:pt x="2" y="42"/>
                        <a:pt x="2" y="42"/>
                      </a:cubicBezTo>
                      <a:cubicBezTo>
                        <a:pt x="1" y="42"/>
                        <a:pt x="2" y="43"/>
                        <a:pt x="2" y="43"/>
                      </a:cubicBezTo>
                      <a:cubicBezTo>
                        <a:pt x="2" y="43"/>
                        <a:pt x="3" y="43"/>
                        <a:pt x="3" y="43"/>
                      </a:cubicBezTo>
                      <a:cubicBezTo>
                        <a:pt x="3" y="43"/>
                        <a:pt x="3" y="44"/>
                        <a:pt x="3" y="44"/>
                      </a:cubicBezTo>
                      <a:cubicBezTo>
                        <a:pt x="10" y="45"/>
                        <a:pt x="10" y="45"/>
                        <a:pt x="10" y="45"/>
                      </a:cubicBezTo>
                      <a:lnTo>
                        <a:pt x="21" y="5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2" name="Freeform 833">
                  <a:extLst>
                    <a:ext uri="{FF2B5EF4-FFF2-40B4-BE49-F238E27FC236}">
                      <a16:creationId xmlns:a16="http://schemas.microsoft.com/office/drawing/2014/main" id="{8D4086A0-1A05-8E8E-CF1A-429A335C8C2F}"/>
                    </a:ext>
                  </a:extLst>
                </p:cNvPr>
                <p:cNvSpPr>
                  <a:spLocks/>
                </p:cNvSpPr>
                <p:nvPr/>
              </p:nvSpPr>
              <p:spPr bwMode="auto">
                <a:xfrm>
                  <a:off x="6386513" y="3751263"/>
                  <a:ext cx="184150" cy="174625"/>
                </a:xfrm>
                <a:custGeom>
                  <a:avLst/>
                  <a:gdLst>
                    <a:gd name="T0" fmla="*/ 43 w 44"/>
                    <a:gd name="T1" fmla="*/ 1 h 42"/>
                    <a:gd name="T2" fmla="*/ 41 w 44"/>
                    <a:gd name="T3" fmla="*/ 1 h 42"/>
                    <a:gd name="T4" fmla="*/ 39 w 44"/>
                    <a:gd name="T5" fmla="*/ 1 h 42"/>
                    <a:gd name="T6" fmla="*/ 35 w 44"/>
                    <a:gd name="T7" fmla="*/ 2 h 42"/>
                    <a:gd name="T8" fmla="*/ 32 w 44"/>
                    <a:gd name="T9" fmla="*/ 2 h 42"/>
                    <a:gd name="T10" fmla="*/ 26 w 44"/>
                    <a:gd name="T11" fmla="*/ 4 h 42"/>
                    <a:gd name="T12" fmla="*/ 22 w 44"/>
                    <a:gd name="T13" fmla="*/ 5 h 42"/>
                    <a:gd name="T14" fmla="*/ 19 w 44"/>
                    <a:gd name="T15" fmla="*/ 5 h 42"/>
                    <a:gd name="T16" fmla="*/ 16 w 44"/>
                    <a:gd name="T17" fmla="*/ 4 h 42"/>
                    <a:gd name="T18" fmla="*/ 14 w 44"/>
                    <a:gd name="T19" fmla="*/ 4 h 42"/>
                    <a:gd name="T20" fmla="*/ 12 w 44"/>
                    <a:gd name="T21" fmla="*/ 5 h 42"/>
                    <a:gd name="T22" fmla="*/ 11 w 44"/>
                    <a:gd name="T23" fmla="*/ 5 h 42"/>
                    <a:gd name="T24" fmla="*/ 7 w 44"/>
                    <a:gd name="T25" fmla="*/ 5 h 42"/>
                    <a:gd name="T26" fmla="*/ 5 w 44"/>
                    <a:gd name="T27" fmla="*/ 4 h 42"/>
                    <a:gd name="T28" fmla="*/ 5 w 44"/>
                    <a:gd name="T29" fmla="*/ 7 h 42"/>
                    <a:gd name="T30" fmla="*/ 5 w 44"/>
                    <a:gd name="T31" fmla="*/ 8 h 42"/>
                    <a:gd name="T32" fmla="*/ 5 w 44"/>
                    <a:gd name="T33" fmla="*/ 9 h 42"/>
                    <a:gd name="T34" fmla="*/ 3 w 44"/>
                    <a:gd name="T35" fmla="*/ 10 h 42"/>
                    <a:gd name="T36" fmla="*/ 3 w 44"/>
                    <a:gd name="T37" fmla="*/ 11 h 42"/>
                    <a:gd name="T38" fmla="*/ 2 w 44"/>
                    <a:gd name="T39" fmla="*/ 12 h 42"/>
                    <a:gd name="T40" fmla="*/ 1 w 44"/>
                    <a:gd name="T41" fmla="*/ 12 h 42"/>
                    <a:gd name="T42" fmla="*/ 0 w 44"/>
                    <a:gd name="T43" fmla="*/ 13 h 42"/>
                    <a:gd name="T44" fmla="*/ 1 w 44"/>
                    <a:gd name="T45" fmla="*/ 19 h 42"/>
                    <a:gd name="T46" fmla="*/ 1 w 44"/>
                    <a:gd name="T47" fmla="*/ 20 h 42"/>
                    <a:gd name="T48" fmla="*/ 1 w 44"/>
                    <a:gd name="T49" fmla="*/ 21 h 42"/>
                    <a:gd name="T50" fmla="*/ 1 w 44"/>
                    <a:gd name="T51" fmla="*/ 23 h 42"/>
                    <a:gd name="T52" fmla="*/ 4 w 44"/>
                    <a:gd name="T53" fmla="*/ 23 h 42"/>
                    <a:gd name="T54" fmla="*/ 4 w 44"/>
                    <a:gd name="T55" fmla="*/ 24 h 42"/>
                    <a:gd name="T56" fmla="*/ 5 w 44"/>
                    <a:gd name="T57" fmla="*/ 25 h 42"/>
                    <a:gd name="T58" fmla="*/ 6 w 44"/>
                    <a:gd name="T59" fmla="*/ 26 h 42"/>
                    <a:gd name="T60" fmla="*/ 3 w 44"/>
                    <a:gd name="T61" fmla="*/ 28 h 42"/>
                    <a:gd name="T62" fmla="*/ 4 w 44"/>
                    <a:gd name="T63" fmla="*/ 30 h 42"/>
                    <a:gd name="T64" fmla="*/ 3 w 44"/>
                    <a:gd name="T65" fmla="*/ 29 h 42"/>
                    <a:gd name="T66" fmla="*/ 1 w 44"/>
                    <a:gd name="T67" fmla="*/ 31 h 42"/>
                    <a:gd name="T68" fmla="*/ 1 w 44"/>
                    <a:gd name="T69" fmla="*/ 32 h 42"/>
                    <a:gd name="T70" fmla="*/ 0 w 44"/>
                    <a:gd name="T71" fmla="*/ 33 h 42"/>
                    <a:gd name="T72" fmla="*/ 0 w 44"/>
                    <a:gd name="T73" fmla="*/ 34 h 42"/>
                    <a:gd name="T74" fmla="*/ 0 w 44"/>
                    <a:gd name="T75" fmla="*/ 35 h 42"/>
                    <a:gd name="T76" fmla="*/ 0 w 44"/>
                    <a:gd name="T77" fmla="*/ 38 h 42"/>
                    <a:gd name="T78" fmla="*/ 2 w 44"/>
                    <a:gd name="T79" fmla="*/ 41 h 42"/>
                    <a:gd name="T80" fmla="*/ 7 w 44"/>
                    <a:gd name="T81" fmla="*/ 42 h 42"/>
                    <a:gd name="T82" fmla="*/ 20 w 44"/>
                    <a:gd name="T83" fmla="*/ 34 h 42"/>
                    <a:gd name="T84" fmla="*/ 36 w 44"/>
                    <a:gd name="T85" fmla="*/ 24 h 42"/>
                    <a:gd name="T86" fmla="*/ 37 w 44"/>
                    <a:gd name="T87" fmla="*/ 17 h 42"/>
                    <a:gd name="T88" fmla="*/ 38 w 44"/>
                    <a:gd name="T89" fmla="*/ 14 h 42"/>
                    <a:gd name="T90" fmla="*/ 37 w 44"/>
                    <a:gd name="T91" fmla="*/ 8 h 42"/>
                    <a:gd name="T92" fmla="*/ 40 w 44"/>
                    <a:gd name="T93" fmla="*/ 7 h 42"/>
                    <a:gd name="T94" fmla="*/ 43 w 44"/>
                    <a:gd name="T95" fmla="*/ 4 h 42"/>
                    <a:gd name="T96" fmla="*/ 44 w 44"/>
                    <a:gd name="T97" fmla="*/ 3 h 42"/>
                    <a:gd name="T98" fmla="*/ 44 w 44"/>
                    <a:gd name="T99" fmla="*/ 1 h 42"/>
                    <a:gd name="T100" fmla="*/ 43 w 44"/>
                    <a:gd name="T101"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42">
                      <a:moveTo>
                        <a:pt x="43" y="1"/>
                      </a:moveTo>
                      <a:cubicBezTo>
                        <a:pt x="42" y="0"/>
                        <a:pt x="42" y="0"/>
                        <a:pt x="41" y="1"/>
                      </a:cubicBezTo>
                      <a:cubicBezTo>
                        <a:pt x="40" y="1"/>
                        <a:pt x="40" y="1"/>
                        <a:pt x="39" y="1"/>
                      </a:cubicBezTo>
                      <a:cubicBezTo>
                        <a:pt x="37" y="1"/>
                        <a:pt x="36" y="2"/>
                        <a:pt x="35" y="2"/>
                      </a:cubicBezTo>
                      <a:cubicBezTo>
                        <a:pt x="34" y="2"/>
                        <a:pt x="33" y="1"/>
                        <a:pt x="32" y="2"/>
                      </a:cubicBezTo>
                      <a:cubicBezTo>
                        <a:pt x="30" y="2"/>
                        <a:pt x="28" y="4"/>
                        <a:pt x="26" y="4"/>
                      </a:cubicBezTo>
                      <a:cubicBezTo>
                        <a:pt x="25" y="5"/>
                        <a:pt x="24" y="5"/>
                        <a:pt x="22" y="5"/>
                      </a:cubicBezTo>
                      <a:cubicBezTo>
                        <a:pt x="21" y="5"/>
                        <a:pt x="20" y="5"/>
                        <a:pt x="19" y="5"/>
                      </a:cubicBezTo>
                      <a:cubicBezTo>
                        <a:pt x="18" y="5"/>
                        <a:pt x="18" y="4"/>
                        <a:pt x="16" y="4"/>
                      </a:cubicBezTo>
                      <a:cubicBezTo>
                        <a:pt x="16" y="4"/>
                        <a:pt x="14" y="4"/>
                        <a:pt x="14" y="4"/>
                      </a:cubicBezTo>
                      <a:cubicBezTo>
                        <a:pt x="13" y="4"/>
                        <a:pt x="13" y="5"/>
                        <a:pt x="12" y="5"/>
                      </a:cubicBezTo>
                      <a:cubicBezTo>
                        <a:pt x="12" y="5"/>
                        <a:pt x="11" y="5"/>
                        <a:pt x="11" y="5"/>
                      </a:cubicBezTo>
                      <a:cubicBezTo>
                        <a:pt x="10" y="6"/>
                        <a:pt x="8" y="5"/>
                        <a:pt x="7" y="5"/>
                      </a:cubicBezTo>
                      <a:cubicBezTo>
                        <a:pt x="7" y="5"/>
                        <a:pt x="6" y="4"/>
                        <a:pt x="5" y="4"/>
                      </a:cubicBezTo>
                      <a:cubicBezTo>
                        <a:pt x="5" y="4"/>
                        <a:pt x="5" y="6"/>
                        <a:pt x="5" y="7"/>
                      </a:cubicBezTo>
                      <a:cubicBezTo>
                        <a:pt x="5" y="7"/>
                        <a:pt x="4" y="7"/>
                        <a:pt x="5" y="8"/>
                      </a:cubicBezTo>
                      <a:cubicBezTo>
                        <a:pt x="5" y="8"/>
                        <a:pt x="5" y="9"/>
                        <a:pt x="5" y="9"/>
                      </a:cubicBezTo>
                      <a:cubicBezTo>
                        <a:pt x="4" y="10"/>
                        <a:pt x="3" y="9"/>
                        <a:pt x="3" y="10"/>
                      </a:cubicBezTo>
                      <a:cubicBezTo>
                        <a:pt x="3" y="10"/>
                        <a:pt x="3" y="11"/>
                        <a:pt x="3" y="11"/>
                      </a:cubicBezTo>
                      <a:cubicBezTo>
                        <a:pt x="3" y="11"/>
                        <a:pt x="2" y="11"/>
                        <a:pt x="2" y="12"/>
                      </a:cubicBezTo>
                      <a:cubicBezTo>
                        <a:pt x="2" y="12"/>
                        <a:pt x="1" y="12"/>
                        <a:pt x="1" y="12"/>
                      </a:cubicBezTo>
                      <a:cubicBezTo>
                        <a:pt x="0" y="12"/>
                        <a:pt x="0" y="13"/>
                        <a:pt x="0" y="13"/>
                      </a:cubicBezTo>
                      <a:cubicBezTo>
                        <a:pt x="0" y="15"/>
                        <a:pt x="1" y="17"/>
                        <a:pt x="1" y="19"/>
                      </a:cubicBezTo>
                      <a:cubicBezTo>
                        <a:pt x="1" y="19"/>
                        <a:pt x="1" y="20"/>
                        <a:pt x="1" y="20"/>
                      </a:cubicBezTo>
                      <a:cubicBezTo>
                        <a:pt x="1" y="20"/>
                        <a:pt x="1" y="21"/>
                        <a:pt x="1" y="21"/>
                      </a:cubicBezTo>
                      <a:cubicBezTo>
                        <a:pt x="1" y="22"/>
                        <a:pt x="1" y="22"/>
                        <a:pt x="1" y="23"/>
                      </a:cubicBezTo>
                      <a:cubicBezTo>
                        <a:pt x="4" y="23"/>
                        <a:pt x="4" y="23"/>
                        <a:pt x="4" y="23"/>
                      </a:cubicBezTo>
                      <a:cubicBezTo>
                        <a:pt x="4" y="23"/>
                        <a:pt x="4" y="24"/>
                        <a:pt x="4" y="24"/>
                      </a:cubicBezTo>
                      <a:cubicBezTo>
                        <a:pt x="4" y="24"/>
                        <a:pt x="4" y="25"/>
                        <a:pt x="5" y="25"/>
                      </a:cubicBezTo>
                      <a:cubicBezTo>
                        <a:pt x="5" y="25"/>
                        <a:pt x="6" y="26"/>
                        <a:pt x="6" y="26"/>
                      </a:cubicBezTo>
                      <a:cubicBezTo>
                        <a:pt x="6" y="26"/>
                        <a:pt x="4" y="28"/>
                        <a:pt x="3" y="28"/>
                      </a:cubicBezTo>
                      <a:cubicBezTo>
                        <a:pt x="3" y="28"/>
                        <a:pt x="4" y="30"/>
                        <a:pt x="4" y="30"/>
                      </a:cubicBezTo>
                      <a:cubicBezTo>
                        <a:pt x="3" y="29"/>
                        <a:pt x="3" y="29"/>
                        <a:pt x="3" y="29"/>
                      </a:cubicBezTo>
                      <a:cubicBezTo>
                        <a:pt x="3" y="29"/>
                        <a:pt x="1" y="31"/>
                        <a:pt x="1" y="31"/>
                      </a:cubicBezTo>
                      <a:cubicBezTo>
                        <a:pt x="1" y="31"/>
                        <a:pt x="1" y="32"/>
                        <a:pt x="1" y="32"/>
                      </a:cubicBezTo>
                      <a:cubicBezTo>
                        <a:pt x="1" y="32"/>
                        <a:pt x="0" y="33"/>
                        <a:pt x="0" y="33"/>
                      </a:cubicBezTo>
                      <a:cubicBezTo>
                        <a:pt x="0" y="33"/>
                        <a:pt x="0" y="33"/>
                        <a:pt x="0" y="34"/>
                      </a:cubicBezTo>
                      <a:cubicBezTo>
                        <a:pt x="0" y="35"/>
                        <a:pt x="0" y="35"/>
                        <a:pt x="0" y="35"/>
                      </a:cubicBezTo>
                      <a:cubicBezTo>
                        <a:pt x="0" y="38"/>
                        <a:pt x="0" y="38"/>
                        <a:pt x="0" y="38"/>
                      </a:cubicBezTo>
                      <a:cubicBezTo>
                        <a:pt x="2" y="41"/>
                        <a:pt x="2" y="41"/>
                        <a:pt x="2" y="41"/>
                      </a:cubicBezTo>
                      <a:cubicBezTo>
                        <a:pt x="7" y="42"/>
                        <a:pt x="7" y="42"/>
                        <a:pt x="7" y="42"/>
                      </a:cubicBezTo>
                      <a:cubicBezTo>
                        <a:pt x="20" y="34"/>
                        <a:pt x="20" y="34"/>
                        <a:pt x="20" y="34"/>
                      </a:cubicBezTo>
                      <a:cubicBezTo>
                        <a:pt x="36" y="24"/>
                        <a:pt x="36" y="24"/>
                        <a:pt x="36" y="24"/>
                      </a:cubicBezTo>
                      <a:cubicBezTo>
                        <a:pt x="36" y="24"/>
                        <a:pt x="37" y="17"/>
                        <a:pt x="37" y="17"/>
                      </a:cubicBezTo>
                      <a:cubicBezTo>
                        <a:pt x="37" y="17"/>
                        <a:pt x="38" y="14"/>
                        <a:pt x="38" y="14"/>
                      </a:cubicBezTo>
                      <a:cubicBezTo>
                        <a:pt x="38" y="13"/>
                        <a:pt x="37" y="8"/>
                        <a:pt x="37" y="8"/>
                      </a:cubicBezTo>
                      <a:cubicBezTo>
                        <a:pt x="40" y="7"/>
                        <a:pt x="40" y="7"/>
                        <a:pt x="40" y="7"/>
                      </a:cubicBezTo>
                      <a:cubicBezTo>
                        <a:pt x="43" y="4"/>
                        <a:pt x="43" y="4"/>
                        <a:pt x="43" y="4"/>
                      </a:cubicBezTo>
                      <a:cubicBezTo>
                        <a:pt x="43" y="4"/>
                        <a:pt x="44" y="3"/>
                        <a:pt x="44" y="3"/>
                      </a:cubicBezTo>
                      <a:cubicBezTo>
                        <a:pt x="44" y="3"/>
                        <a:pt x="44" y="2"/>
                        <a:pt x="44" y="1"/>
                      </a:cubicBezTo>
                      <a:cubicBezTo>
                        <a:pt x="44" y="2"/>
                        <a:pt x="43" y="1"/>
                        <a:pt x="43"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3" name="Freeform 865">
                  <a:extLst>
                    <a:ext uri="{FF2B5EF4-FFF2-40B4-BE49-F238E27FC236}">
                      <a16:creationId xmlns:a16="http://schemas.microsoft.com/office/drawing/2014/main" id="{C5C69C7D-C3A2-551D-1187-1BF45620E49A}"/>
                    </a:ext>
                  </a:extLst>
                </p:cNvPr>
                <p:cNvSpPr>
                  <a:spLocks/>
                </p:cNvSpPr>
                <p:nvPr/>
              </p:nvSpPr>
              <p:spPr bwMode="auto">
                <a:xfrm>
                  <a:off x="6283325" y="3808413"/>
                  <a:ext cx="69850" cy="38100"/>
                </a:xfrm>
                <a:custGeom>
                  <a:avLst/>
                  <a:gdLst>
                    <a:gd name="T0" fmla="*/ 10 w 17"/>
                    <a:gd name="T1" fmla="*/ 6 h 9"/>
                    <a:gd name="T2" fmla="*/ 10 w 17"/>
                    <a:gd name="T3" fmla="*/ 6 h 9"/>
                    <a:gd name="T4" fmla="*/ 9 w 17"/>
                    <a:gd name="T5" fmla="*/ 7 h 9"/>
                    <a:gd name="T6" fmla="*/ 7 w 17"/>
                    <a:gd name="T7" fmla="*/ 8 h 9"/>
                    <a:gd name="T8" fmla="*/ 6 w 17"/>
                    <a:gd name="T9" fmla="*/ 8 h 9"/>
                    <a:gd name="T10" fmla="*/ 5 w 17"/>
                    <a:gd name="T11" fmla="*/ 9 h 9"/>
                    <a:gd name="T12" fmla="*/ 4 w 17"/>
                    <a:gd name="T13" fmla="*/ 8 h 9"/>
                    <a:gd name="T14" fmla="*/ 3 w 17"/>
                    <a:gd name="T15" fmla="*/ 8 h 9"/>
                    <a:gd name="T16" fmla="*/ 3 w 17"/>
                    <a:gd name="T17" fmla="*/ 8 h 9"/>
                    <a:gd name="T18" fmla="*/ 2 w 17"/>
                    <a:gd name="T19" fmla="*/ 7 h 9"/>
                    <a:gd name="T20" fmla="*/ 1 w 17"/>
                    <a:gd name="T21" fmla="*/ 6 h 9"/>
                    <a:gd name="T22" fmla="*/ 0 w 17"/>
                    <a:gd name="T23" fmla="*/ 5 h 9"/>
                    <a:gd name="T24" fmla="*/ 2 w 17"/>
                    <a:gd name="T25" fmla="*/ 5 h 9"/>
                    <a:gd name="T26" fmla="*/ 3 w 17"/>
                    <a:gd name="T27" fmla="*/ 4 h 9"/>
                    <a:gd name="T28" fmla="*/ 4 w 17"/>
                    <a:gd name="T29" fmla="*/ 4 h 9"/>
                    <a:gd name="T30" fmla="*/ 5 w 17"/>
                    <a:gd name="T31" fmla="*/ 3 h 9"/>
                    <a:gd name="T32" fmla="*/ 6 w 17"/>
                    <a:gd name="T33" fmla="*/ 2 h 9"/>
                    <a:gd name="T34" fmla="*/ 8 w 17"/>
                    <a:gd name="T35" fmla="*/ 3 h 9"/>
                    <a:gd name="T36" fmla="*/ 11 w 17"/>
                    <a:gd name="T37" fmla="*/ 2 h 9"/>
                    <a:gd name="T38" fmla="*/ 13 w 17"/>
                    <a:gd name="T39" fmla="*/ 1 h 9"/>
                    <a:gd name="T40" fmla="*/ 16 w 17"/>
                    <a:gd name="T41" fmla="*/ 0 h 9"/>
                    <a:gd name="T42" fmla="*/ 15 w 17"/>
                    <a:gd name="T43" fmla="*/ 1 h 9"/>
                    <a:gd name="T44" fmla="*/ 13 w 17"/>
                    <a:gd name="T45" fmla="*/ 2 h 9"/>
                    <a:gd name="T46" fmla="*/ 12 w 17"/>
                    <a:gd name="T47" fmla="*/ 4 h 9"/>
                    <a:gd name="T48" fmla="*/ 12 w 17"/>
                    <a:gd name="T49" fmla="*/ 6 h 9"/>
                    <a:gd name="T50" fmla="*/ 10 w 17"/>
                    <a:gd name="T51" fmla="*/ 6 h 9"/>
                    <a:gd name="T52" fmla="*/ 10 w 17"/>
                    <a:gd name="T5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9">
                      <a:moveTo>
                        <a:pt x="10" y="6"/>
                      </a:moveTo>
                      <a:cubicBezTo>
                        <a:pt x="10" y="6"/>
                        <a:pt x="10" y="6"/>
                        <a:pt x="10" y="6"/>
                      </a:cubicBezTo>
                      <a:cubicBezTo>
                        <a:pt x="10" y="7"/>
                        <a:pt x="10" y="7"/>
                        <a:pt x="9" y="7"/>
                      </a:cubicBezTo>
                      <a:cubicBezTo>
                        <a:pt x="8" y="7"/>
                        <a:pt x="8" y="8"/>
                        <a:pt x="7" y="8"/>
                      </a:cubicBezTo>
                      <a:cubicBezTo>
                        <a:pt x="6" y="8"/>
                        <a:pt x="6" y="8"/>
                        <a:pt x="6" y="8"/>
                      </a:cubicBezTo>
                      <a:cubicBezTo>
                        <a:pt x="6" y="9"/>
                        <a:pt x="6" y="9"/>
                        <a:pt x="5" y="9"/>
                      </a:cubicBezTo>
                      <a:cubicBezTo>
                        <a:pt x="5" y="9"/>
                        <a:pt x="5" y="8"/>
                        <a:pt x="4" y="8"/>
                      </a:cubicBezTo>
                      <a:cubicBezTo>
                        <a:pt x="4" y="8"/>
                        <a:pt x="4" y="8"/>
                        <a:pt x="3" y="8"/>
                      </a:cubicBezTo>
                      <a:cubicBezTo>
                        <a:pt x="3" y="8"/>
                        <a:pt x="3" y="8"/>
                        <a:pt x="3" y="8"/>
                      </a:cubicBezTo>
                      <a:cubicBezTo>
                        <a:pt x="2" y="8"/>
                        <a:pt x="2" y="8"/>
                        <a:pt x="2" y="7"/>
                      </a:cubicBezTo>
                      <a:cubicBezTo>
                        <a:pt x="1" y="7"/>
                        <a:pt x="1" y="6"/>
                        <a:pt x="1" y="6"/>
                      </a:cubicBezTo>
                      <a:cubicBezTo>
                        <a:pt x="1" y="6"/>
                        <a:pt x="0" y="5"/>
                        <a:pt x="0" y="5"/>
                      </a:cubicBezTo>
                      <a:cubicBezTo>
                        <a:pt x="1" y="4"/>
                        <a:pt x="1" y="5"/>
                        <a:pt x="2" y="5"/>
                      </a:cubicBezTo>
                      <a:cubicBezTo>
                        <a:pt x="3" y="5"/>
                        <a:pt x="2" y="4"/>
                        <a:pt x="3" y="4"/>
                      </a:cubicBezTo>
                      <a:cubicBezTo>
                        <a:pt x="4" y="4"/>
                        <a:pt x="4" y="4"/>
                        <a:pt x="4" y="4"/>
                      </a:cubicBezTo>
                      <a:cubicBezTo>
                        <a:pt x="5" y="4"/>
                        <a:pt x="5" y="4"/>
                        <a:pt x="5" y="3"/>
                      </a:cubicBezTo>
                      <a:cubicBezTo>
                        <a:pt x="5" y="3"/>
                        <a:pt x="5" y="2"/>
                        <a:pt x="6" y="2"/>
                      </a:cubicBezTo>
                      <a:cubicBezTo>
                        <a:pt x="7" y="2"/>
                        <a:pt x="7" y="2"/>
                        <a:pt x="8" y="3"/>
                      </a:cubicBezTo>
                      <a:cubicBezTo>
                        <a:pt x="9" y="3"/>
                        <a:pt x="10" y="2"/>
                        <a:pt x="11" y="2"/>
                      </a:cubicBezTo>
                      <a:cubicBezTo>
                        <a:pt x="12" y="2"/>
                        <a:pt x="13" y="1"/>
                        <a:pt x="13" y="1"/>
                      </a:cubicBezTo>
                      <a:cubicBezTo>
                        <a:pt x="14" y="1"/>
                        <a:pt x="15" y="0"/>
                        <a:pt x="16" y="0"/>
                      </a:cubicBezTo>
                      <a:cubicBezTo>
                        <a:pt x="17" y="0"/>
                        <a:pt x="15" y="1"/>
                        <a:pt x="15" y="1"/>
                      </a:cubicBezTo>
                      <a:cubicBezTo>
                        <a:pt x="14" y="1"/>
                        <a:pt x="14" y="2"/>
                        <a:pt x="13" y="2"/>
                      </a:cubicBezTo>
                      <a:cubicBezTo>
                        <a:pt x="12" y="3"/>
                        <a:pt x="11" y="3"/>
                        <a:pt x="12" y="4"/>
                      </a:cubicBezTo>
                      <a:cubicBezTo>
                        <a:pt x="12" y="5"/>
                        <a:pt x="13" y="5"/>
                        <a:pt x="12" y="6"/>
                      </a:cubicBezTo>
                      <a:cubicBezTo>
                        <a:pt x="12" y="6"/>
                        <a:pt x="11" y="5"/>
                        <a:pt x="10" y="6"/>
                      </a:cubicBezTo>
                      <a:cubicBezTo>
                        <a:pt x="10" y="6"/>
                        <a:pt x="11" y="5"/>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4" name="Freeform 872">
                  <a:extLst>
                    <a:ext uri="{FF2B5EF4-FFF2-40B4-BE49-F238E27FC236}">
                      <a16:creationId xmlns:a16="http://schemas.microsoft.com/office/drawing/2014/main" id="{5B750D97-83E4-AC3D-440F-B20CCACFBFDE}"/>
                    </a:ext>
                  </a:extLst>
                </p:cNvPr>
                <p:cNvSpPr>
                  <a:spLocks noEditPoints="1"/>
                </p:cNvSpPr>
                <p:nvPr/>
              </p:nvSpPr>
              <p:spPr bwMode="auto">
                <a:xfrm>
                  <a:off x="6637338" y="3584575"/>
                  <a:ext cx="157162" cy="128588"/>
                </a:xfrm>
                <a:custGeom>
                  <a:avLst/>
                  <a:gdLst>
                    <a:gd name="T0" fmla="*/ 3 w 38"/>
                    <a:gd name="T1" fmla="*/ 24 h 31"/>
                    <a:gd name="T2" fmla="*/ 0 w 38"/>
                    <a:gd name="T3" fmla="*/ 20 h 31"/>
                    <a:gd name="T4" fmla="*/ 2 w 38"/>
                    <a:gd name="T5" fmla="*/ 21 h 31"/>
                    <a:gd name="T6" fmla="*/ 4 w 38"/>
                    <a:gd name="T7" fmla="*/ 21 h 31"/>
                    <a:gd name="T8" fmla="*/ 7 w 38"/>
                    <a:gd name="T9" fmla="*/ 21 h 31"/>
                    <a:gd name="T10" fmla="*/ 8 w 38"/>
                    <a:gd name="T11" fmla="*/ 23 h 31"/>
                    <a:gd name="T12" fmla="*/ 9 w 38"/>
                    <a:gd name="T13" fmla="*/ 27 h 31"/>
                    <a:gd name="T14" fmla="*/ 22 w 38"/>
                    <a:gd name="T15" fmla="*/ 4 h 31"/>
                    <a:gd name="T16" fmla="*/ 20 w 38"/>
                    <a:gd name="T17" fmla="*/ 6 h 31"/>
                    <a:gd name="T18" fmla="*/ 16 w 38"/>
                    <a:gd name="T19" fmla="*/ 4 h 31"/>
                    <a:gd name="T20" fmla="*/ 14 w 38"/>
                    <a:gd name="T21" fmla="*/ 2 h 31"/>
                    <a:gd name="T22" fmla="*/ 13 w 38"/>
                    <a:gd name="T23" fmla="*/ 1 h 31"/>
                    <a:gd name="T24" fmla="*/ 11 w 38"/>
                    <a:gd name="T25" fmla="*/ 0 h 31"/>
                    <a:gd name="T26" fmla="*/ 10 w 38"/>
                    <a:gd name="T27" fmla="*/ 1 h 31"/>
                    <a:gd name="T28" fmla="*/ 10 w 38"/>
                    <a:gd name="T29" fmla="*/ 2 h 31"/>
                    <a:gd name="T30" fmla="*/ 13 w 38"/>
                    <a:gd name="T31" fmla="*/ 6 h 31"/>
                    <a:gd name="T32" fmla="*/ 10 w 38"/>
                    <a:gd name="T33" fmla="*/ 7 h 31"/>
                    <a:gd name="T34" fmla="*/ 6 w 38"/>
                    <a:gd name="T35" fmla="*/ 6 h 31"/>
                    <a:gd name="T36" fmla="*/ 3 w 38"/>
                    <a:gd name="T37" fmla="*/ 4 h 31"/>
                    <a:gd name="T38" fmla="*/ 2 w 38"/>
                    <a:gd name="T39" fmla="*/ 6 h 31"/>
                    <a:gd name="T40" fmla="*/ 3 w 38"/>
                    <a:gd name="T41" fmla="*/ 7 h 31"/>
                    <a:gd name="T42" fmla="*/ 3 w 38"/>
                    <a:gd name="T43" fmla="*/ 8 h 31"/>
                    <a:gd name="T44" fmla="*/ 6 w 38"/>
                    <a:gd name="T45" fmla="*/ 10 h 31"/>
                    <a:gd name="T46" fmla="*/ 5 w 38"/>
                    <a:gd name="T47" fmla="*/ 13 h 31"/>
                    <a:gd name="T48" fmla="*/ 8 w 38"/>
                    <a:gd name="T49" fmla="*/ 15 h 31"/>
                    <a:gd name="T50" fmla="*/ 6 w 38"/>
                    <a:gd name="T51" fmla="*/ 17 h 31"/>
                    <a:gd name="T52" fmla="*/ 7 w 38"/>
                    <a:gd name="T53" fmla="*/ 18 h 31"/>
                    <a:gd name="T54" fmla="*/ 10 w 38"/>
                    <a:gd name="T55" fmla="*/ 20 h 31"/>
                    <a:gd name="T56" fmla="*/ 11 w 38"/>
                    <a:gd name="T57" fmla="*/ 21 h 31"/>
                    <a:gd name="T58" fmla="*/ 12 w 38"/>
                    <a:gd name="T59" fmla="*/ 23 h 31"/>
                    <a:gd name="T60" fmla="*/ 11 w 38"/>
                    <a:gd name="T61" fmla="*/ 24 h 31"/>
                    <a:gd name="T62" fmla="*/ 11 w 38"/>
                    <a:gd name="T63" fmla="*/ 26 h 31"/>
                    <a:gd name="T64" fmla="*/ 15 w 38"/>
                    <a:gd name="T65" fmla="*/ 24 h 31"/>
                    <a:gd name="T66" fmla="*/ 17 w 38"/>
                    <a:gd name="T67" fmla="*/ 22 h 31"/>
                    <a:gd name="T68" fmla="*/ 20 w 38"/>
                    <a:gd name="T69" fmla="*/ 19 h 31"/>
                    <a:gd name="T70" fmla="*/ 21 w 38"/>
                    <a:gd name="T71" fmla="*/ 20 h 31"/>
                    <a:gd name="T72" fmla="*/ 24 w 38"/>
                    <a:gd name="T73" fmla="*/ 23 h 31"/>
                    <a:gd name="T74" fmla="*/ 23 w 38"/>
                    <a:gd name="T75" fmla="*/ 26 h 31"/>
                    <a:gd name="T76" fmla="*/ 23 w 38"/>
                    <a:gd name="T77" fmla="*/ 28 h 31"/>
                    <a:gd name="T78" fmla="*/ 25 w 38"/>
                    <a:gd name="T79" fmla="*/ 30 h 31"/>
                    <a:gd name="T80" fmla="*/ 27 w 38"/>
                    <a:gd name="T81" fmla="*/ 29 h 31"/>
                    <a:gd name="T82" fmla="*/ 28 w 38"/>
                    <a:gd name="T83" fmla="*/ 26 h 31"/>
                    <a:gd name="T84" fmla="*/ 29 w 38"/>
                    <a:gd name="T85" fmla="*/ 25 h 31"/>
                    <a:gd name="T86" fmla="*/ 30 w 38"/>
                    <a:gd name="T87" fmla="*/ 24 h 31"/>
                    <a:gd name="T88" fmla="*/ 31 w 38"/>
                    <a:gd name="T89" fmla="*/ 23 h 31"/>
                    <a:gd name="T90" fmla="*/ 31 w 38"/>
                    <a:gd name="T91" fmla="*/ 19 h 31"/>
                    <a:gd name="T92" fmla="*/ 32 w 38"/>
                    <a:gd name="T93" fmla="*/ 17 h 31"/>
                    <a:gd name="T94" fmla="*/ 33 w 38"/>
                    <a:gd name="T95" fmla="*/ 15 h 31"/>
                    <a:gd name="T96" fmla="*/ 37 w 38"/>
                    <a:gd name="T97" fmla="*/ 15 h 31"/>
                    <a:gd name="T98" fmla="*/ 33 w 38"/>
                    <a:gd name="T99" fmla="*/ 12 h 31"/>
                    <a:gd name="T100" fmla="*/ 31 w 38"/>
                    <a:gd name="T101" fmla="*/ 9 h 31"/>
                    <a:gd name="T102" fmla="*/ 27 w 38"/>
                    <a:gd name="T103" fmla="*/ 2 h 31"/>
                    <a:gd name="T104" fmla="*/ 24 w 38"/>
                    <a:gd name="T105"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31">
                      <a:moveTo>
                        <a:pt x="9" y="27"/>
                      </a:moveTo>
                      <a:cubicBezTo>
                        <a:pt x="7" y="27"/>
                        <a:pt x="5" y="26"/>
                        <a:pt x="3" y="24"/>
                      </a:cubicBezTo>
                      <a:cubicBezTo>
                        <a:pt x="3" y="24"/>
                        <a:pt x="2" y="23"/>
                        <a:pt x="1" y="22"/>
                      </a:cubicBezTo>
                      <a:cubicBezTo>
                        <a:pt x="1" y="21"/>
                        <a:pt x="0" y="20"/>
                        <a:pt x="0" y="20"/>
                      </a:cubicBezTo>
                      <a:cubicBezTo>
                        <a:pt x="0" y="19"/>
                        <a:pt x="1" y="19"/>
                        <a:pt x="1" y="19"/>
                      </a:cubicBezTo>
                      <a:cubicBezTo>
                        <a:pt x="2" y="19"/>
                        <a:pt x="2" y="20"/>
                        <a:pt x="2" y="21"/>
                      </a:cubicBezTo>
                      <a:cubicBezTo>
                        <a:pt x="3" y="21"/>
                        <a:pt x="3" y="20"/>
                        <a:pt x="3" y="21"/>
                      </a:cubicBezTo>
                      <a:cubicBezTo>
                        <a:pt x="3" y="21"/>
                        <a:pt x="3" y="21"/>
                        <a:pt x="4" y="21"/>
                      </a:cubicBezTo>
                      <a:cubicBezTo>
                        <a:pt x="4" y="21"/>
                        <a:pt x="4" y="21"/>
                        <a:pt x="5" y="21"/>
                      </a:cubicBezTo>
                      <a:cubicBezTo>
                        <a:pt x="6" y="21"/>
                        <a:pt x="7" y="20"/>
                        <a:pt x="7" y="21"/>
                      </a:cubicBezTo>
                      <a:cubicBezTo>
                        <a:pt x="7" y="22"/>
                        <a:pt x="6" y="22"/>
                        <a:pt x="7" y="23"/>
                      </a:cubicBezTo>
                      <a:cubicBezTo>
                        <a:pt x="7" y="23"/>
                        <a:pt x="8" y="23"/>
                        <a:pt x="8" y="23"/>
                      </a:cubicBezTo>
                      <a:cubicBezTo>
                        <a:pt x="8" y="24"/>
                        <a:pt x="8" y="24"/>
                        <a:pt x="8" y="25"/>
                      </a:cubicBezTo>
                      <a:cubicBezTo>
                        <a:pt x="8" y="25"/>
                        <a:pt x="9" y="26"/>
                        <a:pt x="9" y="27"/>
                      </a:cubicBezTo>
                      <a:close/>
                      <a:moveTo>
                        <a:pt x="24" y="2"/>
                      </a:moveTo>
                      <a:cubicBezTo>
                        <a:pt x="24" y="3"/>
                        <a:pt x="23" y="3"/>
                        <a:pt x="22" y="4"/>
                      </a:cubicBezTo>
                      <a:cubicBezTo>
                        <a:pt x="22" y="4"/>
                        <a:pt x="21" y="4"/>
                        <a:pt x="21" y="5"/>
                      </a:cubicBezTo>
                      <a:cubicBezTo>
                        <a:pt x="21" y="5"/>
                        <a:pt x="21" y="6"/>
                        <a:pt x="20" y="6"/>
                      </a:cubicBezTo>
                      <a:cubicBezTo>
                        <a:pt x="20" y="6"/>
                        <a:pt x="19" y="6"/>
                        <a:pt x="18" y="6"/>
                      </a:cubicBezTo>
                      <a:cubicBezTo>
                        <a:pt x="17" y="6"/>
                        <a:pt x="17" y="5"/>
                        <a:pt x="16" y="4"/>
                      </a:cubicBezTo>
                      <a:cubicBezTo>
                        <a:pt x="16" y="4"/>
                        <a:pt x="16" y="3"/>
                        <a:pt x="15" y="3"/>
                      </a:cubicBezTo>
                      <a:cubicBezTo>
                        <a:pt x="15" y="3"/>
                        <a:pt x="15" y="2"/>
                        <a:pt x="14" y="2"/>
                      </a:cubicBezTo>
                      <a:cubicBezTo>
                        <a:pt x="14" y="1"/>
                        <a:pt x="14" y="1"/>
                        <a:pt x="14" y="1"/>
                      </a:cubicBezTo>
                      <a:cubicBezTo>
                        <a:pt x="13" y="1"/>
                        <a:pt x="13" y="1"/>
                        <a:pt x="13" y="1"/>
                      </a:cubicBezTo>
                      <a:cubicBezTo>
                        <a:pt x="13" y="0"/>
                        <a:pt x="12" y="1"/>
                        <a:pt x="12" y="1"/>
                      </a:cubicBezTo>
                      <a:cubicBezTo>
                        <a:pt x="12" y="0"/>
                        <a:pt x="12" y="0"/>
                        <a:pt x="11" y="0"/>
                      </a:cubicBezTo>
                      <a:cubicBezTo>
                        <a:pt x="11" y="0"/>
                        <a:pt x="11" y="0"/>
                        <a:pt x="11" y="0"/>
                      </a:cubicBezTo>
                      <a:cubicBezTo>
                        <a:pt x="11" y="1"/>
                        <a:pt x="10" y="1"/>
                        <a:pt x="10" y="1"/>
                      </a:cubicBezTo>
                      <a:cubicBezTo>
                        <a:pt x="10" y="1"/>
                        <a:pt x="10" y="1"/>
                        <a:pt x="9" y="2"/>
                      </a:cubicBezTo>
                      <a:cubicBezTo>
                        <a:pt x="9" y="2"/>
                        <a:pt x="10" y="2"/>
                        <a:pt x="10" y="2"/>
                      </a:cubicBezTo>
                      <a:cubicBezTo>
                        <a:pt x="10" y="3"/>
                        <a:pt x="10" y="3"/>
                        <a:pt x="10" y="3"/>
                      </a:cubicBezTo>
                      <a:cubicBezTo>
                        <a:pt x="10" y="4"/>
                        <a:pt x="13" y="4"/>
                        <a:pt x="13" y="6"/>
                      </a:cubicBezTo>
                      <a:cubicBezTo>
                        <a:pt x="13" y="6"/>
                        <a:pt x="12" y="7"/>
                        <a:pt x="12" y="7"/>
                      </a:cubicBezTo>
                      <a:cubicBezTo>
                        <a:pt x="11" y="8"/>
                        <a:pt x="11" y="7"/>
                        <a:pt x="10" y="7"/>
                      </a:cubicBezTo>
                      <a:cubicBezTo>
                        <a:pt x="9" y="6"/>
                        <a:pt x="9" y="6"/>
                        <a:pt x="8" y="6"/>
                      </a:cubicBezTo>
                      <a:cubicBezTo>
                        <a:pt x="8" y="7"/>
                        <a:pt x="7" y="6"/>
                        <a:pt x="6" y="6"/>
                      </a:cubicBezTo>
                      <a:cubicBezTo>
                        <a:pt x="6" y="5"/>
                        <a:pt x="6" y="5"/>
                        <a:pt x="5" y="4"/>
                      </a:cubicBezTo>
                      <a:cubicBezTo>
                        <a:pt x="4" y="4"/>
                        <a:pt x="4" y="4"/>
                        <a:pt x="3" y="4"/>
                      </a:cubicBezTo>
                      <a:cubicBezTo>
                        <a:pt x="3" y="5"/>
                        <a:pt x="1" y="5"/>
                        <a:pt x="1" y="6"/>
                      </a:cubicBezTo>
                      <a:cubicBezTo>
                        <a:pt x="1" y="6"/>
                        <a:pt x="2" y="6"/>
                        <a:pt x="2" y="6"/>
                      </a:cubicBezTo>
                      <a:cubicBezTo>
                        <a:pt x="2" y="6"/>
                        <a:pt x="2" y="6"/>
                        <a:pt x="2" y="6"/>
                      </a:cubicBezTo>
                      <a:cubicBezTo>
                        <a:pt x="3" y="6"/>
                        <a:pt x="3" y="7"/>
                        <a:pt x="3" y="7"/>
                      </a:cubicBezTo>
                      <a:cubicBezTo>
                        <a:pt x="3" y="7"/>
                        <a:pt x="2" y="7"/>
                        <a:pt x="2" y="7"/>
                      </a:cubicBezTo>
                      <a:cubicBezTo>
                        <a:pt x="2" y="8"/>
                        <a:pt x="3" y="7"/>
                        <a:pt x="3" y="8"/>
                      </a:cubicBezTo>
                      <a:cubicBezTo>
                        <a:pt x="4" y="8"/>
                        <a:pt x="4" y="8"/>
                        <a:pt x="4" y="8"/>
                      </a:cubicBezTo>
                      <a:cubicBezTo>
                        <a:pt x="5" y="8"/>
                        <a:pt x="5" y="9"/>
                        <a:pt x="6" y="10"/>
                      </a:cubicBezTo>
                      <a:cubicBezTo>
                        <a:pt x="6" y="11"/>
                        <a:pt x="4" y="10"/>
                        <a:pt x="4" y="11"/>
                      </a:cubicBezTo>
                      <a:cubicBezTo>
                        <a:pt x="4" y="12"/>
                        <a:pt x="5" y="13"/>
                        <a:pt x="5" y="13"/>
                      </a:cubicBezTo>
                      <a:cubicBezTo>
                        <a:pt x="5" y="14"/>
                        <a:pt x="6" y="14"/>
                        <a:pt x="7" y="14"/>
                      </a:cubicBezTo>
                      <a:cubicBezTo>
                        <a:pt x="7" y="14"/>
                        <a:pt x="8" y="14"/>
                        <a:pt x="8" y="15"/>
                      </a:cubicBezTo>
                      <a:cubicBezTo>
                        <a:pt x="8" y="15"/>
                        <a:pt x="8" y="16"/>
                        <a:pt x="8" y="16"/>
                      </a:cubicBezTo>
                      <a:cubicBezTo>
                        <a:pt x="7" y="17"/>
                        <a:pt x="5" y="16"/>
                        <a:pt x="6" y="17"/>
                      </a:cubicBezTo>
                      <a:cubicBezTo>
                        <a:pt x="6" y="18"/>
                        <a:pt x="7" y="17"/>
                        <a:pt x="7" y="18"/>
                      </a:cubicBezTo>
                      <a:cubicBezTo>
                        <a:pt x="7" y="18"/>
                        <a:pt x="7" y="18"/>
                        <a:pt x="7" y="18"/>
                      </a:cubicBezTo>
                      <a:cubicBezTo>
                        <a:pt x="8" y="19"/>
                        <a:pt x="8" y="19"/>
                        <a:pt x="8" y="19"/>
                      </a:cubicBezTo>
                      <a:cubicBezTo>
                        <a:pt x="8" y="19"/>
                        <a:pt x="10" y="21"/>
                        <a:pt x="10" y="20"/>
                      </a:cubicBezTo>
                      <a:cubicBezTo>
                        <a:pt x="11" y="21"/>
                        <a:pt x="11" y="20"/>
                        <a:pt x="11" y="21"/>
                      </a:cubicBezTo>
                      <a:cubicBezTo>
                        <a:pt x="12" y="21"/>
                        <a:pt x="12" y="21"/>
                        <a:pt x="11" y="21"/>
                      </a:cubicBezTo>
                      <a:cubicBezTo>
                        <a:pt x="11" y="22"/>
                        <a:pt x="11" y="22"/>
                        <a:pt x="11" y="22"/>
                      </a:cubicBezTo>
                      <a:cubicBezTo>
                        <a:pt x="11" y="22"/>
                        <a:pt x="11" y="23"/>
                        <a:pt x="12" y="23"/>
                      </a:cubicBezTo>
                      <a:cubicBezTo>
                        <a:pt x="12" y="23"/>
                        <a:pt x="12" y="24"/>
                        <a:pt x="12" y="24"/>
                      </a:cubicBezTo>
                      <a:cubicBezTo>
                        <a:pt x="12" y="24"/>
                        <a:pt x="11" y="24"/>
                        <a:pt x="11" y="24"/>
                      </a:cubicBezTo>
                      <a:cubicBezTo>
                        <a:pt x="10" y="24"/>
                        <a:pt x="11" y="24"/>
                        <a:pt x="11" y="25"/>
                      </a:cubicBezTo>
                      <a:cubicBezTo>
                        <a:pt x="11" y="25"/>
                        <a:pt x="11" y="26"/>
                        <a:pt x="11" y="26"/>
                      </a:cubicBezTo>
                      <a:cubicBezTo>
                        <a:pt x="13" y="26"/>
                        <a:pt x="13" y="25"/>
                        <a:pt x="14" y="24"/>
                      </a:cubicBezTo>
                      <a:cubicBezTo>
                        <a:pt x="14" y="24"/>
                        <a:pt x="15" y="24"/>
                        <a:pt x="15" y="24"/>
                      </a:cubicBezTo>
                      <a:cubicBezTo>
                        <a:pt x="15" y="23"/>
                        <a:pt x="16" y="23"/>
                        <a:pt x="16" y="22"/>
                      </a:cubicBezTo>
                      <a:cubicBezTo>
                        <a:pt x="16" y="22"/>
                        <a:pt x="17" y="22"/>
                        <a:pt x="17" y="22"/>
                      </a:cubicBezTo>
                      <a:cubicBezTo>
                        <a:pt x="18" y="21"/>
                        <a:pt x="18" y="21"/>
                        <a:pt x="18" y="21"/>
                      </a:cubicBezTo>
                      <a:cubicBezTo>
                        <a:pt x="19" y="21"/>
                        <a:pt x="20" y="20"/>
                        <a:pt x="20" y="19"/>
                      </a:cubicBezTo>
                      <a:cubicBezTo>
                        <a:pt x="20" y="19"/>
                        <a:pt x="21" y="20"/>
                        <a:pt x="21" y="20"/>
                      </a:cubicBezTo>
                      <a:cubicBezTo>
                        <a:pt x="21" y="20"/>
                        <a:pt x="21" y="20"/>
                        <a:pt x="21" y="20"/>
                      </a:cubicBezTo>
                      <a:cubicBezTo>
                        <a:pt x="22" y="20"/>
                        <a:pt x="22" y="20"/>
                        <a:pt x="22" y="20"/>
                      </a:cubicBezTo>
                      <a:cubicBezTo>
                        <a:pt x="23" y="21"/>
                        <a:pt x="24" y="22"/>
                        <a:pt x="24" y="23"/>
                      </a:cubicBezTo>
                      <a:cubicBezTo>
                        <a:pt x="23" y="23"/>
                        <a:pt x="22" y="23"/>
                        <a:pt x="22" y="24"/>
                      </a:cubicBezTo>
                      <a:cubicBezTo>
                        <a:pt x="23" y="24"/>
                        <a:pt x="24" y="25"/>
                        <a:pt x="23" y="26"/>
                      </a:cubicBezTo>
                      <a:cubicBezTo>
                        <a:pt x="23" y="26"/>
                        <a:pt x="22" y="26"/>
                        <a:pt x="22" y="27"/>
                      </a:cubicBezTo>
                      <a:cubicBezTo>
                        <a:pt x="21" y="28"/>
                        <a:pt x="23" y="28"/>
                        <a:pt x="23" y="28"/>
                      </a:cubicBezTo>
                      <a:cubicBezTo>
                        <a:pt x="23" y="29"/>
                        <a:pt x="23" y="29"/>
                        <a:pt x="24" y="29"/>
                      </a:cubicBezTo>
                      <a:cubicBezTo>
                        <a:pt x="24" y="29"/>
                        <a:pt x="24" y="29"/>
                        <a:pt x="25" y="30"/>
                      </a:cubicBezTo>
                      <a:cubicBezTo>
                        <a:pt x="25" y="30"/>
                        <a:pt x="26" y="31"/>
                        <a:pt x="27" y="31"/>
                      </a:cubicBezTo>
                      <a:cubicBezTo>
                        <a:pt x="27" y="30"/>
                        <a:pt x="27" y="30"/>
                        <a:pt x="27" y="29"/>
                      </a:cubicBezTo>
                      <a:cubicBezTo>
                        <a:pt x="27" y="28"/>
                        <a:pt x="27" y="28"/>
                        <a:pt x="27" y="27"/>
                      </a:cubicBezTo>
                      <a:cubicBezTo>
                        <a:pt x="27" y="27"/>
                        <a:pt x="27" y="27"/>
                        <a:pt x="28" y="26"/>
                      </a:cubicBezTo>
                      <a:cubicBezTo>
                        <a:pt x="28" y="26"/>
                        <a:pt x="28" y="25"/>
                        <a:pt x="28" y="24"/>
                      </a:cubicBezTo>
                      <a:cubicBezTo>
                        <a:pt x="29" y="24"/>
                        <a:pt x="29" y="25"/>
                        <a:pt x="29" y="25"/>
                      </a:cubicBezTo>
                      <a:cubicBezTo>
                        <a:pt x="29" y="25"/>
                        <a:pt x="29" y="26"/>
                        <a:pt x="29" y="26"/>
                      </a:cubicBezTo>
                      <a:cubicBezTo>
                        <a:pt x="29" y="26"/>
                        <a:pt x="30" y="25"/>
                        <a:pt x="30" y="24"/>
                      </a:cubicBezTo>
                      <a:cubicBezTo>
                        <a:pt x="30" y="24"/>
                        <a:pt x="30" y="24"/>
                        <a:pt x="30" y="23"/>
                      </a:cubicBezTo>
                      <a:cubicBezTo>
                        <a:pt x="30" y="23"/>
                        <a:pt x="31" y="23"/>
                        <a:pt x="31" y="23"/>
                      </a:cubicBezTo>
                      <a:cubicBezTo>
                        <a:pt x="32" y="22"/>
                        <a:pt x="30" y="22"/>
                        <a:pt x="30" y="21"/>
                      </a:cubicBezTo>
                      <a:cubicBezTo>
                        <a:pt x="30" y="21"/>
                        <a:pt x="31" y="20"/>
                        <a:pt x="31" y="19"/>
                      </a:cubicBezTo>
                      <a:cubicBezTo>
                        <a:pt x="31" y="19"/>
                        <a:pt x="31" y="18"/>
                        <a:pt x="31" y="18"/>
                      </a:cubicBezTo>
                      <a:cubicBezTo>
                        <a:pt x="31" y="18"/>
                        <a:pt x="31" y="18"/>
                        <a:pt x="32" y="17"/>
                      </a:cubicBezTo>
                      <a:cubicBezTo>
                        <a:pt x="32" y="17"/>
                        <a:pt x="31" y="16"/>
                        <a:pt x="32" y="16"/>
                      </a:cubicBezTo>
                      <a:cubicBezTo>
                        <a:pt x="32" y="15"/>
                        <a:pt x="33" y="15"/>
                        <a:pt x="33" y="15"/>
                      </a:cubicBezTo>
                      <a:cubicBezTo>
                        <a:pt x="34" y="15"/>
                        <a:pt x="35" y="14"/>
                        <a:pt x="35" y="14"/>
                      </a:cubicBezTo>
                      <a:cubicBezTo>
                        <a:pt x="36" y="13"/>
                        <a:pt x="37" y="14"/>
                        <a:pt x="37" y="15"/>
                      </a:cubicBezTo>
                      <a:cubicBezTo>
                        <a:pt x="38" y="14"/>
                        <a:pt x="37" y="13"/>
                        <a:pt x="36" y="12"/>
                      </a:cubicBezTo>
                      <a:cubicBezTo>
                        <a:pt x="35" y="12"/>
                        <a:pt x="34" y="12"/>
                        <a:pt x="33" y="12"/>
                      </a:cubicBezTo>
                      <a:cubicBezTo>
                        <a:pt x="32" y="12"/>
                        <a:pt x="32" y="11"/>
                        <a:pt x="32" y="11"/>
                      </a:cubicBezTo>
                      <a:cubicBezTo>
                        <a:pt x="32" y="10"/>
                        <a:pt x="31" y="10"/>
                        <a:pt x="31" y="9"/>
                      </a:cubicBezTo>
                      <a:cubicBezTo>
                        <a:pt x="29" y="8"/>
                        <a:pt x="29" y="6"/>
                        <a:pt x="29" y="4"/>
                      </a:cubicBezTo>
                      <a:cubicBezTo>
                        <a:pt x="28" y="4"/>
                        <a:pt x="28" y="3"/>
                        <a:pt x="27" y="2"/>
                      </a:cubicBezTo>
                      <a:cubicBezTo>
                        <a:pt x="27" y="2"/>
                        <a:pt x="26" y="1"/>
                        <a:pt x="26" y="0"/>
                      </a:cubicBezTo>
                      <a:cubicBezTo>
                        <a:pt x="25" y="1"/>
                        <a:pt x="25" y="2"/>
                        <a:pt x="24" y="2"/>
                      </a:cubicBezTo>
                      <a:cubicBezTo>
                        <a:pt x="24" y="3"/>
                        <a:pt x="25" y="2"/>
                        <a:pt x="2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5" name="Freeform 849">
                  <a:extLst>
                    <a:ext uri="{FF2B5EF4-FFF2-40B4-BE49-F238E27FC236}">
                      <a16:creationId xmlns:a16="http://schemas.microsoft.com/office/drawing/2014/main" id="{7CF6824B-6EB6-D76C-A224-994034CC2073}"/>
                    </a:ext>
                  </a:extLst>
                </p:cNvPr>
                <p:cNvSpPr>
                  <a:spLocks/>
                </p:cNvSpPr>
                <p:nvPr/>
              </p:nvSpPr>
              <p:spPr bwMode="auto">
                <a:xfrm>
                  <a:off x="6370638" y="3846513"/>
                  <a:ext cx="41275" cy="49213"/>
                </a:xfrm>
                <a:custGeom>
                  <a:avLst/>
                  <a:gdLst>
                    <a:gd name="T0" fmla="*/ 3 w 10"/>
                    <a:gd name="T1" fmla="*/ 11 h 12"/>
                    <a:gd name="T2" fmla="*/ 4 w 10"/>
                    <a:gd name="T3" fmla="*/ 10 h 12"/>
                    <a:gd name="T4" fmla="*/ 5 w 10"/>
                    <a:gd name="T5" fmla="*/ 9 h 12"/>
                    <a:gd name="T6" fmla="*/ 5 w 10"/>
                    <a:gd name="T7" fmla="*/ 8 h 12"/>
                    <a:gd name="T8" fmla="*/ 7 w 10"/>
                    <a:gd name="T9" fmla="*/ 6 h 12"/>
                    <a:gd name="T10" fmla="*/ 8 w 10"/>
                    <a:gd name="T11" fmla="*/ 7 h 12"/>
                    <a:gd name="T12" fmla="*/ 7 w 10"/>
                    <a:gd name="T13" fmla="*/ 5 h 12"/>
                    <a:gd name="T14" fmla="*/ 10 w 10"/>
                    <a:gd name="T15" fmla="*/ 3 h 12"/>
                    <a:gd name="T16" fmla="*/ 9 w 10"/>
                    <a:gd name="T17" fmla="*/ 2 h 12"/>
                    <a:gd name="T18" fmla="*/ 8 w 10"/>
                    <a:gd name="T19" fmla="*/ 1 h 12"/>
                    <a:gd name="T20" fmla="*/ 8 w 10"/>
                    <a:gd name="T21" fmla="*/ 0 h 12"/>
                    <a:gd name="T22" fmla="*/ 5 w 10"/>
                    <a:gd name="T23" fmla="*/ 0 h 12"/>
                    <a:gd name="T24" fmla="*/ 4 w 10"/>
                    <a:gd name="T25" fmla="*/ 2 h 12"/>
                    <a:gd name="T26" fmla="*/ 3 w 10"/>
                    <a:gd name="T27" fmla="*/ 3 h 12"/>
                    <a:gd name="T28" fmla="*/ 3 w 10"/>
                    <a:gd name="T29" fmla="*/ 4 h 12"/>
                    <a:gd name="T30" fmla="*/ 1 w 10"/>
                    <a:gd name="T31" fmla="*/ 10 h 12"/>
                    <a:gd name="T32" fmla="*/ 0 w 10"/>
                    <a:gd name="T33" fmla="*/ 12 h 12"/>
                    <a:gd name="T34" fmla="*/ 2 w 10"/>
                    <a:gd name="T35" fmla="*/ 12 h 12"/>
                    <a:gd name="T36" fmla="*/ 3 w 10"/>
                    <a:gd name="T3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2">
                      <a:moveTo>
                        <a:pt x="3" y="11"/>
                      </a:moveTo>
                      <a:cubicBezTo>
                        <a:pt x="3" y="11"/>
                        <a:pt x="4" y="10"/>
                        <a:pt x="4" y="10"/>
                      </a:cubicBezTo>
                      <a:cubicBezTo>
                        <a:pt x="4" y="10"/>
                        <a:pt x="5" y="9"/>
                        <a:pt x="5" y="9"/>
                      </a:cubicBezTo>
                      <a:cubicBezTo>
                        <a:pt x="5" y="9"/>
                        <a:pt x="5" y="8"/>
                        <a:pt x="5" y="8"/>
                      </a:cubicBezTo>
                      <a:cubicBezTo>
                        <a:pt x="5" y="8"/>
                        <a:pt x="7" y="6"/>
                        <a:pt x="7" y="6"/>
                      </a:cubicBezTo>
                      <a:cubicBezTo>
                        <a:pt x="8" y="7"/>
                        <a:pt x="8" y="7"/>
                        <a:pt x="8" y="7"/>
                      </a:cubicBezTo>
                      <a:cubicBezTo>
                        <a:pt x="8" y="7"/>
                        <a:pt x="7" y="5"/>
                        <a:pt x="7" y="5"/>
                      </a:cubicBezTo>
                      <a:cubicBezTo>
                        <a:pt x="8" y="5"/>
                        <a:pt x="10" y="3"/>
                        <a:pt x="10" y="3"/>
                      </a:cubicBezTo>
                      <a:cubicBezTo>
                        <a:pt x="10" y="3"/>
                        <a:pt x="9" y="2"/>
                        <a:pt x="9" y="2"/>
                      </a:cubicBezTo>
                      <a:cubicBezTo>
                        <a:pt x="8" y="2"/>
                        <a:pt x="8" y="1"/>
                        <a:pt x="8" y="1"/>
                      </a:cubicBezTo>
                      <a:cubicBezTo>
                        <a:pt x="8" y="1"/>
                        <a:pt x="8" y="0"/>
                        <a:pt x="8" y="0"/>
                      </a:cubicBezTo>
                      <a:cubicBezTo>
                        <a:pt x="5" y="0"/>
                        <a:pt x="5" y="0"/>
                        <a:pt x="5" y="0"/>
                      </a:cubicBezTo>
                      <a:cubicBezTo>
                        <a:pt x="5" y="0"/>
                        <a:pt x="4" y="1"/>
                        <a:pt x="4" y="2"/>
                      </a:cubicBezTo>
                      <a:cubicBezTo>
                        <a:pt x="4" y="2"/>
                        <a:pt x="3" y="3"/>
                        <a:pt x="3" y="3"/>
                      </a:cubicBezTo>
                      <a:cubicBezTo>
                        <a:pt x="3" y="3"/>
                        <a:pt x="3" y="4"/>
                        <a:pt x="3" y="4"/>
                      </a:cubicBezTo>
                      <a:cubicBezTo>
                        <a:pt x="3" y="6"/>
                        <a:pt x="2" y="8"/>
                        <a:pt x="1" y="10"/>
                      </a:cubicBezTo>
                      <a:cubicBezTo>
                        <a:pt x="0" y="11"/>
                        <a:pt x="0" y="12"/>
                        <a:pt x="0" y="12"/>
                      </a:cubicBezTo>
                      <a:cubicBezTo>
                        <a:pt x="2" y="12"/>
                        <a:pt x="2" y="12"/>
                        <a:pt x="2" y="12"/>
                      </a:cubicBezTo>
                      <a:lnTo>
                        <a:pt x="3" y="1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05" name="Europe">
              <a:extLst>
                <a:ext uri="{FF2B5EF4-FFF2-40B4-BE49-F238E27FC236}">
                  <a16:creationId xmlns:a16="http://schemas.microsoft.com/office/drawing/2014/main" id="{FF8CDA73-C0F9-028F-EBEE-2A2F702B50BC}"/>
                </a:ext>
              </a:extLst>
            </p:cNvPr>
            <p:cNvGrpSpPr/>
            <p:nvPr/>
          </p:nvGrpSpPr>
          <p:grpSpPr>
            <a:xfrm>
              <a:off x="4689476" y="1992313"/>
              <a:ext cx="1819274" cy="1920875"/>
              <a:chOff x="4689476" y="1992313"/>
              <a:chExt cx="1819274" cy="1920875"/>
            </a:xfrm>
            <a:grpFill/>
          </p:grpSpPr>
          <p:sp>
            <p:nvSpPr>
              <p:cNvPr id="182" name="Freeform 796">
                <a:extLst>
                  <a:ext uri="{FF2B5EF4-FFF2-40B4-BE49-F238E27FC236}">
                    <a16:creationId xmlns:a16="http://schemas.microsoft.com/office/drawing/2014/main" id="{03706538-998A-3FC6-9599-CAF9769E9EC6}"/>
                  </a:ext>
                </a:extLst>
              </p:cNvPr>
              <p:cNvSpPr>
                <a:spLocks noEditPoints="1"/>
              </p:cNvSpPr>
              <p:nvPr/>
            </p:nvSpPr>
            <p:spPr bwMode="auto">
              <a:xfrm>
                <a:off x="5775325" y="3030538"/>
                <a:ext cx="282575" cy="269875"/>
              </a:xfrm>
              <a:custGeom>
                <a:avLst/>
                <a:gdLst>
                  <a:gd name="T0" fmla="*/ 1 w 68"/>
                  <a:gd name="T1" fmla="*/ 12 h 65"/>
                  <a:gd name="T2" fmla="*/ 2 w 68"/>
                  <a:gd name="T3" fmla="*/ 11 h 65"/>
                  <a:gd name="T4" fmla="*/ 6 w 68"/>
                  <a:gd name="T5" fmla="*/ 44 h 65"/>
                  <a:gd name="T6" fmla="*/ 9 w 68"/>
                  <a:gd name="T7" fmla="*/ 46 h 65"/>
                  <a:gd name="T8" fmla="*/ 12 w 68"/>
                  <a:gd name="T9" fmla="*/ 47 h 65"/>
                  <a:gd name="T10" fmla="*/ 15 w 68"/>
                  <a:gd name="T11" fmla="*/ 47 h 65"/>
                  <a:gd name="T12" fmla="*/ 14 w 68"/>
                  <a:gd name="T13" fmla="*/ 49 h 65"/>
                  <a:gd name="T14" fmla="*/ 16 w 68"/>
                  <a:gd name="T15" fmla="*/ 52 h 65"/>
                  <a:gd name="T16" fmla="*/ 19 w 68"/>
                  <a:gd name="T17" fmla="*/ 52 h 65"/>
                  <a:gd name="T18" fmla="*/ 19 w 68"/>
                  <a:gd name="T19" fmla="*/ 50 h 65"/>
                  <a:gd name="T20" fmla="*/ 22 w 68"/>
                  <a:gd name="T21" fmla="*/ 51 h 65"/>
                  <a:gd name="T22" fmla="*/ 24 w 68"/>
                  <a:gd name="T23" fmla="*/ 53 h 65"/>
                  <a:gd name="T24" fmla="*/ 26 w 68"/>
                  <a:gd name="T25" fmla="*/ 54 h 65"/>
                  <a:gd name="T26" fmla="*/ 29 w 68"/>
                  <a:gd name="T27" fmla="*/ 55 h 65"/>
                  <a:gd name="T28" fmla="*/ 31 w 68"/>
                  <a:gd name="T29" fmla="*/ 58 h 65"/>
                  <a:gd name="T30" fmla="*/ 34 w 68"/>
                  <a:gd name="T31" fmla="*/ 60 h 65"/>
                  <a:gd name="T32" fmla="*/ 36 w 68"/>
                  <a:gd name="T33" fmla="*/ 59 h 65"/>
                  <a:gd name="T34" fmla="*/ 37 w 68"/>
                  <a:gd name="T35" fmla="*/ 59 h 65"/>
                  <a:gd name="T36" fmla="*/ 38 w 68"/>
                  <a:gd name="T37" fmla="*/ 61 h 65"/>
                  <a:gd name="T38" fmla="*/ 39 w 68"/>
                  <a:gd name="T39" fmla="*/ 62 h 65"/>
                  <a:gd name="T40" fmla="*/ 41 w 68"/>
                  <a:gd name="T41" fmla="*/ 62 h 65"/>
                  <a:gd name="T42" fmla="*/ 43 w 68"/>
                  <a:gd name="T43" fmla="*/ 60 h 65"/>
                  <a:gd name="T44" fmla="*/ 45 w 68"/>
                  <a:gd name="T45" fmla="*/ 61 h 65"/>
                  <a:gd name="T46" fmla="*/ 47 w 68"/>
                  <a:gd name="T47" fmla="*/ 60 h 65"/>
                  <a:gd name="T48" fmla="*/ 51 w 68"/>
                  <a:gd name="T49" fmla="*/ 60 h 65"/>
                  <a:gd name="T50" fmla="*/ 53 w 68"/>
                  <a:gd name="T51" fmla="*/ 61 h 65"/>
                  <a:gd name="T52" fmla="*/ 56 w 68"/>
                  <a:gd name="T53" fmla="*/ 64 h 65"/>
                  <a:gd name="T54" fmla="*/ 59 w 68"/>
                  <a:gd name="T55" fmla="*/ 65 h 65"/>
                  <a:gd name="T56" fmla="*/ 58 w 68"/>
                  <a:gd name="T57" fmla="*/ 62 h 65"/>
                  <a:gd name="T58" fmla="*/ 58 w 68"/>
                  <a:gd name="T59" fmla="*/ 58 h 65"/>
                  <a:gd name="T60" fmla="*/ 62 w 68"/>
                  <a:gd name="T61" fmla="*/ 53 h 65"/>
                  <a:gd name="T62" fmla="*/ 65 w 68"/>
                  <a:gd name="T63" fmla="*/ 50 h 65"/>
                  <a:gd name="T64" fmla="*/ 67 w 68"/>
                  <a:gd name="T65" fmla="*/ 46 h 65"/>
                  <a:gd name="T66" fmla="*/ 67 w 68"/>
                  <a:gd name="T67" fmla="*/ 44 h 65"/>
                  <a:gd name="T68" fmla="*/ 65 w 68"/>
                  <a:gd name="T69" fmla="*/ 40 h 65"/>
                  <a:gd name="T70" fmla="*/ 64 w 68"/>
                  <a:gd name="T71" fmla="*/ 37 h 65"/>
                  <a:gd name="T72" fmla="*/ 62 w 68"/>
                  <a:gd name="T73" fmla="*/ 30 h 65"/>
                  <a:gd name="T74" fmla="*/ 67 w 68"/>
                  <a:gd name="T75" fmla="*/ 25 h 65"/>
                  <a:gd name="T76" fmla="*/ 66 w 68"/>
                  <a:gd name="T77" fmla="*/ 19 h 65"/>
                  <a:gd name="T78" fmla="*/ 63 w 68"/>
                  <a:gd name="T79" fmla="*/ 11 h 65"/>
                  <a:gd name="T80" fmla="*/ 61 w 68"/>
                  <a:gd name="T81" fmla="*/ 7 h 65"/>
                  <a:gd name="T82" fmla="*/ 58 w 68"/>
                  <a:gd name="T83" fmla="*/ 6 h 65"/>
                  <a:gd name="T84" fmla="*/ 48 w 68"/>
                  <a:gd name="T85" fmla="*/ 6 h 65"/>
                  <a:gd name="T86" fmla="*/ 38 w 68"/>
                  <a:gd name="T87" fmla="*/ 5 h 65"/>
                  <a:gd name="T88" fmla="*/ 31 w 68"/>
                  <a:gd name="T89" fmla="*/ 6 h 65"/>
                  <a:gd name="T90" fmla="*/ 30 w 68"/>
                  <a:gd name="T91" fmla="*/ 1 h 65"/>
                  <a:gd name="T92" fmla="*/ 32 w 68"/>
                  <a:gd name="T93" fmla="*/ 3 h 65"/>
                  <a:gd name="T94" fmla="*/ 28 w 68"/>
                  <a:gd name="T95" fmla="*/ 1 h 65"/>
                  <a:gd name="T96" fmla="*/ 19 w 68"/>
                  <a:gd name="T97" fmla="*/ 3 h 65"/>
                  <a:gd name="T98" fmla="*/ 14 w 68"/>
                  <a:gd name="T99" fmla="*/ 7 h 65"/>
                  <a:gd name="T100" fmla="*/ 8 w 68"/>
                  <a:gd name="T101" fmla="*/ 9 h 65"/>
                  <a:gd name="T102" fmla="*/ 3 w 68"/>
                  <a:gd name="T103" fmla="*/ 11 h 65"/>
                  <a:gd name="T104" fmla="*/ 4 w 68"/>
                  <a:gd name="T105" fmla="*/ 14 h 65"/>
                  <a:gd name="T106" fmla="*/ 3 w 68"/>
                  <a:gd name="T107" fmla="*/ 14 h 65"/>
                  <a:gd name="T108" fmla="*/ 2 w 68"/>
                  <a:gd name="T109" fmla="*/ 16 h 65"/>
                  <a:gd name="T110" fmla="*/ 2 w 68"/>
                  <a:gd name="T111" fmla="*/ 21 h 65"/>
                  <a:gd name="T112" fmla="*/ 4 w 68"/>
                  <a:gd name="T113" fmla="*/ 26 h 65"/>
                  <a:gd name="T114" fmla="*/ 4 w 68"/>
                  <a:gd name="T115" fmla="*/ 30 h 65"/>
                  <a:gd name="T116" fmla="*/ 5 w 68"/>
                  <a:gd name="T117" fmla="*/ 33 h 65"/>
                  <a:gd name="T118" fmla="*/ 4 w 68"/>
                  <a:gd name="T119" fmla="*/ 34 h 65"/>
                  <a:gd name="T120" fmla="*/ 5 w 68"/>
                  <a:gd name="T121" fmla="*/ 38 h 65"/>
                  <a:gd name="T122" fmla="*/ 6 w 68"/>
                  <a:gd name="T123" fmla="*/ 43 h 65"/>
                  <a:gd name="T124" fmla="*/ 6 w 68"/>
                  <a:gd name="T125"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65">
                    <a:moveTo>
                      <a:pt x="2" y="12"/>
                    </a:moveTo>
                    <a:cubicBezTo>
                      <a:pt x="1" y="13"/>
                      <a:pt x="1" y="12"/>
                      <a:pt x="1" y="12"/>
                    </a:cubicBezTo>
                    <a:cubicBezTo>
                      <a:pt x="1" y="11"/>
                      <a:pt x="1" y="11"/>
                      <a:pt x="1" y="11"/>
                    </a:cubicBezTo>
                    <a:cubicBezTo>
                      <a:pt x="1" y="11"/>
                      <a:pt x="2" y="11"/>
                      <a:pt x="2" y="11"/>
                    </a:cubicBezTo>
                    <a:cubicBezTo>
                      <a:pt x="2" y="12"/>
                      <a:pt x="2" y="12"/>
                      <a:pt x="2" y="12"/>
                    </a:cubicBezTo>
                    <a:close/>
                    <a:moveTo>
                      <a:pt x="6" y="44"/>
                    </a:moveTo>
                    <a:cubicBezTo>
                      <a:pt x="6" y="44"/>
                      <a:pt x="7" y="43"/>
                      <a:pt x="8" y="44"/>
                    </a:cubicBezTo>
                    <a:cubicBezTo>
                      <a:pt x="8" y="44"/>
                      <a:pt x="8" y="45"/>
                      <a:pt x="9" y="46"/>
                    </a:cubicBezTo>
                    <a:cubicBezTo>
                      <a:pt x="9" y="46"/>
                      <a:pt x="10" y="46"/>
                      <a:pt x="11" y="46"/>
                    </a:cubicBezTo>
                    <a:cubicBezTo>
                      <a:pt x="11" y="46"/>
                      <a:pt x="12" y="46"/>
                      <a:pt x="12" y="47"/>
                    </a:cubicBezTo>
                    <a:cubicBezTo>
                      <a:pt x="12" y="47"/>
                      <a:pt x="13" y="47"/>
                      <a:pt x="13" y="47"/>
                    </a:cubicBezTo>
                    <a:cubicBezTo>
                      <a:pt x="14" y="48"/>
                      <a:pt x="14" y="47"/>
                      <a:pt x="15" y="47"/>
                    </a:cubicBezTo>
                    <a:cubicBezTo>
                      <a:pt x="15" y="47"/>
                      <a:pt x="16" y="48"/>
                      <a:pt x="16" y="49"/>
                    </a:cubicBezTo>
                    <a:cubicBezTo>
                      <a:pt x="15" y="49"/>
                      <a:pt x="15" y="49"/>
                      <a:pt x="14" y="49"/>
                    </a:cubicBezTo>
                    <a:cubicBezTo>
                      <a:pt x="14" y="50"/>
                      <a:pt x="15" y="50"/>
                      <a:pt x="15" y="50"/>
                    </a:cubicBezTo>
                    <a:cubicBezTo>
                      <a:pt x="16" y="51"/>
                      <a:pt x="16" y="51"/>
                      <a:pt x="16" y="52"/>
                    </a:cubicBezTo>
                    <a:cubicBezTo>
                      <a:pt x="17" y="52"/>
                      <a:pt x="16" y="53"/>
                      <a:pt x="17" y="53"/>
                    </a:cubicBezTo>
                    <a:cubicBezTo>
                      <a:pt x="17" y="53"/>
                      <a:pt x="19" y="52"/>
                      <a:pt x="19" y="52"/>
                    </a:cubicBezTo>
                    <a:cubicBezTo>
                      <a:pt x="20" y="52"/>
                      <a:pt x="19" y="52"/>
                      <a:pt x="19" y="51"/>
                    </a:cubicBezTo>
                    <a:cubicBezTo>
                      <a:pt x="19" y="51"/>
                      <a:pt x="19" y="50"/>
                      <a:pt x="19" y="50"/>
                    </a:cubicBezTo>
                    <a:cubicBezTo>
                      <a:pt x="20" y="50"/>
                      <a:pt x="21" y="50"/>
                      <a:pt x="21" y="50"/>
                    </a:cubicBezTo>
                    <a:cubicBezTo>
                      <a:pt x="21" y="51"/>
                      <a:pt x="22" y="51"/>
                      <a:pt x="22" y="51"/>
                    </a:cubicBezTo>
                    <a:cubicBezTo>
                      <a:pt x="23" y="52"/>
                      <a:pt x="24" y="51"/>
                      <a:pt x="25" y="51"/>
                    </a:cubicBezTo>
                    <a:cubicBezTo>
                      <a:pt x="25" y="52"/>
                      <a:pt x="23" y="52"/>
                      <a:pt x="24" y="53"/>
                    </a:cubicBezTo>
                    <a:cubicBezTo>
                      <a:pt x="24" y="53"/>
                      <a:pt x="24" y="53"/>
                      <a:pt x="25" y="53"/>
                    </a:cubicBezTo>
                    <a:cubicBezTo>
                      <a:pt x="25" y="54"/>
                      <a:pt x="25" y="54"/>
                      <a:pt x="26" y="54"/>
                    </a:cubicBezTo>
                    <a:cubicBezTo>
                      <a:pt x="26" y="54"/>
                      <a:pt x="26" y="54"/>
                      <a:pt x="27" y="54"/>
                    </a:cubicBezTo>
                    <a:cubicBezTo>
                      <a:pt x="28" y="54"/>
                      <a:pt x="28" y="55"/>
                      <a:pt x="29" y="55"/>
                    </a:cubicBezTo>
                    <a:cubicBezTo>
                      <a:pt x="30" y="55"/>
                      <a:pt x="30" y="55"/>
                      <a:pt x="30" y="56"/>
                    </a:cubicBezTo>
                    <a:cubicBezTo>
                      <a:pt x="30" y="57"/>
                      <a:pt x="31" y="57"/>
                      <a:pt x="31" y="58"/>
                    </a:cubicBezTo>
                    <a:cubicBezTo>
                      <a:pt x="32" y="58"/>
                      <a:pt x="32" y="59"/>
                      <a:pt x="32" y="60"/>
                    </a:cubicBezTo>
                    <a:cubicBezTo>
                      <a:pt x="33" y="60"/>
                      <a:pt x="33" y="61"/>
                      <a:pt x="34" y="60"/>
                    </a:cubicBezTo>
                    <a:cubicBezTo>
                      <a:pt x="34" y="60"/>
                      <a:pt x="34" y="59"/>
                      <a:pt x="34" y="59"/>
                    </a:cubicBezTo>
                    <a:cubicBezTo>
                      <a:pt x="35" y="59"/>
                      <a:pt x="35" y="59"/>
                      <a:pt x="36" y="59"/>
                    </a:cubicBezTo>
                    <a:cubicBezTo>
                      <a:pt x="36" y="59"/>
                      <a:pt x="36" y="58"/>
                      <a:pt x="36" y="58"/>
                    </a:cubicBezTo>
                    <a:cubicBezTo>
                      <a:pt x="37" y="59"/>
                      <a:pt x="36" y="59"/>
                      <a:pt x="37" y="59"/>
                    </a:cubicBezTo>
                    <a:cubicBezTo>
                      <a:pt x="37" y="60"/>
                      <a:pt x="37" y="60"/>
                      <a:pt x="37" y="60"/>
                    </a:cubicBezTo>
                    <a:cubicBezTo>
                      <a:pt x="38" y="60"/>
                      <a:pt x="38" y="60"/>
                      <a:pt x="38" y="61"/>
                    </a:cubicBezTo>
                    <a:cubicBezTo>
                      <a:pt x="39" y="61"/>
                      <a:pt x="38" y="62"/>
                      <a:pt x="38" y="63"/>
                    </a:cubicBezTo>
                    <a:cubicBezTo>
                      <a:pt x="39" y="63"/>
                      <a:pt x="39" y="62"/>
                      <a:pt x="39" y="62"/>
                    </a:cubicBezTo>
                    <a:cubicBezTo>
                      <a:pt x="40" y="62"/>
                      <a:pt x="40" y="63"/>
                      <a:pt x="40" y="62"/>
                    </a:cubicBezTo>
                    <a:cubicBezTo>
                      <a:pt x="40" y="62"/>
                      <a:pt x="41" y="62"/>
                      <a:pt x="41" y="62"/>
                    </a:cubicBezTo>
                    <a:cubicBezTo>
                      <a:pt x="41" y="61"/>
                      <a:pt x="41" y="61"/>
                      <a:pt x="42" y="61"/>
                    </a:cubicBezTo>
                    <a:cubicBezTo>
                      <a:pt x="42" y="61"/>
                      <a:pt x="42" y="60"/>
                      <a:pt x="43" y="60"/>
                    </a:cubicBezTo>
                    <a:cubicBezTo>
                      <a:pt x="44" y="60"/>
                      <a:pt x="44" y="61"/>
                      <a:pt x="44" y="61"/>
                    </a:cubicBezTo>
                    <a:cubicBezTo>
                      <a:pt x="44" y="61"/>
                      <a:pt x="45" y="61"/>
                      <a:pt x="45" y="61"/>
                    </a:cubicBezTo>
                    <a:cubicBezTo>
                      <a:pt x="46" y="61"/>
                      <a:pt x="46" y="61"/>
                      <a:pt x="47" y="61"/>
                    </a:cubicBezTo>
                    <a:cubicBezTo>
                      <a:pt x="47" y="61"/>
                      <a:pt x="47" y="60"/>
                      <a:pt x="47" y="60"/>
                    </a:cubicBezTo>
                    <a:cubicBezTo>
                      <a:pt x="48" y="60"/>
                      <a:pt x="49" y="60"/>
                      <a:pt x="49" y="60"/>
                    </a:cubicBezTo>
                    <a:cubicBezTo>
                      <a:pt x="50" y="60"/>
                      <a:pt x="50" y="60"/>
                      <a:pt x="51" y="60"/>
                    </a:cubicBezTo>
                    <a:cubicBezTo>
                      <a:pt x="51" y="60"/>
                      <a:pt x="51" y="61"/>
                      <a:pt x="51" y="61"/>
                    </a:cubicBezTo>
                    <a:cubicBezTo>
                      <a:pt x="52" y="61"/>
                      <a:pt x="52" y="61"/>
                      <a:pt x="53" y="61"/>
                    </a:cubicBezTo>
                    <a:cubicBezTo>
                      <a:pt x="53" y="61"/>
                      <a:pt x="53" y="62"/>
                      <a:pt x="54" y="62"/>
                    </a:cubicBezTo>
                    <a:cubicBezTo>
                      <a:pt x="54" y="63"/>
                      <a:pt x="56" y="63"/>
                      <a:pt x="56" y="64"/>
                    </a:cubicBezTo>
                    <a:cubicBezTo>
                      <a:pt x="57" y="64"/>
                      <a:pt x="57" y="64"/>
                      <a:pt x="57" y="64"/>
                    </a:cubicBezTo>
                    <a:cubicBezTo>
                      <a:pt x="58" y="64"/>
                      <a:pt x="58" y="65"/>
                      <a:pt x="59" y="65"/>
                    </a:cubicBezTo>
                    <a:cubicBezTo>
                      <a:pt x="59" y="65"/>
                      <a:pt x="59" y="64"/>
                      <a:pt x="59" y="64"/>
                    </a:cubicBezTo>
                    <a:cubicBezTo>
                      <a:pt x="59" y="63"/>
                      <a:pt x="58" y="63"/>
                      <a:pt x="58" y="62"/>
                    </a:cubicBezTo>
                    <a:cubicBezTo>
                      <a:pt x="58" y="61"/>
                      <a:pt x="58" y="61"/>
                      <a:pt x="58" y="60"/>
                    </a:cubicBezTo>
                    <a:cubicBezTo>
                      <a:pt x="58" y="59"/>
                      <a:pt x="58" y="59"/>
                      <a:pt x="58" y="58"/>
                    </a:cubicBezTo>
                    <a:cubicBezTo>
                      <a:pt x="59" y="57"/>
                      <a:pt x="59" y="56"/>
                      <a:pt x="60" y="56"/>
                    </a:cubicBezTo>
                    <a:cubicBezTo>
                      <a:pt x="61" y="55"/>
                      <a:pt x="61" y="54"/>
                      <a:pt x="62" y="53"/>
                    </a:cubicBezTo>
                    <a:cubicBezTo>
                      <a:pt x="63" y="53"/>
                      <a:pt x="63" y="52"/>
                      <a:pt x="64" y="51"/>
                    </a:cubicBezTo>
                    <a:cubicBezTo>
                      <a:pt x="65" y="51"/>
                      <a:pt x="65" y="51"/>
                      <a:pt x="65" y="50"/>
                    </a:cubicBezTo>
                    <a:cubicBezTo>
                      <a:pt x="66" y="50"/>
                      <a:pt x="66" y="50"/>
                      <a:pt x="67" y="50"/>
                    </a:cubicBezTo>
                    <a:cubicBezTo>
                      <a:pt x="67" y="49"/>
                      <a:pt x="68" y="48"/>
                      <a:pt x="67" y="46"/>
                    </a:cubicBezTo>
                    <a:cubicBezTo>
                      <a:pt x="66" y="46"/>
                      <a:pt x="67" y="45"/>
                      <a:pt x="68" y="45"/>
                    </a:cubicBezTo>
                    <a:cubicBezTo>
                      <a:pt x="68" y="45"/>
                      <a:pt x="67" y="45"/>
                      <a:pt x="67" y="44"/>
                    </a:cubicBezTo>
                    <a:cubicBezTo>
                      <a:pt x="67" y="44"/>
                      <a:pt x="66" y="43"/>
                      <a:pt x="66" y="43"/>
                    </a:cubicBezTo>
                    <a:cubicBezTo>
                      <a:pt x="66" y="42"/>
                      <a:pt x="65" y="41"/>
                      <a:pt x="65" y="40"/>
                    </a:cubicBezTo>
                    <a:cubicBezTo>
                      <a:pt x="64" y="40"/>
                      <a:pt x="65" y="40"/>
                      <a:pt x="65" y="39"/>
                    </a:cubicBezTo>
                    <a:cubicBezTo>
                      <a:pt x="65" y="39"/>
                      <a:pt x="64" y="38"/>
                      <a:pt x="64" y="37"/>
                    </a:cubicBezTo>
                    <a:cubicBezTo>
                      <a:pt x="64" y="36"/>
                      <a:pt x="65" y="34"/>
                      <a:pt x="65" y="32"/>
                    </a:cubicBezTo>
                    <a:cubicBezTo>
                      <a:pt x="64" y="31"/>
                      <a:pt x="62" y="31"/>
                      <a:pt x="62" y="30"/>
                    </a:cubicBezTo>
                    <a:cubicBezTo>
                      <a:pt x="61" y="29"/>
                      <a:pt x="63" y="27"/>
                      <a:pt x="64" y="27"/>
                    </a:cubicBezTo>
                    <a:cubicBezTo>
                      <a:pt x="65" y="26"/>
                      <a:pt x="66" y="26"/>
                      <a:pt x="67" y="25"/>
                    </a:cubicBezTo>
                    <a:cubicBezTo>
                      <a:pt x="67" y="24"/>
                      <a:pt x="66" y="22"/>
                      <a:pt x="66" y="21"/>
                    </a:cubicBezTo>
                    <a:cubicBezTo>
                      <a:pt x="66" y="20"/>
                      <a:pt x="66" y="19"/>
                      <a:pt x="66" y="19"/>
                    </a:cubicBezTo>
                    <a:cubicBezTo>
                      <a:pt x="65" y="18"/>
                      <a:pt x="65" y="17"/>
                      <a:pt x="65" y="16"/>
                    </a:cubicBezTo>
                    <a:cubicBezTo>
                      <a:pt x="64" y="15"/>
                      <a:pt x="63" y="13"/>
                      <a:pt x="63" y="11"/>
                    </a:cubicBezTo>
                    <a:cubicBezTo>
                      <a:pt x="63" y="10"/>
                      <a:pt x="63" y="8"/>
                      <a:pt x="62" y="7"/>
                    </a:cubicBezTo>
                    <a:cubicBezTo>
                      <a:pt x="61" y="7"/>
                      <a:pt x="61" y="7"/>
                      <a:pt x="61" y="7"/>
                    </a:cubicBezTo>
                    <a:cubicBezTo>
                      <a:pt x="60" y="7"/>
                      <a:pt x="60" y="7"/>
                      <a:pt x="60" y="6"/>
                    </a:cubicBezTo>
                    <a:cubicBezTo>
                      <a:pt x="59" y="6"/>
                      <a:pt x="59" y="7"/>
                      <a:pt x="58" y="6"/>
                    </a:cubicBezTo>
                    <a:cubicBezTo>
                      <a:pt x="57" y="7"/>
                      <a:pt x="55" y="6"/>
                      <a:pt x="54" y="6"/>
                    </a:cubicBezTo>
                    <a:cubicBezTo>
                      <a:pt x="52" y="6"/>
                      <a:pt x="50" y="6"/>
                      <a:pt x="48" y="6"/>
                    </a:cubicBezTo>
                    <a:cubicBezTo>
                      <a:pt x="47" y="6"/>
                      <a:pt x="45" y="6"/>
                      <a:pt x="43" y="6"/>
                    </a:cubicBezTo>
                    <a:cubicBezTo>
                      <a:pt x="41" y="5"/>
                      <a:pt x="39" y="5"/>
                      <a:pt x="38" y="5"/>
                    </a:cubicBezTo>
                    <a:cubicBezTo>
                      <a:pt x="36" y="6"/>
                      <a:pt x="35" y="6"/>
                      <a:pt x="33" y="6"/>
                    </a:cubicBezTo>
                    <a:cubicBezTo>
                      <a:pt x="33" y="6"/>
                      <a:pt x="32" y="6"/>
                      <a:pt x="31" y="6"/>
                    </a:cubicBezTo>
                    <a:cubicBezTo>
                      <a:pt x="31" y="6"/>
                      <a:pt x="30" y="5"/>
                      <a:pt x="30" y="5"/>
                    </a:cubicBezTo>
                    <a:cubicBezTo>
                      <a:pt x="30" y="4"/>
                      <a:pt x="29" y="2"/>
                      <a:pt x="30" y="1"/>
                    </a:cubicBezTo>
                    <a:cubicBezTo>
                      <a:pt x="30" y="1"/>
                      <a:pt x="31" y="2"/>
                      <a:pt x="31" y="2"/>
                    </a:cubicBezTo>
                    <a:cubicBezTo>
                      <a:pt x="31" y="3"/>
                      <a:pt x="32" y="3"/>
                      <a:pt x="32" y="3"/>
                    </a:cubicBezTo>
                    <a:cubicBezTo>
                      <a:pt x="32" y="2"/>
                      <a:pt x="31" y="2"/>
                      <a:pt x="31" y="1"/>
                    </a:cubicBezTo>
                    <a:cubicBezTo>
                      <a:pt x="30" y="1"/>
                      <a:pt x="29" y="0"/>
                      <a:pt x="28" y="1"/>
                    </a:cubicBezTo>
                    <a:cubicBezTo>
                      <a:pt x="26" y="1"/>
                      <a:pt x="24" y="1"/>
                      <a:pt x="22" y="2"/>
                    </a:cubicBezTo>
                    <a:cubicBezTo>
                      <a:pt x="21" y="2"/>
                      <a:pt x="20" y="3"/>
                      <a:pt x="19" y="3"/>
                    </a:cubicBezTo>
                    <a:cubicBezTo>
                      <a:pt x="19" y="4"/>
                      <a:pt x="17" y="4"/>
                      <a:pt x="17" y="4"/>
                    </a:cubicBezTo>
                    <a:cubicBezTo>
                      <a:pt x="16" y="5"/>
                      <a:pt x="15" y="7"/>
                      <a:pt x="14" y="7"/>
                    </a:cubicBezTo>
                    <a:cubicBezTo>
                      <a:pt x="13" y="8"/>
                      <a:pt x="12" y="8"/>
                      <a:pt x="11" y="8"/>
                    </a:cubicBezTo>
                    <a:cubicBezTo>
                      <a:pt x="10" y="9"/>
                      <a:pt x="9" y="9"/>
                      <a:pt x="8" y="9"/>
                    </a:cubicBezTo>
                    <a:cubicBezTo>
                      <a:pt x="7" y="9"/>
                      <a:pt x="6" y="10"/>
                      <a:pt x="5" y="10"/>
                    </a:cubicBezTo>
                    <a:cubicBezTo>
                      <a:pt x="5" y="10"/>
                      <a:pt x="3" y="10"/>
                      <a:pt x="3" y="11"/>
                    </a:cubicBezTo>
                    <a:cubicBezTo>
                      <a:pt x="2" y="12"/>
                      <a:pt x="3" y="12"/>
                      <a:pt x="4" y="12"/>
                    </a:cubicBezTo>
                    <a:cubicBezTo>
                      <a:pt x="4" y="13"/>
                      <a:pt x="3" y="13"/>
                      <a:pt x="4" y="14"/>
                    </a:cubicBezTo>
                    <a:cubicBezTo>
                      <a:pt x="4" y="14"/>
                      <a:pt x="4" y="15"/>
                      <a:pt x="4" y="15"/>
                    </a:cubicBezTo>
                    <a:cubicBezTo>
                      <a:pt x="3" y="15"/>
                      <a:pt x="3" y="14"/>
                      <a:pt x="3" y="14"/>
                    </a:cubicBezTo>
                    <a:cubicBezTo>
                      <a:pt x="3" y="14"/>
                      <a:pt x="2" y="13"/>
                      <a:pt x="1" y="13"/>
                    </a:cubicBezTo>
                    <a:cubicBezTo>
                      <a:pt x="1" y="14"/>
                      <a:pt x="2" y="15"/>
                      <a:pt x="2" y="16"/>
                    </a:cubicBezTo>
                    <a:cubicBezTo>
                      <a:pt x="2" y="17"/>
                      <a:pt x="3" y="18"/>
                      <a:pt x="2" y="19"/>
                    </a:cubicBezTo>
                    <a:cubicBezTo>
                      <a:pt x="2" y="20"/>
                      <a:pt x="2" y="21"/>
                      <a:pt x="2" y="21"/>
                    </a:cubicBezTo>
                    <a:cubicBezTo>
                      <a:pt x="1" y="22"/>
                      <a:pt x="0" y="23"/>
                      <a:pt x="1" y="24"/>
                    </a:cubicBezTo>
                    <a:cubicBezTo>
                      <a:pt x="2" y="24"/>
                      <a:pt x="3" y="25"/>
                      <a:pt x="4" y="26"/>
                    </a:cubicBezTo>
                    <a:cubicBezTo>
                      <a:pt x="4" y="27"/>
                      <a:pt x="3" y="28"/>
                      <a:pt x="3" y="29"/>
                    </a:cubicBezTo>
                    <a:cubicBezTo>
                      <a:pt x="3" y="29"/>
                      <a:pt x="4" y="30"/>
                      <a:pt x="4" y="30"/>
                    </a:cubicBezTo>
                    <a:cubicBezTo>
                      <a:pt x="4" y="31"/>
                      <a:pt x="4" y="31"/>
                      <a:pt x="4" y="31"/>
                    </a:cubicBezTo>
                    <a:cubicBezTo>
                      <a:pt x="4" y="32"/>
                      <a:pt x="5" y="32"/>
                      <a:pt x="5" y="33"/>
                    </a:cubicBezTo>
                    <a:cubicBezTo>
                      <a:pt x="5" y="33"/>
                      <a:pt x="4" y="33"/>
                      <a:pt x="4" y="33"/>
                    </a:cubicBezTo>
                    <a:cubicBezTo>
                      <a:pt x="4" y="34"/>
                      <a:pt x="4" y="34"/>
                      <a:pt x="4" y="34"/>
                    </a:cubicBezTo>
                    <a:cubicBezTo>
                      <a:pt x="3" y="34"/>
                      <a:pt x="4" y="36"/>
                      <a:pt x="4" y="36"/>
                    </a:cubicBezTo>
                    <a:cubicBezTo>
                      <a:pt x="5" y="37"/>
                      <a:pt x="4" y="38"/>
                      <a:pt x="5" y="38"/>
                    </a:cubicBezTo>
                    <a:cubicBezTo>
                      <a:pt x="6" y="39"/>
                      <a:pt x="7" y="40"/>
                      <a:pt x="6" y="41"/>
                    </a:cubicBezTo>
                    <a:cubicBezTo>
                      <a:pt x="6" y="42"/>
                      <a:pt x="6" y="42"/>
                      <a:pt x="6" y="43"/>
                    </a:cubicBezTo>
                    <a:cubicBezTo>
                      <a:pt x="6" y="44"/>
                      <a:pt x="6" y="44"/>
                      <a:pt x="5" y="45"/>
                    </a:cubicBezTo>
                    <a:cubicBezTo>
                      <a:pt x="6" y="45"/>
                      <a:pt x="6" y="45"/>
                      <a:pt x="6" y="4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3" name="Freeform 777">
                <a:extLst>
                  <a:ext uri="{FF2B5EF4-FFF2-40B4-BE49-F238E27FC236}">
                    <a16:creationId xmlns:a16="http://schemas.microsoft.com/office/drawing/2014/main" id="{17E27A6F-66E6-D58B-5F02-D012B5CDA496}"/>
                  </a:ext>
                </a:extLst>
              </p:cNvPr>
              <p:cNvSpPr>
                <a:spLocks/>
              </p:cNvSpPr>
              <p:nvPr/>
            </p:nvSpPr>
            <p:spPr bwMode="auto">
              <a:xfrm>
                <a:off x="6000750" y="3146425"/>
                <a:ext cx="508000" cy="341313"/>
              </a:xfrm>
              <a:custGeom>
                <a:avLst/>
                <a:gdLst>
                  <a:gd name="T0" fmla="*/ 110 w 122"/>
                  <a:gd name="T1" fmla="*/ 51 h 82"/>
                  <a:gd name="T2" fmla="*/ 119 w 122"/>
                  <a:gd name="T3" fmla="*/ 48 h 82"/>
                  <a:gd name="T4" fmla="*/ 121 w 122"/>
                  <a:gd name="T5" fmla="*/ 44 h 82"/>
                  <a:gd name="T6" fmla="*/ 121 w 122"/>
                  <a:gd name="T7" fmla="*/ 38 h 82"/>
                  <a:gd name="T8" fmla="*/ 121 w 122"/>
                  <a:gd name="T9" fmla="*/ 32 h 82"/>
                  <a:gd name="T10" fmla="*/ 118 w 122"/>
                  <a:gd name="T11" fmla="*/ 29 h 82"/>
                  <a:gd name="T12" fmla="*/ 111 w 122"/>
                  <a:gd name="T13" fmla="*/ 27 h 82"/>
                  <a:gd name="T14" fmla="*/ 106 w 122"/>
                  <a:gd name="T15" fmla="*/ 26 h 82"/>
                  <a:gd name="T16" fmla="*/ 95 w 122"/>
                  <a:gd name="T17" fmla="*/ 23 h 82"/>
                  <a:gd name="T18" fmla="*/ 90 w 122"/>
                  <a:gd name="T19" fmla="*/ 21 h 82"/>
                  <a:gd name="T20" fmla="*/ 89 w 122"/>
                  <a:gd name="T21" fmla="*/ 15 h 82"/>
                  <a:gd name="T22" fmla="*/ 81 w 122"/>
                  <a:gd name="T23" fmla="*/ 13 h 82"/>
                  <a:gd name="T24" fmla="*/ 82 w 122"/>
                  <a:gd name="T25" fmla="*/ 8 h 82"/>
                  <a:gd name="T26" fmla="*/ 80 w 122"/>
                  <a:gd name="T27" fmla="*/ 2 h 82"/>
                  <a:gd name="T28" fmla="*/ 71 w 122"/>
                  <a:gd name="T29" fmla="*/ 1 h 82"/>
                  <a:gd name="T30" fmla="*/ 65 w 122"/>
                  <a:gd name="T31" fmla="*/ 3 h 82"/>
                  <a:gd name="T32" fmla="*/ 59 w 122"/>
                  <a:gd name="T33" fmla="*/ 6 h 82"/>
                  <a:gd name="T34" fmla="*/ 53 w 122"/>
                  <a:gd name="T35" fmla="*/ 11 h 82"/>
                  <a:gd name="T36" fmla="*/ 46 w 122"/>
                  <a:gd name="T37" fmla="*/ 9 h 82"/>
                  <a:gd name="T38" fmla="*/ 40 w 122"/>
                  <a:gd name="T39" fmla="*/ 9 h 82"/>
                  <a:gd name="T40" fmla="*/ 34 w 122"/>
                  <a:gd name="T41" fmla="*/ 8 h 82"/>
                  <a:gd name="T42" fmla="*/ 29 w 122"/>
                  <a:gd name="T43" fmla="*/ 7 h 82"/>
                  <a:gd name="T44" fmla="*/ 16 w 122"/>
                  <a:gd name="T45" fmla="*/ 6 h 82"/>
                  <a:gd name="T46" fmla="*/ 11 w 122"/>
                  <a:gd name="T47" fmla="*/ 12 h 82"/>
                  <a:gd name="T48" fmla="*/ 13 w 122"/>
                  <a:gd name="T49" fmla="*/ 22 h 82"/>
                  <a:gd name="T50" fmla="*/ 4 w 122"/>
                  <a:gd name="T51" fmla="*/ 30 h 82"/>
                  <a:gd name="T52" fmla="*/ 3 w 122"/>
                  <a:gd name="T53" fmla="*/ 36 h 82"/>
                  <a:gd name="T54" fmla="*/ 4 w 122"/>
                  <a:gd name="T55" fmla="*/ 46 h 82"/>
                  <a:gd name="T56" fmla="*/ 13 w 122"/>
                  <a:gd name="T57" fmla="*/ 47 h 82"/>
                  <a:gd name="T58" fmla="*/ 21 w 122"/>
                  <a:gd name="T59" fmla="*/ 48 h 82"/>
                  <a:gd name="T60" fmla="*/ 31 w 122"/>
                  <a:gd name="T61" fmla="*/ 44 h 82"/>
                  <a:gd name="T62" fmla="*/ 35 w 122"/>
                  <a:gd name="T63" fmla="*/ 42 h 82"/>
                  <a:gd name="T64" fmla="*/ 40 w 122"/>
                  <a:gd name="T65" fmla="*/ 43 h 82"/>
                  <a:gd name="T66" fmla="*/ 42 w 122"/>
                  <a:gd name="T67" fmla="*/ 44 h 82"/>
                  <a:gd name="T68" fmla="*/ 45 w 122"/>
                  <a:gd name="T69" fmla="*/ 46 h 82"/>
                  <a:gd name="T70" fmla="*/ 48 w 122"/>
                  <a:gd name="T71" fmla="*/ 49 h 82"/>
                  <a:gd name="T72" fmla="*/ 50 w 122"/>
                  <a:gd name="T73" fmla="*/ 54 h 82"/>
                  <a:gd name="T74" fmla="*/ 51 w 122"/>
                  <a:gd name="T75" fmla="*/ 57 h 82"/>
                  <a:gd name="T76" fmla="*/ 52 w 122"/>
                  <a:gd name="T77" fmla="*/ 63 h 82"/>
                  <a:gd name="T78" fmla="*/ 48 w 122"/>
                  <a:gd name="T79" fmla="*/ 63 h 82"/>
                  <a:gd name="T80" fmla="*/ 46 w 122"/>
                  <a:gd name="T81" fmla="*/ 66 h 82"/>
                  <a:gd name="T82" fmla="*/ 43 w 122"/>
                  <a:gd name="T83" fmla="*/ 71 h 82"/>
                  <a:gd name="T84" fmla="*/ 51 w 122"/>
                  <a:gd name="T85" fmla="*/ 73 h 82"/>
                  <a:gd name="T86" fmla="*/ 52 w 122"/>
                  <a:gd name="T87" fmla="*/ 70 h 82"/>
                  <a:gd name="T88" fmla="*/ 58 w 122"/>
                  <a:gd name="T89" fmla="*/ 61 h 82"/>
                  <a:gd name="T90" fmla="*/ 65 w 122"/>
                  <a:gd name="T91" fmla="*/ 56 h 82"/>
                  <a:gd name="T92" fmla="*/ 63 w 122"/>
                  <a:gd name="T93" fmla="*/ 61 h 82"/>
                  <a:gd name="T94" fmla="*/ 69 w 122"/>
                  <a:gd name="T95" fmla="*/ 65 h 82"/>
                  <a:gd name="T96" fmla="*/ 76 w 122"/>
                  <a:gd name="T97" fmla="*/ 66 h 82"/>
                  <a:gd name="T98" fmla="*/ 71 w 122"/>
                  <a:gd name="T99" fmla="*/ 71 h 82"/>
                  <a:gd name="T100" fmla="*/ 76 w 122"/>
                  <a:gd name="T101" fmla="*/ 75 h 82"/>
                  <a:gd name="T102" fmla="*/ 77 w 122"/>
                  <a:gd name="T103" fmla="*/ 81 h 82"/>
                  <a:gd name="T104" fmla="*/ 88 w 122"/>
                  <a:gd name="T105" fmla="*/ 78 h 82"/>
                  <a:gd name="T106" fmla="*/ 94 w 122"/>
                  <a:gd name="T107" fmla="*/ 76 h 82"/>
                  <a:gd name="T108" fmla="*/ 96 w 122"/>
                  <a:gd name="T109" fmla="*/ 72 h 82"/>
                  <a:gd name="T110" fmla="*/ 88 w 122"/>
                  <a:gd name="T111" fmla="*/ 71 h 82"/>
                  <a:gd name="T112" fmla="*/ 88 w 122"/>
                  <a:gd name="T113" fmla="*/ 66 h 82"/>
                  <a:gd name="T114" fmla="*/ 99 w 122"/>
                  <a:gd name="T115" fmla="*/ 60 h 82"/>
                  <a:gd name="T116" fmla="*/ 105 w 122"/>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82">
                    <a:moveTo>
                      <a:pt x="108" y="55"/>
                    </a:moveTo>
                    <a:cubicBezTo>
                      <a:pt x="109" y="55"/>
                      <a:pt x="109" y="54"/>
                      <a:pt x="109" y="54"/>
                    </a:cubicBezTo>
                    <a:cubicBezTo>
                      <a:pt x="109" y="54"/>
                      <a:pt x="109" y="54"/>
                      <a:pt x="109" y="54"/>
                    </a:cubicBezTo>
                    <a:cubicBezTo>
                      <a:pt x="109" y="53"/>
                      <a:pt x="109" y="52"/>
                      <a:pt x="109" y="52"/>
                    </a:cubicBezTo>
                    <a:cubicBezTo>
                      <a:pt x="109" y="51"/>
                      <a:pt x="109" y="51"/>
                      <a:pt x="110" y="51"/>
                    </a:cubicBezTo>
                    <a:cubicBezTo>
                      <a:pt x="111" y="50"/>
                      <a:pt x="111" y="51"/>
                      <a:pt x="112" y="50"/>
                    </a:cubicBezTo>
                    <a:cubicBezTo>
                      <a:pt x="113" y="50"/>
                      <a:pt x="112" y="50"/>
                      <a:pt x="113" y="49"/>
                    </a:cubicBezTo>
                    <a:cubicBezTo>
                      <a:pt x="113" y="48"/>
                      <a:pt x="113" y="48"/>
                      <a:pt x="114" y="48"/>
                    </a:cubicBezTo>
                    <a:cubicBezTo>
                      <a:pt x="115" y="48"/>
                      <a:pt x="116" y="48"/>
                      <a:pt x="116" y="48"/>
                    </a:cubicBezTo>
                    <a:cubicBezTo>
                      <a:pt x="117" y="48"/>
                      <a:pt x="118" y="49"/>
                      <a:pt x="119" y="48"/>
                    </a:cubicBezTo>
                    <a:cubicBezTo>
                      <a:pt x="119" y="48"/>
                      <a:pt x="119" y="48"/>
                      <a:pt x="119" y="47"/>
                    </a:cubicBezTo>
                    <a:cubicBezTo>
                      <a:pt x="119" y="47"/>
                      <a:pt x="119" y="47"/>
                      <a:pt x="119" y="47"/>
                    </a:cubicBezTo>
                    <a:cubicBezTo>
                      <a:pt x="119" y="46"/>
                      <a:pt x="120" y="46"/>
                      <a:pt x="120" y="46"/>
                    </a:cubicBezTo>
                    <a:cubicBezTo>
                      <a:pt x="120" y="46"/>
                      <a:pt x="120" y="45"/>
                      <a:pt x="120" y="45"/>
                    </a:cubicBezTo>
                    <a:cubicBezTo>
                      <a:pt x="120" y="45"/>
                      <a:pt x="121" y="45"/>
                      <a:pt x="121" y="44"/>
                    </a:cubicBezTo>
                    <a:cubicBezTo>
                      <a:pt x="121" y="44"/>
                      <a:pt x="120" y="44"/>
                      <a:pt x="120" y="44"/>
                    </a:cubicBezTo>
                    <a:cubicBezTo>
                      <a:pt x="120" y="43"/>
                      <a:pt x="120" y="43"/>
                      <a:pt x="120" y="42"/>
                    </a:cubicBezTo>
                    <a:cubicBezTo>
                      <a:pt x="120" y="42"/>
                      <a:pt x="120" y="42"/>
                      <a:pt x="120" y="41"/>
                    </a:cubicBezTo>
                    <a:cubicBezTo>
                      <a:pt x="119" y="41"/>
                      <a:pt x="118" y="40"/>
                      <a:pt x="119" y="39"/>
                    </a:cubicBezTo>
                    <a:cubicBezTo>
                      <a:pt x="119" y="39"/>
                      <a:pt x="121" y="39"/>
                      <a:pt x="121" y="38"/>
                    </a:cubicBezTo>
                    <a:cubicBezTo>
                      <a:pt x="121" y="38"/>
                      <a:pt x="120" y="38"/>
                      <a:pt x="120" y="38"/>
                    </a:cubicBezTo>
                    <a:cubicBezTo>
                      <a:pt x="119" y="38"/>
                      <a:pt x="119" y="38"/>
                      <a:pt x="119" y="37"/>
                    </a:cubicBezTo>
                    <a:cubicBezTo>
                      <a:pt x="118" y="36"/>
                      <a:pt x="119" y="36"/>
                      <a:pt x="120" y="36"/>
                    </a:cubicBezTo>
                    <a:cubicBezTo>
                      <a:pt x="120" y="35"/>
                      <a:pt x="121" y="34"/>
                      <a:pt x="122" y="34"/>
                    </a:cubicBezTo>
                    <a:cubicBezTo>
                      <a:pt x="122" y="33"/>
                      <a:pt x="122" y="33"/>
                      <a:pt x="121" y="32"/>
                    </a:cubicBezTo>
                    <a:cubicBezTo>
                      <a:pt x="121" y="32"/>
                      <a:pt x="122" y="31"/>
                      <a:pt x="121" y="30"/>
                    </a:cubicBezTo>
                    <a:cubicBezTo>
                      <a:pt x="121" y="30"/>
                      <a:pt x="121" y="30"/>
                      <a:pt x="120" y="30"/>
                    </a:cubicBezTo>
                    <a:cubicBezTo>
                      <a:pt x="120" y="30"/>
                      <a:pt x="120" y="31"/>
                      <a:pt x="119" y="31"/>
                    </a:cubicBezTo>
                    <a:cubicBezTo>
                      <a:pt x="119" y="31"/>
                      <a:pt x="119" y="30"/>
                      <a:pt x="118" y="30"/>
                    </a:cubicBezTo>
                    <a:cubicBezTo>
                      <a:pt x="118" y="30"/>
                      <a:pt x="118" y="29"/>
                      <a:pt x="118" y="29"/>
                    </a:cubicBezTo>
                    <a:cubicBezTo>
                      <a:pt x="117" y="29"/>
                      <a:pt x="116" y="29"/>
                      <a:pt x="116" y="29"/>
                    </a:cubicBezTo>
                    <a:cubicBezTo>
                      <a:pt x="116" y="28"/>
                      <a:pt x="116" y="28"/>
                      <a:pt x="115" y="28"/>
                    </a:cubicBezTo>
                    <a:cubicBezTo>
                      <a:pt x="114" y="28"/>
                      <a:pt x="114" y="28"/>
                      <a:pt x="114" y="28"/>
                    </a:cubicBezTo>
                    <a:cubicBezTo>
                      <a:pt x="114" y="28"/>
                      <a:pt x="113" y="28"/>
                      <a:pt x="112" y="27"/>
                    </a:cubicBezTo>
                    <a:cubicBezTo>
                      <a:pt x="112" y="27"/>
                      <a:pt x="112" y="27"/>
                      <a:pt x="111" y="27"/>
                    </a:cubicBezTo>
                    <a:cubicBezTo>
                      <a:pt x="110" y="27"/>
                      <a:pt x="110" y="26"/>
                      <a:pt x="110" y="26"/>
                    </a:cubicBezTo>
                    <a:cubicBezTo>
                      <a:pt x="109" y="26"/>
                      <a:pt x="109" y="25"/>
                      <a:pt x="109" y="25"/>
                    </a:cubicBezTo>
                    <a:cubicBezTo>
                      <a:pt x="108" y="25"/>
                      <a:pt x="108" y="26"/>
                      <a:pt x="108" y="27"/>
                    </a:cubicBezTo>
                    <a:cubicBezTo>
                      <a:pt x="108" y="27"/>
                      <a:pt x="107" y="27"/>
                      <a:pt x="107" y="27"/>
                    </a:cubicBezTo>
                    <a:cubicBezTo>
                      <a:pt x="107" y="26"/>
                      <a:pt x="106" y="26"/>
                      <a:pt x="106" y="26"/>
                    </a:cubicBezTo>
                    <a:cubicBezTo>
                      <a:pt x="105" y="25"/>
                      <a:pt x="105" y="23"/>
                      <a:pt x="104" y="22"/>
                    </a:cubicBezTo>
                    <a:cubicBezTo>
                      <a:pt x="103" y="21"/>
                      <a:pt x="102" y="22"/>
                      <a:pt x="101" y="23"/>
                    </a:cubicBezTo>
                    <a:cubicBezTo>
                      <a:pt x="100" y="23"/>
                      <a:pt x="100" y="22"/>
                      <a:pt x="99" y="23"/>
                    </a:cubicBezTo>
                    <a:cubicBezTo>
                      <a:pt x="99" y="23"/>
                      <a:pt x="98" y="24"/>
                      <a:pt x="98" y="24"/>
                    </a:cubicBezTo>
                    <a:cubicBezTo>
                      <a:pt x="98" y="23"/>
                      <a:pt x="96" y="23"/>
                      <a:pt x="95" y="23"/>
                    </a:cubicBezTo>
                    <a:cubicBezTo>
                      <a:pt x="95" y="22"/>
                      <a:pt x="94" y="22"/>
                      <a:pt x="93" y="22"/>
                    </a:cubicBezTo>
                    <a:cubicBezTo>
                      <a:pt x="93" y="22"/>
                      <a:pt x="92" y="22"/>
                      <a:pt x="91" y="22"/>
                    </a:cubicBezTo>
                    <a:cubicBezTo>
                      <a:pt x="91" y="22"/>
                      <a:pt x="91" y="22"/>
                      <a:pt x="91" y="22"/>
                    </a:cubicBezTo>
                    <a:cubicBezTo>
                      <a:pt x="91" y="22"/>
                      <a:pt x="91" y="22"/>
                      <a:pt x="91" y="21"/>
                    </a:cubicBezTo>
                    <a:cubicBezTo>
                      <a:pt x="90" y="21"/>
                      <a:pt x="90" y="21"/>
                      <a:pt x="90" y="21"/>
                    </a:cubicBezTo>
                    <a:cubicBezTo>
                      <a:pt x="89" y="20"/>
                      <a:pt x="90" y="19"/>
                      <a:pt x="90" y="19"/>
                    </a:cubicBezTo>
                    <a:cubicBezTo>
                      <a:pt x="90" y="18"/>
                      <a:pt x="90" y="18"/>
                      <a:pt x="90" y="18"/>
                    </a:cubicBezTo>
                    <a:cubicBezTo>
                      <a:pt x="89" y="17"/>
                      <a:pt x="90" y="17"/>
                      <a:pt x="89" y="17"/>
                    </a:cubicBezTo>
                    <a:cubicBezTo>
                      <a:pt x="89" y="16"/>
                      <a:pt x="89" y="16"/>
                      <a:pt x="89" y="16"/>
                    </a:cubicBezTo>
                    <a:cubicBezTo>
                      <a:pt x="89" y="16"/>
                      <a:pt x="89" y="15"/>
                      <a:pt x="89" y="15"/>
                    </a:cubicBezTo>
                    <a:cubicBezTo>
                      <a:pt x="89" y="15"/>
                      <a:pt x="88" y="15"/>
                      <a:pt x="88" y="14"/>
                    </a:cubicBezTo>
                    <a:cubicBezTo>
                      <a:pt x="87" y="13"/>
                      <a:pt x="87" y="13"/>
                      <a:pt x="86" y="13"/>
                    </a:cubicBezTo>
                    <a:cubicBezTo>
                      <a:pt x="86" y="13"/>
                      <a:pt x="85" y="14"/>
                      <a:pt x="85" y="14"/>
                    </a:cubicBezTo>
                    <a:cubicBezTo>
                      <a:pt x="85" y="14"/>
                      <a:pt x="85" y="13"/>
                      <a:pt x="84" y="13"/>
                    </a:cubicBezTo>
                    <a:cubicBezTo>
                      <a:pt x="83" y="13"/>
                      <a:pt x="82" y="13"/>
                      <a:pt x="81" y="13"/>
                    </a:cubicBezTo>
                    <a:cubicBezTo>
                      <a:pt x="82" y="13"/>
                      <a:pt x="82" y="12"/>
                      <a:pt x="82" y="12"/>
                    </a:cubicBezTo>
                    <a:cubicBezTo>
                      <a:pt x="82" y="11"/>
                      <a:pt x="82" y="12"/>
                      <a:pt x="82" y="11"/>
                    </a:cubicBezTo>
                    <a:cubicBezTo>
                      <a:pt x="82" y="11"/>
                      <a:pt x="82" y="10"/>
                      <a:pt x="82" y="10"/>
                    </a:cubicBezTo>
                    <a:cubicBezTo>
                      <a:pt x="82" y="9"/>
                      <a:pt x="81" y="9"/>
                      <a:pt x="81" y="9"/>
                    </a:cubicBezTo>
                    <a:cubicBezTo>
                      <a:pt x="80" y="8"/>
                      <a:pt x="81" y="8"/>
                      <a:pt x="82" y="8"/>
                    </a:cubicBezTo>
                    <a:cubicBezTo>
                      <a:pt x="82" y="8"/>
                      <a:pt x="83" y="8"/>
                      <a:pt x="83" y="7"/>
                    </a:cubicBezTo>
                    <a:cubicBezTo>
                      <a:pt x="83" y="7"/>
                      <a:pt x="83" y="6"/>
                      <a:pt x="82" y="6"/>
                    </a:cubicBezTo>
                    <a:cubicBezTo>
                      <a:pt x="82" y="6"/>
                      <a:pt x="82" y="6"/>
                      <a:pt x="81" y="6"/>
                    </a:cubicBezTo>
                    <a:cubicBezTo>
                      <a:pt x="81" y="5"/>
                      <a:pt x="81" y="5"/>
                      <a:pt x="81" y="5"/>
                    </a:cubicBezTo>
                    <a:cubicBezTo>
                      <a:pt x="81" y="4"/>
                      <a:pt x="80" y="3"/>
                      <a:pt x="80" y="2"/>
                    </a:cubicBezTo>
                    <a:cubicBezTo>
                      <a:pt x="80" y="2"/>
                      <a:pt x="79" y="1"/>
                      <a:pt x="78" y="1"/>
                    </a:cubicBezTo>
                    <a:cubicBezTo>
                      <a:pt x="78" y="1"/>
                      <a:pt x="78" y="1"/>
                      <a:pt x="77" y="1"/>
                    </a:cubicBezTo>
                    <a:cubicBezTo>
                      <a:pt x="77" y="0"/>
                      <a:pt x="75" y="1"/>
                      <a:pt x="74" y="1"/>
                    </a:cubicBezTo>
                    <a:cubicBezTo>
                      <a:pt x="74" y="2"/>
                      <a:pt x="73" y="2"/>
                      <a:pt x="72" y="2"/>
                    </a:cubicBezTo>
                    <a:cubicBezTo>
                      <a:pt x="72" y="2"/>
                      <a:pt x="71" y="2"/>
                      <a:pt x="71" y="1"/>
                    </a:cubicBezTo>
                    <a:cubicBezTo>
                      <a:pt x="69" y="1"/>
                      <a:pt x="69" y="2"/>
                      <a:pt x="69" y="3"/>
                    </a:cubicBezTo>
                    <a:cubicBezTo>
                      <a:pt x="69" y="4"/>
                      <a:pt x="68" y="4"/>
                      <a:pt x="67" y="4"/>
                    </a:cubicBezTo>
                    <a:cubicBezTo>
                      <a:pt x="66" y="4"/>
                      <a:pt x="66" y="4"/>
                      <a:pt x="65" y="4"/>
                    </a:cubicBezTo>
                    <a:cubicBezTo>
                      <a:pt x="65" y="4"/>
                      <a:pt x="65" y="4"/>
                      <a:pt x="65" y="4"/>
                    </a:cubicBezTo>
                    <a:cubicBezTo>
                      <a:pt x="65" y="4"/>
                      <a:pt x="65" y="3"/>
                      <a:pt x="65" y="3"/>
                    </a:cubicBezTo>
                    <a:cubicBezTo>
                      <a:pt x="65" y="4"/>
                      <a:pt x="64" y="4"/>
                      <a:pt x="64" y="3"/>
                    </a:cubicBezTo>
                    <a:cubicBezTo>
                      <a:pt x="63" y="3"/>
                      <a:pt x="63" y="4"/>
                      <a:pt x="62" y="4"/>
                    </a:cubicBezTo>
                    <a:cubicBezTo>
                      <a:pt x="61" y="4"/>
                      <a:pt x="60" y="3"/>
                      <a:pt x="60" y="4"/>
                    </a:cubicBezTo>
                    <a:cubicBezTo>
                      <a:pt x="60" y="4"/>
                      <a:pt x="60" y="5"/>
                      <a:pt x="59" y="5"/>
                    </a:cubicBezTo>
                    <a:cubicBezTo>
                      <a:pt x="59" y="5"/>
                      <a:pt x="59" y="5"/>
                      <a:pt x="59" y="6"/>
                    </a:cubicBezTo>
                    <a:cubicBezTo>
                      <a:pt x="57" y="7"/>
                      <a:pt x="56" y="8"/>
                      <a:pt x="57" y="10"/>
                    </a:cubicBezTo>
                    <a:cubicBezTo>
                      <a:pt x="57" y="10"/>
                      <a:pt x="58" y="11"/>
                      <a:pt x="57" y="12"/>
                    </a:cubicBezTo>
                    <a:cubicBezTo>
                      <a:pt x="57" y="13"/>
                      <a:pt x="56" y="13"/>
                      <a:pt x="56" y="12"/>
                    </a:cubicBezTo>
                    <a:cubicBezTo>
                      <a:pt x="55" y="12"/>
                      <a:pt x="55" y="11"/>
                      <a:pt x="55" y="11"/>
                    </a:cubicBezTo>
                    <a:cubicBezTo>
                      <a:pt x="54" y="10"/>
                      <a:pt x="54" y="11"/>
                      <a:pt x="53" y="11"/>
                    </a:cubicBezTo>
                    <a:cubicBezTo>
                      <a:pt x="52" y="11"/>
                      <a:pt x="52" y="10"/>
                      <a:pt x="51" y="10"/>
                    </a:cubicBezTo>
                    <a:cubicBezTo>
                      <a:pt x="50" y="10"/>
                      <a:pt x="50" y="11"/>
                      <a:pt x="50" y="11"/>
                    </a:cubicBezTo>
                    <a:cubicBezTo>
                      <a:pt x="50" y="11"/>
                      <a:pt x="50" y="11"/>
                      <a:pt x="49" y="11"/>
                    </a:cubicBezTo>
                    <a:cubicBezTo>
                      <a:pt x="48" y="12"/>
                      <a:pt x="49" y="9"/>
                      <a:pt x="47" y="9"/>
                    </a:cubicBezTo>
                    <a:cubicBezTo>
                      <a:pt x="47" y="9"/>
                      <a:pt x="46" y="9"/>
                      <a:pt x="46" y="9"/>
                    </a:cubicBezTo>
                    <a:cubicBezTo>
                      <a:pt x="45" y="10"/>
                      <a:pt x="45" y="10"/>
                      <a:pt x="45" y="11"/>
                    </a:cubicBezTo>
                    <a:cubicBezTo>
                      <a:pt x="44" y="11"/>
                      <a:pt x="44" y="10"/>
                      <a:pt x="44" y="10"/>
                    </a:cubicBezTo>
                    <a:cubicBezTo>
                      <a:pt x="43" y="9"/>
                      <a:pt x="43" y="10"/>
                      <a:pt x="42" y="10"/>
                    </a:cubicBezTo>
                    <a:cubicBezTo>
                      <a:pt x="42" y="10"/>
                      <a:pt x="42" y="9"/>
                      <a:pt x="41" y="9"/>
                    </a:cubicBezTo>
                    <a:cubicBezTo>
                      <a:pt x="41" y="9"/>
                      <a:pt x="41" y="9"/>
                      <a:pt x="40" y="9"/>
                    </a:cubicBezTo>
                    <a:cubicBezTo>
                      <a:pt x="40" y="10"/>
                      <a:pt x="39" y="9"/>
                      <a:pt x="39" y="9"/>
                    </a:cubicBezTo>
                    <a:cubicBezTo>
                      <a:pt x="38" y="9"/>
                      <a:pt x="39" y="10"/>
                      <a:pt x="38" y="10"/>
                    </a:cubicBezTo>
                    <a:cubicBezTo>
                      <a:pt x="38" y="11"/>
                      <a:pt x="38" y="10"/>
                      <a:pt x="37" y="9"/>
                    </a:cubicBezTo>
                    <a:cubicBezTo>
                      <a:pt x="37" y="9"/>
                      <a:pt x="37" y="9"/>
                      <a:pt x="36" y="9"/>
                    </a:cubicBezTo>
                    <a:cubicBezTo>
                      <a:pt x="36" y="10"/>
                      <a:pt x="35" y="9"/>
                      <a:pt x="34" y="8"/>
                    </a:cubicBezTo>
                    <a:cubicBezTo>
                      <a:pt x="34" y="8"/>
                      <a:pt x="34" y="7"/>
                      <a:pt x="33" y="7"/>
                    </a:cubicBezTo>
                    <a:cubicBezTo>
                      <a:pt x="33" y="7"/>
                      <a:pt x="33" y="7"/>
                      <a:pt x="33" y="7"/>
                    </a:cubicBezTo>
                    <a:cubicBezTo>
                      <a:pt x="33" y="7"/>
                      <a:pt x="32" y="7"/>
                      <a:pt x="32" y="7"/>
                    </a:cubicBezTo>
                    <a:cubicBezTo>
                      <a:pt x="32" y="7"/>
                      <a:pt x="31" y="7"/>
                      <a:pt x="31" y="7"/>
                    </a:cubicBezTo>
                    <a:cubicBezTo>
                      <a:pt x="30" y="7"/>
                      <a:pt x="30" y="7"/>
                      <a:pt x="29" y="7"/>
                    </a:cubicBezTo>
                    <a:cubicBezTo>
                      <a:pt x="28" y="6"/>
                      <a:pt x="27" y="6"/>
                      <a:pt x="26" y="6"/>
                    </a:cubicBezTo>
                    <a:cubicBezTo>
                      <a:pt x="25" y="6"/>
                      <a:pt x="24" y="5"/>
                      <a:pt x="23" y="5"/>
                    </a:cubicBezTo>
                    <a:cubicBezTo>
                      <a:pt x="22" y="5"/>
                      <a:pt x="21" y="5"/>
                      <a:pt x="20" y="5"/>
                    </a:cubicBezTo>
                    <a:cubicBezTo>
                      <a:pt x="20" y="5"/>
                      <a:pt x="19" y="6"/>
                      <a:pt x="18" y="6"/>
                    </a:cubicBezTo>
                    <a:cubicBezTo>
                      <a:pt x="18" y="6"/>
                      <a:pt x="17" y="6"/>
                      <a:pt x="16" y="6"/>
                    </a:cubicBezTo>
                    <a:cubicBezTo>
                      <a:pt x="15" y="6"/>
                      <a:pt x="15" y="7"/>
                      <a:pt x="14" y="8"/>
                    </a:cubicBezTo>
                    <a:cubicBezTo>
                      <a:pt x="13" y="9"/>
                      <a:pt x="13" y="9"/>
                      <a:pt x="12" y="9"/>
                    </a:cubicBezTo>
                    <a:cubicBezTo>
                      <a:pt x="11" y="9"/>
                      <a:pt x="11" y="8"/>
                      <a:pt x="10" y="9"/>
                    </a:cubicBezTo>
                    <a:cubicBezTo>
                      <a:pt x="10" y="9"/>
                      <a:pt x="11" y="10"/>
                      <a:pt x="11" y="11"/>
                    </a:cubicBezTo>
                    <a:cubicBezTo>
                      <a:pt x="11" y="11"/>
                      <a:pt x="10" y="12"/>
                      <a:pt x="11" y="12"/>
                    </a:cubicBezTo>
                    <a:cubicBezTo>
                      <a:pt x="11" y="13"/>
                      <a:pt x="12" y="14"/>
                      <a:pt x="12" y="15"/>
                    </a:cubicBezTo>
                    <a:cubicBezTo>
                      <a:pt x="12" y="15"/>
                      <a:pt x="13" y="16"/>
                      <a:pt x="13" y="16"/>
                    </a:cubicBezTo>
                    <a:cubicBezTo>
                      <a:pt x="13" y="17"/>
                      <a:pt x="14" y="17"/>
                      <a:pt x="14" y="17"/>
                    </a:cubicBezTo>
                    <a:cubicBezTo>
                      <a:pt x="13" y="17"/>
                      <a:pt x="12" y="18"/>
                      <a:pt x="13" y="18"/>
                    </a:cubicBezTo>
                    <a:cubicBezTo>
                      <a:pt x="14" y="20"/>
                      <a:pt x="13" y="21"/>
                      <a:pt x="13" y="22"/>
                    </a:cubicBezTo>
                    <a:cubicBezTo>
                      <a:pt x="12" y="22"/>
                      <a:pt x="12" y="22"/>
                      <a:pt x="11" y="22"/>
                    </a:cubicBezTo>
                    <a:cubicBezTo>
                      <a:pt x="11" y="23"/>
                      <a:pt x="11" y="23"/>
                      <a:pt x="10" y="23"/>
                    </a:cubicBezTo>
                    <a:cubicBezTo>
                      <a:pt x="10" y="24"/>
                      <a:pt x="9" y="24"/>
                      <a:pt x="8" y="25"/>
                    </a:cubicBezTo>
                    <a:cubicBezTo>
                      <a:pt x="7" y="26"/>
                      <a:pt x="7" y="27"/>
                      <a:pt x="6" y="28"/>
                    </a:cubicBezTo>
                    <a:cubicBezTo>
                      <a:pt x="5" y="29"/>
                      <a:pt x="4" y="29"/>
                      <a:pt x="4" y="30"/>
                    </a:cubicBezTo>
                    <a:cubicBezTo>
                      <a:pt x="3" y="31"/>
                      <a:pt x="4" y="32"/>
                      <a:pt x="4" y="33"/>
                    </a:cubicBezTo>
                    <a:cubicBezTo>
                      <a:pt x="4" y="33"/>
                      <a:pt x="4" y="34"/>
                      <a:pt x="4" y="35"/>
                    </a:cubicBezTo>
                    <a:cubicBezTo>
                      <a:pt x="4" y="35"/>
                      <a:pt x="5" y="36"/>
                      <a:pt x="5" y="36"/>
                    </a:cubicBezTo>
                    <a:cubicBezTo>
                      <a:pt x="5" y="37"/>
                      <a:pt x="4" y="36"/>
                      <a:pt x="3" y="36"/>
                    </a:cubicBezTo>
                    <a:cubicBezTo>
                      <a:pt x="3" y="36"/>
                      <a:pt x="3" y="36"/>
                      <a:pt x="3" y="36"/>
                    </a:cubicBezTo>
                    <a:cubicBezTo>
                      <a:pt x="2" y="37"/>
                      <a:pt x="2" y="38"/>
                      <a:pt x="2" y="39"/>
                    </a:cubicBezTo>
                    <a:cubicBezTo>
                      <a:pt x="1" y="40"/>
                      <a:pt x="0" y="41"/>
                      <a:pt x="0" y="43"/>
                    </a:cubicBezTo>
                    <a:cubicBezTo>
                      <a:pt x="1" y="43"/>
                      <a:pt x="1" y="43"/>
                      <a:pt x="2" y="44"/>
                    </a:cubicBezTo>
                    <a:cubicBezTo>
                      <a:pt x="2" y="45"/>
                      <a:pt x="3" y="44"/>
                      <a:pt x="3" y="45"/>
                    </a:cubicBezTo>
                    <a:cubicBezTo>
                      <a:pt x="4" y="46"/>
                      <a:pt x="3" y="46"/>
                      <a:pt x="4" y="46"/>
                    </a:cubicBezTo>
                    <a:cubicBezTo>
                      <a:pt x="5" y="46"/>
                      <a:pt x="6" y="46"/>
                      <a:pt x="5" y="47"/>
                    </a:cubicBezTo>
                    <a:cubicBezTo>
                      <a:pt x="7" y="47"/>
                      <a:pt x="7" y="45"/>
                      <a:pt x="8" y="46"/>
                    </a:cubicBezTo>
                    <a:cubicBezTo>
                      <a:pt x="9" y="47"/>
                      <a:pt x="9" y="47"/>
                      <a:pt x="10" y="47"/>
                    </a:cubicBezTo>
                    <a:cubicBezTo>
                      <a:pt x="10" y="46"/>
                      <a:pt x="11" y="46"/>
                      <a:pt x="11" y="47"/>
                    </a:cubicBezTo>
                    <a:cubicBezTo>
                      <a:pt x="12" y="47"/>
                      <a:pt x="12" y="47"/>
                      <a:pt x="13" y="47"/>
                    </a:cubicBezTo>
                    <a:cubicBezTo>
                      <a:pt x="14" y="47"/>
                      <a:pt x="14" y="48"/>
                      <a:pt x="15" y="48"/>
                    </a:cubicBezTo>
                    <a:cubicBezTo>
                      <a:pt x="15" y="47"/>
                      <a:pt x="16" y="47"/>
                      <a:pt x="16" y="47"/>
                    </a:cubicBezTo>
                    <a:cubicBezTo>
                      <a:pt x="17" y="47"/>
                      <a:pt x="17" y="48"/>
                      <a:pt x="18" y="48"/>
                    </a:cubicBezTo>
                    <a:cubicBezTo>
                      <a:pt x="18" y="49"/>
                      <a:pt x="19" y="49"/>
                      <a:pt x="19" y="49"/>
                    </a:cubicBezTo>
                    <a:cubicBezTo>
                      <a:pt x="20" y="49"/>
                      <a:pt x="20" y="48"/>
                      <a:pt x="21" y="48"/>
                    </a:cubicBezTo>
                    <a:cubicBezTo>
                      <a:pt x="22" y="47"/>
                      <a:pt x="24" y="47"/>
                      <a:pt x="25" y="47"/>
                    </a:cubicBezTo>
                    <a:cubicBezTo>
                      <a:pt x="26" y="47"/>
                      <a:pt x="27" y="47"/>
                      <a:pt x="28" y="45"/>
                    </a:cubicBezTo>
                    <a:cubicBezTo>
                      <a:pt x="28" y="45"/>
                      <a:pt x="28" y="45"/>
                      <a:pt x="29" y="44"/>
                    </a:cubicBezTo>
                    <a:cubicBezTo>
                      <a:pt x="29" y="44"/>
                      <a:pt x="30" y="44"/>
                      <a:pt x="30" y="44"/>
                    </a:cubicBezTo>
                    <a:cubicBezTo>
                      <a:pt x="31" y="44"/>
                      <a:pt x="31" y="44"/>
                      <a:pt x="31" y="44"/>
                    </a:cubicBezTo>
                    <a:cubicBezTo>
                      <a:pt x="31" y="43"/>
                      <a:pt x="32" y="43"/>
                      <a:pt x="32" y="43"/>
                    </a:cubicBezTo>
                    <a:cubicBezTo>
                      <a:pt x="33" y="43"/>
                      <a:pt x="33" y="43"/>
                      <a:pt x="33" y="43"/>
                    </a:cubicBezTo>
                    <a:cubicBezTo>
                      <a:pt x="33" y="43"/>
                      <a:pt x="33" y="43"/>
                      <a:pt x="33" y="43"/>
                    </a:cubicBezTo>
                    <a:cubicBezTo>
                      <a:pt x="34" y="42"/>
                      <a:pt x="34" y="43"/>
                      <a:pt x="35" y="43"/>
                    </a:cubicBezTo>
                    <a:cubicBezTo>
                      <a:pt x="35" y="43"/>
                      <a:pt x="35" y="42"/>
                      <a:pt x="35" y="42"/>
                    </a:cubicBezTo>
                    <a:cubicBezTo>
                      <a:pt x="36" y="42"/>
                      <a:pt x="36" y="42"/>
                      <a:pt x="36" y="42"/>
                    </a:cubicBezTo>
                    <a:cubicBezTo>
                      <a:pt x="37" y="42"/>
                      <a:pt x="37" y="42"/>
                      <a:pt x="37" y="42"/>
                    </a:cubicBezTo>
                    <a:cubicBezTo>
                      <a:pt x="37" y="42"/>
                      <a:pt x="37" y="42"/>
                      <a:pt x="38" y="42"/>
                    </a:cubicBezTo>
                    <a:cubicBezTo>
                      <a:pt x="38" y="42"/>
                      <a:pt x="38" y="42"/>
                      <a:pt x="38" y="42"/>
                    </a:cubicBezTo>
                    <a:cubicBezTo>
                      <a:pt x="39" y="42"/>
                      <a:pt x="39" y="43"/>
                      <a:pt x="40" y="43"/>
                    </a:cubicBezTo>
                    <a:cubicBezTo>
                      <a:pt x="40" y="43"/>
                      <a:pt x="40" y="43"/>
                      <a:pt x="40" y="44"/>
                    </a:cubicBezTo>
                    <a:cubicBezTo>
                      <a:pt x="41" y="44"/>
                      <a:pt x="40" y="44"/>
                      <a:pt x="41" y="44"/>
                    </a:cubicBezTo>
                    <a:cubicBezTo>
                      <a:pt x="41" y="44"/>
                      <a:pt x="41" y="44"/>
                      <a:pt x="41" y="44"/>
                    </a:cubicBezTo>
                    <a:cubicBezTo>
                      <a:pt x="41" y="44"/>
                      <a:pt x="41" y="44"/>
                      <a:pt x="41" y="44"/>
                    </a:cubicBezTo>
                    <a:cubicBezTo>
                      <a:pt x="41" y="45"/>
                      <a:pt x="42" y="44"/>
                      <a:pt x="42" y="44"/>
                    </a:cubicBezTo>
                    <a:cubicBezTo>
                      <a:pt x="42" y="45"/>
                      <a:pt x="42" y="45"/>
                      <a:pt x="42" y="45"/>
                    </a:cubicBezTo>
                    <a:cubicBezTo>
                      <a:pt x="43" y="45"/>
                      <a:pt x="43" y="46"/>
                      <a:pt x="43" y="46"/>
                    </a:cubicBezTo>
                    <a:cubicBezTo>
                      <a:pt x="43" y="46"/>
                      <a:pt x="43" y="46"/>
                      <a:pt x="43" y="46"/>
                    </a:cubicBezTo>
                    <a:cubicBezTo>
                      <a:pt x="43" y="45"/>
                      <a:pt x="43" y="45"/>
                      <a:pt x="44" y="45"/>
                    </a:cubicBezTo>
                    <a:cubicBezTo>
                      <a:pt x="44" y="45"/>
                      <a:pt x="45" y="46"/>
                      <a:pt x="45" y="46"/>
                    </a:cubicBezTo>
                    <a:cubicBezTo>
                      <a:pt x="45" y="46"/>
                      <a:pt x="46" y="46"/>
                      <a:pt x="46" y="47"/>
                    </a:cubicBezTo>
                    <a:cubicBezTo>
                      <a:pt x="46" y="47"/>
                      <a:pt x="46" y="47"/>
                      <a:pt x="47" y="47"/>
                    </a:cubicBezTo>
                    <a:cubicBezTo>
                      <a:pt x="47" y="47"/>
                      <a:pt x="47" y="47"/>
                      <a:pt x="48" y="47"/>
                    </a:cubicBezTo>
                    <a:cubicBezTo>
                      <a:pt x="48" y="47"/>
                      <a:pt x="48" y="48"/>
                      <a:pt x="48" y="49"/>
                    </a:cubicBezTo>
                    <a:cubicBezTo>
                      <a:pt x="48" y="49"/>
                      <a:pt x="48" y="49"/>
                      <a:pt x="48" y="49"/>
                    </a:cubicBezTo>
                    <a:cubicBezTo>
                      <a:pt x="48" y="49"/>
                      <a:pt x="48" y="50"/>
                      <a:pt x="48" y="50"/>
                    </a:cubicBezTo>
                    <a:cubicBezTo>
                      <a:pt x="48" y="50"/>
                      <a:pt x="47" y="51"/>
                      <a:pt x="47" y="52"/>
                    </a:cubicBezTo>
                    <a:cubicBezTo>
                      <a:pt x="48" y="52"/>
                      <a:pt x="48" y="52"/>
                      <a:pt x="48" y="52"/>
                    </a:cubicBezTo>
                    <a:cubicBezTo>
                      <a:pt x="48" y="53"/>
                      <a:pt x="49" y="53"/>
                      <a:pt x="49" y="53"/>
                    </a:cubicBezTo>
                    <a:cubicBezTo>
                      <a:pt x="49" y="54"/>
                      <a:pt x="49" y="54"/>
                      <a:pt x="50" y="54"/>
                    </a:cubicBezTo>
                    <a:cubicBezTo>
                      <a:pt x="50" y="54"/>
                      <a:pt x="50" y="53"/>
                      <a:pt x="50" y="54"/>
                    </a:cubicBezTo>
                    <a:cubicBezTo>
                      <a:pt x="50" y="54"/>
                      <a:pt x="50" y="55"/>
                      <a:pt x="50" y="55"/>
                    </a:cubicBezTo>
                    <a:cubicBezTo>
                      <a:pt x="50" y="56"/>
                      <a:pt x="50" y="56"/>
                      <a:pt x="50" y="56"/>
                    </a:cubicBezTo>
                    <a:cubicBezTo>
                      <a:pt x="50" y="56"/>
                      <a:pt x="50" y="56"/>
                      <a:pt x="51" y="56"/>
                    </a:cubicBezTo>
                    <a:cubicBezTo>
                      <a:pt x="51" y="57"/>
                      <a:pt x="51" y="57"/>
                      <a:pt x="51" y="57"/>
                    </a:cubicBezTo>
                    <a:cubicBezTo>
                      <a:pt x="51" y="57"/>
                      <a:pt x="51" y="58"/>
                      <a:pt x="52" y="58"/>
                    </a:cubicBezTo>
                    <a:cubicBezTo>
                      <a:pt x="52" y="58"/>
                      <a:pt x="52" y="58"/>
                      <a:pt x="53" y="58"/>
                    </a:cubicBezTo>
                    <a:cubicBezTo>
                      <a:pt x="53" y="59"/>
                      <a:pt x="53" y="61"/>
                      <a:pt x="53" y="61"/>
                    </a:cubicBezTo>
                    <a:cubicBezTo>
                      <a:pt x="53" y="62"/>
                      <a:pt x="54" y="62"/>
                      <a:pt x="54" y="63"/>
                    </a:cubicBezTo>
                    <a:cubicBezTo>
                      <a:pt x="54" y="63"/>
                      <a:pt x="53" y="63"/>
                      <a:pt x="52" y="63"/>
                    </a:cubicBezTo>
                    <a:cubicBezTo>
                      <a:pt x="52" y="63"/>
                      <a:pt x="52" y="62"/>
                      <a:pt x="52" y="62"/>
                    </a:cubicBezTo>
                    <a:cubicBezTo>
                      <a:pt x="52" y="62"/>
                      <a:pt x="51" y="63"/>
                      <a:pt x="51" y="63"/>
                    </a:cubicBezTo>
                    <a:cubicBezTo>
                      <a:pt x="51" y="63"/>
                      <a:pt x="50" y="62"/>
                      <a:pt x="50" y="62"/>
                    </a:cubicBezTo>
                    <a:cubicBezTo>
                      <a:pt x="50" y="62"/>
                      <a:pt x="49" y="63"/>
                      <a:pt x="49" y="62"/>
                    </a:cubicBezTo>
                    <a:cubicBezTo>
                      <a:pt x="49" y="62"/>
                      <a:pt x="48" y="63"/>
                      <a:pt x="48" y="63"/>
                    </a:cubicBezTo>
                    <a:cubicBezTo>
                      <a:pt x="48" y="62"/>
                      <a:pt x="48" y="61"/>
                      <a:pt x="48" y="61"/>
                    </a:cubicBezTo>
                    <a:cubicBezTo>
                      <a:pt x="47" y="61"/>
                      <a:pt x="46" y="62"/>
                      <a:pt x="46" y="62"/>
                    </a:cubicBezTo>
                    <a:cubicBezTo>
                      <a:pt x="46" y="63"/>
                      <a:pt x="46" y="64"/>
                      <a:pt x="46" y="64"/>
                    </a:cubicBezTo>
                    <a:cubicBezTo>
                      <a:pt x="46" y="65"/>
                      <a:pt x="47" y="64"/>
                      <a:pt x="47" y="65"/>
                    </a:cubicBezTo>
                    <a:cubicBezTo>
                      <a:pt x="47" y="65"/>
                      <a:pt x="46" y="66"/>
                      <a:pt x="46" y="66"/>
                    </a:cubicBezTo>
                    <a:cubicBezTo>
                      <a:pt x="46" y="66"/>
                      <a:pt x="46" y="67"/>
                      <a:pt x="46" y="67"/>
                    </a:cubicBezTo>
                    <a:cubicBezTo>
                      <a:pt x="46" y="67"/>
                      <a:pt x="45" y="67"/>
                      <a:pt x="45" y="67"/>
                    </a:cubicBezTo>
                    <a:cubicBezTo>
                      <a:pt x="45" y="67"/>
                      <a:pt x="45" y="68"/>
                      <a:pt x="44" y="68"/>
                    </a:cubicBezTo>
                    <a:cubicBezTo>
                      <a:pt x="44" y="69"/>
                      <a:pt x="44" y="70"/>
                      <a:pt x="43" y="70"/>
                    </a:cubicBezTo>
                    <a:cubicBezTo>
                      <a:pt x="43" y="70"/>
                      <a:pt x="44" y="71"/>
                      <a:pt x="43" y="71"/>
                    </a:cubicBezTo>
                    <a:cubicBezTo>
                      <a:pt x="42" y="71"/>
                      <a:pt x="42" y="71"/>
                      <a:pt x="41" y="71"/>
                    </a:cubicBezTo>
                    <a:cubicBezTo>
                      <a:pt x="42" y="73"/>
                      <a:pt x="43" y="74"/>
                      <a:pt x="45" y="74"/>
                    </a:cubicBezTo>
                    <a:cubicBezTo>
                      <a:pt x="45" y="73"/>
                      <a:pt x="46" y="73"/>
                      <a:pt x="46" y="73"/>
                    </a:cubicBezTo>
                    <a:cubicBezTo>
                      <a:pt x="47" y="73"/>
                      <a:pt x="47" y="72"/>
                      <a:pt x="48" y="72"/>
                    </a:cubicBezTo>
                    <a:cubicBezTo>
                      <a:pt x="49" y="72"/>
                      <a:pt x="50" y="72"/>
                      <a:pt x="51" y="73"/>
                    </a:cubicBezTo>
                    <a:cubicBezTo>
                      <a:pt x="52" y="73"/>
                      <a:pt x="52" y="73"/>
                      <a:pt x="52" y="72"/>
                    </a:cubicBezTo>
                    <a:cubicBezTo>
                      <a:pt x="51" y="72"/>
                      <a:pt x="51" y="72"/>
                      <a:pt x="51" y="72"/>
                    </a:cubicBezTo>
                    <a:cubicBezTo>
                      <a:pt x="51" y="71"/>
                      <a:pt x="51" y="71"/>
                      <a:pt x="51" y="70"/>
                    </a:cubicBezTo>
                    <a:cubicBezTo>
                      <a:pt x="51" y="70"/>
                      <a:pt x="51" y="69"/>
                      <a:pt x="51" y="69"/>
                    </a:cubicBezTo>
                    <a:cubicBezTo>
                      <a:pt x="52" y="69"/>
                      <a:pt x="52" y="69"/>
                      <a:pt x="52" y="70"/>
                    </a:cubicBezTo>
                    <a:cubicBezTo>
                      <a:pt x="52" y="69"/>
                      <a:pt x="53" y="68"/>
                      <a:pt x="53" y="68"/>
                    </a:cubicBezTo>
                    <a:cubicBezTo>
                      <a:pt x="54" y="68"/>
                      <a:pt x="55" y="68"/>
                      <a:pt x="56" y="67"/>
                    </a:cubicBezTo>
                    <a:cubicBezTo>
                      <a:pt x="56" y="66"/>
                      <a:pt x="57" y="65"/>
                      <a:pt x="57" y="64"/>
                    </a:cubicBezTo>
                    <a:cubicBezTo>
                      <a:pt x="58" y="64"/>
                      <a:pt x="58" y="64"/>
                      <a:pt x="58" y="63"/>
                    </a:cubicBezTo>
                    <a:cubicBezTo>
                      <a:pt x="58" y="62"/>
                      <a:pt x="58" y="62"/>
                      <a:pt x="58" y="61"/>
                    </a:cubicBezTo>
                    <a:cubicBezTo>
                      <a:pt x="59" y="61"/>
                      <a:pt x="60" y="61"/>
                      <a:pt x="60" y="61"/>
                    </a:cubicBezTo>
                    <a:cubicBezTo>
                      <a:pt x="61" y="60"/>
                      <a:pt x="62" y="61"/>
                      <a:pt x="62" y="60"/>
                    </a:cubicBezTo>
                    <a:cubicBezTo>
                      <a:pt x="63" y="60"/>
                      <a:pt x="63" y="60"/>
                      <a:pt x="64" y="60"/>
                    </a:cubicBezTo>
                    <a:cubicBezTo>
                      <a:pt x="64" y="60"/>
                      <a:pt x="64" y="60"/>
                      <a:pt x="65" y="60"/>
                    </a:cubicBezTo>
                    <a:cubicBezTo>
                      <a:pt x="66" y="59"/>
                      <a:pt x="65" y="57"/>
                      <a:pt x="65" y="56"/>
                    </a:cubicBezTo>
                    <a:cubicBezTo>
                      <a:pt x="67" y="57"/>
                      <a:pt x="65" y="59"/>
                      <a:pt x="67" y="61"/>
                    </a:cubicBezTo>
                    <a:cubicBezTo>
                      <a:pt x="68" y="61"/>
                      <a:pt x="69" y="60"/>
                      <a:pt x="71" y="61"/>
                    </a:cubicBezTo>
                    <a:cubicBezTo>
                      <a:pt x="70" y="61"/>
                      <a:pt x="70" y="62"/>
                      <a:pt x="69" y="62"/>
                    </a:cubicBezTo>
                    <a:cubicBezTo>
                      <a:pt x="68" y="62"/>
                      <a:pt x="67" y="62"/>
                      <a:pt x="67" y="61"/>
                    </a:cubicBezTo>
                    <a:cubicBezTo>
                      <a:pt x="66" y="61"/>
                      <a:pt x="64" y="60"/>
                      <a:pt x="63" y="61"/>
                    </a:cubicBezTo>
                    <a:cubicBezTo>
                      <a:pt x="62" y="62"/>
                      <a:pt x="66" y="62"/>
                      <a:pt x="66" y="62"/>
                    </a:cubicBezTo>
                    <a:cubicBezTo>
                      <a:pt x="67" y="63"/>
                      <a:pt x="66" y="63"/>
                      <a:pt x="65" y="63"/>
                    </a:cubicBezTo>
                    <a:cubicBezTo>
                      <a:pt x="65" y="64"/>
                      <a:pt x="67" y="64"/>
                      <a:pt x="67" y="64"/>
                    </a:cubicBezTo>
                    <a:cubicBezTo>
                      <a:pt x="67" y="64"/>
                      <a:pt x="68" y="64"/>
                      <a:pt x="68" y="65"/>
                    </a:cubicBezTo>
                    <a:cubicBezTo>
                      <a:pt x="68" y="65"/>
                      <a:pt x="68" y="65"/>
                      <a:pt x="69" y="65"/>
                    </a:cubicBezTo>
                    <a:cubicBezTo>
                      <a:pt x="69" y="66"/>
                      <a:pt x="70" y="66"/>
                      <a:pt x="71" y="66"/>
                    </a:cubicBezTo>
                    <a:cubicBezTo>
                      <a:pt x="72" y="65"/>
                      <a:pt x="73" y="65"/>
                      <a:pt x="74" y="65"/>
                    </a:cubicBezTo>
                    <a:cubicBezTo>
                      <a:pt x="74" y="65"/>
                      <a:pt x="74" y="65"/>
                      <a:pt x="75" y="65"/>
                    </a:cubicBezTo>
                    <a:cubicBezTo>
                      <a:pt x="75" y="65"/>
                      <a:pt x="75" y="65"/>
                      <a:pt x="75" y="65"/>
                    </a:cubicBezTo>
                    <a:cubicBezTo>
                      <a:pt x="76" y="65"/>
                      <a:pt x="76" y="66"/>
                      <a:pt x="76" y="66"/>
                    </a:cubicBezTo>
                    <a:cubicBezTo>
                      <a:pt x="77" y="66"/>
                      <a:pt x="77" y="65"/>
                      <a:pt x="78" y="65"/>
                    </a:cubicBezTo>
                    <a:cubicBezTo>
                      <a:pt x="79" y="65"/>
                      <a:pt x="78" y="67"/>
                      <a:pt x="78" y="68"/>
                    </a:cubicBezTo>
                    <a:cubicBezTo>
                      <a:pt x="77" y="68"/>
                      <a:pt x="76" y="68"/>
                      <a:pt x="76" y="69"/>
                    </a:cubicBezTo>
                    <a:cubicBezTo>
                      <a:pt x="75" y="69"/>
                      <a:pt x="73" y="69"/>
                      <a:pt x="73" y="70"/>
                    </a:cubicBezTo>
                    <a:cubicBezTo>
                      <a:pt x="72" y="71"/>
                      <a:pt x="72" y="71"/>
                      <a:pt x="71" y="71"/>
                    </a:cubicBezTo>
                    <a:cubicBezTo>
                      <a:pt x="71" y="71"/>
                      <a:pt x="70" y="72"/>
                      <a:pt x="70" y="73"/>
                    </a:cubicBezTo>
                    <a:cubicBezTo>
                      <a:pt x="71" y="73"/>
                      <a:pt x="71" y="73"/>
                      <a:pt x="72" y="73"/>
                    </a:cubicBezTo>
                    <a:cubicBezTo>
                      <a:pt x="73" y="73"/>
                      <a:pt x="73" y="73"/>
                      <a:pt x="74" y="73"/>
                    </a:cubicBezTo>
                    <a:cubicBezTo>
                      <a:pt x="74" y="74"/>
                      <a:pt x="75" y="74"/>
                      <a:pt x="75" y="74"/>
                    </a:cubicBezTo>
                    <a:cubicBezTo>
                      <a:pt x="75" y="75"/>
                      <a:pt x="76" y="75"/>
                      <a:pt x="76" y="75"/>
                    </a:cubicBezTo>
                    <a:cubicBezTo>
                      <a:pt x="77" y="75"/>
                      <a:pt x="78" y="76"/>
                      <a:pt x="78" y="77"/>
                    </a:cubicBezTo>
                    <a:cubicBezTo>
                      <a:pt x="78" y="78"/>
                      <a:pt x="77" y="78"/>
                      <a:pt x="77" y="79"/>
                    </a:cubicBezTo>
                    <a:cubicBezTo>
                      <a:pt x="77" y="79"/>
                      <a:pt x="77" y="79"/>
                      <a:pt x="77" y="80"/>
                    </a:cubicBezTo>
                    <a:cubicBezTo>
                      <a:pt x="77" y="80"/>
                      <a:pt x="77" y="80"/>
                      <a:pt x="76" y="80"/>
                    </a:cubicBezTo>
                    <a:cubicBezTo>
                      <a:pt x="76" y="80"/>
                      <a:pt x="76" y="81"/>
                      <a:pt x="77" y="81"/>
                    </a:cubicBezTo>
                    <a:cubicBezTo>
                      <a:pt x="77" y="81"/>
                      <a:pt x="78" y="81"/>
                      <a:pt x="78" y="82"/>
                    </a:cubicBezTo>
                    <a:cubicBezTo>
                      <a:pt x="80" y="82"/>
                      <a:pt x="81" y="81"/>
                      <a:pt x="82" y="80"/>
                    </a:cubicBezTo>
                    <a:cubicBezTo>
                      <a:pt x="83" y="80"/>
                      <a:pt x="83" y="79"/>
                      <a:pt x="84" y="78"/>
                    </a:cubicBezTo>
                    <a:cubicBezTo>
                      <a:pt x="84" y="78"/>
                      <a:pt x="86" y="78"/>
                      <a:pt x="86" y="78"/>
                    </a:cubicBezTo>
                    <a:cubicBezTo>
                      <a:pt x="87" y="78"/>
                      <a:pt x="87" y="78"/>
                      <a:pt x="88" y="78"/>
                    </a:cubicBezTo>
                    <a:cubicBezTo>
                      <a:pt x="88" y="78"/>
                      <a:pt x="88" y="77"/>
                      <a:pt x="88" y="77"/>
                    </a:cubicBezTo>
                    <a:cubicBezTo>
                      <a:pt x="89" y="77"/>
                      <a:pt x="89" y="77"/>
                      <a:pt x="90" y="76"/>
                    </a:cubicBezTo>
                    <a:cubicBezTo>
                      <a:pt x="90" y="76"/>
                      <a:pt x="90" y="75"/>
                      <a:pt x="90" y="75"/>
                    </a:cubicBezTo>
                    <a:cubicBezTo>
                      <a:pt x="91" y="75"/>
                      <a:pt x="92" y="76"/>
                      <a:pt x="93" y="76"/>
                    </a:cubicBezTo>
                    <a:cubicBezTo>
                      <a:pt x="94" y="76"/>
                      <a:pt x="94" y="76"/>
                      <a:pt x="94" y="76"/>
                    </a:cubicBezTo>
                    <a:cubicBezTo>
                      <a:pt x="95" y="76"/>
                      <a:pt x="95" y="76"/>
                      <a:pt x="95" y="76"/>
                    </a:cubicBezTo>
                    <a:cubicBezTo>
                      <a:pt x="96" y="75"/>
                      <a:pt x="96" y="76"/>
                      <a:pt x="97" y="76"/>
                    </a:cubicBezTo>
                    <a:cubicBezTo>
                      <a:pt x="97" y="75"/>
                      <a:pt x="96" y="75"/>
                      <a:pt x="96" y="75"/>
                    </a:cubicBezTo>
                    <a:cubicBezTo>
                      <a:pt x="96" y="73"/>
                      <a:pt x="98" y="73"/>
                      <a:pt x="98" y="73"/>
                    </a:cubicBezTo>
                    <a:cubicBezTo>
                      <a:pt x="98" y="72"/>
                      <a:pt x="97" y="72"/>
                      <a:pt x="96" y="72"/>
                    </a:cubicBezTo>
                    <a:cubicBezTo>
                      <a:pt x="96" y="72"/>
                      <a:pt x="96" y="72"/>
                      <a:pt x="95" y="72"/>
                    </a:cubicBezTo>
                    <a:cubicBezTo>
                      <a:pt x="95" y="72"/>
                      <a:pt x="94" y="73"/>
                      <a:pt x="93" y="73"/>
                    </a:cubicBezTo>
                    <a:cubicBezTo>
                      <a:pt x="93" y="72"/>
                      <a:pt x="93" y="72"/>
                      <a:pt x="92" y="71"/>
                    </a:cubicBezTo>
                    <a:cubicBezTo>
                      <a:pt x="92" y="71"/>
                      <a:pt x="91" y="72"/>
                      <a:pt x="91" y="73"/>
                    </a:cubicBezTo>
                    <a:cubicBezTo>
                      <a:pt x="90" y="74"/>
                      <a:pt x="89" y="72"/>
                      <a:pt x="88" y="71"/>
                    </a:cubicBezTo>
                    <a:cubicBezTo>
                      <a:pt x="87" y="69"/>
                      <a:pt x="86" y="68"/>
                      <a:pt x="86" y="66"/>
                    </a:cubicBezTo>
                    <a:cubicBezTo>
                      <a:pt x="86" y="65"/>
                      <a:pt x="86" y="65"/>
                      <a:pt x="86" y="64"/>
                    </a:cubicBezTo>
                    <a:cubicBezTo>
                      <a:pt x="87" y="64"/>
                      <a:pt x="88" y="63"/>
                      <a:pt x="89" y="63"/>
                    </a:cubicBezTo>
                    <a:cubicBezTo>
                      <a:pt x="89" y="63"/>
                      <a:pt x="88" y="64"/>
                      <a:pt x="88" y="64"/>
                    </a:cubicBezTo>
                    <a:cubicBezTo>
                      <a:pt x="88" y="65"/>
                      <a:pt x="87" y="65"/>
                      <a:pt x="88" y="66"/>
                    </a:cubicBezTo>
                    <a:cubicBezTo>
                      <a:pt x="88" y="66"/>
                      <a:pt x="89" y="64"/>
                      <a:pt x="89" y="63"/>
                    </a:cubicBezTo>
                    <a:cubicBezTo>
                      <a:pt x="91" y="62"/>
                      <a:pt x="94" y="59"/>
                      <a:pt x="96" y="61"/>
                    </a:cubicBezTo>
                    <a:cubicBezTo>
                      <a:pt x="96" y="60"/>
                      <a:pt x="96" y="59"/>
                      <a:pt x="97" y="59"/>
                    </a:cubicBezTo>
                    <a:cubicBezTo>
                      <a:pt x="98" y="59"/>
                      <a:pt x="98" y="59"/>
                      <a:pt x="99" y="59"/>
                    </a:cubicBezTo>
                    <a:cubicBezTo>
                      <a:pt x="99" y="59"/>
                      <a:pt x="99" y="60"/>
                      <a:pt x="99" y="60"/>
                    </a:cubicBezTo>
                    <a:cubicBezTo>
                      <a:pt x="99" y="59"/>
                      <a:pt x="100" y="59"/>
                      <a:pt x="101" y="58"/>
                    </a:cubicBezTo>
                    <a:cubicBezTo>
                      <a:pt x="101" y="58"/>
                      <a:pt x="101" y="58"/>
                      <a:pt x="102" y="58"/>
                    </a:cubicBezTo>
                    <a:cubicBezTo>
                      <a:pt x="102" y="58"/>
                      <a:pt x="102" y="58"/>
                      <a:pt x="103" y="58"/>
                    </a:cubicBezTo>
                    <a:cubicBezTo>
                      <a:pt x="103" y="57"/>
                      <a:pt x="103" y="57"/>
                      <a:pt x="103" y="57"/>
                    </a:cubicBezTo>
                    <a:cubicBezTo>
                      <a:pt x="104" y="56"/>
                      <a:pt x="104" y="56"/>
                      <a:pt x="105" y="56"/>
                    </a:cubicBezTo>
                    <a:cubicBezTo>
                      <a:pt x="106" y="56"/>
                      <a:pt x="107" y="56"/>
                      <a:pt x="108" y="56"/>
                    </a:cubicBezTo>
                    <a:cubicBezTo>
                      <a:pt x="108" y="56"/>
                      <a:pt x="108" y="56"/>
                      <a:pt x="108" y="56"/>
                    </a:cubicBezTo>
                    <a:cubicBezTo>
                      <a:pt x="108" y="56"/>
                      <a:pt x="108" y="56"/>
                      <a:pt x="109" y="56"/>
                    </a:cubicBezTo>
                    <a:cubicBezTo>
                      <a:pt x="108" y="56"/>
                      <a:pt x="108" y="56"/>
                      <a:pt x="108" y="5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4" name="Freeform 778">
                <a:extLst>
                  <a:ext uri="{FF2B5EF4-FFF2-40B4-BE49-F238E27FC236}">
                    <a16:creationId xmlns:a16="http://schemas.microsoft.com/office/drawing/2014/main" id="{256869B8-CC36-6353-FAAD-65FCB0C8C522}"/>
                  </a:ext>
                </a:extLst>
              </p:cNvPr>
              <p:cNvSpPr>
                <a:spLocks/>
              </p:cNvSpPr>
              <p:nvPr/>
            </p:nvSpPr>
            <p:spPr bwMode="auto">
              <a:xfrm>
                <a:off x="5546725" y="3351213"/>
                <a:ext cx="128587" cy="79375"/>
              </a:xfrm>
              <a:custGeom>
                <a:avLst/>
                <a:gdLst>
                  <a:gd name="T0" fmla="*/ 12 w 31"/>
                  <a:gd name="T1" fmla="*/ 18 h 19"/>
                  <a:gd name="T2" fmla="*/ 14 w 31"/>
                  <a:gd name="T3" fmla="*/ 18 h 19"/>
                  <a:gd name="T4" fmla="*/ 15 w 31"/>
                  <a:gd name="T5" fmla="*/ 16 h 19"/>
                  <a:gd name="T6" fmla="*/ 16 w 31"/>
                  <a:gd name="T7" fmla="*/ 13 h 19"/>
                  <a:gd name="T8" fmla="*/ 18 w 31"/>
                  <a:gd name="T9" fmla="*/ 16 h 19"/>
                  <a:gd name="T10" fmla="*/ 19 w 31"/>
                  <a:gd name="T11" fmla="*/ 16 h 19"/>
                  <a:gd name="T12" fmla="*/ 20 w 31"/>
                  <a:gd name="T13" fmla="*/ 18 h 19"/>
                  <a:gd name="T14" fmla="*/ 20 w 31"/>
                  <a:gd name="T15" fmla="*/ 19 h 19"/>
                  <a:gd name="T16" fmla="*/ 21 w 31"/>
                  <a:gd name="T17" fmla="*/ 18 h 19"/>
                  <a:gd name="T18" fmla="*/ 22 w 31"/>
                  <a:gd name="T19" fmla="*/ 16 h 19"/>
                  <a:gd name="T20" fmla="*/ 23 w 31"/>
                  <a:gd name="T21" fmla="*/ 13 h 19"/>
                  <a:gd name="T22" fmla="*/ 26 w 31"/>
                  <a:gd name="T23" fmla="*/ 14 h 19"/>
                  <a:gd name="T24" fmla="*/ 29 w 31"/>
                  <a:gd name="T25" fmla="*/ 15 h 19"/>
                  <a:gd name="T26" fmla="*/ 28 w 31"/>
                  <a:gd name="T27" fmla="*/ 13 h 19"/>
                  <a:gd name="T28" fmla="*/ 28 w 31"/>
                  <a:gd name="T29" fmla="*/ 12 h 19"/>
                  <a:gd name="T30" fmla="*/ 30 w 31"/>
                  <a:gd name="T31" fmla="*/ 12 h 19"/>
                  <a:gd name="T32" fmla="*/ 30 w 31"/>
                  <a:gd name="T33" fmla="*/ 11 h 19"/>
                  <a:gd name="T34" fmla="*/ 31 w 31"/>
                  <a:gd name="T35" fmla="*/ 8 h 19"/>
                  <a:gd name="T36" fmla="*/ 28 w 31"/>
                  <a:gd name="T37" fmla="*/ 9 h 19"/>
                  <a:gd name="T38" fmla="*/ 24 w 31"/>
                  <a:gd name="T39" fmla="*/ 7 h 19"/>
                  <a:gd name="T40" fmla="*/ 25 w 31"/>
                  <a:gd name="T41" fmla="*/ 5 h 19"/>
                  <a:gd name="T42" fmla="*/ 25 w 31"/>
                  <a:gd name="T43" fmla="*/ 2 h 19"/>
                  <a:gd name="T44" fmla="*/ 20 w 31"/>
                  <a:gd name="T45" fmla="*/ 1 h 19"/>
                  <a:gd name="T46" fmla="*/ 17 w 31"/>
                  <a:gd name="T47" fmla="*/ 1 h 19"/>
                  <a:gd name="T48" fmla="*/ 15 w 31"/>
                  <a:gd name="T49" fmla="*/ 2 h 19"/>
                  <a:gd name="T50" fmla="*/ 11 w 31"/>
                  <a:gd name="T51" fmla="*/ 2 h 19"/>
                  <a:gd name="T52" fmla="*/ 10 w 31"/>
                  <a:gd name="T53" fmla="*/ 3 h 19"/>
                  <a:gd name="T54" fmla="*/ 9 w 31"/>
                  <a:gd name="T55" fmla="*/ 3 h 19"/>
                  <a:gd name="T56" fmla="*/ 7 w 31"/>
                  <a:gd name="T57" fmla="*/ 3 h 19"/>
                  <a:gd name="T58" fmla="*/ 7 w 31"/>
                  <a:gd name="T59" fmla="*/ 4 h 19"/>
                  <a:gd name="T60" fmla="*/ 7 w 31"/>
                  <a:gd name="T61" fmla="*/ 5 h 19"/>
                  <a:gd name="T62" fmla="*/ 6 w 31"/>
                  <a:gd name="T63" fmla="*/ 7 h 19"/>
                  <a:gd name="T64" fmla="*/ 3 w 31"/>
                  <a:gd name="T65" fmla="*/ 8 h 19"/>
                  <a:gd name="T66" fmla="*/ 4 w 31"/>
                  <a:gd name="T67" fmla="*/ 10 h 19"/>
                  <a:gd name="T68" fmla="*/ 1 w 31"/>
                  <a:gd name="T69" fmla="*/ 12 h 19"/>
                  <a:gd name="T70" fmla="*/ 2 w 31"/>
                  <a:gd name="T71" fmla="*/ 14 h 19"/>
                  <a:gd name="T72" fmla="*/ 0 w 31"/>
                  <a:gd name="T73" fmla="*/ 16 h 19"/>
                  <a:gd name="T74" fmla="*/ 2 w 31"/>
                  <a:gd name="T75" fmla="*/ 14 h 19"/>
                  <a:gd name="T76" fmla="*/ 4 w 31"/>
                  <a:gd name="T77" fmla="*/ 13 h 19"/>
                  <a:gd name="T78" fmla="*/ 6 w 31"/>
                  <a:gd name="T79" fmla="*/ 15 h 19"/>
                  <a:gd name="T80" fmla="*/ 6 w 31"/>
                  <a:gd name="T81" fmla="*/ 17 h 19"/>
                  <a:gd name="T82" fmla="*/ 10 w 31"/>
                  <a:gd name="T8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19">
                    <a:moveTo>
                      <a:pt x="10" y="18"/>
                    </a:moveTo>
                    <a:cubicBezTo>
                      <a:pt x="11" y="18"/>
                      <a:pt x="11" y="18"/>
                      <a:pt x="12" y="18"/>
                    </a:cubicBezTo>
                    <a:cubicBezTo>
                      <a:pt x="12" y="18"/>
                      <a:pt x="13" y="18"/>
                      <a:pt x="13" y="18"/>
                    </a:cubicBezTo>
                    <a:cubicBezTo>
                      <a:pt x="13" y="18"/>
                      <a:pt x="14" y="18"/>
                      <a:pt x="14" y="18"/>
                    </a:cubicBezTo>
                    <a:cubicBezTo>
                      <a:pt x="14" y="17"/>
                      <a:pt x="14" y="17"/>
                      <a:pt x="14" y="17"/>
                    </a:cubicBezTo>
                    <a:cubicBezTo>
                      <a:pt x="15" y="16"/>
                      <a:pt x="15" y="16"/>
                      <a:pt x="15" y="16"/>
                    </a:cubicBezTo>
                    <a:cubicBezTo>
                      <a:pt x="15" y="15"/>
                      <a:pt x="14" y="15"/>
                      <a:pt x="15" y="15"/>
                    </a:cubicBezTo>
                    <a:cubicBezTo>
                      <a:pt x="16" y="14"/>
                      <a:pt x="16" y="14"/>
                      <a:pt x="16" y="13"/>
                    </a:cubicBezTo>
                    <a:cubicBezTo>
                      <a:pt x="17" y="13"/>
                      <a:pt x="17" y="14"/>
                      <a:pt x="17" y="14"/>
                    </a:cubicBezTo>
                    <a:cubicBezTo>
                      <a:pt x="17" y="15"/>
                      <a:pt x="17" y="15"/>
                      <a:pt x="18" y="16"/>
                    </a:cubicBezTo>
                    <a:cubicBezTo>
                      <a:pt x="18" y="16"/>
                      <a:pt x="18" y="16"/>
                      <a:pt x="19" y="16"/>
                    </a:cubicBezTo>
                    <a:cubicBezTo>
                      <a:pt x="19" y="16"/>
                      <a:pt x="19" y="16"/>
                      <a:pt x="19" y="16"/>
                    </a:cubicBezTo>
                    <a:cubicBezTo>
                      <a:pt x="20" y="17"/>
                      <a:pt x="19" y="17"/>
                      <a:pt x="20" y="17"/>
                    </a:cubicBezTo>
                    <a:cubicBezTo>
                      <a:pt x="20" y="18"/>
                      <a:pt x="20" y="18"/>
                      <a:pt x="20" y="18"/>
                    </a:cubicBezTo>
                    <a:cubicBezTo>
                      <a:pt x="20" y="18"/>
                      <a:pt x="20" y="18"/>
                      <a:pt x="20" y="18"/>
                    </a:cubicBezTo>
                    <a:cubicBezTo>
                      <a:pt x="20" y="18"/>
                      <a:pt x="20" y="19"/>
                      <a:pt x="20" y="19"/>
                    </a:cubicBezTo>
                    <a:cubicBezTo>
                      <a:pt x="20" y="19"/>
                      <a:pt x="20" y="19"/>
                      <a:pt x="21" y="19"/>
                    </a:cubicBezTo>
                    <a:cubicBezTo>
                      <a:pt x="22" y="19"/>
                      <a:pt x="21" y="18"/>
                      <a:pt x="21" y="18"/>
                    </a:cubicBezTo>
                    <a:cubicBezTo>
                      <a:pt x="20" y="17"/>
                      <a:pt x="21" y="17"/>
                      <a:pt x="21" y="17"/>
                    </a:cubicBezTo>
                    <a:cubicBezTo>
                      <a:pt x="21" y="16"/>
                      <a:pt x="21" y="16"/>
                      <a:pt x="22" y="16"/>
                    </a:cubicBezTo>
                    <a:cubicBezTo>
                      <a:pt x="22" y="15"/>
                      <a:pt x="22" y="15"/>
                      <a:pt x="22" y="15"/>
                    </a:cubicBezTo>
                    <a:cubicBezTo>
                      <a:pt x="23" y="14"/>
                      <a:pt x="22" y="14"/>
                      <a:pt x="23" y="13"/>
                    </a:cubicBezTo>
                    <a:cubicBezTo>
                      <a:pt x="23" y="12"/>
                      <a:pt x="24" y="13"/>
                      <a:pt x="24" y="14"/>
                    </a:cubicBezTo>
                    <a:cubicBezTo>
                      <a:pt x="25" y="15"/>
                      <a:pt x="25" y="14"/>
                      <a:pt x="26" y="14"/>
                    </a:cubicBezTo>
                    <a:cubicBezTo>
                      <a:pt x="27" y="14"/>
                      <a:pt x="27" y="14"/>
                      <a:pt x="28" y="15"/>
                    </a:cubicBezTo>
                    <a:cubicBezTo>
                      <a:pt x="28" y="15"/>
                      <a:pt x="28" y="16"/>
                      <a:pt x="29" y="15"/>
                    </a:cubicBezTo>
                    <a:cubicBezTo>
                      <a:pt x="29" y="15"/>
                      <a:pt x="28" y="15"/>
                      <a:pt x="28" y="14"/>
                    </a:cubicBezTo>
                    <a:cubicBezTo>
                      <a:pt x="28" y="14"/>
                      <a:pt x="28" y="14"/>
                      <a:pt x="28" y="13"/>
                    </a:cubicBezTo>
                    <a:cubicBezTo>
                      <a:pt x="28" y="13"/>
                      <a:pt x="28" y="13"/>
                      <a:pt x="28" y="13"/>
                    </a:cubicBezTo>
                    <a:cubicBezTo>
                      <a:pt x="28" y="13"/>
                      <a:pt x="28" y="12"/>
                      <a:pt x="28" y="12"/>
                    </a:cubicBezTo>
                    <a:cubicBezTo>
                      <a:pt x="28" y="12"/>
                      <a:pt x="29" y="12"/>
                      <a:pt x="29" y="12"/>
                    </a:cubicBezTo>
                    <a:cubicBezTo>
                      <a:pt x="29" y="12"/>
                      <a:pt x="29" y="12"/>
                      <a:pt x="30" y="12"/>
                    </a:cubicBezTo>
                    <a:cubicBezTo>
                      <a:pt x="30" y="13"/>
                      <a:pt x="31" y="12"/>
                      <a:pt x="31" y="12"/>
                    </a:cubicBezTo>
                    <a:cubicBezTo>
                      <a:pt x="31" y="12"/>
                      <a:pt x="30" y="11"/>
                      <a:pt x="30" y="11"/>
                    </a:cubicBezTo>
                    <a:cubicBezTo>
                      <a:pt x="30" y="10"/>
                      <a:pt x="30" y="10"/>
                      <a:pt x="31" y="10"/>
                    </a:cubicBezTo>
                    <a:cubicBezTo>
                      <a:pt x="31" y="9"/>
                      <a:pt x="31" y="8"/>
                      <a:pt x="31" y="8"/>
                    </a:cubicBezTo>
                    <a:cubicBezTo>
                      <a:pt x="30" y="7"/>
                      <a:pt x="30" y="8"/>
                      <a:pt x="29" y="9"/>
                    </a:cubicBezTo>
                    <a:cubicBezTo>
                      <a:pt x="29" y="9"/>
                      <a:pt x="28" y="9"/>
                      <a:pt x="28" y="9"/>
                    </a:cubicBezTo>
                    <a:cubicBezTo>
                      <a:pt x="27" y="8"/>
                      <a:pt x="27" y="8"/>
                      <a:pt x="27" y="7"/>
                    </a:cubicBezTo>
                    <a:cubicBezTo>
                      <a:pt x="26" y="7"/>
                      <a:pt x="25" y="7"/>
                      <a:pt x="24" y="7"/>
                    </a:cubicBezTo>
                    <a:cubicBezTo>
                      <a:pt x="24" y="7"/>
                      <a:pt x="24" y="6"/>
                      <a:pt x="24" y="6"/>
                    </a:cubicBezTo>
                    <a:cubicBezTo>
                      <a:pt x="24" y="5"/>
                      <a:pt x="24" y="5"/>
                      <a:pt x="25" y="5"/>
                    </a:cubicBezTo>
                    <a:cubicBezTo>
                      <a:pt x="25" y="4"/>
                      <a:pt x="25" y="4"/>
                      <a:pt x="25" y="3"/>
                    </a:cubicBezTo>
                    <a:cubicBezTo>
                      <a:pt x="25" y="3"/>
                      <a:pt x="25" y="3"/>
                      <a:pt x="25" y="2"/>
                    </a:cubicBezTo>
                    <a:cubicBezTo>
                      <a:pt x="23" y="2"/>
                      <a:pt x="23" y="1"/>
                      <a:pt x="21" y="1"/>
                    </a:cubicBezTo>
                    <a:cubicBezTo>
                      <a:pt x="21" y="1"/>
                      <a:pt x="20" y="1"/>
                      <a:pt x="20" y="1"/>
                    </a:cubicBezTo>
                    <a:cubicBezTo>
                      <a:pt x="19" y="1"/>
                      <a:pt x="19" y="0"/>
                      <a:pt x="19" y="0"/>
                    </a:cubicBezTo>
                    <a:cubicBezTo>
                      <a:pt x="18" y="0"/>
                      <a:pt x="17" y="0"/>
                      <a:pt x="17" y="1"/>
                    </a:cubicBezTo>
                    <a:cubicBezTo>
                      <a:pt x="17" y="1"/>
                      <a:pt x="18" y="1"/>
                      <a:pt x="18" y="2"/>
                    </a:cubicBezTo>
                    <a:cubicBezTo>
                      <a:pt x="17" y="2"/>
                      <a:pt x="16" y="1"/>
                      <a:pt x="15" y="2"/>
                    </a:cubicBezTo>
                    <a:cubicBezTo>
                      <a:pt x="14" y="2"/>
                      <a:pt x="13" y="2"/>
                      <a:pt x="12" y="2"/>
                    </a:cubicBezTo>
                    <a:cubicBezTo>
                      <a:pt x="11" y="2"/>
                      <a:pt x="11" y="2"/>
                      <a:pt x="11" y="2"/>
                    </a:cubicBezTo>
                    <a:cubicBezTo>
                      <a:pt x="11" y="2"/>
                      <a:pt x="11" y="3"/>
                      <a:pt x="11" y="3"/>
                    </a:cubicBezTo>
                    <a:cubicBezTo>
                      <a:pt x="10" y="3"/>
                      <a:pt x="10" y="3"/>
                      <a:pt x="10" y="3"/>
                    </a:cubicBezTo>
                    <a:cubicBezTo>
                      <a:pt x="10" y="3"/>
                      <a:pt x="10" y="3"/>
                      <a:pt x="10" y="3"/>
                    </a:cubicBezTo>
                    <a:cubicBezTo>
                      <a:pt x="9" y="3"/>
                      <a:pt x="9" y="3"/>
                      <a:pt x="9" y="3"/>
                    </a:cubicBezTo>
                    <a:cubicBezTo>
                      <a:pt x="8" y="3"/>
                      <a:pt x="8" y="3"/>
                      <a:pt x="8" y="3"/>
                    </a:cubicBezTo>
                    <a:cubicBezTo>
                      <a:pt x="7" y="3"/>
                      <a:pt x="7" y="3"/>
                      <a:pt x="7" y="3"/>
                    </a:cubicBezTo>
                    <a:cubicBezTo>
                      <a:pt x="7" y="4"/>
                      <a:pt x="6" y="4"/>
                      <a:pt x="7" y="4"/>
                    </a:cubicBezTo>
                    <a:cubicBezTo>
                      <a:pt x="7" y="4"/>
                      <a:pt x="7" y="4"/>
                      <a:pt x="7" y="4"/>
                    </a:cubicBezTo>
                    <a:cubicBezTo>
                      <a:pt x="8" y="5"/>
                      <a:pt x="7" y="5"/>
                      <a:pt x="7" y="5"/>
                    </a:cubicBezTo>
                    <a:cubicBezTo>
                      <a:pt x="7" y="5"/>
                      <a:pt x="7" y="5"/>
                      <a:pt x="7" y="5"/>
                    </a:cubicBezTo>
                    <a:cubicBezTo>
                      <a:pt x="7" y="6"/>
                      <a:pt x="6" y="6"/>
                      <a:pt x="6" y="6"/>
                    </a:cubicBezTo>
                    <a:cubicBezTo>
                      <a:pt x="6" y="6"/>
                      <a:pt x="6" y="7"/>
                      <a:pt x="6" y="7"/>
                    </a:cubicBezTo>
                    <a:cubicBezTo>
                      <a:pt x="5" y="7"/>
                      <a:pt x="5" y="7"/>
                      <a:pt x="5" y="8"/>
                    </a:cubicBezTo>
                    <a:cubicBezTo>
                      <a:pt x="5" y="8"/>
                      <a:pt x="4" y="8"/>
                      <a:pt x="3" y="8"/>
                    </a:cubicBezTo>
                    <a:cubicBezTo>
                      <a:pt x="3" y="8"/>
                      <a:pt x="4" y="9"/>
                      <a:pt x="4" y="9"/>
                    </a:cubicBezTo>
                    <a:cubicBezTo>
                      <a:pt x="4" y="9"/>
                      <a:pt x="4" y="10"/>
                      <a:pt x="4" y="10"/>
                    </a:cubicBezTo>
                    <a:cubicBezTo>
                      <a:pt x="3" y="11"/>
                      <a:pt x="2" y="11"/>
                      <a:pt x="2" y="11"/>
                    </a:cubicBezTo>
                    <a:cubicBezTo>
                      <a:pt x="2" y="12"/>
                      <a:pt x="2" y="12"/>
                      <a:pt x="1" y="12"/>
                    </a:cubicBezTo>
                    <a:cubicBezTo>
                      <a:pt x="1" y="12"/>
                      <a:pt x="1" y="13"/>
                      <a:pt x="1" y="13"/>
                    </a:cubicBezTo>
                    <a:cubicBezTo>
                      <a:pt x="1" y="14"/>
                      <a:pt x="1" y="14"/>
                      <a:pt x="2" y="14"/>
                    </a:cubicBezTo>
                    <a:cubicBezTo>
                      <a:pt x="2" y="14"/>
                      <a:pt x="2" y="14"/>
                      <a:pt x="1" y="15"/>
                    </a:cubicBezTo>
                    <a:cubicBezTo>
                      <a:pt x="1" y="15"/>
                      <a:pt x="1" y="15"/>
                      <a:pt x="0" y="16"/>
                    </a:cubicBezTo>
                    <a:cubicBezTo>
                      <a:pt x="0" y="17"/>
                      <a:pt x="3" y="16"/>
                      <a:pt x="3" y="15"/>
                    </a:cubicBezTo>
                    <a:cubicBezTo>
                      <a:pt x="3" y="15"/>
                      <a:pt x="2" y="15"/>
                      <a:pt x="2" y="14"/>
                    </a:cubicBezTo>
                    <a:cubicBezTo>
                      <a:pt x="2" y="14"/>
                      <a:pt x="2" y="14"/>
                      <a:pt x="3" y="14"/>
                    </a:cubicBezTo>
                    <a:cubicBezTo>
                      <a:pt x="3" y="14"/>
                      <a:pt x="4" y="13"/>
                      <a:pt x="4" y="13"/>
                    </a:cubicBezTo>
                    <a:cubicBezTo>
                      <a:pt x="4" y="13"/>
                      <a:pt x="5" y="13"/>
                      <a:pt x="6" y="13"/>
                    </a:cubicBezTo>
                    <a:cubicBezTo>
                      <a:pt x="6" y="14"/>
                      <a:pt x="6" y="14"/>
                      <a:pt x="6" y="15"/>
                    </a:cubicBezTo>
                    <a:cubicBezTo>
                      <a:pt x="7" y="15"/>
                      <a:pt x="6" y="16"/>
                      <a:pt x="6" y="16"/>
                    </a:cubicBezTo>
                    <a:cubicBezTo>
                      <a:pt x="6" y="17"/>
                      <a:pt x="7" y="16"/>
                      <a:pt x="6" y="17"/>
                    </a:cubicBezTo>
                    <a:cubicBezTo>
                      <a:pt x="7" y="17"/>
                      <a:pt x="8" y="17"/>
                      <a:pt x="7" y="18"/>
                    </a:cubicBezTo>
                    <a:cubicBezTo>
                      <a:pt x="8" y="18"/>
                      <a:pt x="9" y="19"/>
                      <a:pt x="1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5" name="Freeform 779">
                <a:extLst>
                  <a:ext uri="{FF2B5EF4-FFF2-40B4-BE49-F238E27FC236}">
                    <a16:creationId xmlns:a16="http://schemas.microsoft.com/office/drawing/2014/main" id="{16F81B7D-BC61-1302-471B-6ECEB8308380}"/>
                  </a:ext>
                </a:extLst>
              </p:cNvPr>
              <p:cNvSpPr>
                <a:spLocks/>
              </p:cNvSpPr>
              <p:nvPr/>
            </p:nvSpPr>
            <p:spPr bwMode="auto">
              <a:xfrm>
                <a:off x="5908675" y="3417888"/>
                <a:ext cx="115887" cy="153988"/>
              </a:xfrm>
              <a:custGeom>
                <a:avLst/>
                <a:gdLst>
                  <a:gd name="T0" fmla="*/ 24 w 28"/>
                  <a:gd name="T1" fmla="*/ 33 h 37"/>
                  <a:gd name="T2" fmla="*/ 24 w 28"/>
                  <a:gd name="T3" fmla="*/ 31 h 37"/>
                  <a:gd name="T4" fmla="*/ 27 w 28"/>
                  <a:gd name="T5" fmla="*/ 30 h 37"/>
                  <a:gd name="T6" fmla="*/ 27 w 28"/>
                  <a:gd name="T7" fmla="*/ 27 h 37"/>
                  <a:gd name="T8" fmla="*/ 25 w 28"/>
                  <a:gd name="T9" fmla="*/ 26 h 37"/>
                  <a:gd name="T10" fmla="*/ 24 w 28"/>
                  <a:gd name="T11" fmla="*/ 21 h 37"/>
                  <a:gd name="T12" fmla="*/ 26 w 28"/>
                  <a:gd name="T13" fmla="*/ 19 h 37"/>
                  <a:gd name="T14" fmla="*/ 25 w 28"/>
                  <a:gd name="T15" fmla="*/ 17 h 37"/>
                  <a:gd name="T16" fmla="*/ 25 w 28"/>
                  <a:gd name="T17" fmla="*/ 16 h 37"/>
                  <a:gd name="T18" fmla="*/ 26 w 28"/>
                  <a:gd name="T19" fmla="*/ 15 h 37"/>
                  <a:gd name="T20" fmla="*/ 25 w 28"/>
                  <a:gd name="T21" fmla="*/ 14 h 37"/>
                  <a:gd name="T22" fmla="*/ 22 w 28"/>
                  <a:gd name="T23" fmla="*/ 16 h 37"/>
                  <a:gd name="T24" fmla="*/ 20 w 28"/>
                  <a:gd name="T25" fmla="*/ 14 h 37"/>
                  <a:gd name="T26" fmla="*/ 17 w 28"/>
                  <a:gd name="T27" fmla="*/ 13 h 37"/>
                  <a:gd name="T28" fmla="*/ 17 w 28"/>
                  <a:gd name="T29" fmla="*/ 11 h 37"/>
                  <a:gd name="T30" fmla="*/ 18 w 28"/>
                  <a:gd name="T31" fmla="*/ 10 h 37"/>
                  <a:gd name="T32" fmla="*/ 15 w 28"/>
                  <a:gd name="T33" fmla="*/ 8 h 37"/>
                  <a:gd name="T34" fmla="*/ 13 w 28"/>
                  <a:gd name="T35" fmla="*/ 6 h 37"/>
                  <a:gd name="T36" fmla="*/ 13 w 28"/>
                  <a:gd name="T37" fmla="*/ 4 h 37"/>
                  <a:gd name="T38" fmla="*/ 10 w 28"/>
                  <a:gd name="T39" fmla="*/ 2 h 37"/>
                  <a:gd name="T40" fmla="*/ 7 w 28"/>
                  <a:gd name="T41" fmla="*/ 0 h 37"/>
                  <a:gd name="T42" fmla="*/ 5 w 28"/>
                  <a:gd name="T43" fmla="*/ 0 h 37"/>
                  <a:gd name="T44" fmla="*/ 3 w 28"/>
                  <a:gd name="T45" fmla="*/ 2 h 37"/>
                  <a:gd name="T46" fmla="*/ 0 w 28"/>
                  <a:gd name="T47" fmla="*/ 4 h 37"/>
                  <a:gd name="T48" fmla="*/ 1 w 28"/>
                  <a:gd name="T49" fmla="*/ 6 h 37"/>
                  <a:gd name="T50" fmla="*/ 1 w 28"/>
                  <a:gd name="T51" fmla="*/ 7 h 37"/>
                  <a:gd name="T52" fmla="*/ 4 w 28"/>
                  <a:gd name="T53" fmla="*/ 9 h 37"/>
                  <a:gd name="T54" fmla="*/ 2 w 28"/>
                  <a:gd name="T55" fmla="*/ 12 h 37"/>
                  <a:gd name="T56" fmla="*/ 3 w 28"/>
                  <a:gd name="T57" fmla="*/ 15 h 37"/>
                  <a:gd name="T58" fmla="*/ 3 w 28"/>
                  <a:gd name="T59" fmla="*/ 18 h 37"/>
                  <a:gd name="T60" fmla="*/ 5 w 28"/>
                  <a:gd name="T61" fmla="*/ 21 h 37"/>
                  <a:gd name="T62" fmla="*/ 5 w 28"/>
                  <a:gd name="T63" fmla="*/ 24 h 37"/>
                  <a:gd name="T64" fmla="*/ 4 w 28"/>
                  <a:gd name="T65" fmla="*/ 25 h 37"/>
                  <a:gd name="T66" fmla="*/ 2 w 28"/>
                  <a:gd name="T67" fmla="*/ 25 h 37"/>
                  <a:gd name="T68" fmla="*/ 4 w 28"/>
                  <a:gd name="T69" fmla="*/ 27 h 37"/>
                  <a:gd name="T70" fmla="*/ 8 w 28"/>
                  <a:gd name="T71" fmla="*/ 29 h 37"/>
                  <a:gd name="T72" fmla="*/ 10 w 28"/>
                  <a:gd name="T73" fmla="*/ 31 h 37"/>
                  <a:gd name="T74" fmla="*/ 11 w 28"/>
                  <a:gd name="T75" fmla="*/ 31 h 37"/>
                  <a:gd name="T76" fmla="*/ 12 w 28"/>
                  <a:gd name="T77" fmla="*/ 29 h 37"/>
                  <a:gd name="T78" fmla="*/ 14 w 28"/>
                  <a:gd name="T79" fmla="*/ 28 h 37"/>
                  <a:gd name="T80" fmla="*/ 15 w 28"/>
                  <a:gd name="T81" fmla="*/ 29 h 37"/>
                  <a:gd name="T82" fmla="*/ 17 w 28"/>
                  <a:gd name="T83" fmla="*/ 31 h 37"/>
                  <a:gd name="T84" fmla="*/ 17 w 28"/>
                  <a:gd name="T85" fmla="*/ 32 h 37"/>
                  <a:gd name="T86" fmla="*/ 20 w 28"/>
                  <a:gd name="T87" fmla="*/ 33 h 37"/>
                  <a:gd name="T88" fmla="*/ 19 w 28"/>
                  <a:gd name="T89" fmla="*/ 35 h 37"/>
                  <a:gd name="T90" fmla="*/ 18 w 28"/>
                  <a:gd name="T91" fmla="*/ 36 h 37"/>
                  <a:gd name="T92" fmla="*/ 21 w 28"/>
                  <a:gd name="T93" fmla="*/ 36 h 37"/>
                  <a:gd name="T94" fmla="*/ 23 w 28"/>
                  <a:gd name="T95" fmla="*/ 36 h 37"/>
                  <a:gd name="T96" fmla="*/ 25 w 28"/>
                  <a:gd name="T9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37">
                    <a:moveTo>
                      <a:pt x="25" y="34"/>
                    </a:moveTo>
                    <a:cubicBezTo>
                      <a:pt x="24" y="34"/>
                      <a:pt x="24" y="34"/>
                      <a:pt x="24" y="33"/>
                    </a:cubicBezTo>
                    <a:cubicBezTo>
                      <a:pt x="24" y="33"/>
                      <a:pt x="25" y="33"/>
                      <a:pt x="25" y="32"/>
                    </a:cubicBezTo>
                    <a:cubicBezTo>
                      <a:pt x="25" y="32"/>
                      <a:pt x="24" y="32"/>
                      <a:pt x="24" y="31"/>
                    </a:cubicBezTo>
                    <a:cubicBezTo>
                      <a:pt x="25" y="31"/>
                      <a:pt x="26" y="31"/>
                      <a:pt x="26" y="31"/>
                    </a:cubicBezTo>
                    <a:cubicBezTo>
                      <a:pt x="27" y="31"/>
                      <a:pt x="27" y="30"/>
                      <a:pt x="27" y="30"/>
                    </a:cubicBezTo>
                    <a:cubicBezTo>
                      <a:pt x="28" y="29"/>
                      <a:pt x="28" y="29"/>
                      <a:pt x="28" y="28"/>
                    </a:cubicBezTo>
                    <a:cubicBezTo>
                      <a:pt x="28" y="28"/>
                      <a:pt x="27" y="28"/>
                      <a:pt x="27" y="27"/>
                    </a:cubicBezTo>
                    <a:cubicBezTo>
                      <a:pt x="27" y="27"/>
                      <a:pt x="27" y="27"/>
                      <a:pt x="27" y="27"/>
                    </a:cubicBezTo>
                    <a:cubicBezTo>
                      <a:pt x="26" y="26"/>
                      <a:pt x="26" y="26"/>
                      <a:pt x="25" y="26"/>
                    </a:cubicBezTo>
                    <a:cubicBezTo>
                      <a:pt x="25" y="25"/>
                      <a:pt x="25" y="24"/>
                      <a:pt x="24" y="24"/>
                    </a:cubicBezTo>
                    <a:cubicBezTo>
                      <a:pt x="24" y="23"/>
                      <a:pt x="24" y="22"/>
                      <a:pt x="24" y="21"/>
                    </a:cubicBezTo>
                    <a:cubicBezTo>
                      <a:pt x="24" y="20"/>
                      <a:pt x="25" y="20"/>
                      <a:pt x="25" y="20"/>
                    </a:cubicBezTo>
                    <a:cubicBezTo>
                      <a:pt x="26" y="20"/>
                      <a:pt x="26" y="19"/>
                      <a:pt x="26" y="19"/>
                    </a:cubicBezTo>
                    <a:cubicBezTo>
                      <a:pt x="26" y="19"/>
                      <a:pt x="26" y="18"/>
                      <a:pt x="26" y="18"/>
                    </a:cubicBezTo>
                    <a:cubicBezTo>
                      <a:pt x="26" y="18"/>
                      <a:pt x="26" y="18"/>
                      <a:pt x="25" y="17"/>
                    </a:cubicBezTo>
                    <a:cubicBezTo>
                      <a:pt x="25" y="17"/>
                      <a:pt x="25" y="17"/>
                      <a:pt x="25" y="16"/>
                    </a:cubicBezTo>
                    <a:cubicBezTo>
                      <a:pt x="25" y="16"/>
                      <a:pt x="24" y="16"/>
                      <a:pt x="25" y="16"/>
                    </a:cubicBezTo>
                    <a:cubicBezTo>
                      <a:pt x="25" y="15"/>
                      <a:pt x="25" y="15"/>
                      <a:pt x="26" y="15"/>
                    </a:cubicBezTo>
                    <a:cubicBezTo>
                      <a:pt x="26" y="15"/>
                      <a:pt x="27" y="16"/>
                      <a:pt x="26" y="15"/>
                    </a:cubicBezTo>
                    <a:cubicBezTo>
                      <a:pt x="26" y="15"/>
                      <a:pt x="26" y="15"/>
                      <a:pt x="26" y="14"/>
                    </a:cubicBezTo>
                    <a:cubicBezTo>
                      <a:pt x="25" y="14"/>
                      <a:pt x="25" y="14"/>
                      <a:pt x="25" y="14"/>
                    </a:cubicBezTo>
                    <a:cubicBezTo>
                      <a:pt x="24" y="14"/>
                      <a:pt x="24" y="14"/>
                      <a:pt x="23" y="15"/>
                    </a:cubicBezTo>
                    <a:cubicBezTo>
                      <a:pt x="23" y="15"/>
                      <a:pt x="23" y="16"/>
                      <a:pt x="22" y="16"/>
                    </a:cubicBezTo>
                    <a:cubicBezTo>
                      <a:pt x="22" y="16"/>
                      <a:pt x="22" y="15"/>
                      <a:pt x="21" y="15"/>
                    </a:cubicBezTo>
                    <a:cubicBezTo>
                      <a:pt x="21" y="14"/>
                      <a:pt x="20" y="14"/>
                      <a:pt x="20" y="14"/>
                    </a:cubicBezTo>
                    <a:cubicBezTo>
                      <a:pt x="19" y="14"/>
                      <a:pt x="19" y="13"/>
                      <a:pt x="18" y="13"/>
                    </a:cubicBezTo>
                    <a:cubicBezTo>
                      <a:pt x="18" y="13"/>
                      <a:pt x="17" y="13"/>
                      <a:pt x="17" y="13"/>
                    </a:cubicBezTo>
                    <a:cubicBezTo>
                      <a:pt x="17" y="12"/>
                      <a:pt x="18" y="12"/>
                      <a:pt x="18" y="12"/>
                    </a:cubicBezTo>
                    <a:cubicBezTo>
                      <a:pt x="18" y="12"/>
                      <a:pt x="17" y="11"/>
                      <a:pt x="17" y="11"/>
                    </a:cubicBezTo>
                    <a:cubicBezTo>
                      <a:pt x="17" y="11"/>
                      <a:pt x="17" y="10"/>
                      <a:pt x="18" y="10"/>
                    </a:cubicBezTo>
                    <a:cubicBezTo>
                      <a:pt x="18" y="10"/>
                      <a:pt x="18" y="10"/>
                      <a:pt x="18" y="10"/>
                    </a:cubicBezTo>
                    <a:cubicBezTo>
                      <a:pt x="18" y="9"/>
                      <a:pt x="17" y="9"/>
                      <a:pt x="17" y="9"/>
                    </a:cubicBezTo>
                    <a:cubicBezTo>
                      <a:pt x="16" y="9"/>
                      <a:pt x="15" y="8"/>
                      <a:pt x="15" y="8"/>
                    </a:cubicBezTo>
                    <a:cubicBezTo>
                      <a:pt x="14" y="7"/>
                      <a:pt x="14" y="7"/>
                      <a:pt x="13" y="7"/>
                    </a:cubicBezTo>
                    <a:cubicBezTo>
                      <a:pt x="13" y="6"/>
                      <a:pt x="13" y="6"/>
                      <a:pt x="13" y="6"/>
                    </a:cubicBezTo>
                    <a:cubicBezTo>
                      <a:pt x="13" y="6"/>
                      <a:pt x="13" y="5"/>
                      <a:pt x="13" y="5"/>
                    </a:cubicBezTo>
                    <a:cubicBezTo>
                      <a:pt x="13" y="5"/>
                      <a:pt x="14" y="4"/>
                      <a:pt x="13" y="4"/>
                    </a:cubicBezTo>
                    <a:cubicBezTo>
                      <a:pt x="12" y="4"/>
                      <a:pt x="12" y="3"/>
                      <a:pt x="11" y="2"/>
                    </a:cubicBezTo>
                    <a:cubicBezTo>
                      <a:pt x="11" y="2"/>
                      <a:pt x="11" y="2"/>
                      <a:pt x="10" y="2"/>
                    </a:cubicBezTo>
                    <a:cubicBezTo>
                      <a:pt x="10" y="1"/>
                      <a:pt x="10" y="1"/>
                      <a:pt x="9" y="0"/>
                    </a:cubicBezTo>
                    <a:cubicBezTo>
                      <a:pt x="9" y="0"/>
                      <a:pt x="8" y="0"/>
                      <a:pt x="7" y="0"/>
                    </a:cubicBezTo>
                    <a:cubicBezTo>
                      <a:pt x="7" y="0"/>
                      <a:pt x="6" y="0"/>
                      <a:pt x="6" y="0"/>
                    </a:cubicBezTo>
                    <a:cubicBezTo>
                      <a:pt x="5" y="0"/>
                      <a:pt x="5" y="0"/>
                      <a:pt x="5" y="0"/>
                    </a:cubicBezTo>
                    <a:cubicBezTo>
                      <a:pt x="4" y="1"/>
                      <a:pt x="4" y="1"/>
                      <a:pt x="3" y="1"/>
                    </a:cubicBezTo>
                    <a:cubicBezTo>
                      <a:pt x="3" y="1"/>
                      <a:pt x="3" y="2"/>
                      <a:pt x="3" y="2"/>
                    </a:cubicBezTo>
                    <a:cubicBezTo>
                      <a:pt x="2" y="2"/>
                      <a:pt x="2" y="1"/>
                      <a:pt x="2" y="1"/>
                    </a:cubicBezTo>
                    <a:cubicBezTo>
                      <a:pt x="1" y="2"/>
                      <a:pt x="0" y="3"/>
                      <a:pt x="0" y="4"/>
                    </a:cubicBezTo>
                    <a:cubicBezTo>
                      <a:pt x="0" y="4"/>
                      <a:pt x="1" y="4"/>
                      <a:pt x="1" y="5"/>
                    </a:cubicBezTo>
                    <a:cubicBezTo>
                      <a:pt x="1" y="5"/>
                      <a:pt x="0" y="6"/>
                      <a:pt x="1" y="6"/>
                    </a:cubicBezTo>
                    <a:cubicBezTo>
                      <a:pt x="1" y="6"/>
                      <a:pt x="2" y="6"/>
                      <a:pt x="2" y="6"/>
                    </a:cubicBezTo>
                    <a:cubicBezTo>
                      <a:pt x="2" y="7"/>
                      <a:pt x="1" y="7"/>
                      <a:pt x="1" y="7"/>
                    </a:cubicBezTo>
                    <a:cubicBezTo>
                      <a:pt x="1" y="7"/>
                      <a:pt x="1" y="8"/>
                      <a:pt x="1" y="8"/>
                    </a:cubicBezTo>
                    <a:cubicBezTo>
                      <a:pt x="2" y="8"/>
                      <a:pt x="4" y="9"/>
                      <a:pt x="4" y="9"/>
                    </a:cubicBezTo>
                    <a:cubicBezTo>
                      <a:pt x="3" y="10"/>
                      <a:pt x="2" y="9"/>
                      <a:pt x="2" y="10"/>
                    </a:cubicBezTo>
                    <a:cubicBezTo>
                      <a:pt x="2" y="10"/>
                      <a:pt x="2" y="11"/>
                      <a:pt x="2" y="12"/>
                    </a:cubicBezTo>
                    <a:cubicBezTo>
                      <a:pt x="3" y="12"/>
                      <a:pt x="4" y="12"/>
                      <a:pt x="4" y="13"/>
                    </a:cubicBezTo>
                    <a:cubicBezTo>
                      <a:pt x="4" y="14"/>
                      <a:pt x="3" y="14"/>
                      <a:pt x="3" y="15"/>
                    </a:cubicBezTo>
                    <a:cubicBezTo>
                      <a:pt x="2" y="16"/>
                      <a:pt x="2" y="17"/>
                      <a:pt x="2" y="18"/>
                    </a:cubicBezTo>
                    <a:cubicBezTo>
                      <a:pt x="3" y="18"/>
                      <a:pt x="3" y="18"/>
                      <a:pt x="3" y="18"/>
                    </a:cubicBezTo>
                    <a:cubicBezTo>
                      <a:pt x="4" y="18"/>
                      <a:pt x="4" y="18"/>
                      <a:pt x="4" y="19"/>
                    </a:cubicBezTo>
                    <a:cubicBezTo>
                      <a:pt x="4" y="19"/>
                      <a:pt x="6" y="20"/>
                      <a:pt x="5" y="21"/>
                    </a:cubicBezTo>
                    <a:cubicBezTo>
                      <a:pt x="5" y="21"/>
                      <a:pt x="4" y="21"/>
                      <a:pt x="3" y="20"/>
                    </a:cubicBezTo>
                    <a:cubicBezTo>
                      <a:pt x="3" y="21"/>
                      <a:pt x="5" y="23"/>
                      <a:pt x="5" y="24"/>
                    </a:cubicBezTo>
                    <a:cubicBezTo>
                      <a:pt x="5" y="24"/>
                      <a:pt x="5" y="24"/>
                      <a:pt x="5" y="25"/>
                    </a:cubicBezTo>
                    <a:cubicBezTo>
                      <a:pt x="4" y="25"/>
                      <a:pt x="4" y="25"/>
                      <a:pt x="4" y="25"/>
                    </a:cubicBezTo>
                    <a:cubicBezTo>
                      <a:pt x="4" y="25"/>
                      <a:pt x="4" y="24"/>
                      <a:pt x="3" y="24"/>
                    </a:cubicBezTo>
                    <a:cubicBezTo>
                      <a:pt x="3" y="25"/>
                      <a:pt x="3" y="25"/>
                      <a:pt x="2" y="25"/>
                    </a:cubicBezTo>
                    <a:cubicBezTo>
                      <a:pt x="3" y="26"/>
                      <a:pt x="3" y="26"/>
                      <a:pt x="3" y="26"/>
                    </a:cubicBezTo>
                    <a:cubicBezTo>
                      <a:pt x="4" y="26"/>
                      <a:pt x="4" y="26"/>
                      <a:pt x="4" y="27"/>
                    </a:cubicBezTo>
                    <a:cubicBezTo>
                      <a:pt x="5" y="28"/>
                      <a:pt x="6" y="29"/>
                      <a:pt x="7" y="29"/>
                    </a:cubicBezTo>
                    <a:cubicBezTo>
                      <a:pt x="8" y="29"/>
                      <a:pt x="8" y="29"/>
                      <a:pt x="8" y="29"/>
                    </a:cubicBezTo>
                    <a:cubicBezTo>
                      <a:pt x="9" y="30"/>
                      <a:pt x="9" y="30"/>
                      <a:pt x="9" y="30"/>
                    </a:cubicBezTo>
                    <a:cubicBezTo>
                      <a:pt x="10" y="30"/>
                      <a:pt x="10" y="30"/>
                      <a:pt x="10" y="31"/>
                    </a:cubicBezTo>
                    <a:cubicBezTo>
                      <a:pt x="11" y="31"/>
                      <a:pt x="10" y="31"/>
                      <a:pt x="10" y="31"/>
                    </a:cubicBezTo>
                    <a:cubicBezTo>
                      <a:pt x="10" y="31"/>
                      <a:pt x="11" y="32"/>
                      <a:pt x="11" y="31"/>
                    </a:cubicBezTo>
                    <a:cubicBezTo>
                      <a:pt x="11" y="31"/>
                      <a:pt x="11" y="31"/>
                      <a:pt x="11" y="30"/>
                    </a:cubicBezTo>
                    <a:cubicBezTo>
                      <a:pt x="11" y="30"/>
                      <a:pt x="12" y="30"/>
                      <a:pt x="12" y="29"/>
                    </a:cubicBezTo>
                    <a:cubicBezTo>
                      <a:pt x="13" y="29"/>
                      <a:pt x="11" y="29"/>
                      <a:pt x="12" y="28"/>
                    </a:cubicBezTo>
                    <a:cubicBezTo>
                      <a:pt x="13" y="27"/>
                      <a:pt x="13" y="27"/>
                      <a:pt x="14" y="28"/>
                    </a:cubicBezTo>
                    <a:cubicBezTo>
                      <a:pt x="14" y="28"/>
                      <a:pt x="14" y="28"/>
                      <a:pt x="14" y="29"/>
                    </a:cubicBezTo>
                    <a:cubicBezTo>
                      <a:pt x="14" y="29"/>
                      <a:pt x="15" y="29"/>
                      <a:pt x="15" y="29"/>
                    </a:cubicBezTo>
                    <a:cubicBezTo>
                      <a:pt x="15" y="29"/>
                      <a:pt x="16" y="30"/>
                      <a:pt x="16" y="30"/>
                    </a:cubicBezTo>
                    <a:cubicBezTo>
                      <a:pt x="16" y="31"/>
                      <a:pt x="17" y="31"/>
                      <a:pt x="17" y="31"/>
                    </a:cubicBezTo>
                    <a:cubicBezTo>
                      <a:pt x="17" y="31"/>
                      <a:pt x="17" y="31"/>
                      <a:pt x="17" y="31"/>
                    </a:cubicBezTo>
                    <a:cubicBezTo>
                      <a:pt x="17" y="32"/>
                      <a:pt x="17" y="32"/>
                      <a:pt x="17" y="32"/>
                    </a:cubicBezTo>
                    <a:cubicBezTo>
                      <a:pt x="18" y="33"/>
                      <a:pt x="19" y="32"/>
                      <a:pt x="19" y="33"/>
                    </a:cubicBezTo>
                    <a:cubicBezTo>
                      <a:pt x="19" y="33"/>
                      <a:pt x="20" y="33"/>
                      <a:pt x="20" y="33"/>
                    </a:cubicBezTo>
                    <a:cubicBezTo>
                      <a:pt x="20" y="33"/>
                      <a:pt x="19" y="34"/>
                      <a:pt x="19" y="34"/>
                    </a:cubicBezTo>
                    <a:cubicBezTo>
                      <a:pt x="19" y="35"/>
                      <a:pt x="19" y="35"/>
                      <a:pt x="19" y="35"/>
                    </a:cubicBezTo>
                    <a:cubicBezTo>
                      <a:pt x="19" y="36"/>
                      <a:pt x="19" y="36"/>
                      <a:pt x="19" y="36"/>
                    </a:cubicBezTo>
                    <a:cubicBezTo>
                      <a:pt x="19" y="36"/>
                      <a:pt x="18" y="36"/>
                      <a:pt x="18" y="36"/>
                    </a:cubicBezTo>
                    <a:cubicBezTo>
                      <a:pt x="18" y="36"/>
                      <a:pt x="18" y="37"/>
                      <a:pt x="19" y="37"/>
                    </a:cubicBezTo>
                    <a:cubicBezTo>
                      <a:pt x="20" y="37"/>
                      <a:pt x="20" y="36"/>
                      <a:pt x="21" y="36"/>
                    </a:cubicBezTo>
                    <a:cubicBezTo>
                      <a:pt x="21" y="36"/>
                      <a:pt x="22" y="36"/>
                      <a:pt x="22" y="36"/>
                    </a:cubicBezTo>
                    <a:cubicBezTo>
                      <a:pt x="22" y="36"/>
                      <a:pt x="23" y="36"/>
                      <a:pt x="23" y="36"/>
                    </a:cubicBezTo>
                    <a:cubicBezTo>
                      <a:pt x="23" y="36"/>
                      <a:pt x="24" y="36"/>
                      <a:pt x="24" y="36"/>
                    </a:cubicBezTo>
                    <a:cubicBezTo>
                      <a:pt x="24" y="36"/>
                      <a:pt x="25" y="35"/>
                      <a:pt x="25" y="34"/>
                    </a:cubicBezTo>
                    <a:cubicBezTo>
                      <a:pt x="25" y="34"/>
                      <a:pt x="25" y="35"/>
                      <a:pt x="25"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6" name="Freeform 780">
                <a:extLst>
                  <a:ext uri="{FF2B5EF4-FFF2-40B4-BE49-F238E27FC236}">
                    <a16:creationId xmlns:a16="http://schemas.microsoft.com/office/drawing/2014/main" id="{6FC7C200-D575-AC96-5005-60BE28F66814}"/>
                  </a:ext>
                </a:extLst>
              </p:cNvPr>
              <p:cNvSpPr>
                <a:spLocks/>
              </p:cNvSpPr>
              <p:nvPr/>
            </p:nvSpPr>
            <p:spPr bwMode="auto">
              <a:xfrm>
                <a:off x="5895975" y="3521075"/>
                <a:ext cx="58737" cy="63500"/>
              </a:xfrm>
              <a:custGeom>
                <a:avLst/>
                <a:gdLst>
                  <a:gd name="T0" fmla="*/ 7 w 14"/>
                  <a:gd name="T1" fmla="*/ 14 h 15"/>
                  <a:gd name="T2" fmla="*/ 6 w 14"/>
                  <a:gd name="T3" fmla="*/ 12 h 15"/>
                  <a:gd name="T4" fmla="*/ 7 w 14"/>
                  <a:gd name="T5" fmla="*/ 10 h 15"/>
                  <a:gd name="T6" fmla="*/ 7 w 14"/>
                  <a:gd name="T7" fmla="*/ 10 h 15"/>
                  <a:gd name="T8" fmla="*/ 9 w 14"/>
                  <a:gd name="T9" fmla="*/ 8 h 15"/>
                  <a:gd name="T10" fmla="*/ 11 w 14"/>
                  <a:gd name="T11" fmla="*/ 9 h 15"/>
                  <a:gd name="T12" fmla="*/ 12 w 14"/>
                  <a:gd name="T13" fmla="*/ 8 h 15"/>
                  <a:gd name="T14" fmla="*/ 11 w 14"/>
                  <a:gd name="T15" fmla="*/ 7 h 15"/>
                  <a:gd name="T16" fmla="*/ 12 w 14"/>
                  <a:gd name="T17" fmla="*/ 7 h 15"/>
                  <a:gd name="T18" fmla="*/ 13 w 14"/>
                  <a:gd name="T19" fmla="*/ 6 h 15"/>
                  <a:gd name="T20" fmla="*/ 13 w 14"/>
                  <a:gd name="T21" fmla="*/ 6 h 15"/>
                  <a:gd name="T22" fmla="*/ 12 w 14"/>
                  <a:gd name="T23" fmla="*/ 5 h 15"/>
                  <a:gd name="T24" fmla="*/ 11 w 14"/>
                  <a:gd name="T25" fmla="*/ 4 h 15"/>
                  <a:gd name="T26" fmla="*/ 10 w 14"/>
                  <a:gd name="T27" fmla="*/ 4 h 15"/>
                  <a:gd name="T28" fmla="*/ 8 w 14"/>
                  <a:gd name="T29" fmla="*/ 2 h 15"/>
                  <a:gd name="T30" fmla="*/ 6 w 14"/>
                  <a:gd name="T31" fmla="*/ 1 h 15"/>
                  <a:gd name="T32" fmla="*/ 5 w 14"/>
                  <a:gd name="T33" fmla="*/ 0 h 15"/>
                  <a:gd name="T34" fmla="*/ 5 w 14"/>
                  <a:gd name="T35" fmla="*/ 0 h 15"/>
                  <a:gd name="T36" fmla="*/ 4 w 14"/>
                  <a:gd name="T37" fmla="*/ 0 h 15"/>
                  <a:gd name="T38" fmla="*/ 4 w 14"/>
                  <a:gd name="T39" fmla="*/ 2 h 15"/>
                  <a:gd name="T40" fmla="*/ 3 w 14"/>
                  <a:gd name="T41" fmla="*/ 2 h 15"/>
                  <a:gd name="T42" fmla="*/ 2 w 14"/>
                  <a:gd name="T43" fmla="*/ 4 h 15"/>
                  <a:gd name="T44" fmla="*/ 2 w 14"/>
                  <a:gd name="T45" fmla="*/ 4 h 15"/>
                  <a:gd name="T46" fmla="*/ 1 w 14"/>
                  <a:gd name="T47" fmla="*/ 5 h 15"/>
                  <a:gd name="T48" fmla="*/ 1 w 14"/>
                  <a:gd name="T49" fmla="*/ 6 h 15"/>
                  <a:gd name="T50" fmla="*/ 1 w 14"/>
                  <a:gd name="T51" fmla="*/ 8 h 15"/>
                  <a:gd name="T52" fmla="*/ 0 w 14"/>
                  <a:gd name="T53" fmla="*/ 9 h 15"/>
                  <a:gd name="T54" fmla="*/ 0 w 14"/>
                  <a:gd name="T55" fmla="*/ 10 h 15"/>
                  <a:gd name="T56" fmla="*/ 2 w 14"/>
                  <a:gd name="T57" fmla="*/ 10 h 15"/>
                  <a:gd name="T58" fmla="*/ 2 w 14"/>
                  <a:gd name="T59" fmla="*/ 11 h 15"/>
                  <a:gd name="T60" fmla="*/ 3 w 14"/>
                  <a:gd name="T61" fmla="*/ 12 h 15"/>
                  <a:gd name="T62" fmla="*/ 5 w 14"/>
                  <a:gd name="T63" fmla="*/ 13 h 15"/>
                  <a:gd name="T64" fmla="*/ 6 w 14"/>
                  <a:gd name="T65" fmla="*/ 15 h 15"/>
                  <a:gd name="T66" fmla="*/ 7 w 14"/>
                  <a:gd name="T6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15">
                    <a:moveTo>
                      <a:pt x="7" y="14"/>
                    </a:moveTo>
                    <a:cubicBezTo>
                      <a:pt x="7" y="13"/>
                      <a:pt x="6" y="13"/>
                      <a:pt x="6" y="12"/>
                    </a:cubicBezTo>
                    <a:cubicBezTo>
                      <a:pt x="6" y="11"/>
                      <a:pt x="7" y="11"/>
                      <a:pt x="7" y="10"/>
                    </a:cubicBezTo>
                    <a:cubicBezTo>
                      <a:pt x="7" y="10"/>
                      <a:pt x="7" y="10"/>
                      <a:pt x="7" y="10"/>
                    </a:cubicBezTo>
                    <a:cubicBezTo>
                      <a:pt x="7" y="10"/>
                      <a:pt x="8" y="8"/>
                      <a:pt x="9" y="8"/>
                    </a:cubicBezTo>
                    <a:cubicBezTo>
                      <a:pt x="10" y="9"/>
                      <a:pt x="9" y="10"/>
                      <a:pt x="11" y="9"/>
                    </a:cubicBezTo>
                    <a:cubicBezTo>
                      <a:pt x="11" y="9"/>
                      <a:pt x="12" y="9"/>
                      <a:pt x="12" y="8"/>
                    </a:cubicBezTo>
                    <a:cubicBezTo>
                      <a:pt x="12" y="8"/>
                      <a:pt x="11" y="8"/>
                      <a:pt x="11" y="7"/>
                    </a:cubicBezTo>
                    <a:cubicBezTo>
                      <a:pt x="11" y="7"/>
                      <a:pt x="12" y="7"/>
                      <a:pt x="12" y="7"/>
                    </a:cubicBezTo>
                    <a:cubicBezTo>
                      <a:pt x="12" y="7"/>
                      <a:pt x="13" y="7"/>
                      <a:pt x="13" y="6"/>
                    </a:cubicBezTo>
                    <a:cubicBezTo>
                      <a:pt x="13" y="6"/>
                      <a:pt x="14" y="6"/>
                      <a:pt x="13" y="6"/>
                    </a:cubicBezTo>
                    <a:cubicBezTo>
                      <a:pt x="13" y="5"/>
                      <a:pt x="13" y="5"/>
                      <a:pt x="12" y="5"/>
                    </a:cubicBezTo>
                    <a:cubicBezTo>
                      <a:pt x="12" y="5"/>
                      <a:pt x="12" y="5"/>
                      <a:pt x="11" y="4"/>
                    </a:cubicBezTo>
                    <a:cubicBezTo>
                      <a:pt x="11" y="4"/>
                      <a:pt x="10" y="4"/>
                      <a:pt x="10" y="4"/>
                    </a:cubicBezTo>
                    <a:cubicBezTo>
                      <a:pt x="9" y="4"/>
                      <a:pt x="8" y="3"/>
                      <a:pt x="8" y="2"/>
                    </a:cubicBezTo>
                    <a:cubicBezTo>
                      <a:pt x="7" y="2"/>
                      <a:pt x="7" y="1"/>
                      <a:pt x="6" y="1"/>
                    </a:cubicBezTo>
                    <a:cubicBezTo>
                      <a:pt x="6" y="1"/>
                      <a:pt x="6" y="1"/>
                      <a:pt x="5" y="0"/>
                    </a:cubicBezTo>
                    <a:cubicBezTo>
                      <a:pt x="5" y="0"/>
                      <a:pt x="5" y="0"/>
                      <a:pt x="5" y="0"/>
                    </a:cubicBezTo>
                    <a:cubicBezTo>
                      <a:pt x="5" y="0"/>
                      <a:pt x="4" y="0"/>
                      <a:pt x="4" y="0"/>
                    </a:cubicBezTo>
                    <a:cubicBezTo>
                      <a:pt x="4" y="0"/>
                      <a:pt x="5" y="2"/>
                      <a:pt x="4" y="2"/>
                    </a:cubicBezTo>
                    <a:cubicBezTo>
                      <a:pt x="3" y="2"/>
                      <a:pt x="3" y="1"/>
                      <a:pt x="3" y="2"/>
                    </a:cubicBezTo>
                    <a:cubicBezTo>
                      <a:pt x="2" y="2"/>
                      <a:pt x="2" y="3"/>
                      <a:pt x="2" y="4"/>
                    </a:cubicBezTo>
                    <a:cubicBezTo>
                      <a:pt x="2" y="4"/>
                      <a:pt x="2" y="4"/>
                      <a:pt x="2" y="4"/>
                    </a:cubicBezTo>
                    <a:cubicBezTo>
                      <a:pt x="1" y="5"/>
                      <a:pt x="1" y="5"/>
                      <a:pt x="1" y="5"/>
                    </a:cubicBezTo>
                    <a:cubicBezTo>
                      <a:pt x="1" y="5"/>
                      <a:pt x="1" y="5"/>
                      <a:pt x="1" y="6"/>
                    </a:cubicBezTo>
                    <a:cubicBezTo>
                      <a:pt x="1" y="7"/>
                      <a:pt x="1" y="7"/>
                      <a:pt x="1" y="8"/>
                    </a:cubicBezTo>
                    <a:cubicBezTo>
                      <a:pt x="1" y="8"/>
                      <a:pt x="1" y="9"/>
                      <a:pt x="0" y="9"/>
                    </a:cubicBezTo>
                    <a:cubicBezTo>
                      <a:pt x="1" y="9"/>
                      <a:pt x="0" y="9"/>
                      <a:pt x="0" y="10"/>
                    </a:cubicBezTo>
                    <a:cubicBezTo>
                      <a:pt x="1" y="10"/>
                      <a:pt x="2" y="10"/>
                      <a:pt x="2" y="10"/>
                    </a:cubicBezTo>
                    <a:cubicBezTo>
                      <a:pt x="2" y="10"/>
                      <a:pt x="2" y="11"/>
                      <a:pt x="2" y="11"/>
                    </a:cubicBezTo>
                    <a:cubicBezTo>
                      <a:pt x="3" y="11"/>
                      <a:pt x="3" y="12"/>
                      <a:pt x="3" y="12"/>
                    </a:cubicBezTo>
                    <a:cubicBezTo>
                      <a:pt x="4" y="12"/>
                      <a:pt x="4" y="13"/>
                      <a:pt x="5" y="13"/>
                    </a:cubicBezTo>
                    <a:cubicBezTo>
                      <a:pt x="5" y="14"/>
                      <a:pt x="6" y="15"/>
                      <a:pt x="6" y="15"/>
                    </a:cubicBezTo>
                    <a:cubicBezTo>
                      <a:pt x="7" y="15"/>
                      <a:pt x="7" y="14"/>
                      <a:pt x="7"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7" name="Freeform 781">
                <a:extLst>
                  <a:ext uri="{FF2B5EF4-FFF2-40B4-BE49-F238E27FC236}">
                    <a16:creationId xmlns:a16="http://schemas.microsoft.com/office/drawing/2014/main" id="{61D805BA-263F-C8DC-01B2-4B0E20FD39EF}"/>
                  </a:ext>
                </a:extLst>
              </p:cNvPr>
              <p:cNvSpPr>
                <a:spLocks/>
              </p:cNvSpPr>
              <p:nvPr/>
            </p:nvSpPr>
            <p:spPr bwMode="auto">
              <a:xfrm>
                <a:off x="5954713" y="3567113"/>
                <a:ext cx="69850" cy="53975"/>
              </a:xfrm>
              <a:custGeom>
                <a:avLst/>
                <a:gdLst>
                  <a:gd name="T0" fmla="*/ 17 w 17"/>
                  <a:gd name="T1" fmla="*/ 7 h 13"/>
                  <a:gd name="T2" fmla="*/ 17 w 17"/>
                  <a:gd name="T3" fmla="*/ 6 h 13"/>
                  <a:gd name="T4" fmla="*/ 17 w 17"/>
                  <a:gd name="T5" fmla="*/ 5 h 13"/>
                  <a:gd name="T6" fmla="*/ 16 w 17"/>
                  <a:gd name="T7" fmla="*/ 3 h 13"/>
                  <a:gd name="T8" fmla="*/ 14 w 17"/>
                  <a:gd name="T9" fmla="*/ 2 h 13"/>
                  <a:gd name="T10" fmla="*/ 13 w 17"/>
                  <a:gd name="T11" fmla="*/ 1 h 13"/>
                  <a:gd name="T12" fmla="*/ 12 w 17"/>
                  <a:gd name="T13" fmla="*/ 0 h 13"/>
                  <a:gd name="T14" fmla="*/ 10 w 17"/>
                  <a:gd name="T15" fmla="*/ 0 h 13"/>
                  <a:gd name="T16" fmla="*/ 9 w 17"/>
                  <a:gd name="T17" fmla="*/ 0 h 13"/>
                  <a:gd name="T18" fmla="*/ 7 w 17"/>
                  <a:gd name="T19" fmla="*/ 1 h 13"/>
                  <a:gd name="T20" fmla="*/ 6 w 17"/>
                  <a:gd name="T21" fmla="*/ 2 h 13"/>
                  <a:gd name="T22" fmla="*/ 5 w 17"/>
                  <a:gd name="T23" fmla="*/ 1 h 13"/>
                  <a:gd name="T24" fmla="*/ 3 w 17"/>
                  <a:gd name="T25" fmla="*/ 2 h 13"/>
                  <a:gd name="T26" fmla="*/ 1 w 17"/>
                  <a:gd name="T27" fmla="*/ 4 h 13"/>
                  <a:gd name="T28" fmla="*/ 0 w 17"/>
                  <a:gd name="T29" fmla="*/ 6 h 13"/>
                  <a:gd name="T30" fmla="*/ 1 w 17"/>
                  <a:gd name="T31" fmla="*/ 7 h 13"/>
                  <a:gd name="T32" fmla="*/ 0 w 17"/>
                  <a:gd name="T33" fmla="*/ 7 h 13"/>
                  <a:gd name="T34" fmla="*/ 0 w 17"/>
                  <a:gd name="T35" fmla="*/ 8 h 13"/>
                  <a:gd name="T36" fmla="*/ 1 w 17"/>
                  <a:gd name="T37" fmla="*/ 9 h 13"/>
                  <a:gd name="T38" fmla="*/ 0 w 17"/>
                  <a:gd name="T39" fmla="*/ 9 h 13"/>
                  <a:gd name="T40" fmla="*/ 2 w 17"/>
                  <a:gd name="T41" fmla="*/ 12 h 13"/>
                  <a:gd name="T42" fmla="*/ 2 w 17"/>
                  <a:gd name="T43" fmla="*/ 13 h 13"/>
                  <a:gd name="T44" fmla="*/ 4 w 17"/>
                  <a:gd name="T45" fmla="*/ 13 h 13"/>
                  <a:gd name="T46" fmla="*/ 5 w 17"/>
                  <a:gd name="T47" fmla="*/ 13 h 13"/>
                  <a:gd name="T48" fmla="*/ 7 w 17"/>
                  <a:gd name="T49" fmla="*/ 13 h 13"/>
                  <a:gd name="T50" fmla="*/ 8 w 17"/>
                  <a:gd name="T51" fmla="*/ 13 h 13"/>
                  <a:gd name="T52" fmla="*/ 8 w 17"/>
                  <a:gd name="T53" fmla="*/ 13 h 13"/>
                  <a:gd name="T54" fmla="*/ 9 w 17"/>
                  <a:gd name="T55" fmla="*/ 12 h 13"/>
                  <a:gd name="T56" fmla="*/ 10 w 17"/>
                  <a:gd name="T57" fmla="*/ 11 h 13"/>
                  <a:gd name="T58" fmla="*/ 11 w 17"/>
                  <a:gd name="T59" fmla="*/ 11 h 13"/>
                  <a:gd name="T60" fmla="*/ 13 w 17"/>
                  <a:gd name="T61" fmla="*/ 11 h 13"/>
                  <a:gd name="T62" fmla="*/ 15 w 17"/>
                  <a:gd name="T63" fmla="*/ 10 h 13"/>
                  <a:gd name="T64" fmla="*/ 16 w 17"/>
                  <a:gd name="T65" fmla="*/ 9 h 13"/>
                  <a:gd name="T66" fmla="*/ 17 w 17"/>
                  <a:gd name="T67" fmla="*/ 7 h 13"/>
                  <a:gd name="T68" fmla="*/ 17 w 17"/>
                  <a:gd name="T6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 h="13">
                    <a:moveTo>
                      <a:pt x="17" y="7"/>
                    </a:moveTo>
                    <a:cubicBezTo>
                      <a:pt x="17" y="7"/>
                      <a:pt x="17" y="6"/>
                      <a:pt x="17" y="6"/>
                    </a:cubicBezTo>
                    <a:cubicBezTo>
                      <a:pt x="17" y="5"/>
                      <a:pt x="17" y="5"/>
                      <a:pt x="17" y="5"/>
                    </a:cubicBezTo>
                    <a:cubicBezTo>
                      <a:pt x="16" y="4"/>
                      <a:pt x="16" y="3"/>
                      <a:pt x="16" y="3"/>
                    </a:cubicBezTo>
                    <a:cubicBezTo>
                      <a:pt x="16" y="2"/>
                      <a:pt x="15" y="2"/>
                      <a:pt x="14" y="2"/>
                    </a:cubicBezTo>
                    <a:cubicBezTo>
                      <a:pt x="14" y="1"/>
                      <a:pt x="13" y="1"/>
                      <a:pt x="13" y="1"/>
                    </a:cubicBezTo>
                    <a:cubicBezTo>
                      <a:pt x="13" y="0"/>
                      <a:pt x="13" y="0"/>
                      <a:pt x="12" y="0"/>
                    </a:cubicBezTo>
                    <a:cubicBezTo>
                      <a:pt x="12" y="0"/>
                      <a:pt x="11" y="0"/>
                      <a:pt x="10" y="0"/>
                    </a:cubicBezTo>
                    <a:cubicBezTo>
                      <a:pt x="10" y="0"/>
                      <a:pt x="9" y="0"/>
                      <a:pt x="9" y="0"/>
                    </a:cubicBezTo>
                    <a:cubicBezTo>
                      <a:pt x="8" y="1"/>
                      <a:pt x="8" y="1"/>
                      <a:pt x="7" y="1"/>
                    </a:cubicBezTo>
                    <a:cubicBezTo>
                      <a:pt x="6" y="1"/>
                      <a:pt x="6" y="1"/>
                      <a:pt x="6" y="2"/>
                    </a:cubicBezTo>
                    <a:cubicBezTo>
                      <a:pt x="5" y="2"/>
                      <a:pt x="5" y="2"/>
                      <a:pt x="5" y="1"/>
                    </a:cubicBezTo>
                    <a:cubicBezTo>
                      <a:pt x="4" y="1"/>
                      <a:pt x="3" y="2"/>
                      <a:pt x="3" y="2"/>
                    </a:cubicBezTo>
                    <a:cubicBezTo>
                      <a:pt x="2" y="3"/>
                      <a:pt x="2" y="4"/>
                      <a:pt x="1" y="4"/>
                    </a:cubicBezTo>
                    <a:cubicBezTo>
                      <a:pt x="1" y="5"/>
                      <a:pt x="0" y="5"/>
                      <a:pt x="0" y="6"/>
                    </a:cubicBezTo>
                    <a:cubicBezTo>
                      <a:pt x="0" y="6"/>
                      <a:pt x="1" y="6"/>
                      <a:pt x="1" y="7"/>
                    </a:cubicBezTo>
                    <a:cubicBezTo>
                      <a:pt x="0" y="7"/>
                      <a:pt x="0" y="7"/>
                      <a:pt x="0" y="7"/>
                    </a:cubicBezTo>
                    <a:cubicBezTo>
                      <a:pt x="0" y="7"/>
                      <a:pt x="0" y="7"/>
                      <a:pt x="0" y="8"/>
                    </a:cubicBezTo>
                    <a:cubicBezTo>
                      <a:pt x="0" y="8"/>
                      <a:pt x="1" y="8"/>
                      <a:pt x="1" y="9"/>
                    </a:cubicBezTo>
                    <a:cubicBezTo>
                      <a:pt x="1" y="9"/>
                      <a:pt x="0" y="9"/>
                      <a:pt x="0" y="9"/>
                    </a:cubicBezTo>
                    <a:cubicBezTo>
                      <a:pt x="0" y="10"/>
                      <a:pt x="1" y="11"/>
                      <a:pt x="2" y="12"/>
                    </a:cubicBezTo>
                    <a:cubicBezTo>
                      <a:pt x="2" y="13"/>
                      <a:pt x="2" y="13"/>
                      <a:pt x="2" y="13"/>
                    </a:cubicBezTo>
                    <a:cubicBezTo>
                      <a:pt x="3" y="13"/>
                      <a:pt x="4" y="13"/>
                      <a:pt x="4" y="13"/>
                    </a:cubicBezTo>
                    <a:cubicBezTo>
                      <a:pt x="4" y="13"/>
                      <a:pt x="5" y="13"/>
                      <a:pt x="5" y="13"/>
                    </a:cubicBezTo>
                    <a:cubicBezTo>
                      <a:pt x="6" y="13"/>
                      <a:pt x="6" y="13"/>
                      <a:pt x="7" y="13"/>
                    </a:cubicBezTo>
                    <a:cubicBezTo>
                      <a:pt x="7" y="13"/>
                      <a:pt x="7" y="13"/>
                      <a:pt x="8" y="13"/>
                    </a:cubicBezTo>
                    <a:cubicBezTo>
                      <a:pt x="8" y="13"/>
                      <a:pt x="8" y="13"/>
                      <a:pt x="8" y="13"/>
                    </a:cubicBezTo>
                    <a:cubicBezTo>
                      <a:pt x="8" y="13"/>
                      <a:pt x="9" y="13"/>
                      <a:pt x="9" y="12"/>
                    </a:cubicBezTo>
                    <a:cubicBezTo>
                      <a:pt x="9" y="12"/>
                      <a:pt x="9" y="12"/>
                      <a:pt x="10" y="11"/>
                    </a:cubicBezTo>
                    <a:cubicBezTo>
                      <a:pt x="10" y="11"/>
                      <a:pt x="11" y="11"/>
                      <a:pt x="11" y="11"/>
                    </a:cubicBezTo>
                    <a:cubicBezTo>
                      <a:pt x="12" y="11"/>
                      <a:pt x="12" y="11"/>
                      <a:pt x="13" y="11"/>
                    </a:cubicBezTo>
                    <a:cubicBezTo>
                      <a:pt x="14" y="11"/>
                      <a:pt x="14" y="11"/>
                      <a:pt x="15" y="10"/>
                    </a:cubicBezTo>
                    <a:cubicBezTo>
                      <a:pt x="15" y="9"/>
                      <a:pt x="16" y="9"/>
                      <a:pt x="16" y="9"/>
                    </a:cubicBezTo>
                    <a:cubicBezTo>
                      <a:pt x="16" y="8"/>
                      <a:pt x="17" y="8"/>
                      <a:pt x="17" y="7"/>
                    </a:cubicBezTo>
                    <a:cubicBezTo>
                      <a:pt x="17" y="7"/>
                      <a:pt x="17" y="8"/>
                      <a:pt x="17"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8" name="Freeform 782">
                <a:extLst>
                  <a:ext uri="{FF2B5EF4-FFF2-40B4-BE49-F238E27FC236}">
                    <a16:creationId xmlns:a16="http://schemas.microsoft.com/office/drawing/2014/main" id="{095B1963-C09E-939A-1BE8-86D595CC3BB3}"/>
                  </a:ext>
                </a:extLst>
              </p:cNvPr>
              <p:cNvSpPr>
                <a:spLocks noEditPoints="1"/>
              </p:cNvSpPr>
              <p:nvPr/>
            </p:nvSpPr>
            <p:spPr bwMode="auto">
              <a:xfrm>
                <a:off x="5516563" y="1992313"/>
                <a:ext cx="738187" cy="879475"/>
              </a:xfrm>
              <a:custGeom>
                <a:avLst/>
                <a:gdLst>
                  <a:gd name="T0" fmla="*/ 76 w 177"/>
                  <a:gd name="T1" fmla="*/ 79 h 211"/>
                  <a:gd name="T2" fmla="*/ 49 w 177"/>
                  <a:gd name="T3" fmla="*/ 143 h 211"/>
                  <a:gd name="T4" fmla="*/ 39 w 177"/>
                  <a:gd name="T5" fmla="*/ 195 h 211"/>
                  <a:gd name="T6" fmla="*/ 28 w 177"/>
                  <a:gd name="T7" fmla="*/ 204 h 211"/>
                  <a:gd name="T8" fmla="*/ 4 w 177"/>
                  <a:gd name="T9" fmla="*/ 202 h 211"/>
                  <a:gd name="T10" fmla="*/ 4 w 177"/>
                  <a:gd name="T11" fmla="*/ 194 h 211"/>
                  <a:gd name="T12" fmla="*/ 8 w 177"/>
                  <a:gd name="T13" fmla="*/ 181 h 211"/>
                  <a:gd name="T14" fmla="*/ 1 w 177"/>
                  <a:gd name="T15" fmla="*/ 172 h 211"/>
                  <a:gd name="T16" fmla="*/ 16 w 177"/>
                  <a:gd name="T17" fmla="*/ 166 h 211"/>
                  <a:gd name="T18" fmla="*/ 6 w 177"/>
                  <a:gd name="T19" fmla="*/ 165 h 211"/>
                  <a:gd name="T20" fmla="*/ 3 w 177"/>
                  <a:gd name="T21" fmla="*/ 158 h 211"/>
                  <a:gd name="T22" fmla="*/ 14 w 177"/>
                  <a:gd name="T23" fmla="*/ 152 h 211"/>
                  <a:gd name="T24" fmla="*/ 21 w 177"/>
                  <a:gd name="T25" fmla="*/ 147 h 211"/>
                  <a:gd name="T26" fmla="*/ 23 w 177"/>
                  <a:gd name="T27" fmla="*/ 142 h 211"/>
                  <a:gd name="T28" fmla="*/ 34 w 177"/>
                  <a:gd name="T29" fmla="*/ 137 h 211"/>
                  <a:gd name="T30" fmla="*/ 43 w 177"/>
                  <a:gd name="T31" fmla="*/ 128 h 211"/>
                  <a:gd name="T32" fmla="*/ 38 w 177"/>
                  <a:gd name="T33" fmla="*/ 123 h 211"/>
                  <a:gd name="T34" fmla="*/ 45 w 177"/>
                  <a:gd name="T35" fmla="*/ 116 h 211"/>
                  <a:gd name="T36" fmla="*/ 53 w 177"/>
                  <a:gd name="T37" fmla="*/ 101 h 211"/>
                  <a:gd name="T38" fmla="*/ 56 w 177"/>
                  <a:gd name="T39" fmla="*/ 91 h 211"/>
                  <a:gd name="T40" fmla="*/ 61 w 177"/>
                  <a:gd name="T41" fmla="*/ 79 h 211"/>
                  <a:gd name="T42" fmla="*/ 66 w 177"/>
                  <a:gd name="T43" fmla="*/ 75 h 211"/>
                  <a:gd name="T44" fmla="*/ 70 w 177"/>
                  <a:gd name="T45" fmla="*/ 67 h 211"/>
                  <a:gd name="T46" fmla="*/ 76 w 177"/>
                  <a:gd name="T47" fmla="*/ 61 h 211"/>
                  <a:gd name="T48" fmla="*/ 84 w 177"/>
                  <a:gd name="T49" fmla="*/ 55 h 211"/>
                  <a:gd name="T50" fmla="*/ 87 w 177"/>
                  <a:gd name="T51" fmla="*/ 47 h 211"/>
                  <a:gd name="T52" fmla="*/ 93 w 177"/>
                  <a:gd name="T53" fmla="*/ 33 h 211"/>
                  <a:gd name="T54" fmla="*/ 100 w 177"/>
                  <a:gd name="T55" fmla="*/ 32 h 211"/>
                  <a:gd name="T56" fmla="*/ 106 w 177"/>
                  <a:gd name="T57" fmla="*/ 31 h 211"/>
                  <a:gd name="T58" fmla="*/ 114 w 177"/>
                  <a:gd name="T59" fmla="*/ 23 h 211"/>
                  <a:gd name="T60" fmla="*/ 119 w 177"/>
                  <a:gd name="T61" fmla="*/ 19 h 211"/>
                  <a:gd name="T62" fmla="*/ 127 w 177"/>
                  <a:gd name="T63" fmla="*/ 15 h 211"/>
                  <a:gd name="T64" fmla="*/ 138 w 177"/>
                  <a:gd name="T65" fmla="*/ 6 h 211"/>
                  <a:gd name="T66" fmla="*/ 141 w 177"/>
                  <a:gd name="T67" fmla="*/ 14 h 211"/>
                  <a:gd name="T68" fmla="*/ 151 w 177"/>
                  <a:gd name="T69" fmla="*/ 8 h 211"/>
                  <a:gd name="T70" fmla="*/ 159 w 177"/>
                  <a:gd name="T71" fmla="*/ 4 h 211"/>
                  <a:gd name="T72" fmla="*/ 158 w 177"/>
                  <a:gd name="T73" fmla="*/ 16 h 211"/>
                  <a:gd name="T74" fmla="*/ 170 w 177"/>
                  <a:gd name="T75" fmla="*/ 13 h 211"/>
                  <a:gd name="T76" fmla="*/ 166 w 177"/>
                  <a:gd name="T77" fmla="*/ 24 h 211"/>
                  <a:gd name="T78" fmla="*/ 175 w 177"/>
                  <a:gd name="T79" fmla="*/ 33 h 211"/>
                  <a:gd name="T80" fmla="*/ 144 w 177"/>
                  <a:gd name="T81" fmla="*/ 28 h 211"/>
                  <a:gd name="T82" fmla="*/ 117 w 177"/>
                  <a:gd name="T83" fmla="*/ 45 h 211"/>
                  <a:gd name="T84" fmla="*/ 25 w 177"/>
                  <a:gd name="T85" fmla="*/ 133 h 211"/>
                  <a:gd name="T86" fmla="*/ 74 w 177"/>
                  <a:gd name="T87" fmla="*/ 60 h 211"/>
                  <a:gd name="T88" fmla="*/ 57 w 177"/>
                  <a:gd name="T89" fmla="*/ 58 h 211"/>
                  <a:gd name="T90" fmla="*/ 65 w 177"/>
                  <a:gd name="T91" fmla="*/ 55 h 211"/>
                  <a:gd name="T92" fmla="*/ 69 w 177"/>
                  <a:gd name="T93" fmla="*/ 44 h 211"/>
                  <a:gd name="T94" fmla="*/ 71 w 177"/>
                  <a:gd name="T95" fmla="*/ 42 h 211"/>
                  <a:gd name="T96" fmla="*/ 74 w 177"/>
                  <a:gd name="T97" fmla="*/ 54 h 211"/>
                  <a:gd name="T98" fmla="*/ 77 w 177"/>
                  <a:gd name="T99" fmla="*/ 43 h 211"/>
                  <a:gd name="T100" fmla="*/ 88 w 177"/>
                  <a:gd name="T101" fmla="*/ 35 h 211"/>
                  <a:gd name="T102" fmla="*/ 82 w 177"/>
                  <a:gd name="T103" fmla="*/ 39 h 211"/>
                  <a:gd name="T104" fmla="*/ 93 w 177"/>
                  <a:gd name="T105" fmla="*/ 27 h 211"/>
                  <a:gd name="T106" fmla="*/ 94 w 177"/>
                  <a:gd name="T107" fmla="*/ 25 h 211"/>
                  <a:gd name="T108" fmla="*/ 98 w 177"/>
                  <a:gd name="T109" fmla="*/ 21 h 211"/>
                  <a:gd name="T110" fmla="*/ 105 w 177"/>
                  <a:gd name="T111" fmla="*/ 20 h 211"/>
                  <a:gd name="T112" fmla="*/ 123 w 177"/>
                  <a:gd name="T113" fmla="*/ 16 h 211"/>
                  <a:gd name="T114" fmla="*/ 118 w 177"/>
                  <a:gd name="T115" fmla="*/ 13 h 211"/>
                  <a:gd name="T116" fmla="*/ 120 w 177"/>
                  <a:gd name="T117" fmla="*/ 10 h 211"/>
                  <a:gd name="T118" fmla="*/ 134 w 177"/>
                  <a:gd name="T119" fmla="*/ 3 h 211"/>
                  <a:gd name="T120" fmla="*/ 139 w 177"/>
                  <a:gd name="T121" fmla="*/ 3 h 211"/>
                  <a:gd name="T122" fmla="*/ 22 w 177"/>
                  <a:gd name="T123" fmla="*/ 13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 h="211">
                    <a:moveTo>
                      <a:pt x="106" y="42"/>
                    </a:moveTo>
                    <a:cubicBezTo>
                      <a:pt x="105" y="42"/>
                      <a:pt x="104" y="42"/>
                      <a:pt x="103" y="42"/>
                    </a:cubicBezTo>
                    <a:cubicBezTo>
                      <a:pt x="103" y="43"/>
                      <a:pt x="103" y="43"/>
                      <a:pt x="104" y="43"/>
                    </a:cubicBezTo>
                    <a:cubicBezTo>
                      <a:pt x="104" y="44"/>
                      <a:pt x="104" y="45"/>
                      <a:pt x="105" y="46"/>
                    </a:cubicBezTo>
                    <a:cubicBezTo>
                      <a:pt x="105" y="47"/>
                      <a:pt x="104" y="49"/>
                      <a:pt x="103" y="50"/>
                    </a:cubicBezTo>
                    <a:cubicBezTo>
                      <a:pt x="103" y="50"/>
                      <a:pt x="102" y="50"/>
                      <a:pt x="102" y="51"/>
                    </a:cubicBezTo>
                    <a:cubicBezTo>
                      <a:pt x="101" y="51"/>
                      <a:pt x="102" y="52"/>
                      <a:pt x="103" y="52"/>
                    </a:cubicBezTo>
                    <a:cubicBezTo>
                      <a:pt x="103" y="52"/>
                      <a:pt x="104" y="52"/>
                      <a:pt x="103" y="53"/>
                    </a:cubicBezTo>
                    <a:cubicBezTo>
                      <a:pt x="103" y="54"/>
                      <a:pt x="102" y="54"/>
                      <a:pt x="102" y="54"/>
                    </a:cubicBezTo>
                    <a:cubicBezTo>
                      <a:pt x="101" y="54"/>
                      <a:pt x="100" y="54"/>
                      <a:pt x="99" y="53"/>
                    </a:cubicBezTo>
                    <a:cubicBezTo>
                      <a:pt x="99" y="53"/>
                      <a:pt x="98" y="53"/>
                      <a:pt x="97" y="52"/>
                    </a:cubicBezTo>
                    <a:cubicBezTo>
                      <a:pt x="96" y="52"/>
                      <a:pt x="96" y="52"/>
                      <a:pt x="95" y="52"/>
                    </a:cubicBezTo>
                    <a:cubicBezTo>
                      <a:pt x="94" y="52"/>
                      <a:pt x="93" y="52"/>
                      <a:pt x="93" y="51"/>
                    </a:cubicBezTo>
                    <a:cubicBezTo>
                      <a:pt x="92" y="51"/>
                      <a:pt x="92" y="51"/>
                      <a:pt x="91" y="51"/>
                    </a:cubicBezTo>
                    <a:cubicBezTo>
                      <a:pt x="91" y="51"/>
                      <a:pt x="90" y="51"/>
                      <a:pt x="90" y="51"/>
                    </a:cubicBezTo>
                    <a:cubicBezTo>
                      <a:pt x="89" y="52"/>
                      <a:pt x="90" y="53"/>
                      <a:pt x="90" y="53"/>
                    </a:cubicBezTo>
                    <a:cubicBezTo>
                      <a:pt x="90" y="54"/>
                      <a:pt x="90" y="55"/>
                      <a:pt x="90" y="56"/>
                    </a:cubicBezTo>
                    <a:cubicBezTo>
                      <a:pt x="90" y="57"/>
                      <a:pt x="90" y="57"/>
                      <a:pt x="90" y="58"/>
                    </a:cubicBezTo>
                    <a:cubicBezTo>
                      <a:pt x="89" y="59"/>
                      <a:pt x="89" y="60"/>
                      <a:pt x="89" y="60"/>
                    </a:cubicBezTo>
                    <a:cubicBezTo>
                      <a:pt x="88" y="61"/>
                      <a:pt x="88" y="61"/>
                      <a:pt x="88" y="61"/>
                    </a:cubicBezTo>
                    <a:cubicBezTo>
                      <a:pt x="87" y="62"/>
                      <a:pt x="86" y="61"/>
                      <a:pt x="86" y="60"/>
                    </a:cubicBezTo>
                    <a:cubicBezTo>
                      <a:pt x="86" y="60"/>
                      <a:pt x="85" y="59"/>
                      <a:pt x="84" y="59"/>
                    </a:cubicBezTo>
                    <a:cubicBezTo>
                      <a:pt x="84" y="59"/>
                      <a:pt x="83" y="60"/>
                      <a:pt x="83" y="61"/>
                    </a:cubicBezTo>
                    <a:cubicBezTo>
                      <a:pt x="82" y="62"/>
                      <a:pt x="80" y="63"/>
                      <a:pt x="80" y="65"/>
                    </a:cubicBezTo>
                    <a:cubicBezTo>
                      <a:pt x="79" y="66"/>
                      <a:pt x="79" y="68"/>
                      <a:pt x="78" y="69"/>
                    </a:cubicBezTo>
                    <a:cubicBezTo>
                      <a:pt x="77" y="70"/>
                      <a:pt x="75" y="70"/>
                      <a:pt x="76" y="71"/>
                    </a:cubicBezTo>
                    <a:cubicBezTo>
                      <a:pt x="76" y="73"/>
                      <a:pt x="78" y="74"/>
                      <a:pt x="78" y="76"/>
                    </a:cubicBezTo>
                    <a:cubicBezTo>
                      <a:pt x="78" y="77"/>
                      <a:pt x="78" y="78"/>
                      <a:pt x="76" y="79"/>
                    </a:cubicBezTo>
                    <a:cubicBezTo>
                      <a:pt x="75" y="80"/>
                      <a:pt x="74" y="82"/>
                      <a:pt x="74" y="83"/>
                    </a:cubicBezTo>
                    <a:cubicBezTo>
                      <a:pt x="73" y="84"/>
                      <a:pt x="73" y="85"/>
                      <a:pt x="73" y="85"/>
                    </a:cubicBezTo>
                    <a:cubicBezTo>
                      <a:pt x="73" y="86"/>
                      <a:pt x="72" y="86"/>
                      <a:pt x="71" y="87"/>
                    </a:cubicBezTo>
                    <a:cubicBezTo>
                      <a:pt x="71" y="88"/>
                      <a:pt x="72" y="90"/>
                      <a:pt x="71" y="91"/>
                    </a:cubicBezTo>
                    <a:cubicBezTo>
                      <a:pt x="71" y="91"/>
                      <a:pt x="70" y="92"/>
                      <a:pt x="70" y="92"/>
                    </a:cubicBezTo>
                    <a:cubicBezTo>
                      <a:pt x="69" y="93"/>
                      <a:pt x="69" y="93"/>
                      <a:pt x="68" y="93"/>
                    </a:cubicBezTo>
                    <a:cubicBezTo>
                      <a:pt x="66" y="93"/>
                      <a:pt x="65" y="93"/>
                      <a:pt x="65" y="95"/>
                    </a:cubicBezTo>
                    <a:cubicBezTo>
                      <a:pt x="66" y="96"/>
                      <a:pt x="66" y="98"/>
                      <a:pt x="66" y="99"/>
                    </a:cubicBezTo>
                    <a:cubicBezTo>
                      <a:pt x="66" y="100"/>
                      <a:pt x="65" y="101"/>
                      <a:pt x="65" y="101"/>
                    </a:cubicBezTo>
                    <a:cubicBezTo>
                      <a:pt x="65" y="102"/>
                      <a:pt x="65" y="103"/>
                      <a:pt x="65" y="104"/>
                    </a:cubicBezTo>
                    <a:cubicBezTo>
                      <a:pt x="65" y="105"/>
                      <a:pt x="65" y="106"/>
                      <a:pt x="65" y="107"/>
                    </a:cubicBezTo>
                    <a:cubicBezTo>
                      <a:pt x="65" y="107"/>
                      <a:pt x="64" y="107"/>
                      <a:pt x="64" y="108"/>
                    </a:cubicBezTo>
                    <a:cubicBezTo>
                      <a:pt x="64" y="108"/>
                      <a:pt x="64" y="109"/>
                      <a:pt x="64" y="109"/>
                    </a:cubicBezTo>
                    <a:cubicBezTo>
                      <a:pt x="64" y="110"/>
                      <a:pt x="63" y="112"/>
                      <a:pt x="62" y="113"/>
                    </a:cubicBezTo>
                    <a:cubicBezTo>
                      <a:pt x="62" y="114"/>
                      <a:pt x="61" y="115"/>
                      <a:pt x="61" y="115"/>
                    </a:cubicBezTo>
                    <a:cubicBezTo>
                      <a:pt x="61" y="116"/>
                      <a:pt x="60" y="116"/>
                      <a:pt x="60" y="117"/>
                    </a:cubicBezTo>
                    <a:cubicBezTo>
                      <a:pt x="59" y="118"/>
                      <a:pt x="60" y="119"/>
                      <a:pt x="61" y="120"/>
                    </a:cubicBezTo>
                    <a:cubicBezTo>
                      <a:pt x="62" y="120"/>
                      <a:pt x="62" y="120"/>
                      <a:pt x="63" y="121"/>
                    </a:cubicBezTo>
                    <a:cubicBezTo>
                      <a:pt x="63" y="122"/>
                      <a:pt x="63" y="123"/>
                      <a:pt x="63" y="124"/>
                    </a:cubicBezTo>
                    <a:cubicBezTo>
                      <a:pt x="63" y="125"/>
                      <a:pt x="62" y="127"/>
                      <a:pt x="61" y="127"/>
                    </a:cubicBezTo>
                    <a:cubicBezTo>
                      <a:pt x="60" y="127"/>
                      <a:pt x="60" y="127"/>
                      <a:pt x="59" y="127"/>
                    </a:cubicBezTo>
                    <a:cubicBezTo>
                      <a:pt x="58" y="126"/>
                      <a:pt x="57" y="126"/>
                      <a:pt x="56" y="126"/>
                    </a:cubicBezTo>
                    <a:cubicBezTo>
                      <a:pt x="55" y="127"/>
                      <a:pt x="53" y="128"/>
                      <a:pt x="52" y="129"/>
                    </a:cubicBezTo>
                    <a:cubicBezTo>
                      <a:pt x="51" y="130"/>
                      <a:pt x="51" y="132"/>
                      <a:pt x="50" y="133"/>
                    </a:cubicBezTo>
                    <a:cubicBezTo>
                      <a:pt x="49" y="134"/>
                      <a:pt x="50" y="134"/>
                      <a:pt x="50" y="135"/>
                    </a:cubicBezTo>
                    <a:cubicBezTo>
                      <a:pt x="50" y="136"/>
                      <a:pt x="49" y="136"/>
                      <a:pt x="49" y="137"/>
                    </a:cubicBezTo>
                    <a:cubicBezTo>
                      <a:pt x="48" y="139"/>
                      <a:pt x="49" y="140"/>
                      <a:pt x="49" y="141"/>
                    </a:cubicBezTo>
                    <a:cubicBezTo>
                      <a:pt x="50" y="142"/>
                      <a:pt x="50" y="143"/>
                      <a:pt x="49" y="143"/>
                    </a:cubicBezTo>
                    <a:cubicBezTo>
                      <a:pt x="49" y="144"/>
                      <a:pt x="49" y="145"/>
                      <a:pt x="49" y="145"/>
                    </a:cubicBezTo>
                    <a:cubicBezTo>
                      <a:pt x="49" y="146"/>
                      <a:pt x="49" y="147"/>
                      <a:pt x="49" y="148"/>
                    </a:cubicBezTo>
                    <a:cubicBezTo>
                      <a:pt x="49" y="149"/>
                      <a:pt x="49" y="149"/>
                      <a:pt x="49" y="150"/>
                    </a:cubicBezTo>
                    <a:cubicBezTo>
                      <a:pt x="50" y="152"/>
                      <a:pt x="50" y="153"/>
                      <a:pt x="50" y="155"/>
                    </a:cubicBezTo>
                    <a:cubicBezTo>
                      <a:pt x="50" y="156"/>
                      <a:pt x="50" y="157"/>
                      <a:pt x="50" y="158"/>
                    </a:cubicBezTo>
                    <a:cubicBezTo>
                      <a:pt x="50" y="159"/>
                      <a:pt x="49" y="159"/>
                      <a:pt x="49" y="160"/>
                    </a:cubicBezTo>
                    <a:cubicBezTo>
                      <a:pt x="49" y="161"/>
                      <a:pt x="50" y="162"/>
                      <a:pt x="50" y="162"/>
                    </a:cubicBezTo>
                    <a:cubicBezTo>
                      <a:pt x="51" y="163"/>
                      <a:pt x="51" y="163"/>
                      <a:pt x="52" y="164"/>
                    </a:cubicBezTo>
                    <a:cubicBezTo>
                      <a:pt x="53" y="164"/>
                      <a:pt x="54" y="166"/>
                      <a:pt x="54" y="167"/>
                    </a:cubicBezTo>
                    <a:cubicBezTo>
                      <a:pt x="54" y="168"/>
                      <a:pt x="54" y="168"/>
                      <a:pt x="53" y="169"/>
                    </a:cubicBezTo>
                    <a:cubicBezTo>
                      <a:pt x="53" y="169"/>
                      <a:pt x="53" y="170"/>
                      <a:pt x="53" y="171"/>
                    </a:cubicBezTo>
                    <a:cubicBezTo>
                      <a:pt x="52" y="171"/>
                      <a:pt x="51" y="171"/>
                      <a:pt x="50" y="171"/>
                    </a:cubicBezTo>
                    <a:cubicBezTo>
                      <a:pt x="50" y="172"/>
                      <a:pt x="50" y="173"/>
                      <a:pt x="50" y="174"/>
                    </a:cubicBezTo>
                    <a:cubicBezTo>
                      <a:pt x="51" y="175"/>
                      <a:pt x="52" y="177"/>
                      <a:pt x="52" y="179"/>
                    </a:cubicBezTo>
                    <a:cubicBezTo>
                      <a:pt x="52" y="180"/>
                      <a:pt x="52" y="181"/>
                      <a:pt x="52" y="182"/>
                    </a:cubicBezTo>
                    <a:cubicBezTo>
                      <a:pt x="52" y="183"/>
                      <a:pt x="52" y="184"/>
                      <a:pt x="51" y="184"/>
                    </a:cubicBezTo>
                    <a:cubicBezTo>
                      <a:pt x="51" y="185"/>
                      <a:pt x="50" y="186"/>
                      <a:pt x="49" y="186"/>
                    </a:cubicBezTo>
                    <a:cubicBezTo>
                      <a:pt x="49" y="186"/>
                      <a:pt x="48" y="186"/>
                      <a:pt x="47" y="187"/>
                    </a:cubicBezTo>
                    <a:cubicBezTo>
                      <a:pt x="47" y="188"/>
                      <a:pt x="48" y="189"/>
                      <a:pt x="47" y="189"/>
                    </a:cubicBezTo>
                    <a:cubicBezTo>
                      <a:pt x="47" y="190"/>
                      <a:pt x="46" y="190"/>
                      <a:pt x="46" y="191"/>
                    </a:cubicBezTo>
                    <a:cubicBezTo>
                      <a:pt x="46" y="192"/>
                      <a:pt x="46" y="193"/>
                      <a:pt x="47" y="194"/>
                    </a:cubicBezTo>
                    <a:cubicBezTo>
                      <a:pt x="47" y="195"/>
                      <a:pt x="47" y="195"/>
                      <a:pt x="46" y="197"/>
                    </a:cubicBezTo>
                    <a:cubicBezTo>
                      <a:pt x="46" y="197"/>
                      <a:pt x="46" y="200"/>
                      <a:pt x="45" y="200"/>
                    </a:cubicBezTo>
                    <a:cubicBezTo>
                      <a:pt x="43" y="199"/>
                      <a:pt x="45" y="197"/>
                      <a:pt x="43" y="197"/>
                    </a:cubicBezTo>
                    <a:cubicBezTo>
                      <a:pt x="43" y="197"/>
                      <a:pt x="43" y="196"/>
                      <a:pt x="43" y="196"/>
                    </a:cubicBezTo>
                    <a:cubicBezTo>
                      <a:pt x="42" y="196"/>
                      <a:pt x="42" y="196"/>
                      <a:pt x="41" y="196"/>
                    </a:cubicBezTo>
                    <a:cubicBezTo>
                      <a:pt x="41" y="196"/>
                      <a:pt x="41" y="196"/>
                      <a:pt x="41" y="196"/>
                    </a:cubicBezTo>
                    <a:cubicBezTo>
                      <a:pt x="41" y="196"/>
                      <a:pt x="40" y="196"/>
                      <a:pt x="39" y="195"/>
                    </a:cubicBezTo>
                    <a:cubicBezTo>
                      <a:pt x="39" y="195"/>
                      <a:pt x="40" y="195"/>
                      <a:pt x="40" y="194"/>
                    </a:cubicBezTo>
                    <a:cubicBezTo>
                      <a:pt x="40" y="194"/>
                      <a:pt x="39" y="194"/>
                      <a:pt x="39" y="193"/>
                    </a:cubicBezTo>
                    <a:cubicBezTo>
                      <a:pt x="39" y="193"/>
                      <a:pt x="39" y="193"/>
                      <a:pt x="39" y="192"/>
                    </a:cubicBezTo>
                    <a:cubicBezTo>
                      <a:pt x="39" y="192"/>
                      <a:pt x="39" y="192"/>
                      <a:pt x="39" y="192"/>
                    </a:cubicBezTo>
                    <a:cubicBezTo>
                      <a:pt x="39" y="191"/>
                      <a:pt x="39" y="191"/>
                      <a:pt x="39" y="190"/>
                    </a:cubicBezTo>
                    <a:cubicBezTo>
                      <a:pt x="39" y="190"/>
                      <a:pt x="39" y="189"/>
                      <a:pt x="39" y="189"/>
                    </a:cubicBezTo>
                    <a:cubicBezTo>
                      <a:pt x="38" y="189"/>
                      <a:pt x="38" y="191"/>
                      <a:pt x="38" y="191"/>
                    </a:cubicBezTo>
                    <a:cubicBezTo>
                      <a:pt x="37" y="191"/>
                      <a:pt x="38" y="190"/>
                      <a:pt x="37" y="189"/>
                    </a:cubicBezTo>
                    <a:cubicBezTo>
                      <a:pt x="37" y="189"/>
                      <a:pt x="36" y="189"/>
                      <a:pt x="37" y="190"/>
                    </a:cubicBezTo>
                    <a:cubicBezTo>
                      <a:pt x="37" y="190"/>
                      <a:pt x="37" y="191"/>
                      <a:pt x="36" y="191"/>
                    </a:cubicBezTo>
                    <a:cubicBezTo>
                      <a:pt x="36" y="192"/>
                      <a:pt x="37" y="192"/>
                      <a:pt x="38" y="192"/>
                    </a:cubicBezTo>
                    <a:cubicBezTo>
                      <a:pt x="38" y="193"/>
                      <a:pt x="38" y="194"/>
                      <a:pt x="38" y="195"/>
                    </a:cubicBezTo>
                    <a:cubicBezTo>
                      <a:pt x="37" y="195"/>
                      <a:pt x="37" y="195"/>
                      <a:pt x="37" y="196"/>
                    </a:cubicBezTo>
                    <a:cubicBezTo>
                      <a:pt x="37" y="196"/>
                      <a:pt x="37" y="197"/>
                      <a:pt x="37" y="197"/>
                    </a:cubicBezTo>
                    <a:cubicBezTo>
                      <a:pt x="37" y="197"/>
                      <a:pt x="37" y="199"/>
                      <a:pt x="36" y="198"/>
                    </a:cubicBezTo>
                    <a:cubicBezTo>
                      <a:pt x="36" y="198"/>
                      <a:pt x="36" y="198"/>
                      <a:pt x="36" y="198"/>
                    </a:cubicBezTo>
                    <a:cubicBezTo>
                      <a:pt x="35" y="198"/>
                      <a:pt x="35" y="198"/>
                      <a:pt x="35" y="198"/>
                    </a:cubicBezTo>
                    <a:cubicBezTo>
                      <a:pt x="34" y="198"/>
                      <a:pt x="35" y="199"/>
                      <a:pt x="34" y="199"/>
                    </a:cubicBezTo>
                    <a:cubicBezTo>
                      <a:pt x="33" y="199"/>
                      <a:pt x="33" y="198"/>
                      <a:pt x="33" y="198"/>
                    </a:cubicBezTo>
                    <a:cubicBezTo>
                      <a:pt x="33" y="197"/>
                      <a:pt x="32" y="197"/>
                      <a:pt x="32" y="197"/>
                    </a:cubicBezTo>
                    <a:cubicBezTo>
                      <a:pt x="31" y="198"/>
                      <a:pt x="33" y="198"/>
                      <a:pt x="32" y="199"/>
                    </a:cubicBezTo>
                    <a:cubicBezTo>
                      <a:pt x="32" y="200"/>
                      <a:pt x="29" y="199"/>
                      <a:pt x="30" y="201"/>
                    </a:cubicBezTo>
                    <a:cubicBezTo>
                      <a:pt x="30" y="201"/>
                      <a:pt x="31" y="200"/>
                      <a:pt x="31" y="201"/>
                    </a:cubicBezTo>
                    <a:cubicBezTo>
                      <a:pt x="31" y="202"/>
                      <a:pt x="30" y="202"/>
                      <a:pt x="29" y="202"/>
                    </a:cubicBezTo>
                    <a:cubicBezTo>
                      <a:pt x="29" y="202"/>
                      <a:pt x="28" y="201"/>
                      <a:pt x="28" y="202"/>
                    </a:cubicBezTo>
                    <a:cubicBezTo>
                      <a:pt x="28" y="202"/>
                      <a:pt x="29" y="202"/>
                      <a:pt x="28" y="203"/>
                    </a:cubicBezTo>
                    <a:cubicBezTo>
                      <a:pt x="29" y="203"/>
                      <a:pt x="29" y="203"/>
                      <a:pt x="29" y="203"/>
                    </a:cubicBezTo>
                    <a:cubicBezTo>
                      <a:pt x="29" y="203"/>
                      <a:pt x="28" y="204"/>
                      <a:pt x="28" y="204"/>
                    </a:cubicBezTo>
                    <a:cubicBezTo>
                      <a:pt x="27" y="204"/>
                      <a:pt x="27" y="205"/>
                      <a:pt x="26" y="205"/>
                    </a:cubicBezTo>
                    <a:cubicBezTo>
                      <a:pt x="26" y="205"/>
                      <a:pt x="26" y="205"/>
                      <a:pt x="26" y="206"/>
                    </a:cubicBezTo>
                    <a:cubicBezTo>
                      <a:pt x="26" y="206"/>
                      <a:pt x="26" y="206"/>
                      <a:pt x="26" y="206"/>
                    </a:cubicBezTo>
                    <a:cubicBezTo>
                      <a:pt x="25" y="207"/>
                      <a:pt x="25" y="207"/>
                      <a:pt x="25" y="207"/>
                    </a:cubicBezTo>
                    <a:cubicBezTo>
                      <a:pt x="24" y="207"/>
                      <a:pt x="24" y="208"/>
                      <a:pt x="24" y="208"/>
                    </a:cubicBezTo>
                    <a:cubicBezTo>
                      <a:pt x="24" y="208"/>
                      <a:pt x="23" y="208"/>
                      <a:pt x="23" y="209"/>
                    </a:cubicBezTo>
                    <a:cubicBezTo>
                      <a:pt x="23" y="209"/>
                      <a:pt x="22" y="210"/>
                      <a:pt x="22" y="209"/>
                    </a:cubicBezTo>
                    <a:cubicBezTo>
                      <a:pt x="21" y="209"/>
                      <a:pt x="22" y="208"/>
                      <a:pt x="22" y="208"/>
                    </a:cubicBezTo>
                    <a:cubicBezTo>
                      <a:pt x="21" y="208"/>
                      <a:pt x="21" y="209"/>
                      <a:pt x="21" y="210"/>
                    </a:cubicBezTo>
                    <a:cubicBezTo>
                      <a:pt x="20" y="210"/>
                      <a:pt x="20" y="210"/>
                      <a:pt x="19" y="210"/>
                    </a:cubicBezTo>
                    <a:cubicBezTo>
                      <a:pt x="19" y="210"/>
                      <a:pt x="18" y="211"/>
                      <a:pt x="18" y="211"/>
                    </a:cubicBezTo>
                    <a:cubicBezTo>
                      <a:pt x="17" y="211"/>
                      <a:pt x="17" y="211"/>
                      <a:pt x="17" y="211"/>
                    </a:cubicBezTo>
                    <a:cubicBezTo>
                      <a:pt x="16" y="210"/>
                      <a:pt x="16" y="211"/>
                      <a:pt x="16" y="211"/>
                    </a:cubicBezTo>
                    <a:cubicBezTo>
                      <a:pt x="15" y="210"/>
                      <a:pt x="16" y="210"/>
                      <a:pt x="15" y="210"/>
                    </a:cubicBezTo>
                    <a:cubicBezTo>
                      <a:pt x="15" y="210"/>
                      <a:pt x="15" y="210"/>
                      <a:pt x="15" y="210"/>
                    </a:cubicBezTo>
                    <a:cubicBezTo>
                      <a:pt x="15" y="210"/>
                      <a:pt x="15" y="210"/>
                      <a:pt x="14" y="210"/>
                    </a:cubicBezTo>
                    <a:cubicBezTo>
                      <a:pt x="14" y="210"/>
                      <a:pt x="13" y="209"/>
                      <a:pt x="13" y="209"/>
                    </a:cubicBezTo>
                    <a:cubicBezTo>
                      <a:pt x="13" y="209"/>
                      <a:pt x="13" y="209"/>
                      <a:pt x="13" y="208"/>
                    </a:cubicBezTo>
                    <a:cubicBezTo>
                      <a:pt x="13" y="208"/>
                      <a:pt x="12" y="208"/>
                      <a:pt x="12" y="208"/>
                    </a:cubicBezTo>
                    <a:cubicBezTo>
                      <a:pt x="12" y="208"/>
                      <a:pt x="13" y="208"/>
                      <a:pt x="13" y="208"/>
                    </a:cubicBezTo>
                    <a:cubicBezTo>
                      <a:pt x="12" y="208"/>
                      <a:pt x="12" y="208"/>
                      <a:pt x="12" y="208"/>
                    </a:cubicBezTo>
                    <a:cubicBezTo>
                      <a:pt x="11" y="208"/>
                      <a:pt x="11" y="208"/>
                      <a:pt x="10" y="208"/>
                    </a:cubicBezTo>
                    <a:cubicBezTo>
                      <a:pt x="10" y="208"/>
                      <a:pt x="10" y="207"/>
                      <a:pt x="9" y="207"/>
                    </a:cubicBezTo>
                    <a:cubicBezTo>
                      <a:pt x="8" y="207"/>
                      <a:pt x="8" y="206"/>
                      <a:pt x="8" y="206"/>
                    </a:cubicBezTo>
                    <a:cubicBezTo>
                      <a:pt x="7" y="205"/>
                      <a:pt x="8" y="205"/>
                      <a:pt x="7" y="205"/>
                    </a:cubicBezTo>
                    <a:cubicBezTo>
                      <a:pt x="7" y="205"/>
                      <a:pt x="6" y="205"/>
                      <a:pt x="6" y="205"/>
                    </a:cubicBezTo>
                    <a:cubicBezTo>
                      <a:pt x="5" y="204"/>
                      <a:pt x="5" y="203"/>
                      <a:pt x="5" y="203"/>
                    </a:cubicBezTo>
                    <a:cubicBezTo>
                      <a:pt x="5" y="202"/>
                      <a:pt x="4" y="202"/>
                      <a:pt x="4" y="202"/>
                    </a:cubicBezTo>
                    <a:cubicBezTo>
                      <a:pt x="4" y="201"/>
                      <a:pt x="4" y="201"/>
                      <a:pt x="5" y="201"/>
                    </a:cubicBezTo>
                    <a:cubicBezTo>
                      <a:pt x="5" y="200"/>
                      <a:pt x="5" y="199"/>
                      <a:pt x="5" y="199"/>
                    </a:cubicBezTo>
                    <a:cubicBezTo>
                      <a:pt x="5" y="198"/>
                      <a:pt x="5" y="198"/>
                      <a:pt x="5" y="198"/>
                    </a:cubicBezTo>
                    <a:cubicBezTo>
                      <a:pt x="5" y="198"/>
                      <a:pt x="6" y="198"/>
                      <a:pt x="6" y="198"/>
                    </a:cubicBezTo>
                    <a:cubicBezTo>
                      <a:pt x="6" y="199"/>
                      <a:pt x="5" y="199"/>
                      <a:pt x="6" y="200"/>
                    </a:cubicBezTo>
                    <a:cubicBezTo>
                      <a:pt x="6" y="200"/>
                      <a:pt x="6" y="199"/>
                      <a:pt x="7" y="199"/>
                    </a:cubicBezTo>
                    <a:cubicBezTo>
                      <a:pt x="7" y="199"/>
                      <a:pt x="7" y="199"/>
                      <a:pt x="7" y="199"/>
                    </a:cubicBezTo>
                    <a:cubicBezTo>
                      <a:pt x="7" y="200"/>
                      <a:pt x="8" y="200"/>
                      <a:pt x="8" y="200"/>
                    </a:cubicBezTo>
                    <a:cubicBezTo>
                      <a:pt x="9" y="200"/>
                      <a:pt x="8" y="200"/>
                      <a:pt x="8" y="199"/>
                    </a:cubicBezTo>
                    <a:cubicBezTo>
                      <a:pt x="8" y="199"/>
                      <a:pt x="10" y="198"/>
                      <a:pt x="11" y="198"/>
                    </a:cubicBezTo>
                    <a:cubicBezTo>
                      <a:pt x="10" y="198"/>
                      <a:pt x="9" y="198"/>
                      <a:pt x="9" y="198"/>
                    </a:cubicBezTo>
                    <a:cubicBezTo>
                      <a:pt x="8" y="198"/>
                      <a:pt x="8" y="199"/>
                      <a:pt x="8" y="199"/>
                    </a:cubicBezTo>
                    <a:cubicBezTo>
                      <a:pt x="7" y="198"/>
                      <a:pt x="8" y="198"/>
                      <a:pt x="8" y="198"/>
                    </a:cubicBezTo>
                    <a:cubicBezTo>
                      <a:pt x="8" y="198"/>
                      <a:pt x="7" y="198"/>
                      <a:pt x="7" y="197"/>
                    </a:cubicBezTo>
                    <a:cubicBezTo>
                      <a:pt x="7" y="197"/>
                      <a:pt x="7" y="197"/>
                      <a:pt x="8" y="197"/>
                    </a:cubicBezTo>
                    <a:cubicBezTo>
                      <a:pt x="8" y="197"/>
                      <a:pt x="8" y="196"/>
                      <a:pt x="8" y="196"/>
                    </a:cubicBezTo>
                    <a:cubicBezTo>
                      <a:pt x="8" y="196"/>
                      <a:pt x="8" y="196"/>
                      <a:pt x="8" y="196"/>
                    </a:cubicBezTo>
                    <a:cubicBezTo>
                      <a:pt x="9" y="195"/>
                      <a:pt x="9" y="195"/>
                      <a:pt x="10" y="194"/>
                    </a:cubicBezTo>
                    <a:cubicBezTo>
                      <a:pt x="10" y="194"/>
                      <a:pt x="9" y="194"/>
                      <a:pt x="9" y="194"/>
                    </a:cubicBezTo>
                    <a:cubicBezTo>
                      <a:pt x="8" y="194"/>
                      <a:pt x="8" y="193"/>
                      <a:pt x="8" y="193"/>
                    </a:cubicBezTo>
                    <a:cubicBezTo>
                      <a:pt x="9" y="193"/>
                      <a:pt x="9" y="192"/>
                      <a:pt x="9" y="192"/>
                    </a:cubicBezTo>
                    <a:cubicBezTo>
                      <a:pt x="10" y="191"/>
                      <a:pt x="10" y="191"/>
                      <a:pt x="11" y="191"/>
                    </a:cubicBezTo>
                    <a:cubicBezTo>
                      <a:pt x="11" y="191"/>
                      <a:pt x="10" y="191"/>
                      <a:pt x="10" y="191"/>
                    </a:cubicBezTo>
                    <a:cubicBezTo>
                      <a:pt x="10" y="191"/>
                      <a:pt x="10" y="190"/>
                      <a:pt x="10" y="190"/>
                    </a:cubicBezTo>
                    <a:cubicBezTo>
                      <a:pt x="9" y="190"/>
                      <a:pt x="9" y="193"/>
                      <a:pt x="7" y="192"/>
                    </a:cubicBezTo>
                    <a:cubicBezTo>
                      <a:pt x="6" y="192"/>
                      <a:pt x="7" y="191"/>
                      <a:pt x="6" y="192"/>
                    </a:cubicBezTo>
                    <a:cubicBezTo>
                      <a:pt x="6" y="192"/>
                      <a:pt x="5" y="193"/>
                      <a:pt x="5" y="193"/>
                    </a:cubicBezTo>
                    <a:cubicBezTo>
                      <a:pt x="4" y="194"/>
                      <a:pt x="4" y="195"/>
                      <a:pt x="4" y="194"/>
                    </a:cubicBezTo>
                    <a:cubicBezTo>
                      <a:pt x="4" y="194"/>
                      <a:pt x="4" y="193"/>
                      <a:pt x="4" y="193"/>
                    </a:cubicBezTo>
                    <a:cubicBezTo>
                      <a:pt x="4" y="193"/>
                      <a:pt x="3" y="193"/>
                      <a:pt x="3" y="193"/>
                    </a:cubicBezTo>
                    <a:cubicBezTo>
                      <a:pt x="2" y="193"/>
                      <a:pt x="3" y="191"/>
                      <a:pt x="3" y="191"/>
                    </a:cubicBezTo>
                    <a:cubicBezTo>
                      <a:pt x="3" y="190"/>
                      <a:pt x="3" y="189"/>
                      <a:pt x="4" y="190"/>
                    </a:cubicBezTo>
                    <a:cubicBezTo>
                      <a:pt x="4" y="190"/>
                      <a:pt x="3" y="191"/>
                      <a:pt x="4" y="191"/>
                    </a:cubicBezTo>
                    <a:cubicBezTo>
                      <a:pt x="5" y="192"/>
                      <a:pt x="4" y="190"/>
                      <a:pt x="5" y="190"/>
                    </a:cubicBezTo>
                    <a:cubicBezTo>
                      <a:pt x="5" y="190"/>
                      <a:pt x="5" y="189"/>
                      <a:pt x="5" y="189"/>
                    </a:cubicBezTo>
                    <a:cubicBezTo>
                      <a:pt x="6" y="190"/>
                      <a:pt x="6" y="190"/>
                      <a:pt x="6" y="190"/>
                    </a:cubicBezTo>
                    <a:cubicBezTo>
                      <a:pt x="6" y="190"/>
                      <a:pt x="6" y="190"/>
                      <a:pt x="6" y="190"/>
                    </a:cubicBezTo>
                    <a:cubicBezTo>
                      <a:pt x="6" y="190"/>
                      <a:pt x="7" y="190"/>
                      <a:pt x="7" y="190"/>
                    </a:cubicBezTo>
                    <a:cubicBezTo>
                      <a:pt x="7" y="190"/>
                      <a:pt x="6" y="189"/>
                      <a:pt x="7" y="189"/>
                    </a:cubicBezTo>
                    <a:cubicBezTo>
                      <a:pt x="7" y="188"/>
                      <a:pt x="7" y="188"/>
                      <a:pt x="7" y="188"/>
                    </a:cubicBezTo>
                    <a:cubicBezTo>
                      <a:pt x="8" y="188"/>
                      <a:pt x="9" y="188"/>
                      <a:pt x="9" y="187"/>
                    </a:cubicBezTo>
                    <a:cubicBezTo>
                      <a:pt x="9" y="187"/>
                      <a:pt x="8" y="188"/>
                      <a:pt x="7" y="188"/>
                    </a:cubicBezTo>
                    <a:cubicBezTo>
                      <a:pt x="7" y="188"/>
                      <a:pt x="7" y="188"/>
                      <a:pt x="7" y="187"/>
                    </a:cubicBezTo>
                    <a:cubicBezTo>
                      <a:pt x="7" y="187"/>
                      <a:pt x="7" y="188"/>
                      <a:pt x="6" y="188"/>
                    </a:cubicBezTo>
                    <a:cubicBezTo>
                      <a:pt x="6" y="187"/>
                      <a:pt x="5" y="187"/>
                      <a:pt x="6" y="186"/>
                    </a:cubicBezTo>
                    <a:cubicBezTo>
                      <a:pt x="6" y="186"/>
                      <a:pt x="7" y="186"/>
                      <a:pt x="7" y="185"/>
                    </a:cubicBezTo>
                    <a:cubicBezTo>
                      <a:pt x="8" y="185"/>
                      <a:pt x="7" y="185"/>
                      <a:pt x="8" y="185"/>
                    </a:cubicBezTo>
                    <a:cubicBezTo>
                      <a:pt x="8" y="184"/>
                      <a:pt x="9" y="184"/>
                      <a:pt x="9" y="183"/>
                    </a:cubicBezTo>
                    <a:cubicBezTo>
                      <a:pt x="9" y="183"/>
                      <a:pt x="9" y="183"/>
                      <a:pt x="9" y="183"/>
                    </a:cubicBezTo>
                    <a:cubicBezTo>
                      <a:pt x="8" y="182"/>
                      <a:pt x="9" y="182"/>
                      <a:pt x="9" y="181"/>
                    </a:cubicBezTo>
                    <a:cubicBezTo>
                      <a:pt x="10" y="181"/>
                      <a:pt x="10" y="180"/>
                      <a:pt x="11" y="180"/>
                    </a:cubicBezTo>
                    <a:cubicBezTo>
                      <a:pt x="11" y="179"/>
                      <a:pt x="13" y="178"/>
                      <a:pt x="12" y="178"/>
                    </a:cubicBezTo>
                    <a:cubicBezTo>
                      <a:pt x="11" y="178"/>
                      <a:pt x="11" y="179"/>
                      <a:pt x="11" y="179"/>
                    </a:cubicBezTo>
                    <a:cubicBezTo>
                      <a:pt x="10" y="179"/>
                      <a:pt x="10" y="179"/>
                      <a:pt x="10" y="179"/>
                    </a:cubicBezTo>
                    <a:cubicBezTo>
                      <a:pt x="9" y="179"/>
                      <a:pt x="9" y="180"/>
                      <a:pt x="9" y="180"/>
                    </a:cubicBezTo>
                    <a:cubicBezTo>
                      <a:pt x="9" y="180"/>
                      <a:pt x="8" y="181"/>
                      <a:pt x="8" y="181"/>
                    </a:cubicBezTo>
                    <a:cubicBezTo>
                      <a:pt x="8" y="182"/>
                      <a:pt x="8" y="181"/>
                      <a:pt x="8" y="181"/>
                    </a:cubicBezTo>
                    <a:cubicBezTo>
                      <a:pt x="7" y="182"/>
                      <a:pt x="7" y="182"/>
                      <a:pt x="7" y="183"/>
                    </a:cubicBezTo>
                    <a:cubicBezTo>
                      <a:pt x="7" y="183"/>
                      <a:pt x="7" y="183"/>
                      <a:pt x="7" y="184"/>
                    </a:cubicBezTo>
                    <a:cubicBezTo>
                      <a:pt x="6" y="184"/>
                      <a:pt x="7" y="184"/>
                      <a:pt x="6" y="185"/>
                    </a:cubicBezTo>
                    <a:cubicBezTo>
                      <a:pt x="6" y="185"/>
                      <a:pt x="6" y="185"/>
                      <a:pt x="6" y="185"/>
                    </a:cubicBezTo>
                    <a:cubicBezTo>
                      <a:pt x="5" y="184"/>
                      <a:pt x="6" y="184"/>
                      <a:pt x="6" y="184"/>
                    </a:cubicBezTo>
                    <a:cubicBezTo>
                      <a:pt x="6" y="184"/>
                      <a:pt x="6" y="184"/>
                      <a:pt x="6" y="183"/>
                    </a:cubicBezTo>
                    <a:cubicBezTo>
                      <a:pt x="6" y="183"/>
                      <a:pt x="6" y="183"/>
                      <a:pt x="6" y="182"/>
                    </a:cubicBezTo>
                    <a:cubicBezTo>
                      <a:pt x="5" y="182"/>
                      <a:pt x="5" y="183"/>
                      <a:pt x="5" y="183"/>
                    </a:cubicBezTo>
                    <a:cubicBezTo>
                      <a:pt x="5" y="183"/>
                      <a:pt x="5" y="183"/>
                      <a:pt x="5" y="182"/>
                    </a:cubicBezTo>
                    <a:cubicBezTo>
                      <a:pt x="5" y="182"/>
                      <a:pt x="5" y="182"/>
                      <a:pt x="5" y="182"/>
                    </a:cubicBezTo>
                    <a:cubicBezTo>
                      <a:pt x="5" y="181"/>
                      <a:pt x="6" y="180"/>
                      <a:pt x="6" y="180"/>
                    </a:cubicBezTo>
                    <a:cubicBezTo>
                      <a:pt x="5" y="180"/>
                      <a:pt x="5" y="182"/>
                      <a:pt x="4" y="182"/>
                    </a:cubicBezTo>
                    <a:cubicBezTo>
                      <a:pt x="4" y="182"/>
                      <a:pt x="4" y="183"/>
                      <a:pt x="4" y="183"/>
                    </a:cubicBezTo>
                    <a:cubicBezTo>
                      <a:pt x="3" y="183"/>
                      <a:pt x="3" y="182"/>
                      <a:pt x="3" y="182"/>
                    </a:cubicBezTo>
                    <a:cubicBezTo>
                      <a:pt x="3" y="181"/>
                      <a:pt x="2" y="181"/>
                      <a:pt x="2" y="181"/>
                    </a:cubicBezTo>
                    <a:cubicBezTo>
                      <a:pt x="2" y="180"/>
                      <a:pt x="2" y="180"/>
                      <a:pt x="3" y="180"/>
                    </a:cubicBezTo>
                    <a:cubicBezTo>
                      <a:pt x="3" y="179"/>
                      <a:pt x="3" y="178"/>
                      <a:pt x="4" y="178"/>
                    </a:cubicBezTo>
                    <a:cubicBezTo>
                      <a:pt x="4" y="178"/>
                      <a:pt x="4" y="179"/>
                      <a:pt x="5" y="179"/>
                    </a:cubicBezTo>
                    <a:cubicBezTo>
                      <a:pt x="5" y="180"/>
                      <a:pt x="5" y="179"/>
                      <a:pt x="6" y="178"/>
                    </a:cubicBezTo>
                    <a:cubicBezTo>
                      <a:pt x="6" y="178"/>
                      <a:pt x="6" y="177"/>
                      <a:pt x="6" y="176"/>
                    </a:cubicBezTo>
                    <a:cubicBezTo>
                      <a:pt x="5" y="174"/>
                      <a:pt x="4" y="177"/>
                      <a:pt x="4" y="176"/>
                    </a:cubicBezTo>
                    <a:cubicBezTo>
                      <a:pt x="4" y="176"/>
                      <a:pt x="4" y="176"/>
                      <a:pt x="4" y="175"/>
                    </a:cubicBezTo>
                    <a:cubicBezTo>
                      <a:pt x="4" y="175"/>
                      <a:pt x="3" y="174"/>
                      <a:pt x="3" y="174"/>
                    </a:cubicBezTo>
                    <a:cubicBezTo>
                      <a:pt x="3" y="174"/>
                      <a:pt x="4" y="174"/>
                      <a:pt x="4" y="173"/>
                    </a:cubicBezTo>
                    <a:cubicBezTo>
                      <a:pt x="4" y="173"/>
                      <a:pt x="2" y="174"/>
                      <a:pt x="2" y="174"/>
                    </a:cubicBezTo>
                    <a:cubicBezTo>
                      <a:pt x="2" y="174"/>
                      <a:pt x="1" y="173"/>
                      <a:pt x="1" y="173"/>
                    </a:cubicBezTo>
                    <a:cubicBezTo>
                      <a:pt x="1" y="173"/>
                      <a:pt x="1" y="172"/>
                      <a:pt x="1" y="172"/>
                    </a:cubicBezTo>
                    <a:cubicBezTo>
                      <a:pt x="1" y="172"/>
                      <a:pt x="1" y="171"/>
                      <a:pt x="1" y="171"/>
                    </a:cubicBezTo>
                    <a:cubicBezTo>
                      <a:pt x="2" y="170"/>
                      <a:pt x="2" y="171"/>
                      <a:pt x="3" y="171"/>
                    </a:cubicBezTo>
                    <a:cubicBezTo>
                      <a:pt x="3" y="171"/>
                      <a:pt x="3" y="171"/>
                      <a:pt x="4" y="171"/>
                    </a:cubicBezTo>
                    <a:cubicBezTo>
                      <a:pt x="4" y="171"/>
                      <a:pt x="4" y="171"/>
                      <a:pt x="4" y="171"/>
                    </a:cubicBezTo>
                    <a:cubicBezTo>
                      <a:pt x="4" y="171"/>
                      <a:pt x="4" y="171"/>
                      <a:pt x="4" y="171"/>
                    </a:cubicBezTo>
                    <a:cubicBezTo>
                      <a:pt x="5" y="170"/>
                      <a:pt x="5" y="170"/>
                      <a:pt x="5" y="170"/>
                    </a:cubicBezTo>
                    <a:cubicBezTo>
                      <a:pt x="5" y="170"/>
                      <a:pt x="6" y="170"/>
                      <a:pt x="6" y="170"/>
                    </a:cubicBezTo>
                    <a:cubicBezTo>
                      <a:pt x="6" y="171"/>
                      <a:pt x="7" y="170"/>
                      <a:pt x="7" y="170"/>
                    </a:cubicBezTo>
                    <a:cubicBezTo>
                      <a:pt x="8" y="170"/>
                      <a:pt x="8" y="170"/>
                      <a:pt x="8" y="170"/>
                    </a:cubicBezTo>
                    <a:cubicBezTo>
                      <a:pt x="9" y="170"/>
                      <a:pt x="9" y="170"/>
                      <a:pt x="9" y="170"/>
                    </a:cubicBezTo>
                    <a:cubicBezTo>
                      <a:pt x="9" y="170"/>
                      <a:pt x="9" y="171"/>
                      <a:pt x="9" y="171"/>
                    </a:cubicBezTo>
                    <a:cubicBezTo>
                      <a:pt x="10" y="171"/>
                      <a:pt x="10" y="171"/>
                      <a:pt x="10" y="171"/>
                    </a:cubicBezTo>
                    <a:cubicBezTo>
                      <a:pt x="10" y="171"/>
                      <a:pt x="10" y="171"/>
                      <a:pt x="10" y="171"/>
                    </a:cubicBezTo>
                    <a:cubicBezTo>
                      <a:pt x="10" y="171"/>
                      <a:pt x="10" y="170"/>
                      <a:pt x="11" y="170"/>
                    </a:cubicBezTo>
                    <a:cubicBezTo>
                      <a:pt x="11" y="170"/>
                      <a:pt x="11" y="170"/>
                      <a:pt x="11" y="170"/>
                    </a:cubicBezTo>
                    <a:cubicBezTo>
                      <a:pt x="12" y="169"/>
                      <a:pt x="13" y="169"/>
                      <a:pt x="14" y="170"/>
                    </a:cubicBezTo>
                    <a:cubicBezTo>
                      <a:pt x="14" y="170"/>
                      <a:pt x="14" y="171"/>
                      <a:pt x="14" y="171"/>
                    </a:cubicBezTo>
                    <a:cubicBezTo>
                      <a:pt x="14" y="172"/>
                      <a:pt x="13" y="172"/>
                      <a:pt x="13" y="172"/>
                    </a:cubicBezTo>
                    <a:cubicBezTo>
                      <a:pt x="14" y="172"/>
                      <a:pt x="14" y="172"/>
                      <a:pt x="15" y="172"/>
                    </a:cubicBezTo>
                    <a:cubicBezTo>
                      <a:pt x="15" y="172"/>
                      <a:pt x="15" y="173"/>
                      <a:pt x="15" y="173"/>
                    </a:cubicBezTo>
                    <a:cubicBezTo>
                      <a:pt x="16" y="172"/>
                      <a:pt x="13" y="170"/>
                      <a:pt x="16" y="170"/>
                    </a:cubicBezTo>
                    <a:cubicBezTo>
                      <a:pt x="16" y="170"/>
                      <a:pt x="17" y="170"/>
                      <a:pt x="17" y="170"/>
                    </a:cubicBezTo>
                    <a:cubicBezTo>
                      <a:pt x="17" y="170"/>
                      <a:pt x="17" y="170"/>
                      <a:pt x="17" y="169"/>
                    </a:cubicBezTo>
                    <a:cubicBezTo>
                      <a:pt x="17" y="169"/>
                      <a:pt x="19" y="169"/>
                      <a:pt x="19" y="169"/>
                    </a:cubicBezTo>
                    <a:cubicBezTo>
                      <a:pt x="19" y="169"/>
                      <a:pt x="17" y="168"/>
                      <a:pt x="17" y="168"/>
                    </a:cubicBezTo>
                    <a:cubicBezTo>
                      <a:pt x="17" y="167"/>
                      <a:pt x="17" y="166"/>
                      <a:pt x="17" y="166"/>
                    </a:cubicBezTo>
                    <a:cubicBezTo>
                      <a:pt x="18" y="165"/>
                      <a:pt x="18" y="165"/>
                      <a:pt x="18" y="165"/>
                    </a:cubicBezTo>
                    <a:cubicBezTo>
                      <a:pt x="17" y="164"/>
                      <a:pt x="17" y="166"/>
                      <a:pt x="16" y="166"/>
                    </a:cubicBezTo>
                    <a:cubicBezTo>
                      <a:pt x="16" y="167"/>
                      <a:pt x="16" y="167"/>
                      <a:pt x="16" y="168"/>
                    </a:cubicBezTo>
                    <a:cubicBezTo>
                      <a:pt x="16" y="168"/>
                      <a:pt x="17" y="169"/>
                      <a:pt x="16" y="169"/>
                    </a:cubicBezTo>
                    <a:cubicBezTo>
                      <a:pt x="15" y="169"/>
                      <a:pt x="14" y="169"/>
                      <a:pt x="13" y="169"/>
                    </a:cubicBezTo>
                    <a:cubicBezTo>
                      <a:pt x="13" y="168"/>
                      <a:pt x="12" y="168"/>
                      <a:pt x="12" y="168"/>
                    </a:cubicBezTo>
                    <a:cubicBezTo>
                      <a:pt x="11" y="167"/>
                      <a:pt x="12" y="167"/>
                      <a:pt x="12" y="166"/>
                    </a:cubicBezTo>
                    <a:cubicBezTo>
                      <a:pt x="12" y="166"/>
                      <a:pt x="12" y="167"/>
                      <a:pt x="12" y="167"/>
                    </a:cubicBezTo>
                    <a:cubicBezTo>
                      <a:pt x="11" y="167"/>
                      <a:pt x="11" y="167"/>
                      <a:pt x="11" y="168"/>
                    </a:cubicBezTo>
                    <a:cubicBezTo>
                      <a:pt x="10" y="168"/>
                      <a:pt x="11" y="170"/>
                      <a:pt x="10" y="169"/>
                    </a:cubicBezTo>
                    <a:cubicBezTo>
                      <a:pt x="10" y="169"/>
                      <a:pt x="9" y="169"/>
                      <a:pt x="9" y="169"/>
                    </a:cubicBezTo>
                    <a:cubicBezTo>
                      <a:pt x="9" y="169"/>
                      <a:pt x="8" y="169"/>
                      <a:pt x="8" y="169"/>
                    </a:cubicBezTo>
                    <a:cubicBezTo>
                      <a:pt x="8" y="169"/>
                      <a:pt x="8" y="169"/>
                      <a:pt x="8" y="169"/>
                    </a:cubicBezTo>
                    <a:cubicBezTo>
                      <a:pt x="8" y="168"/>
                      <a:pt x="7" y="169"/>
                      <a:pt x="7" y="169"/>
                    </a:cubicBezTo>
                    <a:cubicBezTo>
                      <a:pt x="7" y="169"/>
                      <a:pt x="6" y="169"/>
                      <a:pt x="6" y="169"/>
                    </a:cubicBezTo>
                    <a:cubicBezTo>
                      <a:pt x="6" y="169"/>
                      <a:pt x="6" y="169"/>
                      <a:pt x="5" y="169"/>
                    </a:cubicBezTo>
                    <a:cubicBezTo>
                      <a:pt x="5" y="169"/>
                      <a:pt x="5" y="169"/>
                      <a:pt x="4" y="170"/>
                    </a:cubicBezTo>
                    <a:cubicBezTo>
                      <a:pt x="4" y="170"/>
                      <a:pt x="4" y="170"/>
                      <a:pt x="4" y="170"/>
                    </a:cubicBezTo>
                    <a:cubicBezTo>
                      <a:pt x="4" y="170"/>
                      <a:pt x="2" y="170"/>
                      <a:pt x="2" y="169"/>
                    </a:cubicBezTo>
                    <a:cubicBezTo>
                      <a:pt x="2" y="169"/>
                      <a:pt x="2" y="169"/>
                      <a:pt x="2" y="168"/>
                    </a:cubicBezTo>
                    <a:cubicBezTo>
                      <a:pt x="2" y="168"/>
                      <a:pt x="1" y="168"/>
                      <a:pt x="1" y="168"/>
                    </a:cubicBezTo>
                    <a:cubicBezTo>
                      <a:pt x="0" y="167"/>
                      <a:pt x="2" y="167"/>
                      <a:pt x="3" y="167"/>
                    </a:cubicBezTo>
                    <a:cubicBezTo>
                      <a:pt x="3" y="167"/>
                      <a:pt x="2" y="168"/>
                      <a:pt x="3" y="168"/>
                    </a:cubicBezTo>
                    <a:cubicBezTo>
                      <a:pt x="3" y="167"/>
                      <a:pt x="3" y="167"/>
                      <a:pt x="3" y="167"/>
                    </a:cubicBezTo>
                    <a:cubicBezTo>
                      <a:pt x="3" y="166"/>
                      <a:pt x="4" y="166"/>
                      <a:pt x="5" y="166"/>
                    </a:cubicBezTo>
                    <a:cubicBezTo>
                      <a:pt x="4" y="166"/>
                      <a:pt x="3" y="166"/>
                      <a:pt x="2" y="166"/>
                    </a:cubicBezTo>
                    <a:cubicBezTo>
                      <a:pt x="2" y="166"/>
                      <a:pt x="0" y="167"/>
                      <a:pt x="1" y="166"/>
                    </a:cubicBezTo>
                    <a:cubicBezTo>
                      <a:pt x="1" y="165"/>
                      <a:pt x="2" y="165"/>
                      <a:pt x="3" y="165"/>
                    </a:cubicBezTo>
                    <a:cubicBezTo>
                      <a:pt x="3" y="165"/>
                      <a:pt x="4" y="165"/>
                      <a:pt x="4" y="165"/>
                    </a:cubicBezTo>
                    <a:cubicBezTo>
                      <a:pt x="5" y="165"/>
                      <a:pt x="5" y="165"/>
                      <a:pt x="6" y="165"/>
                    </a:cubicBezTo>
                    <a:cubicBezTo>
                      <a:pt x="5" y="164"/>
                      <a:pt x="4" y="165"/>
                      <a:pt x="4" y="165"/>
                    </a:cubicBezTo>
                    <a:cubicBezTo>
                      <a:pt x="3" y="165"/>
                      <a:pt x="3" y="164"/>
                      <a:pt x="2" y="164"/>
                    </a:cubicBezTo>
                    <a:cubicBezTo>
                      <a:pt x="2" y="164"/>
                      <a:pt x="3" y="164"/>
                      <a:pt x="3" y="163"/>
                    </a:cubicBezTo>
                    <a:cubicBezTo>
                      <a:pt x="3" y="163"/>
                      <a:pt x="3" y="163"/>
                      <a:pt x="2" y="163"/>
                    </a:cubicBezTo>
                    <a:cubicBezTo>
                      <a:pt x="2" y="163"/>
                      <a:pt x="1" y="163"/>
                      <a:pt x="0" y="162"/>
                    </a:cubicBezTo>
                    <a:cubicBezTo>
                      <a:pt x="0" y="162"/>
                      <a:pt x="1" y="161"/>
                      <a:pt x="1" y="161"/>
                    </a:cubicBezTo>
                    <a:cubicBezTo>
                      <a:pt x="1" y="161"/>
                      <a:pt x="2" y="161"/>
                      <a:pt x="2" y="161"/>
                    </a:cubicBezTo>
                    <a:cubicBezTo>
                      <a:pt x="2" y="160"/>
                      <a:pt x="2" y="160"/>
                      <a:pt x="2" y="160"/>
                    </a:cubicBezTo>
                    <a:cubicBezTo>
                      <a:pt x="2" y="160"/>
                      <a:pt x="3" y="160"/>
                      <a:pt x="3" y="160"/>
                    </a:cubicBezTo>
                    <a:cubicBezTo>
                      <a:pt x="3" y="159"/>
                      <a:pt x="3" y="159"/>
                      <a:pt x="3" y="159"/>
                    </a:cubicBezTo>
                    <a:cubicBezTo>
                      <a:pt x="3" y="159"/>
                      <a:pt x="4" y="159"/>
                      <a:pt x="4" y="159"/>
                    </a:cubicBezTo>
                    <a:cubicBezTo>
                      <a:pt x="4" y="159"/>
                      <a:pt x="4" y="159"/>
                      <a:pt x="4" y="159"/>
                    </a:cubicBezTo>
                    <a:cubicBezTo>
                      <a:pt x="4" y="159"/>
                      <a:pt x="5" y="159"/>
                      <a:pt x="5" y="159"/>
                    </a:cubicBezTo>
                    <a:cubicBezTo>
                      <a:pt x="6" y="159"/>
                      <a:pt x="5" y="159"/>
                      <a:pt x="5" y="160"/>
                    </a:cubicBezTo>
                    <a:cubicBezTo>
                      <a:pt x="6" y="160"/>
                      <a:pt x="7" y="159"/>
                      <a:pt x="7" y="159"/>
                    </a:cubicBezTo>
                    <a:cubicBezTo>
                      <a:pt x="7" y="160"/>
                      <a:pt x="7" y="160"/>
                      <a:pt x="7" y="161"/>
                    </a:cubicBezTo>
                    <a:cubicBezTo>
                      <a:pt x="7" y="160"/>
                      <a:pt x="8" y="160"/>
                      <a:pt x="8" y="160"/>
                    </a:cubicBezTo>
                    <a:cubicBezTo>
                      <a:pt x="8" y="160"/>
                      <a:pt x="8" y="160"/>
                      <a:pt x="9" y="160"/>
                    </a:cubicBezTo>
                    <a:cubicBezTo>
                      <a:pt x="9" y="160"/>
                      <a:pt x="9" y="160"/>
                      <a:pt x="9" y="160"/>
                    </a:cubicBezTo>
                    <a:cubicBezTo>
                      <a:pt x="10" y="160"/>
                      <a:pt x="10" y="160"/>
                      <a:pt x="11" y="160"/>
                    </a:cubicBezTo>
                    <a:cubicBezTo>
                      <a:pt x="11" y="160"/>
                      <a:pt x="11" y="160"/>
                      <a:pt x="12" y="159"/>
                    </a:cubicBezTo>
                    <a:cubicBezTo>
                      <a:pt x="12" y="159"/>
                      <a:pt x="13" y="159"/>
                      <a:pt x="13" y="159"/>
                    </a:cubicBezTo>
                    <a:cubicBezTo>
                      <a:pt x="12" y="159"/>
                      <a:pt x="11" y="159"/>
                      <a:pt x="11" y="159"/>
                    </a:cubicBezTo>
                    <a:cubicBezTo>
                      <a:pt x="10" y="159"/>
                      <a:pt x="10" y="159"/>
                      <a:pt x="9" y="159"/>
                    </a:cubicBezTo>
                    <a:cubicBezTo>
                      <a:pt x="9" y="159"/>
                      <a:pt x="9" y="159"/>
                      <a:pt x="8" y="159"/>
                    </a:cubicBezTo>
                    <a:cubicBezTo>
                      <a:pt x="8" y="159"/>
                      <a:pt x="7" y="159"/>
                      <a:pt x="7" y="159"/>
                    </a:cubicBezTo>
                    <a:cubicBezTo>
                      <a:pt x="6" y="158"/>
                      <a:pt x="6" y="158"/>
                      <a:pt x="5" y="158"/>
                    </a:cubicBezTo>
                    <a:cubicBezTo>
                      <a:pt x="4" y="158"/>
                      <a:pt x="4" y="158"/>
                      <a:pt x="3" y="158"/>
                    </a:cubicBezTo>
                    <a:cubicBezTo>
                      <a:pt x="2" y="158"/>
                      <a:pt x="2" y="158"/>
                      <a:pt x="2" y="158"/>
                    </a:cubicBezTo>
                    <a:cubicBezTo>
                      <a:pt x="1" y="158"/>
                      <a:pt x="1" y="157"/>
                      <a:pt x="1" y="157"/>
                    </a:cubicBezTo>
                    <a:cubicBezTo>
                      <a:pt x="2" y="157"/>
                      <a:pt x="2" y="157"/>
                      <a:pt x="2" y="158"/>
                    </a:cubicBezTo>
                    <a:cubicBezTo>
                      <a:pt x="3" y="158"/>
                      <a:pt x="3" y="157"/>
                      <a:pt x="3" y="157"/>
                    </a:cubicBezTo>
                    <a:cubicBezTo>
                      <a:pt x="3" y="156"/>
                      <a:pt x="3" y="156"/>
                      <a:pt x="2" y="156"/>
                    </a:cubicBezTo>
                    <a:cubicBezTo>
                      <a:pt x="2" y="155"/>
                      <a:pt x="2" y="155"/>
                      <a:pt x="2" y="155"/>
                    </a:cubicBezTo>
                    <a:cubicBezTo>
                      <a:pt x="2" y="155"/>
                      <a:pt x="2" y="154"/>
                      <a:pt x="2" y="154"/>
                    </a:cubicBezTo>
                    <a:cubicBezTo>
                      <a:pt x="3" y="154"/>
                      <a:pt x="3" y="155"/>
                      <a:pt x="3" y="156"/>
                    </a:cubicBezTo>
                    <a:cubicBezTo>
                      <a:pt x="3" y="156"/>
                      <a:pt x="4" y="157"/>
                      <a:pt x="4" y="157"/>
                    </a:cubicBezTo>
                    <a:cubicBezTo>
                      <a:pt x="5" y="157"/>
                      <a:pt x="4" y="156"/>
                      <a:pt x="4" y="156"/>
                    </a:cubicBezTo>
                    <a:cubicBezTo>
                      <a:pt x="4" y="155"/>
                      <a:pt x="4" y="155"/>
                      <a:pt x="5" y="155"/>
                    </a:cubicBezTo>
                    <a:cubicBezTo>
                      <a:pt x="5" y="155"/>
                      <a:pt x="6" y="156"/>
                      <a:pt x="6" y="156"/>
                    </a:cubicBezTo>
                    <a:cubicBezTo>
                      <a:pt x="6" y="156"/>
                      <a:pt x="6" y="155"/>
                      <a:pt x="6" y="155"/>
                    </a:cubicBezTo>
                    <a:cubicBezTo>
                      <a:pt x="6" y="155"/>
                      <a:pt x="7" y="155"/>
                      <a:pt x="7" y="155"/>
                    </a:cubicBezTo>
                    <a:cubicBezTo>
                      <a:pt x="7" y="156"/>
                      <a:pt x="7" y="156"/>
                      <a:pt x="6" y="157"/>
                    </a:cubicBezTo>
                    <a:cubicBezTo>
                      <a:pt x="7" y="157"/>
                      <a:pt x="7" y="156"/>
                      <a:pt x="7" y="156"/>
                    </a:cubicBezTo>
                    <a:cubicBezTo>
                      <a:pt x="8" y="155"/>
                      <a:pt x="7" y="156"/>
                      <a:pt x="8" y="156"/>
                    </a:cubicBezTo>
                    <a:cubicBezTo>
                      <a:pt x="8" y="156"/>
                      <a:pt x="10" y="157"/>
                      <a:pt x="10" y="156"/>
                    </a:cubicBezTo>
                    <a:cubicBezTo>
                      <a:pt x="10" y="156"/>
                      <a:pt x="9" y="156"/>
                      <a:pt x="9" y="156"/>
                    </a:cubicBezTo>
                    <a:cubicBezTo>
                      <a:pt x="9" y="156"/>
                      <a:pt x="8" y="155"/>
                      <a:pt x="8" y="155"/>
                    </a:cubicBezTo>
                    <a:cubicBezTo>
                      <a:pt x="8" y="154"/>
                      <a:pt x="8" y="153"/>
                      <a:pt x="8" y="153"/>
                    </a:cubicBezTo>
                    <a:cubicBezTo>
                      <a:pt x="9" y="152"/>
                      <a:pt x="10" y="152"/>
                      <a:pt x="10" y="153"/>
                    </a:cubicBezTo>
                    <a:cubicBezTo>
                      <a:pt x="11" y="153"/>
                      <a:pt x="11" y="155"/>
                      <a:pt x="11" y="156"/>
                    </a:cubicBezTo>
                    <a:cubicBezTo>
                      <a:pt x="12" y="156"/>
                      <a:pt x="11" y="154"/>
                      <a:pt x="11" y="153"/>
                    </a:cubicBezTo>
                    <a:cubicBezTo>
                      <a:pt x="11" y="153"/>
                      <a:pt x="10" y="152"/>
                      <a:pt x="11" y="152"/>
                    </a:cubicBezTo>
                    <a:cubicBezTo>
                      <a:pt x="11" y="151"/>
                      <a:pt x="11" y="152"/>
                      <a:pt x="11" y="152"/>
                    </a:cubicBezTo>
                    <a:cubicBezTo>
                      <a:pt x="12" y="152"/>
                      <a:pt x="11" y="152"/>
                      <a:pt x="12" y="152"/>
                    </a:cubicBezTo>
                    <a:cubicBezTo>
                      <a:pt x="12" y="150"/>
                      <a:pt x="13" y="152"/>
                      <a:pt x="14" y="152"/>
                    </a:cubicBezTo>
                    <a:cubicBezTo>
                      <a:pt x="14" y="153"/>
                      <a:pt x="15" y="154"/>
                      <a:pt x="14" y="155"/>
                    </a:cubicBezTo>
                    <a:cubicBezTo>
                      <a:pt x="14" y="155"/>
                      <a:pt x="14" y="156"/>
                      <a:pt x="14" y="156"/>
                    </a:cubicBezTo>
                    <a:cubicBezTo>
                      <a:pt x="14" y="156"/>
                      <a:pt x="15" y="156"/>
                      <a:pt x="15" y="156"/>
                    </a:cubicBezTo>
                    <a:cubicBezTo>
                      <a:pt x="15" y="156"/>
                      <a:pt x="16" y="156"/>
                      <a:pt x="16" y="156"/>
                    </a:cubicBezTo>
                    <a:cubicBezTo>
                      <a:pt x="16" y="155"/>
                      <a:pt x="15" y="155"/>
                      <a:pt x="15" y="155"/>
                    </a:cubicBezTo>
                    <a:cubicBezTo>
                      <a:pt x="15" y="155"/>
                      <a:pt x="15" y="156"/>
                      <a:pt x="15" y="155"/>
                    </a:cubicBezTo>
                    <a:cubicBezTo>
                      <a:pt x="15" y="155"/>
                      <a:pt x="15" y="154"/>
                      <a:pt x="15" y="153"/>
                    </a:cubicBezTo>
                    <a:cubicBezTo>
                      <a:pt x="15" y="154"/>
                      <a:pt x="16" y="154"/>
                      <a:pt x="16" y="154"/>
                    </a:cubicBezTo>
                    <a:cubicBezTo>
                      <a:pt x="16" y="154"/>
                      <a:pt x="16" y="153"/>
                      <a:pt x="17" y="154"/>
                    </a:cubicBezTo>
                    <a:cubicBezTo>
                      <a:pt x="17" y="154"/>
                      <a:pt x="17" y="154"/>
                      <a:pt x="17" y="154"/>
                    </a:cubicBezTo>
                    <a:cubicBezTo>
                      <a:pt x="17" y="154"/>
                      <a:pt x="17" y="153"/>
                      <a:pt x="17" y="153"/>
                    </a:cubicBezTo>
                    <a:cubicBezTo>
                      <a:pt x="17" y="153"/>
                      <a:pt x="16" y="153"/>
                      <a:pt x="16" y="153"/>
                    </a:cubicBezTo>
                    <a:cubicBezTo>
                      <a:pt x="15" y="153"/>
                      <a:pt x="14" y="152"/>
                      <a:pt x="14" y="151"/>
                    </a:cubicBezTo>
                    <a:cubicBezTo>
                      <a:pt x="13" y="151"/>
                      <a:pt x="13" y="150"/>
                      <a:pt x="12" y="150"/>
                    </a:cubicBezTo>
                    <a:cubicBezTo>
                      <a:pt x="11" y="149"/>
                      <a:pt x="11" y="150"/>
                      <a:pt x="10" y="150"/>
                    </a:cubicBezTo>
                    <a:cubicBezTo>
                      <a:pt x="9" y="149"/>
                      <a:pt x="9" y="149"/>
                      <a:pt x="10" y="148"/>
                    </a:cubicBezTo>
                    <a:cubicBezTo>
                      <a:pt x="10" y="148"/>
                      <a:pt x="11" y="148"/>
                      <a:pt x="12" y="148"/>
                    </a:cubicBezTo>
                    <a:cubicBezTo>
                      <a:pt x="12" y="149"/>
                      <a:pt x="11" y="149"/>
                      <a:pt x="12" y="149"/>
                    </a:cubicBezTo>
                    <a:cubicBezTo>
                      <a:pt x="12" y="149"/>
                      <a:pt x="12" y="148"/>
                      <a:pt x="13" y="148"/>
                    </a:cubicBezTo>
                    <a:cubicBezTo>
                      <a:pt x="13" y="148"/>
                      <a:pt x="13" y="149"/>
                      <a:pt x="14" y="149"/>
                    </a:cubicBezTo>
                    <a:cubicBezTo>
                      <a:pt x="14" y="149"/>
                      <a:pt x="14" y="147"/>
                      <a:pt x="15" y="148"/>
                    </a:cubicBezTo>
                    <a:cubicBezTo>
                      <a:pt x="15" y="148"/>
                      <a:pt x="15" y="149"/>
                      <a:pt x="15" y="149"/>
                    </a:cubicBezTo>
                    <a:cubicBezTo>
                      <a:pt x="16" y="149"/>
                      <a:pt x="16" y="148"/>
                      <a:pt x="16" y="148"/>
                    </a:cubicBezTo>
                    <a:cubicBezTo>
                      <a:pt x="16" y="148"/>
                      <a:pt x="18" y="149"/>
                      <a:pt x="18" y="150"/>
                    </a:cubicBezTo>
                    <a:cubicBezTo>
                      <a:pt x="18" y="150"/>
                      <a:pt x="18" y="149"/>
                      <a:pt x="18" y="149"/>
                    </a:cubicBezTo>
                    <a:cubicBezTo>
                      <a:pt x="19" y="149"/>
                      <a:pt x="19" y="149"/>
                      <a:pt x="19" y="149"/>
                    </a:cubicBezTo>
                    <a:cubicBezTo>
                      <a:pt x="19" y="149"/>
                      <a:pt x="18" y="149"/>
                      <a:pt x="18" y="148"/>
                    </a:cubicBezTo>
                    <a:cubicBezTo>
                      <a:pt x="19" y="147"/>
                      <a:pt x="19" y="147"/>
                      <a:pt x="21" y="147"/>
                    </a:cubicBezTo>
                    <a:cubicBezTo>
                      <a:pt x="21" y="147"/>
                      <a:pt x="23" y="147"/>
                      <a:pt x="22" y="146"/>
                    </a:cubicBezTo>
                    <a:cubicBezTo>
                      <a:pt x="21" y="146"/>
                      <a:pt x="20" y="146"/>
                      <a:pt x="19" y="146"/>
                    </a:cubicBezTo>
                    <a:cubicBezTo>
                      <a:pt x="19" y="147"/>
                      <a:pt x="17" y="148"/>
                      <a:pt x="17" y="147"/>
                    </a:cubicBezTo>
                    <a:cubicBezTo>
                      <a:pt x="17" y="146"/>
                      <a:pt x="18" y="146"/>
                      <a:pt x="17" y="146"/>
                    </a:cubicBezTo>
                    <a:cubicBezTo>
                      <a:pt x="17" y="146"/>
                      <a:pt x="17" y="146"/>
                      <a:pt x="16" y="146"/>
                    </a:cubicBezTo>
                    <a:cubicBezTo>
                      <a:pt x="16" y="146"/>
                      <a:pt x="14" y="147"/>
                      <a:pt x="15" y="146"/>
                    </a:cubicBezTo>
                    <a:cubicBezTo>
                      <a:pt x="15" y="145"/>
                      <a:pt x="16" y="146"/>
                      <a:pt x="16" y="145"/>
                    </a:cubicBezTo>
                    <a:cubicBezTo>
                      <a:pt x="15" y="145"/>
                      <a:pt x="13" y="144"/>
                      <a:pt x="14" y="144"/>
                    </a:cubicBezTo>
                    <a:cubicBezTo>
                      <a:pt x="15" y="143"/>
                      <a:pt x="15" y="142"/>
                      <a:pt x="16" y="142"/>
                    </a:cubicBezTo>
                    <a:cubicBezTo>
                      <a:pt x="17" y="143"/>
                      <a:pt x="17" y="143"/>
                      <a:pt x="17" y="143"/>
                    </a:cubicBezTo>
                    <a:cubicBezTo>
                      <a:pt x="17" y="143"/>
                      <a:pt x="17" y="144"/>
                      <a:pt x="17" y="144"/>
                    </a:cubicBezTo>
                    <a:cubicBezTo>
                      <a:pt x="18" y="144"/>
                      <a:pt x="18" y="143"/>
                      <a:pt x="19" y="143"/>
                    </a:cubicBezTo>
                    <a:cubicBezTo>
                      <a:pt x="20" y="143"/>
                      <a:pt x="20" y="143"/>
                      <a:pt x="19" y="144"/>
                    </a:cubicBezTo>
                    <a:cubicBezTo>
                      <a:pt x="20" y="144"/>
                      <a:pt x="20" y="143"/>
                      <a:pt x="21" y="143"/>
                    </a:cubicBezTo>
                    <a:cubicBezTo>
                      <a:pt x="22" y="143"/>
                      <a:pt x="22" y="144"/>
                      <a:pt x="22" y="144"/>
                    </a:cubicBezTo>
                    <a:cubicBezTo>
                      <a:pt x="22" y="145"/>
                      <a:pt x="23" y="146"/>
                      <a:pt x="23" y="146"/>
                    </a:cubicBezTo>
                    <a:cubicBezTo>
                      <a:pt x="24" y="146"/>
                      <a:pt x="24" y="147"/>
                      <a:pt x="25" y="148"/>
                    </a:cubicBezTo>
                    <a:cubicBezTo>
                      <a:pt x="25" y="147"/>
                      <a:pt x="24" y="146"/>
                      <a:pt x="24" y="146"/>
                    </a:cubicBezTo>
                    <a:cubicBezTo>
                      <a:pt x="24" y="146"/>
                      <a:pt x="23" y="145"/>
                      <a:pt x="23" y="145"/>
                    </a:cubicBezTo>
                    <a:cubicBezTo>
                      <a:pt x="22" y="144"/>
                      <a:pt x="22" y="144"/>
                      <a:pt x="22" y="143"/>
                    </a:cubicBezTo>
                    <a:cubicBezTo>
                      <a:pt x="22" y="143"/>
                      <a:pt x="21" y="142"/>
                      <a:pt x="21" y="142"/>
                    </a:cubicBezTo>
                    <a:cubicBezTo>
                      <a:pt x="21" y="141"/>
                      <a:pt x="21" y="141"/>
                      <a:pt x="22" y="141"/>
                    </a:cubicBezTo>
                    <a:cubicBezTo>
                      <a:pt x="22" y="141"/>
                      <a:pt x="22" y="142"/>
                      <a:pt x="22" y="142"/>
                    </a:cubicBezTo>
                    <a:cubicBezTo>
                      <a:pt x="22" y="142"/>
                      <a:pt x="23" y="142"/>
                      <a:pt x="23" y="143"/>
                    </a:cubicBezTo>
                    <a:cubicBezTo>
                      <a:pt x="24" y="144"/>
                      <a:pt x="24" y="146"/>
                      <a:pt x="26" y="145"/>
                    </a:cubicBezTo>
                    <a:cubicBezTo>
                      <a:pt x="26" y="144"/>
                      <a:pt x="25" y="144"/>
                      <a:pt x="24" y="144"/>
                    </a:cubicBezTo>
                    <a:cubicBezTo>
                      <a:pt x="24" y="143"/>
                      <a:pt x="25" y="143"/>
                      <a:pt x="25" y="143"/>
                    </a:cubicBezTo>
                    <a:cubicBezTo>
                      <a:pt x="25" y="142"/>
                      <a:pt x="24" y="142"/>
                      <a:pt x="23" y="142"/>
                    </a:cubicBezTo>
                    <a:cubicBezTo>
                      <a:pt x="23" y="142"/>
                      <a:pt x="22" y="141"/>
                      <a:pt x="23" y="141"/>
                    </a:cubicBezTo>
                    <a:cubicBezTo>
                      <a:pt x="23" y="142"/>
                      <a:pt x="23" y="141"/>
                      <a:pt x="24" y="141"/>
                    </a:cubicBezTo>
                    <a:cubicBezTo>
                      <a:pt x="24" y="140"/>
                      <a:pt x="25" y="141"/>
                      <a:pt x="25" y="141"/>
                    </a:cubicBezTo>
                    <a:cubicBezTo>
                      <a:pt x="26" y="141"/>
                      <a:pt x="25" y="140"/>
                      <a:pt x="25" y="140"/>
                    </a:cubicBezTo>
                    <a:cubicBezTo>
                      <a:pt x="26" y="140"/>
                      <a:pt x="26" y="140"/>
                      <a:pt x="27" y="140"/>
                    </a:cubicBezTo>
                    <a:cubicBezTo>
                      <a:pt x="27" y="139"/>
                      <a:pt x="26" y="139"/>
                      <a:pt x="26" y="139"/>
                    </a:cubicBezTo>
                    <a:cubicBezTo>
                      <a:pt x="25" y="139"/>
                      <a:pt x="25" y="139"/>
                      <a:pt x="25" y="139"/>
                    </a:cubicBezTo>
                    <a:cubicBezTo>
                      <a:pt x="25" y="139"/>
                      <a:pt x="24" y="139"/>
                      <a:pt x="25" y="138"/>
                    </a:cubicBezTo>
                    <a:cubicBezTo>
                      <a:pt x="25" y="138"/>
                      <a:pt x="26" y="138"/>
                      <a:pt x="26" y="138"/>
                    </a:cubicBezTo>
                    <a:cubicBezTo>
                      <a:pt x="26" y="137"/>
                      <a:pt x="25" y="137"/>
                      <a:pt x="26" y="137"/>
                    </a:cubicBezTo>
                    <a:cubicBezTo>
                      <a:pt x="26" y="137"/>
                      <a:pt x="27" y="136"/>
                      <a:pt x="27" y="136"/>
                    </a:cubicBezTo>
                    <a:cubicBezTo>
                      <a:pt x="27" y="136"/>
                      <a:pt x="27" y="137"/>
                      <a:pt x="27" y="137"/>
                    </a:cubicBezTo>
                    <a:cubicBezTo>
                      <a:pt x="28" y="137"/>
                      <a:pt x="28" y="136"/>
                      <a:pt x="28" y="136"/>
                    </a:cubicBezTo>
                    <a:cubicBezTo>
                      <a:pt x="28" y="136"/>
                      <a:pt x="29" y="137"/>
                      <a:pt x="29" y="137"/>
                    </a:cubicBezTo>
                    <a:cubicBezTo>
                      <a:pt x="29" y="137"/>
                      <a:pt x="28" y="138"/>
                      <a:pt x="29" y="138"/>
                    </a:cubicBezTo>
                    <a:cubicBezTo>
                      <a:pt x="29" y="138"/>
                      <a:pt x="29" y="138"/>
                      <a:pt x="29" y="137"/>
                    </a:cubicBezTo>
                    <a:cubicBezTo>
                      <a:pt x="30" y="137"/>
                      <a:pt x="31" y="137"/>
                      <a:pt x="31" y="137"/>
                    </a:cubicBezTo>
                    <a:cubicBezTo>
                      <a:pt x="31" y="137"/>
                      <a:pt x="29" y="137"/>
                      <a:pt x="29" y="136"/>
                    </a:cubicBezTo>
                    <a:cubicBezTo>
                      <a:pt x="29" y="136"/>
                      <a:pt x="31" y="136"/>
                      <a:pt x="31" y="136"/>
                    </a:cubicBezTo>
                    <a:cubicBezTo>
                      <a:pt x="31" y="136"/>
                      <a:pt x="31" y="136"/>
                      <a:pt x="31" y="135"/>
                    </a:cubicBezTo>
                    <a:cubicBezTo>
                      <a:pt x="31" y="135"/>
                      <a:pt x="30" y="136"/>
                      <a:pt x="30" y="135"/>
                    </a:cubicBezTo>
                    <a:cubicBezTo>
                      <a:pt x="30" y="134"/>
                      <a:pt x="31" y="134"/>
                      <a:pt x="31" y="135"/>
                    </a:cubicBezTo>
                    <a:cubicBezTo>
                      <a:pt x="31" y="135"/>
                      <a:pt x="31" y="134"/>
                      <a:pt x="31" y="134"/>
                    </a:cubicBezTo>
                    <a:cubicBezTo>
                      <a:pt x="32" y="135"/>
                      <a:pt x="32" y="134"/>
                      <a:pt x="32" y="134"/>
                    </a:cubicBezTo>
                    <a:cubicBezTo>
                      <a:pt x="32" y="133"/>
                      <a:pt x="32" y="133"/>
                      <a:pt x="33" y="133"/>
                    </a:cubicBezTo>
                    <a:cubicBezTo>
                      <a:pt x="33" y="133"/>
                      <a:pt x="33" y="134"/>
                      <a:pt x="33" y="134"/>
                    </a:cubicBezTo>
                    <a:cubicBezTo>
                      <a:pt x="33" y="134"/>
                      <a:pt x="33" y="135"/>
                      <a:pt x="34" y="135"/>
                    </a:cubicBezTo>
                    <a:cubicBezTo>
                      <a:pt x="34" y="136"/>
                      <a:pt x="34" y="136"/>
                      <a:pt x="34" y="137"/>
                    </a:cubicBezTo>
                    <a:cubicBezTo>
                      <a:pt x="33" y="138"/>
                      <a:pt x="34" y="137"/>
                      <a:pt x="35" y="137"/>
                    </a:cubicBezTo>
                    <a:cubicBezTo>
                      <a:pt x="35" y="137"/>
                      <a:pt x="35" y="138"/>
                      <a:pt x="35" y="138"/>
                    </a:cubicBezTo>
                    <a:cubicBezTo>
                      <a:pt x="36" y="138"/>
                      <a:pt x="36" y="138"/>
                      <a:pt x="36" y="138"/>
                    </a:cubicBezTo>
                    <a:cubicBezTo>
                      <a:pt x="36" y="138"/>
                      <a:pt x="36" y="139"/>
                      <a:pt x="36" y="139"/>
                    </a:cubicBezTo>
                    <a:cubicBezTo>
                      <a:pt x="37" y="139"/>
                      <a:pt x="37" y="138"/>
                      <a:pt x="36" y="138"/>
                    </a:cubicBezTo>
                    <a:cubicBezTo>
                      <a:pt x="36" y="138"/>
                      <a:pt x="36" y="138"/>
                      <a:pt x="36" y="137"/>
                    </a:cubicBezTo>
                    <a:cubicBezTo>
                      <a:pt x="36" y="137"/>
                      <a:pt x="35" y="137"/>
                      <a:pt x="35" y="137"/>
                    </a:cubicBezTo>
                    <a:cubicBezTo>
                      <a:pt x="35" y="137"/>
                      <a:pt x="35" y="136"/>
                      <a:pt x="36" y="136"/>
                    </a:cubicBezTo>
                    <a:cubicBezTo>
                      <a:pt x="36" y="136"/>
                      <a:pt x="36" y="136"/>
                      <a:pt x="37" y="136"/>
                    </a:cubicBezTo>
                    <a:cubicBezTo>
                      <a:pt x="37" y="136"/>
                      <a:pt x="38" y="136"/>
                      <a:pt x="38" y="136"/>
                    </a:cubicBezTo>
                    <a:cubicBezTo>
                      <a:pt x="38" y="136"/>
                      <a:pt x="38" y="136"/>
                      <a:pt x="38" y="136"/>
                    </a:cubicBezTo>
                    <a:cubicBezTo>
                      <a:pt x="39" y="136"/>
                      <a:pt x="39" y="136"/>
                      <a:pt x="40" y="136"/>
                    </a:cubicBezTo>
                    <a:cubicBezTo>
                      <a:pt x="40" y="136"/>
                      <a:pt x="40" y="136"/>
                      <a:pt x="40" y="136"/>
                    </a:cubicBezTo>
                    <a:cubicBezTo>
                      <a:pt x="40" y="136"/>
                      <a:pt x="41" y="136"/>
                      <a:pt x="41" y="136"/>
                    </a:cubicBezTo>
                    <a:cubicBezTo>
                      <a:pt x="41" y="135"/>
                      <a:pt x="41" y="135"/>
                      <a:pt x="40" y="135"/>
                    </a:cubicBezTo>
                    <a:cubicBezTo>
                      <a:pt x="40" y="135"/>
                      <a:pt x="40" y="135"/>
                      <a:pt x="40" y="135"/>
                    </a:cubicBezTo>
                    <a:cubicBezTo>
                      <a:pt x="40" y="134"/>
                      <a:pt x="41" y="134"/>
                      <a:pt x="40" y="134"/>
                    </a:cubicBezTo>
                    <a:cubicBezTo>
                      <a:pt x="40" y="133"/>
                      <a:pt x="40" y="134"/>
                      <a:pt x="40" y="134"/>
                    </a:cubicBezTo>
                    <a:cubicBezTo>
                      <a:pt x="39" y="134"/>
                      <a:pt x="39" y="134"/>
                      <a:pt x="40" y="133"/>
                    </a:cubicBezTo>
                    <a:cubicBezTo>
                      <a:pt x="40" y="133"/>
                      <a:pt x="40" y="133"/>
                      <a:pt x="41" y="132"/>
                    </a:cubicBezTo>
                    <a:cubicBezTo>
                      <a:pt x="41" y="132"/>
                      <a:pt x="41" y="132"/>
                      <a:pt x="42" y="132"/>
                    </a:cubicBezTo>
                    <a:cubicBezTo>
                      <a:pt x="42" y="132"/>
                      <a:pt x="42" y="132"/>
                      <a:pt x="42" y="132"/>
                    </a:cubicBezTo>
                    <a:cubicBezTo>
                      <a:pt x="43" y="132"/>
                      <a:pt x="42" y="132"/>
                      <a:pt x="43" y="131"/>
                    </a:cubicBezTo>
                    <a:cubicBezTo>
                      <a:pt x="43" y="131"/>
                      <a:pt x="43" y="131"/>
                      <a:pt x="44" y="131"/>
                    </a:cubicBezTo>
                    <a:cubicBezTo>
                      <a:pt x="44" y="131"/>
                      <a:pt x="44" y="131"/>
                      <a:pt x="45" y="130"/>
                    </a:cubicBezTo>
                    <a:cubicBezTo>
                      <a:pt x="44" y="130"/>
                      <a:pt x="42" y="130"/>
                      <a:pt x="42" y="130"/>
                    </a:cubicBezTo>
                    <a:cubicBezTo>
                      <a:pt x="42" y="129"/>
                      <a:pt x="42" y="129"/>
                      <a:pt x="42" y="129"/>
                    </a:cubicBezTo>
                    <a:cubicBezTo>
                      <a:pt x="43" y="129"/>
                      <a:pt x="43" y="129"/>
                      <a:pt x="43" y="128"/>
                    </a:cubicBezTo>
                    <a:cubicBezTo>
                      <a:pt x="44" y="128"/>
                      <a:pt x="44" y="128"/>
                      <a:pt x="44" y="128"/>
                    </a:cubicBezTo>
                    <a:cubicBezTo>
                      <a:pt x="44" y="127"/>
                      <a:pt x="44" y="127"/>
                      <a:pt x="43" y="127"/>
                    </a:cubicBezTo>
                    <a:cubicBezTo>
                      <a:pt x="43" y="127"/>
                      <a:pt x="44" y="127"/>
                      <a:pt x="43" y="126"/>
                    </a:cubicBezTo>
                    <a:cubicBezTo>
                      <a:pt x="43" y="126"/>
                      <a:pt x="43" y="127"/>
                      <a:pt x="43" y="127"/>
                    </a:cubicBezTo>
                    <a:cubicBezTo>
                      <a:pt x="42" y="128"/>
                      <a:pt x="42" y="128"/>
                      <a:pt x="41" y="128"/>
                    </a:cubicBezTo>
                    <a:cubicBezTo>
                      <a:pt x="40" y="129"/>
                      <a:pt x="39" y="129"/>
                      <a:pt x="38" y="130"/>
                    </a:cubicBezTo>
                    <a:cubicBezTo>
                      <a:pt x="39" y="130"/>
                      <a:pt x="40" y="130"/>
                      <a:pt x="40" y="129"/>
                    </a:cubicBezTo>
                    <a:cubicBezTo>
                      <a:pt x="41" y="129"/>
                      <a:pt x="42" y="130"/>
                      <a:pt x="41" y="131"/>
                    </a:cubicBezTo>
                    <a:cubicBezTo>
                      <a:pt x="41" y="131"/>
                      <a:pt x="40" y="132"/>
                      <a:pt x="39" y="132"/>
                    </a:cubicBezTo>
                    <a:cubicBezTo>
                      <a:pt x="39" y="132"/>
                      <a:pt x="39" y="133"/>
                      <a:pt x="39" y="133"/>
                    </a:cubicBezTo>
                    <a:cubicBezTo>
                      <a:pt x="38" y="134"/>
                      <a:pt x="36" y="134"/>
                      <a:pt x="35" y="135"/>
                    </a:cubicBezTo>
                    <a:cubicBezTo>
                      <a:pt x="35" y="135"/>
                      <a:pt x="35" y="135"/>
                      <a:pt x="34" y="134"/>
                    </a:cubicBezTo>
                    <a:cubicBezTo>
                      <a:pt x="34" y="134"/>
                      <a:pt x="33" y="133"/>
                      <a:pt x="33" y="133"/>
                    </a:cubicBezTo>
                    <a:cubicBezTo>
                      <a:pt x="33" y="132"/>
                      <a:pt x="36" y="132"/>
                      <a:pt x="35" y="131"/>
                    </a:cubicBezTo>
                    <a:cubicBezTo>
                      <a:pt x="35" y="130"/>
                      <a:pt x="33" y="132"/>
                      <a:pt x="33" y="132"/>
                    </a:cubicBezTo>
                    <a:cubicBezTo>
                      <a:pt x="32" y="132"/>
                      <a:pt x="32" y="133"/>
                      <a:pt x="32" y="132"/>
                    </a:cubicBezTo>
                    <a:cubicBezTo>
                      <a:pt x="32" y="131"/>
                      <a:pt x="33" y="131"/>
                      <a:pt x="33" y="131"/>
                    </a:cubicBezTo>
                    <a:cubicBezTo>
                      <a:pt x="32" y="131"/>
                      <a:pt x="32" y="131"/>
                      <a:pt x="31" y="131"/>
                    </a:cubicBezTo>
                    <a:cubicBezTo>
                      <a:pt x="32" y="130"/>
                      <a:pt x="33" y="130"/>
                      <a:pt x="34" y="130"/>
                    </a:cubicBezTo>
                    <a:cubicBezTo>
                      <a:pt x="34" y="129"/>
                      <a:pt x="34" y="129"/>
                      <a:pt x="35" y="129"/>
                    </a:cubicBezTo>
                    <a:cubicBezTo>
                      <a:pt x="35" y="129"/>
                      <a:pt x="36" y="129"/>
                      <a:pt x="36" y="128"/>
                    </a:cubicBezTo>
                    <a:cubicBezTo>
                      <a:pt x="35" y="128"/>
                      <a:pt x="35" y="128"/>
                      <a:pt x="35" y="127"/>
                    </a:cubicBezTo>
                    <a:cubicBezTo>
                      <a:pt x="35" y="126"/>
                      <a:pt x="35" y="125"/>
                      <a:pt x="36" y="126"/>
                    </a:cubicBezTo>
                    <a:cubicBezTo>
                      <a:pt x="36" y="126"/>
                      <a:pt x="36" y="126"/>
                      <a:pt x="36" y="126"/>
                    </a:cubicBezTo>
                    <a:cubicBezTo>
                      <a:pt x="36" y="125"/>
                      <a:pt x="36" y="125"/>
                      <a:pt x="36" y="125"/>
                    </a:cubicBezTo>
                    <a:cubicBezTo>
                      <a:pt x="36" y="124"/>
                      <a:pt x="37" y="125"/>
                      <a:pt x="37" y="124"/>
                    </a:cubicBezTo>
                    <a:cubicBezTo>
                      <a:pt x="37" y="124"/>
                      <a:pt x="37" y="124"/>
                      <a:pt x="37" y="123"/>
                    </a:cubicBezTo>
                    <a:cubicBezTo>
                      <a:pt x="37" y="123"/>
                      <a:pt x="38" y="123"/>
                      <a:pt x="38" y="123"/>
                    </a:cubicBezTo>
                    <a:cubicBezTo>
                      <a:pt x="38" y="123"/>
                      <a:pt x="38" y="123"/>
                      <a:pt x="38" y="122"/>
                    </a:cubicBezTo>
                    <a:cubicBezTo>
                      <a:pt x="38" y="122"/>
                      <a:pt x="38" y="122"/>
                      <a:pt x="39" y="122"/>
                    </a:cubicBezTo>
                    <a:cubicBezTo>
                      <a:pt x="39" y="122"/>
                      <a:pt x="39" y="122"/>
                      <a:pt x="39" y="121"/>
                    </a:cubicBezTo>
                    <a:cubicBezTo>
                      <a:pt x="38" y="121"/>
                      <a:pt x="38" y="121"/>
                      <a:pt x="38" y="121"/>
                    </a:cubicBezTo>
                    <a:cubicBezTo>
                      <a:pt x="38" y="121"/>
                      <a:pt x="38" y="121"/>
                      <a:pt x="38" y="121"/>
                    </a:cubicBezTo>
                    <a:cubicBezTo>
                      <a:pt x="39" y="121"/>
                      <a:pt x="39" y="121"/>
                      <a:pt x="40" y="121"/>
                    </a:cubicBezTo>
                    <a:cubicBezTo>
                      <a:pt x="40" y="122"/>
                      <a:pt x="41" y="121"/>
                      <a:pt x="40" y="121"/>
                    </a:cubicBezTo>
                    <a:cubicBezTo>
                      <a:pt x="40" y="121"/>
                      <a:pt x="39" y="121"/>
                      <a:pt x="39" y="121"/>
                    </a:cubicBezTo>
                    <a:cubicBezTo>
                      <a:pt x="39" y="120"/>
                      <a:pt x="40" y="120"/>
                      <a:pt x="40" y="120"/>
                    </a:cubicBezTo>
                    <a:cubicBezTo>
                      <a:pt x="41" y="120"/>
                      <a:pt x="41" y="120"/>
                      <a:pt x="41" y="119"/>
                    </a:cubicBezTo>
                    <a:cubicBezTo>
                      <a:pt x="41" y="119"/>
                      <a:pt x="41" y="119"/>
                      <a:pt x="41" y="118"/>
                    </a:cubicBezTo>
                    <a:cubicBezTo>
                      <a:pt x="41" y="118"/>
                      <a:pt x="42" y="118"/>
                      <a:pt x="42" y="118"/>
                    </a:cubicBezTo>
                    <a:cubicBezTo>
                      <a:pt x="42" y="118"/>
                      <a:pt x="42" y="119"/>
                      <a:pt x="42" y="119"/>
                    </a:cubicBezTo>
                    <a:cubicBezTo>
                      <a:pt x="42" y="120"/>
                      <a:pt x="42" y="120"/>
                      <a:pt x="42" y="120"/>
                    </a:cubicBezTo>
                    <a:cubicBezTo>
                      <a:pt x="42" y="120"/>
                      <a:pt x="42" y="120"/>
                      <a:pt x="43" y="121"/>
                    </a:cubicBezTo>
                    <a:cubicBezTo>
                      <a:pt x="43" y="121"/>
                      <a:pt x="43" y="121"/>
                      <a:pt x="44" y="121"/>
                    </a:cubicBezTo>
                    <a:cubicBezTo>
                      <a:pt x="44" y="121"/>
                      <a:pt x="43" y="122"/>
                      <a:pt x="43" y="122"/>
                    </a:cubicBezTo>
                    <a:cubicBezTo>
                      <a:pt x="44" y="123"/>
                      <a:pt x="44" y="121"/>
                      <a:pt x="44" y="121"/>
                    </a:cubicBezTo>
                    <a:cubicBezTo>
                      <a:pt x="44" y="121"/>
                      <a:pt x="44" y="121"/>
                      <a:pt x="44" y="121"/>
                    </a:cubicBezTo>
                    <a:cubicBezTo>
                      <a:pt x="44" y="120"/>
                      <a:pt x="45" y="121"/>
                      <a:pt x="45" y="120"/>
                    </a:cubicBezTo>
                    <a:cubicBezTo>
                      <a:pt x="46" y="120"/>
                      <a:pt x="45" y="120"/>
                      <a:pt x="45" y="120"/>
                    </a:cubicBezTo>
                    <a:cubicBezTo>
                      <a:pt x="45" y="119"/>
                      <a:pt x="46" y="119"/>
                      <a:pt x="46" y="118"/>
                    </a:cubicBezTo>
                    <a:cubicBezTo>
                      <a:pt x="46" y="118"/>
                      <a:pt x="45" y="118"/>
                      <a:pt x="45" y="118"/>
                    </a:cubicBezTo>
                    <a:cubicBezTo>
                      <a:pt x="45" y="118"/>
                      <a:pt x="45" y="118"/>
                      <a:pt x="45" y="118"/>
                    </a:cubicBezTo>
                    <a:cubicBezTo>
                      <a:pt x="45" y="118"/>
                      <a:pt x="45" y="118"/>
                      <a:pt x="45" y="118"/>
                    </a:cubicBezTo>
                    <a:cubicBezTo>
                      <a:pt x="45" y="118"/>
                      <a:pt x="44" y="118"/>
                      <a:pt x="44" y="118"/>
                    </a:cubicBezTo>
                    <a:cubicBezTo>
                      <a:pt x="44" y="117"/>
                      <a:pt x="44" y="117"/>
                      <a:pt x="44" y="117"/>
                    </a:cubicBezTo>
                    <a:cubicBezTo>
                      <a:pt x="44" y="116"/>
                      <a:pt x="44" y="116"/>
                      <a:pt x="45" y="116"/>
                    </a:cubicBezTo>
                    <a:cubicBezTo>
                      <a:pt x="45" y="116"/>
                      <a:pt x="45" y="116"/>
                      <a:pt x="46" y="116"/>
                    </a:cubicBezTo>
                    <a:cubicBezTo>
                      <a:pt x="46" y="116"/>
                      <a:pt x="45" y="115"/>
                      <a:pt x="45" y="115"/>
                    </a:cubicBezTo>
                    <a:cubicBezTo>
                      <a:pt x="46" y="115"/>
                      <a:pt x="47" y="115"/>
                      <a:pt x="47" y="115"/>
                    </a:cubicBezTo>
                    <a:cubicBezTo>
                      <a:pt x="47" y="114"/>
                      <a:pt x="46" y="115"/>
                      <a:pt x="47" y="114"/>
                    </a:cubicBezTo>
                    <a:cubicBezTo>
                      <a:pt x="46" y="114"/>
                      <a:pt x="46" y="113"/>
                      <a:pt x="45" y="113"/>
                    </a:cubicBezTo>
                    <a:cubicBezTo>
                      <a:pt x="46" y="112"/>
                      <a:pt x="46" y="113"/>
                      <a:pt x="47" y="112"/>
                    </a:cubicBezTo>
                    <a:cubicBezTo>
                      <a:pt x="47" y="112"/>
                      <a:pt x="47" y="112"/>
                      <a:pt x="47" y="112"/>
                    </a:cubicBezTo>
                    <a:cubicBezTo>
                      <a:pt x="47" y="111"/>
                      <a:pt x="48" y="111"/>
                      <a:pt x="48" y="111"/>
                    </a:cubicBezTo>
                    <a:cubicBezTo>
                      <a:pt x="48" y="111"/>
                      <a:pt x="49" y="111"/>
                      <a:pt x="50" y="111"/>
                    </a:cubicBezTo>
                    <a:cubicBezTo>
                      <a:pt x="50" y="110"/>
                      <a:pt x="51" y="111"/>
                      <a:pt x="51" y="110"/>
                    </a:cubicBezTo>
                    <a:cubicBezTo>
                      <a:pt x="52" y="110"/>
                      <a:pt x="52" y="110"/>
                      <a:pt x="52" y="110"/>
                    </a:cubicBezTo>
                    <a:cubicBezTo>
                      <a:pt x="53" y="109"/>
                      <a:pt x="54" y="108"/>
                      <a:pt x="54" y="107"/>
                    </a:cubicBezTo>
                    <a:cubicBezTo>
                      <a:pt x="54" y="106"/>
                      <a:pt x="53" y="108"/>
                      <a:pt x="52" y="108"/>
                    </a:cubicBezTo>
                    <a:cubicBezTo>
                      <a:pt x="52" y="109"/>
                      <a:pt x="52" y="110"/>
                      <a:pt x="50" y="109"/>
                    </a:cubicBezTo>
                    <a:cubicBezTo>
                      <a:pt x="51" y="109"/>
                      <a:pt x="50" y="109"/>
                      <a:pt x="50" y="109"/>
                    </a:cubicBezTo>
                    <a:cubicBezTo>
                      <a:pt x="51" y="109"/>
                      <a:pt x="51" y="109"/>
                      <a:pt x="51" y="109"/>
                    </a:cubicBezTo>
                    <a:cubicBezTo>
                      <a:pt x="51" y="109"/>
                      <a:pt x="51" y="108"/>
                      <a:pt x="51" y="108"/>
                    </a:cubicBezTo>
                    <a:cubicBezTo>
                      <a:pt x="51" y="108"/>
                      <a:pt x="50" y="108"/>
                      <a:pt x="50" y="108"/>
                    </a:cubicBezTo>
                    <a:cubicBezTo>
                      <a:pt x="50" y="108"/>
                      <a:pt x="51" y="107"/>
                      <a:pt x="51" y="107"/>
                    </a:cubicBezTo>
                    <a:cubicBezTo>
                      <a:pt x="51" y="107"/>
                      <a:pt x="51" y="106"/>
                      <a:pt x="51" y="106"/>
                    </a:cubicBezTo>
                    <a:cubicBezTo>
                      <a:pt x="51" y="106"/>
                      <a:pt x="51" y="105"/>
                      <a:pt x="52" y="105"/>
                    </a:cubicBezTo>
                    <a:cubicBezTo>
                      <a:pt x="52" y="104"/>
                      <a:pt x="52" y="105"/>
                      <a:pt x="52" y="104"/>
                    </a:cubicBezTo>
                    <a:cubicBezTo>
                      <a:pt x="52" y="104"/>
                      <a:pt x="52" y="103"/>
                      <a:pt x="52" y="102"/>
                    </a:cubicBezTo>
                    <a:cubicBezTo>
                      <a:pt x="52" y="102"/>
                      <a:pt x="51" y="103"/>
                      <a:pt x="51" y="103"/>
                    </a:cubicBezTo>
                    <a:cubicBezTo>
                      <a:pt x="51" y="103"/>
                      <a:pt x="51" y="102"/>
                      <a:pt x="51" y="101"/>
                    </a:cubicBezTo>
                    <a:cubicBezTo>
                      <a:pt x="51" y="101"/>
                      <a:pt x="51" y="100"/>
                      <a:pt x="52" y="100"/>
                    </a:cubicBezTo>
                    <a:cubicBezTo>
                      <a:pt x="52" y="101"/>
                      <a:pt x="52" y="101"/>
                      <a:pt x="53" y="102"/>
                    </a:cubicBezTo>
                    <a:cubicBezTo>
                      <a:pt x="53" y="102"/>
                      <a:pt x="53" y="101"/>
                      <a:pt x="53" y="101"/>
                    </a:cubicBezTo>
                    <a:cubicBezTo>
                      <a:pt x="53" y="100"/>
                      <a:pt x="52" y="100"/>
                      <a:pt x="52" y="100"/>
                    </a:cubicBezTo>
                    <a:cubicBezTo>
                      <a:pt x="52" y="99"/>
                      <a:pt x="53" y="99"/>
                      <a:pt x="53" y="99"/>
                    </a:cubicBezTo>
                    <a:cubicBezTo>
                      <a:pt x="53" y="99"/>
                      <a:pt x="53" y="99"/>
                      <a:pt x="52" y="98"/>
                    </a:cubicBezTo>
                    <a:cubicBezTo>
                      <a:pt x="52" y="98"/>
                      <a:pt x="53" y="97"/>
                      <a:pt x="53" y="97"/>
                    </a:cubicBezTo>
                    <a:cubicBezTo>
                      <a:pt x="54" y="96"/>
                      <a:pt x="54" y="97"/>
                      <a:pt x="55" y="97"/>
                    </a:cubicBezTo>
                    <a:cubicBezTo>
                      <a:pt x="55" y="98"/>
                      <a:pt x="56" y="98"/>
                      <a:pt x="56" y="98"/>
                    </a:cubicBezTo>
                    <a:cubicBezTo>
                      <a:pt x="56" y="97"/>
                      <a:pt x="56" y="97"/>
                      <a:pt x="55" y="96"/>
                    </a:cubicBezTo>
                    <a:cubicBezTo>
                      <a:pt x="55" y="96"/>
                      <a:pt x="54" y="96"/>
                      <a:pt x="55" y="95"/>
                    </a:cubicBezTo>
                    <a:cubicBezTo>
                      <a:pt x="54" y="95"/>
                      <a:pt x="53" y="95"/>
                      <a:pt x="53" y="94"/>
                    </a:cubicBezTo>
                    <a:cubicBezTo>
                      <a:pt x="53" y="94"/>
                      <a:pt x="53" y="94"/>
                      <a:pt x="54" y="94"/>
                    </a:cubicBezTo>
                    <a:cubicBezTo>
                      <a:pt x="55" y="93"/>
                      <a:pt x="55" y="93"/>
                      <a:pt x="56" y="93"/>
                    </a:cubicBezTo>
                    <a:cubicBezTo>
                      <a:pt x="56" y="93"/>
                      <a:pt x="57" y="92"/>
                      <a:pt x="57" y="92"/>
                    </a:cubicBezTo>
                    <a:cubicBezTo>
                      <a:pt x="58" y="92"/>
                      <a:pt x="58" y="92"/>
                      <a:pt x="58" y="92"/>
                    </a:cubicBezTo>
                    <a:cubicBezTo>
                      <a:pt x="58" y="92"/>
                      <a:pt x="58" y="92"/>
                      <a:pt x="58" y="92"/>
                    </a:cubicBezTo>
                    <a:cubicBezTo>
                      <a:pt x="58" y="93"/>
                      <a:pt x="58" y="93"/>
                      <a:pt x="58" y="93"/>
                    </a:cubicBezTo>
                    <a:cubicBezTo>
                      <a:pt x="58" y="93"/>
                      <a:pt x="58" y="93"/>
                      <a:pt x="58" y="93"/>
                    </a:cubicBezTo>
                    <a:cubicBezTo>
                      <a:pt x="58" y="95"/>
                      <a:pt x="59" y="93"/>
                      <a:pt x="60" y="93"/>
                    </a:cubicBezTo>
                    <a:cubicBezTo>
                      <a:pt x="60" y="93"/>
                      <a:pt x="59" y="92"/>
                      <a:pt x="59" y="92"/>
                    </a:cubicBezTo>
                    <a:cubicBezTo>
                      <a:pt x="59" y="91"/>
                      <a:pt x="60" y="91"/>
                      <a:pt x="60" y="92"/>
                    </a:cubicBezTo>
                    <a:cubicBezTo>
                      <a:pt x="60" y="92"/>
                      <a:pt x="60" y="92"/>
                      <a:pt x="61" y="92"/>
                    </a:cubicBezTo>
                    <a:cubicBezTo>
                      <a:pt x="61" y="92"/>
                      <a:pt x="61" y="92"/>
                      <a:pt x="62" y="91"/>
                    </a:cubicBezTo>
                    <a:cubicBezTo>
                      <a:pt x="62" y="91"/>
                      <a:pt x="62" y="91"/>
                      <a:pt x="63" y="91"/>
                    </a:cubicBezTo>
                    <a:cubicBezTo>
                      <a:pt x="63" y="90"/>
                      <a:pt x="63" y="90"/>
                      <a:pt x="62" y="90"/>
                    </a:cubicBezTo>
                    <a:cubicBezTo>
                      <a:pt x="62" y="90"/>
                      <a:pt x="62" y="91"/>
                      <a:pt x="61" y="91"/>
                    </a:cubicBezTo>
                    <a:cubicBezTo>
                      <a:pt x="61" y="91"/>
                      <a:pt x="61" y="91"/>
                      <a:pt x="60" y="91"/>
                    </a:cubicBezTo>
                    <a:cubicBezTo>
                      <a:pt x="60" y="90"/>
                      <a:pt x="59" y="91"/>
                      <a:pt x="59" y="91"/>
                    </a:cubicBezTo>
                    <a:cubicBezTo>
                      <a:pt x="59" y="91"/>
                      <a:pt x="58" y="90"/>
                      <a:pt x="57" y="90"/>
                    </a:cubicBezTo>
                    <a:cubicBezTo>
                      <a:pt x="57" y="90"/>
                      <a:pt x="57" y="91"/>
                      <a:pt x="56" y="91"/>
                    </a:cubicBezTo>
                    <a:cubicBezTo>
                      <a:pt x="56" y="90"/>
                      <a:pt x="56" y="91"/>
                      <a:pt x="55" y="90"/>
                    </a:cubicBezTo>
                    <a:cubicBezTo>
                      <a:pt x="55" y="90"/>
                      <a:pt x="55" y="90"/>
                      <a:pt x="55" y="89"/>
                    </a:cubicBezTo>
                    <a:cubicBezTo>
                      <a:pt x="56" y="88"/>
                      <a:pt x="56" y="88"/>
                      <a:pt x="55" y="87"/>
                    </a:cubicBezTo>
                    <a:cubicBezTo>
                      <a:pt x="55" y="87"/>
                      <a:pt x="56" y="86"/>
                      <a:pt x="56" y="87"/>
                    </a:cubicBezTo>
                    <a:cubicBezTo>
                      <a:pt x="57" y="87"/>
                      <a:pt x="56" y="88"/>
                      <a:pt x="57" y="88"/>
                    </a:cubicBezTo>
                    <a:cubicBezTo>
                      <a:pt x="57" y="87"/>
                      <a:pt x="57" y="87"/>
                      <a:pt x="57" y="87"/>
                    </a:cubicBezTo>
                    <a:cubicBezTo>
                      <a:pt x="58" y="86"/>
                      <a:pt x="59" y="87"/>
                      <a:pt x="59" y="87"/>
                    </a:cubicBezTo>
                    <a:cubicBezTo>
                      <a:pt x="59" y="87"/>
                      <a:pt x="58" y="86"/>
                      <a:pt x="58" y="86"/>
                    </a:cubicBezTo>
                    <a:cubicBezTo>
                      <a:pt x="59" y="85"/>
                      <a:pt x="60" y="86"/>
                      <a:pt x="60" y="86"/>
                    </a:cubicBezTo>
                    <a:cubicBezTo>
                      <a:pt x="59" y="85"/>
                      <a:pt x="57" y="86"/>
                      <a:pt x="56" y="86"/>
                    </a:cubicBezTo>
                    <a:cubicBezTo>
                      <a:pt x="56" y="86"/>
                      <a:pt x="57" y="86"/>
                      <a:pt x="57" y="85"/>
                    </a:cubicBezTo>
                    <a:cubicBezTo>
                      <a:pt x="57" y="85"/>
                      <a:pt x="57" y="85"/>
                      <a:pt x="58" y="85"/>
                    </a:cubicBezTo>
                    <a:cubicBezTo>
                      <a:pt x="58" y="85"/>
                      <a:pt x="58" y="85"/>
                      <a:pt x="58" y="85"/>
                    </a:cubicBezTo>
                    <a:cubicBezTo>
                      <a:pt x="59" y="84"/>
                      <a:pt x="57" y="84"/>
                      <a:pt x="57" y="84"/>
                    </a:cubicBezTo>
                    <a:cubicBezTo>
                      <a:pt x="57" y="83"/>
                      <a:pt x="58" y="84"/>
                      <a:pt x="58" y="84"/>
                    </a:cubicBezTo>
                    <a:cubicBezTo>
                      <a:pt x="59" y="84"/>
                      <a:pt x="59" y="84"/>
                      <a:pt x="60" y="84"/>
                    </a:cubicBezTo>
                    <a:cubicBezTo>
                      <a:pt x="60" y="84"/>
                      <a:pt x="60" y="84"/>
                      <a:pt x="60" y="84"/>
                    </a:cubicBezTo>
                    <a:cubicBezTo>
                      <a:pt x="60" y="83"/>
                      <a:pt x="61" y="84"/>
                      <a:pt x="61" y="83"/>
                    </a:cubicBezTo>
                    <a:cubicBezTo>
                      <a:pt x="61" y="83"/>
                      <a:pt x="59" y="83"/>
                      <a:pt x="60" y="82"/>
                    </a:cubicBezTo>
                    <a:cubicBezTo>
                      <a:pt x="59" y="82"/>
                      <a:pt x="59" y="82"/>
                      <a:pt x="58" y="82"/>
                    </a:cubicBezTo>
                    <a:cubicBezTo>
                      <a:pt x="59" y="82"/>
                      <a:pt x="59" y="82"/>
                      <a:pt x="59" y="82"/>
                    </a:cubicBezTo>
                    <a:cubicBezTo>
                      <a:pt x="60" y="82"/>
                      <a:pt x="61" y="83"/>
                      <a:pt x="60" y="82"/>
                    </a:cubicBezTo>
                    <a:cubicBezTo>
                      <a:pt x="60" y="82"/>
                      <a:pt x="60" y="81"/>
                      <a:pt x="60" y="81"/>
                    </a:cubicBezTo>
                    <a:cubicBezTo>
                      <a:pt x="59" y="81"/>
                      <a:pt x="59" y="80"/>
                      <a:pt x="58" y="80"/>
                    </a:cubicBezTo>
                    <a:cubicBezTo>
                      <a:pt x="59" y="80"/>
                      <a:pt x="60" y="80"/>
                      <a:pt x="60" y="80"/>
                    </a:cubicBezTo>
                    <a:cubicBezTo>
                      <a:pt x="60" y="79"/>
                      <a:pt x="60" y="79"/>
                      <a:pt x="60" y="79"/>
                    </a:cubicBezTo>
                    <a:cubicBezTo>
                      <a:pt x="60" y="79"/>
                      <a:pt x="61" y="79"/>
                      <a:pt x="61" y="79"/>
                    </a:cubicBezTo>
                    <a:cubicBezTo>
                      <a:pt x="61" y="79"/>
                      <a:pt x="61" y="79"/>
                      <a:pt x="61" y="79"/>
                    </a:cubicBezTo>
                    <a:cubicBezTo>
                      <a:pt x="61" y="79"/>
                      <a:pt x="61" y="80"/>
                      <a:pt x="61" y="80"/>
                    </a:cubicBezTo>
                    <a:cubicBezTo>
                      <a:pt x="62" y="79"/>
                      <a:pt x="62" y="78"/>
                      <a:pt x="62" y="78"/>
                    </a:cubicBezTo>
                    <a:cubicBezTo>
                      <a:pt x="62" y="78"/>
                      <a:pt x="62" y="79"/>
                      <a:pt x="62" y="79"/>
                    </a:cubicBezTo>
                    <a:cubicBezTo>
                      <a:pt x="63" y="79"/>
                      <a:pt x="63" y="78"/>
                      <a:pt x="63" y="78"/>
                    </a:cubicBezTo>
                    <a:cubicBezTo>
                      <a:pt x="64" y="78"/>
                      <a:pt x="65" y="78"/>
                      <a:pt x="65" y="78"/>
                    </a:cubicBezTo>
                    <a:cubicBezTo>
                      <a:pt x="66" y="77"/>
                      <a:pt x="64" y="78"/>
                      <a:pt x="64" y="77"/>
                    </a:cubicBezTo>
                    <a:cubicBezTo>
                      <a:pt x="64" y="77"/>
                      <a:pt x="64" y="77"/>
                      <a:pt x="64" y="77"/>
                    </a:cubicBezTo>
                    <a:cubicBezTo>
                      <a:pt x="64" y="76"/>
                      <a:pt x="64" y="76"/>
                      <a:pt x="65" y="76"/>
                    </a:cubicBezTo>
                    <a:cubicBezTo>
                      <a:pt x="65" y="77"/>
                      <a:pt x="65" y="76"/>
                      <a:pt x="65" y="76"/>
                    </a:cubicBezTo>
                    <a:cubicBezTo>
                      <a:pt x="65" y="76"/>
                      <a:pt x="65" y="76"/>
                      <a:pt x="66" y="76"/>
                    </a:cubicBezTo>
                    <a:cubicBezTo>
                      <a:pt x="66" y="76"/>
                      <a:pt x="66" y="77"/>
                      <a:pt x="66" y="76"/>
                    </a:cubicBezTo>
                    <a:cubicBezTo>
                      <a:pt x="66" y="76"/>
                      <a:pt x="66" y="76"/>
                      <a:pt x="66" y="76"/>
                    </a:cubicBezTo>
                    <a:cubicBezTo>
                      <a:pt x="66" y="75"/>
                      <a:pt x="67" y="75"/>
                      <a:pt x="67" y="75"/>
                    </a:cubicBezTo>
                    <a:cubicBezTo>
                      <a:pt x="68" y="75"/>
                      <a:pt x="67" y="76"/>
                      <a:pt x="68" y="76"/>
                    </a:cubicBezTo>
                    <a:cubicBezTo>
                      <a:pt x="68" y="77"/>
                      <a:pt x="68" y="76"/>
                      <a:pt x="68" y="76"/>
                    </a:cubicBezTo>
                    <a:cubicBezTo>
                      <a:pt x="68" y="75"/>
                      <a:pt x="69" y="75"/>
                      <a:pt x="70" y="75"/>
                    </a:cubicBezTo>
                    <a:cubicBezTo>
                      <a:pt x="70" y="76"/>
                      <a:pt x="71" y="76"/>
                      <a:pt x="71" y="76"/>
                    </a:cubicBezTo>
                    <a:cubicBezTo>
                      <a:pt x="71" y="76"/>
                      <a:pt x="70" y="77"/>
                      <a:pt x="71" y="77"/>
                    </a:cubicBezTo>
                    <a:cubicBezTo>
                      <a:pt x="71" y="77"/>
                      <a:pt x="71" y="77"/>
                      <a:pt x="72" y="77"/>
                    </a:cubicBezTo>
                    <a:cubicBezTo>
                      <a:pt x="72" y="76"/>
                      <a:pt x="72" y="76"/>
                      <a:pt x="71" y="76"/>
                    </a:cubicBezTo>
                    <a:cubicBezTo>
                      <a:pt x="71" y="76"/>
                      <a:pt x="71" y="76"/>
                      <a:pt x="71" y="75"/>
                    </a:cubicBezTo>
                    <a:cubicBezTo>
                      <a:pt x="71" y="75"/>
                      <a:pt x="72" y="75"/>
                      <a:pt x="72" y="75"/>
                    </a:cubicBezTo>
                    <a:cubicBezTo>
                      <a:pt x="72" y="76"/>
                      <a:pt x="74" y="76"/>
                      <a:pt x="73" y="75"/>
                    </a:cubicBezTo>
                    <a:cubicBezTo>
                      <a:pt x="72" y="75"/>
                      <a:pt x="70" y="74"/>
                      <a:pt x="69" y="74"/>
                    </a:cubicBezTo>
                    <a:cubicBezTo>
                      <a:pt x="69" y="74"/>
                      <a:pt x="69" y="74"/>
                      <a:pt x="70" y="73"/>
                    </a:cubicBezTo>
                    <a:cubicBezTo>
                      <a:pt x="69" y="73"/>
                      <a:pt x="69" y="74"/>
                      <a:pt x="68" y="74"/>
                    </a:cubicBezTo>
                    <a:cubicBezTo>
                      <a:pt x="68" y="74"/>
                      <a:pt x="68" y="74"/>
                      <a:pt x="67" y="74"/>
                    </a:cubicBezTo>
                    <a:cubicBezTo>
                      <a:pt x="67" y="74"/>
                      <a:pt x="67" y="75"/>
                      <a:pt x="66" y="75"/>
                    </a:cubicBezTo>
                    <a:cubicBezTo>
                      <a:pt x="66" y="75"/>
                      <a:pt x="66" y="74"/>
                      <a:pt x="66" y="74"/>
                    </a:cubicBezTo>
                    <a:cubicBezTo>
                      <a:pt x="66" y="74"/>
                      <a:pt x="65" y="75"/>
                      <a:pt x="64" y="74"/>
                    </a:cubicBezTo>
                    <a:cubicBezTo>
                      <a:pt x="64" y="74"/>
                      <a:pt x="65" y="73"/>
                      <a:pt x="65" y="73"/>
                    </a:cubicBezTo>
                    <a:cubicBezTo>
                      <a:pt x="65" y="72"/>
                      <a:pt x="66" y="71"/>
                      <a:pt x="66" y="71"/>
                    </a:cubicBezTo>
                    <a:cubicBezTo>
                      <a:pt x="67" y="71"/>
                      <a:pt x="67" y="72"/>
                      <a:pt x="67" y="72"/>
                    </a:cubicBezTo>
                    <a:cubicBezTo>
                      <a:pt x="67" y="72"/>
                      <a:pt x="68" y="71"/>
                      <a:pt x="69" y="71"/>
                    </a:cubicBezTo>
                    <a:cubicBezTo>
                      <a:pt x="68" y="71"/>
                      <a:pt x="68" y="71"/>
                      <a:pt x="69" y="71"/>
                    </a:cubicBezTo>
                    <a:cubicBezTo>
                      <a:pt x="69" y="71"/>
                      <a:pt x="69" y="70"/>
                      <a:pt x="69" y="70"/>
                    </a:cubicBezTo>
                    <a:cubicBezTo>
                      <a:pt x="69" y="70"/>
                      <a:pt x="69" y="71"/>
                      <a:pt x="69" y="71"/>
                    </a:cubicBezTo>
                    <a:cubicBezTo>
                      <a:pt x="70" y="71"/>
                      <a:pt x="70" y="71"/>
                      <a:pt x="70" y="70"/>
                    </a:cubicBezTo>
                    <a:cubicBezTo>
                      <a:pt x="70" y="70"/>
                      <a:pt x="71" y="70"/>
                      <a:pt x="71" y="71"/>
                    </a:cubicBezTo>
                    <a:cubicBezTo>
                      <a:pt x="72" y="71"/>
                      <a:pt x="72" y="72"/>
                      <a:pt x="72" y="72"/>
                    </a:cubicBezTo>
                    <a:cubicBezTo>
                      <a:pt x="72" y="72"/>
                      <a:pt x="73" y="75"/>
                      <a:pt x="73" y="73"/>
                    </a:cubicBezTo>
                    <a:cubicBezTo>
                      <a:pt x="73" y="73"/>
                      <a:pt x="73" y="73"/>
                      <a:pt x="72" y="72"/>
                    </a:cubicBezTo>
                    <a:cubicBezTo>
                      <a:pt x="72" y="72"/>
                      <a:pt x="72" y="71"/>
                      <a:pt x="72" y="71"/>
                    </a:cubicBezTo>
                    <a:cubicBezTo>
                      <a:pt x="72" y="70"/>
                      <a:pt x="72" y="70"/>
                      <a:pt x="73" y="70"/>
                    </a:cubicBezTo>
                    <a:cubicBezTo>
                      <a:pt x="73" y="69"/>
                      <a:pt x="74" y="70"/>
                      <a:pt x="74" y="69"/>
                    </a:cubicBezTo>
                    <a:cubicBezTo>
                      <a:pt x="74" y="69"/>
                      <a:pt x="74" y="69"/>
                      <a:pt x="74" y="69"/>
                    </a:cubicBezTo>
                    <a:cubicBezTo>
                      <a:pt x="73" y="69"/>
                      <a:pt x="73" y="69"/>
                      <a:pt x="73" y="69"/>
                    </a:cubicBezTo>
                    <a:cubicBezTo>
                      <a:pt x="72" y="69"/>
                      <a:pt x="72" y="70"/>
                      <a:pt x="72" y="70"/>
                    </a:cubicBezTo>
                    <a:cubicBezTo>
                      <a:pt x="71" y="70"/>
                      <a:pt x="70" y="69"/>
                      <a:pt x="70" y="69"/>
                    </a:cubicBezTo>
                    <a:cubicBezTo>
                      <a:pt x="70" y="69"/>
                      <a:pt x="70" y="69"/>
                      <a:pt x="70" y="68"/>
                    </a:cubicBezTo>
                    <a:cubicBezTo>
                      <a:pt x="70" y="68"/>
                      <a:pt x="71" y="69"/>
                      <a:pt x="71" y="69"/>
                    </a:cubicBezTo>
                    <a:cubicBezTo>
                      <a:pt x="71" y="69"/>
                      <a:pt x="71" y="68"/>
                      <a:pt x="71" y="68"/>
                    </a:cubicBezTo>
                    <a:cubicBezTo>
                      <a:pt x="71" y="68"/>
                      <a:pt x="71" y="68"/>
                      <a:pt x="71" y="68"/>
                    </a:cubicBezTo>
                    <a:cubicBezTo>
                      <a:pt x="70" y="68"/>
                      <a:pt x="70" y="68"/>
                      <a:pt x="70" y="68"/>
                    </a:cubicBezTo>
                    <a:cubicBezTo>
                      <a:pt x="70" y="68"/>
                      <a:pt x="70" y="68"/>
                      <a:pt x="69" y="68"/>
                    </a:cubicBezTo>
                    <a:cubicBezTo>
                      <a:pt x="69" y="67"/>
                      <a:pt x="70" y="67"/>
                      <a:pt x="70" y="67"/>
                    </a:cubicBezTo>
                    <a:cubicBezTo>
                      <a:pt x="70" y="67"/>
                      <a:pt x="70" y="66"/>
                      <a:pt x="70" y="66"/>
                    </a:cubicBezTo>
                    <a:cubicBezTo>
                      <a:pt x="71" y="66"/>
                      <a:pt x="71" y="66"/>
                      <a:pt x="71" y="67"/>
                    </a:cubicBezTo>
                    <a:cubicBezTo>
                      <a:pt x="71" y="67"/>
                      <a:pt x="71" y="67"/>
                      <a:pt x="72" y="67"/>
                    </a:cubicBezTo>
                    <a:cubicBezTo>
                      <a:pt x="72" y="67"/>
                      <a:pt x="73" y="67"/>
                      <a:pt x="72" y="66"/>
                    </a:cubicBezTo>
                    <a:cubicBezTo>
                      <a:pt x="72" y="66"/>
                      <a:pt x="72" y="66"/>
                      <a:pt x="72" y="66"/>
                    </a:cubicBezTo>
                    <a:cubicBezTo>
                      <a:pt x="71" y="66"/>
                      <a:pt x="72" y="66"/>
                      <a:pt x="72" y="66"/>
                    </a:cubicBezTo>
                    <a:cubicBezTo>
                      <a:pt x="73" y="66"/>
                      <a:pt x="73" y="66"/>
                      <a:pt x="73" y="67"/>
                    </a:cubicBezTo>
                    <a:cubicBezTo>
                      <a:pt x="73" y="67"/>
                      <a:pt x="74" y="67"/>
                      <a:pt x="74" y="67"/>
                    </a:cubicBezTo>
                    <a:cubicBezTo>
                      <a:pt x="74" y="66"/>
                      <a:pt x="73" y="66"/>
                      <a:pt x="73" y="66"/>
                    </a:cubicBezTo>
                    <a:cubicBezTo>
                      <a:pt x="73" y="65"/>
                      <a:pt x="71" y="64"/>
                      <a:pt x="71" y="65"/>
                    </a:cubicBezTo>
                    <a:cubicBezTo>
                      <a:pt x="70" y="66"/>
                      <a:pt x="69" y="67"/>
                      <a:pt x="68" y="67"/>
                    </a:cubicBezTo>
                    <a:cubicBezTo>
                      <a:pt x="67" y="67"/>
                      <a:pt x="67" y="68"/>
                      <a:pt x="67" y="67"/>
                    </a:cubicBezTo>
                    <a:cubicBezTo>
                      <a:pt x="67" y="67"/>
                      <a:pt x="67" y="67"/>
                      <a:pt x="67" y="67"/>
                    </a:cubicBezTo>
                    <a:cubicBezTo>
                      <a:pt x="67" y="66"/>
                      <a:pt x="67" y="66"/>
                      <a:pt x="67" y="66"/>
                    </a:cubicBezTo>
                    <a:cubicBezTo>
                      <a:pt x="67" y="65"/>
                      <a:pt x="68" y="66"/>
                      <a:pt x="69" y="66"/>
                    </a:cubicBezTo>
                    <a:cubicBezTo>
                      <a:pt x="69" y="65"/>
                      <a:pt x="68" y="65"/>
                      <a:pt x="69" y="65"/>
                    </a:cubicBezTo>
                    <a:cubicBezTo>
                      <a:pt x="68" y="65"/>
                      <a:pt x="66" y="65"/>
                      <a:pt x="67" y="64"/>
                    </a:cubicBezTo>
                    <a:cubicBezTo>
                      <a:pt x="67" y="64"/>
                      <a:pt x="68" y="64"/>
                      <a:pt x="69" y="64"/>
                    </a:cubicBezTo>
                    <a:cubicBezTo>
                      <a:pt x="69" y="64"/>
                      <a:pt x="69" y="64"/>
                      <a:pt x="69" y="64"/>
                    </a:cubicBezTo>
                    <a:cubicBezTo>
                      <a:pt x="69" y="63"/>
                      <a:pt x="69" y="63"/>
                      <a:pt x="69" y="63"/>
                    </a:cubicBezTo>
                    <a:cubicBezTo>
                      <a:pt x="70" y="64"/>
                      <a:pt x="69" y="64"/>
                      <a:pt x="70" y="64"/>
                    </a:cubicBezTo>
                    <a:cubicBezTo>
                      <a:pt x="70" y="64"/>
                      <a:pt x="70" y="64"/>
                      <a:pt x="70" y="63"/>
                    </a:cubicBezTo>
                    <a:cubicBezTo>
                      <a:pt x="71" y="63"/>
                      <a:pt x="71" y="63"/>
                      <a:pt x="72" y="63"/>
                    </a:cubicBezTo>
                    <a:cubicBezTo>
                      <a:pt x="72" y="63"/>
                      <a:pt x="71" y="63"/>
                      <a:pt x="72" y="64"/>
                    </a:cubicBezTo>
                    <a:cubicBezTo>
                      <a:pt x="72" y="64"/>
                      <a:pt x="72" y="63"/>
                      <a:pt x="73" y="62"/>
                    </a:cubicBezTo>
                    <a:cubicBezTo>
                      <a:pt x="73" y="62"/>
                      <a:pt x="73" y="62"/>
                      <a:pt x="73" y="62"/>
                    </a:cubicBezTo>
                    <a:cubicBezTo>
                      <a:pt x="74" y="62"/>
                      <a:pt x="73" y="63"/>
                      <a:pt x="74" y="63"/>
                    </a:cubicBezTo>
                    <a:cubicBezTo>
                      <a:pt x="74" y="63"/>
                      <a:pt x="75" y="60"/>
                      <a:pt x="76" y="61"/>
                    </a:cubicBezTo>
                    <a:cubicBezTo>
                      <a:pt x="76" y="62"/>
                      <a:pt x="77" y="64"/>
                      <a:pt x="78" y="65"/>
                    </a:cubicBezTo>
                    <a:cubicBezTo>
                      <a:pt x="78" y="64"/>
                      <a:pt x="78" y="64"/>
                      <a:pt x="77" y="63"/>
                    </a:cubicBezTo>
                    <a:cubicBezTo>
                      <a:pt x="77" y="63"/>
                      <a:pt x="77" y="62"/>
                      <a:pt x="77" y="62"/>
                    </a:cubicBezTo>
                    <a:cubicBezTo>
                      <a:pt x="78" y="62"/>
                      <a:pt x="78" y="62"/>
                      <a:pt x="78" y="63"/>
                    </a:cubicBezTo>
                    <a:cubicBezTo>
                      <a:pt x="78" y="63"/>
                      <a:pt x="78" y="62"/>
                      <a:pt x="78" y="62"/>
                    </a:cubicBezTo>
                    <a:cubicBezTo>
                      <a:pt x="78" y="61"/>
                      <a:pt x="78" y="61"/>
                      <a:pt x="78" y="61"/>
                    </a:cubicBezTo>
                    <a:cubicBezTo>
                      <a:pt x="78" y="60"/>
                      <a:pt x="78" y="60"/>
                      <a:pt x="78" y="60"/>
                    </a:cubicBezTo>
                    <a:cubicBezTo>
                      <a:pt x="79" y="60"/>
                      <a:pt x="79" y="61"/>
                      <a:pt x="80" y="60"/>
                    </a:cubicBezTo>
                    <a:cubicBezTo>
                      <a:pt x="79" y="60"/>
                      <a:pt x="79" y="59"/>
                      <a:pt x="79" y="59"/>
                    </a:cubicBezTo>
                    <a:cubicBezTo>
                      <a:pt x="78" y="59"/>
                      <a:pt x="78" y="59"/>
                      <a:pt x="78" y="59"/>
                    </a:cubicBezTo>
                    <a:cubicBezTo>
                      <a:pt x="78" y="59"/>
                      <a:pt x="77" y="60"/>
                      <a:pt x="77" y="59"/>
                    </a:cubicBezTo>
                    <a:cubicBezTo>
                      <a:pt x="77" y="59"/>
                      <a:pt x="77" y="59"/>
                      <a:pt x="77" y="59"/>
                    </a:cubicBezTo>
                    <a:cubicBezTo>
                      <a:pt x="77" y="59"/>
                      <a:pt x="78" y="59"/>
                      <a:pt x="78" y="58"/>
                    </a:cubicBezTo>
                    <a:cubicBezTo>
                      <a:pt x="78" y="58"/>
                      <a:pt x="78" y="58"/>
                      <a:pt x="78" y="58"/>
                    </a:cubicBezTo>
                    <a:cubicBezTo>
                      <a:pt x="79" y="58"/>
                      <a:pt x="80" y="59"/>
                      <a:pt x="80" y="59"/>
                    </a:cubicBezTo>
                    <a:cubicBezTo>
                      <a:pt x="80" y="58"/>
                      <a:pt x="79" y="58"/>
                      <a:pt x="79" y="57"/>
                    </a:cubicBezTo>
                    <a:cubicBezTo>
                      <a:pt x="79" y="57"/>
                      <a:pt x="79" y="56"/>
                      <a:pt x="78" y="56"/>
                    </a:cubicBezTo>
                    <a:cubicBezTo>
                      <a:pt x="78" y="55"/>
                      <a:pt x="77" y="55"/>
                      <a:pt x="77" y="55"/>
                    </a:cubicBezTo>
                    <a:cubicBezTo>
                      <a:pt x="77" y="54"/>
                      <a:pt x="78" y="54"/>
                      <a:pt x="79" y="54"/>
                    </a:cubicBezTo>
                    <a:cubicBezTo>
                      <a:pt x="79" y="54"/>
                      <a:pt x="80" y="54"/>
                      <a:pt x="80" y="54"/>
                    </a:cubicBezTo>
                    <a:cubicBezTo>
                      <a:pt x="80" y="54"/>
                      <a:pt x="81" y="54"/>
                      <a:pt x="81" y="54"/>
                    </a:cubicBezTo>
                    <a:cubicBezTo>
                      <a:pt x="81" y="55"/>
                      <a:pt x="81" y="55"/>
                      <a:pt x="81" y="55"/>
                    </a:cubicBezTo>
                    <a:cubicBezTo>
                      <a:pt x="81" y="55"/>
                      <a:pt x="81" y="55"/>
                      <a:pt x="82" y="55"/>
                    </a:cubicBezTo>
                    <a:cubicBezTo>
                      <a:pt x="82" y="55"/>
                      <a:pt x="82" y="54"/>
                      <a:pt x="83" y="55"/>
                    </a:cubicBezTo>
                    <a:cubicBezTo>
                      <a:pt x="83" y="55"/>
                      <a:pt x="83" y="55"/>
                      <a:pt x="83" y="56"/>
                    </a:cubicBezTo>
                    <a:cubicBezTo>
                      <a:pt x="83" y="56"/>
                      <a:pt x="84" y="56"/>
                      <a:pt x="84" y="57"/>
                    </a:cubicBezTo>
                    <a:cubicBezTo>
                      <a:pt x="84" y="57"/>
                      <a:pt x="84" y="59"/>
                      <a:pt x="84" y="57"/>
                    </a:cubicBezTo>
                    <a:cubicBezTo>
                      <a:pt x="85" y="56"/>
                      <a:pt x="84" y="56"/>
                      <a:pt x="84" y="55"/>
                    </a:cubicBezTo>
                    <a:cubicBezTo>
                      <a:pt x="83" y="55"/>
                      <a:pt x="83" y="54"/>
                      <a:pt x="84" y="54"/>
                    </a:cubicBezTo>
                    <a:cubicBezTo>
                      <a:pt x="84" y="54"/>
                      <a:pt x="85" y="55"/>
                      <a:pt x="85" y="55"/>
                    </a:cubicBezTo>
                    <a:cubicBezTo>
                      <a:pt x="86" y="55"/>
                      <a:pt x="85" y="54"/>
                      <a:pt x="85" y="54"/>
                    </a:cubicBezTo>
                    <a:cubicBezTo>
                      <a:pt x="85" y="53"/>
                      <a:pt x="85" y="53"/>
                      <a:pt x="86" y="53"/>
                    </a:cubicBezTo>
                    <a:cubicBezTo>
                      <a:pt x="86" y="54"/>
                      <a:pt x="86" y="54"/>
                      <a:pt x="87" y="54"/>
                    </a:cubicBezTo>
                    <a:cubicBezTo>
                      <a:pt x="87" y="54"/>
                      <a:pt x="86" y="53"/>
                      <a:pt x="86" y="53"/>
                    </a:cubicBezTo>
                    <a:cubicBezTo>
                      <a:pt x="86" y="53"/>
                      <a:pt x="85" y="53"/>
                      <a:pt x="85" y="53"/>
                    </a:cubicBezTo>
                    <a:cubicBezTo>
                      <a:pt x="85" y="52"/>
                      <a:pt x="86" y="52"/>
                      <a:pt x="85" y="51"/>
                    </a:cubicBezTo>
                    <a:cubicBezTo>
                      <a:pt x="85" y="51"/>
                      <a:pt x="84" y="52"/>
                      <a:pt x="84" y="52"/>
                    </a:cubicBezTo>
                    <a:cubicBezTo>
                      <a:pt x="84" y="52"/>
                      <a:pt x="83" y="53"/>
                      <a:pt x="83" y="53"/>
                    </a:cubicBezTo>
                    <a:cubicBezTo>
                      <a:pt x="82" y="53"/>
                      <a:pt x="82" y="52"/>
                      <a:pt x="82" y="52"/>
                    </a:cubicBezTo>
                    <a:cubicBezTo>
                      <a:pt x="82" y="52"/>
                      <a:pt x="81" y="53"/>
                      <a:pt x="81" y="53"/>
                    </a:cubicBezTo>
                    <a:cubicBezTo>
                      <a:pt x="80" y="53"/>
                      <a:pt x="79" y="53"/>
                      <a:pt x="79" y="53"/>
                    </a:cubicBezTo>
                    <a:cubicBezTo>
                      <a:pt x="79" y="53"/>
                      <a:pt x="78" y="52"/>
                      <a:pt x="79" y="52"/>
                    </a:cubicBezTo>
                    <a:cubicBezTo>
                      <a:pt x="79" y="51"/>
                      <a:pt x="79" y="51"/>
                      <a:pt x="79" y="51"/>
                    </a:cubicBezTo>
                    <a:cubicBezTo>
                      <a:pt x="79" y="51"/>
                      <a:pt x="79" y="51"/>
                      <a:pt x="79" y="51"/>
                    </a:cubicBezTo>
                    <a:cubicBezTo>
                      <a:pt x="79" y="51"/>
                      <a:pt x="79" y="50"/>
                      <a:pt x="79" y="50"/>
                    </a:cubicBezTo>
                    <a:cubicBezTo>
                      <a:pt x="79" y="50"/>
                      <a:pt x="79" y="49"/>
                      <a:pt x="80" y="49"/>
                    </a:cubicBezTo>
                    <a:cubicBezTo>
                      <a:pt x="81" y="49"/>
                      <a:pt x="81" y="49"/>
                      <a:pt x="81" y="49"/>
                    </a:cubicBezTo>
                    <a:cubicBezTo>
                      <a:pt x="82" y="48"/>
                      <a:pt x="82" y="48"/>
                      <a:pt x="82" y="49"/>
                    </a:cubicBezTo>
                    <a:cubicBezTo>
                      <a:pt x="82" y="49"/>
                      <a:pt x="83" y="50"/>
                      <a:pt x="83" y="49"/>
                    </a:cubicBezTo>
                    <a:cubicBezTo>
                      <a:pt x="83" y="49"/>
                      <a:pt x="82" y="49"/>
                      <a:pt x="83" y="48"/>
                    </a:cubicBezTo>
                    <a:cubicBezTo>
                      <a:pt x="84" y="47"/>
                      <a:pt x="85" y="50"/>
                      <a:pt x="86" y="49"/>
                    </a:cubicBezTo>
                    <a:cubicBezTo>
                      <a:pt x="86" y="48"/>
                      <a:pt x="85" y="49"/>
                      <a:pt x="85" y="48"/>
                    </a:cubicBezTo>
                    <a:cubicBezTo>
                      <a:pt x="85" y="48"/>
                      <a:pt x="85" y="48"/>
                      <a:pt x="85" y="48"/>
                    </a:cubicBezTo>
                    <a:cubicBezTo>
                      <a:pt x="84" y="47"/>
                      <a:pt x="84" y="48"/>
                      <a:pt x="84" y="47"/>
                    </a:cubicBezTo>
                    <a:cubicBezTo>
                      <a:pt x="83" y="47"/>
                      <a:pt x="85" y="46"/>
                      <a:pt x="85" y="47"/>
                    </a:cubicBezTo>
                    <a:cubicBezTo>
                      <a:pt x="86" y="47"/>
                      <a:pt x="86" y="48"/>
                      <a:pt x="87" y="47"/>
                    </a:cubicBezTo>
                    <a:cubicBezTo>
                      <a:pt x="87" y="47"/>
                      <a:pt x="86" y="46"/>
                      <a:pt x="86" y="46"/>
                    </a:cubicBezTo>
                    <a:cubicBezTo>
                      <a:pt x="85" y="45"/>
                      <a:pt x="87" y="45"/>
                      <a:pt x="87" y="45"/>
                    </a:cubicBezTo>
                    <a:cubicBezTo>
                      <a:pt x="88" y="45"/>
                      <a:pt x="87" y="45"/>
                      <a:pt x="87" y="45"/>
                    </a:cubicBezTo>
                    <a:cubicBezTo>
                      <a:pt x="87" y="44"/>
                      <a:pt x="87" y="44"/>
                      <a:pt x="87" y="44"/>
                    </a:cubicBezTo>
                    <a:cubicBezTo>
                      <a:pt x="86" y="44"/>
                      <a:pt x="85" y="44"/>
                      <a:pt x="85" y="44"/>
                    </a:cubicBezTo>
                    <a:cubicBezTo>
                      <a:pt x="85" y="44"/>
                      <a:pt x="85" y="43"/>
                      <a:pt x="85" y="43"/>
                    </a:cubicBezTo>
                    <a:cubicBezTo>
                      <a:pt x="85" y="43"/>
                      <a:pt x="85" y="42"/>
                      <a:pt x="86" y="42"/>
                    </a:cubicBezTo>
                    <a:cubicBezTo>
                      <a:pt x="86" y="42"/>
                      <a:pt x="86" y="42"/>
                      <a:pt x="86" y="41"/>
                    </a:cubicBezTo>
                    <a:cubicBezTo>
                      <a:pt x="86" y="41"/>
                      <a:pt x="86" y="41"/>
                      <a:pt x="86" y="41"/>
                    </a:cubicBezTo>
                    <a:cubicBezTo>
                      <a:pt x="87" y="40"/>
                      <a:pt x="87" y="40"/>
                      <a:pt x="87" y="40"/>
                    </a:cubicBezTo>
                    <a:cubicBezTo>
                      <a:pt x="88" y="40"/>
                      <a:pt x="88" y="40"/>
                      <a:pt x="88" y="40"/>
                    </a:cubicBezTo>
                    <a:cubicBezTo>
                      <a:pt x="88" y="40"/>
                      <a:pt x="90" y="40"/>
                      <a:pt x="89" y="40"/>
                    </a:cubicBezTo>
                    <a:cubicBezTo>
                      <a:pt x="89" y="40"/>
                      <a:pt x="89" y="40"/>
                      <a:pt x="89" y="40"/>
                    </a:cubicBezTo>
                    <a:cubicBezTo>
                      <a:pt x="89" y="39"/>
                      <a:pt x="89" y="39"/>
                      <a:pt x="89" y="38"/>
                    </a:cubicBezTo>
                    <a:cubicBezTo>
                      <a:pt x="88" y="37"/>
                      <a:pt x="89" y="37"/>
                      <a:pt x="89" y="37"/>
                    </a:cubicBezTo>
                    <a:cubicBezTo>
                      <a:pt x="90" y="36"/>
                      <a:pt x="90" y="35"/>
                      <a:pt x="90" y="35"/>
                    </a:cubicBezTo>
                    <a:cubicBezTo>
                      <a:pt x="90" y="35"/>
                      <a:pt x="90" y="34"/>
                      <a:pt x="90" y="34"/>
                    </a:cubicBezTo>
                    <a:cubicBezTo>
                      <a:pt x="90" y="34"/>
                      <a:pt x="90" y="34"/>
                      <a:pt x="91" y="34"/>
                    </a:cubicBezTo>
                    <a:cubicBezTo>
                      <a:pt x="91" y="34"/>
                      <a:pt x="91" y="35"/>
                      <a:pt x="92" y="35"/>
                    </a:cubicBezTo>
                    <a:cubicBezTo>
                      <a:pt x="92" y="36"/>
                      <a:pt x="91" y="38"/>
                      <a:pt x="92" y="38"/>
                    </a:cubicBezTo>
                    <a:cubicBezTo>
                      <a:pt x="92" y="39"/>
                      <a:pt x="92" y="37"/>
                      <a:pt x="92" y="37"/>
                    </a:cubicBezTo>
                    <a:cubicBezTo>
                      <a:pt x="92" y="37"/>
                      <a:pt x="93" y="38"/>
                      <a:pt x="93" y="38"/>
                    </a:cubicBezTo>
                    <a:cubicBezTo>
                      <a:pt x="93" y="37"/>
                      <a:pt x="93" y="37"/>
                      <a:pt x="94" y="37"/>
                    </a:cubicBezTo>
                    <a:cubicBezTo>
                      <a:pt x="94" y="37"/>
                      <a:pt x="95" y="37"/>
                      <a:pt x="95" y="37"/>
                    </a:cubicBezTo>
                    <a:cubicBezTo>
                      <a:pt x="96" y="37"/>
                      <a:pt x="95" y="36"/>
                      <a:pt x="94" y="36"/>
                    </a:cubicBezTo>
                    <a:cubicBezTo>
                      <a:pt x="93" y="36"/>
                      <a:pt x="93" y="35"/>
                      <a:pt x="93" y="35"/>
                    </a:cubicBezTo>
                    <a:cubicBezTo>
                      <a:pt x="92" y="34"/>
                      <a:pt x="92" y="34"/>
                      <a:pt x="92" y="34"/>
                    </a:cubicBezTo>
                    <a:cubicBezTo>
                      <a:pt x="92" y="33"/>
                      <a:pt x="93" y="33"/>
                      <a:pt x="93" y="33"/>
                    </a:cubicBezTo>
                    <a:cubicBezTo>
                      <a:pt x="94" y="32"/>
                      <a:pt x="94" y="32"/>
                      <a:pt x="94" y="33"/>
                    </a:cubicBezTo>
                    <a:cubicBezTo>
                      <a:pt x="94" y="34"/>
                      <a:pt x="95" y="34"/>
                      <a:pt x="95" y="34"/>
                    </a:cubicBezTo>
                    <a:cubicBezTo>
                      <a:pt x="95" y="35"/>
                      <a:pt x="95" y="35"/>
                      <a:pt x="96" y="36"/>
                    </a:cubicBezTo>
                    <a:cubicBezTo>
                      <a:pt x="96" y="36"/>
                      <a:pt x="97" y="36"/>
                      <a:pt x="97" y="36"/>
                    </a:cubicBezTo>
                    <a:cubicBezTo>
                      <a:pt x="97" y="36"/>
                      <a:pt x="98" y="36"/>
                      <a:pt x="98" y="36"/>
                    </a:cubicBezTo>
                    <a:cubicBezTo>
                      <a:pt x="99" y="37"/>
                      <a:pt x="97" y="38"/>
                      <a:pt x="97" y="38"/>
                    </a:cubicBezTo>
                    <a:cubicBezTo>
                      <a:pt x="97" y="38"/>
                      <a:pt x="97" y="38"/>
                      <a:pt x="97" y="38"/>
                    </a:cubicBezTo>
                    <a:cubicBezTo>
                      <a:pt x="97" y="38"/>
                      <a:pt x="98" y="38"/>
                      <a:pt x="98" y="38"/>
                    </a:cubicBezTo>
                    <a:cubicBezTo>
                      <a:pt x="98" y="38"/>
                      <a:pt x="98" y="38"/>
                      <a:pt x="98" y="38"/>
                    </a:cubicBezTo>
                    <a:cubicBezTo>
                      <a:pt x="99" y="38"/>
                      <a:pt x="98" y="39"/>
                      <a:pt x="99" y="38"/>
                    </a:cubicBezTo>
                    <a:cubicBezTo>
                      <a:pt x="99" y="38"/>
                      <a:pt x="99" y="37"/>
                      <a:pt x="98" y="36"/>
                    </a:cubicBezTo>
                    <a:cubicBezTo>
                      <a:pt x="98" y="35"/>
                      <a:pt x="97" y="35"/>
                      <a:pt x="97" y="35"/>
                    </a:cubicBezTo>
                    <a:cubicBezTo>
                      <a:pt x="96" y="35"/>
                      <a:pt x="95" y="35"/>
                      <a:pt x="95" y="34"/>
                    </a:cubicBezTo>
                    <a:cubicBezTo>
                      <a:pt x="95" y="33"/>
                      <a:pt x="96" y="33"/>
                      <a:pt x="97" y="32"/>
                    </a:cubicBezTo>
                    <a:cubicBezTo>
                      <a:pt x="96" y="32"/>
                      <a:pt x="95" y="33"/>
                      <a:pt x="95" y="31"/>
                    </a:cubicBezTo>
                    <a:cubicBezTo>
                      <a:pt x="95" y="31"/>
                      <a:pt x="95" y="31"/>
                      <a:pt x="96" y="30"/>
                    </a:cubicBezTo>
                    <a:cubicBezTo>
                      <a:pt x="96" y="30"/>
                      <a:pt x="96" y="29"/>
                      <a:pt x="96" y="29"/>
                    </a:cubicBezTo>
                    <a:cubicBezTo>
                      <a:pt x="96" y="29"/>
                      <a:pt x="96" y="29"/>
                      <a:pt x="97" y="28"/>
                    </a:cubicBezTo>
                    <a:cubicBezTo>
                      <a:pt x="97" y="28"/>
                      <a:pt x="97" y="28"/>
                      <a:pt x="97" y="28"/>
                    </a:cubicBezTo>
                    <a:cubicBezTo>
                      <a:pt x="98" y="28"/>
                      <a:pt x="99" y="28"/>
                      <a:pt x="99" y="27"/>
                    </a:cubicBezTo>
                    <a:cubicBezTo>
                      <a:pt x="100" y="27"/>
                      <a:pt x="100" y="27"/>
                      <a:pt x="100" y="28"/>
                    </a:cubicBezTo>
                    <a:cubicBezTo>
                      <a:pt x="101" y="28"/>
                      <a:pt x="100" y="29"/>
                      <a:pt x="100" y="30"/>
                    </a:cubicBezTo>
                    <a:cubicBezTo>
                      <a:pt x="100" y="30"/>
                      <a:pt x="100" y="31"/>
                      <a:pt x="100" y="31"/>
                    </a:cubicBezTo>
                    <a:cubicBezTo>
                      <a:pt x="100" y="32"/>
                      <a:pt x="100" y="32"/>
                      <a:pt x="100" y="33"/>
                    </a:cubicBezTo>
                    <a:cubicBezTo>
                      <a:pt x="99" y="33"/>
                      <a:pt x="99" y="34"/>
                      <a:pt x="99" y="34"/>
                    </a:cubicBezTo>
                    <a:cubicBezTo>
                      <a:pt x="99" y="35"/>
                      <a:pt x="99" y="35"/>
                      <a:pt x="99" y="35"/>
                    </a:cubicBezTo>
                    <a:cubicBezTo>
                      <a:pt x="99" y="35"/>
                      <a:pt x="100" y="34"/>
                      <a:pt x="100" y="34"/>
                    </a:cubicBezTo>
                    <a:cubicBezTo>
                      <a:pt x="100" y="33"/>
                      <a:pt x="100" y="32"/>
                      <a:pt x="100" y="32"/>
                    </a:cubicBezTo>
                    <a:cubicBezTo>
                      <a:pt x="101" y="30"/>
                      <a:pt x="102" y="32"/>
                      <a:pt x="103" y="32"/>
                    </a:cubicBezTo>
                    <a:cubicBezTo>
                      <a:pt x="103" y="32"/>
                      <a:pt x="102" y="32"/>
                      <a:pt x="102" y="31"/>
                    </a:cubicBezTo>
                    <a:cubicBezTo>
                      <a:pt x="101" y="31"/>
                      <a:pt x="101" y="31"/>
                      <a:pt x="101" y="30"/>
                    </a:cubicBezTo>
                    <a:cubicBezTo>
                      <a:pt x="101" y="29"/>
                      <a:pt x="101" y="29"/>
                      <a:pt x="101" y="29"/>
                    </a:cubicBezTo>
                    <a:cubicBezTo>
                      <a:pt x="101" y="28"/>
                      <a:pt x="101" y="27"/>
                      <a:pt x="102" y="27"/>
                    </a:cubicBezTo>
                    <a:cubicBezTo>
                      <a:pt x="102" y="27"/>
                      <a:pt x="102" y="28"/>
                      <a:pt x="102" y="28"/>
                    </a:cubicBezTo>
                    <a:cubicBezTo>
                      <a:pt x="102" y="28"/>
                      <a:pt x="102" y="27"/>
                      <a:pt x="102" y="27"/>
                    </a:cubicBezTo>
                    <a:cubicBezTo>
                      <a:pt x="102" y="27"/>
                      <a:pt x="102" y="26"/>
                      <a:pt x="102" y="26"/>
                    </a:cubicBezTo>
                    <a:cubicBezTo>
                      <a:pt x="102" y="26"/>
                      <a:pt x="103" y="26"/>
                      <a:pt x="103" y="26"/>
                    </a:cubicBezTo>
                    <a:cubicBezTo>
                      <a:pt x="103" y="25"/>
                      <a:pt x="103" y="25"/>
                      <a:pt x="103" y="25"/>
                    </a:cubicBezTo>
                    <a:cubicBezTo>
                      <a:pt x="103" y="25"/>
                      <a:pt x="104" y="24"/>
                      <a:pt x="104" y="24"/>
                    </a:cubicBezTo>
                    <a:cubicBezTo>
                      <a:pt x="105" y="25"/>
                      <a:pt x="105" y="26"/>
                      <a:pt x="105" y="28"/>
                    </a:cubicBezTo>
                    <a:cubicBezTo>
                      <a:pt x="104" y="28"/>
                      <a:pt x="104" y="29"/>
                      <a:pt x="104" y="29"/>
                    </a:cubicBezTo>
                    <a:cubicBezTo>
                      <a:pt x="104" y="30"/>
                      <a:pt x="105" y="30"/>
                      <a:pt x="105" y="31"/>
                    </a:cubicBezTo>
                    <a:cubicBezTo>
                      <a:pt x="105" y="32"/>
                      <a:pt x="104" y="32"/>
                      <a:pt x="104" y="32"/>
                    </a:cubicBezTo>
                    <a:cubicBezTo>
                      <a:pt x="104" y="32"/>
                      <a:pt x="104" y="33"/>
                      <a:pt x="104" y="34"/>
                    </a:cubicBezTo>
                    <a:cubicBezTo>
                      <a:pt x="104" y="34"/>
                      <a:pt x="104" y="35"/>
                      <a:pt x="103" y="35"/>
                    </a:cubicBezTo>
                    <a:cubicBezTo>
                      <a:pt x="103" y="36"/>
                      <a:pt x="102" y="36"/>
                      <a:pt x="102" y="36"/>
                    </a:cubicBezTo>
                    <a:cubicBezTo>
                      <a:pt x="102" y="36"/>
                      <a:pt x="102" y="37"/>
                      <a:pt x="101" y="37"/>
                    </a:cubicBezTo>
                    <a:cubicBezTo>
                      <a:pt x="101" y="38"/>
                      <a:pt x="102" y="38"/>
                      <a:pt x="102" y="37"/>
                    </a:cubicBezTo>
                    <a:cubicBezTo>
                      <a:pt x="102" y="37"/>
                      <a:pt x="103" y="36"/>
                      <a:pt x="103" y="36"/>
                    </a:cubicBezTo>
                    <a:cubicBezTo>
                      <a:pt x="104" y="36"/>
                      <a:pt x="104" y="35"/>
                      <a:pt x="104" y="35"/>
                    </a:cubicBezTo>
                    <a:cubicBezTo>
                      <a:pt x="104" y="34"/>
                      <a:pt x="105" y="34"/>
                      <a:pt x="105" y="33"/>
                    </a:cubicBezTo>
                    <a:cubicBezTo>
                      <a:pt x="105" y="33"/>
                      <a:pt x="105" y="32"/>
                      <a:pt x="105" y="32"/>
                    </a:cubicBezTo>
                    <a:cubicBezTo>
                      <a:pt x="106" y="32"/>
                      <a:pt x="106" y="33"/>
                      <a:pt x="106" y="33"/>
                    </a:cubicBezTo>
                    <a:cubicBezTo>
                      <a:pt x="107" y="33"/>
                      <a:pt x="107" y="33"/>
                      <a:pt x="108" y="33"/>
                    </a:cubicBezTo>
                    <a:cubicBezTo>
                      <a:pt x="108" y="33"/>
                      <a:pt x="107" y="33"/>
                      <a:pt x="107" y="32"/>
                    </a:cubicBezTo>
                    <a:cubicBezTo>
                      <a:pt x="106" y="32"/>
                      <a:pt x="106" y="32"/>
                      <a:pt x="106" y="31"/>
                    </a:cubicBezTo>
                    <a:cubicBezTo>
                      <a:pt x="106" y="31"/>
                      <a:pt x="106" y="31"/>
                      <a:pt x="106" y="31"/>
                    </a:cubicBezTo>
                    <a:cubicBezTo>
                      <a:pt x="105" y="30"/>
                      <a:pt x="105" y="30"/>
                      <a:pt x="105" y="30"/>
                    </a:cubicBezTo>
                    <a:cubicBezTo>
                      <a:pt x="106" y="29"/>
                      <a:pt x="106" y="29"/>
                      <a:pt x="106" y="29"/>
                    </a:cubicBezTo>
                    <a:cubicBezTo>
                      <a:pt x="105" y="29"/>
                      <a:pt x="105" y="29"/>
                      <a:pt x="105" y="28"/>
                    </a:cubicBezTo>
                    <a:cubicBezTo>
                      <a:pt x="105" y="28"/>
                      <a:pt x="107" y="28"/>
                      <a:pt x="107" y="27"/>
                    </a:cubicBezTo>
                    <a:cubicBezTo>
                      <a:pt x="107" y="27"/>
                      <a:pt x="107" y="26"/>
                      <a:pt x="108" y="26"/>
                    </a:cubicBezTo>
                    <a:cubicBezTo>
                      <a:pt x="108" y="25"/>
                      <a:pt x="109" y="25"/>
                      <a:pt x="109" y="25"/>
                    </a:cubicBezTo>
                    <a:cubicBezTo>
                      <a:pt x="109" y="25"/>
                      <a:pt x="108" y="26"/>
                      <a:pt x="108" y="27"/>
                    </a:cubicBezTo>
                    <a:cubicBezTo>
                      <a:pt x="108" y="27"/>
                      <a:pt x="109" y="28"/>
                      <a:pt x="109" y="27"/>
                    </a:cubicBezTo>
                    <a:cubicBezTo>
                      <a:pt x="109" y="27"/>
                      <a:pt x="109" y="26"/>
                      <a:pt x="110" y="26"/>
                    </a:cubicBezTo>
                    <a:cubicBezTo>
                      <a:pt x="110" y="26"/>
                      <a:pt x="110" y="27"/>
                      <a:pt x="110" y="27"/>
                    </a:cubicBezTo>
                    <a:cubicBezTo>
                      <a:pt x="110" y="27"/>
                      <a:pt x="110" y="27"/>
                      <a:pt x="110" y="27"/>
                    </a:cubicBezTo>
                    <a:cubicBezTo>
                      <a:pt x="110" y="27"/>
                      <a:pt x="110" y="26"/>
                      <a:pt x="110" y="26"/>
                    </a:cubicBezTo>
                    <a:cubicBezTo>
                      <a:pt x="110" y="25"/>
                      <a:pt x="111" y="25"/>
                      <a:pt x="111" y="25"/>
                    </a:cubicBezTo>
                    <a:cubicBezTo>
                      <a:pt x="110" y="24"/>
                      <a:pt x="110" y="24"/>
                      <a:pt x="110" y="24"/>
                    </a:cubicBezTo>
                    <a:cubicBezTo>
                      <a:pt x="110" y="24"/>
                      <a:pt x="111" y="23"/>
                      <a:pt x="111" y="23"/>
                    </a:cubicBezTo>
                    <a:cubicBezTo>
                      <a:pt x="111" y="22"/>
                      <a:pt x="112" y="24"/>
                      <a:pt x="112" y="24"/>
                    </a:cubicBezTo>
                    <a:cubicBezTo>
                      <a:pt x="113" y="25"/>
                      <a:pt x="113" y="25"/>
                      <a:pt x="113" y="25"/>
                    </a:cubicBezTo>
                    <a:cubicBezTo>
                      <a:pt x="114" y="25"/>
                      <a:pt x="114" y="25"/>
                      <a:pt x="114" y="26"/>
                    </a:cubicBezTo>
                    <a:cubicBezTo>
                      <a:pt x="115" y="27"/>
                      <a:pt x="115" y="28"/>
                      <a:pt x="116" y="29"/>
                    </a:cubicBezTo>
                    <a:cubicBezTo>
                      <a:pt x="117" y="29"/>
                      <a:pt x="116" y="27"/>
                      <a:pt x="116" y="27"/>
                    </a:cubicBezTo>
                    <a:cubicBezTo>
                      <a:pt x="116" y="27"/>
                      <a:pt x="116" y="26"/>
                      <a:pt x="115" y="26"/>
                    </a:cubicBezTo>
                    <a:cubicBezTo>
                      <a:pt x="115" y="26"/>
                      <a:pt x="115" y="26"/>
                      <a:pt x="115" y="25"/>
                    </a:cubicBezTo>
                    <a:cubicBezTo>
                      <a:pt x="115" y="24"/>
                      <a:pt x="116" y="23"/>
                      <a:pt x="116" y="25"/>
                    </a:cubicBezTo>
                    <a:cubicBezTo>
                      <a:pt x="116" y="25"/>
                      <a:pt x="116" y="24"/>
                      <a:pt x="116" y="23"/>
                    </a:cubicBezTo>
                    <a:cubicBezTo>
                      <a:pt x="116" y="23"/>
                      <a:pt x="116" y="23"/>
                      <a:pt x="116" y="23"/>
                    </a:cubicBezTo>
                    <a:cubicBezTo>
                      <a:pt x="115" y="23"/>
                      <a:pt x="115" y="23"/>
                      <a:pt x="115" y="23"/>
                    </a:cubicBezTo>
                    <a:cubicBezTo>
                      <a:pt x="115" y="23"/>
                      <a:pt x="114" y="23"/>
                      <a:pt x="114" y="23"/>
                    </a:cubicBezTo>
                    <a:cubicBezTo>
                      <a:pt x="114" y="23"/>
                      <a:pt x="115" y="23"/>
                      <a:pt x="115" y="22"/>
                    </a:cubicBezTo>
                    <a:cubicBezTo>
                      <a:pt x="115" y="22"/>
                      <a:pt x="116" y="22"/>
                      <a:pt x="116" y="22"/>
                    </a:cubicBezTo>
                    <a:cubicBezTo>
                      <a:pt x="116" y="22"/>
                      <a:pt x="116" y="21"/>
                      <a:pt x="116" y="21"/>
                    </a:cubicBezTo>
                    <a:cubicBezTo>
                      <a:pt x="116" y="21"/>
                      <a:pt x="115" y="22"/>
                      <a:pt x="114" y="22"/>
                    </a:cubicBezTo>
                    <a:cubicBezTo>
                      <a:pt x="114" y="22"/>
                      <a:pt x="114" y="22"/>
                      <a:pt x="114" y="22"/>
                    </a:cubicBezTo>
                    <a:cubicBezTo>
                      <a:pt x="113" y="22"/>
                      <a:pt x="113" y="22"/>
                      <a:pt x="113" y="22"/>
                    </a:cubicBezTo>
                    <a:cubicBezTo>
                      <a:pt x="113" y="22"/>
                      <a:pt x="112" y="22"/>
                      <a:pt x="112" y="21"/>
                    </a:cubicBezTo>
                    <a:cubicBezTo>
                      <a:pt x="112" y="21"/>
                      <a:pt x="112" y="21"/>
                      <a:pt x="112" y="20"/>
                    </a:cubicBezTo>
                    <a:cubicBezTo>
                      <a:pt x="112" y="20"/>
                      <a:pt x="110" y="20"/>
                      <a:pt x="110" y="19"/>
                    </a:cubicBezTo>
                    <a:cubicBezTo>
                      <a:pt x="111" y="18"/>
                      <a:pt x="112" y="18"/>
                      <a:pt x="112" y="19"/>
                    </a:cubicBezTo>
                    <a:cubicBezTo>
                      <a:pt x="113" y="19"/>
                      <a:pt x="112" y="18"/>
                      <a:pt x="112" y="17"/>
                    </a:cubicBezTo>
                    <a:cubicBezTo>
                      <a:pt x="113" y="17"/>
                      <a:pt x="113" y="18"/>
                      <a:pt x="113" y="18"/>
                    </a:cubicBezTo>
                    <a:cubicBezTo>
                      <a:pt x="114" y="18"/>
                      <a:pt x="113" y="17"/>
                      <a:pt x="113" y="16"/>
                    </a:cubicBezTo>
                    <a:cubicBezTo>
                      <a:pt x="114" y="16"/>
                      <a:pt x="114" y="18"/>
                      <a:pt x="114" y="18"/>
                    </a:cubicBezTo>
                    <a:cubicBezTo>
                      <a:pt x="114" y="19"/>
                      <a:pt x="114" y="20"/>
                      <a:pt x="115" y="21"/>
                    </a:cubicBezTo>
                    <a:cubicBezTo>
                      <a:pt x="115" y="21"/>
                      <a:pt x="115" y="20"/>
                      <a:pt x="115" y="19"/>
                    </a:cubicBezTo>
                    <a:cubicBezTo>
                      <a:pt x="115" y="19"/>
                      <a:pt x="114" y="18"/>
                      <a:pt x="115" y="18"/>
                    </a:cubicBezTo>
                    <a:cubicBezTo>
                      <a:pt x="115" y="17"/>
                      <a:pt x="115" y="17"/>
                      <a:pt x="115" y="17"/>
                    </a:cubicBezTo>
                    <a:cubicBezTo>
                      <a:pt x="116" y="17"/>
                      <a:pt x="115" y="18"/>
                      <a:pt x="115" y="18"/>
                    </a:cubicBezTo>
                    <a:cubicBezTo>
                      <a:pt x="116" y="18"/>
                      <a:pt x="116" y="17"/>
                      <a:pt x="116" y="17"/>
                    </a:cubicBezTo>
                    <a:cubicBezTo>
                      <a:pt x="116" y="18"/>
                      <a:pt x="116" y="19"/>
                      <a:pt x="117" y="18"/>
                    </a:cubicBezTo>
                    <a:cubicBezTo>
                      <a:pt x="117" y="18"/>
                      <a:pt x="116" y="18"/>
                      <a:pt x="117" y="18"/>
                    </a:cubicBezTo>
                    <a:cubicBezTo>
                      <a:pt x="117" y="18"/>
                      <a:pt x="117" y="18"/>
                      <a:pt x="117" y="18"/>
                    </a:cubicBezTo>
                    <a:cubicBezTo>
                      <a:pt x="118" y="18"/>
                      <a:pt x="117" y="20"/>
                      <a:pt x="117" y="20"/>
                    </a:cubicBezTo>
                    <a:cubicBezTo>
                      <a:pt x="117" y="21"/>
                      <a:pt x="119" y="21"/>
                      <a:pt x="119" y="21"/>
                    </a:cubicBezTo>
                    <a:cubicBezTo>
                      <a:pt x="119" y="21"/>
                      <a:pt x="119" y="21"/>
                      <a:pt x="118" y="20"/>
                    </a:cubicBezTo>
                    <a:cubicBezTo>
                      <a:pt x="118" y="20"/>
                      <a:pt x="118" y="20"/>
                      <a:pt x="118" y="19"/>
                    </a:cubicBezTo>
                    <a:cubicBezTo>
                      <a:pt x="118" y="19"/>
                      <a:pt x="118" y="18"/>
                      <a:pt x="119" y="19"/>
                    </a:cubicBezTo>
                    <a:cubicBezTo>
                      <a:pt x="119" y="19"/>
                      <a:pt x="119" y="19"/>
                      <a:pt x="119" y="19"/>
                    </a:cubicBezTo>
                    <a:cubicBezTo>
                      <a:pt x="120" y="19"/>
                      <a:pt x="120" y="19"/>
                      <a:pt x="120" y="19"/>
                    </a:cubicBezTo>
                    <a:cubicBezTo>
                      <a:pt x="121" y="19"/>
                      <a:pt x="122" y="19"/>
                      <a:pt x="122" y="20"/>
                    </a:cubicBezTo>
                    <a:cubicBezTo>
                      <a:pt x="122" y="20"/>
                      <a:pt x="121" y="21"/>
                      <a:pt x="121" y="21"/>
                    </a:cubicBezTo>
                    <a:cubicBezTo>
                      <a:pt x="120" y="21"/>
                      <a:pt x="117" y="21"/>
                      <a:pt x="118" y="23"/>
                    </a:cubicBezTo>
                    <a:cubicBezTo>
                      <a:pt x="118" y="23"/>
                      <a:pt x="118" y="22"/>
                      <a:pt x="119" y="22"/>
                    </a:cubicBezTo>
                    <a:cubicBezTo>
                      <a:pt x="119" y="22"/>
                      <a:pt x="120" y="22"/>
                      <a:pt x="120" y="22"/>
                    </a:cubicBezTo>
                    <a:cubicBezTo>
                      <a:pt x="121" y="22"/>
                      <a:pt x="121" y="21"/>
                      <a:pt x="122" y="21"/>
                    </a:cubicBezTo>
                    <a:cubicBezTo>
                      <a:pt x="122" y="21"/>
                      <a:pt x="122" y="22"/>
                      <a:pt x="122" y="23"/>
                    </a:cubicBezTo>
                    <a:cubicBezTo>
                      <a:pt x="122" y="23"/>
                      <a:pt x="123" y="23"/>
                      <a:pt x="123" y="23"/>
                    </a:cubicBezTo>
                    <a:cubicBezTo>
                      <a:pt x="123" y="23"/>
                      <a:pt x="123" y="23"/>
                      <a:pt x="123" y="24"/>
                    </a:cubicBezTo>
                    <a:cubicBezTo>
                      <a:pt x="123" y="24"/>
                      <a:pt x="123" y="24"/>
                      <a:pt x="124" y="24"/>
                    </a:cubicBezTo>
                    <a:cubicBezTo>
                      <a:pt x="124" y="24"/>
                      <a:pt x="124" y="24"/>
                      <a:pt x="124" y="24"/>
                    </a:cubicBezTo>
                    <a:cubicBezTo>
                      <a:pt x="124" y="24"/>
                      <a:pt x="124" y="24"/>
                      <a:pt x="124" y="24"/>
                    </a:cubicBezTo>
                    <a:cubicBezTo>
                      <a:pt x="125" y="24"/>
                      <a:pt x="124" y="24"/>
                      <a:pt x="125" y="24"/>
                    </a:cubicBezTo>
                    <a:cubicBezTo>
                      <a:pt x="125" y="24"/>
                      <a:pt x="125" y="24"/>
                      <a:pt x="125" y="24"/>
                    </a:cubicBezTo>
                    <a:cubicBezTo>
                      <a:pt x="126" y="23"/>
                      <a:pt x="125" y="23"/>
                      <a:pt x="125" y="23"/>
                    </a:cubicBezTo>
                    <a:cubicBezTo>
                      <a:pt x="125" y="23"/>
                      <a:pt x="124" y="22"/>
                      <a:pt x="124" y="22"/>
                    </a:cubicBezTo>
                    <a:cubicBezTo>
                      <a:pt x="123" y="21"/>
                      <a:pt x="125" y="21"/>
                      <a:pt x="125" y="21"/>
                    </a:cubicBezTo>
                    <a:cubicBezTo>
                      <a:pt x="125" y="20"/>
                      <a:pt x="124" y="20"/>
                      <a:pt x="125" y="20"/>
                    </a:cubicBezTo>
                    <a:cubicBezTo>
                      <a:pt x="125" y="19"/>
                      <a:pt x="124" y="20"/>
                      <a:pt x="124" y="19"/>
                    </a:cubicBezTo>
                    <a:cubicBezTo>
                      <a:pt x="123" y="19"/>
                      <a:pt x="124" y="19"/>
                      <a:pt x="124" y="19"/>
                    </a:cubicBezTo>
                    <a:cubicBezTo>
                      <a:pt x="125" y="19"/>
                      <a:pt x="126" y="19"/>
                      <a:pt x="126" y="19"/>
                    </a:cubicBezTo>
                    <a:cubicBezTo>
                      <a:pt x="126" y="18"/>
                      <a:pt x="124" y="18"/>
                      <a:pt x="124" y="18"/>
                    </a:cubicBezTo>
                    <a:cubicBezTo>
                      <a:pt x="124" y="18"/>
                      <a:pt x="124" y="18"/>
                      <a:pt x="124" y="18"/>
                    </a:cubicBezTo>
                    <a:cubicBezTo>
                      <a:pt x="124" y="18"/>
                      <a:pt x="125" y="18"/>
                      <a:pt x="125" y="18"/>
                    </a:cubicBezTo>
                    <a:cubicBezTo>
                      <a:pt x="126" y="18"/>
                      <a:pt x="126" y="18"/>
                      <a:pt x="126" y="17"/>
                    </a:cubicBezTo>
                    <a:cubicBezTo>
                      <a:pt x="126" y="16"/>
                      <a:pt x="126" y="16"/>
                      <a:pt x="127" y="15"/>
                    </a:cubicBezTo>
                    <a:cubicBezTo>
                      <a:pt x="127" y="15"/>
                      <a:pt x="127" y="14"/>
                      <a:pt x="128" y="14"/>
                    </a:cubicBezTo>
                    <a:cubicBezTo>
                      <a:pt x="129" y="14"/>
                      <a:pt x="129" y="14"/>
                      <a:pt x="130" y="14"/>
                    </a:cubicBezTo>
                    <a:cubicBezTo>
                      <a:pt x="130" y="14"/>
                      <a:pt x="131" y="15"/>
                      <a:pt x="131" y="14"/>
                    </a:cubicBezTo>
                    <a:cubicBezTo>
                      <a:pt x="132" y="14"/>
                      <a:pt x="131" y="13"/>
                      <a:pt x="131" y="13"/>
                    </a:cubicBezTo>
                    <a:cubicBezTo>
                      <a:pt x="130" y="13"/>
                      <a:pt x="130" y="13"/>
                      <a:pt x="130" y="13"/>
                    </a:cubicBezTo>
                    <a:cubicBezTo>
                      <a:pt x="130" y="12"/>
                      <a:pt x="130" y="12"/>
                      <a:pt x="130" y="12"/>
                    </a:cubicBezTo>
                    <a:cubicBezTo>
                      <a:pt x="131" y="11"/>
                      <a:pt x="131" y="11"/>
                      <a:pt x="131" y="10"/>
                    </a:cubicBezTo>
                    <a:cubicBezTo>
                      <a:pt x="131" y="10"/>
                      <a:pt x="132" y="9"/>
                      <a:pt x="132" y="10"/>
                    </a:cubicBezTo>
                    <a:cubicBezTo>
                      <a:pt x="133" y="10"/>
                      <a:pt x="133" y="11"/>
                      <a:pt x="133" y="11"/>
                    </a:cubicBezTo>
                    <a:cubicBezTo>
                      <a:pt x="134" y="11"/>
                      <a:pt x="134" y="11"/>
                      <a:pt x="134" y="10"/>
                    </a:cubicBezTo>
                    <a:cubicBezTo>
                      <a:pt x="134" y="10"/>
                      <a:pt x="133" y="9"/>
                      <a:pt x="133" y="9"/>
                    </a:cubicBezTo>
                    <a:cubicBezTo>
                      <a:pt x="132" y="8"/>
                      <a:pt x="132" y="9"/>
                      <a:pt x="131" y="8"/>
                    </a:cubicBezTo>
                    <a:cubicBezTo>
                      <a:pt x="131" y="8"/>
                      <a:pt x="131" y="8"/>
                      <a:pt x="131" y="7"/>
                    </a:cubicBezTo>
                    <a:cubicBezTo>
                      <a:pt x="131" y="7"/>
                      <a:pt x="131" y="7"/>
                      <a:pt x="131" y="6"/>
                    </a:cubicBezTo>
                    <a:cubicBezTo>
                      <a:pt x="131" y="6"/>
                      <a:pt x="132" y="6"/>
                      <a:pt x="132" y="6"/>
                    </a:cubicBezTo>
                    <a:cubicBezTo>
                      <a:pt x="132" y="6"/>
                      <a:pt x="132" y="7"/>
                      <a:pt x="132" y="7"/>
                    </a:cubicBezTo>
                    <a:cubicBezTo>
                      <a:pt x="132" y="7"/>
                      <a:pt x="132" y="7"/>
                      <a:pt x="133" y="7"/>
                    </a:cubicBezTo>
                    <a:cubicBezTo>
                      <a:pt x="133" y="7"/>
                      <a:pt x="133" y="8"/>
                      <a:pt x="133" y="8"/>
                    </a:cubicBezTo>
                    <a:cubicBezTo>
                      <a:pt x="134" y="7"/>
                      <a:pt x="133" y="6"/>
                      <a:pt x="134" y="6"/>
                    </a:cubicBezTo>
                    <a:cubicBezTo>
                      <a:pt x="134" y="6"/>
                      <a:pt x="133" y="6"/>
                      <a:pt x="133" y="5"/>
                    </a:cubicBezTo>
                    <a:cubicBezTo>
                      <a:pt x="133" y="5"/>
                      <a:pt x="133" y="5"/>
                      <a:pt x="133" y="4"/>
                    </a:cubicBezTo>
                    <a:cubicBezTo>
                      <a:pt x="133" y="4"/>
                      <a:pt x="134" y="4"/>
                      <a:pt x="134" y="4"/>
                    </a:cubicBezTo>
                    <a:cubicBezTo>
                      <a:pt x="135" y="4"/>
                      <a:pt x="135" y="5"/>
                      <a:pt x="134" y="5"/>
                    </a:cubicBezTo>
                    <a:cubicBezTo>
                      <a:pt x="136" y="6"/>
                      <a:pt x="135" y="4"/>
                      <a:pt x="136" y="4"/>
                    </a:cubicBezTo>
                    <a:cubicBezTo>
                      <a:pt x="136" y="4"/>
                      <a:pt x="136" y="5"/>
                      <a:pt x="136" y="5"/>
                    </a:cubicBezTo>
                    <a:cubicBezTo>
                      <a:pt x="136" y="6"/>
                      <a:pt x="135" y="6"/>
                      <a:pt x="136" y="6"/>
                    </a:cubicBezTo>
                    <a:cubicBezTo>
                      <a:pt x="136" y="6"/>
                      <a:pt x="136" y="5"/>
                      <a:pt x="137" y="5"/>
                    </a:cubicBezTo>
                    <a:cubicBezTo>
                      <a:pt x="137" y="5"/>
                      <a:pt x="137" y="6"/>
                      <a:pt x="138" y="6"/>
                    </a:cubicBezTo>
                    <a:cubicBezTo>
                      <a:pt x="138" y="7"/>
                      <a:pt x="137" y="8"/>
                      <a:pt x="138" y="8"/>
                    </a:cubicBezTo>
                    <a:cubicBezTo>
                      <a:pt x="138" y="7"/>
                      <a:pt x="138" y="6"/>
                      <a:pt x="138" y="6"/>
                    </a:cubicBezTo>
                    <a:cubicBezTo>
                      <a:pt x="138" y="5"/>
                      <a:pt x="138" y="4"/>
                      <a:pt x="138" y="4"/>
                    </a:cubicBezTo>
                    <a:cubicBezTo>
                      <a:pt x="139" y="4"/>
                      <a:pt x="139" y="5"/>
                      <a:pt x="139" y="6"/>
                    </a:cubicBezTo>
                    <a:cubicBezTo>
                      <a:pt x="139" y="6"/>
                      <a:pt x="139" y="6"/>
                      <a:pt x="140" y="6"/>
                    </a:cubicBezTo>
                    <a:cubicBezTo>
                      <a:pt x="140" y="5"/>
                      <a:pt x="140" y="5"/>
                      <a:pt x="141" y="6"/>
                    </a:cubicBezTo>
                    <a:cubicBezTo>
                      <a:pt x="141" y="6"/>
                      <a:pt x="141" y="5"/>
                      <a:pt x="142" y="5"/>
                    </a:cubicBezTo>
                    <a:cubicBezTo>
                      <a:pt x="142" y="6"/>
                      <a:pt x="142" y="6"/>
                      <a:pt x="142" y="7"/>
                    </a:cubicBezTo>
                    <a:cubicBezTo>
                      <a:pt x="142" y="7"/>
                      <a:pt x="141" y="7"/>
                      <a:pt x="141" y="8"/>
                    </a:cubicBezTo>
                    <a:cubicBezTo>
                      <a:pt x="141" y="8"/>
                      <a:pt x="140" y="8"/>
                      <a:pt x="140" y="8"/>
                    </a:cubicBezTo>
                    <a:cubicBezTo>
                      <a:pt x="140" y="9"/>
                      <a:pt x="140" y="9"/>
                      <a:pt x="140" y="9"/>
                    </a:cubicBezTo>
                    <a:cubicBezTo>
                      <a:pt x="140" y="10"/>
                      <a:pt x="139" y="10"/>
                      <a:pt x="139" y="10"/>
                    </a:cubicBezTo>
                    <a:cubicBezTo>
                      <a:pt x="138" y="10"/>
                      <a:pt x="138" y="11"/>
                      <a:pt x="138" y="11"/>
                    </a:cubicBezTo>
                    <a:cubicBezTo>
                      <a:pt x="137" y="12"/>
                      <a:pt x="137" y="12"/>
                      <a:pt x="136" y="13"/>
                    </a:cubicBezTo>
                    <a:cubicBezTo>
                      <a:pt x="137" y="13"/>
                      <a:pt x="137" y="13"/>
                      <a:pt x="137" y="14"/>
                    </a:cubicBezTo>
                    <a:cubicBezTo>
                      <a:pt x="137" y="14"/>
                      <a:pt x="138" y="15"/>
                      <a:pt x="138" y="16"/>
                    </a:cubicBezTo>
                    <a:cubicBezTo>
                      <a:pt x="137" y="16"/>
                      <a:pt x="137" y="16"/>
                      <a:pt x="137" y="17"/>
                    </a:cubicBezTo>
                    <a:cubicBezTo>
                      <a:pt x="136" y="17"/>
                      <a:pt x="137" y="17"/>
                      <a:pt x="137" y="17"/>
                    </a:cubicBezTo>
                    <a:cubicBezTo>
                      <a:pt x="137" y="18"/>
                      <a:pt x="137" y="18"/>
                      <a:pt x="136" y="18"/>
                    </a:cubicBezTo>
                    <a:cubicBezTo>
                      <a:pt x="136" y="18"/>
                      <a:pt x="136" y="19"/>
                      <a:pt x="136" y="19"/>
                    </a:cubicBezTo>
                    <a:cubicBezTo>
                      <a:pt x="135" y="20"/>
                      <a:pt x="135" y="22"/>
                      <a:pt x="136" y="22"/>
                    </a:cubicBezTo>
                    <a:cubicBezTo>
                      <a:pt x="136" y="22"/>
                      <a:pt x="135" y="21"/>
                      <a:pt x="136" y="21"/>
                    </a:cubicBezTo>
                    <a:cubicBezTo>
                      <a:pt x="136" y="21"/>
                      <a:pt x="136" y="22"/>
                      <a:pt x="137" y="22"/>
                    </a:cubicBezTo>
                    <a:cubicBezTo>
                      <a:pt x="137" y="22"/>
                      <a:pt x="137" y="21"/>
                      <a:pt x="138" y="20"/>
                    </a:cubicBezTo>
                    <a:cubicBezTo>
                      <a:pt x="138" y="20"/>
                      <a:pt x="138" y="19"/>
                      <a:pt x="139" y="18"/>
                    </a:cubicBezTo>
                    <a:cubicBezTo>
                      <a:pt x="139" y="18"/>
                      <a:pt x="139" y="18"/>
                      <a:pt x="139" y="17"/>
                    </a:cubicBezTo>
                    <a:cubicBezTo>
                      <a:pt x="139" y="17"/>
                      <a:pt x="139" y="17"/>
                      <a:pt x="139" y="17"/>
                    </a:cubicBezTo>
                    <a:cubicBezTo>
                      <a:pt x="138" y="16"/>
                      <a:pt x="140" y="15"/>
                      <a:pt x="141" y="14"/>
                    </a:cubicBezTo>
                    <a:cubicBezTo>
                      <a:pt x="142" y="13"/>
                      <a:pt x="142" y="11"/>
                      <a:pt x="143" y="10"/>
                    </a:cubicBezTo>
                    <a:cubicBezTo>
                      <a:pt x="143" y="9"/>
                      <a:pt x="144" y="8"/>
                      <a:pt x="144" y="8"/>
                    </a:cubicBezTo>
                    <a:cubicBezTo>
                      <a:pt x="144" y="7"/>
                      <a:pt x="144" y="6"/>
                      <a:pt x="145" y="6"/>
                    </a:cubicBezTo>
                    <a:cubicBezTo>
                      <a:pt x="145" y="5"/>
                      <a:pt x="147" y="3"/>
                      <a:pt x="147" y="5"/>
                    </a:cubicBezTo>
                    <a:cubicBezTo>
                      <a:pt x="148" y="6"/>
                      <a:pt x="147" y="6"/>
                      <a:pt x="147" y="7"/>
                    </a:cubicBezTo>
                    <a:cubicBezTo>
                      <a:pt x="147" y="7"/>
                      <a:pt x="147" y="7"/>
                      <a:pt x="147" y="8"/>
                    </a:cubicBezTo>
                    <a:cubicBezTo>
                      <a:pt x="147" y="8"/>
                      <a:pt x="147" y="9"/>
                      <a:pt x="147" y="10"/>
                    </a:cubicBezTo>
                    <a:cubicBezTo>
                      <a:pt x="146" y="10"/>
                      <a:pt x="145" y="10"/>
                      <a:pt x="145" y="11"/>
                    </a:cubicBezTo>
                    <a:cubicBezTo>
                      <a:pt x="145" y="11"/>
                      <a:pt x="146" y="10"/>
                      <a:pt x="147" y="10"/>
                    </a:cubicBezTo>
                    <a:cubicBezTo>
                      <a:pt x="147" y="11"/>
                      <a:pt x="147" y="12"/>
                      <a:pt x="147" y="13"/>
                    </a:cubicBezTo>
                    <a:cubicBezTo>
                      <a:pt x="146" y="13"/>
                      <a:pt x="146" y="14"/>
                      <a:pt x="146" y="15"/>
                    </a:cubicBezTo>
                    <a:cubicBezTo>
                      <a:pt x="146" y="15"/>
                      <a:pt x="146" y="16"/>
                      <a:pt x="146" y="16"/>
                    </a:cubicBezTo>
                    <a:cubicBezTo>
                      <a:pt x="146" y="17"/>
                      <a:pt x="146" y="16"/>
                      <a:pt x="146" y="16"/>
                    </a:cubicBezTo>
                    <a:cubicBezTo>
                      <a:pt x="147" y="16"/>
                      <a:pt x="147" y="16"/>
                      <a:pt x="147" y="15"/>
                    </a:cubicBezTo>
                    <a:cubicBezTo>
                      <a:pt x="147" y="15"/>
                      <a:pt x="147" y="15"/>
                      <a:pt x="147" y="15"/>
                    </a:cubicBezTo>
                    <a:cubicBezTo>
                      <a:pt x="147" y="15"/>
                      <a:pt x="147" y="15"/>
                      <a:pt x="148" y="15"/>
                    </a:cubicBezTo>
                    <a:cubicBezTo>
                      <a:pt x="148" y="15"/>
                      <a:pt x="148" y="15"/>
                      <a:pt x="148" y="14"/>
                    </a:cubicBezTo>
                    <a:cubicBezTo>
                      <a:pt x="148" y="14"/>
                      <a:pt x="148" y="14"/>
                      <a:pt x="148" y="14"/>
                    </a:cubicBezTo>
                    <a:cubicBezTo>
                      <a:pt x="149" y="14"/>
                      <a:pt x="149" y="14"/>
                      <a:pt x="150" y="14"/>
                    </a:cubicBezTo>
                    <a:cubicBezTo>
                      <a:pt x="150" y="14"/>
                      <a:pt x="149" y="13"/>
                      <a:pt x="149" y="13"/>
                    </a:cubicBezTo>
                    <a:cubicBezTo>
                      <a:pt x="149" y="12"/>
                      <a:pt x="149" y="11"/>
                      <a:pt x="150" y="11"/>
                    </a:cubicBezTo>
                    <a:cubicBezTo>
                      <a:pt x="150" y="12"/>
                      <a:pt x="151" y="13"/>
                      <a:pt x="151" y="12"/>
                    </a:cubicBezTo>
                    <a:cubicBezTo>
                      <a:pt x="151" y="11"/>
                      <a:pt x="150" y="11"/>
                      <a:pt x="150" y="11"/>
                    </a:cubicBezTo>
                    <a:cubicBezTo>
                      <a:pt x="150" y="11"/>
                      <a:pt x="150" y="10"/>
                      <a:pt x="150" y="10"/>
                    </a:cubicBezTo>
                    <a:cubicBezTo>
                      <a:pt x="150" y="10"/>
                      <a:pt x="150" y="10"/>
                      <a:pt x="150" y="10"/>
                    </a:cubicBezTo>
                    <a:cubicBezTo>
                      <a:pt x="150" y="10"/>
                      <a:pt x="150" y="9"/>
                      <a:pt x="150" y="9"/>
                    </a:cubicBezTo>
                    <a:cubicBezTo>
                      <a:pt x="150" y="9"/>
                      <a:pt x="150" y="9"/>
                      <a:pt x="150" y="9"/>
                    </a:cubicBezTo>
                    <a:cubicBezTo>
                      <a:pt x="151" y="8"/>
                      <a:pt x="151" y="9"/>
                      <a:pt x="151" y="8"/>
                    </a:cubicBezTo>
                    <a:cubicBezTo>
                      <a:pt x="151" y="8"/>
                      <a:pt x="151" y="8"/>
                      <a:pt x="151" y="8"/>
                    </a:cubicBezTo>
                    <a:cubicBezTo>
                      <a:pt x="151" y="7"/>
                      <a:pt x="151" y="7"/>
                      <a:pt x="152" y="7"/>
                    </a:cubicBezTo>
                    <a:cubicBezTo>
                      <a:pt x="152" y="7"/>
                      <a:pt x="153" y="8"/>
                      <a:pt x="153" y="7"/>
                    </a:cubicBezTo>
                    <a:cubicBezTo>
                      <a:pt x="153" y="7"/>
                      <a:pt x="153" y="7"/>
                      <a:pt x="153" y="7"/>
                    </a:cubicBezTo>
                    <a:cubicBezTo>
                      <a:pt x="153" y="7"/>
                      <a:pt x="153" y="7"/>
                      <a:pt x="153" y="7"/>
                    </a:cubicBezTo>
                    <a:cubicBezTo>
                      <a:pt x="153" y="6"/>
                      <a:pt x="152" y="6"/>
                      <a:pt x="152" y="5"/>
                    </a:cubicBezTo>
                    <a:cubicBezTo>
                      <a:pt x="151" y="5"/>
                      <a:pt x="151" y="6"/>
                      <a:pt x="151" y="5"/>
                    </a:cubicBezTo>
                    <a:cubicBezTo>
                      <a:pt x="150" y="5"/>
                      <a:pt x="150" y="5"/>
                      <a:pt x="150" y="4"/>
                    </a:cubicBezTo>
                    <a:cubicBezTo>
                      <a:pt x="150" y="4"/>
                      <a:pt x="152" y="5"/>
                      <a:pt x="151" y="4"/>
                    </a:cubicBezTo>
                    <a:cubicBezTo>
                      <a:pt x="151" y="4"/>
                      <a:pt x="150" y="3"/>
                      <a:pt x="151" y="3"/>
                    </a:cubicBezTo>
                    <a:cubicBezTo>
                      <a:pt x="151" y="3"/>
                      <a:pt x="152" y="3"/>
                      <a:pt x="152" y="3"/>
                    </a:cubicBezTo>
                    <a:cubicBezTo>
                      <a:pt x="152" y="3"/>
                      <a:pt x="152" y="3"/>
                      <a:pt x="152" y="3"/>
                    </a:cubicBezTo>
                    <a:cubicBezTo>
                      <a:pt x="152" y="3"/>
                      <a:pt x="152" y="3"/>
                      <a:pt x="152" y="4"/>
                    </a:cubicBezTo>
                    <a:cubicBezTo>
                      <a:pt x="153" y="4"/>
                      <a:pt x="153" y="4"/>
                      <a:pt x="153" y="4"/>
                    </a:cubicBezTo>
                    <a:cubicBezTo>
                      <a:pt x="153" y="3"/>
                      <a:pt x="153" y="3"/>
                      <a:pt x="153" y="2"/>
                    </a:cubicBezTo>
                    <a:cubicBezTo>
                      <a:pt x="153" y="2"/>
                      <a:pt x="153" y="2"/>
                      <a:pt x="153" y="1"/>
                    </a:cubicBezTo>
                    <a:cubicBezTo>
                      <a:pt x="154" y="1"/>
                      <a:pt x="153" y="1"/>
                      <a:pt x="154" y="1"/>
                    </a:cubicBezTo>
                    <a:cubicBezTo>
                      <a:pt x="154" y="1"/>
                      <a:pt x="154" y="2"/>
                      <a:pt x="154" y="2"/>
                    </a:cubicBezTo>
                    <a:cubicBezTo>
                      <a:pt x="154" y="2"/>
                      <a:pt x="155" y="2"/>
                      <a:pt x="155" y="2"/>
                    </a:cubicBezTo>
                    <a:cubicBezTo>
                      <a:pt x="155" y="2"/>
                      <a:pt x="155" y="2"/>
                      <a:pt x="155" y="2"/>
                    </a:cubicBezTo>
                    <a:cubicBezTo>
                      <a:pt x="155" y="2"/>
                      <a:pt x="156" y="3"/>
                      <a:pt x="156" y="2"/>
                    </a:cubicBezTo>
                    <a:cubicBezTo>
                      <a:pt x="156" y="2"/>
                      <a:pt x="156" y="2"/>
                      <a:pt x="156" y="2"/>
                    </a:cubicBezTo>
                    <a:cubicBezTo>
                      <a:pt x="156" y="2"/>
                      <a:pt x="156" y="2"/>
                      <a:pt x="156" y="2"/>
                    </a:cubicBezTo>
                    <a:cubicBezTo>
                      <a:pt x="157" y="2"/>
                      <a:pt x="157" y="2"/>
                      <a:pt x="157" y="2"/>
                    </a:cubicBezTo>
                    <a:cubicBezTo>
                      <a:pt x="157" y="2"/>
                      <a:pt x="157" y="2"/>
                      <a:pt x="157" y="1"/>
                    </a:cubicBezTo>
                    <a:cubicBezTo>
                      <a:pt x="158" y="2"/>
                      <a:pt x="157" y="3"/>
                      <a:pt x="157" y="3"/>
                    </a:cubicBezTo>
                    <a:cubicBezTo>
                      <a:pt x="158" y="4"/>
                      <a:pt x="158" y="3"/>
                      <a:pt x="159" y="3"/>
                    </a:cubicBezTo>
                    <a:cubicBezTo>
                      <a:pt x="159" y="3"/>
                      <a:pt x="159" y="3"/>
                      <a:pt x="159" y="4"/>
                    </a:cubicBezTo>
                    <a:cubicBezTo>
                      <a:pt x="159" y="5"/>
                      <a:pt x="159" y="5"/>
                      <a:pt x="159" y="5"/>
                    </a:cubicBezTo>
                    <a:cubicBezTo>
                      <a:pt x="159" y="6"/>
                      <a:pt x="159" y="6"/>
                      <a:pt x="158" y="6"/>
                    </a:cubicBezTo>
                    <a:cubicBezTo>
                      <a:pt x="159" y="6"/>
                      <a:pt x="159" y="6"/>
                      <a:pt x="159" y="6"/>
                    </a:cubicBezTo>
                    <a:cubicBezTo>
                      <a:pt x="159" y="7"/>
                      <a:pt x="158" y="7"/>
                      <a:pt x="158" y="7"/>
                    </a:cubicBezTo>
                    <a:cubicBezTo>
                      <a:pt x="157" y="7"/>
                      <a:pt x="157" y="7"/>
                      <a:pt x="157" y="7"/>
                    </a:cubicBezTo>
                    <a:cubicBezTo>
                      <a:pt x="157" y="7"/>
                      <a:pt x="158" y="7"/>
                      <a:pt x="158" y="8"/>
                    </a:cubicBezTo>
                    <a:cubicBezTo>
                      <a:pt x="157" y="9"/>
                      <a:pt x="157" y="8"/>
                      <a:pt x="156" y="7"/>
                    </a:cubicBezTo>
                    <a:cubicBezTo>
                      <a:pt x="156" y="7"/>
                      <a:pt x="156" y="7"/>
                      <a:pt x="155" y="8"/>
                    </a:cubicBezTo>
                    <a:cubicBezTo>
                      <a:pt x="155" y="8"/>
                      <a:pt x="154" y="7"/>
                      <a:pt x="154" y="8"/>
                    </a:cubicBezTo>
                    <a:cubicBezTo>
                      <a:pt x="154" y="8"/>
                      <a:pt x="155" y="8"/>
                      <a:pt x="155" y="8"/>
                    </a:cubicBezTo>
                    <a:cubicBezTo>
                      <a:pt x="155" y="9"/>
                      <a:pt x="156" y="8"/>
                      <a:pt x="156" y="8"/>
                    </a:cubicBezTo>
                    <a:cubicBezTo>
                      <a:pt x="156" y="8"/>
                      <a:pt x="156" y="8"/>
                      <a:pt x="156" y="9"/>
                    </a:cubicBezTo>
                    <a:cubicBezTo>
                      <a:pt x="156" y="9"/>
                      <a:pt x="157" y="8"/>
                      <a:pt x="157" y="9"/>
                    </a:cubicBezTo>
                    <a:cubicBezTo>
                      <a:pt x="157" y="9"/>
                      <a:pt x="156" y="10"/>
                      <a:pt x="156" y="10"/>
                    </a:cubicBezTo>
                    <a:cubicBezTo>
                      <a:pt x="155" y="10"/>
                      <a:pt x="155" y="10"/>
                      <a:pt x="155" y="10"/>
                    </a:cubicBezTo>
                    <a:cubicBezTo>
                      <a:pt x="154" y="11"/>
                      <a:pt x="154" y="11"/>
                      <a:pt x="153" y="11"/>
                    </a:cubicBezTo>
                    <a:cubicBezTo>
                      <a:pt x="154" y="12"/>
                      <a:pt x="157" y="9"/>
                      <a:pt x="158" y="9"/>
                    </a:cubicBezTo>
                    <a:cubicBezTo>
                      <a:pt x="158" y="11"/>
                      <a:pt x="157" y="12"/>
                      <a:pt x="156" y="13"/>
                    </a:cubicBezTo>
                    <a:cubicBezTo>
                      <a:pt x="155" y="13"/>
                      <a:pt x="155" y="14"/>
                      <a:pt x="155" y="14"/>
                    </a:cubicBezTo>
                    <a:cubicBezTo>
                      <a:pt x="156" y="14"/>
                      <a:pt x="156" y="13"/>
                      <a:pt x="156" y="14"/>
                    </a:cubicBezTo>
                    <a:cubicBezTo>
                      <a:pt x="157" y="15"/>
                      <a:pt x="157" y="14"/>
                      <a:pt x="158" y="13"/>
                    </a:cubicBezTo>
                    <a:cubicBezTo>
                      <a:pt x="158" y="14"/>
                      <a:pt x="158" y="14"/>
                      <a:pt x="158" y="14"/>
                    </a:cubicBezTo>
                    <a:cubicBezTo>
                      <a:pt x="157" y="14"/>
                      <a:pt x="157" y="15"/>
                      <a:pt x="157" y="15"/>
                    </a:cubicBezTo>
                    <a:cubicBezTo>
                      <a:pt x="157" y="16"/>
                      <a:pt x="157" y="17"/>
                      <a:pt x="157" y="18"/>
                    </a:cubicBezTo>
                    <a:cubicBezTo>
                      <a:pt x="157" y="18"/>
                      <a:pt x="157" y="19"/>
                      <a:pt x="157" y="20"/>
                    </a:cubicBezTo>
                    <a:cubicBezTo>
                      <a:pt x="157" y="20"/>
                      <a:pt x="156" y="21"/>
                      <a:pt x="157" y="22"/>
                    </a:cubicBezTo>
                    <a:cubicBezTo>
                      <a:pt x="158" y="22"/>
                      <a:pt x="157" y="19"/>
                      <a:pt x="157" y="18"/>
                    </a:cubicBezTo>
                    <a:cubicBezTo>
                      <a:pt x="157" y="17"/>
                      <a:pt x="158" y="16"/>
                      <a:pt x="158" y="16"/>
                    </a:cubicBezTo>
                    <a:cubicBezTo>
                      <a:pt x="158" y="15"/>
                      <a:pt x="158" y="14"/>
                      <a:pt x="159" y="14"/>
                    </a:cubicBezTo>
                    <a:cubicBezTo>
                      <a:pt x="159" y="14"/>
                      <a:pt x="159" y="14"/>
                      <a:pt x="159" y="15"/>
                    </a:cubicBezTo>
                    <a:cubicBezTo>
                      <a:pt x="159" y="14"/>
                      <a:pt x="159" y="14"/>
                      <a:pt x="159" y="14"/>
                    </a:cubicBezTo>
                    <a:cubicBezTo>
                      <a:pt x="159" y="13"/>
                      <a:pt x="159" y="13"/>
                      <a:pt x="159" y="13"/>
                    </a:cubicBezTo>
                    <a:cubicBezTo>
                      <a:pt x="159" y="12"/>
                      <a:pt x="159" y="12"/>
                      <a:pt x="159" y="12"/>
                    </a:cubicBezTo>
                    <a:cubicBezTo>
                      <a:pt x="159" y="11"/>
                      <a:pt x="159" y="11"/>
                      <a:pt x="159" y="10"/>
                    </a:cubicBezTo>
                    <a:cubicBezTo>
                      <a:pt x="160" y="10"/>
                      <a:pt x="160" y="10"/>
                      <a:pt x="160" y="10"/>
                    </a:cubicBezTo>
                    <a:cubicBezTo>
                      <a:pt x="160" y="9"/>
                      <a:pt x="160" y="9"/>
                      <a:pt x="160" y="9"/>
                    </a:cubicBezTo>
                    <a:cubicBezTo>
                      <a:pt x="160" y="8"/>
                      <a:pt x="160" y="7"/>
                      <a:pt x="161" y="6"/>
                    </a:cubicBezTo>
                    <a:cubicBezTo>
                      <a:pt x="161" y="6"/>
                      <a:pt x="162" y="6"/>
                      <a:pt x="163" y="6"/>
                    </a:cubicBezTo>
                    <a:cubicBezTo>
                      <a:pt x="163" y="6"/>
                      <a:pt x="163" y="6"/>
                      <a:pt x="163" y="6"/>
                    </a:cubicBezTo>
                    <a:cubicBezTo>
                      <a:pt x="163" y="6"/>
                      <a:pt x="163" y="6"/>
                      <a:pt x="163" y="6"/>
                    </a:cubicBezTo>
                    <a:cubicBezTo>
                      <a:pt x="163" y="6"/>
                      <a:pt x="164" y="6"/>
                      <a:pt x="164" y="6"/>
                    </a:cubicBezTo>
                    <a:cubicBezTo>
                      <a:pt x="164" y="7"/>
                      <a:pt x="164" y="7"/>
                      <a:pt x="164" y="7"/>
                    </a:cubicBezTo>
                    <a:cubicBezTo>
                      <a:pt x="165" y="7"/>
                      <a:pt x="165" y="7"/>
                      <a:pt x="165" y="8"/>
                    </a:cubicBezTo>
                    <a:cubicBezTo>
                      <a:pt x="165" y="8"/>
                      <a:pt x="164" y="9"/>
                      <a:pt x="165" y="9"/>
                    </a:cubicBezTo>
                    <a:cubicBezTo>
                      <a:pt x="165" y="9"/>
                      <a:pt x="164" y="10"/>
                      <a:pt x="165" y="10"/>
                    </a:cubicBezTo>
                    <a:cubicBezTo>
                      <a:pt x="165" y="10"/>
                      <a:pt x="165" y="10"/>
                      <a:pt x="165" y="10"/>
                    </a:cubicBezTo>
                    <a:cubicBezTo>
                      <a:pt x="166" y="9"/>
                      <a:pt x="166" y="9"/>
                      <a:pt x="166" y="9"/>
                    </a:cubicBezTo>
                    <a:cubicBezTo>
                      <a:pt x="167" y="9"/>
                      <a:pt x="167" y="9"/>
                      <a:pt x="167" y="9"/>
                    </a:cubicBezTo>
                    <a:cubicBezTo>
                      <a:pt x="168" y="9"/>
                      <a:pt x="167" y="9"/>
                      <a:pt x="168" y="9"/>
                    </a:cubicBezTo>
                    <a:cubicBezTo>
                      <a:pt x="168" y="9"/>
                      <a:pt x="167" y="10"/>
                      <a:pt x="167" y="11"/>
                    </a:cubicBezTo>
                    <a:cubicBezTo>
                      <a:pt x="168" y="11"/>
                      <a:pt x="168" y="10"/>
                      <a:pt x="169" y="9"/>
                    </a:cubicBezTo>
                    <a:cubicBezTo>
                      <a:pt x="170" y="9"/>
                      <a:pt x="170" y="9"/>
                      <a:pt x="171" y="9"/>
                    </a:cubicBezTo>
                    <a:cubicBezTo>
                      <a:pt x="171" y="10"/>
                      <a:pt x="171" y="10"/>
                      <a:pt x="170" y="10"/>
                    </a:cubicBezTo>
                    <a:cubicBezTo>
                      <a:pt x="170" y="11"/>
                      <a:pt x="171" y="11"/>
                      <a:pt x="171" y="11"/>
                    </a:cubicBezTo>
                    <a:cubicBezTo>
                      <a:pt x="171" y="11"/>
                      <a:pt x="172" y="11"/>
                      <a:pt x="172" y="11"/>
                    </a:cubicBezTo>
                    <a:cubicBezTo>
                      <a:pt x="172" y="13"/>
                      <a:pt x="170" y="12"/>
                      <a:pt x="170" y="13"/>
                    </a:cubicBezTo>
                    <a:cubicBezTo>
                      <a:pt x="170" y="13"/>
                      <a:pt x="171" y="13"/>
                      <a:pt x="172" y="13"/>
                    </a:cubicBezTo>
                    <a:cubicBezTo>
                      <a:pt x="172" y="13"/>
                      <a:pt x="173" y="12"/>
                      <a:pt x="173" y="13"/>
                    </a:cubicBezTo>
                    <a:cubicBezTo>
                      <a:pt x="173" y="13"/>
                      <a:pt x="173" y="13"/>
                      <a:pt x="173" y="13"/>
                    </a:cubicBezTo>
                    <a:cubicBezTo>
                      <a:pt x="174" y="14"/>
                      <a:pt x="174" y="14"/>
                      <a:pt x="174" y="14"/>
                    </a:cubicBezTo>
                    <a:cubicBezTo>
                      <a:pt x="174" y="14"/>
                      <a:pt x="174" y="15"/>
                      <a:pt x="175" y="15"/>
                    </a:cubicBezTo>
                    <a:cubicBezTo>
                      <a:pt x="175" y="15"/>
                      <a:pt x="175" y="15"/>
                      <a:pt x="175" y="14"/>
                    </a:cubicBezTo>
                    <a:cubicBezTo>
                      <a:pt x="176" y="14"/>
                      <a:pt x="176" y="15"/>
                      <a:pt x="176" y="15"/>
                    </a:cubicBezTo>
                    <a:cubicBezTo>
                      <a:pt x="176" y="16"/>
                      <a:pt x="176" y="16"/>
                      <a:pt x="176" y="17"/>
                    </a:cubicBezTo>
                    <a:cubicBezTo>
                      <a:pt x="176" y="17"/>
                      <a:pt x="177" y="17"/>
                      <a:pt x="176" y="17"/>
                    </a:cubicBezTo>
                    <a:cubicBezTo>
                      <a:pt x="176" y="18"/>
                      <a:pt x="176" y="18"/>
                      <a:pt x="175" y="18"/>
                    </a:cubicBezTo>
                    <a:cubicBezTo>
                      <a:pt x="175" y="18"/>
                      <a:pt x="174" y="18"/>
                      <a:pt x="173" y="18"/>
                    </a:cubicBezTo>
                    <a:cubicBezTo>
                      <a:pt x="173" y="18"/>
                      <a:pt x="173" y="19"/>
                      <a:pt x="173" y="19"/>
                    </a:cubicBezTo>
                    <a:cubicBezTo>
                      <a:pt x="173" y="19"/>
                      <a:pt x="173" y="19"/>
                      <a:pt x="173" y="19"/>
                    </a:cubicBezTo>
                    <a:cubicBezTo>
                      <a:pt x="172" y="20"/>
                      <a:pt x="172" y="19"/>
                      <a:pt x="172" y="20"/>
                    </a:cubicBezTo>
                    <a:cubicBezTo>
                      <a:pt x="172" y="20"/>
                      <a:pt x="172" y="21"/>
                      <a:pt x="172" y="21"/>
                    </a:cubicBezTo>
                    <a:cubicBezTo>
                      <a:pt x="171" y="21"/>
                      <a:pt x="171" y="21"/>
                      <a:pt x="171" y="22"/>
                    </a:cubicBezTo>
                    <a:cubicBezTo>
                      <a:pt x="170" y="22"/>
                      <a:pt x="170" y="22"/>
                      <a:pt x="169" y="22"/>
                    </a:cubicBezTo>
                    <a:cubicBezTo>
                      <a:pt x="168" y="22"/>
                      <a:pt x="166" y="21"/>
                      <a:pt x="165" y="21"/>
                    </a:cubicBezTo>
                    <a:cubicBezTo>
                      <a:pt x="164" y="21"/>
                      <a:pt x="163" y="21"/>
                      <a:pt x="161" y="20"/>
                    </a:cubicBezTo>
                    <a:cubicBezTo>
                      <a:pt x="161" y="20"/>
                      <a:pt x="160" y="20"/>
                      <a:pt x="160" y="20"/>
                    </a:cubicBezTo>
                    <a:cubicBezTo>
                      <a:pt x="159" y="20"/>
                      <a:pt x="161" y="20"/>
                      <a:pt x="161" y="21"/>
                    </a:cubicBezTo>
                    <a:cubicBezTo>
                      <a:pt x="161" y="21"/>
                      <a:pt x="160" y="21"/>
                      <a:pt x="160" y="21"/>
                    </a:cubicBezTo>
                    <a:cubicBezTo>
                      <a:pt x="160" y="22"/>
                      <a:pt x="161" y="21"/>
                      <a:pt x="161" y="21"/>
                    </a:cubicBezTo>
                    <a:cubicBezTo>
                      <a:pt x="162" y="22"/>
                      <a:pt x="161" y="22"/>
                      <a:pt x="162" y="22"/>
                    </a:cubicBezTo>
                    <a:cubicBezTo>
                      <a:pt x="162" y="22"/>
                      <a:pt x="162" y="22"/>
                      <a:pt x="162" y="22"/>
                    </a:cubicBezTo>
                    <a:cubicBezTo>
                      <a:pt x="163" y="22"/>
                      <a:pt x="164" y="22"/>
                      <a:pt x="164" y="23"/>
                    </a:cubicBezTo>
                    <a:cubicBezTo>
                      <a:pt x="164" y="23"/>
                      <a:pt x="164" y="23"/>
                      <a:pt x="165" y="23"/>
                    </a:cubicBezTo>
                    <a:cubicBezTo>
                      <a:pt x="165" y="23"/>
                      <a:pt x="166" y="23"/>
                      <a:pt x="166" y="24"/>
                    </a:cubicBezTo>
                    <a:cubicBezTo>
                      <a:pt x="167" y="24"/>
                      <a:pt x="168" y="24"/>
                      <a:pt x="166" y="25"/>
                    </a:cubicBezTo>
                    <a:cubicBezTo>
                      <a:pt x="166" y="25"/>
                      <a:pt x="165" y="25"/>
                      <a:pt x="165" y="26"/>
                    </a:cubicBezTo>
                    <a:cubicBezTo>
                      <a:pt x="165" y="27"/>
                      <a:pt x="167" y="25"/>
                      <a:pt x="167" y="25"/>
                    </a:cubicBezTo>
                    <a:cubicBezTo>
                      <a:pt x="167" y="26"/>
                      <a:pt x="167" y="25"/>
                      <a:pt x="167" y="25"/>
                    </a:cubicBezTo>
                    <a:cubicBezTo>
                      <a:pt x="168" y="26"/>
                      <a:pt x="168" y="27"/>
                      <a:pt x="167" y="28"/>
                    </a:cubicBezTo>
                    <a:cubicBezTo>
                      <a:pt x="167" y="28"/>
                      <a:pt x="167" y="28"/>
                      <a:pt x="167" y="29"/>
                    </a:cubicBezTo>
                    <a:cubicBezTo>
                      <a:pt x="167" y="29"/>
                      <a:pt x="166" y="29"/>
                      <a:pt x="166" y="30"/>
                    </a:cubicBezTo>
                    <a:cubicBezTo>
                      <a:pt x="167" y="30"/>
                      <a:pt x="167" y="29"/>
                      <a:pt x="167" y="29"/>
                    </a:cubicBezTo>
                    <a:cubicBezTo>
                      <a:pt x="168" y="29"/>
                      <a:pt x="168" y="29"/>
                      <a:pt x="168" y="29"/>
                    </a:cubicBezTo>
                    <a:cubicBezTo>
                      <a:pt x="169" y="29"/>
                      <a:pt x="169" y="28"/>
                      <a:pt x="169" y="28"/>
                    </a:cubicBezTo>
                    <a:cubicBezTo>
                      <a:pt x="170" y="29"/>
                      <a:pt x="169" y="29"/>
                      <a:pt x="169" y="29"/>
                    </a:cubicBezTo>
                    <a:cubicBezTo>
                      <a:pt x="170" y="29"/>
                      <a:pt x="170" y="29"/>
                      <a:pt x="170" y="29"/>
                    </a:cubicBezTo>
                    <a:cubicBezTo>
                      <a:pt x="170" y="29"/>
                      <a:pt x="170" y="30"/>
                      <a:pt x="171" y="29"/>
                    </a:cubicBezTo>
                    <a:cubicBezTo>
                      <a:pt x="171" y="29"/>
                      <a:pt x="170" y="29"/>
                      <a:pt x="170" y="28"/>
                    </a:cubicBezTo>
                    <a:cubicBezTo>
                      <a:pt x="170" y="28"/>
                      <a:pt x="171" y="28"/>
                      <a:pt x="171" y="28"/>
                    </a:cubicBezTo>
                    <a:cubicBezTo>
                      <a:pt x="171" y="28"/>
                      <a:pt x="171" y="27"/>
                      <a:pt x="171" y="27"/>
                    </a:cubicBezTo>
                    <a:cubicBezTo>
                      <a:pt x="171" y="27"/>
                      <a:pt x="171" y="26"/>
                      <a:pt x="171" y="26"/>
                    </a:cubicBezTo>
                    <a:cubicBezTo>
                      <a:pt x="171" y="26"/>
                      <a:pt x="171" y="26"/>
                      <a:pt x="171" y="26"/>
                    </a:cubicBezTo>
                    <a:cubicBezTo>
                      <a:pt x="172" y="26"/>
                      <a:pt x="171" y="26"/>
                      <a:pt x="171" y="27"/>
                    </a:cubicBezTo>
                    <a:cubicBezTo>
                      <a:pt x="171" y="27"/>
                      <a:pt x="171" y="27"/>
                      <a:pt x="171" y="27"/>
                    </a:cubicBezTo>
                    <a:cubicBezTo>
                      <a:pt x="171" y="27"/>
                      <a:pt x="172" y="27"/>
                      <a:pt x="172" y="27"/>
                    </a:cubicBezTo>
                    <a:cubicBezTo>
                      <a:pt x="172" y="28"/>
                      <a:pt x="172" y="28"/>
                      <a:pt x="172" y="29"/>
                    </a:cubicBezTo>
                    <a:cubicBezTo>
                      <a:pt x="172" y="30"/>
                      <a:pt x="172" y="30"/>
                      <a:pt x="173" y="29"/>
                    </a:cubicBezTo>
                    <a:cubicBezTo>
                      <a:pt x="173" y="29"/>
                      <a:pt x="172" y="28"/>
                      <a:pt x="173" y="27"/>
                    </a:cubicBezTo>
                    <a:cubicBezTo>
                      <a:pt x="174" y="27"/>
                      <a:pt x="174" y="27"/>
                      <a:pt x="174" y="28"/>
                    </a:cubicBezTo>
                    <a:cubicBezTo>
                      <a:pt x="174" y="28"/>
                      <a:pt x="175" y="27"/>
                      <a:pt x="175" y="27"/>
                    </a:cubicBezTo>
                    <a:cubicBezTo>
                      <a:pt x="175" y="28"/>
                      <a:pt x="175" y="29"/>
                      <a:pt x="176" y="30"/>
                    </a:cubicBezTo>
                    <a:cubicBezTo>
                      <a:pt x="176" y="31"/>
                      <a:pt x="176" y="32"/>
                      <a:pt x="175" y="33"/>
                    </a:cubicBezTo>
                    <a:cubicBezTo>
                      <a:pt x="175" y="33"/>
                      <a:pt x="174" y="33"/>
                      <a:pt x="173" y="33"/>
                    </a:cubicBezTo>
                    <a:cubicBezTo>
                      <a:pt x="172" y="32"/>
                      <a:pt x="173" y="32"/>
                      <a:pt x="172" y="31"/>
                    </a:cubicBezTo>
                    <a:cubicBezTo>
                      <a:pt x="172" y="31"/>
                      <a:pt x="171" y="30"/>
                      <a:pt x="171" y="30"/>
                    </a:cubicBezTo>
                    <a:cubicBezTo>
                      <a:pt x="170" y="30"/>
                      <a:pt x="171" y="31"/>
                      <a:pt x="171" y="32"/>
                    </a:cubicBezTo>
                    <a:cubicBezTo>
                      <a:pt x="171" y="32"/>
                      <a:pt x="171" y="34"/>
                      <a:pt x="170" y="34"/>
                    </a:cubicBezTo>
                    <a:cubicBezTo>
                      <a:pt x="170" y="35"/>
                      <a:pt x="169" y="36"/>
                      <a:pt x="169" y="36"/>
                    </a:cubicBezTo>
                    <a:cubicBezTo>
                      <a:pt x="168" y="36"/>
                      <a:pt x="168" y="36"/>
                      <a:pt x="167" y="36"/>
                    </a:cubicBezTo>
                    <a:cubicBezTo>
                      <a:pt x="167" y="37"/>
                      <a:pt x="167" y="37"/>
                      <a:pt x="167" y="37"/>
                    </a:cubicBezTo>
                    <a:cubicBezTo>
                      <a:pt x="166" y="37"/>
                      <a:pt x="166" y="37"/>
                      <a:pt x="165" y="37"/>
                    </a:cubicBezTo>
                    <a:cubicBezTo>
                      <a:pt x="164" y="38"/>
                      <a:pt x="165" y="39"/>
                      <a:pt x="164" y="40"/>
                    </a:cubicBezTo>
                    <a:cubicBezTo>
                      <a:pt x="164" y="42"/>
                      <a:pt x="162" y="43"/>
                      <a:pt x="161" y="41"/>
                    </a:cubicBezTo>
                    <a:cubicBezTo>
                      <a:pt x="161" y="40"/>
                      <a:pt x="162" y="38"/>
                      <a:pt x="163" y="37"/>
                    </a:cubicBezTo>
                    <a:cubicBezTo>
                      <a:pt x="163" y="37"/>
                      <a:pt x="164" y="36"/>
                      <a:pt x="164" y="35"/>
                    </a:cubicBezTo>
                    <a:cubicBezTo>
                      <a:pt x="165" y="34"/>
                      <a:pt x="165" y="33"/>
                      <a:pt x="164" y="33"/>
                    </a:cubicBezTo>
                    <a:cubicBezTo>
                      <a:pt x="164" y="32"/>
                      <a:pt x="164" y="31"/>
                      <a:pt x="164" y="30"/>
                    </a:cubicBezTo>
                    <a:cubicBezTo>
                      <a:pt x="163" y="30"/>
                      <a:pt x="162" y="29"/>
                      <a:pt x="162" y="29"/>
                    </a:cubicBezTo>
                    <a:cubicBezTo>
                      <a:pt x="161" y="28"/>
                      <a:pt x="160" y="28"/>
                      <a:pt x="159" y="27"/>
                    </a:cubicBezTo>
                    <a:cubicBezTo>
                      <a:pt x="159" y="27"/>
                      <a:pt x="159" y="27"/>
                      <a:pt x="158" y="27"/>
                    </a:cubicBezTo>
                    <a:cubicBezTo>
                      <a:pt x="158" y="26"/>
                      <a:pt x="158" y="26"/>
                      <a:pt x="158" y="26"/>
                    </a:cubicBezTo>
                    <a:cubicBezTo>
                      <a:pt x="157" y="25"/>
                      <a:pt x="157" y="25"/>
                      <a:pt x="156" y="24"/>
                    </a:cubicBezTo>
                    <a:cubicBezTo>
                      <a:pt x="156" y="24"/>
                      <a:pt x="156" y="24"/>
                      <a:pt x="156" y="23"/>
                    </a:cubicBezTo>
                    <a:cubicBezTo>
                      <a:pt x="155" y="23"/>
                      <a:pt x="155" y="22"/>
                      <a:pt x="155" y="22"/>
                    </a:cubicBezTo>
                    <a:cubicBezTo>
                      <a:pt x="154" y="22"/>
                      <a:pt x="154" y="22"/>
                      <a:pt x="153" y="22"/>
                    </a:cubicBezTo>
                    <a:cubicBezTo>
                      <a:pt x="153" y="23"/>
                      <a:pt x="152" y="23"/>
                      <a:pt x="152" y="24"/>
                    </a:cubicBezTo>
                    <a:cubicBezTo>
                      <a:pt x="151" y="25"/>
                      <a:pt x="151" y="25"/>
                      <a:pt x="150" y="25"/>
                    </a:cubicBezTo>
                    <a:cubicBezTo>
                      <a:pt x="149" y="25"/>
                      <a:pt x="149" y="25"/>
                      <a:pt x="148" y="25"/>
                    </a:cubicBezTo>
                    <a:cubicBezTo>
                      <a:pt x="147" y="25"/>
                      <a:pt x="146" y="25"/>
                      <a:pt x="145" y="27"/>
                    </a:cubicBezTo>
                    <a:cubicBezTo>
                      <a:pt x="145" y="27"/>
                      <a:pt x="145" y="28"/>
                      <a:pt x="144" y="28"/>
                    </a:cubicBezTo>
                    <a:cubicBezTo>
                      <a:pt x="144" y="29"/>
                      <a:pt x="143" y="29"/>
                      <a:pt x="143" y="29"/>
                    </a:cubicBezTo>
                    <a:cubicBezTo>
                      <a:pt x="142" y="30"/>
                      <a:pt x="142" y="31"/>
                      <a:pt x="142" y="31"/>
                    </a:cubicBezTo>
                    <a:cubicBezTo>
                      <a:pt x="142" y="32"/>
                      <a:pt x="142" y="33"/>
                      <a:pt x="142" y="34"/>
                    </a:cubicBezTo>
                    <a:cubicBezTo>
                      <a:pt x="141" y="35"/>
                      <a:pt x="142" y="35"/>
                      <a:pt x="142" y="36"/>
                    </a:cubicBezTo>
                    <a:cubicBezTo>
                      <a:pt x="141" y="37"/>
                      <a:pt x="141" y="37"/>
                      <a:pt x="141" y="38"/>
                    </a:cubicBezTo>
                    <a:cubicBezTo>
                      <a:pt x="141" y="39"/>
                      <a:pt x="141" y="40"/>
                      <a:pt x="141" y="41"/>
                    </a:cubicBezTo>
                    <a:cubicBezTo>
                      <a:pt x="141" y="41"/>
                      <a:pt x="141" y="41"/>
                      <a:pt x="141" y="42"/>
                    </a:cubicBezTo>
                    <a:cubicBezTo>
                      <a:pt x="141" y="42"/>
                      <a:pt x="141" y="42"/>
                      <a:pt x="141" y="43"/>
                    </a:cubicBezTo>
                    <a:cubicBezTo>
                      <a:pt x="141" y="43"/>
                      <a:pt x="141" y="43"/>
                      <a:pt x="141" y="44"/>
                    </a:cubicBezTo>
                    <a:cubicBezTo>
                      <a:pt x="141" y="44"/>
                      <a:pt x="141" y="44"/>
                      <a:pt x="140" y="44"/>
                    </a:cubicBezTo>
                    <a:cubicBezTo>
                      <a:pt x="140" y="45"/>
                      <a:pt x="139" y="45"/>
                      <a:pt x="139" y="45"/>
                    </a:cubicBezTo>
                    <a:cubicBezTo>
                      <a:pt x="138" y="45"/>
                      <a:pt x="137" y="46"/>
                      <a:pt x="137" y="48"/>
                    </a:cubicBezTo>
                    <a:cubicBezTo>
                      <a:pt x="137" y="48"/>
                      <a:pt x="137" y="49"/>
                      <a:pt x="136" y="49"/>
                    </a:cubicBezTo>
                    <a:cubicBezTo>
                      <a:pt x="136" y="50"/>
                      <a:pt x="136" y="50"/>
                      <a:pt x="136" y="50"/>
                    </a:cubicBezTo>
                    <a:cubicBezTo>
                      <a:pt x="136" y="50"/>
                      <a:pt x="136" y="50"/>
                      <a:pt x="135" y="50"/>
                    </a:cubicBezTo>
                    <a:cubicBezTo>
                      <a:pt x="135" y="51"/>
                      <a:pt x="135" y="51"/>
                      <a:pt x="135" y="50"/>
                    </a:cubicBezTo>
                    <a:cubicBezTo>
                      <a:pt x="134" y="50"/>
                      <a:pt x="134" y="50"/>
                      <a:pt x="133" y="49"/>
                    </a:cubicBezTo>
                    <a:cubicBezTo>
                      <a:pt x="133" y="49"/>
                      <a:pt x="132" y="49"/>
                      <a:pt x="132" y="48"/>
                    </a:cubicBezTo>
                    <a:cubicBezTo>
                      <a:pt x="131" y="48"/>
                      <a:pt x="131" y="48"/>
                      <a:pt x="130" y="47"/>
                    </a:cubicBezTo>
                    <a:cubicBezTo>
                      <a:pt x="130" y="47"/>
                      <a:pt x="129" y="47"/>
                      <a:pt x="128" y="47"/>
                    </a:cubicBezTo>
                    <a:cubicBezTo>
                      <a:pt x="128" y="47"/>
                      <a:pt x="128" y="47"/>
                      <a:pt x="127" y="47"/>
                    </a:cubicBezTo>
                    <a:cubicBezTo>
                      <a:pt x="127" y="48"/>
                      <a:pt x="127" y="48"/>
                      <a:pt x="126" y="49"/>
                    </a:cubicBezTo>
                    <a:cubicBezTo>
                      <a:pt x="125" y="49"/>
                      <a:pt x="125" y="49"/>
                      <a:pt x="124" y="49"/>
                    </a:cubicBezTo>
                    <a:cubicBezTo>
                      <a:pt x="124" y="50"/>
                      <a:pt x="123" y="50"/>
                      <a:pt x="123" y="49"/>
                    </a:cubicBezTo>
                    <a:cubicBezTo>
                      <a:pt x="122" y="49"/>
                      <a:pt x="122" y="49"/>
                      <a:pt x="122" y="49"/>
                    </a:cubicBezTo>
                    <a:cubicBezTo>
                      <a:pt x="121" y="49"/>
                      <a:pt x="121" y="49"/>
                      <a:pt x="120" y="48"/>
                    </a:cubicBezTo>
                    <a:cubicBezTo>
                      <a:pt x="119" y="48"/>
                      <a:pt x="119" y="48"/>
                      <a:pt x="118" y="48"/>
                    </a:cubicBezTo>
                    <a:cubicBezTo>
                      <a:pt x="118" y="47"/>
                      <a:pt x="118" y="46"/>
                      <a:pt x="117" y="45"/>
                    </a:cubicBezTo>
                    <a:cubicBezTo>
                      <a:pt x="117" y="44"/>
                      <a:pt x="117" y="44"/>
                      <a:pt x="117" y="43"/>
                    </a:cubicBezTo>
                    <a:cubicBezTo>
                      <a:pt x="116" y="43"/>
                      <a:pt x="116" y="43"/>
                      <a:pt x="116" y="42"/>
                    </a:cubicBezTo>
                    <a:cubicBezTo>
                      <a:pt x="115" y="41"/>
                      <a:pt x="114" y="40"/>
                      <a:pt x="114" y="39"/>
                    </a:cubicBezTo>
                    <a:cubicBezTo>
                      <a:pt x="113" y="39"/>
                      <a:pt x="113" y="38"/>
                      <a:pt x="113" y="38"/>
                    </a:cubicBezTo>
                    <a:cubicBezTo>
                      <a:pt x="113" y="38"/>
                      <a:pt x="112" y="38"/>
                      <a:pt x="112" y="38"/>
                    </a:cubicBezTo>
                    <a:cubicBezTo>
                      <a:pt x="112" y="37"/>
                      <a:pt x="111" y="37"/>
                      <a:pt x="111" y="37"/>
                    </a:cubicBezTo>
                    <a:cubicBezTo>
                      <a:pt x="110" y="38"/>
                      <a:pt x="110" y="38"/>
                      <a:pt x="109" y="39"/>
                    </a:cubicBezTo>
                    <a:cubicBezTo>
                      <a:pt x="109" y="39"/>
                      <a:pt x="110" y="40"/>
                      <a:pt x="110" y="41"/>
                    </a:cubicBezTo>
                    <a:cubicBezTo>
                      <a:pt x="110" y="42"/>
                      <a:pt x="109" y="42"/>
                      <a:pt x="108" y="41"/>
                    </a:cubicBezTo>
                    <a:cubicBezTo>
                      <a:pt x="108" y="41"/>
                      <a:pt x="107" y="41"/>
                      <a:pt x="107" y="41"/>
                    </a:cubicBezTo>
                    <a:cubicBezTo>
                      <a:pt x="106" y="41"/>
                      <a:pt x="106" y="42"/>
                      <a:pt x="106" y="42"/>
                    </a:cubicBezTo>
                    <a:cubicBezTo>
                      <a:pt x="106" y="42"/>
                      <a:pt x="106" y="42"/>
                      <a:pt x="106" y="42"/>
                    </a:cubicBezTo>
                    <a:close/>
                    <a:moveTo>
                      <a:pt x="21" y="136"/>
                    </a:moveTo>
                    <a:cubicBezTo>
                      <a:pt x="21" y="136"/>
                      <a:pt x="21" y="136"/>
                      <a:pt x="20" y="136"/>
                    </a:cubicBezTo>
                    <a:cubicBezTo>
                      <a:pt x="20" y="136"/>
                      <a:pt x="20" y="136"/>
                      <a:pt x="20" y="137"/>
                    </a:cubicBezTo>
                    <a:cubicBezTo>
                      <a:pt x="20" y="137"/>
                      <a:pt x="20" y="137"/>
                      <a:pt x="20" y="137"/>
                    </a:cubicBezTo>
                    <a:cubicBezTo>
                      <a:pt x="20" y="137"/>
                      <a:pt x="21" y="138"/>
                      <a:pt x="21" y="138"/>
                    </a:cubicBezTo>
                    <a:cubicBezTo>
                      <a:pt x="21" y="138"/>
                      <a:pt x="22" y="138"/>
                      <a:pt x="22" y="137"/>
                    </a:cubicBezTo>
                    <a:cubicBezTo>
                      <a:pt x="22" y="137"/>
                      <a:pt x="22" y="136"/>
                      <a:pt x="22" y="136"/>
                    </a:cubicBezTo>
                    <a:cubicBezTo>
                      <a:pt x="22" y="136"/>
                      <a:pt x="22" y="135"/>
                      <a:pt x="21" y="136"/>
                    </a:cubicBezTo>
                    <a:close/>
                    <a:moveTo>
                      <a:pt x="24" y="134"/>
                    </a:moveTo>
                    <a:cubicBezTo>
                      <a:pt x="24" y="135"/>
                      <a:pt x="22" y="136"/>
                      <a:pt x="23" y="136"/>
                    </a:cubicBezTo>
                    <a:cubicBezTo>
                      <a:pt x="24" y="137"/>
                      <a:pt x="24" y="136"/>
                      <a:pt x="25" y="136"/>
                    </a:cubicBezTo>
                    <a:cubicBezTo>
                      <a:pt x="26" y="136"/>
                      <a:pt x="26" y="136"/>
                      <a:pt x="27" y="135"/>
                    </a:cubicBezTo>
                    <a:cubicBezTo>
                      <a:pt x="27" y="135"/>
                      <a:pt x="28" y="135"/>
                      <a:pt x="29" y="134"/>
                    </a:cubicBezTo>
                    <a:cubicBezTo>
                      <a:pt x="29" y="134"/>
                      <a:pt x="28" y="134"/>
                      <a:pt x="28" y="134"/>
                    </a:cubicBezTo>
                    <a:cubicBezTo>
                      <a:pt x="28" y="133"/>
                      <a:pt x="28" y="133"/>
                      <a:pt x="27" y="133"/>
                    </a:cubicBezTo>
                    <a:cubicBezTo>
                      <a:pt x="27" y="133"/>
                      <a:pt x="25" y="133"/>
                      <a:pt x="25" y="133"/>
                    </a:cubicBezTo>
                    <a:cubicBezTo>
                      <a:pt x="25" y="134"/>
                      <a:pt x="25" y="134"/>
                      <a:pt x="25" y="134"/>
                    </a:cubicBezTo>
                    <a:cubicBezTo>
                      <a:pt x="25" y="135"/>
                      <a:pt x="24" y="134"/>
                      <a:pt x="24" y="134"/>
                    </a:cubicBezTo>
                    <a:cubicBezTo>
                      <a:pt x="24" y="135"/>
                      <a:pt x="24" y="134"/>
                      <a:pt x="24" y="134"/>
                    </a:cubicBezTo>
                    <a:close/>
                    <a:moveTo>
                      <a:pt x="26" y="131"/>
                    </a:moveTo>
                    <a:cubicBezTo>
                      <a:pt x="25" y="132"/>
                      <a:pt x="24" y="132"/>
                      <a:pt x="24" y="132"/>
                    </a:cubicBezTo>
                    <a:cubicBezTo>
                      <a:pt x="23" y="132"/>
                      <a:pt x="23" y="132"/>
                      <a:pt x="23" y="132"/>
                    </a:cubicBezTo>
                    <a:cubicBezTo>
                      <a:pt x="24" y="132"/>
                      <a:pt x="24" y="132"/>
                      <a:pt x="25" y="132"/>
                    </a:cubicBezTo>
                    <a:cubicBezTo>
                      <a:pt x="25" y="132"/>
                      <a:pt x="25" y="132"/>
                      <a:pt x="25" y="132"/>
                    </a:cubicBezTo>
                    <a:cubicBezTo>
                      <a:pt x="27" y="133"/>
                      <a:pt x="26" y="131"/>
                      <a:pt x="27" y="130"/>
                    </a:cubicBezTo>
                    <a:cubicBezTo>
                      <a:pt x="26" y="131"/>
                      <a:pt x="26" y="131"/>
                      <a:pt x="26" y="131"/>
                    </a:cubicBezTo>
                    <a:close/>
                    <a:moveTo>
                      <a:pt x="69" y="62"/>
                    </a:moveTo>
                    <a:cubicBezTo>
                      <a:pt x="69" y="62"/>
                      <a:pt x="69" y="61"/>
                      <a:pt x="68" y="62"/>
                    </a:cubicBezTo>
                    <a:cubicBezTo>
                      <a:pt x="68" y="62"/>
                      <a:pt x="68" y="62"/>
                      <a:pt x="68" y="62"/>
                    </a:cubicBezTo>
                    <a:cubicBezTo>
                      <a:pt x="69" y="63"/>
                      <a:pt x="70" y="62"/>
                      <a:pt x="69" y="62"/>
                    </a:cubicBezTo>
                    <a:moveTo>
                      <a:pt x="70" y="61"/>
                    </a:moveTo>
                    <a:cubicBezTo>
                      <a:pt x="71" y="61"/>
                      <a:pt x="71" y="61"/>
                      <a:pt x="71" y="60"/>
                    </a:cubicBezTo>
                    <a:cubicBezTo>
                      <a:pt x="72" y="60"/>
                      <a:pt x="72" y="60"/>
                      <a:pt x="73" y="60"/>
                    </a:cubicBezTo>
                    <a:cubicBezTo>
                      <a:pt x="73" y="59"/>
                      <a:pt x="73" y="58"/>
                      <a:pt x="72" y="58"/>
                    </a:cubicBezTo>
                    <a:cubicBezTo>
                      <a:pt x="72" y="59"/>
                      <a:pt x="72" y="59"/>
                      <a:pt x="72" y="59"/>
                    </a:cubicBezTo>
                    <a:cubicBezTo>
                      <a:pt x="72" y="59"/>
                      <a:pt x="72" y="59"/>
                      <a:pt x="71" y="59"/>
                    </a:cubicBezTo>
                    <a:cubicBezTo>
                      <a:pt x="71" y="59"/>
                      <a:pt x="71" y="59"/>
                      <a:pt x="71" y="59"/>
                    </a:cubicBezTo>
                    <a:cubicBezTo>
                      <a:pt x="71" y="59"/>
                      <a:pt x="71" y="60"/>
                      <a:pt x="71" y="60"/>
                    </a:cubicBezTo>
                    <a:cubicBezTo>
                      <a:pt x="70" y="60"/>
                      <a:pt x="70" y="61"/>
                      <a:pt x="70" y="61"/>
                    </a:cubicBezTo>
                    <a:cubicBezTo>
                      <a:pt x="71" y="61"/>
                      <a:pt x="70" y="61"/>
                      <a:pt x="70" y="61"/>
                    </a:cubicBezTo>
                    <a:close/>
                    <a:moveTo>
                      <a:pt x="73" y="60"/>
                    </a:moveTo>
                    <a:cubicBezTo>
                      <a:pt x="73" y="60"/>
                      <a:pt x="72" y="61"/>
                      <a:pt x="73" y="61"/>
                    </a:cubicBezTo>
                    <a:cubicBezTo>
                      <a:pt x="73" y="61"/>
                      <a:pt x="74" y="61"/>
                      <a:pt x="74" y="60"/>
                    </a:cubicBezTo>
                    <a:cubicBezTo>
                      <a:pt x="74" y="60"/>
                      <a:pt x="74" y="60"/>
                      <a:pt x="74" y="60"/>
                    </a:cubicBezTo>
                    <a:cubicBezTo>
                      <a:pt x="74" y="61"/>
                      <a:pt x="75" y="61"/>
                      <a:pt x="75" y="60"/>
                    </a:cubicBezTo>
                    <a:cubicBezTo>
                      <a:pt x="76" y="60"/>
                      <a:pt x="76" y="60"/>
                      <a:pt x="76" y="59"/>
                    </a:cubicBezTo>
                    <a:cubicBezTo>
                      <a:pt x="76" y="59"/>
                      <a:pt x="76" y="59"/>
                      <a:pt x="75" y="58"/>
                    </a:cubicBezTo>
                    <a:cubicBezTo>
                      <a:pt x="75" y="58"/>
                      <a:pt x="75" y="58"/>
                      <a:pt x="75" y="57"/>
                    </a:cubicBezTo>
                    <a:cubicBezTo>
                      <a:pt x="75" y="57"/>
                      <a:pt x="75" y="57"/>
                      <a:pt x="75" y="57"/>
                    </a:cubicBezTo>
                    <a:cubicBezTo>
                      <a:pt x="74" y="57"/>
                      <a:pt x="75" y="57"/>
                      <a:pt x="74" y="58"/>
                    </a:cubicBezTo>
                    <a:cubicBezTo>
                      <a:pt x="74" y="58"/>
                      <a:pt x="74" y="58"/>
                      <a:pt x="74" y="58"/>
                    </a:cubicBezTo>
                    <a:cubicBezTo>
                      <a:pt x="74" y="58"/>
                      <a:pt x="74" y="58"/>
                      <a:pt x="74" y="58"/>
                    </a:cubicBezTo>
                    <a:cubicBezTo>
                      <a:pt x="74" y="59"/>
                      <a:pt x="74" y="59"/>
                      <a:pt x="74" y="59"/>
                    </a:cubicBezTo>
                    <a:cubicBezTo>
                      <a:pt x="74" y="59"/>
                      <a:pt x="74" y="59"/>
                      <a:pt x="74" y="59"/>
                    </a:cubicBezTo>
                    <a:cubicBezTo>
                      <a:pt x="73" y="60"/>
                      <a:pt x="73" y="60"/>
                      <a:pt x="73" y="60"/>
                    </a:cubicBezTo>
                    <a:close/>
                    <a:moveTo>
                      <a:pt x="54" y="63"/>
                    </a:moveTo>
                    <a:cubicBezTo>
                      <a:pt x="53" y="64"/>
                      <a:pt x="54" y="64"/>
                      <a:pt x="55" y="64"/>
                    </a:cubicBezTo>
                    <a:cubicBezTo>
                      <a:pt x="55" y="63"/>
                      <a:pt x="55" y="63"/>
                      <a:pt x="55" y="62"/>
                    </a:cubicBezTo>
                    <a:cubicBezTo>
                      <a:pt x="55" y="62"/>
                      <a:pt x="54" y="62"/>
                      <a:pt x="54" y="62"/>
                    </a:cubicBezTo>
                    <a:cubicBezTo>
                      <a:pt x="54" y="62"/>
                      <a:pt x="54" y="63"/>
                      <a:pt x="54" y="63"/>
                    </a:cubicBezTo>
                    <a:cubicBezTo>
                      <a:pt x="54" y="63"/>
                      <a:pt x="54" y="63"/>
                      <a:pt x="54" y="63"/>
                    </a:cubicBezTo>
                    <a:close/>
                    <a:moveTo>
                      <a:pt x="55" y="60"/>
                    </a:moveTo>
                    <a:cubicBezTo>
                      <a:pt x="55" y="60"/>
                      <a:pt x="56" y="60"/>
                      <a:pt x="56" y="59"/>
                    </a:cubicBezTo>
                    <a:cubicBezTo>
                      <a:pt x="55" y="59"/>
                      <a:pt x="55" y="60"/>
                      <a:pt x="55" y="60"/>
                    </a:cubicBezTo>
                    <a:cubicBezTo>
                      <a:pt x="55" y="61"/>
                      <a:pt x="55" y="62"/>
                      <a:pt x="55" y="62"/>
                    </a:cubicBezTo>
                    <a:cubicBezTo>
                      <a:pt x="56" y="62"/>
                      <a:pt x="56" y="61"/>
                      <a:pt x="55" y="60"/>
                    </a:cubicBezTo>
                    <a:cubicBezTo>
                      <a:pt x="55" y="60"/>
                      <a:pt x="56" y="61"/>
                      <a:pt x="55" y="60"/>
                    </a:cubicBezTo>
                    <a:close/>
                    <a:moveTo>
                      <a:pt x="56" y="60"/>
                    </a:moveTo>
                    <a:cubicBezTo>
                      <a:pt x="56" y="61"/>
                      <a:pt x="56" y="61"/>
                      <a:pt x="57" y="61"/>
                    </a:cubicBezTo>
                    <a:cubicBezTo>
                      <a:pt x="57" y="61"/>
                      <a:pt x="57" y="61"/>
                      <a:pt x="57" y="60"/>
                    </a:cubicBezTo>
                    <a:cubicBezTo>
                      <a:pt x="58" y="60"/>
                      <a:pt x="58" y="59"/>
                      <a:pt x="58" y="59"/>
                    </a:cubicBezTo>
                    <a:cubicBezTo>
                      <a:pt x="58" y="59"/>
                      <a:pt x="57" y="58"/>
                      <a:pt x="57" y="58"/>
                    </a:cubicBezTo>
                    <a:cubicBezTo>
                      <a:pt x="57" y="59"/>
                      <a:pt x="57" y="60"/>
                      <a:pt x="56" y="60"/>
                    </a:cubicBezTo>
                    <a:cubicBezTo>
                      <a:pt x="56" y="61"/>
                      <a:pt x="56" y="60"/>
                      <a:pt x="56" y="60"/>
                    </a:cubicBezTo>
                    <a:close/>
                    <a:moveTo>
                      <a:pt x="59" y="60"/>
                    </a:moveTo>
                    <a:cubicBezTo>
                      <a:pt x="58" y="59"/>
                      <a:pt x="59" y="60"/>
                      <a:pt x="59" y="60"/>
                    </a:cubicBezTo>
                    <a:cubicBezTo>
                      <a:pt x="59" y="60"/>
                      <a:pt x="59" y="60"/>
                      <a:pt x="60" y="60"/>
                    </a:cubicBezTo>
                    <a:cubicBezTo>
                      <a:pt x="60" y="60"/>
                      <a:pt x="60" y="59"/>
                      <a:pt x="60" y="59"/>
                    </a:cubicBezTo>
                    <a:cubicBezTo>
                      <a:pt x="60" y="60"/>
                      <a:pt x="61" y="59"/>
                      <a:pt x="61" y="59"/>
                    </a:cubicBezTo>
                    <a:cubicBezTo>
                      <a:pt x="61" y="59"/>
                      <a:pt x="61" y="58"/>
                      <a:pt x="61" y="58"/>
                    </a:cubicBezTo>
                    <a:cubicBezTo>
                      <a:pt x="61" y="58"/>
                      <a:pt x="61" y="58"/>
                      <a:pt x="61" y="58"/>
                    </a:cubicBezTo>
                    <a:cubicBezTo>
                      <a:pt x="62" y="58"/>
                      <a:pt x="62" y="57"/>
                      <a:pt x="62" y="57"/>
                    </a:cubicBezTo>
                    <a:cubicBezTo>
                      <a:pt x="63" y="56"/>
                      <a:pt x="62" y="57"/>
                      <a:pt x="62" y="57"/>
                    </a:cubicBezTo>
                    <a:cubicBezTo>
                      <a:pt x="61" y="57"/>
                      <a:pt x="61" y="56"/>
                      <a:pt x="61" y="56"/>
                    </a:cubicBezTo>
                    <a:cubicBezTo>
                      <a:pt x="60" y="56"/>
                      <a:pt x="60" y="56"/>
                      <a:pt x="60" y="56"/>
                    </a:cubicBezTo>
                    <a:cubicBezTo>
                      <a:pt x="60" y="56"/>
                      <a:pt x="59" y="56"/>
                      <a:pt x="59" y="56"/>
                    </a:cubicBezTo>
                    <a:cubicBezTo>
                      <a:pt x="59" y="57"/>
                      <a:pt x="58" y="57"/>
                      <a:pt x="59" y="57"/>
                    </a:cubicBezTo>
                    <a:cubicBezTo>
                      <a:pt x="59" y="57"/>
                      <a:pt x="58" y="57"/>
                      <a:pt x="58" y="58"/>
                    </a:cubicBezTo>
                    <a:cubicBezTo>
                      <a:pt x="58" y="58"/>
                      <a:pt x="58" y="59"/>
                      <a:pt x="59" y="60"/>
                    </a:cubicBezTo>
                    <a:cubicBezTo>
                      <a:pt x="58" y="59"/>
                      <a:pt x="58" y="59"/>
                      <a:pt x="59" y="60"/>
                    </a:cubicBezTo>
                    <a:close/>
                    <a:moveTo>
                      <a:pt x="64" y="57"/>
                    </a:moveTo>
                    <a:cubicBezTo>
                      <a:pt x="64" y="57"/>
                      <a:pt x="63" y="57"/>
                      <a:pt x="63" y="58"/>
                    </a:cubicBezTo>
                    <a:cubicBezTo>
                      <a:pt x="63" y="58"/>
                      <a:pt x="64" y="58"/>
                      <a:pt x="64" y="58"/>
                    </a:cubicBezTo>
                    <a:cubicBezTo>
                      <a:pt x="64" y="58"/>
                      <a:pt x="65" y="57"/>
                      <a:pt x="65" y="57"/>
                    </a:cubicBezTo>
                    <a:cubicBezTo>
                      <a:pt x="66" y="57"/>
                      <a:pt x="66" y="57"/>
                      <a:pt x="66" y="56"/>
                    </a:cubicBezTo>
                    <a:cubicBezTo>
                      <a:pt x="66" y="55"/>
                      <a:pt x="67" y="55"/>
                      <a:pt x="67" y="54"/>
                    </a:cubicBezTo>
                    <a:cubicBezTo>
                      <a:pt x="67" y="54"/>
                      <a:pt x="67" y="53"/>
                      <a:pt x="67" y="53"/>
                    </a:cubicBezTo>
                    <a:cubicBezTo>
                      <a:pt x="66" y="53"/>
                      <a:pt x="66" y="54"/>
                      <a:pt x="66" y="54"/>
                    </a:cubicBezTo>
                    <a:cubicBezTo>
                      <a:pt x="66" y="54"/>
                      <a:pt x="66" y="53"/>
                      <a:pt x="65" y="53"/>
                    </a:cubicBezTo>
                    <a:cubicBezTo>
                      <a:pt x="65" y="54"/>
                      <a:pt x="65" y="54"/>
                      <a:pt x="65" y="55"/>
                    </a:cubicBezTo>
                    <a:cubicBezTo>
                      <a:pt x="65" y="55"/>
                      <a:pt x="64" y="54"/>
                      <a:pt x="64" y="55"/>
                    </a:cubicBezTo>
                    <a:cubicBezTo>
                      <a:pt x="64" y="55"/>
                      <a:pt x="65" y="55"/>
                      <a:pt x="64" y="56"/>
                    </a:cubicBezTo>
                    <a:cubicBezTo>
                      <a:pt x="64" y="56"/>
                      <a:pt x="64" y="55"/>
                      <a:pt x="64" y="56"/>
                    </a:cubicBezTo>
                    <a:cubicBezTo>
                      <a:pt x="63" y="56"/>
                      <a:pt x="64" y="57"/>
                      <a:pt x="64" y="57"/>
                    </a:cubicBezTo>
                    <a:cubicBezTo>
                      <a:pt x="64" y="57"/>
                      <a:pt x="64" y="57"/>
                      <a:pt x="64" y="57"/>
                    </a:cubicBezTo>
                    <a:close/>
                    <a:moveTo>
                      <a:pt x="67" y="56"/>
                    </a:moveTo>
                    <a:cubicBezTo>
                      <a:pt x="67" y="56"/>
                      <a:pt x="68" y="55"/>
                      <a:pt x="68" y="55"/>
                    </a:cubicBezTo>
                    <a:cubicBezTo>
                      <a:pt x="68" y="54"/>
                      <a:pt x="68" y="54"/>
                      <a:pt x="69" y="54"/>
                    </a:cubicBezTo>
                    <a:cubicBezTo>
                      <a:pt x="69" y="53"/>
                      <a:pt x="69" y="53"/>
                      <a:pt x="68" y="53"/>
                    </a:cubicBezTo>
                    <a:cubicBezTo>
                      <a:pt x="67" y="53"/>
                      <a:pt x="68" y="54"/>
                      <a:pt x="67" y="55"/>
                    </a:cubicBezTo>
                    <a:cubicBezTo>
                      <a:pt x="67" y="55"/>
                      <a:pt x="66" y="56"/>
                      <a:pt x="67" y="56"/>
                    </a:cubicBezTo>
                    <a:cubicBezTo>
                      <a:pt x="67" y="56"/>
                      <a:pt x="67" y="56"/>
                      <a:pt x="67" y="56"/>
                    </a:cubicBezTo>
                    <a:cubicBezTo>
                      <a:pt x="67" y="56"/>
                      <a:pt x="67" y="56"/>
                      <a:pt x="67" y="56"/>
                    </a:cubicBezTo>
                    <a:close/>
                    <a:moveTo>
                      <a:pt x="67" y="49"/>
                    </a:moveTo>
                    <a:cubicBezTo>
                      <a:pt x="67" y="49"/>
                      <a:pt x="68" y="49"/>
                      <a:pt x="68" y="48"/>
                    </a:cubicBezTo>
                    <a:cubicBezTo>
                      <a:pt x="68" y="48"/>
                      <a:pt x="68" y="48"/>
                      <a:pt x="69" y="48"/>
                    </a:cubicBezTo>
                    <a:cubicBezTo>
                      <a:pt x="69" y="47"/>
                      <a:pt x="70" y="48"/>
                      <a:pt x="70" y="48"/>
                    </a:cubicBezTo>
                    <a:cubicBezTo>
                      <a:pt x="69" y="48"/>
                      <a:pt x="68" y="49"/>
                      <a:pt x="68" y="49"/>
                    </a:cubicBezTo>
                    <a:cubicBezTo>
                      <a:pt x="67" y="49"/>
                      <a:pt x="67" y="49"/>
                      <a:pt x="67" y="50"/>
                    </a:cubicBezTo>
                    <a:cubicBezTo>
                      <a:pt x="68" y="51"/>
                      <a:pt x="70" y="50"/>
                      <a:pt x="70" y="50"/>
                    </a:cubicBezTo>
                    <a:cubicBezTo>
                      <a:pt x="71" y="49"/>
                      <a:pt x="71" y="49"/>
                      <a:pt x="71" y="48"/>
                    </a:cubicBezTo>
                    <a:cubicBezTo>
                      <a:pt x="71" y="47"/>
                      <a:pt x="70" y="47"/>
                      <a:pt x="70" y="47"/>
                    </a:cubicBezTo>
                    <a:cubicBezTo>
                      <a:pt x="70" y="47"/>
                      <a:pt x="71" y="47"/>
                      <a:pt x="71" y="46"/>
                    </a:cubicBezTo>
                    <a:cubicBezTo>
                      <a:pt x="71" y="46"/>
                      <a:pt x="71" y="46"/>
                      <a:pt x="71" y="46"/>
                    </a:cubicBezTo>
                    <a:cubicBezTo>
                      <a:pt x="70" y="46"/>
                      <a:pt x="70" y="46"/>
                      <a:pt x="70" y="46"/>
                    </a:cubicBezTo>
                    <a:cubicBezTo>
                      <a:pt x="70" y="45"/>
                      <a:pt x="70" y="45"/>
                      <a:pt x="70" y="45"/>
                    </a:cubicBezTo>
                    <a:cubicBezTo>
                      <a:pt x="69" y="46"/>
                      <a:pt x="70" y="42"/>
                      <a:pt x="69" y="43"/>
                    </a:cubicBezTo>
                    <a:cubicBezTo>
                      <a:pt x="68" y="43"/>
                      <a:pt x="69" y="44"/>
                      <a:pt x="69" y="44"/>
                    </a:cubicBezTo>
                    <a:cubicBezTo>
                      <a:pt x="69" y="45"/>
                      <a:pt x="69" y="45"/>
                      <a:pt x="69" y="45"/>
                    </a:cubicBezTo>
                    <a:cubicBezTo>
                      <a:pt x="69" y="45"/>
                      <a:pt x="69" y="46"/>
                      <a:pt x="69" y="46"/>
                    </a:cubicBezTo>
                    <a:cubicBezTo>
                      <a:pt x="69" y="46"/>
                      <a:pt x="69" y="46"/>
                      <a:pt x="69" y="46"/>
                    </a:cubicBezTo>
                    <a:cubicBezTo>
                      <a:pt x="68" y="46"/>
                      <a:pt x="68" y="46"/>
                      <a:pt x="68" y="46"/>
                    </a:cubicBezTo>
                    <a:cubicBezTo>
                      <a:pt x="68" y="45"/>
                      <a:pt x="68" y="44"/>
                      <a:pt x="68" y="44"/>
                    </a:cubicBezTo>
                    <a:cubicBezTo>
                      <a:pt x="67" y="44"/>
                      <a:pt x="67" y="45"/>
                      <a:pt x="68" y="45"/>
                    </a:cubicBezTo>
                    <a:cubicBezTo>
                      <a:pt x="68" y="45"/>
                      <a:pt x="68" y="45"/>
                      <a:pt x="68" y="45"/>
                    </a:cubicBezTo>
                    <a:cubicBezTo>
                      <a:pt x="68" y="46"/>
                      <a:pt x="68" y="46"/>
                      <a:pt x="68" y="46"/>
                    </a:cubicBezTo>
                    <a:cubicBezTo>
                      <a:pt x="68" y="46"/>
                      <a:pt x="68" y="47"/>
                      <a:pt x="68" y="47"/>
                    </a:cubicBezTo>
                    <a:cubicBezTo>
                      <a:pt x="67" y="47"/>
                      <a:pt x="67" y="47"/>
                      <a:pt x="67" y="46"/>
                    </a:cubicBezTo>
                    <a:cubicBezTo>
                      <a:pt x="67" y="47"/>
                      <a:pt x="67" y="47"/>
                      <a:pt x="66" y="47"/>
                    </a:cubicBezTo>
                    <a:cubicBezTo>
                      <a:pt x="66" y="47"/>
                      <a:pt x="66" y="46"/>
                      <a:pt x="66" y="46"/>
                    </a:cubicBezTo>
                    <a:cubicBezTo>
                      <a:pt x="66" y="46"/>
                      <a:pt x="66" y="47"/>
                      <a:pt x="66" y="47"/>
                    </a:cubicBezTo>
                    <a:cubicBezTo>
                      <a:pt x="65" y="47"/>
                      <a:pt x="66" y="46"/>
                      <a:pt x="65" y="46"/>
                    </a:cubicBezTo>
                    <a:cubicBezTo>
                      <a:pt x="64" y="46"/>
                      <a:pt x="65" y="47"/>
                      <a:pt x="65" y="47"/>
                    </a:cubicBezTo>
                    <a:cubicBezTo>
                      <a:pt x="65" y="47"/>
                      <a:pt x="65" y="47"/>
                      <a:pt x="65" y="48"/>
                    </a:cubicBezTo>
                    <a:cubicBezTo>
                      <a:pt x="65" y="48"/>
                      <a:pt x="65" y="48"/>
                      <a:pt x="65" y="48"/>
                    </a:cubicBezTo>
                    <a:cubicBezTo>
                      <a:pt x="64" y="48"/>
                      <a:pt x="64" y="48"/>
                      <a:pt x="64" y="49"/>
                    </a:cubicBezTo>
                    <a:cubicBezTo>
                      <a:pt x="64" y="49"/>
                      <a:pt x="65" y="49"/>
                      <a:pt x="65" y="49"/>
                    </a:cubicBezTo>
                    <a:cubicBezTo>
                      <a:pt x="65" y="50"/>
                      <a:pt x="64" y="50"/>
                      <a:pt x="65" y="50"/>
                    </a:cubicBezTo>
                    <a:cubicBezTo>
                      <a:pt x="66" y="51"/>
                      <a:pt x="66" y="48"/>
                      <a:pt x="66" y="48"/>
                    </a:cubicBezTo>
                    <a:cubicBezTo>
                      <a:pt x="66" y="48"/>
                      <a:pt x="66" y="48"/>
                      <a:pt x="67" y="49"/>
                    </a:cubicBezTo>
                    <a:close/>
                    <a:moveTo>
                      <a:pt x="72" y="44"/>
                    </a:moveTo>
                    <a:cubicBezTo>
                      <a:pt x="72" y="44"/>
                      <a:pt x="72" y="43"/>
                      <a:pt x="72" y="43"/>
                    </a:cubicBezTo>
                    <a:cubicBezTo>
                      <a:pt x="74" y="43"/>
                      <a:pt x="74" y="42"/>
                      <a:pt x="75" y="40"/>
                    </a:cubicBezTo>
                    <a:cubicBezTo>
                      <a:pt x="76" y="40"/>
                      <a:pt x="76" y="38"/>
                      <a:pt x="76" y="37"/>
                    </a:cubicBezTo>
                    <a:cubicBezTo>
                      <a:pt x="74" y="37"/>
                      <a:pt x="74" y="39"/>
                      <a:pt x="73" y="40"/>
                    </a:cubicBezTo>
                    <a:cubicBezTo>
                      <a:pt x="72" y="41"/>
                      <a:pt x="72" y="41"/>
                      <a:pt x="71" y="42"/>
                    </a:cubicBezTo>
                    <a:cubicBezTo>
                      <a:pt x="71" y="43"/>
                      <a:pt x="71" y="44"/>
                      <a:pt x="71" y="44"/>
                    </a:cubicBezTo>
                    <a:cubicBezTo>
                      <a:pt x="71" y="44"/>
                      <a:pt x="72" y="44"/>
                      <a:pt x="72" y="44"/>
                    </a:cubicBezTo>
                    <a:close/>
                    <a:moveTo>
                      <a:pt x="74" y="45"/>
                    </a:moveTo>
                    <a:cubicBezTo>
                      <a:pt x="74" y="45"/>
                      <a:pt x="75" y="44"/>
                      <a:pt x="74" y="43"/>
                    </a:cubicBezTo>
                    <a:cubicBezTo>
                      <a:pt x="74" y="43"/>
                      <a:pt x="73" y="44"/>
                      <a:pt x="72" y="44"/>
                    </a:cubicBezTo>
                    <a:cubicBezTo>
                      <a:pt x="72" y="45"/>
                      <a:pt x="73" y="46"/>
                      <a:pt x="72" y="46"/>
                    </a:cubicBezTo>
                    <a:cubicBezTo>
                      <a:pt x="72" y="47"/>
                      <a:pt x="71" y="46"/>
                      <a:pt x="72" y="47"/>
                    </a:cubicBezTo>
                    <a:cubicBezTo>
                      <a:pt x="72" y="47"/>
                      <a:pt x="72" y="48"/>
                      <a:pt x="72" y="48"/>
                    </a:cubicBezTo>
                    <a:cubicBezTo>
                      <a:pt x="72" y="48"/>
                      <a:pt x="72" y="48"/>
                      <a:pt x="72" y="48"/>
                    </a:cubicBezTo>
                    <a:cubicBezTo>
                      <a:pt x="71" y="48"/>
                      <a:pt x="71" y="49"/>
                      <a:pt x="71" y="49"/>
                    </a:cubicBezTo>
                    <a:cubicBezTo>
                      <a:pt x="72" y="49"/>
                      <a:pt x="72" y="50"/>
                      <a:pt x="72" y="50"/>
                    </a:cubicBezTo>
                    <a:cubicBezTo>
                      <a:pt x="72" y="50"/>
                      <a:pt x="72" y="50"/>
                      <a:pt x="72" y="50"/>
                    </a:cubicBezTo>
                    <a:cubicBezTo>
                      <a:pt x="71" y="50"/>
                      <a:pt x="71" y="50"/>
                      <a:pt x="71" y="51"/>
                    </a:cubicBezTo>
                    <a:cubicBezTo>
                      <a:pt x="71" y="51"/>
                      <a:pt x="70" y="51"/>
                      <a:pt x="70" y="51"/>
                    </a:cubicBezTo>
                    <a:cubicBezTo>
                      <a:pt x="70" y="51"/>
                      <a:pt x="70" y="52"/>
                      <a:pt x="70" y="52"/>
                    </a:cubicBezTo>
                    <a:cubicBezTo>
                      <a:pt x="70" y="53"/>
                      <a:pt x="70" y="53"/>
                      <a:pt x="70" y="53"/>
                    </a:cubicBezTo>
                    <a:cubicBezTo>
                      <a:pt x="69" y="54"/>
                      <a:pt x="69" y="55"/>
                      <a:pt x="69" y="55"/>
                    </a:cubicBezTo>
                    <a:cubicBezTo>
                      <a:pt x="68" y="56"/>
                      <a:pt x="69" y="57"/>
                      <a:pt x="69" y="55"/>
                    </a:cubicBezTo>
                    <a:cubicBezTo>
                      <a:pt x="70" y="54"/>
                      <a:pt x="71" y="54"/>
                      <a:pt x="72" y="52"/>
                    </a:cubicBezTo>
                    <a:cubicBezTo>
                      <a:pt x="72" y="53"/>
                      <a:pt x="72" y="53"/>
                      <a:pt x="72" y="53"/>
                    </a:cubicBezTo>
                    <a:cubicBezTo>
                      <a:pt x="72" y="54"/>
                      <a:pt x="71" y="54"/>
                      <a:pt x="71" y="55"/>
                    </a:cubicBezTo>
                    <a:cubicBezTo>
                      <a:pt x="71" y="55"/>
                      <a:pt x="72" y="55"/>
                      <a:pt x="72" y="55"/>
                    </a:cubicBezTo>
                    <a:cubicBezTo>
                      <a:pt x="72" y="55"/>
                      <a:pt x="73" y="56"/>
                      <a:pt x="73" y="55"/>
                    </a:cubicBezTo>
                    <a:cubicBezTo>
                      <a:pt x="73" y="55"/>
                      <a:pt x="73" y="55"/>
                      <a:pt x="73" y="54"/>
                    </a:cubicBezTo>
                    <a:cubicBezTo>
                      <a:pt x="73" y="54"/>
                      <a:pt x="73" y="53"/>
                      <a:pt x="73" y="53"/>
                    </a:cubicBezTo>
                    <a:cubicBezTo>
                      <a:pt x="74" y="54"/>
                      <a:pt x="74" y="54"/>
                      <a:pt x="74" y="54"/>
                    </a:cubicBezTo>
                    <a:cubicBezTo>
                      <a:pt x="74" y="53"/>
                      <a:pt x="74" y="53"/>
                      <a:pt x="74" y="52"/>
                    </a:cubicBezTo>
                    <a:cubicBezTo>
                      <a:pt x="75" y="53"/>
                      <a:pt x="74" y="54"/>
                      <a:pt x="74" y="54"/>
                    </a:cubicBezTo>
                    <a:cubicBezTo>
                      <a:pt x="75" y="54"/>
                      <a:pt x="75" y="53"/>
                      <a:pt x="76" y="52"/>
                    </a:cubicBezTo>
                    <a:cubicBezTo>
                      <a:pt x="76" y="51"/>
                      <a:pt x="77" y="51"/>
                      <a:pt x="78" y="51"/>
                    </a:cubicBezTo>
                    <a:cubicBezTo>
                      <a:pt x="78" y="51"/>
                      <a:pt x="78" y="51"/>
                      <a:pt x="78" y="50"/>
                    </a:cubicBezTo>
                    <a:cubicBezTo>
                      <a:pt x="79" y="50"/>
                      <a:pt x="79" y="50"/>
                      <a:pt x="79" y="49"/>
                    </a:cubicBezTo>
                    <a:cubicBezTo>
                      <a:pt x="79" y="48"/>
                      <a:pt x="79" y="48"/>
                      <a:pt x="79" y="47"/>
                    </a:cubicBezTo>
                    <a:cubicBezTo>
                      <a:pt x="78" y="47"/>
                      <a:pt x="78" y="46"/>
                      <a:pt x="78" y="46"/>
                    </a:cubicBezTo>
                    <a:cubicBezTo>
                      <a:pt x="78" y="46"/>
                      <a:pt x="78" y="45"/>
                      <a:pt x="77" y="45"/>
                    </a:cubicBezTo>
                    <a:cubicBezTo>
                      <a:pt x="77" y="45"/>
                      <a:pt x="77" y="44"/>
                      <a:pt x="77" y="45"/>
                    </a:cubicBezTo>
                    <a:cubicBezTo>
                      <a:pt x="77" y="45"/>
                      <a:pt x="77" y="45"/>
                      <a:pt x="77" y="46"/>
                    </a:cubicBezTo>
                    <a:cubicBezTo>
                      <a:pt x="77" y="46"/>
                      <a:pt x="76" y="46"/>
                      <a:pt x="76" y="46"/>
                    </a:cubicBezTo>
                    <a:cubicBezTo>
                      <a:pt x="76" y="46"/>
                      <a:pt x="76" y="46"/>
                      <a:pt x="76" y="46"/>
                    </a:cubicBezTo>
                    <a:cubicBezTo>
                      <a:pt x="76" y="47"/>
                      <a:pt x="77" y="47"/>
                      <a:pt x="76" y="47"/>
                    </a:cubicBezTo>
                    <a:cubicBezTo>
                      <a:pt x="76" y="48"/>
                      <a:pt x="76" y="47"/>
                      <a:pt x="76" y="48"/>
                    </a:cubicBezTo>
                    <a:cubicBezTo>
                      <a:pt x="75" y="48"/>
                      <a:pt x="76" y="49"/>
                      <a:pt x="76" y="49"/>
                    </a:cubicBezTo>
                    <a:cubicBezTo>
                      <a:pt x="75" y="49"/>
                      <a:pt x="76" y="49"/>
                      <a:pt x="75" y="49"/>
                    </a:cubicBezTo>
                    <a:cubicBezTo>
                      <a:pt x="75" y="49"/>
                      <a:pt x="75" y="49"/>
                      <a:pt x="74" y="50"/>
                    </a:cubicBezTo>
                    <a:cubicBezTo>
                      <a:pt x="74" y="50"/>
                      <a:pt x="74" y="51"/>
                      <a:pt x="74" y="51"/>
                    </a:cubicBezTo>
                    <a:cubicBezTo>
                      <a:pt x="73" y="51"/>
                      <a:pt x="73" y="50"/>
                      <a:pt x="74" y="49"/>
                    </a:cubicBezTo>
                    <a:cubicBezTo>
                      <a:pt x="75" y="49"/>
                      <a:pt x="75" y="48"/>
                      <a:pt x="75" y="47"/>
                    </a:cubicBezTo>
                    <a:cubicBezTo>
                      <a:pt x="74" y="47"/>
                      <a:pt x="74" y="48"/>
                      <a:pt x="73" y="47"/>
                    </a:cubicBezTo>
                    <a:cubicBezTo>
                      <a:pt x="73" y="47"/>
                      <a:pt x="74" y="46"/>
                      <a:pt x="74" y="45"/>
                    </a:cubicBezTo>
                    <a:cubicBezTo>
                      <a:pt x="74" y="45"/>
                      <a:pt x="74" y="46"/>
                      <a:pt x="74" y="45"/>
                    </a:cubicBezTo>
                    <a:close/>
                    <a:moveTo>
                      <a:pt x="76" y="43"/>
                    </a:moveTo>
                    <a:cubicBezTo>
                      <a:pt x="76" y="44"/>
                      <a:pt x="77" y="44"/>
                      <a:pt x="77" y="44"/>
                    </a:cubicBezTo>
                    <a:cubicBezTo>
                      <a:pt x="78" y="44"/>
                      <a:pt x="78" y="45"/>
                      <a:pt x="79" y="45"/>
                    </a:cubicBezTo>
                    <a:cubicBezTo>
                      <a:pt x="79" y="45"/>
                      <a:pt x="79" y="44"/>
                      <a:pt x="79" y="43"/>
                    </a:cubicBezTo>
                    <a:cubicBezTo>
                      <a:pt x="79" y="43"/>
                      <a:pt x="79" y="43"/>
                      <a:pt x="78" y="43"/>
                    </a:cubicBezTo>
                    <a:cubicBezTo>
                      <a:pt x="78" y="43"/>
                      <a:pt x="78" y="43"/>
                      <a:pt x="77" y="43"/>
                    </a:cubicBezTo>
                    <a:cubicBezTo>
                      <a:pt x="77" y="43"/>
                      <a:pt x="77" y="43"/>
                      <a:pt x="76" y="43"/>
                    </a:cubicBezTo>
                    <a:close/>
                    <a:moveTo>
                      <a:pt x="77" y="54"/>
                    </a:moveTo>
                    <a:cubicBezTo>
                      <a:pt x="77" y="54"/>
                      <a:pt x="77" y="53"/>
                      <a:pt x="78" y="53"/>
                    </a:cubicBezTo>
                    <a:cubicBezTo>
                      <a:pt x="78" y="53"/>
                      <a:pt x="78" y="52"/>
                      <a:pt x="77" y="52"/>
                    </a:cubicBezTo>
                    <a:cubicBezTo>
                      <a:pt x="76" y="51"/>
                      <a:pt x="76" y="53"/>
                      <a:pt x="76" y="54"/>
                    </a:cubicBezTo>
                    <a:cubicBezTo>
                      <a:pt x="76" y="54"/>
                      <a:pt x="77" y="54"/>
                      <a:pt x="77" y="54"/>
                    </a:cubicBezTo>
                    <a:close/>
                    <a:moveTo>
                      <a:pt x="81" y="47"/>
                    </a:moveTo>
                    <a:cubicBezTo>
                      <a:pt x="80" y="47"/>
                      <a:pt x="81" y="48"/>
                      <a:pt x="81" y="48"/>
                    </a:cubicBezTo>
                    <a:cubicBezTo>
                      <a:pt x="82" y="48"/>
                      <a:pt x="83" y="47"/>
                      <a:pt x="83" y="47"/>
                    </a:cubicBezTo>
                    <a:cubicBezTo>
                      <a:pt x="83" y="47"/>
                      <a:pt x="82" y="47"/>
                      <a:pt x="82" y="46"/>
                    </a:cubicBezTo>
                    <a:cubicBezTo>
                      <a:pt x="82" y="47"/>
                      <a:pt x="82" y="46"/>
                      <a:pt x="82" y="46"/>
                    </a:cubicBezTo>
                    <a:cubicBezTo>
                      <a:pt x="81" y="45"/>
                      <a:pt x="82" y="46"/>
                      <a:pt x="81" y="46"/>
                    </a:cubicBezTo>
                    <a:cubicBezTo>
                      <a:pt x="81" y="47"/>
                      <a:pt x="81" y="47"/>
                      <a:pt x="81" y="47"/>
                    </a:cubicBezTo>
                    <a:close/>
                    <a:moveTo>
                      <a:pt x="83" y="45"/>
                    </a:moveTo>
                    <a:cubicBezTo>
                      <a:pt x="83" y="46"/>
                      <a:pt x="83" y="47"/>
                      <a:pt x="84" y="46"/>
                    </a:cubicBezTo>
                    <a:cubicBezTo>
                      <a:pt x="84" y="46"/>
                      <a:pt x="84" y="45"/>
                      <a:pt x="85" y="45"/>
                    </a:cubicBezTo>
                    <a:cubicBezTo>
                      <a:pt x="85" y="45"/>
                      <a:pt x="84" y="44"/>
                      <a:pt x="84" y="44"/>
                    </a:cubicBezTo>
                    <a:cubicBezTo>
                      <a:pt x="83" y="44"/>
                      <a:pt x="83" y="45"/>
                      <a:pt x="83" y="45"/>
                    </a:cubicBezTo>
                    <a:close/>
                    <a:moveTo>
                      <a:pt x="85" y="41"/>
                    </a:moveTo>
                    <a:cubicBezTo>
                      <a:pt x="85" y="41"/>
                      <a:pt x="83" y="42"/>
                      <a:pt x="84" y="43"/>
                    </a:cubicBezTo>
                    <a:cubicBezTo>
                      <a:pt x="85" y="43"/>
                      <a:pt x="85" y="41"/>
                      <a:pt x="86" y="41"/>
                    </a:cubicBezTo>
                    <a:cubicBezTo>
                      <a:pt x="85" y="41"/>
                      <a:pt x="85" y="41"/>
                      <a:pt x="85" y="41"/>
                    </a:cubicBezTo>
                    <a:close/>
                    <a:moveTo>
                      <a:pt x="88" y="39"/>
                    </a:moveTo>
                    <a:cubicBezTo>
                      <a:pt x="88" y="39"/>
                      <a:pt x="88" y="38"/>
                      <a:pt x="88" y="38"/>
                    </a:cubicBezTo>
                    <a:cubicBezTo>
                      <a:pt x="88" y="37"/>
                      <a:pt x="88" y="37"/>
                      <a:pt x="88" y="36"/>
                    </a:cubicBezTo>
                    <a:cubicBezTo>
                      <a:pt x="88" y="36"/>
                      <a:pt x="89" y="36"/>
                      <a:pt x="89" y="36"/>
                    </a:cubicBezTo>
                    <a:cubicBezTo>
                      <a:pt x="89" y="36"/>
                      <a:pt x="89" y="35"/>
                      <a:pt x="89" y="34"/>
                    </a:cubicBezTo>
                    <a:cubicBezTo>
                      <a:pt x="89" y="34"/>
                      <a:pt x="89" y="35"/>
                      <a:pt x="88" y="35"/>
                    </a:cubicBezTo>
                    <a:cubicBezTo>
                      <a:pt x="88" y="35"/>
                      <a:pt x="88" y="34"/>
                      <a:pt x="88" y="34"/>
                    </a:cubicBezTo>
                    <a:cubicBezTo>
                      <a:pt x="89" y="34"/>
                      <a:pt x="89" y="34"/>
                      <a:pt x="89" y="33"/>
                    </a:cubicBezTo>
                    <a:cubicBezTo>
                      <a:pt x="89" y="33"/>
                      <a:pt x="88" y="33"/>
                      <a:pt x="88" y="33"/>
                    </a:cubicBezTo>
                    <a:cubicBezTo>
                      <a:pt x="88" y="33"/>
                      <a:pt x="88" y="35"/>
                      <a:pt x="87" y="34"/>
                    </a:cubicBezTo>
                    <a:cubicBezTo>
                      <a:pt x="87" y="34"/>
                      <a:pt x="88" y="32"/>
                      <a:pt x="88" y="32"/>
                    </a:cubicBezTo>
                    <a:cubicBezTo>
                      <a:pt x="87" y="31"/>
                      <a:pt x="87" y="32"/>
                      <a:pt x="87" y="32"/>
                    </a:cubicBezTo>
                    <a:cubicBezTo>
                      <a:pt x="87" y="32"/>
                      <a:pt x="87" y="32"/>
                      <a:pt x="86" y="32"/>
                    </a:cubicBezTo>
                    <a:cubicBezTo>
                      <a:pt x="86" y="32"/>
                      <a:pt x="87" y="33"/>
                      <a:pt x="86" y="33"/>
                    </a:cubicBezTo>
                    <a:cubicBezTo>
                      <a:pt x="86" y="33"/>
                      <a:pt x="86" y="31"/>
                      <a:pt x="85" y="32"/>
                    </a:cubicBezTo>
                    <a:cubicBezTo>
                      <a:pt x="85" y="32"/>
                      <a:pt x="86" y="33"/>
                      <a:pt x="86" y="33"/>
                    </a:cubicBezTo>
                    <a:cubicBezTo>
                      <a:pt x="86" y="34"/>
                      <a:pt x="86" y="34"/>
                      <a:pt x="85" y="34"/>
                    </a:cubicBezTo>
                    <a:cubicBezTo>
                      <a:pt x="85" y="33"/>
                      <a:pt x="84" y="32"/>
                      <a:pt x="84" y="33"/>
                    </a:cubicBezTo>
                    <a:cubicBezTo>
                      <a:pt x="84" y="33"/>
                      <a:pt x="85" y="33"/>
                      <a:pt x="84" y="34"/>
                    </a:cubicBezTo>
                    <a:cubicBezTo>
                      <a:pt x="84" y="34"/>
                      <a:pt x="83" y="33"/>
                      <a:pt x="83" y="34"/>
                    </a:cubicBezTo>
                    <a:cubicBezTo>
                      <a:pt x="84" y="34"/>
                      <a:pt x="85" y="34"/>
                      <a:pt x="85" y="35"/>
                    </a:cubicBezTo>
                    <a:cubicBezTo>
                      <a:pt x="85" y="35"/>
                      <a:pt x="84" y="35"/>
                      <a:pt x="84" y="35"/>
                    </a:cubicBezTo>
                    <a:cubicBezTo>
                      <a:pt x="84" y="35"/>
                      <a:pt x="85" y="35"/>
                      <a:pt x="84" y="36"/>
                    </a:cubicBezTo>
                    <a:cubicBezTo>
                      <a:pt x="84" y="36"/>
                      <a:pt x="84" y="35"/>
                      <a:pt x="84" y="35"/>
                    </a:cubicBezTo>
                    <a:cubicBezTo>
                      <a:pt x="83" y="35"/>
                      <a:pt x="83" y="35"/>
                      <a:pt x="82" y="35"/>
                    </a:cubicBezTo>
                    <a:cubicBezTo>
                      <a:pt x="82" y="35"/>
                      <a:pt x="81" y="35"/>
                      <a:pt x="81" y="36"/>
                    </a:cubicBezTo>
                    <a:cubicBezTo>
                      <a:pt x="81" y="36"/>
                      <a:pt x="82" y="36"/>
                      <a:pt x="82" y="36"/>
                    </a:cubicBezTo>
                    <a:cubicBezTo>
                      <a:pt x="82" y="36"/>
                      <a:pt x="82" y="36"/>
                      <a:pt x="82" y="36"/>
                    </a:cubicBezTo>
                    <a:cubicBezTo>
                      <a:pt x="83" y="37"/>
                      <a:pt x="83" y="37"/>
                      <a:pt x="82" y="37"/>
                    </a:cubicBezTo>
                    <a:cubicBezTo>
                      <a:pt x="81" y="37"/>
                      <a:pt x="81" y="37"/>
                      <a:pt x="82" y="37"/>
                    </a:cubicBezTo>
                    <a:cubicBezTo>
                      <a:pt x="82" y="37"/>
                      <a:pt x="82" y="37"/>
                      <a:pt x="83" y="38"/>
                    </a:cubicBezTo>
                    <a:cubicBezTo>
                      <a:pt x="83" y="38"/>
                      <a:pt x="83" y="37"/>
                      <a:pt x="83" y="38"/>
                    </a:cubicBezTo>
                    <a:cubicBezTo>
                      <a:pt x="83" y="38"/>
                      <a:pt x="81" y="38"/>
                      <a:pt x="81" y="39"/>
                    </a:cubicBezTo>
                    <a:cubicBezTo>
                      <a:pt x="81" y="39"/>
                      <a:pt x="82" y="39"/>
                      <a:pt x="82" y="39"/>
                    </a:cubicBezTo>
                    <a:cubicBezTo>
                      <a:pt x="82" y="39"/>
                      <a:pt x="83" y="39"/>
                      <a:pt x="83" y="39"/>
                    </a:cubicBezTo>
                    <a:cubicBezTo>
                      <a:pt x="83" y="39"/>
                      <a:pt x="82" y="40"/>
                      <a:pt x="82" y="40"/>
                    </a:cubicBezTo>
                    <a:cubicBezTo>
                      <a:pt x="81" y="40"/>
                      <a:pt x="81" y="40"/>
                      <a:pt x="80" y="41"/>
                    </a:cubicBezTo>
                    <a:cubicBezTo>
                      <a:pt x="80" y="41"/>
                      <a:pt x="80" y="41"/>
                      <a:pt x="81" y="42"/>
                    </a:cubicBezTo>
                    <a:cubicBezTo>
                      <a:pt x="81" y="42"/>
                      <a:pt x="82" y="41"/>
                      <a:pt x="82" y="41"/>
                    </a:cubicBezTo>
                    <a:cubicBezTo>
                      <a:pt x="83" y="42"/>
                      <a:pt x="82" y="42"/>
                      <a:pt x="82" y="42"/>
                    </a:cubicBezTo>
                    <a:cubicBezTo>
                      <a:pt x="83" y="43"/>
                      <a:pt x="83" y="42"/>
                      <a:pt x="83" y="42"/>
                    </a:cubicBezTo>
                    <a:cubicBezTo>
                      <a:pt x="83" y="41"/>
                      <a:pt x="83" y="41"/>
                      <a:pt x="83" y="41"/>
                    </a:cubicBezTo>
                    <a:cubicBezTo>
                      <a:pt x="84" y="40"/>
                      <a:pt x="84" y="40"/>
                      <a:pt x="85" y="39"/>
                    </a:cubicBezTo>
                    <a:cubicBezTo>
                      <a:pt x="85" y="39"/>
                      <a:pt x="85" y="38"/>
                      <a:pt x="85" y="39"/>
                    </a:cubicBezTo>
                    <a:cubicBezTo>
                      <a:pt x="86" y="39"/>
                      <a:pt x="85" y="40"/>
                      <a:pt x="86" y="40"/>
                    </a:cubicBezTo>
                    <a:cubicBezTo>
                      <a:pt x="86" y="40"/>
                      <a:pt x="88" y="39"/>
                      <a:pt x="88" y="39"/>
                    </a:cubicBezTo>
                    <a:close/>
                    <a:moveTo>
                      <a:pt x="93" y="30"/>
                    </a:moveTo>
                    <a:cubicBezTo>
                      <a:pt x="92" y="29"/>
                      <a:pt x="91" y="29"/>
                      <a:pt x="91" y="29"/>
                    </a:cubicBezTo>
                    <a:cubicBezTo>
                      <a:pt x="90" y="29"/>
                      <a:pt x="90" y="29"/>
                      <a:pt x="90" y="30"/>
                    </a:cubicBezTo>
                    <a:cubicBezTo>
                      <a:pt x="91" y="30"/>
                      <a:pt x="92" y="31"/>
                      <a:pt x="91" y="31"/>
                    </a:cubicBezTo>
                    <a:cubicBezTo>
                      <a:pt x="90" y="32"/>
                      <a:pt x="90" y="31"/>
                      <a:pt x="90" y="31"/>
                    </a:cubicBezTo>
                    <a:cubicBezTo>
                      <a:pt x="90" y="31"/>
                      <a:pt x="90" y="31"/>
                      <a:pt x="89" y="31"/>
                    </a:cubicBezTo>
                    <a:cubicBezTo>
                      <a:pt x="89" y="31"/>
                      <a:pt x="88" y="31"/>
                      <a:pt x="89" y="32"/>
                    </a:cubicBezTo>
                    <a:cubicBezTo>
                      <a:pt x="90" y="33"/>
                      <a:pt x="90" y="33"/>
                      <a:pt x="91" y="32"/>
                    </a:cubicBezTo>
                    <a:cubicBezTo>
                      <a:pt x="92" y="32"/>
                      <a:pt x="92" y="32"/>
                      <a:pt x="92" y="32"/>
                    </a:cubicBezTo>
                    <a:cubicBezTo>
                      <a:pt x="93" y="32"/>
                      <a:pt x="93" y="32"/>
                      <a:pt x="93" y="32"/>
                    </a:cubicBezTo>
                    <a:cubicBezTo>
                      <a:pt x="94" y="32"/>
                      <a:pt x="94" y="31"/>
                      <a:pt x="94" y="30"/>
                    </a:cubicBezTo>
                    <a:cubicBezTo>
                      <a:pt x="93" y="30"/>
                      <a:pt x="93" y="30"/>
                      <a:pt x="93" y="30"/>
                    </a:cubicBezTo>
                    <a:close/>
                    <a:moveTo>
                      <a:pt x="91" y="29"/>
                    </a:moveTo>
                    <a:cubicBezTo>
                      <a:pt x="92" y="29"/>
                      <a:pt x="92" y="29"/>
                      <a:pt x="93" y="29"/>
                    </a:cubicBezTo>
                    <a:cubicBezTo>
                      <a:pt x="93" y="29"/>
                      <a:pt x="93" y="28"/>
                      <a:pt x="93" y="28"/>
                    </a:cubicBezTo>
                    <a:cubicBezTo>
                      <a:pt x="93" y="28"/>
                      <a:pt x="93" y="27"/>
                      <a:pt x="93" y="27"/>
                    </a:cubicBezTo>
                    <a:cubicBezTo>
                      <a:pt x="92" y="27"/>
                      <a:pt x="92" y="28"/>
                      <a:pt x="92" y="28"/>
                    </a:cubicBezTo>
                    <a:cubicBezTo>
                      <a:pt x="92" y="28"/>
                      <a:pt x="92" y="28"/>
                      <a:pt x="91" y="27"/>
                    </a:cubicBezTo>
                    <a:cubicBezTo>
                      <a:pt x="91" y="27"/>
                      <a:pt x="91" y="27"/>
                      <a:pt x="91" y="27"/>
                    </a:cubicBezTo>
                    <a:cubicBezTo>
                      <a:pt x="91" y="27"/>
                      <a:pt x="91" y="28"/>
                      <a:pt x="91" y="28"/>
                    </a:cubicBezTo>
                    <a:cubicBezTo>
                      <a:pt x="91" y="28"/>
                      <a:pt x="91" y="29"/>
                      <a:pt x="91" y="29"/>
                    </a:cubicBezTo>
                    <a:close/>
                    <a:moveTo>
                      <a:pt x="94" y="28"/>
                    </a:moveTo>
                    <a:cubicBezTo>
                      <a:pt x="93" y="30"/>
                      <a:pt x="95" y="29"/>
                      <a:pt x="95" y="28"/>
                    </a:cubicBezTo>
                    <a:cubicBezTo>
                      <a:pt x="96" y="27"/>
                      <a:pt x="94" y="27"/>
                      <a:pt x="94" y="26"/>
                    </a:cubicBezTo>
                    <a:cubicBezTo>
                      <a:pt x="94" y="26"/>
                      <a:pt x="94" y="26"/>
                      <a:pt x="94" y="26"/>
                    </a:cubicBezTo>
                    <a:cubicBezTo>
                      <a:pt x="94" y="26"/>
                      <a:pt x="93" y="26"/>
                      <a:pt x="93" y="27"/>
                    </a:cubicBezTo>
                    <a:cubicBezTo>
                      <a:pt x="94" y="27"/>
                      <a:pt x="94" y="28"/>
                      <a:pt x="94" y="28"/>
                    </a:cubicBezTo>
                    <a:close/>
                    <a:moveTo>
                      <a:pt x="96" y="28"/>
                    </a:moveTo>
                    <a:cubicBezTo>
                      <a:pt x="98" y="28"/>
                      <a:pt x="98" y="27"/>
                      <a:pt x="98" y="26"/>
                    </a:cubicBezTo>
                    <a:cubicBezTo>
                      <a:pt x="99" y="25"/>
                      <a:pt x="99" y="25"/>
                      <a:pt x="99" y="24"/>
                    </a:cubicBezTo>
                    <a:cubicBezTo>
                      <a:pt x="100" y="24"/>
                      <a:pt x="100" y="23"/>
                      <a:pt x="100" y="23"/>
                    </a:cubicBezTo>
                    <a:cubicBezTo>
                      <a:pt x="99" y="24"/>
                      <a:pt x="99" y="23"/>
                      <a:pt x="99" y="23"/>
                    </a:cubicBezTo>
                    <a:cubicBezTo>
                      <a:pt x="99" y="22"/>
                      <a:pt x="98" y="24"/>
                      <a:pt x="98" y="24"/>
                    </a:cubicBezTo>
                    <a:cubicBezTo>
                      <a:pt x="98" y="24"/>
                      <a:pt x="97" y="23"/>
                      <a:pt x="97" y="23"/>
                    </a:cubicBezTo>
                    <a:cubicBezTo>
                      <a:pt x="97" y="23"/>
                      <a:pt x="97" y="22"/>
                      <a:pt x="97" y="22"/>
                    </a:cubicBezTo>
                    <a:cubicBezTo>
                      <a:pt x="97" y="22"/>
                      <a:pt x="97" y="22"/>
                      <a:pt x="97" y="22"/>
                    </a:cubicBezTo>
                    <a:cubicBezTo>
                      <a:pt x="96" y="22"/>
                      <a:pt x="97" y="22"/>
                      <a:pt x="96" y="22"/>
                    </a:cubicBezTo>
                    <a:cubicBezTo>
                      <a:pt x="96" y="22"/>
                      <a:pt x="96" y="22"/>
                      <a:pt x="96" y="22"/>
                    </a:cubicBezTo>
                    <a:cubicBezTo>
                      <a:pt x="96" y="22"/>
                      <a:pt x="96" y="23"/>
                      <a:pt x="96" y="23"/>
                    </a:cubicBezTo>
                    <a:cubicBezTo>
                      <a:pt x="96" y="23"/>
                      <a:pt x="95" y="23"/>
                      <a:pt x="95" y="23"/>
                    </a:cubicBezTo>
                    <a:cubicBezTo>
                      <a:pt x="95" y="23"/>
                      <a:pt x="94" y="23"/>
                      <a:pt x="94" y="24"/>
                    </a:cubicBezTo>
                    <a:cubicBezTo>
                      <a:pt x="95" y="24"/>
                      <a:pt x="95" y="24"/>
                      <a:pt x="95" y="24"/>
                    </a:cubicBezTo>
                    <a:cubicBezTo>
                      <a:pt x="94" y="25"/>
                      <a:pt x="94" y="24"/>
                      <a:pt x="94" y="24"/>
                    </a:cubicBezTo>
                    <a:cubicBezTo>
                      <a:pt x="93" y="25"/>
                      <a:pt x="94" y="25"/>
                      <a:pt x="94" y="25"/>
                    </a:cubicBezTo>
                    <a:cubicBezTo>
                      <a:pt x="95" y="26"/>
                      <a:pt x="95" y="26"/>
                      <a:pt x="96" y="27"/>
                    </a:cubicBezTo>
                    <a:cubicBezTo>
                      <a:pt x="96" y="27"/>
                      <a:pt x="96" y="27"/>
                      <a:pt x="96" y="28"/>
                    </a:cubicBezTo>
                    <a:close/>
                    <a:moveTo>
                      <a:pt x="101" y="25"/>
                    </a:moveTo>
                    <a:cubicBezTo>
                      <a:pt x="101" y="25"/>
                      <a:pt x="101" y="23"/>
                      <a:pt x="100" y="24"/>
                    </a:cubicBezTo>
                    <a:cubicBezTo>
                      <a:pt x="100" y="24"/>
                      <a:pt x="100" y="24"/>
                      <a:pt x="100" y="24"/>
                    </a:cubicBezTo>
                    <a:cubicBezTo>
                      <a:pt x="100" y="25"/>
                      <a:pt x="99" y="25"/>
                      <a:pt x="99" y="25"/>
                    </a:cubicBezTo>
                    <a:cubicBezTo>
                      <a:pt x="99" y="25"/>
                      <a:pt x="99" y="26"/>
                      <a:pt x="99" y="27"/>
                    </a:cubicBezTo>
                    <a:cubicBezTo>
                      <a:pt x="100" y="27"/>
                      <a:pt x="100" y="26"/>
                      <a:pt x="100" y="26"/>
                    </a:cubicBezTo>
                    <a:cubicBezTo>
                      <a:pt x="100" y="25"/>
                      <a:pt x="100" y="25"/>
                      <a:pt x="101" y="25"/>
                    </a:cubicBezTo>
                    <a:close/>
                    <a:moveTo>
                      <a:pt x="94" y="23"/>
                    </a:moveTo>
                    <a:cubicBezTo>
                      <a:pt x="94" y="23"/>
                      <a:pt x="95" y="23"/>
                      <a:pt x="95" y="22"/>
                    </a:cubicBezTo>
                    <a:cubicBezTo>
                      <a:pt x="95" y="21"/>
                      <a:pt x="94" y="22"/>
                      <a:pt x="94" y="22"/>
                    </a:cubicBezTo>
                    <a:cubicBezTo>
                      <a:pt x="94" y="21"/>
                      <a:pt x="93" y="21"/>
                      <a:pt x="93" y="22"/>
                    </a:cubicBezTo>
                    <a:cubicBezTo>
                      <a:pt x="93" y="23"/>
                      <a:pt x="93" y="23"/>
                      <a:pt x="93" y="24"/>
                    </a:cubicBezTo>
                    <a:cubicBezTo>
                      <a:pt x="94" y="24"/>
                      <a:pt x="94" y="23"/>
                      <a:pt x="94" y="23"/>
                    </a:cubicBezTo>
                    <a:close/>
                    <a:moveTo>
                      <a:pt x="95" y="21"/>
                    </a:moveTo>
                    <a:cubicBezTo>
                      <a:pt x="95" y="21"/>
                      <a:pt x="96" y="21"/>
                      <a:pt x="96" y="21"/>
                    </a:cubicBezTo>
                    <a:cubicBezTo>
                      <a:pt x="97" y="21"/>
                      <a:pt x="97" y="21"/>
                      <a:pt x="97" y="21"/>
                    </a:cubicBezTo>
                    <a:cubicBezTo>
                      <a:pt x="97" y="20"/>
                      <a:pt x="97" y="20"/>
                      <a:pt x="97" y="20"/>
                    </a:cubicBezTo>
                    <a:cubicBezTo>
                      <a:pt x="97" y="19"/>
                      <a:pt x="97" y="19"/>
                      <a:pt x="97" y="19"/>
                    </a:cubicBezTo>
                    <a:cubicBezTo>
                      <a:pt x="97" y="19"/>
                      <a:pt x="97" y="19"/>
                      <a:pt x="97" y="18"/>
                    </a:cubicBezTo>
                    <a:cubicBezTo>
                      <a:pt x="96" y="19"/>
                      <a:pt x="96" y="19"/>
                      <a:pt x="96" y="19"/>
                    </a:cubicBezTo>
                    <a:cubicBezTo>
                      <a:pt x="96" y="20"/>
                      <a:pt x="96" y="20"/>
                      <a:pt x="96" y="20"/>
                    </a:cubicBezTo>
                    <a:cubicBezTo>
                      <a:pt x="96" y="20"/>
                      <a:pt x="95" y="20"/>
                      <a:pt x="95" y="21"/>
                    </a:cubicBezTo>
                    <a:close/>
                    <a:moveTo>
                      <a:pt x="98" y="21"/>
                    </a:moveTo>
                    <a:cubicBezTo>
                      <a:pt x="98" y="21"/>
                      <a:pt x="98" y="21"/>
                      <a:pt x="98" y="21"/>
                    </a:cubicBezTo>
                    <a:cubicBezTo>
                      <a:pt x="98" y="22"/>
                      <a:pt x="99" y="22"/>
                      <a:pt x="99" y="22"/>
                    </a:cubicBezTo>
                    <a:cubicBezTo>
                      <a:pt x="100" y="21"/>
                      <a:pt x="98" y="20"/>
                      <a:pt x="98" y="21"/>
                    </a:cubicBezTo>
                    <a:cubicBezTo>
                      <a:pt x="98" y="21"/>
                      <a:pt x="98" y="20"/>
                      <a:pt x="98" y="21"/>
                    </a:cubicBezTo>
                    <a:close/>
                    <a:moveTo>
                      <a:pt x="102" y="22"/>
                    </a:moveTo>
                    <a:cubicBezTo>
                      <a:pt x="102" y="22"/>
                      <a:pt x="102" y="22"/>
                      <a:pt x="102" y="22"/>
                    </a:cubicBezTo>
                    <a:cubicBezTo>
                      <a:pt x="103" y="21"/>
                      <a:pt x="103" y="21"/>
                      <a:pt x="103" y="21"/>
                    </a:cubicBezTo>
                    <a:cubicBezTo>
                      <a:pt x="102" y="21"/>
                      <a:pt x="102" y="21"/>
                      <a:pt x="102" y="21"/>
                    </a:cubicBezTo>
                    <a:cubicBezTo>
                      <a:pt x="102" y="20"/>
                      <a:pt x="102" y="20"/>
                      <a:pt x="102" y="20"/>
                    </a:cubicBezTo>
                    <a:cubicBezTo>
                      <a:pt x="101" y="19"/>
                      <a:pt x="101" y="19"/>
                      <a:pt x="101" y="20"/>
                    </a:cubicBezTo>
                    <a:cubicBezTo>
                      <a:pt x="100" y="20"/>
                      <a:pt x="101" y="20"/>
                      <a:pt x="101" y="19"/>
                    </a:cubicBezTo>
                    <a:cubicBezTo>
                      <a:pt x="100" y="19"/>
                      <a:pt x="100" y="19"/>
                      <a:pt x="100" y="18"/>
                    </a:cubicBezTo>
                    <a:cubicBezTo>
                      <a:pt x="100" y="18"/>
                      <a:pt x="100" y="18"/>
                      <a:pt x="100" y="18"/>
                    </a:cubicBezTo>
                    <a:cubicBezTo>
                      <a:pt x="100" y="18"/>
                      <a:pt x="99" y="18"/>
                      <a:pt x="99" y="18"/>
                    </a:cubicBezTo>
                    <a:cubicBezTo>
                      <a:pt x="99" y="19"/>
                      <a:pt x="99" y="18"/>
                      <a:pt x="99" y="19"/>
                    </a:cubicBezTo>
                    <a:cubicBezTo>
                      <a:pt x="99" y="19"/>
                      <a:pt x="100" y="19"/>
                      <a:pt x="100" y="20"/>
                    </a:cubicBezTo>
                    <a:cubicBezTo>
                      <a:pt x="100" y="20"/>
                      <a:pt x="100" y="20"/>
                      <a:pt x="100" y="20"/>
                    </a:cubicBezTo>
                    <a:cubicBezTo>
                      <a:pt x="100" y="21"/>
                      <a:pt x="100" y="21"/>
                      <a:pt x="100" y="22"/>
                    </a:cubicBezTo>
                    <a:cubicBezTo>
                      <a:pt x="100" y="22"/>
                      <a:pt x="100" y="22"/>
                      <a:pt x="101" y="22"/>
                    </a:cubicBezTo>
                    <a:cubicBezTo>
                      <a:pt x="101" y="22"/>
                      <a:pt x="101" y="22"/>
                      <a:pt x="102" y="22"/>
                    </a:cubicBezTo>
                    <a:close/>
                    <a:moveTo>
                      <a:pt x="105" y="22"/>
                    </a:moveTo>
                    <a:cubicBezTo>
                      <a:pt x="106" y="22"/>
                      <a:pt x="105" y="22"/>
                      <a:pt x="106" y="22"/>
                    </a:cubicBezTo>
                    <a:cubicBezTo>
                      <a:pt x="106" y="21"/>
                      <a:pt x="106" y="21"/>
                      <a:pt x="106" y="22"/>
                    </a:cubicBezTo>
                    <a:cubicBezTo>
                      <a:pt x="106" y="22"/>
                      <a:pt x="106" y="22"/>
                      <a:pt x="106" y="22"/>
                    </a:cubicBezTo>
                    <a:cubicBezTo>
                      <a:pt x="107" y="22"/>
                      <a:pt x="107" y="22"/>
                      <a:pt x="107" y="22"/>
                    </a:cubicBezTo>
                    <a:cubicBezTo>
                      <a:pt x="107" y="22"/>
                      <a:pt x="107" y="23"/>
                      <a:pt x="107" y="22"/>
                    </a:cubicBezTo>
                    <a:cubicBezTo>
                      <a:pt x="107" y="22"/>
                      <a:pt x="107" y="21"/>
                      <a:pt x="107" y="21"/>
                    </a:cubicBezTo>
                    <a:cubicBezTo>
                      <a:pt x="107" y="21"/>
                      <a:pt x="107" y="20"/>
                      <a:pt x="107" y="20"/>
                    </a:cubicBezTo>
                    <a:cubicBezTo>
                      <a:pt x="107" y="19"/>
                      <a:pt x="107" y="19"/>
                      <a:pt x="107" y="19"/>
                    </a:cubicBezTo>
                    <a:cubicBezTo>
                      <a:pt x="106" y="18"/>
                      <a:pt x="106" y="19"/>
                      <a:pt x="106" y="19"/>
                    </a:cubicBezTo>
                    <a:cubicBezTo>
                      <a:pt x="105" y="20"/>
                      <a:pt x="105" y="20"/>
                      <a:pt x="105" y="20"/>
                    </a:cubicBezTo>
                    <a:cubicBezTo>
                      <a:pt x="105" y="21"/>
                      <a:pt x="105" y="21"/>
                      <a:pt x="105" y="22"/>
                    </a:cubicBezTo>
                    <a:cubicBezTo>
                      <a:pt x="105" y="22"/>
                      <a:pt x="105" y="22"/>
                      <a:pt x="105" y="22"/>
                    </a:cubicBezTo>
                    <a:close/>
                    <a:moveTo>
                      <a:pt x="106" y="26"/>
                    </a:moveTo>
                    <a:cubicBezTo>
                      <a:pt x="106" y="26"/>
                      <a:pt x="105" y="26"/>
                      <a:pt x="106" y="27"/>
                    </a:cubicBezTo>
                    <a:cubicBezTo>
                      <a:pt x="106" y="28"/>
                      <a:pt x="106" y="28"/>
                      <a:pt x="107" y="27"/>
                    </a:cubicBezTo>
                    <a:cubicBezTo>
                      <a:pt x="107" y="27"/>
                      <a:pt x="107" y="26"/>
                      <a:pt x="107" y="26"/>
                    </a:cubicBezTo>
                    <a:cubicBezTo>
                      <a:pt x="107" y="25"/>
                      <a:pt x="106" y="25"/>
                      <a:pt x="106" y="26"/>
                    </a:cubicBezTo>
                    <a:cubicBezTo>
                      <a:pt x="106" y="26"/>
                      <a:pt x="106" y="25"/>
                      <a:pt x="106" y="26"/>
                    </a:cubicBezTo>
                    <a:close/>
                    <a:moveTo>
                      <a:pt x="107" y="23"/>
                    </a:moveTo>
                    <a:cubicBezTo>
                      <a:pt x="107" y="24"/>
                      <a:pt x="107" y="25"/>
                      <a:pt x="108" y="25"/>
                    </a:cubicBezTo>
                    <a:cubicBezTo>
                      <a:pt x="109" y="25"/>
                      <a:pt x="109" y="24"/>
                      <a:pt x="109" y="24"/>
                    </a:cubicBezTo>
                    <a:cubicBezTo>
                      <a:pt x="109" y="24"/>
                      <a:pt x="109" y="24"/>
                      <a:pt x="109" y="23"/>
                    </a:cubicBezTo>
                    <a:cubicBezTo>
                      <a:pt x="109" y="23"/>
                      <a:pt x="108" y="23"/>
                      <a:pt x="108" y="23"/>
                    </a:cubicBezTo>
                    <a:cubicBezTo>
                      <a:pt x="108" y="23"/>
                      <a:pt x="108" y="23"/>
                      <a:pt x="107" y="23"/>
                    </a:cubicBezTo>
                    <a:cubicBezTo>
                      <a:pt x="107" y="23"/>
                      <a:pt x="108" y="23"/>
                      <a:pt x="107" y="23"/>
                    </a:cubicBezTo>
                    <a:close/>
                    <a:moveTo>
                      <a:pt x="122" y="18"/>
                    </a:moveTo>
                    <a:cubicBezTo>
                      <a:pt x="122" y="18"/>
                      <a:pt x="122" y="17"/>
                      <a:pt x="121" y="17"/>
                    </a:cubicBezTo>
                    <a:cubicBezTo>
                      <a:pt x="121" y="17"/>
                      <a:pt x="121" y="17"/>
                      <a:pt x="121" y="16"/>
                    </a:cubicBezTo>
                    <a:cubicBezTo>
                      <a:pt x="120" y="16"/>
                      <a:pt x="120" y="17"/>
                      <a:pt x="120" y="16"/>
                    </a:cubicBezTo>
                    <a:cubicBezTo>
                      <a:pt x="120" y="16"/>
                      <a:pt x="119" y="16"/>
                      <a:pt x="119" y="16"/>
                    </a:cubicBezTo>
                    <a:cubicBezTo>
                      <a:pt x="119" y="16"/>
                      <a:pt x="119" y="17"/>
                      <a:pt x="119" y="17"/>
                    </a:cubicBezTo>
                    <a:cubicBezTo>
                      <a:pt x="119" y="17"/>
                      <a:pt x="118" y="16"/>
                      <a:pt x="118" y="16"/>
                    </a:cubicBezTo>
                    <a:cubicBezTo>
                      <a:pt x="118" y="17"/>
                      <a:pt x="118" y="17"/>
                      <a:pt x="119" y="18"/>
                    </a:cubicBezTo>
                    <a:cubicBezTo>
                      <a:pt x="119" y="18"/>
                      <a:pt x="119" y="18"/>
                      <a:pt x="120" y="18"/>
                    </a:cubicBezTo>
                    <a:cubicBezTo>
                      <a:pt x="120" y="18"/>
                      <a:pt x="121" y="18"/>
                      <a:pt x="121" y="18"/>
                    </a:cubicBezTo>
                    <a:cubicBezTo>
                      <a:pt x="121" y="18"/>
                      <a:pt x="122" y="18"/>
                      <a:pt x="122" y="18"/>
                    </a:cubicBezTo>
                    <a:cubicBezTo>
                      <a:pt x="122" y="18"/>
                      <a:pt x="122" y="18"/>
                      <a:pt x="122" y="18"/>
                    </a:cubicBezTo>
                    <a:close/>
                    <a:moveTo>
                      <a:pt x="123" y="16"/>
                    </a:moveTo>
                    <a:cubicBezTo>
                      <a:pt x="123" y="17"/>
                      <a:pt x="123" y="18"/>
                      <a:pt x="124" y="18"/>
                    </a:cubicBezTo>
                    <a:cubicBezTo>
                      <a:pt x="124" y="18"/>
                      <a:pt x="124" y="17"/>
                      <a:pt x="124" y="17"/>
                    </a:cubicBezTo>
                    <a:cubicBezTo>
                      <a:pt x="125" y="17"/>
                      <a:pt x="124" y="17"/>
                      <a:pt x="124" y="17"/>
                    </a:cubicBezTo>
                    <a:cubicBezTo>
                      <a:pt x="124" y="17"/>
                      <a:pt x="126" y="16"/>
                      <a:pt x="126" y="15"/>
                    </a:cubicBezTo>
                    <a:cubicBezTo>
                      <a:pt x="126" y="15"/>
                      <a:pt x="127" y="14"/>
                      <a:pt x="126" y="13"/>
                    </a:cubicBezTo>
                    <a:cubicBezTo>
                      <a:pt x="126" y="13"/>
                      <a:pt x="125" y="13"/>
                      <a:pt x="125" y="13"/>
                    </a:cubicBezTo>
                    <a:cubicBezTo>
                      <a:pt x="124" y="13"/>
                      <a:pt x="125" y="13"/>
                      <a:pt x="124" y="14"/>
                    </a:cubicBezTo>
                    <a:cubicBezTo>
                      <a:pt x="124" y="14"/>
                      <a:pt x="124" y="14"/>
                      <a:pt x="124" y="13"/>
                    </a:cubicBezTo>
                    <a:cubicBezTo>
                      <a:pt x="123" y="13"/>
                      <a:pt x="123" y="14"/>
                      <a:pt x="123" y="14"/>
                    </a:cubicBezTo>
                    <a:cubicBezTo>
                      <a:pt x="123" y="14"/>
                      <a:pt x="123" y="13"/>
                      <a:pt x="123" y="13"/>
                    </a:cubicBezTo>
                    <a:cubicBezTo>
                      <a:pt x="123" y="13"/>
                      <a:pt x="123" y="13"/>
                      <a:pt x="122" y="14"/>
                    </a:cubicBezTo>
                    <a:cubicBezTo>
                      <a:pt x="122" y="14"/>
                      <a:pt x="122" y="14"/>
                      <a:pt x="122" y="14"/>
                    </a:cubicBezTo>
                    <a:cubicBezTo>
                      <a:pt x="122" y="15"/>
                      <a:pt x="122" y="15"/>
                      <a:pt x="122" y="15"/>
                    </a:cubicBezTo>
                    <a:cubicBezTo>
                      <a:pt x="122" y="16"/>
                      <a:pt x="121" y="15"/>
                      <a:pt x="122" y="16"/>
                    </a:cubicBezTo>
                    <a:cubicBezTo>
                      <a:pt x="123" y="17"/>
                      <a:pt x="123" y="16"/>
                      <a:pt x="123" y="15"/>
                    </a:cubicBezTo>
                    <a:cubicBezTo>
                      <a:pt x="123" y="15"/>
                      <a:pt x="123" y="16"/>
                      <a:pt x="123" y="16"/>
                    </a:cubicBezTo>
                    <a:close/>
                    <a:moveTo>
                      <a:pt x="127" y="12"/>
                    </a:moveTo>
                    <a:cubicBezTo>
                      <a:pt x="127" y="12"/>
                      <a:pt x="127" y="13"/>
                      <a:pt x="128" y="13"/>
                    </a:cubicBezTo>
                    <a:cubicBezTo>
                      <a:pt x="128" y="13"/>
                      <a:pt x="129" y="13"/>
                      <a:pt x="129" y="12"/>
                    </a:cubicBezTo>
                    <a:cubicBezTo>
                      <a:pt x="130" y="12"/>
                      <a:pt x="130" y="11"/>
                      <a:pt x="130" y="11"/>
                    </a:cubicBezTo>
                    <a:cubicBezTo>
                      <a:pt x="129" y="10"/>
                      <a:pt x="129" y="10"/>
                      <a:pt x="129" y="9"/>
                    </a:cubicBezTo>
                    <a:cubicBezTo>
                      <a:pt x="129" y="9"/>
                      <a:pt x="128" y="9"/>
                      <a:pt x="128" y="9"/>
                    </a:cubicBezTo>
                    <a:cubicBezTo>
                      <a:pt x="128" y="9"/>
                      <a:pt x="128" y="9"/>
                      <a:pt x="128" y="9"/>
                    </a:cubicBezTo>
                    <a:cubicBezTo>
                      <a:pt x="128" y="8"/>
                      <a:pt x="127" y="8"/>
                      <a:pt x="127" y="9"/>
                    </a:cubicBezTo>
                    <a:cubicBezTo>
                      <a:pt x="126" y="9"/>
                      <a:pt x="127" y="11"/>
                      <a:pt x="127" y="11"/>
                    </a:cubicBezTo>
                    <a:cubicBezTo>
                      <a:pt x="127" y="12"/>
                      <a:pt x="127" y="12"/>
                      <a:pt x="127" y="12"/>
                    </a:cubicBezTo>
                    <a:close/>
                    <a:moveTo>
                      <a:pt x="118" y="13"/>
                    </a:moveTo>
                    <a:cubicBezTo>
                      <a:pt x="118" y="14"/>
                      <a:pt x="118" y="13"/>
                      <a:pt x="118" y="13"/>
                    </a:cubicBezTo>
                    <a:cubicBezTo>
                      <a:pt x="118" y="13"/>
                      <a:pt x="119" y="14"/>
                      <a:pt x="119" y="14"/>
                    </a:cubicBezTo>
                    <a:cubicBezTo>
                      <a:pt x="119" y="14"/>
                      <a:pt x="119" y="13"/>
                      <a:pt x="119" y="13"/>
                    </a:cubicBezTo>
                    <a:cubicBezTo>
                      <a:pt x="119" y="13"/>
                      <a:pt x="119" y="13"/>
                      <a:pt x="119" y="13"/>
                    </a:cubicBezTo>
                    <a:cubicBezTo>
                      <a:pt x="120" y="13"/>
                      <a:pt x="119" y="13"/>
                      <a:pt x="120" y="13"/>
                    </a:cubicBezTo>
                    <a:cubicBezTo>
                      <a:pt x="120" y="12"/>
                      <a:pt x="120" y="13"/>
                      <a:pt x="121" y="13"/>
                    </a:cubicBezTo>
                    <a:cubicBezTo>
                      <a:pt x="121" y="13"/>
                      <a:pt x="122" y="12"/>
                      <a:pt x="122" y="12"/>
                    </a:cubicBezTo>
                    <a:cubicBezTo>
                      <a:pt x="122" y="12"/>
                      <a:pt x="123" y="12"/>
                      <a:pt x="123" y="11"/>
                    </a:cubicBezTo>
                    <a:cubicBezTo>
                      <a:pt x="123" y="11"/>
                      <a:pt x="123" y="11"/>
                      <a:pt x="123" y="11"/>
                    </a:cubicBezTo>
                    <a:cubicBezTo>
                      <a:pt x="123" y="10"/>
                      <a:pt x="123" y="10"/>
                      <a:pt x="123" y="10"/>
                    </a:cubicBezTo>
                    <a:cubicBezTo>
                      <a:pt x="123" y="10"/>
                      <a:pt x="124" y="10"/>
                      <a:pt x="124" y="10"/>
                    </a:cubicBezTo>
                    <a:cubicBezTo>
                      <a:pt x="124" y="10"/>
                      <a:pt x="124" y="9"/>
                      <a:pt x="124" y="9"/>
                    </a:cubicBezTo>
                    <a:cubicBezTo>
                      <a:pt x="124" y="9"/>
                      <a:pt x="124" y="9"/>
                      <a:pt x="125" y="9"/>
                    </a:cubicBezTo>
                    <a:cubicBezTo>
                      <a:pt x="125" y="9"/>
                      <a:pt x="125" y="9"/>
                      <a:pt x="125" y="9"/>
                    </a:cubicBezTo>
                    <a:cubicBezTo>
                      <a:pt x="125" y="8"/>
                      <a:pt x="125" y="8"/>
                      <a:pt x="125" y="8"/>
                    </a:cubicBezTo>
                    <a:cubicBezTo>
                      <a:pt x="125" y="7"/>
                      <a:pt x="126" y="8"/>
                      <a:pt x="125" y="7"/>
                    </a:cubicBezTo>
                    <a:cubicBezTo>
                      <a:pt x="125" y="7"/>
                      <a:pt x="125" y="6"/>
                      <a:pt x="125" y="6"/>
                    </a:cubicBezTo>
                    <a:cubicBezTo>
                      <a:pt x="125" y="6"/>
                      <a:pt x="125" y="6"/>
                      <a:pt x="124" y="7"/>
                    </a:cubicBezTo>
                    <a:cubicBezTo>
                      <a:pt x="124" y="7"/>
                      <a:pt x="125" y="7"/>
                      <a:pt x="125" y="7"/>
                    </a:cubicBezTo>
                    <a:cubicBezTo>
                      <a:pt x="124" y="8"/>
                      <a:pt x="124" y="7"/>
                      <a:pt x="124" y="7"/>
                    </a:cubicBezTo>
                    <a:cubicBezTo>
                      <a:pt x="123" y="7"/>
                      <a:pt x="123" y="7"/>
                      <a:pt x="123" y="8"/>
                    </a:cubicBezTo>
                    <a:cubicBezTo>
                      <a:pt x="122" y="8"/>
                      <a:pt x="123" y="8"/>
                      <a:pt x="123" y="9"/>
                    </a:cubicBezTo>
                    <a:cubicBezTo>
                      <a:pt x="123" y="9"/>
                      <a:pt x="122" y="10"/>
                      <a:pt x="122" y="10"/>
                    </a:cubicBezTo>
                    <a:cubicBezTo>
                      <a:pt x="122" y="10"/>
                      <a:pt x="122" y="9"/>
                      <a:pt x="121" y="9"/>
                    </a:cubicBezTo>
                    <a:cubicBezTo>
                      <a:pt x="121" y="8"/>
                      <a:pt x="121" y="8"/>
                      <a:pt x="121" y="8"/>
                    </a:cubicBezTo>
                    <a:cubicBezTo>
                      <a:pt x="120" y="9"/>
                      <a:pt x="121" y="9"/>
                      <a:pt x="121" y="9"/>
                    </a:cubicBezTo>
                    <a:cubicBezTo>
                      <a:pt x="121" y="10"/>
                      <a:pt x="121" y="10"/>
                      <a:pt x="121" y="10"/>
                    </a:cubicBezTo>
                    <a:cubicBezTo>
                      <a:pt x="121" y="11"/>
                      <a:pt x="120" y="10"/>
                      <a:pt x="120" y="10"/>
                    </a:cubicBezTo>
                    <a:cubicBezTo>
                      <a:pt x="120" y="11"/>
                      <a:pt x="120" y="11"/>
                      <a:pt x="120" y="10"/>
                    </a:cubicBezTo>
                    <a:cubicBezTo>
                      <a:pt x="120" y="10"/>
                      <a:pt x="120" y="9"/>
                      <a:pt x="119" y="9"/>
                    </a:cubicBezTo>
                    <a:cubicBezTo>
                      <a:pt x="119" y="9"/>
                      <a:pt x="119" y="10"/>
                      <a:pt x="119" y="10"/>
                    </a:cubicBezTo>
                    <a:cubicBezTo>
                      <a:pt x="118" y="10"/>
                      <a:pt x="119" y="10"/>
                      <a:pt x="118" y="10"/>
                    </a:cubicBezTo>
                    <a:cubicBezTo>
                      <a:pt x="118" y="10"/>
                      <a:pt x="118" y="11"/>
                      <a:pt x="118" y="11"/>
                    </a:cubicBezTo>
                    <a:cubicBezTo>
                      <a:pt x="118" y="11"/>
                      <a:pt x="118" y="10"/>
                      <a:pt x="117" y="10"/>
                    </a:cubicBezTo>
                    <a:cubicBezTo>
                      <a:pt x="117" y="10"/>
                      <a:pt x="117" y="11"/>
                      <a:pt x="116" y="11"/>
                    </a:cubicBezTo>
                    <a:cubicBezTo>
                      <a:pt x="116" y="11"/>
                      <a:pt x="115" y="10"/>
                      <a:pt x="115" y="11"/>
                    </a:cubicBezTo>
                    <a:cubicBezTo>
                      <a:pt x="115" y="11"/>
                      <a:pt x="116" y="11"/>
                      <a:pt x="116" y="11"/>
                    </a:cubicBezTo>
                    <a:cubicBezTo>
                      <a:pt x="116" y="11"/>
                      <a:pt x="116" y="11"/>
                      <a:pt x="116" y="11"/>
                    </a:cubicBezTo>
                    <a:cubicBezTo>
                      <a:pt x="116" y="11"/>
                      <a:pt x="117" y="11"/>
                      <a:pt x="117" y="11"/>
                    </a:cubicBezTo>
                    <a:cubicBezTo>
                      <a:pt x="118" y="11"/>
                      <a:pt x="117" y="12"/>
                      <a:pt x="117" y="12"/>
                    </a:cubicBezTo>
                    <a:cubicBezTo>
                      <a:pt x="117" y="12"/>
                      <a:pt x="116" y="13"/>
                      <a:pt x="117" y="14"/>
                    </a:cubicBezTo>
                    <a:cubicBezTo>
                      <a:pt x="117" y="14"/>
                      <a:pt x="117" y="13"/>
                      <a:pt x="117" y="13"/>
                    </a:cubicBezTo>
                    <a:cubicBezTo>
                      <a:pt x="118" y="13"/>
                      <a:pt x="118" y="13"/>
                      <a:pt x="118" y="13"/>
                    </a:cubicBezTo>
                    <a:close/>
                    <a:moveTo>
                      <a:pt x="130" y="4"/>
                    </a:moveTo>
                    <a:cubicBezTo>
                      <a:pt x="130" y="4"/>
                      <a:pt x="130" y="3"/>
                      <a:pt x="130" y="3"/>
                    </a:cubicBezTo>
                    <a:cubicBezTo>
                      <a:pt x="130" y="3"/>
                      <a:pt x="129" y="3"/>
                      <a:pt x="129" y="3"/>
                    </a:cubicBezTo>
                    <a:cubicBezTo>
                      <a:pt x="128" y="3"/>
                      <a:pt x="128" y="3"/>
                      <a:pt x="128" y="4"/>
                    </a:cubicBezTo>
                    <a:cubicBezTo>
                      <a:pt x="128" y="4"/>
                      <a:pt x="129" y="4"/>
                      <a:pt x="129" y="4"/>
                    </a:cubicBezTo>
                    <a:cubicBezTo>
                      <a:pt x="129" y="4"/>
                      <a:pt x="128" y="4"/>
                      <a:pt x="128" y="4"/>
                    </a:cubicBezTo>
                    <a:cubicBezTo>
                      <a:pt x="128" y="4"/>
                      <a:pt x="129" y="5"/>
                      <a:pt x="129" y="5"/>
                    </a:cubicBezTo>
                    <a:cubicBezTo>
                      <a:pt x="129" y="5"/>
                      <a:pt x="129" y="5"/>
                      <a:pt x="130" y="5"/>
                    </a:cubicBezTo>
                    <a:cubicBezTo>
                      <a:pt x="130" y="5"/>
                      <a:pt x="131" y="4"/>
                      <a:pt x="130" y="4"/>
                    </a:cubicBezTo>
                    <a:cubicBezTo>
                      <a:pt x="130" y="4"/>
                      <a:pt x="130" y="4"/>
                      <a:pt x="130" y="4"/>
                    </a:cubicBezTo>
                    <a:cubicBezTo>
                      <a:pt x="129" y="4"/>
                      <a:pt x="130" y="4"/>
                      <a:pt x="130" y="4"/>
                    </a:cubicBezTo>
                    <a:cubicBezTo>
                      <a:pt x="130" y="4"/>
                      <a:pt x="130" y="4"/>
                      <a:pt x="130" y="4"/>
                    </a:cubicBezTo>
                    <a:cubicBezTo>
                      <a:pt x="130" y="4"/>
                      <a:pt x="130" y="4"/>
                      <a:pt x="130" y="4"/>
                    </a:cubicBezTo>
                    <a:close/>
                    <a:moveTo>
                      <a:pt x="134" y="3"/>
                    </a:moveTo>
                    <a:cubicBezTo>
                      <a:pt x="134" y="3"/>
                      <a:pt x="134" y="3"/>
                      <a:pt x="134" y="3"/>
                    </a:cubicBezTo>
                    <a:cubicBezTo>
                      <a:pt x="134" y="3"/>
                      <a:pt x="134" y="2"/>
                      <a:pt x="134" y="2"/>
                    </a:cubicBezTo>
                    <a:cubicBezTo>
                      <a:pt x="134" y="2"/>
                      <a:pt x="134" y="1"/>
                      <a:pt x="134" y="1"/>
                    </a:cubicBezTo>
                    <a:cubicBezTo>
                      <a:pt x="134" y="1"/>
                      <a:pt x="133" y="1"/>
                      <a:pt x="133" y="2"/>
                    </a:cubicBezTo>
                    <a:cubicBezTo>
                      <a:pt x="133" y="2"/>
                      <a:pt x="133" y="2"/>
                      <a:pt x="134" y="3"/>
                    </a:cubicBezTo>
                    <a:cubicBezTo>
                      <a:pt x="134" y="3"/>
                      <a:pt x="133" y="2"/>
                      <a:pt x="134" y="3"/>
                    </a:cubicBezTo>
                    <a:close/>
                    <a:moveTo>
                      <a:pt x="139" y="3"/>
                    </a:moveTo>
                    <a:cubicBezTo>
                      <a:pt x="139" y="4"/>
                      <a:pt x="139" y="4"/>
                      <a:pt x="139" y="5"/>
                    </a:cubicBezTo>
                    <a:cubicBezTo>
                      <a:pt x="139" y="5"/>
                      <a:pt x="140" y="5"/>
                      <a:pt x="140" y="5"/>
                    </a:cubicBezTo>
                    <a:cubicBezTo>
                      <a:pt x="140" y="5"/>
                      <a:pt x="140" y="4"/>
                      <a:pt x="140" y="4"/>
                    </a:cubicBezTo>
                    <a:cubicBezTo>
                      <a:pt x="141" y="4"/>
                      <a:pt x="141" y="4"/>
                      <a:pt x="141" y="4"/>
                    </a:cubicBezTo>
                    <a:cubicBezTo>
                      <a:pt x="142" y="4"/>
                      <a:pt x="142" y="4"/>
                      <a:pt x="143" y="4"/>
                    </a:cubicBezTo>
                    <a:cubicBezTo>
                      <a:pt x="143" y="4"/>
                      <a:pt x="144" y="3"/>
                      <a:pt x="144" y="3"/>
                    </a:cubicBezTo>
                    <a:cubicBezTo>
                      <a:pt x="144" y="2"/>
                      <a:pt x="144" y="2"/>
                      <a:pt x="143" y="2"/>
                    </a:cubicBezTo>
                    <a:cubicBezTo>
                      <a:pt x="143" y="2"/>
                      <a:pt x="143" y="3"/>
                      <a:pt x="142" y="3"/>
                    </a:cubicBezTo>
                    <a:cubicBezTo>
                      <a:pt x="142" y="3"/>
                      <a:pt x="142" y="3"/>
                      <a:pt x="142" y="3"/>
                    </a:cubicBezTo>
                    <a:cubicBezTo>
                      <a:pt x="142" y="3"/>
                      <a:pt x="142" y="3"/>
                      <a:pt x="142" y="2"/>
                    </a:cubicBezTo>
                    <a:cubicBezTo>
                      <a:pt x="142" y="2"/>
                      <a:pt x="143" y="2"/>
                      <a:pt x="143" y="1"/>
                    </a:cubicBezTo>
                    <a:cubicBezTo>
                      <a:pt x="142" y="1"/>
                      <a:pt x="142" y="1"/>
                      <a:pt x="141" y="1"/>
                    </a:cubicBezTo>
                    <a:cubicBezTo>
                      <a:pt x="141" y="1"/>
                      <a:pt x="141" y="0"/>
                      <a:pt x="141" y="0"/>
                    </a:cubicBezTo>
                    <a:cubicBezTo>
                      <a:pt x="141" y="0"/>
                      <a:pt x="141" y="0"/>
                      <a:pt x="140" y="0"/>
                    </a:cubicBezTo>
                    <a:cubicBezTo>
                      <a:pt x="140" y="0"/>
                      <a:pt x="140" y="0"/>
                      <a:pt x="140" y="0"/>
                    </a:cubicBezTo>
                    <a:cubicBezTo>
                      <a:pt x="139" y="1"/>
                      <a:pt x="141" y="2"/>
                      <a:pt x="141" y="3"/>
                    </a:cubicBezTo>
                    <a:cubicBezTo>
                      <a:pt x="140" y="2"/>
                      <a:pt x="140" y="2"/>
                      <a:pt x="140" y="1"/>
                    </a:cubicBezTo>
                    <a:cubicBezTo>
                      <a:pt x="139" y="1"/>
                      <a:pt x="139" y="1"/>
                      <a:pt x="139" y="2"/>
                    </a:cubicBezTo>
                    <a:cubicBezTo>
                      <a:pt x="139" y="2"/>
                      <a:pt x="138" y="2"/>
                      <a:pt x="138" y="2"/>
                    </a:cubicBezTo>
                    <a:cubicBezTo>
                      <a:pt x="138" y="2"/>
                      <a:pt x="138" y="2"/>
                      <a:pt x="138" y="2"/>
                    </a:cubicBezTo>
                    <a:cubicBezTo>
                      <a:pt x="138" y="3"/>
                      <a:pt x="139" y="3"/>
                      <a:pt x="139" y="3"/>
                    </a:cubicBezTo>
                    <a:cubicBezTo>
                      <a:pt x="139" y="3"/>
                      <a:pt x="139" y="3"/>
                      <a:pt x="139" y="3"/>
                    </a:cubicBezTo>
                    <a:close/>
                    <a:moveTo>
                      <a:pt x="169" y="26"/>
                    </a:moveTo>
                    <a:cubicBezTo>
                      <a:pt x="168" y="26"/>
                      <a:pt x="168" y="26"/>
                      <a:pt x="168" y="27"/>
                    </a:cubicBezTo>
                    <a:cubicBezTo>
                      <a:pt x="168" y="27"/>
                      <a:pt x="168" y="28"/>
                      <a:pt x="168" y="28"/>
                    </a:cubicBezTo>
                    <a:cubicBezTo>
                      <a:pt x="168" y="28"/>
                      <a:pt x="169" y="27"/>
                      <a:pt x="170" y="27"/>
                    </a:cubicBezTo>
                    <a:cubicBezTo>
                      <a:pt x="170" y="27"/>
                      <a:pt x="170" y="27"/>
                      <a:pt x="170" y="27"/>
                    </a:cubicBezTo>
                    <a:cubicBezTo>
                      <a:pt x="170" y="27"/>
                      <a:pt x="169" y="27"/>
                      <a:pt x="169" y="26"/>
                    </a:cubicBezTo>
                    <a:cubicBezTo>
                      <a:pt x="169" y="26"/>
                      <a:pt x="169" y="26"/>
                      <a:pt x="169" y="26"/>
                    </a:cubicBezTo>
                    <a:cubicBezTo>
                      <a:pt x="169" y="26"/>
                      <a:pt x="169" y="26"/>
                      <a:pt x="169" y="26"/>
                    </a:cubicBezTo>
                    <a:close/>
                    <a:moveTo>
                      <a:pt x="3" y="187"/>
                    </a:moveTo>
                    <a:cubicBezTo>
                      <a:pt x="3" y="187"/>
                      <a:pt x="4" y="188"/>
                      <a:pt x="4" y="188"/>
                    </a:cubicBezTo>
                    <a:cubicBezTo>
                      <a:pt x="4" y="188"/>
                      <a:pt x="4" y="186"/>
                      <a:pt x="4" y="186"/>
                    </a:cubicBezTo>
                    <a:cubicBezTo>
                      <a:pt x="3" y="185"/>
                      <a:pt x="3" y="186"/>
                      <a:pt x="3" y="187"/>
                    </a:cubicBezTo>
                    <a:cubicBezTo>
                      <a:pt x="3" y="187"/>
                      <a:pt x="3" y="186"/>
                      <a:pt x="3" y="187"/>
                    </a:cubicBezTo>
                    <a:close/>
                    <a:moveTo>
                      <a:pt x="1" y="174"/>
                    </a:moveTo>
                    <a:cubicBezTo>
                      <a:pt x="1" y="175"/>
                      <a:pt x="2" y="178"/>
                      <a:pt x="3" y="177"/>
                    </a:cubicBezTo>
                    <a:cubicBezTo>
                      <a:pt x="3" y="176"/>
                      <a:pt x="3" y="175"/>
                      <a:pt x="2" y="175"/>
                    </a:cubicBezTo>
                    <a:cubicBezTo>
                      <a:pt x="2" y="175"/>
                      <a:pt x="1" y="174"/>
                      <a:pt x="1" y="174"/>
                    </a:cubicBezTo>
                    <a:cubicBezTo>
                      <a:pt x="1" y="175"/>
                      <a:pt x="1" y="174"/>
                      <a:pt x="1" y="174"/>
                    </a:cubicBezTo>
                    <a:close/>
                    <a:moveTo>
                      <a:pt x="8" y="153"/>
                    </a:moveTo>
                    <a:cubicBezTo>
                      <a:pt x="8" y="152"/>
                      <a:pt x="7" y="150"/>
                      <a:pt x="7" y="152"/>
                    </a:cubicBezTo>
                    <a:cubicBezTo>
                      <a:pt x="6" y="152"/>
                      <a:pt x="7" y="154"/>
                      <a:pt x="8" y="153"/>
                    </a:cubicBezTo>
                    <a:close/>
                    <a:moveTo>
                      <a:pt x="5" y="153"/>
                    </a:moveTo>
                    <a:cubicBezTo>
                      <a:pt x="5" y="154"/>
                      <a:pt x="5" y="155"/>
                      <a:pt x="6" y="154"/>
                    </a:cubicBezTo>
                    <a:cubicBezTo>
                      <a:pt x="6" y="154"/>
                      <a:pt x="6" y="154"/>
                      <a:pt x="6" y="154"/>
                    </a:cubicBezTo>
                    <a:cubicBezTo>
                      <a:pt x="6" y="153"/>
                      <a:pt x="5" y="153"/>
                      <a:pt x="5" y="153"/>
                    </a:cubicBezTo>
                    <a:cubicBezTo>
                      <a:pt x="5" y="153"/>
                      <a:pt x="5" y="153"/>
                      <a:pt x="5" y="153"/>
                    </a:cubicBezTo>
                    <a:close/>
                    <a:moveTo>
                      <a:pt x="22" y="139"/>
                    </a:moveTo>
                    <a:cubicBezTo>
                      <a:pt x="22" y="139"/>
                      <a:pt x="20" y="140"/>
                      <a:pt x="21" y="140"/>
                    </a:cubicBezTo>
                    <a:cubicBezTo>
                      <a:pt x="22" y="140"/>
                      <a:pt x="22" y="139"/>
                      <a:pt x="22" y="139"/>
                    </a:cubicBezTo>
                    <a:cubicBezTo>
                      <a:pt x="22" y="139"/>
                      <a:pt x="22" y="139"/>
                      <a:pt x="22" y="139"/>
                    </a:cubicBezTo>
                    <a:close/>
                    <a:moveTo>
                      <a:pt x="18" y="142"/>
                    </a:moveTo>
                    <a:cubicBezTo>
                      <a:pt x="18" y="142"/>
                      <a:pt x="18" y="142"/>
                      <a:pt x="17" y="142"/>
                    </a:cubicBezTo>
                    <a:cubicBezTo>
                      <a:pt x="17" y="142"/>
                      <a:pt x="17" y="143"/>
                      <a:pt x="18" y="143"/>
                    </a:cubicBezTo>
                    <a:cubicBezTo>
                      <a:pt x="18" y="143"/>
                      <a:pt x="19" y="143"/>
                      <a:pt x="19" y="143"/>
                    </a:cubicBezTo>
                    <a:cubicBezTo>
                      <a:pt x="19" y="142"/>
                      <a:pt x="19" y="141"/>
                      <a:pt x="19" y="141"/>
                    </a:cubicBezTo>
                    <a:cubicBezTo>
                      <a:pt x="18" y="141"/>
                      <a:pt x="18" y="142"/>
                      <a:pt x="18" y="14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9" name="Freeform 783">
                <a:extLst>
                  <a:ext uri="{FF2B5EF4-FFF2-40B4-BE49-F238E27FC236}">
                    <a16:creationId xmlns:a16="http://schemas.microsoft.com/office/drawing/2014/main" id="{D62907BE-5114-E846-A376-2218421F29A9}"/>
                  </a:ext>
                </a:extLst>
              </p:cNvPr>
              <p:cNvSpPr>
                <a:spLocks/>
              </p:cNvSpPr>
              <p:nvPr/>
            </p:nvSpPr>
            <p:spPr bwMode="auto">
              <a:xfrm>
                <a:off x="5942013" y="3530600"/>
                <a:ext cx="49212" cy="53975"/>
              </a:xfrm>
              <a:custGeom>
                <a:avLst/>
                <a:gdLst>
                  <a:gd name="T0" fmla="*/ 11 w 12"/>
                  <a:gd name="T1" fmla="*/ 8 h 13"/>
                  <a:gd name="T2" fmla="*/ 11 w 12"/>
                  <a:gd name="T3" fmla="*/ 8 h 13"/>
                  <a:gd name="T4" fmla="*/ 11 w 12"/>
                  <a:gd name="T5" fmla="*/ 7 h 13"/>
                  <a:gd name="T6" fmla="*/ 12 w 12"/>
                  <a:gd name="T7" fmla="*/ 6 h 13"/>
                  <a:gd name="T8" fmla="*/ 11 w 12"/>
                  <a:gd name="T9" fmla="*/ 6 h 13"/>
                  <a:gd name="T10" fmla="*/ 9 w 12"/>
                  <a:gd name="T11" fmla="*/ 5 h 13"/>
                  <a:gd name="T12" fmla="*/ 9 w 12"/>
                  <a:gd name="T13" fmla="*/ 5 h 13"/>
                  <a:gd name="T14" fmla="*/ 9 w 12"/>
                  <a:gd name="T15" fmla="*/ 4 h 13"/>
                  <a:gd name="T16" fmla="*/ 8 w 12"/>
                  <a:gd name="T17" fmla="*/ 3 h 13"/>
                  <a:gd name="T18" fmla="*/ 7 w 12"/>
                  <a:gd name="T19" fmla="*/ 2 h 13"/>
                  <a:gd name="T20" fmla="*/ 6 w 12"/>
                  <a:gd name="T21" fmla="*/ 2 h 13"/>
                  <a:gd name="T22" fmla="*/ 6 w 12"/>
                  <a:gd name="T23" fmla="*/ 1 h 13"/>
                  <a:gd name="T24" fmla="*/ 4 w 12"/>
                  <a:gd name="T25" fmla="*/ 1 h 13"/>
                  <a:gd name="T26" fmla="*/ 4 w 12"/>
                  <a:gd name="T27" fmla="*/ 2 h 13"/>
                  <a:gd name="T28" fmla="*/ 3 w 12"/>
                  <a:gd name="T29" fmla="*/ 3 h 13"/>
                  <a:gd name="T30" fmla="*/ 3 w 12"/>
                  <a:gd name="T31" fmla="*/ 4 h 13"/>
                  <a:gd name="T32" fmla="*/ 2 w 12"/>
                  <a:gd name="T33" fmla="*/ 4 h 13"/>
                  <a:gd name="T34" fmla="*/ 1 w 12"/>
                  <a:gd name="T35" fmla="*/ 5 h 13"/>
                  <a:gd name="T36" fmla="*/ 0 w 12"/>
                  <a:gd name="T37" fmla="*/ 5 h 13"/>
                  <a:gd name="T38" fmla="*/ 1 w 12"/>
                  <a:gd name="T39" fmla="*/ 6 h 13"/>
                  <a:gd name="T40" fmla="*/ 0 w 12"/>
                  <a:gd name="T41" fmla="*/ 7 h 13"/>
                  <a:gd name="T42" fmla="*/ 1 w 12"/>
                  <a:gd name="T43" fmla="*/ 9 h 13"/>
                  <a:gd name="T44" fmla="*/ 3 w 12"/>
                  <a:gd name="T45" fmla="*/ 9 h 13"/>
                  <a:gd name="T46" fmla="*/ 4 w 12"/>
                  <a:gd name="T47" fmla="*/ 13 h 13"/>
                  <a:gd name="T48" fmla="*/ 5 w 12"/>
                  <a:gd name="T49" fmla="*/ 12 h 13"/>
                  <a:gd name="T50" fmla="*/ 7 w 12"/>
                  <a:gd name="T51" fmla="*/ 11 h 13"/>
                  <a:gd name="T52" fmla="*/ 8 w 12"/>
                  <a:gd name="T53" fmla="*/ 11 h 13"/>
                  <a:gd name="T54" fmla="*/ 9 w 12"/>
                  <a:gd name="T55" fmla="*/ 11 h 13"/>
                  <a:gd name="T56" fmla="*/ 9 w 12"/>
                  <a:gd name="T57" fmla="*/ 10 h 13"/>
                  <a:gd name="T58" fmla="*/ 11 w 12"/>
                  <a:gd name="T59" fmla="*/ 10 h 13"/>
                  <a:gd name="T60" fmla="*/ 10 w 12"/>
                  <a:gd name="T61" fmla="*/ 9 h 13"/>
                  <a:gd name="T62" fmla="*/ 11 w 12"/>
                  <a:gd name="T6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3">
                    <a:moveTo>
                      <a:pt x="11" y="8"/>
                    </a:moveTo>
                    <a:cubicBezTo>
                      <a:pt x="11" y="8"/>
                      <a:pt x="11" y="8"/>
                      <a:pt x="11" y="8"/>
                    </a:cubicBezTo>
                    <a:cubicBezTo>
                      <a:pt x="11" y="8"/>
                      <a:pt x="11" y="7"/>
                      <a:pt x="11" y="7"/>
                    </a:cubicBezTo>
                    <a:cubicBezTo>
                      <a:pt x="12" y="7"/>
                      <a:pt x="12" y="6"/>
                      <a:pt x="12" y="6"/>
                    </a:cubicBezTo>
                    <a:cubicBezTo>
                      <a:pt x="12" y="6"/>
                      <a:pt x="12" y="6"/>
                      <a:pt x="11" y="6"/>
                    </a:cubicBezTo>
                    <a:cubicBezTo>
                      <a:pt x="11" y="5"/>
                      <a:pt x="10" y="6"/>
                      <a:pt x="9" y="5"/>
                    </a:cubicBezTo>
                    <a:cubicBezTo>
                      <a:pt x="9" y="5"/>
                      <a:pt x="9" y="5"/>
                      <a:pt x="9" y="5"/>
                    </a:cubicBezTo>
                    <a:cubicBezTo>
                      <a:pt x="9" y="4"/>
                      <a:pt x="9" y="4"/>
                      <a:pt x="9" y="4"/>
                    </a:cubicBezTo>
                    <a:cubicBezTo>
                      <a:pt x="9" y="4"/>
                      <a:pt x="9" y="4"/>
                      <a:pt x="8" y="3"/>
                    </a:cubicBezTo>
                    <a:cubicBezTo>
                      <a:pt x="8" y="3"/>
                      <a:pt x="8" y="2"/>
                      <a:pt x="7" y="2"/>
                    </a:cubicBezTo>
                    <a:cubicBezTo>
                      <a:pt x="7" y="2"/>
                      <a:pt x="6" y="2"/>
                      <a:pt x="6" y="2"/>
                    </a:cubicBezTo>
                    <a:cubicBezTo>
                      <a:pt x="6" y="1"/>
                      <a:pt x="6" y="1"/>
                      <a:pt x="6" y="1"/>
                    </a:cubicBezTo>
                    <a:cubicBezTo>
                      <a:pt x="5" y="0"/>
                      <a:pt x="5" y="0"/>
                      <a:pt x="4" y="1"/>
                    </a:cubicBezTo>
                    <a:cubicBezTo>
                      <a:pt x="3" y="2"/>
                      <a:pt x="4" y="1"/>
                      <a:pt x="4" y="2"/>
                    </a:cubicBezTo>
                    <a:cubicBezTo>
                      <a:pt x="5" y="3"/>
                      <a:pt x="3" y="3"/>
                      <a:pt x="3" y="3"/>
                    </a:cubicBezTo>
                    <a:cubicBezTo>
                      <a:pt x="3" y="4"/>
                      <a:pt x="3" y="4"/>
                      <a:pt x="3" y="4"/>
                    </a:cubicBezTo>
                    <a:cubicBezTo>
                      <a:pt x="3" y="5"/>
                      <a:pt x="2" y="4"/>
                      <a:pt x="2" y="4"/>
                    </a:cubicBezTo>
                    <a:cubicBezTo>
                      <a:pt x="2" y="5"/>
                      <a:pt x="2" y="5"/>
                      <a:pt x="1" y="5"/>
                    </a:cubicBezTo>
                    <a:cubicBezTo>
                      <a:pt x="1" y="5"/>
                      <a:pt x="1" y="5"/>
                      <a:pt x="0" y="5"/>
                    </a:cubicBezTo>
                    <a:cubicBezTo>
                      <a:pt x="0" y="5"/>
                      <a:pt x="0" y="5"/>
                      <a:pt x="1" y="6"/>
                    </a:cubicBezTo>
                    <a:cubicBezTo>
                      <a:pt x="1" y="6"/>
                      <a:pt x="1" y="6"/>
                      <a:pt x="0" y="7"/>
                    </a:cubicBezTo>
                    <a:cubicBezTo>
                      <a:pt x="1" y="7"/>
                      <a:pt x="1" y="8"/>
                      <a:pt x="1" y="9"/>
                    </a:cubicBezTo>
                    <a:cubicBezTo>
                      <a:pt x="2" y="9"/>
                      <a:pt x="2" y="9"/>
                      <a:pt x="3" y="9"/>
                    </a:cubicBezTo>
                    <a:cubicBezTo>
                      <a:pt x="4" y="10"/>
                      <a:pt x="4" y="12"/>
                      <a:pt x="4" y="13"/>
                    </a:cubicBezTo>
                    <a:cubicBezTo>
                      <a:pt x="5" y="13"/>
                      <a:pt x="5" y="13"/>
                      <a:pt x="5" y="12"/>
                    </a:cubicBezTo>
                    <a:cubicBezTo>
                      <a:pt x="5" y="11"/>
                      <a:pt x="6" y="11"/>
                      <a:pt x="7" y="11"/>
                    </a:cubicBezTo>
                    <a:cubicBezTo>
                      <a:pt x="7" y="10"/>
                      <a:pt x="7" y="10"/>
                      <a:pt x="8" y="11"/>
                    </a:cubicBezTo>
                    <a:cubicBezTo>
                      <a:pt x="8" y="11"/>
                      <a:pt x="8" y="11"/>
                      <a:pt x="9" y="11"/>
                    </a:cubicBezTo>
                    <a:cubicBezTo>
                      <a:pt x="9" y="11"/>
                      <a:pt x="9" y="10"/>
                      <a:pt x="9" y="10"/>
                    </a:cubicBezTo>
                    <a:cubicBezTo>
                      <a:pt x="10" y="10"/>
                      <a:pt x="10" y="10"/>
                      <a:pt x="11" y="10"/>
                    </a:cubicBezTo>
                    <a:cubicBezTo>
                      <a:pt x="10" y="9"/>
                      <a:pt x="10" y="9"/>
                      <a:pt x="10" y="9"/>
                    </a:cubicBezTo>
                    <a:cubicBezTo>
                      <a:pt x="11" y="9"/>
                      <a:pt x="11" y="9"/>
                      <a:pt x="11"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0" name="Freeform 784">
                <a:extLst>
                  <a:ext uri="{FF2B5EF4-FFF2-40B4-BE49-F238E27FC236}">
                    <a16:creationId xmlns:a16="http://schemas.microsoft.com/office/drawing/2014/main" id="{E4442AEA-7137-4869-E00F-DE476023872E}"/>
                  </a:ext>
                </a:extLst>
              </p:cNvPr>
              <p:cNvSpPr>
                <a:spLocks/>
              </p:cNvSpPr>
              <p:nvPr/>
            </p:nvSpPr>
            <p:spPr bwMode="auto">
              <a:xfrm>
                <a:off x="4813301" y="2559050"/>
                <a:ext cx="4762" cy="4763"/>
              </a:xfrm>
              <a:custGeom>
                <a:avLst/>
                <a:gdLst>
                  <a:gd name="T0" fmla="*/ 0 w 3"/>
                  <a:gd name="T1" fmla="*/ 3 h 3"/>
                  <a:gd name="T2" fmla="*/ 0 w 3"/>
                  <a:gd name="T3" fmla="*/ 3 h 3"/>
                  <a:gd name="T4" fmla="*/ 3 w 3"/>
                  <a:gd name="T5" fmla="*/ 3 h 3"/>
                  <a:gd name="T6" fmla="*/ 0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0"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1" name="Freeform 785">
                <a:extLst>
                  <a:ext uri="{FF2B5EF4-FFF2-40B4-BE49-F238E27FC236}">
                    <a16:creationId xmlns:a16="http://schemas.microsoft.com/office/drawing/2014/main" id="{6245D75E-A2E0-3AC1-FA9A-E12BB4C40018}"/>
                  </a:ext>
                </a:extLst>
              </p:cNvPr>
              <p:cNvSpPr>
                <a:spLocks/>
              </p:cNvSpPr>
              <p:nvPr/>
            </p:nvSpPr>
            <p:spPr bwMode="auto">
              <a:xfrm>
                <a:off x="4889501" y="2543175"/>
                <a:ext cx="3175"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2" name="Freeform 786">
                <a:extLst>
                  <a:ext uri="{FF2B5EF4-FFF2-40B4-BE49-F238E27FC236}">
                    <a16:creationId xmlns:a16="http://schemas.microsoft.com/office/drawing/2014/main" id="{8736F8DB-CCAA-EE0F-7A0A-33EAB9B54E22}"/>
                  </a:ext>
                </a:extLst>
              </p:cNvPr>
              <p:cNvSpPr>
                <a:spLocks noEditPoints="1"/>
              </p:cNvSpPr>
              <p:nvPr/>
            </p:nvSpPr>
            <p:spPr bwMode="auto">
              <a:xfrm>
                <a:off x="4689476" y="2351088"/>
                <a:ext cx="320675" cy="212725"/>
              </a:xfrm>
              <a:custGeom>
                <a:avLst/>
                <a:gdLst>
                  <a:gd name="T0" fmla="*/ 76 w 77"/>
                  <a:gd name="T1" fmla="*/ 19 h 51"/>
                  <a:gd name="T2" fmla="*/ 76 w 77"/>
                  <a:gd name="T3" fmla="*/ 15 h 51"/>
                  <a:gd name="T4" fmla="*/ 70 w 77"/>
                  <a:gd name="T5" fmla="*/ 13 h 51"/>
                  <a:gd name="T6" fmla="*/ 67 w 77"/>
                  <a:gd name="T7" fmla="*/ 11 h 51"/>
                  <a:gd name="T8" fmla="*/ 65 w 77"/>
                  <a:gd name="T9" fmla="*/ 6 h 51"/>
                  <a:gd name="T10" fmla="*/ 63 w 77"/>
                  <a:gd name="T11" fmla="*/ 4 h 51"/>
                  <a:gd name="T12" fmla="*/ 58 w 77"/>
                  <a:gd name="T13" fmla="*/ 2 h 51"/>
                  <a:gd name="T14" fmla="*/ 55 w 77"/>
                  <a:gd name="T15" fmla="*/ 1 h 51"/>
                  <a:gd name="T16" fmla="*/ 54 w 77"/>
                  <a:gd name="T17" fmla="*/ 7 h 51"/>
                  <a:gd name="T18" fmla="*/ 48 w 77"/>
                  <a:gd name="T19" fmla="*/ 9 h 51"/>
                  <a:gd name="T20" fmla="*/ 45 w 77"/>
                  <a:gd name="T21" fmla="*/ 13 h 51"/>
                  <a:gd name="T22" fmla="*/ 41 w 77"/>
                  <a:gd name="T23" fmla="*/ 7 h 51"/>
                  <a:gd name="T24" fmla="*/ 37 w 77"/>
                  <a:gd name="T25" fmla="*/ 8 h 51"/>
                  <a:gd name="T26" fmla="*/ 32 w 77"/>
                  <a:gd name="T27" fmla="*/ 11 h 51"/>
                  <a:gd name="T28" fmla="*/ 28 w 77"/>
                  <a:gd name="T29" fmla="*/ 9 h 51"/>
                  <a:gd name="T30" fmla="*/ 28 w 77"/>
                  <a:gd name="T31" fmla="*/ 17 h 51"/>
                  <a:gd name="T32" fmla="*/ 25 w 77"/>
                  <a:gd name="T33" fmla="*/ 20 h 51"/>
                  <a:gd name="T34" fmla="*/ 21 w 77"/>
                  <a:gd name="T35" fmla="*/ 17 h 51"/>
                  <a:gd name="T36" fmla="*/ 22 w 77"/>
                  <a:gd name="T37" fmla="*/ 11 h 51"/>
                  <a:gd name="T38" fmla="*/ 21 w 77"/>
                  <a:gd name="T39" fmla="*/ 8 h 51"/>
                  <a:gd name="T40" fmla="*/ 17 w 77"/>
                  <a:gd name="T41" fmla="*/ 5 h 51"/>
                  <a:gd name="T42" fmla="*/ 11 w 77"/>
                  <a:gd name="T43" fmla="*/ 2 h 51"/>
                  <a:gd name="T44" fmla="*/ 12 w 77"/>
                  <a:gd name="T45" fmla="*/ 4 h 51"/>
                  <a:gd name="T46" fmla="*/ 14 w 77"/>
                  <a:gd name="T47" fmla="*/ 6 h 51"/>
                  <a:gd name="T48" fmla="*/ 15 w 77"/>
                  <a:gd name="T49" fmla="*/ 11 h 51"/>
                  <a:gd name="T50" fmla="*/ 11 w 77"/>
                  <a:gd name="T51" fmla="*/ 9 h 51"/>
                  <a:gd name="T52" fmla="*/ 6 w 77"/>
                  <a:gd name="T53" fmla="*/ 8 h 51"/>
                  <a:gd name="T54" fmla="*/ 7 w 77"/>
                  <a:gd name="T55" fmla="*/ 13 h 51"/>
                  <a:gd name="T56" fmla="*/ 7 w 77"/>
                  <a:gd name="T57" fmla="*/ 16 h 51"/>
                  <a:gd name="T58" fmla="*/ 4 w 77"/>
                  <a:gd name="T59" fmla="*/ 18 h 51"/>
                  <a:gd name="T60" fmla="*/ 11 w 77"/>
                  <a:gd name="T61" fmla="*/ 17 h 51"/>
                  <a:gd name="T62" fmla="*/ 14 w 77"/>
                  <a:gd name="T63" fmla="*/ 16 h 51"/>
                  <a:gd name="T64" fmla="*/ 17 w 77"/>
                  <a:gd name="T65" fmla="*/ 18 h 51"/>
                  <a:gd name="T66" fmla="*/ 14 w 77"/>
                  <a:gd name="T67" fmla="*/ 23 h 51"/>
                  <a:gd name="T68" fmla="*/ 13 w 77"/>
                  <a:gd name="T69" fmla="*/ 25 h 51"/>
                  <a:gd name="T70" fmla="*/ 10 w 77"/>
                  <a:gd name="T71" fmla="*/ 25 h 51"/>
                  <a:gd name="T72" fmla="*/ 8 w 77"/>
                  <a:gd name="T73" fmla="*/ 26 h 51"/>
                  <a:gd name="T74" fmla="*/ 5 w 77"/>
                  <a:gd name="T75" fmla="*/ 30 h 51"/>
                  <a:gd name="T76" fmla="*/ 13 w 77"/>
                  <a:gd name="T77" fmla="*/ 29 h 51"/>
                  <a:gd name="T78" fmla="*/ 15 w 77"/>
                  <a:gd name="T79" fmla="*/ 32 h 51"/>
                  <a:gd name="T80" fmla="*/ 19 w 77"/>
                  <a:gd name="T81" fmla="*/ 32 h 51"/>
                  <a:gd name="T82" fmla="*/ 19 w 77"/>
                  <a:gd name="T83" fmla="*/ 33 h 51"/>
                  <a:gd name="T84" fmla="*/ 19 w 77"/>
                  <a:gd name="T85" fmla="*/ 36 h 51"/>
                  <a:gd name="T86" fmla="*/ 17 w 77"/>
                  <a:gd name="T87" fmla="*/ 39 h 51"/>
                  <a:gd name="T88" fmla="*/ 13 w 77"/>
                  <a:gd name="T89" fmla="*/ 41 h 51"/>
                  <a:gd name="T90" fmla="*/ 14 w 77"/>
                  <a:gd name="T91" fmla="*/ 44 h 51"/>
                  <a:gd name="T92" fmla="*/ 26 w 77"/>
                  <a:gd name="T93" fmla="*/ 45 h 51"/>
                  <a:gd name="T94" fmla="*/ 30 w 77"/>
                  <a:gd name="T95" fmla="*/ 46 h 51"/>
                  <a:gd name="T96" fmla="*/ 38 w 77"/>
                  <a:gd name="T97" fmla="*/ 51 h 51"/>
                  <a:gd name="T98" fmla="*/ 48 w 77"/>
                  <a:gd name="T99" fmla="*/ 47 h 51"/>
                  <a:gd name="T100" fmla="*/ 49 w 77"/>
                  <a:gd name="T101" fmla="*/ 45 h 51"/>
                  <a:gd name="T102" fmla="*/ 54 w 77"/>
                  <a:gd name="T103" fmla="*/ 43 h 51"/>
                  <a:gd name="T104" fmla="*/ 59 w 77"/>
                  <a:gd name="T105" fmla="*/ 41 h 51"/>
                  <a:gd name="T106" fmla="*/ 65 w 77"/>
                  <a:gd name="T107" fmla="*/ 36 h 51"/>
                  <a:gd name="T108" fmla="*/ 67 w 77"/>
                  <a:gd name="T109" fmla="*/ 35 h 51"/>
                  <a:gd name="T110" fmla="*/ 72 w 77"/>
                  <a:gd name="T111" fmla="*/ 30 h 51"/>
                  <a:gd name="T112" fmla="*/ 71 w 77"/>
                  <a:gd name="T113" fmla="*/ 27 h 51"/>
                  <a:gd name="T114" fmla="*/ 74 w 77"/>
                  <a:gd name="T115" fmla="*/ 23 h 51"/>
                  <a:gd name="T116" fmla="*/ 20 w 77"/>
                  <a:gd name="T117"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51">
                    <a:moveTo>
                      <a:pt x="77" y="22"/>
                    </a:moveTo>
                    <a:cubicBezTo>
                      <a:pt x="77" y="21"/>
                      <a:pt x="77" y="21"/>
                      <a:pt x="77" y="21"/>
                    </a:cubicBezTo>
                    <a:cubicBezTo>
                      <a:pt x="77" y="21"/>
                      <a:pt x="77" y="21"/>
                      <a:pt x="77" y="20"/>
                    </a:cubicBezTo>
                    <a:cubicBezTo>
                      <a:pt x="77" y="20"/>
                      <a:pt x="76" y="21"/>
                      <a:pt x="76" y="21"/>
                    </a:cubicBezTo>
                    <a:cubicBezTo>
                      <a:pt x="76" y="21"/>
                      <a:pt x="76" y="21"/>
                      <a:pt x="76" y="21"/>
                    </a:cubicBezTo>
                    <a:cubicBezTo>
                      <a:pt x="76" y="21"/>
                      <a:pt x="76" y="21"/>
                      <a:pt x="76" y="21"/>
                    </a:cubicBezTo>
                    <a:cubicBezTo>
                      <a:pt x="75" y="21"/>
                      <a:pt x="75" y="21"/>
                      <a:pt x="75" y="21"/>
                    </a:cubicBezTo>
                    <a:cubicBezTo>
                      <a:pt x="76" y="20"/>
                      <a:pt x="76" y="20"/>
                      <a:pt x="76" y="20"/>
                    </a:cubicBezTo>
                    <a:cubicBezTo>
                      <a:pt x="76" y="20"/>
                      <a:pt x="76" y="20"/>
                      <a:pt x="76" y="20"/>
                    </a:cubicBezTo>
                    <a:cubicBezTo>
                      <a:pt x="75" y="20"/>
                      <a:pt x="74" y="20"/>
                      <a:pt x="74" y="20"/>
                    </a:cubicBezTo>
                    <a:cubicBezTo>
                      <a:pt x="73" y="20"/>
                      <a:pt x="73" y="20"/>
                      <a:pt x="73" y="20"/>
                    </a:cubicBezTo>
                    <a:cubicBezTo>
                      <a:pt x="74" y="20"/>
                      <a:pt x="76" y="20"/>
                      <a:pt x="76" y="19"/>
                    </a:cubicBezTo>
                    <a:cubicBezTo>
                      <a:pt x="76" y="18"/>
                      <a:pt x="76" y="18"/>
                      <a:pt x="76" y="18"/>
                    </a:cubicBezTo>
                    <a:cubicBezTo>
                      <a:pt x="75" y="18"/>
                      <a:pt x="74" y="18"/>
                      <a:pt x="73" y="19"/>
                    </a:cubicBezTo>
                    <a:cubicBezTo>
                      <a:pt x="74" y="18"/>
                      <a:pt x="74" y="18"/>
                      <a:pt x="75" y="18"/>
                    </a:cubicBezTo>
                    <a:cubicBezTo>
                      <a:pt x="75" y="18"/>
                      <a:pt x="75" y="18"/>
                      <a:pt x="75" y="18"/>
                    </a:cubicBezTo>
                    <a:cubicBezTo>
                      <a:pt x="75" y="18"/>
                      <a:pt x="75" y="18"/>
                      <a:pt x="75" y="18"/>
                    </a:cubicBezTo>
                    <a:cubicBezTo>
                      <a:pt x="74" y="17"/>
                      <a:pt x="74" y="17"/>
                      <a:pt x="74" y="17"/>
                    </a:cubicBezTo>
                    <a:cubicBezTo>
                      <a:pt x="75" y="17"/>
                      <a:pt x="75" y="17"/>
                      <a:pt x="75" y="17"/>
                    </a:cubicBezTo>
                    <a:cubicBezTo>
                      <a:pt x="75" y="17"/>
                      <a:pt x="75" y="17"/>
                      <a:pt x="75" y="17"/>
                    </a:cubicBezTo>
                    <a:cubicBezTo>
                      <a:pt x="75" y="17"/>
                      <a:pt x="75" y="17"/>
                      <a:pt x="75" y="17"/>
                    </a:cubicBezTo>
                    <a:cubicBezTo>
                      <a:pt x="75" y="16"/>
                      <a:pt x="75" y="16"/>
                      <a:pt x="75" y="16"/>
                    </a:cubicBezTo>
                    <a:cubicBezTo>
                      <a:pt x="76" y="16"/>
                      <a:pt x="76" y="16"/>
                      <a:pt x="76" y="16"/>
                    </a:cubicBezTo>
                    <a:cubicBezTo>
                      <a:pt x="75" y="16"/>
                      <a:pt x="76" y="15"/>
                      <a:pt x="76" y="15"/>
                    </a:cubicBezTo>
                    <a:cubicBezTo>
                      <a:pt x="75" y="14"/>
                      <a:pt x="75" y="14"/>
                      <a:pt x="75" y="14"/>
                    </a:cubicBezTo>
                    <a:cubicBezTo>
                      <a:pt x="75" y="14"/>
                      <a:pt x="75" y="14"/>
                      <a:pt x="75" y="14"/>
                    </a:cubicBezTo>
                    <a:cubicBezTo>
                      <a:pt x="75" y="14"/>
                      <a:pt x="74" y="15"/>
                      <a:pt x="74" y="15"/>
                    </a:cubicBezTo>
                    <a:cubicBezTo>
                      <a:pt x="74" y="15"/>
                      <a:pt x="74" y="14"/>
                      <a:pt x="74" y="14"/>
                    </a:cubicBezTo>
                    <a:cubicBezTo>
                      <a:pt x="74" y="14"/>
                      <a:pt x="74" y="14"/>
                      <a:pt x="74" y="14"/>
                    </a:cubicBezTo>
                    <a:cubicBezTo>
                      <a:pt x="74" y="13"/>
                      <a:pt x="74" y="13"/>
                      <a:pt x="74" y="13"/>
                    </a:cubicBezTo>
                    <a:cubicBezTo>
                      <a:pt x="73" y="13"/>
                      <a:pt x="73" y="13"/>
                      <a:pt x="73" y="13"/>
                    </a:cubicBezTo>
                    <a:cubicBezTo>
                      <a:pt x="73" y="13"/>
                      <a:pt x="73" y="13"/>
                      <a:pt x="73" y="13"/>
                    </a:cubicBezTo>
                    <a:cubicBezTo>
                      <a:pt x="71" y="13"/>
                      <a:pt x="71" y="13"/>
                      <a:pt x="71" y="13"/>
                    </a:cubicBezTo>
                    <a:cubicBezTo>
                      <a:pt x="71" y="13"/>
                      <a:pt x="71" y="13"/>
                      <a:pt x="71" y="13"/>
                    </a:cubicBezTo>
                    <a:cubicBezTo>
                      <a:pt x="71" y="13"/>
                      <a:pt x="71" y="13"/>
                      <a:pt x="71" y="13"/>
                    </a:cubicBezTo>
                    <a:cubicBezTo>
                      <a:pt x="70" y="13"/>
                      <a:pt x="70" y="13"/>
                      <a:pt x="70" y="13"/>
                    </a:cubicBezTo>
                    <a:cubicBezTo>
                      <a:pt x="70" y="14"/>
                      <a:pt x="70" y="15"/>
                      <a:pt x="69" y="15"/>
                    </a:cubicBezTo>
                    <a:cubicBezTo>
                      <a:pt x="69" y="15"/>
                      <a:pt x="69" y="15"/>
                      <a:pt x="69" y="15"/>
                    </a:cubicBezTo>
                    <a:cubicBezTo>
                      <a:pt x="70" y="14"/>
                      <a:pt x="70" y="14"/>
                      <a:pt x="70" y="13"/>
                    </a:cubicBezTo>
                    <a:cubicBezTo>
                      <a:pt x="71" y="13"/>
                      <a:pt x="71" y="13"/>
                      <a:pt x="71" y="13"/>
                    </a:cubicBezTo>
                    <a:cubicBezTo>
                      <a:pt x="70" y="12"/>
                      <a:pt x="70" y="12"/>
                      <a:pt x="70" y="12"/>
                    </a:cubicBezTo>
                    <a:cubicBezTo>
                      <a:pt x="70" y="11"/>
                      <a:pt x="70" y="11"/>
                      <a:pt x="70" y="11"/>
                    </a:cubicBezTo>
                    <a:cubicBezTo>
                      <a:pt x="70" y="11"/>
                      <a:pt x="70" y="11"/>
                      <a:pt x="70" y="11"/>
                    </a:cubicBezTo>
                    <a:cubicBezTo>
                      <a:pt x="69" y="11"/>
                      <a:pt x="68" y="12"/>
                      <a:pt x="67" y="12"/>
                    </a:cubicBezTo>
                    <a:cubicBezTo>
                      <a:pt x="67" y="12"/>
                      <a:pt x="67" y="12"/>
                      <a:pt x="67" y="12"/>
                    </a:cubicBezTo>
                    <a:cubicBezTo>
                      <a:pt x="67" y="11"/>
                      <a:pt x="67" y="11"/>
                      <a:pt x="67" y="11"/>
                    </a:cubicBezTo>
                    <a:cubicBezTo>
                      <a:pt x="67" y="11"/>
                      <a:pt x="67" y="12"/>
                      <a:pt x="66" y="12"/>
                    </a:cubicBezTo>
                    <a:cubicBezTo>
                      <a:pt x="67" y="11"/>
                      <a:pt x="67" y="11"/>
                      <a:pt x="67" y="11"/>
                    </a:cubicBezTo>
                    <a:cubicBezTo>
                      <a:pt x="67" y="11"/>
                      <a:pt x="67" y="11"/>
                      <a:pt x="67" y="11"/>
                    </a:cubicBezTo>
                    <a:cubicBezTo>
                      <a:pt x="67" y="10"/>
                      <a:pt x="68" y="9"/>
                      <a:pt x="68" y="8"/>
                    </a:cubicBezTo>
                    <a:cubicBezTo>
                      <a:pt x="68" y="8"/>
                      <a:pt x="67" y="7"/>
                      <a:pt x="67" y="7"/>
                    </a:cubicBezTo>
                    <a:cubicBezTo>
                      <a:pt x="67" y="7"/>
                      <a:pt x="67" y="7"/>
                      <a:pt x="67" y="7"/>
                    </a:cubicBezTo>
                    <a:cubicBezTo>
                      <a:pt x="67" y="7"/>
                      <a:pt x="67" y="7"/>
                      <a:pt x="67" y="7"/>
                    </a:cubicBezTo>
                    <a:cubicBezTo>
                      <a:pt x="66" y="7"/>
                      <a:pt x="66" y="7"/>
                      <a:pt x="66" y="7"/>
                    </a:cubicBezTo>
                    <a:cubicBezTo>
                      <a:pt x="66" y="7"/>
                      <a:pt x="65" y="7"/>
                      <a:pt x="65" y="7"/>
                    </a:cubicBezTo>
                    <a:cubicBezTo>
                      <a:pt x="65" y="7"/>
                      <a:pt x="65" y="7"/>
                      <a:pt x="65" y="7"/>
                    </a:cubicBezTo>
                    <a:cubicBezTo>
                      <a:pt x="65" y="6"/>
                      <a:pt x="65" y="6"/>
                      <a:pt x="65" y="6"/>
                    </a:cubicBezTo>
                    <a:cubicBezTo>
                      <a:pt x="64" y="6"/>
                      <a:pt x="64" y="6"/>
                      <a:pt x="64" y="6"/>
                    </a:cubicBezTo>
                    <a:cubicBezTo>
                      <a:pt x="64" y="6"/>
                      <a:pt x="64" y="6"/>
                      <a:pt x="64" y="6"/>
                    </a:cubicBezTo>
                    <a:cubicBezTo>
                      <a:pt x="65" y="6"/>
                      <a:pt x="65" y="6"/>
                      <a:pt x="65" y="6"/>
                    </a:cubicBezTo>
                    <a:cubicBezTo>
                      <a:pt x="65" y="5"/>
                      <a:pt x="65" y="5"/>
                      <a:pt x="65" y="4"/>
                    </a:cubicBezTo>
                    <a:cubicBezTo>
                      <a:pt x="65" y="4"/>
                      <a:pt x="65" y="4"/>
                      <a:pt x="65" y="4"/>
                    </a:cubicBezTo>
                    <a:cubicBezTo>
                      <a:pt x="65" y="4"/>
                      <a:pt x="65" y="4"/>
                      <a:pt x="65" y="4"/>
                    </a:cubicBezTo>
                    <a:cubicBezTo>
                      <a:pt x="65" y="3"/>
                      <a:pt x="65" y="3"/>
                      <a:pt x="65" y="3"/>
                    </a:cubicBezTo>
                    <a:cubicBezTo>
                      <a:pt x="66" y="3"/>
                      <a:pt x="67" y="2"/>
                      <a:pt x="68" y="1"/>
                    </a:cubicBezTo>
                    <a:cubicBezTo>
                      <a:pt x="66" y="2"/>
                      <a:pt x="66" y="2"/>
                      <a:pt x="66" y="2"/>
                    </a:cubicBezTo>
                    <a:cubicBezTo>
                      <a:pt x="66" y="2"/>
                      <a:pt x="66" y="2"/>
                      <a:pt x="66" y="2"/>
                    </a:cubicBezTo>
                    <a:cubicBezTo>
                      <a:pt x="65" y="2"/>
                      <a:pt x="65" y="2"/>
                      <a:pt x="65" y="3"/>
                    </a:cubicBezTo>
                    <a:cubicBezTo>
                      <a:pt x="64" y="3"/>
                      <a:pt x="64" y="3"/>
                      <a:pt x="64" y="3"/>
                    </a:cubicBezTo>
                    <a:cubicBezTo>
                      <a:pt x="64" y="4"/>
                      <a:pt x="64" y="4"/>
                      <a:pt x="64" y="4"/>
                    </a:cubicBezTo>
                    <a:cubicBezTo>
                      <a:pt x="64" y="4"/>
                      <a:pt x="63" y="4"/>
                      <a:pt x="63" y="4"/>
                    </a:cubicBezTo>
                    <a:cubicBezTo>
                      <a:pt x="63" y="4"/>
                      <a:pt x="63" y="4"/>
                      <a:pt x="63" y="4"/>
                    </a:cubicBezTo>
                    <a:cubicBezTo>
                      <a:pt x="63" y="5"/>
                      <a:pt x="63" y="5"/>
                      <a:pt x="62" y="6"/>
                    </a:cubicBezTo>
                    <a:cubicBezTo>
                      <a:pt x="62" y="5"/>
                      <a:pt x="62" y="5"/>
                      <a:pt x="61" y="5"/>
                    </a:cubicBezTo>
                    <a:cubicBezTo>
                      <a:pt x="61" y="5"/>
                      <a:pt x="61" y="5"/>
                      <a:pt x="61" y="5"/>
                    </a:cubicBezTo>
                    <a:cubicBezTo>
                      <a:pt x="60" y="5"/>
                      <a:pt x="60" y="5"/>
                      <a:pt x="60" y="5"/>
                    </a:cubicBezTo>
                    <a:cubicBezTo>
                      <a:pt x="60" y="4"/>
                      <a:pt x="60" y="4"/>
                      <a:pt x="60" y="4"/>
                    </a:cubicBezTo>
                    <a:cubicBezTo>
                      <a:pt x="60" y="4"/>
                      <a:pt x="60" y="4"/>
                      <a:pt x="60" y="4"/>
                    </a:cubicBezTo>
                    <a:cubicBezTo>
                      <a:pt x="60" y="3"/>
                      <a:pt x="60" y="3"/>
                      <a:pt x="60" y="3"/>
                    </a:cubicBezTo>
                    <a:cubicBezTo>
                      <a:pt x="60" y="2"/>
                      <a:pt x="60" y="2"/>
                      <a:pt x="60" y="2"/>
                    </a:cubicBezTo>
                    <a:cubicBezTo>
                      <a:pt x="60" y="2"/>
                      <a:pt x="60" y="2"/>
                      <a:pt x="60" y="2"/>
                    </a:cubicBezTo>
                    <a:cubicBezTo>
                      <a:pt x="59" y="2"/>
                      <a:pt x="59" y="2"/>
                      <a:pt x="59" y="2"/>
                    </a:cubicBezTo>
                    <a:cubicBezTo>
                      <a:pt x="59" y="2"/>
                      <a:pt x="59" y="2"/>
                      <a:pt x="59" y="2"/>
                    </a:cubicBezTo>
                    <a:cubicBezTo>
                      <a:pt x="58" y="2"/>
                      <a:pt x="58" y="2"/>
                      <a:pt x="58" y="2"/>
                    </a:cubicBezTo>
                    <a:cubicBezTo>
                      <a:pt x="58" y="1"/>
                      <a:pt x="58" y="1"/>
                      <a:pt x="58" y="1"/>
                    </a:cubicBezTo>
                    <a:cubicBezTo>
                      <a:pt x="58" y="1"/>
                      <a:pt x="58" y="1"/>
                      <a:pt x="59" y="0"/>
                    </a:cubicBezTo>
                    <a:cubicBezTo>
                      <a:pt x="58" y="0"/>
                      <a:pt x="58" y="0"/>
                      <a:pt x="58" y="0"/>
                    </a:cubicBezTo>
                    <a:cubicBezTo>
                      <a:pt x="57" y="0"/>
                      <a:pt x="57" y="0"/>
                      <a:pt x="57" y="0"/>
                    </a:cubicBezTo>
                    <a:cubicBezTo>
                      <a:pt x="57" y="0"/>
                      <a:pt x="57" y="0"/>
                      <a:pt x="57" y="0"/>
                    </a:cubicBezTo>
                    <a:cubicBezTo>
                      <a:pt x="56" y="0"/>
                      <a:pt x="56" y="0"/>
                      <a:pt x="56" y="0"/>
                    </a:cubicBezTo>
                    <a:cubicBezTo>
                      <a:pt x="56" y="0"/>
                      <a:pt x="56" y="0"/>
                      <a:pt x="56" y="0"/>
                    </a:cubicBezTo>
                    <a:cubicBezTo>
                      <a:pt x="56" y="0"/>
                      <a:pt x="56" y="0"/>
                      <a:pt x="56" y="0"/>
                    </a:cubicBezTo>
                    <a:cubicBezTo>
                      <a:pt x="56" y="1"/>
                      <a:pt x="56" y="1"/>
                      <a:pt x="56" y="1"/>
                    </a:cubicBezTo>
                    <a:cubicBezTo>
                      <a:pt x="56" y="1"/>
                      <a:pt x="56" y="1"/>
                      <a:pt x="56" y="1"/>
                    </a:cubicBezTo>
                    <a:cubicBezTo>
                      <a:pt x="55" y="0"/>
                      <a:pt x="55" y="0"/>
                      <a:pt x="55" y="0"/>
                    </a:cubicBezTo>
                    <a:cubicBezTo>
                      <a:pt x="55" y="1"/>
                      <a:pt x="55" y="1"/>
                      <a:pt x="55" y="1"/>
                    </a:cubicBezTo>
                    <a:cubicBezTo>
                      <a:pt x="55" y="0"/>
                      <a:pt x="55" y="0"/>
                      <a:pt x="55" y="0"/>
                    </a:cubicBezTo>
                    <a:cubicBezTo>
                      <a:pt x="55" y="1"/>
                      <a:pt x="55" y="1"/>
                      <a:pt x="55" y="1"/>
                    </a:cubicBezTo>
                    <a:cubicBezTo>
                      <a:pt x="54" y="1"/>
                      <a:pt x="54" y="1"/>
                      <a:pt x="54" y="1"/>
                    </a:cubicBezTo>
                    <a:cubicBezTo>
                      <a:pt x="54" y="1"/>
                      <a:pt x="54" y="1"/>
                      <a:pt x="54" y="1"/>
                    </a:cubicBezTo>
                    <a:cubicBezTo>
                      <a:pt x="54" y="1"/>
                      <a:pt x="54" y="2"/>
                      <a:pt x="55" y="3"/>
                    </a:cubicBezTo>
                    <a:cubicBezTo>
                      <a:pt x="55" y="4"/>
                      <a:pt x="55" y="4"/>
                      <a:pt x="55" y="6"/>
                    </a:cubicBezTo>
                    <a:cubicBezTo>
                      <a:pt x="55" y="6"/>
                      <a:pt x="55" y="6"/>
                      <a:pt x="55" y="6"/>
                    </a:cubicBezTo>
                    <a:cubicBezTo>
                      <a:pt x="55" y="6"/>
                      <a:pt x="55" y="6"/>
                      <a:pt x="55" y="6"/>
                    </a:cubicBezTo>
                    <a:cubicBezTo>
                      <a:pt x="54" y="6"/>
                      <a:pt x="54" y="6"/>
                      <a:pt x="54" y="6"/>
                    </a:cubicBezTo>
                    <a:cubicBezTo>
                      <a:pt x="54" y="6"/>
                      <a:pt x="55" y="6"/>
                      <a:pt x="55" y="6"/>
                    </a:cubicBezTo>
                    <a:cubicBezTo>
                      <a:pt x="54" y="6"/>
                      <a:pt x="53" y="6"/>
                      <a:pt x="54" y="7"/>
                    </a:cubicBezTo>
                    <a:cubicBezTo>
                      <a:pt x="54" y="7"/>
                      <a:pt x="54" y="7"/>
                      <a:pt x="54" y="7"/>
                    </a:cubicBezTo>
                    <a:cubicBezTo>
                      <a:pt x="54" y="7"/>
                      <a:pt x="54" y="7"/>
                      <a:pt x="54" y="7"/>
                    </a:cubicBezTo>
                    <a:cubicBezTo>
                      <a:pt x="53" y="7"/>
                      <a:pt x="53" y="7"/>
                      <a:pt x="53" y="7"/>
                    </a:cubicBezTo>
                    <a:cubicBezTo>
                      <a:pt x="53" y="7"/>
                      <a:pt x="53" y="7"/>
                      <a:pt x="53" y="7"/>
                    </a:cubicBezTo>
                    <a:cubicBezTo>
                      <a:pt x="53" y="7"/>
                      <a:pt x="53" y="7"/>
                      <a:pt x="53" y="6"/>
                    </a:cubicBezTo>
                    <a:cubicBezTo>
                      <a:pt x="53" y="7"/>
                      <a:pt x="52" y="7"/>
                      <a:pt x="52" y="7"/>
                    </a:cubicBezTo>
                    <a:cubicBezTo>
                      <a:pt x="52" y="7"/>
                      <a:pt x="52" y="7"/>
                      <a:pt x="52" y="7"/>
                    </a:cubicBezTo>
                    <a:cubicBezTo>
                      <a:pt x="52" y="5"/>
                      <a:pt x="50" y="5"/>
                      <a:pt x="50" y="6"/>
                    </a:cubicBezTo>
                    <a:cubicBezTo>
                      <a:pt x="50" y="7"/>
                      <a:pt x="49" y="8"/>
                      <a:pt x="49" y="10"/>
                    </a:cubicBezTo>
                    <a:cubicBezTo>
                      <a:pt x="49" y="9"/>
                      <a:pt x="49" y="9"/>
                      <a:pt x="49" y="9"/>
                    </a:cubicBezTo>
                    <a:cubicBezTo>
                      <a:pt x="47" y="9"/>
                      <a:pt x="47" y="9"/>
                      <a:pt x="47" y="9"/>
                    </a:cubicBezTo>
                    <a:cubicBezTo>
                      <a:pt x="48" y="9"/>
                      <a:pt x="48" y="9"/>
                      <a:pt x="48" y="9"/>
                    </a:cubicBezTo>
                    <a:cubicBezTo>
                      <a:pt x="48" y="9"/>
                      <a:pt x="48" y="9"/>
                      <a:pt x="48" y="9"/>
                    </a:cubicBezTo>
                    <a:cubicBezTo>
                      <a:pt x="47" y="9"/>
                      <a:pt x="48" y="10"/>
                      <a:pt x="48" y="11"/>
                    </a:cubicBezTo>
                    <a:cubicBezTo>
                      <a:pt x="47" y="9"/>
                      <a:pt x="47" y="8"/>
                      <a:pt x="46" y="7"/>
                    </a:cubicBezTo>
                    <a:cubicBezTo>
                      <a:pt x="46" y="7"/>
                      <a:pt x="46" y="7"/>
                      <a:pt x="46" y="7"/>
                    </a:cubicBezTo>
                    <a:cubicBezTo>
                      <a:pt x="45" y="7"/>
                      <a:pt x="45" y="7"/>
                      <a:pt x="45" y="7"/>
                    </a:cubicBezTo>
                    <a:cubicBezTo>
                      <a:pt x="45" y="7"/>
                      <a:pt x="45" y="7"/>
                      <a:pt x="45" y="7"/>
                    </a:cubicBezTo>
                    <a:cubicBezTo>
                      <a:pt x="44" y="7"/>
                      <a:pt x="44" y="7"/>
                      <a:pt x="44" y="7"/>
                    </a:cubicBezTo>
                    <a:cubicBezTo>
                      <a:pt x="44" y="7"/>
                      <a:pt x="44" y="7"/>
                      <a:pt x="44" y="7"/>
                    </a:cubicBezTo>
                    <a:cubicBezTo>
                      <a:pt x="44" y="7"/>
                      <a:pt x="43" y="6"/>
                      <a:pt x="43" y="7"/>
                    </a:cubicBezTo>
                    <a:cubicBezTo>
                      <a:pt x="42" y="8"/>
                      <a:pt x="43" y="9"/>
                      <a:pt x="43" y="10"/>
                    </a:cubicBezTo>
                    <a:cubicBezTo>
                      <a:pt x="44" y="11"/>
                      <a:pt x="44" y="11"/>
                      <a:pt x="44" y="11"/>
                    </a:cubicBezTo>
                    <a:cubicBezTo>
                      <a:pt x="44" y="11"/>
                      <a:pt x="44" y="11"/>
                      <a:pt x="44" y="11"/>
                    </a:cubicBezTo>
                    <a:cubicBezTo>
                      <a:pt x="44" y="11"/>
                      <a:pt x="45" y="12"/>
                      <a:pt x="45" y="13"/>
                    </a:cubicBezTo>
                    <a:cubicBezTo>
                      <a:pt x="44" y="13"/>
                      <a:pt x="44" y="13"/>
                      <a:pt x="44" y="13"/>
                    </a:cubicBezTo>
                    <a:cubicBezTo>
                      <a:pt x="44" y="14"/>
                      <a:pt x="44" y="14"/>
                      <a:pt x="44" y="14"/>
                    </a:cubicBezTo>
                    <a:cubicBezTo>
                      <a:pt x="45" y="14"/>
                      <a:pt x="45" y="14"/>
                      <a:pt x="45" y="15"/>
                    </a:cubicBezTo>
                    <a:cubicBezTo>
                      <a:pt x="45" y="15"/>
                      <a:pt x="45" y="15"/>
                      <a:pt x="45" y="15"/>
                    </a:cubicBezTo>
                    <a:cubicBezTo>
                      <a:pt x="44" y="14"/>
                      <a:pt x="44" y="14"/>
                      <a:pt x="44" y="14"/>
                    </a:cubicBezTo>
                    <a:cubicBezTo>
                      <a:pt x="44" y="13"/>
                      <a:pt x="44" y="12"/>
                      <a:pt x="44" y="12"/>
                    </a:cubicBezTo>
                    <a:cubicBezTo>
                      <a:pt x="43" y="11"/>
                      <a:pt x="43" y="11"/>
                      <a:pt x="43" y="11"/>
                    </a:cubicBezTo>
                    <a:cubicBezTo>
                      <a:pt x="43" y="11"/>
                      <a:pt x="43" y="11"/>
                      <a:pt x="43" y="10"/>
                    </a:cubicBezTo>
                    <a:cubicBezTo>
                      <a:pt x="42" y="10"/>
                      <a:pt x="42" y="10"/>
                      <a:pt x="41" y="10"/>
                    </a:cubicBezTo>
                    <a:cubicBezTo>
                      <a:pt x="41" y="9"/>
                      <a:pt x="41" y="8"/>
                      <a:pt x="41" y="8"/>
                    </a:cubicBezTo>
                    <a:cubicBezTo>
                      <a:pt x="40" y="8"/>
                      <a:pt x="40" y="8"/>
                      <a:pt x="40" y="8"/>
                    </a:cubicBezTo>
                    <a:cubicBezTo>
                      <a:pt x="41" y="7"/>
                      <a:pt x="41" y="7"/>
                      <a:pt x="41" y="7"/>
                    </a:cubicBezTo>
                    <a:cubicBezTo>
                      <a:pt x="40" y="7"/>
                      <a:pt x="40" y="7"/>
                      <a:pt x="40" y="7"/>
                    </a:cubicBezTo>
                    <a:cubicBezTo>
                      <a:pt x="40" y="7"/>
                      <a:pt x="40" y="7"/>
                      <a:pt x="40" y="7"/>
                    </a:cubicBezTo>
                    <a:cubicBezTo>
                      <a:pt x="39" y="7"/>
                      <a:pt x="39" y="7"/>
                      <a:pt x="39" y="7"/>
                    </a:cubicBezTo>
                    <a:cubicBezTo>
                      <a:pt x="39" y="7"/>
                      <a:pt x="39" y="7"/>
                      <a:pt x="39" y="6"/>
                    </a:cubicBezTo>
                    <a:cubicBezTo>
                      <a:pt x="39" y="6"/>
                      <a:pt x="39" y="6"/>
                      <a:pt x="39" y="6"/>
                    </a:cubicBezTo>
                    <a:cubicBezTo>
                      <a:pt x="39" y="7"/>
                      <a:pt x="39" y="7"/>
                      <a:pt x="39" y="7"/>
                    </a:cubicBezTo>
                    <a:cubicBezTo>
                      <a:pt x="39" y="7"/>
                      <a:pt x="39" y="7"/>
                      <a:pt x="39" y="7"/>
                    </a:cubicBezTo>
                    <a:cubicBezTo>
                      <a:pt x="38" y="7"/>
                      <a:pt x="38" y="7"/>
                      <a:pt x="38" y="7"/>
                    </a:cubicBezTo>
                    <a:cubicBezTo>
                      <a:pt x="38" y="7"/>
                      <a:pt x="38" y="7"/>
                      <a:pt x="37" y="7"/>
                    </a:cubicBezTo>
                    <a:cubicBezTo>
                      <a:pt x="37" y="8"/>
                      <a:pt x="37" y="8"/>
                      <a:pt x="37" y="8"/>
                    </a:cubicBezTo>
                    <a:cubicBezTo>
                      <a:pt x="37" y="8"/>
                      <a:pt x="37" y="8"/>
                      <a:pt x="37" y="8"/>
                    </a:cubicBezTo>
                    <a:cubicBezTo>
                      <a:pt x="37" y="8"/>
                      <a:pt x="37" y="8"/>
                      <a:pt x="37" y="8"/>
                    </a:cubicBezTo>
                    <a:cubicBezTo>
                      <a:pt x="36" y="8"/>
                      <a:pt x="36" y="8"/>
                      <a:pt x="36" y="8"/>
                    </a:cubicBezTo>
                    <a:cubicBezTo>
                      <a:pt x="36" y="8"/>
                      <a:pt x="35" y="8"/>
                      <a:pt x="35" y="9"/>
                    </a:cubicBezTo>
                    <a:cubicBezTo>
                      <a:pt x="35" y="10"/>
                      <a:pt x="35" y="10"/>
                      <a:pt x="35" y="10"/>
                    </a:cubicBezTo>
                    <a:cubicBezTo>
                      <a:pt x="35" y="10"/>
                      <a:pt x="35" y="10"/>
                      <a:pt x="35" y="10"/>
                    </a:cubicBezTo>
                    <a:cubicBezTo>
                      <a:pt x="35" y="10"/>
                      <a:pt x="35" y="10"/>
                      <a:pt x="35" y="10"/>
                    </a:cubicBezTo>
                    <a:cubicBezTo>
                      <a:pt x="35" y="11"/>
                      <a:pt x="36" y="13"/>
                      <a:pt x="35" y="14"/>
                    </a:cubicBezTo>
                    <a:cubicBezTo>
                      <a:pt x="35" y="14"/>
                      <a:pt x="35" y="14"/>
                      <a:pt x="34" y="13"/>
                    </a:cubicBezTo>
                    <a:cubicBezTo>
                      <a:pt x="34" y="14"/>
                      <a:pt x="34" y="14"/>
                      <a:pt x="34" y="14"/>
                    </a:cubicBezTo>
                    <a:cubicBezTo>
                      <a:pt x="34" y="13"/>
                      <a:pt x="34" y="13"/>
                      <a:pt x="34" y="13"/>
                    </a:cubicBezTo>
                    <a:cubicBezTo>
                      <a:pt x="34" y="13"/>
                      <a:pt x="33" y="12"/>
                      <a:pt x="33" y="12"/>
                    </a:cubicBezTo>
                    <a:cubicBezTo>
                      <a:pt x="33" y="12"/>
                      <a:pt x="32" y="11"/>
                      <a:pt x="32" y="11"/>
                    </a:cubicBezTo>
                    <a:cubicBezTo>
                      <a:pt x="32" y="11"/>
                      <a:pt x="32" y="11"/>
                      <a:pt x="32" y="11"/>
                    </a:cubicBezTo>
                    <a:cubicBezTo>
                      <a:pt x="32" y="10"/>
                      <a:pt x="32" y="10"/>
                      <a:pt x="32" y="10"/>
                    </a:cubicBezTo>
                    <a:cubicBezTo>
                      <a:pt x="32" y="10"/>
                      <a:pt x="32" y="10"/>
                      <a:pt x="32" y="10"/>
                    </a:cubicBezTo>
                    <a:cubicBezTo>
                      <a:pt x="31" y="10"/>
                      <a:pt x="31" y="9"/>
                      <a:pt x="31" y="8"/>
                    </a:cubicBezTo>
                    <a:cubicBezTo>
                      <a:pt x="31" y="8"/>
                      <a:pt x="31" y="8"/>
                      <a:pt x="31" y="8"/>
                    </a:cubicBezTo>
                    <a:cubicBezTo>
                      <a:pt x="31" y="8"/>
                      <a:pt x="31" y="8"/>
                      <a:pt x="31" y="8"/>
                    </a:cubicBezTo>
                    <a:cubicBezTo>
                      <a:pt x="30" y="8"/>
                      <a:pt x="30" y="8"/>
                      <a:pt x="30" y="8"/>
                    </a:cubicBezTo>
                    <a:cubicBezTo>
                      <a:pt x="30" y="8"/>
                      <a:pt x="30" y="8"/>
                      <a:pt x="30" y="8"/>
                    </a:cubicBezTo>
                    <a:cubicBezTo>
                      <a:pt x="29" y="8"/>
                      <a:pt x="29" y="8"/>
                      <a:pt x="29" y="8"/>
                    </a:cubicBezTo>
                    <a:cubicBezTo>
                      <a:pt x="29" y="8"/>
                      <a:pt x="29" y="8"/>
                      <a:pt x="29" y="8"/>
                    </a:cubicBezTo>
                    <a:cubicBezTo>
                      <a:pt x="29" y="8"/>
                      <a:pt x="29" y="8"/>
                      <a:pt x="28" y="8"/>
                    </a:cubicBezTo>
                    <a:cubicBezTo>
                      <a:pt x="28" y="9"/>
                      <a:pt x="28" y="9"/>
                      <a:pt x="28" y="9"/>
                    </a:cubicBezTo>
                    <a:cubicBezTo>
                      <a:pt x="28" y="9"/>
                      <a:pt x="28" y="9"/>
                      <a:pt x="28" y="9"/>
                    </a:cubicBezTo>
                    <a:cubicBezTo>
                      <a:pt x="29" y="10"/>
                      <a:pt x="28" y="10"/>
                      <a:pt x="29" y="11"/>
                    </a:cubicBezTo>
                    <a:cubicBezTo>
                      <a:pt x="29" y="11"/>
                      <a:pt x="29" y="12"/>
                      <a:pt x="29" y="12"/>
                    </a:cubicBezTo>
                    <a:cubicBezTo>
                      <a:pt x="29" y="13"/>
                      <a:pt x="29" y="13"/>
                      <a:pt x="29" y="13"/>
                    </a:cubicBezTo>
                    <a:cubicBezTo>
                      <a:pt x="29" y="13"/>
                      <a:pt x="30" y="14"/>
                      <a:pt x="29" y="15"/>
                    </a:cubicBezTo>
                    <a:cubicBezTo>
                      <a:pt x="29" y="15"/>
                      <a:pt x="29" y="15"/>
                      <a:pt x="29" y="15"/>
                    </a:cubicBezTo>
                    <a:cubicBezTo>
                      <a:pt x="29" y="15"/>
                      <a:pt x="29" y="15"/>
                      <a:pt x="29" y="15"/>
                    </a:cubicBezTo>
                    <a:cubicBezTo>
                      <a:pt x="29" y="16"/>
                      <a:pt x="29" y="16"/>
                      <a:pt x="29" y="16"/>
                    </a:cubicBezTo>
                    <a:cubicBezTo>
                      <a:pt x="29" y="17"/>
                      <a:pt x="29" y="17"/>
                      <a:pt x="29" y="17"/>
                    </a:cubicBezTo>
                    <a:cubicBezTo>
                      <a:pt x="29" y="17"/>
                      <a:pt x="29" y="17"/>
                      <a:pt x="29" y="17"/>
                    </a:cubicBezTo>
                    <a:cubicBezTo>
                      <a:pt x="29" y="16"/>
                      <a:pt x="29" y="16"/>
                      <a:pt x="29" y="16"/>
                    </a:cubicBezTo>
                    <a:cubicBezTo>
                      <a:pt x="28" y="17"/>
                      <a:pt x="28" y="17"/>
                      <a:pt x="28" y="17"/>
                    </a:cubicBezTo>
                    <a:cubicBezTo>
                      <a:pt x="28" y="17"/>
                      <a:pt x="28" y="17"/>
                      <a:pt x="28" y="17"/>
                    </a:cubicBezTo>
                    <a:cubicBezTo>
                      <a:pt x="28" y="17"/>
                      <a:pt x="28" y="17"/>
                      <a:pt x="28" y="17"/>
                    </a:cubicBezTo>
                    <a:cubicBezTo>
                      <a:pt x="28" y="18"/>
                      <a:pt x="28" y="18"/>
                      <a:pt x="28" y="18"/>
                    </a:cubicBezTo>
                    <a:cubicBezTo>
                      <a:pt x="28" y="18"/>
                      <a:pt x="28" y="18"/>
                      <a:pt x="28" y="18"/>
                    </a:cubicBezTo>
                    <a:cubicBezTo>
                      <a:pt x="27" y="17"/>
                      <a:pt x="27" y="17"/>
                      <a:pt x="27" y="17"/>
                    </a:cubicBezTo>
                    <a:cubicBezTo>
                      <a:pt x="27" y="17"/>
                      <a:pt x="27" y="17"/>
                      <a:pt x="27" y="17"/>
                    </a:cubicBezTo>
                    <a:cubicBezTo>
                      <a:pt x="27" y="16"/>
                      <a:pt x="27" y="16"/>
                      <a:pt x="27" y="16"/>
                    </a:cubicBezTo>
                    <a:cubicBezTo>
                      <a:pt x="27" y="17"/>
                      <a:pt x="27" y="17"/>
                      <a:pt x="27" y="17"/>
                    </a:cubicBezTo>
                    <a:cubicBezTo>
                      <a:pt x="27" y="16"/>
                      <a:pt x="27" y="16"/>
                      <a:pt x="27" y="15"/>
                    </a:cubicBezTo>
                    <a:cubicBezTo>
                      <a:pt x="27" y="15"/>
                      <a:pt x="27" y="15"/>
                      <a:pt x="27" y="15"/>
                    </a:cubicBezTo>
                    <a:cubicBezTo>
                      <a:pt x="26" y="15"/>
                      <a:pt x="25" y="16"/>
                      <a:pt x="25" y="17"/>
                    </a:cubicBezTo>
                    <a:cubicBezTo>
                      <a:pt x="24" y="18"/>
                      <a:pt x="25" y="19"/>
                      <a:pt x="25" y="20"/>
                    </a:cubicBezTo>
                    <a:cubicBezTo>
                      <a:pt x="25" y="20"/>
                      <a:pt x="25" y="20"/>
                      <a:pt x="25" y="20"/>
                    </a:cubicBezTo>
                    <a:cubicBezTo>
                      <a:pt x="24" y="19"/>
                      <a:pt x="24" y="19"/>
                      <a:pt x="24" y="19"/>
                    </a:cubicBezTo>
                    <a:cubicBezTo>
                      <a:pt x="24" y="19"/>
                      <a:pt x="24" y="19"/>
                      <a:pt x="24" y="19"/>
                    </a:cubicBezTo>
                    <a:cubicBezTo>
                      <a:pt x="24" y="20"/>
                      <a:pt x="24" y="21"/>
                      <a:pt x="24" y="22"/>
                    </a:cubicBezTo>
                    <a:cubicBezTo>
                      <a:pt x="24" y="22"/>
                      <a:pt x="24" y="22"/>
                      <a:pt x="24" y="23"/>
                    </a:cubicBezTo>
                    <a:cubicBezTo>
                      <a:pt x="24" y="23"/>
                      <a:pt x="24" y="23"/>
                      <a:pt x="24" y="23"/>
                    </a:cubicBezTo>
                    <a:cubicBezTo>
                      <a:pt x="24" y="23"/>
                      <a:pt x="24" y="23"/>
                      <a:pt x="24" y="23"/>
                    </a:cubicBezTo>
                    <a:cubicBezTo>
                      <a:pt x="24" y="23"/>
                      <a:pt x="24" y="23"/>
                      <a:pt x="24" y="23"/>
                    </a:cubicBezTo>
                    <a:cubicBezTo>
                      <a:pt x="24" y="22"/>
                      <a:pt x="23" y="21"/>
                      <a:pt x="23" y="20"/>
                    </a:cubicBezTo>
                    <a:cubicBezTo>
                      <a:pt x="23" y="19"/>
                      <a:pt x="23" y="18"/>
                      <a:pt x="22" y="18"/>
                    </a:cubicBezTo>
                    <a:cubicBezTo>
                      <a:pt x="22" y="18"/>
                      <a:pt x="21" y="19"/>
                      <a:pt x="21" y="19"/>
                    </a:cubicBezTo>
                    <a:cubicBezTo>
                      <a:pt x="22" y="18"/>
                      <a:pt x="22" y="17"/>
                      <a:pt x="22" y="16"/>
                    </a:cubicBezTo>
                    <a:cubicBezTo>
                      <a:pt x="22" y="16"/>
                      <a:pt x="21" y="17"/>
                      <a:pt x="21" y="17"/>
                    </a:cubicBezTo>
                    <a:cubicBezTo>
                      <a:pt x="21" y="16"/>
                      <a:pt x="22" y="16"/>
                      <a:pt x="21" y="16"/>
                    </a:cubicBezTo>
                    <a:cubicBezTo>
                      <a:pt x="20" y="15"/>
                      <a:pt x="20" y="16"/>
                      <a:pt x="20" y="15"/>
                    </a:cubicBezTo>
                    <a:cubicBezTo>
                      <a:pt x="20" y="14"/>
                      <a:pt x="20" y="14"/>
                      <a:pt x="19" y="13"/>
                    </a:cubicBezTo>
                    <a:cubicBezTo>
                      <a:pt x="19" y="13"/>
                      <a:pt x="19" y="13"/>
                      <a:pt x="19" y="13"/>
                    </a:cubicBezTo>
                    <a:cubicBezTo>
                      <a:pt x="20" y="13"/>
                      <a:pt x="20" y="14"/>
                      <a:pt x="20" y="15"/>
                    </a:cubicBezTo>
                    <a:cubicBezTo>
                      <a:pt x="21" y="15"/>
                      <a:pt x="21" y="15"/>
                      <a:pt x="21" y="15"/>
                    </a:cubicBezTo>
                    <a:cubicBezTo>
                      <a:pt x="22" y="14"/>
                      <a:pt x="22" y="14"/>
                      <a:pt x="22" y="14"/>
                    </a:cubicBezTo>
                    <a:cubicBezTo>
                      <a:pt x="22" y="14"/>
                      <a:pt x="21" y="14"/>
                      <a:pt x="21" y="13"/>
                    </a:cubicBezTo>
                    <a:cubicBezTo>
                      <a:pt x="22" y="13"/>
                      <a:pt x="22" y="13"/>
                      <a:pt x="23" y="12"/>
                    </a:cubicBezTo>
                    <a:cubicBezTo>
                      <a:pt x="22" y="12"/>
                      <a:pt x="22" y="12"/>
                      <a:pt x="22" y="12"/>
                    </a:cubicBezTo>
                    <a:cubicBezTo>
                      <a:pt x="22" y="11"/>
                      <a:pt x="22" y="11"/>
                      <a:pt x="22" y="11"/>
                    </a:cubicBezTo>
                    <a:cubicBezTo>
                      <a:pt x="22" y="11"/>
                      <a:pt x="22" y="11"/>
                      <a:pt x="22" y="11"/>
                    </a:cubicBezTo>
                    <a:cubicBezTo>
                      <a:pt x="22" y="11"/>
                      <a:pt x="22" y="11"/>
                      <a:pt x="22" y="11"/>
                    </a:cubicBezTo>
                    <a:cubicBezTo>
                      <a:pt x="21" y="11"/>
                      <a:pt x="21" y="11"/>
                      <a:pt x="21" y="11"/>
                    </a:cubicBezTo>
                    <a:cubicBezTo>
                      <a:pt x="22" y="10"/>
                      <a:pt x="22" y="10"/>
                      <a:pt x="22" y="10"/>
                    </a:cubicBezTo>
                    <a:cubicBezTo>
                      <a:pt x="21" y="10"/>
                      <a:pt x="21" y="10"/>
                      <a:pt x="20" y="11"/>
                    </a:cubicBezTo>
                    <a:cubicBezTo>
                      <a:pt x="20" y="11"/>
                      <a:pt x="20" y="10"/>
                      <a:pt x="20" y="10"/>
                    </a:cubicBezTo>
                    <a:cubicBezTo>
                      <a:pt x="21" y="10"/>
                      <a:pt x="22" y="10"/>
                      <a:pt x="22" y="10"/>
                    </a:cubicBezTo>
                    <a:cubicBezTo>
                      <a:pt x="22" y="9"/>
                      <a:pt x="22" y="9"/>
                      <a:pt x="22" y="9"/>
                    </a:cubicBezTo>
                    <a:cubicBezTo>
                      <a:pt x="22" y="9"/>
                      <a:pt x="22" y="9"/>
                      <a:pt x="22" y="9"/>
                    </a:cubicBezTo>
                    <a:cubicBezTo>
                      <a:pt x="21" y="10"/>
                      <a:pt x="21" y="10"/>
                      <a:pt x="21" y="10"/>
                    </a:cubicBezTo>
                    <a:cubicBezTo>
                      <a:pt x="21" y="9"/>
                      <a:pt x="21" y="9"/>
                      <a:pt x="21" y="9"/>
                    </a:cubicBezTo>
                    <a:cubicBezTo>
                      <a:pt x="21" y="9"/>
                      <a:pt x="21" y="9"/>
                      <a:pt x="21" y="9"/>
                    </a:cubicBezTo>
                    <a:cubicBezTo>
                      <a:pt x="21" y="8"/>
                      <a:pt x="21" y="8"/>
                      <a:pt x="21" y="8"/>
                    </a:cubicBezTo>
                    <a:cubicBezTo>
                      <a:pt x="20" y="9"/>
                      <a:pt x="20" y="8"/>
                      <a:pt x="20" y="9"/>
                    </a:cubicBezTo>
                    <a:cubicBezTo>
                      <a:pt x="20" y="9"/>
                      <a:pt x="20" y="9"/>
                      <a:pt x="20" y="9"/>
                    </a:cubicBezTo>
                    <a:cubicBezTo>
                      <a:pt x="20" y="9"/>
                      <a:pt x="20" y="9"/>
                      <a:pt x="20" y="9"/>
                    </a:cubicBezTo>
                    <a:cubicBezTo>
                      <a:pt x="20" y="9"/>
                      <a:pt x="20" y="9"/>
                      <a:pt x="20" y="9"/>
                    </a:cubicBezTo>
                    <a:cubicBezTo>
                      <a:pt x="19" y="9"/>
                      <a:pt x="19" y="7"/>
                      <a:pt x="19" y="7"/>
                    </a:cubicBezTo>
                    <a:cubicBezTo>
                      <a:pt x="19" y="7"/>
                      <a:pt x="19" y="7"/>
                      <a:pt x="19" y="7"/>
                    </a:cubicBezTo>
                    <a:cubicBezTo>
                      <a:pt x="19" y="7"/>
                      <a:pt x="19" y="7"/>
                      <a:pt x="19" y="7"/>
                    </a:cubicBezTo>
                    <a:cubicBezTo>
                      <a:pt x="18" y="6"/>
                      <a:pt x="18" y="6"/>
                      <a:pt x="18" y="6"/>
                    </a:cubicBezTo>
                    <a:cubicBezTo>
                      <a:pt x="18" y="6"/>
                      <a:pt x="18" y="6"/>
                      <a:pt x="18" y="6"/>
                    </a:cubicBezTo>
                    <a:cubicBezTo>
                      <a:pt x="18" y="6"/>
                      <a:pt x="18" y="6"/>
                      <a:pt x="18" y="6"/>
                    </a:cubicBezTo>
                    <a:cubicBezTo>
                      <a:pt x="18" y="5"/>
                      <a:pt x="18" y="5"/>
                      <a:pt x="18"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4"/>
                      <a:pt x="16" y="4"/>
                      <a:pt x="16" y="4"/>
                    </a:cubicBezTo>
                    <a:cubicBezTo>
                      <a:pt x="16" y="4"/>
                      <a:pt x="16" y="4"/>
                      <a:pt x="16" y="4"/>
                    </a:cubicBezTo>
                    <a:cubicBezTo>
                      <a:pt x="16" y="4"/>
                      <a:pt x="16" y="4"/>
                      <a:pt x="16" y="4"/>
                    </a:cubicBezTo>
                    <a:cubicBezTo>
                      <a:pt x="16" y="4"/>
                      <a:pt x="16" y="4"/>
                      <a:pt x="16" y="4"/>
                    </a:cubicBezTo>
                    <a:cubicBezTo>
                      <a:pt x="15" y="3"/>
                      <a:pt x="15" y="3"/>
                      <a:pt x="15" y="2"/>
                    </a:cubicBezTo>
                    <a:cubicBezTo>
                      <a:pt x="15" y="2"/>
                      <a:pt x="15" y="3"/>
                      <a:pt x="15" y="3"/>
                    </a:cubicBezTo>
                    <a:cubicBezTo>
                      <a:pt x="14" y="3"/>
                      <a:pt x="14" y="2"/>
                      <a:pt x="14" y="2"/>
                    </a:cubicBezTo>
                    <a:cubicBezTo>
                      <a:pt x="13" y="3"/>
                      <a:pt x="12" y="2"/>
                      <a:pt x="11" y="2"/>
                    </a:cubicBezTo>
                    <a:cubicBezTo>
                      <a:pt x="12" y="3"/>
                      <a:pt x="12" y="3"/>
                      <a:pt x="12" y="3"/>
                    </a:cubicBezTo>
                    <a:cubicBezTo>
                      <a:pt x="12" y="3"/>
                      <a:pt x="12" y="3"/>
                      <a:pt x="12" y="3"/>
                    </a:cubicBezTo>
                    <a:cubicBezTo>
                      <a:pt x="12" y="2"/>
                      <a:pt x="12" y="2"/>
                      <a:pt x="12" y="2"/>
                    </a:cubicBezTo>
                    <a:cubicBezTo>
                      <a:pt x="11" y="2"/>
                      <a:pt x="11" y="2"/>
                      <a:pt x="11" y="2"/>
                    </a:cubicBezTo>
                    <a:cubicBezTo>
                      <a:pt x="11" y="3"/>
                      <a:pt x="11" y="3"/>
                      <a:pt x="11" y="3"/>
                    </a:cubicBezTo>
                    <a:cubicBezTo>
                      <a:pt x="10" y="2"/>
                      <a:pt x="10" y="2"/>
                      <a:pt x="10" y="2"/>
                    </a:cubicBezTo>
                    <a:cubicBezTo>
                      <a:pt x="10" y="3"/>
                      <a:pt x="11" y="3"/>
                      <a:pt x="11" y="3"/>
                    </a:cubicBezTo>
                    <a:cubicBezTo>
                      <a:pt x="11" y="4"/>
                      <a:pt x="11" y="4"/>
                      <a:pt x="11" y="4"/>
                    </a:cubicBezTo>
                    <a:cubicBezTo>
                      <a:pt x="10" y="4"/>
                      <a:pt x="10" y="4"/>
                      <a:pt x="10" y="4"/>
                    </a:cubicBezTo>
                    <a:cubicBezTo>
                      <a:pt x="10" y="4"/>
                      <a:pt x="10" y="4"/>
                      <a:pt x="10" y="4"/>
                    </a:cubicBezTo>
                    <a:cubicBezTo>
                      <a:pt x="10" y="4"/>
                      <a:pt x="11" y="5"/>
                      <a:pt x="11" y="5"/>
                    </a:cubicBezTo>
                    <a:cubicBezTo>
                      <a:pt x="12" y="5"/>
                      <a:pt x="12" y="4"/>
                      <a:pt x="12" y="4"/>
                    </a:cubicBezTo>
                    <a:cubicBezTo>
                      <a:pt x="12" y="4"/>
                      <a:pt x="12" y="4"/>
                      <a:pt x="12" y="5"/>
                    </a:cubicBezTo>
                    <a:cubicBezTo>
                      <a:pt x="13" y="5"/>
                      <a:pt x="13" y="4"/>
                      <a:pt x="13" y="4"/>
                    </a:cubicBezTo>
                    <a:cubicBezTo>
                      <a:pt x="13" y="4"/>
                      <a:pt x="13" y="5"/>
                      <a:pt x="13" y="5"/>
                    </a:cubicBezTo>
                    <a:cubicBezTo>
                      <a:pt x="14" y="5"/>
                      <a:pt x="14" y="5"/>
                      <a:pt x="14" y="5"/>
                    </a:cubicBezTo>
                    <a:cubicBezTo>
                      <a:pt x="14" y="5"/>
                      <a:pt x="14" y="5"/>
                      <a:pt x="14" y="5"/>
                    </a:cubicBezTo>
                    <a:cubicBezTo>
                      <a:pt x="15" y="5"/>
                      <a:pt x="15" y="5"/>
                      <a:pt x="15" y="5"/>
                    </a:cubicBezTo>
                    <a:cubicBezTo>
                      <a:pt x="14" y="5"/>
                      <a:pt x="14" y="5"/>
                      <a:pt x="14" y="5"/>
                    </a:cubicBezTo>
                    <a:cubicBezTo>
                      <a:pt x="14" y="5"/>
                      <a:pt x="14" y="5"/>
                      <a:pt x="14" y="5"/>
                    </a:cubicBezTo>
                    <a:cubicBezTo>
                      <a:pt x="15" y="5"/>
                      <a:pt x="15" y="5"/>
                      <a:pt x="15" y="5"/>
                    </a:cubicBezTo>
                    <a:cubicBezTo>
                      <a:pt x="15" y="5"/>
                      <a:pt x="14" y="6"/>
                      <a:pt x="14" y="6"/>
                    </a:cubicBezTo>
                    <a:cubicBezTo>
                      <a:pt x="14" y="6"/>
                      <a:pt x="14" y="6"/>
                      <a:pt x="14" y="6"/>
                    </a:cubicBezTo>
                    <a:cubicBezTo>
                      <a:pt x="14" y="6"/>
                      <a:pt x="14" y="6"/>
                      <a:pt x="14" y="6"/>
                    </a:cubicBezTo>
                    <a:cubicBezTo>
                      <a:pt x="14" y="5"/>
                      <a:pt x="11" y="5"/>
                      <a:pt x="11" y="6"/>
                    </a:cubicBezTo>
                    <a:cubicBezTo>
                      <a:pt x="12" y="7"/>
                      <a:pt x="13" y="8"/>
                      <a:pt x="14" y="8"/>
                    </a:cubicBezTo>
                    <a:cubicBezTo>
                      <a:pt x="15" y="8"/>
                      <a:pt x="15" y="8"/>
                      <a:pt x="15" y="8"/>
                    </a:cubicBezTo>
                    <a:cubicBezTo>
                      <a:pt x="15" y="8"/>
                      <a:pt x="15" y="8"/>
                      <a:pt x="15" y="8"/>
                    </a:cubicBezTo>
                    <a:cubicBezTo>
                      <a:pt x="15" y="8"/>
                      <a:pt x="15" y="8"/>
                      <a:pt x="15" y="8"/>
                    </a:cubicBezTo>
                    <a:cubicBezTo>
                      <a:pt x="14" y="9"/>
                      <a:pt x="15" y="10"/>
                      <a:pt x="15" y="11"/>
                    </a:cubicBezTo>
                    <a:cubicBezTo>
                      <a:pt x="15" y="11"/>
                      <a:pt x="15" y="11"/>
                      <a:pt x="15" y="11"/>
                    </a:cubicBezTo>
                    <a:cubicBezTo>
                      <a:pt x="15" y="12"/>
                      <a:pt x="15" y="12"/>
                      <a:pt x="15" y="12"/>
                    </a:cubicBezTo>
                    <a:cubicBezTo>
                      <a:pt x="15" y="12"/>
                      <a:pt x="14" y="12"/>
                      <a:pt x="14" y="12"/>
                    </a:cubicBezTo>
                    <a:cubicBezTo>
                      <a:pt x="15" y="12"/>
                      <a:pt x="15" y="11"/>
                      <a:pt x="15" y="11"/>
                    </a:cubicBezTo>
                    <a:cubicBezTo>
                      <a:pt x="15" y="11"/>
                      <a:pt x="15" y="11"/>
                      <a:pt x="15" y="11"/>
                    </a:cubicBezTo>
                    <a:cubicBezTo>
                      <a:pt x="15" y="11"/>
                      <a:pt x="15" y="11"/>
                      <a:pt x="15" y="11"/>
                    </a:cubicBezTo>
                    <a:cubicBezTo>
                      <a:pt x="14" y="11"/>
                      <a:pt x="14" y="11"/>
                      <a:pt x="14" y="11"/>
                    </a:cubicBezTo>
                    <a:cubicBezTo>
                      <a:pt x="14" y="10"/>
                      <a:pt x="14" y="10"/>
                      <a:pt x="14" y="10"/>
                    </a:cubicBezTo>
                    <a:cubicBezTo>
                      <a:pt x="14" y="11"/>
                      <a:pt x="13" y="12"/>
                      <a:pt x="13" y="12"/>
                    </a:cubicBezTo>
                    <a:cubicBezTo>
                      <a:pt x="13" y="12"/>
                      <a:pt x="14" y="11"/>
                      <a:pt x="14" y="11"/>
                    </a:cubicBezTo>
                    <a:cubicBezTo>
                      <a:pt x="14" y="10"/>
                      <a:pt x="13" y="9"/>
                      <a:pt x="13" y="9"/>
                    </a:cubicBezTo>
                    <a:cubicBezTo>
                      <a:pt x="12" y="8"/>
                      <a:pt x="12" y="10"/>
                      <a:pt x="12" y="11"/>
                    </a:cubicBezTo>
                    <a:cubicBezTo>
                      <a:pt x="12" y="11"/>
                      <a:pt x="12" y="10"/>
                      <a:pt x="12" y="10"/>
                    </a:cubicBezTo>
                    <a:cubicBezTo>
                      <a:pt x="12" y="10"/>
                      <a:pt x="12" y="10"/>
                      <a:pt x="11" y="10"/>
                    </a:cubicBezTo>
                    <a:cubicBezTo>
                      <a:pt x="12" y="9"/>
                      <a:pt x="12" y="9"/>
                      <a:pt x="12" y="9"/>
                    </a:cubicBezTo>
                    <a:cubicBezTo>
                      <a:pt x="12" y="9"/>
                      <a:pt x="12" y="9"/>
                      <a:pt x="12" y="9"/>
                    </a:cubicBezTo>
                    <a:cubicBezTo>
                      <a:pt x="11" y="9"/>
                      <a:pt x="11" y="9"/>
                      <a:pt x="11" y="9"/>
                    </a:cubicBezTo>
                    <a:cubicBezTo>
                      <a:pt x="11" y="9"/>
                      <a:pt x="11" y="9"/>
                      <a:pt x="11" y="9"/>
                    </a:cubicBezTo>
                    <a:cubicBezTo>
                      <a:pt x="11" y="9"/>
                      <a:pt x="11" y="10"/>
                      <a:pt x="10" y="10"/>
                    </a:cubicBezTo>
                    <a:cubicBezTo>
                      <a:pt x="11" y="9"/>
                      <a:pt x="11" y="9"/>
                      <a:pt x="11" y="8"/>
                    </a:cubicBezTo>
                    <a:cubicBezTo>
                      <a:pt x="10" y="8"/>
                      <a:pt x="10" y="8"/>
                      <a:pt x="10" y="8"/>
                    </a:cubicBezTo>
                    <a:cubicBezTo>
                      <a:pt x="10" y="8"/>
                      <a:pt x="10" y="8"/>
                      <a:pt x="10" y="8"/>
                    </a:cubicBezTo>
                    <a:cubicBezTo>
                      <a:pt x="10" y="7"/>
                      <a:pt x="9" y="6"/>
                      <a:pt x="8" y="6"/>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8"/>
                      <a:pt x="8" y="8"/>
                    </a:cubicBezTo>
                    <a:cubicBezTo>
                      <a:pt x="8" y="7"/>
                      <a:pt x="7" y="7"/>
                      <a:pt x="6" y="8"/>
                    </a:cubicBezTo>
                    <a:cubicBezTo>
                      <a:pt x="7" y="8"/>
                      <a:pt x="7" y="9"/>
                      <a:pt x="8" y="9"/>
                    </a:cubicBezTo>
                    <a:cubicBezTo>
                      <a:pt x="8" y="10"/>
                      <a:pt x="8" y="10"/>
                      <a:pt x="8" y="10"/>
                    </a:cubicBezTo>
                    <a:cubicBezTo>
                      <a:pt x="8" y="10"/>
                      <a:pt x="8" y="10"/>
                      <a:pt x="8" y="10"/>
                    </a:cubicBezTo>
                    <a:cubicBezTo>
                      <a:pt x="8" y="9"/>
                      <a:pt x="8" y="9"/>
                      <a:pt x="8" y="9"/>
                    </a:cubicBezTo>
                    <a:cubicBezTo>
                      <a:pt x="7" y="10"/>
                      <a:pt x="6" y="7"/>
                      <a:pt x="5" y="9"/>
                    </a:cubicBezTo>
                    <a:cubicBezTo>
                      <a:pt x="5" y="10"/>
                      <a:pt x="7" y="12"/>
                      <a:pt x="9" y="12"/>
                    </a:cubicBezTo>
                    <a:cubicBezTo>
                      <a:pt x="9" y="12"/>
                      <a:pt x="9" y="12"/>
                      <a:pt x="9" y="12"/>
                    </a:cubicBezTo>
                    <a:cubicBezTo>
                      <a:pt x="9" y="12"/>
                      <a:pt x="9" y="12"/>
                      <a:pt x="9" y="12"/>
                    </a:cubicBezTo>
                    <a:cubicBezTo>
                      <a:pt x="9" y="12"/>
                      <a:pt x="8" y="11"/>
                      <a:pt x="7" y="11"/>
                    </a:cubicBezTo>
                    <a:cubicBezTo>
                      <a:pt x="7" y="12"/>
                      <a:pt x="6" y="11"/>
                      <a:pt x="5" y="11"/>
                    </a:cubicBezTo>
                    <a:cubicBezTo>
                      <a:pt x="4" y="11"/>
                      <a:pt x="5" y="12"/>
                      <a:pt x="6" y="13"/>
                    </a:cubicBezTo>
                    <a:cubicBezTo>
                      <a:pt x="6" y="13"/>
                      <a:pt x="7" y="13"/>
                      <a:pt x="7" y="13"/>
                    </a:cubicBezTo>
                    <a:cubicBezTo>
                      <a:pt x="8" y="14"/>
                      <a:pt x="9" y="13"/>
                      <a:pt x="9" y="13"/>
                    </a:cubicBezTo>
                    <a:cubicBezTo>
                      <a:pt x="9" y="13"/>
                      <a:pt x="9" y="13"/>
                      <a:pt x="9" y="13"/>
                    </a:cubicBezTo>
                    <a:cubicBezTo>
                      <a:pt x="9" y="14"/>
                      <a:pt x="9" y="14"/>
                      <a:pt x="9" y="14"/>
                    </a:cubicBezTo>
                    <a:cubicBezTo>
                      <a:pt x="9" y="13"/>
                      <a:pt x="8" y="14"/>
                      <a:pt x="8" y="14"/>
                    </a:cubicBezTo>
                    <a:cubicBezTo>
                      <a:pt x="7" y="14"/>
                      <a:pt x="7" y="14"/>
                      <a:pt x="7" y="14"/>
                    </a:cubicBezTo>
                    <a:cubicBezTo>
                      <a:pt x="7" y="14"/>
                      <a:pt x="7" y="14"/>
                      <a:pt x="7" y="14"/>
                    </a:cubicBezTo>
                    <a:cubicBezTo>
                      <a:pt x="7" y="15"/>
                      <a:pt x="8" y="15"/>
                      <a:pt x="9" y="15"/>
                    </a:cubicBezTo>
                    <a:cubicBezTo>
                      <a:pt x="8" y="15"/>
                      <a:pt x="8" y="15"/>
                      <a:pt x="8" y="15"/>
                    </a:cubicBezTo>
                    <a:cubicBezTo>
                      <a:pt x="8" y="15"/>
                      <a:pt x="8" y="15"/>
                      <a:pt x="8" y="15"/>
                    </a:cubicBezTo>
                    <a:cubicBezTo>
                      <a:pt x="7" y="15"/>
                      <a:pt x="7" y="15"/>
                      <a:pt x="7" y="15"/>
                    </a:cubicBezTo>
                    <a:cubicBezTo>
                      <a:pt x="7" y="16"/>
                      <a:pt x="7" y="16"/>
                      <a:pt x="7" y="16"/>
                    </a:cubicBezTo>
                    <a:cubicBezTo>
                      <a:pt x="7" y="16"/>
                      <a:pt x="7" y="16"/>
                      <a:pt x="7" y="16"/>
                    </a:cubicBezTo>
                    <a:cubicBezTo>
                      <a:pt x="7" y="14"/>
                      <a:pt x="4" y="12"/>
                      <a:pt x="3" y="12"/>
                    </a:cubicBezTo>
                    <a:cubicBezTo>
                      <a:pt x="3" y="13"/>
                      <a:pt x="3" y="14"/>
                      <a:pt x="3" y="14"/>
                    </a:cubicBezTo>
                    <a:cubicBezTo>
                      <a:pt x="4" y="15"/>
                      <a:pt x="5" y="15"/>
                      <a:pt x="5" y="16"/>
                    </a:cubicBezTo>
                    <a:cubicBezTo>
                      <a:pt x="4" y="15"/>
                      <a:pt x="4" y="15"/>
                      <a:pt x="3" y="15"/>
                    </a:cubicBezTo>
                    <a:cubicBezTo>
                      <a:pt x="3" y="16"/>
                      <a:pt x="4" y="16"/>
                      <a:pt x="4" y="17"/>
                    </a:cubicBezTo>
                    <a:cubicBezTo>
                      <a:pt x="5" y="17"/>
                      <a:pt x="5" y="17"/>
                      <a:pt x="5" y="17"/>
                    </a:cubicBezTo>
                    <a:cubicBezTo>
                      <a:pt x="5" y="17"/>
                      <a:pt x="5" y="17"/>
                      <a:pt x="5" y="17"/>
                    </a:cubicBezTo>
                    <a:cubicBezTo>
                      <a:pt x="3" y="17"/>
                      <a:pt x="3" y="15"/>
                      <a:pt x="2" y="15"/>
                    </a:cubicBezTo>
                    <a:cubicBezTo>
                      <a:pt x="1" y="15"/>
                      <a:pt x="1" y="15"/>
                      <a:pt x="1" y="15"/>
                    </a:cubicBezTo>
                    <a:cubicBezTo>
                      <a:pt x="1" y="16"/>
                      <a:pt x="1" y="17"/>
                      <a:pt x="0" y="17"/>
                    </a:cubicBezTo>
                    <a:cubicBezTo>
                      <a:pt x="0" y="18"/>
                      <a:pt x="1" y="17"/>
                      <a:pt x="1" y="17"/>
                    </a:cubicBezTo>
                    <a:cubicBezTo>
                      <a:pt x="2" y="17"/>
                      <a:pt x="3" y="18"/>
                      <a:pt x="4" y="18"/>
                    </a:cubicBezTo>
                    <a:cubicBezTo>
                      <a:pt x="4" y="19"/>
                      <a:pt x="4" y="19"/>
                      <a:pt x="4" y="19"/>
                    </a:cubicBezTo>
                    <a:cubicBezTo>
                      <a:pt x="4" y="19"/>
                      <a:pt x="4" y="19"/>
                      <a:pt x="4" y="19"/>
                    </a:cubicBezTo>
                    <a:cubicBezTo>
                      <a:pt x="6" y="19"/>
                      <a:pt x="6" y="19"/>
                      <a:pt x="6" y="19"/>
                    </a:cubicBezTo>
                    <a:cubicBezTo>
                      <a:pt x="6" y="18"/>
                      <a:pt x="7" y="18"/>
                      <a:pt x="8" y="18"/>
                    </a:cubicBezTo>
                    <a:cubicBezTo>
                      <a:pt x="9" y="18"/>
                      <a:pt x="9" y="18"/>
                      <a:pt x="9" y="18"/>
                    </a:cubicBezTo>
                    <a:cubicBezTo>
                      <a:pt x="9" y="17"/>
                      <a:pt x="9" y="17"/>
                      <a:pt x="9" y="16"/>
                    </a:cubicBezTo>
                    <a:cubicBezTo>
                      <a:pt x="10" y="17"/>
                      <a:pt x="10" y="17"/>
                      <a:pt x="11" y="17"/>
                    </a:cubicBezTo>
                    <a:cubicBezTo>
                      <a:pt x="11" y="16"/>
                      <a:pt x="11" y="16"/>
                      <a:pt x="11" y="16"/>
                    </a:cubicBezTo>
                    <a:cubicBezTo>
                      <a:pt x="11" y="16"/>
                      <a:pt x="11" y="16"/>
                      <a:pt x="11" y="17"/>
                    </a:cubicBezTo>
                    <a:cubicBezTo>
                      <a:pt x="11" y="16"/>
                      <a:pt x="12" y="16"/>
                      <a:pt x="12" y="16"/>
                    </a:cubicBezTo>
                    <a:cubicBezTo>
                      <a:pt x="12" y="16"/>
                      <a:pt x="12" y="16"/>
                      <a:pt x="12" y="16"/>
                    </a:cubicBezTo>
                    <a:cubicBezTo>
                      <a:pt x="11" y="17"/>
                      <a:pt x="11" y="17"/>
                      <a:pt x="11" y="17"/>
                    </a:cubicBezTo>
                    <a:cubicBezTo>
                      <a:pt x="12" y="17"/>
                      <a:pt x="12" y="17"/>
                      <a:pt x="12" y="17"/>
                    </a:cubicBezTo>
                    <a:cubicBezTo>
                      <a:pt x="12" y="17"/>
                      <a:pt x="12" y="17"/>
                      <a:pt x="12" y="17"/>
                    </a:cubicBezTo>
                    <a:cubicBezTo>
                      <a:pt x="12" y="18"/>
                      <a:pt x="12" y="18"/>
                      <a:pt x="12" y="18"/>
                    </a:cubicBezTo>
                    <a:cubicBezTo>
                      <a:pt x="12" y="18"/>
                      <a:pt x="12" y="18"/>
                      <a:pt x="12" y="18"/>
                    </a:cubicBezTo>
                    <a:cubicBezTo>
                      <a:pt x="12" y="16"/>
                      <a:pt x="12" y="16"/>
                      <a:pt x="12" y="16"/>
                    </a:cubicBezTo>
                    <a:cubicBezTo>
                      <a:pt x="12" y="16"/>
                      <a:pt x="12" y="16"/>
                      <a:pt x="12" y="16"/>
                    </a:cubicBezTo>
                    <a:cubicBezTo>
                      <a:pt x="12" y="16"/>
                      <a:pt x="13" y="16"/>
                      <a:pt x="13" y="16"/>
                    </a:cubicBezTo>
                    <a:cubicBezTo>
                      <a:pt x="12" y="16"/>
                      <a:pt x="13" y="17"/>
                      <a:pt x="13" y="17"/>
                    </a:cubicBezTo>
                    <a:cubicBezTo>
                      <a:pt x="13" y="17"/>
                      <a:pt x="13" y="17"/>
                      <a:pt x="13" y="17"/>
                    </a:cubicBezTo>
                    <a:cubicBezTo>
                      <a:pt x="13" y="17"/>
                      <a:pt x="13" y="17"/>
                      <a:pt x="13" y="17"/>
                    </a:cubicBezTo>
                    <a:cubicBezTo>
                      <a:pt x="13" y="17"/>
                      <a:pt x="13" y="17"/>
                      <a:pt x="13" y="17"/>
                    </a:cubicBezTo>
                    <a:cubicBezTo>
                      <a:pt x="14" y="17"/>
                      <a:pt x="14" y="16"/>
                      <a:pt x="14" y="16"/>
                    </a:cubicBezTo>
                    <a:cubicBezTo>
                      <a:pt x="14" y="16"/>
                      <a:pt x="14" y="17"/>
                      <a:pt x="14" y="18"/>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6" y="17"/>
                      <a:pt x="16" y="17"/>
                      <a:pt x="17" y="16"/>
                    </a:cubicBezTo>
                    <a:cubicBezTo>
                      <a:pt x="16" y="17"/>
                      <a:pt x="16" y="17"/>
                      <a:pt x="15" y="17"/>
                    </a:cubicBezTo>
                    <a:cubicBezTo>
                      <a:pt x="14" y="18"/>
                      <a:pt x="15" y="18"/>
                      <a:pt x="16" y="19"/>
                    </a:cubicBezTo>
                    <a:cubicBezTo>
                      <a:pt x="16" y="19"/>
                      <a:pt x="17" y="18"/>
                      <a:pt x="17" y="17"/>
                    </a:cubicBezTo>
                    <a:cubicBezTo>
                      <a:pt x="17" y="18"/>
                      <a:pt x="17" y="18"/>
                      <a:pt x="17" y="18"/>
                    </a:cubicBezTo>
                    <a:cubicBezTo>
                      <a:pt x="17" y="18"/>
                      <a:pt x="17" y="18"/>
                      <a:pt x="18" y="18"/>
                    </a:cubicBezTo>
                    <a:cubicBezTo>
                      <a:pt x="18" y="18"/>
                      <a:pt x="18" y="18"/>
                      <a:pt x="18" y="18"/>
                    </a:cubicBezTo>
                    <a:cubicBezTo>
                      <a:pt x="18" y="18"/>
                      <a:pt x="18" y="19"/>
                      <a:pt x="18" y="19"/>
                    </a:cubicBezTo>
                    <a:cubicBezTo>
                      <a:pt x="18" y="19"/>
                      <a:pt x="19" y="19"/>
                      <a:pt x="19" y="19"/>
                    </a:cubicBezTo>
                    <a:cubicBezTo>
                      <a:pt x="19" y="19"/>
                      <a:pt x="18" y="19"/>
                      <a:pt x="18" y="19"/>
                    </a:cubicBezTo>
                    <a:cubicBezTo>
                      <a:pt x="18" y="20"/>
                      <a:pt x="18" y="20"/>
                      <a:pt x="18" y="20"/>
                    </a:cubicBezTo>
                    <a:cubicBezTo>
                      <a:pt x="18" y="19"/>
                      <a:pt x="17" y="20"/>
                      <a:pt x="17" y="20"/>
                    </a:cubicBezTo>
                    <a:cubicBezTo>
                      <a:pt x="17" y="20"/>
                      <a:pt x="16" y="21"/>
                      <a:pt x="15" y="21"/>
                    </a:cubicBezTo>
                    <a:cubicBezTo>
                      <a:pt x="15" y="21"/>
                      <a:pt x="15" y="21"/>
                      <a:pt x="15" y="21"/>
                    </a:cubicBezTo>
                    <a:cubicBezTo>
                      <a:pt x="14" y="21"/>
                      <a:pt x="14" y="21"/>
                      <a:pt x="14" y="21"/>
                    </a:cubicBezTo>
                    <a:cubicBezTo>
                      <a:pt x="14" y="22"/>
                      <a:pt x="14" y="22"/>
                      <a:pt x="14" y="23"/>
                    </a:cubicBezTo>
                    <a:cubicBezTo>
                      <a:pt x="14" y="23"/>
                      <a:pt x="14" y="23"/>
                      <a:pt x="14" y="23"/>
                    </a:cubicBezTo>
                    <a:cubicBezTo>
                      <a:pt x="13" y="23"/>
                      <a:pt x="13" y="23"/>
                      <a:pt x="13" y="23"/>
                    </a:cubicBezTo>
                    <a:cubicBezTo>
                      <a:pt x="14" y="23"/>
                      <a:pt x="14" y="23"/>
                      <a:pt x="14" y="23"/>
                    </a:cubicBezTo>
                    <a:cubicBezTo>
                      <a:pt x="14" y="23"/>
                      <a:pt x="14" y="23"/>
                      <a:pt x="15" y="23"/>
                    </a:cubicBezTo>
                    <a:cubicBezTo>
                      <a:pt x="15" y="23"/>
                      <a:pt x="16" y="24"/>
                      <a:pt x="16" y="24"/>
                    </a:cubicBezTo>
                    <a:cubicBezTo>
                      <a:pt x="17" y="24"/>
                      <a:pt x="18" y="24"/>
                      <a:pt x="19" y="23"/>
                    </a:cubicBezTo>
                    <a:cubicBezTo>
                      <a:pt x="19" y="23"/>
                      <a:pt x="19" y="23"/>
                      <a:pt x="19" y="23"/>
                    </a:cubicBezTo>
                    <a:cubicBezTo>
                      <a:pt x="19" y="22"/>
                      <a:pt x="19" y="22"/>
                      <a:pt x="19" y="22"/>
                    </a:cubicBezTo>
                    <a:cubicBezTo>
                      <a:pt x="20" y="23"/>
                      <a:pt x="19" y="24"/>
                      <a:pt x="19" y="25"/>
                    </a:cubicBezTo>
                    <a:cubicBezTo>
                      <a:pt x="19" y="26"/>
                      <a:pt x="17" y="25"/>
                      <a:pt x="16" y="25"/>
                    </a:cubicBezTo>
                    <a:cubicBezTo>
                      <a:pt x="16" y="26"/>
                      <a:pt x="15" y="25"/>
                      <a:pt x="15" y="25"/>
                    </a:cubicBezTo>
                    <a:cubicBezTo>
                      <a:pt x="14" y="25"/>
                      <a:pt x="14" y="25"/>
                      <a:pt x="14" y="25"/>
                    </a:cubicBezTo>
                    <a:cubicBezTo>
                      <a:pt x="13" y="25"/>
                      <a:pt x="13" y="25"/>
                      <a:pt x="13" y="25"/>
                    </a:cubicBezTo>
                    <a:cubicBezTo>
                      <a:pt x="13" y="26"/>
                      <a:pt x="13" y="26"/>
                      <a:pt x="13" y="26"/>
                    </a:cubicBezTo>
                    <a:cubicBezTo>
                      <a:pt x="13" y="26"/>
                      <a:pt x="13" y="26"/>
                      <a:pt x="13" y="26"/>
                    </a:cubicBezTo>
                    <a:cubicBezTo>
                      <a:pt x="13" y="26"/>
                      <a:pt x="13" y="26"/>
                      <a:pt x="13" y="26"/>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2" y="25"/>
                      <a:pt x="12" y="25"/>
                    </a:cubicBezTo>
                    <a:cubicBezTo>
                      <a:pt x="11" y="26"/>
                      <a:pt x="11" y="25"/>
                      <a:pt x="11" y="26"/>
                    </a:cubicBezTo>
                    <a:cubicBezTo>
                      <a:pt x="10" y="25"/>
                      <a:pt x="10" y="25"/>
                      <a:pt x="10" y="25"/>
                    </a:cubicBezTo>
                    <a:cubicBezTo>
                      <a:pt x="10" y="26"/>
                      <a:pt x="10" y="26"/>
                      <a:pt x="10" y="26"/>
                    </a:cubicBezTo>
                    <a:cubicBezTo>
                      <a:pt x="9" y="27"/>
                      <a:pt x="9" y="27"/>
                      <a:pt x="9" y="27"/>
                    </a:cubicBezTo>
                    <a:cubicBezTo>
                      <a:pt x="9" y="26"/>
                      <a:pt x="9" y="26"/>
                      <a:pt x="9" y="26"/>
                    </a:cubicBezTo>
                    <a:cubicBezTo>
                      <a:pt x="9" y="26"/>
                      <a:pt x="9" y="26"/>
                      <a:pt x="9" y="26"/>
                    </a:cubicBezTo>
                    <a:cubicBezTo>
                      <a:pt x="9" y="26"/>
                      <a:pt x="9" y="26"/>
                      <a:pt x="9" y="26"/>
                    </a:cubicBezTo>
                    <a:cubicBezTo>
                      <a:pt x="10" y="25"/>
                      <a:pt x="10" y="25"/>
                      <a:pt x="10" y="25"/>
                    </a:cubicBezTo>
                    <a:cubicBezTo>
                      <a:pt x="9" y="25"/>
                      <a:pt x="9" y="25"/>
                      <a:pt x="9" y="25"/>
                    </a:cubicBezTo>
                    <a:cubicBezTo>
                      <a:pt x="9" y="26"/>
                      <a:pt x="9" y="26"/>
                      <a:pt x="9" y="26"/>
                    </a:cubicBezTo>
                    <a:cubicBezTo>
                      <a:pt x="9" y="26"/>
                      <a:pt x="9" y="26"/>
                      <a:pt x="9" y="26"/>
                    </a:cubicBezTo>
                    <a:cubicBezTo>
                      <a:pt x="8" y="27"/>
                      <a:pt x="8" y="27"/>
                      <a:pt x="8" y="27"/>
                    </a:cubicBezTo>
                    <a:cubicBezTo>
                      <a:pt x="8" y="27"/>
                      <a:pt x="8" y="27"/>
                      <a:pt x="8" y="27"/>
                    </a:cubicBezTo>
                    <a:cubicBezTo>
                      <a:pt x="8" y="26"/>
                      <a:pt x="8" y="26"/>
                      <a:pt x="8" y="26"/>
                    </a:cubicBezTo>
                    <a:cubicBezTo>
                      <a:pt x="8" y="27"/>
                      <a:pt x="8" y="27"/>
                      <a:pt x="8" y="27"/>
                    </a:cubicBezTo>
                    <a:cubicBezTo>
                      <a:pt x="8" y="26"/>
                      <a:pt x="8" y="26"/>
                      <a:pt x="8" y="26"/>
                    </a:cubicBezTo>
                    <a:cubicBezTo>
                      <a:pt x="7" y="26"/>
                      <a:pt x="7" y="26"/>
                      <a:pt x="7" y="26"/>
                    </a:cubicBezTo>
                    <a:cubicBezTo>
                      <a:pt x="7" y="26"/>
                      <a:pt x="8" y="26"/>
                      <a:pt x="8" y="26"/>
                    </a:cubicBezTo>
                    <a:cubicBezTo>
                      <a:pt x="7" y="26"/>
                      <a:pt x="7" y="26"/>
                      <a:pt x="7" y="26"/>
                    </a:cubicBezTo>
                    <a:cubicBezTo>
                      <a:pt x="6" y="27"/>
                      <a:pt x="6" y="27"/>
                      <a:pt x="6" y="27"/>
                    </a:cubicBezTo>
                    <a:cubicBezTo>
                      <a:pt x="6" y="27"/>
                      <a:pt x="6" y="27"/>
                      <a:pt x="6" y="27"/>
                    </a:cubicBezTo>
                    <a:cubicBezTo>
                      <a:pt x="6" y="28"/>
                      <a:pt x="4" y="26"/>
                      <a:pt x="3" y="27"/>
                    </a:cubicBezTo>
                    <a:cubicBezTo>
                      <a:pt x="3" y="27"/>
                      <a:pt x="3" y="27"/>
                      <a:pt x="3" y="27"/>
                    </a:cubicBezTo>
                    <a:cubicBezTo>
                      <a:pt x="3" y="28"/>
                      <a:pt x="3" y="28"/>
                      <a:pt x="3" y="29"/>
                    </a:cubicBezTo>
                    <a:cubicBezTo>
                      <a:pt x="4" y="29"/>
                      <a:pt x="4" y="30"/>
                      <a:pt x="4" y="30"/>
                    </a:cubicBezTo>
                    <a:cubicBezTo>
                      <a:pt x="5" y="30"/>
                      <a:pt x="5" y="30"/>
                      <a:pt x="5" y="30"/>
                    </a:cubicBezTo>
                    <a:cubicBezTo>
                      <a:pt x="6" y="29"/>
                      <a:pt x="6" y="29"/>
                      <a:pt x="6" y="29"/>
                    </a:cubicBezTo>
                    <a:cubicBezTo>
                      <a:pt x="7" y="29"/>
                      <a:pt x="7" y="29"/>
                      <a:pt x="7" y="29"/>
                    </a:cubicBezTo>
                    <a:cubicBezTo>
                      <a:pt x="7" y="28"/>
                      <a:pt x="8" y="28"/>
                      <a:pt x="8" y="28"/>
                    </a:cubicBezTo>
                    <a:cubicBezTo>
                      <a:pt x="9" y="29"/>
                      <a:pt x="11"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3" y="29"/>
                    </a:cubicBezTo>
                    <a:cubicBezTo>
                      <a:pt x="13" y="29"/>
                      <a:pt x="13" y="29"/>
                      <a:pt x="13" y="29"/>
                    </a:cubicBezTo>
                    <a:cubicBezTo>
                      <a:pt x="14" y="29"/>
                      <a:pt x="14" y="29"/>
                      <a:pt x="14" y="29"/>
                    </a:cubicBezTo>
                    <a:cubicBezTo>
                      <a:pt x="14" y="29"/>
                      <a:pt x="14" y="29"/>
                      <a:pt x="14" y="29"/>
                    </a:cubicBezTo>
                    <a:cubicBezTo>
                      <a:pt x="14" y="29"/>
                      <a:pt x="14" y="29"/>
                      <a:pt x="14" y="29"/>
                    </a:cubicBezTo>
                    <a:cubicBezTo>
                      <a:pt x="15" y="29"/>
                      <a:pt x="15" y="29"/>
                      <a:pt x="15" y="29"/>
                    </a:cubicBezTo>
                    <a:cubicBezTo>
                      <a:pt x="15" y="30"/>
                      <a:pt x="15" y="30"/>
                      <a:pt x="14" y="31"/>
                    </a:cubicBezTo>
                    <a:cubicBezTo>
                      <a:pt x="14" y="31"/>
                      <a:pt x="16" y="30"/>
                      <a:pt x="16" y="30"/>
                    </a:cubicBezTo>
                    <a:cubicBezTo>
                      <a:pt x="16" y="30"/>
                      <a:pt x="16" y="30"/>
                      <a:pt x="16" y="30"/>
                    </a:cubicBezTo>
                    <a:cubicBezTo>
                      <a:pt x="15" y="31"/>
                      <a:pt x="15" y="31"/>
                      <a:pt x="15" y="31"/>
                    </a:cubicBezTo>
                    <a:cubicBezTo>
                      <a:pt x="15" y="32"/>
                      <a:pt x="15" y="32"/>
                      <a:pt x="15" y="32"/>
                    </a:cubicBezTo>
                    <a:cubicBezTo>
                      <a:pt x="14" y="31"/>
                      <a:pt x="14" y="31"/>
                      <a:pt x="14" y="31"/>
                    </a:cubicBezTo>
                    <a:cubicBezTo>
                      <a:pt x="14" y="31"/>
                      <a:pt x="14" y="32"/>
                      <a:pt x="15" y="32"/>
                    </a:cubicBezTo>
                    <a:cubicBezTo>
                      <a:pt x="15" y="32"/>
                      <a:pt x="15" y="33"/>
                      <a:pt x="15" y="33"/>
                    </a:cubicBezTo>
                    <a:cubicBezTo>
                      <a:pt x="15" y="33"/>
                      <a:pt x="15" y="33"/>
                      <a:pt x="15" y="33"/>
                    </a:cubicBezTo>
                    <a:cubicBezTo>
                      <a:pt x="15" y="33"/>
                      <a:pt x="15" y="33"/>
                      <a:pt x="15" y="33"/>
                    </a:cubicBezTo>
                    <a:cubicBezTo>
                      <a:pt x="16" y="34"/>
                      <a:pt x="16" y="34"/>
                      <a:pt x="16" y="34"/>
                    </a:cubicBezTo>
                    <a:cubicBezTo>
                      <a:pt x="15" y="34"/>
                      <a:pt x="15" y="34"/>
                      <a:pt x="15" y="34"/>
                    </a:cubicBezTo>
                    <a:cubicBezTo>
                      <a:pt x="15" y="34"/>
                      <a:pt x="16" y="34"/>
                      <a:pt x="16" y="34"/>
                    </a:cubicBezTo>
                    <a:cubicBezTo>
                      <a:pt x="16" y="34"/>
                      <a:pt x="16" y="34"/>
                      <a:pt x="16" y="34"/>
                    </a:cubicBezTo>
                    <a:cubicBezTo>
                      <a:pt x="17" y="34"/>
                      <a:pt x="17" y="34"/>
                      <a:pt x="17" y="33"/>
                    </a:cubicBezTo>
                    <a:cubicBezTo>
                      <a:pt x="17" y="33"/>
                      <a:pt x="17" y="33"/>
                      <a:pt x="17" y="33"/>
                    </a:cubicBezTo>
                    <a:cubicBezTo>
                      <a:pt x="18" y="33"/>
                      <a:pt x="18" y="33"/>
                      <a:pt x="18" y="33"/>
                    </a:cubicBezTo>
                    <a:cubicBezTo>
                      <a:pt x="18" y="33"/>
                      <a:pt x="18" y="33"/>
                      <a:pt x="18" y="33"/>
                    </a:cubicBezTo>
                    <a:cubicBezTo>
                      <a:pt x="18" y="33"/>
                      <a:pt x="19" y="32"/>
                      <a:pt x="19" y="32"/>
                    </a:cubicBezTo>
                    <a:cubicBezTo>
                      <a:pt x="19" y="32"/>
                      <a:pt x="19" y="32"/>
                      <a:pt x="19" y="32"/>
                    </a:cubicBezTo>
                    <a:cubicBezTo>
                      <a:pt x="20" y="32"/>
                      <a:pt x="20" y="32"/>
                      <a:pt x="20" y="32"/>
                    </a:cubicBezTo>
                    <a:cubicBezTo>
                      <a:pt x="20" y="31"/>
                      <a:pt x="20" y="31"/>
                      <a:pt x="20" y="31"/>
                    </a:cubicBezTo>
                    <a:cubicBezTo>
                      <a:pt x="21" y="31"/>
                      <a:pt x="21" y="31"/>
                      <a:pt x="21" y="31"/>
                    </a:cubicBezTo>
                    <a:cubicBezTo>
                      <a:pt x="21" y="32"/>
                      <a:pt x="21" y="32"/>
                      <a:pt x="21" y="32"/>
                    </a:cubicBezTo>
                    <a:cubicBezTo>
                      <a:pt x="20" y="31"/>
                      <a:pt x="20" y="31"/>
                      <a:pt x="20" y="31"/>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19" y="32"/>
                      <a:pt x="19" y="33"/>
                      <a:pt x="19" y="33"/>
                    </a:cubicBezTo>
                    <a:cubicBezTo>
                      <a:pt x="19" y="33"/>
                      <a:pt x="19" y="33"/>
                      <a:pt x="19" y="33"/>
                    </a:cubicBezTo>
                    <a:cubicBezTo>
                      <a:pt x="18" y="33"/>
                      <a:pt x="18" y="34"/>
                      <a:pt x="17" y="34"/>
                    </a:cubicBezTo>
                    <a:cubicBezTo>
                      <a:pt x="17" y="35"/>
                      <a:pt x="17" y="35"/>
                      <a:pt x="17" y="35"/>
                    </a:cubicBezTo>
                    <a:cubicBezTo>
                      <a:pt x="17" y="35"/>
                      <a:pt x="17" y="35"/>
                      <a:pt x="17" y="35"/>
                    </a:cubicBezTo>
                    <a:cubicBezTo>
                      <a:pt x="17" y="35"/>
                      <a:pt x="17" y="35"/>
                      <a:pt x="17" y="35"/>
                    </a:cubicBezTo>
                    <a:cubicBezTo>
                      <a:pt x="17" y="36"/>
                      <a:pt x="18" y="35"/>
                      <a:pt x="18" y="36"/>
                    </a:cubicBezTo>
                    <a:cubicBezTo>
                      <a:pt x="17" y="36"/>
                      <a:pt x="17" y="36"/>
                      <a:pt x="16" y="37"/>
                    </a:cubicBezTo>
                    <a:cubicBezTo>
                      <a:pt x="17" y="37"/>
                      <a:pt x="18" y="37"/>
                      <a:pt x="19" y="36"/>
                    </a:cubicBezTo>
                    <a:cubicBezTo>
                      <a:pt x="19" y="35"/>
                      <a:pt x="20" y="35"/>
                      <a:pt x="21" y="36"/>
                    </a:cubicBezTo>
                    <a:cubicBezTo>
                      <a:pt x="21" y="36"/>
                      <a:pt x="21" y="36"/>
                      <a:pt x="21" y="36"/>
                    </a:cubicBezTo>
                    <a:cubicBezTo>
                      <a:pt x="21" y="36"/>
                      <a:pt x="21" y="36"/>
                      <a:pt x="21" y="36"/>
                    </a:cubicBezTo>
                    <a:cubicBezTo>
                      <a:pt x="21" y="36"/>
                      <a:pt x="20" y="36"/>
                      <a:pt x="19" y="36"/>
                    </a:cubicBezTo>
                    <a:cubicBezTo>
                      <a:pt x="19" y="36"/>
                      <a:pt x="19" y="37"/>
                      <a:pt x="18" y="37"/>
                    </a:cubicBezTo>
                    <a:cubicBezTo>
                      <a:pt x="18" y="38"/>
                      <a:pt x="18" y="38"/>
                      <a:pt x="18" y="38"/>
                    </a:cubicBezTo>
                    <a:cubicBezTo>
                      <a:pt x="18" y="38"/>
                      <a:pt x="18" y="38"/>
                      <a:pt x="18" y="38"/>
                    </a:cubicBezTo>
                    <a:cubicBezTo>
                      <a:pt x="18" y="38"/>
                      <a:pt x="18" y="38"/>
                      <a:pt x="18" y="38"/>
                    </a:cubicBezTo>
                    <a:cubicBezTo>
                      <a:pt x="19" y="38"/>
                      <a:pt x="19" y="38"/>
                      <a:pt x="19" y="38"/>
                    </a:cubicBezTo>
                    <a:cubicBezTo>
                      <a:pt x="19" y="39"/>
                      <a:pt x="19" y="39"/>
                      <a:pt x="19" y="39"/>
                    </a:cubicBezTo>
                    <a:cubicBezTo>
                      <a:pt x="19" y="39"/>
                      <a:pt x="19" y="39"/>
                      <a:pt x="19" y="39"/>
                    </a:cubicBezTo>
                    <a:cubicBezTo>
                      <a:pt x="19" y="39"/>
                      <a:pt x="19" y="39"/>
                      <a:pt x="19" y="39"/>
                    </a:cubicBezTo>
                    <a:cubicBezTo>
                      <a:pt x="19" y="39"/>
                      <a:pt x="19" y="39"/>
                      <a:pt x="19" y="39"/>
                    </a:cubicBezTo>
                    <a:cubicBezTo>
                      <a:pt x="18" y="39"/>
                      <a:pt x="18" y="39"/>
                      <a:pt x="18" y="39"/>
                    </a:cubicBezTo>
                    <a:cubicBezTo>
                      <a:pt x="17" y="39"/>
                      <a:pt x="17" y="39"/>
                      <a:pt x="17" y="39"/>
                    </a:cubicBezTo>
                    <a:cubicBezTo>
                      <a:pt x="17" y="39"/>
                      <a:pt x="17" y="39"/>
                      <a:pt x="17" y="39"/>
                    </a:cubicBezTo>
                    <a:cubicBezTo>
                      <a:pt x="17" y="39"/>
                      <a:pt x="18" y="40"/>
                      <a:pt x="18" y="40"/>
                    </a:cubicBezTo>
                    <a:cubicBezTo>
                      <a:pt x="18" y="40"/>
                      <a:pt x="18" y="40"/>
                      <a:pt x="18" y="40"/>
                    </a:cubicBezTo>
                    <a:cubicBezTo>
                      <a:pt x="17" y="40"/>
                      <a:pt x="17" y="40"/>
                      <a:pt x="17" y="40"/>
                    </a:cubicBezTo>
                    <a:cubicBezTo>
                      <a:pt x="17" y="40"/>
                      <a:pt x="17" y="40"/>
                      <a:pt x="17" y="40"/>
                    </a:cubicBezTo>
                    <a:cubicBezTo>
                      <a:pt x="17" y="40"/>
                      <a:pt x="17" y="40"/>
                      <a:pt x="17" y="40"/>
                    </a:cubicBezTo>
                    <a:cubicBezTo>
                      <a:pt x="17" y="40"/>
                      <a:pt x="17" y="40"/>
                      <a:pt x="17" y="40"/>
                    </a:cubicBezTo>
                    <a:cubicBezTo>
                      <a:pt x="17" y="40"/>
                      <a:pt x="17" y="40"/>
                      <a:pt x="17" y="41"/>
                    </a:cubicBezTo>
                    <a:cubicBezTo>
                      <a:pt x="17" y="41"/>
                      <a:pt x="17" y="41"/>
                      <a:pt x="16" y="41"/>
                    </a:cubicBezTo>
                    <a:cubicBezTo>
                      <a:pt x="16" y="42"/>
                      <a:pt x="16" y="42"/>
                      <a:pt x="16" y="42"/>
                    </a:cubicBezTo>
                    <a:cubicBezTo>
                      <a:pt x="15" y="41"/>
                      <a:pt x="15" y="41"/>
                      <a:pt x="14" y="42"/>
                    </a:cubicBezTo>
                    <a:cubicBezTo>
                      <a:pt x="14" y="42"/>
                      <a:pt x="13" y="42"/>
                      <a:pt x="13" y="42"/>
                    </a:cubicBezTo>
                    <a:cubicBezTo>
                      <a:pt x="13" y="42"/>
                      <a:pt x="13" y="42"/>
                      <a:pt x="13" y="41"/>
                    </a:cubicBezTo>
                    <a:cubicBezTo>
                      <a:pt x="13" y="41"/>
                      <a:pt x="12" y="41"/>
                      <a:pt x="12" y="40"/>
                    </a:cubicBezTo>
                    <a:cubicBezTo>
                      <a:pt x="12" y="41"/>
                      <a:pt x="12" y="42"/>
                      <a:pt x="12" y="42"/>
                    </a:cubicBezTo>
                    <a:cubicBezTo>
                      <a:pt x="12" y="43"/>
                      <a:pt x="12" y="43"/>
                      <a:pt x="12" y="43"/>
                    </a:cubicBezTo>
                    <a:cubicBezTo>
                      <a:pt x="12" y="43"/>
                      <a:pt x="12" y="43"/>
                      <a:pt x="12" y="43"/>
                    </a:cubicBezTo>
                    <a:cubicBezTo>
                      <a:pt x="12" y="44"/>
                      <a:pt x="12" y="44"/>
                      <a:pt x="12" y="44"/>
                    </a:cubicBezTo>
                    <a:cubicBezTo>
                      <a:pt x="12" y="44"/>
                      <a:pt x="12" y="44"/>
                      <a:pt x="12" y="44"/>
                    </a:cubicBezTo>
                    <a:cubicBezTo>
                      <a:pt x="12" y="45"/>
                      <a:pt x="12" y="45"/>
                      <a:pt x="12" y="45"/>
                    </a:cubicBezTo>
                    <a:cubicBezTo>
                      <a:pt x="12" y="45"/>
                      <a:pt x="12" y="45"/>
                      <a:pt x="12" y="45"/>
                    </a:cubicBezTo>
                    <a:cubicBezTo>
                      <a:pt x="12" y="45"/>
                      <a:pt x="12" y="45"/>
                      <a:pt x="12" y="45"/>
                    </a:cubicBezTo>
                    <a:cubicBezTo>
                      <a:pt x="13" y="45"/>
                      <a:pt x="13" y="45"/>
                      <a:pt x="13" y="45"/>
                    </a:cubicBezTo>
                    <a:cubicBezTo>
                      <a:pt x="14" y="44"/>
                      <a:pt x="14" y="44"/>
                      <a:pt x="14" y="44"/>
                    </a:cubicBezTo>
                    <a:cubicBezTo>
                      <a:pt x="14" y="44"/>
                      <a:pt x="14" y="44"/>
                      <a:pt x="14" y="44"/>
                    </a:cubicBezTo>
                    <a:cubicBezTo>
                      <a:pt x="15" y="44"/>
                      <a:pt x="15" y="44"/>
                      <a:pt x="15" y="44"/>
                    </a:cubicBezTo>
                    <a:cubicBezTo>
                      <a:pt x="16" y="44"/>
                      <a:pt x="16" y="45"/>
                      <a:pt x="18" y="44"/>
                    </a:cubicBezTo>
                    <a:cubicBezTo>
                      <a:pt x="19" y="44"/>
                      <a:pt x="19" y="44"/>
                      <a:pt x="20" y="45"/>
                    </a:cubicBezTo>
                    <a:cubicBezTo>
                      <a:pt x="22" y="44"/>
                      <a:pt x="22" y="44"/>
                      <a:pt x="22" y="44"/>
                    </a:cubicBezTo>
                    <a:cubicBezTo>
                      <a:pt x="22" y="44"/>
                      <a:pt x="22" y="44"/>
                      <a:pt x="23" y="44"/>
                    </a:cubicBezTo>
                    <a:cubicBezTo>
                      <a:pt x="23" y="44"/>
                      <a:pt x="23" y="44"/>
                      <a:pt x="23" y="44"/>
                    </a:cubicBezTo>
                    <a:cubicBezTo>
                      <a:pt x="22" y="43"/>
                      <a:pt x="22" y="43"/>
                      <a:pt x="22" y="43"/>
                    </a:cubicBezTo>
                    <a:cubicBezTo>
                      <a:pt x="23" y="43"/>
                      <a:pt x="23" y="43"/>
                      <a:pt x="23" y="43"/>
                    </a:cubicBezTo>
                    <a:cubicBezTo>
                      <a:pt x="23" y="43"/>
                      <a:pt x="24" y="43"/>
                      <a:pt x="24" y="43"/>
                    </a:cubicBezTo>
                    <a:cubicBezTo>
                      <a:pt x="24" y="43"/>
                      <a:pt x="23" y="43"/>
                      <a:pt x="23" y="43"/>
                    </a:cubicBezTo>
                    <a:cubicBezTo>
                      <a:pt x="23" y="44"/>
                      <a:pt x="24" y="44"/>
                      <a:pt x="25" y="45"/>
                    </a:cubicBezTo>
                    <a:cubicBezTo>
                      <a:pt x="25" y="45"/>
                      <a:pt x="26" y="46"/>
                      <a:pt x="26" y="45"/>
                    </a:cubicBezTo>
                    <a:cubicBezTo>
                      <a:pt x="26" y="45"/>
                      <a:pt x="27" y="44"/>
                      <a:pt x="27" y="44"/>
                    </a:cubicBezTo>
                    <a:cubicBezTo>
                      <a:pt x="27" y="45"/>
                      <a:pt x="27" y="45"/>
                      <a:pt x="27" y="45"/>
                    </a:cubicBezTo>
                    <a:cubicBezTo>
                      <a:pt x="27" y="45"/>
                      <a:pt x="27" y="45"/>
                      <a:pt x="27" y="45"/>
                    </a:cubicBezTo>
                    <a:cubicBezTo>
                      <a:pt x="27" y="45"/>
                      <a:pt x="27" y="45"/>
                      <a:pt x="27" y="45"/>
                    </a:cubicBezTo>
                    <a:cubicBezTo>
                      <a:pt x="27" y="46"/>
                      <a:pt x="27" y="46"/>
                      <a:pt x="27" y="46"/>
                    </a:cubicBezTo>
                    <a:cubicBezTo>
                      <a:pt x="27" y="46"/>
                      <a:pt x="27" y="46"/>
                      <a:pt x="27" y="46"/>
                    </a:cubicBezTo>
                    <a:cubicBezTo>
                      <a:pt x="27" y="46"/>
                      <a:pt x="27" y="46"/>
                      <a:pt x="27" y="46"/>
                    </a:cubicBezTo>
                    <a:cubicBezTo>
                      <a:pt x="26" y="46"/>
                      <a:pt x="26" y="46"/>
                      <a:pt x="26" y="46"/>
                    </a:cubicBezTo>
                    <a:cubicBezTo>
                      <a:pt x="28" y="47"/>
                      <a:pt x="28" y="47"/>
                      <a:pt x="28" y="47"/>
                    </a:cubicBezTo>
                    <a:cubicBezTo>
                      <a:pt x="27" y="46"/>
                      <a:pt x="28" y="45"/>
                      <a:pt x="29" y="45"/>
                    </a:cubicBezTo>
                    <a:cubicBezTo>
                      <a:pt x="29" y="45"/>
                      <a:pt x="29" y="45"/>
                      <a:pt x="29" y="45"/>
                    </a:cubicBezTo>
                    <a:cubicBezTo>
                      <a:pt x="29" y="46"/>
                      <a:pt x="29" y="46"/>
                      <a:pt x="30" y="46"/>
                    </a:cubicBezTo>
                    <a:cubicBezTo>
                      <a:pt x="29" y="46"/>
                      <a:pt x="29" y="46"/>
                      <a:pt x="29" y="46"/>
                    </a:cubicBezTo>
                    <a:cubicBezTo>
                      <a:pt x="29" y="46"/>
                      <a:pt x="28" y="45"/>
                      <a:pt x="28" y="46"/>
                    </a:cubicBezTo>
                    <a:cubicBezTo>
                      <a:pt x="28" y="47"/>
                      <a:pt x="28" y="47"/>
                      <a:pt x="29" y="48"/>
                    </a:cubicBezTo>
                    <a:cubicBezTo>
                      <a:pt x="28" y="47"/>
                      <a:pt x="28" y="47"/>
                      <a:pt x="28" y="47"/>
                    </a:cubicBezTo>
                    <a:cubicBezTo>
                      <a:pt x="28" y="47"/>
                      <a:pt x="29" y="47"/>
                      <a:pt x="29" y="48"/>
                    </a:cubicBezTo>
                    <a:cubicBezTo>
                      <a:pt x="30" y="48"/>
                      <a:pt x="30" y="48"/>
                      <a:pt x="30" y="48"/>
                    </a:cubicBezTo>
                    <a:cubicBezTo>
                      <a:pt x="29" y="48"/>
                      <a:pt x="29" y="48"/>
                      <a:pt x="29" y="48"/>
                    </a:cubicBezTo>
                    <a:cubicBezTo>
                      <a:pt x="30" y="49"/>
                      <a:pt x="30" y="49"/>
                      <a:pt x="31" y="49"/>
                    </a:cubicBezTo>
                    <a:cubicBezTo>
                      <a:pt x="32" y="49"/>
                      <a:pt x="33" y="49"/>
                      <a:pt x="34" y="49"/>
                    </a:cubicBezTo>
                    <a:cubicBezTo>
                      <a:pt x="33" y="49"/>
                      <a:pt x="33" y="49"/>
                      <a:pt x="33" y="49"/>
                    </a:cubicBezTo>
                    <a:cubicBezTo>
                      <a:pt x="34" y="49"/>
                      <a:pt x="34" y="49"/>
                      <a:pt x="34" y="49"/>
                    </a:cubicBezTo>
                    <a:cubicBezTo>
                      <a:pt x="34" y="50"/>
                      <a:pt x="37" y="51"/>
                      <a:pt x="38" y="51"/>
                    </a:cubicBezTo>
                    <a:cubicBezTo>
                      <a:pt x="38" y="51"/>
                      <a:pt x="38" y="51"/>
                      <a:pt x="38" y="51"/>
                    </a:cubicBezTo>
                    <a:cubicBezTo>
                      <a:pt x="39" y="51"/>
                      <a:pt x="40" y="51"/>
                      <a:pt x="41" y="51"/>
                    </a:cubicBezTo>
                    <a:cubicBezTo>
                      <a:pt x="43" y="51"/>
                      <a:pt x="44" y="50"/>
                      <a:pt x="45" y="50"/>
                    </a:cubicBezTo>
                    <a:cubicBezTo>
                      <a:pt x="45" y="50"/>
                      <a:pt x="45" y="49"/>
                      <a:pt x="44" y="49"/>
                    </a:cubicBezTo>
                    <a:cubicBezTo>
                      <a:pt x="45" y="49"/>
                      <a:pt x="45" y="49"/>
                      <a:pt x="45" y="49"/>
                    </a:cubicBezTo>
                    <a:cubicBezTo>
                      <a:pt x="45" y="49"/>
                      <a:pt x="45" y="49"/>
                      <a:pt x="45" y="49"/>
                    </a:cubicBezTo>
                    <a:cubicBezTo>
                      <a:pt x="45" y="49"/>
                      <a:pt x="46" y="49"/>
                      <a:pt x="46" y="49"/>
                    </a:cubicBezTo>
                    <a:cubicBezTo>
                      <a:pt x="46" y="49"/>
                      <a:pt x="45" y="49"/>
                      <a:pt x="45" y="50"/>
                    </a:cubicBezTo>
                    <a:cubicBezTo>
                      <a:pt x="46" y="51"/>
                      <a:pt x="48" y="49"/>
                      <a:pt x="48" y="48"/>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48" y="47"/>
                      <a:pt x="48" y="47"/>
                    </a:cubicBezTo>
                    <a:cubicBezTo>
                      <a:pt x="47" y="47"/>
                      <a:pt x="47" y="47"/>
                      <a:pt x="47" y="47"/>
                    </a:cubicBezTo>
                    <a:cubicBezTo>
                      <a:pt x="47" y="47"/>
                      <a:pt x="47" y="47"/>
                      <a:pt x="47" y="47"/>
                    </a:cubicBezTo>
                    <a:cubicBezTo>
                      <a:pt x="47" y="47"/>
                      <a:pt x="47" y="47"/>
                      <a:pt x="47" y="47"/>
                    </a:cubicBezTo>
                    <a:cubicBezTo>
                      <a:pt x="47" y="46"/>
                      <a:pt x="47" y="46"/>
                      <a:pt x="48" y="46"/>
                    </a:cubicBezTo>
                    <a:cubicBezTo>
                      <a:pt x="48" y="46"/>
                      <a:pt x="48" y="46"/>
                      <a:pt x="48" y="46"/>
                    </a:cubicBezTo>
                    <a:cubicBezTo>
                      <a:pt x="48" y="45"/>
                      <a:pt x="48" y="45"/>
                      <a:pt x="48" y="45"/>
                    </a:cubicBezTo>
                    <a:cubicBezTo>
                      <a:pt x="49" y="45"/>
                      <a:pt x="49" y="45"/>
                      <a:pt x="49" y="45"/>
                    </a:cubicBezTo>
                    <a:cubicBezTo>
                      <a:pt x="49" y="45"/>
                      <a:pt x="49" y="45"/>
                      <a:pt x="49" y="45"/>
                    </a:cubicBezTo>
                    <a:cubicBezTo>
                      <a:pt x="49" y="45"/>
                      <a:pt x="49" y="45"/>
                      <a:pt x="49" y="45"/>
                    </a:cubicBezTo>
                    <a:cubicBezTo>
                      <a:pt x="49" y="45"/>
                      <a:pt x="49" y="45"/>
                      <a:pt x="49" y="45"/>
                    </a:cubicBezTo>
                    <a:cubicBezTo>
                      <a:pt x="49" y="46"/>
                      <a:pt x="49" y="46"/>
                      <a:pt x="49" y="46"/>
                    </a:cubicBezTo>
                    <a:cubicBezTo>
                      <a:pt x="49" y="46"/>
                      <a:pt x="49" y="46"/>
                      <a:pt x="49" y="46"/>
                    </a:cubicBezTo>
                    <a:cubicBezTo>
                      <a:pt x="50" y="45"/>
                      <a:pt x="50" y="45"/>
                      <a:pt x="50" y="45"/>
                    </a:cubicBezTo>
                    <a:cubicBezTo>
                      <a:pt x="50" y="45"/>
                      <a:pt x="50" y="45"/>
                      <a:pt x="50" y="45"/>
                    </a:cubicBezTo>
                    <a:cubicBezTo>
                      <a:pt x="50" y="45"/>
                      <a:pt x="50" y="45"/>
                      <a:pt x="50" y="45"/>
                    </a:cubicBezTo>
                    <a:cubicBezTo>
                      <a:pt x="51" y="45"/>
                      <a:pt x="51" y="45"/>
                      <a:pt x="51" y="45"/>
                    </a:cubicBezTo>
                    <a:cubicBezTo>
                      <a:pt x="52" y="45"/>
                      <a:pt x="52" y="44"/>
                      <a:pt x="52" y="44"/>
                    </a:cubicBezTo>
                    <a:cubicBezTo>
                      <a:pt x="52" y="44"/>
                      <a:pt x="52" y="44"/>
                      <a:pt x="52" y="44"/>
                    </a:cubicBezTo>
                    <a:cubicBezTo>
                      <a:pt x="53" y="44"/>
                      <a:pt x="53" y="44"/>
                      <a:pt x="53" y="44"/>
                    </a:cubicBezTo>
                    <a:cubicBezTo>
                      <a:pt x="53" y="44"/>
                      <a:pt x="53" y="44"/>
                      <a:pt x="53" y="44"/>
                    </a:cubicBezTo>
                    <a:cubicBezTo>
                      <a:pt x="54" y="44"/>
                      <a:pt x="54" y="44"/>
                      <a:pt x="54" y="44"/>
                    </a:cubicBezTo>
                    <a:cubicBezTo>
                      <a:pt x="54" y="43"/>
                      <a:pt x="54" y="43"/>
                      <a:pt x="54" y="43"/>
                    </a:cubicBezTo>
                    <a:cubicBezTo>
                      <a:pt x="54" y="43"/>
                      <a:pt x="54" y="43"/>
                      <a:pt x="54" y="43"/>
                    </a:cubicBezTo>
                    <a:cubicBezTo>
                      <a:pt x="54" y="42"/>
                      <a:pt x="54" y="42"/>
                      <a:pt x="54" y="42"/>
                    </a:cubicBezTo>
                    <a:cubicBezTo>
                      <a:pt x="54" y="43"/>
                      <a:pt x="54" y="43"/>
                      <a:pt x="54" y="43"/>
                    </a:cubicBezTo>
                    <a:cubicBezTo>
                      <a:pt x="54" y="44"/>
                      <a:pt x="54" y="44"/>
                      <a:pt x="54" y="44"/>
                    </a:cubicBezTo>
                    <a:cubicBezTo>
                      <a:pt x="54" y="44"/>
                      <a:pt x="54" y="44"/>
                      <a:pt x="54" y="44"/>
                    </a:cubicBezTo>
                    <a:cubicBezTo>
                      <a:pt x="54" y="44"/>
                      <a:pt x="54" y="44"/>
                      <a:pt x="54" y="43"/>
                    </a:cubicBezTo>
                    <a:cubicBezTo>
                      <a:pt x="55" y="44"/>
                      <a:pt x="55" y="44"/>
                      <a:pt x="55" y="44"/>
                    </a:cubicBezTo>
                    <a:cubicBezTo>
                      <a:pt x="55" y="44"/>
                      <a:pt x="55" y="44"/>
                      <a:pt x="55" y="44"/>
                    </a:cubicBezTo>
                    <a:cubicBezTo>
                      <a:pt x="55" y="43"/>
                      <a:pt x="55" y="43"/>
                      <a:pt x="55" y="43"/>
                    </a:cubicBezTo>
                    <a:cubicBezTo>
                      <a:pt x="55" y="43"/>
                      <a:pt x="55" y="43"/>
                      <a:pt x="55" y="43"/>
                    </a:cubicBezTo>
                    <a:cubicBezTo>
                      <a:pt x="56" y="44"/>
                      <a:pt x="56" y="44"/>
                      <a:pt x="56" y="44"/>
                    </a:cubicBezTo>
                    <a:cubicBezTo>
                      <a:pt x="55" y="43"/>
                      <a:pt x="58" y="42"/>
                      <a:pt x="59" y="41"/>
                    </a:cubicBezTo>
                    <a:cubicBezTo>
                      <a:pt x="59" y="41"/>
                      <a:pt x="59" y="41"/>
                      <a:pt x="59" y="41"/>
                    </a:cubicBezTo>
                    <a:cubicBezTo>
                      <a:pt x="59" y="41"/>
                      <a:pt x="59" y="40"/>
                      <a:pt x="59" y="40"/>
                    </a:cubicBezTo>
                    <a:cubicBezTo>
                      <a:pt x="59" y="40"/>
                      <a:pt x="59" y="40"/>
                      <a:pt x="59" y="40"/>
                    </a:cubicBezTo>
                    <a:cubicBezTo>
                      <a:pt x="60" y="40"/>
                      <a:pt x="60" y="40"/>
                      <a:pt x="60" y="40"/>
                    </a:cubicBezTo>
                    <a:cubicBezTo>
                      <a:pt x="60" y="40"/>
                      <a:pt x="61" y="39"/>
                      <a:pt x="61" y="39"/>
                    </a:cubicBezTo>
                    <a:cubicBezTo>
                      <a:pt x="61" y="39"/>
                      <a:pt x="61" y="38"/>
                      <a:pt x="61" y="38"/>
                    </a:cubicBezTo>
                    <a:cubicBezTo>
                      <a:pt x="61" y="38"/>
                      <a:pt x="62" y="38"/>
                      <a:pt x="63" y="38"/>
                    </a:cubicBezTo>
                    <a:cubicBezTo>
                      <a:pt x="63" y="37"/>
                      <a:pt x="63" y="37"/>
                      <a:pt x="63" y="37"/>
                    </a:cubicBezTo>
                    <a:cubicBezTo>
                      <a:pt x="63" y="37"/>
                      <a:pt x="62" y="37"/>
                      <a:pt x="62" y="37"/>
                    </a:cubicBezTo>
                    <a:cubicBezTo>
                      <a:pt x="63" y="37"/>
                      <a:pt x="64" y="37"/>
                      <a:pt x="65" y="36"/>
                    </a:cubicBezTo>
                    <a:cubicBezTo>
                      <a:pt x="64" y="36"/>
                      <a:pt x="64" y="36"/>
                      <a:pt x="64" y="36"/>
                    </a:cubicBezTo>
                    <a:cubicBezTo>
                      <a:pt x="65" y="36"/>
                      <a:pt x="65" y="36"/>
                      <a:pt x="65" y="36"/>
                    </a:cubicBezTo>
                    <a:cubicBezTo>
                      <a:pt x="65" y="35"/>
                      <a:pt x="65" y="35"/>
                      <a:pt x="65" y="35"/>
                    </a:cubicBezTo>
                    <a:cubicBezTo>
                      <a:pt x="65" y="35"/>
                      <a:pt x="65" y="35"/>
                      <a:pt x="65" y="35"/>
                    </a:cubicBezTo>
                    <a:cubicBezTo>
                      <a:pt x="65" y="35"/>
                      <a:pt x="65" y="35"/>
                      <a:pt x="65" y="35"/>
                    </a:cubicBezTo>
                    <a:cubicBezTo>
                      <a:pt x="65" y="35"/>
                      <a:pt x="65" y="34"/>
                      <a:pt x="65" y="34"/>
                    </a:cubicBezTo>
                    <a:cubicBezTo>
                      <a:pt x="65" y="34"/>
                      <a:pt x="65" y="35"/>
                      <a:pt x="66" y="35"/>
                    </a:cubicBezTo>
                    <a:cubicBezTo>
                      <a:pt x="65" y="35"/>
                      <a:pt x="65" y="35"/>
                      <a:pt x="65" y="35"/>
                    </a:cubicBezTo>
                    <a:cubicBezTo>
                      <a:pt x="66" y="35"/>
                      <a:pt x="66" y="35"/>
                      <a:pt x="66" y="35"/>
                    </a:cubicBezTo>
                    <a:cubicBezTo>
                      <a:pt x="66" y="35"/>
                      <a:pt x="66" y="35"/>
                      <a:pt x="66" y="35"/>
                    </a:cubicBezTo>
                    <a:cubicBezTo>
                      <a:pt x="66" y="35"/>
                      <a:pt x="66" y="35"/>
                      <a:pt x="66" y="35"/>
                    </a:cubicBezTo>
                    <a:cubicBezTo>
                      <a:pt x="66" y="35"/>
                      <a:pt x="66" y="35"/>
                      <a:pt x="66" y="35"/>
                    </a:cubicBezTo>
                    <a:cubicBezTo>
                      <a:pt x="66" y="35"/>
                      <a:pt x="66" y="36"/>
                      <a:pt x="66" y="36"/>
                    </a:cubicBezTo>
                    <a:cubicBezTo>
                      <a:pt x="67" y="36"/>
                      <a:pt x="67" y="35"/>
                      <a:pt x="67" y="35"/>
                    </a:cubicBezTo>
                    <a:cubicBezTo>
                      <a:pt x="68" y="35"/>
                      <a:pt x="68" y="36"/>
                      <a:pt x="68" y="36"/>
                    </a:cubicBezTo>
                    <a:cubicBezTo>
                      <a:pt x="69" y="35"/>
                      <a:pt x="69" y="35"/>
                      <a:pt x="69" y="35"/>
                    </a:cubicBezTo>
                    <a:cubicBezTo>
                      <a:pt x="69" y="35"/>
                      <a:pt x="69" y="35"/>
                      <a:pt x="69" y="35"/>
                    </a:cubicBezTo>
                    <a:cubicBezTo>
                      <a:pt x="68" y="35"/>
                      <a:pt x="68" y="35"/>
                      <a:pt x="68" y="35"/>
                    </a:cubicBezTo>
                    <a:cubicBezTo>
                      <a:pt x="68" y="35"/>
                      <a:pt x="68" y="35"/>
                      <a:pt x="68" y="35"/>
                    </a:cubicBezTo>
                    <a:cubicBezTo>
                      <a:pt x="69" y="34"/>
                      <a:pt x="69" y="34"/>
                      <a:pt x="69" y="34"/>
                    </a:cubicBezTo>
                    <a:cubicBezTo>
                      <a:pt x="69" y="34"/>
                      <a:pt x="69" y="34"/>
                      <a:pt x="69" y="35"/>
                    </a:cubicBezTo>
                    <a:cubicBezTo>
                      <a:pt x="69" y="34"/>
                      <a:pt x="70" y="34"/>
                      <a:pt x="70" y="33"/>
                    </a:cubicBezTo>
                    <a:cubicBezTo>
                      <a:pt x="70" y="33"/>
                      <a:pt x="71" y="33"/>
                      <a:pt x="71" y="33"/>
                    </a:cubicBezTo>
                    <a:cubicBezTo>
                      <a:pt x="70" y="33"/>
                      <a:pt x="70" y="33"/>
                      <a:pt x="70" y="34"/>
                    </a:cubicBezTo>
                    <a:cubicBezTo>
                      <a:pt x="70" y="33"/>
                      <a:pt x="71" y="33"/>
                      <a:pt x="71" y="33"/>
                    </a:cubicBezTo>
                    <a:cubicBezTo>
                      <a:pt x="72" y="32"/>
                      <a:pt x="71" y="31"/>
                      <a:pt x="72" y="30"/>
                    </a:cubicBezTo>
                    <a:cubicBezTo>
                      <a:pt x="72" y="30"/>
                      <a:pt x="72" y="31"/>
                      <a:pt x="71" y="31"/>
                    </a:cubicBezTo>
                    <a:cubicBezTo>
                      <a:pt x="71" y="30"/>
                      <a:pt x="71" y="30"/>
                      <a:pt x="71" y="30"/>
                    </a:cubicBezTo>
                    <a:cubicBezTo>
                      <a:pt x="71" y="30"/>
                      <a:pt x="71" y="30"/>
                      <a:pt x="71" y="30"/>
                    </a:cubicBezTo>
                    <a:cubicBezTo>
                      <a:pt x="71" y="30"/>
                      <a:pt x="71" y="30"/>
                      <a:pt x="71" y="30"/>
                    </a:cubicBezTo>
                    <a:cubicBezTo>
                      <a:pt x="72" y="30"/>
                      <a:pt x="72" y="30"/>
                      <a:pt x="72" y="30"/>
                    </a:cubicBezTo>
                    <a:cubicBezTo>
                      <a:pt x="72" y="29"/>
                      <a:pt x="72" y="29"/>
                      <a:pt x="72" y="29"/>
                    </a:cubicBezTo>
                    <a:cubicBezTo>
                      <a:pt x="71" y="29"/>
                      <a:pt x="71" y="29"/>
                      <a:pt x="71" y="29"/>
                    </a:cubicBezTo>
                    <a:cubicBezTo>
                      <a:pt x="71" y="29"/>
                      <a:pt x="71" y="29"/>
                      <a:pt x="71" y="29"/>
                    </a:cubicBezTo>
                    <a:cubicBezTo>
                      <a:pt x="73" y="29"/>
                      <a:pt x="73" y="29"/>
                      <a:pt x="73" y="29"/>
                    </a:cubicBezTo>
                    <a:cubicBezTo>
                      <a:pt x="72" y="28"/>
                      <a:pt x="72" y="28"/>
                      <a:pt x="72" y="28"/>
                    </a:cubicBezTo>
                    <a:cubicBezTo>
                      <a:pt x="71" y="27"/>
                      <a:pt x="71" y="27"/>
                      <a:pt x="71" y="27"/>
                    </a:cubicBezTo>
                    <a:cubicBezTo>
                      <a:pt x="71" y="27"/>
                      <a:pt x="71" y="27"/>
                      <a:pt x="71" y="27"/>
                    </a:cubicBezTo>
                    <a:cubicBezTo>
                      <a:pt x="72" y="27"/>
                      <a:pt x="72" y="28"/>
                      <a:pt x="72" y="28"/>
                    </a:cubicBezTo>
                    <a:cubicBezTo>
                      <a:pt x="73" y="28"/>
                      <a:pt x="74" y="28"/>
                      <a:pt x="74" y="27"/>
                    </a:cubicBezTo>
                    <a:cubicBezTo>
                      <a:pt x="74" y="27"/>
                      <a:pt x="74" y="27"/>
                      <a:pt x="74" y="27"/>
                    </a:cubicBezTo>
                    <a:cubicBezTo>
                      <a:pt x="74" y="26"/>
                      <a:pt x="75" y="26"/>
                      <a:pt x="75" y="26"/>
                    </a:cubicBezTo>
                    <a:cubicBezTo>
                      <a:pt x="75" y="26"/>
                      <a:pt x="75" y="26"/>
                      <a:pt x="75" y="26"/>
                    </a:cubicBezTo>
                    <a:cubicBezTo>
                      <a:pt x="74" y="26"/>
                      <a:pt x="74" y="26"/>
                      <a:pt x="74" y="26"/>
                    </a:cubicBezTo>
                    <a:cubicBezTo>
                      <a:pt x="75" y="26"/>
                      <a:pt x="75" y="26"/>
                      <a:pt x="75" y="26"/>
                    </a:cubicBezTo>
                    <a:cubicBezTo>
                      <a:pt x="75" y="26"/>
                      <a:pt x="75" y="26"/>
                      <a:pt x="75" y="26"/>
                    </a:cubicBezTo>
                    <a:cubicBezTo>
                      <a:pt x="77" y="25"/>
                      <a:pt x="74" y="25"/>
                      <a:pt x="74" y="24"/>
                    </a:cubicBezTo>
                    <a:cubicBezTo>
                      <a:pt x="74" y="25"/>
                      <a:pt x="75" y="24"/>
                      <a:pt x="76" y="24"/>
                    </a:cubicBezTo>
                    <a:cubicBezTo>
                      <a:pt x="76" y="24"/>
                      <a:pt x="76" y="24"/>
                      <a:pt x="76" y="24"/>
                    </a:cubicBezTo>
                    <a:cubicBezTo>
                      <a:pt x="76" y="24"/>
                      <a:pt x="75" y="24"/>
                      <a:pt x="74" y="23"/>
                    </a:cubicBezTo>
                    <a:cubicBezTo>
                      <a:pt x="72" y="23"/>
                      <a:pt x="72" y="23"/>
                      <a:pt x="72" y="23"/>
                    </a:cubicBezTo>
                    <a:cubicBezTo>
                      <a:pt x="72" y="23"/>
                      <a:pt x="72" y="23"/>
                      <a:pt x="72" y="23"/>
                    </a:cubicBezTo>
                    <a:cubicBezTo>
                      <a:pt x="74" y="23"/>
                      <a:pt x="74" y="23"/>
                      <a:pt x="74" y="23"/>
                    </a:cubicBezTo>
                    <a:cubicBezTo>
                      <a:pt x="74" y="22"/>
                      <a:pt x="74" y="22"/>
                      <a:pt x="74" y="22"/>
                    </a:cubicBezTo>
                    <a:cubicBezTo>
                      <a:pt x="74" y="22"/>
                      <a:pt x="74" y="22"/>
                      <a:pt x="73" y="22"/>
                    </a:cubicBezTo>
                    <a:cubicBezTo>
                      <a:pt x="74" y="22"/>
                      <a:pt x="74" y="22"/>
                      <a:pt x="75" y="23"/>
                    </a:cubicBezTo>
                    <a:cubicBezTo>
                      <a:pt x="75" y="23"/>
                      <a:pt x="75" y="23"/>
                      <a:pt x="75" y="23"/>
                    </a:cubicBezTo>
                    <a:cubicBezTo>
                      <a:pt x="76" y="23"/>
                      <a:pt x="76" y="23"/>
                      <a:pt x="76" y="23"/>
                    </a:cubicBezTo>
                    <a:cubicBezTo>
                      <a:pt x="77" y="23"/>
                      <a:pt x="77" y="23"/>
                      <a:pt x="77" y="23"/>
                    </a:cubicBezTo>
                    <a:cubicBezTo>
                      <a:pt x="77" y="22"/>
                      <a:pt x="77" y="22"/>
                      <a:pt x="77" y="22"/>
                    </a:cubicBezTo>
                    <a:cubicBezTo>
                      <a:pt x="77" y="22"/>
                      <a:pt x="77" y="22"/>
                      <a:pt x="77" y="22"/>
                    </a:cubicBezTo>
                    <a:close/>
                    <a:moveTo>
                      <a:pt x="20" y="18"/>
                    </a:moveTo>
                    <a:cubicBezTo>
                      <a:pt x="20" y="18"/>
                      <a:pt x="20" y="18"/>
                      <a:pt x="20" y="18"/>
                    </a:cubicBezTo>
                    <a:cubicBezTo>
                      <a:pt x="20" y="18"/>
                      <a:pt x="20" y="18"/>
                      <a:pt x="20" y="18"/>
                    </a:cubicBezTo>
                    <a:cubicBezTo>
                      <a:pt x="20" y="18"/>
                      <a:pt x="20" y="18"/>
                      <a:pt x="2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3" name="Freeform 787">
                <a:extLst>
                  <a:ext uri="{FF2B5EF4-FFF2-40B4-BE49-F238E27FC236}">
                    <a16:creationId xmlns:a16="http://schemas.microsoft.com/office/drawing/2014/main" id="{2B45D513-19A0-DB66-BF55-3EFD181C1425}"/>
                  </a:ext>
                </a:extLst>
              </p:cNvPr>
              <p:cNvSpPr>
                <a:spLocks/>
              </p:cNvSpPr>
              <p:nvPr/>
            </p:nvSpPr>
            <p:spPr bwMode="auto">
              <a:xfrm>
                <a:off x="5821363" y="3451225"/>
                <a:ext cx="112712" cy="107950"/>
              </a:xfrm>
              <a:custGeom>
                <a:avLst/>
                <a:gdLst>
                  <a:gd name="T0" fmla="*/ 19 w 27"/>
                  <a:gd name="T1" fmla="*/ 25 h 26"/>
                  <a:gd name="T2" fmla="*/ 19 w 27"/>
                  <a:gd name="T3" fmla="*/ 24 h 26"/>
                  <a:gd name="T4" fmla="*/ 19 w 27"/>
                  <a:gd name="T5" fmla="*/ 23 h 26"/>
                  <a:gd name="T6" fmla="*/ 19 w 27"/>
                  <a:gd name="T7" fmla="*/ 22 h 26"/>
                  <a:gd name="T8" fmla="*/ 20 w 27"/>
                  <a:gd name="T9" fmla="*/ 21 h 26"/>
                  <a:gd name="T10" fmla="*/ 20 w 27"/>
                  <a:gd name="T11" fmla="*/ 20 h 26"/>
                  <a:gd name="T12" fmla="*/ 21 w 27"/>
                  <a:gd name="T13" fmla="*/ 19 h 26"/>
                  <a:gd name="T14" fmla="*/ 22 w 27"/>
                  <a:gd name="T15" fmla="*/ 19 h 26"/>
                  <a:gd name="T16" fmla="*/ 22 w 27"/>
                  <a:gd name="T17" fmla="*/ 17 h 26"/>
                  <a:gd name="T18" fmla="*/ 23 w 27"/>
                  <a:gd name="T19" fmla="*/ 17 h 26"/>
                  <a:gd name="T20" fmla="*/ 24 w 27"/>
                  <a:gd name="T21" fmla="*/ 17 h 26"/>
                  <a:gd name="T22" fmla="*/ 25 w 27"/>
                  <a:gd name="T23" fmla="*/ 17 h 26"/>
                  <a:gd name="T24" fmla="*/ 25 w 27"/>
                  <a:gd name="T25" fmla="*/ 17 h 26"/>
                  <a:gd name="T26" fmla="*/ 26 w 27"/>
                  <a:gd name="T27" fmla="*/ 16 h 26"/>
                  <a:gd name="T28" fmla="*/ 25 w 27"/>
                  <a:gd name="T29" fmla="*/ 14 h 26"/>
                  <a:gd name="T30" fmla="*/ 24 w 27"/>
                  <a:gd name="T31" fmla="*/ 12 h 26"/>
                  <a:gd name="T32" fmla="*/ 26 w 27"/>
                  <a:gd name="T33" fmla="*/ 13 h 26"/>
                  <a:gd name="T34" fmla="*/ 25 w 27"/>
                  <a:gd name="T35" fmla="*/ 11 h 26"/>
                  <a:gd name="T36" fmla="*/ 24 w 27"/>
                  <a:gd name="T37" fmla="*/ 10 h 26"/>
                  <a:gd name="T38" fmla="*/ 23 w 27"/>
                  <a:gd name="T39" fmla="*/ 10 h 26"/>
                  <a:gd name="T40" fmla="*/ 24 w 27"/>
                  <a:gd name="T41" fmla="*/ 7 h 26"/>
                  <a:gd name="T42" fmla="*/ 25 w 27"/>
                  <a:gd name="T43" fmla="*/ 5 h 26"/>
                  <a:gd name="T44" fmla="*/ 23 w 27"/>
                  <a:gd name="T45" fmla="*/ 4 h 26"/>
                  <a:gd name="T46" fmla="*/ 22 w 27"/>
                  <a:gd name="T47" fmla="*/ 4 h 26"/>
                  <a:gd name="T48" fmla="*/ 21 w 27"/>
                  <a:gd name="T49" fmla="*/ 3 h 26"/>
                  <a:gd name="T50" fmla="*/ 19 w 27"/>
                  <a:gd name="T51" fmla="*/ 2 h 26"/>
                  <a:gd name="T52" fmla="*/ 17 w 27"/>
                  <a:gd name="T53" fmla="*/ 1 h 26"/>
                  <a:gd name="T54" fmla="*/ 16 w 27"/>
                  <a:gd name="T55" fmla="*/ 2 h 26"/>
                  <a:gd name="T56" fmla="*/ 15 w 27"/>
                  <a:gd name="T57" fmla="*/ 2 h 26"/>
                  <a:gd name="T58" fmla="*/ 13 w 27"/>
                  <a:gd name="T59" fmla="*/ 2 h 26"/>
                  <a:gd name="T60" fmla="*/ 12 w 27"/>
                  <a:gd name="T61" fmla="*/ 2 h 26"/>
                  <a:gd name="T62" fmla="*/ 11 w 27"/>
                  <a:gd name="T63" fmla="*/ 2 h 26"/>
                  <a:gd name="T64" fmla="*/ 11 w 27"/>
                  <a:gd name="T65" fmla="*/ 1 h 26"/>
                  <a:gd name="T66" fmla="*/ 10 w 27"/>
                  <a:gd name="T67" fmla="*/ 1 h 26"/>
                  <a:gd name="T68" fmla="*/ 8 w 27"/>
                  <a:gd name="T69" fmla="*/ 1 h 26"/>
                  <a:gd name="T70" fmla="*/ 6 w 27"/>
                  <a:gd name="T71" fmla="*/ 1 h 26"/>
                  <a:gd name="T72" fmla="*/ 5 w 27"/>
                  <a:gd name="T73" fmla="*/ 2 h 26"/>
                  <a:gd name="T74" fmla="*/ 4 w 27"/>
                  <a:gd name="T75" fmla="*/ 3 h 26"/>
                  <a:gd name="T76" fmla="*/ 3 w 27"/>
                  <a:gd name="T77" fmla="*/ 2 h 26"/>
                  <a:gd name="T78" fmla="*/ 2 w 27"/>
                  <a:gd name="T79" fmla="*/ 1 h 26"/>
                  <a:gd name="T80" fmla="*/ 0 w 27"/>
                  <a:gd name="T81" fmla="*/ 2 h 26"/>
                  <a:gd name="T82" fmla="*/ 0 w 27"/>
                  <a:gd name="T83" fmla="*/ 4 h 26"/>
                  <a:gd name="T84" fmla="*/ 1 w 27"/>
                  <a:gd name="T85" fmla="*/ 6 h 26"/>
                  <a:gd name="T86" fmla="*/ 2 w 27"/>
                  <a:gd name="T87" fmla="*/ 6 h 26"/>
                  <a:gd name="T88" fmla="*/ 2 w 27"/>
                  <a:gd name="T89" fmla="*/ 7 h 26"/>
                  <a:gd name="T90" fmla="*/ 2 w 27"/>
                  <a:gd name="T91" fmla="*/ 8 h 26"/>
                  <a:gd name="T92" fmla="*/ 3 w 27"/>
                  <a:gd name="T93" fmla="*/ 8 h 26"/>
                  <a:gd name="T94" fmla="*/ 3 w 27"/>
                  <a:gd name="T95" fmla="*/ 10 h 26"/>
                  <a:gd name="T96" fmla="*/ 7 w 27"/>
                  <a:gd name="T97" fmla="*/ 14 h 26"/>
                  <a:gd name="T98" fmla="*/ 9 w 27"/>
                  <a:gd name="T99" fmla="*/ 17 h 26"/>
                  <a:gd name="T100" fmla="*/ 11 w 27"/>
                  <a:gd name="T101" fmla="*/ 18 h 26"/>
                  <a:gd name="T102" fmla="*/ 12 w 27"/>
                  <a:gd name="T103" fmla="*/ 21 h 26"/>
                  <a:gd name="T104" fmla="*/ 14 w 27"/>
                  <a:gd name="T105" fmla="*/ 23 h 26"/>
                  <a:gd name="T106" fmla="*/ 15 w 27"/>
                  <a:gd name="T107" fmla="*/ 23 h 26"/>
                  <a:gd name="T108" fmla="*/ 16 w 27"/>
                  <a:gd name="T109" fmla="*/ 24 h 26"/>
                  <a:gd name="T110" fmla="*/ 18 w 27"/>
                  <a:gd name="T111" fmla="*/ 26 h 26"/>
                  <a:gd name="T112" fmla="*/ 19 w 27"/>
                  <a:gd name="T113" fmla="*/ 25 h 26"/>
                  <a:gd name="T114" fmla="*/ 19 w 27"/>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26">
                    <a:moveTo>
                      <a:pt x="19" y="25"/>
                    </a:moveTo>
                    <a:cubicBezTo>
                      <a:pt x="19" y="25"/>
                      <a:pt x="19" y="24"/>
                      <a:pt x="19" y="24"/>
                    </a:cubicBezTo>
                    <a:cubicBezTo>
                      <a:pt x="19" y="23"/>
                      <a:pt x="19" y="23"/>
                      <a:pt x="19" y="23"/>
                    </a:cubicBezTo>
                    <a:cubicBezTo>
                      <a:pt x="19" y="23"/>
                      <a:pt x="19" y="22"/>
                      <a:pt x="19" y="22"/>
                    </a:cubicBezTo>
                    <a:cubicBezTo>
                      <a:pt x="19" y="22"/>
                      <a:pt x="19" y="22"/>
                      <a:pt x="20" y="21"/>
                    </a:cubicBezTo>
                    <a:cubicBezTo>
                      <a:pt x="20" y="21"/>
                      <a:pt x="20" y="20"/>
                      <a:pt x="20" y="20"/>
                    </a:cubicBezTo>
                    <a:cubicBezTo>
                      <a:pt x="20" y="19"/>
                      <a:pt x="21" y="19"/>
                      <a:pt x="21" y="19"/>
                    </a:cubicBezTo>
                    <a:cubicBezTo>
                      <a:pt x="21" y="19"/>
                      <a:pt x="22" y="19"/>
                      <a:pt x="22" y="19"/>
                    </a:cubicBezTo>
                    <a:cubicBezTo>
                      <a:pt x="23" y="19"/>
                      <a:pt x="22" y="17"/>
                      <a:pt x="22" y="17"/>
                    </a:cubicBezTo>
                    <a:cubicBezTo>
                      <a:pt x="22" y="17"/>
                      <a:pt x="23" y="17"/>
                      <a:pt x="23" y="17"/>
                    </a:cubicBezTo>
                    <a:cubicBezTo>
                      <a:pt x="23" y="17"/>
                      <a:pt x="24" y="17"/>
                      <a:pt x="24" y="17"/>
                    </a:cubicBezTo>
                    <a:cubicBezTo>
                      <a:pt x="24" y="17"/>
                      <a:pt x="24" y="16"/>
                      <a:pt x="25" y="17"/>
                    </a:cubicBezTo>
                    <a:cubicBezTo>
                      <a:pt x="25" y="17"/>
                      <a:pt x="25" y="17"/>
                      <a:pt x="25" y="17"/>
                    </a:cubicBezTo>
                    <a:cubicBezTo>
                      <a:pt x="26" y="17"/>
                      <a:pt x="26" y="16"/>
                      <a:pt x="26" y="16"/>
                    </a:cubicBezTo>
                    <a:cubicBezTo>
                      <a:pt x="26" y="15"/>
                      <a:pt x="25" y="15"/>
                      <a:pt x="25" y="14"/>
                    </a:cubicBezTo>
                    <a:cubicBezTo>
                      <a:pt x="25" y="14"/>
                      <a:pt x="24" y="13"/>
                      <a:pt x="24" y="12"/>
                    </a:cubicBezTo>
                    <a:cubicBezTo>
                      <a:pt x="25" y="13"/>
                      <a:pt x="26" y="13"/>
                      <a:pt x="26" y="13"/>
                    </a:cubicBezTo>
                    <a:cubicBezTo>
                      <a:pt x="27" y="12"/>
                      <a:pt x="25" y="11"/>
                      <a:pt x="25" y="11"/>
                    </a:cubicBezTo>
                    <a:cubicBezTo>
                      <a:pt x="25" y="10"/>
                      <a:pt x="25" y="10"/>
                      <a:pt x="24" y="10"/>
                    </a:cubicBezTo>
                    <a:cubicBezTo>
                      <a:pt x="24" y="10"/>
                      <a:pt x="24" y="10"/>
                      <a:pt x="23" y="10"/>
                    </a:cubicBezTo>
                    <a:cubicBezTo>
                      <a:pt x="23" y="9"/>
                      <a:pt x="23" y="8"/>
                      <a:pt x="24" y="7"/>
                    </a:cubicBezTo>
                    <a:cubicBezTo>
                      <a:pt x="24" y="6"/>
                      <a:pt x="25" y="6"/>
                      <a:pt x="25" y="5"/>
                    </a:cubicBezTo>
                    <a:cubicBezTo>
                      <a:pt x="25" y="4"/>
                      <a:pt x="24" y="4"/>
                      <a:pt x="23" y="4"/>
                    </a:cubicBezTo>
                    <a:cubicBezTo>
                      <a:pt x="23" y="4"/>
                      <a:pt x="22" y="4"/>
                      <a:pt x="22" y="4"/>
                    </a:cubicBezTo>
                    <a:cubicBezTo>
                      <a:pt x="21" y="4"/>
                      <a:pt x="21" y="3"/>
                      <a:pt x="21" y="3"/>
                    </a:cubicBezTo>
                    <a:cubicBezTo>
                      <a:pt x="20" y="2"/>
                      <a:pt x="20" y="2"/>
                      <a:pt x="19" y="2"/>
                    </a:cubicBezTo>
                    <a:cubicBezTo>
                      <a:pt x="18" y="2"/>
                      <a:pt x="18" y="2"/>
                      <a:pt x="17" y="1"/>
                    </a:cubicBezTo>
                    <a:cubicBezTo>
                      <a:pt x="17" y="2"/>
                      <a:pt x="16" y="2"/>
                      <a:pt x="16" y="2"/>
                    </a:cubicBezTo>
                    <a:cubicBezTo>
                      <a:pt x="16" y="1"/>
                      <a:pt x="15" y="2"/>
                      <a:pt x="15" y="2"/>
                    </a:cubicBezTo>
                    <a:cubicBezTo>
                      <a:pt x="14" y="2"/>
                      <a:pt x="14" y="2"/>
                      <a:pt x="13" y="2"/>
                    </a:cubicBezTo>
                    <a:cubicBezTo>
                      <a:pt x="13" y="1"/>
                      <a:pt x="13" y="1"/>
                      <a:pt x="12" y="2"/>
                    </a:cubicBezTo>
                    <a:cubicBezTo>
                      <a:pt x="12" y="2"/>
                      <a:pt x="12" y="2"/>
                      <a:pt x="11" y="2"/>
                    </a:cubicBezTo>
                    <a:cubicBezTo>
                      <a:pt x="11" y="2"/>
                      <a:pt x="11" y="1"/>
                      <a:pt x="11" y="1"/>
                    </a:cubicBezTo>
                    <a:cubicBezTo>
                      <a:pt x="10" y="1"/>
                      <a:pt x="10" y="2"/>
                      <a:pt x="10" y="1"/>
                    </a:cubicBezTo>
                    <a:cubicBezTo>
                      <a:pt x="9" y="1"/>
                      <a:pt x="9" y="0"/>
                      <a:pt x="8" y="1"/>
                    </a:cubicBezTo>
                    <a:cubicBezTo>
                      <a:pt x="7" y="1"/>
                      <a:pt x="7" y="1"/>
                      <a:pt x="6" y="1"/>
                    </a:cubicBezTo>
                    <a:cubicBezTo>
                      <a:pt x="6" y="1"/>
                      <a:pt x="5" y="1"/>
                      <a:pt x="5" y="2"/>
                    </a:cubicBezTo>
                    <a:cubicBezTo>
                      <a:pt x="4" y="2"/>
                      <a:pt x="4" y="3"/>
                      <a:pt x="4" y="3"/>
                    </a:cubicBezTo>
                    <a:cubicBezTo>
                      <a:pt x="4" y="3"/>
                      <a:pt x="3" y="2"/>
                      <a:pt x="3" y="2"/>
                    </a:cubicBezTo>
                    <a:cubicBezTo>
                      <a:pt x="3" y="2"/>
                      <a:pt x="3" y="2"/>
                      <a:pt x="2" y="1"/>
                    </a:cubicBezTo>
                    <a:cubicBezTo>
                      <a:pt x="2" y="1"/>
                      <a:pt x="1" y="1"/>
                      <a:pt x="0" y="2"/>
                    </a:cubicBezTo>
                    <a:cubicBezTo>
                      <a:pt x="0" y="3"/>
                      <a:pt x="1" y="3"/>
                      <a:pt x="0" y="4"/>
                    </a:cubicBezTo>
                    <a:cubicBezTo>
                      <a:pt x="0" y="5"/>
                      <a:pt x="0" y="6"/>
                      <a:pt x="1" y="6"/>
                    </a:cubicBezTo>
                    <a:cubicBezTo>
                      <a:pt x="1" y="6"/>
                      <a:pt x="1" y="6"/>
                      <a:pt x="2" y="6"/>
                    </a:cubicBezTo>
                    <a:cubicBezTo>
                      <a:pt x="2" y="6"/>
                      <a:pt x="2" y="7"/>
                      <a:pt x="2" y="7"/>
                    </a:cubicBezTo>
                    <a:cubicBezTo>
                      <a:pt x="2" y="7"/>
                      <a:pt x="2" y="7"/>
                      <a:pt x="2" y="8"/>
                    </a:cubicBezTo>
                    <a:cubicBezTo>
                      <a:pt x="2" y="8"/>
                      <a:pt x="3" y="8"/>
                      <a:pt x="3" y="8"/>
                    </a:cubicBezTo>
                    <a:cubicBezTo>
                      <a:pt x="3" y="8"/>
                      <a:pt x="3" y="10"/>
                      <a:pt x="3" y="10"/>
                    </a:cubicBezTo>
                    <a:cubicBezTo>
                      <a:pt x="4" y="12"/>
                      <a:pt x="6" y="13"/>
                      <a:pt x="7" y="14"/>
                    </a:cubicBezTo>
                    <a:cubicBezTo>
                      <a:pt x="7" y="15"/>
                      <a:pt x="8" y="16"/>
                      <a:pt x="9" y="17"/>
                    </a:cubicBezTo>
                    <a:cubicBezTo>
                      <a:pt x="10" y="17"/>
                      <a:pt x="10" y="17"/>
                      <a:pt x="11" y="18"/>
                    </a:cubicBezTo>
                    <a:cubicBezTo>
                      <a:pt x="11" y="19"/>
                      <a:pt x="12" y="20"/>
                      <a:pt x="12" y="21"/>
                    </a:cubicBezTo>
                    <a:cubicBezTo>
                      <a:pt x="13" y="21"/>
                      <a:pt x="13" y="22"/>
                      <a:pt x="14" y="23"/>
                    </a:cubicBezTo>
                    <a:cubicBezTo>
                      <a:pt x="14" y="23"/>
                      <a:pt x="15" y="23"/>
                      <a:pt x="15" y="23"/>
                    </a:cubicBezTo>
                    <a:cubicBezTo>
                      <a:pt x="15" y="23"/>
                      <a:pt x="15" y="24"/>
                      <a:pt x="16" y="24"/>
                    </a:cubicBezTo>
                    <a:cubicBezTo>
                      <a:pt x="16" y="25"/>
                      <a:pt x="18" y="25"/>
                      <a:pt x="18" y="26"/>
                    </a:cubicBezTo>
                    <a:cubicBezTo>
                      <a:pt x="19" y="26"/>
                      <a:pt x="19" y="26"/>
                      <a:pt x="19" y="25"/>
                    </a:cubicBezTo>
                    <a:cubicBezTo>
                      <a:pt x="19" y="24"/>
                      <a:pt x="19" y="26"/>
                      <a:pt x="19"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4" name="Freeform 788">
                <a:extLst>
                  <a:ext uri="{FF2B5EF4-FFF2-40B4-BE49-F238E27FC236}">
                    <a16:creationId xmlns:a16="http://schemas.microsoft.com/office/drawing/2014/main" id="{1BCBA68B-8410-7A4E-E06D-37B69B08F4BB}"/>
                  </a:ext>
                </a:extLst>
              </p:cNvPr>
              <p:cNvSpPr>
                <a:spLocks/>
              </p:cNvSpPr>
              <p:nvPr/>
            </p:nvSpPr>
            <p:spPr bwMode="auto">
              <a:xfrm>
                <a:off x="5921375" y="3554413"/>
                <a:ext cx="49212" cy="112713"/>
              </a:xfrm>
              <a:custGeom>
                <a:avLst/>
                <a:gdLst>
                  <a:gd name="T0" fmla="*/ 7 w 12"/>
                  <a:gd name="T1" fmla="*/ 27 h 27"/>
                  <a:gd name="T2" fmla="*/ 7 w 12"/>
                  <a:gd name="T3" fmla="*/ 26 h 27"/>
                  <a:gd name="T4" fmla="*/ 8 w 12"/>
                  <a:gd name="T5" fmla="*/ 26 h 27"/>
                  <a:gd name="T6" fmla="*/ 8 w 12"/>
                  <a:gd name="T7" fmla="*/ 25 h 27"/>
                  <a:gd name="T8" fmla="*/ 7 w 12"/>
                  <a:gd name="T9" fmla="*/ 24 h 27"/>
                  <a:gd name="T10" fmla="*/ 8 w 12"/>
                  <a:gd name="T11" fmla="*/ 23 h 27"/>
                  <a:gd name="T12" fmla="*/ 9 w 12"/>
                  <a:gd name="T13" fmla="*/ 23 h 27"/>
                  <a:gd name="T14" fmla="*/ 10 w 12"/>
                  <a:gd name="T15" fmla="*/ 21 h 27"/>
                  <a:gd name="T16" fmla="*/ 10 w 12"/>
                  <a:gd name="T17" fmla="*/ 20 h 27"/>
                  <a:gd name="T18" fmla="*/ 12 w 12"/>
                  <a:gd name="T19" fmla="*/ 19 h 27"/>
                  <a:gd name="T20" fmla="*/ 12 w 12"/>
                  <a:gd name="T21" fmla="*/ 17 h 27"/>
                  <a:gd name="T22" fmla="*/ 12 w 12"/>
                  <a:gd name="T23" fmla="*/ 16 h 27"/>
                  <a:gd name="T24" fmla="*/ 10 w 12"/>
                  <a:gd name="T25" fmla="*/ 16 h 27"/>
                  <a:gd name="T26" fmla="*/ 9 w 12"/>
                  <a:gd name="T27" fmla="*/ 15 h 27"/>
                  <a:gd name="T28" fmla="*/ 8 w 12"/>
                  <a:gd name="T29" fmla="*/ 13 h 27"/>
                  <a:gd name="T30" fmla="*/ 8 w 12"/>
                  <a:gd name="T31" fmla="*/ 11 h 27"/>
                  <a:gd name="T32" fmla="*/ 8 w 12"/>
                  <a:gd name="T33" fmla="*/ 10 h 27"/>
                  <a:gd name="T34" fmla="*/ 8 w 12"/>
                  <a:gd name="T35" fmla="*/ 10 h 27"/>
                  <a:gd name="T36" fmla="*/ 8 w 12"/>
                  <a:gd name="T37" fmla="*/ 9 h 27"/>
                  <a:gd name="T38" fmla="*/ 8 w 12"/>
                  <a:gd name="T39" fmla="*/ 8 h 27"/>
                  <a:gd name="T40" fmla="*/ 9 w 12"/>
                  <a:gd name="T41" fmla="*/ 6 h 27"/>
                  <a:gd name="T42" fmla="*/ 8 w 12"/>
                  <a:gd name="T43" fmla="*/ 3 h 27"/>
                  <a:gd name="T44" fmla="*/ 6 w 12"/>
                  <a:gd name="T45" fmla="*/ 3 h 27"/>
                  <a:gd name="T46" fmla="*/ 5 w 12"/>
                  <a:gd name="T47" fmla="*/ 1 h 27"/>
                  <a:gd name="T48" fmla="*/ 4 w 12"/>
                  <a:gd name="T49" fmla="*/ 2 h 27"/>
                  <a:gd name="T50" fmla="*/ 3 w 12"/>
                  <a:gd name="T51" fmla="*/ 0 h 27"/>
                  <a:gd name="T52" fmla="*/ 1 w 12"/>
                  <a:gd name="T53" fmla="*/ 2 h 27"/>
                  <a:gd name="T54" fmla="*/ 1 w 12"/>
                  <a:gd name="T55" fmla="*/ 2 h 27"/>
                  <a:gd name="T56" fmla="*/ 0 w 12"/>
                  <a:gd name="T57" fmla="*/ 5 h 27"/>
                  <a:gd name="T58" fmla="*/ 0 w 12"/>
                  <a:gd name="T59" fmla="*/ 7 h 27"/>
                  <a:gd name="T60" fmla="*/ 2 w 12"/>
                  <a:gd name="T61" fmla="*/ 8 h 27"/>
                  <a:gd name="T62" fmla="*/ 2 w 12"/>
                  <a:gd name="T63" fmla="*/ 10 h 27"/>
                  <a:gd name="T64" fmla="*/ 1 w 12"/>
                  <a:gd name="T65" fmla="*/ 10 h 27"/>
                  <a:gd name="T66" fmla="*/ 2 w 12"/>
                  <a:gd name="T67" fmla="*/ 11 h 27"/>
                  <a:gd name="T68" fmla="*/ 1 w 12"/>
                  <a:gd name="T69" fmla="*/ 12 h 27"/>
                  <a:gd name="T70" fmla="*/ 2 w 12"/>
                  <a:gd name="T71" fmla="*/ 12 h 27"/>
                  <a:gd name="T72" fmla="*/ 1 w 12"/>
                  <a:gd name="T73" fmla="*/ 14 h 27"/>
                  <a:gd name="T74" fmla="*/ 2 w 12"/>
                  <a:gd name="T75" fmla="*/ 15 h 27"/>
                  <a:gd name="T76" fmla="*/ 1 w 12"/>
                  <a:gd name="T77" fmla="*/ 16 h 27"/>
                  <a:gd name="T78" fmla="*/ 1 w 12"/>
                  <a:gd name="T79" fmla="*/ 17 h 27"/>
                  <a:gd name="T80" fmla="*/ 1 w 12"/>
                  <a:gd name="T81" fmla="*/ 18 h 27"/>
                  <a:gd name="T82" fmla="*/ 1 w 12"/>
                  <a:gd name="T83" fmla="*/ 20 h 27"/>
                  <a:gd name="T84" fmla="*/ 1 w 12"/>
                  <a:gd name="T85" fmla="*/ 21 h 27"/>
                  <a:gd name="T86" fmla="*/ 1 w 12"/>
                  <a:gd name="T87" fmla="*/ 20 h 27"/>
                  <a:gd name="T88" fmla="*/ 3 w 12"/>
                  <a:gd name="T89" fmla="*/ 23 h 27"/>
                  <a:gd name="T90" fmla="*/ 4 w 12"/>
                  <a:gd name="T91" fmla="*/ 24 h 27"/>
                  <a:gd name="T92" fmla="*/ 5 w 12"/>
                  <a:gd name="T93" fmla="*/ 25 h 27"/>
                  <a:gd name="T94" fmla="*/ 5 w 12"/>
                  <a:gd name="T95" fmla="*/ 25 h 27"/>
                  <a:gd name="T96" fmla="*/ 5 w 12"/>
                  <a:gd name="T97" fmla="*/ 26 h 27"/>
                  <a:gd name="T98" fmla="*/ 6 w 12"/>
                  <a:gd name="T99" fmla="*/ 27 h 27"/>
                  <a:gd name="T100" fmla="*/ 6 w 12"/>
                  <a:gd name="T101" fmla="*/ 27 h 27"/>
                  <a:gd name="T102" fmla="*/ 7 w 12"/>
                  <a:gd name="T10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7">
                    <a:moveTo>
                      <a:pt x="7" y="27"/>
                    </a:moveTo>
                    <a:cubicBezTo>
                      <a:pt x="7" y="26"/>
                      <a:pt x="7" y="26"/>
                      <a:pt x="7" y="26"/>
                    </a:cubicBezTo>
                    <a:cubicBezTo>
                      <a:pt x="7" y="25"/>
                      <a:pt x="7" y="26"/>
                      <a:pt x="8" y="26"/>
                    </a:cubicBezTo>
                    <a:cubicBezTo>
                      <a:pt x="8" y="25"/>
                      <a:pt x="8" y="25"/>
                      <a:pt x="8" y="25"/>
                    </a:cubicBezTo>
                    <a:cubicBezTo>
                      <a:pt x="7" y="25"/>
                      <a:pt x="7" y="25"/>
                      <a:pt x="7" y="24"/>
                    </a:cubicBezTo>
                    <a:cubicBezTo>
                      <a:pt x="7" y="24"/>
                      <a:pt x="7" y="24"/>
                      <a:pt x="8" y="23"/>
                    </a:cubicBezTo>
                    <a:cubicBezTo>
                      <a:pt x="8" y="23"/>
                      <a:pt x="9" y="23"/>
                      <a:pt x="9" y="23"/>
                    </a:cubicBezTo>
                    <a:cubicBezTo>
                      <a:pt x="10" y="23"/>
                      <a:pt x="10" y="22"/>
                      <a:pt x="10" y="21"/>
                    </a:cubicBezTo>
                    <a:cubicBezTo>
                      <a:pt x="10" y="21"/>
                      <a:pt x="10" y="20"/>
                      <a:pt x="10" y="20"/>
                    </a:cubicBezTo>
                    <a:cubicBezTo>
                      <a:pt x="11" y="19"/>
                      <a:pt x="12" y="20"/>
                      <a:pt x="12" y="19"/>
                    </a:cubicBezTo>
                    <a:cubicBezTo>
                      <a:pt x="12" y="19"/>
                      <a:pt x="12" y="18"/>
                      <a:pt x="12" y="17"/>
                    </a:cubicBezTo>
                    <a:cubicBezTo>
                      <a:pt x="11" y="17"/>
                      <a:pt x="11" y="17"/>
                      <a:pt x="12" y="16"/>
                    </a:cubicBezTo>
                    <a:cubicBezTo>
                      <a:pt x="12" y="16"/>
                      <a:pt x="11" y="16"/>
                      <a:pt x="10" y="16"/>
                    </a:cubicBezTo>
                    <a:cubicBezTo>
                      <a:pt x="9" y="16"/>
                      <a:pt x="10" y="15"/>
                      <a:pt x="9" y="15"/>
                    </a:cubicBezTo>
                    <a:cubicBezTo>
                      <a:pt x="9" y="14"/>
                      <a:pt x="9" y="13"/>
                      <a:pt x="8" y="13"/>
                    </a:cubicBezTo>
                    <a:cubicBezTo>
                      <a:pt x="8" y="12"/>
                      <a:pt x="9" y="12"/>
                      <a:pt x="8" y="11"/>
                    </a:cubicBezTo>
                    <a:cubicBezTo>
                      <a:pt x="8" y="11"/>
                      <a:pt x="8" y="11"/>
                      <a:pt x="8" y="10"/>
                    </a:cubicBezTo>
                    <a:cubicBezTo>
                      <a:pt x="8" y="10"/>
                      <a:pt x="8" y="10"/>
                      <a:pt x="8" y="10"/>
                    </a:cubicBezTo>
                    <a:cubicBezTo>
                      <a:pt x="8" y="10"/>
                      <a:pt x="8" y="10"/>
                      <a:pt x="8" y="9"/>
                    </a:cubicBezTo>
                    <a:cubicBezTo>
                      <a:pt x="8" y="9"/>
                      <a:pt x="8" y="9"/>
                      <a:pt x="8" y="8"/>
                    </a:cubicBezTo>
                    <a:cubicBezTo>
                      <a:pt x="9" y="7"/>
                      <a:pt x="9" y="7"/>
                      <a:pt x="9" y="6"/>
                    </a:cubicBezTo>
                    <a:cubicBezTo>
                      <a:pt x="9" y="5"/>
                      <a:pt x="8" y="4"/>
                      <a:pt x="8" y="3"/>
                    </a:cubicBezTo>
                    <a:cubicBezTo>
                      <a:pt x="7" y="3"/>
                      <a:pt x="7" y="3"/>
                      <a:pt x="6" y="3"/>
                    </a:cubicBezTo>
                    <a:cubicBezTo>
                      <a:pt x="6" y="2"/>
                      <a:pt x="6" y="1"/>
                      <a:pt x="5" y="1"/>
                    </a:cubicBezTo>
                    <a:cubicBezTo>
                      <a:pt x="5" y="1"/>
                      <a:pt x="4" y="2"/>
                      <a:pt x="4" y="2"/>
                    </a:cubicBezTo>
                    <a:cubicBezTo>
                      <a:pt x="3" y="1"/>
                      <a:pt x="4" y="1"/>
                      <a:pt x="3" y="0"/>
                    </a:cubicBezTo>
                    <a:cubicBezTo>
                      <a:pt x="3" y="0"/>
                      <a:pt x="1" y="2"/>
                      <a:pt x="1" y="2"/>
                    </a:cubicBezTo>
                    <a:cubicBezTo>
                      <a:pt x="1" y="2"/>
                      <a:pt x="1" y="2"/>
                      <a:pt x="1" y="2"/>
                    </a:cubicBezTo>
                    <a:cubicBezTo>
                      <a:pt x="1" y="3"/>
                      <a:pt x="0" y="4"/>
                      <a:pt x="0" y="5"/>
                    </a:cubicBezTo>
                    <a:cubicBezTo>
                      <a:pt x="0" y="5"/>
                      <a:pt x="1" y="6"/>
                      <a:pt x="0" y="7"/>
                    </a:cubicBezTo>
                    <a:cubicBezTo>
                      <a:pt x="1" y="7"/>
                      <a:pt x="2" y="7"/>
                      <a:pt x="2" y="8"/>
                    </a:cubicBezTo>
                    <a:cubicBezTo>
                      <a:pt x="2" y="8"/>
                      <a:pt x="2" y="9"/>
                      <a:pt x="2" y="10"/>
                    </a:cubicBezTo>
                    <a:cubicBezTo>
                      <a:pt x="2" y="10"/>
                      <a:pt x="2" y="10"/>
                      <a:pt x="1" y="10"/>
                    </a:cubicBezTo>
                    <a:cubicBezTo>
                      <a:pt x="1" y="10"/>
                      <a:pt x="2" y="11"/>
                      <a:pt x="2" y="11"/>
                    </a:cubicBezTo>
                    <a:cubicBezTo>
                      <a:pt x="2" y="11"/>
                      <a:pt x="1" y="11"/>
                      <a:pt x="1" y="12"/>
                    </a:cubicBezTo>
                    <a:cubicBezTo>
                      <a:pt x="1" y="12"/>
                      <a:pt x="1" y="12"/>
                      <a:pt x="2" y="12"/>
                    </a:cubicBezTo>
                    <a:cubicBezTo>
                      <a:pt x="2" y="13"/>
                      <a:pt x="1" y="14"/>
                      <a:pt x="1" y="14"/>
                    </a:cubicBezTo>
                    <a:cubicBezTo>
                      <a:pt x="1" y="15"/>
                      <a:pt x="2" y="15"/>
                      <a:pt x="2" y="15"/>
                    </a:cubicBezTo>
                    <a:cubicBezTo>
                      <a:pt x="2" y="16"/>
                      <a:pt x="1" y="16"/>
                      <a:pt x="1" y="16"/>
                    </a:cubicBezTo>
                    <a:cubicBezTo>
                      <a:pt x="1" y="16"/>
                      <a:pt x="1" y="17"/>
                      <a:pt x="1" y="17"/>
                    </a:cubicBezTo>
                    <a:cubicBezTo>
                      <a:pt x="1" y="18"/>
                      <a:pt x="0" y="18"/>
                      <a:pt x="1" y="18"/>
                    </a:cubicBezTo>
                    <a:cubicBezTo>
                      <a:pt x="1" y="19"/>
                      <a:pt x="1" y="19"/>
                      <a:pt x="1" y="20"/>
                    </a:cubicBezTo>
                    <a:cubicBezTo>
                      <a:pt x="1" y="20"/>
                      <a:pt x="2" y="21"/>
                      <a:pt x="1" y="21"/>
                    </a:cubicBezTo>
                    <a:cubicBezTo>
                      <a:pt x="1" y="21"/>
                      <a:pt x="1" y="20"/>
                      <a:pt x="1" y="20"/>
                    </a:cubicBezTo>
                    <a:cubicBezTo>
                      <a:pt x="0" y="21"/>
                      <a:pt x="2" y="22"/>
                      <a:pt x="3" y="23"/>
                    </a:cubicBezTo>
                    <a:cubicBezTo>
                      <a:pt x="3" y="23"/>
                      <a:pt x="4" y="23"/>
                      <a:pt x="4" y="24"/>
                    </a:cubicBezTo>
                    <a:cubicBezTo>
                      <a:pt x="4" y="24"/>
                      <a:pt x="4" y="24"/>
                      <a:pt x="5" y="25"/>
                    </a:cubicBezTo>
                    <a:cubicBezTo>
                      <a:pt x="5" y="25"/>
                      <a:pt x="5" y="25"/>
                      <a:pt x="5" y="25"/>
                    </a:cubicBezTo>
                    <a:cubicBezTo>
                      <a:pt x="5" y="26"/>
                      <a:pt x="5" y="26"/>
                      <a:pt x="5" y="26"/>
                    </a:cubicBezTo>
                    <a:cubicBezTo>
                      <a:pt x="5" y="27"/>
                      <a:pt x="6" y="27"/>
                      <a:pt x="6" y="27"/>
                    </a:cubicBezTo>
                    <a:cubicBezTo>
                      <a:pt x="6" y="27"/>
                      <a:pt x="6" y="27"/>
                      <a:pt x="6" y="27"/>
                    </a:cubicBezTo>
                    <a:cubicBezTo>
                      <a:pt x="6" y="27"/>
                      <a:pt x="6" y="27"/>
                      <a:pt x="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5" name="Freeform 789">
                <a:extLst>
                  <a:ext uri="{FF2B5EF4-FFF2-40B4-BE49-F238E27FC236}">
                    <a16:creationId xmlns:a16="http://schemas.microsoft.com/office/drawing/2014/main" id="{5577439F-B4EA-58F9-5F1A-B1815A3D6D9B}"/>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790">
                <a:extLst>
                  <a:ext uri="{FF2B5EF4-FFF2-40B4-BE49-F238E27FC236}">
                    <a16:creationId xmlns:a16="http://schemas.microsoft.com/office/drawing/2014/main" id="{21CE2DBE-0595-C62D-CDB6-47E8192D2C24}"/>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791">
                <a:extLst>
                  <a:ext uri="{FF2B5EF4-FFF2-40B4-BE49-F238E27FC236}">
                    <a16:creationId xmlns:a16="http://schemas.microsoft.com/office/drawing/2014/main" id="{F89FFD99-874E-F05B-8105-87C155DAEDB1}"/>
                  </a:ext>
                </a:extLst>
              </p:cNvPr>
              <p:cNvSpPr>
                <a:spLocks noEditPoints="1"/>
              </p:cNvSpPr>
              <p:nvPr/>
            </p:nvSpPr>
            <p:spPr bwMode="auto">
              <a:xfrm>
                <a:off x="5121276" y="3508375"/>
                <a:ext cx="384175" cy="287338"/>
              </a:xfrm>
              <a:custGeom>
                <a:avLst/>
                <a:gdLst>
                  <a:gd name="T0" fmla="*/ 79 w 92"/>
                  <a:gd name="T1" fmla="*/ 21 h 69"/>
                  <a:gd name="T2" fmla="*/ 68 w 92"/>
                  <a:gd name="T3" fmla="*/ 29 h 69"/>
                  <a:gd name="T4" fmla="*/ 60 w 92"/>
                  <a:gd name="T5" fmla="*/ 40 h 69"/>
                  <a:gd name="T6" fmla="*/ 63 w 92"/>
                  <a:gd name="T7" fmla="*/ 47 h 69"/>
                  <a:gd name="T8" fmla="*/ 57 w 92"/>
                  <a:gd name="T9" fmla="*/ 53 h 69"/>
                  <a:gd name="T10" fmla="*/ 54 w 92"/>
                  <a:gd name="T11" fmla="*/ 56 h 69"/>
                  <a:gd name="T12" fmla="*/ 48 w 92"/>
                  <a:gd name="T13" fmla="*/ 63 h 69"/>
                  <a:gd name="T14" fmla="*/ 40 w 92"/>
                  <a:gd name="T15" fmla="*/ 63 h 69"/>
                  <a:gd name="T16" fmla="*/ 30 w 92"/>
                  <a:gd name="T17" fmla="*/ 65 h 69"/>
                  <a:gd name="T18" fmla="*/ 24 w 92"/>
                  <a:gd name="T19" fmla="*/ 69 h 69"/>
                  <a:gd name="T20" fmla="*/ 20 w 92"/>
                  <a:gd name="T21" fmla="*/ 65 h 69"/>
                  <a:gd name="T22" fmla="*/ 16 w 92"/>
                  <a:gd name="T23" fmla="*/ 60 h 69"/>
                  <a:gd name="T24" fmla="*/ 12 w 92"/>
                  <a:gd name="T25" fmla="*/ 55 h 69"/>
                  <a:gd name="T26" fmla="*/ 15 w 92"/>
                  <a:gd name="T27" fmla="*/ 50 h 69"/>
                  <a:gd name="T28" fmla="*/ 13 w 92"/>
                  <a:gd name="T29" fmla="*/ 47 h 69"/>
                  <a:gd name="T30" fmla="*/ 15 w 92"/>
                  <a:gd name="T31" fmla="*/ 43 h 69"/>
                  <a:gd name="T32" fmla="*/ 13 w 92"/>
                  <a:gd name="T33" fmla="*/ 41 h 69"/>
                  <a:gd name="T34" fmla="*/ 15 w 92"/>
                  <a:gd name="T35" fmla="*/ 37 h 69"/>
                  <a:gd name="T36" fmla="*/ 15 w 92"/>
                  <a:gd name="T37" fmla="*/ 33 h 69"/>
                  <a:gd name="T38" fmla="*/ 16 w 92"/>
                  <a:gd name="T39" fmla="*/ 31 h 69"/>
                  <a:gd name="T40" fmla="*/ 16 w 92"/>
                  <a:gd name="T41" fmla="*/ 29 h 69"/>
                  <a:gd name="T42" fmla="*/ 17 w 92"/>
                  <a:gd name="T43" fmla="*/ 25 h 69"/>
                  <a:gd name="T44" fmla="*/ 18 w 92"/>
                  <a:gd name="T45" fmla="*/ 20 h 69"/>
                  <a:gd name="T46" fmla="*/ 17 w 92"/>
                  <a:gd name="T47" fmla="*/ 17 h 69"/>
                  <a:gd name="T48" fmla="*/ 15 w 92"/>
                  <a:gd name="T49" fmla="*/ 17 h 69"/>
                  <a:gd name="T50" fmla="*/ 12 w 92"/>
                  <a:gd name="T51" fmla="*/ 19 h 69"/>
                  <a:gd name="T52" fmla="*/ 9 w 92"/>
                  <a:gd name="T53" fmla="*/ 18 h 69"/>
                  <a:gd name="T54" fmla="*/ 7 w 92"/>
                  <a:gd name="T55" fmla="*/ 16 h 69"/>
                  <a:gd name="T56" fmla="*/ 3 w 92"/>
                  <a:gd name="T57" fmla="*/ 16 h 69"/>
                  <a:gd name="T58" fmla="*/ 3 w 92"/>
                  <a:gd name="T59" fmla="*/ 13 h 69"/>
                  <a:gd name="T60" fmla="*/ 1 w 92"/>
                  <a:gd name="T61" fmla="*/ 11 h 69"/>
                  <a:gd name="T62" fmla="*/ 1 w 92"/>
                  <a:gd name="T63" fmla="*/ 10 h 69"/>
                  <a:gd name="T64" fmla="*/ 1 w 92"/>
                  <a:gd name="T65" fmla="*/ 7 h 69"/>
                  <a:gd name="T66" fmla="*/ 3 w 92"/>
                  <a:gd name="T67" fmla="*/ 5 h 69"/>
                  <a:gd name="T68" fmla="*/ 6 w 92"/>
                  <a:gd name="T69" fmla="*/ 4 h 69"/>
                  <a:gd name="T70" fmla="*/ 10 w 92"/>
                  <a:gd name="T71" fmla="*/ 1 h 69"/>
                  <a:gd name="T72" fmla="*/ 15 w 92"/>
                  <a:gd name="T73" fmla="*/ 3 h 69"/>
                  <a:gd name="T74" fmla="*/ 23 w 92"/>
                  <a:gd name="T75" fmla="*/ 2 h 69"/>
                  <a:gd name="T76" fmla="*/ 28 w 92"/>
                  <a:gd name="T77" fmla="*/ 3 h 69"/>
                  <a:gd name="T78" fmla="*/ 39 w 92"/>
                  <a:gd name="T79" fmla="*/ 3 h 69"/>
                  <a:gd name="T80" fmla="*/ 42 w 92"/>
                  <a:gd name="T81" fmla="*/ 4 h 69"/>
                  <a:gd name="T82" fmla="*/ 45 w 92"/>
                  <a:gd name="T83" fmla="*/ 4 h 69"/>
                  <a:gd name="T84" fmla="*/ 50 w 92"/>
                  <a:gd name="T85" fmla="*/ 5 h 69"/>
                  <a:gd name="T86" fmla="*/ 52 w 92"/>
                  <a:gd name="T87" fmla="*/ 7 h 69"/>
                  <a:gd name="T88" fmla="*/ 57 w 92"/>
                  <a:gd name="T89" fmla="*/ 9 h 69"/>
                  <a:gd name="T90" fmla="*/ 63 w 92"/>
                  <a:gd name="T91" fmla="*/ 10 h 69"/>
                  <a:gd name="T92" fmla="*/ 68 w 92"/>
                  <a:gd name="T93" fmla="*/ 10 h 69"/>
                  <a:gd name="T94" fmla="*/ 72 w 92"/>
                  <a:gd name="T95" fmla="*/ 13 h 69"/>
                  <a:gd name="T96" fmla="*/ 76 w 92"/>
                  <a:gd name="T97" fmla="*/ 14 h 69"/>
                  <a:gd name="T98" fmla="*/ 80 w 92"/>
                  <a:gd name="T99" fmla="*/ 14 h 69"/>
                  <a:gd name="T100" fmla="*/ 83 w 92"/>
                  <a:gd name="T101" fmla="*/ 13 h 69"/>
                  <a:gd name="T102" fmla="*/ 84 w 92"/>
                  <a:gd name="T103" fmla="*/ 15 h 69"/>
                  <a:gd name="T104" fmla="*/ 73 w 92"/>
                  <a:gd name="T105" fmla="*/ 42 h 69"/>
                  <a:gd name="T106" fmla="*/ 72 w 92"/>
                  <a:gd name="T107" fmla="*/ 45 h 69"/>
                  <a:gd name="T108" fmla="*/ 81 w 92"/>
                  <a:gd name="T109" fmla="*/ 39 h 69"/>
                  <a:gd name="T110" fmla="*/ 84 w 92"/>
                  <a:gd name="T111" fmla="*/ 40 h 69"/>
                  <a:gd name="T112" fmla="*/ 84 w 92"/>
                  <a:gd name="T113" fmla="*/ 36 h 69"/>
                  <a:gd name="T114" fmla="*/ 80 w 92"/>
                  <a:gd name="T115" fmla="*/ 37 h 69"/>
                  <a:gd name="T116" fmla="*/ 88 w 92"/>
                  <a:gd name="T117" fmla="*/ 35 h 69"/>
                  <a:gd name="T118" fmla="*/ 88 w 92"/>
                  <a:gd name="T119"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2" h="69">
                    <a:moveTo>
                      <a:pt x="84" y="16"/>
                    </a:moveTo>
                    <a:cubicBezTo>
                      <a:pt x="85" y="16"/>
                      <a:pt x="84" y="18"/>
                      <a:pt x="84" y="18"/>
                    </a:cubicBezTo>
                    <a:cubicBezTo>
                      <a:pt x="83" y="19"/>
                      <a:pt x="82" y="19"/>
                      <a:pt x="82" y="20"/>
                    </a:cubicBezTo>
                    <a:cubicBezTo>
                      <a:pt x="81" y="20"/>
                      <a:pt x="80" y="20"/>
                      <a:pt x="79" y="21"/>
                    </a:cubicBezTo>
                    <a:cubicBezTo>
                      <a:pt x="78" y="21"/>
                      <a:pt x="77" y="22"/>
                      <a:pt x="77" y="23"/>
                    </a:cubicBezTo>
                    <a:cubicBezTo>
                      <a:pt x="75" y="24"/>
                      <a:pt x="74" y="24"/>
                      <a:pt x="72" y="25"/>
                    </a:cubicBezTo>
                    <a:cubicBezTo>
                      <a:pt x="70" y="25"/>
                      <a:pt x="68" y="25"/>
                      <a:pt x="67" y="28"/>
                    </a:cubicBezTo>
                    <a:cubicBezTo>
                      <a:pt x="68" y="28"/>
                      <a:pt x="69" y="29"/>
                      <a:pt x="68" y="29"/>
                    </a:cubicBezTo>
                    <a:cubicBezTo>
                      <a:pt x="67" y="30"/>
                      <a:pt x="66" y="30"/>
                      <a:pt x="65" y="31"/>
                    </a:cubicBezTo>
                    <a:cubicBezTo>
                      <a:pt x="65" y="32"/>
                      <a:pt x="64" y="33"/>
                      <a:pt x="63" y="33"/>
                    </a:cubicBezTo>
                    <a:cubicBezTo>
                      <a:pt x="63" y="34"/>
                      <a:pt x="62" y="36"/>
                      <a:pt x="61" y="37"/>
                    </a:cubicBezTo>
                    <a:cubicBezTo>
                      <a:pt x="61" y="37"/>
                      <a:pt x="60" y="38"/>
                      <a:pt x="60" y="40"/>
                    </a:cubicBezTo>
                    <a:cubicBezTo>
                      <a:pt x="60" y="40"/>
                      <a:pt x="60" y="41"/>
                      <a:pt x="61" y="41"/>
                    </a:cubicBezTo>
                    <a:cubicBezTo>
                      <a:pt x="61" y="42"/>
                      <a:pt x="61" y="43"/>
                      <a:pt x="61" y="43"/>
                    </a:cubicBezTo>
                    <a:cubicBezTo>
                      <a:pt x="61" y="44"/>
                      <a:pt x="63" y="44"/>
                      <a:pt x="63" y="45"/>
                    </a:cubicBezTo>
                    <a:cubicBezTo>
                      <a:pt x="64" y="46"/>
                      <a:pt x="63" y="46"/>
                      <a:pt x="63" y="47"/>
                    </a:cubicBezTo>
                    <a:cubicBezTo>
                      <a:pt x="62" y="47"/>
                      <a:pt x="61" y="48"/>
                      <a:pt x="61" y="48"/>
                    </a:cubicBezTo>
                    <a:cubicBezTo>
                      <a:pt x="60" y="49"/>
                      <a:pt x="59" y="49"/>
                      <a:pt x="59" y="50"/>
                    </a:cubicBezTo>
                    <a:cubicBezTo>
                      <a:pt x="58" y="50"/>
                      <a:pt x="57" y="51"/>
                      <a:pt x="57" y="52"/>
                    </a:cubicBezTo>
                    <a:cubicBezTo>
                      <a:pt x="57" y="52"/>
                      <a:pt x="57" y="52"/>
                      <a:pt x="57" y="53"/>
                    </a:cubicBezTo>
                    <a:cubicBezTo>
                      <a:pt x="57" y="53"/>
                      <a:pt x="57" y="53"/>
                      <a:pt x="57" y="54"/>
                    </a:cubicBezTo>
                    <a:cubicBezTo>
                      <a:pt x="57" y="54"/>
                      <a:pt x="57" y="55"/>
                      <a:pt x="57" y="55"/>
                    </a:cubicBezTo>
                    <a:cubicBezTo>
                      <a:pt x="57" y="56"/>
                      <a:pt x="56" y="56"/>
                      <a:pt x="56" y="56"/>
                    </a:cubicBezTo>
                    <a:cubicBezTo>
                      <a:pt x="55" y="56"/>
                      <a:pt x="54" y="56"/>
                      <a:pt x="54" y="56"/>
                    </a:cubicBezTo>
                    <a:cubicBezTo>
                      <a:pt x="53" y="56"/>
                      <a:pt x="52" y="57"/>
                      <a:pt x="51" y="57"/>
                    </a:cubicBezTo>
                    <a:cubicBezTo>
                      <a:pt x="51" y="58"/>
                      <a:pt x="50" y="59"/>
                      <a:pt x="50" y="59"/>
                    </a:cubicBezTo>
                    <a:cubicBezTo>
                      <a:pt x="49" y="60"/>
                      <a:pt x="49" y="61"/>
                      <a:pt x="49" y="62"/>
                    </a:cubicBezTo>
                    <a:cubicBezTo>
                      <a:pt x="48" y="62"/>
                      <a:pt x="48" y="63"/>
                      <a:pt x="48" y="63"/>
                    </a:cubicBezTo>
                    <a:cubicBezTo>
                      <a:pt x="47" y="63"/>
                      <a:pt x="46" y="62"/>
                      <a:pt x="46" y="62"/>
                    </a:cubicBezTo>
                    <a:cubicBezTo>
                      <a:pt x="45" y="62"/>
                      <a:pt x="45" y="62"/>
                      <a:pt x="45" y="63"/>
                    </a:cubicBezTo>
                    <a:cubicBezTo>
                      <a:pt x="44" y="64"/>
                      <a:pt x="43" y="63"/>
                      <a:pt x="42" y="63"/>
                    </a:cubicBezTo>
                    <a:cubicBezTo>
                      <a:pt x="42" y="63"/>
                      <a:pt x="41" y="63"/>
                      <a:pt x="40" y="63"/>
                    </a:cubicBezTo>
                    <a:cubicBezTo>
                      <a:pt x="39" y="63"/>
                      <a:pt x="38" y="63"/>
                      <a:pt x="37" y="63"/>
                    </a:cubicBezTo>
                    <a:cubicBezTo>
                      <a:pt x="36" y="63"/>
                      <a:pt x="35" y="63"/>
                      <a:pt x="34" y="63"/>
                    </a:cubicBezTo>
                    <a:cubicBezTo>
                      <a:pt x="34" y="63"/>
                      <a:pt x="33" y="63"/>
                      <a:pt x="32" y="63"/>
                    </a:cubicBezTo>
                    <a:cubicBezTo>
                      <a:pt x="31" y="64"/>
                      <a:pt x="31" y="64"/>
                      <a:pt x="30" y="65"/>
                    </a:cubicBezTo>
                    <a:cubicBezTo>
                      <a:pt x="29" y="65"/>
                      <a:pt x="28" y="65"/>
                      <a:pt x="27" y="65"/>
                    </a:cubicBezTo>
                    <a:cubicBezTo>
                      <a:pt x="27" y="65"/>
                      <a:pt x="26" y="66"/>
                      <a:pt x="26" y="67"/>
                    </a:cubicBezTo>
                    <a:cubicBezTo>
                      <a:pt x="26" y="67"/>
                      <a:pt x="26" y="68"/>
                      <a:pt x="26" y="68"/>
                    </a:cubicBezTo>
                    <a:cubicBezTo>
                      <a:pt x="25" y="68"/>
                      <a:pt x="25" y="69"/>
                      <a:pt x="24" y="69"/>
                    </a:cubicBezTo>
                    <a:cubicBezTo>
                      <a:pt x="24" y="69"/>
                      <a:pt x="23" y="69"/>
                      <a:pt x="23" y="68"/>
                    </a:cubicBezTo>
                    <a:cubicBezTo>
                      <a:pt x="22" y="68"/>
                      <a:pt x="22" y="68"/>
                      <a:pt x="21" y="67"/>
                    </a:cubicBezTo>
                    <a:cubicBezTo>
                      <a:pt x="21" y="67"/>
                      <a:pt x="20" y="65"/>
                      <a:pt x="20" y="65"/>
                    </a:cubicBezTo>
                    <a:cubicBezTo>
                      <a:pt x="20" y="65"/>
                      <a:pt x="20" y="65"/>
                      <a:pt x="20" y="65"/>
                    </a:cubicBezTo>
                    <a:cubicBezTo>
                      <a:pt x="21" y="64"/>
                      <a:pt x="19" y="64"/>
                      <a:pt x="19" y="63"/>
                    </a:cubicBezTo>
                    <a:cubicBezTo>
                      <a:pt x="19" y="62"/>
                      <a:pt x="19" y="62"/>
                      <a:pt x="19" y="62"/>
                    </a:cubicBezTo>
                    <a:cubicBezTo>
                      <a:pt x="19" y="61"/>
                      <a:pt x="18" y="61"/>
                      <a:pt x="18" y="61"/>
                    </a:cubicBezTo>
                    <a:cubicBezTo>
                      <a:pt x="17" y="60"/>
                      <a:pt x="17" y="60"/>
                      <a:pt x="16" y="60"/>
                    </a:cubicBezTo>
                    <a:cubicBezTo>
                      <a:pt x="16" y="59"/>
                      <a:pt x="16" y="59"/>
                      <a:pt x="16" y="59"/>
                    </a:cubicBezTo>
                    <a:cubicBezTo>
                      <a:pt x="15" y="58"/>
                      <a:pt x="13" y="59"/>
                      <a:pt x="12" y="59"/>
                    </a:cubicBezTo>
                    <a:cubicBezTo>
                      <a:pt x="12" y="58"/>
                      <a:pt x="12" y="57"/>
                      <a:pt x="12" y="57"/>
                    </a:cubicBezTo>
                    <a:cubicBezTo>
                      <a:pt x="12" y="56"/>
                      <a:pt x="12" y="56"/>
                      <a:pt x="12" y="55"/>
                    </a:cubicBezTo>
                    <a:cubicBezTo>
                      <a:pt x="12" y="55"/>
                      <a:pt x="12" y="54"/>
                      <a:pt x="13" y="54"/>
                    </a:cubicBezTo>
                    <a:cubicBezTo>
                      <a:pt x="13" y="53"/>
                      <a:pt x="13" y="52"/>
                      <a:pt x="13" y="52"/>
                    </a:cubicBezTo>
                    <a:cubicBezTo>
                      <a:pt x="14" y="52"/>
                      <a:pt x="15" y="52"/>
                      <a:pt x="15" y="51"/>
                    </a:cubicBezTo>
                    <a:cubicBezTo>
                      <a:pt x="15" y="51"/>
                      <a:pt x="16" y="50"/>
                      <a:pt x="15" y="50"/>
                    </a:cubicBezTo>
                    <a:cubicBezTo>
                      <a:pt x="15" y="50"/>
                      <a:pt x="15" y="50"/>
                      <a:pt x="15" y="50"/>
                    </a:cubicBezTo>
                    <a:cubicBezTo>
                      <a:pt x="14" y="51"/>
                      <a:pt x="14" y="50"/>
                      <a:pt x="13" y="49"/>
                    </a:cubicBezTo>
                    <a:cubicBezTo>
                      <a:pt x="13" y="49"/>
                      <a:pt x="13" y="48"/>
                      <a:pt x="13" y="48"/>
                    </a:cubicBezTo>
                    <a:cubicBezTo>
                      <a:pt x="13" y="47"/>
                      <a:pt x="13" y="47"/>
                      <a:pt x="13" y="47"/>
                    </a:cubicBezTo>
                    <a:cubicBezTo>
                      <a:pt x="13" y="47"/>
                      <a:pt x="13" y="47"/>
                      <a:pt x="13" y="46"/>
                    </a:cubicBezTo>
                    <a:cubicBezTo>
                      <a:pt x="13" y="45"/>
                      <a:pt x="14" y="45"/>
                      <a:pt x="14" y="45"/>
                    </a:cubicBezTo>
                    <a:cubicBezTo>
                      <a:pt x="15" y="45"/>
                      <a:pt x="15" y="44"/>
                      <a:pt x="15" y="44"/>
                    </a:cubicBezTo>
                    <a:cubicBezTo>
                      <a:pt x="15" y="43"/>
                      <a:pt x="15" y="43"/>
                      <a:pt x="15" y="43"/>
                    </a:cubicBezTo>
                    <a:cubicBezTo>
                      <a:pt x="15" y="42"/>
                      <a:pt x="15" y="43"/>
                      <a:pt x="14" y="43"/>
                    </a:cubicBezTo>
                    <a:cubicBezTo>
                      <a:pt x="14" y="42"/>
                      <a:pt x="14" y="43"/>
                      <a:pt x="14" y="42"/>
                    </a:cubicBezTo>
                    <a:cubicBezTo>
                      <a:pt x="14" y="42"/>
                      <a:pt x="13" y="42"/>
                      <a:pt x="13" y="42"/>
                    </a:cubicBezTo>
                    <a:cubicBezTo>
                      <a:pt x="13" y="41"/>
                      <a:pt x="13" y="41"/>
                      <a:pt x="13" y="41"/>
                    </a:cubicBezTo>
                    <a:cubicBezTo>
                      <a:pt x="13" y="41"/>
                      <a:pt x="13" y="40"/>
                      <a:pt x="13" y="40"/>
                    </a:cubicBezTo>
                    <a:cubicBezTo>
                      <a:pt x="13" y="40"/>
                      <a:pt x="13" y="40"/>
                      <a:pt x="13" y="40"/>
                    </a:cubicBezTo>
                    <a:cubicBezTo>
                      <a:pt x="13" y="39"/>
                      <a:pt x="11" y="38"/>
                      <a:pt x="12" y="38"/>
                    </a:cubicBezTo>
                    <a:cubicBezTo>
                      <a:pt x="12" y="37"/>
                      <a:pt x="14" y="38"/>
                      <a:pt x="15" y="37"/>
                    </a:cubicBezTo>
                    <a:cubicBezTo>
                      <a:pt x="15" y="37"/>
                      <a:pt x="15" y="37"/>
                      <a:pt x="15" y="37"/>
                    </a:cubicBezTo>
                    <a:cubicBezTo>
                      <a:pt x="15" y="36"/>
                      <a:pt x="15" y="36"/>
                      <a:pt x="16" y="36"/>
                    </a:cubicBezTo>
                    <a:cubicBezTo>
                      <a:pt x="16" y="36"/>
                      <a:pt x="16" y="35"/>
                      <a:pt x="16" y="35"/>
                    </a:cubicBezTo>
                    <a:cubicBezTo>
                      <a:pt x="16" y="34"/>
                      <a:pt x="15" y="34"/>
                      <a:pt x="15" y="33"/>
                    </a:cubicBezTo>
                    <a:cubicBezTo>
                      <a:pt x="15" y="33"/>
                      <a:pt x="15" y="33"/>
                      <a:pt x="16" y="33"/>
                    </a:cubicBezTo>
                    <a:cubicBezTo>
                      <a:pt x="16" y="32"/>
                      <a:pt x="16" y="32"/>
                      <a:pt x="16" y="32"/>
                    </a:cubicBezTo>
                    <a:cubicBezTo>
                      <a:pt x="16" y="32"/>
                      <a:pt x="16" y="32"/>
                      <a:pt x="16" y="31"/>
                    </a:cubicBezTo>
                    <a:cubicBezTo>
                      <a:pt x="16" y="31"/>
                      <a:pt x="16" y="31"/>
                      <a:pt x="16" y="31"/>
                    </a:cubicBezTo>
                    <a:cubicBezTo>
                      <a:pt x="16" y="30"/>
                      <a:pt x="16" y="30"/>
                      <a:pt x="16" y="30"/>
                    </a:cubicBezTo>
                    <a:cubicBezTo>
                      <a:pt x="16" y="30"/>
                      <a:pt x="16" y="30"/>
                      <a:pt x="16" y="30"/>
                    </a:cubicBezTo>
                    <a:cubicBezTo>
                      <a:pt x="16" y="29"/>
                      <a:pt x="16" y="29"/>
                      <a:pt x="16" y="29"/>
                    </a:cubicBezTo>
                    <a:cubicBezTo>
                      <a:pt x="16" y="29"/>
                      <a:pt x="16" y="29"/>
                      <a:pt x="16" y="29"/>
                    </a:cubicBezTo>
                    <a:cubicBezTo>
                      <a:pt x="16" y="28"/>
                      <a:pt x="16" y="27"/>
                      <a:pt x="16" y="27"/>
                    </a:cubicBezTo>
                    <a:cubicBezTo>
                      <a:pt x="16" y="27"/>
                      <a:pt x="15" y="26"/>
                      <a:pt x="16" y="26"/>
                    </a:cubicBezTo>
                    <a:cubicBezTo>
                      <a:pt x="16" y="25"/>
                      <a:pt x="16" y="26"/>
                      <a:pt x="16" y="26"/>
                    </a:cubicBezTo>
                    <a:cubicBezTo>
                      <a:pt x="17" y="25"/>
                      <a:pt x="16" y="25"/>
                      <a:pt x="17" y="25"/>
                    </a:cubicBezTo>
                    <a:cubicBezTo>
                      <a:pt x="17" y="25"/>
                      <a:pt x="17" y="24"/>
                      <a:pt x="17" y="24"/>
                    </a:cubicBezTo>
                    <a:cubicBezTo>
                      <a:pt x="18" y="23"/>
                      <a:pt x="19" y="23"/>
                      <a:pt x="19" y="23"/>
                    </a:cubicBezTo>
                    <a:cubicBezTo>
                      <a:pt x="20" y="22"/>
                      <a:pt x="20" y="21"/>
                      <a:pt x="20" y="21"/>
                    </a:cubicBezTo>
                    <a:cubicBezTo>
                      <a:pt x="20" y="19"/>
                      <a:pt x="18" y="21"/>
                      <a:pt x="18" y="20"/>
                    </a:cubicBezTo>
                    <a:cubicBezTo>
                      <a:pt x="18" y="19"/>
                      <a:pt x="18" y="19"/>
                      <a:pt x="18" y="18"/>
                    </a:cubicBezTo>
                    <a:cubicBezTo>
                      <a:pt x="18" y="18"/>
                      <a:pt x="18" y="17"/>
                      <a:pt x="18" y="17"/>
                    </a:cubicBezTo>
                    <a:cubicBezTo>
                      <a:pt x="18" y="17"/>
                      <a:pt x="18" y="18"/>
                      <a:pt x="18" y="18"/>
                    </a:cubicBezTo>
                    <a:cubicBezTo>
                      <a:pt x="17" y="18"/>
                      <a:pt x="17" y="18"/>
                      <a:pt x="17" y="17"/>
                    </a:cubicBezTo>
                    <a:cubicBezTo>
                      <a:pt x="17" y="17"/>
                      <a:pt x="16" y="17"/>
                      <a:pt x="16" y="17"/>
                    </a:cubicBezTo>
                    <a:cubicBezTo>
                      <a:pt x="16" y="17"/>
                      <a:pt x="16" y="17"/>
                      <a:pt x="16" y="17"/>
                    </a:cubicBezTo>
                    <a:cubicBezTo>
                      <a:pt x="15" y="17"/>
                      <a:pt x="15" y="17"/>
                      <a:pt x="15" y="17"/>
                    </a:cubicBezTo>
                    <a:cubicBezTo>
                      <a:pt x="15" y="17"/>
                      <a:pt x="15" y="17"/>
                      <a:pt x="15" y="17"/>
                    </a:cubicBezTo>
                    <a:cubicBezTo>
                      <a:pt x="15" y="17"/>
                      <a:pt x="14" y="17"/>
                      <a:pt x="14" y="17"/>
                    </a:cubicBezTo>
                    <a:cubicBezTo>
                      <a:pt x="14" y="17"/>
                      <a:pt x="14" y="18"/>
                      <a:pt x="14" y="18"/>
                    </a:cubicBezTo>
                    <a:cubicBezTo>
                      <a:pt x="14" y="18"/>
                      <a:pt x="13" y="18"/>
                      <a:pt x="13" y="18"/>
                    </a:cubicBezTo>
                    <a:cubicBezTo>
                      <a:pt x="13" y="18"/>
                      <a:pt x="12" y="19"/>
                      <a:pt x="12" y="19"/>
                    </a:cubicBezTo>
                    <a:cubicBezTo>
                      <a:pt x="12" y="19"/>
                      <a:pt x="11" y="18"/>
                      <a:pt x="11" y="19"/>
                    </a:cubicBezTo>
                    <a:cubicBezTo>
                      <a:pt x="11" y="19"/>
                      <a:pt x="11" y="18"/>
                      <a:pt x="11" y="18"/>
                    </a:cubicBezTo>
                    <a:cubicBezTo>
                      <a:pt x="11" y="18"/>
                      <a:pt x="10" y="18"/>
                      <a:pt x="10" y="18"/>
                    </a:cubicBezTo>
                    <a:cubicBezTo>
                      <a:pt x="10" y="19"/>
                      <a:pt x="9" y="18"/>
                      <a:pt x="9" y="18"/>
                    </a:cubicBezTo>
                    <a:cubicBezTo>
                      <a:pt x="9" y="18"/>
                      <a:pt x="8" y="19"/>
                      <a:pt x="8" y="19"/>
                    </a:cubicBezTo>
                    <a:cubicBezTo>
                      <a:pt x="7" y="19"/>
                      <a:pt x="7" y="19"/>
                      <a:pt x="7" y="18"/>
                    </a:cubicBezTo>
                    <a:cubicBezTo>
                      <a:pt x="7" y="18"/>
                      <a:pt x="7" y="17"/>
                      <a:pt x="8" y="17"/>
                    </a:cubicBezTo>
                    <a:cubicBezTo>
                      <a:pt x="8" y="16"/>
                      <a:pt x="7" y="17"/>
                      <a:pt x="7" y="16"/>
                    </a:cubicBezTo>
                    <a:cubicBezTo>
                      <a:pt x="7" y="16"/>
                      <a:pt x="7" y="16"/>
                      <a:pt x="7" y="16"/>
                    </a:cubicBezTo>
                    <a:cubicBezTo>
                      <a:pt x="6" y="16"/>
                      <a:pt x="6" y="16"/>
                      <a:pt x="5" y="16"/>
                    </a:cubicBezTo>
                    <a:cubicBezTo>
                      <a:pt x="4" y="16"/>
                      <a:pt x="3" y="17"/>
                      <a:pt x="2" y="18"/>
                    </a:cubicBezTo>
                    <a:cubicBezTo>
                      <a:pt x="2" y="17"/>
                      <a:pt x="2" y="16"/>
                      <a:pt x="3" y="16"/>
                    </a:cubicBezTo>
                    <a:cubicBezTo>
                      <a:pt x="3" y="15"/>
                      <a:pt x="4" y="15"/>
                      <a:pt x="4" y="14"/>
                    </a:cubicBezTo>
                    <a:cubicBezTo>
                      <a:pt x="4" y="14"/>
                      <a:pt x="3" y="15"/>
                      <a:pt x="3" y="15"/>
                    </a:cubicBezTo>
                    <a:cubicBezTo>
                      <a:pt x="2" y="14"/>
                      <a:pt x="4" y="13"/>
                      <a:pt x="4" y="13"/>
                    </a:cubicBezTo>
                    <a:cubicBezTo>
                      <a:pt x="4" y="13"/>
                      <a:pt x="3" y="13"/>
                      <a:pt x="3" y="13"/>
                    </a:cubicBezTo>
                    <a:cubicBezTo>
                      <a:pt x="2" y="13"/>
                      <a:pt x="3" y="12"/>
                      <a:pt x="3" y="12"/>
                    </a:cubicBezTo>
                    <a:cubicBezTo>
                      <a:pt x="3" y="11"/>
                      <a:pt x="3" y="11"/>
                      <a:pt x="3" y="11"/>
                    </a:cubicBezTo>
                    <a:cubicBezTo>
                      <a:pt x="2" y="11"/>
                      <a:pt x="2" y="12"/>
                      <a:pt x="2" y="12"/>
                    </a:cubicBezTo>
                    <a:cubicBezTo>
                      <a:pt x="1" y="12"/>
                      <a:pt x="1" y="11"/>
                      <a:pt x="1" y="11"/>
                    </a:cubicBezTo>
                    <a:cubicBezTo>
                      <a:pt x="2" y="10"/>
                      <a:pt x="2" y="10"/>
                      <a:pt x="2" y="10"/>
                    </a:cubicBezTo>
                    <a:cubicBezTo>
                      <a:pt x="2" y="10"/>
                      <a:pt x="2" y="10"/>
                      <a:pt x="2" y="10"/>
                    </a:cubicBezTo>
                    <a:cubicBezTo>
                      <a:pt x="1" y="10"/>
                      <a:pt x="1" y="10"/>
                      <a:pt x="1" y="10"/>
                    </a:cubicBezTo>
                    <a:cubicBezTo>
                      <a:pt x="1" y="10"/>
                      <a:pt x="1" y="10"/>
                      <a:pt x="1" y="10"/>
                    </a:cubicBezTo>
                    <a:cubicBezTo>
                      <a:pt x="1" y="9"/>
                      <a:pt x="1" y="9"/>
                      <a:pt x="1" y="9"/>
                    </a:cubicBezTo>
                    <a:cubicBezTo>
                      <a:pt x="0" y="8"/>
                      <a:pt x="0" y="9"/>
                      <a:pt x="0" y="8"/>
                    </a:cubicBezTo>
                    <a:cubicBezTo>
                      <a:pt x="0" y="8"/>
                      <a:pt x="0" y="7"/>
                      <a:pt x="0" y="7"/>
                    </a:cubicBezTo>
                    <a:cubicBezTo>
                      <a:pt x="0" y="7"/>
                      <a:pt x="0" y="7"/>
                      <a:pt x="1" y="7"/>
                    </a:cubicBezTo>
                    <a:cubicBezTo>
                      <a:pt x="1" y="6"/>
                      <a:pt x="1" y="6"/>
                      <a:pt x="1" y="6"/>
                    </a:cubicBezTo>
                    <a:cubicBezTo>
                      <a:pt x="1" y="6"/>
                      <a:pt x="1" y="6"/>
                      <a:pt x="1" y="6"/>
                    </a:cubicBezTo>
                    <a:cubicBezTo>
                      <a:pt x="2" y="5"/>
                      <a:pt x="2" y="5"/>
                      <a:pt x="2" y="5"/>
                    </a:cubicBezTo>
                    <a:cubicBezTo>
                      <a:pt x="2" y="5"/>
                      <a:pt x="3" y="5"/>
                      <a:pt x="3" y="5"/>
                    </a:cubicBezTo>
                    <a:cubicBezTo>
                      <a:pt x="4" y="5"/>
                      <a:pt x="4" y="5"/>
                      <a:pt x="5" y="5"/>
                    </a:cubicBezTo>
                    <a:cubicBezTo>
                      <a:pt x="5" y="4"/>
                      <a:pt x="6" y="4"/>
                      <a:pt x="6" y="4"/>
                    </a:cubicBezTo>
                    <a:cubicBezTo>
                      <a:pt x="7" y="4"/>
                      <a:pt x="7" y="5"/>
                      <a:pt x="7" y="4"/>
                    </a:cubicBezTo>
                    <a:cubicBezTo>
                      <a:pt x="7" y="4"/>
                      <a:pt x="7" y="4"/>
                      <a:pt x="6" y="4"/>
                    </a:cubicBezTo>
                    <a:cubicBezTo>
                      <a:pt x="6" y="3"/>
                      <a:pt x="7" y="3"/>
                      <a:pt x="7" y="3"/>
                    </a:cubicBezTo>
                    <a:cubicBezTo>
                      <a:pt x="7" y="2"/>
                      <a:pt x="8" y="1"/>
                      <a:pt x="9" y="1"/>
                    </a:cubicBezTo>
                    <a:cubicBezTo>
                      <a:pt x="9" y="1"/>
                      <a:pt x="9" y="1"/>
                      <a:pt x="9" y="1"/>
                    </a:cubicBezTo>
                    <a:cubicBezTo>
                      <a:pt x="9" y="2"/>
                      <a:pt x="10" y="1"/>
                      <a:pt x="10" y="1"/>
                    </a:cubicBezTo>
                    <a:cubicBezTo>
                      <a:pt x="11" y="0"/>
                      <a:pt x="11" y="1"/>
                      <a:pt x="11" y="1"/>
                    </a:cubicBezTo>
                    <a:cubicBezTo>
                      <a:pt x="12" y="1"/>
                      <a:pt x="12" y="1"/>
                      <a:pt x="13" y="2"/>
                    </a:cubicBezTo>
                    <a:cubicBezTo>
                      <a:pt x="14" y="2"/>
                      <a:pt x="14" y="2"/>
                      <a:pt x="15" y="3"/>
                    </a:cubicBezTo>
                    <a:cubicBezTo>
                      <a:pt x="15" y="2"/>
                      <a:pt x="15" y="3"/>
                      <a:pt x="15" y="3"/>
                    </a:cubicBezTo>
                    <a:cubicBezTo>
                      <a:pt x="15" y="3"/>
                      <a:pt x="15" y="3"/>
                      <a:pt x="15" y="3"/>
                    </a:cubicBezTo>
                    <a:cubicBezTo>
                      <a:pt x="16" y="2"/>
                      <a:pt x="17" y="3"/>
                      <a:pt x="17" y="2"/>
                    </a:cubicBezTo>
                    <a:cubicBezTo>
                      <a:pt x="19" y="2"/>
                      <a:pt x="20" y="3"/>
                      <a:pt x="22" y="2"/>
                    </a:cubicBezTo>
                    <a:cubicBezTo>
                      <a:pt x="22" y="2"/>
                      <a:pt x="22" y="2"/>
                      <a:pt x="23" y="2"/>
                    </a:cubicBezTo>
                    <a:cubicBezTo>
                      <a:pt x="23" y="2"/>
                      <a:pt x="23" y="2"/>
                      <a:pt x="24" y="2"/>
                    </a:cubicBezTo>
                    <a:cubicBezTo>
                      <a:pt x="24" y="2"/>
                      <a:pt x="24" y="3"/>
                      <a:pt x="25" y="3"/>
                    </a:cubicBezTo>
                    <a:cubicBezTo>
                      <a:pt x="25" y="3"/>
                      <a:pt x="25" y="2"/>
                      <a:pt x="26" y="3"/>
                    </a:cubicBezTo>
                    <a:cubicBezTo>
                      <a:pt x="27" y="3"/>
                      <a:pt x="27" y="3"/>
                      <a:pt x="28" y="3"/>
                    </a:cubicBezTo>
                    <a:cubicBezTo>
                      <a:pt x="29" y="3"/>
                      <a:pt x="30" y="4"/>
                      <a:pt x="31" y="4"/>
                    </a:cubicBezTo>
                    <a:cubicBezTo>
                      <a:pt x="33" y="4"/>
                      <a:pt x="35" y="3"/>
                      <a:pt x="37" y="3"/>
                    </a:cubicBezTo>
                    <a:cubicBezTo>
                      <a:pt x="37" y="4"/>
                      <a:pt x="38" y="3"/>
                      <a:pt x="38" y="3"/>
                    </a:cubicBezTo>
                    <a:cubicBezTo>
                      <a:pt x="39" y="3"/>
                      <a:pt x="39" y="3"/>
                      <a:pt x="39" y="3"/>
                    </a:cubicBezTo>
                    <a:cubicBezTo>
                      <a:pt x="39" y="4"/>
                      <a:pt x="39" y="4"/>
                      <a:pt x="39" y="4"/>
                    </a:cubicBezTo>
                    <a:cubicBezTo>
                      <a:pt x="40" y="4"/>
                      <a:pt x="40" y="4"/>
                      <a:pt x="40" y="4"/>
                    </a:cubicBezTo>
                    <a:cubicBezTo>
                      <a:pt x="40" y="4"/>
                      <a:pt x="41" y="4"/>
                      <a:pt x="41" y="4"/>
                    </a:cubicBezTo>
                    <a:cubicBezTo>
                      <a:pt x="41" y="4"/>
                      <a:pt x="42" y="4"/>
                      <a:pt x="42" y="4"/>
                    </a:cubicBezTo>
                    <a:cubicBezTo>
                      <a:pt x="42" y="4"/>
                      <a:pt x="42" y="4"/>
                      <a:pt x="42" y="4"/>
                    </a:cubicBezTo>
                    <a:cubicBezTo>
                      <a:pt x="43" y="3"/>
                      <a:pt x="44" y="3"/>
                      <a:pt x="44" y="4"/>
                    </a:cubicBezTo>
                    <a:cubicBezTo>
                      <a:pt x="44" y="4"/>
                      <a:pt x="44" y="4"/>
                      <a:pt x="44" y="4"/>
                    </a:cubicBezTo>
                    <a:cubicBezTo>
                      <a:pt x="44" y="4"/>
                      <a:pt x="45" y="4"/>
                      <a:pt x="45" y="4"/>
                    </a:cubicBezTo>
                    <a:cubicBezTo>
                      <a:pt x="45" y="4"/>
                      <a:pt x="45" y="4"/>
                      <a:pt x="46" y="4"/>
                    </a:cubicBezTo>
                    <a:cubicBezTo>
                      <a:pt x="46" y="5"/>
                      <a:pt x="47" y="5"/>
                      <a:pt x="48" y="5"/>
                    </a:cubicBezTo>
                    <a:cubicBezTo>
                      <a:pt x="48" y="5"/>
                      <a:pt x="49" y="5"/>
                      <a:pt x="50" y="4"/>
                    </a:cubicBezTo>
                    <a:cubicBezTo>
                      <a:pt x="50" y="4"/>
                      <a:pt x="50" y="4"/>
                      <a:pt x="50" y="5"/>
                    </a:cubicBezTo>
                    <a:cubicBezTo>
                      <a:pt x="50" y="5"/>
                      <a:pt x="51" y="5"/>
                      <a:pt x="51" y="5"/>
                    </a:cubicBezTo>
                    <a:cubicBezTo>
                      <a:pt x="52" y="6"/>
                      <a:pt x="52" y="5"/>
                      <a:pt x="52" y="5"/>
                    </a:cubicBezTo>
                    <a:cubicBezTo>
                      <a:pt x="53" y="5"/>
                      <a:pt x="53" y="6"/>
                      <a:pt x="53" y="6"/>
                    </a:cubicBezTo>
                    <a:cubicBezTo>
                      <a:pt x="53" y="7"/>
                      <a:pt x="52" y="7"/>
                      <a:pt x="52" y="7"/>
                    </a:cubicBezTo>
                    <a:cubicBezTo>
                      <a:pt x="53" y="8"/>
                      <a:pt x="53" y="7"/>
                      <a:pt x="53" y="7"/>
                    </a:cubicBezTo>
                    <a:cubicBezTo>
                      <a:pt x="54" y="7"/>
                      <a:pt x="54" y="7"/>
                      <a:pt x="55" y="8"/>
                    </a:cubicBezTo>
                    <a:cubicBezTo>
                      <a:pt x="55" y="8"/>
                      <a:pt x="56" y="8"/>
                      <a:pt x="56" y="8"/>
                    </a:cubicBezTo>
                    <a:cubicBezTo>
                      <a:pt x="57" y="8"/>
                      <a:pt x="57" y="8"/>
                      <a:pt x="57" y="9"/>
                    </a:cubicBezTo>
                    <a:cubicBezTo>
                      <a:pt x="58" y="9"/>
                      <a:pt x="58" y="10"/>
                      <a:pt x="59" y="10"/>
                    </a:cubicBezTo>
                    <a:cubicBezTo>
                      <a:pt x="60" y="10"/>
                      <a:pt x="60" y="9"/>
                      <a:pt x="60" y="9"/>
                    </a:cubicBezTo>
                    <a:cubicBezTo>
                      <a:pt x="61" y="9"/>
                      <a:pt x="61" y="10"/>
                      <a:pt x="61" y="10"/>
                    </a:cubicBezTo>
                    <a:cubicBezTo>
                      <a:pt x="62" y="11"/>
                      <a:pt x="62" y="11"/>
                      <a:pt x="63" y="10"/>
                    </a:cubicBezTo>
                    <a:cubicBezTo>
                      <a:pt x="63" y="10"/>
                      <a:pt x="64" y="11"/>
                      <a:pt x="64" y="11"/>
                    </a:cubicBezTo>
                    <a:cubicBezTo>
                      <a:pt x="64" y="11"/>
                      <a:pt x="65" y="10"/>
                      <a:pt x="65" y="10"/>
                    </a:cubicBezTo>
                    <a:cubicBezTo>
                      <a:pt x="66" y="11"/>
                      <a:pt x="66" y="11"/>
                      <a:pt x="67" y="10"/>
                    </a:cubicBezTo>
                    <a:cubicBezTo>
                      <a:pt x="67" y="9"/>
                      <a:pt x="68" y="9"/>
                      <a:pt x="68" y="10"/>
                    </a:cubicBezTo>
                    <a:cubicBezTo>
                      <a:pt x="69" y="10"/>
                      <a:pt x="69" y="10"/>
                      <a:pt x="70" y="10"/>
                    </a:cubicBezTo>
                    <a:cubicBezTo>
                      <a:pt x="70" y="10"/>
                      <a:pt x="71" y="11"/>
                      <a:pt x="72" y="11"/>
                    </a:cubicBezTo>
                    <a:cubicBezTo>
                      <a:pt x="72" y="11"/>
                      <a:pt x="72" y="11"/>
                      <a:pt x="72" y="11"/>
                    </a:cubicBezTo>
                    <a:cubicBezTo>
                      <a:pt x="72" y="12"/>
                      <a:pt x="71" y="13"/>
                      <a:pt x="72" y="13"/>
                    </a:cubicBezTo>
                    <a:cubicBezTo>
                      <a:pt x="73" y="13"/>
                      <a:pt x="74" y="13"/>
                      <a:pt x="74" y="12"/>
                    </a:cubicBezTo>
                    <a:cubicBezTo>
                      <a:pt x="74" y="13"/>
                      <a:pt x="75" y="13"/>
                      <a:pt x="76" y="13"/>
                    </a:cubicBezTo>
                    <a:cubicBezTo>
                      <a:pt x="76" y="13"/>
                      <a:pt x="75" y="14"/>
                      <a:pt x="76" y="14"/>
                    </a:cubicBezTo>
                    <a:cubicBezTo>
                      <a:pt x="76" y="14"/>
                      <a:pt x="76" y="14"/>
                      <a:pt x="76" y="14"/>
                    </a:cubicBezTo>
                    <a:cubicBezTo>
                      <a:pt x="77" y="13"/>
                      <a:pt x="77" y="13"/>
                      <a:pt x="77" y="13"/>
                    </a:cubicBezTo>
                    <a:cubicBezTo>
                      <a:pt x="77" y="13"/>
                      <a:pt x="78" y="13"/>
                      <a:pt x="78" y="13"/>
                    </a:cubicBezTo>
                    <a:cubicBezTo>
                      <a:pt x="79" y="13"/>
                      <a:pt x="79" y="14"/>
                      <a:pt x="80" y="14"/>
                    </a:cubicBezTo>
                    <a:cubicBezTo>
                      <a:pt x="80" y="14"/>
                      <a:pt x="80" y="14"/>
                      <a:pt x="80" y="14"/>
                    </a:cubicBezTo>
                    <a:cubicBezTo>
                      <a:pt x="80" y="13"/>
                      <a:pt x="80" y="13"/>
                      <a:pt x="80" y="13"/>
                    </a:cubicBezTo>
                    <a:cubicBezTo>
                      <a:pt x="81" y="13"/>
                      <a:pt x="81" y="13"/>
                      <a:pt x="81" y="13"/>
                    </a:cubicBezTo>
                    <a:cubicBezTo>
                      <a:pt x="82" y="13"/>
                      <a:pt x="82" y="13"/>
                      <a:pt x="82" y="13"/>
                    </a:cubicBezTo>
                    <a:cubicBezTo>
                      <a:pt x="83" y="13"/>
                      <a:pt x="83" y="13"/>
                      <a:pt x="83" y="13"/>
                    </a:cubicBezTo>
                    <a:cubicBezTo>
                      <a:pt x="84" y="13"/>
                      <a:pt x="84" y="13"/>
                      <a:pt x="84" y="13"/>
                    </a:cubicBezTo>
                    <a:cubicBezTo>
                      <a:pt x="84" y="13"/>
                      <a:pt x="84" y="14"/>
                      <a:pt x="84" y="14"/>
                    </a:cubicBezTo>
                    <a:cubicBezTo>
                      <a:pt x="85" y="14"/>
                      <a:pt x="85" y="14"/>
                      <a:pt x="85" y="14"/>
                    </a:cubicBezTo>
                    <a:cubicBezTo>
                      <a:pt x="85" y="15"/>
                      <a:pt x="84" y="15"/>
                      <a:pt x="84" y="15"/>
                    </a:cubicBezTo>
                    <a:cubicBezTo>
                      <a:pt x="83" y="16"/>
                      <a:pt x="84" y="15"/>
                      <a:pt x="84" y="16"/>
                    </a:cubicBezTo>
                    <a:cubicBezTo>
                      <a:pt x="84" y="16"/>
                      <a:pt x="84" y="16"/>
                      <a:pt x="84" y="16"/>
                    </a:cubicBezTo>
                    <a:close/>
                    <a:moveTo>
                      <a:pt x="72" y="45"/>
                    </a:moveTo>
                    <a:cubicBezTo>
                      <a:pt x="72" y="44"/>
                      <a:pt x="74" y="43"/>
                      <a:pt x="73" y="42"/>
                    </a:cubicBezTo>
                    <a:cubicBezTo>
                      <a:pt x="73" y="42"/>
                      <a:pt x="72" y="43"/>
                      <a:pt x="71" y="43"/>
                    </a:cubicBezTo>
                    <a:cubicBezTo>
                      <a:pt x="71" y="43"/>
                      <a:pt x="71" y="44"/>
                      <a:pt x="71" y="44"/>
                    </a:cubicBezTo>
                    <a:cubicBezTo>
                      <a:pt x="70" y="44"/>
                      <a:pt x="70" y="44"/>
                      <a:pt x="71" y="44"/>
                    </a:cubicBezTo>
                    <a:cubicBezTo>
                      <a:pt x="71" y="45"/>
                      <a:pt x="72" y="45"/>
                      <a:pt x="72" y="45"/>
                    </a:cubicBezTo>
                    <a:cubicBezTo>
                      <a:pt x="72" y="44"/>
                      <a:pt x="72" y="45"/>
                      <a:pt x="72" y="45"/>
                    </a:cubicBezTo>
                    <a:close/>
                    <a:moveTo>
                      <a:pt x="79" y="39"/>
                    </a:moveTo>
                    <a:cubicBezTo>
                      <a:pt x="79" y="39"/>
                      <a:pt x="79" y="39"/>
                      <a:pt x="80" y="39"/>
                    </a:cubicBezTo>
                    <a:cubicBezTo>
                      <a:pt x="80" y="39"/>
                      <a:pt x="80" y="39"/>
                      <a:pt x="81" y="39"/>
                    </a:cubicBezTo>
                    <a:cubicBezTo>
                      <a:pt x="81" y="40"/>
                      <a:pt x="81" y="40"/>
                      <a:pt x="81" y="40"/>
                    </a:cubicBezTo>
                    <a:cubicBezTo>
                      <a:pt x="82" y="40"/>
                      <a:pt x="82" y="40"/>
                      <a:pt x="82" y="41"/>
                    </a:cubicBezTo>
                    <a:cubicBezTo>
                      <a:pt x="83" y="41"/>
                      <a:pt x="83" y="41"/>
                      <a:pt x="83" y="41"/>
                    </a:cubicBezTo>
                    <a:cubicBezTo>
                      <a:pt x="84" y="41"/>
                      <a:pt x="84" y="40"/>
                      <a:pt x="84" y="40"/>
                    </a:cubicBezTo>
                    <a:cubicBezTo>
                      <a:pt x="85" y="39"/>
                      <a:pt x="85" y="39"/>
                      <a:pt x="85" y="38"/>
                    </a:cubicBezTo>
                    <a:cubicBezTo>
                      <a:pt x="85" y="38"/>
                      <a:pt x="86" y="37"/>
                      <a:pt x="86" y="37"/>
                    </a:cubicBezTo>
                    <a:cubicBezTo>
                      <a:pt x="85" y="36"/>
                      <a:pt x="84" y="38"/>
                      <a:pt x="83" y="37"/>
                    </a:cubicBezTo>
                    <a:cubicBezTo>
                      <a:pt x="83" y="36"/>
                      <a:pt x="84" y="36"/>
                      <a:pt x="84" y="36"/>
                    </a:cubicBezTo>
                    <a:cubicBezTo>
                      <a:pt x="84" y="36"/>
                      <a:pt x="83" y="36"/>
                      <a:pt x="83" y="36"/>
                    </a:cubicBezTo>
                    <a:cubicBezTo>
                      <a:pt x="83" y="35"/>
                      <a:pt x="84" y="35"/>
                      <a:pt x="83" y="35"/>
                    </a:cubicBezTo>
                    <a:cubicBezTo>
                      <a:pt x="83" y="35"/>
                      <a:pt x="82" y="36"/>
                      <a:pt x="82" y="36"/>
                    </a:cubicBezTo>
                    <a:cubicBezTo>
                      <a:pt x="81" y="36"/>
                      <a:pt x="81" y="36"/>
                      <a:pt x="80" y="37"/>
                    </a:cubicBezTo>
                    <a:cubicBezTo>
                      <a:pt x="80" y="37"/>
                      <a:pt x="78" y="38"/>
                      <a:pt x="78" y="39"/>
                    </a:cubicBezTo>
                    <a:cubicBezTo>
                      <a:pt x="78" y="39"/>
                      <a:pt x="78" y="39"/>
                      <a:pt x="79" y="39"/>
                    </a:cubicBezTo>
                    <a:close/>
                    <a:moveTo>
                      <a:pt x="88" y="34"/>
                    </a:moveTo>
                    <a:cubicBezTo>
                      <a:pt x="88" y="35"/>
                      <a:pt x="88" y="35"/>
                      <a:pt x="88" y="35"/>
                    </a:cubicBezTo>
                    <a:cubicBezTo>
                      <a:pt x="89" y="35"/>
                      <a:pt x="89" y="35"/>
                      <a:pt x="90" y="36"/>
                    </a:cubicBezTo>
                    <a:cubicBezTo>
                      <a:pt x="90" y="36"/>
                      <a:pt x="91" y="36"/>
                      <a:pt x="91" y="36"/>
                    </a:cubicBezTo>
                    <a:cubicBezTo>
                      <a:pt x="92" y="36"/>
                      <a:pt x="91" y="35"/>
                      <a:pt x="91" y="35"/>
                    </a:cubicBezTo>
                    <a:cubicBezTo>
                      <a:pt x="90" y="34"/>
                      <a:pt x="89" y="34"/>
                      <a:pt x="88" y="34"/>
                    </a:cubicBezTo>
                    <a:cubicBezTo>
                      <a:pt x="88" y="35"/>
                      <a:pt x="89" y="34"/>
                      <a:pt x="8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8" name="Freeform 792">
                <a:extLst>
                  <a:ext uri="{FF2B5EF4-FFF2-40B4-BE49-F238E27FC236}">
                    <a16:creationId xmlns:a16="http://schemas.microsoft.com/office/drawing/2014/main" id="{BFC24CE4-9174-F748-EF05-FFF5B2CBFEF6}"/>
                  </a:ext>
                </a:extLst>
              </p:cNvPr>
              <p:cNvSpPr>
                <a:spLocks/>
              </p:cNvSpPr>
              <p:nvPr/>
            </p:nvSpPr>
            <p:spPr bwMode="auto">
              <a:xfrm>
                <a:off x="5754688" y="3387725"/>
                <a:ext cx="87312" cy="63500"/>
              </a:xfrm>
              <a:custGeom>
                <a:avLst/>
                <a:gdLst>
                  <a:gd name="T0" fmla="*/ 3 w 21"/>
                  <a:gd name="T1" fmla="*/ 14 h 15"/>
                  <a:gd name="T2" fmla="*/ 4 w 21"/>
                  <a:gd name="T3" fmla="*/ 13 h 15"/>
                  <a:gd name="T4" fmla="*/ 7 w 21"/>
                  <a:gd name="T5" fmla="*/ 13 h 15"/>
                  <a:gd name="T6" fmla="*/ 8 w 21"/>
                  <a:gd name="T7" fmla="*/ 12 h 15"/>
                  <a:gd name="T8" fmla="*/ 11 w 21"/>
                  <a:gd name="T9" fmla="*/ 13 h 15"/>
                  <a:gd name="T10" fmla="*/ 14 w 21"/>
                  <a:gd name="T11" fmla="*/ 14 h 15"/>
                  <a:gd name="T12" fmla="*/ 13 w 21"/>
                  <a:gd name="T13" fmla="*/ 12 h 15"/>
                  <a:gd name="T14" fmla="*/ 14 w 21"/>
                  <a:gd name="T15" fmla="*/ 12 h 15"/>
                  <a:gd name="T16" fmla="*/ 14 w 21"/>
                  <a:gd name="T17" fmla="*/ 11 h 15"/>
                  <a:gd name="T18" fmla="*/ 16 w 21"/>
                  <a:gd name="T19" fmla="*/ 10 h 15"/>
                  <a:gd name="T20" fmla="*/ 16 w 21"/>
                  <a:gd name="T21" fmla="*/ 8 h 15"/>
                  <a:gd name="T22" fmla="*/ 16 w 21"/>
                  <a:gd name="T23" fmla="*/ 7 h 15"/>
                  <a:gd name="T24" fmla="*/ 16 w 21"/>
                  <a:gd name="T25" fmla="*/ 7 h 15"/>
                  <a:gd name="T26" fmla="*/ 18 w 21"/>
                  <a:gd name="T27" fmla="*/ 6 h 15"/>
                  <a:gd name="T28" fmla="*/ 18 w 21"/>
                  <a:gd name="T29" fmla="*/ 5 h 15"/>
                  <a:gd name="T30" fmla="*/ 19 w 21"/>
                  <a:gd name="T31" fmla="*/ 5 h 15"/>
                  <a:gd name="T32" fmla="*/ 20 w 21"/>
                  <a:gd name="T33" fmla="*/ 5 h 15"/>
                  <a:gd name="T34" fmla="*/ 20 w 21"/>
                  <a:gd name="T35" fmla="*/ 4 h 15"/>
                  <a:gd name="T36" fmla="*/ 21 w 21"/>
                  <a:gd name="T37" fmla="*/ 4 h 15"/>
                  <a:gd name="T38" fmla="*/ 21 w 21"/>
                  <a:gd name="T39" fmla="*/ 2 h 15"/>
                  <a:gd name="T40" fmla="*/ 21 w 21"/>
                  <a:gd name="T41" fmla="*/ 2 h 15"/>
                  <a:gd name="T42" fmla="*/ 20 w 21"/>
                  <a:gd name="T43" fmla="*/ 1 h 15"/>
                  <a:gd name="T44" fmla="*/ 20 w 21"/>
                  <a:gd name="T45" fmla="*/ 0 h 15"/>
                  <a:gd name="T46" fmla="*/ 19 w 21"/>
                  <a:gd name="T47" fmla="*/ 0 h 15"/>
                  <a:gd name="T48" fmla="*/ 18 w 21"/>
                  <a:gd name="T49" fmla="*/ 1 h 15"/>
                  <a:gd name="T50" fmla="*/ 18 w 21"/>
                  <a:gd name="T51" fmla="*/ 1 h 15"/>
                  <a:gd name="T52" fmla="*/ 15 w 21"/>
                  <a:gd name="T53" fmla="*/ 2 h 15"/>
                  <a:gd name="T54" fmla="*/ 13 w 21"/>
                  <a:gd name="T55" fmla="*/ 2 h 15"/>
                  <a:gd name="T56" fmla="*/ 11 w 21"/>
                  <a:gd name="T57" fmla="*/ 2 h 15"/>
                  <a:gd name="T58" fmla="*/ 7 w 21"/>
                  <a:gd name="T59" fmla="*/ 5 h 15"/>
                  <a:gd name="T60" fmla="*/ 2 w 21"/>
                  <a:gd name="T61" fmla="*/ 3 h 15"/>
                  <a:gd name="T62" fmla="*/ 1 w 21"/>
                  <a:gd name="T63" fmla="*/ 5 h 15"/>
                  <a:gd name="T64" fmla="*/ 0 w 21"/>
                  <a:gd name="T65" fmla="*/ 6 h 15"/>
                  <a:gd name="T66" fmla="*/ 2 w 21"/>
                  <a:gd name="T67" fmla="*/ 6 h 15"/>
                  <a:gd name="T68" fmla="*/ 1 w 21"/>
                  <a:gd name="T69" fmla="*/ 8 h 15"/>
                  <a:gd name="T70" fmla="*/ 2 w 21"/>
                  <a:gd name="T71" fmla="*/ 9 h 15"/>
                  <a:gd name="T72" fmla="*/ 2 w 21"/>
                  <a:gd name="T73" fmla="*/ 11 h 15"/>
                  <a:gd name="T74" fmla="*/ 3 w 21"/>
                  <a:gd name="T75" fmla="*/ 12 h 15"/>
                  <a:gd name="T76" fmla="*/ 3 w 21"/>
                  <a:gd name="T77" fmla="*/ 13 h 15"/>
                  <a:gd name="T78" fmla="*/ 2 w 21"/>
                  <a:gd name="T79" fmla="*/ 13 h 15"/>
                  <a:gd name="T80" fmla="*/ 1 w 21"/>
                  <a:gd name="T81" fmla="*/ 13 h 15"/>
                  <a:gd name="T82" fmla="*/ 3 w 21"/>
                  <a:gd name="T8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5">
                    <a:moveTo>
                      <a:pt x="3" y="14"/>
                    </a:moveTo>
                    <a:cubicBezTo>
                      <a:pt x="3" y="14"/>
                      <a:pt x="4" y="14"/>
                      <a:pt x="4" y="13"/>
                    </a:cubicBezTo>
                    <a:cubicBezTo>
                      <a:pt x="5" y="13"/>
                      <a:pt x="6" y="14"/>
                      <a:pt x="7" y="13"/>
                    </a:cubicBezTo>
                    <a:cubicBezTo>
                      <a:pt x="8" y="13"/>
                      <a:pt x="8" y="12"/>
                      <a:pt x="8" y="12"/>
                    </a:cubicBezTo>
                    <a:cubicBezTo>
                      <a:pt x="8" y="12"/>
                      <a:pt x="10" y="14"/>
                      <a:pt x="11" y="13"/>
                    </a:cubicBezTo>
                    <a:cubicBezTo>
                      <a:pt x="11" y="13"/>
                      <a:pt x="13" y="15"/>
                      <a:pt x="14" y="14"/>
                    </a:cubicBezTo>
                    <a:cubicBezTo>
                      <a:pt x="14" y="13"/>
                      <a:pt x="13" y="13"/>
                      <a:pt x="13" y="12"/>
                    </a:cubicBezTo>
                    <a:cubicBezTo>
                      <a:pt x="13" y="12"/>
                      <a:pt x="14" y="12"/>
                      <a:pt x="14" y="12"/>
                    </a:cubicBezTo>
                    <a:cubicBezTo>
                      <a:pt x="13" y="11"/>
                      <a:pt x="14" y="11"/>
                      <a:pt x="14" y="11"/>
                    </a:cubicBezTo>
                    <a:cubicBezTo>
                      <a:pt x="15" y="10"/>
                      <a:pt x="15" y="11"/>
                      <a:pt x="16" y="10"/>
                    </a:cubicBezTo>
                    <a:cubicBezTo>
                      <a:pt x="16" y="9"/>
                      <a:pt x="16" y="9"/>
                      <a:pt x="16" y="8"/>
                    </a:cubicBezTo>
                    <a:cubicBezTo>
                      <a:pt x="16" y="8"/>
                      <a:pt x="15" y="7"/>
                      <a:pt x="16" y="7"/>
                    </a:cubicBezTo>
                    <a:cubicBezTo>
                      <a:pt x="16" y="7"/>
                      <a:pt x="16" y="7"/>
                      <a:pt x="16" y="7"/>
                    </a:cubicBezTo>
                    <a:cubicBezTo>
                      <a:pt x="17" y="6"/>
                      <a:pt x="17" y="6"/>
                      <a:pt x="18" y="6"/>
                    </a:cubicBezTo>
                    <a:cubicBezTo>
                      <a:pt x="18" y="6"/>
                      <a:pt x="18" y="6"/>
                      <a:pt x="18" y="5"/>
                    </a:cubicBezTo>
                    <a:cubicBezTo>
                      <a:pt x="19" y="5"/>
                      <a:pt x="19" y="5"/>
                      <a:pt x="19" y="5"/>
                    </a:cubicBezTo>
                    <a:cubicBezTo>
                      <a:pt x="20" y="5"/>
                      <a:pt x="20" y="5"/>
                      <a:pt x="20" y="5"/>
                    </a:cubicBezTo>
                    <a:cubicBezTo>
                      <a:pt x="20" y="4"/>
                      <a:pt x="20" y="4"/>
                      <a:pt x="20" y="4"/>
                    </a:cubicBezTo>
                    <a:cubicBezTo>
                      <a:pt x="20" y="3"/>
                      <a:pt x="21" y="4"/>
                      <a:pt x="21" y="4"/>
                    </a:cubicBezTo>
                    <a:cubicBezTo>
                      <a:pt x="21" y="3"/>
                      <a:pt x="21" y="3"/>
                      <a:pt x="21" y="2"/>
                    </a:cubicBezTo>
                    <a:cubicBezTo>
                      <a:pt x="21" y="2"/>
                      <a:pt x="21" y="2"/>
                      <a:pt x="21" y="2"/>
                    </a:cubicBezTo>
                    <a:cubicBezTo>
                      <a:pt x="21" y="2"/>
                      <a:pt x="21" y="2"/>
                      <a:pt x="20" y="1"/>
                    </a:cubicBezTo>
                    <a:cubicBezTo>
                      <a:pt x="20" y="1"/>
                      <a:pt x="20" y="1"/>
                      <a:pt x="20" y="0"/>
                    </a:cubicBezTo>
                    <a:cubicBezTo>
                      <a:pt x="20" y="0"/>
                      <a:pt x="19" y="0"/>
                      <a:pt x="19" y="0"/>
                    </a:cubicBezTo>
                    <a:cubicBezTo>
                      <a:pt x="18" y="0"/>
                      <a:pt x="18" y="0"/>
                      <a:pt x="18" y="1"/>
                    </a:cubicBezTo>
                    <a:cubicBezTo>
                      <a:pt x="18" y="1"/>
                      <a:pt x="18" y="1"/>
                      <a:pt x="18" y="1"/>
                    </a:cubicBezTo>
                    <a:cubicBezTo>
                      <a:pt x="17" y="2"/>
                      <a:pt x="16" y="2"/>
                      <a:pt x="15" y="2"/>
                    </a:cubicBezTo>
                    <a:cubicBezTo>
                      <a:pt x="15" y="2"/>
                      <a:pt x="14" y="2"/>
                      <a:pt x="13" y="2"/>
                    </a:cubicBezTo>
                    <a:cubicBezTo>
                      <a:pt x="12" y="2"/>
                      <a:pt x="12" y="2"/>
                      <a:pt x="11" y="2"/>
                    </a:cubicBezTo>
                    <a:cubicBezTo>
                      <a:pt x="9" y="3"/>
                      <a:pt x="9" y="5"/>
                      <a:pt x="7" y="5"/>
                    </a:cubicBezTo>
                    <a:cubicBezTo>
                      <a:pt x="6" y="4"/>
                      <a:pt x="4" y="3"/>
                      <a:pt x="2" y="3"/>
                    </a:cubicBezTo>
                    <a:cubicBezTo>
                      <a:pt x="4" y="4"/>
                      <a:pt x="2" y="5"/>
                      <a:pt x="1" y="5"/>
                    </a:cubicBezTo>
                    <a:cubicBezTo>
                      <a:pt x="1" y="5"/>
                      <a:pt x="0" y="6"/>
                      <a:pt x="0" y="6"/>
                    </a:cubicBezTo>
                    <a:cubicBezTo>
                      <a:pt x="1" y="6"/>
                      <a:pt x="1" y="6"/>
                      <a:pt x="2" y="6"/>
                    </a:cubicBezTo>
                    <a:cubicBezTo>
                      <a:pt x="3" y="7"/>
                      <a:pt x="1" y="7"/>
                      <a:pt x="1" y="8"/>
                    </a:cubicBezTo>
                    <a:cubicBezTo>
                      <a:pt x="1" y="9"/>
                      <a:pt x="2" y="9"/>
                      <a:pt x="2" y="9"/>
                    </a:cubicBezTo>
                    <a:cubicBezTo>
                      <a:pt x="2" y="10"/>
                      <a:pt x="2" y="10"/>
                      <a:pt x="2" y="11"/>
                    </a:cubicBezTo>
                    <a:cubicBezTo>
                      <a:pt x="2" y="10"/>
                      <a:pt x="4" y="12"/>
                      <a:pt x="3" y="12"/>
                    </a:cubicBezTo>
                    <a:cubicBezTo>
                      <a:pt x="3" y="13"/>
                      <a:pt x="3" y="13"/>
                      <a:pt x="3" y="13"/>
                    </a:cubicBezTo>
                    <a:cubicBezTo>
                      <a:pt x="2" y="13"/>
                      <a:pt x="2" y="13"/>
                      <a:pt x="2" y="13"/>
                    </a:cubicBezTo>
                    <a:cubicBezTo>
                      <a:pt x="2" y="13"/>
                      <a:pt x="2" y="13"/>
                      <a:pt x="1" y="13"/>
                    </a:cubicBezTo>
                    <a:cubicBezTo>
                      <a:pt x="2" y="14"/>
                      <a:pt x="2" y="14"/>
                      <a:pt x="3"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9" name="Freeform 793">
                <a:extLst>
                  <a:ext uri="{FF2B5EF4-FFF2-40B4-BE49-F238E27FC236}">
                    <a16:creationId xmlns:a16="http://schemas.microsoft.com/office/drawing/2014/main" id="{00FD8D2F-30B6-8F73-E186-B1039B4ABFB1}"/>
                  </a:ext>
                </a:extLst>
              </p:cNvPr>
              <p:cNvSpPr>
                <a:spLocks/>
              </p:cNvSpPr>
              <p:nvPr/>
            </p:nvSpPr>
            <p:spPr bwMode="auto">
              <a:xfrm>
                <a:off x="5849938" y="3271838"/>
                <a:ext cx="161925" cy="79375"/>
              </a:xfrm>
              <a:custGeom>
                <a:avLst/>
                <a:gdLst>
                  <a:gd name="T0" fmla="*/ 5 w 39"/>
                  <a:gd name="T1" fmla="*/ 17 h 19"/>
                  <a:gd name="T2" fmla="*/ 8 w 39"/>
                  <a:gd name="T3" fmla="*/ 19 h 19"/>
                  <a:gd name="T4" fmla="*/ 10 w 39"/>
                  <a:gd name="T5" fmla="*/ 19 h 19"/>
                  <a:gd name="T6" fmla="*/ 12 w 39"/>
                  <a:gd name="T7" fmla="*/ 19 h 19"/>
                  <a:gd name="T8" fmla="*/ 14 w 39"/>
                  <a:gd name="T9" fmla="*/ 19 h 19"/>
                  <a:gd name="T10" fmla="*/ 14 w 39"/>
                  <a:gd name="T11" fmla="*/ 18 h 19"/>
                  <a:gd name="T12" fmla="*/ 15 w 39"/>
                  <a:gd name="T13" fmla="*/ 16 h 19"/>
                  <a:gd name="T14" fmla="*/ 18 w 39"/>
                  <a:gd name="T15" fmla="*/ 15 h 19"/>
                  <a:gd name="T16" fmla="*/ 19 w 39"/>
                  <a:gd name="T17" fmla="*/ 15 h 19"/>
                  <a:gd name="T18" fmla="*/ 20 w 39"/>
                  <a:gd name="T19" fmla="*/ 15 h 19"/>
                  <a:gd name="T20" fmla="*/ 24 w 39"/>
                  <a:gd name="T21" fmla="*/ 14 h 19"/>
                  <a:gd name="T22" fmla="*/ 24 w 39"/>
                  <a:gd name="T23" fmla="*/ 13 h 19"/>
                  <a:gd name="T24" fmla="*/ 25 w 39"/>
                  <a:gd name="T25" fmla="*/ 11 h 19"/>
                  <a:gd name="T26" fmla="*/ 27 w 39"/>
                  <a:gd name="T27" fmla="*/ 11 h 19"/>
                  <a:gd name="T28" fmla="*/ 29 w 39"/>
                  <a:gd name="T29" fmla="*/ 12 h 19"/>
                  <a:gd name="T30" fmla="*/ 30 w 39"/>
                  <a:gd name="T31" fmla="*/ 12 h 19"/>
                  <a:gd name="T32" fmla="*/ 31 w 39"/>
                  <a:gd name="T33" fmla="*/ 11 h 19"/>
                  <a:gd name="T34" fmla="*/ 32 w 39"/>
                  <a:gd name="T35" fmla="*/ 11 h 19"/>
                  <a:gd name="T36" fmla="*/ 34 w 39"/>
                  <a:gd name="T37" fmla="*/ 13 h 19"/>
                  <a:gd name="T38" fmla="*/ 36 w 39"/>
                  <a:gd name="T39" fmla="*/ 13 h 19"/>
                  <a:gd name="T40" fmla="*/ 38 w 39"/>
                  <a:gd name="T41" fmla="*/ 9 h 19"/>
                  <a:gd name="T42" fmla="*/ 39 w 39"/>
                  <a:gd name="T43" fmla="*/ 6 h 19"/>
                  <a:gd name="T44" fmla="*/ 39 w 39"/>
                  <a:gd name="T45" fmla="*/ 6 h 19"/>
                  <a:gd name="T46" fmla="*/ 36 w 39"/>
                  <a:gd name="T47" fmla="*/ 4 h 19"/>
                  <a:gd name="T48" fmla="*/ 35 w 39"/>
                  <a:gd name="T49" fmla="*/ 3 h 19"/>
                  <a:gd name="T50" fmla="*/ 34 w 39"/>
                  <a:gd name="T51" fmla="*/ 3 h 19"/>
                  <a:gd name="T52" fmla="*/ 34 w 39"/>
                  <a:gd name="T53" fmla="*/ 3 h 19"/>
                  <a:gd name="T54" fmla="*/ 33 w 39"/>
                  <a:gd name="T55" fmla="*/ 3 h 19"/>
                  <a:gd name="T56" fmla="*/ 32 w 39"/>
                  <a:gd name="T57" fmla="*/ 2 h 19"/>
                  <a:gd name="T58" fmla="*/ 29 w 39"/>
                  <a:gd name="T59" fmla="*/ 2 h 19"/>
                  <a:gd name="T60" fmla="*/ 29 w 39"/>
                  <a:gd name="T61" fmla="*/ 3 h 19"/>
                  <a:gd name="T62" fmla="*/ 28 w 39"/>
                  <a:gd name="T63" fmla="*/ 3 h 19"/>
                  <a:gd name="T64" fmla="*/ 26 w 39"/>
                  <a:gd name="T65" fmla="*/ 3 h 19"/>
                  <a:gd name="T66" fmla="*/ 26 w 39"/>
                  <a:gd name="T67" fmla="*/ 3 h 19"/>
                  <a:gd name="T68" fmla="*/ 25 w 39"/>
                  <a:gd name="T69" fmla="*/ 2 h 19"/>
                  <a:gd name="T70" fmla="*/ 24 w 39"/>
                  <a:gd name="T71" fmla="*/ 3 h 19"/>
                  <a:gd name="T72" fmla="*/ 23 w 39"/>
                  <a:gd name="T73" fmla="*/ 4 h 19"/>
                  <a:gd name="T74" fmla="*/ 22 w 39"/>
                  <a:gd name="T75" fmla="*/ 4 h 19"/>
                  <a:gd name="T76" fmla="*/ 21 w 39"/>
                  <a:gd name="T77" fmla="*/ 4 h 19"/>
                  <a:gd name="T78" fmla="*/ 20 w 39"/>
                  <a:gd name="T79" fmla="*/ 5 h 19"/>
                  <a:gd name="T80" fmla="*/ 20 w 39"/>
                  <a:gd name="T81" fmla="*/ 3 h 19"/>
                  <a:gd name="T82" fmla="*/ 19 w 39"/>
                  <a:gd name="T83" fmla="*/ 2 h 19"/>
                  <a:gd name="T84" fmla="*/ 19 w 39"/>
                  <a:gd name="T85" fmla="*/ 2 h 19"/>
                  <a:gd name="T86" fmla="*/ 18 w 39"/>
                  <a:gd name="T87" fmla="*/ 0 h 19"/>
                  <a:gd name="T88" fmla="*/ 18 w 39"/>
                  <a:gd name="T89" fmla="*/ 1 h 19"/>
                  <a:gd name="T90" fmla="*/ 17 w 39"/>
                  <a:gd name="T91" fmla="*/ 1 h 19"/>
                  <a:gd name="T92" fmla="*/ 16 w 39"/>
                  <a:gd name="T93" fmla="*/ 2 h 19"/>
                  <a:gd name="T94" fmla="*/ 15 w 39"/>
                  <a:gd name="T95" fmla="*/ 3 h 19"/>
                  <a:gd name="T96" fmla="*/ 14 w 39"/>
                  <a:gd name="T97" fmla="*/ 1 h 19"/>
                  <a:gd name="T98" fmla="*/ 13 w 39"/>
                  <a:gd name="T99" fmla="*/ 2 h 19"/>
                  <a:gd name="T100" fmla="*/ 12 w 39"/>
                  <a:gd name="T101" fmla="*/ 2 h 19"/>
                  <a:gd name="T102" fmla="*/ 11 w 39"/>
                  <a:gd name="T103" fmla="*/ 3 h 19"/>
                  <a:gd name="T104" fmla="*/ 9 w 39"/>
                  <a:gd name="T105" fmla="*/ 5 h 19"/>
                  <a:gd name="T106" fmla="*/ 8 w 39"/>
                  <a:gd name="T107" fmla="*/ 7 h 19"/>
                  <a:gd name="T108" fmla="*/ 5 w 39"/>
                  <a:gd name="T109" fmla="*/ 8 h 19"/>
                  <a:gd name="T110" fmla="*/ 2 w 39"/>
                  <a:gd name="T111" fmla="*/ 8 h 19"/>
                  <a:gd name="T112" fmla="*/ 1 w 39"/>
                  <a:gd name="T113" fmla="*/ 10 h 19"/>
                  <a:gd name="T114" fmla="*/ 1 w 39"/>
                  <a:gd name="T115" fmla="*/ 13 h 19"/>
                  <a:gd name="T116" fmla="*/ 2 w 39"/>
                  <a:gd name="T117" fmla="*/ 16 h 19"/>
                  <a:gd name="T118" fmla="*/ 5 w 39"/>
                  <a:gd name="T119"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 h="19">
                    <a:moveTo>
                      <a:pt x="5" y="17"/>
                    </a:moveTo>
                    <a:cubicBezTo>
                      <a:pt x="6" y="18"/>
                      <a:pt x="7" y="19"/>
                      <a:pt x="8" y="19"/>
                    </a:cubicBezTo>
                    <a:cubicBezTo>
                      <a:pt x="9" y="19"/>
                      <a:pt x="10" y="19"/>
                      <a:pt x="10" y="19"/>
                    </a:cubicBezTo>
                    <a:cubicBezTo>
                      <a:pt x="11" y="19"/>
                      <a:pt x="11" y="19"/>
                      <a:pt x="12" y="19"/>
                    </a:cubicBezTo>
                    <a:cubicBezTo>
                      <a:pt x="13" y="19"/>
                      <a:pt x="13" y="19"/>
                      <a:pt x="14" y="19"/>
                    </a:cubicBezTo>
                    <a:cubicBezTo>
                      <a:pt x="14" y="18"/>
                      <a:pt x="14" y="18"/>
                      <a:pt x="14" y="18"/>
                    </a:cubicBezTo>
                    <a:cubicBezTo>
                      <a:pt x="13" y="17"/>
                      <a:pt x="14" y="16"/>
                      <a:pt x="15" y="16"/>
                    </a:cubicBezTo>
                    <a:cubicBezTo>
                      <a:pt x="16" y="16"/>
                      <a:pt x="17" y="16"/>
                      <a:pt x="18" y="15"/>
                    </a:cubicBezTo>
                    <a:cubicBezTo>
                      <a:pt x="19" y="15"/>
                      <a:pt x="19" y="15"/>
                      <a:pt x="19" y="15"/>
                    </a:cubicBezTo>
                    <a:cubicBezTo>
                      <a:pt x="20" y="14"/>
                      <a:pt x="20" y="15"/>
                      <a:pt x="20" y="15"/>
                    </a:cubicBezTo>
                    <a:cubicBezTo>
                      <a:pt x="21" y="16"/>
                      <a:pt x="23" y="15"/>
                      <a:pt x="24" y="14"/>
                    </a:cubicBezTo>
                    <a:cubicBezTo>
                      <a:pt x="24" y="14"/>
                      <a:pt x="24" y="13"/>
                      <a:pt x="24" y="13"/>
                    </a:cubicBezTo>
                    <a:cubicBezTo>
                      <a:pt x="25" y="12"/>
                      <a:pt x="25" y="12"/>
                      <a:pt x="25" y="11"/>
                    </a:cubicBezTo>
                    <a:cubicBezTo>
                      <a:pt x="26" y="11"/>
                      <a:pt x="27" y="11"/>
                      <a:pt x="27" y="11"/>
                    </a:cubicBezTo>
                    <a:cubicBezTo>
                      <a:pt x="28" y="11"/>
                      <a:pt x="28" y="12"/>
                      <a:pt x="29" y="12"/>
                    </a:cubicBezTo>
                    <a:cubicBezTo>
                      <a:pt x="29" y="12"/>
                      <a:pt x="30" y="12"/>
                      <a:pt x="30" y="12"/>
                    </a:cubicBezTo>
                    <a:cubicBezTo>
                      <a:pt x="30" y="12"/>
                      <a:pt x="31" y="11"/>
                      <a:pt x="31" y="11"/>
                    </a:cubicBezTo>
                    <a:cubicBezTo>
                      <a:pt x="31" y="11"/>
                      <a:pt x="32" y="11"/>
                      <a:pt x="32" y="11"/>
                    </a:cubicBezTo>
                    <a:cubicBezTo>
                      <a:pt x="32" y="12"/>
                      <a:pt x="33" y="12"/>
                      <a:pt x="34" y="13"/>
                    </a:cubicBezTo>
                    <a:cubicBezTo>
                      <a:pt x="34" y="14"/>
                      <a:pt x="35" y="13"/>
                      <a:pt x="36" y="13"/>
                    </a:cubicBezTo>
                    <a:cubicBezTo>
                      <a:pt x="36" y="11"/>
                      <a:pt x="37" y="10"/>
                      <a:pt x="38" y="9"/>
                    </a:cubicBezTo>
                    <a:cubicBezTo>
                      <a:pt x="38" y="8"/>
                      <a:pt x="38" y="7"/>
                      <a:pt x="39" y="6"/>
                    </a:cubicBezTo>
                    <a:cubicBezTo>
                      <a:pt x="39" y="6"/>
                      <a:pt x="39" y="6"/>
                      <a:pt x="39" y="6"/>
                    </a:cubicBezTo>
                    <a:cubicBezTo>
                      <a:pt x="38" y="6"/>
                      <a:pt x="36" y="5"/>
                      <a:pt x="36" y="4"/>
                    </a:cubicBezTo>
                    <a:cubicBezTo>
                      <a:pt x="35" y="4"/>
                      <a:pt x="35" y="3"/>
                      <a:pt x="35" y="3"/>
                    </a:cubicBezTo>
                    <a:cubicBezTo>
                      <a:pt x="35" y="3"/>
                      <a:pt x="35" y="3"/>
                      <a:pt x="34" y="3"/>
                    </a:cubicBezTo>
                    <a:cubicBezTo>
                      <a:pt x="34" y="3"/>
                      <a:pt x="34" y="3"/>
                      <a:pt x="34" y="3"/>
                    </a:cubicBezTo>
                    <a:cubicBezTo>
                      <a:pt x="34" y="3"/>
                      <a:pt x="33" y="3"/>
                      <a:pt x="33" y="3"/>
                    </a:cubicBezTo>
                    <a:cubicBezTo>
                      <a:pt x="33" y="2"/>
                      <a:pt x="32" y="2"/>
                      <a:pt x="32" y="2"/>
                    </a:cubicBezTo>
                    <a:cubicBezTo>
                      <a:pt x="31" y="2"/>
                      <a:pt x="30" y="2"/>
                      <a:pt x="29" y="2"/>
                    </a:cubicBezTo>
                    <a:cubicBezTo>
                      <a:pt x="29" y="3"/>
                      <a:pt x="29" y="3"/>
                      <a:pt x="29" y="3"/>
                    </a:cubicBezTo>
                    <a:cubicBezTo>
                      <a:pt x="28" y="3"/>
                      <a:pt x="28" y="3"/>
                      <a:pt x="28" y="3"/>
                    </a:cubicBezTo>
                    <a:cubicBezTo>
                      <a:pt x="27" y="3"/>
                      <a:pt x="27" y="3"/>
                      <a:pt x="26" y="3"/>
                    </a:cubicBezTo>
                    <a:cubicBezTo>
                      <a:pt x="26" y="3"/>
                      <a:pt x="26" y="3"/>
                      <a:pt x="26" y="3"/>
                    </a:cubicBezTo>
                    <a:cubicBezTo>
                      <a:pt x="25" y="3"/>
                      <a:pt x="25" y="2"/>
                      <a:pt x="25" y="2"/>
                    </a:cubicBezTo>
                    <a:cubicBezTo>
                      <a:pt x="24" y="2"/>
                      <a:pt x="24" y="3"/>
                      <a:pt x="24" y="3"/>
                    </a:cubicBezTo>
                    <a:cubicBezTo>
                      <a:pt x="23" y="3"/>
                      <a:pt x="23" y="3"/>
                      <a:pt x="23" y="4"/>
                    </a:cubicBezTo>
                    <a:cubicBezTo>
                      <a:pt x="22" y="4"/>
                      <a:pt x="23" y="4"/>
                      <a:pt x="22" y="4"/>
                    </a:cubicBezTo>
                    <a:cubicBezTo>
                      <a:pt x="22" y="4"/>
                      <a:pt x="21" y="4"/>
                      <a:pt x="21" y="4"/>
                    </a:cubicBezTo>
                    <a:cubicBezTo>
                      <a:pt x="21" y="4"/>
                      <a:pt x="21" y="5"/>
                      <a:pt x="20" y="5"/>
                    </a:cubicBezTo>
                    <a:cubicBezTo>
                      <a:pt x="20" y="4"/>
                      <a:pt x="21" y="3"/>
                      <a:pt x="20" y="3"/>
                    </a:cubicBezTo>
                    <a:cubicBezTo>
                      <a:pt x="20" y="2"/>
                      <a:pt x="20" y="2"/>
                      <a:pt x="19" y="2"/>
                    </a:cubicBezTo>
                    <a:cubicBezTo>
                      <a:pt x="19" y="2"/>
                      <a:pt x="19" y="2"/>
                      <a:pt x="19" y="2"/>
                    </a:cubicBezTo>
                    <a:cubicBezTo>
                      <a:pt x="18" y="1"/>
                      <a:pt x="19" y="1"/>
                      <a:pt x="18" y="0"/>
                    </a:cubicBezTo>
                    <a:cubicBezTo>
                      <a:pt x="18" y="0"/>
                      <a:pt x="18" y="1"/>
                      <a:pt x="18" y="1"/>
                    </a:cubicBezTo>
                    <a:cubicBezTo>
                      <a:pt x="17" y="1"/>
                      <a:pt x="17" y="1"/>
                      <a:pt x="17" y="1"/>
                    </a:cubicBezTo>
                    <a:cubicBezTo>
                      <a:pt x="16" y="1"/>
                      <a:pt x="16" y="1"/>
                      <a:pt x="16" y="2"/>
                    </a:cubicBezTo>
                    <a:cubicBezTo>
                      <a:pt x="16" y="3"/>
                      <a:pt x="16" y="3"/>
                      <a:pt x="15" y="3"/>
                    </a:cubicBezTo>
                    <a:cubicBezTo>
                      <a:pt x="14" y="2"/>
                      <a:pt x="14" y="2"/>
                      <a:pt x="14" y="1"/>
                    </a:cubicBezTo>
                    <a:cubicBezTo>
                      <a:pt x="14" y="1"/>
                      <a:pt x="13" y="1"/>
                      <a:pt x="13" y="2"/>
                    </a:cubicBezTo>
                    <a:cubicBezTo>
                      <a:pt x="13" y="2"/>
                      <a:pt x="12" y="2"/>
                      <a:pt x="12" y="2"/>
                    </a:cubicBezTo>
                    <a:cubicBezTo>
                      <a:pt x="11" y="2"/>
                      <a:pt x="11" y="3"/>
                      <a:pt x="11" y="3"/>
                    </a:cubicBezTo>
                    <a:cubicBezTo>
                      <a:pt x="10" y="4"/>
                      <a:pt x="9" y="4"/>
                      <a:pt x="9" y="5"/>
                    </a:cubicBezTo>
                    <a:cubicBezTo>
                      <a:pt x="9" y="5"/>
                      <a:pt x="9" y="6"/>
                      <a:pt x="8" y="7"/>
                    </a:cubicBezTo>
                    <a:cubicBezTo>
                      <a:pt x="7" y="7"/>
                      <a:pt x="6" y="8"/>
                      <a:pt x="5" y="8"/>
                    </a:cubicBezTo>
                    <a:cubicBezTo>
                      <a:pt x="4" y="8"/>
                      <a:pt x="3" y="8"/>
                      <a:pt x="2" y="8"/>
                    </a:cubicBezTo>
                    <a:cubicBezTo>
                      <a:pt x="2" y="9"/>
                      <a:pt x="2" y="10"/>
                      <a:pt x="1" y="10"/>
                    </a:cubicBezTo>
                    <a:cubicBezTo>
                      <a:pt x="1" y="11"/>
                      <a:pt x="0" y="12"/>
                      <a:pt x="1" y="13"/>
                    </a:cubicBezTo>
                    <a:cubicBezTo>
                      <a:pt x="2" y="14"/>
                      <a:pt x="2" y="15"/>
                      <a:pt x="2" y="16"/>
                    </a:cubicBezTo>
                    <a:cubicBezTo>
                      <a:pt x="3" y="16"/>
                      <a:pt x="4" y="17"/>
                      <a:pt x="5"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0" name="Freeform 794">
                <a:extLst>
                  <a:ext uri="{FF2B5EF4-FFF2-40B4-BE49-F238E27FC236}">
                    <a16:creationId xmlns:a16="http://schemas.microsoft.com/office/drawing/2014/main" id="{743BAE24-EAAE-E699-500F-AACAF5B0E86A}"/>
                  </a:ext>
                </a:extLst>
              </p:cNvPr>
              <p:cNvSpPr>
                <a:spLocks/>
              </p:cNvSpPr>
              <p:nvPr/>
            </p:nvSpPr>
            <p:spPr bwMode="auto">
              <a:xfrm>
                <a:off x="5946775" y="3330575"/>
                <a:ext cx="265112" cy="187325"/>
              </a:xfrm>
              <a:custGeom>
                <a:avLst/>
                <a:gdLst>
                  <a:gd name="T0" fmla="*/ 60 w 64"/>
                  <a:gd name="T1" fmla="*/ 29 h 45"/>
                  <a:gd name="T2" fmla="*/ 55 w 64"/>
                  <a:gd name="T3" fmla="*/ 29 h 45"/>
                  <a:gd name="T4" fmla="*/ 54 w 64"/>
                  <a:gd name="T5" fmla="*/ 25 h 45"/>
                  <a:gd name="T6" fmla="*/ 54 w 64"/>
                  <a:gd name="T7" fmla="*/ 22 h 45"/>
                  <a:gd name="T8" fmla="*/ 54 w 64"/>
                  <a:gd name="T9" fmla="*/ 19 h 45"/>
                  <a:gd name="T10" fmla="*/ 53 w 64"/>
                  <a:gd name="T11" fmla="*/ 13 h 45"/>
                  <a:gd name="T12" fmla="*/ 51 w 64"/>
                  <a:gd name="T13" fmla="*/ 10 h 45"/>
                  <a:gd name="T14" fmla="*/ 49 w 64"/>
                  <a:gd name="T15" fmla="*/ 8 h 45"/>
                  <a:gd name="T16" fmla="*/ 47 w 64"/>
                  <a:gd name="T17" fmla="*/ 2 h 45"/>
                  <a:gd name="T18" fmla="*/ 44 w 64"/>
                  <a:gd name="T19" fmla="*/ 0 h 45"/>
                  <a:gd name="T20" fmla="*/ 41 w 64"/>
                  <a:gd name="T21" fmla="*/ 1 h 45"/>
                  <a:gd name="T22" fmla="*/ 35 w 64"/>
                  <a:gd name="T23" fmla="*/ 3 h 45"/>
                  <a:gd name="T24" fmla="*/ 33 w 64"/>
                  <a:gd name="T25" fmla="*/ 5 h 45"/>
                  <a:gd name="T26" fmla="*/ 29 w 64"/>
                  <a:gd name="T27" fmla="*/ 3 h 45"/>
                  <a:gd name="T28" fmla="*/ 26 w 64"/>
                  <a:gd name="T29" fmla="*/ 3 h 45"/>
                  <a:gd name="T30" fmla="*/ 24 w 64"/>
                  <a:gd name="T31" fmla="*/ 3 h 45"/>
                  <a:gd name="T32" fmla="*/ 21 w 64"/>
                  <a:gd name="T33" fmla="*/ 2 h 45"/>
                  <a:gd name="T34" fmla="*/ 18 w 64"/>
                  <a:gd name="T35" fmla="*/ 4 h 45"/>
                  <a:gd name="T36" fmla="*/ 14 w 64"/>
                  <a:gd name="T37" fmla="*/ 5 h 45"/>
                  <a:gd name="T38" fmla="*/ 12 w 64"/>
                  <a:gd name="T39" fmla="*/ 8 h 45"/>
                  <a:gd name="T40" fmla="*/ 12 w 64"/>
                  <a:gd name="T41" fmla="*/ 9 h 45"/>
                  <a:gd name="T42" fmla="*/ 10 w 64"/>
                  <a:gd name="T43" fmla="*/ 12 h 45"/>
                  <a:gd name="T44" fmla="*/ 9 w 64"/>
                  <a:gd name="T45" fmla="*/ 15 h 45"/>
                  <a:gd name="T46" fmla="*/ 7 w 64"/>
                  <a:gd name="T47" fmla="*/ 17 h 45"/>
                  <a:gd name="T48" fmla="*/ 7 w 64"/>
                  <a:gd name="T49" fmla="*/ 19 h 45"/>
                  <a:gd name="T50" fmla="*/ 4 w 64"/>
                  <a:gd name="T51" fmla="*/ 20 h 45"/>
                  <a:gd name="T52" fmla="*/ 3 w 64"/>
                  <a:gd name="T53" fmla="*/ 21 h 45"/>
                  <a:gd name="T54" fmla="*/ 1 w 64"/>
                  <a:gd name="T55" fmla="*/ 23 h 45"/>
                  <a:gd name="T56" fmla="*/ 4 w 64"/>
                  <a:gd name="T57" fmla="*/ 25 h 45"/>
                  <a:gd name="T58" fmla="*/ 4 w 64"/>
                  <a:gd name="T59" fmla="*/ 27 h 45"/>
                  <a:gd name="T60" fmla="*/ 6 w 64"/>
                  <a:gd name="T61" fmla="*/ 29 h 45"/>
                  <a:gd name="T62" fmla="*/ 9 w 64"/>
                  <a:gd name="T63" fmla="*/ 31 h 45"/>
                  <a:gd name="T64" fmla="*/ 8 w 64"/>
                  <a:gd name="T65" fmla="*/ 32 h 45"/>
                  <a:gd name="T66" fmla="*/ 8 w 64"/>
                  <a:gd name="T67" fmla="*/ 33 h 45"/>
                  <a:gd name="T68" fmla="*/ 11 w 64"/>
                  <a:gd name="T69" fmla="*/ 35 h 45"/>
                  <a:gd name="T70" fmla="*/ 13 w 64"/>
                  <a:gd name="T71" fmla="*/ 37 h 45"/>
                  <a:gd name="T72" fmla="*/ 16 w 64"/>
                  <a:gd name="T73" fmla="*/ 35 h 45"/>
                  <a:gd name="T74" fmla="*/ 16 w 64"/>
                  <a:gd name="T75" fmla="*/ 36 h 45"/>
                  <a:gd name="T76" fmla="*/ 16 w 64"/>
                  <a:gd name="T77" fmla="*/ 38 h 45"/>
                  <a:gd name="T78" fmla="*/ 17 w 64"/>
                  <a:gd name="T79" fmla="*/ 39 h 45"/>
                  <a:gd name="T80" fmla="*/ 19 w 64"/>
                  <a:gd name="T81" fmla="*/ 41 h 45"/>
                  <a:gd name="T82" fmla="*/ 21 w 64"/>
                  <a:gd name="T83" fmla="*/ 43 h 45"/>
                  <a:gd name="T84" fmla="*/ 24 w 64"/>
                  <a:gd name="T85" fmla="*/ 43 h 45"/>
                  <a:gd name="T86" fmla="*/ 27 w 64"/>
                  <a:gd name="T87" fmla="*/ 44 h 45"/>
                  <a:gd name="T88" fmla="*/ 31 w 64"/>
                  <a:gd name="T89" fmla="*/ 44 h 45"/>
                  <a:gd name="T90" fmla="*/ 36 w 64"/>
                  <a:gd name="T91" fmla="*/ 45 h 45"/>
                  <a:gd name="T92" fmla="*/ 39 w 64"/>
                  <a:gd name="T93" fmla="*/ 43 h 45"/>
                  <a:gd name="T94" fmla="*/ 44 w 64"/>
                  <a:gd name="T95" fmla="*/ 41 h 45"/>
                  <a:gd name="T96" fmla="*/ 49 w 64"/>
                  <a:gd name="T97" fmla="*/ 41 h 45"/>
                  <a:gd name="T98" fmla="*/ 51 w 64"/>
                  <a:gd name="T99" fmla="*/ 42 h 45"/>
                  <a:gd name="T100" fmla="*/ 53 w 64"/>
                  <a:gd name="T101" fmla="*/ 43 h 45"/>
                  <a:gd name="T102" fmla="*/ 57 w 64"/>
                  <a:gd name="T103" fmla="*/ 44 h 45"/>
                  <a:gd name="T104" fmla="*/ 57 w 64"/>
                  <a:gd name="T105" fmla="*/ 41 h 45"/>
                  <a:gd name="T106" fmla="*/ 58 w 64"/>
                  <a:gd name="T107" fmla="*/ 38 h 45"/>
                  <a:gd name="T108" fmla="*/ 58 w 64"/>
                  <a:gd name="T109" fmla="*/ 36 h 45"/>
                  <a:gd name="T110" fmla="*/ 59 w 64"/>
                  <a:gd name="T111" fmla="*/ 32 h 45"/>
                  <a:gd name="T112" fmla="*/ 61 w 64"/>
                  <a:gd name="T113" fmla="*/ 34 h 45"/>
                  <a:gd name="T114" fmla="*/ 64 w 64"/>
                  <a:gd name="T115" fmla="*/ 32 h 45"/>
                  <a:gd name="T116" fmla="*/ 63 w 64"/>
                  <a:gd name="T117"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45">
                    <a:moveTo>
                      <a:pt x="63" y="28"/>
                    </a:moveTo>
                    <a:cubicBezTo>
                      <a:pt x="62" y="28"/>
                      <a:pt x="61" y="28"/>
                      <a:pt x="60" y="29"/>
                    </a:cubicBezTo>
                    <a:cubicBezTo>
                      <a:pt x="59" y="29"/>
                      <a:pt x="58" y="29"/>
                      <a:pt x="58" y="30"/>
                    </a:cubicBezTo>
                    <a:cubicBezTo>
                      <a:pt x="57" y="30"/>
                      <a:pt x="56" y="30"/>
                      <a:pt x="55" y="29"/>
                    </a:cubicBezTo>
                    <a:cubicBezTo>
                      <a:pt x="55" y="28"/>
                      <a:pt x="53" y="27"/>
                      <a:pt x="54" y="26"/>
                    </a:cubicBezTo>
                    <a:cubicBezTo>
                      <a:pt x="54" y="26"/>
                      <a:pt x="54" y="25"/>
                      <a:pt x="54" y="25"/>
                    </a:cubicBezTo>
                    <a:cubicBezTo>
                      <a:pt x="54" y="24"/>
                      <a:pt x="54" y="24"/>
                      <a:pt x="54" y="23"/>
                    </a:cubicBezTo>
                    <a:cubicBezTo>
                      <a:pt x="54" y="23"/>
                      <a:pt x="54" y="22"/>
                      <a:pt x="54" y="22"/>
                    </a:cubicBezTo>
                    <a:cubicBezTo>
                      <a:pt x="54" y="21"/>
                      <a:pt x="54" y="20"/>
                      <a:pt x="54" y="20"/>
                    </a:cubicBezTo>
                    <a:cubicBezTo>
                      <a:pt x="54" y="20"/>
                      <a:pt x="54" y="19"/>
                      <a:pt x="54" y="19"/>
                    </a:cubicBezTo>
                    <a:cubicBezTo>
                      <a:pt x="55" y="18"/>
                      <a:pt x="54" y="18"/>
                      <a:pt x="54" y="17"/>
                    </a:cubicBezTo>
                    <a:cubicBezTo>
                      <a:pt x="54" y="16"/>
                      <a:pt x="54" y="14"/>
                      <a:pt x="53" y="13"/>
                    </a:cubicBezTo>
                    <a:cubicBezTo>
                      <a:pt x="53" y="13"/>
                      <a:pt x="53" y="12"/>
                      <a:pt x="52" y="12"/>
                    </a:cubicBezTo>
                    <a:cubicBezTo>
                      <a:pt x="52" y="11"/>
                      <a:pt x="52" y="11"/>
                      <a:pt x="51" y="10"/>
                    </a:cubicBezTo>
                    <a:cubicBezTo>
                      <a:pt x="51" y="10"/>
                      <a:pt x="50" y="10"/>
                      <a:pt x="50" y="9"/>
                    </a:cubicBezTo>
                    <a:cubicBezTo>
                      <a:pt x="50" y="9"/>
                      <a:pt x="50" y="8"/>
                      <a:pt x="49" y="8"/>
                    </a:cubicBezTo>
                    <a:cubicBezTo>
                      <a:pt x="49" y="7"/>
                      <a:pt x="48" y="6"/>
                      <a:pt x="48" y="6"/>
                    </a:cubicBezTo>
                    <a:cubicBezTo>
                      <a:pt x="47" y="4"/>
                      <a:pt x="47" y="3"/>
                      <a:pt x="47" y="2"/>
                    </a:cubicBezTo>
                    <a:cubicBezTo>
                      <a:pt x="46" y="1"/>
                      <a:pt x="45" y="0"/>
                      <a:pt x="44" y="0"/>
                    </a:cubicBezTo>
                    <a:cubicBezTo>
                      <a:pt x="44" y="0"/>
                      <a:pt x="44" y="0"/>
                      <a:pt x="44" y="0"/>
                    </a:cubicBezTo>
                    <a:cubicBezTo>
                      <a:pt x="43" y="0"/>
                      <a:pt x="43" y="0"/>
                      <a:pt x="42" y="0"/>
                    </a:cubicBezTo>
                    <a:cubicBezTo>
                      <a:pt x="42" y="0"/>
                      <a:pt x="42" y="0"/>
                      <a:pt x="41" y="1"/>
                    </a:cubicBezTo>
                    <a:cubicBezTo>
                      <a:pt x="41" y="2"/>
                      <a:pt x="40" y="3"/>
                      <a:pt x="39" y="3"/>
                    </a:cubicBezTo>
                    <a:cubicBezTo>
                      <a:pt x="38" y="3"/>
                      <a:pt x="37" y="3"/>
                      <a:pt x="35" y="3"/>
                    </a:cubicBezTo>
                    <a:cubicBezTo>
                      <a:pt x="35" y="4"/>
                      <a:pt x="34" y="4"/>
                      <a:pt x="34" y="4"/>
                    </a:cubicBezTo>
                    <a:cubicBezTo>
                      <a:pt x="34" y="4"/>
                      <a:pt x="33" y="5"/>
                      <a:pt x="33" y="5"/>
                    </a:cubicBezTo>
                    <a:cubicBezTo>
                      <a:pt x="32" y="6"/>
                      <a:pt x="31" y="4"/>
                      <a:pt x="30" y="4"/>
                    </a:cubicBezTo>
                    <a:cubicBezTo>
                      <a:pt x="30" y="3"/>
                      <a:pt x="29" y="3"/>
                      <a:pt x="29" y="3"/>
                    </a:cubicBezTo>
                    <a:cubicBezTo>
                      <a:pt x="28" y="3"/>
                      <a:pt x="28" y="4"/>
                      <a:pt x="27" y="4"/>
                    </a:cubicBezTo>
                    <a:cubicBezTo>
                      <a:pt x="27" y="4"/>
                      <a:pt x="27" y="3"/>
                      <a:pt x="26" y="3"/>
                    </a:cubicBezTo>
                    <a:cubicBezTo>
                      <a:pt x="26" y="3"/>
                      <a:pt x="26" y="3"/>
                      <a:pt x="25" y="3"/>
                    </a:cubicBezTo>
                    <a:cubicBezTo>
                      <a:pt x="25" y="3"/>
                      <a:pt x="24" y="3"/>
                      <a:pt x="24" y="3"/>
                    </a:cubicBezTo>
                    <a:cubicBezTo>
                      <a:pt x="23" y="2"/>
                      <a:pt x="23" y="3"/>
                      <a:pt x="22" y="3"/>
                    </a:cubicBezTo>
                    <a:cubicBezTo>
                      <a:pt x="22" y="3"/>
                      <a:pt x="21" y="3"/>
                      <a:pt x="21" y="2"/>
                    </a:cubicBezTo>
                    <a:cubicBezTo>
                      <a:pt x="20" y="1"/>
                      <a:pt x="20" y="3"/>
                      <a:pt x="18" y="3"/>
                    </a:cubicBezTo>
                    <a:cubicBezTo>
                      <a:pt x="18" y="3"/>
                      <a:pt x="18" y="4"/>
                      <a:pt x="18" y="4"/>
                    </a:cubicBezTo>
                    <a:cubicBezTo>
                      <a:pt x="17" y="5"/>
                      <a:pt x="16" y="5"/>
                      <a:pt x="16" y="5"/>
                    </a:cubicBezTo>
                    <a:cubicBezTo>
                      <a:pt x="15" y="5"/>
                      <a:pt x="15" y="5"/>
                      <a:pt x="14" y="5"/>
                    </a:cubicBezTo>
                    <a:cubicBezTo>
                      <a:pt x="14" y="6"/>
                      <a:pt x="14" y="6"/>
                      <a:pt x="14" y="7"/>
                    </a:cubicBezTo>
                    <a:cubicBezTo>
                      <a:pt x="13" y="7"/>
                      <a:pt x="13" y="7"/>
                      <a:pt x="12" y="8"/>
                    </a:cubicBezTo>
                    <a:cubicBezTo>
                      <a:pt x="12" y="8"/>
                      <a:pt x="12" y="8"/>
                      <a:pt x="12" y="9"/>
                    </a:cubicBezTo>
                    <a:cubicBezTo>
                      <a:pt x="12" y="9"/>
                      <a:pt x="12" y="9"/>
                      <a:pt x="12" y="9"/>
                    </a:cubicBezTo>
                    <a:cubicBezTo>
                      <a:pt x="12" y="10"/>
                      <a:pt x="11" y="10"/>
                      <a:pt x="11" y="11"/>
                    </a:cubicBezTo>
                    <a:cubicBezTo>
                      <a:pt x="11" y="11"/>
                      <a:pt x="11" y="11"/>
                      <a:pt x="10" y="12"/>
                    </a:cubicBezTo>
                    <a:cubicBezTo>
                      <a:pt x="10" y="13"/>
                      <a:pt x="10" y="14"/>
                      <a:pt x="9" y="14"/>
                    </a:cubicBezTo>
                    <a:cubicBezTo>
                      <a:pt x="9" y="15"/>
                      <a:pt x="9" y="15"/>
                      <a:pt x="9" y="15"/>
                    </a:cubicBezTo>
                    <a:cubicBezTo>
                      <a:pt x="9" y="16"/>
                      <a:pt x="9" y="16"/>
                      <a:pt x="8" y="16"/>
                    </a:cubicBezTo>
                    <a:cubicBezTo>
                      <a:pt x="8" y="16"/>
                      <a:pt x="8" y="16"/>
                      <a:pt x="7" y="17"/>
                    </a:cubicBezTo>
                    <a:cubicBezTo>
                      <a:pt x="7" y="17"/>
                      <a:pt x="7" y="17"/>
                      <a:pt x="7" y="18"/>
                    </a:cubicBezTo>
                    <a:cubicBezTo>
                      <a:pt x="7" y="19"/>
                      <a:pt x="7" y="19"/>
                      <a:pt x="7" y="19"/>
                    </a:cubicBezTo>
                    <a:cubicBezTo>
                      <a:pt x="6" y="20"/>
                      <a:pt x="6" y="20"/>
                      <a:pt x="5" y="20"/>
                    </a:cubicBezTo>
                    <a:cubicBezTo>
                      <a:pt x="5" y="20"/>
                      <a:pt x="5" y="20"/>
                      <a:pt x="4" y="20"/>
                    </a:cubicBezTo>
                    <a:cubicBezTo>
                      <a:pt x="4" y="21"/>
                      <a:pt x="4" y="21"/>
                      <a:pt x="4" y="21"/>
                    </a:cubicBezTo>
                    <a:cubicBezTo>
                      <a:pt x="3" y="21"/>
                      <a:pt x="3" y="21"/>
                      <a:pt x="3" y="21"/>
                    </a:cubicBezTo>
                    <a:cubicBezTo>
                      <a:pt x="2" y="21"/>
                      <a:pt x="1" y="21"/>
                      <a:pt x="0" y="21"/>
                    </a:cubicBezTo>
                    <a:cubicBezTo>
                      <a:pt x="1" y="22"/>
                      <a:pt x="1" y="22"/>
                      <a:pt x="1" y="23"/>
                    </a:cubicBezTo>
                    <a:cubicBezTo>
                      <a:pt x="2" y="23"/>
                      <a:pt x="2" y="23"/>
                      <a:pt x="2" y="23"/>
                    </a:cubicBezTo>
                    <a:cubicBezTo>
                      <a:pt x="3" y="24"/>
                      <a:pt x="3" y="25"/>
                      <a:pt x="4" y="25"/>
                    </a:cubicBezTo>
                    <a:cubicBezTo>
                      <a:pt x="5" y="25"/>
                      <a:pt x="4" y="26"/>
                      <a:pt x="4" y="26"/>
                    </a:cubicBezTo>
                    <a:cubicBezTo>
                      <a:pt x="4" y="26"/>
                      <a:pt x="4" y="27"/>
                      <a:pt x="4" y="27"/>
                    </a:cubicBezTo>
                    <a:cubicBezTo>
                      <a:pt x="4" y="27"/>
                      <a:pt x="4" y="27"/>
                      <a:pt x="4" y="28"/>
                    </a:cubicBezTo>
                    <a:cubicBezTo>
                      <a:pt x="5" y="28"/>
                      <a:pt x="5" y="28"/>
                      <a:pt x="6" y="29"/>
                    </a:cubicBezTo>
                    <a:cubicBezTo>
                      <a:pt x="6" y="29"/>
                      <a:pt x="7" y="30"/>
                      <a:pt x="8" y="30"/>
                    </a:cubicBezTo>
                    <a:cubicBezTo>
                      <a:pt x="8" y="30"/>
                      <a:pt x="9" y="30"/>
                      <a:pt x="9" y="31"/>
                    </a:cubicBezTo>
                    <a:cubicBezTo>
                      <a:pt x="9" y="31"/>
                      <a:pt x="9" y="31"/>
                      <a:pt x="9" y="31"/>
                    </a:cubicBezTo>
                    <a:cubicBezTo>
                      <a:pt x="8" y="31"/>
                      <a:pt x="8" y="32"/>
                      <a:pt x="8" y="32"/>
                    </a:cubicBezTo>
                    <a:cubicBezTo>
                      <a:pt x="8" y="32"/>
                      <a:pt x="9" y="32"/>
                      <a:pt x="9" y="33"/>
                    </a:cubicBezTo>
                    <a:cubicBezTo>
                      <a:pt x="9" y="33"/>
                      <a:pt x="8" y="33"/>
                      <a:pt x="8" y="33"/>
                    </a:cubicBezTo>
                    <a:cubicBezTo>
                      <a:pt x="8" y="34"/>
                      <a:pt x="9" y="34"/>
                      <a:pt x="9" y="34"/>
                    </a:cubicBezTo>
                    <a:cubicBezTo>
                      <a:pt x="10" y="34"/>
                      <a:pt x="10" y="35"/>
                      <a:pt x="11" y="35"/>
                    </a:cubicBezTo>
                    <a:cubicBezTo>
                      <a:pt x="11" y="35"/>
                      <a:pt x="12" y="35"/>
                      <a:pt x="12" y="35"/>
                    </a:cubicBezTo>
                    <a:cubicBezTo>
                      <a:pt x="13" y="36"/>
                      <a:pt x="13" y="37"/>
                      <a:pt x="13" y="37"/>
                    </a:cubicBezTo>
                    <a:cubicBezTo>
                      <a:pt x="14" y="37"/>
                      <a:pt x="14" y="36"/>
                      <a:pt x="14" y="36"/>
                    </a:cubicBezTo>
                    <a:cubicBezTo>
                      <a:pt x="15" y="35"/>
                      <a:pt x="15" y="35"/>
                      <a:pt x="16" y="35"/>
                    </a:cubicBezTo>
                    <a:cubicBezTo>
                      <a:pt x="16" y="35"/>
                      <a:pt x="18" y="36"/>
                      <a:pt x="18" y="36"/>
                    </a:cubicBezTo>
                    <a:cubicBezTo>
                      <a:pt x="18" y="36"/>
                      <a:pt x="17" y="36"/>
                      <a:pt x="16" y="36"/>
                    </a:cubicBezTo>
                    <a:cubicBezTo>
                      <a:pt x="16" y="36"/>
                      <a:pt x="16" y="37"/>
                      <a:pt x="16" y="37"/>
                    </a:cubicBezTo>
                    <a:cubicBezTo>
                      <a:pt x="15" y="37"/>
                      <a:pt x="16" y="38"/>
                      <a:pt x="16" y="38"/>
                    </a:cubicBezTo>
                    <a:cubicBezTo>
                      <a:pt x="16" y="38"/>
                      <a:pt x="16" y="38"/>
                      <a:pt x="17" y="38"/>
                    </a:cubicBezTo>
                    <a:cubicBezTo>
                      <a:pt x="17" y="39"/>
                      <a:pt x="17" y="39"/>
                      <a:pt x="17" y="39"/>
                    </a:cubicBezTo>
                    <a:cubicBezTo>
                      <a:pt x="18" y="40"/>
                      <a:pt x="18" y="40"/>
                      <a:pt x="18" y="40"/>
                    </a:cubicBezTo>
                    <a:cubicBezTo>
                      <a:pt x="18" y="40"/>
                      <a:pt x="19" y="40"/>
                      <a:pt x="19" y="41"/>
                    </a:cubicBezTo>
                    <a:cubicBezTo>
                      <a:pt x="20" y="41"/>
                      <a:pt x="18" y="41"/>
                      <a:pt x="18" y="42"/>
                    </a:cubicBezTo>
                    <a:cubicBezTo>
                      <a:pt x="18" y="43"/>
                      <a:pt x="20" y="43"/>
                      <a:pt x="21" y="43"/>
                    </a:cubicBezTo>
                    <a:cubicBezTo>
                      <a:pt x="21" y="43"/>
                      <a:pt x="22" y="43"/>
                      <a:pt x="22" y="43"/>
                    </a:cubicBezTo>
                    <a:cubicBezTo>
                      <a:pt x="23" y="43"/>
                      <a:pt x="23" y="43"/>
                      <a:pt x="24" y="43"/>
                    </a:cubicBezTo>
                    <a:cubicBezTo>
                      <a:pt x="24" y="43"/>
                      <a:pt x="25" y="43"/>
                      <a:pt x="25" y="43"/>
                    </a:cubicBezTo>
                    <a:cubicBezTo>
                      <a:pt x="26" y="43"/>
                      <a:pt x="26" y="44"/>
                      <a:pt x="27" y="44"/>
                    </a:cubicBezTo>
                    <a:cubicBezTo>
                      <a:pt x="28" y="44"/>
                      <a:pt x="29" y="43"/>
                      <a:pt x="30" y="44"/>
                    </a:cubicBezTo>
                    <a:cubicBezTo>
                      <a:pt x="30" y="44"/>
                      <a:pt x="31" y="44"/>
                      <a:pt x="31" y="44"/>
                    </a:cubicBezTo>
                    <a:cubicBezTo>
                      <a:pt x="32" y="44"/>
                      <a:pt x="32" y="44"/>
                      <a:pt x="33" y="44"/>
                    </a:cubicBezTo>
                    <a:cubicBezTo>
                      <a:pt x="34" y="44"/>
                      <a:pt x="34" y="45"/>
                      <a:pt x="36" y="45"/>
                    </a:cubicBezTo>
                    <a:cubicBezTo>
                      <a:pt x="36" y="45"/>
                      <a:pt x="38" y="44"/>
                      <a:pt x="38" y="44"/>
                    </a:cubicBezTo>
                    <a:cubicBezTo>
                      <a:pt x="39" y="43"/>
                      <a:pt x="39" y="43"/>
                      <a:pt x="39" y="43"/>
                    </a:cubicBezTo>
                    <a:cubicBezTo>
                      <a:pt x="40" y="42"/>
                      <a:pt x="40" y="42"/>
                      <a:pt x="41" y="42"/>
                    </a:cubicBezTo>
                    <a:cubicBezTo>
                      <a:pt x="41" y="41"/>
                      <a:pt x="43" y="41"/>
                      <a:pt x="44" y="41"/>
                    </a:cubicBezTo>
                    <a:cubicBezTo>
                      <a:pt x="44" y="40"/>
                      <a:pt x="46" y="40"/>
                      <a:pt x="47" y="40"/>
                    </a:cubicBezTo>
                    <a:cubicBezTo>
                      <a:pt x="48" y="40"/>
                      <a:pt x="48" y="41"/>
                      <a:pt x="49" y="41"/>
                    </a:cubicBezTo>
                    <a:cubicBezTo>
                      <a:pt x="50" y="41"/>
                      <a:pt x="50" y="41"/>
                      <a:pt x="51" y="41"/>
                    </a:cubicBezTo>
                    <a:cubicBezTo>
                      <a:pt x="51" y="42"/>
                      <a:pt x="51" y="42"/>
                      <a:pt x="51" y="42"/>
                    </a:cubicBezTo>
                    <a:cubicBezTo>
                      <a:pt x="52" y="42"/>
                      <a:pt x="52" y="41"/>
                      <a:pt x="52" y="42"/>
                    </a:cubicBezTo>
                    <a:cubicBezTo>
                      <a:pt x="53" y="42"/>
                      <a:pt x="53" y="43"/>
                      <a:pt x="53" y="43"/>
                    </a:cubicBezTo>
                    <a:cubicBezTo>
                      <a:pt x="54" y="44"/>
                      <a:pt x="55" y="44"/>
                      <a:pt x="56" y="44"/>
                    </a:cubicBezTo>
                    <a:cubicBezTo>
                      <a:pt x="56" y="44"/>
                      <a:pt x="57" y="44"/>
                      <a:pt x="57" y="44"/>
                    </a:cubicBezTo>
                    <a:cubicBezTo>
                      <a:pt x="57" y="44"/>
                      <a:pt x="57" y="43"/>
                      <a:pt x="57" y="43"/>
                    </a:cubicBezTo>
                    <a:cubicBezTo>
                      <a:pt x="57" y="42"/>
                      <a:pt x="57" y="42"/>
                      <a:pt x="57" y="41"/>
                    </a:cubicBezTo>
                    <a:cubicBezTo>
                      <a:pt x="57" y="40"/>
                      <a:pt x="57" y="40"/>
                      <a:pt x="57" y="39"/>
                    </a:cubicBezTo>
                    <a:cubicBezTo>
                      <a:pt x="57" y="39"/>
                      <a:pt x="57" y="39"/>
                      <a:pt x="58" y="38"/>
                    </a:cubicBezTo>
                    <a:cubicBezTo>
                      <a:pt x="58" y="37"/>
                      <a:pt x="59" y="37"/>
                      <a:pt x="59" y="36"/>
                    </a:cubicBezTo>
                    <a:cubicBezTo>
                      <a:pt x="58" y="36"/>
                      <a:pt x="58" y="37"/>
                      <a:pt x="58" y="36"/>
                    </a:cubicBezTo>
                    <a:cubicBezTo>
                      <a:pt x="58" y="35"/>
                      <a:pt x="59" y="35"/>
                      <a:pt x="59" y="34"/>
                    </a:cubicBezTo>
                    <a:cubicBezTo>
                      <a:pt x="59" y="33"/>
                      <a:pt x="58" y="33"/>
                      <a:pt x="59" y="32"/>
                    </a:cubicBezTo>
                    <a:cubicBezTo>
                      <a:pt x="59" y="32"/>
                      <a:pt x="60" y="32"/>
                      <a:pt x="60" y="32"/>
                    </a:cubicBezTo>
                    <a:cubicBezTo>
                      <a:pt x="61" y="33"/>
                      <a:pt x="60" y="33"/>
                      <a:pt x="61" y="34"/>
                    </a:cubicBezTo>
                    <a:cubicBezTo>
                      <a:pt x="61" y="34"/>
                      <a:pt x="63" y="34"/>
                      <a:pt x="63" y="34"/>
                    </a:cubicBezTo>
                    <a:cubicBezTo>
                      <a:pt x="64" y="33"/>
                      <a:pt x="64" y="33"/>
                      <a:pt x="64" y="32"/>
                    </a:cubicBezTo>
                    <a:cubicBezTo>
                      <a:pt x="64" y="31"/>
                      <a:pt x="64" y="30"/>
                      <a:pt x="64" y="29"/>
                    </a:cubicBezTo>
                    <a:cubicBezTo>
                      <a:pt x="64" y="29"/>
                      <a:pt x="63" y="28"/>
                      <a:pt x="63"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1" name="Freeform 795">
                <a:extLst>
                  <a:ext uri="{FF2B5EF4-FFF2-40B4-BE49-F238E27FC236}">
                    <a16:creationId xmlns:a16="http://schemas.microsoft.com/office/drawing/2014/main" id="{CE6BE9A6-9667-71DB-C6B1-39A41D257A55}"/>
                  </a:ext>
                </a:extLst>
              </p:cNvPr>
              <p:cNvSpPr>
                <a:spLocks/>
              </p:cNvSpPr>
              <p:nvPr/>
            </p:nvSpPr>
            <p:spPr bwMode="auto">
              <a:xfrm>
                <a:off x="5113338" y="3575050"/>
                <a:ext cx="92075" cy="187325"/>
              </a:xfrm>
              <a:custGeom>
                <a:avLst/>
                <a:gdLst>
                  <a:gd name="T0" fmla="*/ 14 w 22"/>
                  <a:gd name="T1" fmla="*/ 41 h 45"/>
                  <a:gd name="T2" fmla="*/ 15 w 22"/>
                  <a:gd name="T3" fmla="*/ 38 h 45"/>
                  <a:gd name="T4" fmla="*/ 17 w 22"/>
                  <a:gd name="T5" fmla="*/ 35 h 45"/>
                  <a:gd name="T6" fmla="*/ 17 w 22"/>
                  <a:gd name="T7" fmla="*/ 34 h 45"/>
                  <a:gd name="T8" fmla="*/ 15 w 22"/>
                  <a:gd name="T9" fmla="*/ 32 h 45"/>
                  <a:gd name="T10" fmla="*/ 15 w 22"/>
                  <a:gd name="T11" fmla="*/ 30 h 45"/>
                  <a:gd name="T12" fmla="*/ 17 w 22"/>
                  <a:gd name="T13" fmla="*/ 28 h 45"/>
                  <a:gd name="T14" fmla="*/ 16 w 22"/>
                  <a:gd name="T15" fmla="*/ 27 h 45"/>
                  <a:gd name="T16" fmla="*/ 15 w 22"/>
                  <a:gd name="T17" fmla="*/ 26 h 45"/>
                  <a:gd name="T18" fmla="*/ 15 w 22"/>
                  <a:gd name="T19" fmla="*/ 24 h 45"/>
                  <a:gd name="T20" fmla="*/ 14 w 22"/>
                  <a:gd name="T21" fmla="*/ 22 h 45"/>
                  <a:gd name="T22" fmla="*/ 17 w 22"/>
                  <a:gd name="T23" fmla="*/ 21 h 45"/>
                  <a:gd name="T24" fmla="*/ 18 w 22"/>
                  <a:gd name="T25" fmla="*/ 19 h 45"/>
                  <a:gd name="T26" fmla="*/ 18 w 22"/>
                  <a:gd name="T27" fmla="*/ 17 h 45"/>
                  <a:gd name="T28" fmla="*/ 18 w 22"/>
                  <a:gd name="T29" fmla="*/ 15 h 45"/>
                  <a:gd name="T30" fmla="*/ 18 w 22"/>
                  <a:gd name="T31" fmla="*/ 14 h 45"/>
                  <a:gd name="T32" fmla="*/ 18 w 22"/>
                  <a:gd name="T33" fmla="*/ 13 h 45"/>
                  <a:gd name="T34" fmla="*/ 18 w 22"/>
                  <a:gd name="T35" fmla="*/ 11 h 45"/>
                  <a:gd name="T36" fmla="*/ 18 w 22"/>
                  <a:gd name="T37" fmla="*/ 10 h 45"/>
                  <a:gd name="T38" fmla="*/ 19 w 22"/>
                  <a:gd name="T39" fmla="*/ 8 h 45"/>
                  <a:gd name="T40" fmla="*/ 22 w 22"/>
                  <a:gd name="T41" fmla="*/ 5 h 45"/>
                  <a:gd name="T42" fmla="*/ 20 w 22"/>
                  <a:gd name="T43" fmla="*/ 2 h 45"/>
                  <a:gd name="T44" fmla="*/ 20 w 22"/>
                  <a:gd name="T45" fmla="*/ 2 h 45"/>
                  <a:gd name="T46" fmla="*/ 18 w 22"/>
                  <a:gd name="T47" fmla="*/ 1 h 45"/>
                  <a:gd name="T48" fmla="*/ 17 w 22"/>
                  <a:gd name="T49" fmla="*/ 1 h 45"/>
                  <a:gd name="T50" fmla="*/ 16 w 22"/>
                  <a:gd name="T51" fmla="*/ 1 h 45"/>
                  <a:gd name="T52" fmla="*/ 15 w 22"/>
                  <a:gd name="T53" fmla="*/ 2 h 45"/>
                  <a:gd name="T54" fmla="*/ 13 w 22"/>
                  <a:gd name="T55" fmla="*/ 3 h 45"/>
                  <a:gd name="T56" fmla="*/ 12 w 22"/>
                  <a:gd name="T57" fmla="*/ 2 h 45"/>
                  <a:gd name="T58" fmla="*/ 10 w 22"/>
                  <a:gd name="T59" fmla="*/ 3 h 45"/>
                  <a:gd name="T60" fmla="*/ 10 w 22"/>
                  <a:gd name="T61" fmla="*/ 1 h 45"/>
                  <a:gd name="T62" fmla="*/ 9 w 22"/>
                  <a:gd name="T63" fmla="*/ 0 h 45"/>
                  <a:gd name="T64" fmla="*/ 4 w 22"/>
                  <a:gd name="T65" fmla="*/ 2 h 45"/>
                  <a:gd name="T66" fmla="*/ 5 w 22"/>
                  <a:gd name="T67" fmla="*/ 4 h 45"/>
                  <a:gd name="T68" fmla="*/ 5 w 22"/>
                  <a:gd name="T69" fmla="*/ 7 h 45"/>
                  <a:gd name="T70" fmla="*/ 6 w 22"/>
                  <a:gd name="T71" fmla="*/ 13 h 45"/>
                  <a:gd name="T72" fmla="*/ 3 w 22"/>
                  <a:gd name="T73" fmla="*/ 22 h 45"/>
                  <a:gd name="T74" fmla="*/ 1 w 22"/>
                  <a:gd name="T75" fmla="*/ 25 h 45"/>
                  <a:gd name="T76" fmla="*/ 1 w 22"/>
                  <a:gd name="T77" fmla="*/ 30 h 45"/>
                  <a:gd name="T78" fmla="*/ 2 w 22"/>
                  <a:gd name="T79" fmla="*/ 33 h 45"/>
                  <a:gd name="T80" fmla="*/ 5 w 22"/>
                  <a:gd name="T81" fmla="*/ 33 h 45"/>
                  <a:gd name="T82" fmla="*/ 5 w 22"/>
                  <a:gd name="T83" fmla="*/ 41 h 45"/>
                  <a:gd name="T84" fmla="*/ 4 w 22"/>
                  <a:gd name="T85" fmla="*/ 45 h 45"/>
                  <a:gd name="T86" fmla="*/ 8 w 22"/>
                  <a:gd name="T87" fmla="*/ 44 h 45"/>
                  <a:gd name="T88" fmla="*/ 12 w 22"/>
                  <a:gd name="T89" fmla="*/ 44 h 45"/>
                  <a:gd name="T90" fmla="*/ 17 w 22"/>
                  <a:gd name="T91"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45">
                    <a:moveTo>
                      <a:pt x="14" y="43"/>
                    </a:moveTo>
                    <a:cubicBezTo>
                      <a:pt x="14" y="42"/>
                      <a:pt x="14" y="41"/>
                      <a:pt x="14" y="41"/>
                    </a:cubicBezTo>
                    <a:cubicBezTo>
                      <a:pt x="14" y="40"/>
                      <a:pt x="14" y="40"/>
                      <a:pt x="14" y="39"/>
                    </a:cubicBezTo>
                    <a:cubicBezTo>
                      <a:pt x="14" y="39"/>
                      <a:pt x="14" y="38"/>
                      <a:pt x="15" y="38"/>
                    </a:cubicBezTo>
                    <a:cubicBezTo>
                      <a:pt x="15" y="37"/>
                      <a:pt x="15" y="36"/>
                      <a:pt x="15" y="36"/>
                    </a:cubicBezTo>
                    <a:cubicBezTo>
                      <a:pt x="16" y="36"/>
                      <a:pt x="17" y="36"/>
                      <a:pt x="17" y="35"/>
                    </a:cubicBezTo>
                    <a:cubicBezTo>
                      <a:pt x="17" y="35"/>
                      <a:pt x="18" y="34"/>
                      <a:pt x="17" y="34"/>
                    </a:cubicBezTo>
                    <a:cubicBezTo>
                      <a:pt x="17" y="34"/>
                      <a:pt x="17" y="34"/>
                      <a:pt x="17" y="34"/>
                    </a:cubicBezTo>
                    <a:cubicBezTo>
                      <a:pt x="16" y="35"/>
                      <a:pt x="16" y="34"/>
                      <a:pt x="15" y="33"/>
                    </a:cubicBezTo>
                    <a:cubicBezTo>
                      <a:pt x="15" y="33"/>
                      <a:pt x="15" y="32"/>
                      <a:pt x="15" y="32"/>
                    </a:cubicBezTo>
                    <a:cubicBezTo>
                      <a:pt x="15" y="31"/>
                      <a:pt x="15" y="31"/>
                      <a:pt x="15" y="31"/>
                    </a:cubicBezTo>
                    <a:cubicBezTo>
                      <a:pt x="15" y="31"/>
                      <a:pt x="15" y="31"/>
                      <a:pt x="15" y="30"/>
                    </a:cubicBezTo>
                    <a:cubicBezTo>
                      <a:pt x="15" y="29"/>
                      <a:pt x="16" y="29"/>
                      <a:pt x="16" y="29"/>
                    </a:cubicBezTo>
                    <a:cubicBezTo>
                      <a:pt x="17" y="29"/>
                      <a:pt x="17" y="28"/>
                      <a:pt x="17" y="28"/>
                    </a:cubicBezTo>
                    <a:cubicBezTo>
                      <a:pt x="17" y="27"/>
                      <a:pt x="17" y="27"/>
                      <a:pt x="17" y="27"/>
                    </a:cubicBezTo>
                    <a:cubicBezTo>
                      <a:pt x="17" y="26"/>
                      <a:pt x="17" y="27"/>
                      <a:pt x="16" y="27"/>
                    </a:cubicBezTo>
                    <a:cubicBezTo>
                      <a:pt x="16" y="26"/>
                      <a:pt x="16" y="27"/>
                      <a:pt x="16" y="26"/>
                    </a:cubicBezTo>
                    <a:cubicBezTo>
                      <a:pt x="16" y="26"/>
                      <a:pt x="15" y="26"/>
                      <a:pt x="15" y="26"/>
                    </a:cubicBezTo>
                    <a:cubicBezTo>
                      <a:pt x="15" y="25"/>
                      <a:pt x="15" y="25"/>
                      <a:pt x="15" y="25"/>
                    </a:cubicBezTo>
                    <a:cubicBezTo>
                      <a:pt x="15" y="25"/>
                      <a:pt x="15" y="24"/>
                      <a:pt x="15" y="24"/>
                    </a:cubicBezTo>
                    <a:cubicBezTo>
                      <a:pt x="15" y="24"/>
                      <a:pt x="15" y="24"/>
                      <a:pt x="15" y="24"/>
                    </a:cubicBezTo>
                    <a:cubicBezTo>
                      <a:pt x="15" y="23"/>
                      <a:pt x="13" y="22"/>
                      <a:pt x="14" y="22"/>
                    </a:cubicBezTo>
                    <a:cubicBezTo>
                      <a:pt x="14" y="21"/>
                      <a:pt x="16" y="22"/>
                      <a:pt x="17" y="21"/>
                    </a:cubicBezTo>
                    <a:cubicBezTo>
                      <a:pt x="17" y="21"/>
                      <a:pt x="17" y="21"/>
                      <a:pt x="17" y="21"/>
                    </a:cubicBezTo>
                    <a:cubicBezTo>
                      <a:pt x="17" y="20"/>
                      <a:pt x="17" y="20"/>
                      <a:pt x="18" y="20"/>
                    </a:cubicBezTo>
                    <a:cubicBezTo>
                      <a:pt x="18" y="20"/>
                      <a:pt x="18" y="19"/>
                      <a:pt x="18" y="19"/>
                    </a:cubicBezTo>
                    <a:cubicBezTo>
                      <a:pt x="18" y="18"/>
                      <a:pt x="17" y="18"/>
                      <a:pt x="17" y="17"/>
                    </a:cubicBezTo>
                    <a:cubicBezTo>
                      <a:pt x="17" y="17"/>
                      <a:pt x="17" y="17"/>
                      <a:pt x="18" y="17"/>
                    </a:cubicBezTo>
                    <a:cubicBezTo>
                      <a:pt x="18" y="16"/>
                      <a:pt x="18" y="16"/>
                      <a:pt x="18" y="16"/>
                    </a:cubicBezTo>
                    <a:cubicBezTo>
                      <a:pt x="18" y="16"/>
                      <a:pt x="18" y="16"/>
                      <a:pt x="18" y="15"/>
                    </a:cubicBezTo>
                    <a:cubicBezTo>
                      <a:pt x="18" y="15"/>
                      <a:pt x="18" y="15"/>
                      <a:pt x="18" y="15"/>
                    </a:cubicBezTo>
                    <a:cubicBezTo>
                      <a:pt x="18" y="14"/>
                      <a:pt x="18" y="14"/>
                      <a:pt x="18" y="14"/>
                    </a:cubicBezTo>
                    <a:cubicBezTo>
                      <a:pt x="18" y="14"/>
                      <a:pt x="18" y="14"/>
                      <a:pt x="18" y="14"/>
                    </a:cubicBezTo>
                    <a:cubicBezTo>
                      <a:pt x="18" y="13"/>
                      <a:pt x="18" y="13"/>
                      <a:pt x="18" y="13"/>
                    </a:cubicBezTo>
                    <a:cubicBezTo>
                      <a:pt x="18" y="13"/>
                      <a:pt x="18" y="13"/>
                      <a:pt x="18" y="13"/>
                    </a:cubicBezTo>
                    <a:cubicBezTo>
                      <a:pt x="18" y="12"/>
                      <a:pt x="18" y="11"/>
                      <a:pt x="18" y="11"/>
                    </a:cubicBezTo>
                    <a:cubicBezTo>
                      <a:pt x="18" y="11"/>
                      <a:pt x="17" y="10"/>
                      <a:pt x="18" y="10"/>
                    </a:cubicBezTo>
                    <a:cubicBezTo>
                      <a:pt x="18" y="9"/>
                      <a:pt x="18" y="10"/>
                      <a:pt x="18" y="10"/>
                    </a:cubicBezTo>
                    <a:cubicBezTo>
                      <a:pt x="19" y="9"/>
                      <a:pt x="18" y="9"/>
                      <a:pt x="19" y="9"/>
                    </a:cubicBezTo>
                    <a:cubicBezTo>
                      <a:pt x="19" y="9"/>
                      <a:pt x="19" y="8"/>
                      <a:pt x="19" y="8"/>
                    </a:cubicBezTo>
                    <a:cubicBezTo>
                      <a:pt x="20" y="7"/>
                      <a:pt x="21" y="7"/>
                      <a:pt x="21" y="7"/>
                    </a:cubicBezTo>
                    <a:cubicBezTo>
                      <a:pt x="22" y="6"/>
                      <a:pt x="22" y="5"/>
                      <a:pt x="22" y="5"/>
                    </a:cubicBezTo>
                    <a:cubicBezTo>
                      <a:pt x="22" y="3"/>
                      <a:pt x="20" y="5"/>
                      <a:pt x="20" y="4"/>
                    </a:cubicBezTo>
                    <a:cubicBezTo>
                      <a:pt x="20" y="3"/>
                      <a:pt x="20" y="3"/>
                      <a:pt x="20" y="2"/>
                    </a:cubicBezTo>
                    <a:cubicBezTo>
                      <a:pt x="20" y="2"/>
                      <a:pt x="20" y="1"/>
                      <a:pt x="20" y="1"/>
                    </a:cubicBezTo>
                    <a:cubicBezTo>
                      <a:pt x="20" y="1"/>
                      <a:pt x="20" y="2"/>
                      <a:pt x="20" y="2"/>
                    </a:cubicBezTo>
                    <a:cubicBezTo>
                      <a:pt x="19" y="2"/>
                      <a:pt x="19" y="2"/>
                      <a:pt x="19" y="1"/>
                    </a:cubicBezTo>
                    <a:cubicBezTo>
                      <a:pt x="19" y="1"/>
                      <a:pt x="18" y="1"/>
                      <a:pt x="18" y="1"/>
                    </a:cubicBezTo>
                    <a:cubicBezTo>
                      <a:pt x="18" y="1"/>
                      <a:pt x="18" y="1"/>
                      <a:pt x="18" y="1"/>
                    </a:cubicBezTo>
                    <a:cubicBezTo>
                      <a:pt x="17" y="1"/>
                      <a:pt x="17" y="1"/>
                      <a:pt x="17" y="1"/>
                    </a:cubicBezTo>
                    <a:cubicBezTo>
                      <a:pt x="17" y="1"/>
                      <a:pt x="17" y="1"/>
                      <a:pt x="17" y="1"/>
                    </a:cubicBezTo>
                    <a:cubicBezTo>
                      <a:pt x="17" y="1"/>
                      <a:pt x="16" y="1"/>
                      <a:pt x="16" y="1"/>
                    </a:cubicBezTo>
                    <a:cubicBezTo>
                      <a:pt x="16" y="1"/>
                      <a:pt x="16" y="2"/>
                      <a:pt x="16" y="2"/>
                    </a:cubicBezTo>
                    <a:cubicBezTo>
                      <a:pt x="16" y="2"/>
                      <a:pt x="15" y="2"/>
                      <a:pt x="15" y="2"/>
                    </a:cubicBezTo>
                    <a:cubicBezTo>
                      <a:pt x="15" y="2"/>
                      <a:pt x="14" y="3"/>
                      <a:pt x="14" y="3"/>
                    </a:cubicBezTo>
                    <a:cubicBezTo>
                      <a:pt x="14" y="3"/>
                      <a:pt x="13" y="2"/>
                      <a:pt x="13" y="3"/>
                    </a:cubicBezTo>
                    <a:cubicBezTo>
                      <a:pt x="13" y="3"/>
                      <a:pt x="13" y="2"/>
                      <a:pt x="13" y="2"/>
                    </a:cubicBezTo>
                    <a:cubicBezTo>
                      <a:pt x="13" y="2"/>
                      <a:pt x="12" y="2"/>
                      <a:pt x="12" y="2"/>
                    </a:cubicBezTo>
                    <a:cubicBezTo>
                      <a:pt x="12" y="3"/>
                      <a:pt x="11" y="2"/>
                      <a:pt x="11" y="2"/>
                    </a:cubicBezTo>
                    <a:cubicBezTo>
                      <a:pt x="11" y="2"/>
                      <a:pt x="10" y="3"/>
                      <a:pt x="10" y="3"/>
                    </a:cubicBezTo>
                    <a:cubicBezTo>
                      <a:pt x="9" y="3"/>
                      <a:pt x="9" y="3"/>
                      <a:pt x="9" y="2"/>
                    </a:cubicBezTo>
                    <a:cubicBezTo>
                      <a:pt x="9" y="2"/>
                      <a:pt x="9" y="1"/>
                      <a:pt x="10" y="1"/>
                    </a:cubicBezTo>
                    <a:cubicBezTo>
                      <a:pt x="10" y="0"/>
                      <a:pt x="9" y="1"/>
                      <a:pt x="9" y="0"/>
                    </a:cubicBezTo>
                    <a:cubicBezTo>
                      <a:pt x="9" y="0"/>
                      <a:pt x="9" y="0"/>
                      <a:pt x="9" y="0"/>
                    </a:cubicBezTo>
                    <a:cubicBezTo>
                      <a:pt x="8" y="0"/>
                      <a:pt x="8" y="0"/>
                      <a:pt x="7" y="0"/>
                    </a:cubicBezTo>
                    <a:cubicBezTo>
                      <a:pt x="6" y="0"/>
                      <a:pt x="5" y="1"/>
                      <a:pt x="4" y="2"/>
                    </a:cubicBezTo>
                    <a:cubicBezTo>
                      <a:pt x="4" y="2"/>
                      <a:pt x="4" y="3"/>
                      <a:pt x="4" y="3"/>
                    </a:cubicBezTo>
                    <a:cubicBezTo>
                      <a:pt x="5" y="3"/>
                      <a:pt x="5" y="3"/>
                      <a:pt x="5" y="4"/>
                    </a:cubicBezTo>
                    <a:cubicBezTo>
                      <a:pt x="5" y="4"/>
                      <a:pt x="5" y="4"/>
                      <a:pt x="5" y="5"/>
                    </a:cubicBezTo>
                    <a:cubicBezTo>
                      <a:pt x="5" y="6"/>
                      <a:pt x="5" y="7"/>
                      <a:pt x="5" y="7"/>
                    </a:cubicBezTo>
                    <a:cubicBezTo>
                      <a:pt x="6" y="8"/>
                      <a:pt x="6" y="9"/>
                      <a:pt x="6" y="10"/>
                    </a:cubicBezTo>
                    <a:cubicBezTo>
                      <a:pt x="6" y="11"/>
                      <a:pt x="6" y="12"/>
                      <a:pt x="6" y="13"/>
                    </a:cubicBezTo>
                    <a:cubicBezTo>
                      <a:pt x="5" y="14"/>
                      <a:pt x="4" y="16"/>
                      <a:pt x="4" y="17"/>
                    </a:cubicBezTo>
                    <a:cubicBezTo>
                      <a:pt x="4" y="19"/>
                      <a:pt x="3" y="21"/>
                      <a:pt x="3" y="22"/>
                    </a:cubicBezTo>
                    <a:cubicBezTo>
                      <a:pt x="3" y="23"/>
                      <a:pt x="2" y="23"/>
                      <a:pt x="2" y="24"/>
                    </a:cubicBezTo>
                    <a:cubicBezTo>
                      <a:pt x="1" y="24"/>
                      <a:pt x="1" y="24"/>
                      <a:pt x="1" y="25"/>
                    </a:cubicBezTo>
                    <a:cubicBezTo>
                      <a:pt x="1" y="26"/>
                      <a:pt x="1" y="27"/>
                      <a:pt x="1" y="28"/>
                    </a:cubicBezTo>
                    <a:cubicBezTo>
                      <a:pt x="1" y="28"/>
                      <a:pt x="0" y="29"/>
                      <a:pt x="1" y="30"/>
                    </a:cubicBezTo>
                    <a:cubicBezTo>
                      <a:pt x="1" y="30"/>
                      <a:pt x="1" y="30"/>
                      <a:pt x="2" y="31"/>
                    </a:cubicBezTo>
                    <a:cubicBezTo>
                      <a:pt x="3" y="31"/>
                      <a:pt x="2" y="32"/>
                      <a:pt x="2" y="33"/>
                    </a:cubicBezTo>
                    <a:cubicBezTo>
                      <a:pt x="3" y="33"/>
                      <a:pt x="3" y="32"/>
                      <a:pt x="4" y="32"/>
                    </a:cubicBezTo>
                    <a:cubicBezTo>
                      <a:pt x="4" y="32"/>
                      <a:pt x="5" y="33"/>
                      <a:pt x="5" y="33"/>
                    </a:cubicBezTo>
                    <a:cubicBezTo>
                      <a:pt x="5" y="35"/>
                      <a:pt x="4" y="36"/>
                      <a:pt x="5" y="37"/>
                    </a:cubicBezTo>
                    <a:cubicBezTo>
                      <a:pt x="5" y="38"/>
                      <a:pt x="5" y="40"/>
                      <a:pt x="5" y="41"/>
                    </a:cubicBezTo>
                    <a:cubicBezTo>
                      <a:pt x="4" y="42"/>
                      <a:pt x="4" y="43"/>
                      <a:pt x="4" y="43"/>
                    </a:cubicBezTo>
                    <a:cubicBezTo>
                      <a:pt x="4" y="44"/>
                      <a:pt x="3" y="44"/>
                      <a:pt x="4" y="45"/>
                    </a:cubicBezTo>
                    <a:cubicBezTo>
                      <a:pt x="5" y="44"/>
                      <a:pt x="6" y="44"/>
                      <a:pt x="7" y="44"/>
                    </a:cubicBezTo>
                    <a:cubicBezTo>
                      <a:pt x="7" y="44"/>
                      <a:pt x="8" y="44"/>
                      <a:pt x="8" y="44"/>
                    </a:cubicBezTo>
                    <a:cubicBezTo>
                      <a:pt x="9" y="44"/>
                      <a:pt x="9" y="44"/>
                      <a:pt x="10" y="44"/>
                    </a:cubicBezTo>
                    <a:cubicBezTo>
                      <a:pt x="11" y="45"/>
                      <a:pt x="11" y="45"/>
                      <a:pt x="12" y="44"/>
                    </a:cubicBezTo>
                    <a:cubicBezTo>
                      <a:pt x="13" y="44"/>
                      <a:pt x="13" y="43"/>
                      <a:pt x="14" y="43"/>
                    </a:cubicBezTo>
                    <a:cubicBezTo>
                      <a:pt x="15" y="43"/>
                      <a:pt x="16" y="43"/>
                      <a:pt x="17" y="43"/>
                    </a:cubicBezTo>
                    <a:cubicBezTo>
                      <a:pt x="16" y="43"/>
                      <a:pt x="15" y="43"/>
                      <a:pt x="14"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2" name="Freeform 797">
                <a:extLst>
                  <a:ext uri="{FF2B5EF4-FFF2-40B4-BE49-F238E27FC236}">
                    <a16:creationId xmlns:a16="http://schemas.microsoft.com/office/drawing/2014/main" id="{AB483446-6195-E852-5FFA-85833C635343}"/>
                  </a:ext>
                </a:extLst>
              </p:cNvPr>
              <p:cNvSpPr>
                <a:spLocks/>
              </p:cNvSpPr>
              <p:nvPr/>
            </p:nvSpPr>
            <p:spPr bwMode="auto">
              <a:xfrm>
                <a:off x="6129338" y="3321050"/>
                <a:ext cx="95250" cy="120650"/>
              </a:xfrm>
              <a:custGeom>
                <a:avLst/>
                <a:gdLst>
                  <a:gd name="T0" fmla="*/ 12 w 23"/>
                  <a:gd name="T1" fmla="*/ 28 h 29"/>
                  <a:gd name="T2" fmla="*/ 14 w 23"/>
                  <a:gd name="T3" fmla="*/ 25 h 29"/>
                  <a:gd name="T4" fmla="*/ 15 w 23"/>
                  <a:gd name="T5" fmla="*/ 24 h 29"/>
                  <a:gd name="T6" fmla="*/ 15 w 23"/>
                  <a:gd name="T7" fmla="*/ 22 h 29"/>
                  <a:gd name="T8" fmla="*/ 17 w 23"/>
                  <a:gd name="T9" fmla="*/ 19 h 29"/>
                  <a:gd name="T10" fmla="*/ 18 w 23"/>
                  <a:gd name="T11" fmla="*/ 20 h 29"/>
                  <a:gd name="T12" fmla="*/ 20 w 23"/>
                  <a:gd name="T13" fmla="*/ 21 h 29"/>
                  <a:gd name="T14" fmla="*/ 21 w 23"/>
                  <a:gd name="T15" fmla="*/ 21 h 29"/>
                  <a:gd name="T16" fmla="*/ 22 w 23"/>
                  <a:gd name="T17" fmla="*/ 19 h 29"/>
                  <a:gd name="T18" fmla="*/ 21 w 23"/>
                  <a:gd name="T19" fmla="*/ 16 h 29"/>
                  <a:gd name="T20" fmla="*/ 20 w 23"/>
                  <a:gd name="T21" fmla="*/ 14 h 29"/>
                  <a:gd name="T22" fmla="*/ 19 w 23"/>
                  <a:gd name="T23" fmla="*/ 13 h 29"/>
                  <a:gd name="T24" fmla="*/ 19 w 23"/>
                  <a:gd name="T25" fmla="*/ 12 h 29"/>
                  <a:gd name="T26" fmla="*/ 17 w 23"/>
                  <a:gd name="T27" fmla="*/ 10 h 29"/>
                  <a:gd name="T28" fmla="*/ 17 w 23"/>
                  <a:gd name="T29" fmla="*/ 8 h 29"/>
                  <a:gd name="T30" fmla="*/ 17 w 23"/>
                  <a:gd name="T31" fmla="*/ 7 h 29"/>
                  <a:gd name="T32" fmla="*/ 16 w 23"/>
                  <a:gd name="T33" fmla="*/ 5 h 29"/>
                  <a:gd name="T34" fmla="*/ 14 w 23"/>
                  <a:gd name="T35" fmla="*/ 4 h 29"/>
                  <a:gd name="T36" fmla="*/ 12 w 23"/>
                  <a:gd name="T37" fmla="*/ 3 h 29"/>
                  <a:gd name="T38" fmla="*/ 11 w 23"/>
                  <a:gd name="T39" fmla="*/ 3 h 29"/>
                  <a:gd name="T40" fmla="*/ 10 w 23"/>
                  <a:gd name="T41" fmla="*/ 2 h 29"/>
                  <a:gd name="T42" fmla="*/ 10 w 23"/>
                  <a:gd name="T43" fmla="*/ 2 h 29"/>
                  <a:gd name="T44" fmla="*/ 9 w 23"/>
                  <a:gd name="T45" fmla="*/ 1 h 29"/>
                  <a:gd name="T46" fmla="*/ 7 w 23"/>
                  <a:gd name="T47" fmla="*/ 0 h 29"/>
                  <a:gd name="T48" fmla="*/ 5 w 23"/>
                  <a:gd name="T49" fmla="*/ 0 h 29"/>
                  <a:gd name="T50" fmla="*/ 4 w 23"/>
                  <a:gd name="T51" fmla="*/ 1 h 29"/>
                  <a:gd name="T52" fmla="*/ 2 w 23"/>
                  <a:gd name="T53" fmla="*/ 1 h 29"/>
                  <a:gd name="T54" fmla="*/ 0 w 23"/>
                  <a:gd name="T55" fmla="*/ 2 h 29"/>
                  <a:gd name="T56" fmla="*/ 4 w 23"/>
                  <a:gd name="T57" fmla="*/ 7 h 29"/>
                  <a:gd name="T58" fmla="*/ 6 w 23"/>
                  <a:gd name="T59" fmla="*/ 10 h 29"/>
                  <a:gd name="T60" fmla="*/ 8 w 23"/>
                  <a:gd name="T61" fmla="*/ 13 h 29"/>
                  <a:gd name="T62" fmla="*/ 10 w 23"/>
                  <a:gd name="T63" fmla="*/ 19 h 29"/>
                  <a:gd name="T64" fmla="*/ 10 w 23"/>
                  <a:gd name="T65" fmla="*/ 22 h 29"/>
                  <a:gd name="T66" fmla="*/ 10 w 23"/>
                  <a:gd name="T67" fmla="*/ 28 h 29"/>
                  <a:gd name="T68" fmla="*/ 12 w 2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9">
                    <a:moveTo>
                      <a:pt x="12" y="29"/>
                    </a:moveTo>
                    <a:cubicBezTo>
                      <a:pt x="13" y="29"/>
                      <a:pt x="12" y="28"/>
                      <a:pt x="12" y="28"/>
                    </a:cubicBezTo>
                    <a:cubicBezTo>
                      <a:pt x="13" y="28"/>
                      <a:pt x="13" y="27"/>
                      <a:pt x="13" y="26"/>
                    </a:cubicBezTo>
                    <a:cubicBezTo>
                      <a:pt x="14" y="26"/>
                      <a:pt x="14" y="25"/>
                      <a:pt x="14" y="25"/>
                    </a:cubicBezTo>
                    <a:cubicBezTo>
                      <a:pt x="14" y="25"/>
                      <a:pt x="15" y="25"/>
                      <a:pt x="15" y="25"/>
                    </a:cubicBezTo>
                    <a:cubicBezTo>
                      <a:pt x="15" y="25"/>
                      <a:pt x="15" y="25"/>
                      <a:pt x="15" y="24"/>
                    </a:cubicBezTo>
                    <a:cubicBezTo>
                      <a:pt x="15" y="24"/>
                      <a:pt x="16" y="23"/>
                      <a:pt x="16" y="23"/>
                    </a:cubicBezTo>
                    <a:cubicBezTo>
                      <a:pt x="16" y="23"/>
                      <a:pt x="15" y="23"/>
                      <a:pt x="15" y="22"/>
                    </a:cubicBezTo>
                    <a:cubicBezTo>
                      <a:pt x="15" y="22"/>
                      <a:pt x="15" y="21"/>
                      <a:pt x="15" y="20"/>
                    </a:cubicBezTo>
                    <a:cubicBezTo>
                      <a:pt x="15" y="20"/>
                      <a:pt x="16" y="19"/>
                      <a:pt x="17" y="19"/>
                    </a:cubicBezTo>
                    <a:cubicBezTo>
                      <a:pt x="17" y="20"/>
                      <a:pt x="17" y="20"/>
                      <a:pt x="17" y="21"/>
                    </a:cubicBezTo>
                    <a:cubicBezTo>
                      <a:pt x="17" y="21"/>
                      <a:pt x="18" y="20"/>
                      <a:pt x="18" y="20"/>
                    </a:cubicBezTo>
                    <a:cubicBezTo>
                      <a:pt x="18" y="21"/>
                      <a:pt x="19" y="20"/>
                      <a:pt x="19" y="20"/>
                    </a:cubicBezTo>
                    <a:cubicBezTo>
                      <a:pt x="19" y="20"/>
                      <a:pt x="20" y="21"/>
                      <a:pt x="20" y="21"/>
                    </a:cubicBezTo>
                    <a:cubicBezTo>
                      <a:pt x="20" y="21"/>
                      <a:pt x="21" y="20"/>
                      <a:pt x="21" y="20"/>
                    </a:cubicBezTo>
                    <a:cubicBezTo>
                      <a:pt x="21" y="20"/>
                      <a:pt x="21" y="21"/>
                      <a:pt x="21" y="21"/>
                    </a:cubicBezTo>
                    <a:cubicBezTo>
                      <a:pt x="22" y="21"/>
                      <a:pt x="23" y="21"/>
                      <a:pt x="23" y="21"/>
                    </a:cubicBezTo>
                    <a:cubicBezTo>
                      <a:pt x="23" y="20"/>
                      <a:pt x="22" y="20"/>
                      <a:pt x="22" y="19"/>
                    </a:cubicBezTo>
                    <a:cubicBezTo>
                      <a:pt x="22" y="19"/>
                      <a:pt x="22" y="17"/>
                      <a:pt x="22" y="16"/>
                    </a:cubicBezTo>
                    <a:cubicBezTo>
                      <a:pt x="21" y="16"/>
                      <a:pt x="21" y="16"/>
                      <a:pt x="21" y="16"/>
                    </a:cubicBezTo>
                    <a:cubicBezTo>
                      <a:pt x="20" y="16"/>
                      <a:pt x="20" y="15"/>
                      <a:pt x="20" y="15"/>
                    </a:cubicBezTo>
                    <a:cubicBezTo>
                      <a:pt x="20" y="15"/>
                      <a:pt x="20" y="15"/>
                      <a:pt x="20" y="14"/>
                    </a:cubicBezTo>
                    <a:cubicBezTo>
                      <a:pt x="19" y="14"/>
                      <a:pt x="19" y="14"/>
                      <a:pt x="19" y="14"/>
                    </a:cubicBezTo>
                    <a:cubicBezTo>
                      <a:pt x="19" y="14"/>
                      <a:pt x="19" y="14"/>
                      <a:pt x="19" y="13"/>
                    </a:cubicBezTo>
                    <a:cubicBezTo>
                      <a:pt x="19" y="13"/>
                      <a:pt x="19" y="12"/>
                      <a:pt x="19" y="12"/>
                    </a:cubicBezTo>
                    <a:cubicBezTo>
                      <a:pt x="19" y="11"/>
                      <a:pt x="19" y="12"/>
                      <a:pt x="19" y="12"/>
                    </a:cubicBezTo>
                    <a:cubicBezTo>
                      <a:pt x="18" y="12"/>
                      <a:pt x="18" y="12"/>
                      <a:pt x="18" y="11"/>
                    </a:cubicBezTo>
                    <a:cubicBezTo>
                      <a:pt x="18" y="11"/>
                      <a:pt x="17" y="11"/>
                      <a:pt x="17" y="10"/>
                    </a:cubicBezTo>
                    <a:cubicBezTo>
                      <a:pt x="17" y="10"/>
                      <a:pt x="17" y="10"/>
                      <a:pt x="16" y="10"/>
                    </a:cubicBezTo>
                    <a:cubicBezTo>
                      <a:pt x="16" y="9"/>
                      <a:pt x="17" y="8"/>
                      <a:pt x="17" y="8"/>
                    </a:cubicBezTo>
                    <a:cubicBezTo>
                      <a:pt x="17" y="8"/>
                      <a:pt x="17" y="7"/>
                      <a:pt x="17" y="7"/>
                    </a:cubicBezTo>
                    <a:cubicBezTo>
                      <a:pt x="17" y="7"/>
                      <a:pt x="17" y="7"/>
                      <a:pt x="17" y="7"/>
                    </a:cubicBezTo>
                    <a:cubicBezTo>
                      <a:pt x="17" y="6"/>
                      <a:pt x="17" y="5"/>
                      <a:pt x="17" y="5"/>
                    </a:cubicBezTo>
                    <a:cubicBezTo>
                      <a:pt x="16" y="5"/>
                      <a:pt x="16" y="5"/>
                      <a:pt x="16" y="5"/>
                    </a:cubicBezTo>
                    <a:cubicBezTo>
                      <a:pt x="15" y="5"/>
                      <a:pt x="15" y="5"/>
                      <a:pt x="15" y="5"/>
                    </a:cubicBezTo>
                    <a:cubicBezTo>
                      <a:pt x="15" y="4"/>
                      <a:pt x="14" y="4"/>
                      <a:pt x="14" y="4"/>
                    </a:cubicBezTo>
                    <a:cubicBezTo>
                      <a:pt x="14" y="4"/>
                      <a:pt x="13" y="3"/>
                      <a:pt x="13" y="3"/>
                    </a:cubicBezTo>
                    <a:cubicBezTo>
                      <a:pt x="13" y="3"/>
                      <a:pt x="12" y="3"/>
                      <a:pt x="12" y="3"/>
                    </a:cubicBezTo>
                    <a:cubicBezTo>
                      <a:pt x="12" y="4"/>
                      <a:pt x="12" y="4"/>
                      <a:pt x="12" y="4"/>
                    </a:cubicBezTo>
                    <a:cubicBezTo>
                      <a:pt x="12" y="4"/>
                      <a:pt x="12" y="3"/>
                      <a:pt x="11" y="3"/>
                    </a:cubicBezTo>
                    <a:cubicBezTo>
                      <a:pt x="11" y="3"/>
                      <a:pt x="11" y="3"/>
                      <a:pt x="11" y="2"/>
                    </a:cubicBezTo>
                    <a:cubicBezTo>
                      <a:pt x="11" y="2"/>
                      <a:pt x="10" y="3"/>
                      <a:pt x="10" y="2"/>
                    </a:cubicBezTo>
                    <a:cubicBezTo>
                      <a:pt x="10" y="2"/>
                      <a:pt x="10" y="2"/>
                      <a:pt x="10" y="2"/>
                    </a:cubicBezTo>
                    <a:cubicBezTo>
                      <a:pt x="10" y="2"/>
                      <a:pt x="10" y="2"/>
                      <a:pt x="10" y="2"/>
                    </a:cubicBezTo>
                    <a:cubicBezTo>
                      <a:pt x="9" y="2"/>
                      <a:pt x="10" y="2"/>
                      <a:pt x="9" y="2"/>
                    </a:cubicBezTo>
                    <a:cubicBezTo>
                      <a:pt x="9" y="1"/>
                      <a:pt x="9" y="1"/>
                      <a:pt x="9" y="1"/>
                    </a:cubicBezTo>
                    <a:cubicBezTo>
                      <a:pt x="8" y="1"/>
                      <a:pt x="8" y="1"/>
                      <a:pt x="7" y="0"/>
                    </a:cubicBezTo>
                    <a:cubicBezTo>
                      <a:pt x="7" y="0"/>
                      <a:pt x="7" y="0"/>
                      <a:pt x="7" y="0"/>
                    </a:cubicBezTo>
                    <a:cubicBezTo>
                      <a:pt x="7" y="0"/>
                      <a:pt x="6" y="0"/>
                      <a:pt x="6" y="0"/>
                    </a:cubicBezTo>
                    <a:cubicBezTo>
                      <a:pt x="6" y="0"/>
                      <a:pt x="6" y="0"/>
                      <a:pt x="5" y="0"/>
                    </a:cubicBezTo>
                    <a:cubicBezTo>
                      <a:pt x="5" y="0"/>
                      <a:pt x="5" y="0"/>
                      <a:pt x="4" y="0"/>
                    </a:cubicBezTo>
                    <a:cubicBezTo>
                      <a:pt x="4" y="0"/>
                      <a:pt x="4" y="1"/>
                      <a:pt x="4" y="1"/>
                    </a:cubicBezTo>
                    <a:cubicBezTo>
                      <a:pt x="3" y="1"/>
                      <a:pt x="3" y="1"/>
                      <a:pt x="2" y="1"/>
                    </a:cubicBezTo>
                    <a:cubicBezTo>
                      <a:pt x="2" y="1"/>
                      <a:pt x="2" y="1"/>
                      <a:pt x="2" y="1"/>
                    </a:cubicBezTo>
                    <a:cubicBezTo>
                      <a:pt x="2" y="1"/>
                      <a:pt x="2" y="1"/>
                      <a:pt x="1" y="1"/>
                    </a:cubicBezTo>
                    <a:cubicBezTo>
                      <a:pt x="1" y="1"/>
                      <a:pt x="1" y="1"/>
                      <a:pt x="0" y="2"/>
                    </a:cubicBezTo>
                    <a:cubicBezTo>
                      <a:pt x="1" y="2"/>
                      <a:pt x="3" y="4"/>
                      <a:pt x="3" y="5"/>
                    </a:cubicBezTo>
                    <a:cubicBezTo>
                      <a:pt x="3" y="5"/>
                      <a:pt x="3" y="6"/>
                      <a:pt x="4" y="7"/>
                    </a:cubicBezTo>
                    <a:cubicBezTo>
                      <a:pt x="4" y="7"/>
                      <a:pt x="4" y="8"/>
                      <a:pt x="5" y="9"/>
                    </a:cubicBezTo>
                    <a:cubicBezTo>
                      <a:pt x="5" y="9"/>
                      <a:pt x="5" y="9"/>
                      <a:pt x="6" y="10"/>
                    </a:cubicBezTo>
                    <a:cubicBezTo>
                      <a:pt x="6" y="10"/>
                      <a:pt x="6" y="11"/>
                      <a:pt x="6" y="11"/>
                    </a:cubicBezTo>
                    <a:cubicBezTo>
                      <a:pt x="7" y="12"/>
                      <a:pt x="7" y="12"/>
                      <a:pt x="8" y="13"/>
                    </a:cubicBezTo>
                    <a:cubicBezTo>
                      <a:pt x="8" y="14"/>
                      <a:pt x="9" y="14"/>
                      <a:pt x="9" y="15"/>
                    </a:cubicBezTo>
                    <a:cubicBezTo>
                      <a:pt x="10" y="16"/>
                      <a:pt x="11" y="17"/>
                      <a:pt x="10" y="19"/>
                    </a:cubicBezTo>
                    <a:cubicBezTo>
                      <a:pt x="10" y="19"/>
                      <a:pt x="11" y="20"/>
                      <a:pt x="10" y="21"/>
                    </a:cubicBezTo>
                    <a:cubicBezTo>
                      <a:pt x="10" y="21"/>
                      <a:pt x="10" y="22"/>
                      <a:pt x="10" y="22"/>
                    </a:cubicBezTo>
                    <a:cubicBezTo>
                      <a:pt x="10" y="23"/>
                      <a:pt x="10" y="25"/>
                      <a:pt x="10" y="26"/>
                    </a:cubicBezTo>
                    <a:cubicBezTo>
                      <a:pt x="10" y="27"/>
                      <a:pt x="10" y="27"/>
                      <a:pt x="10" y="28"/>
                    </a:cubicBezTo>
                    <a:cubicBezTo>
                      <a:pt x="9" y="29"/>
                      <a:pt x="9" y="29"/>
                      <a:pt x="10" y="29"/>
                    </a:cubicBezTo>
                    <a:cubicBezTo>
                      <a:pt x="11" y="29"/>
                      <a:pt x="11" y="29"/>
                      <a:pt x="12" y="29"/>
                    </a:cubicBezTo>
                    <a:cubicBezTo>
                      <a:pt x="12" y="29"/>
                      <a:pt x="12" y="29"/>
                      <a:pt x="12"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3" name="Freeform 798">
                <a:extLst>
                  <a:ext uri="{FF2B5EF4-FFF2-40B4-BE49-F238E27FC236}">
                    <a16:creationId xmlns:a16="http://schemas.microsoft.com/office/drawing/2014/main" id="{9FD6635D-8E08-06F9-744B-1AFEAD43E27A}"/>
                  </a:ext>
                </a:extLst>
              </p:cNvPr>
              <p:cNvSpPr>
                <a:spLocks/>
              </p:cNvSpPr>
              <p:nvPr/>
            </p:nvSpPr>
            <p:spPr bwMode="auto">
              <a:xfrm>
                <a:off x="5780088" y="3784600"/>
                <a:ext cx="3175" cy="3175"/>
              </a:xfrm>
              <a:custGeom>
                <a:avLst/>
                <a:gdLst>
                  <a:gd name="T0" fmla="*/ 0 w 1"/>
                  <a:gd name="T1" fmla="*/ 1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0 w 1"/>
                  <a:gd name="T51" fmla="*/ 1 h 1"/>
                  <a:gd name="T52" fmla="*/ 0 w 1"/>
                  <a:gd name="T53" fmla="*/ 1 h 1"/>
                  <a:gd name="T54" fmla="*/ 0 w 1"/>
                  <a:gd name="T55" fmla="*/ 1 h 1"/>
                  <a:gd name="T56" fmla="*/ 0 w 1"/>
                  <a:gd name="T57" fmla="*/ 1 h 1"/>
                  <a:gd name="T58" fmla="*/ 0 w 1"/>
                  <a:gd name="T59" fmla="*/ 1 h 1"/>
                  <a:gd name="T60" fmla="*/ 0 w 1"/>
                  <a:gd name="T6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 h="1">
                    <a:moveTo>
                      <a:pt x="0" y="1"/>
                    </a:move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4" name="Freeform 799">
                <a:extLst>
                  <a:ext uri="{FF2B5EF4-FFF2-40B4-BE49-F238E27FC236}">
                    <a16:creationId xmlns:a16="http://schemas.microsoft.com/office/drawing/2014/main" id="{ECAA19B4-9BF5-C4BD-832E-E0AA0118EA40}"/>
                  </a:ext>
                </a:extLst>
              </p:cNvPr>
              <p:cNvSpPr>
                <a:spLocks/>
              </p:cNvSpPr>
              <p:nvPr/>
            </p:nvSpPr>
            <p:spPr bwMode="auto">
              <a:xfrm>
                <a:off x="5783263" y="37877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5" name="Freeform 800">
                <a:extLst>
                  <a:ext uri="{FF2B5EF4-FFF2-40B4-BE49-F238E27FC236}">
                    <a16:creationId xmlns:a16="http://schemas.microsoft.com/office/drawing/2014/main" id="{E0405EF0-8470-5A83-9B6A-A5F0DDA589FC}"/>
                  </a:ext>
                </a:extLst>
              </p:cNvPr>
              <p:cNvSpPr>
                <a:spLocks/>
              </p:cNvSpPr>
              <p:nvPr/>
            </p:nvSpPr>
            <p:spPr bwMode="auto">
              <a:xfrm>
                <a:off x="5783263" y="3787775"/>
                <a:ext cx="9525" cy="7938"/>
              </a:xfrm>
              <a:custGeom>
                <a:avLst/>
                <a:gdLst>
                  <a:gd name="T0" fmla="*/ 1 w 2"/>
                  <a:gd name="T1" fmla="*/ 0 h 2"/>
                  <a:gd name="T2" fmla="*/ 1 w 2"/>
                  <a:gd name="T3" fmla="*/ 0 h 2"/>
                  <a:gd name="T4" fmla="*/ 1 w 2"/>
                  <a:gd name="T5" fmla="*/ 0 h 2"/>
                  <a:gd name="T6" fmla="*/ 1 w 2"/>
                  <a:gd name="T7" fmla="*/ 0 h 2"/>
                  <a:gd name="T8" fmla="*/ 1 w 2"/>
                  <a:gd name="T9" fmla="*/ 1 h 2"/>
                  <a:gd name="T10" fmla="*/ 1 w 2"/>
                  <a:gd name="T11" fmla="*/ 1 h 2"/>
                  <a:gd name="T12" fmla="*/ 1 w 2"/>
                  <a:gd name="T13" fmla="*/ 1 h 2"/>
                  <a:gd name="T14" fmla="*/ 1 w 2"/>
                  <a:gd name="T15" fmla="*/ 1 h 2"/>
                  <a:gd name="T16" fmla="*/ 1 w 2"/>
                  <a:gd name="T17" fmla="*/ 1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2 w 2"/>
                  <a:gd name="T33" fmla="*/ 2 h 2"/>
                  <a:gd name="T34" fmla="*/ 2 w 2"/>
                  <a:gd name="T35" fmla="*/ 1 h 2"/>
                  <a:gd name="T36" fmla="*/ 2 w 2"/>
                  <a:gd name="T37" fmla="*/ 1 h 2"/>
                  <a:gd name="T38" fmla="*/ 2 w 2"/>
                  <a:gd name="T39" fmla="*/ 1 h 2"/>
                  <a:gd name="T40" fmla="*/ 2 w 2"/>
                  <a:gd name="T41" fmla="*/ 1 h 2"/>
                  <a:gd name="T42" fmla="*/ 2 w 2"/>
                  <a:gd name="T43" fmla="*/ 1 h 2"/>
                  <a:gd name="T44" fmla="*/ 2 w 2"/>
                  <a:gd name="T45" fmla="*/ 2 h 2"/>
                  <a:gd name="T46" fmla="*/ 2 w 2"/>
                  <a:gd name="T47" fmla="*/ 2 h 2"/>
                  <a:gd name="T48" fmla="*/ 2 w 2"/>
                  <a:gd name="T49" fmla="*/ 2 h 2"/>
                  <a:gd name="T50" fmla="*/ 2 w 2"/>
                  <a:gd name="T51" fmla="*/ 2 h 2"/>
                  <a:gd name="T52" fmla="*/ 2 w 2"/>
                  <a:gd name="T53" fmla="*/ 2 h 2"/>
                  <a:gd name="T54" fmla="*/ 2 w 2"/>
                  <a:gd name="T55" fmla="*/ 2 h 2"/>
                  <a:gd name="T56" fmla="*/ 2 w 2"/>
                  <a:gd name="T57" fmla="*/ 2 h 2"/>
                  <a:gd name="T58" fmla="*/ 2 w 2"/>
                  <a:gd name="T59" fmla="*/ 2 h 2"/>
                  <a:gd name="T60" fmla="*/ 2 w 2"/>
                  <a:gd name="T61" fmla="*/ 2 h 2"/>
                  <a:gd name="T62" fmla="*/ 2 w 2"/>
                  <a:gd name="T63" fmla="*/ 2 h 2"/>
                  <a:gd name="T64" fmla="*/ 2 w 2"/>
                  <a:gd name="T65" fmla="*/ 2 h 2"/>
                  <a:gd name="T66" fmla="*/ 2 w 2"/>
                  <a:gd name="T67" fmla="*/ 2 h 2"/>
                  <a:gd name="T68" fmla="*/ 2 w 2"/>
                  <a:gd name="T69" fmla="*/ 2 h 2"/>
                  <a:gd name="T70" fmla="*/ 2 w 2"/>
                  <a:gd name="T71" fmla="*/ 2 h 2"/>
                  <a:gd name="T72" fmla="*/ 1 w 2"/>
                  <a:gd name="T73" fmla="*/ 2 h 2"/>
                  <a:gd name="T74" fmla="*/ 1 w 2"/>
                  <a:gd name="T75" fmla="*/ 2 h 2"/>
                  <a:gd name="T76" fmla="*/ 1 w 2"/>
                  <a:gd name="T77" fmla="*/ 2 h 2"/>
                  <a:gd name="T78" fmla="*/ 1 w 2"/>
                  <a:gd name="T79" fmla="*/ 2 h 2"/>
                  <a:gd name="T80" fmla="*/ 1 w 2"/>
                  <a:gd name="T81" fmla="*/ 2 h 2"/>
                  <a:gd name="T82" fmla="*/ 1 w 2"/>
                  <a:gd name="T83" fmla="*/ 2 h 2"/>
                  <a:gd name="T84" fmla="*/ 0 w 2"/>
                  <a:gd name="T85" fmla="*/ 2 h 2"/>
                  <a:gd name="T86" fmla="*/ 0 w 2"/>
                  <a:gd name="T87" fmla="*/ 1 h 2"/>
                  <a:gd name="T88" fmla="*/ 0 w 2"/>
                  <a:gd name="T89" fmla="*/ 1 h 2"/>
                  <a:gd name="T90" fmla="*/ 0 w 2"/>
                  <a:gd name="T91" fmla="*/ 1 h 2"/>
                  <a:gd name="T92" fmla="*/ 0 w 2"/>
                  <a:gd name="T93" fmla="*/ 1 h 2"/>
                  <a:gd name="T94" fmla="*/ 0 w 2"/>
                  <a:gd name="T95" fmla="*/ 1 h 2"/>
                  <a:gd name="T96" fmla="*/ 0 w 2"/>
                  <a:gd name="T97" fmla="*/ 1 h 2"/>
                  <a:gd name="T98" fmla="*/ 0 w 2"/>
                  <a:gd name="T99" fmla="*/ 1 h 2"/>
                  <a:gd name="T100" fmla="*/ 0 w 2"/>
                  <a:gd name="T101" fmla="*/ 1 h 2"/>
                  <a:gd name="T102" fmla="*/ 0 w 2"/>
                  <a:gd name="T103" fmla="*/ 0 h 2"/>
                  <a:gd name="T104" fmla="*/ 0 w 2"/>
                  <a:gd name="T10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 h="2">
                    <a:moveTo>
                      <a:pt x="0" y="0"/>
                    </a:moveTo>
                    <a:cubicBezTo>
                      <a:pt x="0" y="0"/>
                      <a:pt x="0" y="0"/>
                      <a:pt x="0" y="0"/>
                    </a:cubicBezTo>
                    <a:cubicBezTo>
                      <a:pt x="0" y="0"/>
                      <a:pt x="0" y="0"/>
                      <a:pt x="0" y="0"/>
                    </a:cubicBezTo>
                    <a:cubicBezTo>
                      <a:pt x="0" y="0"/>
                      <a:pt x="0" y="0"/>
                      <a:pt x="1" y="0"/>
                    </a:cubicBezTo>
                    <a:cubicBezTo>
                      <a:pt x="1" y="0"/>
                      <a:pt x="0" y="0"/>
                      <a:pt x="0"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6" name="Freeform 801">
                <a:extLst>
                  <a:ext uri="{FF2B5EF4-FFF2-40B4-BE49-F238E27FC236}">
                    <a16:creationId xmlns:a16="http://schemas.microsoft.com/office/drawing/2014/main" id="{B3A3746C-6595-C23F-4BA3-591E4C3AB3F5}"/>
                  </a:ext>
                </a:extLst>
              </p:cNvPr>
              <p:cNvSpPr>
                <a:spLocks noEditPoints="1"/>
              </p:cNvSpPr>
              <p:nvPr/>
            </p:nvSpPr>
            <p:spPr bwMode="auto">
              <a:xfrm>
                <a:off x="5475288" y="3092450"/>
                <a:ext cx="107950" cy="128588"/>
              </a:xfrm>
              <a:custGeom>
                <a:avLst/>
                <a:gdLst>
                  <a:gd name="T0" fmla="*/ 17 w 26"/>
                  <a:gd name="T1" fmla="*/ 31 h 31"/>
                  <a:gd name="T2" fmla="*/ 16 w 26"/>
                  <a:gd name="T3" fmla="*/ 30 h 31"/>
                  <a:gd name="T4" fmla="*/ 16 w 26"/>
                  <a:gd name="T5" fmla="*/ 27 h 31"/>
                  <a:gd name="T6" fmla="*/ 15 w 26"/>
                  <a:gd name="T7" fmla="*/ 26 h 31"/>
                  <a:gd name="T8" fmla="*/ 12 w 26"/>
                  <a:gd name="T9" fmla="*/ 25 h 31"/>
                  <a:gd name="T10" fmla="*/ 11 w 26"/>
                  <a:gd name="T11" fmla="*/ 23 h 31"/>
                  <a:gd name="T12" fmla="*/ 10 w 26"/>
                  <a:gd name="T13" fmla="*/ 23 h 31"/>
                  <a:gd name="T14" fmla="*/ 8 w 26"/>
                  <a:gd name="T15" fmla="*/ 23 h 31"/>
                  <a:gd name="T16" fmla="*/ 6 w 26"/>
                  <a:gd name="T17" fmla="*/ 25 h 31"/>
                  <a:gd name="T18" fmla="*/ 5 w 26"/>
                  <a:gd name="T19" fmla="*/ 26 h 31"/>
                  <a:gd name="T20" fmla="*/ 2 w 26"/>
                  <a:gd name="T21" fmla="*/ 26 h 31"/>
                  <a:gd name="T22" fmla="*/ 0 w 26"/>
                  <a:gd name="T23" fmla="*/ 26 h 31"/>
                  <a:gd name="T24" fmla="*/ 1 w 26"/>
                  <a:gd name="T25" fmla="*/ 24 h 31"/>
                  <a:gd name="T26" fmla="*/ 4 w 26"/>
                  <a:gd name="T27" fmla="*/ 25 h 31"/>
                  <a:gd name="T28" fmla="*/ 5 w 26"/>
                  <a:gd name="T29" fmla="*/ 25 h 31"/>
                  <a:gd name="T30" fmla="*/ 5 w 26"/>
                  <a:gd name="T31" fmla="*/ 22 h 31"/>
                  <a:gd name="T32" fmla="*/ 2 w 26"/>
                  <a:gd name="T33" fmla="*/ 21 h 31"/>
                  <a:gd name="T34" fmla="*/ 5 w 26"/>
                  <a:gd name="T35" fmla="*/ 22 h 31"/>
                  <a:gd name="T36" fmla="*/ 4 w 26"/>
                  <a:gd name="T37" fmla="*/ 20 h 31"/>
                  <a:gd name="T38" fmla="*/ 4 w 26"/>
                  <a:gd name="T39" fmla="*/ 19 h 31"/>
                  <a:gd name="T40" fmla="*/ 5 w 26"/>
                  <a:gd name="T41" fmla="*/ 17 h 31"/>
                  <a:gd name="T42" fmla="*/ 8 w 26"/>
                  <a:gd name="T43" fmla="*/ 14 h 31"/>
                  <a:gd name="T44" fmla="*/ 9 w 26"/>
                  <a:gd name="T45" fmla="*/ 7 h 31"/>
                  <a:gd name="T46" fmla="*/ 12 w 26"/>
                  <a:gd name="T47" fmla="*/ 7 h 31"/>
                  <a:gd name="T48" fmla="*/ 14 w 26"/>
                  <a:gd name="T49" fmla="*/ 6 h 31"/>
                  <a:gd name="T50" fmla="*/ 17 w 26"/>
                  <a:gd name="T51" fmla="*/ 3 h 31"/>
                  <a:gd name="T52" fmla="*/ 23 w 26"/>
                  <a:gd name="T53" fmla="*/ 2 h 31"/>
                  <a:gd name="T54" fmla="*/ 25 w 26"/>
                  <a:gd name="T55" fmla="*/ 4 h 31"/>
                  <a:gd name="T56" fmla="*/ 26 w 26"/>
                  <a:gd name="T57" fmla="*/ 4 h 31"/>
                  <a:gd name="T58" fmla="*/ 25 w 26"/>
                  <a:gd name="T59" fmla="*/ 8 h 31"/>
                  <a:gd name="T60" fmla="*/ 23 w 26"/>
                  <a:gd name="T61" fmla="*/ 11 h 31"/>
                  <a:gd name="T62" fmla="*/ 25 w 26"/>
                  <a:gd name="T63" fmla="*/ 13 h 31"/>
                  <a:gd name="T64" fmla="*/ 23 w 26"/>
                  <a:gd name="T65" fmla="*/ 16 h 31"/>
                  <a:gd name="T66" fmla="*/ 23 w 26"/>
                  <a:gd name="T67" fmla="*/ 18 h 31"/>
                  <a:gd name="T68" fmla="*/ 20 w 26"/>
                  <a:gd name="T69" fmla="*/ 19 h 31"/>
                  <a:gd name="T70" fmla="*/ 17 w 26"/>
                  <a:gd name="T71" fmla="*/ 20 h 31"/>
                  <a:gd name="T72" fmla="*/ 19 w 26"/>
                  <a:gd name="T73" fmla="*/ 25 h 31"/>
                  <a:gd name="T74" fmla="*/ 18 w 26"/>
                  <a:gd name="T75" fmla="*/ 27 h 31"/>
                  <a:gd name="T76" fmla="*/ 17 w 26"/>
                  <a:gd name="T77" fmla="*/ 28 h 31"/>
                  <a:gd name="T78" fmla="*/ 17 w 26"/>
                  <a:gd name="T79" fmla="*/ 31 h 31"/>
                  <a:gd name="T80" fmla="*/ 2 w 26"/>
                  <a:gd name="T81" fmla="*/ 24 h 31"/>
                  <a:gd name="T82" fmla="*/ 4 w 26"/>
                  <a:gd name="T83" fmla="*/ 24 h 31"/>
                  <a:gd name="T84" fmla="*/ 4 w 26"/>
                  <a:gd name="T85" fmla="*/ 23 h 31"/>
                  <a:gd name="T86" fmla="*/ 3 w 26"/>
                  <a:gd name="T87" fmla="*/ 22 h 31"/>
                  <a:gd name="T88" fmla="*/ 0 w 26"/>
                  <a:gd name="T89" fmla="*/ 23 h 31"/>
                  <a:gd name="T90" fmla="*/ 11 w 26"/>
                  <a:gd name="T91" fmla="*/ 5 h 31"/>
                  <a:gd name="T92" fmla="*/ 10 w 26"/>
                  <a:gd name="T93" fmla="*/ 6 h 31"/>
                  <a:gd name="T94" fmla="*/ 9 w 26"/>
                  <a:gd name="T95" fmla="*/ 6 h 31"/>
                  <a:gd name="T96" fmla="*/ 9 w 26"/>
                  <a:gd name="T97" fmla="*/ 6 h 31"/>
                  <a:gd name="T98" fmla="*/ 11 w 26"/>
                  <a:gd name="T99" fmla="*/ 3 h 31"/>
                  <a:gd name="T100" fmla="*/ 11 w 26"/>
                  <a:gd name="T101" fmla="*/ 4 h 31"/>
                  <a:gd name="T102" fmla="*/ 13 w 26"/>
                  <a:gd name="T103" fmla="*/ 2 h 31"/>
                  <a:gd name="T104" fmla="*/ 17 w 26"/>
                  <a:gd name="T105" fmla="*/ 1 h 31"/>
                  <a:gd name="T106" fmla="*/ 12 w 26"/>
                  <a:gd name="T107" fmla="*/ 3 h 31"/>
                  <a:gd name="T108" fmla="*/ 19 w 26"/>
                  <a:gd name="T109" fmla="*/ 1 h 31"/>
                  <a:gd name="T110" fmla="*/ 19 w 26"/>
                  <a:gd name="T111" fmla="*/ 1 h 31"/>
                  <a:gd name="T112" fmla="*/ 19 w 26"/>
                  <a:gd name="T113" fmla="*/ 1 h 31"/>
                  <a:gd name="T114" fmla="*/ 21 w 26"/>
                  <a:gd name="T115" fmla="*/ 1 h 31"/>
                  <a:gd name="T116" fmla="*/ 23 w 26"/>
                  <a:gd name="T117" fmla="*/ 0 h 31"/>
                  <a:gd name="T118" fmla="*/ 23 w 26"/>
                  <a:gd name="T1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 h="31">
                    <a:moveTo>
                      <a:pt x="17" y="31"/>
                    </a:moveTo>
                    <a:cubicBezTo>
                      <a:pt x="17" y="31"/>
                      <a:pt x="17" y="31"/>
                      <a:pt x="17" y="31"/>
                    </a:cubicBezTo>
                    <a:cubicBezTo>
                      <a:pt x="17" y="31"/>
                      <a:pt x="17" y="31"/>
                      <a:pt x="16" y="31"/>
                    </a:cubicBezTo>
                    <a:cubicBezTo>
                      <a:pt x="15" y="31"/>
                      <a:pt x="15" y="30"/>
                      <a:pt x="16" y="30"/>
                    </a:cubicBezTo>
                    <a:cubicBezTo>
                      <a:pt x="16" y="29"/>
                      <a:pt x="16" y="29"/>
                      <a:pt x="16" y="28"/>
                    </a:cubicBezTo>
                    <a:cubicBezTo>
                      <a:pt x="17" y="27"/>
                      <a:pt x="17" y="27"/>
                      <a:pt x="16" y="27"/>
                    </a:cubicBezTo>
                    <a:cubicBezTo>
                      <a:pt x="16" y="26"/>
                      <a:pt x="15" y="27"/>
                      <a:pt x="15" y="26"/>
                    </a:cubicBezTo>
                    <a:cubicBezTo>
                      <a:pt x="15" y="26"/>
                      <a:pt x="15" y="26"/>
                      <a:pt x="15" y="26"/>
                    </a:cubicBezTo>
                    <a:cubicBezTo>
                      <a:pt x="14" y="25"/>
                      <a:pt x="14" y="26"/>
                      <a:pt x="13" y="26"/>
                    </a:cubicBezTo>
                    <a:cubicBezTo>
                      <a:pt x="12" y="26"/>
                      <a:pt x="12" y="25"/>
                      <a:pt x="12" y="25"/>
                    </a:cubicBezTo>
                    <a:cubicBezTo>
                      <a:pt x="12" y="25"/>
                      <a:pt x="12" y="25"/>
                      <a:pt x="11" y="25"/>
                    </a:cubicBezTo>
                    <a:cubicBezTo>
                      <a:pt x="11" y="24"/>
                      <a:pt x="11" y="24"/>
                      <a:pt x="11" y="23"/>
                    </a:cubicBezTo>
                    <a:cubicBezTo>
                      <a:pt x="11" y="24"/>
                      <a:pt x="11" y="24"/>
                      <a:pt x="10" y="24"/>
                    </a:cubicBezTo>
                    <a:cubicBezTo>
                      <a:pt x="9" y="24"/>
                      <a:pt x="10" y="23"/>
                      <a:pt x="10" y="23"/>
                    </a:cubicBezTo>
                    <a:cubicBezTo>
                      <a:pt x="9" y="23"/>
                      <a:pt x="9" y="24"/>
                      <a:pt x="8" y="24"/>
                    </a:cubicBezTo>
                    <a:cubicBezTo>
                      <a:pt x="8" y="24"/>
                      <a:pt x="8" y="24"/>
                      <a:pt x="8" y="23"/>
                    </a:cubicBezTo>
                    <a:cubicBezTo>
                      <a:pt x="7" y="23"/>
                      <a:pt x="7" y="24"/>
                      <a:pt x="7" y="24"/>
                    </a:cubicBezTo>
                    <a:cubicBezTo>
                      <a:pt x="7" y="25"/>
                      <a:pt x="7" y="25"/>
                      <a:pt x="6" y="25"/>
                    </a:cubicBezTo>
                    <a:cubicBezTo>
                      <a:pt x="6" y="25"/>
                      <a:pt x="6" y="25"/>
                      <a:pt x="6" y="25"/>
                    </a:cubicBezTo>
                    <a:cubicBezTo>
                      <a:pt x="6" y="25"/>
                      <a:pt x="5" y="26"/>
                      <a:pt x="5" y="26"/>
                    </a:cubicBezTo>
                    <a:cubicBezTo>
                      <a:pt x="4" y="26"/>
                      <a:pt x="4" y="27"/>
                      <a:pt x="3" y="26"/>
                    </a:cubicBezTo>
                    <a:cubicBezTo>
                      <a:pt x="3" y="26"/>
                      <a:pt x="2" y="26"/>
                      <a:pt x="2" y="26"/>
                    </a:cubicBezTo>
                    <a:cubicBezTo>
                      <a:pt x="1" y="25"/>
                      <a:pt x="1" y="26"/>
                      <a:pt x="1" y="26"/>
                    </a:cubicBezTo>
                    <a:cubicBezTo>
                      <a:pt x="1" y="26"/>
                      <a:pt x="1" y="26"/>
                      <a:pt x="0" y="26"/>
                    </a:cubicBezTo>
                    <a:cubicBezTo>
                      <a:pt x="0" y="26"/>
                      <a:pt x="0" y="25"/>
                      <a:pt x="0" y="25"/>
                    </a:cubicBezTo>
                    <a:cubicBezTo>
                      <a:pt x="0" y="25"/>
                      <a:pt x="1" y="24"/>
                      <a:pt x="1" y="24"/>
                    </a:cubicBezTo>
                    <a:cubicBezTo>
                      <a:pt x="1" y="24"/>
                      <a:pt x="2" y="24"/>
                      <a:pt x="2" y="25"/>
                    </a:cubicBezTo>
                    <a:cubicBezTo>
                      <a:pt x="3" y="25"/>
                      <a:pt x="3" y="25"/>
                      <a:pt x="4" y="25"/>
                    </a:cubicBezTo>
                    <a:cubicBezTo>
                      <a:pt x="4" y="24"/>
                      <a:pt x="4" y="24"/>
                      <a:pt x="5" y="24"/>
                    </a:cubicBezTo>
                    <a:cubicBezTo>
                      <a:pt x="5" y="24"/>
                      <a:pt x="5" y="25"/>
                      <a:pt x="5" y="25"/>
                    </a:cubicBezTo>
                    <a:cubicBezTo>
                      <a:pt x="6" y="24"/>
                      <a:pt x="6" y="24"/>
                      <a:pt x="6" y="23"/>
                    </a:cubicBezTo>
                    <a:cubicBezTo>
                      <a:pt x="6" y="23"/>
                      <a:pt x="5" y="23"/>
                      <a:pt x="5" y="22"/>
                    </a:cubicBezTo>
                    <a:cubicBezTo>
                      <a:pt x="4" y="22"/>
                      <a:pt x="4" y="21"/>
                      <a:pt x="3" y="21"/>
                    </a:cubicBezTo>
                    <a:cubicBezTo>
                      <a:pt x="3" y="21"/>
                      <a:pt x="2" y="22"/>
                      <a:pt x="2" y="21"/>
                    </a:cubicBezTo>
                    <a:cubicBezTo>
                      <a:pt x="2" y="21"/>
                      <a:pt x="2" y="21"/>
                      <a:pt x="3" y="21"/>
                    </a:cubicBezTo>
                    <a:cubicBezTo>
                      <a:pt x="3" y="20"/>
                      <a:pt x="5" y="21"/>
                      <a:pt x="5" y="22"/>
                    </a:cubicBezTo>
                    <a:cubicBezTo>
                      <a:pt x="5" y="21"/>
                      <a:pt x="5" y="21"/>
                      <a:pt x="5" y="21"/>
                    </a:cubicBezTo>
                    <a:cubicBezTo>
                      <a:pt x="5" y="21"/>
                      <a:pt x="5" y="20"/>
                      <a:pt x="4" y="20"/>
                    </a:cubicBezTo>
                    <a:cubicBezTo>
                      <a:pt x="4" y="20"/>
                      <a:pt x="4" y="20"/>
                      <a:pt x="3" y="20"/>
                    </a:cubicBezTo>
                    <a:cubicBezTo>
                      <a:pt x="3" y="19"/>
                      <a:pt x="4" y="20"/>
                      <a:pt x="4" y="19"/>
                    </a:cubicBezTo>
                    <a:cubicBezTo>
                      <a:pt x="5" y="19"/>
                      <a:pt x="4" y="18"/>
                      <a:pt x="5" y="18"/>
                    </a:cubicBezTo>
                    <a:cubicBezTo>
                      <a:pt x="5" y="18"/>
                      <a:pt x="5" y="18"/>
                      <a:pt x="5" y="17"/>
                    </a:cubicBezTo>
                    <a:cubicBezTo>
                      <a:pt x="6" y="17"/>
                      <a:pt x="6" y="17"/>
                      <a:pt x="6" y="16"/>
                    </a:cubicBezTo>
                    <a:cubicBezTo>
                      <a:pt x="7" y="16"/>
                      <a:pt x="7" y="15"/>
                      <a:pt x="8" y="14"/>
                    </a:cubicBezTo>
                    <a:cubicBezTo>
                      <a:pt x="8" y="13"/>
                      <a:pt x="8" y="11"/>
                      <a:pt x="9" y="9"/>
                    </a:cubicBezTo>
                    <a:cubicBezTo>
                      <a:pt x="9" y="9"/>
                      <a:pt x="9" y="8"/>
                      <a:pt x="9" y="7"/>
                    </a:cubicBezTo>
                    <a:cubicBezTo>
                      <a:pt x="10" y="7"/>
                      <a:pt x="10" y="8"/>
                      <a:pt x="10" y="8"/>
                    </a:cubicBezTo>
                    <a:cubicBezTo>
                      <a:pt x="10" y="8"/>
                      <a:pt x="11" y="7"/>
                      <a:pt x="12" y="7"/>
                    </a:cubicBezTo>
                    <a:cubicBezTo>
                      <a:pt x="12" y="7"/>
                      <a:pt x="12" y="7"/>
                      <a:pt x="13" y="6"/>
                    </a:cubicBezTo>
                    <a:cubicBezTo>
                      <a:pt x="13" y="6"/>
                      <a:pt x="13" y="6"/>
                      <a:pt x="14" y="6"/>
                    </a:cubicBezTo>
                    <a:cubicBezTo>
                      <a:pt x="14" y="5"/>
                      <a:pt x="14" y="5"/>
                      <a:pt x="14" y="4"/>
                    </a:cubicBezTo>
                    <a:cubicBezTo>
                      <a:pt x="15" y="3"/>
                      <a:pt x="16" y="3"/>
                      <a:pt x="17" y="3"/>
                    </a:cubicBezTo>
                    <a:cubicBezTo>
                      <a:pt x="18" y="2"/>
                      <a:pt x="20" y="2"/>
                      <a:pt x="21" y="2"/>
                    </a:cubicBezTo>
                    <a:cubicBezTo>
                      <a:pt x="22" y="2"/>
                      <a:pt x="23" y="1"/>
                      <a:pt x="23" y="2"/>
                    </a:cubicBezTo>
                    <a:cubicBezTo>
                      <a:pt x="24" y="2"/>
                      <a:pt x="24" y="3"/>
                      <a:pt x="24" y="3"/>
                    </a:cubicBezTo>
                    <a:cubicBezTo>
                      <a:pt x="25" y="3"/>
                      <a:pt x="25" y="3"/>
                      <a:pt x="25" y="4"/>
                    </a:cubicBezTo>
                    <a:cubicBezTo>
                      <a:pt x="25" y="4"/>
                      <a:pt x="26" y="4"/>
                      <a:pt x="26" y="4"/>
                    </a:cubicBezTo>
                    <a:cubicBezTo>
                      <a:pt x="26" y="4"/>
                      <a:pt x="26" y="4"/>
                      <a:pt x="26" y="4"/>
                    </a:cubicBezTo>
                    <a:cubicBezTo>
                      <a:pt x="26" y="5"/>
                      <a:pt x="26" y="5"/>
                      <a:pt x="26" y="6"/>
                    </a:cubicBezTo>
                    <a:cubicBezTo>
                      <a:pt x="26" y="7"/>
                      <a:pt x="26" y="7"/>
                      <a:pt x="25" y="8"/>
                    </a:cubicBezTo>
                    <a:cubicBezTo>
                      <a:pt x="25" y="9"/>
                      <a:pt x="25" y="9"/>
                      <a:pt x="25" y="10"/>
                    </a:cubicBezTo>
                    <a:cubicBezTo>
                      <a:pt x="24" y="11"/>
                      <a:pt x="24" y="11"/>
                      <a:pt x="23" y="11"/>
                    </a:cubicBezTo>
                    <a:cubicBezTo>
                      <a:pt x="23" y="11"/>
                      <a:pt x="22" y="11"/>
                      <a:pt x="22" y="12"/>
                    </a:cubicBezTo>
                    <a:cubicBezTo>
                      <a:pt x="22" y="14"/>
                      <a:pt x="24" y="12"/>
                      <a:pt x="25" y="13"/>
                    </a:cubicBezTo>
                    <a:cubicBezTo>
                      <a:pt x="25" y="14"/>
                      <a:pt x="24" y="14"/>
                      <a:pt x="24" y="15"/>
                    </a:cubicBezTo>
                    <a:cubicBezTo>
                      <a:pt x="24" y="16"/>
                      <a:pt x="24" y="16"/>
                      <a:pt x="23" y="16"/>
                    </a:cubicBezTo>
                    <a:cubicBezTo>
                      <a:pt x="23" y="17"/>
                      <a:pt x="23" y="17"/>
                      <a:pt x="23" y="17"/>
                    </a:cubicBezTo>
                    <a:cubicBezTo>
                      <a:pt x="22" y="17"/>
                      <a:pt x="23" y="17"/>
                      <a:pt x="23" y="18"/>
                    </a:cubicBezTo>
                    <a:cubicBezTo>
                      <a:pt x="23" y="18"/>
                      <a:pt x="23" y="19"/>
                      <a:pt x="22" y="19"/>
                    </a:cubicBezTo>
                    <a:cubicBezTo>
                      <a:pt x="22" y="19"/>
                      <a:pt x="21" y="19"/>
                      <a:pt x="20" y="19"/>
                    </a:cubicBezTo>
                    <a:cubicBezTo>
                      <a:pt x="20" y="19"/>
                      <a:pt x="19" y="19"/>
                      <a:pt x="18" y="19"/>
                    </a:cubicBezTo>
                    <a:cubicBezTo>
                      <a:pt x="18" y="19"/>
                      <a:pt x="17" y="20"/>
                      <a:pt x="17" y="20"/>
                    </a:cubicBezTo>
                    <a:cubicBezTo>
                      <a:pt x="17" y="21"/>
                      <a:pt x="18" y="22"/>
                      <a:pt x="19" y="23"/>
                    </a:cubicBezTo>
                    <a:cubicBezTo>
                      <a:pt x="19" y="23"/>
                      <a:pt x="19" y="24"/>
                      <a:pt x="19" y="25"/>
                    </a:cubicBezTo>
                    <a:cubicBezTo>
                      <a:pt x="19" y="25"/>
                      <a:pt x="18" y="26"/>
                      <a:pt x="18" y="26"/>
                    </a:cubicBezTo>
                    <a:cubicBezTo>
                      <a:pt x="18" y="27"/>
                      <a:pt x="19" y="27"/>
                      <a:pt x="18" y="27"/>
                    </a:cubicBezTo>
                    <a:cubicBezTo>
                      <a:pt x="18" y="28"/>
                      <a:pt x="18" y="28"/>
                      <a:pt x="18" y="28"/>
                    </a:cubicBezTo>
                    <a:cubicBezTo>
                      <a:pt x="17" y="28"/>
                      <a:pt x="17" y="28"/>
                      <a:pt x="17" y="28"/>
                    </a:cubicBezTo>
                    <a:cubicBezTo>
                      <a:pt x="16" y="29"/>
                      <a:pt x="18" y="29"/>
                      <a:pt x="18" y="29"/>
                    </a:cubicBezTo>
                    <a:cubicBezTo>
                      <a:pt x="19" y="30"/>
                      <a:pt x="18" y="30"/>
                      <a:pt x="17" y="31"/>
                    </a:cubicBezTo>
                    <a:close/>
                    <a:moveTo>
                      <a:pt x="0" y="23"/>
                    </a:moveTo>
                    <a:cubicBezTo>
                      <a:pt x="0" y="24"/>
                      <a:pt x="2" y="23"/>
                      <a:pt x="2" y="24"/>
                    </a:cubicBezTo>
                    <a:cubicBezTo>
                      <a:pt x="2" y="24"/>
                      <a:pt x="3" y="24"/>
                      <a:pt x="3" y="24"/>
                    </a:cubicBezTo>
                    <a:cubicBezTo>
                      <a:pt x="4" y="24"/>
                      <a:pt x="4" y="24"/>
                      <a:pt x="4" y="24"/>
                    </a:cubicBezTo>
                    <a:cubicBezTo>
                      <a:pt x="4" y="24"/>
                      <a:pt x="4" y="24"/>
                      <a:pt x="5" y="24"/>
                    </a:cubicBezTo>
                    <a:cubicBezTo>
                      <a:pt x="5" y="23"/>
                      <a:pt x="5" y="23"/>
                      <a:pt x="4" y="23"/>
                    </a:cubicBezTo>
                    <a:cubicBezTo>
                      <a:pt x="4" y="23"/>
                      <a:pt x="4" y="23"/>
                      <a:pt x="3" y="23"/>
                    </a:cubicBezTo>
                    <a:cubicBezTo>
                      <a:pt x="3" y="23"/>
                      <a:pt x="3" y="22"/>
                      <a:pt x="3" y="22"/>
                    </a:cubicBezTo>
                    <a:cubicBezTo>
                      <a:pt x="3" y="22"/>
                      <a:pt x="2" y="23"/>
                      <a:pt x="1" y="22"/>
                    </a:cubicBezTo>
                    <a:cubicBezTo>
                      <a:pt x="1" y="22"/>
                      <a:pt x="0" y="22"/>
                      <a:pt x="0" y="23"/>
                    </a:cubicBezTo>
                    <a:close/>
                    <a:moveTo>
                      <a:pt x="11" y="4"/>
                    </a:moveTo>
                    <a:cubicBezTo>
                      <a:pt x="11" y="5"/>
                      <a:pt x="11" y="5"/>
                      <a:pt x="11" y="5"/>
                    </a:cubicBezTo>
                    <a:cubicBezTo>
                      <a:pt x="11" y="5"/>
                      <a:pt x="11" y="5"/>
                      <a:pt x="11" y="5"/>
                    </a:cubicBezTo>
                    <a:cubicBezTo>
                      <a:pt x="11" y="5"/>
                      <a:pt x="10" y="6"/>
                      <a:pt x="10" y="6"/>
                    </a:cubicBezTo>
                    <a:cubicBezTo>
                      <a:pt x="10" y="6"/>
                      <a:pt x="10" y="6"/>
                      <a:pt x="10" y="6"/>
                    </a:cubicBezTo>
                    <a:cubicBezTo>
                      <a:pt x="9" y="6"/>
                      <a:pt x="9" y="6"/>
                      <a:pt x="9" y="6"/>
                    </a:cubicBezTo>
                    <a:cubicBezTo>
                      <a:pt x="9" y="6"/>
                      <a:pt x="9" y="6"/>
                      <a:pt x="9" y="6"/>
                    </a:cubicBezTo>
                    <a:cubicBezTo>
                      <a:pt x="9" y="6"/>
                      <a:pt x="9" y="6"/>
                      <a:pt x="9" y="6"/>
                    </a:cubicBezTo>
                    <a:cubicBezTo>
                      <a:pt x="9" y="5"/>
                      <a:pt x="9" y="4"/>
                      <a:pt x="10" y="4"/>
                    </a:cubicBezTo>
                    <a:cubicBezTo>
                      <a:pt x="10" y="4"/>
                      <a:pt x="10" y="3"/>
                      <a:pt x="11" y="3"/>
                    </a:cubicBezTo>
                    <a:cubicBezTo>
                      <a:pt x="11" y="3"/>
                      <a:pt x="11" y="3"/>
                      <a:pt x="11" y="3"/>
                    </a:cubicBezTo>
                    <a:cubicBezTo>
                      <a:pt x="11" y="4"/>
                      <a:pt x="11" y="4"/>
                      <a:pt x="11" y="4"/>
                    </a:cubicBezTo>
                    <a:cubicBezTo>
                      <a:pt x="11" y="4"/>
                      <a:pt x="11" y="4"/>
                      <a:pt x="11" y="4"/>
                    </a:cubicBezTo>
                    <a:close/>
                    <a:moveTo>
                      <a:pt x="13" y="2"/>
                    </a:moveTo>
                    <a:cubicBezTo>
                      <a:pt x="14" y="2"/>
                      <a:pt x="15" y="2"/>
                      <a:pt x="16" y="2"/>
                    </a:cubicBezTo>
                    <a:cubicBezTo>
                      <a:pt x="17" y="2"/>
                      <a:pt x="18" y="2"/>
                      <a:pt x="17" y="1"/>
                    </a:cubicBezTo>
                    <a:cubicBezTo>
                      <a:pt x="16" y="1"/>
                      <a:pt x="15" y="1"/>
                      <a:pt x="15" y="1"/>
                    </a:cubicBezTo>
                    <a:cubicBezTo>
                      <a:pt x="14" y="2"/>
                      <a:pt x="12" y="2"/>
                      <a:pt x="12" y="3"/>
                    </a:cubicBezTo>
                    <a:cubicBezTo>
                      <a:pt x="13" y="3"/>
                      <a:pt x="13" y="3"/>
                      <a:pt x="13" y="2"/>
                    </a:cubicBezTo>
                    <a:close/>
                    <a:moveTo>
                      <a:pt x="19" y="1"/>
                    </a:moveTo>
                    <a:cubicBezTo>
                      <a:pt x="18" y="2"/>
                      <a:pt x="20" y="1"/>
                      <a:pt x="20" y="1"/>
                    </a:cubicBezTo>
                    <a:cubicBezTo>
                      <a:pt x="20" y="1"/>
                      <a:pt x="19" y="1"/>
                      <a:pt x="19" y="1"/>
                    </a:cubicBezTo>
                    <a:cubicBezTo>
                      <a:pt x="19" y="1"/>
                      <a:pt x="19" y="1"/>
                      <a:pt x="19" y="1"/>
                    </a:cubicBezTo>
                    <a:cubicBezTo>
                      <a:pt x="19" y="1"/>
                      <a:pt x="19" y="1"/>
                      <a:pt x="19" y="1"/>
                    </a:cubicBezTo>
                    <a:close/>
                    <a:moveTo>
                      <a:pt x="21" y="0"/>
                    </a:moveTo>
                    <a:cubicBezTo>
                      <a:pt x="20" y="1"/>
                      <a:pt x="21" y="1"/>
                      <a:pt x="21" y="1"/>
                    </a:cubicBezTo>
                    <a:cubicBezTo>
                      <a:pt x="21" y="1"/>
                      <a:pt x="21" y="0"/>
                      <a:pt x="21" y="0"/>
                    </a:cubicBezTo>
                    <a:moveTo>
                      <a:pt x="23" y="0"/>
                    </a:moveTo>
                    <a:cubicBezTo>
                      <a:pt x="22" y="0"/>
                      <a:pt x="22" y="0"/>
                      <a:pt x="22" y="0"/>
                    </a:cubicBezTo>
                    <a:cubicBezTo>
                      <a:pt x="22" y="0"/>
                      <a:pt x="23" y="0"/>
                      <a:pt x="23" y="0"/>
                    </a:cubicBezTo>
                    <a:cubicBezTo>
                      <a:pt x="23" y="0"/>
                      <a:pt x="23" y="0"/>
                      <a:pt x="23"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7" name="Freeform 802">
                <a:extLst>
                  <a:ext uri="{FF2B5EF4-FFF2-40B4-BE49-F238E27FC236}">
                    <a16:creationId xmlns:a16="http://schemas.microsoft.com/office/drawing/2014/main" id="{0360825B-15C3-3DF7-7CAC-01642A3E5327}"/>
                  </a:ext>
                </a:extLst>
              </p:cNvPr>
              <p:cNvSpPr>
                <a:spLocks/>
              </p:cNvSpPr>
              <p:nvPr/>
            </p:nvSpPr>
            <p:spPr bwMode="auto">
              <a:xfrm>
                <a:off x="5541963" y="3251200"/>
                <a:ext cx="20637" cy="28575"/>
              </a:xfrm>
              <a:custGeom>
                <a:avLst/>
                <a:gdLst>
                  <a:gd name="T0" fmla="*/ 0 w 5"/>
                  <a:gd name="T1" fmla="*/ 3 h 7"/>
                  <a:gd name="T2" fmla="*/ 0 w 5"/>
                  <a:gd name="T3" fmla="*/ 2 h 7"/>
                  <a:gd name="T4" fmla="*/ 2 w 5"/>
                  <a:gd name="T5" fmla="*/ 0 h 7"/>
                  <a:gd name="T6" fmla="*/ 2 w 5"/>
                  <a:gd name="T7" fmla="*/ 0 h 7"/>
                  <a:gd name="T8" fmla="*/ 2 w 5"/>
                  <a:gd name="T9" fmla="*/ 0 h 7"/>
                  <a:gd name="T10" fmla="*/ 3 w 5"/>
                  <a:gd name="T11" fmla="*/ 2 h 7"/>
                  <a:gd name="T12" fmla="*/ 4 w 5"/>
                  <a:gd name="T13" fmla="*/ 3 h 7"/>
                  <a:gd name="T14" fmla="*/ 5 w 5"/>
                  <a:gd name="T15" fmla="*/ 5 h 7"/>
                  <a:gd name="T16" fmla="*/ 4 w 5"/>
                  <a:gd name="T17" fmla="*/ 7 h 7"/>
                  <a:gd name="T18" fmla="*/ 2 w 5"/>
                  <a:gd name="T19" fmla="*/ 7 h 7"/>
                  <a:gd name="T20" fmla="*/ 0 w 5"/>
                  <a:gd name="T21" fmla="*/ 6 h 7"/>
                  <a:gd name="T22" fmla="*/ 1 w 5"/>
                  <a:gd name="T23" fmla="*/ 5 h 7"/>
                  <a:gd name="T24" fmla="*/ 0 w 5"/>
                  <a:gd name="T25" fmla="*/ 4 h 7"/>
                  <a:gd name="T26" fmla="*/ 0 w 5"/>
                  <a:gd name="T27" fmla="*/ 3 h 7"/>
                  <a:gd name="T28" fmla="*/ 0 w 5"/>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0" y="3"/>
                    </a:moveTo>
                    <a:cubicBezTo>
                      <a:pt x="0" y="2"/>
                      <a:pt x="0" y="2"/>
                      <a:pt x="0" y="2"/>
                    </a:cubicBezTo>
                    <a:cubicBezTo>
                      <a:pt x="1" y="1"/>
                      <a:pt x="1" y="0"/>
                      <a:pt x="2" y="0"/>
                    </a:cubicBezTo>
                    <a:cubicBezTo>
                      <a:pt x="2" y="0"/>
                      <a:pt x="2" y="0"/>
                      <a:pt x="2" y="0"/>
                    </a:cubicBezTo>
                    <a:cubicBezTo>
                      <a:pt x="2" y="0"/>
                      <a:pt x="2" y="0"/>
                      <a:pt x="2" y="0"/>
                    </a:cubicBezTo>
                    <a:cubicBezTo>
                      <a:pt x="3" y="0"/>
                      <a:pt x="3" y="1"/>
                      <a:pt x="3" y="2"/>
                    </a:cubicBezTo>
                    <a:cubicBezTo>
                      <a:pt x="3" y="2"/>
                      <a:pt x="4" y="3"/>
                      <a:pt x="4" y="3"/>
                    </a:cubicBezTo>
                    <a:cubicBezTo>
                      <a:pt x="5" y="4"/>
                      <a:pt x="5" y="4"/>
                      <a:pt x="5" y="5"/>
                    </a:cubicBezTo>
                    <a:cubicBezTo>
                      <a:pt x="4" y="5"/>
                      <a:pt x="4" y="6"/>
                      <a:pt x="4" y="7"/>
                    </a:cubicBezTo>
                    <a:cubicBezTo>
                      <a:pt x="3" y="7"/>
                      <a:pt x="3" y="7"/>
                      <a:pt x="2" y="7"/>
                    </a:cubicBezTo>
                    <a:cubicBezTo>
                      <a:pt x="1" y="7"/>
                      <a:pt x="1" y="7"/>
                      <a:pt x="0" y="6"/>
                    </a:cubicBezTo>
                    <a:cubicBezTo>
                      <a:pt x="1" y="6"/>
                      <a:pt x="1" y="6"/>
                      <a:pt x="1" y="5"/>
                    </a:cubicBezTo>
                    <a:cubicBezTo>
                      <a:pt x="1" y="5"/>
                      <a:pt x="1" y="4"/>
                      <a:pt x="0" y="4"/>
                    </a:cubicBezTo>
                    <a:cubicBezTo>
                      <a:pt x="0" y="4"/>
                      <a:pt x="0" y="3"/>
                      <a:pt x="0" y="3"/>
                    </a:cubicBezTo>
                    <a:cubicBezTo>
                      <a:pt x="0" y="2"/>
                      <a:pt x="0" y="3"/>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8" name="Freeform 803">
                <a:extLst>
                  <a:ext uri="{FF2B5EF4-FFF2-40B4-BE49-F238E27FC236}">
                    <a16:creationId xmlns:a16="http://schemas.microsoft.com/office/drawing/2014/main" id="{65F0570F-E0C9-23EE-6E59-B557CF2E8FED}"/>
                  </a:ext>
                </a:extLst>
              </p:cNvPr>
              <p:cNvSpPr>
                <a:spLocks/>
              </p:cNvSpPr>
              <p:nvPr/>
            </p:nvSpPr>
            <p:spPr bwMode="auto">
              <a:xfrm>
                <a:off x="5970588" y="2954338"/>
                <a:ext cx="163512" cy="125413"/>
              </a:xfrm>
              <a:custGeom>
                <a:avLst/>
                <a:gdLst>
                  <a:gd name="T0" fmla="*/ 20 w 39"/>
                  <a:gd name="T1" fmla="*/ 29 h 30"/>
                  <a:gd name="T2" fmla="*/ 22 w 39"/>
                  <a:gd name="T3" fmla="*/ 29 h 30"/>
                  <a:gd name="T4" fmla="*/ 24 w 39"/>
                  <a:gd name="T5" fmla="*/ 29 h 30"/>
                  <a:gd name="T6" fmla="*/ 25 w 39"/>
                  <a:gd name="T7" fmla="*/ 27 h 30"/>
                  <a:gd name="T8" fmla="*/ 28 w 39"/>
                  <a:gd name="T9" fmla="*/ 26 h 30"/>
                  <a:gd name="T10" fmla="*/ 30 w 39"/>
                  <a:gd name="T11" fmla="*/ 25 h 30"/>
                  <a:gd name="T12" fmla="*/ 31 w 39"/>
                  <a:gd name="T13" fmla="*/ 25 h 30"/>
                  <a:gd name="T14" fmla="*/ 32 w 39"/>
                  <a:gd name="T15" fmla="*/ 21 h 30"/>
                  <a:gd name="T16" fmla="*/ 33 w 39"/>
                  <a:gd name="T17" fmla="*/ 18 h 30"/>
                  <a:gd name="T18" fmla="*/ 37 w 39"/>
                  <a:gd name="T19" fmla="*/ 15 h 30"/>
                  <a:gd name="T20" fmla="*/ 39 w 39"/>
                  <a:gd name="T21" fmla="*/ 14 h 30"/>
                  <a:gd name="T22" fmla="*/ 37 w 39"/>
                  <a:gd name="T23" fmla="*/ 13 h 30"/>
                  <a:gd name="T24" fmla="*/ 36 w 39"/>
                  <a:gd name="T25" fmla="*/ 8 h 30"/>
                  <a:gd name="T26" fmla="*/ 32 w 39"/>
                  <a:gd name="T27" fmla="*/ 4 h 30"/>
                  <a:gd name="T28" fmla="*/ 27 w 39"/>
                  <a:gd name="T29" fmla="*/ 2 h 30"/>
                  <a:gd name="T30" fmla="*/ 25 w 39"/>
                  <a:gd name="T31" fmla="*/ 0 h 30"/>
                  <a:gd name="T32" fmla="*/ 23 w 39"/>
                  <a:gd name="T33" fmla="*/ 2 h 30"/>
                  <a:gd name="T34" fmla="*/ 21 w 39"/>
                  <a:gd name="T35" fmla="*/ 2 h 30"/>
                  <a:gd name="T36" fmla="*/ 18 w 39"/>
                  <a:gd name="T37" fmla="*/ 1 h 30"/>
                  <a:gd name="T38" fmla="*/ 16 w 39"/>
                  <a:gd name="T39" fmla="*/ 1 h 30"/>
                  <a:gd name="T40" fmla="*/ 13 w 39"/>
                  <a:gd name="T41" fmla="*/ 0 h 30"/>
                  <a:gd name="T42" fmla="*/ 10 w 39"/>
                  <a:gd name="T43" fmla="*/ 0 h 30"/>
                  <a:gd name="T44" fmla="*/ 7 w 39"/>
                  <a:gd name="T45" fmla="*/ 0 h 30"/>
                  <a:gd name="T46" fmla="*/ 2 w 39"/>
                  <a:gd name="T47" fmla="*/ 2 h 30"/>
                  <a:gd name="T48" fmla="*/ 0 w 39"/>
                  <a:gd name="T49" fmla="*/ 4 h 30"/>
                  <a:gd name="T50" fmla="*/ 0 w 39"/>
                  <a:gd name="T51" fmla="*/ 11 h 30"/>
                  <a:gd name="T52" fmla="*/ 1 w 39"/>
                  <a:gd name="T53" fmla="*/ 9 h 30"/>
                  <a:gd name="T54" fmla="*/ 1 w 39"/>
                  <a:gd name="T55" fmla="*/ 13 h 30"/>
                  <a:gd name="T56" fmla="*/ 3 w 39"/>
                  <a:gd name="T57" fmla="*/ 14 h 30"/>
                  <a:gd name="T58" fmla="*/ 4 w 39"/>
                  <a:gd name="T59" fmla="*/ 14 h 30"/>
                  <a:gd name="T60" fmla="*/ 5 w 39"/>
                  <a:gd name="T61" fmla="*/ 15 h 30"/>
                  <a:gd name="T62" fmla="*/ 8 w 39"/>
                  <a:gd name="T63" fmla="*/ 17 h 30"/>
                  <a:gd name="T64" fmla="*/ 9 w 39"/>
                  <a:gd name="T65" fmla="*/ 16 h 30"/>
                  <a:gd name="T66" fmla="*/ 11 w 39"/>
                  <a:gd name="T67" fmla="*/ 17 h 30"/>
                  <a:gd name="T68" fmla="*/ 11 w 39"/>
                  <a:gd name="T69" fmla="*/ 21 h 30"/>
                  <a:gd name="T70" fmla="*/ 12 w 39"/>
                  <a:gd name="T71" fmla="*/ 24 h 30"/>
                  <a:gd name="T72" fmla="*/ 13 w 39"/>
                  <a:gd name="T73" fmla="*/ 24 h 30"/>
                  <a:gd name="T74" fmla="*/ 15 w 39"/>
                  <a:gd name="T75" fmla="*/ 25 h 30"/>
                  <a:gd name="T76" fmla="*/ 18 w 39"/>
                  <a:gd name="T7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 h="30">
                    <a:moveTo>
                      <a:pt x="18" y="29"/>
                    </a:moveTo>
                    <a:cubicBezTo>
                      <a:pt x="18" y="29"/>
                      <a:pt x="19" y="29"/>
                      <a:pt x="20" y="29"/>
                    </a:cubicBezTo>
                    <a:cubicBezTo>
                      <a:pt x="21" y="29"/>
                      <a:pt x="21" y="29"/>
                      <a:pt x="21" y="29"/>
                    </a:cubicBezTo>
                    <a:cubicBezTo>
                      <a:pt x="21" y="29"/>
                      <a:pt x="21" y="29"/>
                      <a:pt x="22" y="29"/>
                    </a:cubicBezTo>
                    <a:cubicBezTo>
                      <a:pt x="22" y="30"/>
                      <a:pt x="23" y="29"/>
                      <a:pt x="23" y="29"/>
                    </a:cubicBezTo>
                    <a:cubicBezTo>
                      <a:pt x="24" y="29"/>
                      <a:pt x="24" y="29"/>
                      <a:pt x="24" y="29"/>
                    </a:cubicBezTo>
                    <a:cubicBezTo>
                      <a:pt x="25" y="29"/>
                      <a:pt x="25" y="29"/>
                      <a:pt x="25" y="29"/>
                    </a:cubicBezTo>
                    <a:cubicBezTo>
                      <a:pt x="26" y="28"/>
                      <a:pt x="25" y="28"/>
                      <a:pt x="25" y="27"/>
                    </a:cubicBezTo>
                    <a:cubicBezTo>
                      <a:pt x="26" y="27"/>
                      <a:pt x="26" y="27"/>
                      <a:pt x="26" y="27"/>
                    </a:cubicBezTo>
                    <a:cubicBezTo>
                      <a:pt x="27" y="27"/>
                      <a:pt x="28" y="27"/>
                      <a:pt x="28" y="26"/>
                    </a:cubicBezTo>
                    <a:cubicBezTo>
                      <a:pt x="28" y="25"/>
                      <a:pt x="29" y="26"/>
                      <a:pt x="29" y="26"/>
                    </a:cubicBezTo>
                    <a:cubicBezTo>
                      <a:pt x="29" y="26"/>
                      <a:pt x="30" y="25"/>
                      <a:pt x="30" y="25"/>
                    </a:cubicBezTo>
                    <a:cubicBezTo>
                      <a:pt x="30" y="26"/>
                      <a:pt x="30" y="27"/>
                      <a:pt x="31" y="27"/>
                    </a:cubicBezTo>
                    <a:cubicBezTo>
                      <a:pt x="32" y="26"/>
                      <a:pt x="31" y="25"/>
                      <a:pt x="31" y="25"/>
                    </a:cubicBezTo>
                    <a:cubicBezTo>
                      <a:pt x="30" y="24"/>
                      <a:pt x="31" y="23"/>
                      <a:pt x="31" y="22"/>
                    </a:cubicBezTo>
                    <a:cubicBezTo>
                      <a:pt x="32" y="22"/>
                      <a:pt x="32" y="21"/>
                      <a:pt x="32" y="21"/>
                    </a:cubicBezTo>
                    <a:cubicBezTo>
                      <a:pt x="32" y="20"/>
                      <a:pt x="32" y="20"/>
                      <a:pt x="32" y="19"/>
                    </a:cubicBezTo>
                    <a:cubicBezTo>
                      <a:pt x="32" y="18"/>
                      <a:pt x="32" y="18"/>
                      <a:pt x="33" y="18"/>
                    </a:cubicBezTo>
                    <a:cubicBezTo>
                      <a:pt x="35" y="17"/>
                      <a:pt x="34" y="17"/>
                      <a:pt x="35" y="16"/>
                    </a:cubicBezTo>
                    <a:cubicBezTo>
                      <a:pt x="36" y="15"/>
                      <a:pt x="36" y="15"/>
                      <a:pt x="37" y="15"/>
                    </a:cubicBezTo>
                    <a:cubicBezTo>
                      <a:pt x="38" y="16"/>
                      <a:pt x="38" y="15"/>
                      <a:pt x="38" y="14"/>
                    </a:cubicBezTo>
                    <a:cubicBezTo>
                      <a:pt x="38" y="14"/>
                      <a:pt x="39" y="14"/>
                      <a:pt x="39" y="14"/>
                    </a:cubicBezTo>
                    <a:cubicBezTo>
                      <a:pt x="39" y="13"/>
                      <a:pt x="38" y="13"/>
                      <a:pt x="38" y="13"/>
                    </a:cubicBezTo>
                    <a:cubicBezTo>
                      <a:pt x="37" y="13"/>
                      <a:pt x="37" y="13"/>
                      <a:pt x="37" y="13"/>
                    </a:cubicBezTo>
                    <a:cubicBezTo>
                      <a:pt x="37" y="12"/>
                      <a:pt x="37" y="11"/>
                      <a:pt x="37" y="10"/>
                    </a:cubicBezTo>
                    <a:cubicBezTo>
                      <a:pt x="38" y="9"/>
                      <a:pt x="38" y="9"/>
                      <a:pt x="36" y="8"/>
                    </a:cubicBezTo>
                    <a:cubicBezTo>
                      <a:pt x="35" y="8"/>
                      <a:pt x="35" y="7"/>
                      <a:pt x="34" y="6"/>
                    </a:cubicBezTo>
                    <a:cubicBezTo>
                      <a:pt x="34" y="5"/>
                      <a:pt x="33" y="5"/>
                      <a:pt x="32" y="4"/>
                    </a:cubicBezTo>
                    <a:cubicBezTo>
                      <a:pt x="31" y="3"/>
                      <a:pt x="31" y="3"/>
                      <a:pt x="30" y="3"/>
                    </a:cubicBezTo>
                    <a:cubicBezTo>
                      <a:pt x="29" y="3"/>
                      <a:pt x="28" y="3"/>
                      <a:pt x="27" y="2"/>
                    </a:cubicBezTo>
                    <a:cubicBezTo>
                      <a:pt x="27" y="1"/>
                      <a:pt x="26" y="1"/>
                      <a:pt x="26" y="0"/>
                    </a:cubicBezTo>
                    <a:cubicBezTo>
                      <a:pt x="26" y="0"/>
                      <a:pt x="26" y="0"/>
                      <a:pt x="25" y="0"/>
                    </a:cubicBezTo>
                    <a:cubicBezTo>
                      <a:pt x="25" y="0"/>
                      <a:pt x="25" y="1"/>
                      <a:pt x="24" y="1"/>
                    </a:cubicBezTo>
                    <a:cubicBezTo>
                      <a:pt x="24" y="1"/>
                      <a:pt x="24" y="2"/>
                      <a:pt x="23" y="2"/>
                    </a:cubicBezTo>
                    <a:cubicBezTo>
                      <a:pt x="23" y="2"/>
                      <a:pt x="22" y="2"/>
                      <a:pt x="22" y="2"/>
                    </a:cubicBezTo>
                    <a:cubicBezTo>
                      <a:pt x="21" y="2"/>
                      <a:pt x="21" y="2"/>
                      <a:pt x="21" y="2"/>
                    </a:cubicBezTo>
                    <a:cubicBezTo>
                      <a:pt x="20" y="2"/>
                      <a:pt x="20" y="1"/>
                      <a:pt x="20" y="1"/>
                    </a:cubicBezTo>
                    <a:cubicBezTo>
                      <a:pt x="19" y="1"/>
                      <a:pt x="18" y="1"/>
                      <a:pt x="18" y="1"/>
                    </a:cubicBezTo>
                    <a:cubicBezTo>
                      <a:pt x="18" y="1"/>
                      <a:pt x="18" y="1"/>
                      <a:pt x="17" y="1"/>
                    </a:cubicBezTo>
                    <a:cubicBezTo>
                      <a:pt x="17" y="1"/>
                      <a:pt x="17" y="1"/>
                      <a:pt x="16" y="1"/>
                    </a:cubicBezTo>
                    <a:cubicBezTo>
                      <a:pt x="15" y="0"/>
                      <a:pt x="15" y="1"/>
                      <a:pt x="14" y="1"/>
                    </a:cubicBezTo>
                    <a:cubicBezTo>
                      <a:pt x="14" y="1"/>
                      <a:pt x="14" y="1"/>
                      <a:pt x="13" y="0"/>
                    </a:cubicBezTo>
                    <a:cubicBezTo>
                      <a:pt x="12" y="0"/>
                      <a:pt x="12" y="1"/>
                      <a:pt x="11" y="1"/>
                    </a:cubicBezTo>
                    <a:cubicBezTo>
                      <a:pt x="10" y="1"/>
                      <a:pt x="10" y="0"/>
                      <a:pt x="10" y="0"/>
                    </a:cubicBezTo>
                    <a:cubicBezTo>
                      <a:pt x="9" y="0"/>
                      <a:pt x="9" y="0"/>
                      <a:pt x="8" y="0"/>
                    </a:cubicBezTo>
                    <a:cubicBezTo>
                      <a:pt x="8" y="0"/>
                      <a:pt x="7" y="0"/>
                      <a:pt x="7" y="0"/>
                    </a:cubicBezTo>
                    <a:cubicBezTo>
                      <a:pt x="6" y="0"/>
                      <a:pt x="6" y="1"/>
                      <a:pt x="5" y="1"/>
                    </a:cubicBezTo>
                    <a:cubicBezTo>
                      <a:pt x="4" y="1"/>
                      <a:pt x="3" y="2"/>
                      <a:pt x="2" y="2"/>
                    </a:cubicBezTo>
                    <a:cubicBezTo>
                      <a:pt x="2" y="3"/>
                      <a:pt x="2" y="3"/>
                      <a:pt x="1" y="3"/>
                    </a:cubicBezTo>
                    <a:cubicBezTo>
                      <a:pt x="1" y="4"/>
                      <a:pt x="1" y="4"/>
                      <a:pt x="0" y="4"/>
                    </a:cubicBezTo>
                    <a:cubicBezTo>
                      <a:pt x="0" y="5"/>
                      <a:pt x="0" y="6"/>
                      <a:pt x="0" y="8"/>
                    </a:cubicBezTo>
                    <a:cubicBezTo>
                      <a:pt x="0" y="9"/>
                      <a:pt x="0" y="10"/>
                      <a:pt x="0" y="11"/>
                    </a:cubicBezTo>
                    <a:cubicBezTo>
                      <a:pt x="0" y="11"/>
                      <a:pt x="0" y="12"/>
                      <a:pt x="1" y="11"/>
                    </a:cubicBezTo>
                    <a:cubicBezTo>
                      <a:pt x="1" y="10"/>
                      <a:pt x="0" y="9"/>
                      <a:pt x="1" y="9"/>
                    </a:cubicBezTo>
                    <a:cubicBezTo>
                      <a:pt x="1" y="10"/>
                      <a:pt x="1" y="10"/>
                      <a:pt x="1" y="11"/>
                    </a:cubicBezTo>
                    <a:cubicBezTo>
                      <a:pt x="1" y="12"/>
                      <a:pt x="1" y="12"/>
                      <a:pt x="1" y="13"/>
                    </a:cubicBezTo>
                    <a:cubicBezTo>
                      <a:pt x="2" y="13"/>
                      <a:pt x="2" y="13"/>
                      <a:pt x="2" y="14"/>
                    </a:cubicBezTo>
                    <a:cubicBezTo>
                      <a:pt x="2" y="13"/>
                      <a:pt x="2" y="14"/>
                      <a:pt x="3" y="14"/>
                    </a:cubicBezTo>
                    <a:cubicBezTo>
                      <a:pt x="3" y="14"/>
                      <a:pt x="3" y="14"/>
                      <a:pt x="3" y="15"/>
                    </a:cubicBezTo>
                    <a:cubicBezTo>
                      <a:pt x="4" y="15"/>
                      <a:pt x="4" y="15"/>
                      <a:pt x="4" y="14"/>
                    </a:cubicBezTo>
                    <a:cubicBezTo>
                      <a:pt x="4" y="15"/>
                      <a:pt x="4" y="15"/>
                      <a:pt x="4" y="15"/>
                    </a:cubicBezTo>
                    <a:cubicBezTo>
                      <a:pt x="4" y="15"/>
                      <a:pt x="5" y="15"/>
                      <a:pt x="5" y="15"/>
                    </a:cubicBezTo>
                    <a:cubicBezTo>
                      <a:pt x="5" y="16"/>
                      <a:pt x="6" y="16"/>
                      <a:pt x="7" y="16"/>
                    </a:cubicBezTo>
                    <a:cubicBezTo>
                      <a:pt x="7" y="16"/>
                      <a:pt x="7" y="17"/>
                      <a:pt x="8" y="17"/>
                    </a:cubicBezTo>
                    <a:cubicBezTo>
                      <a:pt x="8" y="16"/>
                      <a:pt x="8" y="16"/>
                      <a:pt x="8" y="16"/>
                    </a:cubicBezTo>
                    <a:cubicBezTo>
                      <a:pt x="8" y="16"/>
                      <a:pt x="9" y="16"/>
                      <a:pt x="9" y="16"/>
                    </a:cubicBezTo>
                    <a:cubicBezTo>
                      <a:pt x="9" y="16"/>
                      <a:pt x="10" y="16"/>
                      <a:pt x="10" y="16"/>
                    </a:cubicBezTo>
                    <a:cubicBezTo>
                      <a:pt x="10" y="16"/>
                      <a:pt x="10" y="17"/>
                      <a:pt x="11" y="17"/>
                    </a:cubicBezTo>
                    <a:cubicBezTo>
                      <a:pt x="11" y="18"/>
                      <a:pt x="12" y="18"/>
                      <a:pt x="12" y="18"/>
                    </a:cubicBezTo>
                    <a:cubicBezTo>
                      <a:pt x="13" y="19"/>
                      <a:pt x="11" y="20"/>
                      <a:pt x="11" y="21"/>
                    </a:cubicBezTo>
                    <a:cubicBezTo>
                      <a:pt x="11" y="22"/>
                      <a:pt x="11" y="22"/>
                      <a:pt x="11" y="23"/>
                    </a:cubicBezTo>
                    <a:cubicBezTo>
                      <a:pt x="11" y="23"/>
                      <a:pt x="11" y="24"/>
                      <a:pt x="12" y="24"/>
                    </a:cubicBezTo>
                    <a:cubicBezTo>
                      <a:pt x="11" y="24"/>
                      <a:pt x="11" y="24"/>
                      <a:pt x="11" y="24"/>
                    </a:cubicBezTo>
                    <a:cubicBezTo>
                      <a:pt x="12" y="24"/>
                      <a:pt x="12" y="24"/>
                      <a:pt x="13" y="24"/>
                    </a:cubicBezTo>
                    <a:cubicBezTo>
                      <a:pt x="13" y="24"/>
                      <a:pt x="13" y="25"/>
                      <a:pt x="14" y="25"/>
                    </a:cubicBezTo>
                    <a:cubicBezTo>
                      <a:pt x="14" y="25"/>
                      <a:pt x="14" y="25"/>
                      <a:pt x="15" y="25"/>
                    </a:cubicBezTo>
                    <a:cubicBezTo>
                      <a:pt x="16" y="26"/>
                      <a:pt x="16" y="28"/>
                      <a:pt x="16" y="29"/>
                    </a:cubicBezTo>
                    <a:cubicBezTo>
                      <a:pt x="17" y="29"/>
                      <a:pt x="17" y="29"/>
                      <a:pt x="18"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9" name="Freeform 804">
                <a:extLst>
                  <a:ext uri="{FF2B5EF4-FFF2-40B4-BE49-F238E27FC236}">
                    <a16:creationId xmlns:a16="http://schemas.microsoft.com/office/drawing/2014/main" id="{63C0A084-E624-50A7-76F2-F7257EA3B6C3}"/>
                  </a:ext>
                </a:extLst>
              </p:cNvPr>
              <p:cNvSpPr>
                <a:spLocks/>
              </p:cNvSpPr>
              <p:nvPr/>
            </p:nvSpPr>
            <p:spPr bwMode="auto">
              <a:xfrm>
                <a:off x="5967413" y="2867025"/>
                <a:ext cx="203200" cy="125413"/>
              </a:xfrm>
              <a:custGeom>
                <a:avLst/>
                <a:gdLst>
                  <a:gd name="T0" fmla="*/ 42 w 49"/>
                  <a:gd name="T1" fmla="*/ 28 h 30"/>
                  <a:gd name="T2" fmla="*/ 45 w 49"/>
                  <a:gd name="T3" fmla="*/ 28 h 30"/>
                  <a:gd name="T4" fmla="*/ 47 w 49"/>
                  <a:gd name="T5" fmla="*/ 25 h 30"/>
                  <a:gd name="T6" fmla="*/ 49 w 49"/>
                  <a:gd name="T7" fmla="*/ 21 h 30"/>
                  <a:gd name="T8" fmla="*/ 48 w 49"/>
                  <a:gd name="T9" fmla="*/ 19 h 30"/>
                  <a:gd name="T10" fmla="*/ 47 w 49"/>
                  <a:gd name="T11" fmla="*/ 16 h 30"/>
                  <a:gd name="T12" fmla="*/ 45 w 49"/>
                  <a:gd name="T13" fmla="*/ 16 h 30"/>
                  <a:gd name="T14" fmla="*/ 46 w 49"/>
                  <a:gd name="T15" fmla="*/ 12 h 30"/>
                  <a:gd name="T16" fmla="*/ 47 w 49"/>
                  <a:gd name="T17" fmla="*/ 10 h 30"/>
                  <a:gd name="T18" fmla="*/ 45 w 49"/>
                  <a:gd name="T19" fmla="*/ 8 h 30"/>
                  <a:gd name="T20" fmla="*/ 42 w 49"/>
                  <a:gd name="T21" fmla="*/ 7 h 30"/>
                  <a:gd name="T22" fmla="*/ 40 w 49"/>
                  <a:gd name="T23" fmla="*/ 7 h 30"/>
                  <a:gd name="T24" fmla="*/ 37 w 49"/>
                  <a:gd name="T25" fmla="*/ 6 h 30"/>
                  <a:gd name="T26" fmla="*/ 35 w 49"/>
                  <a:gd name="T27" fmla="*/ 4 h 30"/>
                  <a:gd name="T28" fmla="*/ 33 w 49"/>
                  <a:gd name="T29" fmla="*/ 3 h 30"/>
                  <a:gd name="T30" fmla="*/ 31 w 49"/>
                  <a:gd name="T31" fmla="*/ 2 h 30"/>
                  <a:gd name="T32" fmla="*/ 30 w 49"/>
                  <a:gd name="T33" fmla="*/ 1 h 30"/>
                  <a:gd name="T34" fmla="*/ 29 w 49"/>
                  <a:gd name="T35" fmla="*/ 1 h 30"/>
                  <a:gd name="T36" fmla="*/ 27 w 49"/>
                  <a:gd name="T37" fmla="*/ 1 h 30"/>
                  <a:gd name="T38" fmla="*/ 25 w 49"/>
                  <a:gd name="T39" fmla="*/ 2 h 30"/>
                  <a:gd name="T40" fmla="*/ 23 w 49"/>
                  <a:gd name="T41" fmla="*/ 5 h 30"/>
                  <a:gd name="T42" fmla="*/ 22 w 49"/>
                  <a:gd name="T43" fmla="*/ 12 h 30"/>
                  <a:gd name="T44" fmla="*/ 18 w 49"/>
                  <a:gd name="T45" fmla="*/ 14 h 30"/>
                  <a:gd name="T46" fmla="*/ 16 w 49"/>
                  <a:gd name="T47" fmla="*/ 11 h 30"/>
                  <a:gd name="T48" fmla="*/ 12 w 49"/>
                  <a:gd name="T49" fmla="*/ 7 h 30"/>
                  <a:gd name="T50" fmla="*/ 11 w 49"/>
                  <a:gd name="T51" fmla="*/ 5 h 30"/>
                  <a:gd name="T52" fmla="*/ 8 w 49"/>
                  <a:gd name="T53" fmla="*/ 6 h 30"/>
                  <a:gd name="T54" fmla="*/ 4 w 49"/>
                  <a:gd name="T55" fmla="*/ 9 h 30"/>
                  <a:gd name="T56" fmla="*/ 3 w 49"/>
                  <a:gd name="T57" fmla="*/ 14 h 30"/>
                  <a:gd name="T58" fmla="*/ 1 w 49"/>
                  <a:gd name="T59" fmla="*/ 17 h 30"/>
                  <a:gd name="T60" fmla="*/ 1 w 49"/>
                  <a:gd name="T61" fmla="*/ 20 h 30"/>
                  <a:gd name="T62" fmla="*/ 1 w 49"/>
                  <a:gd name="T63" fmla="*/ 23 h 30"/>
                  <a:gd name="T64" fmla="*/ 3 w 49"/>
                  <a:gd name="T65" fmla="*/ 23 h 30"/>
                  <a:gd name="T66" fmla="*/ 9 w 49"/>
                  <a:gd name="T67" fmla="*/ 21 h 30"/>
                  <a:gd name="T68" fmla="*/ 12 w 49"/>
                  <a:gd name="T69" fmla="*/ 22 h 30"/>
                  <a:gd name="T70" fmla="*/ 15 w 49"/>
                  <a:gd name="T71" fmla="*/ 22 h 30"/>
                  <a:gd name="T72" fmla="*/ 18 w 49"/>
                  <a:gd name="T73" fmla="*/ 22 h 30"/>
                  <a:gd name="T74" fmla="*/ 20 w 49"/>
                  <a:gd name="T75" fmla="*/ 22 h 30"/>
                  <a:gd name="T76" fmla="*/ 23 w 49"/>
                  <a:gd name="T77" fmla="*/ 23 h 30"/>
                  <a:gd name="T78" fmla="*/ 26 w 49"/>
                  <a:gd name="T79" fmla="*/ 21 h 30"/>
                  <a:gd name="T80" fmla="*/ 28 w 49"/>
                  <a:gd name="T81" fmla="*/ 23 h 30"/>
                  <a:gd name="T82" fmla="*/ 33 w 49"/>
                  <a:gd name="T83" fmla="*/ 26 h 30"/>
                  <a:gd name="T84" fmla="*/ 36 w 49"/>
                  <a:gd name="T85" fmla="*/ 28 h 30"/>
                  <a:gd name="T86" fmla="*/ 38 w 49"/>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30">
                    <a:moveTo>
                      <a:pt x="41" y="28"/>
                    </a:moveTo>
                    <a:cubicBezTo>
                      <a:pt x="41" y="28"/>
                      <a:pt x="42" y="28"/>
                      <a:pt x="42" y="28"/>
                    </a:cubicBezTo>
                    <a:cubicBezTo>
                      <a:pt x="43" y="28"/>
                      <a:pt x="43" y="29"/>
                      <a:pt x="43" y="28"/>
                    </a:cubicBezTo>
                    <a:cubicBezTo>
                      <a:pt x="44" y="28"/>
                      <a:pt x="45" y="29"/>
                      <a:pt x="45" y="28"/>
                    </a:cubicBezTo>
                    <a:cubicBezTo>
                      <a:pt x="46" y="27"/>
                      <a:pt x="46" y="27"/>
                      <a:pt x="46" y="26"/>
                    </a:cubicBezTo>
                    <a:cubicBezTo>
                      <a:pt x="47" y="26"/>
                      <a:pt x="47" y="25"/>
                      <a:pt x="47" y="25"/>
                    </a:cubicBezTo>
                    <a:cubicBezTo>
                      <a:pt x="48" y="24"/>
                      <a:pt x="49" y="24"/>
                      <a:pt x="49" y="23"/>
                    </a:cubicBezTo>
                    <a:cubicBezTo>
                      <a:pt x="49" y="22"/>
                      <a:pt x="49" y="22"/>
                      <a:pt x="49" y="21"/>
                    </a:cubicBezTo>
                    <a:cubicBezTo>
                      <a:pt x="49" y="20"/>
                      <a:pt x="49" y="20"/>
                      <a:pt x="48" y="19"/>
                    </a:cubicBezTo>
                    <a:cubicBezTo>
                      <a:pt x="48" y="19"/>
                      <a:pt x="48" y="19"/>
                      <a:pt x="48" y="19"/>
                    </a:cubicBezTo>
                    <a:cubicBezTo>
                      <a:pt x="48" y="18"/>
                      <a:pt x="48" y="18"/>
                      <a:pt x="48" y="17"/>
                    </a:cubicBezTo>
                    <a:cubicBezTo>
                      <a:pt x="47" y="17"/>
                      <a:pt x="47" y="17"/>
                      <a:pt x="47" y="16"/>
                    </a:cubicBezTo>
                    <a:cubicBezTo>
                      <a:pt x="47" y="16"/>
                      <a:pt x="47" y="16"/>
                      <a:pt x="47" y="15"/>
                    </a:cubicBezTo>
                    <a:cubicBezTo>
                      <a:pt x="46" y="15"/>
                      <a:pt x="46" y="16"/>
                      <a:pt x="45" y="16"/>
                    </a:cubicBezTo>
                    <a:cubicBezTo>
                      <a:pt x="46" y="15"/>
                      <a:pt x="46" y="15"/>
                      <a:pt x="46" y="14"/>
                    </a:cubicBezTo>
                    <a:cubicBezTo>
                      <a:pt x="46" y="13"/>
                      <a:pt x="46" y="13"/>
                      <a:pt x="46" y="12"/>
                    </a:cubicBezTo>
                    <a:cubicBezTo>
                      <a:pt x="46" y="12"/>
                      <a:pt x="47" y="12"/>
                      <a:pt x="47" y="12"/>
                    </a:cubicBezTo>
                    <a:cubicBezTo>
                      <a:pt x="47" y="11"/>
                      <a:pt x="47" y="11"/>
                      <a:pt x="47" y="10"/>
                    </a:cubicBezTo>
                    <a:cubicBezTo>
                      <a:pt x="47" y="10"/>
                      <a:pt x="46" y="9"/>
                      <a:pt x="46" y="9"/>
                    </a:cubicBezTo>
                    <a:cubicBezTo>
                      <a:pt x="45" y="9"/>
                      <a:pt x="45" y="9"/>
                      <a:pt x="45" y="8"/>
                    </a:cubicBezTo>
                    <a:cubicBezTo>
                      <a:pt x="45" y="7"/>
                      <a:pt x="45" y="7"/>
                      <a:pt x="44" y="7"/>
                    </a:cubicBezTo>
                    <a:cubicBezTo>
                      <a:pt x="43" y="7"/>
                      <a:pt x="43" y="7"/>
                      <a:pt x="42" y="7"/>
                    </a:cubicBezTo>
                    <a:cubicBezTo>
                      <a:pt x="42" y="7"/>
                      <a:pt x="42" y="6"/>
                      <a:pt x="41" y="6"/>
                    </a:cubicBezTo>
                    <a:cubicBezTo>
                      <a:pt x="40" y="6"/>
                      <a:pt x="40" y="6"/>
                      <a:pt x="40" y="7"/>
                    </a:cubicBezTo>
                    <a:cubicBezTo>
                      <a:pt x="39" y="7"/>
                      <a:pt x="39" y="7"/>
                      <a:pt x="38" y="7"/>
                    </a:cubicBezTo>
                    <a:cubicBezTo>
                      <a:pt x="38" y="7"/>
                      <a:pt x="37" y="7"/>
                      <a:pt x="37" y="6"/>
                    </a:cubicBezTo>
                    <a:cubicBezTo>
                      <a:pt x="36" y="6"/>
                      <a:pt x="36" y="5"/>
                      <a:pt x="36" y="5"/>
                    </a:cubicBezTo>
                    <a:cubicBezTo>
                      <a:pt x="35" y="4"/>
                      <a:pt x="35" y="4"/>
                      <a:pt x="35" y="4"/>
                    </a:cubicBezTo>
                    <a:cubicBezTo>
                      <a:pt x="34" y="3"/>
                      <a:pt x="35" y="3"/>
                      <a:pt x="34" y="3"/>
                    </a:cubicBezTo>
                    <a:cubicBezTo>
                      <a:pt x="33" y="3"/>
                      <a:pt x="33" y="3"/>
                      <a:pt x="33" y="3"/>
                    </a:cubicBezTo>
                    <a:cubicBezTo>
                      <a:pt x="33" y="3"/>
                      <a:pt x="33" y="2"/>
                      <a:pt x="32" y="2"/>
                    </a:cubicBezTo>
                    <a:cubicBezTo>
                      <a:pt x="32" y="3"/>
                      <a:pt x="31" y="2"/>
                      <a:pt x="31" y="2"/>
                    </a:cubicBezTo>
                    <a:cubicBezTo>
                      <a:pt x="31" y="1"/>
                      <a:pt x="31" y="1"/>
                      <a:pt x="30" y="1"/>
                    </a:cubicBezTo>
                    <a:cubicBezTo>
                      <a:pt x="30" y="1"/>
                      <a:pt x="30" y="1"/>
                      <a:pt x="30" y="1"/>
                    </a:cubicBezTo>
                    <a:cubicBezTo>
                      <a:pt x="30" y="1"/>
                      <a:pt x="30" y="0"/>
                      <a:pt x="30" y="0"/>
                    </a:cubicBezTo>
                    <a:cubicBezTo>
                      <a:pt x="29" y="1"/>
                      <a:pt x="30" y="1"/>
                      <a:pt x="29" y="1"/>
                    </a:cubicBezTo>
                    <a:cubicBezTo>
                      <a:pt x="29" y="2"/>
                      <a:pt x="29" y="1"/>
                      <a:pt x="29" y="0"/>
                    </a:cubicBezTo>
                    <a:cubicBezTo>
                      <a:pt x="28" y="0"/>
                      <a:pt x="28" y="1"/>
                      <a:pt x="27" y="1"/>
                    </a:cubicBezTo>
                    <a:cubicBezTo>
                      <a:pt x="27" y="1"/>
                      <a:pt x="26" y="1"/>
                      <a:pt x="26" y="2"/>
                    </a:cubicBezTo>
                    <a:cubicBezTo>
                      <a:pt x="26" y="2"/>
                      <a:pt x="25" y="2"/>
                      <a:pt x="25" y="2"/>
                    </a:cubicBezTo>
                    <a:cubicBezTo>
                      <a:pt x="24" y="2"/>
                      <a:pt x="24" y="3"/>
                      <a:pt x="23" y="3"/>
                    </a:cubicBezTo>
                    <a:cubicBezTo>
                      <a:pt x="23" y="3"/>
                      <a:pt x="23" y="4"/>
                      <a:pt x="23" y="5"/>
                    </a:cubicBezTo>
                    <a:cubicBezTo>
                      <a:pt x="23" y="6"/>
                      <a:pt x="23" y="7"/>
                      <a:pt x="23" y="7"/>
                    </a:cubicBezTo>
                    <a:cubicBezTo>
                      <a:pt x="24" y="9"/>
                      <a:pt x="24" y="11"/>
                      <a:pt x="22" y="12"/>
                    </a:cubicBezTo>
                    <a:cubicBezTo>
                      <a:pt x="22" y="13"/>
                      <a:pt x="21" y="13"/>
                      <a:pt x="20" y="14"/>
                    </a:cubicBezTo>
                    <a:cubicBezTo>
                      <a:pt x="19" y="14"/>
                      <a:pt x="19" y="14"/>
                      <a:pt x="18" y="14"/>
                    </a:cubicBezTo>
                    <a:cubicBezTo>
                      <a:pt x="18" y="13"/>
                      <a:pt x="17" y="13"/>
                      <a:pt x="16" y="13"/>
                    </a:cubicBezTo>
                    <a:cubicBezTo>
                      <a:pt x="16" y="12"/>
                      <a:pt x="16" y="11"/>
                      <a:pt x="16" y="11"/>
                    </a:cubicBezTo>
                    <a:cubicBezTo>
                      <a:pt x="16" y="10"/>
                      <a:pt x="15" y="9"/>
                      <a:pt x="14" y="9"/>
                    </a:cubicBezTo>
                    <a:cubicBezTo>
                      <a:pt x="14" y="8"/>
                      <a:pt x="13" y="7"/>
                      <a:pt x="12" y="7"/>
                    </a:cubicBezTo>
                    <a:cubicBezTo>
                      <a:pt x="12" y="6"/>
                      <a:pt x="12" y="6"/>
                      <a:pt x="12" y="6"/>
                    </a:cubicBezTo>
                    <a:cubicBezTo>
                      <a:pt x="11" y="5"/>
                      <a:pt x="12" y="5"/>
                      <a:pt x="11" y="5"/>
                    </a:cubicBezTo>
                    <a:cubicBezTo>
                      <a:pt x="11" y="4"/>
                      <a:pt x="10" y="5"/>
                      <a:pt x="10" y="5"/>
                    </a:cubicBezTo>
                    <a:cubicBezTo>
                      <a:pt x="9" y="6"/>
                      <a:pt x="9" y="6"/>
                      <a:pt x="8" y="6"/>
                    </a:cubicBezTo>
                    <a:cubicBezTo>
                      <a:pt x="7" y="6"/>
                      <a:pt x="6" y="6"/>
                      <a:pt x="5" y="7"/>
                    </a:cubicBezTo>
                    <a:cubicBezTo>
                      <a:pt x="5" y="8"/>
                      <a:pt x="4" y="8"/>
                      <a:pt x="4" y="9"/>
                    </a:cubicBezTo>
                    <a:cubicBezTo>
                      <a:pt x="4" y="10"/>
                      <a:pt x="3" y="10"/>
                      <a:pt x="3" y="11"/>
                    </a:cubicBezTo>
                    <a:cubicBezTo>
                      <a:pt x="3" y="12"/>
                      <a:pt x="4" y="13"/>
                      <a:pt x="3" y="14"/>
                    </a:cubicBezTo>
                    <a:cubicBezTo>
                      <a:pt x="3" y="15"/>
                      <a:pt x="2" y="15"/>
                      <a:pt x="1" y="16"/>
                    </a:cubicBezTo>
                    <a:cubicBezTo>
                      <a:pt x="1" y="16"/>
                      <a:pt x="1" y="17"/>
                      <a:pt x="1" y="17"/>
                    </a:cubicBezTo>
                    <a:cubicBezTo>
                      <a:pt x="1" y="18"/>
                      <a:pt x="1" y="18"/>
                      <a:pt x="1" y="19"/>
                    </a:cubicBezTo>
                    <a:cubicBezTo>
                      <a:pt x="1" y="20"/>
                      <a:pt x="1" y="20"/>
                      <a:pt x="1" y="20"/>
                    </a:cubicBezTo>
                    <a:cubicBezTo>
                      <a:pt x="1" y="21"/>
                      <a:pt x="1" y="21"/>
                      <a:pt x="1" y="21"/>
                    </a:cubicBezTo>
                    <a:cubicBezTo>
                      <a:pt x="1" y="22"/>
                      <a:pt x="0" y="22"/>
                      <a:pt x="1" y="23"/>
                    </a:cubicBezTo>
                    <a:cubicBezTo>
                      <a:pt x="1" y="24"/>
                      <a:pt x="1" y="24"/>
                      <a:pt x="1" y="25"/>
                    </a:cubicBezTo>
                    <a:cubicBezTo>
                      <a:pt x="2" y="25"/>
                      <a:pt x="2" y="24"/>
                      <a:pt x="3" y="23"/>
                    </a:cubicBezTo>
                    <a:cubicBezTo>
                      <a:pt x="4" y="23"/>
                      <a:pt x="5" y="22"/>
                      <a:pt x="6" y="22"/>
                    </a:cubicBezTo>
                    <a:cubicBezTo>
                      <a:pt x="7" y="22"/>
                      <a:pt x="8" y="21"/>
                      <a:pt x="9" y="21"/>
                    </a:cubicBezTo>
                    <a:cubicBezTo>
                      <a:pt x="9" y="21"/>
                      <a:pt x="10" y="21"/>
                      <a:pt x="11" y="21"/>
                    </a:cubicBezTo>
                    <a:cubicBezTo>
                      <a:pt x="11" y="21"/>
                      <a:pt x="11" y="22"/>
                      <a:pt x="12" y="22"/>
                    </a:cubicBezTo>
                    <a:cubicBezTo>
                      <a:pt x="13" y="22"/>
                      <a:pt x="13" y="21"/>
                      <a:pt x="14" y="21"/>
                    </a:cubicBezTo>
                    <a:cubicBezTo>
                      <a:pt x="15" y="22"/>
                      <a:pt x="15" y="23"/>
                      <a:pt x="15" y="22"/>
                    </a:cubicBezTo>
                    <a:cubicBezTo>
                      <a:pt x="16" y="22"/>
                      <a:pt x="16" y="21"/>
                      <a:pt x="17" y="22"/>
                    </a:cubicBezTo>
                    <a:cubicBezTo>
                      <a:pt x="17" y="22"/>
                      <a:pt x="18" y="22"/>
                      <a:pt x="18" y="22"/>
                    </a:cubicBezTo>
                    <a:cubicBezTo>
                      <a:pt x="18" y="22"/>
                      <a:pt x="19" y="21"/>
                      <a:pt x="19" y="22"/>
                    </a:cubicBezTo>
                    <a:cubicBezTo>
                      <a:pt x="19" y="22"/>
                      <a:pt x="20" y="22"/>
                      <a:pt x="20" y="22"/>
                    </a:cubicBezTo>
                    <a:cubicBezTo>
                      <a:pt x="21" y="22"/>
                      <a:pt x="21" y="22"/>
                      <a:pt x="22" y="23"/>
                    </a:cubicBezTo>
                    <a:cubicBezTo>
                      <a:pt x="22" y="23"/>
                      <a:pt x="22" y="23"/>
                      <a:pt x="23" y="23"/>
                    </a:cubicBezTo>
                    <a:cubicBezTo>
                      <a:pt x="23" y="23"/>
                      <a:pt x="24" y="23"/>
                      <a:pt x="24" y="23"/>
                    </a:cubicBezTo>
                    <a:cubicBezTo>
                      <a:pt x="25" y="22"/>
                      <a:pt x="26" y="21"/>
                      <a:pt x="26" y="21"/>
                    </a:cubicBezTo>
                    <a:cubicBezTo>
                      <a:pt x="27" y="21"/>
                      <a:pt x="27" y="21"/>
                      <a:pt x="27" y="21"/>
                    </a:cubicBezTo>
                    <a:cubicBezTo>
                      <a:pt x="27" y="22"/>
                      <a:pt x="28" y="22"/>
                      <a:pt x="28" y="23"/>
                    </a:cubicBezTo>
                    <a:cubicBezTo>
                      <a:pt x="29" y="24"/>
                      <a:pt x="30" y="24"/>
                      <a:pt x="31" y="24"/>
                    </a:cubicBezTo>
                    <a:cubicBezTo>
                      <a:pt x="32" y="24"/>
                      <a:pt x="33" y="25"/>
                      <a:pt x="33" y="26"/>
                    </a:cubicBezTo>
                    <a:cubicBezTo>
                      <a:pt x="34" y="26"/>
                      <a:pt x="34" y="26"/>
                      <a:pt x="35" y="27"/>
                    </a:cubicBezTo>
                    <a:cubicBezTo>
                      <a:pt x="35" y="27"/>
                      <a:pt x="35" y="28"/>
                      <a:pt x="36" y="28"/>
                    </a:cubicBezTo>
                    <a:cubicBezTo>
                      <a:pt x="36" y="29"/>
                      <a:pt x="36" y="29"/>
                      <a:pt x="37" y="29"/>
                    </a:cubicBezTo>
                    <a:cubicBezTo>
                      <a:pt x="37" y="30"/>
                      <a:pt x="38" y="29"/>
                      <a:pt x="38" y="30"/>
                    </a:cubicBezTo>
                    <a:cubicBezTo>
                      <a:pt x="39" y="30"/>
                      <a:pt x="40" y="29"/>
                      <a:pt x="41"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0" name="Freeform 805">
                <a:extLst>
                  <a:ext uri="{FF2B5EF4-FFF2-40B4-BE49-F238E27FC236}">
                    <a16:creationId xmlns:a16="http://schemas.microsoft.com/office/drawing/2014/main" id="{CE4BA62E-E8DB-1883-0BE9-EDE474002F0E}"/>
                  </a:ext>
                </a:extLst>
              </p:cNvPr>
              <p:cNvSpPr>
                <a:spLocks noEditPoints="1"/>
              </p:cNvSpPr>
              <p:nvPr/>
            </p:nvSpPr>
            <p:spPr bwMode="auto">
              <a:xfrm>
                <a:off x="5567363" y="3379788"/>
                <a:ext cx="333375" cy="395288"/>
              </a:xfrm>
              <a:custGeom>
                <a:avLst/>
                <a:gdLst>
                  <a:gd name="T0" fmla="*/ 58 w 80"/>
                  <a:gd name="T1" fmla="*/ 90 h 95"/>
                  <a:gd name="T2" fmla="*/ 54 w 80"/>
                  <a:gd name="T3" fmla="*/ 94 h 95"/>
                  <a:gd name="T4" fmla="*/ 39 w 80"/>
                  <a:gd name="T5" fmla="*/ 84 h 95"/>
                  <a:gd name="T6" fmla="*/ 45 w 80"/>
                  <a:gd name="T7" fmla="*/ 81 h 95"/>
                  <a:gd name="T8" fmla="*/ 51 w 80"/>
                  <a:gd name="T9" fmla="*/ 83 h 95"/>
                  <a:gd name="T10" fmla="*/ 58 w 80"/>
                  <a:gd name="T11" fmla="*/ 81 h 95"/>
                  <a:gd name="T12" fmla="*/ 59 w 80"/>
                  <a:gd name="T13" fmla="*/ 83 h 95"/>
                  <a:gd name="T14" fmla="*/ 45 w 80"/>
                  <a:gd name="T15" fmla="*/ 8 h 95"/>
                  <a:gd name="T16" fmla="*/ 39 w 80"/>
                  <a:gd name="T17" fmla="*/ 3 h 95"/>
                  <a:gd name="T18" fmla="*/ 35 w 80"/>
                  <a:gd name="T19" fmla="*/ 1 h 95"/>
                  <a:gd name="T20" fmla="*/ 26 w 80"/>
                  <a:gd name="T21" fmla="*/ 2 h 95"/>
                  <a:gd name="T22" fmla="*/ 23 w 80"/>
                  <a:gd name="T23" fmla="*/ 5 h 95"/>
                  <a:gd name="T24" fmla="*/ 23 w 80"/>
                  <a:gd name="T25" fmla="*/ 8 h 95"/>
                  <a:gd name="T26" fmla="*/ 17 w 80"/>
                  <a:gd name="T27" fmla="*/ 9 h 95"/>
                  <a:gd name="T28" fmla="*/ 15 w 80"/>
                  <a:gd name="T29" fmla="*/ 10 h 95"/>
                  <a:gd name="T30" fmla="*/ 11 w 80"/>
                  <a:gd name="T31" fmla="*/ 6 h 95"/>
                  <a:gd name="T32" fmla="*/ 8 w 80"/>
                  <a:gd name="T33" fmla="*/ 11 h 95"/>
                  <a:gd name="T34" fmla="*/ 2 w 80"/>
                  <a:gd name="T35" fmla="*/ 14 h 95"/>
                  <a:gd name="T36" fmla="*/ 2 w 80"/>
                  <a:gd name="T37" fmla="*/ 18 h 95"/>
                  <a:gd name="T38" fmla="*/ 1 w 80"/>
                  <a:gd name="T39" fmla="*/ 20 h 95"/>
                  <a:gd name="T40" fmla="*/ 3 w 80"/>
                  <a:gd name="T41" fmla="*/ 23 h 95"/>
                  <a:gd name="T42" fmla="*/ 2 w 80"/>
                  <a:gd name="T43" fmla="*/ 25 h 95"/>
                  <a:gd name="T44" fmla="*/ 6 w 80"/>
                  <a:gd name="T45" fmla="*/ 28 h 95"/>
                  <a:gd name="T46" fmla="*/ 6 w 80"/>
                  <a:gd name="T47" fmla="*/ 30 h 95"/>
                  <a:gd name="T48" fmla="*/ 13 w 80"/>
                  <a:gd name="T49" fmla="*/ 27 h 95"/>
                  <a:gd name="T50" fmla="*/ 21 w 80"/>
                  <a:gd name="T51" fmla="*/ 29 h 95"/>
                  <a:gd name="T52" fmla="*/ 26 w 80"/>
                  <a:gd name="T53" fmla="*/ 39 h 95"/>
                  <a:gd name="T54" fmla="*/ 30 w 80"/>
                  <a:gd name="T55" fmla="*/ 44 h 95"/>
                  <a:gd name="T56" fmla="*/ 38 w 80"/>
                  <a:gd name="T57" fmla="*/ 51 h 95"/>
                  <a:gd name="T58" fmla="*/ 44 w 80"/>
                  <a:gd name="T59" fmla="*/ 55 h 95"/>
                  <a:gd name="T60" fmla="*/ 52 w 80"/>
                  <a:gd name="T61" fmla="*/ 59 h 95"/>
                  <a:gd name="T62" fmla="*/ 60 w 80"/>
                  <a:gd name="T63" fmla="*/ 65 h 95"/>
                  <a:gd name="T64" fmla="*/ 63 w 80"/>
                  <a:gd name="T65" fmla="*/ 77 h 95"/>
                  <a:gd name="T66" fmla="*/ 61 w 80"/>
                  <a:gd name="T67" fmla="*/ 83 h 95"/>
                  <a:gd name="T68" fmla="*/ 67 w 80"/>
                  <a:gd name="T69" fmla="*/ 78 h 95"/>
                  <a:gd name="T70" fmla="*/ 70 w 80"/>
                  <a:gd name="T71" fmla="*/ 71 h 95"/>
                  <a:gd name="T72" fmla="*/ 68 w 80"/>
                  <a:gd name="T73" fmla="*/ 65 h 95"/>
                  <a:gd name="T74" fmla="*/ 71 w 80"/>
                  <a:gd name="T75" fmla="*/ 62 h 95"/>
                  <a:gd name="T76" fmla="*/ 77 w 80"/>
                  <a:gd name="T77" fmla="*/ 67 h 95"/>
                  <a:gd name="T78" fmla="*/ 75 w 80"/>
                  <a:gd name="T79" fmla="*/ 60 h 95"/>
                  <a:gd name="T80" fmla="*/ 63 w 80"/>
                  <a:gd name="T81" fmla="*/ 53 h 95"/>
                  <a:gd name="T82" fmla="*/ 59 w 80"/>
                  <a:gd name="T83" fmla="*/ 49 h 95"/>
                  <a:gd name="T84" fmla="*/ 49 w 80"/>
                  <a:gd name="T85" fmla="*/ 39 h 95"/>
                  <a:gd name="T86" fmla="*/ 40 w 80"/>
                  <a:gd name="T87" fmla="*/ 29 h 95"/>
                  <a:gd name="T88" fmla="*/ 39 w 80"/>
                  <a:gd name="T89" fmla="*/ 22 h 95"/>
                  <a:gd name="T90" fmla="*/ 37 w 80"/>
                  <a:gd name="T91" fmla="*/ 17 h 95"/>
                  <a:gd name="T92" fmla="*/ 43 w 80"/>
                  <a:gd name="T93" fmla="*/ 14 h 95"/>
                  <a:gd name="T94" fmla="*/ 21 w 80"/>
                  <a:gd name="T95" fmla="*/ 60 h 95"/>
                  <a:gd name="T96" fmla="*/ 19 w 80"/>
                  <a:gd name="T97" fmla="*/ 55 h 95"/>
                  <a:gd name="T98" fmla="*/ 14 w 80"/>
                  <a:gd name="T99" fmla="*/ 57 h 95"/>
                  <a:gd name="T100" fmla="*/ 10 w 80"/>
                  <a:gd name="T101" fmla="*/ 61 h 95"/>
                  <a:gd name="T102" fmla="*/ 12 w 80"/>
                  <a:gd name="T103" fmla="*/ 67 h 95"/>
                  <a:gd name="T104" fmla="*/ 12 w 80"/>
                  <a:gd name="T105" fmla="*/ 69 h 95"/>
                  <a:gd name="T106" fmla="*/ 14 w 80"/>
                  <a:gd name="T107" fmla="*/ 75 h 95"/>
                  <a:gd name="T108" fmla="*/ 20 w 80"/>
                  <a:gd name="T109" fmla="*/ 73 h 95"/>
                  <a:gd name="T110" fmla="*/ 21 w 80"/>
                  <a:gd name="T111"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95">
                    <a:moveTo>
                      <a:pt x="59" y="83"/>
                    </a:moveTo>
                    <a:cubicBezTo>
                      <a:pt x="59" y="84"/>
                      <a:pt x="58" y="84"/>
                      <a:pt x="58" y="85"/>
                    </a:cubicBezTo>
                    <a:cubicBezTo>
                      <a:pt x="57" y="87"/>
                      <a:pt x="57" y="88"/>
                      <a:pt x="57" y="89"/>
                    </a:cubicBezTo>
                    <a:cubicBezTo>
                      <a:pt x="57" y="89"/>
                      <a:pt x="58" y="89"/>
                      <a:pt x="58" y="89"/>
                    </a:cubicBezTo>
                    <a:cubicBezTo>
                      <a:pt x="58" y="90"/>
                      <a:pt x="58" y="90"/>
                      <a:pt x="58" y="90"/>
                    </a:cubicBezTo>
                    <a:cubicBezTo>
                      <a:pt x="58" y="90"/>
                      <a:pt x="58" y="91"/>
                      <a:pt x="59" y="91"/>
                    </a:cubicBezTo>
                    <a:cubicBezTo>
                      <a:pt x="58" y="92"/>
                      <a:pt x="58" y="92"/>
                      <a:pt x="57" y="93"/>
                    </a:cubicBezTo>
                    <a:cubicBezTo>
                      <a:pt x="57" y="93"/>
                      <a:pt x="57" y="94"/>
                      <a:pt x="57" y="94"/>
                    </a:cubicBezTo>
                    <a:cubicBezTo>
                      <a:pt x="57" y="95"/>
                      <a:pt x="56" y="94"/>
                      <a:pt x="56" y="94"/>
                    </a:cubicBezTo>
                    <a:cubicBezTo>
                      <a:pt x="55" y="94"/>
                      <a:pt x="54" y="94"/>
                      <a:pt x="54" y="94"/>
                    </a:cubicBezTo>
                    <a:cubicBezTo>
                      <a:pt x="53" y="93"/>
                      <a:pt x="53" y="92"/>
                      <a:pt x="52" y="92"/>
                    </a:cubicBezTo>
                    <a:cubicBezTo>
                      <a:pt x="51" y="91"/>
                      <a:pt x="49" y="91"/>
                      <a:pt x="48" y="90"/>
                    </a:cubicBezTo>
                    <a:cubicBezTo>
                      <a:pt x="47" y="89"/>
                      <a:pt x="45" y="89"/>
                      <a:pt x="44" y="88"/>
                    </a:cubicBezTo>
                    <a:cubicBezTo>
                      <a:pt x="43" y="87"/>
                      <a:pt x="42" y="87"/>
                      <a:pt x="41" y="87"/>
                    </a:cubicBezTo>
                    <a:cubicBezTo>
                      <a:pt x="40" y="86"/>
                      <a:pt x="39" y="86"/>
                      <a:pt x="39" y="84"/>
                    </a:cubicBezTo>
                    <a:cubicBezTo>
                      <a:pt x="39" y="84"/>
                      <a:pt x="39" y="83"/>
                      <a:pt x="40" y="83"/>
                    </a:cubicBezTo>
                    <a:cubicBezTo>
                      <a:pt x="40" y="83"/>
                      <a:pt x="40" y="83"/>
                      <a:pt x="41" y="82"/>
                    </a:cubicBezTo>
                    <a:cubicBezTo>
                      <a:pt x="41" y="82"/>
                      <a:pt x="41" y="82"/>
                      <a:pt x="41" y="82"/>
                    </a:cubicBezTo>
                    <a:cubicBezTo>
                      <a:pt x="42" y="82"/>
                      <a:pt x="42" y="83"/>
                      <a:pt x="43" y="83"/>
                    </a:cubicBezTo>
                    <a:cubicBezTo>
                      <a:pt x="43" y="82"/>
                      <a:pt x="44" y="81"/>
                      <a:pt x="45" y="81"/>
                    </a:cubicBezTo>
                    <a:cubicBezTo>
                      <a:pt x="45" y="81"/>
                      <a:pt x="45" y="82"/>
                      <a:pt x="45" y="82"/>
                    </a:cubicBezTo>
                    <a:cubicBezTo>
                      <a:pt x="46" y="82"/>
                      <a:pt x="46" y="82"/>
                      <a:pt x="47" y="82"/>
                    </a:cubicBezTo>
                    <a:cubicBezTo>
                      <a:pt x="47" y="83"/>
                      <a:pt x="47" y="83"/>
                      <a:pt x="48" y="83"/>
                    </a:cubicBezTo>
                    <a:cubicBezTo>
                      <a:pt x="48" y="83"/>
                      <a:pt x="49" y="83"/>
                      <a:pt x="49" y="83"/>
                    </a:cubicBezTo>
                    <a:cubicBezTo>
                      <a:pt x="50" y="83"/>
                      <a:pt x="50" y="83"/>
                      <a:pt x="51" y="83"/>
                    </a:cubicBezTo>
                    <a:cubicBezTo>
                      <a:pt x="51" y="83"/>
                      <a:pt x="52" y="83"/>
                      <a:pt x="52" y="83"/>
                    </a:cubicBezTo>
                    <a:cubicBezTo>
                      <a:pt x="53" y="83"/>
                      <a:pt x="53" y="83"/>
                      <a:pt x="54" y="82"/>
                    </a:cubicBezTo>
                    <a:cubicBezTo>
                      <a:pt x="54" y="82"/>
                      <a:pt x="55" y="82"/>
                      <a:pt x="55" y="82"/>
                    </a:cubicBezTo>
                    <a:cubicBezTo>
                      <a:pt x="56" y="82"/>
                      <a:pt x="56" y="82"/>
                      <a:pt x="57" y="82"/>
                    </a:cubicBezTo>
                    <a:cubicBezTo>
                      <a:pt x="57" y="82"/>
                      <a:pt x="57" y="82"/>
                      <a:pt x="58" y="81"/>
                    </a:cubicBezTo>
                    <a:cubicBezTo>
                      <a:pt x="58" y="81"/>
                      <a:pt x="58" y="81"/>
                      <a:pt x="58" y="81"/>
                    </a:cubicBezTo>
                    <a:cubicBezTo>
                      <a:pt x="58" y="81"/>
                      <a:pt x="58" y="81"/>
                      <a:pt x="58" y="81"/>
                    </a:cubicBezTo>
                    <a:cubicBezTo>
                      <a:pt x="59" y="81"/>
                      <a:pt x="59" y="81"/>
                      <a:pt x="59" y="81"/>
                    </a:cubicBezTo>
                    <a:cubicBezTo>
                      <a:pt x="59" y="81"/>
                      <a:pt x="60" y="81"/>
                      <a:pt x="60" y="81"/>
                    </a:cubicBezTo>
                    <a:cubicBezTo>
                      <a:pt x="60" y="82"/>
                      <a:pt x="60" y="83"/>
                      <a:pt x="59" y="83"/>
                    </a:cubicBezTo>
                    <a:cubicBezTo>
                      <a:pt x="59" y="83"/>
                      <a:pt x="60" y="83"/>
                      <a:pt x="59" y="83"/>
                    </a:cubicBezTo>
                    <a:close/>
                    <a:moveTo>
                      <a:pt x="47" y="11"/>
                    </a:moveTo>
                    <a:cubicBezTo>
                      <a:pt x="47" y="11"/>
                      <a:pt x="46" y="11"/>
                      <a:pt x="46" y="10"/>
                    </a:cubicBezTo>
                    <a:cubicBezTo>
                      <a:pt x="46" y="10"/>
                      <a:pt x="47" y="10"/>
                      <a:pt x="47" y="9"/>
                    </a:cubicBezTo>
                    <a:cubicBezTo>
                      <a:pt x="48" y="8"/>
                      <a:pt x="46" y="9"/>
                      <a:pt x="45" y="8"/>
                    </a:cubicBezTo>
                    <a:cubicBezTo>
                      <a:pt x="45" y="7"/>
                      <a:pt x="50" y="6"/>
                      <a:pt x="47" y="5"/>
                    </a:cubicBezTo>
                    <a:cubicBezTo>
                      <a:pt x="46" y="5"/>
                      <a:pt x="45" y="5"/>
                      <a:pt x="43" y="5"/>
                    </a:cubicBezTo>
                    <a:cubicBezTo>
                      <a:pt x="43" y="5"/>
                      <a:pt x="43" y="5"/>
                      <a:pt x="42" y="4"/>
                    </a:cubicBezTo>
                    <a:cubicBezTo>
                      <a:pt x="41" y="4"/>
                      <a:pt x="41" y="4"/>
                      <a:pt x="40" y="4"/>
                    </a:cubicBezTo>
                    <a:cubicBezTo>
                      <a:pt x="40" y="4"/>
                      <a:pt x="39" y="4"/>
                      <a:pt x="39" y="3"/>
                    </a:cubicBezTo>
                    <a:cubicBezTo>
                      <a:pt x="39" y="3"/>
                      <a:pt x="38" y="3"/>
                      <a:pt x="38" y="3"/>
                    </a:cubicBezTo>
                    <a:cubicBezTo>
                      <a:pt x="38" y="3"/>
                      <a:pt x="38" y="2"/>
                      <a:pt x="38" y="2"/>
                    </a:cubicBezTo>
                    <a:cubicBezTo>
                      <a:pt x="38" y="2"/>
                      <a:pt x="37" y="2"/>
                      <a:pt x="37" y="1"/>
                    </a:cubicBezTo>
                    <a:cubicBezTo>
                      <a:pt x="37" y="1"/>
                      <a:pt x="37" y="0"/>
                      <a:pt x="37" y="0"/>
                    </a:cubicBezTo>
                    <a:cubicBezTo>
                      <a:pt x="36" y="0"/>
                      <a:pt x="36" y="1"/>
                      <a:pt x="35" y="1"/>
                    </a:cubicBezTo>
                    <a:cubicBezTo>
                      <a:pt x="34" y="1"/>
                      <a:pt x="33" y="1"/>
                      <a:pt x="33" y="1"/>
                    </a:cubicBezTo>
                    <a:cubicBezTo>
                      <a:pt x="32" y="1"/>
                      <a:pt x="31" y="1"/>
                      <a:pt x="31" y="1"/>
                    </a:cubicBezTo>
                    <a:cubicBezTo>
                      <a:pt x="30" y="1"/>
                      <a:pt x="30" y="2"/>
                      <a:pt x="30" y="3"/>
                    </a:cubicBezTo>
                    <a:cubicBezTo>
                      <a:pt x="29" y="3"/>
                      <a:pt x="28" y="3"/>
                      <a:pt x="28" y="2"/>
                    </a:cubicBezTo>
                    <a:cubicBezTo>
                      <a:pt x="27" y="2"/>
                      <a:pt x="27" y="2"/>
                      <a:pt x="26" y="2"/>
                    </a:cubicBezTo>
                    <a:cubicBezTo>
                      <a:pt x="26" y="3"/>
                      <a:pt x="25" y="3"/>
                      <a:pt x="25" y="4"/>
                    </a:cubicBezTo>
                    <a:cubicBezTo>
                      <a:pt x="25" y="4"/>
                      <a:pt x="26" y="5"/>
                      <a:pt x="25" y="5"/>
                    </a:cubicBezTo>
                    <a:cubicBezTo>
                      <a:pt x="25" y="6"/>
                      <a:pt x="25" y="5"/>
                      <a:pt x="24" y="5"/>
                    </a:cubicBezTo>
                    <a:cubicBezTo>
                      <a:pt x="24" y="5"/>
                      <a:pt x="24" y="5"/>
                      <a:pt x="24" y="5"/>
                    </a:cubicBezTo>
                    <a:cubicBezTo>
                      <a:pt x="24" y="5"/>
                      <a:pt x="23" y="5"/>
                      <a:pt x="23" y="5"/>
                    </a:cubicBezTo>
                    <a:cubicBezTo>
                      <a:pt x="23" y="5"/>
                      <a:pt x="23" y="6"/>
                      <a:pt x="23" y="6"/>
                    </a:cubicBezTo>
                    <a:cubicBezTo>
                      <a:pt x="23" y="6"/>
                      <a:pt x="23" y="6"/>
                      <a:pt x="23" y="6"/>
                    </a:cubicBezTo>
                    <a:cubicBezTo>
                      <a:pt x="23" y="7"/>
                      <a:pt x="23" y="7"/>
                      <a:pt x="23" y="7"/>
                    </a:cubicBezTo>
                    <a:cubicBezTo>
                      <a:pt x="23" y="8"/>
                      <a:pt x="24" y="8"/>
                      <a:pt x="24" y="8"/>
                    </a:cubicBezTo>
                    <a:cubicBezTo>
                      <a:pt x="24" y="9"/>
                      <a:pt x="23" y="8"/>
                      <a:pt x="23" y="8"/>
                    </a:cubicBezTo>
                    <a:cubicBezTo>
                      <a:pt x="22" y="7"/>
                      <a:pt x="22" y="7"/>
                      <a:pt x="21" y="7"/>
                    </a:cubicBezTo>
                    <a:cubicBezTo>
                      <a:pt x="20" y="7"/>
                      <a:pt x="20" y="8"/>
                      <a:pt x="19" y="7"/>
                    </a:cubicBezTo>
                    <a:cubicBezTo>
                      <a:pt x="19" y="6"/>
                      <a:pt x="18" y="5"/>
                      <a:pt x="18" y="6"/>
                    </a:cubicBezTo>
                    <a:cubicBezTo>
                      <a:pt x="17" y="6"/>
                      <a:pt x="18" y="7"/>
                      <a:pt x="17" y="8"/>
                    </a:cubicBezTo>
                    <a:cubicBezTo>
                      <a:pt x="17" y="8"/>
                      <a:pt x="17" y="8"/>
                      <a:pt x="17" y="9"/>
                    </a:cubicBezTo>
                    <a:cubicBezTo>
                      <a:pt x="16" y="9"/>
                      <a:pt x="16" y="9"/>
                      <a:pt x="16" y="10"/>
                    </a:cubicBezTo>
                    <a:cubicBezTo>
                      <a:pt x="16" y="10"/>
                      <a:pt x="15" y="10"/>
                      <a:pt x="16" y="11"/>
                    </a:cubicBezTo>
                    <a:cubicBezTo>
                      <a:pt x="16" y="11"/>
                      <a:pt x="17" y="12"/>
                      <a:pt x="16" y="12"/>
                    </a:cubicBezTo>
                    <a:cubicBezTo>
                      <a:pt x="15" y="12"/>
                      <a:pt x="15" y="11"/>
                      <a:pt x="15" y="11"/>
                    </a:cubicBezTo>
                    <a:cubicBezTo>
                      <a:pt x="15" y="11"/>
                      <a:pt x="15" y="11"/>
                      <a:pt x="15" y="10"/>
                    </a:cubicBezTo>
                    <a:cubicBezTo>
                      <a:pt x="14" y="10"/>
                      <a:pt x="15" y="10"/>
                      <a:pt x="14" y="10"/>
                    </a:cubicBezTo>
                    <a:cubicBezTo>
                      <a:pt x="14" y="9"/>
                      <a:pt x="14" y="9"/>
                      <a:pt x="14" y="9"/>
                    </a:cubicBezTo>
                    <a:cubicBezTo>
                      <a:pt x="13" y="9"/>
                      <a:pt x="13" y="9"/>
                      <a:pt x="13" y="9"/>
                    </a:cubicBezTo>
                    <a:cubicBezTo>
                      <a:pt x="12" y="8"/>
                      <a:pt x="12" y="8"/>
                      <a:pt x="12" y="8"/>
                    </a:cubicBezTo>
                    <a:cubicBezTo>
                      <a:pt x="12" y="7"/>
                      <a:pt x="12" y="6"/>
                      <a:pt x="11" y="6"/>
                    </a:cubicBezTo>
                    <a:cubicBezTo>
                      <a:pt x="11" y="7"/>
                      <a:pt x="11" y="7"/>
                      <a:pt x="10" y="8"/>
                    </a:cubicBezTo>
                    <a:cubicBezTo>
                      <a:pt x="10" y="8"/>
                      <a:pt x="10" y="8"/>
                      <a:pt x="10" y="8"/>
                    </a:cubicBezTo>
                    <a:cubicBezTo>
                      <a:pt x="10" y="8"/>
                      <a:pt x="10" y="8"/>
                      <a:pt x="10" y="9"/>
                    </a:cubicBezTo>
                    <a:cubicBezTo>
                      <a:pt x="10" y="9"/>
                      <a:pt x="10" y="9"/>
                      <a:pt x="9" y="10"/>
                    </a:cubicBezTo>
                    <a:cubicBezTo>
                      <a:pt x="9" y="10"/>
                      <a:pt x="9" y="11"/>
                      <a:pt x="8" y="11"/>
                    </a:cubicBezTo>
                    <a:cubicBezTo>
                      <a:pt x="8" y="12"/>
                      <a:pt x="6" y="11"/>
                      <a:pt x="6" y="11"/>
                    </a:cubicBezTo>
                    <a:cubicBezTo>
                      <a:pt x="5" y="11"/>
                      <a:pt x="5" y="11"/>
                      <a:pt x="5" y="11"/>
                    </a:cubicBezTo>
                    <a:cubicBezTo>
                      <a:pt x="4" y="12"/>
                      <a:pt x="3" y="11"/>
                      <a:pt x="2" y="11"/>
                    </a:cubicBezTo>
                    <a:cubicBezTo>
                      <a:pt x="2" y="12"/>
                      <a:pt x="1" y="12"/>
                      <a:pt x="1" y="12"/>
                    </a:cubicBezTo>
                    <a:cubicBezTo>
                      <a:pt x="1" y="13"/>
                      <a:pt x="1" y="13"/>
                      <a:pt x="2" y="14"/>
                    </a:cubicBezTo>
                    <a:cubicBezTo>
                      <a:pt x="2" y="14"/>
                      <a:pt x="2" y="15"/>
                      <a:pt x="3" y="15"/>
                    </a:cubicBezTo>
                    <a:cubicBezTo>
                      <a:pt x="3" y="16"/>
                      <a:pt x="3" y="16"/>
                      <a:pt x="3" y="16"/>
                    </a:cubicBezTo>
                    <a:cubicBezTo>
                      <a:pt x="3" y="16"/>
                      <a:pt x="3" y="17"/>
                      <a:pt x="3" y="17"/>
                    </a:cubicBezTo>
                    <a:cubicBezTo>
                      <a:pt x="3" y="17"/>
                      <a:pt x="3" y="18"/>
                      <a:pt x="3" y="18"/>
                    </a:cubicBezTo>
                    <a:cubicBezTo>
                      <a:pt x="3" y="18"/>
                      <a:pt x="3" y="18"/>
                      <a:pt x="2" y="18"/>
                    </a:cubicBezTo>
                    <a:cubicBezTo>
                      <a:pt x="2" y="18"/>
                      <a:pt x="2" y="19"/>
                      <a:pt x="2" y="19"/>
                    </a:cubicBezTo>
                    <a:cubicBezTo>
                      <a:pt x="1" y="19"/>
                      <a:pt x="2" y="19"/>
                      <a:pt x="1" y="19"/>
                    </a:cubicBezTo>
                    <a:cubicBezTo>
                      <a:pt x="1" y="19"/>
                      <a:pt x="0" y="19"/>
                      <a:pt x="0" y="19"/>
                    </a:cubicBezTo>
                    <a:cubicBezTo>
                      <a:pt x="0" y="19"/>
                      <a:pt x="0" y="20"/>
                      <a:pt x="0" y="20"/>
                    </a:cubicBezTo>
                    <a:cubicBezTo>
                      <a:pt x="0" y="20"/>
                      <a:pt x="0" y="20"/>
                      <a:pt x="1" y="20"/>
                    </a:cubicBezTo>
                    <a:cubicBezTo>
                      <a:pt x="1" y="20"/>
                      <a:pt x="1" y="20"/>
                      <a:pt x="1" y="21"/>
                    </a:cubicBezTo>
                    <a:cubicBezTo>
                      <a:pt x="1" y="21"/>
                      <a:pt x="1" y="21"/>
                      <a:pt x="1" y="21"/>
                    </a:cubicBezTo>
                    <a:cubicBezTo>
                      <a:pt x="2" y="22"/>
                      <a:pt x="2" y="21"/>
                      <a:pt x="2" y="22"/>
                    </a:cubicBezTo>
                    <a:cubicBezTo>
                      <a:pt x="3" y="22"/>
                      <a:pt x="2" y="22"/>
                      <a:pt x="3" y="22"/>
                    </a:cubicBezTo>
                    <a:cubicBezTo>
                      <a:pt x="3" y="23"/>
                      <a:pt x="3" y="23"/>
                      <a:pt x="3" y="23"/>
                    </a:cubicBezTo>
                    <a:cubicBezTo>
                      <a:pt x="3" y="23"/>
                      <a:pt x="3" y="23"/>
                      <a:pt x="2" y="23"/>
                    </a:cubicBezTo>
                    <a:cubicBezTo>
                      <a:pt x="2" y="23"/>
                      <a:pt x="2" y="23"/>
                      <a:pt x="2" y="23"/>
                    </a:cubicBezTo>
                    <a:cubicBezTo>
                      <a:pt x="2" y="23"/>
                      <a:pt x="2" y="23"/>
                      <a:pt x="2" y="23"/>
                    </a:cubicBezTo>
                    <a:cubicBezTo>
                      <a:pt x="2" y="24"/>
                      <a:pt x="2" y="24"/>
                      <a:pt x="2" y="24"/>
                    </a:cubicBezTo>
                    <a:cubicBezTo>
                      <a:pt x="1" y="25"/>
                      <a:pt x="2" y="25"/>
                      <a:pt x="2" y="25"/>
                    </a:cubicBezTo>
                    <a:cubicBezTo>
                      <a:pt x="2" y="26"/>
                      <a:pt x="2" y="26"/>
                      <a:pt x="2" y="26"/>
                    </a:cubicBezTo>
                    <a:cubicBezTo>
                      <a:pt x="2" y="26"/>
                      <a:pt x="2" y="27"/>
                      <a:pt x="2" y="27"/>
                    </a:cubicBezTo>
                    <a:cubicBezTo>
                      <a:pt x="2" y="27"/>
                      <a:pt x="3" y="27"/>
                      <a:pt x="3" y="27"/>
                    </a:cubicBezTo>
                    <a:cubicBezTo>
                      <a:pt x="4" y="27"/>
                      <a:pt x="4" y="28"/>
                      <a:pt x="5" y="28"/>
                    </a:cubicBezTo>
                    <a:cubicBezTo>
                      <a:pt x="5" y="29"/>
                      <a:pt x="6" y="28"/>
                      <a:pt x="6" y="28"/>
                    </a:cubicBezTo>
                    <a:cubicBezTo>
                      <a:pt x="6" y="28"/>
                      <a:pt x="7" y="28"/>
                      <a:pt x="7" y="28"/>
                    </a:cubicBezTo>
                    <a:cubicBezTo>
                      <a:pt x="7" y="28"/>
                      <a:pt x="7" y="28"/>
                      <a:pt x="7" y="28"/>
                    </a:cubicBezTo>
                    <a:cubicBezTo>
                      <a:pt x="7" y="28"/>
                      <a:pt x="7" y="28"/>
                      <a:pt x="7" y="29"/>
                    </a:cubicBezTo>
                    <a:cubicBezTo>
                      <a:pt x="7" y="29"/>
                      <a:pt x="7" y="29"/>
                      <a:pt x="7" y="30"/>
                    </a:cubicBezTo>
                    <a:cubicBezTo>
                      <a:pt x="7" y="30"/>
                      <a:pt x="6" y="30"/>
                      <a:pt x="6" y="30"/>
                    </a:cubicBezTo>
                    <a:cubicBezTo>
                      <a:pt x="6" y="31"/>
                      <a:pt x="6" y="31"/>
                      <a:pt x="6" y="31"/>
                    </a:cubicBezTo>
                    <a:cubicBezTo>
                      <a:pt x="7" y="31"/>
                      <a:pt x="8" y="31"/>
                      <a:pt x="9" y="31"/>
                    </a:cubicBezTo>
                    <a:cubicBezTo>
                      <a:pt x="10" y="30"/>
                      <a:pt x="10" y="29"/>
                      <a:pt x="10" y="28"/>
                    </a:cubicBezTo>
                    <a:cubicBezTo>
                      <a:pt x="11" y="28"/>
                      <a:pt x="11" y="28"/>
                      <a:pt x="12" y="28"/>
                    </a:cubicBezTo>
                    <a:cubicBezTo>
                      <a:pt x="12" y="28"/>
                      <a:pt x="12" y="27"/>
                      <a:pt x="13" y="27"/>
                    </a:cubicBezTo>
                    <a:cubicBezTo>
                      <a:pt x="13" y="26"/>
                      <a:pt x="13" y="26"/>
                      <a:pt x="14" y="26"/>
                    </a:cubicBezTo>
                    <a:cubicBezTo>
                      <a:pt x="15" y="25"/>
                      <a:pt x="15" y="26"/>
                      <a:pt x="16" y="26"/>
                    </a:cubicBezTo>
                    <a:cubicBezTo>
                      <a:pt x="16" y="26"/>
                      <a:pt x="17" y="26"/>
                      <a:pt x="17" y="27"/>
                    </a:cubicBezTo>
                    <a:cubicBezTo>
                      <a:pt x="18" y="27"/>
                      <a:pt x="18" y="26"/>
                      <a:pt x="18" y="27"/>
                    </a:cubicBezTo>
                    <a:cubicBezTo>
                      <a:pt x="19" y="27"/>
                      <a:pt x="20" y="28"/>
                      <a:pt x="21" y="29"/>
                    </a:cubicBezTo>
                    <a:cubicBezTo>
                      <a:pt x="22" y="29"/>
                      <a:pt x="23" y="29"/>
                      <a:pt x="24" y="30"/>
                    </a:cubicBezTo>
                    <a:cubicBezTo>
                      <a:pt x="25" y="31"/>
                      <a:pt x="24" y="33"/>
                      <a:pt x="25" y="34"/>
                    </a:cubicBezTo>
                    <a:cubicBezTo>
                      <a:pt x="25" y="35"/>
                      <a:pt x="26" y="35"/>
                      <a:pt x="26" y="36"/>
                    </a:cubicBezTo>
                    <a:cubicBezTo>
                      <a:pt x="26" y="36"/>
                      <a:pt x="26" y="37"/>
                      <a:pt x="26" y="37"/>
                    </a:cubicBezTo>
                    <a:cubicBezTo>
                      <a:pt x="26" y="38"/>
                      <a:pt x="26" y="38"/>
                      <a:pt x="26" y="39"/>
                    </a:cubicBezTo>
                    <a:cubicBezTo>
                      <a:pt x="26" y="39"/>
                      <a:pt x="27" y="39"/>
                      <a:pt x="27" y="39"/>
                    </a:cubicBezTo>
                    <a:cubicBezTo>
                      <a:pt x="28" y="40"/>
                      <a:pt x="27" y="40"/>
                      <a:pt x="28" y="41"/>
                    </a:cubicBezTo>
                    <a:cubicBezTo>
                      <a:pt x="28" y="41"/>
                      <a:pt x="29" y="41"/>
                      <a:pt x="29" y="41"/>
                    </a:cubicBezTo>
                    <a:cubicBezTo>
                      <a:pt x="29" y="42"/>
                      <a:pt x="30" y="42"/>
                      <a:pt x="30" y="42"/>
                    </a:cubicBezTo>
                    <a:cubicBezTo>
                      <a:pt x="31" y="43"/>
                      <a:pt x="30" y="43"/>
                      <a:pt x="30" y="44"/>
                    </a:cubicBezTo>
                    <a:cubicBezTo>
                      <a:pt x="30" y="45"/>
                      <a:pt x="31" y="44"/>
                      <a:pt x="31" y="44"/>
                    </a:cubicBezTo>
                    <a:cubicBezTo>
                      <a:pt x="32" y="44"/>
                      <a:pt x="32" y="44"/>
                      <a:pt x="33" y="45"/>
                    </a:cubicBezTo>
                    <a:cubicBezTo>
                      <a:pt x="34" y="45"/>
                      <a:pt x="34" y="46"/>
                      <a:pt x="35" y="47"/>
                    </a:cubicBezTo>
                    <a:cubicBezTo>
                      <a:pt x="36" y="48"/>
                      <a:pt x="37" y="48"/>
                      <a:pt x="37" y="49"/>
                    </a:cubicBezTo>
                    <a:cubicBezTo>
                      <a:pt x="38" y="50"/>
                      <a:pt x="38" y="50"/>
                      <a:pt x="38" y="51"/>
                    </a:cubicBezTo>
                    <a:cubicBezTo>
                      <a:pt x="38" y="51"/>
                      <a:pt x="39" y="51"/>
                      <a:pt x="40" y="52"/>
                    </a:cubicBezTo>
                    <a:cubicBezTo>
                      <a:pt x="40" y="52"/>
                      <a:pt x="40" y="53"/>
                      <a:pt x="41" y="53"/>
                    </a:cubicBezTo>
                    <a:cubicBezTo>
                      <a:pt x="41" y="53"/>
                      <a:pt x="41" y="53"/>
                      <a:pt x="42" y="53"/>
                    </a:cubicBezTo>
                    <a:cubicBezTo>
                      <a:pt x="42" y="54"/>
                      <a:pt x="43" y="54"/>
                      <a:pt x="43" y="54"/>
                    </a:cubicBezTo>
                    <a:cubicBezTo>
                      <a:pt x="43" y="55"/>
                      <a:pt x="43" y="55"/>
                      <a:pt x="44" y="55"/>
                    </a:cubicBezTo>
                    <a:cubicBezTo>
                      <a:pt x="44" y="54"/>
                      <a:pt x="45" y="54"/>
                      <a:pt x="45" y="55"/>
                    </a:cubicBezTo>
                    <a:cubicBezTo>
                      <a:pt x="46" y="55"/>
                      <a:pt x="46" y="55"/>
                      <a:pt x="46" y="55"/>
                    </a:cubicBezTo>
                    <a:cubicBezTo>
                      <a:pt x="46" y="55"/>
                      <a:pt x="47" y="55"/>
                      <a:pt x="47" y="55"/>
                    </a:cubicBezTo>
                    <a:cubicBezTo>
                      <a:pt x="49" y="55"/>
                      <a:pt x="49" y="57"/>
                      <a:pt x="49" y="58"/>
                    </a:cubicBezTo>
                    <a:cubicBezTo>
                      <a:pt x="50" y="59"/>
                      <a:pt x="51" y="58"/>
                      <a:pt x="52" y="59"/>
                    </a:cubicBezTo>
                    <a:cubicBezTo>
                      <a:pt x="53" y="59"/>
                      <a:pt x="51" y="60"/>
                      <a:pt x="52" y="60"/>
                    </a:cubicBezTo>
                    <a:cubicBezTo>
                      <a:pt x="53" y="60"/>
                      <a:pt x="54" y="60"/>
                      <a:pt x="55" y="60"/>
                    </a:cubicBezTo>
                    <a:cubicBezTo>
                      <a:pt x="56" y="61"/>
                      <a:pt x="56" y="62"/>
                      <a:pt x="56" y="63"/>
                    </a:cubicBezTo>
                    <a:cubicBezTo>
                      <a:pt x="56" y="64"/>
                      <a:pt x="56" y="64"/>
                      <a:pt x="57" y="65"/>
                    </a:cubicBezTo>
                    <a:cubicBezTo>
                      <a:pt x="58" y="65"/>
                      <a:pt x="59" y="66"/>
                      <a:pt x="60" y="65"/>
                    </a:cubicBezTo>
                    <a:cubicBezTo>
                      <a:pt x="61" y="65"/>
                      <a:pt x="62" y="68"/>
                      <a:pt x="62" y="70"/>
                    </a:cubicBezTo>
                    <a:cubicBezTo>
                      <a:pt x="62" y="70"/>
                      <a:pt x="63" y="71"/>
                      <a:pt x="63" y="71"/>
                    </a:cubicBezTo>
                    <a:cubicBezTo>
                      <a:pt x="63" y="72"/>
                      <a:pt x="63" y="73"/>
                      <a:pt x="63" y="74"/>
                    </a:cubicBezTo>
                    <a:cubicBezTo>
                      <a:pt x="64" y="74"/>
                      <a:pt x="65" y="76"/>
                      <a:pt x="64" y="77"/>
                    </a:cubicBezTo>
                    <a:cubicBezTo>
                      <a:pt x="64" y="77"/>
                      <a:pt x="63" y="77"/>
                      <a:pt x="63" y="77"/>
                    </a:cubicBezTo>
                    <a:cubicBezTo>
                      <a:pt x="62" y="77"/>
                      <a:pt x="62" y="77"/>
                      <a:pt x="62" y="78"/>
                    </a:cubicBezTo>
                    <a:cubicBezTo>
                      <a:pt x="62" y="78"/>
                      <a:pt x="62" y="78"/>
                      <a:pt x="62" y="78"/>
                    </a:cubicBezTo>
                    <a:cubicBezTo>
                      <a:pt x="63" y="79"/>
                      <a:pt x="62" y="79"/>
                      <a:pt x="62" y="80"/>
                    </a:cubicBezTo>
                    <a:cubicBezTo>
                      <a:pt x="62" y="81"/>
                      <a:pt x="61" y="81"/>
                      <a:pt x="61" y="81"/>
                    </a:cubicBezTo>
                    <a:cubicBezTo>
                      <a:pt x="61" y="82"/>
                      <a:pt x="61" y="83"/>
                      <a:pt x="61" y="83"/>
                    </a:cubicBezTo>
                    <a:cubicBezTo>
                      <a:pt x="61" y="84"/>
                      <a:pt x="62" y="84"/>
                      <a:pt x="63" y="84"/>
                    </a:cubicBezTo>
                    <a:cubicBezTo>
                      <a:pt x="63" y="84"/>
                      <a:pt x="63" y="84"/>
                      <a:pt x="64" y="83"/>
                    </a:cubicBezTo>
                    <a:cubicBezTo>
                      <a:pt x="64" y="83"/>
                      <a:pt x="64" y="82"/>
                      <a:pt x="64" y="82"/>
                    </a:cubicBezTo>
                    <a:cubicBezTo>
                      <a:pt x="65" y="81"/>
                      <a:pt x="65" y="81"/>
                      <a:pt x="66" y="80"/>
                    </a:cubicBezTo>
                    <a:cubicBezTo>
                      <a:pt x="67" y="80"/>
                      <a:pt x="67" y="79"/>
                      <a:pt x="67" y="78"/>
                    </a:cubicBezTo>
                    <a:cubicBezTo>
                      <a:pt x="67" y="77"/>
                      <a:pt x="67" y="76"/>
                      <a:pt x="68" y="76"/>
                    </a:cubicBezTo>
                    <a:cubicBezTo>
                      <a:pt x="68" y="75"/>
                      <a:pt x="69" y="75"/>
                      <a:pt x="70" y="75"/>
                    </a:cubicBezTo>
                    <a:cubicBezTo>
                      <a:pt x="70" y="75"/>
                      <a:pt x="71" y="76"/>
                      <a:pt x="71" y="75"/>
                    </a:cubicBezTo>
                    <a:cubicBezTo>
                      <a:pt x="71" y="74"/>
                      <a:pt x="71" y="73"/>
                      <a:pt x="71" y="72"/>
                    </a:cubicBezTo>
                    <a:cubicBezTo>
                      <a:pt x="71" y="71"/>
                      <a:pt x="71" y="71"/>
                      <a:pt x="70" y="71"/>
                    </a:cubicBezTo>
                    <a:cubicBezTo>
                      <a:pt x="69" y="70"/>
                      <a:pt x="69" y="69"/>
                      <a:pt x="68" y="69"/>
                    </a:cubicBezTo>
                    <a:cubicBezTo>
                      <a:pt x="67" y="69"/>
                      <a:pt x="66" y="69"/>
                      <a:pt x="66" y="68"/>
                    </a:cubicBezTo>
                    <a:cubicBezTo>
                      <a:pt x="66" y="67"/>
                      <a:pt x="67" y="67"/>
                      <a:pt x="67" y="67"/>
                    </a:cubicBezTo>
                    <a:cubicBezTo>
                      <a:pt x="67" y="66"/>
                      <a:pt x="67" y="66"/>
                      <a:pt x="67" y="66"/>
                    </a:cubicBezTo>
                    <a:cubicBezTo>
                      <a:pt x="67" y="65"/>
                      <a:pt x="67" y="65"/>
                      <a:pt x="68" y="65"/>
                    </a:cubicBezTo>
                    <a:cubicBezTo>
                      <a:pt x="68" y="64"/>
                      <a:pt x="68" y="64"/>
                      <a:pt x="68" y="63"/>
                    </a:cubicBezTo>
                    <a:cubicBezTo>
                      <a:pt x="68" y="63"/>
                      <a:pt x="69" y="63"/>
                      <a:pt x="69" y="62"/>
                    </a:cubicBezTo>
                    <a:cubicBezTo>
                      <a:pt x="69" y="62"/>
                      <a:pt x="69" y="62"/>
                      <a:pt x="70" y="61"/>
                    </a:cubicBezTo>
                    <a:cubicBezTo>
                      <a:pt x="70" y="61"/>
                      <a:pt x="71" y="61"/>
                      <a:pt x="72" y="61"/>
                    </a:cubicBezTo>
                    <a:cubicBezTo>
                      <a:pt x="71" y="62"/>
                      <a:pt x="71" y="62"/>
                      <a:pt x="71" y="62"/>
                    </a:cubicBezTo>
                    <a:cubicBezTo>
                      <a:pt x="71" y="62"/>
                      <a:pt x="72" y="63"/>
                      <a:pt x="72" y="63"/>
                    </a:cubicBezTo>
                    <a:cubicBezTo>
                      <a:pt x="73" y="63"/>
                      <a:pt x="74" y="63"/>
                      <a:pt x="75" y="63"/>
                    </a:cubicBezTo>
                    <a:cubicBezTo>
                      <a:pt x="75" y="63"/>
                      <a:pt x="76" y="63"/>
                      <a:pt x="76" y="63"/>
                    </a:cubicBezTo>
                    <a:cubicBezTo>
                      <a:pt x="76" y="64"/>
                      <a:pt x="76" y="64"/>
                      <a:pt x="76" y="65"/>
                    </a:cubicBezTo>
                    <a:cubicBezTo>
                      <a:pt x="77" y="65"/>
                      <a:pt x="77" y="66"/>
                      <a:pt x="77" y="67"/>
                    </a:cubicBezTo>
                    <a:cubicBezTo>
                      <a:pt x="78" y="67"/>
                      <a:pt x="79" y="68"/>
                      <a:pt x="79" y="67"/>
                    </a:cubicBezTo>
                    <a:cubicBezTo>
                      <a:pt x="79" y="67"/>
                      <a:pt x="79" y="66"/>
                      <a:pt x="80" y="66"/>
                    </a:cubicBezTo>
                    <a:cubicBezTo>
                      <a:pt x="80" y="66"/>
                      <a:pt x="80" y="65"/>
                      <a:pt x="80" y="65"/>
                    </a:cubicBezTo>
                    <a:cubicBezTo>
                      <a:pt x="80" y="63"/>
                      <a:pt x="78" y="62"/>
                      <a:pt x="77" y="61"/>
                    </a:cubicBezTo>
                    <a:cubicBezTo>
                      <a:pt x="77" y="60"/>
                      <a:pt x="76" y="60"/>
                      <a:pt x="75" y="60"/>
                    </a:cubicBezTo>
                    <a:cubicBezTo>
                      <a:pt x="74" y="59"/>
                      <a:pt x="74" y="59"/>
                      <a:pt x="73" y="59"/>
                    </a:cubicBezTo>
                    <a:cubicBezTo>
                      <a:pt x="72" y="58"/>
                      <a:pt x="72" y="57"/>
                      <a:pt x="71" y="57"/>
                    </a:cubicBezTo>
                    <a:cubicBezTo>
                      <a:pt x="70" y="56"/>
                      <a:pt x="69" y="56"/>
                      <a:pt x="68" y="56"/>
                    </a:cubicBezTo>
                    <a:cubicBezTo>
                      <a:pt x="67" y="55"/>
                      <a:pt x="66" y="55"/>
                      <a:pt x="66" y="54"/>
                    </a:cubicBezTo>
                    <a:cubicBezTo>
                      <a:pt x="65" y="54"/>
                      <a:pt x="64" y="54"/>
                      <a:pt x="63" y="53"/>
                    </a:cubicBezTo>
                    <a:cubicBezTo>
                      <a:pt x="63" y="53"/>
                      <a:pt x="62" y="52"/>
                      <a:pt x="63" y="51"/>
                    </a:cubicBezTo>
                    <a:cubicBezTo>
                      <a:pt x="63" y="51"/>
                      <a:pt x="64" y="51"/>
                      <a:pt x="64" y="50"/>
                    </a:cubicBezTo>
                    <a:cubicBezTo>
                      <a:pt x="65" y="50"/>
                      <a:pt x="64" y="49"/>
                      <a:pt x="64" y="49"/>
                    </a:cubicBezTo>
                    <a:cubicBezTo>
                      <a:pt x="63" y="49"/>
                      <a:pt x="63" y="49"/>
                      <a:pt x="62" y="49"/>
                    </a:cubicBezTo>
                    <a:cubicBezTo>
                      <a:pt x="61" y="49"/>
                      <a:pt x="60" y="49"/>
                      <a:pt x="59" y="49"/>
                    </a:cubicBezTo>
                    <a:cubicBezTo>
                      <a:pt x="58" y="49"/>
                      <a:pt x="57" y="48"/>
                      <a:pt x="56" y="48"/>
                    </a:cubicBezTo>
                    <a:cubicBezTo>
                      <a:pt x="55" y="48"/>
                      <a:pt x="55" y="47"/>
                      <a:pt x="55" y="47"/>
                    </a:cubicBezTo>
                    <a:cubicBezTo>
                      <a:pt x="54" y="47"/>
                      <a:pt x="54" y="47"/>
                      <a:pt x="54" y="46"/>
                    </a:cubicBezTo>
                    <a:cubicBezTo>
                      <a:pt x="53" y="46"/>
                      <a:pt x="53" y="45"/>
                      <a:pt x="52" y="45"/>
                    </a:cubicBezTo>
                    <a:cubicBezTo>
                      <a:pt x="50" y="43"/>
                      <a:pt x="49" y="41"/>
                      <a:pt x="49" y="39"/>
                    </a:cubicBezTo>
                    <a:cubicBezTo>
                      <a:pt x="48" y="38"/>
                      <a:pt x="48" y="37"/>
                      <a:pt x="48" y="36"/>
                    </a:cubicBezTo>
                    <a:cubicBezTo>
                      <a:pt x="48" y="35"/>
                      <a:pt x="48" y="34"/>
                      <a:pt x="47" y="34"/>
                    </a:cubicBezTo>
                    <a:cubicBezTo>
                      <a:pt x="46" y="33"/>
                      <a:pt x="45" y="33"/>
                      <a:pt x="44" y="32"/>
                    </a:cubicBezTo>
                    <a:cubicBezTo>
                      <a:pt x="44" y="31"/>
                      <a:pt x="43" y="31"/>
                      <a:pt x="42" y="30"/>
                    </a:cubicBezTo>
                    <a:cubicBezTo>
                      <a:pt x="41" y="30"/>
                      <a:pt x="41" y="30"/>
                      <a:pt x="40" y="29"/>
                    </a:cubicBezTo>
                    <a:cubicBezTo>
                      <a:pt x="39" y="28"/>
                      <a:pt x="39" y="27"/>
                      <a:pt x="38" y="26"/>
                    </a:cubicBezTo>
                    <a:cubicBezTo>
                      <a:pt x="38" y="25"/>
                      <a:pt x="38" y="24"/>
                      <a:pt x="38" y="23"/>
                    </a:cubicBezTo>
                    <a:cubicBezTo>
                      <a:pt x="38" y="23"/>
                      <a:pt x="38" y="22"/>
                      <a:pt x="38" y="22"/>
                    </a:cubicBezTo>
                    <a:cubicBezTo>
                      <a:pt x="38" y="22"/>
                      <a:pt x="39" y="21"/>
                      <a:pt x="39" y="21"/>
                    </a:cubicBezTo>
                    <a:cubicBezTo>
                      <a:pt x="39" y="21"/>
                      <a:pt x="39" y="22"/>
                      <a:pt x="39" y="22"/>
                    </a:cubicBezTo>
                    <a:cubicBezTo>
                      <a:pt x="40" y="21"/>
                      <a:pt x="40" y="20"/>
                      <a:pt x="39" y="20"/>
                    </a:cubicBezTo>
                    <a:cubicBezTo>
                      <a:pt x="39" y="20"/>
                      <a:pt x="38" y="19"/>
                      <a:pt x="38" y="19"/>
                    </a:cubicBezTo>
                    <a:cubicBezTo>
                      <a:pt x="38" y="19"/>
                      <a:pt x="38" y="18"/>
                      <a:pt x="38" y="18"/>
                    </a:cubicBezTo>
                    <a:cubicBezTo>
                      <a:pt x="38" y="18"/>
                      <a:pt x="37" y="19"/>
                      <a:pt x="37" y="18"/>
                    </a:cubicBezTo>
                    <a:cubicBezTo>
                      <a:pt x="37" y="18"/>
                      <a:pt x="37" y="17"/>
                      <a:pt x="37" y="17"/>
                    </a:cubicBezTo>
                    <a:cubicBezTo>
                      <a:pt x="38" y="16"/>
                      <a:pt x="38" y="15"/>
                      <a:pt x="39" y="15"/>
                    </a:cubicBezTo>
                    <a:cubicBezTo>
                      <a:pt x="39" y="15"/>
                      <a:pt x="39" y="15"/>
                      <a:pt x="39" y="16"/>
                    </a:cubicBezTo>
                    <a:cubicBezTo>
                      <a:pt x="40" y="16"/>
                      <a:pt x="41" y="15"/>
                      <a:pt x="41" y="15"/>
                    </a:cubicBezTo>
                    <a:cubicBezTo>
                      <a:pt x="42" y="15"/>
                      <a:pt x="42" y="14"/>
                      <a:pt x="42" y="14"/>
                    </a:cubicBezTo>
                    <a:cubicBezTo>
                      <a:pt x="43" y="14"/>
                      <a:pt x="43" y="14"/>
                      <a:pt x="43" y="14"/>
                    </a:cubicBezTo>
                    <a:cubicBezTo>
                      <a:pt x="44" y="14"/>
                      <a:pt x="43" y="13"/>
                      <a:pt x="44" y="13"/>
                    </a:cubicBezTo>
                    <a:cubicBezTo>
                      <a:pt x="45" y="13"/>
                      <a:pt x="46" y="13"/>
                      <a:pt x="45" y="14"/>
                    </a:cubicBezTo>
                    <a:cubicBezTo>
                      <a:pt x="46" y="14"/>
                      <a:pt x="46" y="13"/>
                      <a:pt x="47" y="13"/>
                    </a:cubicBezTo>
                    <a:cubicBezTo>
                      <a:pt x="47" y="12"/>
                      <a:pt x="47" y="12"/>
                      <a:pt x="47" y="11"/>
                    </a:cubicBezTo>
                    <a:close/>
                    <a:moveTo>
                      <a:pt x="21" y="60"/>
                    </a:moveTo>
                    <a:cubicBezTo>
                      <a:pt x="21" y="59"/>
                      <a:pt x="21" y="59"/>
                      <a:pt x="20" y="58"/>
                    </a:cubicBezTo>
                    <a:cubicBezTo>
                      <a:pt x="20" y="58"/>
                      <a:pt x="20" y="58"/>
                      <a:pt x="20" y="58"/>
                    </a:cubicBezTo>
                    <a:cubicBezTo>
                      <a:pt x="20" y="57"/>
                      <a:pt x="20" y="57"/>
                      <a:pt x="20" y="57"/>
                    </a:cubicBezTo>
                    <a:cubicBezTo>
                      <a:pt x="19" y="57"/>
                      <a:pt x="20" y="56"/>
                      <a:pt x="19" y="56"/>
                    </a:cubicBezTo>
                    <a:cubicBezTo>
                      <a:pt x="19" y="56"/>
                      <a:pt x="20" y="55"/>
                      <a:pt x="19" y="55"/>
                    </a:cubicBezTo>
                    <a:cubicBezTo>
                      <a:pt x="19" y="55"/>
                      <a:pt x="19" y="55"/>
                      <a:pt x="18" y="55"/>
                    </a:cubicBezTo>
                    <a:cubicBezTo>
                      <a:pt x="18" y="55"/>
                      <a:pt x="18" y="55"/>
                      <a:pt x="17" y="55"/>
                    </a:cubicBezTo>
                    <a:cubicBezTo>
                      <a:pt x="17" y="55"/>
                      <a:pt x="17" y="55"/>
                      <a:pt x="16" y="56"/>
                    </a:cubicBezTo>
                    <a:cubicBezTo>
                      <a:pt x="16" y="56"/>
                      <a:pt x="16" y="57"/>
                      <a:pt x="15" y="57"/>
                    </a:cubicBezTo>
                    <a:cubicBezTo>
                      <a:pt x="15" y="57"/>
                      <a:pt x="14" y="58"/>
                      <a:pt x="14" y="57"/>
                    </a:cubicBezTo>
                    <a:cubicBezTo>
                      <a:pt x="13" y="58"/>
                      <a:pt x="12" y="59"/>
                      <a:pt x="11" y="58"/>
                    </a:cubicBezTo>
                    <a:cubicBezTo>
                      <a:pt x="10" y="57"/>
                      <a:pt x="12" y="57"/>
                      <a:pt x="11" y="56"/>
                    </a:cubicBezTo>
                    <a:cubicBezTo>
                      <a:pt x="11" y="56"/>
                      <a:pt x="11" y="57"/>
                      <a:pt x="10" y="58"/>
                    </a:cubicBezTo>
                    <a:cubicBezTo>
                      <a:pt x="10" y="58"/>
                      <a:pt x="10" y="59"/>
                      <a:pt x="10" y="59"/>
                    </a:cubicBezTo>
                    <a:cubicBezTo>
                      <a:pt x="10" y="60"/>
                      <a:pt x="10" y="60"/>
                      <a:pt x="10" y="61"/>
                    </a:cubicBezTo>
                    <a:cubicBezTo>
                      <a:pt x="11" y="60"/>
                      <a:pt x="11" y="61"/>
                      <a:pt x="12" y="61"/>
                    </a:cubicBezTo>
                    <a:cubicBezTo>
                      <a:pt x="12" y="62"/>
                      <a:pt x="12" y="63"/>
                      <a:pt x="12" y="63"/>
                    </a:cubicBezTo>
                    <a:cubicBezTo>
                      <a:pt x="12" y="64"/>
                      <a:pt x="13" y="65"/>
                      <a:pt x="12" y="65"/>
                    </a:cubicBezTo>
                    <a:cubicBezTo>
                      <a:pt x="12" y="65"/>
                      <a:pt x="12" y="65"/>
                      <a:pt x="12" y="66"/>
                    </a:cubicBezTo>
                    <a:cubicBezTo>
                      <a:pt x="12" y="66"/>
                      <a:pt x="12" y="67"/>
                      <a:pt x="12" y="67"/>
                    </a:cubicBezTo>
                    <a:cubicBezTo>
                      <a:pt x="12" y="67"/>
                      <a:pt x="12" y="67"/>
                      <a:pt x="12" y="67"/>
                    </a:cubicBezTo>
                    <a:cubicBezTo>
                      <a:pt x="13" y="67"/>
                      <a:pt x="13" y="67"/>
                      <a:pt x="13" y="67"/>
                    </a:cubicBezTo>
                    <a:cubicBezTo>
                      <a:pt x="13" y="68"/>
                      <a:pt x="13" y="68"/>
                      <a:pt x="12" y="68"/>
                    </a:cubicBezTo>
                    <a:cubicBezTo>
                      <a:pt x="12" y="68"/>
                      <a:pt x="12" y="68"/>
                      <a:pt x="12" y="68"/>
                    </a:cubicBezTo>
                    <a:cubicBezTo>
                      <a:pt x="12" y="69"/>
                      <a:pt x="12" y="69"/>
                      <a:pt x="12" y="69"/>
                    </a:cubicBezTo>
                    <a:cubicBezTo>
                      <a:pt x="12" y="70"/>
                      <a:pt x="12" y="70"/>
                      <a:pt x="12" y="70"/>
                    </a:cubicBezTo>
                    <a:cubicBezTo>
                      <a:pt x="12" y="71"/>
                      <a:pt x="12" y="72"/>
                      <a:pt x="12" y="73"/>
                    </a:cubicBezTo>
                    <a:cubicBezTo>
                      <a:pt x="12" y="74"/>
                      <a:pt x="13" y="74"/>
                      <a:pt x="13" y="74"/>
                    </a:cubicBezTo>
                    <a:cubicBezTo>
                      <a:pt x="13" y="75"/>
                      <a:pt x="13" y="76"/>
                      <a:pt x="14" y="76"/>
                    </a:cubicBezTo>
                    <a:cubicBezTo>
                      <a:pt x="14" y="75"/>
                      <a:pt x="14" y="75"/>
                      <a:pt x="14" y="75"/>
                    </a:cubicBezTo>
                    <a:cubicBezTo>
                      <a:pt x="15" y="76"/>
                      <a:pt x="15" y="76"/>
                      <a:pt x="15" y="75"/>
                    </a:cubicBezTo>
                    <a:cubicBezTo>
                      <a:pt x="16" y="74"/>
                      <a:pt x="16" y="73"/>
                      <a:pt x="16" y="72"/>
                    </a:cubicBezTo>
                    <a:cubicBezTo>
                      <a:pt x="17" y="72"/>
                      <a:pt x="17" y="73"/>
                      <a:pt x="17" y="73"/>
                    </a:cubicBezTo>
                    <a:cubicBezTo>
                      <a:pt x="18" y="73"/>
                      <a:pt x="18" y="73"/>
                      <a:pt x="19" y="74"/>
                    </a:cubicBezTo>
                    <a:cubicBezTo>
                      <a:pt x="20" y="74"/>
                      <a:pt x="20" y="73"/>
                      <a:pt x="20" y="73"/>
                    </a:cubicBezTo>
                    <a:cubicBezTo>
                      <a:pt x="20" y="72"/>
                      <a:pt x="20" y="72"/>
                      <a:pt x="20" y="71"/>
                    </a:cubicBezTo>
                    <a:cubicBezTo>
                      <a:pt x="20" y="71"/>
                      <a:pt x="20" y="70"/>
                      <a:pt x="20" y="69"/>
                    </a:cubicBezTo>
                    <a:cubicBezTo>
                      <a:pt x="20" y="68"/>
                      <a:pt x="21" y="66"/>
                      <a:pt x="20" y="65"/>
                    </a:cubicBezTo>
                    <a:cubicBezTo>
                      <a:pt x="20" y="63"/>
                      <a:pt x="21" y="63"/>
                      <a:pt x="21" y="62"/>
                    </a:cubicBezTo>
                    <a:cubicBezTo>
                      <a:pt x="22" y="61"/>
                      <a:pt x="21" y="60"/>
                      <a:pt x="21" y="6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1" name="Freeform 806">
                <a:extLst>
                  <a:ext uri="{FF2B5EF4-FFF2-40B4-BE49-F238E27FC236}">
                    <a16:creationId xmlns:a16="http://schemas.microsoft.com/office/drawing/2014/main" id="{65DE3C5B-3012-2F7A-B3C2-AF8E4C73B657}"/>
                  </a:ext>
                </a:extLst>
              </p:cNvPr>
              <p:cNvSpPr>
                <a:spLocks/>
              </p:cNvSpPr>
              <p:nvPr/>
            </p:nvSpPr>
            <p:spPr bwMode="auto">
              <a:xfrm>
                <a:off x="5084763" y="3009900"/>
                <a:ext cx="128587" cy="182563"/>
              </a:xfrm>
              <a:custGeom>
                <a:avLst/>
                <a:gdLst>
                  <a:gd name="T0" fmla="*/ 30 w 31"/>
                  <a:gd name="T1" fmla="*/ 22 h 44"/>
                  <a:gd name="T2" fmla="*/ 29 w 31"/>
                  <a:gd name="T3" fmla="*/ 18 h 44"/>
                  <a:gd name="T4" fmla="*/ 29 w 31"/>
                  <a:gd name="T5" fmla="*/ 14 h 44"/>
                  <a:gd name="T6" fmla="*/ 27 w 31"/>
                  <a:gd name="T7" fmla="*/ 15 h 44"/>
                  <a:gd name="T8" fmla="*/ 26 w 31"/>
                  <a:gd name="T9" fmla="*/ 13 h 44"/>
                  <a:gd name="T10" fmla="*/ 23 w 31"/>
                  <a:gd name="T11" fmla="*/ 11 h 44"/>
                  <a:gd name="T12" fmla="*/ 23 w 31"/>
                  <a:gd name="T13" fmla="*/ 13 h 44"/>
                  <a:gd name="T14" fmla="*/ 22 w 31"/>
                  <a:gd name="T15" fmla="*/ 14 h 44"/>
                  <a:gd name="T16" fmla="*/ 20 w 31"/>
                  <a:gd name="T17" fmla="*/ 14 h 44"/>
                  <a:gd name="T18" fmla="*/ 18 w 31"/>
                  <a:gd name="T19" fmla="*/ 12 h 44"/>
                  <a:gd name="T20" fmla="*/ 17 w 31"/>
                  <a:gd name="T21" fmla="*/ 10 h 44"/>
                  <a:gd name="T22" fmla="*/ 18 w 31"/>
                  <a:gd name="T23" fmla="*/ 9 h 44"/>
                  <a:gd name="T24" fmla="*/ 18 w 31"/>
                  <a:gd name="T25" fmla="*/ 7 h 44"/>
                  <a:gd name="T26" fmla="*/ 20 w 31"/>
                  <a:gd name="T27" fmla="*/ 6 h 44"/>
                  <a:gd name="T28" fmla="*/ 21 w 31"/>
                  <a:gd name="T29" fmla="*/ 4 h 44"/>
                  <a:gd name="T30" fmla="*/ 23 w 31"/>
                  <a:gd name="T31" fmla="*/ 3 h 44"/>
                  <a:gd name="T32" fmla="*/ 22 w 31"/>
                  <a:gd name="T33" fmla="*/ 0 h 44"/>
                  <a:gd name="T34" fmla="*/ 20 w 31"/>
                  <a:gd name="T35" fmla="*/ 3 h 44"/>
                  <a:gd name="T36" fmla="*/ 20 w 31"/>
                  <a:gd name="T37" fmla="*/ 2 h 44"/>
                  <a:gd name="T38" fmla="*/ 18 w 31"/>
                  <a:gd name="T39" fmla="*/ 2 h 44"/>
                  <a:gd name="T40" fmla="*/ 15 w 31"/>
                  <a:gd name="T41" fmla="*/ 5 h 44"/>
                  <a:gd name="T42" fmla="*/ 13 w 31"/>
                  <a:gd name="T43" fmla="*/ 6 h 44"/>
                  <a:gd name="T44" fmla="*/ 15 w 31"/>
                  <a:gd name="T45" fmla="*/ 8 h 44"/>
                  <a:gd name="T46" fmla="*/ 14 w 31"/>
                  <a:gd name="T47" fmla="*/ 12 h 44"/>
                  <a:gd name="T48" fmla="*/ 12 w 31"/>
                  <a:gd name="T49" fmla="*/ 12 h 44"/>
                  <a:gd name="T50" fmla="*/ 8 w 31"/>
                  <a:gd name="T51" fmla="*/ 12 h 44"/>
                  <a:gd name="T52" fmla="*/ 4 w 31"/>
                  <a:gd name="T53" fmla="*/ 12 h 44"/>
                  <a:gd name="T54" fmla="*/ 5 w 31"/>
                  <a:gd name="T55" fmla="*/ 15 h 44"/>
                  <a:gd name="T56" fmla="*/ 7 w 31"/>
                  <a:gd name="T57" fmla="*/ 17 h 44"/>
                  <a:gd name="T58" fmla="*/ 5 w 31"/>
                  <a:gd name="T59" fmla="*/ 20 h 44"/>
                  <a:gd name="T60" fmla="*/ 3 w 31"/>
                  <a:gd name="T61" fmla="*/ 20 h 44"/>
                  <a:gd name="T62" fmla="*/ 4 w 31"/>
                  <a:gd name="T63" fmla="*/ 22 h 44"/>
                  <a:gd name="T64" fmla="*/ 5 w 31"/>
                  <a:gd name="T65" fmla="*/ 23 h 44"/>
                  <a:gd name="T66" fmla="*/ 9 w 31"/>
                  <a:gd name="T67" fmla="*/ 24 h 44"/>
                  <a:gd name="T68" fmla="*/ 10 w 31"/>
                  <a:gd name="T69" fmla="*/ 25 h 44"/>
                  <a:gd name="T70" fmla="*/ 8 w 31"/>
                  <a:gd name="T71" fmla="*/ 28 h 44"/>
                  <a:gd name="T72" fmla="*/ 4 w 31"/>
                  <a:gd name="T73" fmla="*/ 32 h 44"/>
                  <a:gd name="T74" fmla="*/ 10 w 31"/>
                  <a:gd name="T75" fmla="*/ 30 h 44"/>
                  <a:gd name="T76" fmla="*/ 9 w 31"/>
                  <a:gd name="T77" fmla="*/ 32 h 44"/>
                  <a:gd name="T78" fmla="*/ 5 w 31"/>
                  <a:gd name="T79" fmla="*/ 34 h 44"/>
                  <a:gd name="T80" fmla="*/ 4 w 31"/>
                  <a:gd name="T81" fmla="*/ 35 h 44"/>
                  <a:gd name="T82" fmla="*/ 3 w 31"/>
                  <a:gd name="T83" fmla="*/ 36 h 44"/>
                  <a:gd name="T84" fmla="*/ 2 w 31"/>
                  <a:gd name="T85" fmla="*/ 38 h 44"/>
                  <a:gd name="T86" fmla="*/ 3 w 31"/>
                  <a:gd name="T87" fmla="*/ 40 h 44"/>
                  <a:gd name="T88" fmla="*/ 3 w 31"/>
                  <a:gd name="T89" fmla="*/ 42 h 44"/>
                  <a:gd name="T90" fmla="*/ 6 w 31"/>
                  <a:gd name="T91" fmla="*/ 42 h 44"/>
                  <a:gd name="T92" fmla="*/ 6 w 31"/>
                  <a:gd name="T93" fmla="*/ 43 h 44"/>
                  <a:gd name="T94" fmla="*/ 10 w 31"/>
                  <a:gd name="T95" fmla="*/ 43 h 44"/>
                  <a:gd name="T96" fmla="*/ 12 w 31"/>
                  <a:gd name="T97" fmla="*/ 42 h 44"/>
                  <a:gd name="T98" fmla="*/ 15 w 31"/>
                  <a:gd name="T99" fmla="*/ 41 h 44"/>
                  <a:gd name="T100" fmla="*/ 18 w 31"/>
                  <a:gd name="T101" fmla="*/ 39 h 44"/>
                  <a:gd name="T102" fmla="*/ 23 w 31"/>
                  <a:gd name="T103" fmla="*/ 36 h 44"/>
                  <a:gd name="T104" fmla="*/ 25 w 31"/>
                  <a:gd name="T105" fmla="*/ 36 h 44"/>
                  <a:gd name="T106" fmla="*/ 29 w 31"/>
                  <a:gd name="T107" fmla="*/ 33 h 44"/>
                  <a:gd name="T108" fmla="*/ 30 w 31"/>
                  <a:gd name="T10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44">
                    <a:moveTo>
                      <a:pt x="30" y="25"/>
                    </a:moveTo>
                    <a:cubicBezTo>
                      <a:pt x="30" y="25"/>
                      <a:pt x="30" y="24"/>
                      <a:pt x="30" y="24"/>
                    </a:cubicBezTo>
                    <a:cubicBezTo>
                      <a:pt x="30" y="24"/>
                      <a:pt x="30" y="23"/>
                      <a:pt x="30" y="23"/>
                    </a:cubicBezTo>
                    <a:cubicBezTo>
                      <a:pt x="30" y="23"/>
                      <a:pt x="30" y="23"/>
                      <a:pt x="30" y="22"/>
                    </a:cubicBezTo>
                    <a:cubicBezTo>
                      <a:pt x="30" y="22"/>
                      <a:pt x="30" y="22"/>
                      <a:pt x="30" y="21"/>
                    </a:cubicBezTo>
                    <a:cubicBezTo>
                      <a:pt x="30" y="21"/>
                      <a:pt x="30" y="21"/>
                      <a:pt x="30" y="21"/>
                    </a:cubicBezTo>
                    <a:cubicBezTo>
                      <a:pt x="30" y="20"/>
                      <a:pt x="30" y="20"/>
                      <a:pt x="30" y="19"/>
                    </a:cubicBezTo>
                    <a:cubicBezTo>
                      <a:pt x="29" y="19"/>
                      <a:pt x="29" y="18"/>
                      <a:pt x="29" y="18"/>
                    </a:cubicBezTo>
                    <a:cubicBezTo>
                      <a:pt x="29" y="17"/>
                      <a:pt x="29" y="17"/>
                      <a:pt x="29" y="17"/>
                    </a:cubicBezTo>
                    <a:cubicBezTo>
                      <a:pt x="28" y="16"/>
                      <a:pt x="28" y="16"/>
                      <a:pt x="28" y="15"/>
                    </a:cubicBezTo>
                    <a:cubicBezTo>
                      <a:pt x="29" y="15"/>
                      <a:pt x="29" y="16"/>
                      <a:pt x="30" y="16"/>
                    </a:cubicBezTo>
                    <a:cubicBezTo>
                      <a:pt x="30" y="15"/>
                      <a:pt x="29" y="15"/>
                      <a:pt x="29" y="14"/>
                    </a:cubicBezTo>
                    <a:cubicBezTo>
                      <a:pt x="29" y="14"/>
                      <a:pt x="29" y="14"/>
                      <a:pt x="29" y="14"/>
                    </a:cubicBezTo>
                    <a:cubicBezTo>
                      <a:pt x="28" y="15"/>
                      <a:pt x="28" y="15"/>
                      <a:pt x="28" y="15"/>
                    </a:cubicBezTo>
                    <a:cubicBezTo>
                      <a:pt x="28" y="15"/>
                      <a:pt x="28" y="15"/>
                      <a:pt x="28" y="15"/>
                    </a:cubicBezTo>
                    <a:cubicBezTo>
                      <a:pt x="27" y="15"/>
                      <a:pt x="27" y="15"/>
                      <a:pt x="27" y="15"/>
                    </a:cubicBezTo>
                    <a:cubicBezTo>
                      <a:pt x="26" y="15"/>
                      <a:pt x="26" y="15"/>
                      <a:pt x="26" y="15"/>
                    </a:cubicBezTo>
                    <a:cubicBezTo>
                      <a:pt x="27" y="13"/>
                      <a:pt x="27" y="13"/>
                      <a:pt x="27" y="13"/>
                    </a:cubicBezTo>
                    <a:cubicBezTo>
                      <a:pt x="26" y="13"/>
                      <a:pt x="26" y="13"/>
                      <a:pt x="26" y="13"/>
                    </a:cubicBezTo>
                    <a:cubicBezTo>
                      <a:pt x="26" y="13"/>
                      <a:pt x="26" y="13"/>
                      <a:pt x="26" y="13"/>
                    </a:cubicBezTo>
                    <a:cubicBezTo>
                      <a:pt x="25" y="13"/>
                      <a:pt x="25" y="12"/>
                      <a:pt x="25" y="11"/>
                    </a:cubicBezTo>
                    <a:cubicBezTo>
                      <a:pt x="24" y="11"/>
                      <a:pt x="24" y="11"/>
                      <a:pt x="24" y="11"/>
                    </a:cubicBezTo>
                    <a:cubicBezTo>
                      <a:pt x="24" y="11"/>
                      <a:pt x="24" y="11"/>
                      <a:pt x="24" y="11"/>
                    </a:cubicBezTo>
                    <a:cubicBezTo>
                      <a:pt x="23" y="11"/>
                      <a:pt x="23" y="11"/>
                      <a:pt x="23" y="11"/>
                    </a:cubicBezTo>
                    <a:cubicBezTo>
                      <a:pt x="23" y="11"/>
                      <a:pt x="23" y="11"/>
                      <a:pt x="23" y="11"/>
                    </a:cubicBezTo>
                    <a:cubicBezTo>
                      <a:pt x="23" y="12"/>
                      <a:pt x="23" y="12"/>
                      <a:pt x="23" y="12"/>
                    </a:cubicBezTo>
                    <a:cubicBezTo>
                      <a:pt x="23" y="12"/>
                      <a:pt x="23" y="12"/>
                      <a:pt x="23" y="12"/>
                    </a:cubicBezTo>
                    <a:cubicBezTo>
                      <a:pt x="23" y="13"/>
                      <a:pt x="23" y="13"/>
                      <a:pt x="23" y="13"/>
                    </a:cubicBezTo>
                    <a:cubicBezTo>
                      <a:pt x="22" y="13"/>
                      <a:pt x="22" y="13"/>
                      <a:pt x="22" y="13"/>
                    </a:cubicBezTo>
                    <a:cubicBezTo>
                      <a:pt x="22" y="14"/>
                      <a:pt x="22" y="14"/>
                      <a:pt x="22" y="14"/>
                    </a:cubicBezTo>
                    <a:cubicBezTo>
                      <a:pt x="22" y="13"/>
                      <a:pt x="22" y="13"/>
                      <a:pt x="22" y="13"/>
                    </a:cubicBezTo>
                    <a:cubicBezTo>
                      <a:pt x="22" y="14"/>
                      <a:pt x="22" y="14"/>
                      <a:pt x="22" y="14"/>
                    </a:cubicBezTo>
                    <a:cubicBezTo>
                      <a:pt x="22" y="14"/>
                      <a:pt x="22" y="14"/>
                      <a:pt x="22" y="14"/>
                    </a:cubicBezTo>
                    <a:cubicBezTo>
                      <a:pt x="21" y="14"/>
                      <a:pt x="21" y="14"/>
                      <a:pt x="21" y="14"/>
                    </a:cubicBezTo>
                    <a:cubicBezTo>
                      <a:pt x="21" y="13"/>
                      <a:pt x="21" y="13"/>
                      <a:pt x="21" y="13"/>
                    </a:cubicBezTo>
                    <a:cubicBezTo>
                      <a:pt x="20" y="14"/>
                      <a:pt x="20" y="14"/>
                      <a:pt x="20" y="14"/>
                    </a:cubicBezTo>
                    <a:cubicBezTo>
                      <a:pt x="20" y="13"/>
                      <a:pt x="20" y="13"/>
                      <a:pt x="20" y="13"/>
                    </a:cubicBezTo>
                    <a:cubicBezTo>
                      <a:pt x="19" y="13"/>
                      <a:pt x="19" y="13"/>
                      <a:pt x="19" y="13"/>
                    </a:cubicBezTo>
                    <a:cubicBezTo>
                      <a:pt x="18" y="13"/>
                      <a:pt x="18" y="13"/>
                      <a:pt x="18" y="13"/>
                    </a:cubicBezTo>
                    <a:cubicBezTo>
                      <a:pt x="18" y="12"/>
                      <a:pt x="18" y="12"/>
                      <a:pt x="18" y="12"/>
                    </a:cubicBezTo>
                    <a:cubicBezTo>
                      <a:pt x="18" y="12"/>
                      <a:pt x="18" y="12"/>
                      <a:pt x="18" y="12"/>
                    </a:cubicBezTo>
                    <a:cubicBezTo>
                      <a:pt x="17" y="11"/>
                      <a:pt x="17" y="11"/>
                      <a:pt x="17" y="11"/>
                    </a:cubicBezTo>
                    <a:cubicBezTo>
                      <a:pt x="17" y="11"/>
                      <a:pt x="17" y="11"/>
                      <a:pt x="17" y="11"/>
                    </a:cubicBezTo>
                    <a:cubicBezTo>
                      <a:pt x="17" y="10"/>
                      <a:pt x="17" y="10"/>
                      <a:pt x="17" y="10"/>
                    </a:cubicBezTo>
                    <a:cubicBezTo>
                      <a:pt x="16" y="9"/>
                      <a:pt x="16" y="9"/>
                      <a:pt x="16" y="9"/>
                    </a:cubicBezTo>
                    <a:cubicBezTo>
                      <a:pt x="17" y="9"/>
                      <a:pt x="17" y="9"/>
                      <a:pt x="17" y="9"/>
                    </a:cubicBezTo>
                    <a:cubicBezTo>
                      <a:pt x="17" y="9"/>
                      <a:pt x="17" y="9"/>
                      <a:pt x="17" y="9"/>
                    </a:cubicBezTo>
                    <a:cubicBezTo>
                      <a:pt x="18" y="9"/>
                      <a:pt x="18" y="9"/>
                      <a:pt x="18" y="9"/>
                    </a:cubicBezTo>
                    <a:cubicBezTo>
                      <a:pt x="18" y="9"/>
                      <a:pt x="18" y="9"/>
                      <a:pt x="18" y="9"/>
                    </a:cubicBezTo>
                    <a:cubicBezTo>
                      <a:pt x="19" y="8"/>
                      <a:pt x="19" y="8"/>
                      <a:pt x="19" y="8"/>
                    </a:cubicBezTo>
                    <a:cubicBezTo>
                      <a:pt x="19" y="8"/>
                      <a:pt x="19" y="8"/>
                      <a:pt x="19" y="8"/>
                    </a:cubicBezTo>
                    <a:cubicBezTo>
                      <a:pt x="18" y="7"/>
                      <a:pt x="18" y="7"/>
                      <a:pt x="18" y="7"/>
                    </a:cubicBezTo>
                    <a:cubicBezTo>
                      <a:pt x="18" y="7"/>
                      <a:pt x="18" y="7"/>
                      <a:pt x="18" y="7"/>
                    </a:cubicBezTo>
                    <a:cubicBezTo>
                      <a:pt x="18" y="6"/>
                      <a:pt x="18" y="6"/>
                      <a:pt x="18" y="6"/>
                    </a:cubicBezTo>
                    <a:cubicBezTo>
                      <a:pt x="19" y="7"/>
                      <a:pt x="19" y="7"/>
                      <a:pt x="19" y="7"/>
                    </a:cubicBezTo>
                    <a:cubicBezTo>
                      <a:pt x="20" y="6"/>
                      <a:pt x="20" y="6"/>
                      <a:pt x="20" y="6"/>
                    </a:cubicBezTo>
                    <a:cubicBezTo>
                      <a:pt x="21" y="6"/>
                      <a:pt x="21" y="6"/>
                      <a:pt x="21" y="6"/>
                    </a:cubicBezTo>
                    <a:cubicBezTo>
                      <a:pt x="21" y="6"/>
                      <a:pt x="21" y="6"/>
                      <a:pt x="21" y="6"/>
                    </a:cubicBezTo>
                    <a:cubicBezTo>
                      <a:pt x="21" y="5"/>
                      <a:pt x="21" y="5"/>
                      <a:pt x="21" y="5"/>
                    </a:cubicBezTo>
                    <a:cubicBezTo>
                      <a:pt x="21" y="4"/>
                      <a:pt x="21" y="4"/>
                      <a:pt x="21" y="4"/>
                    </a:cubicBezTo>
                    <a:cubicBezTo>
                      <a:pt x="22" y="4"/>
                      <a:pt x="22" y="4"/>
                      <a:pt x="22" y="4"/>
                    </a:cubicBezTo>
                    <a:cubicBezTo>
                      <a:pt x="22" y="4"/>
                      <a:pt x="22" y="4"/>
                      <a:pt x="22" y="4"/>
                    </a:cubicBezTo>
                    <a:cubicBezTo>
                      <a:pt x="22" y="3"/>
                      <a:pt x="22" y="3"/>
                      <a:pt x="22" y="3"/>
                    </a:cubicBezTo>
                    <a:cubicBezTo>
                      <a:pt x="23" y="3"/>
                      <a:pt x="23" y="3"/>
                      <a:pt x="23" y="3"/>
                    </a:cubicBezTo>
                    <a:cubicBezTo>
                      <a:pt x="23" y="2"/>
                      <a:pt x="24" y="2"/>
                      <a:pt x="24" y="2"/>
                    </a:cubicBezTo>
                    <a:cubicBezTo>
                      <a:pt x="24" y="1"/>
                      <a:pt x="24" y="1"/>
                      <a:pt x="23" y="1"/>
                    </a:cubicBezTo>
                    <a:cubicBezTo>
                      <a:pt x="23" y="0"/>
                      <a:pt x="23" y="0"/>
                      <a:pt x="22" y="0"/>
                    </a:cubicBezTo>
                    <a:cubicBezTo>
                      <a:pt x="21" y="0"/>
                      <a:pt x="22" y="0"/>
                      <a:pt x="22" y="0"/>
                    </a:cubicBezTo>
                    <a:cubicBezTo>
                      <a:pt x="22" y="1"/>
                      <a:pt x="21" y="0"/>
                      <a:pt x="21" y="1"/>
                    </a:cubicBezTo>
                    <a:cubicBezTo>
                      <a:pt x="20" y="1"/>
                      <a:pt x="21" y="2"/>
                      <a:pt x="21" y="3"/>
                    </a:cubicBezTo>
                    <a:cubicBezTo>
                      <a:pt x="21" y="3"/>
                      <a:pt x="20" y="5"/>
                      <a:pt x="20" y="4"/>
                    </a:cubicBezTo>
                    <a:cubicBezTo>
                      <a:pt x="19" y="4"/>
                      <a:pt x="20" y="3"/>
                      <a:pt x="20" y="3"/>
                    </a:cubicBezTo>
                    <a:cubicBezTo>
                      <a:pt x="21" y="2"/>
                      <a:pt x="20" y="2"/>
                      <a:pt x="20" y="2"/>
                    </a:cubicBezTo>
                    <a:cubicBezTo>
                      <a:pt x="20" y="2"/>
                      <a:pt x="20" y="1"/>
                      <a:pt x="20" y="1"/>
                    </a:cubicBezTo>
                    <a:cubicBezTo>
                      <a:pt x="20" y="1"/>
                      <a:pt x="19" y="1"/>
                      <a:pt x="19" y="1"/>
                    </a:cubicBezTo>
                    <a:cubicBezTo>
                      <a:pt x="19" y="1"/>
                      <a:pt x="20" y="1"/>
                      <a:pt x="20" y="2"/>
                    </a:cubicBezTo>
                    <a:cubicBezTo>
                      <a:pt x="20"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7" y="2"/>
                      <a:pt x="17" y="2"/>
                      <a:pt x="16" y="2"/>
                    </a:cubicBezTo>
                    <a:cubicBezTo>
                      <a:pt x="16" y="1"/>
                      <a:pt x="14" y="3"/>
                      <a:pt x="14" y="4"/>
                    </a:cubicBezTo>
                    <a:cubicBezTo>
                      <a:pt x="15" y="4"/>
                      <a:pt x="15" y="4"/>
                      <a:pt x="15" y="5"/>
                    </a:cubicBezTo>
                    <a:cubicBezTo>
                      <a:pt x="15" y="5"/>
                      <a:pt x="15" y="5"/>
                      <a:pt x="15" y="5"/>
                    </a:cubicBezTo>
                    <a:cubicBezTo>
                      <a:pt x="15" y="5"/>
                      <a:pt x="15" y="6"/>
                      <a:pt x="15" y="5"/>
                    </a:cubicBezTo>
                    <a:cubicBezTo>
                      <a:pt x="13" y="5"/>
                      <a:pt x="15" y="6"/>
                      <a:pt x="14" y="7"/>
                    </a:cubicBezTo>
                    <a:cubicBezTo>
                      <a:pt x="14" y="7"/>
                      <a:pt x="13" y="6"/>
                      <a:pt x="13" y="6"/>
                    </a:cubicBezTo>
                    <a:cubicBezTo>
                      <a:pt x="13" y="7"/>
                      <a:pt x="12" y="7"/>
                      <a:pt x="12" y="8"/>
                    </a:cubicBezTo>
                    <a:cubicBezTo>
                      <a:pt x="12" y="8"/>
                      <a:pt x="13" y="8"/>
                      <a:pt x="13" y="8"/>
                    </a:cubicBezTo>
                    <a:cubicBezTo>
                      <a:pt x="13" y="8"/>
                      <a:pt x="14" y="8"/>
                      <a:pt x="14" y="8"/>
                    </a:cubicBezTo>
                    <a:cubicBezTo>
                      <a:pt x="15" y="8"/>
                      <a:pt x="14" y="9"/>
                      <a:pt x="15" y="8"/>
                    </a:cubicBezTo>
                    <a:cubicBezTo>
                      <a:pt x="15" y="8"/>
                      <a:pt x="16" y="8"/>
                      <a:pt x="16" y="8"/>
                    </a:cubicBezTo>
                    <a:cubicBezTo>
                      <a:pt x="17" y="9"/>
                      <a:pt x="14" y="10"/>
                      <a:pt x="14" y="11"/>
                    </a:cubicBezTo>
                    <a:cubicBezTo>
                      <a:pt x="14" y="11"/>
                      <a:pt x="14" y="11"/>
                      <a:pt x="14" y="11"/>
                    </a:cubicBezTo>
                    <a:cubicBezTo>
                      <a:pt x="13" y="11"/>
                      <a:pt x="14" y="11"/>
                      <a:pt x="14" y="12"/>
                    </a:cubicBezTo>
                    <a:cubicBezTo>
                      <a:pt x="14" y="12"/>
                      <a:pt x="14" y="12"/>
                      <a:pt x="14" y="12"/>
                    </a:cubicBezTo>
                    <a:cubicBezTo>
                      <a:pt x="14" y="13"/>
                      <a:pt x="14" y="13"/>
                      <a:pt x="14" y="13"/>
                    </a:cubicBezTo>
                    <a:cubicBezTo>
                      <a:pt x="13" y="13"/>
                      <a:pt x="13" y="12"/>
                      <a:pt x="13" y="12"/>
                    </a:cubicBezTo>
                    <a:cubicBezTo>
                      <a:pt x="13" y="12"/>
                      <a:pt x="12" y="12"/>
                      <a:pt x="12" y="12"/>
                    </a:cubicBezTo>
                    <a:cubicBezTo>
                      <a:pt x="11" y="12"/>
                      <a:pt x="11" y="12"/>
                      <a:pt x="11" y="12"/>
                    </a:cubicBezTo>
                    <a:cubicBezTo>
                      <a:pt x="10" y="12"/>
                      <a:pt x="10" y="13"/>
                      <a:pt x="10" y="14"/>
                    </a:cubicBezTo>
                    <a:cubicBezTo>
                      <a:pt x="9" y="13"/>
                      <a:pt x="9" y="13"/>
                      <a:pt x="9" y="12"/>
                    </a:cubicBezTo>
                    <a:cubicBezTo>
                      <a:pt x="9" y="12"/>
                      <a:pt x="8" y="12"/>
                      <a:pt x="8" y="12"/>
                    </a:cubicBezTo>
                    <a:cubicBezTo>
                      <a:pt x="7" y="12"/>
                      <a:pt x="5" y="11"/>
                      <a:pt x="5" y="12"/>
                    </a:cubicBezTo>
                    <a:cubicBezTo>
                      <a:pt x="6" y="12"/>
                      <a:pt x="6" y="12"/>
                      <a:pt x="6" y="12"/>
                    </a:cubicBezTo>
                    <a:cubicBezTo>
                      <a:pt x="5" y="12"/>
                      <a:pt x="5" y="12"/>
                      <a:pt x="5" y="12"/>
                    </a:cubicBezTo>
                    <a:cubicBezTo>
                      <a:pt x="4" y="12"/>
                      <a:pt x="5" y="12"/>
                      <a:pt x="4" y="12"/>
                    </a:cubicBezTo>
                    <a:cubicBezTo>
                      <a:pt x="3" y="12"/>
                      <a:pt x="3" y="13"/>
                      <a:pt x="3" y="13"/>
                    </a:cubicBezTo>
                    <a:cubicBezTo>
                      <a:pt x="4" y="13"/>
                      <a:pt x="4" y="13"/>
                      <a:pt x="4" y="13"/>
                    </a:cubicBezTo>
                    <a:cubicBezTo>
                      <a:pt x="4" y="13"/>
                      <a:pt x="5" y="14"/>
                      <a:pt x="5" y="14"/>
                    </a:cubicBezTo>
                    <a:cubicBezTo>
                      <a:pt x="5" y="14"/>
                      <a:pt x="5" y="15"/>
                      <a:pt x="5" y="15"/>
                    </a:cubicBezTo>
                    <a:cubicBezTo>
                      <a:pt x="5" y="15"/>
                      <a:pt x="5" y="15"/>
                      <a:pt x="5" y="16"/>
                    </a:cubicBezTo>
                    <a:cubicBezTo>
                      <a:pt x="5" y="16"/>
                      <a:pt x="4" y="16"/>
                      <a:pt x="4" y="16"/>
                    </a:cubicBezTo>
                    <a:cubicBezTo>
                      <a:pt x="5" y="17"/>
                      <a:pt x="5" y="17"/>
                      <a:pt x="6" y="17"/>
                    </a:cubicBezTo>
                    <a:cubicBezTo>
                      <a:pt x="6" y="16"/>
                      <a:pt x="7" y="16"/>
                      <a:pt x="7" y="17"/>
                    </a:cubicBezTo>
                    <a:cubicBezTo>
                      <a:pt x="7" y="18"/>
                      <a:pt x="6" y="18"/>
                      <a:pt x="5" y="18"/>
                    </a:cubicBezTo>
                    <a:cubicBezTo>
                      <a:pt x="5" y="18"/>
                      <a:pt x="4" y="19"/>
                      <a:pt x="5" y="19"/>
                    </a:cubicBezTo>
                    <a:cubicBezTo>
                      <a:pt x="5" y="19"/>
                      <a:pt x="5" y="19"/>
                      <a:pt x="5" y="19"/>
                    </a:cubicBezTo>
                    <a:cubicBezTo>
                      <a:pt x="5" y="19"/>
                      <a:pt x="5" y="20"/>
                      <a:pt x="5" y="20"/>
                    </a:cubicBezTo>
                    <a:cubicBezTo>
                      <a:pt x="6" y="20"/>
                      <a:pt x="6" y="20"/>
                      <a:pt x="6" y="20"/>
                    </a:cubicBezTo>
                    <a:cubicBezTo>
                      <a:pt x="5" y="20"/>
                      <a:pt x="5" y="20"/>
                      <a:pt x="4" y="20"/>
                    </a:cubicBezTo>
                    <a:cubicBezTo>
                      <a:pt x="4" y="20"/>
                      <a:pt x="4" y="20"/>
                      <a:pt x="4" y="20"/>
                    </a:cubicBezTo>
                    <a:cubicBezTo>
                      <a:pt x="4" y="20"/>
                      <a:pt x="4" y="20"/>
                      <a:pt x="3" y="20"/>
                    </a:cubicBezTo>
                    <a:cubicBezTo>
                      <a:pt x="3" y="20"/>
                      <a:pt x="3" y="20"/>
                      <a:pt x="3" y="21"/>
                    </a:cubicBezTo>
                    <a:cubicBezTo>
                      <a:pt x="3" y="21"/>
                      <a:pt x="3" y="21"/>
                      <a:pt x="3" y="21"/>
                    </a:cubicBezTo>
                    <a:cubicBezTo>
                      <a:pt x="3" y="22"/>
                      <a:pt x="3" y="22"/>
                      <a:pt x="3" y="22"/>
                    </a:cubicBezTo>
                    <a:cubicBezTo>
                      <a:pt x="3" y="22"/>
                      <a:pt x="4" y="22"/>
                      <a:pt x="4" y="22"/>
                    </a:cubicBezTo>
                    <a:cubicBezTo>
                      <a:pt x="4" y="23"/>
                      <a:pt x="4" y="22"/>
                      <a:pt x="4" y="22"/>
                    </a:cubicBezTo>
                    <a:cubicBezTo>
                      <a:pt x="5" y="22"/>
                      <a:pt x="5" y="22"/>
                      <a:pt x="5" y="22"/>
                    </a:cubicBezTo>
                    <a:cubicBezTo>
                      <a:pt x="5" y="22"/>
                      <a:pt x="5" y="22"/>
                      <a:pt x="5" y="23"/>
                    </a:cubicBezTo>
                    <a:cubicBezTo>
                      <a:pt x="5" y="23"/>
                      <a:pt x="5" y="23"/>
                      <a:pt x="5" y="23"/>
                    </a:cubicBezTo>
                    <a:cubicBezTo>
                      <a:pt x="5" y="23"/>
                      <a:pt x="5" y="23"/>
                      <a:pt x="5" y="23"/>
                    </a:cubicBezTo>
                    <a:cubicBezTo>
                      <a:pt x="6" y="23"/>
                      <a:pt x="6" y="22"/>
                      <a:pt x="6" y="22"/>
                    </a:cubicBezTo>
                    <a:cubicBezTo>
                      <a:pt x="7" y="22"/>
                      <a:pt x="6" y="24"/>
                      <a:pt x="7" y="24"/>
                    </a:cubicBezTo>
                    <a:cubicBezTo>
                      <a:pt x="8" y="24"/>
                      <a:pt x="9" y="24"/>
                      <a:pt x="9" y="24"/>
                    </a:cubicBezTo>
                    <a:cubicBezTo>
                      <a:pt x="10" y="24"/>
                      <a:pt x="10" y="24"/>
                      <a:pt x="11" y="24"/>
                    </a:cubicBezTo>
                    <a:cubicBezTo>
                      <a:pt x="11" y="24"/>
                      <a:pt x="11" y="24"/>
                      <a:pt x="11" y="24"/>
                    </a:cubicBezTo>
                    <a:cubicBezTo>
                      <a:pt x="11" y="24"/>
                      <a:pt x="11" y="24"/>
                      <a:pt x="11" y="25"/>
                    </a:cubicBezTo>
                    <a:cubicBezTo>
                      <a:pt x="11" y="25"/>
                      <a:pt x="10" y="25"/>
                      <a:pt x="10" y="25"/>
                    </a:cubicBezTo>
                    <a:cubicBezTo>
                      <a:pt x="10" y="25"/>
                      <a:pt x="9" y="26"/>
                      <a:pt x="9" y="25"/>
                    </a:cubicBezTo>
                    <a:cubicBezTo>
                      <a:pt x="9" y="25"/>
                      <a:pt x="8" y="27"/>
                      <a:pt x="8" y="27"/>
                    </a:cubicBezTo>
                    <a:cubicBezTo>
                      <a:pt x="8" y="27"/>
                      <a:pt x="8" y="27"/>
                      <a:pt x="7" y="27"/>
                    </a:cubicBezTo>
                    <a:cubicBezTo>
                      <a:pt x="8" y="28"/>
                      <a:pt x="8" y="28"/>
                      <a:pt x="8" y="28"/>
                    </a:cubicBezTo>
                    <a:cubicBezTo>
                      <a:pt x="8" y="28"/>
                      <a:pt x="8" y="29"/>
                      <a:pt x="7" y="29"/>
                    </a:cubicBezTo>
                    <a:cubicBezTo>
                      <a:pt x="7" y="29"/>
                      <a:pt x="7" y="29"/>
                      <a:pt x="7" y="30"/>
                    </a:cubicBezTo>
                    <a:cubicBezTo>
                      <a:pt x="6" y="30"/>
                      <a:pt x="6" y="30"/>
                      <a:pt x="6" y="31"/>
                    </a:cubicBezTo>
                    <a:cubicBezTo>
                      <a:pt x="5" y="31"/>
                      <a:pt x="5" y="31"/>
                      <a:pt x="4" y="32"/>
                    </a:cubicBezTo>
                    <a:cubicBezTo>
                      <a:pt x="6" y="32"/>
                      <a:pt x="6" y="31"/>
                      <a:pt x="7" y="31"/>
                    </a:cubicBezTo>
                    <a:cubicBezTo>
                      <a:pt x="7" y="30"/>
                      <a:pt x="7" y="31"/>
                      <a:pt x="8" y="31"/>
                    </a:cubicBezTo>
                    <a:cubicBezTo>
                      <a:pt x="8" y="31"/>
                      <a:pt x="9" y="31"/>
                      <a:pt x="9" y="31"/>
                    </a:cubicBezTo>
                    <a:cubicBezTo>
                      <a:pt x="9" y="31"/>
                      <a:pt x="10" y="31"/>
                      <a:pt x="10" y="30"/>
                    </a:cubicBezTo>
                    <a:cubicBezTo>
                      <a:pt x="10" y="30"/>
                      <a:pt x="10" y="30"/>
                      <a:pt x="11" y="29"/>
                    </a:cubicBezTo>
                    <a:cubicBezTo>
                      <a:pt x="11" y="29"/>
                      <a:pt x="11" y="30"/>
                      <a:pt x="11" y="30"/>
                    </a:cubicBezTo>
                    <a:cubicBezTo>
                      <a:pt x="11" y="30"/>
                      <a:pt x="11" y="30"/>
                      <a:pt x="12" y="31"/>
                    </a:cubicBezTo>
                    <a:cubicBezTo>
                      <a:pt x="11" y="31"/>
                      <a:pt x="10" y="31"/>
                      <a:pt x="9" y="32"/>
                    </a:cubicBezTo>
                    <a:cubicBezTo>
                      <a:pt x="8" y="32"/>
                      <a:pt x="7" y="31"/>
                      <a:pt x="7" y="32"/>
                    </a:cubicBezTo>
                    <a:cubicBezTo>
                      <a:pt x="6" y="32"/>
                      <a:pt x="7" y="32"/>
                      <a:pt x="6" y="32"/>
                    </a:cubicBezTo>
                    <a:cubicBezTo>
                      <a:pt x="6" y="33"/>
                      <a:pt x="5" y="33"/>
                      <a:pt x="5" y="33"/>
                    </a:cubicBezTo>
                    <a:cubicBezTo>
                      <a:pt x="4" y="34"/>
                      <a:pt x="5" y="33"/>
                      <a:pt x="5" y="34"/>
                    </a:cubicBezTo>
                    <a:cubicBezTo>
                      <a:pt x="5" y="34"/>
                      <a:pt x="5" y="34"/>
                      <a:pt x="5" y="34"/>
                    </a:cubicBezTo>
                    <a:cubicBezTo>
                      <a:pt x="5" y="35"/>
                      <a:pt x="5" y="35"/>
                      <a:pt x="5" y="35"/>
                    </a:cubicBezTo>
                    <a:cubicBezTo>
                      <a:pt x="5" y="35"/>
                      <a:pt x="5" y="35"/>
                      <a:pt x="4" y="35"/>
                    </a:cubicBezTo>
                    <a:cubicBezTo>
                      <a:pt x="4" y="35"/>
                      <a:pt x="4" y="35"/>
                      <a:pt x="4" y="35"/>
                    </a:cubicBezTo>
                    <a:cubicBezTo>
                      <a:pt x="3" y="35"/>
                      <a:pt x="3" y="35"/>
                      <a:pt x="3" y="35"/>
                    </a:cubicBezTo>
                    <a:cubicBezTo>
                      <a:pt x="2" y="35"/>
                      <a:pt x="0" y="36"/>
                      <a:pt x="1" y="37"/>
                    </a:cubicBezTo>
                    <a:cubicBezTo>
                      <a:pt x="1" y="37"/>
                      <a:pt x="2" y="36"/>
                      <a:pt x="2" y="36"/>
                    </a:cubicBezTo>
                    <a:cubicBezTo>
                      <a:pt x="2" y="36"/>
                      <a:pt x="3" y="36"/>
                      <a:pt x="3" y="36"/>
                    </a:cubicBezTo>
                    <a:cubicBezTo>
                      <a:pt x="3" y="36"/>
                      <a:pt x="4" y="36"/>
                      <a:pt x="4" y="36"/>
                    </a:cubicBezTo>
                    <a:cubicBezTo>
                      <a:pt x="4" y="36"/>
                      <a:pt x="5" y="36"/>
                      <a:pt x="5" y="36"/>
                    </a:cubicBezTo>
                    <a:cubicBezTo>
                      <a:pt x="5" y="37"/>
                      <a:pt x="4" y="37"/>
                      <a:pt x="4" y="37"/>
                    </a:cubicBezTo>
                    <a:cubicBezTo>
                      <a:pt x="3" y="37"/>
                      <a:pt x="2" y="37"/>
                      <a:pt x="2" y="38"/>
                    </a:cubicBezTo>
                    <a:cubicBezTo>
                      <a:pt x="2" y="38"/>
                      <a:pt x="2" y="39"/>
                      <a:pt x="2" y="39"/>
                    </a:cubicBezTo>
                    <a:cubicBezTo>
                      <a:pt x="2" y="39"/>
                      <a:pt x="2" y="39"/>
                      <a:pt x="2" y="39"/>
                    </a:cubicBezTo>
                    <a:cubicBezTo>
                      <a:pt x="1" y="39"/>
                      <a:pt x="1" y="39"/>
                      <a:pt x="2" y="40"/>
                    </a:cubicBezTo>
                    <a:cubicBezTo>
                      <a:pt x="2" y="40"/>
                      <a:pt x="2" y="39"/>
                      <a:pt x="3" y="40"/>
                    </a:cubicBezTo>
                    <a:cubicBezTo>
                      <a:pt x="3" y="40"/>
                      <a:pt x="3" y="40"/>
                      <a:pt x="3" y="40"/>
                    </a:cubicBezTo>
                    <a:cubicBezTo>
                      <a:pt x="4" y="41"/>
                      <a:pt x="4" y="40"/>
                      <a:pt x="5" y="40"/>
                    </a:cubicBezTo>
                    <a:cubicBezTo>
                      <a:pt x="5" y="40"/>
                      <a:pt x="6" y="39"/>
                      <a:pt x="6" y="39"/>
                    </a:cubicBezTo>
                    <a:cubicBezTo>
                      <a:pt x="6" y="40"/>
                      <a:pt x="3" y="41"/>
                      <a:pt x="3" y="42"/>
                    </a:cubicBezTo>
                    <a:cubicBezTo>
                      <a:pt x="4" y="42"/>
                      <a:pt x="5" y="42"/>
                      <a:pt x="6" y="41"/>
                    </a:cubicBezTo>
                    <a:cubicBezTo>
                      <a:pt x="6" y="41"/>
                      <a:pt x="7" y="40"/>
                      <a:pt x="7" y="40"/>
                    </a:cubicBezTo>
                    <a:cubicBezTo>
                      <a:pt x="8" y="40"/>
                      <a:pt x="8" y="41"/>
                      <a:pt x="7" y="42"/>
                    </a:cubicBezTo>
                    <a:cubicBezTo>
                      <a:pt x="7" y="42"/>
                      <a:pt x="6" y="42"/>
                      <a:pt x="6" y="42"/>
                    </a:cubicBezTo>
                    <a:cubicBezTo>
                      <a:pt x="6" y="42"/>
                      <a:pt x="6" y="42"/>
                      <a:pt x="7" y="42"/>
                    </a:cubicBezTo>
                    <a:cubicBezTo>
                      <a:pt x="6" y="42"/>
                      <a:pt x="6" y="43"/>
                      <a:pt x="6" y="43"/>
                    </a:cubicBezTo>
                    <a:cubicBezTo>
                      <a:pt x="6" y="43"/>
                      <a:pt x="5" y="43"/>
                      <a:pt x="5" y="44"/>
                    </a:cubicBezTo>
                    <a:cubicBezTo>
                      <a:pt x="5" y="44"/>
                      <a:pt x="6" y="43"/>
                      <a:pt x="6" y="43"/>
                    </a:cubicBezTo>
                    <a:cubicBezTo>
                      <a:pt x="6" y="43"/>
                      <a:pt x="7" y="43"/>
                      <a:pt x="7" y="43"/>
                    </a:cubicBezTo>
                    <a:cubicBezTo>
                      <a:pt x="7" y="43"/>
                      <a:pt x="7" y="43"/>
                      <a:pt x="8" y="43"/>
                    </a:cubicBezTo>
                    <a:cubicBezTo>
                      <a:pt x="8" y="43"/>
                      <a:pt x="8" y="43"/>
                      <a:pt x="9" y="43"/>
                    </a:cubicBezTo>
                    <a:cubicBezTo>
                      <a:pt x="9" y="43"/>
                      <a:pt x="9" y="43"/>
                      <a:pt x="10" y="43"/>
                    </a:cubicBezTo>
                    <a:cubicBezTo>
                      <a:pt x="10" y="43"/>
                      <a:pt x="10" y="43"/>
                      <a:pt x="11" y="43"/>
                    </a:cubicBezTo>
                    <a:cubicBezTo>
                      <a:pt x="11" y="43"/>
                      <a:pt x="11" y="42"/>
                      <a:pt x="11" y="42"/>
                    </a:cubicBezTo>
                    <a:cubicBezTo>
                      <a:pt x="12" y="42"/>
                      <a:pt x="12" y="42"/>
                      <a:pt x="12" y="42"/>
                    </a:cubicBezTo>
                    <a:cubicBezTo>
                      <a:pt x="12" y="42"/>
                      <a:pt x="12" y="42"/>
                      <a:pt x="12" y="42"/>
                    </a:cubicBezTo>
                    <a:cubicBezTo>
                      <a:pt x="13" y="42"/>
                      <a:pt x="12" y="42"/>
                      <a:pt x="13" y="42"/>
                    </a:cubicBezTo>
                    <a:cubicBezTo>
                      <a:pt x="13" y="42"/>
                      <a:pt x="13" y="42"/>
                      <a:pt x="14" y="42"/>
                    </a:cubicBezTo>
                    <a:cubicBezTo>
                      <a:pt x="14" y="42"/>
                      <a:pt x="14" y="41"/>
                      <a:pt x="14" y="41"/>
                    </a:cubicBezTo>
                    <a:cubicBezTo>
                      <a:pt x="15" y="41"/>
                      <a:pt x="15" y="41"/>
                      <a:pt x="15" y="41"/>
                    </a:cubicBezTo>
                    <a:cubicBezTo>
                      <a:pt x="15" y="40"/>
                      <a:pt x="15" y="40"/>
                      <a:pt x="15" y="39"/>
                    </a:cubicBezTo>
                    <a:cubicBezTo>
                      <a:pt x="15" y="39"/>
                      <a:pt x="16" y="39"/>
                      <a:pt x="16" y="39"/>
                    </a:cubicBezTo>
                    <a:cubicBezTo>
                      <a:pt x="16" y="40"/>
                      <a:pt x="16" y="40"/>
                      <a:pt x="17" y="40"/>
                    </a:cubicBezTo>
                    <a:cubicBezTo>
                      <a:pt x="17" y="40"/>
                      <a:pt x="17" y="39"/>
                      <a:pt x="18" y="39"/>
                    </a:cubicBezTo>
                    <a:cubicBezTo>
                      <a:pt x="18" y="39"/>
                      <a:pt x="18" y="39"/>
                      <a:pt x="19" y="38"/>
                    </a:cubicBezTo>
                    <a:cubicBezTo>
                      <a:pt x="19" y="38"/>
                      <a:pt x="20" y="38"/>
                      <a:pt x="20" y="38"/>
                    </a:cubicBezTo>
                    <a:cubicBezTo>
                      <a:pt x="20" y="37"/>
                      <a:pt x="20" y="37"/>
                      <a:pt x="20" y="37"/>
                    </a:cubicBezTo>
                    <a:cubicBezTo>
                      <a:pt x="20" y="36"/>
                      <a:pt x="23" y="36"/>
                      <a:pt x="23" y="36"/>
                    </a:cubicBezTo>
                    <a:cubicBezTo>
                      <a:pt x="23" y="36"/>
                      <a:pt x="24" y="36"/>
                      <a:pt x="24" y="36"/>
                    </a:cubicBezTo>
                    <a:cubicBezTo>
                      <a:pt x="24" y="36"/>
                      <a:pt x="24" y="35"/>
                      <a:pt x="24" y="35"/>
                    </a:cubicBezTo>
                    <a:cubicBezTo>
                      <a:pt x="24" y="35"/>
                      <a:pt x="25" y="36"/>
                      <a:pt x="25" y="36"/>
                    </a:cubicBezTo>
                    <a:cubicBezTo>
                      <a:pt x="25" y="36"/>
                      <a:pt x="25" y="36"/>
                      <a:pt x="25" y="36"/>
                    </a:cubicBezTo>
                    <a:cubicBezTo>
                      <a:pt x="26" y="35"/>
                      <a:pt x="26" y="36"/>
                      <a:pt x="27" y="36"/>
                    </a:cubicBezTo>
                    <a:cubicBezTo>
                      <a:pt x="27" y="36"/>
                      <a:pt x="28" y="36"/>
                      <a:pt x="29" y="35"/>
                    </a:cubicBezTo>
                    <a:cubicBezTo>
                      <a:pt x="29" y="35"/>
                      <a:pt x="27" y="34"/>
                      <a:pt x="28" y="34"/>
                    </a:cubicBezTo>
                    <a:cubicBezTo>
                      <a:pt x="28" y="34"/>
                      <a:pt x="29" y="33"/>
                      <a:pt x="29" y="33"/>
                    </a:cubicBezTo>
                    <a:cubicBezTo>
                      <a:pt x="29" y="32"/>
                      <a:pt x="29" y="32"/>
                      <a:pt x="29" y="31"/>
                    </a:cubicBezTo>
                    <a:cubicBezTo>
                      <a:pt x="29" y="31"/>
                      <a:pt x="29" y="31"/>
                      <a:pt x="29" y="31"/>
                    </a:cubicBezTo>
                    <a:cubicBezTo>
                      <a:pt x="29" y="30"/>
                      <a:pt x="30" y="30"/>
                      <a:pt x="30" y="30"/>
                    </a:cubicBezTo>
                    <a:cubicBezTo>
                      <a:pt x="30" y="29"/>
                      <a:pt x="30" y="29"/>
                      <a:pt x="30" y="29"/>
                    </a:cubicBezTo>
                    <a:cubicBezTo>
                      <a:pt x="30" y="28"/>
                      <a:pt x="31" y="28"/>
                      <a:pt x="31" y="28"/>
                    </a:cubicBezTo>
                    <a:cubicBezTo>
                      <a:pt x="31" y="27"/>
                      <a:pt x="31" y="27"/>
                      <a:pt x="31" y="27"/>
                    </a:cubicBezTo>
                    <a:cubicBezTo>
                      <a:pt x="30" y="26"/>
                      <a:pt x="31" y="26"/>
                      <a:pt x="30"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2" name="Freeform 807">
                <a:extLst>
                  <a:ext uri="{FF2B5EF4-FFF2-40B4-BE49-F238E27FC236}">
                    <a16:creationId xmlns:a16="http://schemas.microsoft.com/office/drawing/2014/main" id="{CB2FBEEA-99CD-8D2D-1B50-85E237E9F8B1}"/>
                  </a:ext>
                </a:extLst>
              </p:cNvPr>
              <p:cNvSpPr>
                <a:spLocks/>
              </p:cNvSpPr>
              <p:nvPr/>
            </p:nvSpPr>
            <p:spPr bwMode="auto">
              <a:xfrm>
                <a:off x="5834063" y="3317875"/>
                <a:ext cx="190500" cy="115888"/>
              </a:xfrm>
              <a:custGeom>
                <a:avLst/>
                <a:gdLst>
                  <a:gd name="T0" fmla="*/ 7 w 46"/>
                  <a:gd name="T1" fmla="*/ 24 h 28"/>
                  <a:gd name="T2" fmla="*/ 9 w 46"/>
                  <a:gd name="T3" fmla="*/ 26 h 28"/>
                  <a:gd name="T4" fmla="*/ 16 w 46"/>
                  <a:gd name="T5" fmla="*/ 27 h 28"/>
                  <a:gd name="T6" fmla="*/ 19 w 46"/>
                  <a:gd name="T7" fmla="*/ 26 h 28"/>
                  <a:gd name="T8" fmla="*/ 22 w 46"/>
                  <a:gd name="T9" fmla="*/ 25 h 28"/>
                  <a:gd name="T10" fmla="*/ 24 w 46"/>
                  <a:gd name="T11" fmla="*/ 24 h 28"/>
                  <a:gd name="T12" fmla="*/ 28 w 46"/>
                  <a:gd name="T13" fmla="*/ 24 h 28"/>
                  <a:gd name="T14" fmla="*/ 30 w 46"/>
                  <a:gd name="T15" fmla="*/ 24 h 28"/>
                  <a:gd name="T16" fmla="*/ 33 w 46"/>
                  <a:gd name="T17" fmla="*/ 23 h 28"/>
                  <a:gd name="T18" fmla="*/ 34 w 46"/>
                  <a:gd name="T19" fmla="*/ 20 h 28"/>
                  <a:gd name="T20" fmla="*/ 36 w 46"/>
                  <a:gd name="T21" fmla="*/ 19 h 28"/>
                  <a:gd name="T22" fmla="*/ 37 w 46"/>
                  <a:gd name="T23" fmla="*/ 15 h 28"/>
                  <a:gd name="T24" fmla="*/ 39 w 46"/>
                  <a:gd name="T25" fmla="*/ 13 h 28"/>
                  <a:gd name="T26" fmla="*/ 40 w 46"/>
                  <a:gd name="T27" fmla="*/ 10 h 28"/>
                  <a:gd name="T28" fmla="*/ 41 w 46"/>
                  <a:gd name="T29" fmla="*/ 8 h 28"/>
                  <a:gd name="T30" fmla="*/ 42 w 46"/>
                  <a:gd name="T31" fmla="*/ 8 h 28"/>
                  <a:gd name="T32" fmla="*/ 45 w 46"/>
                  <a:gd name="T33" fmla="*/ 6 h 28"/>
                  <a:gd name="T34" fmla="*/ 44 w 46"/>
                  <a:gd name="T35" fmla="*/ 5 h 28"/>
                  <a:gd name="T36" fmla="*/ 42 w 46"/>
                  <a:gd name="T37" fmla="*/ 3 h 28"/>
                  <a:gd name="T38" fmla="*/ 40 w 46"/>
                  <a:gd name="T39" fmla="*/ 2 h 28"/>
                  <a:gd name="T40" fmla="*/ 38 w 46"/>
                  <a:gd name="T41" fmla="*/ 2 h 28"/>
                  <a:gd name="T42" fmla="*/ 35 w 46"/>
                  <a:gd name="T43" fmla="*/ 0 h 28"/>
                  <a:gd name="T44" fmla="*/ 33 w 46"/>
                  <a:gd name="T45" fmla="*/ 1 h 28"/>
                  <a:gd name="T46" fmla="*/ 29 w 46"/>
                  <a:gd name="T47" fmla="*/ 0 h 28"/>
                  <a:gd name="T48" fmla="*/ 27 w 46"/>
                  <a:gd name="T49" fmla="*/ 3 h 28"/>
                  <a:gd name="T50" fmla="*/ 23 w 46"/>
                  <a:gd name="T51" fmla="*/ 4 h 28"/>
                  <a:gd name="T52" fmla="*/ 18 w 46"/>
                  <a:gd name="T53" fmla="*/ 5 h 28"/>
                  <a:gd name="T54" fmla="*/ 16 w 46"/>
                  <a:gd name="T55" fmla="*/ 8 h 28"/>
                  <a:gd name="T56" fmla="*/ 10 w 46"/>
                  <a:gd name="T57" fmla="*/ 7 h 28"/>
                  <a:gd name="T58" fmla="*/ 6 w 46"/>
                  <a:gd name="T59" fmla="*/ 9 h 28"/>
                  <a:gd name="T60" fmla="*/ 3 w 46"/>
                  <a:gd name="T61" fmla="*/ 8 h 28"/>
                  <a:gd name="T62" fmla="*/ 4 w 46"/>
                  <a:gd name="T63" fmla="*/ 11 h 28"/>
                  <a:gd name="T64" fmla="*/ 2 w 46"/>
                  <a:gd name="T65" fmla="*/ 13 h 28"/>
                  <a:gd name="T66" fmla="*/ 2 w 46"/>
                  <a:gd name="T67" fmla="*/ 15 h 28"/>
                  <a:gd name="T68" fmla="*/ 0 w 46"/>
                  <a:gd name="T69" fmla="*/ 17 h 28"/>
                  <a:gd name="T70" fmla="*/ 1 w 46"/>
                  <a:gd name="T71" fmla="*/ 18 h 28"/>
                  <a:gd name="T72" fmla="*/ 2 w 46"/>
                  <a:gd name="T73" fmla="*/ 19 h 28"/>
                  <a:gd name="T74" fmla="*/ 2 w 46"/>
                  <a:gd name="T75"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28">
                    <a:moveTo>
                      <a:pt x="5" y="23"/>
                    </a:moveTo>
                    <a:cubicBezTo>
                      <a:pt x="6" y="24"/>
                      <a:pt x="6" y="24"/>
                      <a:pt x="7" y="24"/>
                    </a:cubicBezTo>
                    <a:cubicBezTo>
                      <a:pt x="8" y="25"/>
                      <a:pt x="8" y="25"/>
                      <a:pt x="8" y="26"/>
                    </a:cubicBezTo>
                    <a:cubicBezTo>
                      <a:pt x="8" y="26"/>
                      <a:pt x="9" y="26"/>
                      <a:pt x="9" y="26"/>
                    </a:cubicBezTo>
                    <a:cubicBezTo>
                      <a:pt x="10" y="27"/>
                      <a:pt x="11" y="27"/>
                      <a:pt x="13" y="27"/>
                    </a:cubicBezTo>
                    <a:cubicBezTo>
                      <a:pt x="14" y="27"/>
                      <a:pt x="15" y="28"/>
                      <a:pt x="16" y="27"/>
                    </a:cubicBezTo>
                    <a:cubicBezTo>
                      <a:pt x="16" y="27"/>
                      <a:pt x="17" y="27"/>
                      <a:pt x="18" y="26"/>
                    </a:cubicBezTo>
                    <a:cubicBezTo>
                      <a:pt x="18" y="26"/>
                      <a:pt x="19" y="26"/>
                      <a:pt x="19" y="26"/>
                    </a:cubicBezTo>
                    <a:cubicBezTo>
                      <a:pt x="20" y="25"/>
                      <a:pt x="20" y="26"/>
                      <a:pt x="21" y="26"/>
                    </a:cubicBezTo>
                    <a:cubicBezTo>
                      <a:pt x="21" y="25"/>
                      <a:pt x="21" y="25"/>
                      <a:pt x="22" y="25"/>
                    </a:cubicBezTo>
                    <a:cubicBezTo>
                      <a:pt x="22" y="25"/>
                      <a:pt x="22" y="24"/>
                      <a:pt x="23" y="24"/>
                    </a:cubicBezTo>
                    <a:cubicBezTo>
                      <a:pt x="23" y="24"/>
                      <a:pt x="24" y="24"/>
                      <a:pt x="24" y="24"/>
                    </a:cubicBezTo>
                    <a:cubicBezTo>
                      <a:pt x="24" y="24"/>
                      <a:pt x="25" y="24"/>
                      <a:pt x="25" y="24"/>
                    </a:cubicBezTo>
                    <a:cubicBezTo>
                      <a:pt x="26" y="24"/>
                      <a:pt x="27" y="24"/>
                      <a:pt x="28" y="24"/>
                    </a:cubicBezTo>
                    <a:cubicBezTo>
                      <a:pt x="28" y="24"/>
                      <a:pt x="29" y="24"/>
                      <a:pt x="29" y="24"/>
                    </a:cubicBezTo>
                    <a:cubicBezTo>
                      <a:pt x="30" y="24"/>
                      <a:pt x="30" y="24"/>
                      <a:pt x="30" y="24"/>
                    </a:cubicBezTo>
                    <a:cubicBezTo>
                      <a:pt x="31" y="24"/>
                      <a:pt x="31" y="23"/>
                      <a:pt x="31" y="23"/>
                    </a:cubicBezTo>
                    <a:cubicBezTo>
                      <a:pt x="32" y="23"/>
                      <a:pt x="32" y="23"/>
                      <a:pt x="33" y="23"/>
                    </a:cubicBezTo>
                    <a:cubicBezTo>
                      <a:pt x="33" y="23"/>
                      <a:pt x="34" y="22"/>
                      <a:pt x="34" y="21"/>
                    </a:cubicBezTo>
                    <a:cubicBezTo>
                      <a:pt x="34" y="21"/>
                      <a:pt x="34" y="21"/>
                      <a:pt x="34" y="20"/>
                    </a:cubicBezTo>
                    <a:cubicBezTo>
                      <a:pt x="34" y="20"/>
                      <a:pt x="35" y="20"/>
                      <a:pt x="35" y="19"/>
                    </a:cubicBezTo>
                    <a:cubicBezTo>
                      <a:pt x="35" y="19"/>
                      <a:pt x="35" y="19"/>
                      <a:pt x="36" y="19"/>
                    </a:cubicBezTo>
                    <a:cubicBezTo>
                      <a:pt x="36" y="18"/>
                      <a:pt x="36" y="18"/>
                      <a:pt x="36" y="18"/>
                    </a:cubicBezTo>
                    <a:cubicBezTo>
                      <a:pt x="36" y="17"/>
                      <a:pt x="37" y="16"/>
                      <a:pt x="37" y="15"/>
                    </a:cubicBezTo>
                    <a:cubicBezTo>
                      <a:pt x="37" y="15"/>
                      <a:pt x="38" y="14"/>
                      <a:pt x="38" y="14"/>
                    </a:cubicBezTo>
                    <a:cubicBezTo>
                      <a:pt x="38" y="14"/>
                      <a:pt x="38" y="13"/>
                      <a:pt x="39" y="13"/>
                    </a:cubicBezTo>
                    <a:cubicBezTo>
                      <a:pt x="39" y="12"/>
                      <a:pt x="39" y="12"/>
                      <a:pt x="39" y="12"/>
                    </a:cubicBezTo>
                    <a:cubicBezTo>
                      <a:pt x="39" y="11"/>
                      <a:pt x="39" y="11"/>
                      <a:pt x="40" y="10"/>
                    </a:cubicBezTo>
                    <a:cubicBezTo>
                      <a:pt x="40" y="10"/>
                      <a:pt x="40" y="10"/>
                      <a:pt x="41" y="10"/>
                    </a:cubicBezTo>
                    <a:cubicBezTo>
                      <a:pt x="41" y="9"/>
                      <a:pt x="41" y="9"/>
                      <a:pt x="41" y="8"/>
                    </a:cubicBezTo>
                    <a:cubicBezTo>
                      <a:pt x="41" y="8"/>
                      <a:pt x="42" y="8"/>
                      <a:pt x="42" y="8"/>
                    </a:cubicBezTo>
                    <a:cubicBezTo>
                      <a:pt x="42" y="8"/>
                      <a:pt x="42" y="8"/>
                      <a:pt x="42" y="8"/>
                    </a:cubicBezTo>
                    <a:cubicBezTo>
                      <a:pt x="43" y="8"/>
                      <a:pt x="43" y="8"/>
                      <a:pt x="44" y="8"/>
                    </a:cubicBezTo>
                    <a:cubicBezTo>
                      <a:pt x="45" y="8"/>
                      <a:pt x="46" y="7"/>
                      <a:pt x="45" y="6"/>
                    </a:cubicBezTo>
                    <a:cubicBezTo>
                      <a:pt x="45" y="5"/>
                      <a:pt x="45" y="5"/>
                      <a:pt x="45" y="5"/>
                    </a:cubicBezTo>
                    <a:cubicBezTo>
                      <a:pt x="44" y="5"/>
                      <a:pt x="44" y="5"/>
                      <a:pt x="44" y="5"/>
                    </a:cubicBezTo>
                    <a:cubicBezTo>
                      <a:pt x="43" y="5"/>
                      <a:pt x="43" y="4"/>
                      <a:pt x="43" y="4"/>
                    </a:cubicBezTo>
                    <a:cubicBezTo>
                      <a:pt x="43" y="3"/>
                      <a:pt x="42" y="3"/>
                      <a:pt x="42" y="3"/>
                    </a:cubicBezTo>
                    <a:cubicBezTo>
                      <a:pt x="41" y="3"/>
                      <a:pt x="41" y="3"/>
                      <a:pt x="41" y="2"/>
                    </a:cubicBezTo>
                    <a:cubicBezTo>
                      <a:pt x="41" y="2"/>
                      <a:pt x="41" y="2"/>
                      <a:pt x="40" y="2"/>
                    </a:cubicBezTo>
                    <a:cubicBezTo>
                      <a:pt x="40" y="2"/>
                      <a:pt x="40" y="2"/>
                      <a:pt x="40" y="2"/>
                    </a:cubicBezTo>
                    <a:cubicBezTo>
                      <a:pt x="39" y="2"/>
                      <a:pt x="38" y="3"/>
                      <a:pt x="38" y="2"/>
                    </a:cubicBezTo>
                    <a:cubicBezTo>
                      <a:pt x="37" y="1"/>
                      <a:pt x="36" y="1"/>
                      <a:pt x="36" y="0"/>
                    </a:cubicBezTo>
                    <a:cubicBezTo>
                      <a:pt x="36" y="0"/>
                      <a:pt x="35" y="0"/>
                      <a:pt x="35" y="0"/>
                    </a:cubicBezTo>
                    <a:cubicBezTo>
                      <a:pt x="35" y="0"/>
                      <a:pt x="35" y="1"/>
                      <a:pt x="34" y="1"/>
                    </a:cubicBezTo>
                    <a:cubicBezTo>
                      <a:pt x="34" y="1"/>
                      <a:pt x="33" y="1"/>
                      <a:pt x="33" y="1"/>
                    </a:cubicBezTo>
                    <a:cubicBezTo>
                      <a:pt x="32" y="1"/>
                      <a:pt x="32" y="0"/>
                      <a:pt x="31" y="0"/>
                    </a:cubicBezTo>
                    <a:cubicBezTo>
                      <a:pt x="31" y="0"/>
                      <a:pt x="30" y="0"/>
                      <a:pt x="29" y="0"/>
                    </a:cubicBezTo>
                    <a:cubicBezTo>
                      <a:pt x="29" y="1"/>
                      <a:pt x="29" y="1"/>
                      <a:pt x="28" y="2"/>
                    </a:cubicBezTo>
                    <a:cubicBezTo>
                      <a:pt x="28" y="3"/>
                      <a:pt x="28" y="3"/>
                      <a:pt x="27" y="3"/>
                    </a:cubicBezTo>
                    <a:cubicBezTo>
                      <a:pt x="26" y="4"/>
                      <a:pt x="25" y="5"/>
                      <a:pt x="24" y="4"/>
                    </a:cubicBezTo>
                    <a:cubicBezTo>
                      <a:pt x="23" y="3"/>
                      <a:pt x="23" y="3"/>
                      <a:pt x="23" y="4"/>
                    </a:cubicBezTo>
                    <a:cubicBezTo>
                      <a:pt x="22" y="4"/>
                      <a:pt x="22" y="5"/>
                      <a:pt x="21" y="5"/>
                    </a:cubicBezTo>
                    <a:cubicBezTo>
                      <a:pt x="20" y="5"/>
                      <a:pt x="19" y="5"/>
                      <a:pt x="18" y="5"/>
                    </a:cubicBezTo>
                    <a:cubicBezTo>
                      <a:pt x="17" y="6"/>
                      <a:pt x="18" y="7"/>
                      <a:pt x="18" y="8"/>
                    </a:cubicBezTo>
                    <a:cubicBezTo>
                      <a:pt x="17" y="8"/>
                      <a:pt x="17" y="8"/>
                      <a:pt x="16" y="8"/>
                    </a:cubicBezTo>
                    <a:cubicBezTo>
                      <a:pt x="15" y="8"/>
                      <a:pt x="15" y="8"/>
                      <a:pt x="14" y="8"/>
                    </a:cubicBezTo>
                    <a:cubicBezTo>
                      <a:pt x="13" y="8"/>
                      <a:pt x="11" y="8"/>
                      <a:pt x="10" y="7"/>
                    </a:cubicBezTo>
                    <a:cubicBezTo>
                      <a:pt x="9" y="7"/>
                      <a:pt x="8" y="6"/>
                      <a:pt x="6" y="5"/>
                    </a:cubicBezTo>
                    <a:cubicBezTo>
                      <a:pt x="6" y="6"/>
                      <a:pt x="6" y="8"/>
                      <a:pt x="6" y="9"/>
                    </a:cubicBezTo>
                    <a:cubicBezTo>
                      <a:pt x="5" y="9"/>
                      <a:pt x="4" y="9"/>
                      <a:pt x="4" y="9"/>
                    </a:cubicBezTo>
                    <a:cubicBezTo>
                      <a:pt x="4" y="8"/>
                      <a:pt x="3" y="8"/>
                      <a:pt x="3" y="8"/>
                    </a:cubicBezTo>
                    <a:cubicBezTo>
                      <a:pt x="3" y="8"/>
                      <a:pt x="2" y="9"/>
                      <a:pt x="2" y="9"/>
                    </a:cubicBezTo>
                    <a:cubicBezTo>
                      <a:pt x="2" y="10"/>
                      <a:pt x="4" y="9"/>
                      <a:pt x="4" y="11"/>
                    </a:cubicBezTo>
                    <a:cubicBezTo>
                      <a:pt x="3" y="11"/>
                      <a:pt x="3" y="12"/>
                      <a:pt x="2" y="12"/>
                    </a:cubicBezTo>
                    <a:cubicBezTo>
                      <a:pt x="2" y="12"/>
                      <a:pt x="2" y="12"/>
                      <a:pt x="2" y="13"/>
                    </a:cubicBezTo>
                    <a:cubicBezTo>
                      <a:pt x="2" y="13"/>
                      <a:pt x="2" y="13"/>
                      <a:pt x="2" y="14"/>
                    </a:cubicBezTo>
                    <a:cubicBezTo>
                      <a:pt x="2" y="14"/>
                      <a:pt x="2" y="14"/>
                      <a:pt x="2" y="15"/>
                    </a:cubicBezTo>
                    <a:cubicBezTo>
                      <a:pt x="2" y="15"/>
                      <a:pt x="2" y="15"/>
                      <a:pt x="2" y="16"/>
                    </a:cubicBezTo>
                    <a:cubicBezTo>
                      <a:pt x="1" y="16"/>
                      <a:pt x="0" y="17"/>
                      <a:pt x="0" y="17"/>
                    </a:cubicBezTo>
                    <a:cubicBezTo>
                      <a:pt x="0" y="17"/>
                      <a:pt x="1" y="17"/>
                      <a:pt x="1" y="17"/>
                    </a:cubicBezTo>
                    <a:cubicBezTo>
                      <a:pt x="1" y="18"/>
                      <a:pt x="1" y="18"/>
                      <a:pt x="1" y="18"/>
                    </a:cubicBezTo>
                    <a:cubicBezTo>
                      <a:pt x="1" y="19"/>
                      <a:pt x="2" y="19"/>
                      <a:pt x="2" y="19"/>
                    </a:cubicBezTo>
                    <a:cubicBezTo>
                      <a:pt x="2" y="19"/>
                      <a:pt x="2" y="19"/>
                      <a:pt x="2" y="19"/>
                    </a:cubicBezTo>
                    <a:cubicBezTo>
                      <a:pt x="2" y="20"/>
                      <a:pt x="2" y="20"/>
                      <a:pt x="2" y="21"/>
                    </a:cubicBezTo>
                    <a:cubicBezTo>
                      <a:pt x="2" y="21"/>
                      <a:pt x="2" y="21"/>
                      <a:pt x="2" y="21"/>
                    </a:cubicBezTo>
                    <a:cubicBezTo>
                      <a:pt x="3" y="21"/>
                      <a:pt x="5" y="22"/>
                      <a:pt x="5"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3" name="Freeform 808">
                <a:extLst>
                  <a:ext uri="{FF2B5EF4-FFF2-40B4-BE49-F238E27FC236}">
                    <a16:creationId xmlns:a16="http://schemas.microsoft.com/office/drawing/2014/main" id="{36769935-B72B-E1D3-A860-3AABD450FD60}"/>
                  </a:ext>
                </a:extLst>
              </p:cNvPr>
              <p:cNvSpPr>
                <a:spLocks noEditPoints="1"/>
              </p:cNvSpPr>
              <p:nvPr/>
            </p:nvSpPr>
            <p:spPr bwMode="auto">
              <a:xfrm>
                <a:off x="5151438" y="2725738"/>
                <a:ext cx="287337" cy="538163"/>
              </a:xfrm>
              <a:custGeom>
                <a:avLst/>
                <a:gdLst>
                  <a:gd name="T0" fmla="*/ 57 w 69"/>
                  <a:gd name="T1" fmla="*/ 88 h 129"/>
                  <a:gd name="T2" fmla="*/ 52 w 69"/>
                  <a:gd name="T3" fmla="*/ 79 h 129"/>
                  <a:gd name="T4" fmla="*/ 36 w 69"/>
                  <a:gd name="T5" fmla="*/ 58 h 129"/>
                  <a:gd name="T6" fmla="*/ 35 w 69"/>
                  <a:gd name="T7" fmla="*/ 54 h 129"/>
                  <a:gd name="T8" fmla="*/ 34 w 69"/>
                  <a:gd name="T9" fmla="*/ 39 h 129"/>
                  <a:gd name="T10" fmla="*/ 27 w 69"/>
                  <a:gd name="T11" fmla="*/ 39 h 129"/>
                  <a:gd name="T12" fmla="*/ 33 w 69"/>
                  <a:gd name="T13" fmla="*/ 30 h 129"/>
                  <a:gd name="T14" fmla="*/ 24 w 69"/>
                  <a:gd name="T15" fmla="*/ 29 h 129"/>
                  <a:gd name="T16" fmla="*/ 18 w 69"/>
                  <a:gd name="T17" fmla="*/ 32 h 129"/>
                  <a:gd name="T18" fmla="*/ 17 w 69"/>
                  <a:gd name="T19" fmla="*/ 37 h 129"/>
                  <a:gd name="T20" fmla="*/ 16 w 69"/>
                  <a:gd name="T21" fmla="*/ 43 h 129"/>
                  <a:gd name="T22" fmla="*/ 16 w 69"/>
                  <a:gd name="T23" fmla="*/ 45 h 129"/>
                  <a:gd name="T24" fmla="*/ 16 w 69"/>
                  <a:gd name="T25" fmla="*/ 51 h 129"/>
                  <a:gd name="T26" fmla="*/ 19 w 69"/>
                  <a:gd name="T27" fmla="*/ 53 h 129"/>
                  <a:gd name="T28" fmla="*/ 15 w 69"/>
                  <a:gd name="T29" fmla="*/ 65 h 129"/>
                  <a:gd name="T30" fmla="*/ 20 w 69"/>
                  <a:gd name="T31" fmla="*/ 56 h 129"/>
                  <a:gd name="T32" fmla="*/ 22 w 69"/>
                  <a:gd name="T33" fmla="*/ 59 h 129"/>
                  <a:gd name="T34" fmla="*/ 20 w 69"/>
                  <a:gd name="T35" fmla="*/ 71 h 129"/>
                  <a:gd name="T36" fmla="*/ 24 w 69"/>
                  <a:gd name="T37" fmla="*/ 72 h 129"/>
                  <a:gd name="T38" fmla="*/ 32 w 69"/>
                  <a:gd name="T39" fmla="*/ 72 h 129"/>
                  <a:gd name="T40" fmla="*/ 33 w 69"/>
                  <a:gd name="T41" fmla="*/ 85 h 129"/>
                  <a:gd name="T42" fmla="*/ 25 w 69"/>
                  <a:gd name="T43" fmla="*/ 91 h 129"/>
                  <a:gd name="T44" fmla="*/ 21 w 69"/>
                  <a:gd name="T45" fmla="*/ 96 h 129"/>
                  <a:gd name="T46" fmla="*/ 19 w 69"/>
                  <a:gd name="T47" fmla="*/ 105 h 129"/>
                  <a:gd name="T48" fmla="*/ 20 w 69"/>
                  <a:gd name="T49" fmla="*/ 109 h 129"/>
                  <a:gd name="T50" fmla="*/ 28 w 69"/>
                  <a:gd name="T51" fmla="*/ 110 h 129"/>
                  <a:gd name="T52" fmla="*/ 25 w 69"/>
                  <a:gd name="T53" fmla="*/ 116 h 129"/>
                  <a:gd name="T54" fmla="*/ 14 w 69"/>
                  <a:gd name="T55" fmla="*/ 127 h 129"/>
                  <a:gd name="T56" fmla="*/ 24 w 69"/>
                  <a:gd name="T57" fmla="*/ 123 h 129"/>
                  <a:gd name="T58" fmla="*/ 34 w 69"/>
                  <a:gd name="T59" fmla="*/ 120 h 129"/>
                  <a:gd name="T60" fmla="*/ 48 w 69"/>
                  <a:gd name="T61" fmla="*/ 119 h 129"/>
                  <a:gd name="T62" fmla="*/ 68 w 69"/>
                  <a:gd name="T63" fmla="*/ 113 h 129"/>
                  <a:gd name="T64" fmla="*/ 63 w 69"/>
                  <a:gd name="T65" fmla="*/ 107 h 129"/>
                  <a:gd name="T66" fmla="*/ 45 w 69"/>
                  <a:gd name="T67" fmla="*/ 121 h 129"/>
                  <a:gd name="T68" fmla="*/ 34 w 69"/>
                  <a:gd name="T69" fmla="*/ 22 h 129"/>
                  <a:gd name="T70" fmla="*/ 12 w 69"/>
                  <a:gd name="T71" fmla="*/ 47 h 129"/>
                  <a:gd name="T72" fmla="*/ 19 w 69"/>
                  <a:gd name="T73" fmla="*/ 60 h 129"/>
                  <a:gd name="T74" fmla="*/ 10 w 69"/>
                  <a:gd name="T75" fmla="*/ 51 h 129"/>
                  <a:gd name="T76" fmla="*/ 49 w 69"/>
                  <a:gd name="T77" fmla="*/ 2 h 129"/>
                  <a:gd name="T78" fmla="*/ 6 w 69"/>
                  <a:gd name="T79" fmla="*/ 41 h 129"/>
                  <a:gd name="T80" fmla="*/ 32 w 69"/>
                  <a:gd name="T81" fmla="*/ 24 h 129"/>
                  <a:gd name="T82" fmla="*/ 32 w 69"/>
                  <a:gd name="T83" fmla="*/ 22 h 129"/>
                  <a:gd name="T84" fmla="*/ 16 w 69"/>
                  <a:gd name="T85" fmla="*/ 44 h 129"/>
                  <a:gd name="T86" fmla="*/ 10 w 69"/>
                  <a:gd name="T87" fmla="*/ 41 h 129"/>
                  <a:gd name="T88" fmla="*/ 14 w 69"/>
                  <a:gd name="T89" fmla="*/ 45 h 129"/>
                  <a:gd name="T90" fmla="*/ 10 w 69"/>
                  <a:gd name="T91" fmla="*/ 60 h 129"/>
                  <a:gd name="T92" fmla="*/ 15 w 69"/>
                  <a:gd name="T93" fmla="*/ 57 h 129"/>
                  <a:gd name="T94" fmla="*/ 12 w 69"/>
                  <a:gd name="T95" fmla="*/ 54 h 129"/>
                  <a:gd name="T96" fmla="*/ 45 w 69"/>
                  <a:gd name="T97" fmla="*/ 7 h 129"/>
                  <a:gd name="T98" fmla="*/ 47 w 69"/>
                  <a:gd name="T99" fmla="*/ 5 h 129"/>
                  <a:gd name="T100" fmla="*/ 45 w 69"/>
                  <a:gd name="T101" fmla="*/ 5 h 129"/>
                  <a:gd name="T102" fmla="*/ 47 w 69"/>
                  <a:gd name="T103" fmla="*/ 4 h 129"/>
                  <a:gd name="T104" fmla="*/ 6 w 69"/>
                  <a:gd name="T105" fmla="*/ 40 h 129"/>
                  <a:gd name="T106" fmla="*/ 9 w 69"/>
                  <a:gd name="T107" fmla="*/ 36 h 129"/>
                  <a:gd name="T108" fmla="*/ 12 w 69"/>
                  <a:gd name="T109" fmla="*/ 33 h 129"/>
                  <a:gd name="T110" fmla="*/ 7 w 69"/>
                  <a:gd name="T111" fmla="*/ 33 h 129"/>
                  <a:gd name="T112" fmla="*/ 25 w 69"/>
                  <a:gd name="T113" fmla="*/ 82 h 129"/>
                  <a:gd name="T114" fmla="*/ 2 w 69"/>
                  <a:gd name="T115" fmla="*/ 77 h 129"/>
                  <a:gd name="T116" fmla="*/ 7 w 69"/>
                  <a:gd name="T117" fmla="*/ 79 h 129"/>
                  <a:gd name="T118" fmla="*/ 18 w 69"/>
                  <a:gd name="T119" fmla="*/ 78 h 129"/>
                  <a:gd name="T120" fmla="*/ 17 w 69"/>
                  <a:gd name="T121" fmla="*/ 7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129">
                    <a:moveTo>
                      <a:pt x="50" y="119"/>
                    </a:moveTo>
                    <a:cubicBezTo>
                      <a:pt x="50" y="119"/>
                      <a:pt x="50" y="119"/>
                      <a:pt x="50" y="119"/>
                    </a:cubicBezTo>
                    <a:cubicBezTo>
                      <a:pt x="49" y="119"/>
                      <a:pt x="49" y="119"/>
                      <a:pt x="49" y="119"/>
                    </a:cubicBezTo>
                    <a:cubicBezTo>
                      <a:pt x="50" y="119"/>
                      <a:pt x="50" y="119"/>
                      <a:pt x="50" y="119"/>
                    </a:cubicBezTo>
                    <a:close/>
                    <a:moveTo>
                      <a:pt x="63" y="111"/>
                    </a:moveTo>
                    <a:cubicBezTo>
                      <a:pt x="62" y="111"/>
                      <a:pt x="62" y="111"/>
                      <a:pt x="62" y="111"/>
                    </a:cubicBezTo>
                    <a:cubicBezTo>
                      <a:pt x="63" y="112"/>
                      <a:pt x="63" y="112"/>
                      <a:pt x="63" y="112"/>
                    </a:cubicBezTo>
                    <a:cubicBezTo>
                      <a:pt x="64" y="112"/>
                      <a:pt x="64" y="112"/>
                      <a:pt x="64" y="112"/>
                    </a:cubicBezTo>
                    <a:cubicBezTo>
                      <a:pt x="64" y="111"/>
                      <a:pt x="64" y="111"/>
                      <a:pt x="64" y="111"/>
                    </a:cubicBezTo>
                    <a:lnTo>
                      <a:pt x="63" y="111"/>
                    </a:lnTo>
                    <a:close/>
                    <a:moveTo>
                      <a:pt x="69" y="101"/>
                    </a:moveTo>
                    <a:cubicBezTo>
                      <a:pt x="69" y="100"/>
                      <a:pt x="69" y="99"/>
                      <a:pt x="69" y="99"/>
                    </a:cubicBezTo>
                    <a:cubicBezTo>
                      <a:pt x="69" y="95"/>
                      <a:pt x="66" y="93"/>
                      <a:pt x="63" y="93"/>
                    </a:cubicBezTo>
                    <a:cubicBezTo>
                      <a:pt x="63" y="94"/>
                      <a:pt x="63" y="94"/>
                      <a:pt x="63" y="94"/>
                    </a:cubicBezTo>
                    <a:cubicBezTo>
                      <a:pt x="62" y="93"/>
                      <a:pt x="61" y="93"/>
                      <a:pt x="60" y="93"/>
                    </a:cubicBezTo>
                    <a:cubicBezTo>
                      <a:pt x="60" y="94"/>
                      <a:pt x="60" y="94"/>
                      <a:pt x="60" y="94"/>
                    </a:cubicBezTo>
                    <a:cubicBezTo>
                      <a:pt x="59" y="94"/>
                      <a:pt x="59" y="95"/>
                      <a:pt x="59" y="96"/>
                    </a:cubicBezTo>
                    <a:cubicBezTo>
                      <a:pt x="58" y="96"/>
                      <a:pt x="58" y="96"/>
                      <a:pt x="58" y="96"/>
                    </a:cubicBezTo>
                    <a:cubicBezTo>
                      <a:pt x="57" y="95"/>
                      <a:pt x="57" y="95"/>
                      <a:pt x="57" y="95"/>
                    </a:cubicBezTo>
                    <a:cubicBezTo>
                      <a:pt x="57" y="94"/>
                      <a:pt x="57" y="94"/>
                      <a:pt x="57" y="94"/>
                    </a:cubicBezTo>
                    <a:cubicBezTo>
                      <a:pt x="56" y="95"/>
                      <a:pt x="56" y="95"/>
                      <a:pt x="56" y="95"/>
                    </a:cubicBezTo>
                    <a:cubicBezTo>
                      <a:pt x="57" y="94"/>
                      <a:pt x="57" y="93"/>
                      <a:pt x="58" y="92"/>
                    </a:cubicBezTo>
                    <a:cubicBezTo>
                      <a:pt x="59" y="91"/>
                      <a:pt x="58" y="89"/>
                      <a:pt x="57" y="88"/>
                    </a:cubicBezTo>
                    <a:cubicBezTo>
                      <a:pt x="56" y="88"/>
                      <a:pt x="56" y="88"/>
                      <a:pt x="56" y="88"/>
                    </a:cubicBezTo>
                    <a:cubicBezTo>
                      <a:pt x="56" y="87"/>
                      <a:pt x="55" y="86"/>
                      <a:pt x="54" y="86"/>
                    </a:cubicBezTo>
                    <a:cubicBezTo>
                      <a:pt x="54" y="85"/>
                      <a:pt x="54" y="85"/>
                      <a:pt x="54" y="85"/>
                    </a:cubicBezTo>
                    <a:cubicBezTo>
                      <a:pt x="53" y="85"/>
                      <a:pt x="53" y="85"/>
                      <a:pt x="53" y="85"/>
                    </a:cubicBezTo>
                    <a:cubicBezTo>
                      <a:pt x="52" y="85"/>
                      <a:pt x="52" y="85"/>
                      <a:pt x="52" y="85"/>
                    </a:cubicBezTo>
                    <a:cubicBezTo>
                      <a:pt x="52" y="86"/>
                      <a:pt x="52" y="86"/>
                      <a:pt x="52" y="86"/>
                    </a:cubicBezTo>
                    <a:cubicBezTo>
                      <a:pt x="51" y="85"/>
                      <a:pt x="51" y="85"/>
                      <a:pt x="51" y="85"/>
                    </a:cubicBezTo>
                    <a:cubicBezTo>
                      <a:pt x="51" y="85"/>
                      <a:pt x="51" y="85"/>
                      <a:pt x="51" y="85"/>
                    </a:cubicBezTo>
                    <a:cubicBezTo>
                      <a:pt x="50" y="85"/>
                      <a:pt x="50" y="85"/>
                      <a:pt x="50" y="85"/>
                    </a:cubicBezTo>
                    <a:cubicBezTo>
                      <a:pt x="51" y="85"/>
                      <a:pt x="51" y="85"/>
                      <a:pt x="51" y="85"/>
                    </a:cubicBezTo>
                    <a:cubicBezTo>
                      <a:pt x="52" y="85"/>
                      <a:pt x="52" y="85"/>
                      <a:pt x="52" y="85"/>
                    </a:cubicBezTo>
                    <a:cubicBezTo>
                      <a:pt x="52" y="85"/>
                      <a:pt x="53" y="85"/>
                      <a:pt x="53" y="85"/>
                    </a:cubicBezTo>
                    <a:cubicBezTo>
                      <a:pt x="54" y="85"/>
                      <a:pt x="54" y="85"/>
                      <a:pt x="54" y="85"/>
                    </a:cubicBezTo>
                    <a:cubicBezTo>
                      <a:pt x="55" y="86"/>
                      <a:pt x="55" y="86"/>
                      <a:pt x="55" y="86"/>
                    </a:cubicBezTo>
                    <a:cubicBezTo>
                      <a:pt x="55" y="86"/>
                      <a:pt x="55" y="86"/>
                      <a:pt x="55" y="86"/>
                    </a:cubicBezTo>
                    <a:cubicBezTo>
                      <a:pt x="56" y="86"/>
                      <a:pt x="56" y="86"/>
                      <a:pt x="56" y="86"/>
                    </a:cubicBezTo>
                    <a:cubicBezTo>
                      <a:pt x="57" y="86"/>
                      <a:pt x="57" y="86"/>
                      <a:pt x="57" y="86"/>
                    </a:cubicBezTo>
                    <a:cubicBezTo>
                      <a:pt x="56" y="85"/>
                      <a:pt x="55" y="83"/>
                      <a:pt x="54" y="81"/>
                    </a:cubicBezTo>
                    <a:cubicBezTo>
                      <a:pt x="54" y="81"/>
                      <a:pt x="54" y="81"/>
                      <a:pt x="54" y="81"/>
                    </a:cubicBezTo>
                    <a:cubicBezTo>
                      <a:pt x="55" y="80"/>
                      <a:pt x="55" y="80"/>
                      <a:pt x="55" y="80"/>
                    </a:cubicBezTo>
                    <a:cubicBezTo>
                      <a:pt x="54" y="80"/>
                      <a:pt x="54" y="80"/>
                      <a:pt x="54" y="80"/>
                    </a:cubicBezTo>
                    <a:cubicBezTo>
                      <a:pt x="53" y="79"/>
                      <a:pt x="53" y="79"/>
                      <a:pt x="53" y="79"/>
                    </a:cubicBezTo>
                    <a:cubicBezTo>
                      <a:pt x="52" y="79"/>
                      <a:pt x="52" y="79"/>
                      <a:pt x="52" y="79"/>
                    </a:cubicBezTo>
                    <a:cubicBezTo>
                      <a:pt x="52" y="77"/>
                      <a:pt x="52" y="77"/>
                      <a:pt x="52" y="77"/>
                    </a:cubicBezTo>
                    <a:cubicBezTo>
                      <a:pt x="52" y="77"/>
                      <a:pt x="52" y="77"/>
                      <a:pt x="52" y="77"/>
                    </a:cubicBezTo>
                    <a:cubicBezTo>
                      <a:pt x="51" y="76"/>
                      <a:pt x="51" y="76"/>
                      <a:pt x="51" y="76"/>
                    </a:cubicBezTo>
                    <a:cubicBezTo>
                      <a:pt x="50" y="75"/>
                      <a:pt x="48" y="75"/>
                      <a:pt x="47" y="75"/>
                    </a:cubicBezTo>
                    <a:cubicBezTo>
                      <a:pt x="47" y="74"/>
                      <a:pt x="47" y="74"/>
                      <a:pt x="47" y="74"/>
                    </a:cubicBezTo>
                    <a:cubicBezTo>
                      <a:pt x="46" y="73"/>
                      <a:pt x="45" y="72"/>
                      <a:pt x="45" y="71"/>
                    </a:cubicBezTo>
                    <a:cubicBezTo>
                      <a:pt x="45" y="70"/>
                      <a:pt x="45" y="70"/>
                      <a:pt x="45" y="70"/>
                    </a:cubicBezTo>
                    <a:cubicBezTo>
                      <a:pt x="44" y="70"/>
                      <a:pt x="44" y="69"/>
                      <a:pt x="44" y="68"/>
                    </a:cubicBezTo>
                    <a:cubicBezTo>
                      <a:pt x="44" y="67"/>
                      <a:pt x="44" y="67"/>
                      <a:pt x="44" y="67"/>
                    </a:cubicBezTo>
                    <a:cubicBezTo>
                      <a:pt x="44" y="67"/>
                      <a:pt x="44" y="67"/>
                      <a:pt x="44" y="67"/>
                    </a:cubicBezTo>
                    <a:cubicBezTo>
                      <a:pt x="44" y="66"/>
                      <a:pt x="44" y="66"/>
                      <a:pt x="44" y="66"/>
                    </a:cubicBezTo>
                    <a:cubicBezTo>
                      <a:pt x="44" y="65"/>
                      <a:pt x="44" y="64"/>
                      <a:pt x="43" y="64"/>
                    </a:cubicBezTo>
                    <a:cubicBezTo>
                      <a:pt x="43" y="63"/>
                      <a:pt x="43" y="63"/>
                      <a:pt x="43" y="63"/>
                    </a:cubicBezTo>
                    <a:cubicBezTo>
                      <a:pt x="42" y="63"/>
                      <a:pt x="42" y="63"/>
                      <a:pt x="42" y="63"/>
                    </a:cubicBezTo>
                    <a:cubicBezTo>
                      <a:pt x="42" y="63"/>
                      <a:pt x="42" y="63"/>
                      <a:pt x="42" y="63"/>
                    </a:cubicBezTo>
                    <a:cubicBezTo>
                      <a:pt x="42" y="63"/>
                      <a:pt x="42" y="63"/>
                      <a:pt x="42" y="63"/>
                    </a:cubicBezTo>
                    <a:cubicBezTo>
                      <a:pt x="42" y="62"/>
                      <a:pt x="41" y="62"/>
                      <a:pt x="41" y="61"/>
                    </a:cubicBezTo>
                    <a:cubicBezTo>
                      <a:pt x="40" y="61"/>
                      <a:pt x="40" y="60"/>
                      <a:pt x="40" y="60"/>
                    </a:cubicBezTo>
                    <a:cubicBezTo>
                      <a:pt x="39" y="60"/>
                      <a:pt x="39" y="60"/>
                      <a:pt x="39" y="60"/>
                    </a:cubicBezTo>
                    <a:cubicBezTo>
                      <a:pt x="37" y="59"/>
                      <a:pt x="37" y="59"/>
                      <a:pt x="37" y="59"/>
                    </a:cubicBezTo>
                    <a:cubicBezTo>
                      <a:pt x="37" y="59"/>
                      <a:pt x="37" y="59"/>
                      <a:pt x="37" y="59"/>
                    </a:cubicBezTo>
                    <a:cubicBezTo>
                      <a:pt x="37" y="59"/>
                      <a:pt x="37" y="59"/>
                      <a:pt x="37" y="59"/>
                    </a:cubicBezTo>
                    <a:cubicBezTo>
                      <a:pt x="36" y="58"/>
                      <a:pt x="36" y="58"/>
                      <a:pt x="36" y="58"/>
                    </a:cubicBezTo>
                    <a:cubicBezTo>
                      <a:pt x="35" y="58"/>
                      <a:pt x="35" y="58"/>
                      <a:pt x="35" y="58"/>
                    </a:cubicBezTo>
                    <a:cubicBezTo>
                      <a:pt x="35" y="58"/>
                      <a:pt x="34" y="59"/>
                      <a:pt x="34" y="59"/>
                    </a:cubicBezTo>
                    <a:cubicBezTo>
                      <a:pt x="33" y="59"/>
                      <a:pt x="33" y="59"/>
                      <a:pt x="33" y="59"/>
                    </a:cubicBezTo>
                    <a:cubicBezTo>
                      <a:pt x="33" y="59"/>
                      <a:pt x="33" y="59"/>
                      <a:pt x="33" y="59"/>
                    </a:cubicBezTo>
                    <a:cubicBezTo>
                      <a:pt x="32" y="59"/>
                      <a:pt x="31" y="59"/>
                      <a:pt x="30" y="59"/>
                    </a:cubicBezTo>
                    <a:cubicBezTo>
                      <a:pt x="29" y="59"/>
                      <a:pt x="29" y="59"/>
                      <a:pt x="29" y="59"/>
                    </a:cubicBezTo>
                    <a:cubicBezTo>
                      <a:pt x="29" y="58"/>
                      <a:pt x="29" y="58"/>
                      <a:pt x="29" y="58"/>
                    </a:cubicBezTo>
                    <a:cubicBezTo>
                      <a:pt x="29" y="58"/>
                      <a:pt x="29" y="58"/>
                      <a:pt x="29" y="58"/>
                    </a:cubicBezTo>
                    <a:cubicBezTo>
                      <a:pt x="29" y="58"/>
                      <a:pt x="29" y="58"/>
                      <a:pt x="29" y="58"/>
                    </a:cubicBezTo>
                    <a:cubicBezTo>
                      <a:pt x="30" y="58"/>
                      <a:pt x="31" y="58"/>
                      <a:pt x="31" y="59"/>
                    </a:cubicBezTo>
                    <a:cubicBezTo>
                      <a:pt x="32" y="58"/>
                      <a:pt x="32" y="58"/>
                      <a:pt x="32" y="58"/>
                    </a:cubicBezTo>
                    <a:cubicBezTo>
                      <a:pt x="33" y="58"/>
                      <a:pt x="33" y="58"/>
                      <a:pt x="33" y="58"/>
                    </a:cubicBezTo>
                    <a:cubicBezTo>
                      <a:pt x="33" y="57"/>
                      <a:pt x="33" y="57"/>
                      <a:pt x="33" y="57"/>
                    </a:cubicBezTo>
                    <a:cubicBezTo>
                      <a:pt x="33" y="57"/>
                      <a:pt x="33" y="57"/>
                      <a:pt x="33" y="57"/>
                    </a:cubicBezTo>
                    <a:cubicBezTo>
                      <a:pt x="34" y="56"/>
                      <a:pt x="34" y="56"/>
                      <a:pt x="34" y="56"/>
                    </a:cubicBezTo>
                    <a:cubicBezTo>
                      <a:pt x="35" y="56"/>
                      <a:pt x="35" y="56"/>
                      <a:pt x="35" y="57"/>
                    </a:cubicBezTo>
                    <a:cubicBezTo>
                      <a:pt x="36" y="56"/>
                      <a:pt x="36" y="56"/>
                      <a:pt x="36" y="56"/>
                    </a:cubicBezTo>
                    <a:cubicBezTo>
                      <a:pt x="37" y="56"/>
                      <a:pt x="37" y="56"/>
                      <a:pt x="37" y="56"/>
                    </a:cubicBezTo>
                    <a:cubicBezTo>
                      <a:pt x="36" y="55"/>
                      <a:pt x="36" y="55"/>
                      <a:pt x="36" y="55"/>
                    </a:cubicBezTo>
                    <a:cubicBezTo>
                      <a:pt x="35" y="55"/>
                      <a:pt x="35" y="55"/>
                      <a:pt x="35" y="55"/>
                    </a:cubicBezTo>
                    <a:cubicBezTo>
                      <a:pt x="35" y="55"/>
                      <a:pt x="35" y="55"/>
                      <a:pt x="35" y="55"/>
                    </a:cubicBezTo>
                    <a:cubicBezTo>
                      <a:pt x="35" y="54"/>
                      <a:pt x="35" y="54"/>
                      <a:pt x="35" y="54"/>
                    </a:cubicBezTo>
                    <a:cubicBezTo>
                      <a:pt x="35" y="54"/>
                      <a:pt x="35" y="54"/>
                      <a:pt x="35" y="54"/>
                    </a:cubicBezTo>
                    <a:cubicBezTo>
                      <a:pt x="34" y="54"/>
                      <a:pt x="33" y="54"/>
                      <a:pt x="32" y="55"/>
                    </a:cubicBezTo>
                    <a:cubicBezTo>
                      <a:pt x="32" y="55"/>
                      <a:pt x="32" y="55"/>
                      <a:pt x="32" y="55"/>
                    </a:cubicBezTo>
                    <a:cubicBezTo>
                      <a:pt x="33" y="54"/>
                      <a:pt x="33" y="54"/>
                      <a:pt x="33" y="54"/>
                    </a:cubicBezTo>
                    <a:cubicBezTo>
                      <a:pt x="35" y="53"/>
                      <a:pt x="35" y="53"/>
                      <a:pt x="35" y="53"/>
                    </a:cubicBezTo>
                    <a:cubicBezTo>
                      <a:pt x="36" y="53"/>
                      <a:pt x="37" y="52"/>
                      <a:pt x="37" y="52"/>
                    </a:cubicBezTo>
                    <a:cubicBezTo>
                      <a:pt x="37" y="51"/>
                      <a:pt x="37" y="51"/>
                      <a:pt x="37" y="51"/>
                    </a:cubicBezTo>
                    <a:cubicBezTo>
                      <a:pt x="38" y="50"/>
                      <a:pt x="38" y="50"/>
                      <a:pt x="38" y="50"/>
                    </a:cubicBezTo>
                    <a:cubicBezTo>
                      <a:pt x="38" y="50"/>
                      <a:pt x="39" y="49"/>
                      <a:pt x="39" y="48"/>
                    </a:cubicBezTo>
                    <a:cubicBezTo>
                      <a:pt x="39" y="48"/>
                      <a:pt x="39" y="48"/>
                      <a:pt x="39" y="48"/>
                    </a:cubicBezTo>
                    <a:cubicBezTo>
                      <a:pt x="39" y="47"/>
                      <a:pt x="40" y="46"/>
                      <a:pt x="40" y="46"/>
                    </a:cubicBezTo>
                    <a:cubicBezTo>
                      <a:pt x="40" y="46"/>
                      <a:pt x="40" y="46"/>
                      <a:pt x="40" y="46"/>
                    </a:cubicBezTo>
                    <a:cubicBezTo>
                      <a:pt x="40" y="45"/>
                      <a:pt x="40" y="44"/>
                      <a:pt x="41" y="43"/>
                    </a:cubicBezTo>
                    <a:cubicBezTo>
                      <a:pt x="41" y="43"/>
                      <a:pt x="42" y="42"/>
                      <a:pt x="42" y="42"/>
                    </a:cubicBezTo>
                    <a:cubicBezTo>
                      <a:pt x="42" y="41"/>
                      <a:pt x="42" y="41"/>
                      <a:pt x="42" y="40"/>
                    </a:cubicBezTo>
                    <a:cubicBezTo>
                      <a:pt x="41" y="40"/>
                      <a:pt x="41" y="39"/>
                      <a:pt x="40" y="39"/>
                    </a:cubicBezTo>
                    <a:cubicBezTo>
                      <a:pt x="40" y="39"/>
                      <a:pt x="40" y="39"/>
                      <a:pt x="40" y="39"/>
                    </a:cubicBezTo>
                    <a:cubicBezTo>
                      <a:pt x="39" y="39"/>
                      <a:pt x="39" y="39"/>
                      <a:pt x="39" y="39"/>
                    </a:cubicBezTo>
                    <a:cubicBezTo>
                      <a:pt x="39" y="39"/>
                      <a:pt x="39" y="39"/>
                      <a:pt x="39" y="39"/>
                    </a:cubicBezTo>
                    <a:cubicBezTo>
                      <a:pt x="38" y="39"/>
                      <a:pt x="38" y="39"/>
                      <a:pt x="38" y="39"/>
                    </a:cubicBezTo>
                    <a:cubicBezTo>
                      <a:pt x="37" y="39"/>
                      <a:pt x="37" y="39"/>
                      <a:pt x="37" y="39"/>
                    </a:cubicBezTo>
                    <a:cubicBezTo>
                      <a:pt x="37" y="39"/>
                      <a:pt x="37" y="39"/>
                      <a:pt x="37" y="39"/>
                    </a:cubicBezTo>
                    <a:cubicBezTo>
                      <a:pt x="36" y="39"/>
                      <a:pt x="35" y="39"/>
                      <a:pt x="34" y="39"/>
                    </a:cubicBezTo>
                    <a:cubicBezTo>
                      <a:pt x="34" y="39"/>
                      <a:pt x="34" y="39"/>
                      <a:pt x="34" y="39"/>
                    </a:cubicBezTo>
                    <a:cubicBezTo>
                      <a:pt x="33" y="39"/>
                      <a:pt x="33" y="39"/>
                      <a:pt x="33" y="39"/>
                    </a:cubicBezTo>
                    <a:cubicBezTo>
                      <a:pt x="33" y="39"/>
                      <a:pt x="32" y="39"/>
                      <a:pt x="32" y="39"/>
                    </a:cubicBezTo>
                    <a:cubicBezTo>
                      <a:pt x="32" y="39"/>
                      <a:pt x="31" y="39"/>
                      <a:pt x="31" y="39"/>
                    </a:cubicBezTo>
                    <a:cubicBezTo>
                      <a:pt x="30" y="40"/>
                      <a:pt x="30" y="40"/>
                      <a:pt x="30" y="40"/>
                    </a:cubicBezTo>
                    <a:cubicBezTo>
                      <a:pt x="30" y="39"/>
                      <a:pt x="30" y="39"/>
                      <a:pt x="30" y="39"/>
                    </a:cubicBezTo>
                    <a:cubicBezTo>
                      <a:pt x="30" y="40"/>
                      <a:pt x="30" y="40"/>
                      <a:pt x="30" y="40"/>
                    </a:cubicBezTo>
                    <a:cubicBezTo>
                      <a:pt x="29" y="40"/>
                      <a:pt x="29" y="40"/>
                      <a:pt x="29" y="40"/>
                    </a:cubicBezTo>
                    <a:cubicBezTo>
                      <a:pt x="28" y="40"/>
                      <a:pt x="28" y="40"/>
                      <a:pt x="28" y="40"/>
                    </a:cubicBezTo>
                    <a:cubicBezTo>
                      <a:pt x="27" y="40"/>
                      <a:pt x="27" y="40"/>
                      <a:pt x="27" y="40"/>
                    </a:cubicBezTo>
                    <a:cubicBezTo>
                      <a:pt x="27" y="41"/>
                      <a:pt x="27" y="41"/>
                      <a:pt x="27" y="41"/>
                    </a:cubicBezTo>
                    <a:cubicBezTo>
                      <a:pt x="26" y="41"/>
                      <a:pt x="26" y="41"/>
                      <a:pt x="26" y="41"/>
                    </a:cubicBezTo>
                    <a:cubicBezTo>
                      <a:pt x="26" y="41"/>
                      <a:pt x="26" y="41"/>
                      <a:pt x="26" y="41"/>
                    </a:cubicBezTo>
                    <a:cubicBezTo>
                      <a:pt x="27" y="39"/>
                      <a:pt x="27" y="39"/>
                      <a:pt x="27" y="39"/>
                    </a:cubicBezTo>
                    <a:cubicBezTo>
                      <a:pt x="27" y="40"/>
                      <a:pt x="27" y="40"/>
                      <a:pt x="27" y="40"/>
                    </a:cubicBezTo>
                    <a:cubicBezTo>
                      <a:pt x="26" y="39"/>
                      <a:pt x="26" y="39"/>
                      <a:pt x="26" y="39"/>
                    </a:cubicBezTo>
                    <a:cubicBezTo>
                      <a:pt x="24" y="40"/>
                      <a:pt x="24" y="40"/>
                      <a:pt x="24" y="40"/>
                    </a:cubicBezTo>
                    <a:cubicBezTo>
                      <a:pt x="25" y="40"/>
                      <a:pt x="25" y="40"/>
                      <a:pt x="25" y="40"/>
                    </a:cubicBezTo>
                    <a:cubicBezTo>
                      <a:pt x="25" y="40"/>
                      <a:pt x="25" y="40"/>
                      <a:pt x="25" y="40"/>
                    </a:cubicBezTo>
                    <a:cubicBezTo>
                      <a:pt x="25" y="39"/>
                      <a:pt x="25" y="39"/>
                      <a:pt x="25" y="39"/>
                    </a:cubicBezTo>
                    <a:cubicBezTo>
                      <a:pt x="26" y="39"/>
                      <a:pt x="26" y="39"/>
                      <a:pt x="26" y="39"/>
                    </a:cubicBezTo>
                    <a:cubicBezTo>
                      <a:pt x="27" y="39"/>
                      <a:pt x="27" y="39"/>
                      <a:pt x="27" y="39"/>
                    </a:cubicBezTo>
                    <a:cubicBezTo>
                      <a:pt x="27" y="39"/>
                      <a:pt x="27" y="39"/>
                      <a:pt x="27" y="39"/>
                    </a:cubicBezTo>
                    <a:cubicBezTo>
                      <a:pt x="27" y="39"/>
                      <a:pt x="27" y="39"/>
                      <a:pt x="27" y="39"/>
                    </a:cubicBezTo>
                    <a:cubicBezTo>
                      <a:pt x="29" y="38"/>
                      <a:pt x="29" y="38"/>
                      <a:pt x="29" y="38"/>
                    </a:cubicBezTo>
                    <a:cubicBezTo>
                      <a:pt x="29" y="37"/>
                      <a:pt x="29" y="37"/>
                      <a:pt x="29" y="37"/>
                    </a:cubicBezTo>
                    <a:cubicBezTo>
                      <a:pt x="28" y="38"/>
                      <a:pt x="28" y="38"/>
                      <a:pt x="28" y="38"/>
                    </a:cubicBezTo>
                    <a:cubicBezTo>
                      <a:pt x="27" y="37"/>
                      <a:pt x="27" y="37"/>
                      <a:pt x="27" y="37"/>
                    </a:cubicBezTo>
                    <a:cubicBezTo>
                      <a:pt x="27" y="38"/>
                      <a:pt x="27" y="38"/>
                      <a:pt x="27" y="38"/>
                    </a:cubicBezTo>
                    <a:cubicBezTo>
                      <a:pt x="26" y="37"/>
                      <a:pt x="26" y="37"/>
                      <a:pt x="26" y="37"/>
                    </a:cubicBezTo>
                    <a:cubicBezTo>
                      <a:pt x="26" y="37"/>
                      <a:pt x="26" y="37"/>
                      <a:pt x="26" y="37"/>
                    </a:cubicBezTo>
                    <a:cubicBezTo>
                      <a:pt x="25" y="37"/>
                      <a:pt x="25" y="37"/>
                      <a:pt x="25" y="37"/>
                    </a:cubicBezTo>
                    <a:cubicBezTo>
                      <a:pt x="25" y="37"/>
                      <a:pt x="25" y="37"/>
                      <a:pt x="25" y="37"/>
                    </a:cubicBezTo>
                    <a:cubicBezTo>
                      <a:pt x="25" y="37"/>
                      <a:pt x="25" y="37"/>
                      <a:pt x="25"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6"/>
                      <a:pt x="27" y="36"/>
                      <a:pt x="27" y="36"/>
                    </a:cubicBezTo>
                    <a:cubicBezTo>
                      <a:pt x="27" y="36"/>
                      <a:pt x="28" y="36"/>
                      <a:pt x="28" y="36"/>
                    </a:cubicBezTo>
                    <a:cubicBezTo>
                      <a:pt x="28" y="35"/>
                      <a:pt x="28" y="35"/>
                      <a:pt x="28" y="35"/>
                    </a:cubicBezTo>
                    <a:cubicBezTo>
                      <a:pt x="30" y="34"/>
                      <a:pt x="31" y="33"/>
                      <a:pt x="32" y="32"/>
                    </a:cubicBezTo>
                    <a:cubicBezTo>
                      <a:pt x="33" y="31"/>
                      <a:pt x="33" y="31"/>
                      <a:pt x="33" y="31"/>
                    </a:cubicBezTo>
                    <a:cubicBezTo>
                      <a:pt x="33" y="30"/>
                      <a:pt x="33" y="30"/>
                      <a:pt x="33" y="30"/>
                    </a:cubicBezTo>
                    <a:cubicBezTo>
                      <a:pt x="33" y="30"/>
                      <a:pt x="33" y="30"/>
                      <a:pt x="33" y="30"/>
                    </a:cubicBezTo>
                    <a:cubicBezTo>
                      <a:pt x="33" y="30"/>
                      <a:pt x="33" y="30"/>
                      <a:pt x="33" y="30"/>
                    </a:cubicBezTo>
                    <a:cubicBezTo>
                      <a:pt x="33" y="29"/>
                      <a:pt x="34" y="29"/>
                      <a:pt x="34" y="28"/>
                    </a:cubicBezTo>
                    <a:cubicBezTo>
                      <a:pt x="33" y="28"/>
                      <a:pt x="33" y="28"/>
                      <a:pt x="33" y="28"/>
                    </a:cubicBezTo>
                    <a:cubicBezTo>
                      <a:pt x="33" y="28"/>
                      <a:pt x="33" y="28"/>
                      <a:pt x="33" y="28"/>
                    </a:cubicBezTo>
                    <a:cubicBezTo>
                      <a:pt x="32" y="28"/>
                      <a:pt x="32" y="28"/>
                      <a:pt x="32" y="28"/>
                    </a:cubicBezTo>
                    <a:cubicBezTo>
                      <a:pt x="32" y="28"/>
                      <a:pt x="32" y="28"/>
                      <a:pt x="32" y="28"/>
                    </a:cubicBezTo>
                    <a:cubicBezTo>
                      <a:pt x="31" y="28"/>
                      <a:pt x="31" y="28"/>
                      <a:pt x="31" y="28"/>
                    </a:cubicBezTo>
                    <a:cubicBezTo>
                      <a:pt x="32" y="28"/>
                      <a:pt x="32" y="28"/>
                      <a:pt x="32" y="28"/>
                    </a:cubicBezTo>
                    <a:cubicBezTo>
                      <a:pt x="32" y="29"/>
                      <a:pt x="32" y="29"/>
                      <a:pt x="32" y="29"/>
                    </a:cubicBezTo>
                    <a:cubicBezTo>
                      <a:pt x="31" y="28"/>
                      <a:pt x="31" y="28"/>
                      <a:pt x="31" y="28"/>
                    </a:cubicBezTo>
                    <a:cubicBezTo>
                      <a:pt x="30" y="29"/>
                      <a:pt x="30" y="29"/>
                      <a:pt x="30" y="29"/>
                    </a:cubicBezTo>
                    <a:cubicBezTo>
                      <a:pt x="30" y="28"/>
                      <a:pt x="30" y="28"/>
                      <a:pt x="30" y="28"/>
                    </a:cubicBezTo>
                    <a:cubicBezTo>
                      <a:pt x="30" y="28"/>
                      <a:pt x="29" y="29"/>
                      <a:pt x="29" y="29"/>
                    </a:cubicBezTo>
                    <a:cubicBezTo>
                      <a:pt x="27" y="29"/>
                      <a:pt x="27" y="29"/>
                      <a:pt x="27" y="29"/>
                    </a:cubicBezTo>
                    <a:cubicBezTo>
                      <a:pt x="27" y="29"/>
                      <a:pt x="27" y="29"/>
                      <a:pt x="27" y="29"/>
                    </a:cubicBezTo>
                    <a:cubicBezTo>
                      <a:pt x="27" y="29"/>
                      <a:pt x="27" y="29"/>
                      <a:pt x="27" y="29"/>
                    </a:cubicBezTo>
                    <a:cubicBezTo>
                      <a:pt x="26" y="29"/>
                      <a:pt x="26" y="29"/>
                      <a:pt x="26" y="29"/>
                    </a:cubicBezTo>
                    <a:cubicBezTo>
                      <a:pt x="26" y="29"/>
                      <a:pt x="26" y="29"/>
                      <a:pt x="26" y="29"/>
                    </a:cubicBezTo>
                    <a:cubicBezTo>
                      <a:pt x="25" y="29"/>
                      <a:pt x="25" y="29"/>
                      <a:pt x="25" y="29"/>
                    </a:cubicBezTo>
                    <a:cubicBezTo>
                      <a:pt x="25" y="29"/>
                      <a:pt x="25" y="30"/>
                      <a:pt x="24" y="30"/>
                    </a:cubicBezTo>
                    <a:cubicBezTo>
                      <a:pt x="25" y="29"/>
                      <a:pt x="25" y="29"/>
                      <a:pt x="25" y="29"/>
                    </a:cubicBezTo>
                    <a:cubicBezTo>
                      <a:pt x="24" y="29"/>
                      <a:pt x="24" y="29"/>
                      <a:pt x="24" y="29"/>
                    </a:cubicBezTo>
                    <a:cubicBezTo>
                      <a:pt x="24" y="29"/>
                      <a:pt x="24" y="29"/>
                      <a:pt x="24" y="29"/>
                    </a:cubicBezTo>
                    <a:cubicBezTo>
                      <a:pt x="24" y="29"/>
                      <a:pt x="24" y="29"/>
                      <a:pt x="24" y="29"/>
                    </a:cubicBezTo>
                    <a:cubicBezTo>
                      <a:pt x="23" y="30"/>
                      <a:pt x="23" y="30"/>
                      <a:pt x="23" y="30"/>
                    </a:cubicBezTo>
                    <a:cubicBezTo>
                      <a:pt x="23" y="29"/>
                      <a:pt x="23" y="29"/>
                      <a:pt x="23" y="29"/>
                    </a:cubicBezTo>
                    <a:cubicBezTo>
                      <a:pt x="23" y="28"/>
                      <a:pt x="23" y="28"/>
                      <a:pt x="23" y="28"/>
                    </a:cubicBezTo>
                    <a:cubicBezTo>
                      <a:pt x="22" y="29"/>
                      <a:pt x="22" y="29"/>
                      <a:pt x="22" y="29"/>
                    </a:cubicBezTo>
                    <a:cubicBezTo>
                      <a:pt x="22" y="29"/>
                      <a:pt x="22" y="29"/>
                      <a:pt x="22" y="29"/>
                    </a:cubicBezTo>
                    <a:cubicBezTo>
                      <a:pt x="22" y="28"/>
                      <a:pt x="22" y="28"/>
                      <a:pt x="22" y="28"/>
                    </a:cubicBezTo>
                    <a:cubicBezTo>
                      <a:pt x="21" y="28"/>
                      <a:pt x="21" y="28"/>
                      <a:pt x="21" y="28"/>
                    </a:cubicBezTo>
                    <a:cubicBezTo>
                      <a:pt x="21" y="29"/>
                      <a:pt x="21" y="29"/>
                      <a:pt x="21" y="29"/>
                    </a:cubicBezTo>
                    <a:cubicBezTo>
                      <a:pt x="20" y="29"/>
                      <a:pt x="20" y="29"/>
                      <a:pt x="20" y="29"/>
                    </a:cubicBezTo>
                    <a:cubicBezTo>
                      <a:pt x="20" y="30"/>
                      <a:pt x="20" y="30"/>
                      <a:pt x="20" y="30"/>
                    </a:cubicBezTo>
                    <a:cubicBezTo>
                      <a:pt x="21" y="30"/>
                      <a:pt x="21" y="30"/>
                      <a:pt x="21" y="30"/>
                    </a:cubicBezTo>
                    <a:cubicBezTo>
                      <a:pt x="20" y="30"/>
                      <a:pt x="20" y="30"/>
                      <a:pt x="20" y="30"/>
                    </a:cubicBezTo>
                    <a:cubicBezTo>
                      <a:pt x="21" y="31"/>
                      <a:pt x="21" y="31"/>
                      <a:pt x="21" y="31"/>
                    </a:cubicBezTo>
                    <a:cubicBezTo>
                      <a:pt x="20" y="31"/>
                      <a:pt x="20" y="31"/>
                      <a:pt x="20" y="31"/>
                    </a:cubicBezTo>
                    <a:cubicBezTo>
                      <a:pt x="20" y="31"/>
                      <a:pt x="20" y="31"/>
                      <a:pt x="20" y="31"/>
                    </a:cubicBezTo>
                    <a:cubicBezTo>
                      <a:pt x="20" y="32"/>
                      <a:pt x="20" y="32"/>
                      <a:pt x="20" y="32"/>
                    </a:cubicBezTo>
                    <a:cubicBezTo>
                      <a:pt x="21" y="32"/>
                      <a:pt x="21" y="32"/>
                      <a:pt x="21" y="32"/>
                    </a:cubicBezTo>
                    <a:cubicBezTo>
                      <a:pt x="21" y="32"/>
                      <a:pt x="21" y="32"/>
                      <a:pt x="21" y="32"/>
                    </a:cubicBezTo>
                    <a:cubicBezTo>
                      <a:pt x="20" y="32"/>
                      <a:pt x="20" y="32"/>
                      <a:pt x="20" y="32"/>
                    </a:cubicBezTo>
                    <a:cubicBezTo>
                      <a:pt x="20" y="32"/>
                      <a:pt x="20" y="32"/>
                      <a:pt x="20" y="32"/>
                    </a:cubicBezTo>
                    <a:cubicBezTo>
                      <a:pt x="19" y="33"/>
                      <a:pt x="19" y="33"/>
                      <a:pt x="19" y="33"/>
                    </a:cubicBezTo>
                    <a:cubicBezTo>
                      <a:pt x="19" y="32"/>
                      <a:pt x="19" y="32"/>
                      <a:pt x="19" y="32"/>
                    </a:cubicBezTo>
                    <a:cubicBezTo>
                      <a:pt x="18" y="32"/>
                      <a:pt x="18" y="32"/>
                      <a:pt x="18" y="32"/>
                    </a:cubicBezTo>
                    <a:cubicBezTo>
                      <a:pt x="19" y="33"/>
                      <a:pt x="19" y="33"/>
                      <a:pt x="19" y="33"/>
                    </a:cubicBezTo>
                    <a:cubicBezTo>
                      <a:pt x="19" y="34"/>
                      <a:pt x="19" y="34"/>
                      <a:pt x="19" y="34"/>
                    </a:cubicBezTo>
                    <a:cubicBezTo>
                      <a:pt x="19" y="34"/>
                      <a:pt x="19" y="34"/>
                      <a:pt x="19" y="34"/>
                    </a:cubicBezTo>
                    <a:cubicBezTo>
                      <a:pt x="19" y="35"/>
                      <a:pt x="19" y="35"/>
                      <a:pt x="19" y="35"/>
                    </a:cubicBezTo>
                    <a:cubicBezTo>
                      <a:pt x="19" y="35"/>
                      <a:pt x="19" y="35"/>
                      <a:pt x="19" y="35"/>
                    </a:cubicBezTo>
                    <a:cubicBezTo>
                      <a:pt x="18" y="34"/>
                      <a:pt x="18" y="34"/>
                      <a:pt x="18" y="34"/>
                    </a:cubicBezTo>
                    <a:cubicBezTo>
                      <a:pt x="18" y="34"/>
                      <a:pt x="18" y="34"/>
                      <a:pt x="18" y="34"/>
                    </a:cubicBezTo>
                    <a:cubicBezTo>
                      <a:pt x="18" y="35"/>
                      <a:pt x="19" y="35"/>
                      <a:pt x="19" y="36"/>
                    </a:cubicBezTo>
                    <a:cubicBezTo>
                      <a:pt x="20" y="36"/>
                      <a:pt x="20" y="36"/>
                      <a:pt x="20" y="36"/>
                    </a:cubicBezTo>
                    <a:cubicBezTo>
                      <a:pt x="19" y="36"/>
                      <a:pt x="19" y="36"/>
                      <a:pt x="19" y="36"/>
                    </a:cubicBezTo>
                    <a:cubicBezTo>
                      <a:pt x="20" y="37"/>
                      <a:pt x="20" y="37"/>
                      <a:pt x="20" y="37"/>
                    </a:cubicBezTo>
                    <a:cubicBezTo>
                      <a:pt x="20" y="37"/>
                      <a:pt x="20" y="37"/>
                      <a:pt x="20" y="37"/>
                    </a:cubicBezTo>
                    <a:cubicBezTo>
                      <a:pt x="19" y="36"/>
                      <a:pt x="19" y="36"/>
                      <a:pt x="19" y="36"/>
                    </a:cubicBezTo>
                    <a:cubicBezTo>
                      <a:pt x="19" y="36"/>
                      <a:pt x="19" y="36"/>
                      <a:pt x="19" y="36"/>
                    </a:cubicBezTo>
                    <a:cubicBezTo>
                      <a:pt x="18" y="36"/>
                      <a:pt x="18" y="36"/>
                      <a:pt x="18" y="36"/>
                    </a:cubicBezTo>
                    <a:cubicBezTo>
                      <a:pt x="18" y="36"/>
                      <a:pt x="18" y="36"/>
                      <a:pt x="18" y="36"/>
                    </a:cubicBezTo>
                    <a:cubicBezTo>
                      <a:pt x="19" y="37"/>
                      <a:pt x="19" y="37"/>
                      <a:pt x="19" y="37"/>
                    </a:cubicBezTo>
                    <a:cubicBezTo>
                      <a:pt x="18" y="36"/>
                      <a:pt x="18" y="36"/>
                      <a:pt x="18" y="36"/>
                    </a:cubicBezTo>
                    <a:cubicBezTo>
                      <a:pt x="18" y="37"/>
                      <a:pt x="18" y="37"/>
                      <a:pt x="18" y="37"/>
                    </a:cubicBezTo>
                    <a:cubicBezTo>
                      <a:pt x="17" y="37"/>
                      <a:pt x="17" y="37"/>
                      <a:pt x="17" y="37"/>
                    </a:cubicBezTo>
                    <a:cubicBezTo>
                      <a:pt x="17" y="36"/>
                      <a:pt x="17" y="36"/>
                      <a:pt x="17" y="36"/>
                    </a:cubicBezTo>
                    <a:cubicBezTo>
                      <a:pt x="17" y="36"/>
                      <a:pt x="17" y="36"/>
                      <a:pt x="17" y="36"/>
                    </a:cubicBezTo>
                    <a:cubicBezTo>
                      <a:pt x="17" y="37"/>
                      <a:pt x="17" y="37"/>
                      <a:pt x="17" y="37"/>
                    </a:cubicBezTo>
                    <a:cubicBezTo>
                      <a:pt x="17" y="37"/>
                      <a:pt x="17" y="37"/>
                      <a:pt x="17" y="37"/>
                    </a:cubicBezTo>
                    <a:cubicBezTo>
                      <a:pt x="17" y="38"/>
                      <a:pt x="17" y="38"/>
                      <a:pt x="17" y="38"/>
                    </a:cubicBezTo>
                    <a:cubicBezTo>
                      <a:pt x="16" y="38"/>
                      <a:pt x="16" y="38"/>
                      <a:pt x="16" y="38"/>
                    </a:cubicBezTo>
                    <a:cubicBezTo>
                      <a:pt x="16" y="37"/>
                      <a:pt x="16" y="37"/>
                      <a:pt x="16" y="37"/>
                    </a:cubicBezTo>
                    <a:cubicBezTo>
                      <a:pt x="16" y="37"/>
                      <a:pt x="16" y="37"/>
                      <a:pt x="16" y="37"/>
                    </a:cubicBezTo>
                    <a:cubicBezTo>
                      <a:pt x="16" y="37"/>
                      <a:pt x="16" y="37"/>
                      <a:pt x="16" y="37"/>
                    </a:cubicBezTo>
                    <a:cubicBezTo>
                      <a:pt x="16" y="38"/>
                      <a:pt x="16" y="38"/>
                      <a:pt x="16" y="38"/>
                    </a:cubicBezTo>
                    <a:cubicBezTo>
                      <a:pt x="16" y="38"/>
                      <a:pt x="16" y="38"/>
                      <a:pt x="16" y="38"/>
                    </a:cubicBezTo>
                    <a:cubicBezTo>
                      <a:pt x="16" y="39"/>
                      <a:pt x="16" y="39"/>
                      <a:pt x="16" y="39"/>
                    </a:cubicBezTo>
                    <a:cubicBezTo>
                      <a:pt x="16" y="39"/>
                      <a:pt x="16" y="39"/>
                      <a:pt x="16" y="39"/>
                    </a:cubicBezTo>
                    <a:cubicBezTo>
                      <a:pt x="15" y="39"/>
                      <a:pt x="15" y="39"/>
                      <a:pt x="15" y="39"/>
                    </a:cubicBezTo>
                    <a:cubicBezTo>
                      <a:pt x="16" y="39"/>
                      <a:pt x="16" y="39"/>
                      <a:pt x="16" y="39"/>
                    </a:cubicBezTo>
                    <a:cubicBezTo>
                      <a:pt x="16" y="41"/>
                      <a:pt x="16" y="41"/>
                      <a:pt x="16" y="41"/>
                    </a:cubicBezTo>
                    <a:cubicBezTo>
                      <a:pt x="17" y="40"/>
                      <a:pt x="17" y="40"/>
                      <a:pt x="17" y="40"/>
                    </a:cubicBezTo>
                    <a:cubicBezTo>
                      <a:pt x="17" y="41"/>
                      <a:pt x="17" y="41"/>
                      <a:pt x="17" y="41"/>
                    </a:cubicBezTo>
                    <a:cubicBezTo>
                      <a:pt x="16" y="41"/>
                      <a:pt x="16" y="41"/>
                      <a:pt x="16" y="41"/>
                    </a:cubicBezTo>
                    <a:cubicBezTo>
                      <a:pt x="16" y="41"/>
                      <a:pt x="16" y="41"/>
                      <a:pt x="16" y="41"/>
                    </a:cubicBezTo>
                    <a:cubicBezTo>
                      <a:pt x="16" y="40"/>
                      <a:pt x="16" y="40"/>
                      <a:pt x="16" y="40"/>
                    </a:cubicBezTo>
                    <a:cubicBezTo>
                      <a:pt x="15" y="40"/>
                      <a:pt x="15" y="40"/>
                      <a:pt x="15" y="40"/>
                    </a:cubicBezTo>
                    <a:cubicBezTo>
                      <a:pt x="15" y="41"/>
                      <a:pt x="15" y="41"/>
                      <a:pt x="15" y="42"/>
                    </a:cubicBezTo>
                    <a:cubicBezTo>
                      <a:pt x="15" y="42"/>
                      <a:pt x="15" y="42"/>
                      <a:pt x="15" y="42"/>
                    </a:cubicBezTo>
                    <a:cubicBezTo>
                      <a:pt x="15" y="43"/>
                      <a:pt x="15" y="43"/>
                      <a:pt x="15" y="43"/>
                    </a:cubicBezTo>
                    <a:cubicBezTo>
                      <a:pt x="16" y="43"/>
                      <a:pt x="16" y="43"/>
                      <a:pt x="16" y="43"/>
                    </a:cubicBezTo>
                    <a:cubicBezTo>
                      <a:pt x="17" y="42"/>
                      <a:pt x="17" y="42"/>
                      <a:pt x="17" y="42"/>
                    </a:cubicBezTo>
                    <a:cubicBezTo>
                      <a:pt x="16" y="43"/>
                      <a:pt x="16" y="43"/>
                      <a:pt x="16" y="43"/>
                    </a:cubicBezTo>
                    <a:cubicBezTo>
                      <a:pt x="17" y="43"/>
                      <a:pt x="17" y="43"/>
                      <a:pt x="17" y="43"/>
                    </a:cubicBezTo>
                    <a:cubicBezTo>
                      <a:pt x="18" y="42"/>
                      <a:pt x="18" y="42"/>
                      <a:pt x="18" y="42"/>
                    </a:cubicBezTo>
                    <a:cubicBezTo>
                      <a:pt x="18" y="42"/>
                      <a:pt x="18" y="42"/>
                      <a:pt x="18" y="42"/>
                    </a:cubicBezTo>
                    <a:cubicBezTo>
                      <a:pt x="17" y="43"/>
                      <a:pt x="17" y="43"/>
                      <a:pt x="16" y="43"/>
                    </a:cubicBezTo>
                    <a:cubicBezTo>
                      <a:pt x="16" y="44"/>
                      <a:pt x="16" y="44"/>
                      <a:pt x="16" y="44"/>
                    </a:cubicBezTo>
                    <a:cubicBezTo>
                      <a:pt x="17" y="44"/>
                      <a:pt x="17" y="44"/>
                      <a:pt x="17" y="44"/>
                    </a:cubicBezTo>
                    <a:cubicBezTo>
                      <a:pt x="18" y="43"/>
                      <a:pt x="18" y="43"/>
                      <a:pt x="18" y="43"/>
                    </a:cubicBezTo>
                    <a:cubicBezTo>
                      <a:pt x="17" y="44"/>
                      <a:pt x="17" y="44"/>
                      <a:pt x="17" y="44"/>
                    </a:cubicBezTo>
                    <a:cubicBezTo>
                      <a:pt x="18" y="44"/>
                      <a:pt x="18" y="44"/>
                      <a:pt x="18" y="44"/>
                    </a:cubicBezTo>
                    <a:cubicBezTo>
                      <a:pt x="17" y="44"/>
                      <a:pt x="17" y="44"/>
                      <a:pt x="17" y="44"/>
                    </a:cubicBezTo>
                    <a:cubicBezTo>
                      <a:pt x="16" y="44"/>
                      <a:pt x="16" y="44"/>
                      <a:pt x="16" y="44"/>
                    </a:cubicBezTo>
                    <a:cubicBezTo>
                      <a:pt x="16" y="44"/>
                      <a:pt x="16" y="44"/>
                      <a:pt x="16" y="44"/>
                    </a:cubicBezTo>
                    <a:cubicBezTo>
                      <a:pt x="16" y="45"/>
                      <a:pt x="16" y="45"/>
                      <a:pt x="16" y="45"/>
                    </a:cubicBezTo>
                    <a:cubicBezTo>
                      <a:pt x="16" y="45"/>
                      <a:pt x="16" y="45"/>
                      <a:pt x="16" y="45"/>
                    </a:cubicBezTo>
                    <a:cubicBezTo>
                      <a:pt x="17" y="45"/>
                      <a:pt x="17" y="45"/>
                      <a:pt x="17" y="45"/>
                    </a:cubicBezTo>
                    <a:cubicBezTo>
                      <a:pt x="17" y="46"/>
                      <a:pt x="17" y="46"/>
                      <a:pt x="17" y="46"/>
                    </a:cubicBezTo>
                    <a:cubicBezTo>
                      <a:pt x="18" y="46"/>
                      <a:pt x="18" y="46"/>
                      <a:pt x="18" y="46"/>
                    </a:cubicBezTo>
                    <a:cubicBezTo>
                      <a:pt x="18" y="46"/>
                      <a:pt x="18" y="46"/>
                      <a:pt x="18" y="46"/>
                    </a:cubicBezTo>
                    <a:cubicBezTo>
                      <a:pt x="17" y="46"/>
                      <a:pt x="17" y="46"/>
                      <a:pt x="17" y="46"/>
                    </a:cubicBezTo>
                    <a:cubicBezTo>
                      <a:pt x="16" y="45"/>
                      <a:pt x="16" y="45"/>
                      <a:pt x="16" y="45"/>
                    </a:cubicBezTo>
                    <a:cubicBezTo>
                      <a:pt x="16" y="45"/>
                      <a:pt x="16" y="45"/>
                      <a:pt x="16" y="45"/>
                    </a:cubicBezTo>
                    <a:cubicBezTo>
                      <a:pt x="15" y="46"/>
                      <a:pt x="15" y="46"/>
                      <a:pt x="15" y="46"/>
                    </a:cubicBezTo>
                    <a:cubicBezTo>
                      <a:pt x="16" y="46"/>
                      <a:pt x="16" y="46"/>
                      <a:pt x="16" y="46"/>
                    </a:cubicBezTo>
                    <a:cubicBezTo>
                      <a:pt x="16" y="47"/>
                      <a:pt x="16" y="47"/>
                      <a:pt x="16" y="47"/>
                    </a:cubicBezTo>
                    <a:cubicBezTo>
                      <a:pt x="16" y="47"/>
                      <a:pt x="16" y="47"/>
                      <a:pt x="16" y="47"/>
                    </a:cubicBezTo>
                    <a:cubicBezTo>
                      <a:pt x="16" y="47"/>
                      <a:pt x="16" y="47"/>
                      <a:pt x="16" y="47"/>
                    </a:cubicBezTo>
                    <a:cubicBezTo>
                      <a:pt x="16" y="47"/>
                      <a:pt x="16" y="47"/>
                      <a:pt x="16" y="47"/>
                    </a:cubicBezTo>
                    <a:cubicBezTo>
                      <a:pt x="15" y="47"/>
                      <a:pt x="15" y="47"/>
                      <a:pt x="15" y="47"/>
                    </a:cubicBezTo>
                    <a:cubicBezTo>
                      <a:pt x="15" y="48"/>
                      <a:pt x="15" y="48"/>
                      <a:pt x="15" y="48"/>
                    </a:cubicBezTo>
                    <a:cubicBezTo>
                      <a:pt x="16" y="48"/>
                      <a:pt x="16" y="48"/>
                      <a:pt x="16" y="48"/>
                    </a:cubicBezTo>
                    <a:cubicBezTo>
                      <a:pt x="15" y="48"/>
                      <a:pt x="15" y="48"/>
                      <a:pt x="15" y="48"/>
                    </a:cubicBezTo>
                    <a:cubicBezTo>
                      <a:pt x="16" y="49"/>
                      <a:pt x="16" y="49"/>
                      <a:pt x="16" y="49"/>
                    </a:cubicBezTo>
                    <a:cubicBezTo>
                      <a:pt x="15" y="49"/>
                      <a:pt x="15" y="49"/>
                      <a:pt x="15" y="49"/>
                    </a:cubicBezTo>
                    <a:cubicBezTo>
                      <a:pt x="15" y="49"/>
                      <a:pt x="15" y="49"/>
                      <a:pt x="15" y="49"/>
                    </a:cubicBezTo>
                    <a:cubicBezTo>
                      <a:pt x="15" y="50"/>
                      <a:pt x="15" y="50"/>
                      <a:pt x="15" y="50"/>
                    </a:cubicBezTo>
                    <a:cubicBezTo>
                      <a:pt x="14" y="49"/>
                      <a:pt x="14" y="49"/>
                      <a:pt x="14" y="49"/>
                    </a:cubicBezTo>
                    <a:cubicBezTo>
                      <a:pt x="14" y="50"/>
                      <a:pt x="13" y="50"/>
                      <a:pt x="13" y="50"/>
                    </a:cubicBezTo>
                    <a:cubicBezTo>
                      <a:pt x="12" y="50"/>
                      <a:pt x="12" y="50"/>
                      <a:pt x="12" y="50"/>
                    </a:cubicBezTo>
                    <a:cubicBezTo>
                      <a:pt x="12" y="50"/>
                      <a:pt x="12" y="50"/>
                      <a:pt x="12" y="50"/>
                    </a:cubicBezTo>
                    <a:cubicBezTo>
                      <a:pt x="13" y="50"/>
                      <a:pt x="13" y="50"/>
                      <a:pt x="13" y="50"/>
                    </a:cubicBezTo>
                    <a:cubicBezTo>
                      <a:pt x="13" y="50"/>
                      <a:pt x="13" y="50"/>
                      <a:pt x="13" y="50"/>
                    </a:cubicBezTo>
                    <a:cubicBezTo>
                      <a:pt x="13" y="50"/>
                      <a:pt x="14" y="50"/>
                      <a:pt x="14" y="51"/>
                    </a:cubicBezTo>
                    <a:cubicBezTo>
                      <a:pt x="15" y="50"/>
                      <a:pt x="15" y="50"/>
                      <a:pt x="15" y="50"/>
                    </a:cubicBezTo>
                    <a:cubicBezTo>
                      <a:pt x="16" y="51"/>
                      <a:pt x="16" y="51"/>
                      <a:pt x="16" y="51"/>
                    </a:cubicBezTo>
                    <a:cubicBezTo>
                      <a:pt x="15" y="50"/>
                      <a:pt x="15" y="50"/>
                      <a:pt x="15" y="50"/>
                    </a:cubicBezTo>
                    <a:cubicBezTo>
                      <a:pt x="15" y="51"/>
                      <a:pt x="15" y="51"/>
                      <a:pt x="15" y="51"/>
                    </a:cubicBezTo>
                    <a:cubicBezTo>
                      <a:pt x="15" y="51"/>
                      <a:pt x="15" y="51"/>
                      <a:pt x="15" y="51"/>
                    </a:cubicBezTo>
                    <a:cubicBezTo>
                      <a:pt x="14" y="51"/>
                      <a:pt x="14" y="51"/>
                      <a:pt x="14" y="51"/>
                    </a:cubicBezTo>
                    <a:cubicBezTo>
                      <a:pt x="14" y="51"/>
                      <a:pt x="14" y="51"/>
                      <a:pt x="14" y="51"/>
                    </a:cubicBezTo>
                    <a:cubicBezTo>
                      <a:pt x="14" y="51"/>
                      <a:pt x="14" y="51"/>
                      <a:pt x="14" y="51"/>
                    </a:cubicBezTo>
                    <a:cubicBezTo>
                      <a:pt x="15" y="52"/>
                      <a:pt x="15" y="52"/>
                      <a:pt x="15" y="52"/>
                    </a:cubicBezTo>
                    <a:cubicBezTo>
                      <a:pt x="15" y="52"/>
                      <a:pt x="15" y="52"/>
                      <a:pt x="16" y="53"/>
                    </a:cubicBezTo>
                    <a:cubicBezTo>
                      <a:pt x="17" y="52"/>
                      <a:pt x="18" y="51"/>
                      <a:pt x="19" y="50"/>
                    </a:cubicBezTo>
                    <a:cubicBezTo>
                      <a:pt x="19" y="50"/>
                      <a:pt x="19" y="50"/>
                      <a:pt x="19" y="50"/>
                    </a:cubicBezTo>
                    <a:cubicBezTo>
                      <a:pt x="20" y="49"/>
                      <a:pt x="20" y="49"/>
                      <a:pt x="20" y="49"/>
                    </a:cubicBezTo>
                    <a:cubicBezTo>
                      <a:pt x="19" y="50"/>
                      <a:pt x="19" y="50"/>
                      <a:pt x="19" y="50"/>
                    </a:cubicBezTo>
                    <a:cubicBezTo>
                      <a:pt x="19" y="51"/>
                      <a:pt x="19" y="51"/>
                      <a:pt x="19" y="51"/>
                    </a:cubicBezTo>
                    <a:cubicBezTo>
                      <a:pt x="20" y="50"/>
                      <a:pt x="20" y="50"/>
                      <a:pt x="20" y="50"/>
                    </a:cubicBezTo>
                    <a:cubicBezTo>
                      <a:pt x="19" y="51"/>
                      <a:pt x="19" y="51"/>
                      <a:pt x="19" y="51"/>
                    </a:cubicBezTo>
                    <a:cubicBezTo>
                      <a:pt x="19" y="51"/>
                      <a:pt x="19" y="51"/>
                      <a:pt x="19" y="51"/>
                    </a:cubicBezTo>
                    <a:cubicBezTo>
                      <a:pt x="18" y="51"/>
                      <a:pt x="18" y="51"/>
                      <a:pt x="18" y="51"/>
                    </a:cubicBezTo>
                    <a:cubicBezTo>
                      <a:pt x="18" y="52"/>
                      <a:pt x="17" y="52"/>
                      <a:pt x="17" y="53"/>
                    </a:cubicBezTo>
                    <a:cubicBezTo>
                      <a:pt x="18" y="53"/>
                      <a:pt x="18" y="53"/>
                      <a:pt x="18" y="53"/>
                    </a:cubicBezTo>
                    <a:cubicBezTo>
                      <a:pt x="18" y="53"/>
                      <a:pt x="18" y="53"/>
                      <a:pt x="18" y="53"/>
                    </a:cubicBezTo>
                    <a:cubicBezTo>
                      <a:pt x="18" y="53"/>
                      <a:pt x="18" y="53"/>
                      <a:pt x="18" y="53"/>
                    </a:cubicBezTo>
                    <a:cubicBezTo>
                      <a:pt x="19" y="53"/>
                      <a:pt x="19" y="53"/>
                      <a:pt x="19" y="53"/>
                    </a:cubicBezTo>
                    <a:cubicBezTo>
                      <a:pt x="19" y="53"/>
                      <a:pt x="19" y="53"/>
                      <a:pt x="19" y="53"/>
                    </a:cubicBezTo>
                    <a:cubicBezTo>
                      <a:pt x="18" y="53"/>
                      <a:pt x="18" y="53"/>
                      <a:pt x="18" y="53"/>
                    </a:cubicBezTo>
                    <a:cubicBezTo>
                      <a:pt x="17" y="53"/>
                      <a:pt x="17" y="53"/>
                      <a:pt x="17" y="53"/>
                    </a:cubicBezTo>
                    <a:cubicBezTo>
                      <a:pt x="17" y="54"/>
                      <a:pt x="16" y="55"/>
                      <a:pt x="16" y="56"/>
                    </a:cubicBezTo>
                    <a:cubicBezTo>
                      <a:pt x="17" y="55"/>
                      <a:pt x="17" y="55"/>
                      <a:pt x="17" y="55"/>
                    </a:cubicBezTo>
                    <a:cubicBezTo>
                      <a:pt x="16" y="56"/>
                      <a:pt x="16" y="56"/>
                      <a:pt x="16" y="57"/>
                    </a:cubicBezTo>
                    <a:cubicBezTo>
                      <a:pt x="17" y="56"/>
                      <a:pt x="17" y="56"/>
                      <a:pt x="17" y="56"/>
                    </a:cubicBezTo>
                    <a:cubicBezTo>
                      <a:pt x="16" y="57"/>
                      <a:pt x="16" y="58"/>
                      <a:pt x="15" y="59"/>
                    </a:cubicBezTo>
                    <a:cubicBezTo>
                      <a:pt x="15" y="59"/>
                      <a:pt x="15" y="59"/>
                      <a:pt x="15" y="59"/>
                    </a:cubicBezTo>
                    <a:cubicBezTo>
                      <a:pt x="16" y="58"/>
                      <a:pt x="16" y="58"/>
                      <a:pt x="16" y="58"/>
                    </a:cubicBezTo>
                    <a:cubicBezTo>
                      <a:pt x="16" y="58"/>
                      <a:pt x="16" y="58"/>
                      <a:pt x="16" y="58"/>
                    </a:cubicBezTo>
                    <a:cubicBezTo>
                      <a:pt x="15" y="59"/>
                      <a:pt x="15" y="59"/>
                      <a:pt x="15" y="59"/>
                    </a:cubicBezTo>
                    <a:cubicBezTo>
                      <a:pt x="15" y="60"/>
                      <a:pt x="15" y="60"/>
                      <a:pt x="15" y="60"/>
                    </a:cubicBezTo>
                    <a:cubicBezTo>
                      <a:pt x="16" y="60"/>
                      <a:pt x="16" y="60"/>
                      <a:pt x="16" y="60"/>
                    </a:cubicBezTo>
                    <a:cubicBezTo>
                      <a:pt x="15" y="60"/>
                      <a:pt x="15" y="60"/>
                      <a:pt x="15" y="60"/>
                    </a:cubicBezTo>
                    <a:cubicBezTo>
                      <a:pt x="16" y="61"/>
                      <a:pt x="16" y="61"/>
                      <a:pt x="16" y="61"/>
                    </a:cubicBezTo>
                    <a:cubicBezTo>
                      <a:pt x="16" y="61"/>
                      <a:pt x="17" y="61"/>
                      <a:pt x="17" y="60"/>
                    </a:cubicBezTo>
                    <a:cubicBezTo>
                      <a:pt x="17" y="61"/>
                      <a:pt x="17" y="61"/>
                      <a:pt x="17" y="61"/>
                    </a:cubicBezTo>
                    <a:cubicBezTo>
                      <a:pt x="16" y="61"/>
                      <a:pt x="16" y="61"/>
                      <a:pt x="16" y="61"/>
                    </a:cubicBezTo>
                    <a:cubicBezTo>
                      <a:pt x="16" y="62"/>
                      <a:pt x="16" y="62"/>
                      <a:pt x="16" y="62"/>
                    </a:cubicBezTo>
                    <a:cubicBezTo>
                      <a:pt x="15" y="62"/>
                      <a:pt x="15" y="62"/>
                      <a:pt x="15" y="62"/>
                    </a:cubicBezTo>
                    <a:cubicBezTo>
                      <a:pt x="15" y="63"/>
                      <a:pt x="15" y="63"/>
                      <a:pt x="15" y="63"/>
                    </a:cubicBezTo>
                    <a:cubicBezTo>
                      <a:pt x="15" y="64"/>
                      <a:pt x="15" y="64"/>
                      <a:pt x="15" y="64"/>
                    </a:cubicBezTo>
                    <a:cubicBezTo>
                      <a:pt x="15" y="65"/>
                      <a:pt x="15" y="65"/>
                      <a:pt x="15" y="65"/>
                    </a:cubicBezTo>
                    <a:cubicBezTo>
                      <a:pt x="14" y="65"/>
                      <a:pt x="14" y="65"/>
                      <a:pt x="14" y="65"/>
                    </a:cubicBezTo>
                    <a:cubicBezTo>
                      <a:pt x="14" y="66"/>
                      <a:pt x="14" y="66"/>
                      <a:pt x="14" y="66"/>
                    </a:cubicBezTo>
                    <a:cubicBezTo>
                      <a:pt x="15" y="67"/>
                      <a:pt x="15" y="67"/>
                      <a:pt x="15" y="67"/>
                    </a:cubicBezTo>
                    <a:cubicBezTo>
                      <a:pt x="15" y="67"/>
                      <a:pt x="15" y="67"/>
                      <a:pt x="15" y="67"/>
                    </a:cubicBezTo>
                    <a:cubicBezTo>
                      <a:pt x="16" y="66"/>
                      <a:pt x="16" y="66"/>
                      <a:pt x="16" y="66"/>
                    </a:cubicBezTo>
                    <a:cubicBezTo>
                      <a:pt x="16" y="66"/>
                      <a:pt x="16" y="66"/>
                      <a:pt x="16" y="66"/>
                    </a:cubicBezTo>
                    <a:cubicBezTo>
                      <a:pt x="16" y="65"/>
                      <a:pt x="16" y="65"/>
                      <a:pt x="16" y="65"/>
                    </a:cubicBezTo>
                    <a:cubicBezTo>
                      <a:pt x="16" y="65"/>
                      <a:pt x="16" y="65"/>
                      <a:pt x="16" y="65"/>
                    </a:cubicBezTo>
                    <a:cubicBezTo>
                      <a:pt x="17" y="63"/>
                      <a:pt x="17" y="63"/>
                      <a:pt x="17" y="63"/>
                    </a:cubicBezTo>
                    <a:cubicBezTo>
                      <a:pt x="17" y="63"/>
                      <a:pt x="17" y="63"/>
                      <a:pt x="17" y="63"/>
                    </a:cubicBezTo>
                    <a:cubicBezTo>
                      <a:pt x="17" y="62"/>
                      <a:pt x="17" y="62"/>
                      <a:pt x="17" y="62"/>
                    </a:cubicBezTo>
                    <a:cubicBezTo>
                      <a:pt x="18" y="61"/>
                      <a:pt x="18" y="61"/>
                      <a:pt x="18" y="61"/>
                    </a:cubicBezTo>
                    <a:cubicBezTo>
                      <a:pt x="18" y="61"/>
                      <a:pt x="18" y="61"/>
                      <a:pt x="18" y="61"/>
                    </a:cubicBezTo>
                    <a:cubicBezTo>
                      <a:pt x="17" y="60"/>
                      <a:pt x="17" y="60"/>
                      <a:pt x="17" y="60"/>
                    </a:cubicBezTo>
                    <a:cubicBezTo>
                      <a:pt x="17" y="59"/>
                      <a:pt x="17" y="59"/>
                      <a:pt x="17" y="59"/>
                    </a:cubicBezTo>
                    <a:cubicBezTo>
                      <a:pt x="17" y="59"/>
                      <a:pt x="17" y="59"/>
                      <a:pt x="17" y="59"/>
                    </a:cubicBezTo>
                    <a:cubicBezTo>
                      <a:pt x="17" y="58"/>
                      <a:pt x="17" y="58"/>
                      <a:pt x="17" y="58"/>
                    </a:cubicBezTo>
                    <a:cubicBezTo>
                      <a:pt x="18" y="58"/>
                      <a:pt x="18" y="58"/>
                      <a:pt x="18" y="58"/>
                    </a:cubicBezTo>
                    <a:cubicBezTo>
                      <a:pt x="19" y="57"/>
                      <a:pt x="19" y="57"/>
                      <a:pt x="19" y="57"/>
                    </a:cubicBezTo>
                    <a:cubicBezTo>
                      <a:pt x="19" y="57"/>
                      <a:pt x="19" y="57"/>
                      <a:pt x="19" y="57"/>
                    </a:cubicBezTo>
                    <a:cubicBezTo>
                      <a:pt x="20" y="56"/>
                      <a:pt x="20" y="56"/>
                      <a:pt x="20" y="56"/>
                    </a:cubicBezTo>
                    <a:cubicBezTo>
                      <a:pt x="21" y="56"/>
                      <a:pt x="21" y="56"/>
                      <a:pt x="21" y="56"/>
                    </a:cubicBezTo>
                    <a:cubicBezTo>
                      <a:pt x="20" y="56"/>
                      <a:pt x="20" y="56"/>
                      <a:pt x="20" y="56"/>
                    </a:cubicBezTo>
                    <a:cubicBezTo>
                      <a:pt x="20" y="57"/>
                      <a:pt x="20" y="57"/>
                      <a:pt x="20" y="57"/>
                    </a:cubicBezTo>
                    <a:cubicBezTo>
                      <a:pt x="19" y="57"/>
                      <a:pt x="19" y="57"/>
                      <a:pt x="19" y="57"/>
                    </a:cubicBezTo>
                    <a:cubicBezTo>
                      <a:pt x="18" y="59"/>
                      <a:pt x="18" y="59"/>
                      <a:pt x="18" y="59"/>
                    </a:cubicBezTo>
                    <a:cubicBezTo>
                      <a:pt x="18" y="60"/>
                      <a:pt x="18" y="60"/>
                      <a:pt x="18" y="60"/>
                    </a:cubicBezTo>
                    <a:cubicBezTo>
                      <a:pt x="18" y="60"/>
                      <a:pt x="18" y="60"/>
                      <a:pt x="18" y="60"/>
                    </a:cubicBezTo>
                    <a:cubicBezTo>
                      <a:pt x="19" y="61"/>
                      <a:pt x="19" y="61"/>
                      <a:pt x="19" y="61"/>
                    </a:cubicBezTo>
                    <a:cubicBezTo>
                      <a:pt x="18" y="60"/>
                      <a:pt x="18" y="60"/>
                      <a:pt x="18" y="60"/>
                    </a:cubicBezTo>
                    <a:cubicBezTo>
                      <a:pt x="19" y="59"/>
                      <a:pt x="19" y="59"/>
                      <a:pt x="19" y="59"/>
                    </a:cubicBezTo>
                    <a:cubicBezTo>
                      <a:pt x="19" y="59"/>
                      <a:pt x="19" y="59"/>
                      <a:pt x="19" y="59"/>
                    </a:cubicBezTo>
                    <a:cubicBezTo>
                      <a:pt x="20" y="60"/>
                      <a:pt x="20" y="60"/>
                      <a:pt x="20" y="60"/>
                    </a:cubicBezTo>
                    <a:cubicBezTo>
                      <a:pt x="19" y="59"/>
                      <a:pt x="19" y="59"/>
                      <a:pt x="19" y="59"/>
                    </a:cubicBezTo>
                    <a:cubicBezTo>
                      <a:pt x="20" y="59"/>
                      <a:pt x="20" y="59"/>
                      <a:pt x="20" y="59"/>
                    </a:cubicBezTo>
                    <a:cubicBezTo>
                      <a:pt x="20" y="60"/>
                      <a:pt x="20" y="60"/>
                      <a:pt x="20" y="60"/>
                    </a:cubicBezTo>
                    <a:cubicBezTo>
                      <a:pt x="20" y="60"/>
                      <a:pt x="20" y="60"/>
                      <a:pt x="20" y="60"/>
                    </a:cubicBezTo>
                    <a:cubicBezTo>
                      <a:pt x="21" y="59"/>
                      <a:pt x="21" y="58"/>
                      <a:pt x="21" y="57"/>
                    </a:cubicBezTo>
                    <a:cubicBezTo>
                      <a:pt x="21" y="57"/>
                      <a:pt x="21" y="57"/>
                      <a:pt x="21" y="57"/>
                    </a:cubicBezTo>
                    <a:cubicBezTo>
                      <a:pt x="21" y="57"/>
                      <a:pt x="21" y="57"/>
                      <a:pt x="21" y="57"/>
                    </a:cubicBezTo>
                    <a:cubicBezTo>
                      <a:pt x="21" y="57"/>
                      <a:pt x="21" y="57"/>
                      <a:pt x="21" y="57"/>
                    </a:cubicBezTo>
                    <a:cubicBezTo>
                      <a:pt x="22" y="56"/>
                      <a:pt x="22" y="56"/>
                      <a:pt x="22" y="56"/>
                    </a:cubicBezTo>
                    <a:cubicBezTo>
                      <a:pt x="22" y="57"/>
                      <a:pt x="22" y="57"/>
                      <a:pt x="22" y="57"/>
                    </a:cubicBezTo>
                    <a:cubicBezTo>
                      <a:pt x="22" y="57"/>
                      <a:pt x="21" y="57"/>
                      <a:pt x="21" y="58"/>
                    </a:cubicBezTo>
                    <a:cubicBezTo>
                      <a:pt x="21" y="59"/>
                      <a:pt x="21" y="59"/>
                      <a:pt x="21" y="59"/>
                    </a:cubicBezTo>
                    <a:cubicBezTo>
                      <a:pt x="22" y="59"/>
                      <a:pt x="22" y="59"/>
                      <a:pt x="22" y="59"/>
                    </a:cubicBezTo>
                    <a:cubicBezTo>
                      <a:pt x="22" y="59"/>
                      <a:pt x="22" y="59"/>
                      <a:pt x="22" y="59"/>
                    </a:cubicBezTo>
                    <a:cubicBezTo>
                      <a:pt x="22" y="59"/>
                      <a:pt x="22" y="59"/>
                      <a:pt x="22" y="59"/>
                    </a:cubicBezTo>
                    <a:cubicBezTo>
                      <a:pt x="23" y="59"/>
                      <a:pt x="23" y="59"/>
                      <a:pt x="23" y="59"/>
                    </a:cubicBezTo>
                    <a:cubicBezTo>
                      <a:pt x="24" y="60"/>
                      <a:pt x="24" y="60"/>
                      <a:pt x="24" y="60"/>
                    </a:cubicBezTo>
                    <a:cubicBezTo>
                      <a:pt x="24" y="60"/>
                      <a:pt x="24" y="60"/>
                      <a:pt x="24" y="60"/>
                    </a:cubicBezTo>
                    <a:cubicBezTo>
                      <a:pt x="23" y="60"/>
                      <a:pt x="22" y="59"/>
                      <a:pt x="22" y="59"/>
                    </a:cubicBezTo>
                    <a:cubicBezTo>
                      <a:pt x="21" y="59"/>
                      <a:pt x="21" y="59"/>
                      <a:pt x="21" y="59"/>
                    </a:cubicBezTo>
                    <a:cubicBezTo>
                      <a:pt x="21" y="60"/>
                      <a:pt x="21" y="60"/>
                      <a:pt x="21" y="60"/>
                    </a:cubicBezTo>
                    <a:cubicBezTo>
                      <a:pt x="21" y="61"/>
                      <a:pt x="21" y="61"/>
                      <a:pt x="21" y="61"/>
                    </a:cubicBezTo>
                    <a:cubicBezTo>
                      <a:pt x="21" y="62"/>
                      <a:pt x="21" y="62"/>
                      <a:pt x="21" y="62"/>
                    </a:cubicBezTo>
                    <a:cubicBezTo>
                      <a:pt x="21" y="63"/>
                      <a:pt x="21" y="63"/>
                      <a:pt x="21" y="63"/>
                    </a:cubicBezTo>
                    <a:cubicBezTo>
                      <a:pt x="21" y="63"/>
                      <a:pt x="21" y="63"/>
                      <a:pt x="21" y="63"/>
                    </a:cubicBezTo>
                    <a:cubicBezTo>
                      <a:pt x="22" y="63"/>
                      <a:pt x="22" y="63"/>
                      <a:pt x="22" y="63"/>
                    </a:cubicBezTo>
                    <a:cubicBezTo>
                      <a:pt x="22" y="64"/>
                      <a:pt x="22" y="64"/>
                      <a:pt x="22" y="64"/>
                    </a:cubicBezTo>
                    <a:cubicBezTo>
                      <a:pt x="22" y="64"/>
                      <a:pt x="22" y="64"/>
                      <a:pt x="22" y="64"/>
                    </a:cubicBezTo>
                    <a:cubicBezTo>
                      <a:pt x="23" y="65"/>
                      <a:pt x="23" y="65"/>
                      <a:pt x="23" y="65"/>
                    </a:cubicBezTo>
                    <a:cubicBezTo>
                      <a:pt x="22" y="65"/>
                      <a:pt x="22" y="65"/>
                      <a:pt x="22" y="65"/>
                    </a:cubicBezTo>
                    <a:cubicBezTo>
                      <a:pt x="22" y="65"/>
                      <a:pt x="22" y="65"/>
                      <a:pt x="22" y="65"/>
                    </a:cubicBezTo>
                    <a:cubicBezTo>
                      <a:pt x="22" y="66"/>
                      <a:pt x="22" y="66"/>
                      <a:pt x="22" y="66"/>
                    </a:cubicBezTo>
                    <a:cubicBezTo>
                      <a:pt x="21" y="66"/>
                      <a:pt x="21" y="66"/>
                      <a:pt x="21" y="66"/>
                    </a:cubicBezTo>
                    <a:cubicBezTo>
                      <a:pt x="21" y="67"/>
                      <a:pt x="21" y="68"/>
                      <a:pt x="20" y="69"/>
                    </a:cubicBezTo>
                    <a:cubicBezTo>
                      <a:pt x="19" y="69"/>
                      <a:pt x="19" y="70"/>
                      <a:pt x="20" y="71"/>
                    </a:cubicBezTo>
                    <a:cubicBezTo>
                      <a:pt x="20" y="71"/>
                      <a:pt x="20" y="71"/>
                      <a:pt x="20" y="71"/>
                    </a:cubicBezTo>
                    <a:cubicBezTo>
                      <a:pt x="19" y="71"/>
                      <a:pt x="19" y="71"/>
                      <a:pt x="19" y="71"/>
                    </a:cubicBezTo>
                    <a:cubicBezTo>
                      <a:pt x="19" y="71"/>
                      <a:pt x="19" y="71"/>
                      <a:pt x="19" y="71"/>
                    </a:cubicBezTo>
                    <a:cubicBezTo>
                      <a:pt x="19" y="70"/>
                      <a:pt x="19" y="70"/>
                      <a:pt x="19" y="70"/>
                    </a:cubicBezTo>
                    <a:cubicBezTo>
                      <a:pt x="19" y="70"/>
                      <a:pt x="19" y="70"/>
                      <a:pt x="19" y="70"/>
                    </a:cubicBezTo>
                    <a:cubicBezTo>
                      <a:pt x="19" y="71"/>
                      <a:pt x="19" y="71"/>
                      <a:pt x="19" y="71"/>
                    </a:cubicBezTo>
                    <a:cubicBezTo>
                      <a:pt x="19" y="72"/>
                      <a:pt x="19" y="73"/>
                      <a:pt x="20" y="73"/>
                    </a:cubicBezTo>
                    <a:cubicBezTo>
                      <a:pt x="20" y="74"/>
                      <a:pt x="20" y="74"/>
                      <a:pt x="20" y="74"/>
                    </a:cubicBezTo>
                    <a:cubicBezTo>
                      <a:pt x="21" y="75"/>
                      <a:pt x="21" y="75"/>
                      <a:pt x="21" y="75"/>
                    </a:cubicBezTo>
                    <a:cubicBezTo>
                      <a:pt x="21" y="74"/>
                      <a:pt x="21" y="74"/>
                      <a:pt x="21" y="74"/>
                    </a:cubicBezTo>
                    <a:cubicBezTo>
                      <a:pt x="20" y="74"/>
                      <a:pt x="20" y="74"/>
                      <a:pt x="20" y="74"/>
                    </a:cubicBezTo>
                    <a:cubicBezTo>
                      <a:pt x="20" y="72"/>
                      <a:pt x="20" y="72"/>
                      <a:pt x="20" y="72"/>
                    </a:cubicBezTo>
                    <a:cubicBezTo>
                      <a:pt x="21" y="72"/>
                      <a:pt x="21" y="72"/>
                      <a:pt x="21" y="72"/>
                    </a:cubicBezTo>
                    <a:cubicBezTo>
                      <a:pt x="21" y="72"/>
                      <a:pt x="21" y="72"/>
                      <a:pt x="21" y="72"/>
                    </a:cubicBezTo>
                    <a:cubicBezTo>
                      <a:pt x="21" y="72"/>
                      <a:pt x="21" y="72"/>
                      <a:pt x="21" y="72"/>
                    </a:cubicBezTo>
                    <a:cubicBezTo>
                      <a:pt x="23" y="73"/>
                      <a:pt x="23" y="73"/>
                      <a:pt x="23" y="73"/>
                    </a:cubicBezTo>
                    <a:cubicBezTo>
                      <a:pt x="23" y="74"/>
                      <a:pt x="23" y="74"/>
                      <a:pt x="23" y="74"/>
                    </a:cubicBezTo>
                    <a:cubicBezTo>
                      <a:pt x="24" y="74"/>
                      <a:pt x="24" y="74"/>
                      <a:pt x="24" y="74"/>
                    </a:cubicBezTo>
                    <a:cubicBezTo>
                      <a:pt x="24" y="74"/>
                      <a:pt x="24" y="74"/>
                      <a:pt x="24" y="74"/>
                    </a:cubicBezTo>
                    <a:cubicBezTo>
                      <a:pt x="24" y="73"/>
                      <a:pt x="24" y="73"/>
                      <a:pt x="24" y="73"/>
                    </a:cubicBezTo>
                    <a:cubicBezTo>
                      <a:pt x="24" y="72"/>
                      <a:pt x="24" y="72"/>
                      <a:pt x="24" y="72"/>
                    </a:cubicBezTo>
                    <a:cubicBezTo>
                      <a:pt x="24" y="72"/>
                      <a:pt x="24" y="72"/>
                      <a:pt x="24" y="72"/>
                    </a:cubicBezTo>
                    <a:cubicBezTo>
                      <a:pt x="24" y="71"/>
                      <a:pt x="24" y="71"/>
                      <a:pt x="24" y="71"/>
                    </a:cubicBezTo>
                    <a:cubicBezTo>
                      <a:pt x="24" y="72"/>
                      <a:pt x="24" y="72"/>
                      <a:pt x="24" y="72"/>
                    </a:cubicBezTo>
                    <a:cubicBezTo>
                      <a:pt x="25" y="72"/>
                      <a:pt x="25" y="72"/>
                      <a:pt x="25" y="72"/>
                    </a:cubicBezTo>
                    <a:cubicBezTo>
                      <a:pt x="25" y="72"/>
                      <a:pt x="25" y="72"/>
                      <a:pt x="25" y="72"/>
                    </a:cubicBezTo>
                    <a:cubicBezTo>
                      <a:pt x="25" y="72"/>
                      <a:pt x="25" y="72"/>
                      <a:pt x="25" y="72"/>
                    </a:cubicBezTo>
                    <a:cubicBezTo>
                      <a:pt x="26" y="73"/>
                      <a:pt x="26" y="73"/>
                      <a:pt x="26" y="73"/>
                    </a:cubicBezTo>
                    <a:cubicBezTo>
                      <a:pt x="26" y="73"/>
                      <a:pt x="26" y="73"/>
                      <a:pt x="26" y="73"/>
                    </a:cubicBezTo>
                    <a:cubicBezTo>
                      <a:pt x="26" y="72"/>
                      <a:pt x="26" y="72"/>
                      <a:pt x="26" y="72"/>
                    </a:cubicBezTo>
                    <a:cubicBezTo>
                      <a:pt x="26" y="73"/>
                      <a:pt x="26" y="73"/>
                      <a:pt x="26" y="73"/>
                    </a:cubicBezTo>
                    <a:cubicBezTo>
                      <a:pt x="27" y="73"/>
                      <a:pt x="27" y="73"/>
                      <a:pt x="27" y="73"/>
                    </a:cubicBezTo>
                    <a:cubicBezTo>
                      <a:pt x="28" y="72"/>
                      <a:pt x="28" y="72"/>
                      <a:pt x="28" y="72"/>
                    </a:cubicBezTo>
                    <a:cubicBezTo>
                      <a:pt x="28" y="72"/>
                      <a:pt x="28" y="72"/>
                      <a:pt x="28" y="72"/>
                    </a:cubicBezTo>
                    <a:cubicBezTo>
                      <a:pt x="29" y="72"/>
                      <a:pt x="29" y="72"/>
                      <a:pt x="29" y="72"/>
                    </a:cubicBezTo>
                    <a:cubicBezTo>
                      <a:pt x="29" y="72"/>
                      <a:pt x="29" y="72"/>
                      <a:pt x="29" y="72"/>
                    </a:cubicBezTo>
                    <a:cubicBezTo>
                      <a:pt x="30" y="72"/>
                      <a:pt x="30" y="72"/>
                      <a:pt x="30" y="72"/>
                    </a:cubicBezTo>
                    <a:cubicBezTo>
                      <a:pt x="30" y="72"/>
                      <a:pt x="30" y="72"/>
                      <a:pt x="30" y="72"/>
                    </a:cubicBezTo>
                    <a:cubicBezTo>
                      <a:pt x="30" y="70"/>
                      <a:pt x="30" y="70"/>
                      <a:pt x="30" y="70"/>
                    </a:cubicBezTo>
                    <a:cubicBezTo>
                      <a:pt x="30" y="71"/>
                      <a:pt x="30" y="71"/>
                      <a:pt x="30" y="71"/>
                    </a:cubicBezTo>
                    <a:cubicBezTo>
                      <a:pt x="31" y="71"/>
                      <a:pt x="32" y="71"/>
                      <a:pt x="33" y="71"/>
                    </a:cubicBezTo>
                    <a:cubicBezTo>
                      <a:pt x="33" y="71"/>
                      <a:pt x="33" y="71"/>
                      <a:pt x="33" y="71"/>
                    </a:cubicBezTo>
                    <a:cubicBezTo>
                      <a:pt x="34" y="71"/>
                      <a:pt x="34" y="71"/>
                      <a:pt x="34" y="71"/>
                    </a:cubicBezTo>
                    <a:cubicBezTo>
                      <a:pt x="33" y="71"/>
                      <a:pt x="33" y="71"/>
                      <a:pt x="33" y="71"/>
                    </a:cubicBezTo>
                    <a:cubicBezTo>
                      <a:pt x="32" y="71"/>
                      <a:pt x="32" y="71"/>
                      <a:pt x="32" y="71"/>
                    </a:cubicBezTo>
                    <a:cubicBezTo>
                      <a:pt x="32" y="71"/>
                      <a:pt x="32" y="71"/>
                      <a:pt x="32" y="71"/>
                    </a:cubicBezTo>
                    <a:cubicBezTo>
                      <a:pt x="32" y="72"/>
                      <a:pt x="32" y="72"/>
                      <a:pt x="32" y="72"/>
                    </a:cubicBezTo>
                    <a:cubicBezTo>
                      <a:pt x="31" y="72"/>
                      <a:pt x="31" y="72"/>
                      <a:pt x="31" y="72"/>
                    </a:cubicBezTo>
                    <a:cubicBezTo>
                      <a:pt x="31" y="72"/>
                      <a:pt x="31" y="72"/>
                      <a:pt x="31" y="72"/>
                    </a:cubicBezTo>
                    <a:cubicBezTo>
                      <a:pt x="31" y="74"/>
                      <a:pt x="31" y="74"/>
                      <a:pt x="31" y="74"/>
                    </a:cubicBezTo>
                    <a:cubicBezTo>
                      <a:pt x="30" y="74"/>
                      <a:pt x="30" y="74"/>
                      <a:pt x="30" y="74"/>
                    </a:cubicBezTo>
                    <a:cubicBezTo>
                      <a:pt x="30" y="74"/>
                      <a:pt x="30" y="75"/>
                      <a:pt x="29" y="76"/>
                    </a:cubicBezTo>
                    <a:cubicBezTo>
                      <a:pt x="30" y="77"/>
                      <a:pt x="31" y="78"/>
                      <a:pt x="31" y="78"/>
                    </a:cubicBezTo>
                    <a:cubicBezTo>
                      <a:pt x="31" y="79"/>
                      <a:pt x="31" y="79"/>
                      <a:pt x="31" y="79"/>
                    </a:cubicBezTo>
                    <a:cubicBezTo>
                      <a:pt x="32" y="80"/>
                      <a:pt x="32" y="80"/>
                      <a:pt x="32" y="80"/>
                    </a:cubicBezTo>
                    <a:cubicBezTo>
                      <a:pt x="32" y="80"/>
                      <a:pt x="32" y="80"/>
                      <a:pt x="32" y="80"/>
                    </a:cubicBezTo>
                    <a:cubicBezTo>
                      <a:pt x="32" y="80"/>
                      <a:pt x="32" y="80"/>
                      <a:pt x="32" y="80"/>
                    </a:cubicBezTo>
                    <a:cubicBezTo>
                      <a:pt x="32" y="81"/>
                      <a:pt x="32" y="81"/>
                      <a:pt x="32" y="81"/>
                    </a:cubicBezTo>
                    <a:cubicBezTo>
                      <a:pt x="33" y="81"/>
                      <a:pt x="33" y="81"/>
                      <a:pt x="33" y="81"/>
                    </a:cubicBezTo>
                    <a:cubicBezTo>
                      <a:pt x="33" y="81"/>
                      <a:pt x="33" y="81"/>
                      <a:pt x="33" y="81"/>
                    </a:cubicBezTo>
                    <a:cubicBezTo>
                      <a:pt x="33" y="81"/>
                      <a:pt x="34" y="80"/>
                      <a:pt x="34" y="79"/>
                    </a:cubicBezTo>
                    <a:cubicBezTo>
                      <a:pt x="34" y="80"/>
                      <a:pt x="34" y="80"/>
                      <a:pt x="34" y="80"/>
                    </a:cubicBezTo>
                    <a:cubicBezTo>
                      <a:pt x="35" y="80"/>
                      <a:pt x="35" y="80"/>
                      <a:pt x="35" y="80"/>
                    </a:cubicBezTo>
                    <a:cubicBezTo>
                      <a:pt x="35" y="81"/>
                      <a:pt x="35" y="81"/>
                      <a:pt x="35" y="81"/>
                    </a:cubicBezTo>
                    <a:cubicBezTo>
                      <a:pt x="34" y="82"/>
                      <a:pt x="34" y="82"/>
                      <a:pt x="34" y="82"/>
                    </a:cubicBezTo>
                    <a:cubicBezTo>
                      <a:pt x="35" y="82"/>
                      <a:pt x="35" y="82"/>
                      <a:pt x="35" y="82"/>
                    </a:cubicBezTo>
                    <a:cubicBezTo>
                      <a:pt x="35" y="82"/>
                      <a:pt x="35" y="82"/>
                      <a:pt x="35" y="82"/>
                    </a:cubicBezTo>
                    <a:cubicBezTo>
                      <a:pt x="35" y="83"/>
                      <a:pt x="35" y="83"/>
                      <a:pt x="35" y="83"/>
                    </a:cubicBezTo>
                    <a:cubicBezTo>
                      <a:pt x="34" y="83"/>
                      <a:pt x="34" y="83"/>
                      <a:pt x="34" y="83"/>
                    </a:cubicBezTo>
                    <a:cubicBezTo>
                      <a:pt x="34" y="83"/>
                      <a:pt x="33" y="84"/>
                      <a:pt x="33" y="85"/>
                    </a:cubicBezTo>
                    <a:cubicBezTo>
                      <a:pt x="34" y="85"/>
                      <a:pt x="34" y="85"/>
                      <a:pt x="34" y="85"/>
                    </a:cubicBezTo>
                    <a:cubicBezTo>
                      <a:pt x="35" y="85"/>
                      <a:pt x="35" y="85"/>
                      <a:pt x="35" y="85"/>
                    </a:cubicBezTo>
                    <a:cubicBezTo>
                      <a:pt x="34" y="86"/>
                      <a:pt x="33" y="86"/>
                      <a:pt x="33" y="87"/>
                    </a:cubicBezTo>
                    <a:cubicBezTo>
                      <a:pt x="33" y="88"/>
                      <a:pt x="34" y="89"/>
                      <a:pt x="35" y="90"/>
                    </a:cubicBezTo>
                    <a:cubicBezTo>
                      <a:pt x="36" y="90"/>
                      <a:pt x="36" y="90"/>
                      <a:pt x="36" y="90"/>
                    </a:cubicBezTo>
                    <a:cubicBezTo>
                      <a:pt x="35" y="90"/>
                      <a:pt x="35" y="90"/>
                      <a:pt x="35" y="90"/>
                    </a:cubicBezTo>
                    <a:cubicBezTo>
                      <a:pt x="34" y="90"/>
                      <a:pt x="34" y="90"/>
                      <a:pt x="34" y="90"/>
                    </a:cubicBezTo>
                    <a:cubicBezTo>
                      <a:pt x="34" y="89"/>
                      <a:pt x="34" y="89"/>
                      <a:pt x="34" y="89"/>
                    </a:cubicBezTo>
                    <a:cubicBezTo>
                      <a:pt x="33" y="89"/>
                      <a:pt x="33" y="89"/>
                      <a:pt x="33" y="89"/>
                    </a:cubicBezTo>
                    <a:cubicBezTo>
                      <a:pt x="33" y="89"/>
                      <a:pt x="33" y="89"/>
                      <a:pt x="33" y="89"/>
                    </a:cubicBezTo>
                    <a:cubicBezTo>
                      <a:pt x="32" y="89"/>
                      <a:pt x="32" y="89"/>
                      <a:pt x="32" y="89"/>
                    </a:cubicBezTo>
                    <a:cubicBezTo>
                      <a:pt x="33" y="90"/>
                      <a:pt x="33" y="90"/>
                      <a:pt x="33" y="90"/>
                    </a:cubicBezTo>
                    <a:cubicBezTo>
                      <a:pt x="33" y="90"/>
                      <a:pt x="33" y="91"/>
                      <a:pt x="33" y="91"/>
                    </a:cubicBezTo>
                    <a:cubicBezTo>
                      <a:pt x="33" y="91"/>
                      <a:pt x="33" y="91"/>
                      <a:pt x="33" y="91"/>
                    </a:cubicBezTo>
                    <a:cubicBezTo>
                      <a:pt x="31" y="90"/>
                      <a:pt x="31" y="90"/>
                      <a:pt x="31" y="90"/>
                    </a:cubicBezTo>
                    <a:cubicBezTo>
                      <a:pt x="31" y="90"/>
                      <a:pt x="31" y="90"/>
                      <a:pt x="31" y="90"/>
                    </a:cubicBezTo>
                    <a:cubicBezTo>
                      <a:pt x="30" y="90"/>
                      <a:pt x="30" y="90"/>
                      <a:pt x="30" y="90"/>
                    </a:cubicBezTo>
                    <a:cubicBezTo>
                      <a:pt x="29" y="90"/>
                      <a:pt x="29" y="90"/>
                      <a:pt x="29" y="90"/>
                    </a:cubicBezTo>
                    <a:cubicBezTo>
                      <a:pt x="28" y="90"/>
                      <a:pt x="28" y="90"/>
                      <a:pt x="28" y="90"/>
                    </a:cubicBezTo>
                    <a:cubicBezTo>
                      <a:pt x="27" y="90"/>
                      <a:pt x="27" y="90"/>
                      <a:pt x="27" y="90"/>
                    </a:cubicBezTo>
                    <a:cubicBezTo>
                      <a:pt x="28" y="90"/>
                      <a:pt x="28" y="90"/>
                      <a:pt x="28" y="90"/>
                    </a:cubicBezTo>
                    <a:cubicBezTo>
                      <a:pt x="27" y="90"/>
                      <a:pt x="27" y="91"/>
                      <a:pt x="26" y="91"/>
                    </a:cubicBezTo>
                    <a:cubicBezTo>
                      <a:pt x="25" y="91"/>
                      <a:pt x="25" y="91"/>
                      <a:pt x="25" y="91"/>
                    </a:cubicBezTo>
                    <a:cubicBezTo>
                      <a:pt x="25" y="91"/>
                      <a:pt x="25" y="91"/>
                      <a:pt x="25" y="91"/>
                    </a:cubicBezTo>
                    <a:cubicBezTo>
                      <a:pt x="25" y="91"/>
                      <a:pt x="25" y="91"/>
                      <a:pt x="25" y="91"/>
                    </a:cubicBezTo>
                    <a:cubicBezTo>
                      <a:pt x="26" y="91"/>
                      <a:pt x="26" y="91"/>
                      <a:pt x="26" y="91"/>
                    </a:cubicBezTo>
                    <a:cubicBezTo>
                      <a:pt x="26" y="90"/>
                      <a:pt x="26" y="90"/>
                      <a:pt x="26" y="90"/>
                    </a:cubicBezTo>
                    <a:cubicBezTo>
                      <a:pt x="26" y="90"/>
                      <a:pt x="26" y="90"/>
                      <a:pt x="26" y="90"/>
                    </a:cubicBezTo>
                    <a:cubicBezTo>
                      <a:pt x="25" y="90"/>
                      <a:pt x="25" y="90"/>
                      <a:pt x="25" y="90"/>
                    </a:cubicBezTo>
                    <a:cubicBezTo>
                      <a:pt x="25" y="90"/>
                      <a:pt x="25" y="89"/>
                      <a:pt x="25" y="89"/>
                    </a:cubicBezTo>
                    <a:cubicBezTo>
                      <a:pt x="24" y="89"/>
                      <a:pt x="24" y="89"/>
                      <a:pt x="24" y="89"/>
                    </a:cubicBezTo>
                    <a:cubicBezTo>
                      <a:pt x="23" y="89"/>
                      <a:pt x="23" y="89"/>
                      <a:pt x="23" y="89"/>
                    </a:cubicBezTo>
                    <a:cubicBezTo>
                      <a:pt x="22" y="89"/>
                      <a:pt x="22" y="89"/>
                      <a:pt x="22" y="89"/>
                    </a:cubicBezTo>
                    <a:cubicBezTo>
                      <a:pt x="22" y="89"/>
                      <a:pt x="22" y="90"/>
                      <a:pt x="22" y="90"/>
                    </a:cubicBezTo>
                    <a:cubicBezTo>
                      <a:pt x="23" y="91"/>
                      <a:pt x="23" y="91"/>
                      <a:pt x="23" y="91"/>
                    </a:cubicBezTo>
                    <a:cubicBezTo>
                      <a:pt x="23" y="91"/>
                      <a:pt x="23" y="91"/>
                      <a:pt x="23" y="91"/>
                    </a:cubicBezTo>
                    <a:cubicBezTo>
                      <a:pt x="23" y="92"/>
                      <a:pt x="23" y="92"/>
                      <a:pt x="23" y="92"/>
                    </a:cubicBezTo>
                    <a:cubicBezTo>
                      <a:pt x="24" y="91"/>
                      <a:pt x="24" y="91"/>
                      <a:pt x="24" y="91"/>
                    </a:cubicBezTo>
                    <a:cubicBezTo>
                      <a:pt x="23" y="92"/>
                      <a:pt x="23" y="92"/>
                      <a:pt x="23" y="92"/>
                    </a:cubicBezTo>
                    <a:cubicBezTo>
                      <a:pt x="24" y="92"/>
                      <a:pt x="24" y="92"/>
                      <a:pt x="24" y="92"/>
                    </a:cubicBezTo>
                    <a:cubicBezTo>
                      <a:pt x="25" y="91"/>
                      <a:pt x="25" y="91"/>
                      <a:pt x="25" y="91"/>
                    </a:cubicBezTo>
                    <a:cubicBezTo>
                      <a:pt x="25" y="92"/>
                      <a:pt x="24" y="92"/>
                      <a:pt x="24" y="92"/>
                    </a:cubicBezTo>
                    <a:cubicBezTo>
                      <a:pt x="24" y="92"/>
                      <a:pt x="24" y="92"/>
                      <a:pt x="24" y="92"/>
                    </a:cubicBezTo>
                    <a:cubicBezTo>
                      <a:pt x="24" y="93"/>
                      <a:pt x="24" y="93"/>
                      <a:pt x="24" y="93"/>
                    </a:cubicBezTo>
                    <a:cubicBezTo>
                      <a:pt x="23" y="94"/>
                      <a:pt x="23" y="94"/>
                      <a:pt x="22" y="94"/>
                    </a:cubicBezTo>
                    <a:cubicBezTo>
                      <a:pt x="22" y="95"/>
                      <a:pt x="21" y="95"/>
                      <a:pt x="21" y="96"/>
                    </a:cubicBezTo>
                    <a:cubicBezTo>
                      <a:pt x="22" y="96"/>
                      <a:pt x="22" y="96"/>
                      <a:pt x="22" y="96"/>
                    </a:cubicBezTo>
                    <a:cubicBezTo>
                      <a:pt x="23" y="96"/>
                      <a:pt x="23" y="96"/>
                      <a:pt x="23" y="96"/>
                    </a:cubicBezTo>
                    <a:cubicBezTo>
                      <a:pt x="23" y="95"/>
                      <a:pt x="23" y="95"/>
                      <a:pt x="23" y="95"/>
                    </a:cubicBezTo>
                    <a:cubicBezTo>
                      <a:pt x="23" y="95"/>
                      <a:pt x="23" y="95"/>
                      <a:pt x="23" y="95"/>
                    </a:cubicBezTo>
                    <a:cubicBezTo>
                      <a:pt x="24" y="95"/>
                      <a:pt x="24" y="95"/>
                      <a:pt x="24" y="95"/>
                    </a:cubicBezTo>
                    <a:cubicBezTo>
                      <a:pt x="25" y="95"/>
                      <a:pt x="25" y="95"/>
                      <a:pt x="25" y="95"/>
                    </a:cubicBezTo>
                    <a:cubicBezTo>
                      <a:pt x="26" y="95"/>
                      <a:pt x="26" y="95"/>
                      <a:pt x="26" y="95"/>
                    </a:cubicBezTo>
                    <a:cubicBezTo>
                      <a:pt x="25" y="95"/>
                      <a:pt x="25" y="95"/>
                      <a:pt x="25" y="95"/>
                    </a:cubicBezTo>
                    <a:cubicBezTo>
                      <a:pt x="26" y="96"/>
                      <a:pt x="26" y="96"/>
                      <a:pt x="26" y="96"/>
                    </a:cubicBezTo>
                    <a:cubicBezTo>
                      <a:pt x="25" y="96"/>
                      <a:pt x="25" y="96"/>
                      <a:pt x="25" y="96"/>
                    </a:cubicBezTo>
                    <a:cubicBezTo>
                      <a:pt x="26" y="97"/>
                      <a:pt x="26" y="97"/>
                      <a:pt x="26" y="97"/>
                    </a:cubicBezTo>
                    <a:cubicBezTo>
                      <a:pt x="26" y="97"/>
                      <a:pt x="26" y="98"/>
                      <a:pt x="25" y="98"/>
                    </a:cubicBezTo>
                    <a:cubicBezTo>
                      <a:pt x="26" y="99"/>
                      <a:pt x="26" y="99"/>
                      <a:pt x="26" y="99"/>
                    </a:cubicBezTo>
                    <a:cubicBezTo>
                      <a:pt x="27" y="99"/>
                      <a:pt x="27" y="99"/>
                      <a:pt x="27" y="99"/>
                    </a:cubicBezTo>
                    <a:cubicBezTo>
                      <a:pt x="26" y="99"/>
                      <a:pt x="26" y="99"/>
                      <a:pt x="26" y="99"/>
                    </a:cubicBezTo>
                    <a:cubicBezTo>
                      <a:pt x="26" y="101"/>
                      <a:pt x="25" y="102"/>
                      <a:pt x="24" y="103"/>
                    </a:cubicBezTo>
                    <a:cubicBezTo>
                      <a:pt x="24" y="103"/>
                      <a:pt x="24" y="103"/>
                      <a:pt x="24" y="103"/>
                    </a:cubicBezTo>
                    <a:cubicBezTo>
                      <a:pt x="22" y="104"/>
                      <a:pt x="22" y="104"/>
                      <a:pt x="22" y="104"/>
                    </a:cubicBezTo>
                    <a:cubicBezTo>
                      <a:pt x="22" y="104"/>
                      <a:pt x="22" y="104"/>
                      <a:pt x="22" y="104"/>
                    </a:cubicBezTo>
                    <a:cubicBezTo>
                      <a:pt x="21" y="104"/>
                      <a:pt x="21" y="104"/>
                      <a:pt x="20" y="104"/>
                    </a:cubicBezTo>
                    <a:cubicBezTo>
                      <a:pt x="20" y="105"/>
                      <a:pt x="20" y="105"/>
                      <a:pt x="20" y="105"/>
                    </a:cubicBezTo>
                    <a:cubicBezTo>
                      <a:pt x="20" y="105"/>
                      <a:pt x="20" y="105"/>
                      <a:pt x="20" y="105"/>
                    </a:cubicBezTo>
                    <a:cubicBezTo>
                      <a:pt x="19" y="105"/>
                      <a:pt x="19" y="105"/>
                      <a:pt x="19" y="105"/>
                    </a:cubicBezTo>
                    <a:cubicBezTo>
                      <a:pt x="19" y="105"/>
                      <a:pt x="19" y="105"/>
                      <a:pt x="19" y="105"/>
                    </a:cubicBezTo>
                    <a:cubicBezTo>
                      <a:pt x="19" y="105"/>
                      <a:pt x="19" y="105"/>
                      <a:pt x="19" y="105"/>
                    </a:cubicBezTo>
                    <a:cubicBezTo>
                      <a:pt x="18" y="105"/>
                      <a:pt x="18" y="105"/>
                      <a:pt x="18" y="105"/>
                    </a:cubicBezTo>
                    <a:cubicBezTo>
                      <a:pt x="18" y="105"/>
                      <a:pt x="18" y="105"/>
                      <a:pt x="18" y="105"/>
                    </a:cubicBezTo>
                    <a:cubicBezTo>
                      <a:pt x="18" y="106"/>
                      <a:pt x="17" y="106"/>
                      <a:pt x="17" y="106"/>
                    </a:cubicBezTo>
                    <a:cubicBezTo>
                      <a:pt x="17" y="107"/>
                      <a:pt x="17" y="107"/>
                      <a:pt x="17" y="107"/>
                    </a:cubicBezTo>
                    <a:cubicBezTo>
                      <a:pt x="18" y="107"/>
                      <a:pt x="18" y="107"/>
                      <a:pt x="18" y="107"/>
                    </a:cubicBezTo>
                    <a:cubicBezTo>
                      <a:pt x="18" y="108"/>
                      <a:pt x="18" y="108"/>
                      <a:pt x="18" y="108"/>
                    </a:cubicBezTo>
                    <a:cubicBezTo>
                      <a:pt x="17" y="108"/>
                      <a:pt x="17" y="108"/>
                      <a:pt x="17" y="108"/>
                    </a:cubicBezTo>
                    <a:cubicBezTo>
                      <a:pt x="17" y="109"/>
                      <a:pt x="17" y="109"/>
                      <a:pt x="17" y="109"/>
                    </a:cubicBezTo>
                    <a:cubicBezTo>
                      <a:pt x="18" y="108"/>
                      <a:pt x="18" y="108"/>
                      <a:pt x="18" y="108"/>
                    </a:cubicBezTo>
                    <a:cubicBezTo>
                      <a:pt x="18" y="108"/>
                      <a:pt x="19" y="109"/>
                      <a:pt x="19" y="108"/>
                    </a:cubicBezTo>
                    <a:cubicBezTo>
                      <a:pt x="19" y="108"/>
                      <a:pt x="19" y="108"/>
                      <a:pt x="19" y="108"/>
                    </a:cubicBezTo>
                    <a:cubicBezTo>
                      <a:pt x="19" y="108"/>
                      <a:pt x="19" y="108"/>
                      <a:pt x="19" y="108"/>
                    </a:cubicBezTo>
                    <a:cubicBezTo>
                      <a:pt x="20" y="108"/>
                      <a:pt x="20" y="108"/>
                      <a:pt x="20" y="108"/>
                    </a:cubicBezTo>
                    <a:cubicBezTo>
                      <a:pt x="20" y="108"/>
                      <a:pt x="20" y="108"/>
                      <a:pt x="20" y="108"/>
                    </a:cubicBezTo>
                    <a:cubicBezTo>
                      <a:pt x="20" y="108"/>
                      <a:pt x="20" y="108"/>
                      <a:pt x="20" y="108"/>
                    </a:cubicBezTo>
                    <a:cubicBezTo>
                      <a:pt x="18" y="109"/>
                      <a:pt x="18" y="109"/>
                      <a:pt x="18" y="109"/>
                    </a:cubicBezTo>
                    <a:cubicBezTo>
                      <a:pt x="18" y="109"/>
                      <a:pt x="18" y="109"/>
                      <a:pt x="18" y="109"/>
                    </a:cubicBezTo>
                    <a:cubicBezTo>
                      <a:pt x="18" y="109"/>
                      <a:pt x="18" y="109"/>
                      <a:pt x="18" y="109"/>
                    </a:cubicBezTo>
                    <a:cubicBezTo>
                      <a:pt x="18" y="109"/>
                      <a:pt x="18" y="109"/>
                      <a:pt x="18" y="109"/>
                    </a:cubicBezTo>
                    <a:cubicBezTo>
                      <a:pt x="19" y="110"/>
                      <a:pt x="19" y="110"/>
                      <a:pt x="19" y="110"/>
                    </a:cubicBezTo>
                    <a:cubicBezTo>
                      <a:pt x="20" y="109"/>
                      <a:pt x="20" y="109"/>
                      <a:pt x="20" y="109"/>
                    </a:cubicBezTo>
                    <a:cubicBezTo>
                      <a:pt x="21" y="109"/>
                      <a:pt x="21" y="109"/>
                      <a:pt x="21" y="109"/>
                    </a:cubicBezTo>
                    <a:cubicBezTo>
                      <a:pt x="21" y="108"/>
                      <a:pt x="21" y="108"/>
                      <a:pt x="21" y="108"/>
                    </a:cubicBezTo>
                    <a:cubicBezTo>
                      <a:pt x="22" y="108"/>
                      <a:pt x="22" y="108"/>
                      <a:pt x="22" y="108"/>
                    </a:cubicBezTo>
                    <a:cubicBezTo>
                      <a:pt x="23" y="108"/>
                      <a:pt x="23" y="108"/>
                      <a:pt x="23" y="108"/>
                    </a:cubicBezTo>
                    <a:cubicBezTo>
                      <a:pt x="23" y="108"/>
                      <a:pt x="23" y="108"/>
                      <a:pt x="23" y="108"/>
                    </a:cubicBezTo>
                    <a:cubicBezTo>
                      <a:pt x="23" y="108"/>
                      <a:pt x="23" y="108"/>
                      <a:pt x="23" y="108"/>
                    </a:cubicBezTo>
                    <a:cubicBezTo>
                      <a:pt x="24" y="108"/>
                      <a:pt x="24" y="108"/>
                      <a:pt x="24" y="108"/>
                    </a:cubicBezTo>
                    <a:cubicBezTo>
                      <a:pt x="23" y="108"/>
                      <a:pt x="23" y="108"/>
                      <a:pt x="23" y="108"/>
                    </a:cubicBezTo>
                    <a:cubicBezTo>
                      <a:pt x="24" y="109"/>
                      <a:pt x="24" y="109"/>
                      <a:pt x="24" y="109"/>
                    </a:cubicBezTo>
                    <a:cubicBezTo>
                      <a:pt x="25" y="109"/>
                      <a:pt x="25" y="109"/>
                      <a:pt x="25" y="109"/>
                    </a:cubicBezTo>
                    <a:cubicBezTo>
                      <a:pt x="26" y="109"/>
                      <a:pt x="26" y="109"/>
                      <a:pt x="26" y="109"/>
                    </a:cubicBezTo>
                    <a:cubicBezTo>
                      <a:pt x="26" y="109"/>
                      <a:pt x="26" y="109"/>
                      <a:pt x="26" y="109"/>
                    </a:cubicBezTo>
                    <a:cubicBezTo>
                      <a:pt x="25" y="110"/>
                      <a:pt x="25" y="110"/>
                      <a:pt x="25" y="110"/>
                    </a:cubicBezTo>
                    <a:cubicBezTo>
                      <a:pt x="24" y="109"/>
                      <a:pt x="24" y="109"/>
                      <a:pt x="24" y="109"/>
                    </a:cubicBezTo>
                    <a:cubicBezTo>
                      <a:pt x="24" y="110"/>
                      <a:pt x="24" y="110"/>
                      <a:pt x="24" y="110"/>
                    </a:cubicBezTo>
                    <a:cubicBezTo>
                      <a:pt x="24" y="110"/>
                      <a:pt x="24" y="110"/>
                      <a:pt x="24" y="110"/>
                    </a:cubicBezTo>
                    <a:cubicBezTo>
                      <a:pt x="25" y="111"/>
                      <a:pt x="25" y="111"/>
                      <a:pt x="25" y="111"/>
                    </a:cubicBezTo>
                    <a:cubicBezTo>
                      <a:pt x="25" y="110"/>
                      <a:pt x="25" y="110"/>
                      <a:pt x="25" y="110"/>
                    </a:cubicBezTo>
                    <a:cubicBezTo>
                      <a:pt x="26" y="110"/>
                      <a:pt x="26" y="110"/>
                      <a:pt x="26" y="110"/>
                    </a:cubicBezTo>
                    <a:cubicBezTo>
                      <a:pt x="26" y="110"/>
                      <a:pt x="26" y="110"/>
                      <a:pt x="26" y="110"/>
                    </a:cubicBezTo>
                    <a:cubicBezTo>
                      <a:pt x="27" y="110"/>
                      <a:pt x="27" y="110"/>
                      <a:pt x="27" y="110"/>
                    </a:cubicBezTo>
                    <a:cubicBezTo>
                      <a:pt x="27" y="110"/>
                      <a:pt x="27" y="110"/>
                      <a:pt x="27" y="110"/>
                    </a:cubicBezTo>
                    <a:cubicBezTo>
                      <a:pt x="28" y="110"/>
                      <a:pt x="28" y="110"/>
                      <a:pt x="28" y="110"/>
                    </a:cubicBezTo>
                    <a:cubicBezTo>
                      <a:pt x="28" y="111"/>
                      <a:pt x="28" y="111"/>
                      <a:pt x="28" y="111"/>
                    </a:cubicBezTo>
                    <a:cubicBezTo>
                      <a:pt x="29" y="111"/>
                      <a:pt x="29" y="111"/>
                      <a:pt x="29" y="111"/>
                    </a:cubicBezTo>
                    <a:cubicBezTo>
                      <a:pt x="30" y="112"/>
                      <a:pt x="30" y="112"/>
                      <a:pt x="30" y="112"/>
                    </a:cubicBezTo>
                    <a:cubicBezTo>
                      <a:pt x="31" y="112"/>
                      <a:pt x="32" y="112"/>
                      <a:pt x="32" y="112"/>
                    </a:cubicBezTo>
                    <a:cubicBezTo>
                      <a:pt x="33" y="112"/>
                      <a:pt x="33" y="112"/>
                      <a:pt x="33" y="112"/>
                    </a:cubicBezTo>
                    <a:cubicBezTo>
                      <a:pt x="33" y="111"/>
                      <a:pt x="34" y="111"/>
                      <a:pt x="34" y="110"/>
                    </a:cubicBezTo>
                    <a:cubicBezTo>
                      <a:pt x="34" y="111"/>
                      <a:pt x="34" y="111"/>
                      <a:pt x="34" y="111"/>
                    </a:cubicBezTo>
                    <a:cubicBezTo>
                      <a:pt x="35" y="111"/>
                      <a:pt x="35" y="110"/>
                      <a:pt x="36" y="110"/>
                    </a:cubicBezTo>
                    <a:cubicBezTo>
                      <a:pt x="36" y="110"/>
                      <a:pt x="36" y="110"/>
                      <a:pt x="36" y="110"/>
                    </a:cubicBezTo>
                    <a:cubicBezTo>
                      <a:pt x="38" y="108"/>
                      <a:pt x="38" y="108"/>
                      <a:pt x="38" y="108"/>
                    </a:cubicBezTo>
                    <a:cubicBezTo>
                      <a:pt x="38" y="108"/>
                      <a:pt x="38" y="108"/>
                      <a:pt x="38" y="108"/>
                    </a:cubicBezTo>
                    <a:cubicBezTo>
                      <a:pt x="37" y="109"/>
                      <a:pt x="37" y="110"/>
                      <a:pt x="36" y="111"/>
                    </a:cubicBezTo>
                    <a:cubicBezTo>
                      <a:pt x="35" y="111"/>
                      <a:pt x="35" y="111"/>
                      <a:pt x="35" y="111"/>
                    </a:cubicBezTo>
                    <a:cubicBezTo>
                      <a:pt x="35" y="112"/>
                      <a:pt x="34" y="113"/>
                      <a:pt x="34" y="113"/>
                    </a:cubicBezTo>
                    <a:cubicBezTo>
                      <a:pt x="34" y="114"/>
                      <a:pt x="34" y="114"/>
                      <a:pt x="34" y="114"/>
                    </a:cubicBezTo>
                    <a:cubicBezTo>
                      <a:pt x="34" y="115"/>
                      <a:pt x="34" y="115"/>
                      <a:pt x="34" y="115"/>
                    </a:cubicBezTo>
                    <a:cubicBezTo>
                      <a:pt x="33" y="114"/>
                      <a:pt x="33" y="114"/>
                      <a:pt x="33" y="114"/>
                    </a:cubicBezTo>
                    <a:cubicBezTo>
                      <a:pt x="33" y="115"/>
                      <a:pt x="32" y="115"/>
                      <a:pt x="31" y="115"/>
                    </a:cubicBezTo>
                    <a:cubicBezTo>
                      <a:pt x="31" y="114"/>
                      <a:pt x="31" y="114"/>
                      <a:pt x="31" y="114"/>
                    </a:cubicBezTo>
                    <a:cubicBezTo>
                      <a:pt x="30" y="114"/>
                      <a:pt x="29" y="114"/>
                      <a:pt x="28" y="114"/>
                    </a:cubicBezTo>
                    <a:cubicBezTo>
                      <a:pt x="27" y="114"/>
                      <a:pt x="26" y="114"/>
                      <a:pt x="24" y="115"/>
                    </a:cubicBezTo>
                    <a:cubicBezTo>
                      <a:pt x="24" y="115"/>
                      <a:pt x="24" y="115"/>
                      <a:pt x="24" y="115"/>
                    </a:cubicBezTo>
                    <a:cubicBezTo>
                      <a:pt x="25" y="116"/>
                      <a:pt x="25" y="116"/>
                      <a:pt x="25" y="116"/>
                    </a:cubicBezTo>
                    <a:cubicBezTo>
                      <a:pt x="24" y="117"/>
                      <a:pt x="24" y="117"/>
                      <a:pt x="24" y="117"/>
                    </a:cubicBezTo>
                    <a:cubicBezTo>
                      <a:pt x="23" y="117"/>
                      <a:pt x="23" y="117"/>
                      <a:pt x="22" y="117"/>
                    </a:cubicBezTo>
                    <a:cubicBezTo>
                      <a:pt x="22" y="117"/>
                      <a:pt x="22" y="118"/>
                      <a:pt x="22" y="119"/>
                    </a:cubicBezTo>
                    <a:cubicBezTo>
                      <a:pt x="21" y="120"/>
                      <a:pt x="21" y="120"/>
                      <a:pt x="20" y="121"/>
                    </a:cubicBezTo>
                    <a:cubicBezTo>
                      <a:pt x="20" y="121"/>
                      <a:pt x="20" y="121"/>
                      <a:pt x="20" y="121"/>
                    </a:cubicBezTo>
                    <a:cubicBezTo>
                      <a:pt x="19" y="121"/>
                      <a:pt x="19" y="121"/>
                      <a:pt x="19" y="121"/>
                    </a:cubicBezTo>
                    <a:cubicBezTo>
                      <a:pt x="19" y="122"/>
                      <a:pt x="19" y="122"/>
                      <a:pt x="19" y="122"/>
                    </a:cubicBezTo>
                    <a:cubicBezTo>
                      <a:pt x="19" y="122"/>
                      <a:pt x="19" y="122"/>
                      <a:pt x="19" y="122"/>
                    </a:cubicBezTo>
                    <a:cubicBezTo>
                      <a:pt x="19" y="122"/>
                      <a:pt x="19" y="122"/>
                      <a:pt x="19" y="122"/>
                    </a:cubicBezTo>
                    <a:cubicBezTo>
                      <a:pt x="19" y="122"/>
                      <a:pt x="19" y="122"/>
                      <a:pt x="19" y="122"/>
                    </a:cubicBezTo>
                    <a:cubicBezTo>
                      <a:pt x="18" y="122"/>
                      <a:pt x="18" y="122"/>
                      <a:pt x="18" y="122"/>
                    </a:cubicBezTo>
                    <a:cubicBezTo>
                      <a:pt x="18" y="123"/>
                      <a:pt x="18" y="123"/>
                      <a:pt x="18" y="123"/>
                    </a:cubicBezTo>
                    <a:cubicBezTo>
                      <a:pt x="17" y="124"/>
                      <a:pt x="17" y="124"/>
                      <a:pt x="17" y="124"/>
                    </a:cubicBezTo>
                    <a:cubicBezTo>
                      <a:pt x="17" y="124"/>
                      <a:pt x="17" y="124"/>
                      <a:pt x="17" y="124"/>
                    </a:cubicBezTo>
                    <a:cubicBezTo>
                      <a:pt x="16" y="125"/>
                      <a:pt x="16" y="125"/>
                      <a:pt x="16" y="125"/>
                    </a:cubicBezTo>
                    <a:cubicBezTo>
                      <a:pt x="15" y="125"/>
                      <a:pt x="15" y="125"/>
                      <a:pt x="15" y="125"/>
                    </a:cubicBezTo>
                    <a:cubicBezTo>
                      <a:pt x="15" y="126"/>
                      <a:pt x="15" y="126"/>
                      <a:pt x="15" y="126"/>
                    </a:cubicBezTo>
                    <a:cubicBezTo>
                      <a:pt x="14" y="126"/>
                      <a:pt x="14" y="126"/>
                      <a:pt x="14" y="126"/>
                    </a:cubicBezTo>
                    <a:cubicBezTo>
                      <a:pt x="13" y="126"/>
                      <a:pt x="13" y="126"/>
                      <a:pt x="13" y="126"/>
                    </a:cubicBezTo>
                    <a:cubicBezTo>
                      <a:pt x="13" y="127"/>
                      <a:pt x="13" y="127"/>
                      <a:pt x="13" y="127"/>
                    </a:cubicBezTo>
                    <a:cubicBezTo>
                      <a:pt x="13" y="128"/>
                      <a:pt x="13" y="128"/>
                      <a:pt x="13" y="128"/>
                    </a:cubicBezTo>
                    <a:cubicBezTo>
                      <a:pt x="14" y="128"/>
                      <a:pt x="14" y="128"/>
                      <a:pt x="14" y="128"/>
                    </a:cubicBezTo>
                    <a:cubicBezTo>
                      <a:pt x="14" y="127"/>
                      <a:pt x="14" y="127"/>
                      <a:pt x="14" y="127"/>
                    </a:cubicBezTo>
                    <a:cubicBezTo>
                      <a:pt x="14" y="127"/>
                      <a:pt x="14" y="127"/>
                      <a:pt x="14" y="127"/>
                    </a:cubicBezTo>
                    <a:cubicBezTo>
                      <a:pt x="16" y="127"/>
                      <a:pt x="16" y="127"/>
                      <a:pt x="16" y="127"/>
                    </a:cubicBezTo>
                    <a:cubicBezTo>
                      <a:pt x="17" y="129"/>
                      <a:pt x="17" y="129"/>
                      <a:pt x="17" y="129"/>
                    </a:cubicBezTo>
                    <a:cubicBezTo>
                      <a:pt x="17" y="128"/>
                      <a:pt x="17" y="128"/>
                      <a:pt x="17" y="128"/>
                    </a:cubicBezTo>
                    <a:cubicBezTo>
                      <a:pt x="17" y="128"/>
                      <a:pt x="17" y="128"/>
                      <a:pt x="17" y="128"/>
                    </a:cubicBezTo>
                    <a:cubicBezTo>
                      <a:pt x="18" y="128"/>
                      <a:pt x="18" y="128"/>
                      <a:pt x="18" y="128"/>
                    </a:cubicBezTo>
                    <a:cubicBezTo>
                      <a:pt x="17" y="127"/>
                      <a:pt x="17" y="127"/>
                      <a:pt x="17" y="127"/>
                    </a:cubicBezTo>
                    <a:cubicBezTo>
                      <a:pt x="18" y="126"/>
                      <a:pt x="18" y="126"/>
                      <a:pt x="18" y="126"/>
                    </a:cubicBezTo>
                    <a:cubicBezTo>
                      <a:pt x="18" y="127"/>
                      <a:pt x="18" y="127"/>
                      <a:pt x="18" y="127"/>
                    </a:cubicBezTo>
                    <a:cubicBezTo>
                      <a:pt x="19" y="126"/>
                      <a:pt x="19" y="126"/>
                      <a:pt x="19" y="126"/>
                    </a:cubicBezTo>
                    <a:cubicBezTo>
                      <a:pt x="19" y="126"/>
                      <a:pt x="19" y="126"/>
                      <a:pt x="19" y="126"/>
                    </a:cubicBezTo>
                    <a:cubicBezTo>
                      <a:pt x="20" y="126"/>
                      <a:pt x="20" y="126"/>
                      <a:pt x="20" y="126"/>
                    </a:cubicBezTo>
                    <a:cubicBezTo>
                      <a:pt x="20" y="125"/>
                      <a:pt x="20" y="125"/>
                      <a:pt x="20" y="125"/>
                    </a:cubicBezTo>
                    <a:cubicBezTo>
                      <a:pt x="21" y="124"/>
                      <a:pt x="21" y="124"/>
                      <a:pt x="21" y="124"/>
                    </a:cubicBezTo>
                    <a:cubicBezTo>
                      <a:pt x="21" y="125"/>
                      <a:pt x="21" y="125"/>
                      <a:pt x="21" y="125"/>
                    </a:cubicBezTo>
                    <a:cubicBezTo>
                      <a:pt x="22" y="125"/>
                      <a:pt x="22" y="125"/>
                      <a:pt x="22" y="125"/>
                    </a:cubicBezTo>
                    <a:cubicBezTo>
                      <a:pt x="23" y="124"/>
                      <a:pt x="23" y="124"/>
                      <a:pt x="23" y="124"/>
                    </a:cubicBezTo>
                    <a:cubicBezTo>
                      <a:pt x="24" y="124"/>
                      <a:pt x="24" y="124"/>
                      <a:pt x="24" y="124"/>
                    </a:cubicBezTo>
                    <a:cubicBezTo>
                      <a:pt x="24" y="125"/>
                      <a:pt x="24" y="125"/>
                      <a:pt x="24" y="125"/>
                    </a:cubicBezTo>
                    <a:cubicBezTo>
                      <a:pt x="25" y="124"/>
                      <a:pt x="25" y="124"/>
                      <a:pt x="25" y="124"/>
                    </a:cubicBezTo>
                    <a:cubicBezTo>
                      <a:pt x="24" y="124"/>
                      <a:pt x="24" y="124"/>
                      <a:pt x="24" y="124"/>
                    </a:cubicBezTo>
                    <a:cubicBezTo>
                      <a:pt x="24" y="124"/>
                      <a:pt x="24" y="124"/>
                      <a:pt x="24" y="124"/>
                    </a:cubicBezTo>
                    <a:cubicBezTo>
                      <a:pt x="24" y="123"/>
                      <a:pt x="24" y="123"/>
                      <a:pt x="24" y="123"/>
                    </a:cubicBezTo>
                    <a:cubicBezTo>
                      <a:pt x="25" y="123"/>
                      <a:pt x="25" y="123"/>
                      <a:pt x="25" y="123"/>
                    </a:cubicBezTo>
                    <a:cubicBezTo>
                      <a:pt x="25" y="124"/>
                      <a:pt x="25" y="124"/>
                      <a:pt x="25" y="124"/>
                    </a:cubicBezTo>
                    <a:cubicBezTo>
                      <a:pt x="25" y="124"/>
                      <a:pt x="25" y="124"/>
                      <a:pt x="25" y="124"/>
                    </a:cubicBezTo>
                    <a:cubicBezTo>
                      <a:pt x="25" y="124"/>
                      <a:pt x="25" y="124"/>
                      <a:pt x="25" y="124"/>
                    </a:cubicBezTo>
                    <a:cubicBezTo>
                      <a:pt x="25" y="125"/>
                      <a:pt x="25" y="125"/>
                      <a:pt x="25" y="125"/>
                    </a:cubicBezTo>
                    <a:cubicBezTo>
                      <a:pt x="26" y="125"/>
                      <a:pt x="26" y="125"/>
                      <a:pt x="26" y="125"/>
                    </a:cubicBezTo>
                    <a:cubicBezTo>
                      <a:pt x="26" y="125"/>
                      <a:pt x="26" y="125"/>
                      <a:pt x="26" y="125"/>
                    </a:cubicBezTo>
                    <a:cubicBezTo>
                      <a:pt x="28" y="126"/>
                      <a:pt x="28" y="126"/>
                      <a:pt x="28" y="126"/>
                    </a:cubicBezTo>
                    <a:cubicBezTo>
                      <a:pt x="29" y="126"/>
                      <a:pt x="29" y="126"/>
                      <a:pt x="29" y="126"/>
                    </a:cubicBezTo>
                    <a:cubicBezTo>
                      <a:pt x="29" y="125"/>
                      <a:pt x="29" y="125"/>
                      <a:pt x="29" y="125"/>
                    </a:cubicBezTo>
                    <a:cubicBezTo>
                      <a:pt x="30" y="124"/>
                      <a:pt x="30" y="124"/>
                      <a:pt x="30" y="124"/>
                    </a:cubicBezTo>
                    <a:cubicBezTo>
                      <a:pt x="30" y="124"/>
                      <a:pt x="30" y="124"/>
                      <a:pt x="30" y="124"/>
                    </a:cubicBezTo>
                    <a:cubicBezTo>
                      <a:pt x="30" y="123"/>
                      <a:pt x="30" y="123"/>
                      <a:pt x="30" y="123"/>
                    </a:cubicBezTo>
                    <a:cubicBezTo>
                      <a:pt x="30" y="123"/>
                      <a:pt x="30" y="123"/>
                      <a:pt x="30" y="123"/>
                    </a:cubicBezTo>
                    <a:cubicBezTo>
                      <a:pt x="30" y="122"/>
                      <a:pt x="30" y="122"/>
                      <a:pt x="30" y="122"/>
                    </a:cubicBezTo>
                    <a:cubicBezTo>
                      <a:pt x="30" y="121"/>
                      <a:pt x="30" y="121"/>
                      <a:pt x="30" y="121"/>
                    </a:cubicBezTo>
                    <a:cubicBezTo>
                      <a:pt x="30" y="121"/>
                      <a:pt x="30" y="121"/>
                      <a:pt x="30" y="121"/>
                    </a:cubicBezTo>
                    <a:cubicBezTo>
                      <a:pt x="31" y="121"/>
                      <a:pt x="31" y="121"/>
                      <a:pt x="31" y="121"/>
                    </a:cubicBezTo>
                    <a:cubicBezTo>
                      <a:pt x="32" y="121"/>
                      <a:pt x="32" y="121"/>
                      <a:pt x="32" y="121"/>
                    </a:cubicBezTo>
                    <a:cubicBezTo>
                      <a:pt x="32" y="121"/>
                      <a:pt x="32" y="121"/>
                      <a:pt x="32" y="121"/>
                    </a:cubicBezTo>
                    <a:cubicBezTo>
                      <a:pt x="33" y="121"/>
                      <a:pt x="33" y="121"/>
                      <a:pt x="33" y="121"/>
                    </a:cubicBezTo>
                    <a:cubicBezTo>
                      <a:pt x="33" y="120"/>
                      <a:pt x="33" y="120"/>
                      <a:pt x="33" y="120"/>
                    </a:cubicBezTo>
                    <a:cubicBezTo>
                      <a:pt x="34" y="120"/>
                      <a:pt x="34" y="120"/>
                      <a:pt x="34" y="120"/>
                    </a:cubicBezTo>
                    <a:cubicBezTo>
                      <a:pt x="35" y="120"/>
                      <a:pt x="35" y="120"/>
                      <a:pt x="35" y="120"/>
                    </a:cubicBezTo>
                    <a:cubicBezTo>
                      <a:pt x="36" y="120"/>
                      <a:pt x="37" y="121"/>
                      <a:pt x="38" y="122"/>
                    </a:cubicBezTo>
                    <a:cubicBezTo>
                      <a:pt x="38" y="122"/>
                      <a:pt x="38" y="122"/>
                      <a:pt x="38" y="122"/>
                    </a:cubicBezTo>
                    <a:cubicBezTo>
                      <a:pt x="38" y="122"/>
                      <a:pt x="38" y="122"/>
                      <a:pt x="38" y="122"/>
                    </a:cubicBezTo>
                    <a:cubicBezTo>
                      <a:pt x="38" y="122"/>
                      <a:pt x="38" y="122"/>
                      <a:pt x="38" y="122"/>
                    </a:cubicBezTo>
                    <a:cubicBezTo>
                      <a:pt x="38" y="121"/>
                      <a:pt x="38" y="121"/>
                      <a:pt x="38" y="121"/>
                    </a:cubicBezTo>
                    <a:cubicBezTo>
                      <a:pt x="39" y="121"/>
                      <a:pt x="40" y="121"/>
                      <a:pt x="41" y="122"/>
                    </a:cubicBezTo>
                    <a:cubicBezTo>
                      <a:pt x="42" y="122"/>
                      <a:pt x="42" y="122"/>
                      <a:pt x="42" y="122"/>
                    </a:cubicBezTo>
                    <a:cubicBezTo>
                      <a:pt x="42" y="121"/>
                      <a:pt x="42" y="121"/>
                      <a:pt x="42" y="121"/>
                    </a:cubicBezTo>
                    <a:cubicBezTo>
                      <a:pt x="42" y="121"/>
                      <a:pt x="42" y="121"/>
                      <a:pt x="42" y="121"/>
                    </a:cubicBezTo>
                    <a:cubicBezTo>
                      <a:pt x="41" y="120"/>
                      <a:pt x="41" y="120"/>
                      <a:pt x="41" y="120"/>
                    </a:cubicBezTo>
                    <a:cubicBezTo>
                      <a:pt x="42" y="120"/>
                      <a:pt x="42" y="120"/>
                      <a:pt x="42" y="120"/>
                    </a:cubicBezTo>
                    <a:cubicBezTo>
                      <a:pt x="42" y="120"/>
                      <a:pt x="42" y="120"/>
                      <a:pt x="42" y="120"/>
                    </a:cubicBezTo>
                    <a:cubicBezTo>
                      <a:pt x="43" y="120"/>
                      <a:pt x="43" y="120"/>
                      <a:pt x="43" y="120"/>
                    </a:cubicBezTo>
                    <a:cubicBezTo>
                      <a:pt x="43" y="120"/>
                      <a:pt x="43" y="120"/>
                      <a:pt x="43" y="120"/>
                    </a:cubicBezTo>
                    <a:cubicBezTo>
                      <a:pt x="44" y="120"/>
                      <a:pt x="44" y="120"/>
                      <a:pt x="44" y="120"/>
                    </a:cubicBezTo>
                    <a:cubicBezTo>
                      <a:pt x="45" y="120"/>
                      <a:pt x="45" y="120"/>
                      <a:pt x="45" y="120"/>
                    </a:cubicBezTo>
                    <a:cubicBezTo>
                      <a:pt x="45" y="120"/>
                      <a:pt x="45" y="120"/>
                      <a:pt x="45" y="120"/>
                    </a:cubicBezTo>
                    <a:cubicBezTo>
                      <a:pt x="46" y="119"/>
                      <a:pt x="46" y="119"/>
                      <a:pt x="47" y="119"/>
                    </a:cubicBezTo>
                    <a:cubicBezTo>
                      <a:pt x="47" y="119"/>
                      <a:pt x="47" y="119"/>
                      <a:pt x="47" y="119"/>
                    </a:cubicBezTo>
                    <a:cubicBezTo>
                      <a:pt x="46" y="118"/>
                      <a:pt x="46" y="118"/>
                      <a:pt x="46" y="118"/>
                    </a:cubicBezTo>
                    <a:cubicBezTo>
                      <a:pt x="47" y="118"/>
                      <a:pt x="47" y="119"/>
                      <a:pt x="48" y="119"/>
                    </a:cubicBezTo>
                    <a:cubicBezTo>
                      <a:pt x="48" y="119"/>
                      <a:pt x="48" y="119"/>
                      <a:pt x="48" y="119"/>
                    </a:cubicBezTo>
                    <a:cubicBezTo>
                      <a:pt x="48" y="119"/>
                      <a:pt x="48" y="119"/>
                      <a:pt x="48" y="119"/>
                    </a:cubicBezTo>
                    <a:cubicBezTo>
                      <a:pt x="49" y="119"/>
                      <a:pt x="49" y="119"/>
                      <a:pt x="49" y="119"/>
                    </a:cubicBezTo>
                    <a:cubicBezTo>
                      <a:pt x="49" y="119"/>
                      <a:pt x="49" y="119"/>
                      <a:pt x="49" y="119"/>
                    </a:cubicBezTo>
                    <a:cubicBezTo>
                      <a:pt x="49" y="119"/>
                      <a:pt x="49" y="119"/>
                      <a:pt x="49" y="119"/>
                    </a:cubicBezTo>
                    <a:cubicBezTo>
                      <a:pt x="49" y="119"/>
                      <a:pt x="49" y="119"/>
                      <a:pt x="49" y="119"/>
                    </a:cubicBezTo>
                    <a:cubicBezTo>
                      <a:pt x="50" y="119"/>
                      <a:pt x="50" y="119"/>
                      <a:pt x="50" y="119"/>
                    </a:cubicBezTo>
                    <a:cubicBezTo>
                      <a:pt x="50" y="119"/>
                      <a:pt x="50" y="119"/>
                      <a:pt x="50" y="119"/>
                    </a:cubicBezTo>
                    <a:cubicBezTo>
                      <a:pt x="50" y="119"/>
                      <a:pt x="50" y="119"/>
                      <a:pt x="50" y="119"/>
                    </a:cubicBezTo>
                    <a:cubicBezTo>
                      <a:pt x="51" y="120"/>
                      <a:pt x="51" y="120"/>
                      <a:pt x="51" y="120"/>
                    </a:cubicBezTo>
                    <a:cubicBezTo>
                      <a:pt x="52" y="119"/>
                      <a:pt x="53" y="119"/>
                      <a:pt x="55" y="118"/>
                    </a:cubicBezTo>
                    <a:cubicBezTo>
                      <a:pt x="56" y="119"/>
                      <a:pt x="58" y="119"/>
                      <a:pt x="59" y="119"/>
                    </a:cubicBezTo>
                    <a:cubicBezTo>
                      <a:pt x="60" y="118"/>
                      <a:pt x="60" y="118"/>
                      <a:pt x="60" y="118"/>
                    </a:cubicBezTo>
                    <a:cubicBezTo>
                      <a:pt x="62" y="118"/>
                      <a:pt x="62" y="118"/>
                      <a:pt x="62" y="118"/>
                    </a:cubicBezTo>
                    <a:cubicBezTo>
                      <a:pt x="63" y="117"/>
                      <a:pt x="63" y="117"/>
                      <a:pt x="63" y="117"/>
                    </a:cubicBezTo>
                    <a:cubicBezTo>
                      <a:pt x="63" y="117"/>
                      <a:pt x="63" y="117"/>
                      <a:pt x="63" y="117"/>
                    </a:cubicBezTo>
                    <a:cubicBezTo>
                      <a:pt x="64" y="117"/>
                      <a:pt x="64" y="117"/>
                      <a:pt x="64" y="117"/>
                    </a:cubicBezTo>
                    <a:cubicBezTo>
                      <a:pt x="65" y="117"/>
                      <a:pt x="65" y="117"/>
                      <a:pt x="65" y="117"/>
                    </a:cubicBezTo>
                    <a:cubicBezTo>
                      <a:pt x="64" y="116"/>
                      <a:pt x="64" y="116"/>
                      <a:pt x="64" y="116"/>
                    </a:cubicBezTo>
                    <a:cubicBezTo>
                      <a:pt x="65" y="116"/>
                      <a:pt x="65" y="116"/>
                      <a:pt x="65" y="116"/>
                    </a:cubicBezTo>
                    <a:cubicBezTo>
                      <a:pt x="65" y="115"/>
                      <a:pt x="65" y="115"/>
                      <a:pt x="65" y="115"/>
                    </a:cubicBezTo>
                    <a:cubicBezTo>
                      <a:pt x="66" y="115"/>
                      <a:pt x="66" y="115"/>
                      <a:pt x="66" y="115"/>
                    </a:cubicBezTo>
                    <a:cubicBezTo>
                      <a:pt x="67" y="114"/>
                      <a:pt x="67" y="114"/>
                      <a:pt x="67" y="114"/>
                    </a:cubicBezTo>
                    <a:cubicBezTo>
                      <a:pt x="68" y="113"/>
                      <a:pt x="68" y="113"/>
                      <a:pt x="68" y="113"/>
                    </a:cubicBezTo>
                    <a:cubicBezTo>
                      <a:pt x="67" y="112"/>
                      <a:pt x="67" y="112"/>
                      <a:pt x="67" y="112"/>
                    </a:cubicBezTo>
                    <a:cubicBezTo>
                      <a:pt x="68" y="111"/>
                      <a:pt x="68" y="111"/>
                      <a:pt x="68" y="111"/>
                    </a:cubicBezTo>
                    <a:cubicBezTo>
                      <a:pt x="68" y="111"/>
                      <a:pt x="68" y="111"/>
                      <a:pt x="68" y="111"/>
                    </a:cubicBezTo>
                    <a:cubicBezTo>
                      <a:pt x="66" y="111"/>
                      <a:pt x="65" y="112"/>
                      <a:pt x="64" y="112"/>
                    </a:cubicBezTo>
                    <a:cubicBezTo>
                      <a:pt x="63" y="112"/>
                      <a:pt x="63" y="112"/>
                      <a:pt x="63" y="112"/>
                    </a:cubicBezTo>
                    <a:cubicBezTo>
                      <a:pt x="62" y="111"/>
                      <a:pt x="62" y="111"/>
                      <a:pt x="62" y="111"/>
                    </a:cubicBezTo>
                    <a:cubicBezTo>
                      <a:pt x="62" y="112"/>
                      <a:pt x="62" y="112"/>
                      <a:pt x="62" y="112"/>
                    </a:cubicBezTo>
                    <a:cubicBezTo>
                      <a:pt x="61" y="112"/>
                      <a:pt x="61" y="112"/>
                      <a:pt x="61" y="112"/>
                    </a:cubicBezTo>
                    <a:cubicBezTo>
                      <a:pt x="61" y="111"/>
                      <a:pt x="61" y="111"/>
                      <a:pt x="61" y="111"/>
                    </a:cubicBezTo>
                    <a:cubicBezTo>
                      <a:pt x="62" y="111"/>
                      <a:pt x="62" y="111"/>
                      <a:pt x="62" y="111"/>
                    </a:cubicBezTo>
                    <a:cubicBezTo>
                      <a:pt x="62" y="111"/>
                      <a:pt x="62" y="111"/>
                      <a:pt x="62" y="111"/>
                    </a:cubicBezTo>
                    <a:cubicBezTo>
                      <a:pt x="62" y="111"/>
                      <a:pt x="62" y="111"/>
                      <a:pt x="62" y="111"/>
                    </a:cubicBezTo>
                    <a:cubicBezTo>
                      <a:pt x="61" y="111"/>
                      <a:pt x="61" y="111"/>
                      <a:pt x="61" y="111"/>
                    </a:cubicBezTo>
                    <a:cubicBezTo>
                      <a:pt x="60" y="111"/>
                      <a:pt x="60" y="111"/>
                      <a:pt x="60" y="111"/>
                    </a:cubicBezTo>
                    <a:cubicBezTo>
                      <a:pt x="60" y="110"/>
                      <a:pt x="60" y="110"/>
                      <a:pt x="60" y="110"/>
                    </a:cubicBezTo>
                    <a:cubicBezTo>
                      <a:pt x="62" y="110"/>
                      <a:pt x="62" y="110"/>
                      <a:pt x="62" y="110"/>
                    </a:cubicBezTo>
                    <a:cubicBezTo>
                      <a:pt x="63" y="110"/>
                      <a:pt x="63" y="110"/>
                      <a:pt x="63" y="110"/>
                    </a:cubicBezTo>
                    <a:cubicBezTo>
                      <a:pt x="63" y="110"/>
                      <a:pt x="63" y="110"/>
                      <a:pt x="63" y="110"/>
                    </a:cubicBezTo>
                    <a:cubicBezTo>
                      <a:pt x="64" y="109"/>
                      <a:pt x="64" y="109"/>
                      <a:pt x="64" y="109"/>
                    </a:cubicBezTo>
                    <a:cubicBezTo>
                      <a:pt x="64" y="107"/>
                      <a:pt x="64" y="107"/>
                      <a:pt x="64" y="107"/>
                    </a:cubicBezTo>
                    <a:cubicBezTo>
                      <a:pt x="63" y="108"/>
                      <a:pt x="63" y="108"/>
                      <a:pt x="62" y="108"/>
                    </a:cubicBezTo>
                    <a:cubicBezTo>
                      <a:pt x="62" y="108"/>
                      <a:pt x="62" y="108"/>
                      <a:pt x="62" y="108"/>
                    </a:cubicBezTo>
                    <a:cubicBezTo>
                      <a:pt x="63" y="107"/>
                      <a:pt x="63" y="107"/>
                      <a:pt x="63" y="107"/>
                    </a:cubicBezTo>
                    <a:cubicBezTo>
                      <a:pt x="63" y="107"/>
                      <a:pt x="63" y="107"/>
                      <a:pt x="63" y="107"/>
                    </a:cubicBezTo>
                    <a:cubicBezTo>
                      <a:pt x="64" y="107"/>
                      <a:pt x="64" y="107"/>
                      <a:pt x="64" y="107"/>
                    </a:cubicBezTo>
                    <a:cubicBezTo>
                      <a:pt x="64" y="107"/>
                      <a:pt x="64" y="107"/>
                      <a:pt x="64" y="107"/>
                    </a:cubicBezTo>
                    <a:cubicBezTo>
                      <a:pt x="65" y="107"/>
                      <a:pt x="65" y="107"/>
                      <a:pt x="65" y="107"/>
                    </a:cubicBezTo>
                    <a:cubicBezTo>
                      <a:pt x="66" y="106"/>
                      <a:pt x="66" y="106"/>
                      <a:pt x="66" y="106"/>
                    </a:cubicBezTo>
                    <a:cubicBezTo>
                      <a:pt x="66" y="106"/>
                      <a:pt x="66" y="106"/>
                      <a:pt x="66" y="106"/>
                    </a:cubicBezTo>
                    <a:cubicBezTo>
                      <a:pt x="66" y="105"/>
                      <a:pt x="66" y="105"/>
                      <a:pt x="66" y="105"/>
                    </a:cubicBezTo>
                    <a:cubicBezTo>
                      <a:pt x="66" y="105"/>
                      <a:pt x="66" y="105"/>
                      <a:pt x="66" y="105"/>
                    </a:cubicBezTo>
                    <a:cubicBezTo>
                      <a:pt x="65" y="105"/>
                      <a:pt x="65" y="105"/>
                      <a:pt x="65" y="105"/>
                    </a:cubicBezTo>
                    <a:cubicBezTo>
                      <a:pt x="65" y="105"/>
                      <a:pt x="65" y="105"/>
                      <a:pt x="65" y="105"/>
                    </a:cubicBezTo>
                    <a:cubicBezTo>
                      <a:pt x="66" y="105"/>
                      <a:pt x="66" y="105"/>
                      <a:pt x="66" y="105"/>
                    </a:cubicBezTo>
                    <a:cubicBezTo>
                      <a:pt x="65" y="104"/>
                      <a:pt x="65" y="104"/>
                      <a:pt x="65" y="104"/>
                    </a:cubicBezTo>
                    <a:cubicBezTo>
                      <a:pt x="66" y="104"/>
                      <a:pt x="66" y="105"/>
                      <a:pt x="67" y="105"/>
                    </a:cubicBezTo>
                    <a:cubicBezTo>
                      <a:pt x="67" y="105"/>
                      <a:pt x="67" y="104"/>
                      <a:pt x="68" y="104"/>
                    </a:cubicBezTo>
                    <a:cubicBezTo>
                      <a:pt x="68" y="103"/>
                      <a:pt x="68" y="103"/>
                      <a:pt x="68" y="103"/>
                    </a:cubicBezTo>
                    <a:cubicBezTo>
                      <a:pt x="69" y="103"/>
                      <a:pt x="69" y="102"/>
                      <a:pt x="69" y="101"/>
                    </a:cubicBezTo>
                    <a:cubicBezTo>
                      <a:pt x="69" y="100"/>
                      <a:pt x="69" y="102"/>
                      <a:pt x="69" y="101"/>
                    </a:cubicBezTo>
                    <a:close/>
                    <a:moveTo>
                      <a:pt x="47" y="119"/>
                    </a:moveTo>
                    <a:cubicBezTo>
                      <a:pt x="46" y="120"/>
                      <a:pt x="46" y="120"/>
                      <a:pt x="46" y="120"/>
                    </a:cubicBezTo>
                    <a:cubicBezTo>
                      <a:pt x="46" y="120"/>
                      <a:pt x="46" y="120"/>
                      <a:pt x="46" y="120"/>
                    </a:cubicBezTo>
                    <a:cubicBezTo>
                      <a:pt x="45" y="120"/>
                      <a:pt x="45" y="120"/>
                      <a:pt x="45" y="120"/>
                    </a:cubicBezTo>
                    <a:cubicBezTo>
                      <a:pt x="45" y="121"/>
                      <a:pt x="45" y="121"/>
                      <a:pt x="45" y="121"/>
                    </a:cubicBezTo>
                    <a:cubicBezTo>
                      <a:pt x="45" y="121"/>
                      <a:pt x="45" y="121"/>
                      <a:pt x="45" y="121"/>
                    </a:cubicBezTo>
                    <a:cubicBezTo>
                      <a:pt x="47" y="122"/>
                      <a:pt x="47" y="122"/>
                      <a:pt x="47" y="122"/>
                    </a:cubicBezTo>
                    <a:cubicBezTo>
                      <a:pt x="47" y="122"/>
                      <a:pt x="47" y="122"/>
                      <a:pt x="47" y="122"/>
                    </a:cubicBezTo>
                    <a:cubicBezTo>
                      <a:pt x="48" y="121"/>
                      <a:pt x="48" y="121"/>
                      <a:pt x="48" y="121"/>
                    </a:cubicBezTo>
                    <a:cubicBezTo>
                      <a:pt x="48" y="121"/>
                      <a:pt x="48" y="121"/>
                      <a:pt x="48" y="121"/>
                    </a:cubicBezTo>
                    <a:cubicBezTo>
                      <a:pt x="49" y="120"/>
                      <a:pt x="49" y="120"/>
                      <a:pt x="49" y="120"/>
                    </a:cubicBezTo>
                    <a:cubicBezTo>
                      <a:pt x="48" y="120"/>
                      <a:pt x="48" y="120"/>
                      <a:pt x="48" y="120"/>
                    </a:cubicBezTo>
                    <a:lnTo>
                      <a:pt x="47" y="119"/>
                    </a:lnTo>
                    <a:close/>
                    <a:moveTo>
                      <a:pt x="22" y="91"/>
                    </a:moveTo>
                    <a:cubicBezTo>
                      <a:pt x="22" y="91"/>
                      <a:pt x="22" y="91"/>
                      <a:pt x="22" y="91"/>
                    </a:cubicBezTo>
                    <a:cubicBezTo>
                      <a:pt x="22" y="90"/>
                      <a:pt x="22" y="90"/>
                      <a:pt x="22" y="90"/>
                    </a:cubicBezTo>
                    <a:cubicBezTo>
                      <a:pt x="22" y="90"/>
                      <a:pt x="22" y="90"/>
                      <a:pt x="22" y="90"/>
                    </a:cubicBezTo>
                    <a:cubicBezTo>
                      <a:pt x="22" y="90"/>
                      <a:pt x="22" y="90"/>
                      <a:pt x="22" y="90"/>
                    </a:cubicBezTo>
                    <a:cubicBezTo>
                      <a:pt x="22" y="90"/>
                      <a:pt x="22" y="90"/>
                      <a:pt x="22" y="90"/>
                    </a:cubicBezTo>
                    <a:lnTo>
                      <a:pt x="22" y="91"/>
                    </a:lnTo>
                    <a:close/>
                    <a:moveTo>
                      <a:pt x="34" y="26"/>
                    </a:moveTo>
                    <a:cubicBezTo>
                      <a:pt x="34" y="27"/>
                      <a:pt x="34" y="27"/>
                      <a:pt x="34" y="27"/>
                    </a:cubicBezTo>
                    <a:cubicBezTo>
                      <a:pt x="34" y="27"/>
                      <a:pt x="34" y="26"/>
                      <a:pt x="35" y="26"/>
                    </a:cubicBezTo>
                    <a:cubicBezTo>
                      <a:pt x="34" y="26"/>
                      <a:pt x="34" y="26"/>
                      <a:pt x="34" y="26"/>
                    </a:cubicBezTo>
                    <a:close/>
                    <a:moveTo>
                      <a:pt x="36" y="22"/>
                    </a:moveTo>
                    <a:cubicBezTo>
                      <a:pt x="36" y="23"/>
                      <a:pt x="36" y="23"/>
                      <a:pt x="36" y="23"/>
                    </a:cubicBezTo>
                    <a:cubicBezTo>
                      <a:pt x="37" y="23"/>
                      <a:pt x="37" y="23"/>
                      <a:pt x="37" y="23"/>
                    </a:cubicBezTo>
                    <a:cubicBezTo>
                      <a:pt x="36" y="22"/>
                      <a:pt x="36" y="22"/>
                      <a:pt x="36" y="22"/>
                    </a:cubicBezTo>
                    <a:close/>
                    <a:moveTo>
                      <a:pt x="34" y="22"/>
                    </a:moveTo>
                    <a:cubicBezTo>
                      <a:pt x="34" y="22"/>
                      <a:pt x="34" y="22"/>
                      <a:pt x="34" y="22"/>
                    </a:cubicBezTo>
                    <a:cubicBezTo>
                      <a:pt x="34" y="22"/>
                      <a:pt x="34" y="22"/>
                      <a:pt x="34" y="22"/>
                    </a:cubicBezTo>
                    <a:cubicBezTo>
                      <a:pt x="33" y="22"/>
                      <a:pt x="33" y="22"/>
                      <a:pt x="33" y="22"/>
                    </a:cubicBezTo>
                    <a:cubicBezTo>
                      <a:pt x="33" y="22"/>
                      <a:pt x="33" y="22"/>
                      <a:pt x="33" y="22"/>
                    </a:cubicBezTo>
                    <a:cubicBezTo>
                      <a:pt x="33" y="22"/>
                      <a:pt x="33" y="22"/>
                      <a:pt x="33" y="22"/>
                    </a:cubicBezTo>
                    <a:lnTo>
                      <a:pt x="34" y="22"/>
                    </a:lnTo>
                    <a:close/>
                    <a:moveTo>
                      <a:pt x="36" y="22"/>
                    </a:moveTo>
                    <a:cubicBezTo>
                      <a:pt x="35" y="22"/>
                      <a:pt x="35" y="22"/>
                      <a:pt x="35" y="22"/>
                    </a:cubicBezTo>
                    <a:cubicBezTo>
                      <a:pt x="36" y="21"/>
                      <a:pt x="36" y="21"/>
                      <a:pt x="36" y="21"/>
                    </a:cubicBezTo>
                    <a:cubicBezTo>
                      <a:pt x="35" y="21"/>
                      <a:pt x="35" y="21"/>
                      <a:pt x="35" y="21"/>
                    </a:cubicBezTo>
                    <a:cubicBezTo>
                      <a:pt x="35" y="22"/>
                      <a:pt x="35" y="22"/>
                      <a:pt x="35" y="22"/>
                    </a:cubicBezTo>
                    <a:cubicBezTo>
                      <a:pt x="35" y="22"/>
                      <a:pt x="35" y="22"/>
                      <a:pt x="35" y="22"/>
                    </a:cubicBezTo>
                    <a:cubicBezTo>
                      <a:pt x="35" y="22"/>
                      <a:pt x="35" y="22"/>
                      <a:pt x="35" y="22"/>
                    </a:cubicBezTo>
                    <a:lnTo>
                      <a:pt x="36" y="22"/>
                    </a:lnTo>
                    <a:close/>
                    <a:moveTo>
                      <a:pt x="34" y="21"/>
                    </a:moveTo>
                    <a:cubicBezTo>
                      <a:pt x="35" y="21"/>
                      <a:pt x="35" y="21"/>
                      <a:pt x="35" y="21"/>
                    </a:cubicBezTo>
                    <a:cubicBezTo>
                      <a:pt x="34" y="20"/>
                      <a:pt x="34" y="20"/>
                      <a:pt x="34" y="20"/>
                    </a:cubicBezTo>
                    <a:cubicBezTo>
                      <a:pt x="34" y="20"/>
                      <a:pt x="34" y="20"/>
                      <a:pt x="34" y="20"/>
                    </a:cubicBezTo>
                    <a:cubicBezTo>
                      <a:pt x="34" y="20"/>
                      <a:pt x="34" y="20"/>
                      <a:pt x="34" y="20"/>
                    </a:cubicBezTo>
                    <a:cubicBezTo>
                      <a:pt x="33" y="20"/>
                      <a:pt x="33" y="20"/>
                      <a:pt x="33" y="20"/>
                    </a:cubicBezTo>
                    <a:cubicBezTo>
                      <a:pt x="34" y="21"/>
                      <a:pt x="34" y="21"/>
                      <a:pt x="34" y="21"/>
                    </a:cubicBezTo>
                    <a:close/>
                    <a:moveTo>
                      <a:pt x="12" y="47"/>
                    </a:moveTo>
                    <a:cubicBezTo>
                      <a:pt x="12" y="47"/>
                      <a:pt x="12" y="47"/>
                      <a:pt x="12" y="47"/>
                    </a:cubicBezTo>
                    <a:cubicBezTo>
                      <a:pt x="12" y="46"/>
                      <a:pt x="12" y="46"/>
                      <a:pt x="12" y="46"/>
                    </a:cubicBezTo>
                    <a:cubicBezTo>
                      <a:pt x="11" y="46"/>
                      <a:pt x="11" y="46"/>
                      <a:pt x="11" y="46"/>
                    </a:cubicBezTo>
                    <a:cubicBezTo>
                      <a:pt x="11" y="47"/>
                      <a:pt x="11" y="47"/>
                      <a:pt x="11" y="47"/>
                    </a:cubicBezTo>
                    <a:cubicBezTo>
                      <a:pt x="12" y="47"/>
                      <a:pt x="12" y="47"/>
                      <a:pt x="12" y="47"/>
                    </a:cubicBezTo>
                    <a:close/>
                    <a:moveTo>
                      <a:pt x="14" y="43"/>
                    </a:moveTo>
                    <a:cubicBezTo>
                      <a:pt x="15" y="43"/>
                      <a:pt x="15" y="43"/>
                      <a:pt x="15" y="43"/>
                    </a:cubicBezTo>
                    <a:cubicBezTo>
                      <a:pt x="14" y="43"/>
                      <a:pt x="14" y="43"/>
                      <a:pt x="14" y="43"/>
                    </a:cubicBezTo>
                    <a:cubicBezTo>
                      <a:pt x="14" y="43"/>
                      <a:pt x="14" y="43"/>
                      <a:pt x="14" y="43"/>
                    </a:cubicBezTo>
                    <a:close/>
                    <a:moveTo>
                      <a:pt x="14" y="42"/>
                    </a:moveTo>
                    <a:cubicBezTo>
                      <a:pt x="14" y="43"/>
                      <a:pt x="14" y="43"/>
                      <a:pt x="14" y="43"/>
                    </a:cubicBezTo>
                    <a:cubicBezTo>
                      <a:pt x="14" y="43"/>
                      <a:pt x="14" y="43"/>
                      <a:pt x="14" y="43"/>
                    </a:cubicBezTo>
                    <a:cubicBezTo>
                      <a:pt x="14" y="42"/>
                      <a:pt x="14" y="42"/>
                      <a:pt x="14" y="42"/>
                    </a:cubicBezTo>
                    <a:cubicBezTo>
                      <a:pt x="14" y="41"/>
                      <a:pt x="14" y="41"/>
                      <a:pt x="14" y="41"/>
                    </a:cubicBezTo>
                    <a:cubicBezTo>
                      <a:pt x="14" y="41"/>
                      <a:pt x="14" y="41"/>
                      <a:pt x="14" y="41"/>
                    </a:cubicBezTo>
                    <a:cubicBezTo>
                      <a:pt x="14" y="41"/>
                      <a:pt x="14" y="41"/>
                      <a:pt x="14" y="41"/>
                    </a:cubicBezTo>
                    <a:cubicBezTo>
                      <a:pt x="14" y="42"/>
                      <a:pt x="14" y="42"/>
                      <a:pt x="14" y="42"/>
                    </a:cubicBezTo>
                    <a:close/>
                    <a:moveTo>
                      <a:pt x="19" y="61"/>
                    </a:moveTo>
                    <a:cubicBezTo>
                      <a:pt x="20" y="62"/>
                      <a:pt x="20" y="62"/>
                      <a:pt x="20" y="62"/>
                    </a:cubicBezTo>
                    <a:cubicBezTo>
                      <a:pt x="20" y="61"/>
                      <a:pt x="20" y="61"/>
                      <a:pt x="20" y="60"/>
                    </a:cubicBezTo>
                    <a:cubicBezTo>
                      <a:pt x="19" y="60"/>
                      <a:pt x="19" y="60"/>
                      <a:pt x="19" y="60"/>
                    </a:cubicBezTo>
                    <a:cubicBezTo>
                      <a:pt x="19" y="60"/>
                      <a:pt x="19" y="60"/>
                      <a:pt x="19" y="60"/>
                    </a:cubicBezTo>
                    <a:cubicBezTo>
                      <a:pt x="19" y="60"/>
                      <a:pt x="19" y="60"/>
                      <a:pt x="19" y="60"/>
                    </a:cubicBezTo>
                    <a:cubicBezTo>
                      <a:pt x="19" y="60"/>
                      <a:pt x="19" y="60"/>
                      <a:pt x="19" y="60"/>
                    </a:cubicBezTo>
                    <a:lnTo>
                      <a:pt x="19" y="61"/>
                    </a:lnTo>
                    <a:close/>
                    <a:moveTo>
                      <a:pt x="12" y="58"/>
                    </a:moveTo>
                    <a:cubicBezTo>
                      <a:pt x="12" y="58"/>
                      <a:pt x="12" y="58"/>
                      <a:pt x="12" y="58"/>
                    </a:cubicBezTo>
                    <a:cubicBezTo>
                      <a:pt x="12" y="57"/>
                      <a:pt x="12" y="57"/>
                      <a:pt x="12" y="57"/>
                    </a:cubicBezTo>
                    <a:cubicBezTo>
                      <a:pt x="12" y="57"/>
                      <a:pt x="12" y="57"/>
                      <a:pt x="12" y="57"/>
                    </a:cubicBezTo>
                    <a:cubicBezTo>
                      <a:pt x="12" y="57"/>
                      <a:pt x="12" y="57"/>
                      <a:pt x="12" y="57"/>
                    </a:cubicBezTo>
                    <a:lnTo>
                      <a:pt x="12" y="58"/>
                    </a:lnTo>
                    <a:close/>
                    <a:moveTo>
                      <a:pt x="16" y="56"/>
                    </a:moveTo>
                    <a:cubicBezTo>
                      <a:pt x="16" y="56"/>
                      <a:pt x="16" y="56"/>
                      <a:pt x="16" y="56"/>
                    </a:cubicBezTo>
                    <a:cubicBezTo>
                      <a:pt x="16" y="55"/>
                      <a:pt x="16" y="55"/>
                      <a:pt x="16" y="55"/>
                    </a:cubicBezTo>
                    <a:cubicBezTo>
                      <a:pt x="16" y="56"/>
                      <a:pt x="16" y="56"/>
                      <a:pt x="16" y="56"/>
                    </a:cubicBezTo>
                    <a:close/>
                    <a:moveTo>
                      <a:pt x="12" y="53"/>
                    </a:moveTo>
                    <a:cubicBezTo>
                      <a:pt x="12" y="52"/>
                      <a:pt x="12" y="52"/>
                      <a:pt x="12" y="52"/>
                    </a:cubicBezTo>
                    <a:cubicBezTo>
                      <a:pt x="12" y="53"/>
                      <a:pt x="12" y="53"/>
                      <a:pt x="12" y="53"/>
                    </a:cubicBezTo>
                    <a:cubicBezTo>
                      <a:pt x="12" y="53"/>
                      <a:pt x="12" y="53"/>
                      <a:pt x="12" y="53"/>
                    </a:cubicBezTo>
                    <a:close/>
                    <a:moveTo>
                      <a:pt x="7" y="53"/>
                    </a:moveTo>
                    <a:cubicBezTo>
                      <a:pt x="8" y="53"/>
                      <a:pt x="8" y="53"/>
                      <a:pt x="8" y="53"/>
                    </a:cubicBezTo>
                    <a:cubicBezTo>
                      <a:pt x="8" y="53"/>
                      <a:pt x="8" y="53"/>
                      <a:pt x="8" y="53"/>
                    </a:cubicBezTo>
                    <a:cubicBezTo>
                      <a:pt x="9" y="52"/>
                      <a:pt x="9" y="52"/>
                      <a:pt x="9" y="52"/>
                    </a:cubicBezTo>
                    <a:cubicBezTo>
                      <a:pt x="9" y="52"/>
                      <a:pt x="9" y="52"/>
                      <a:pt x="9" y="52"/>
                    </a:cubicBezTo>
                    <a:cubicBezTo>
                      <a:pt x="7" y="52"/>
                      <a:pt x="7" y="52"/>
                      <a:pt x="7" y="52"/>
                    </a:cubicBezTo>
                    <a:lnTo>
                      <a:pt x="7" y="53"/>
                    </a:lnTo>
                    <a:close/>
                    <a:moveTo>
                      <a:pt x="10" y="51"/>
                    </a:moveTo>
                    <a:cubicBezTo>
                      <a:pt x="11" y="50"/>
                      <a:pt x="11" y="50"/>
                      <a:pt x="11" y="50"/>
                    </a:cubicBezTo>
                    <a:cubicBezTo>
                      <a:pt x="10" y="50"/>
                      <a:pt x="10" y="50"/>
                      <a:pt x="10" y="50"/>
                    </a:cubicBezTo>
                    <a:cubicBezTo>
                      <a:pt x="10" y="51"/>
                      <a:pt x="10" y="51"/>
                      <a:pt x="10" y="51"/>
                    </a:cubicBezTo>
                    <a:cubicBezTo>
                      <a:pt x="9" y="51"/>
                      <a:pt x="9" y="51"/>
                      <a:pt x="9" y="51"/>
                    </a:cubicBezTo>
                    <a:cubicBezTo>
                      <a:pt x="9" y="51"/>
                      <a:pt x="9" y="51"/>
                      <a:pt x="9" y="51"/>
                    </a:cubicBezTo>
                    <a:cubicBezTo>
                      <a:pt x="9" y="52"/>
                      <a:pt x="9" y="52"/>
                      <a:pt x="9" y="52"/>
                    </a:cubicBezTo>
                    <a:cubicBezTo>
                      <a:pt x="10" y="51"/>
                      <a:pt x="10" y="51"/>
                      <a:pt x="10" y="51"/>
                    </a:cubicBezTo>
                    <a:close/>
                    <a:moveTo>
                      <a:pt x="46" y="8"/>
                    </a:moveTo>
                    <a:cubicBezTo>
                      <a:pt x="46" y="8"/>
                      <a:pt x="46" y="8"/>
                      <a:pt x="46" y="8"/>
                    </a:cubicBezTo>
                    <a:cubicBezTo>
                      <a:pt x="46" y="9"/>
                      <a:pt x="46" y="9"/>
                      <a:pt x="46" y="9"/>
                    </a:cubicBezTo>
                    <a:cubicBezTo>
                      <a:pt x="46" y="9"/>
                      <a:pt x="46" y="9"/>
                      <a:pt x="46" y="9"/>
                    </a:cubicBezTo>
                    <a:lnTo>
                      <a:pt x="46" y="8"/>
                    </a:lnTo>
                    <a:close/>
                    <a:moveTo>
                      <a:pt x="47" y="7"/>
                    </a:moveTo>
                    <a:cubicBezTo>
                      <a:pt x="47" y="8"/>
                      <a:pt x="47" y="8"/>
                      <a:pt x="47" y="8"/>
                    </a:cubicBezTo>
                    <a:cubicBezTo>
                      <a:pt x="47" y="8"/>
                      <a:pt x="47" y="8"/>
                      <a:pt x="47" y="8"/>
                    </a:cubicBezTo>
                    <a:cubicBezTo>
                      <a:pt x="47" y="7"/>
                      <a:pt x="47" y="7"/>
                      <a:pt x="47" y="7"/>
                    </a:cubicBezTo>
                    <a:cubicBezTo>
                      <a:pt x="47" y="7"/>
                      <a:pt x="47" y="7"/>
                      <a:pt x="47" y="7"/>
                    </a:cubicBezTo>
                    <a:close/>
                    <a:moveTo>
                      <a:pt x="48" y="5"/>
                    </a:moveTo>
                    <a:cubicBezTo>
                      <a:pt x="48" y="5"/>
                      <a:pt x="48" y="5"/>
                      <a:pt x="48" y="5"/>
                    </a:cubicBezTo>
                    <a:cubicBezTo>
                      <a:pt x="48" y="5"/>
                      <a:pt x="48" y="5"/>
                      <a:pt x="48" y="5"/>
                    </a:cubicBezTo>
                    <a:cubicBezTo>
                      <a:pt x="47" y="5"/>
                      <a:pt x="47" y="5"/>
                      <a:pt x="47" y="5"/>
                    </a:cubicBezTo>
                    <a:lnTo>
                      <a:pt x="48" y="5"/>
                    </a:lnTo>
                    <a:close/>
                    <a:moveTo>
                      <a:pt x="49" y="2"/>
                    </a:moveTo>
                    <a:cubicBezTo>
                      <a:pt x="48" y="2"/>
                      <a:pt x="48" y="2"/>
                      <a:pt x="48" y="2"/>
                    </a:cubicBezTo>
                    <a:cubicBezTo>
                      <a:pt x="48" y="3"/>
                      <a:pt x="48" y="3"/>
                      <a:pt x="48" y="3"/>
                    </a:cubicBezTo>
                    <a:cubicBezTo>
                      <a:pt x="48" y="3"/>
                      <a:pt x="48" y="3"/>
                      <a:pt x="48" y="3"/>
                    </a:cubicBezTo>
                    <a:cubicBezTo>
                      <a:pt x="49" y="3"/>
                      <a:pt x="49" y="3"/>
                      <a:pt x="49" y="3"/>
                    </a:cubicBezTo>
                    <a:cubicBezTo>
                      <a:pt x="49" y="2"/>
                      <a:pt x="49" y="2"/>
                      <a:pt x="49" y="2"/>
                    </a:cubicBezTo>
                    <a:cubicBezTo>
                      <a:pt x="49" y="2"/>
                      <a:pt x="49" y="2"/>
                      <a:pt x="49" y="2"/>
                    </a:cubicBezTo>
                    <a:close/>
                    <a:moveTo>
                      <a:pt x="48" y="1"/>
                    </a:moveTo>
                    <a:cubicBezTo>
                      <a:pt x="49" y="1"/>
                      <a:pt x="49" y="1"/>
                      <a:pt x="49" y="1"/>
                    </a:cubicBezTo>
                    <a:cubicBezTo>
                      <a:pt x="49" y="0"/>
                      <a:pt x="49" y="0"/>
                      <a:pt x="49" y="0"/>
                    </a:cubicBezTo>
                    <a:cubicBezTo>
                      <a:pt x="49" y="0"/>
                      <a:pt x="49" y="0"/>
                      <a:pt x="49" y="0"/>
                    </a:cubicBezTo>
                    <a:cubicBezTo>
                      <a:pt x="48" y="0"/>
                      <a:pt x="48" y="0"/>
                      <a:pt x="48" y="0"/>
                    </a:cubicBezTo>
                    <a:cubicBezTo>
                      <a:pt x="48" y="0"/>
                      <a:pt x="48" y="0"/>
                      <a:pt x="48" y="0"/>
                    </a:cubicBezTo>
                    <a:cubicBezTo>
                      <a:pt x="48" y="0"/>
                      <a:pt x="48" y="0"/>
                      <a:pt x="48" y="0"/>
                    </a:cubicBezTo>
                    <a:cubicBezTo>
                      <a:pt x="48" y="0"/>
                      <a:pt x="48" y="1"/>
                      <a:pt x="48" y="1"/>
                    </a:cubicBezTo>
                    <a:cubicBezTo>
                      <a:pt x="49" y="1"/>
                      <a:pt x="49" y="1"/>
                      <a:pt x="49" y="1"/>
                    </a:cubicBezTo>
                    <a:lnTo>
                      <a:pt x="48" y="1"/>
                    </a:lnTo>
                    <a:close/>
                    <a:moveTo>
                      <a:pt x="4" y="46"/>
                    </a:moveTo>
                    <a:cubicBezTo>
                      <a:pt x="4" y="46"/>
                      <a:pt x="4" y="46"/>
                      <a:pt x="4" y="46"/>
                    </a:cubicBezTo>
                    <a:cubicBezTo>
                      <a:pt x="3" y="47"/>
                      <a:pt x="3" y="47"/>
                      <a:pt x="3" y="47"/>
                    </a:cubicBezTo>
                    <a:cubicBezTo>
                      <a:pt x="4" y="47"/>
                      <a:pt x="4" y="47"/>
                      <a:pt x="4" y="47"/>
                    </a:cubicBezTo>
                    <a:cubicBezTo>
                      <a:pt x="5" y="46"/>
                      <a:pt x="5" y="46"/>
                      <a:pt x="5" y="46"/>
                    </a:cubicBezTo>
                    <a:cubicBezTo>
                      <a:pt x="4" y="46"/>
                      <a:pt x="4" y="46"/>
                      <a:pt x="4" y="46"/>
                    </a:cubicBezTo>
                    <a:close/>
                    <a:moveTo>
                      <a:pt x="6" y="41"/>
                    </a:moveTo>
                    <a:cubicBezTo>
                      <a:pt x="5" y="41"/>
                      <a:pt x="5" y="41"/>
                      <a:pt x="5" y="41"/>
                    </a:cubicBezTo>
                    <a:cubicBezTo>
                      <a:pt x="5" y="41"/>
                      <a:pt x="5" y="41"/>
                      <a:pt x="5" y="41"/>
                    </a:cubicBezTo>
                    <a:cubicBezTo>
                      <a:pt x="6" y="42"/>
                      <a:pt x="6" y="42"/>
                      <a:pt x="6" y="42"/>
                    </a:cubicBezTo>
                    <a:cubicBezTo>
                      <a:pt x="6" y="42"/>
                      <a:pt x="6" y="42"/>
                      <a:pt x="6" y="42"/>
                    </a:cubicBezTo>
                    <a:cubicBezTo>
                      <a:pt x="6" y="41"/>
                      <a:pt x="6" y="41"/>
                      <a:pt x="6" y="41"/>
                    </a:cubicBezTo>
                    <a:cubicBezTo>
                      <a:pt x="6" y="41"/>
                      <a:pt x="6" y="41"/>
                      <a:pt x="6" y="41"/>
                    </a:cubicBezTo>
                    <a:close/>
                    <a:moveTo>
                      <a:pt x="9" y="33"/>
                    </a:moveTo>
                    <a:cubicBezTo>
                      <a:pt x="9" y="32"/>
                      <a:pt x="9" y="32"/>
                      <a:pt x="9" y="32"/>
                    </a:cubicBezTo>
                    <a:cubicBezTo>
                      <a:pt x="9" y="32"/>
                      <a:pt x="9" y="32"/>
                      <a:pt x="9" y="32"/>
                    </a:cubicBezTo>
                    <a:cubicBezTo>
                      <a:pt x="9" y="32"/>
                      <a:pt x="9" y="32"/>
                      <a:pt x="9" y="32"/>
                    </a:cubicBezTo>
                    <a:lnTo>
                      <a:pt x="9" y="33"/>
                    </a:lnTo>
                    <a:close/>
                    <a:moveTo>
                      <a:pt x="32" y="27"/>
                    </a:moveTo>
                    <a:cubicBezTo>
                      <a:pt x="33" y="26"/>
                      <a:pt x="33" y="26"/>
                      <a:pt x="33" y="26"/>
                    </a:cubicBezTo>
                    <a:cubicBezTo>
                      <a:pt x="33" y="26"/>
                      <a:pt x="33" y="26"/>
                      <a:pt x="33" y="26"/>
                    </a:cubicBezTo>
                    <a:cubicBezTo>
                      <a:pt x="32" y="26"/>
                      <a:pt x="32" y="26"/>
                      <a:pt x="32" y="26"/>
                    </a:cubicBezTo>
                    <a:cubicBezTo>
                      <a:pt x="33" y="26"/>
                      <a:pt x="33" y="26"/>
                      <a:pt x="33" y="26"/>
                    </a:cubicBezTo>
                    <a:cubicBezTo>
                      <a:pt x="32" y="25"/>
                      <a:pt x="32" y="25"/>
                      <a:pt x="32" y="25"/>
                    </a:cubicBezTo>
                    <a:cubicBezTo>
                      <a:pt x="32" y="25"/>
                      <a:pt x="32" y="25"/>
                      <a:pt x="32" y="25"/>
                    </a:cubicBezTo>
                    <a:cubicBezTo>
                      <a:pt x="31" y="25"/>
                      <a:pt x="31" y="25"/>
                      <a:pt x="31" y="25"/>
                    </a:cubicBezTo>
                    <a:cubicBezTo>
                      <a:pt x="31" y="25"/>
                      <a:pt x="31" y="25"/>
                      <a:pt x="31" y="25"/>
                    </a:cubicBezTo>
                    <a:cubicBezTo>
                      <a:pt x="32" y="26"/>
                      <a:pt x="32" y="26"/>
                      <a:pt x="32" y="26"/>
                    </a:cubicBezTo>
                    <a:lnTo>
                      <a:pt x="32" y="27"/>
                    </a:lnTo>
                    <a:close/>
                    <a:moveTo>
                      <a:pt x="32" y="24"/>
                    </a:moveTo>
                    <a:cubicBezTo>
                      <a:pt x="32" y="24"/>
                      <a:pt x="32" y="24"/>
                      <a:pt x="32" y="24"/>
                    </a:cubicBezTo>
                    <a:cubicBezTo>
                      <a:pt x="32" y="24"/>
                      <a:pt x="32" y="24"/>
                      <a:pt x="32" y="24"/>
                    </a:cubicBezTo>
                    <a:cubicBezTo>
                      <a:pt x="33" y="24"/>
                      <a:pt x="33" y="24"/>
                      <a:pt x="33" y="24"/>
                    </a:cubicBezTo>
                    <a:cubicBezTo>
                      <a:pt x="32" y="24"/>
                      <a:pt x="32" y="24"/>
                      <a:pt x="32" y="24"/>
                    </a:cubicBezTo>
                    <a:cubicBezTo>
                      <a:pt x="33" y="25"/>
                      <a:pt x="33" y="25"/>
                      <a:pt x="33" y="25"/>
                    </a:cubicBezTo>
                    <a:cubicBezTo>
                      <a:pt x="33" y="25"/>
                      <a:pt x="33" y="25"/>
                      <a:pt x="33" y="25"/>
                    </a:cubicBezTo>
                    <a:cubicBezTo>
                      <a:pt x="33" y="25"/>
                      <a:pt x="33" y="25"/>
                      <a:pt x="33" y="25"/>
                    </a:cubicBezTo>
                    <a:cubicBezTo>
                      <a:pt x="34" y="24"/>
                      <a:pt x="34" y="24"/>
                      <a:pt x="34" y="24"/>
                    </a:cubicBezTo>
                    <a:cubicBezTo>
                      <a:pt x="34" y="25"/>
                      <a:pt x="34" y="25"/>
                      <a:pt x="34" y="25"/>
                    </a:cubicBezTo>
                    <a:cubicBezTo>
                      <a:pt x="35" y="25"/>
                      <a:pt x="35" y="25"/>
                      <a:pt x="35" y="25"/>
                    </a:cubicBezTo>
                    <a:cubicBezTo>
                      <a:pt x="36" y="25"/>
                      <a:pt x="36" y="25"/>
                      <a:pt x="36" y="25"/>
                    </a:cubicBezTo>
                    <a:cubicBezTo>
                      <a:pt x="36" y="24"/>
                      <a:pt x="36" y="24"/>
                      <a:pt x="36" y="24"/>
                    </a:cubicBezTo>
                    <a:cubicBezTo>
                      <a:pt x="35" y="25"/>
                      <a:pt x="35" y="25"/>
                      <a:pt x="35" y="25"/>
                    </a:cubicBezTo>
                    <a:cubicBezTo>
                      <a:pt x="35" y="24"/>
                      <a:pt x="35" y="24"/>
                      <a:pt x="35" y="24"/>
                    </a:cubicBezTo>
                    <a:cubicBezTo>
                      <a:pt x="35" y="24"/>
                      <a:pt x="35" y="24"/>
                      <a:pt x="35" y="24"/>
                    </a:cubicBezTo>
                    <a:cubicBezTo>
                      <a:pt x="34" y="24"/>
                      <a:pt x="34" y="24"/>
                      <a:pt x="34" y="24"/>
                    </a:cubicBezTo>
                    <a:cubicBezTo>
                      <a:pt x="34" y="24"/>
                      <a:pt x="34" y="24"/>
                      <a:pt x="34" y="24"/>
                    </a:cubicBezTo>
                    <a:cubicBezTo>
                      <a:pt x="33" y="24"/>
                      <a:pt x="33" y="24"/>
                      <a:pt x="33" y="24"/>
                    </a:cubicBezTo>
                    <a:cubicBezTo>
                      <a:pt x="33" y="24"/>
                      <a:pt x="33" y="24"/>
                      <a:pt x="33" y="24"/>
                    </a:cubicBezTo>
                    <a:cubicBezTo>
                      <a:pt x="34" y="23"/>
                      <a:pt x="34" y="23"/>
                      <a:pt x="34" y="23"/>
                    </a:cubicBezTo>
                    <a:cubicBezTo>
                      <a:pt x="33" y="23"/>
                      <a:pt x="33" y="23"/>
                      <a:pt x="33" y="23"/>
                    </a:cubicBezTo>
                    <a:cubicBezTo>
                      <a:pt x="33" y="22"/>
                      <a:pt x="33" y="22"/>
                      <a:pt x="33" y="22"/>
                    </a:cubicBezTo>
                    <a:cubicBezTo>
                      <a:pt x="33" y="22"/>
                      <a:pt x="33" y="22"/>
                      <a:pt x="32" y="22"/>
                    </a:cubicBezTo>
                    <a:cubicBezTo>
                      <a:pt x="32" y="22"/>
                      <a:pt x="32" y="22"/>
                      <a:pt x="32" y="22"/>
                    </a:cubicBezTo>
                    <a:cubicBezTo>
                      <a:pt x="32" y="23"/>
                      <a:pt x="32" y="23"/>
                      <a:pt x="32" y="24"/>
                    </a:cubicBezTo>
                    <a:cubicBezTo>
                      <a:pt x="32" y="24"/>
                      <a:pt x="32" y="24"/>
                      <a:pt x="32" y="24"/>
                    </a:cubicBezTo>
                    <a:close/>
                    <a:moveTo>
                      <a:pt x="36" y="22"/>
                    </a:moveTo>
                    <a:cubicBezTo>
                      <a:pt x="36" y="21"/>
                      <a:pt x="36" y="21"/>
                      <a:pt x="36" y="21"/>
                    </a:cubicBezTo>
                    <a:cubicBezTo>
                      <a:pt x="37" y="21"/>
                      <a:pt x="37" y="21"/>
                      <a:pt x="37" y="21"/>
                    </a:cubicBezTo>
                    <a:cubicBezTo>
                      <a:pt x="37" y="21"/>
                      <a:pt x="37" y="21"/>
                      <a:pt x="37" y="21"/>
                    </a:cubicBezTo>
                    <a:cubicBezTo>
                      <a:pt x="37" y="21"/>
                      <a:pt x="37" y="21"/>
                      <a:pt x="37" y="21"/>
                    </a:cubicBezTo>
                    <a:cubicBezTo>
                      <a:pt x="38" y="21"/>
                      <a:pt x="38" y="21"/>
                      <a:pt x="38" y="21"/>
                    </a:cubicBezTo>
                    <a:cubicBezTo>
                      <a:pt x="36" y="21"/>
                      <a:pt x="36" y="21"/>
                      <a:pt x="36" y="21"/>
                    </a:cubicBezTo>
                    <a:cubicBezTo>
                      <a:pt x="37" y="20"/>
                      <a:pt x="37" y="20"/>
                      <a:pt x="37" y="20"/>
                    </a:cubicBezTo>
                    <a:cubicBezTo>
                      <a:pt x="36" y="21"/>
                      <a:pt x="36" y="21"/>
                      <a:pt x="36" y="21"/>
                    </a:cubicBezTo>
                    <a:cubicBezTo>
                      <a:pt x="36" y="21"/>
                      <a:pt x="36" y="21"/>
                      <a:pt x="36" y="21"/>
                    </a:cubicBezTo>
                    <a:cubicBezTo>
                      <a:pt x="36" y="21"/>
                      <a:pt x="36" y="21"/>
                      <a:pt x="36" y="21"/>
                    </a:cubicBezTo>
                    <a:lnTo>
                      <a:pt x="36" y="22"/>
                    </a:lnTo>
                    <a:close/>
                    <a:moveTo>
                      <a:pt x="14" y="46"/>
                    </a:moveTo>
                    <a:cubicBezTo>
                      <a:pt x="14" y="46"/>
                      <a:pt x="14" y="46"/>
                      <a:pt x="14" y="46"/>
                    </a:cubicBezTo>
                    <a:cubicBezTo>
                      <a:pt x="14" y="46"/>
                      <a:pt x="14" y="46"/>
                      <a:pt x="14" y="46"/>
                    </a:cubicBezTo>
                    <a:cubicBezTo>
                      <a:pt x="15" y="45"/>
                      <a:pt x="15" y="45"/>
                      <a:pt x="15" y="45"/>
                    </a:cubicBezTo>
                    <a:cubicBezTo>
                      <a:pt x="15" y="45"/>
                      <a:pt x="15" y="45"/>
                      <a:pt x="15" y="45"/>
                    </a:cubicBezTo>
                    <a:cubicBezTo>
                      <a:pt x="16" y="45"/>
                      <a:pt x="16" y="45"/>
                      <a:pt x="16" y="45"/>
                    </a:cubicBezTo>
                    <a:cubicBezTo>
                      <a:pt x="16" y="44"/>
                      <a:pt x="16" y="44"/>
                      <a:pt x="16" y="44"/>
                    </a:cubicBezTo>
                    <a:cubicBezTo>
                      <a:pt x="16" y="44"/>
                      <a:pt x="16" y="44"/>
                      <a:pt x="16" y="44"/>
                    </a:cubicBezTo>
                    <a:cubicBezTo>
                      <a:pt x="15" y="44"/>
                      <a:pt x="15" y="44"/>
                      <a:pt x="15" y="44"/>
                    </a:cubicBezTo>
                    <a:cubicBezTo>
                      <a:pt x="15" y="44"/>
                      <a:pt x="15" y="44"/>
                      <a:pt x="15" y="44"/>
                    </a:cubicBezTo>
                    <a:cubicBezTo>
                      <a:pt x="14" y="43"/>
                      <a:pt x="14" y="43"/>
                      <a:pt x="14" y="43"/>
                    </a:cubicBezTo>
                    <a:cubicBezTo>
                      <a:pt x="13" y="44"/>
                      <a:pt x="13" y="44"/>
                      <a:pt x="13" y="44"/>
                    </a:cubicBezTo>
                    <a:cubicBezTo>
                      <a:pt x="14" y="43"/>
                      <a:pt x="14" y="43"/>
                      <a:pt x="14" y="43"/>
                    </a:cubicBezTo>
                    <a:cubicBezTo>
                      <a:pt x="13" y="43"/>
                      <a:pt x="13" y="43"/>
                      <a:pt x="13" y="43"/>
                    </a:cubicBezTo>
                    <a:cubicBezTo>
                      <a:pt x="13" y="43"/>
                      <a:pt x="13" y="43"/>
                      <a:pt x="13" y="43"/>
                    </a:cubicBezTo>
                    <a:cubicBezTo>
                      <a:pt x="13" y="42"/>
                      <a:pt x="13" y="42"/>
                      <a:pt x="13" y="42"/>
                    </a:cubicBezTo>
                    <a:cubicBezTo>
                      <a:pt x="13" y="41"/>
                      <a:pt x="13" y="41"/>
                      <a:pt x="13" y="40"/>
                    </a:cubicBezTo>
                    <a:cubicBezTo>
                      <a:pt x="12" y="39"/>
                      <a:pt x="12" y="39"/>
                      <a:pt x="12" y="39"/>
                    </a:cubicBezTo>
                    <a:cubicBezTo>
                      <a:pt x="11" y="39"/>
                      <a:pt x="11" y="39"/>
                      <a:pt x="11" y="39"/>
                    </a:cubicBezTo>
                    <a:cubicBezTo>
                      <a:pt x="12" y="40"/>
                      <a:pt x="12" y="40"/>
                      <a:pt x="12" y="40"/>
                    </a:cubicBezTo>
                    <a:cubicBezTo>
                      <a:pt x="12" y="40"/>
                      <a:pt x="12" y="40"/>
                      <a:pt x="12" y="40"/>
                    </a:cubicBezTo>
                    <a:cubicBezTo>
                      <a:pt x="12" y="40"/>
                      <a:pt x="12" y="40"/>
                      <a:pt x="12" y="40"/>
                    </a:cubicBezTo>
                    <a:cubicBezTo>
                      <a:pt x="12" y="41"/>
                      <a:pt x="12" y="41"/>
                      <a:pt x="12" y="41"/>
                    </a:cubicBezTo>
                    <a:cubicBezTo>
                      <a:pt x="12" y="41"/>
                      <a:pt x="12" y="41"/>
                      <a:pt x="12" y="41"/>
                    </a:cubicBezTo>
                    <a:cubicBezTo>
                      <a:pt x="11" y="41"/>
                      <a:pt x="11" y="41"/>
                      <a:pt x="11" y="41"/>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1"/>
                      <a:pt x="10" y="41"/>
                      <a:pt x="10" y="41"/>
                    </a:cubicBezTo>
                    <a:cubicBezTo>
                      <a:pt x="10" y="41"/>
                      <a:pt x="10" y="41"/>
                      <a:pt x="10" y="41"/>
                    </a:cubicBezTo>
                    <a:cubicBezTo>
                      <a:pt x="10" y="41"/>
                      <a:pt x="10" y="41"/>
                      <a:pt x="10" y="41"/>
                    </a:cubicBezTo>
                    <a:cubicBezTo>
                      <a:pt x="9" y="41"/>
                      <a:pt x="9" y="41"/>
                      <a:pt x="9" y="41"/>
                    </a:cubicBezTo>
                    <a:cubicBezTo>
                      <a:pt x="9" y="41"/>
                      <a:pt x="9" y="41"/>
                      <a:pt x="9" y="41"/>
                    </a:cubicBezTo>
                    <a:cubicBezTo>
                      <a:pt x="9" y="41"/>
                      <a:pt x="9" y="41"/>
                      <a:pt x="9" y="41"/>
                    </a:cubicBezTo>
                    <a:cubicBezTo>
                      <a:pt x="9" y="41"/>
                      <a:pt x="9" y="41"/>
                      <a:pt x="9" y="41"/>
                    </a:cubicBezTo>
                    <a:cubicBezTo>
                      <a:pt x="9" y="42"/>
                      <a:pt x="9" y="42"/>
                      <a:pt x="9" y="42"/>
                    </a:cubicBezTo>
                    <a:cubicBezTo>
                      <a:pt x="10" y="43"/>
                      <a:pt x="10" y="43"/>
                      <a:pt x="10" y="43"/>
                    </a:cubicBezTo>
                    <a:cubicBezTo>
                      <a:pt x="11" y="42"/>
                      <a:pt x="11" y="42"/>
                      <a:pt x="11" y="42"/>
                    </a:cubicBezTo>
                    <a:cubicBezTo>
                      <a:pt x="11" y="42"/>
                      <a:pt x="11" y="42"/>
                      <a:pt x="11" y="42"/>
                    </a:cubicBezTo>
                    <a:cubicBezTo>
                      <a:pt x="11" y="42"/>
                      <a:pt x="11" y="42"/>
                      <a:pt x="11" y="42"/>
                    </a:cubicBezTo>
                    <a:cubicBezTo>
                      <a:pt x="11" y="43"/>
                      <a:pt x="11" y="43"/>
                      <a:pt x="11" y="43"/>
                    </a:cubicBezTo>
                    <a:cubicBezTo>
                      <a:pt x="11" y="43"/>
                      <a:pt x="11" y="43"/>
                      <a:pt x="11" y="43"/>
                    </a:cubicBezTo>
                    <a:cubicBezTo>
                      <a:pt x="12" y="43"/>
                      <a:pt x="12" y="43"/>
                      <a:pt x="12" y="43"/>
                    </a:cubicBezTo>
                    <a:cubicBezTo>
                      <a:pt x="11" y="43"/>
                      <a:pt x="11" y="43"/>
                      <a:pt x="11" y="43"/>
                    </a:cubicBezTo>
                    <a:cubicBezTo>
                      <a:pt x="11" y="43"/>
                      <a:pt x="11" y="43"/>
                      <a:pt x="11" y="43"/>
                    </a:cubicBezTo>
                    <a:cubicBezTo>
                      <a:pt x="12" y="45"/>
                      <a:pt x="12" y="45"/>
                      <a:pt x="12" y="45"/>
                    </a:cubicBezTo>
                    <a:cubicBezTo>
                      <a:pt x="12" y="44"/>
                      <a:pt x="12" y="44"/>
                      <a:pt x="12" y="44"/>
                    </a:cubicBezTo>
                    <a:cubicBezTo>
                      <a:pt x="12" y="45"/>
                      <a:pt x="12" y="45"/>
                      <a:pt x="12" y="45"/>
                    </a:cubicBezTo>
                    <a:cubicBezTo>
                      <a:pt x="13" y="45"/>
                      <a:pt x="13" y="45"/>
                      <a:pt x="13" y="45"/>
                    </a:cubicBezTo>
                    <a:cubicBezTo>
                      <a:pt x="13" y="45"/>
                      <a:pt x="13" y="45"/>
                      <a:pt x="13" y="45"/>
                    </a:cubicBezTo>
                    <a:cubicBezTo>
                      <a:pt x="13" y="45"/>
                      <a:pt x="13" y="45"/>
                      <a:pt x="13" y="45"/>
                    </a:cubicBezTo>
                    <a:cubicBezTo>
                      <a:pt x="14" y="45"/>
                      <a:pt x="14" y="45"/>
                      <a:pt x="14" y="45"/>
                    </a:cubicBezTo>
                    <a:cubicBezTo>
                      <a:pt x="14" y="45"/>
                      <a:pt x="14" y="45"/>
                      <a:pt x="14" y="45"/>
                    </a:cubicBezTo>
                    <a:cubicBezTo>
                      <a:pt x="15" y="45"/>
                      <a:pt x="15" y="45"/>
                      <a:pt x="15" y="45"/>
                    </a:cubicBezTo>
                    <a:cubicBezTo>
                      <a:pt x="14" y="45"/>
                      <a:pt x="14" y="45"/>
                      <a:pt x="14" y="45"/>
                    </a:cubicBezTo>
                    <a:cubicBezTo>
                      <a:pt x="14" y="45"/>
                      <a:pt x="14" y="46"/>
                      <a:pt x="14" y="46"/>
                    </a:cubicBezTo>
                    <a:close/>
                    <a:moveTo>
                      <a:pt x="18" y="62"/>
                    </a:moveTo>
                    <a:cubicBezTo>
                      <a:pt x="17" y="63"/>
                      <a:pt x="17" y="63"/>
                      <a:pt x="17" y="63"/>
                    </a:cubicBezTo>
                    <a:cubicBezTo>
                      <a:pt x="17" y="63"/>
                      <a:pt x="17" y="63"/>
                      <a:pt x="17" y="63"/>
                    </a:cubicBezTo>
                    <a:cubicBezTo>
                      <a:pt x="18" y="64"/>
                      <a:pt x="18" y="64"/>
                      <a:pt x="18" y="64"/>
                    </a:cubicBezTo>
                    <a:cubicBezTo>
                      <a:pt x="18" y="65"/>
                      <a:pt x="18" y="65"/>
                      <a:pt x="18" y="65"/>
                    </a:cubicBezTo>
                    <a:cubicBezTo>
                      <a:pt x="18" y="65"/>
                      <a:pt x="18" y="65"/>
                      <a:pt x="18" y="65"/>
                    </a:cubicBezTo>
                    <a:cubicBezTo>
                      <a:pt x="19" y="65"/>
                      <a:pt x="19" y="65"/>
                      <a:pt x="19" y="65"/>
                    </a:cubicBezTo>
                    <a:cubicBezTo>
                      <a:pt x="19" y="65"/>
                      <a:pt x="19" y="65"/>
                      <a:pt x="19" y="65"/>
                    </a:cubicBezTo>
                    <a:cubicBezTo>
                      <a:pt x="19" y="64"/>
                      <a:pt x="19" y="64"/>
                      <a:pt x="19" y="64"/>
                    </a:cubicBezTo>
                    <a:cubicBezTo>
                      <a:pt x="19" y="64"/>
                      <a:pt x="19" y="64"/>
                      <a:pt x="19" y="64"/>
                    </a:cubicBezTo>
                    <a:cubicBezTo>
                      <a:pt x="19" y="62"/>
                      <a:pt x="19" y="62"/>
                      <a:pt x="19" y="62"/>
                    </a:cubicBezTo>
                    <a:cubicBezTo>
                      <a:pt x="18" y="62"/>
                      <a:pt x="18" y="62"/>
                      <a:pt x="18" y="62"/>
                    </a:cubicBezTo>
                    <a:close/>
                    <a:moveTo>
                      <a:pt x="13" y="61"/>
                    </a:moveTo>
                    <a:cubicBezTo>
                      <a:pt x="13" y="61"/>
                      <a:pt x="13" y="61"/>
                      <a:pt x="13" y="61"/>
                    </a:cubicBezTo>
                    <a:cubicBezTo>
                      <a:pt x="13" y="60"/>
                      <a:pt x="12" y="60"/>
                      <a:pt x="12" y="59"/>
                    </a:cubicBezTo>
                    <a:cubicBezTo>
                      <a:pt x="12" y="59"/>
                      <a:pt x="12" y="59"/>
                      <a:pt x="12" y="59"/>
                    </a:cubicBezTo>
                    <a:cubicBezTo>
                      <a:pt x="11" y="60"/>
                      <a:pt x="11" y="60"/>
                      <a:pt x="11" y="60"/>
                    </a:cubicBezTo>
                    <a:cubicBezTo>
                      <a:pt x="11" y="60"/>
                      <a:pt x="11" y="60"/>
                      <a:pt x="11" y="60"/>
                    </a:cubicBezTo>
                    <a:cubicBezTo>
                      <a:pt x="10" y="60"/>
                      <a:pt x="10" y="60"/>
                      <a:pt x="10" y="60"/>
                    </a:cubicBezTo>
                    <a:cubicBezTo>
                      <a:pt x="10" y="61"/>
                      <a:pt x="10" y="61"/>
                      <a:pt x="10" y="61"/>
                    </a:cubicBezTo>
                    <a:cubicBezTo>
                      <a:pt x="10" y="61"/>
                      <a:pt x="10" y="61"/>
                      <a:pt x="10" y="61"/>
                    </a:cubicBezTo>
                    <a:cubicBezTo>
                      <a:pt x="10" y="61"/>
                      <a:pt x="10" y="61"/>
                      <a:pt x="10" y="61"/>
                    </a:cubicBezTo>
                    <a:cubicBezTo>
                      <a:pt x="10" y="62"/>
                      <a:pt x="10" y="62"/>
                      <a:pt x="10" y="62"/>
                    </a:cubicBezTo>
                    <a:cubicBezTo>
                      <a:pt x="10" y="62"/>
                      <a:pt x="10" y="62"/>
                      <a:pt x="10" y="62"/>
                    </a:cubicBezTo>
                    <a:cubicBezTo>
                      <a:pt x="10" y="62"/>
                      <a:pt x="11" y="61"/>
                      <a:pt x="11" y="61"/>
                    </a:cubicBezTo>
                    <a:cubicBezTo>
                      <a:pt x="11" y="61"/>
                      <a:pt x="11" y="61"/>
                      <a:pt x="11" y="61"/>
                    </a:cubicBezTo>
                    <a:cubicBezTo>
                      <a:pt x="11" y="61"/>
                      <a:pt x="11" y="61"/>
                      <a:pt x="11" y="61"/>
                    </a:cubicBezTo>
                    <a:cubicBezTo>
                      <a:pt x="11" y="62"/>
                      <a:pt x="11" y="62"/>
                      <a:pt x="11" y="62"/>
                    </a:cubicBezTo>
                    <a:cubicBezTo>
                      <a:pt x="11" y="63"/>
                      <a:pt x="11" y="63"/>
                      <a:pt x="11" y="63"/>
                    </a:cubicBezTo>
                    <a:cubicBezTo>
                      <a:pt x="11" y="63"/>
                      <a:pt x="11" y="63"/>
                      <a:pt x="11" y="63"/>
                    </a:cubicBezTo>
                    <a:cubicBezTo>
                      <a:pt x="11" y="63"/>
                      <a:pt x="11" y="63"/>
                      <a:pt x="11" y="63"/>
                    </a:cubicBezTo>
                    <a:cubicBezTo>
                      <a:pt x="12" y="63"/>
                      <a:pt x="12" y="63"/>
                      <a:pt x="12" y="63"/>
                    </a:cubicBezTo>
                    <a:cubicBezTo>
                      <a:pt x="12" y="63"/>
                      <a:pt x="12" y="63"/>
                      <a:pt x="12" y="63"/>
                    </a:cubicBezTo>
                    <a:cubicBezTo>
                      <a:pt x="13" y="62"/>
                      <a:pt x="13" y="62"/>
                      <a:pt x="13" y="62"/>
                    </a:cubicBezTo>
                    <a:lnTo>
                      <a:pt x="13" y="61"/>
                    </a:lnTo>
                    <a:close/>
                    <a:moveTo>
                      <a:pt x="13" y="61"/>
                    </a:moveTo>
                    <a:cubicBezTo>
                      <a:pt x="13" y="61"/>
                      <a:pt x="13" y="61"/>
                      <a:pt x="13" y="61"/>
                    </a:cubicBezTo>
                    <a:cubicBezTo>
                      <a:pt x="14" y="60"/>
                      <a:pt x="14" y="60"/>
                      <a:pt x="14" y="60"/>
                    </a:cubicBezTo>
                    <a:cubicBezTo>
                      <a:pt x="14" y="60"/>
                      <a:pt x="14" y="60"/>
                      <a:pt x="14" y="60"/>
                    </a:cubicBezTo>
                    <a:cubicBezTo>
                      <a:pt x="14" y="59"/>
                      <a:pt x="15" y="58"/>
                      <a:pt x="15" y="57"/>
                    </a:cubicBezTo>
                    <a:cubicBezTo>
                      <a:pt x="15" y="57"/>
                      <a:pt x="15" y="57"/>
                      <a:pt x="15" y="57"/>
                    </a:cubicBezTo>
                    <a:cubicBezTo>
                      <a:pt x="15" y="57"/>
                      <a:pt x="15" y="57"/>
                      <a:pt x="15" y="57"/>
                    </a:cubicBezTo>
                    <a:cubicBezTo>
                      <a:pt x="15" y="57"/>
                      <a:pt x="14" y="58"/>
                      <a:pt x="14" y="58"/>
                    </a:cubicBezTo>
                    <a:cubicBezTo>
                      <a:pt x="13" y="58"/>
                      <a:pt x="13" y="58"/>
                      <a:pt x="13" y="58"/>
                    </a:cubicBezTo>
                    <a:cubicBezTo>
                      <a:pt x="13" y="59"/>
                      <a:pt x="13" y="59"/>
                      <a:pt x="13" y="59"/>
                    </a:cubicBezTo>
                    <a:cubicBezTo>
                      <a:pt x="14" y="59"/>
                      <a:pt x="14" y="59"/>
                      <a:pt x="14" y="59"/>
                    </a:cubicBezTo>
                    <a:cubicBezTo>
                      <a:pt x="14" y="59"/>
                      <a:pt x="13" y="59"/>
                      <a:pt x="13" y="59"/>
                    </a:cubicBezTo>
                    <a:cubicBezTo>
                      <a:pt x="13" y="60"/>
                      <a:pt x="13" y="60"/>
                      <a:pt x="13" y="61"/>
                    </a:cubicBezTo>
                    <a:close/>
                    <a:moveTo>
                      <a:pt x="15" y="52"/>
                    </a:moveTo>
                    <a:cubicBezTo>
                      <a:pt x="14" y="52"/>
                      <a:pt x="14" y="52"/>
                      <a:pt x="14" y="52"/>
                    </a:cubicBezTo>
                    <a:cubicBezTo>
                      <a:pt x="13" y="51"/>
                      <a:pt x="13" y="51"/>
                      <a:pt x="13" y="51"/>
                    </a:cubicBezTo>
                    <a:cubicBezTo>
                      <a:pt x="13" y="51"/>
                      <a:pt x="13" y="51"/>
                      <a:pt x="13" y="51"/>
                    </a:cubicBezTo>
                    <a:cubicBezTo>
                      <a:pt x="12" y="51"/>
                      <a:pt x="12" y="51"/>
                      <a:pt x="12" y="51"/>
                    </a:cubicBezTo>
                    <a:cubicBezTo>
                      <a:pt x="12" y="51"/>
                      <a:pt x="12" y="51"/>
                      <a:pt x="12" y="51"/>
                    </a:cubicBezTo>
                    <a:cubicBezTo>
                      <a:pt x="11" y="51"/>
                      <a:pt x="11" y="51"/>
                      <a:pt x="11" y="51"/>
                    </a:cubicBezTo>
                    <a:cubicBezTo>
                      <a:pt x="12" y="52"/>
                      <a:pt x="12" y="52"/>
                      <a:pt x="12" y="52"/>
                    </a:cubicBezTo>
                    <a:cubicBezTo>
                      <a:pt x="11" y="52"/>
                      <a:pt x="11" y="52"/>
                      <a:pt x="11" y="52"/>
                    </a:cubicBezTo>
                    <a:cubicBezTo>
                      <a:pt x="12" y="52"/>
                      <a:pt x="12" y="52"/>
                      <a:pt x="12" y="52"/>
                    </a:cubicBezTo>
                    <a:cubicBezTo>
                      <a:pt x="12" y="52"/>
                      <a:pt x="12" y="52"/>
                      <a:pt x="12" y="52"/>
                    </a:cubicBezTo>
                    <a:cubicBezTo>
                      <a:pt x="13" y="53"/>
                      <a:pt x="13" y="53"/>
                      <a:pt x="13" y="53"/>
                    </a:cubicBezTo>
                    <a:cubicBezTo>
                      <a:pt x="13" y="53"/>
                      <a:pt x="13" y="53"/>
                      <a:pt x="13" y="53"/>
                    </a:cubicBezTo>
                    <a:cubicBezTo>
                      <a:pt x="13" y="53"/>
                      <a:pt x="13" y="53"/>
                      <a:pt x="13" y="53"/>
                    </a:cubicBezTo>
                    <a:cubicBezTo>
                      <a:pt x="13" y="53"/>
                      <a:pt x="13" y="53"/>
                      <a:pt x="13" y="53"/>
                    </a:cubicBezTo>
                    <a:cubicBezTo>
                      <a:pt x="12" y="54"/>
                      <a:pt x="12" y="54"/>
                      <a:pt x="12" y="54"/>
                    </a:cubicBezTo>
                    <a:cubicBezTo>
                      <a:pt x="12" y="54"/>
                      <a:pt x="12" y="54"/>
                      <a:pt x="12" y="54"/>
                    </a:cubicBezTo>
                    <a:cubicBezTo>
                      <a:pt x="13" y="54"/>
                      <a:pt x="13" y="54"/>
                      <a:pt x="13" y="54"/>
                    </a:cubicBezTo>
                    <a:cubicBezTo>
                      <a:pt x="13" y="54"/>
                      <a:pt x="12" y="55"/>
                      <a:pt x="12" y="55"/>
                    </a:cubicBezTo>
                    <a:cubicBezTo>
                      <a:pt x="12" y="54"/>
                      <a:pt x="12" y="54"/>
                      <a:pt x="12" y="54"/>
                    </a:cubicBezTo>
                    <a:cubicBezTo>
                      <a:pt x="11" y="55"/>
                      <a:pt x="11" y="55"/>
                      <a:pt x="11" y="55"/>
                    </a:cubicBezTo>
                    <a:cubicBezTo>
                      <a:pt x="11" y="55"/>
                      <a:pt x="11" y="55"/>
                      <a:pt x="11" y="55"/>
                    </a:cubicBezTo>
                    <a:cubicBezTo>
                      <a:pt x="12" y="55"/>
                      <a:pt x="12" y="55"/>
                      <a:pt x="12" y="55"/>
                    </a:cubicBezTo>
                    <a:cubicBezTo>
                      <a:pt x="12" y="55"/>
                      <a:pt x="12" y="55"/>
                      <a:pt x="12" y="55"/>
                    </a:cubicBezTo>
                    <a:cubicBezTo>
                      <a:pt x="12" y="55"/>
                      <a:pt x="12" y="55"/>
                      <a:pt x="12" y="55"/>
                    </a:cubicBezTo>
                    <a:cubicBezTo>
                      <a:pt x="14" y="55"/>
                      <a:pt x="14" y="55"/>
                      <a:pt x="14" y="55"/>
                    </a:cubicBezTo>
                    <a:cubicBezTo>
                      <a:pt x="15" y="55"/>
                      <a:pt x="15" y="55"/>
                      <a:pt x="15" y="55"/>
                    </a:cubicBezTo>
                    <a:cubicBezTo>
                      <a:pt x="16" y="54"/>
                      <a:pt x="16" y="54"/>
                      <a:pt x="16" y="54"/>
                    </a:cubicBezTo>
                    <a:cubicBezTo>
                      <a:pt x="15" y="54"/>
                      <a:pt x="15" y="54"/>
                      <a:pt x="15" y="54"/>
                    </a:cubicBezTo>
                    <a:cubicBezTo>
                      <a:pt x="15" y="54"/>
                      <a:pt x="15" y="54"/>
                      <a:pt x="15" y="54"/>
                    </a:cubicBezTo>
                    <a:cubicBezTo>
                      <a:pt x="16" y="54"/>
                      <a:pt x="16" y="54"/>
                      <a:pt x="16" y="54"/>
                    </a:cubicBezTo>
                    <a:cubicBezTo>
                      <a:pt x="16" y="54"/>
                      <a:pt x="16" y="54"/>
                      <a:pt x="16" y="54"/>
                    </a:cubicBezTo>
                    <a:cubicBezTo>
                      <a:pt x="15" y="53"/>
                      <a:pt x="15" y="53"/>
                      <a:pt x="15" y="53"/>
                    </a:cubicBezTo>
                    <a:lnTo>
                      <a:pt x="15" y="52"/>
                    </a:lnTo>
                    <a:close/>
                    <a:moveTo>
                      <a:pt x="44" y="7"/>
                    </a:moveTo>
                    <a:cubicBezTo>
                      <a:pt x="45" y="7"/>
                      <a:pt x="45" y="7"/>
                      <a:pt x="45" y="7"/>
                    </a:cubicBezTo>
                    <a:cubicBezTo>
                      <a:pt x="45" y="7"/>
                      <a:pt x="45" y="7"/>
                      <a:pt x="45" y="7"/>
                    </a:cubicBezTo>
                    <a:cubicBezTo>
                      <a:pt x="44" y="7"/>
                      <a:pt x="44" y="7"/>
                      <a:pt x="44" y="7"/>
                    </a:cubicBezTo>
                    <a:cubicBezTo>
                      <a:pt x="45" y="8"/>
                      <a:pt x="45" y="8"/>
                      <a:pt x="45" y="8"/>
                    </a:cubicBezTo>
                    <a:cubicBezTo>
                      <a:pt x="45" y="7"/>
                      <a:pt x="45" y="7"/>
                      <a:pt x="45" y="7"/>
                    </a:cubicBezTo>
                    <a:cubicBezTo>
                      <a:pt x="46" y="7"/>
                      <a:pt x="46" y="7"/>
                      <a:pt x="46" y="7"/>
                    </a:cubicBezTo>
                    <a:cubicBezTo>
                      <a:pt x="46" y="7"/>
                      <a:pt x="46" y="7"/>
                      <a:pt x="46" y="7"/>
                    </a:cubicBezTo>
                    <a:cubicBezTo>
                      <a:pt x="46" y="7"/>
                      <a:pt x="46" y="7"/>
                      <a:pt x="46" y="7"/>
                    </a:cubicBezTo>
                    <a:cubicBezTo>
                      <a:pt x="46" y="8"/>
                      <a:pt x="46" y="8"/>
                      <a:pt x="46" y="8"/>
                    </a:cubicBezTo>
                    <a:cubicBezTo>
                      <a:pt x="46" y="9"/>
                      <a:pt x="46" y="9"/>
                      <a:pt x="46" y="10"/>
                    </a:cubicBezTo>
                    <a:cubicBezTo>
                      <a:pt x="46" y="10"/>
                      <a:pt x="46" y="10"/>
                      <a:pt x="46" y="10"/>
                    </a:cubicBezTo>
                    <a:cubicBezTo>
                      <a:pt x="45" y="11"/>
                      <a:pt x="45" y="11"/>
                      <a:pt x="45" y="11"/>
                    </a:cubicBezTo>
                    <a:cubicBezTo>
                      <a:pt x="46" y="11"/>
                      <a:pt x="46" y="11"/>
                      <a:pt x="46" y="11"/>
                    </a:cubicBezTo>
                    <a:cubicBezTo>
                      <a:pt x="46" y="9"/>
                      <a:pt x="46" y="9"/>
                      <a:pt x="46" y="9"/>
                    </a:cubicBezTo>
                    <a:cubicBezTo>
                      <a:pt x="47" y="9"/>
                      <a:pt x="47" y="9"/>
                      <a:pt x="47" y="9"/>
                    </a:cubicBezTo>
                    <a:cubicBezTo>
                      <a:pt x="46" y="9"/>
                      <a:pt x="46" y="9"/>
                      <a:pt x="46" y="9"/>
                    </a:cubicBezTo>
                    <a:cubicBezTo>
                      <a:pt x="47" y="9"/>
                      <a:pt x="47" y="9"/>
                      <a:pt x="47" y="9"/>
                    </a:cubicBezTo>
                    <a:cubicBezTo>
                      <a:pt x="46" y="8"/>
                      <a:pt x="46" y="8"/>
                      <a:pt x="46" y="8"/>
                    </a:cubicBezTo>
                    <a:cubicBezTo>
                      <a:pt x="47" y="8"/>
                      <a:pt x="47" y="8"/>
                      <a:pt x="47" y="8"/>
                    </a:cubicBezTo>
                    <a:cubicBezTo>
                      <a:pt x="47" y="7"/>
                      <a:pt x="47" y="7"/>
                      <a:pt x="47" y="7"/>
                    </a:cubicBezTo>
                    <a:cubicBezTo>
                      <a:pt x="46" y="7"/>
                      <a:pt x="46" y="7"/>
                      <a:pt x="46" y="7"/>
                    </a:cubicBezTo>
                    <a:cubicBezTo>
                      <a:pt x="47" y="7"/>
                      <a:pt x="47" y="7"/>
                      <a:pt x="47" y="7"/>
                    </a:cubicBezTo>
                    <a:cubicBezTo>
                      <a:pt x="47" y="6"/>
                      <a:pt x="47" y="6"/>
                      <a:pt x="47" y="6"/>
                    </a:cubicBezTo>
                    <a:cubicBezTo>
                      <a:pt x="47" y="6"/>
                      <a:pt x="47" y="6"/>
                      <a:pt x="47" y="6"/>
                    </a:cubicBezTo>
                    <a:cubicBezTo>
                      <a:pt x="47" y="6"/>
                      <a:pt x="47" y="6"/>
                      <a:pt x="47" y="6"/>
                    </a:cubicBezTo>
                    <a:cubicBezTo>
                      <a:pt x="47" y="5"/>
                      <a:pt x="47" y="5"/>
                      <a:pt x="47" y="5"/>
                    </a:cubicBezTo>
                    <a:cubicBezTo>
                      <a:pt x="47" y="5"/>
                      <a:pt x="47" y="5"/>
                      <a:pt x="47" y="5"/>
                    </a:cubicBezTo>
                    <a:cubicBezTo>
                      <a:pt x="47" y="5"/>
                      <a:pt x="47" y="5"/>
                      <a:pt x="47" y="5"/>
                    </a:cubicBezTo>
                    <a:cubicBezTo>
                      <a:pt x="47" y="5"/>
                      <a:pt x="47" y="5"/>
                      <a:pt x="47" y="5"/>
                    </a:cubicBezTo>
                    <a:cubicBezTo>
                      <a:pt x="47" y="4"/>
                      <a:pt x="47" y="4"/>
                      <a:pt x="47" y="4"/>
                    </a:cubicBezTo>
                    <a:cubicBezTo>
                      <a:pt x="47" y="4"/>
                      <a:pt x="47" y="4"/>
                      <a:pt x="47" y="4"/>
                    </a:cubicBezTo>
                    <a:cubicBezTo>
                      <a:pt x="47" y="5"/>
                      <a:pt x="47" y="5"/>
                      <a:pt x="47" y="5"/>
                    </a:cubicBezTo>
                    <a:cubicBezTo>
                      <a:pt x="47" y="4"/>
                      <a:pt x="47" y="4"/>
                      <a:pt x="47" y="4"/>
                    </a:cubicBezTo>
                    <a:cubicBezTo>
                      <a:pt x="46" y="4"/>
                      <a:pt x="46" y="4"/>
                      <a:pt x="46" y="4"/>
                    </a:cubicBezTo>
                    <a:cubicBezTo>
                      <a:pt x="46" y="4"/>
                      <a:pt x="46" y="4"/>
                      <a:pt x="46" y="4"/>
                    </a:cubicBezTo>
                    <a:cubicBezTo>
                      <a:pt x="46" y="4"/>
                      <a:pt x="46" y="4"/>
                      <a:pt x="46" y="4"/>
                    </a:cubicBezTo>
                    <a:cubicBezTo>
                      <a:pt x="46" y="4"/>
                      <a:pt x="46" y="4"/>
                      <a:pt x="46" y="4"/>
                    </a:cubicBezTo>
                    <a:cubicBezTo>
                      <a:pt x="45" y="5"/>
                      <a:pt x="45" y="5"/>
                      <a:pt x="45" y="5"/>
                    </a:cubicBezTo>
                    <a:cubicBezTo>
                      <a:pt x="46" y="4"/>
                      <a:pt x="46" y="4"/>
                      <a:pt x="46" y="4"/>
                    </a:cubicBezTo>
                    <a:cubicBezTo>
                      <a:pt x="46" y="4"/>
                      <a:pt x="46" y="4"/>
                      <a:pt x="46" y="4"/>
                    </a:cubicBezTo>
                    <a:cubicBezTo>
                      <a:pt x="45" y="3"/>
                      <a:pt x="46" y="3"/>
                      <a:pt x="46" y="2"/>
                    </a:cubicBezTo>
                    <a:cubicBezTo>
                      <a:pt x="46" y="2"/>
                      <a:pt x="46" y="2"/>
                      <a:pt x="46" y="2"/>
                    </a:cubicBezTo>
                    <a:cubicBezTo>
                      <a:pt x="46" y="2"/>
                      <a:pt x="46" y="2"/>
                      <a:pt x="46" y="2"/>
                    </a:cubicBezTo>
                    <a:cubicBezTo>
                      <a:pt x="45" y="2"/>
                      <a:pt x="45" y="2"/>
                      <a:pt x="45" y="2"/>
                    </a:cubicBezTo>
                    <a:cubicBezTo>
                      <a:pt x="45" y="3"/>
                      <a:pt x="45" y="3"/>
                      <a:pt x="45" y="3"/>
                    </a:cubicBezTo>
                    <a:cubicBezTo>
                      <a:pt x="45" y="3"/>
                      <a:pt x="45" y="3"/>
                      <a:pt x="45" y="3"/>
                    </a:cubicBezTo>
                    <a:cubicBezTo>
                      <a:pt x="44" y="3"/>
                      <a:pt x="44" y="3"/>
                      <a:pt x="44" y="3"/>
                    </a:cubicBezTo>
                    <a:cubicBezTo>
                      <a:pt x="44" y="4"/>
                      <a:pt x="44" y="4"/>
                      <a:pt x="44" y="4"/>
                    </a:cubicBezTo>
                    <a:cubicBezTo>
                      <a:pt x="45" y="4"/>
                      <a:pt x="45" y="4"/>
                      <a:pt x="45" y="4"/>
                    </a:cubicBezTo>
                    <a:cubicBezTo>
                      <a:pt x="45" y="4"/>
                      <a:pt x="45" y="4"/>
                      <a:pt x="45" y="4"/>
                    </a:cubicBezTo>
                    <a:cubicBezTo>
                      <a:pt x="45" y="5"/>
                      <a:pt x="45" y="5"/>
                      <a:pt x="45" y="5"/>
                    </a:cubicBezTo>
                    <a:cubicBezTo>
                      <a:pt x="45" y="5"/>
                      <a:pt x="45" y="5"/>
                      <a:pt x="45" y="5"/>
                    </a:cubicBezTo>
                    <a:cubicBezTo>
                      <a:pt x="46" y="5"/>
                      <a:pt x="46" y="5"/>
                      <a:pt x="46" y="5"/>
                    </a:cubicBezTo>
                    <a:cubicBezTo>
                      <a:pt x="46" y="5"/>
                      <a:pt x="46" y="5"/>
                      <a:pt x="46" y="5"/>
                    </a:cubicBezTo>
                    <a:cubicBezTo>
                      <a:pt x="45" y="6"/>
                      <a:pt x="45" y="6"/>
                      <a:pt x="45" y="6"/>
                    </a:cubicBezTo>
                    <a:cubicBezTo>
                      <a:pt x="45" y="6"/>
                      <a:pt x="45" y="6"/>
                      <a:pt x="45" y="6"/>
                    </a:cubicBezTo>
                    <a:cubicBezTo>
                      <a:pt x="45" y="6"/>
                      <a:pt x="45" y="6"/>
                      <a:pt x="45" y="6"/>
                    </a:cubicBezTo>
                    <a:cubicBezTo>
                      <a:pt x="45" y="6"/>
                      <a:pt x="45" y="6"/>
                      <a:pt x="45" y="6"/>
                    </a:cubicBezTo>
                    <a:cubicBezTo>
                      <a:pt x="44" y="6"/>
                      <a:pt x="44" y="6"/>
                      <a:pt x="44" y="6"/>
                    </a:cubicBezTo>
                    <a:cubicBezTo>
                      <a:pt x="43" y="6"/>
                      <a:pt x="43" y="6"/>
                      <a:pt x="43" y="6"/>
                    </a:cubicBezTo>
                    <a:cubicBezTo>
                      <a:pt x="44" y="7"/>
                      <a:pt x="44" y="7"/>
                      <a:pt x="44" y="7"/>
                    </a:cubicBezTo>
                    <a:close/>
                    <a:moveTo>
                      <a:pt x="47" y="4"/>
                    </a:moveTo>
                    <a:cubicBezTo>
                      <a:pt x="47" y="3"/>
                      <a:pt x="47" y="3"/>
                      <a:pt x="47" y="3"/>
                    </a:cubicBezTo>
                    <a:cubicBezTo>
                      <a:pt x="47" y="3"/>
                      <a:pt x="47" y="3"/>
                      <a:pt x="47" y="3"/>
                    </a:cubicBezTo>
                    <a:cubicBezTo>
                      <a:pt x="47" y="2"/>
                      <a:pt x="47" y="2"/>
                      <a:pt x="47" y="2"/>
                    </a:cubicBezTo>
                    <a:cubicBezTo>
                      <a:pt x="47" y="2"/>
                      <a:pt x="47" y="2"/>
                      <a:pt x="47" y="2"/>
                    </a:cubicBezTo>
                    <a:cubicBezTo>
                      <a:pt x="47" y="2"/>
                      <a:pt x="47" y="2"/>
                      <a:pt x="47" y="2"/>
                    </a:cubicBezTo>
                    <a:cubicBezTo>
                      <a:pt x="48" y="2"/>
                      <a:pt x="48" y="2"/>
                      <a:pt x="48" y="2"/>
                    </a:cubicBezTo>
                    <a:cubicBezTo>
                      <a:pt x="48" y="1"/>
                      <a:pt x="48" y="1"/>
                      <a:pt x="48" y="1"/>
                    </a:cubicBezTo>
                    <a:cubicBezTo>
                      <a:pt x="47" y="1"/>
                      <a:pt x="47" y="1"/>
                      <a:pt x="47" y="1"/>
                    </a:cubicBezTo>
                    <a:cubicBezTo>
                      <a:pt x="47" y="1"/>
                      <a:pt x="47" y="1"/>
                      <a:pt x="47" y="1"/>
                    </a:cubicBezTo>
                    <a:cubicBezTo>
                      <a:pt x="47" y="2"/>
                      <a:pt x="47" y="2"/>
                      <a:pt x="47" y="2"/>
                    </a:cubicBezTo>
                    <a:cubicBezTo>
                      <a:pt x="46" y="2"/>
                      <a:pt x="46" y="2"/>
                      <a:pt x="46" y="2"/>
                    </a:cubicBezTo>
                    <a:cubicBezTo>
                      <a:pt x="46" y="2"/>
                      <a:pt x="47" y="3"/>
                      <a:pt x="47" y="4"/>
                    </a:cubicBezTo>
                    <a:close/>
                    <a:moveTo>
                      <a:pt x="6" y="43"/>
                    </a:moveTo>
                    <a:cubicBezTo>
                      <a:pt x="6" y="43"/>
                      <a:pt x="6" y="43"/>
                      <a:pt x="6" y="43"/>
                    </a:cubicBezTo>
                    <a:cubicBezTo>
                      <a:pt x="5" y="42"/>
                      <a:pt x="5" y="42"/>
                      <a:pt x="5" y="42"/>
                    </a:cubicBezTo>
                    <a:cubicBezTo>
                      <a:pt x="5" y="42"/>
                      <a:pt x="5" y="42"/>
                      <a:pt x="5" y="42"/>
                    </a:cubicBezTo>
                    <a:cubicBezTo>
                      <a:pt x="6" y="43"/>
                      <a:pt x="6" y="43"/>
                      <a:pt x="6" y="43"/>
                    </a:cubicBezTo>
                    <a:cubicBezTo>
                      <a:pt x="6" y="42"/>
                      <a:pt x="6" y="42"/>
                      <a:pt x="6" y="42"/>
                    </a:cubicBezTo>
                    <a:cubicBezTo>
                      <a:pt x="5" y="42"/>
                      <a:pt x="5" y="42"/>
                      <a:pt x="5" y="42"/>
                    </a:cubicBezTo>
                    <a:cubicBezTo>
                      <a:pt x="5" y="42"/>
                      <a:pt x="5" y="42"/>
                      <a:pt x="5" y="42"/>
                    </a:cubicBezTo>
                    <a:cubicBezTo>
                      <a:pt x="5" y="43"/>
                      <a:pt x="5" y="43"/>
                      <a:pt x="5" y="43"/>
                    </a:cubicBezTo>
                    <a:cubicBezTo>
                      <a:pt x="4" y="44"/>
                      <a:pt x="4" y="44"/>
                      <a:pt x="4" y="44"/>
                    </a:cubicBezTo>
                    <a:cubicBezTo>
                      <a:pt x="5" y="44"/>
                      <a:pt x="5" y="44"/>
                      <a:pt x="5" y="44"/>
                    </a:cubicBezTo>
                    <a:cubicBezTo>
                      <a:pt x="5" y="45"/>
                      <a:pt x="5" y="45"/>
                      <a:pt x="5" y="45"/>
                    </a:cubicBezTo>
                    <a:cubicBezTo>
                      <a:pt x="5" y="45"/>
                      <a:pt x="5" y="45"/>
                      <a:pt x="5" y="45"/>
                    </a:cubicBezTo>
                    <a:cubicBezTo>
                      <a:pt x="6" y="45"/>
                      <a:pt x="6" y="45"/>
                      <a:pt x="6" y="45"/>
                    </a:cubicBezTo>
                    <a:cubicBezTo>
                      <a:pt x="6" y="45"/>
                      <a:pt x="6" y="45"/>
                      <a:pt x="6" y="45"/>
                    </a:cubicBezTo>
                    <a:cubicBezTo>
                      <a:pt x="5" y="45"/>
                      <a:pt x="5" y="45"/>
                      <a:pt x="5" y="45"/>
                    </a:cubicBezTo>
                    <a:cubicBezTo>
                      <a:pt x="6" y="44"/>
                      <a:pt x="6" y="44"/>
                      <a:pt x="6" y="44"/>
                    </a:cubicBezTo>
                    <a:cubicBezTo>
                      <a:pt x="5" y="44"/>
                      <a:pt x="5" y="44"/>
                      <a:pt x="5" y="44"/>
                    </a:cubicBezTo>
                    <a:cubicBezTo>
                      <a:pt x="6" y="44"/>
                      <a:pt x="6" y="44"/>
                      <a:pt x="6" y="44"/>
                    </a:cubicBezTo>
                    <a:lnTo>
                      <a:pt x="6" y="43"/>
                    </a:lnTo>
                    <a:close/>
                    <a:moveTo>
                      <a:pt x="6" y="40"/>
                    </a:moveTo>
                    <a:cubicBezTo>
                      <a:pt x="6" y="40"/>
                      <a:pt x="6" y="40"/>
                      <a:pt x="6" y="40"/>
                    </a:cubicBezTo>
                    <a:cubicBezTo>
                      <a:pt x="6" y="40"/>
                      <a:pt x="6" y="40"/>
                      <a:pt x="6" y="40"/>
                    </a:cubicBezTo>
                    <a:cubicBezTo>
                      <a:pt x="7" y="40"/>
                      <a:pt x="7" y="40"/>
                      <a:pt x="7" y="40"/>
                    </a:cubicBezTo>
                    <a:cubicBezTo>
                      <a:pt x="6" y="39"/>
                      <a:pt x="6" y="39"/>
                      <a:pt x="6" y="39"/>
                    </a:cubicBezTo>
                    <a:cubicBezTo>
                      <a:pt x="7" y="39"/>
                      <a:pt x="7" y="39"/>
                      <a:pt x="7" y="39"/>
                    </a:cubicBezTo>
                    <a:cubicBezTo>
                      <a:pt x="7" y="39"/>
                      <a:pt x="7" y="39"/>
                      <a:pt x="7" y="39"/>
                    </a:cubicBezTo>
                    <a:cubicBezTo>
                      <a:pt x="7" y="39"/>
                      <a:pt x="7" y="39"/>
                      <a:pt x="7" y="39"/>
                    </a:cubicBezTo>
                    <a:cubicBezTo>
                      <a:pt x="7" y="39"/>
                      <a:pt x="7" y="39"/>
                      <a:pt x="7" y="39"/>
                    </a:cubicBezTo>
                    <a:cubicBezTo>
                      <a:pt x="6" y="39"/>
                      <a:pt x="6" y="39"/>
                      <a:pt x="6" y="39"/>
                    </a:cubicBezTo>
                    <a:cubicBezTo>
                      <a:pt x="6" y="38"/>
                      <a:pt x="6" y="38"/>
                      <a:pt x="6" y="38"/>
                    </a:cubicBezTo>
                    <a:cubicBezTo>
                      <a:pt x="6" y="39"/>
                      <a:pt x="6" y="39"/>
                      <a:pt x="6" y="39"/>
                    </a:cubicBezTo>
                    <a:cubicBezTo>
                      <a:pt x="5" y="39"/>
                      <a:pt x="5" y="39"/>
                      <a:pt x="5" y="39"/>
                    </a:cubicBezTo>
                    <a:cubicBezTo>
                      <a:pt x="5" y="39"/>
                      <a:pt x="5" y="39"/>
                      <a:pt x="5" y="39"/>
                    </a:cubicBezTo>
                    <a:cubicBezTo>
                      <a:pt x="5" y="39"/>
                      <a:pt x="5" y="39"/>
                      <a:pt x="5" y="39"/>
                    </a:cubicBezTo>
                    <a:cubicBezTo>
                      <a:pt x="5" y="39"/>
                      <a:pt x="5" y="39"/>
                      <a:pt x="5" y="39"/>
                    </a:cubicBezTo>
                    <a:cubicBezTo>
                      <a:pt x="4" y="39"/>
                      <a:pt x="4" y="39"/>
                      <a:pt x="4" y="39"/>
                    </a:cubicBezTo>
                    <a:cubicBezTo>
                      <a:pt x="5" y="40"/>
                      <a:pt x="5" y="40"/>
                      <a:pt x="5" y="40"/>
                    </a:cubicBezTo>
                    <a:cubicBezTo>
                      <a:pt x="5" y="40"/>
                      <a:pt x="5" y="40"/>
                      <a:pt x="5" y="40"/>
                    </a:cubicBezTo>
                    <a:cubicBezTo>
                      <a:pt x="5" y="40"/>
                      <a:pt x="5" y="40"/>
                      <a:pt x="5" y="40"/>
                    </a:cubicBezTo>
                    <a:cubicBezTo>
                      <a:pt x="6" y="40"/>
                      <a:pt x="6" y="40"/>
                      <a:pt x="6" y="40"/>
                    </a:cubicBezTo>
                    <a:cubicBezTo>
                      <a:pt x="7" y="40"/>
                      <a:pt x="7" y="40"/>
                      <a:pt x="7" y="40"/>
                    </a:cubicBezTo>
                    <a:cubicBezTo>
                      <a:pt x="7" y="40"/>
                      <a:pt x="7" y="40"/>
                      <a:pt x="7" y="40"/>
                    </a:cubicBezTo>
                    <a:cubicBezTo>
                      <a:pt x="6" y="40"/>
                      <a:pt x="6" y="40"/>
                      <a:pt x="6" y="40"/>
                    </a:cubicBezTo>
                    <a:close/>
                    <a:moveTo>
                      <a:pt x="9" y="36"/>
                    </a:moveTo>
                    <a:cubicBezTo>
                      <a:pt x="9" y="36"/>
                      <a:pt x="9" y="36"/>
                      <a:pt x="9" y="36"/>
                    </a:cubicBezTo>
                    <a:cubicBezTo>
                      <a:pt x="10" y="36"/>
                      <a:pt x="10" y="36"/>
                      <a:pt x="10" y="36"/>
                    </a:cubicBezTo>
                    <a:cubicBezTo>
                      <a:pt x="10" y="36"/>
                      <a:pt x="10" y="36"/>
                      <a:pt x="10" y="36"/>
                    </a:cubicBezTo>
                    <a:cubicBezTo>
                      <a:pt x="9" y="35"/>
                      <a:pt x="9" y="35"/>
                      <a:pt x="9" y="35"/>
                    </a:cubicBezTo>
                    <a:cubicBezTo>
                      <a:pt x="10" y="34"/>
                      <a:pt x="10" y="34"/>
                      <a:pt x="10" y="34"/>
                    </a:cubicBezTo>
                    <a:cubicBezTo>
                      <a:pt x="10" y="34"/>
                      <a:pt x="10" y="34"/>
                      <a:pt x="10" y="34"/>
                    </a:cubicBezTo>
                    <a:cubicBezTo>
                      <a:pt x="10" y="35"/>
                      <a:pt x="10" y="35"/>
                      <a:pt x="10" y="35"/>
                    </a:cubicBezTo>
                    <a:cubicBezTo>
                      <a:pt x="10" y="36"/>
                      <a:pt x="10" y="36"/>
                      <a:pt x="10" y="36"/>
                    </a:cubicBezTo>
                    <a:cubicBezTo>
                      <a:pt x="11" y="36"/>
                      <a:pt x="11" y="36"/>
                      <a:pt x="11" y="36"/>
                    </a:cubicBezTo>
                    <a:cubicBezTo>
                      <a:pt x="11" y="35"/>
                      <a:pt x="11" y="35"/>
                      <a:pt x="11" y="35"/>
                    </a:cubicBezTo>
                    <a:cubicBezTo>
                      <a:pt x="11" y="35"/>
                      <a:pt x="11" y="35"/>
                      <a:pt x="11" y="35"/>
                    </a:cubicBezTo>
                    <a:cubicBezTo>
                      <a:pt x="12" y="35"/>
                      <a:pt x="12" y="35"/>
                      <a:pt x="12" y="35"/>
                    </a:cubicBezTo>
                    <a:cubicBezTo>
                      <a:pt x="12" y="35"/>
                      <a:pt x="12" y="35"/>
                      <a:pt x="12" y="35"/>
                    </a:cubicBezTo>
                    <a:cubicBezTo>
                      <a:pt x="12" y="34"/>
                      <a:pt x="12" y="34"/>
                      <a:pt x="12" y="34"/>
                    </a:cubicBezTo>
                    <a:cubicBezTo>
                      <a:pt x="10" y="34"/>
                      <a:pt x="10" y="34"/>
                      <a:pt x="10" y="34"/>
                    </a:cubicBezTo>
                    <a:cubicBezTo>
                      <a:pt x="11" y="34"/>
                      <a:pt x="11" y="34"/>
                      <a:pt x="11" y="34"/>
                    </a:cubicBezTo>
                    <a:cubicBezTo>
                      <a:pt x="11" y="34"/>
                      <a:pt x="11" y="34"/>
                      <a:pt x="11" y="34"/>
                    </a:cubicBezTo>
                    <a:cubicBezTo>
                      <a:pt x="12" y="33"/>
                      <a:pt x="12" y="33"/>
                      <a:pt x="12" y="33"/>
                    </a:cubicBezTo>
                    <a:cubicBezTo>
                      <a:pt x="12" y="33"/>
                      <a:pt x="12" y="33"/>
                      <a:pt x="12" y="33"/>
                    </a:cubicBezTo>
                    <a:cubicBezTo>
                      <a:pt x="13" y="33"/>
                      <a:pt x="13" y="33"/>
                      <a:pt x="13" y="33"/>
                    </a:cubicBezTo>
                    <a:cubicBezTo>
                      <a:pt x="13" y="33"/>
                      <a:pt x="13" y="33"/>
                      <a:pt x="13" y="33"/>
                    </a:cubicBezTo>
                    <a:cubicBezTo>
                      <a:pt x="13" y="32"/>
                      <a:pt x="13" y="32"/>
                      <a:pt x="13" y="32"/>
                    </a:cubicBezTo>
                    <a:cubicBezTo>
                      <a:pt x="13" y="33"/>
                      <a:pt x="13" y="33"/>
                      <a:pt x="13" y="33"/>
                    </a:cubicBezTo>
                    <a:cubicBezTo>
                      <a:pt x="12" y="33"/>
                      <a:pt x="12" y="33"/>
                      <a:pt x="12" y="33"/>
                    </a:cubicBezTo>
                    <a:cubicBezTo>
                      <a:pt x="12" y="32"/>
                      <a:pt x="12" y="32"/>
                      <a:pt x="12" y="32"/>
                    </a:cubicBezTo>
                    <a:cubicBezTo>
                      <a:pt x="13" y="32"/>
                      <a:pt x="13" y="32"/>
                      <a:pt x="13" y="32"/>
                    </a:cubicBezTo>
                    <a:cubicBezTo>
                      <a:pt x="13" y="31"/>
                      <a:pt x="13" y="31"/>
                      <a:pt x="13" y="31"/>
                    </a:cubicBezTo>
                    <a:cubicBezTo>
                      <a:pt x="13" y="31"/>
                      <a:pt x="13" y="31"/>
                      <a:pt x="13" y="31"/>
                    </a:cubicBezTo>
                    <a:cubicBezTo>
                      <a:pt x="13" y="31"/>
                      <a:pt x="13" y="31"/>
                      <a:pt x="13" y="31"/>
                    </a:cubicBezTo>
                    <a:cubicBezTo>
                      <a:pt x="14" y="30"/>
                      <a:pt x="14" y="30"/>
                      <a:pt x="14" y="30"/>
                    </a:cubicBezTo>
                    <a:cubicBezTo>
                      <a:pt x="13" y="30"/>
                      <a:pt x="13" y="30"/>
                      <a:pt x="13" y="30"/>
                    </a:cubicBezTo>
                    <a:cubicBezTo>
                      <a:pt x="13" y="29"/>
                      <a:pt x="13" y="29"/>
                      <a:pt x="13" y="29"/>
                    </a:cubicBezTo>
                    <a:cubicBezTo>
                      <a:pt x="12" y="30"/>
                      <a:pt x="11" y="30"/>
                      <a:pt x="11" y="31"/>
                    </a:cubicBezTo>
                    <a:cubicBezTo>
                      <a:pt x="10" y="31"/>
                      <a:pt x="10" y="31"/>
                      <a:pt x="10" y="31"/>
                    </a:cubicBezTo>
                    <a:cubicBezTo>
                      <a:pt x="9" y="32"/>
                      <a:pt x="9" y="32"/>
                      <a:pt x="9" y="32"/>
                    </a:cubicBezTo>
                    <a:cubicBezTo>
                      <a:pt x="9" y="32"/>
                      <a:pt x="9" y="32"/>
                      <a:pt x="9" y="32"/>
                    </a:cubicBezTo>
                    <a:cubicBezTo>
                      <a:pt x="10" y="33"/>
                      <a:pt x="10" y="33"/>
                      <a:pt x="10" y="33"/>
                    </a:cubicBezTo>
                    <a:cubicBezTo>
                      <a:pt x="10" y="33"/>
                      <a:pt x="10" y="33"/>
                      <a:pt x="10" y="33"/>
                    </a:cubicBezTo>
                    <a:cubicBezTo>
                      <a:pt x="9" y="33"/>
                      <a:pt x="9" y="33"/>
                      <a:pt x="9" y="33"/>
                    </a:cubicBezTo>
                    <a:cubicBezTo>
                      <a:pt x="9" y="33"/>
                      <a:pt x="9" y="33"/>
                      <a:pt x="9" y="33"/>
                    </a:cubicBezTo>
                    <a:cubicBezTo>
                      <a:pt x="8" y="32"/>
                      <a:pt x="8" y="32"/>
                      <a:pt x="8" y="32"/>
                    </a:cubicBezTo>
                    <a:cubicBezTo>
                      <a:pt x="9" y="32"/>
                      <a:pt x="9" y="32"/>
                      <a:pt x="9" y="32"/>
                    </a:cubicBezTo>
                    <a:cubicBezTo>
                      <a:pt x="8" y="32"/>
                      <a:pt x="8" y="32"/>
                      <a:pt x="8" y="32"/>
                    </a:cubicBezTo>
                    <a:cubicBezTo>
                      <a:pt x="8" y="33"/>
                      <a:pt x="8" y="33"/>
                      <a:pt x="8" y="33"/>
                    </a:cubicBezTo>
                    <a:cubicBezTo>
                      <a:pt x="8" y="33"/>
                      <a:pt x="8" y="33"/>
                      <a:pt x="8" y="33"/>
                    </a:cubicBezTo>
                    <a:cubicBezTo>
                      <a:pt x="7" y="33"/>
                      <a:pt x="7" y="33"/>
                      <a:pt x="7" y="33"/>
                    </a:cubicBezTo>
                    <a:cubicBezTo>
                      <a:pt x="7" y="33"/>
                      <a:pt x="7" y="33"/>
                      <a:pt x="7" y="33"/>
                    </a:cubicBezTo>
                    <a:cubicBezTo>
                      <a:pt x="7" y="34"/>
                      <a:pt x="7" y="34"/>
                      <a:pt x="7" y="34"/>
                    </a:cubicBezTo>
                    <a:cubicBezTo>
                      <a:pt x="8" y="34"/>
                      <a:pt x="8" y="34"/>
                      <a:pt x="8" y="34"/>
                    </a:cubicBezTo>
                    <a:cubicBezTo>
                      <a:pt x="8" y="34"/>
                      <a:pt x="8" y="34"/>
                      <a:pt x="8" y="34"/>
                    </a:cubicBezTo>
                    <a:cubicBezTo>
                      <a:pt x="8" y="34"/>
                      <a:pt x="8" y="34"/>
                      <a:pt x="8" y="34"/>
                    </a:cubicBezTo>
                    <a:cubicBezTo>
                      <a:pt x="8" y="35"/>
                      <a:pt x="8" y="35"/>
                      <a:pt x="8" y="35"/>
                    </a:cubicBezTo>
                    <a:cubicBezTo>
                      <a:pt x="7" y="35"/>
                      <a:pt x="7" y="35"/>
                      <a:pt x="7" y="35"/>
                    </a:cubicBezTo>
                    <a:cubicBezTo>
                      <a:pt x="8" y="35"/>
                      <a:pt x="8" y="35"/>
                      <a:pt x="8" y="35"/>
                    </a:cubicBezTo>
                    <a:cubicBezTo>
                      <a:pt x="9" y="36"/>
                      <a:pt x="9" y="36"/>
                      <a:pt x="9" y="36"/>
                    </a:cubicBezTo>
                    <a:cubicBezTo>
                      <a:pt x="9" y="36"/>
                      <a:pt x="9" y="36"/>
                      <a:pt x="9" y="36"/>
                    </a:cubicBezTo>
                    <a:cubicBezTo>
                      <a:pt x="8" y="36"/>
                      <a:pt x="8" y="36"/>
                      <a:pt x="8" y="36"/>
                    </a:cubicBezTo>
                    <a:cubicBezTo>
                      <a:pt x="8" y="36"/>
                      <a:pt x="8" y="36"/>
                      <a:pt x="8" y="36"/>
                    </a:cubicBezTo>
                    <a:cubicBezTo>
                      <a:pt x="7" y="37"/>
                      <a:pt x="7" y="37"/>
                      <a:pt x="7" y="37"/>
                    </a:cubicBezTo>
                    <a:cubicBezTo>
                      <a:pt x="8" y="38"/>
                      <a:pt x="8" y="38"/>
                      <a:pt x="8" y="38"/>
                    </a:cubicBezTo>
                    <a:cubicBezTo>
                      <a:pt x="8" y="38"/>
                      <a:pt x="8" y="38"/>
                      <a:pt x="8" y="38"/>
                    </a:cubicBezTo>
                    <a:cubicBezTo>
                      <a:pt x="9" y="37"/>
                      <a:pt x="9" y="37"/>
                      <a:pt x="9" y="37"/>
                    </a:cubicBezTo>
                    <a:cubicBezTo>
                      <a:pt x="10" y="37"/>
                      <a:pt x="10" y="37"/>
                      <a:pt x="10" y="37"/>
                    </a:cubicBezTo>
                    <a:lnTo>
                      <a:pt x="9" y="36"/>
                    </a:lnTo>
                    <a:close/>
                    <a:moveTo>
                      <a:pt x="24" y="80"/>
                    </a:moveTo>
                    <a:cubicBezTo>
                      <a:pt x="24" y="81"/>
                      <a:pt x="23" y="81"/>
                      <a:pt x="23" y="81"/>
                    </a:cubicBezTo>
                    <a:cubicBezTo>
                      <a:pt x="23" y="81"/>
                      <a:pt x="23" y="82"/>
                      <a:pt x="22" y="83"/>
                    </a:cubicBezTo>
                    <a:cubicBezTo>
                      <a:pt x="23" y="83"/>
                      <a:pt x="23" y="83"/>
                      <a:pt x="23" y="83"/>
                    </a:cubicBezTo>
                    <a:cubicBezTo>
                      <a:pt x="24" y="83"/>
                      <a:pt x="24" y="83"/>
                      <a:pt x="24" y="83"/>
                    </a:cubicBezTo>
                    <a:cubicBezTo>
                      <a:pt x="24" y="82"/>
                      <a:pt x="24" y="82"/>
                      <a:pt x="25" y="82"/>
                    </a:cubicBezTo>
                    <a:cubicBezTo>
                      <a:pt x="25" y="82"/>
                      <a:pt x="26" y="81"/>
                      <a:pt x="26" y="80"/>
                    </a:cubicBezTo>
                    <a:cubicBezTo>
                      <a:pt x="26" y="80"/>
                      <a:pt x="26" y="80"/>
                      <a:pt x="26" y="80"/>
                    </a:cubicBezTo>
                    <a:cubicBezTo>
                      <a:pt x="25" y="79"/>
                      <a:pt x="25" y="79"/>
                      <a:pt x="25" y="79"/>
                    </a:cubicBezTo>
                    <a:cubicBezTo>
                      <a:pt x="26" y="79"/>
                      <a:pt x="26" y="79"/>
                      <a:pt x="26" y="79"/>
                    </a:cubicBezTo>
                    <a:cubicBezTo>
                      <a:pt x="25" y="79"/>
                      <a:pt x="25" y="79"/>
                      <a:pt x="25" y="79"/>
                    </a:cubicBezTo>
                    <a:cubicBezTo>
                      <a:pt x="24" y="79"/>
                      <a:pt x="24" y="79"/>
                      <a:pt x="24" y="79"/>
                    </a:cubicBezTo>
                    <a:lnTo>
                      <a:pt x="24" y="80"/>
                    </a:lnTo>
                    <a:close/>
                    <a:moveTo>
                      <a:pt x="6" y="71"/>
                    </a:moveTo>
                    <a:cubicBezTo>
                      <a:pt x="6" y="72"/>
                      <a:pt x="6" y="72"/>
                      <a:pt x="6" y="72"/>
                    </a:cubicBezTo>
                    <a:cubicBezTo>
                      <a:pt x="6" y="72"/>
                      <a:pt x="6" y="72"/>
                      <a:pt x="6" y="72"/>
                    </a:cubicBezTo>
                    <a:cubicBezTo>
                      <a:pt x="5" y="72"/>
                      <a:pt x="5" y="72"/>
                      <a:pt x="5" y="72"/>
                    </a:cubicBezTo>
                    <a:cubicBezTo>
                      <a:pt x="5" y="73"/>
                      <a:pt x="5" y="73"/>
                      <a:pt x="5" y="73"/>
                    </a:cubicBezTo>
                    <a:cubicBezTo>
                      <a:pt x="5" y="74"/>
                      <a:pt x="5" y="74"/>
                      <a:pt x="5" y="74"/>
                    </a:cubicBezTo>
                    <a:cubicBezTo>
                      <a:pt x="5" y="74"/>
                      <a:pt x="5" y="74"/>
                      <a:pt x="5" y="74"/>
                    </a:cubicBezTo>
                    <a:cubicBezTo>
                      <a:pt x="4" y="74"/>
                      <a:pt x="4" y="74"/>
                      <a:pt x="4" y="74"/>
                    </a:cubicBezTo>
                    <a:cubicBezTo>
                      <a:pt x="3" y="75"/>
                      <a:pt x="3" y="75"/>
                      <a:pt x="3" y="75"/>
                    </a:cubicBezTo>
                    <a:cubicBezTo>
                      <a:pt x="2" y="74"/>
                      <a:pt x="2" y="74"/>
                      <a:pt x="2" y="74"/>
                    </a:cubicBezTo>
                    <a:cubicBezTo>
                      <a:pt x="2" y="75"/>
                      <a:pt x="2" y="75"/>
                      <a:pt x="2" y="75"/>
                    </a:cubicBezTo>
                    <a:cubicBezTo>
                      <a:pt x="2" y="75"/>
                      <a:pt x="2" y="75"/>
                      <a:pt x="2" y="75"/>
                    </a:cubicBezTo>
                    <a:cubicBezTo>
                      <a:pt x="3" y="76"/>
                      <a:pt x="3" y="76"/>
                      <a:pt x="3" y="76"/>
                    </a:cubicBezTo>
                    <a:cubicBezTo>
                      <a:pt x="3" y="76"/>
                      <a:pt x="3" y="76"/>
                      <a:pt x="3" y="76"/>
                    </a:cubicBezTo>
                    <a:cubicBezTo>
                      <a:pt x="2" y="77"/>
                      <a:pt x="2" y="77"/>
                      <a:pt x="2" y="77"/>
                    </a:cubicBezTo>
                    <a:cubicBezTo>
                      <a:pt x="2" y="77"/>
                      <a:pt x="2" y="77"/>
                      <a:pt x="2" y="77"/>
                    </a:cubicBezTo>
                    <a:cubicBezTo>
                      <a:pt x="1" y="77"/>
                      <a:pt x="1" y="77"/>
                      <a:pt x="1" y="77"/>
                    </a:cubicBezTo>
                    <a:cubicBezTo>
                      <a:pt x="1" y="77"/>
                      <a:pt x="1" y="77"/>
                      <a:pt x="1" y="77"/>
                    </a:cubicBezTo>
                    <a:cubicBezTo>
                      <a:pt x="0" y="77"/>
                      <a:pt x="0" y="77"/>
                      <a:pt x="0" y="77"/>
                    </a:cubicBezTo>
                    <a:cubicBezTo>
                      <a:pt x="1" y="78"/>
                      <a:pt x="1" y="78"/>
                      <a:pt x="1" y="78"/>
                    </a:cubicBezTo>
                    <a:cubicBezTo>
                      <a:pt x="1" y="79"/>
                      <a:pt x="1" y="79"/>
                      <a:pt x="1" y="79"/>
                    </a:cubicBezTo>
                    <a:cubicBezTo>
                      <a:pt x="1" y="79"/>
                      <a:pt x="1" y="79"/>
                      <a:pt x="1" y="79"/>
                    </a:cubicBezTo>
                    <a:cubicBezTo>
                      <a:pt x="2" y="80"/>
                      <a:pt x="2" y="80"/>
                      <a:pt x="2" y="80"/>
                    </a:cubicBezTo>
                    <a:cubicBezTo>
                      <a:pt x="2" y="80"/>
                      <a:pt x="2" y="80"/>
                      <a:pt x="2" y="80"/>
                    </a:cubicBezTo>
                    <a:cubicBezTo>
                      <a:pt x="2" y="81"/>
                      <a:pt x="2" y="81"/>
                      <a:pt x="2" y="81"/>
                    </a:cubicBezTo>
                    <a:cubicBezTo>
                      <a:pt x="3" y="81"/>
                      <a:pt x="3" y="81"/>
                      <a:pt x="3" y="81"/>
                    </a:cubicBezTo>
                    <a:cubicBezTo>
                      <a:pt x="4" y="81"/>
                      <a:pt x="4" y="81"/>
                      <a:pt x="4" y="81"/>
                    </a:cubicBezTo>
                    <a:cubicBezTo>
                      <a:pt x="4" y="82"/>
                      <a:pt x="4" y="82"/>
                      <a:pt x="4" y="82"/>
                    </a:cubicBezTo>
                    <a:cubicBezTo>
                      <a:pt x="5" y="81"/>
                      <a:pt x="5" y="81"/>
                      <a:pt x="5" y="81"/>
                    </a:cubicBezTo>
                    <a:cubicBezTo>
                      <a:pt x="5" y="82"/>
                      <a:pt x="5" y="82"/>
                      <a:pt x="5" y="82"/>
                    </a:cubicBezTo>
                    <a:cubicBezTo>
                      <a:pt x="6" y="82"/>
                      <a:pt x="6" y="82"/>
                      <a:pt x="6" y="82"/>
                    </a:cubicBezTo>
                    <a:cubicBezTo>
                      <a:pt x="6" y="82"/>
                      <a:pt x="6" y="82"/>
                      <a:pt x="6" y="82"/>
                    </a:cubicBezTo>
                    <a:cubicBezTo>
                      <a:pt x="6" y="81"/>
                      <a:pt x="6" y="81"/>
                      <a:pt x="6" y="81"/>
                    </a:cubicBezTo>
                    <a:cubicBezTo>
                      <a:pt x="6" y="82"/>
                      <a:pt x="6" y="82"/>
                      <a:pt x="6" y="82"/>
                    </a:cubicBezTo>
                    <a:cubicBezTo>
                      <a:pt x="6" y="81"/>
                      <a:pt x="6" y="81"/>
                      <a:pt x="6" y="81"/>
                    </a:cubicBezTo>
                    <a:cubicBezTo>
                      <a:pt x="7" y="81"/>
                      <a:pt x="7" y="81"/>
                      <a:pt x="7" y="81"/>
                    </a:cubicBezTo>
                    <a:cubicBezTo>
                      <a:pt x="7" y="80"/>
                      <a:pt x="7" y="80"/>
                      <a:pt x="7" y="80"/>
                    </a:cubicBezTo>
                    <a:cubicBezTo>
                      <a:pt x="7" y="80"/>
                      <a:pt x="7" y="80"/>
                      <a:pt x="7" y="80"/>
                    </a:cubicBezTo>
                    <a:cubicBezTo>
                      <a:pt x="7" y="79"/>
                      <a:pt x="7" y="79"/>
                      <a:pt x="7" y="79"/>
                    </a:cubicBezTo>
                    <a:cubicBezTo>
                      <a:pt x="7" y="79"/>
                      <a:pt x="7" y="79"/>
                      <a:pt x="7" y="79"/>
                    </a:cubicBezTo>
                    <a:cubicBezTo>
                      <a:pt x="8" y="79"/>
                      <a:pt x="8" y="79"/>
                      <a:pt x="8" y="79"/>
                    </a:cubicBezTo>
                    <a:cubicBezTo>
                      <a:pt x="8" y="79"/>
                      <a:pt x="8" y="79"/>
                      <a:pt x="8" y="79"/>
                    </a:cubicBezTo>
                    <a:cubicBezTo>
                      <a:pt x="9" y="79"/>
                      <a:pt x="9" y="79"/>
                      <a:pt x="9" y="79"/>
                    </a:cubicBezTo>
                    <a:cubicBezTo>
                      <a:pt x="9" y="80"/>
                      <a:pt x="9" y="81"/>
                      <a:pt x="10" y="81"/>
                    </a:cubicBezTo>
                    <a:cubicBezTo>
                      <a:pt x="10" y="81"/>
                      <a:pt x="10" y="81"/>
                      <a:pt x="10" y="81"/>
                    </a:cubicBezTo>
                    <a:cubicBezTo>
                      <a:pt x="11" y="81"/>
                      <a:pt x="11" y="81"/>
                      <a:pt x="11" y="81"/>
                    </a:cubicBezTo>
                    <a:cubicBezTo>
                      <a:pt x="10" y="83"/>
                      <a:pt x="10" y="83"/>
                      <a:pt x="10" y="83"/>
                    </a:cubicBezTo>
                    <a:cubicBezTo>
                      <a:pt x="11" y="83"/>
                      <a:pt x="11" y="83"/>
                      <a:pt x="11" y="83"/>
                    </a:cubicBezTo>
                    <a:cubicBezTo>
                      <a:pt x="12" y="83"/>
                      <a:pt x="12" y="83"/>
                      <a:pt x="12" y="83"/>
                    </a:cubicBezTo>
                    <a:cubicBezTo>
                      <a:pt x="12" y="83"/>
                      <a:pt x="12" y="83"/>
                      <a:pt x="12" y="83"/>
                    </a:cubicBezTo>
                    <a:cubicBezTo>
                      <a:pt x="13" y="82"/>
                      <a:pt x="13" y="82"/>
                      <a:pt x="14" y="83"/>
                    </a:cubicBezTo>
                    <a:cubicBezTo>
                      <a:pt x="14" y="83"/>
                      <a:pt x="14" y="83"/>
                      <a:pt x="14" y="83"/>
                    </a:cubicBezTo>
                    <a:cubicBezTo>
                      <a:pt x="15" y="83"/>
                      <a:pt x="15" y="83"/>
                      <a:pt x="15" y="83"/>
                    </a:cubicBezTo>
                    <a:cubicBezTo>
                      <a:pt x="15" y="83"/>
                      <a:pt x="16" y="83"/>
                      <a:pt x="16" y="82"/>
                    </a:cubicBezTo>
                    <a:cubicBezTo>
                      <a:pt x="16" y="82"/>
                      <a:pt x="16" y="81"/>
                      <a:pt x="16" y="81"/>
                    </a:cubicBezTo>
                    <a:cubicBezTo>
                      <a:pt x="16" y="81"/>
                      <a:pt x="17" y="81"/>
                      <a:pt x="18" y="81"/>
                    </a:cubicBezTo>
                    <a:cubicBezTo>
                      <a:pt x="18" y="81"/>
                      <a:pt x="18" y="81"/>
                      <a:pt x="18" y="81"/>
                    </a:cubicBezTo>
                    <a:cubicBezTo>
                      <a:pt x="18" y="80"/>
                      <a:pt x="18" y="80"/>
                      <a:pt x="18" y="80"/>
                    </a:cubicBezTo>
                    <a:cubicBezTo>
                      <a:pt x="19" y="80"/>
                      <a:pt x="19" y="80"/>
                      <a:pt x="19" y="80"/>
                    </a:cubicBezTo>
                    <a:cubicBezTo>
                      <a:pt x="18" y="79"/>
                      <a:pt x="18" y="79"/>
                      <a:pt x="18" y="79"/>
                    </a:cubicBezTo>
                    <a:cubicBezTo>
                      <a:pt x="17" y="80"/>
                      <a:pt x="17" y="80"/>
                      <a:pt x="17" y="80"/>
                    </a:cubicBezTo>
                    <a:cubicBezTo>
                      <a:pt x="18" y="79"/>
                      <a:pt x="18" y="78"/>
                      <a:pt x="18" y="78"/>
                    </a:cubicBezTo>
                    <a:cubicBezTo>
                      <a:pt x="17" y="77"/>
                      <a:pt x="17" y="77"/>
                      <a:pt x="17" y="77"/>
                    </a:cubicBezTo>
                    <a:cubicBezTo>
                      <a:pt x="18" y="77"/>
                      <a:pt x="18" y="77"/>
                      <a:pt x="18" y="77"/>
                    </a:cubicBezTo>
                    <a:cubicBezTo>
                      <a:pt x="18" y="77"/>
                      <a:pt x="18" y="77"/>
                      <a:pt x="18" y="77"/>
                    </a:cubicBezTo>
                    <a:cubicBezTo>
                      <a:pt x="18" y="78"/>
                      <a:pt x="18" y="78"/>
                      <a:pt x="18" y="78"/>
                    </a:cubicBezTo>
                    <a:cubicBezTo>
                      <a:pt x="19" y="78"/>
                      <a:pt x="19" y="78"/>
                      <a:pt x="19" y="78"/>
                    </a:cubicBezTo>
                    <a:cubicBezTo>
                      <a:pt x="18" y="79"/>
                      <a:pt x="18" y="79"/>
                      <a:pt x="18" y="79"/>
                    </a:cubicBezTo>
                    <a:cubicBezTo>
                      <a:pt x="19" y="79"/>
                      <a:pt x="19" y="80"/>
                      <a:pt x="19" y="80"/>
                    </a:cubicBezTo>
                    <a:cubicBezTo>
                      <a:pt x="19" y="79"/>
                      <a:pt x="19" y="79"/>
                      <a:pt x="19" y="78"/>
                    </a:cubicBezTo>
                    <a:cubicBezTo>
                      <a:pt x="19" y="78"/>
                      <a:pt x="19" y="78"/>
                      <a:pt x="19" y="77"/>
                    </a:cubicBezTo>
                    <a:cubicBezTo>
                      <a:pt x="19" y="77"/>
                      <a:pt x="19" y="77"/>
                      <a:pt x="19" y="77"/>
                    </a:cubicBezTo>
                    <a:cubicBezTo>
                      <a:pt x="19" y="76"/>
                      <a:pt x="19" y="76"/>
                      <a:pt x="19" y="76"/>
                    </a:cubicBezTo>
                    <a:cubicBezTo>
                      <a:pt x="18" y="76"/>
                      <a:pt x="18" y="76"/>
                      <a:pt x="18" y="76"/>
                    </a:cubicBezTo>
                    <a:cubicBezTo>
                      <a:pt x="18" y="76"/>
                      <a:pt x="18" y="76"/>
                      <a:pt x="18" y="76"/>
                    </a:cubicBezTo>
                    <a:cubicBezTo>
                      <a:pt x="17" y="76"/>
                      <a:pt x="17" y="76"/>
                      <a:pt x="17" y="76"/>
                    </a:cubicBezTo>
                    <a:cubicBezTo>
                      <a:pt x="17" y="76"/>
                      <a:pt x="17" y="76"/>
                      <a:pt x="17" y="76"/>
                    </a:cubicBezTo>
                    <a:cubicBezTo>
                      <a:pt x="16" y="77"/>
                      <a:pt x="16" y="77"/>
                      <a:pt x="16" y="77"/>
                    </a:cubicBezTo>
                    <a:cubicBezTo>
                      <a:pt x="16" y="76"/>
                      <a:pt x="16" y="76"/>
                      <a:pt x="16" y="76"/>
                    </a:cubicBezTo>
                    <a:cubicBezTo>
                      <a:pt x="17" y="76"/>
                      <a:pt x="17" y="76"/>
                      <a:pt x="17" y="76"/>
                    </a:cubicBezTo>
                    <a:cubicBezTo>
                      <a:pt x="17" y="75"/>
                      <a:pt x="17" y="75"/>
                      <a:pt x="17" y="75"/>
                    </a:cubicBezTo>
                    <a:cubicBezTo>
                      <a:pt x="18" y="75"/>
                      <a:pt x="18" y="75"/>
                      <a:pt x="18" y="75"/>
                    </a:cubicBezTo>
                    <a:cubicBezTo>
                      <a:pt x="18" y="74"/>
                      <a:pt x="18" y="74"/>
                      <a:pt x="18" y="74"/>
                    </a:cubicBezTo>
                    <a:cubicBezTo>
                      <a:pt x="17" y="74"/>
                      <a:pt x="17" y="74"/>
                      <a:pt x="17" y="74"/>
                    </a:cubicBezTo>
                    <a:cubicBezTo>
                      <a:pt x="17" y="74"/>
                      <a:pt x="17" y="74"/>
                      <a:pt x="17" y="74"/>
                    </a:cubicBezTo>
                    <a:cubicBezTo>
                      <a:pt x="17" y="74"/>
                      <a:pt x="17" y="74"/>
                      <a:pt x="17" y="74"/>
                    </a:cubicBezTo>
                    <a:cubicBezTo>
                      <a:pt x="17" y="74"/>
                      <a:pt x="17" y="73"/>
                      <a:pt x="16" y="72"/>
                    </a:cubicBezTo>
                    <a:cubicBezTo>
                      <a:pt x="16" y="72"/>
                      <a:pt x="16" y="72"/>
                      <a:pt x="16" y="72"/>
                    </a:cubicBezTo>
                    <a:cubicBezTo>
                      <a:pt x="16" y="71"/>
                      <a:pt x="16" y="71"/>
                      <a:pt x="16" y="71"/>
                    </a:cubicBezTo>
                    <a:cubicBezTo>
                      <a:pt x="15" y="71"/>
                      <a:pt x="15" y="71"/>
                      <a:pt x="15" y="71"/>
                    </a:cubicBezTo>
                    <a:cubicBezTo>
                      <a:pt x="15" y="70"/>
                      <a:pt x="15" y="70"/>
                      <a:pt x="15" y="70"/>
                    </a:cubicBezTo>
                    <a:cubicBezTo>
                      <a:pt x="15" y="70"/>
                      <a:pt x="15" y="70"/>
                      <a:pt x="15" y="70"/>
                    </a:cubicBezTo>
                    <a:cubicBezTo>
                      <a:pt x="15" y="69"/>
                      <a:pt x="15" y="69"/>
                      <a:pt x="15" y="69"/>
                    </a:cubicBezTo>
                    <a:cubicBezTo>
                      <a:pt x="14" y="70"/>
                      <a:pt x="14" y="70"/>
                      <a:pt x="14" y="70"/>
                    </a:cubicBezTo>
                    <a:cubicBezTo>
                      <a:pt x="13" y="69"/>
                      <a:pt x="13" y="69"/>
                      <a:pt x="13" y="69"/>
                    </a:cubicBezTo>
                    <a:cubicBezTo>
                      <a:pt x="13" y="69"/>
                      <a:pt x="13" y="69"/>
                      <a:pt x="13" y="69"/>
                    </a:cubicBezTo>
                    <a:cubicBezTo>
                      <a:pt x="12" y="69"/>
                      <a:pt x="12" y="69"/>
                      <a:pt x="12" y="69"/>
                    </a:cubicBezTo>
                    <a:cubicBezTo>
                      <a:pt x="12" y="69"/>
                      <a:pt x="12" y="69"/>
                      <a:pt x="12" y="69"/>
                    </a:cubicBezTo>
                    <a:cubicBezTo>
                      <a:pt x="11" y="69"/>
                      <a:pt x="11" y="69"/>
                      <a:pt x="11" y="69"/>
                    </a:cubicBezTo>
                    <a:cubicBezTo>
                      <a:pt x="10" y="70"/>
                      <a:pt x="10" y="70"/>
                      <a:pt x="10" y="70"/>
                    </a:cubicBezTo>
                    <a:cubicBezTo>
                      <a:pt x="10" y="70"/>
                      <a:pt x="10" y="70"/>
                      <a:pt x="10" y="70"/>
                    </a:cubicBezTo>
                    <a:cubicBezTo>
                      <a:pt x="9" y="70"/>
                      <a:pt x="9" y="70"/>
                      <a:pt x="9" y="69"/>
                    </a:cubicBezTo>
                    <a:cubicBezTo>
                      <a:pt x="9" y="70"/>
                      <a:pt x="9" y="70"/>
                      <a:pt x="9" y="71"/>
                    </a:cubicBezTo>
                    <a:cubicBezTo>
                      <a:pt x="8" y="71"/>
                      <a:pt x="8" y="71"/>
                      <a:pt x="8" y="71"/>
                    </a:cubicBezTo>
                    <a:cubicBezTo>
                      <a:pt x="7" y="71"/>
                      <a:pt x="7" y="71"/>
                      <a:pt x="7" y="71"/>
                    </a:cubicBezTo>
                    <a:lnTo>
                      <a:pt x="6"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4" name="Freeform 809">
                <a:extLst>
                  <a:ext uri="{FF2B5EF4-FFF2-40B4-BE49-F238E27FC236}">
                    <a16:creationId xmlns:a16="http://schemas.microsoft.com/office/drawing/2014/main" id="{BF2153DC-3ACC-068E-2EB2-0E8B2EDE54E8}"/>
                  </a:ext>
                </a:extLst>
              </p:cNvPr>
              <p:cNvSpPr>
                <a:spLocks noEditPoints="1"/>
              </p:cNvSpPr>
              <p:nvPr/>
            </p:nvSpPr>
            <p:spPr bwMode="auto">
              <a:xfrm>
                <a:off x="5929313" y="3587750"/>
                <a:ext cx="241300" cy="250825"/>
              </a:xfrm>
              <a:custGeom>
                <a:avLst/>
                <a:gdLst>
                  <a:gd name="T0" fmla="*/ 31 w 58"/>
                  <a:gd name="T1" fmla="*/ 13 h 60"/>
                  <a:gd name="T2" fmla="*/ 20 w 58"/>
                  <a:gd name="T3" fmla="*/ 12 h 60"/>
                  <a:gd name="T4" fmla="*/ 23 w 58"/>
                  <a:gd name="T5" fmla="*/ 27 h 60"/>
                  <a:gd name="T6" fmla="*/ 24 w 58"/>
                  <a:gd name="T7" fmla="*/ 39 h 60"/>
                  <a:gd name="T8" fmla="*/ 17 w 58"/>
                  <a:gd name="T9" fmla="*/ 42 h 60"/>
                  <a:gd name="T10" fmla="*/ 18 w 58"/>
                  <a:gd name="T11" fmla="*/ 31 h 60"/>
                  <a:gd name="T12" fmla="*/ 11 w 58"/>
                  <a:gd name="T13" fmla="*/ 30 h 60"/>
                  <a:gd name="T14" fmla="*/ 5 w 58"/>
                  <a:gd name="T15" fmla="*/ 22 h 60"/>
                  <a:gd name="T16" fmla="*/ 13 w 58"/>
                  <a:gd name="T17" fmla="*/ 8 h 60"/>
                  <a:gd name="T18" fmla="*/ 34 w 58"/>
                  <a:gd name="T19" fmla="*/ 3 h 60"/>
                  <a:gd name="T20" fmla="*/ 50 w 58"/>
                  <a:gd name="T21" fmla="*/ 55 h 60"/>
                  <a:gd name="T22" fmla="*/ 42 w 58"/>
                  <a:gd name="T23" fmla="*/ 47 h 60"/>
                  <a:gd name="T24" fmla="*/ 38 w 58"/>
                  <a:gd name="T25" fmla="*/ 44 h 60"/>
                  <a:gd name="T26" fmla="*/ 35 w 58"/>
                  <a:gd name="T27" fmla="*/ 43 h 60"/>
                  <a:gd name="T28" fmla="*/ 38 w 58"/>
                  <a:gd name="T29" fmla="*/ 42 h 60"/>
                  <a:gd name="T30" fmla="*/ 42 w 58"/>
                  <a:gd name="T31" fmla="*/ 41 h 60"/>
                  <a:gd name="T32" fmla="*/ 33 w 58"/>
                  <a:gd name="T33" fmla="*/ 40 h 60"/>
                  <a:gd name="T34" fmla="*/ 49 w 58"/>
                  <a:gd name="T35" fmla="*/ 39 h 60"/>
                  <a:gd name="T36" fmla="*/ 48 w 58"/>
                  <a:gd name="T37" fmla="*/ 38 h 60"/>
                  <a:gd name="T38" fmla="*/ 47 w 58"/>
                  <a:gd name="T39" fmla="*/ 36 h 60"/>
                  <a:gd name="T40" fmla="*/ 52 w 58"/>
                  <a:gd name="T41" fmla="*/ 52 h 60"/>
                  <a:gd name="T42" fmla="*/ 58 w 58"/>
                  <a:gd name="T43" fmla="*/ 48 h 60"/>
                  <a:gd name="T44" fmla="*/ 57 w 58"/>
                  <a:gd name="T45" fmla="*/ 49 h 60"/>
                  <a:gd name="T46" fmla="*/ 40 w 58"/>
                  <a:gd name="T47" fmla="*/ 46 h 60"/>
                  <a:gd name="T48" fmla="*/ 46 w 58"/>
                  <a:gd name="T49" fmla="*/ 46 h 60"/>
                  <a:gd name="T50" fmla="*/ 56 w 58"/>
                  <a:gd name="T51" fmla="*/ 44 h 60"/>
                  <a:gd name="T52" fmla="*/ 40 w 58"/>
                  <a:gd name="T53" fmla="*/ 45 h 60"/>
                  <a:gd name="T54" fmla="*/ 50 w 58"/>
                  <a:gd name="T55" fmla="*/ 43 h 60"/>
                  <a:gd name="T56" fmla="*/ 50 w 58"/>
                  <a:gd name="T57" fmla="*/ 42 h 60"/>
                  <a:gd name="T58" fmla="*/ 38 w 58"/>
                  <a:gd name="T59" fmla="*/ 41 h 60"/>
                  <a:gd name="T60" fmla="*/ 33 w 58"/>
                  <a:gd name="T61" fmla="*/ 38 h 60"/>
                  <a:gd name="T62" fmla="*/ 40 w 58"/>
                  <a:gd name="T63" fmla="*/ 38 h 60"/>
                  <a:gd name="T64" fmla="*/ 39 w 58"/>
                  <a:gd name="T65" fmla="*/ 37 h 60"/>
                  <a:gd name="T66" fmla="*/ 33 w 58"/>
                  <a:gd name="T67" fmla="*/ 36 h 60"/>
                  <a:gd name="T68" fmla="*/ 36 w 58"/>
                  <a:gd name="T69" fmla="*/ 35 h 60"/>
                  <a:gd name="T70" fmla="*/ 40 w 58"/>
                  <a:gd name="T71" fmla="*/ 28 h 60"/>
                  <a:gd name="T72" fmla="*/ 45 w 58"/>
                  <a:gd name="T73" fmla="*/ 36 h 60"/>
                  <a:gd name="T74" fmla="*/ 50 w 58"/>
                  <a:gd name="T75" fmla="*/ 35 h 60"/>
                  <a:gd name="T76" fmla="*/ 43 w 58"/>
                  <a:gd name="T77" fmla="*/ 29 h 60"/>
                  <a:gd name="T78" fmla="*/ 44 w 58"/>
                  <a:gd name="T79" fmla="*/ 31 h 60"/>
                  <a:gd name="T80" fmla="*/ 42 w 58"/>
                  <a:gd name="T81" fmla="*/ 22 h 60"/>
                  <a:gd name="T82" fmla="*/ 47 w 58"/>
                  <a:gd name="T83" fmla="*/ 24 h 60"/>
                  <a:gd name="T84" fmla="*/ 38 w 58"/>
                  <a:gd name="T85" fmla="*/ 16 h 60"/>
                  <a:gd name="T86" fmla="*/ 38 w 58"/>
                  <a:gd name="T87" fmla="*/ 17 h 60"/>
                  <a:gd name="T88" fmla="*/ 33 w 58"/>
                  <a:gd name="T89" fmla="*/ 34 h 60"/>
                  <a:gd name="T90" fmla="*/ 33 w 58"/>
                  <a:gd name="T91" fmla="*/ 25 h 60"/>
                  <a:gd name="T92" fmla="*/ 24 w 58"/>
                  <a:gd name="T93" fmla="*/ 25 h 60"/>
                  <a:gd name="T94" fmla="*/ 28 w 58"/>
                  <a:gd name="T95" fmla="*/ 29 h 60"/>
                  <a:gd name="T96" fmla="*/ 32 w 58"/>
                  <a:gd name="T97" fmla="*/ 32 h 60"/>
                  <a:gd name="T98" fmla="*/ 31 w 58"/>
                  <a:gd name="T99" fmla="*/ 31 h 60"/>
                  <a:gd name="T100" fmla="*/ 30 w 58"/>
                  <a:gd name="T101" fmla="*/ 59 h 60"/>
                  <a:gd name="T102" fmla="*/ 27 w 58"/>
                  <a:gd name="T103" fmla="*/ 56 h 60"/>
                  <a:gd name="T104" fmla="*/ 37 w 58"/>
                  <a:gd name="T105" fmla="*/ 59 h 60"/>
                  <a:gd name="T106" fmla="*/ 45 w 58"/>
                  <a:gd name="T107" fmla="*/ 56 h 60"/>
                  <a:gd name="T108" fmla="*/ 41 w 58"/>
                  <a:gd name="T109" fmla="*/ 56 h 60"/>
                  <a:gd name="T110" fmla="*/ 31 w 58"/>
                  <a:gd name="T111" fmla="*/ 55 h 60"/>
                  <a:gd name="T112" fmla="*/ 28 w 58"/>
                  <a:gd name="T113" fmla="*/ 53 h 60"/>
                  <a:gd name="T114" fmla="*/ 10 w 58"/>
                  <a:gd name="T115" fmla="*/ 36 h 60"/>
                  <a:gd name="T116" fmla="*/ 6 w 58"/>
                  <a:gd name="T117" fmla="*/ 32 h 60"/>
                  <a:gd name="T118" fmla="*/ 2 w 58"/>
                  <a:gd name="T119" fmla="*/ 17 h 60"/>
                  <a:gd name="T120" fmla="*/ 24 w 58"/>
                  <a:gd name="T12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60">
                    <a:moveTo>
                      <a:pt x="44" y="9"/>
                    </a:moveTo>
                    <a:cubicBezTo>
                      <a:pt x="44" y="9"/>
                      <a:pt x="44" y="9"/>
                      <a:pt x="44" y="9"/>
                    </a:cubicBezTo>
                    <a:cubicBezTo>
                      <a:pt x="44" y="8"/>
                      <a:pt x="42" y="8"/>
                      <a:pt x="42" y="8"/>
                    </a:cubicBezTo>
                    <a:cubicBezTo>
                      <a:pt x="40" y="8"/>
                      <a:pt x="39" y="8"/>
                      <a:pt x="38" y="7"/>
                    </a:cubicBezTo>
                    <a:cubicBezTo>
                      <a:pt x="38" y="7"/>
                      <a:pt x="38" y="7"/>
                      <a:pt x="38" y="7"/>
                    </a:cubicBezTo>
                    <a:cubicBezTo>
                      <a:pt x="37" y="7"/>
                      <a:pt x="37" y="7"/>
                      <a:pt x="37" y="7"/>
                    </a:cubicBezTo>
                    <a:cubicBezTo>
                      <a:pt x="36" y="7"/>
                      <a:pt x="36" y="7"/>
                      <a:pt x="36" y="8"/>
                    </a:cubicBezTo>
                    <a:cubicBezTo>
                      <a:pt x="36" y="8"/>
                      <a:pt x="35" y="8"/>
                      <a:pt x="35" y="8"/>
                    </a:cubicBezTo>
                    <a:cubicBezTo>
                      <a:pt x="34" y="8"/>
                      <a:pt x="34" y="7"/>
                      <a:pt x="33" y="7"/>
                    </a:cubicBezTo>
                    <a:cubicBezTo>
                      <a:pt x="32" y="7"/>
                      <a:pt x="32" y="8"/>
                      <a:pt x="32" y="9"/>
                    </a:cubicBezTo>
                    <a:cubicBezTo>
                      <a:pt x="31" y="9"/>
                      <a:pt x="30" y="9"/>
                      <a:pt x="30" y="9"/>
                    </a:cubicBezTo>
                    <a:cubicBezTo>
                      <a:pt x="29" y="9"/>
                      <a:pt x="28" y="8"/>
                      <a:pt x="28" y="9"/>
                    </a:cubicBezTo>
                    <a:cubicBezTo>
                      <a:pt x="28" y="10"/>
                      <a:pt x="28" y="10"/>
                      <a:pt x="28" y="10"/>
                    </a:cubicBezTo>
                    <a:cubicBezTo>
                      <a:pt x="28" y="11"/>
                      <a:pt x="29" y="11"/>
                      <a:pt x="29" y="11"/>
                    </a:cubicBezTo>
                    <a:cubicBezTo>
                      <a:pt x="30" y="11"/>
                      <a:pt x="28" y="12"/>
                      <a:pt x="29" y="12"/>
                    </a:cubicBezTo>
                    <a:cubicBezTo>
                      <a:pt x="30" y="13"/>
                      <a:pt x="30" y="12"/>
                      <a:pt x="30" y="12"/>
                    </a:cubicBezTo>
                    <a:cubicBezTo>
                      <a:pt x="30" y="12"/>
                      <a:pt x="31" y="13"/>
                      <a:pt x="31" y="13"/>
                    </a:cubicBezTo>
                    <a:cubicBezTo>
                      <a:pt x="31" y="13"/>
                      <a:pt x="32" y="13"/>
                      <a:pt x="32" y="14"/>
                    </a:cubicBezTo>
                    <a:cubicBezTo>
                      <a:pt x="32" y="14"/>
                      <a:pt x="33" y="15"/>
                      <a:pt x="32" y="15"/>
                    </a:cubicBezTo>
                    <a:cubicBezTo>
                      <a:pt x="32" y="14"/>
                      <a:pt x="31" y="14"/>
                      <a:pt x="31" y="14"/>
                    </a:cubicBezTo>
                    <a:cubicBezTo>
                      <a:pt x="31" y="13"/>
                      <a:pt x="30" y="13"/>
                      <a:pt x="30" y="13"/>
                    </a:cubicBezTo>
                    <a:cubicBezTo>
                      <a:pt x="29" y="13"/>
                      <a:pt x="28" y="12"/>
                      <a:pt x="28" y="13"/>
                    </a:cubicBezTo>
                    <a:cubicBezTo>
                      <a:pt x="28" y="14"/>
                      <a:pt x="29" y="14"/>
                      <a:pt x="29" y="15"/>
                    </a:cubicBezTo>
                    <a:cubicBezTo>
                      <a:pt x="30" y="15"/>
                      <a:pt x="30" y="16"/>
                      <a:pt x="29" y="16"/>
                    </a:cubicBezTo>
                    <a:cubicBezTo>
                      <a:pt x="28" y="15"/>
                      <a:pt x="28" y="14"/>
                      <a:pt x="27" y="14"/>
                    </a:cubicBezTo>
                    <a:cubicBezTo>
                      <a:pt x="26" y="14"/>
                      <a:pt x="25" y="13"/>
                      <a:pt x="26" y="14"/>
                    </a:cubicBezTo>
                    <a:cubicBezTo>
                      <a:pt x="26" y="15"/>
                      <a:pt x="27" y="16"/>
                      <a:pt x="28" y="17"/>
                    </a:cubicBezTo>
                    <a:cubicBezTo>
                      <a:pt x="27" y="17"/>
                      <a:pt x="26" y="16"/>
                      <a:pt x="26" y="16"/>
                    </a:cubicBezTo>
                    <a:cubicBezTo>
                      <a:pt x="25" y="16"/>
                      <a:pt x="25" y="15"/>
                      <a:pt x="25" y="14"/>
                    </a:cubicBezTo>
                    <a:cubicBezTo>
                      <a:pt x="25" y="13"/>
                      <a:pt x="24" y="13"/>
                      <a:pt x="23" y="12"/>
                    </a:cubicBezTo>
                    <a:cubicBezTo>
                      <a:pt x="22" y="12"/>
                      <a:pt x="22" y="12"/>
                      <a:pt x="23" y="11"/>
                    </a:cubicBezTo>
                    <a:cubicBezTo>
                      <a:pt x="23" y="11"/>
                      <a:pt x="23" y="10"/>
                      <a:pt x="22" y="10"/>
                    </a:cubicBezTo>
                    <a:cubicBezTo>
                      <a:pt x="22" y="10"/>
                      <a:pt x="22" y="11"/>
                      <a:pt x="21" y="11"/>
                    </a:cubicBezTo>
                    <a:cubicBezTo>
                      <a:pt x="21" y="12"/>
                      <a:pt x="20" y="11"/>
                      <a:pt x="20" y="12"/>
                    </a:cubicBezTo>
                    <a:cubicBezTo>
                      <a:pt x="21" y="12"/>
                      <a:pt x="21" y="12"/>
                      <a:pt x="21" y="13"/>
                    </a:cubicBezTo>
                    <a:cubicBezTo>
                      <a:pt x="21" y="13"/>
                      <a:pt x="21" y="13"/>
                      <a:pt x="20" y="14"/>
                    </a:cubicBezTo>
                    <a:cubicBezTo>
                      <a:pt x="20" y="15"/>
                      <a:pt x="20" y="15"/>
                      <a:pt x="21" y="16"/>
                    </a:cubicBezTo>
                    <a:cubicBezTo>
                      <a:pt x="21" y="16"/>
                      <a:pt x="21" y="17"/>
                      <a:pt x="22" y="17"/>
                    </a:cubicBezTo>
                    <a:cubicBezTo>
                      <a:pt x="22" y="18"/>
                      <a:pt x="22" y="18"/>
                      <a:pt x="22" y="19"/>
                    </a:cubicBezTo>
                    <a:cubicBezTo>
                      <a:pt x="23" y="20"/>
                      <a:pt x="24" y="20"/>
                      <a:pt x="25" y="21"/>
                    </a:cubicBezTo>
                    <a:cubicBezTo>
                      <a:pt x="25" y="22"/>
                      <a:pt x="26" y="22"/>
                      <a:pt x="25" y="23"/>
                    </a:cubicBezTo>
                    <a:cubicBezTo>
                      <a:pt x="25" y="23"/>
                      <a:pt x="24" y="24"/>
                      <a:pt x="24" y="23"/>
                    </a:cubicBezTo>
                    <a:cubicBezTo>
                      <a:pt x="24" y="23"/>
                      <a:pt x="24" y="23"/>
                      <a:pt x="24" y="23"/>
                    </a:cubicBezTo>
                    <a:cubicBezTo>
                      <a:pt x="24" y="23"/>
                      <a:pt x="24" y="21"/>
                      <a:pt x="23" y="22"/>
                    </a:cubicBezTo>
                    <a:cubicBezTo>
                      <a:pt x="23" y="22"/>
                      <a:pt x="23" y="22"/>
                      <a:pt x="23" y="22"/>
                    </a:cubicBezTo>
                    <a:cubicBezTo>
                      <a:pt x="22" y="22"/>
                      <a:pt x="22" y="22"/>
                      <a:pt x="22" y="23"/>
                    </a:cubicBezTo>
                    <a:cubicBezTo>
                      <a:pt x="22" y="23"/>
                      <a:pt x="23" y="24"/>
                      <a:pt x="23" y="25"/>
                    </a:cubicBezTo>
                    <a:cubicBezTo>
                      <a:pt x="22" y="26"/>
                      <a:pt x="21" y="25"/>
                      <a:pt x="20" y="25"/>
                    </a:cubicBezTo>
                    <a:cubicBezTo>
                      <a:pt x="20" y="26"/>
                      <a:pt x="20" y="26"/>
                      <a:pt x="21" y="26"/>
                    </a:cubicBezTo>
                    <a:cubicBezTo>
                      <a:pt x="21" y="26"/>
                      <a:pt x="21" y="26"/>
                      <a:pt x="22" y="26"/>
                    </a:cubicBezTo>
                    <a:cubicBezTo>
                      <a:pt x="22" y="27"/>
                      <a:pt x="23" y="27"/>
                      <a:pt x="23" y="27"/>
                    </a:cubicBezTo>
                    <a:cubicBezTo>
                      <a:pt x="23" y="27"/>
                      <a:pt x="23" y="27"/>
                      <a:pt x="24" y="27"/>
                    </a:cubicBezTo>
                    <a:cubicBezTo>
                      <a:pt x="24" y="28"/>
                      <a:pt x="24" y="27"/>
                      <a:pt x="25" y="28"/>
                    </a:cubicBezTo>
                    <a:cubicBezTo>
                      <a:pt x="25" y="28"/>
                      <a:pt x="25" y="28"/>
                      <a:pt x="26" y="29"/>
                    </a:cubicBezTo>
                    <a:cubicBezTo>
                      <a:pt x="26" y="29"/>
                      <a:pt x="26" y="29"/>
                      <a:pt x="27" y="29"/>
                    </a:cubicBezTo>
                    <a:cubicBezTo>
                      <a:pt x="27" y="29"/>
                      <a:pt x="27" y="29"/>
                      <a:pt x="27" y="30"/>
                    </a:cubicBezTo>
                    <a:cubicBezTo>
                      <a:pt x="28" y="31"/>
                      <a:pt x="30" y="30"/>
                      <a:pt x="30" y="32"/>
                    </a:cubicBezTo>
                    <a:cubicBezTo>
                      <a:pt x="30" y="33"/>
                      <a:pt x="30" y="33"/>
                      <a:pt x="30" y="34"/>
                    </a:cubicBezTo>
                    <a:cubicBezTo>
                      <a:pt x="30" y="34"/>
                      <a:pt x="31" y="35"/>
                      <a:pt x="30" y="36"/>
                    </a:cubicBezTo>
                    <a:cubicBezTo>
                      <a:pt x="30" y="36"/>
                      <a:pt x="29" y="35"/>
                      <a:pt x="29" y="35"/>
                    </a:cubicBezTo>
                    <a:cubicBezTo>
                      <a:pt x="29" y="34"/>
                      <a:pt x="28" y="34"/>
                      <a:pt x="28" y="34"/>
                    </a:cubicBezTo>
                    <a:cubicBezTo>
                      <a:pt x="27" y="33"/>
                      <a:pt x="27" y="33"/>
                      <a:pt x="27" y="33"/>
                    </a:cubicBezTo>
                    <a:cubicBezTo>
                      <a:pt x="26" y="33"/>
                      <a:pt x="25" y="33"/>
                      <a:pt x="24" y="33"/>
                    </a:cubicBezTo>
                    <a:cubicBezTo>
                      <a:pt x="22" y="34"/>
                      <a:pt x="24" y="34"/>
                      <a:pt x="24" y="35"/>
                    </a:cubicBezTo>
                    <a:cubicBezTo>
                      <a:pt x="24" y="36"/>
                      <a:pt x="24" y="37"/>
                      <a:pt x="25" y="37"/>
                    </a:cubicBezTo>
                    <a:cubicBezTo>
                      <a:pt x="25" y="37"/>
                      <a:pt x="26" y="37"/>
                      <a:pt x="26" y="38"/>
                    </a:cubicBezTo>
                    <a:cubicBezTo>
                      <a:pt x="26" y="38"/>
                      <a:pt x="25" y="38"/>
                      <a:pt x="25" y="38"/>
                    </a:cubicBezTo>
                    <a:cubicBezTo>
                      <a:pt x="25" y="38"/>
                      <a:pt x="24" y="40"/>
                      <a:pt x="24" y="39"/>
                    </a:cubicBezTo>
                    <a:cubicBezTo>
                      <a:pt x="23" y="39"/>
                      <a:pt x="24" y="38"/>
                      <a:pt x="24" y="38"/>
                    </a:cubicBezTo>
                    <a:cubicBezTo>
                      <a:pt x="23" y="37"/>
                      <a:pt x="23" y="37"/>
                      <a:pt x="23" y="37"/>
                    </a:cubicBezTo>
                    <a:cubicBezTo>
                      <a:pt x="22" y="37"/>
                      <a:pt x="22" y="37"/>
                      <a:pt x="22" y="37"/>
                    </a:cubicBezTo>
                    <a:cubicBezTo>
                      <a:pt x="21" y="38"/>
                      <a:pt x="22" y="38"/>
                      <a:pt x="22" y="39"/>
                    </a:cubicBezTo>
                    <a:cubicBezTo>
                      <a:pt x="22" y="40"/>
                      <a:pt x="23" y="41"/>
                      <a:pt x="23" y="41"/>
                    </a:cubicBezTo>
                    <a:cubicBezTo>
                      <a:pt x="23" y="41"/>
                      <a:pt x="24" y="43"/>
                      <a:pt x="24" y="44"/>
                    </a:cubicBezTo>
                    <a:cubicBezTo>
                      <a:pt x="24" y="44"/>
                      <a:pt x="24" y="44"/>
                      <a:pt x="24" y="45"/>
                    </a:cubicBezTo>
                    <a:cubicBezTo>
                      <a:pt x="24" y="46"/>
                      <a:pt x="24" y="46"/>
                      <a:pt x="24" y="47"/>
                    </a:cubicBezTo>
                    <a:cubicBezTo>
                      <a:pt x="24" y="47"/>
                      <a:pt x="23" y="46"/>
                      <a:pt x="23" y="45"/>
                    </a:cubicBezTo>
                    <a:cubicBezTo>
                      <a:pt x="23" y="45"/>
                      <a:pt x="22" y="45"/>
                      <a:pt x="22" y="45"/>
                    </a:cubicBezTo>
                    <a:cubicBezTo>
                      <a:pt x="22" y="44"/>
                      <a:pt x="22" y="44"/>
                      <a:pt x="22" y="44"/>
                    </a:cubicBezTo>
                    <a:cubicBezTo>
                      <a:pt x="22" y="43"/>
                      <a:pt x="22" y="43"/>
                      <a:pt x="21" y="43"/>
                    </a:cubicBezTo>
                    <a:cubicBezTo>
                      <a:pt x="21" y="43"/>
                      <a:pt x="21" y="43"/>
                      <a:pt x="21" y="44"/>
                    </a:cubicBezTo>
                    <a:cubicBezTo>
                      <a:pt x="20" y="44"/>
                      <a:pt x="20" y="44"/>
                      <a:pt x="20" y="45"/>
                    </a:cubicBezTo>
                    <a:cubicBezTo>
                      <a:pt x="20" y="45"/>
                      <a:pt x="20" y="46"/>
                      <a:pt x="20" y="46"/>
                    </a:cubicBezTo>
                    <a:cubicBezTo>
                      <a:pt x="19" y="46"/>
                      <a:pt x="19" y="45"/>
                      <a:pt x="19" y="44"/>
                    </a:cubicBezTo>
                    <a:cubicBezTo>
                      <a:pt x="19" y="43"/>
                      <a:pt x="18" y="43"/>
                      <a:pt x="17" y="42"/>
                    </a:cubicBezTo>
                    <a:cubicBezTo>
                      <a:pt x="17" y="42"/>
                      <a:pt x="17" y="41"/>
                      <a:pt x="16" y="41"/>
                    </a:cubicBezTo>
                    <a:cubicBezTo>
                      <a:pt x="16" y="42"/>
                      <a:pt x="16" y="43"/>
                      <a:pt x="16" y="44"/>
                    </a:cubicBezTo>
                    <a:cubicBezTo>
                      <a:pt x="16" y="44"/>
                      <a:pt x="16" y="44"/>
                      <a:pt x="15" y="44"/>
                    </a:cubicBezTo>
                    <a:cubicBezTo>
                      <a:pt x="15" y="44"/>
                      <a:pt x="15" y="43"/>
                      <a:pt x="15" y="43"/>
                    </a:cubicBezTo>
                    <a:cubicBezTo>
                      <a:pt x="15" y="43"/>
                      <a:pt x="15" y="43"/>
                      <a:pt x="15" y="43"/>
                    </a:cubicBezTo>
                    <a:cubicBezTo>
                      <a:pt x="14" y="43"/>
                      <a:pt x="15" y="42"/>
                      <a:pt x="14" y="42"/>
                    </a:cubicBezTo>
                    <a:cubicBezTo>
                      <a:pt x="14" y="42"/>
                      <a:pt x="14" y="42"/>
                      <a:pt x="14" y="41"/>
                    </a:cubicBezTo>
                    <a:cubicBezTo>
                      <a:pt x="13" y="41"/>
                      <a:pt x="14" y="40"/>
                      <a:pt x="14" y="39"/>
                    </a:cubicBezTo>
                    <a:cubicBezTo>
                      <a:pt x="15" y="38"/>
                      <a:pt x="14" y="38"/>
                      <a:pt x="13" y="37"/>
                    </a:cubicBezTo>
                    <a:cubicBezTo>
                      <a:pt x="13" y="36"/>
                      <a:pt x="12" y="36"/>
                      <a:pt x="12" y="36"/>
                    </a:cubicBezTo>
                    <a:cubicBezTo>
                      <a:pt x="12" y="35"/>
                      <a:pt x="12" y="35"/>
                      <a:pt x="11" y="35"/>
                    </a:cubicBezTo>
                    <a:cubicBezTo>
                      <a:pt x="11" y="35"/>
                      <a:pt x="11" y="35"/>
                      <a:pt x="10" y="34"/>
                    </a:cubicBezTo>
                    <a:cubicBezTo>
                      <a:pt x="10" y="34"/>
                      <a:pt x="11" y="33"/>
                      <a:pt x="12" y="33"/>
                    </a:cubicBezTo>
                    <a:cubicBezTo>
                      <a:pt x="12" y="32"/>
                      <a:pt x="12" y="31"/>
                      <a:pt x="13" y="31"/>
                    </a:cubicBezTo>
                    <a:cubicBezTo>
                      <a:pt x="14" y="31"/>
                      <a:pt x="14" y="32"/>
                      <a:pt x="15" y="31"/>
                    </a:cubicBezTo>
                    <a:cubicBezTo>
                      <a:pt x="15" y="30"/>
                      <a:pt x="16" y="30"/>
                      <a:pt x="17" y="31"/>
                    </a:cubicBezTo>
                    <a:cubicBezTo>
                      <a:pt x="17" y="31"/>
                      <a:pt x="18" y="31"/>
                      <a:pt x="18" y="31"/>
                    </a:cubicBezTo>
                    <a:cubicBezTo>
                      <a:pt x="19" y="32"/>
                      <a:pt x="19" y="32"/>
                      <a:pt x="20" y="32"/>
                    </a:cubicBezTo>
                    <a:cubicBezTo>
                      <a:pt x="20" y="32"/>
                      <a:pt x="21" y="32"/>
                      <a:pt x="21" y="33"/>
                    </a:cubicBezTo>
                    <a:cubicBezTo>
                      <a:pt x="21" y="33"/>
                      <a:pt x="22" y="33"/>
                      <a:pt x="22" y="34"/>
                    </a:cubicBezTo>
                    <a:cubicBezTo>
                      <a:pt x="23" y="34"/>
                      <a:pt x="22" y="32"/>
                      <a:pt x="23" y="32"/>
                    </a:cubicBezTo>
                    <a:cubicBezTo>
                      <a:pt x="23" y="32"/>
                      <a:pt x="25" y="33"/>
                      <a:pt x="24" y="32"/>
                    </a:cubicBezTo>
                    <a:cubicBezTo>
                      <a:pt x="24" y="31"/>
                      <a:pt x="22" y="31"/>
                      <a:pt x="22" y="31"/>
                    </a:cubicBezTo>
                    <a:cubicBezTo>
                      <a:pt x="22" y="31"/>
                      <a:pt x="21" y="30"/>
                      <a:pt x="21" y="30"/>
                    </a:cubicBezTo>
                    <a:cubicBezTo>
                      <a:pt x="20" y="30"/>
                      <a:pt x="21" y="30"/>
                      <a:pt x="20" y="31"/>
                    </a:cubicBezTo>
                    <a:cubicBezTo>
                      <a:pt x="20" y="30"/>
                      <a:pt x="20" y="30"/>
                      <a:pt x="19" y="30"/>
                    </a:cubicBezTo>
                    <a:cubicBezTo>
                      <a:pt x="19" y="29"/>
                      <a:pt x="19" y="30"/>
                      <a:pt x="19" y="30"/>
                    </a:cubicBezTo>
                    <a:cubicBezTo>
                      <a:pt x="18" y="30"/>
                      <a:pt x="18" y="30"/>
                      <a:pt x="18" y="30"/>
                    </a:cubicBezTo>
                    <a:cubicBezTo>
                      <a:pt x="17" y="30"/>
                      <a:pt x="16" y="30"/>
                      <a:pt x="16" y="30"/>
                    </a:cubicBezTo>
                    <a:cubicBezTo>
                      <a:pt x="15" y="30"/>
                      <a:pt x="15" y="30"/>
                      <a:pt x="15" y="30"/>
                    </a:cubicBezTo>
                    <a:cubicBezTo>
                      <a:pt x="15" y="30"/>
                      <a:pt x="15" y="30"/>
                      <a:pt x="15" y="30"/>
                    </a:cubicBezTo>
                    <a:cubicBezTo>
                      <a:pt x="15" y="30"/>
                      <a:pt x="14" y="30"/>
                      <a:pt x="14" y="30"/>
                    </a:cubicBezTo>
                    <a:cubicBezTo>
                      <a:pt x="12" y="30"/>
                      <a:pt x="13" y="29"/>
                      <a:pt x="12" y="29"/>
                    </a:cubicBezTo>
                    <a:cubicBezTo>
                      <a:pt x="11" y="30"/>
                      <a:pt x="12" y="30"/>
                      <a:pt x="11" y="30"/>
                    </a:cubicBezTo>
                    <a:cubicBezTo>
                      <a:pt x="10" y="31"/>
                      <a:pt x="11" y="29"/>
                      <a:pt x="10" y="29"/>
                    </a:cubicBezTo>
                    <a:cubicBezTo>
                      <a:pt x="10" y="29"/>
                      <a:pt x="10" y="28"/>
                      <a:pt x="10" y="28"/>
                    </a:cubicBezTo>
                    <a:cubicBezTo>
                      <a:pt x="10" y="28"/>
                      <a:pt x="10" y="28"/>
                      <a:pt x="9" y="28"/>
                    </a:cubicBezTo>
                    <a:cubicBezTo>
                      <a:pt x="9" y="27"/>
                      <a:pt x="9" y="27"/>
                      <a:pt x="9" y="27"/>
                    </a:cubicBezTo>
                    <a:cubicBezTo>
                      <a:pt x="9" y="27"/>
                      <a:pt x="9" y="27"/>
                      <a:pt x="9" y="27"/>
                    </a:cubicBezTo>
                    <a:cubicBezTo>
                      <a:pt x="9" y="26"/>
                      <a:pt x="9" y="26"/>
                      <a:pt x="9" y="26"/>
                    </a:cubicBezTo>
                    <a:cubicBezTo>
                      <a:pt x="8" y="26"/>
                      <a:pt x="8" y="26"/>
                      <a:pt x="9" y="25"/>
                    </a:cubicBezTo>
                    <a:cubicBezTo>
                      <a:pt x="9" y="25"/>
                      <a:pt x="9" y="25"/>
                      <a:pt x="9" y="25"/>
                    </a:cubicBezTo>
                    <a:cubicBezTo>
                      <a:pt x="10" y="25"/>
                      <a:pt x="10" y="25"/>
                      <a:pt x="10" y="25"/>
                    </a:cubicBezTo>
                    <a:cubicBezTo>
                      <a:pt x="10" y="26"/>
                      <a:pt x="11" y="26"/>
                      <a:pt x="11" y="25"/>
                    </a:cubicBezTo>
                    <a:cubicBezTo>
                      <a:pt x="11" y="24"/>
                      <a:pt x="11" y="24"/>
                      <a:pt x="10" y="24"/>
                    </a:cubicBezTo>
                    <a:cubicBezTo>
                      <a:pt x="10" y="24"/>
                      <a:pt x="9" y="24"/>
                      <a:pt x="9" y="24"/>
                    </a:cubicBezTo>
                    <a:cubicBezTo>
                      <a:pt x="9" y="24"/>
                      <a:pt x="9" y="24"/>
                      <a:pt x="8" y="24"/>
                    </a:cubicBezTo>
                    <a:cubicBezTo>
                      <a:pt x="8" y="24"/>
                      <a:pt x="8" y="24"/>
                      <a:pt x="7" y="24"/>
                    </a:cubicBezTo>
                    <a:cubicBezTo>
                      <a:pt x="7" y="23"/>
                      <a:pt x="7" y="23"/>
                      <a:pt x="7" y="23"/>
                    </a:cubicBezTo>
                    <a:cubicBezTo>
                      <a:pt x="6" y="23"/>
                      <a:pt x="6" y="22"/>
                      <a:pt x="6" y="22"/>
                    </a:cubicBezTo>
                    <a:cubicBezTo>
                      <a:pt x="6" y="22"/>
                      <a:pt x="5" y="22"/>
                      <a:pt x="5" y="22"/>
                    </a:cubicBezTo>
                    <a:cubicBezTo>
                      <a:pt x="5" y="21"/>
                      <a:pt x="5" y="21"/>
                      <a:pt x="5" y="21"/>
                    </a:cubicBezTo>
                    <a:cubicBezTo>
                      <a:pt x="5" y="20"/>
                      <a:pt x="5" y="20"/>
                      <a:pt x="4" y="20"/>
                    </a:cubicBezTo>
                    <a:cubicBezTo>
                      <a:pt x="4" y="19"/>
                      <a:pt x="4" y="19"/>
                      <a:pt x="4" y="19"/>
                    </a:cubicBezTo>
                    <a:cubicBezTo>
                      <a:pt x="5" y="19"/>
                      <a:pt x="5" y="19"/>
                      <a:pt x="5" y="18"/>
                    </a:cubicBezTo>
                    <a:cubicBezTo>
                      <a:pt x="5" y="18"/>
                      <a:pt x="5" y="18"/>
                      <a:pt x="5" y="18"/>
                    </a:cubicBezTo>
                    <a:cubicBezTo>
                      <a:pt x="5" y="17"/>
                      <a:pt x="6" y="18"/>
                      <a:pt x="6" y="17"/>
                    </a:cubicBezTo>
                    <a:cubicBezTo>
                      <a:pt x="6" y="17"/>
                      <a:pt x="6" y="17"/>
                      <a:pt x="5" y="17"/>
                    </a:cubicBezTo>
                    <a:cubicBezTo>
                      <a:pt x="5" y="17"/>
                      <a:pt x="5" y="16"/>
                      <a:pt x="5" y="16"/>
                    </a:cubicBezTo>
                    <a:cubicBezTo>
                      <a:pt x="5" y="15"/>
                      <a:pt x="6" y="15"/>
                      <a:pt x="7" y="15"/>
                    </a:cubicBezTo>
                    <a:cubicBezTo>
                      <a:pt x="8" y="15"/>
                      <a:pt x="8" y="14"/>
                      <a:pt x="8" y="13"/>
                    </a:cubicBezTo>
                    <a:cubicBezTo>
                      <a:pt x="8" y="13"/>
                      <a:pt x="8" y="13"/>
                      <a:pt x="8" y="12"/>
                    </a:cubicBezTo>
                    <a:cubicBezTo>
                      <a:pt x="9" y="12"/>
                      <a:pt x="9" y="12"/>
                      <a:pt x="9" y="12"/>
                    </a:cubicBezTo>
                    <a:cubicBezTo>
                      <a:pt x="10" y="11"/>
                      <a:pt x="10" y="11"/>
                      <a:pt x="10" y="10"/>
                    </a:cubicBezTo>
                    <a:cubicBezTo>
                      <a:pt x="10" y="10"/>
                      <a:pt x="9" y="9"/>
                      <a:pt x="9" y="9"/>
                    </a:cubicBezTo>
                    <a:cubicBezTo>
                      <a:pt x="9" y="9"/>
                      <a:pt x="10" y="9"/>
                      <a:pt x="10" y="8"/>
                    </a:cubicBezTo>
                    <a:cubicBezTo>
                      <a:pt x="10" y="8"/>
                      <a:pt x="11" y="8"/>
                      <a:pt x="11" y="8"/>
                    </a:cubicBezTo>
                    <a:cubicBezTo>
                      <a:pt x="12" y="8"/>
                      <a:pt x="12" y="8"/>
                      <a:pt x="13" y="8"/>
                    </a:cubicBezTo>
                    <a:cubicBezTo>
                      <a:pt x="13" y="8"/>
                      <a:pt x="13" y="8"/>
                      <a:pt x="14" y="8"/>
                    </a:cubicBezTo>
                    <a:cubicBezTo>
                      <a:pt x="14" y="8"/>
                      <a:pt x="14" y="8"/>
                      <a:pt x="14" y="8"/>
                    </a:cubicBezTo>
                    <a:cubicBezTo>
                      <a:pt x="14" y="8"/>
                      <a:pt x="15" y="8"/>
                      <a:pt x="15" y="7"/>
                    </a:cubicBezTo>
                    <a:cubicBezTo>
                      <a:pt x="15" y="7"/>
                      <a:pt x="15" y="7"/>
                      <a:pt x="16" y="6"/>
                    </a:cubicBezTo>
                    <a:cubicBezTo>
                      <a:pt x="16" y="6"/>
                      <a:pt x="17" y="6"/>
                      <a:pt x="17" y="6"/>
                    </a:cubicBezTo>
                    <a:cubicBezTo>
                      <a:pt x="18" y="6"/>
                      <a:pt x="18" y="6"/>
                      <a:pt x="19" y="6"/>
                    </a:cubicBezTo>
                    <a:cubicBezTo>
                      <a:pt x="20" y="6"/>
                      <a:pt x="20" y="6"/>
                      <a:pt x="21" y="5"/>
                    </a:cubicBezTo>
                    <a:cubicBezTo>
                      <a:pt x="21" y="4"/>
                      <a:pt x="23" y="4"/>
                      <a:pt x="24" y="4"/>
                    </a:cubicBezTo>
                    <a:cubicBezTo>
                      <a:pt x="24" y="4"/>
                      <a:pt x="25" y="4"/>
                      <a:pt x="25" y="3"/>
                    </a:cubicBezTo>
                    <a:cubicBezTo>
                      <a:pt x="26" y="3"/>
                      <a:pt x="27" y="4"/>
                      <a:pt x="28" y="3"/>
                    </a:cubicBezTo>
                    <a:cubicBezTo>
                      <a:pt x="28" y="3"/>
                      <a:pt x="29" y="3"/>
                      <a:pt x="29" y="3"/>
                    </a:cubicBezTo>
                    <a:cubicBezTo>
                      <a:pt x="30" y="2"/>
                      <a:pt x="30" y="2"/>
                      <a:pt x="31" y="2"/>
                    </a:cubicBezTo>
                    <a:cubicBezTo>
                      <a:pt x="31" y="2"/>
                      <a:pt x="31" y="2"/>
                      <a:pt x="31" y="2"/>
                    </a:cubicBezTo>
                    <a:cubicBezTo>
                      <a:pt x="31" y="2"/>
                      <a:pt x="31" y="2"/>
                      <a:pt x="32" y="2"/>
                    </a:cubicBezTo>
                    <a:cubicBezTo>
                      <a:pt x="32" y="2"/>
                      <a:pt x="32" y="2"/>
                      <a:pt x="32" y="2"/>
                    </a:cubicBezTo>
                    <a:cubicBezTo>
                      <a:pt x="33" y="2"/>
                      <a:pt x="33" y="2"/>
                      <a:pt x="34" y="2"/>
                    </a:cubicBezTo>
                    <a:cubicBezTo>
                      <a:pt x="34" y="3"/>
                      <a:pt x="34" y="3"/>
                      <a:pt x="34" y="3"/>
                    </a:cubicBezTo>
                    <a:cubicBezTo>
                      <a:pt x="34" y="3"/>
                      <a:pt x="35" y="3"/>
                      <a:pt x="35" y="4"/>
                    </a:cubicBezTo>
                    <a:cubicBezTo>
                      <a:pt x="36" y="3"/>
                      <a:pt x="38" y="4"/>
                      <a:pt x="38" y="5"/>
                    </a:cubicBezTo>
                    <a:cubicBezTo>
                      <a:pt x="39" y="5"/>
                      <a:pt x="41" y="4"/>
                      <a:pt x="42" y="4"/>
                    </a:cubicBezTo>
                    <a:cubicBezTo>
                      <a:pt x="43" y="4"/>
                      <a:pt x="45" y="4"/>
                      <a:pt x="45" y="2"/>
                    </a:cubicBezTo>
                    <a:cubicBezTo>
                      <a:pt x="45" y="2"/>
                      <a:pt x="44" y="2"/>
                      <a:pt x="44" y="1"/>
                    </a:cubicBezTo>
                    <a:cubicBezTo>
                      <a:pt x="44" y="1"/>
                      <a:pt x="44" y="0"/>
                      <a:pt x="45" y="0"/>
                    </a:cubicBezTo>
                    <a:cubicBezTo>
                      <a:pt x="46" y="0"/>
                      <a:pt x="47" y="1"/>
                      <a:pt x="47" y="2"/>
                    </a:cubicBezTo>
                    <a:cubicBezTo>
                      <a:pt x="48" y="2"/>
                      <a:pt x="48" y="3"/>
                      <a:pt x="48" y="3"/>
                    </a:cubicBezTo>
                    <a:cubicBezTo>
                      <a:pt x="48" y="4"/>
                      <a:pt x="47" y="4"/>
                      <a:pt x="47" y="4"/>
                    </a:cubicBezTo>
                    <a:cubicBezTo>
                      <a:pt x="47" y="4"/>
                      <a:pt x="46" y="5"/>
                      <a:pt x="46" y="5"/>
                    </a:cubicBezTo>
                    <a:cubicBezTo>
                      <a:pt x="45" y="5"/>
                      <a:pt x="45" y="6"/>
                      <a:pt x="46" y="6"/>
                    </a:cubicBezTo>
                    <a:cubicBezTo>
                      <a:pt x="46" y="7"/>
                      <a:pt x="46" y="7"/>
                      <a:pt x="45" y="8"/>
                    </a:cubicBezTo>
                    <a:cubicBezTo>
                      <a:pt x="45" y="8"/>
                      <a:pt x="45" y="8"/>
                      <a:pt x="45" y="8"/>
                    </a:cubicBezTo>
                    <a:cubicBezTo>
                      <a:pt x="44" y="9"/>
                      <a:pt x="44" y="9"/>
                      <a:pt x="44" y="9"/>
                    </a:cubicBezTo>
                    <a:close/>
                    <a:moveTo>
                      <a:pt x="51" y="55"/>
                    </a:moveTo>
                    <a:cubicBezTo>
                      <a:pt x="50" y="55"/>
                      <a:pt x="50" y="55"/>
                      <a:pt x="50" y="55"/>
                    </a:cubicBezTo>
                    <a:cubicBezTo>
                      <a:pt x="50" y="55"/>
                      <a:pt x="50" y="55"/>
                      <a:pt x="50" y="55"/>
                    </a:cubicBezTo>
                    <a:cubicBezTo>
                      <a:pt x="49" y="55"/>
                      <a:pt x="49" y="55"/>
                      <a:pt x="49" y="55"/>
                    </a:cubicBezTo>
                    <a:cubicBezTo>
                      <a:pt x="50" y="56"/>
                      <a:pt x="50" y="56"/>
                      <a:pt x="50" y="56"/>
                    </a:cubicBezTo>
                    <a:cubicBezTo>
                      <a:pt x="50" y="55"/>
                      <a:pt x="50" y="55"/>
                      <a:pt x="51" y="55"/>
                    </a:cubicBezTo>
                    <a:cubicBezTo>
                      <a:pt x="50" y="55"/>
                      <a:pt x="50" y="55"/>
                      <a:pt x="50" y="55"/>
                    </a:cubicBezTo>
                    <a:lnTo>
                      <a:pt x="51" y="55"/>
                    </a:lnTo>
                    <a:close/>
                    <a:moveTo>
                      <a:pt x="54" y="48"/>
                    </a:moveTo>
                    <a:cubicBezTo>
                      <a:pt x="54" y="48"/>
                      <a:pt x="54" y="48"/>
                      <a:pt x="54" y="48"/>
                    </a:cubicBezTo>
                    <a:cubicBezTo>
                      <a:pt x="54" y="48"/>
                      <a:pt x="54" y="48"/>
                      <a:pt x="54" y="48"/>
                    </a:cubicBezTo>
                    <a:cubicBezTo>
                      <a:pt x="54" y="48"/>
                      <a:pt x="54" y="48"/>
                      <a:pt x="54" y="48"/>
                    </a:cubicBezTo>
                    <a:close/>
                    <a:moveTo>
                      <a:pt x="55" y="47"/>
                    </a:moveTo>
                    <a:cubicBezTo>
                      <a:pt x="55" y="48"/>
                      <a:pt x="55" y="48"/>
                      <a:pt x="55" y="48"/>
                    </a:cubicBezTo>
                    <a:cubicBezTo>
                      <a:pt x="55" y="48"/>
                      <a:pt x="55" y="48"/>
                      <a:pt x="55" y="48"/>
                    </a:cubicBezTo>
                    <a:lnTo>
                      <a:pt x="55" y="47"/>
                    </a:lnTo>
                    <a:close/>
                    <a:moveTo>
                      <a:pt x="42" y="47"/>
                    </a:moveTo>
                    <a:cubicBezTo>
                      <a:pt x="42" y="47"/>
                      <a:pt x="42" y="47"/>
                      <a:pt x="42" y="47"/>
                    </a:cubicBezTo>
                    <a:cubicBezTo>
                      <a:pt x="42" y="47"/>
                      <a:pt x="42" y="47"/>
                      <a:pt x="42" y="47"/>
                    </a:cubicBezTo>
                    <a:cubicBezTo>
                      <a:pt x="42" y="47"/>
                      <a:pt x="42" y="47"/>
                      <a:pt x="42" y="47"/>
                    </a:cubicBezTo>
                    <a:cubicBezTo>
                      <a:pt x="42" y="47"/>
                      <a:pt x="42" y="47"/>
                      <a:pt x="42" y="47"/>
                    </a:cubicBezTo>
                    <a:cubicBezTo>
                      <a:pt x="43" y="47"/>
                      <a:pt x="43" y="47"/>
                      <a:pt x="43" y="47"/>
                    </a:cubicBezTo>
                    <a:cubicBezTo>
                      <a:pt x="43" y="47"/>
                      <a:pt x="43" y="47"/>
                      <a:pt x="43" y="47"/>
                    </a:cubicBezTo>
                    <a:lnTo>
                      <a:pt x="42" y="47"/>
                    </a:lnTo>
                    <a:close/>
                    <a:moveTo>
                      <a:pt x="52" y="45"/>
                    </a:moveTo>
                    <a:cubicBezTo>
                      <a:pt x="51" y="45"/>
                      <a:pt x="51" y="45"/>
                      <a:pt x="51" y="45"/>
                    </a:cubicBezTo>
                    <a:cubicBezTo>
                      <a:pt x="51" y="45"/>
                      <a:pt x="51" y="45"/>
                      <a:pt x="51" y="45"/>
                    </a:cubicBezTo>
                    <a:cubicBezTo>
                      <a:pt x="51" y="45"/>
                      <a:pt x="51" y="45"/>
                      <a:pt x="51" y="45"/>
                    </a:cubicBezTo>
                    <a:cubicBezTo>
                      <a:pt x="51" y="45"/>
                      <a:pt x="51" y="45"/>
                      <a:pt x="51" y="45"/>
                    </a:cubicBezTo>
                    <a:cubicBezTo>
                      <a:pt x="51" y="45"/>
                      <a:pt x="51" y="45"/>
                      <a:pt x="51" y="45"/>
                    </a:cubicBezTo>
                    <a:lnTo>
                      <a:pt x="52" y="45"/>
                    </a:lnTo>
                    <a:close/>
                    <a:moveTo>
                      <a:pt x="37" y="45"/>
                    </a:moveTo>
                    <a:cubicBezTo>
                      <a:pt x="36" y="45"/>
                      <a:pt x="36" y="45"/>
                      <a:pt x="36" y="45"/>
                    </a:cubicBezTo>
                    <a:cubicBezTo>
                      <a:pt x="36" y="45"/>
                      <a:pt x="36" y="45"/>
                      <a:pt x="36" y="45"/>
                    </a:cubicBezTo>
                    <a:cubicBezTo>
                      <a:pt x="36" y="45"/>
                      <a:pt x="36" y="45"/>
                      <a:pt x="37" y="45"/>
                    </a:cubicBezTo>
                    <a:cubicBezTo>
                      <a:pt x="37" y="45"/>
                      <a:pt x="37" y="45"/>
                      <a:pt x="37" y="45"/>
                    </a:cubicBezTo>
                    <a:close/>
                    <a:moveTo>
                      <a:pt x="38" y="44"/>
                    </a:moveTo>
                    <a:cubicBezTo>
                      <a:pt x="38" y="44"/>
                      <a:pt x="38" y="44"/>
                      <a:pt x="38" y="44"/>
                    </a:cubicBezTo>
                    <a:cubicBezTo>
                      <a:pt x="38" y="44"/>
                      <a:pt x="38" y="44"/>
                      <a:pt x="38" y="44"/>
                    </a:cubicBezTo>
                    <a:cubicBezTo>
                      <a:pt x="38" y="44"/>
                      <a:pt x="38" y="44"/>
                      <a:pt x="38" y="44"/>
                    </a:cubicBezTo>
                    <a:cubicBezTo>
                      <a:pt x="38" y="45"/>
                      <a:pt x="38" y="45"/>
                      <a:pt x="38" y="45"/>
                    </a:cubicBezTo>
                    <a:cubicBezTo>
                      <a:pt x="38" y="45"/>
                      <a:pt x="38" y="45"/>
                      <a:pt x="38" y="45"/>
                    </a:cubicBezTo>
                    <a:cubicBezTo>
                      <a:pt x="38" y="45"/>
                      <a:pt x="38" y="45"/>
                      <a:pt x="38" y="45"/>
                    </a:cubicBezTo>
                    <a:lnTo>
                      <a:pt x="38" y="44"/>
                    </a:lnTo>
                    <a:close/>
                    <a:moveTo>
                      <a:pt x="35" y="44"/>
                    </a:moveTo>
                    <a:cubicBezTo>
                      <a:pt x="35" y="44"/>
                      <a:pt x="35" y="44"/>
                      <a:pt x="35" y="44"/>
                    </a:cubicBezTo>
                    <a:cubicBezTo>
                      <a:pt x="35" y="44"/>
                      <a:pt x="35" y="44"/>
                      <a:pt x="35" y="44"/>
                    </a:cubicBezTo>
                    <a:cubicBezTo>
                      <a:pt x="35" y="44"/>
                      <a:pt x="35" y="44"/>
                      <a:pt x="35" y="44"/>
                    </a:cubicBezTo>
                    <a:cubicBezTo>
                      <a:pt x="35" y="44"/>
                      <a:pt x="35" y="44"/>
                      <a:pt x="35" y="44"/>
                    </a:cubicBezTo>
                    <a:close/>
                    <a:moveTo>
                      <a:pt x="34" y="43"/>
                    </a:moveTo>
                    <a:cubicBezTo>
                      <a:pt x="34" y="43"/>
                      <a:pt x="34" y="43"/>
                      <a:pt x="34" y="43"/>
                    </a:cubicBezTo>
                    <a:cubicBezTo>
                      <a:pt x="34" y="44"/>
                      <a:pt x="34" y="44"/>
                      <a:pt x="34" y="44"/>
                    </a:cubicBezTo>
                    <a:cubicBezTo>
                      <a:pt x="34" y="44"/>
                      <a:pt x="34" y="44"/>
                      <a:pt x="34" y="44"/>
                    </a:cubicBezTo>
                    <a:cubicBezTo>
                      <a:pt x="35" y="43"/>
                      <a:pt x="35" y="43"/>
                      <a:pt x="35" y="43"/>
                    </a:cubicBezTo>
                    <a:cubicBezTo>
                      <a:pt x="34" y="43"/>
                      <a:pt x="34" y="43"/>
                      <a:pt x="34" y="43"/>
                    </a:cubicBezTo>
                    <a:close/>
                    <a:moveTo>
                      <a:pt x="40" y="43"/>
                    </a:moveTo>
                    <a:cubicBezTo>
                      <a:pt x="40" y="43"/>
                      <a:pt x="40" y="43"/>
                      <a:pt x="40" y="43"/>
                    </a:cubicBezTo>
                    <a:cubicBezTo>
                      <a:pt x="40" y="43"/>
                      <a:pt x="40" y="43"/>
                      <a:pt x="40" y="43"/>
                    </a:cubicBezTo>
                    <a:cubicBezTo>
                      <a:pt x="40" y="43"/>
                      <a:pt x="40" y="43"/>
                      <a:pt x="40" y="43"/>
                    </a:cubicBezTo>
                    <a:close/>
                    <a:moveTo>
                      <a:pt x="42" y="43"/>
                    </a:moveTo>
                    <a:cubicBezTo>
                      <a:pt x="41" y="43"/>
                      <a:pt x="41" y="43"/>
                      <a:pt x="41" y="43"/>
                    </a:cubicBezTo>
                    <a:cubicBezTo>
                      <a:pt x="41" y="43"/>
                      <a:pt x="41" y="43"/>
                      <a:pt x="41" y="43"/>
                    </a:cubicBezTo>
                    <a:cubicBezTo>
                      <a:pt x="41" y="43"/>
                      <a:pt x="41" y="43"/>
                      <a:pt x="41" y="43"/>
                    </a:cubicBezTo>
                    <a:lnTo>
                      <a:pt x="42" y="43"/>
                    </a:ln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lose/>
                    <a:moveTo>
                      <a:pt x="37" y="42"/>
                    </a:moveTo>
                    <a:cubicBezTo>
                      <a:pt x="38" y="42"/>
                      <a:pt x="38" y="42"/>
                      <a:pt x="38" y="42"/>
                    </a:cubicBezTo>
                    <a:cubicBezTo>
                      <a:pt x="37" y="42"/>
                      <a:pt x="37" y="42"/>
                      <a:pt x="37" y="42"/>
                    </a:cubicBezTo>
                    <a:cubicBezTo>
                      <a:pt x="37" y="42"/>
                      <a:pt x="37" y="42"/>
                      <a:pt x="37" y="42"/>
                    </a:cubicBezTo>
                    <a:cubicBezTo>
                      <a:pt x="38" y="42"/>
                      <a:pt x="38" y="42"/>
                      <a:pt x="38" y="42"/>
                    </a:cubicBezTo>
                    <a:cubicBezTo>
                      <a:pt x="38" y="42"/>
                      <a:pt x="38" y="42"/>
                      <a:pt x="38" y="42"/>
                    </a:cubicBezTo>
                    <a:lnTo>
                      <a:pt x="37" y="42"/>
                    </a:lnTo>
                    <a:close/>
                    <a:moveTo>
                      <a:pt x="35" y="42"/>
                    </a:moveTo>
                    <a:cubicBezTo>
                      <a:pt x="35" y="42"/>
                      <a:pt x="35" y="42"/>
                      <a:pt x="35" y="42"/>
                    </a:cubicBezTo>
                    <a:cubicBezTo>
                      <a:pt x="35" y="42"/>
                      <a:pt x="35" y="42"/>
                      <a:pt x="35" y="43"/>
                    </a:cubicBezTo>
                    <a:cubicBezTo>
                      <a:pt x="36" y="42"/>
                      <a:pt x="36" y="42"/>
                      <a:pt x="35" y="42"/>
                    </a:cubicBezTo>
                    <a:cubicBezTo>
                      <a:pt x="35" y="42"/>
                      <a:pt x="35" y="42"/>
                      <a:pt x="35" y="42"/>
                    </a:cubicBezTo>
                    <a:cubicBezTo>
                      <a:pt x="35" y="42"/>
                      <a:pt x="35" y="42"/>
                      <a:pt x="35" y="42"/>
                    </a:cubicBezTo>
                    <a:close/>
                    <a:moveTo>
                      <a:pt x="51" y="41"/>
                    </a:moveTo>
                    <a:cubicBezTo>
                      <a:pt x="51" y="41"/>
                      <a:pt x="51" y="41"/>
                      <a:pt x="51" y="41"/>
                    </a:cubicBezTo>
                    <a:cubicBezTo>
                      <a:pt x="51" y="41"/>
                      <a:pt x="51" y="41"/>
                      <a:pt x="51" y="41"/>
                    </a:cubicBezTo>
                    <a:cubicBezTo>
                      <a:pt x="51" y="41"/>
                      <a:pt x="51" y="41"/>
                      <a:pt x="51" y="41"/>
                    </a:cubicBezTo>
                    <a:close/>
                    <a:moveTo>
                      <a:pt x="42" y="41"/>
                    </a:moveTo>
                    <a:cubicBezTo>
                      <a:pt x="42" y="41"/>
                      <a:pt x="42" y="41"/>
                      <a:pt x="42" y="41"/>
                    </a:cubicBezTo>
                    <a:cubicBezTo>
                      <a:pt x="42" y="41"/>
                      <a:pt x="42" y="41"/>
                      <a:pt x="42" y="41"/>
                    </a:cubicBezTo>
                    <a:cubicBezTo>
                      <a:pt x="43" y="41"/>
                      <a:pt x="43" y="41"/>
                      <a:pt x="43" y="41"/>
                    </a:cubicBezTo>
                    <a:cubicBezTo>
                      <a:pt x="42" y="41"/>
                      <a:pt x="42" y="41"/>
                      <a:pt x="42" y="41"/>
                    </a:cubicBezTo>
                    <a:close/>
                    <a:moveTo>
                      <a:pt x="49" y="40"/>
                    </a:moveTo>
                    <a:cubicBezTo>
                      <a:pt x="49" y="40"/>
                      <a:pt x="49" y="40"/>
                      <a:pt x="49" y="40"/>
                    </a:cubicBezTo>
                    <a:cubicBezTo>
                      <a:pt x="49" y="40"/>
                      <a:pt x="49" y="40"/>
                      <a:pt x="49" y="40"/>
                    </a:cubicBezTo>
                    <a:cubicBezTo>
                      <a:pt x="49" y="40"/>
                      <a:pt x="49" y="40"/>
                      <a:pt x="49" y="40"/>
                    </a:cubicBezTo>
                    <a:cubicBezTo>
                      <a:pt x="49" y="41"/>
                      <a:pt x="49" y="41"/>
                      <a:pt x="49" y="41"/>
                    </a:cubicBezTo>
                    <a:cubicBezTo>
                      <a:pt x="49" y="41"/>
                      <a:pt x="49" y="41"/>
                      <a:pt x="49" y="41"/>
                    </a:cubicBezTo>
                    <a:cubicBezTo>
                      <a:pt x="49" y="41"/>
                      <a:pt x="49" y="41"/>
                      <a:pt x="49" y="41"/>
                    </a:cubicBezTo>
                    <a:cubicBezTo>
                      <a:pt x="49" y="41"/>
                      <a:pt x="49" y="41"/>
                      <a:pt x="49" y="41"/>
                    </a:cubicBezTo>
                    <a:cubicBezTo>
                      <a:pt x="49" y="41"/>
                      <a:pt x="49" y="41"/>
                      <a:pt x="49" y="41"/>
                    </a:cubicBezTo>
                    <a:cubicBezTo>
                      <a:pt x="49" y="40"/>
                      <a:pt x="49" y="40"/>
                      <a:pt x="49" y="40"/>
                    </a:cubicBezTo>
                    <a:cubicBezTo>
                      <a:pt x="49" y="40"/>
                      <a:pt x="49" y="40"/>
                      <a:pt x="49" y="40"/>
                    </a:cubicBezTo>
                    <a:cubicBezTo>
                      <a:pt x="49" y="40"/>
                      <a:pt x="49" y="40"/>
                      <a:pt x="49" y="40"/>
                    </a:cubicBezTo>
                    <a:cubicBezTo>
                      <a:pt x="49" y="40"/>
                      <a:pt x="49" y="40"/>
                      <a:pt x="49" y="40"/>
                    </a:cubicBezTo>
                    <a:close/>
                    <a:moveTo>
                      <a:pt x="33" y="40"/>
                    </a:moveTo>
                    <a:cubicBezTo>
                      <a:pt x="33" y="41"/>
                      <a:pt x="33" y="41"/>
                      <a:pt x="33" y="41"/>
                    </a:cubicBezTo>
                    <a:cubicBezTo>
                      <a:pt x="33" y="41"/>
                      <a:pt x="33" y="41"/>
                      <a:pt x="33" y="41"/>
                    </a:cubicBezTo>
                    <a:cubicBezTo>
                      <a:pt x="34" y="41"/>
                      <a:pt x="34" y="41"/>
                      <a:pt x="34" y="41"/>
                    </a:cubicBezTo>
                    <a:cubicBezTo>
                      <a:pt x="34" y="41"/>
                      <a:pt x="34" y="41"/>
                      <a:pt x="34" y="41"/>
                    </a:cubicBezTo>
                    <a:cubicBezTo>
                      <a:pt x="34" y="41"/>
                      <a:pt x="34" y="41"/>
                      <a:pt x="34" y="41"/>
                    </a:cubicBezTo>
                    <a:cubicBezTo>
                      <a:pt x="34" y="41"/>
                      <a:pt x="34" y="41"/>
                      <a:pt x="34" y="41"/>
                    </a:cubicBezTo>
                    <a:cubicBezTo>
                      <a:pt x="34" y="41"/>
                      <a:pt x="34" y="40"/>
                      <a:pt x="34" y="40"/>
                    </a:cubicBezTo>
                    <a:cubicBezTo>
                      <a:pt x="34" y="40"/>
                      <a:pt x="34" y="40"/>
                      <a:pt x="34" y="40"/>
                    </a:cubicBezTo>
                    <a:lnTo>
                      <a:pt x="33" y="40"/>
                    </a:lnTo>
                    <a:close/>
                    <a:moveTo>
                      <a:pt x="51" y="39"/>
                    </a:moveTo>
                    <a:cubicBezTo>
                      <a:pt x="51" y="39"/>
                      <a:pt x="51" y="39"/>
                      <a:pt x="51" y="39"/>
                    </a:cubicBezTo>
                    <a:cubicBezTo>
                      <a:pt x="51" y="39"/>
                      <a:pt x="51" y="39"/>
                      <a:pt x="51" y="39"/>
                    </a:cubicBezTo>
                    <a:cubicBezTo>
                      <a:pt x="51" y="39"/>
                      <a:pt x="51" y="39"/>
                      <a:pt x="51" y="39"/>
                    </a:cubicBezTo>
                    <a:close/>
                    <a:moveTo>
                      <a:pt x="48" y="39"/>
                    </a:moveTo>
                    <a:cubicBezTo>
                      <a:pt x="48" y="39"/>
                      <a:pt x="48" y="39"/>
                      <a:pt x="48" y="39"/>
                    </a:cubicBezTo>
                    <a:cubicBezTo>
                      <a:pt x="48" y="39"/>
                      <a:pt x="48" y="39"/>
                      <a:pt x="48" y="39"/>
                    </a:cubicBezTo>
                    <a:cubicBezTo>
                      <a:pt x="49" y="39"/>
                      <a:pt x="49" y="39"/>
                      <a:pt x="49" y="39"/>
                    </a:cubicBezTo>
                    <a:cubicBezTo>
                      <a:pt x="49" y="39"/>
                      <a:pt x="49" y="39"/>
                      <a:pt x="49" y="39"/>
                    </a:cubicBezTo>
                    <a:cubicBezTo>
                      <a:pt x="48" y="39"/>
                      <a:pt x="48" y="39"/>
                      <a:pt x="48" y="39"/>
                    </a:cubicBezTo>
                    <a:cubicBezTo>
                      <a:pt x="48" y="39"/>
                      <a:pt x="48" y="39"/>
                      <a:pt x="48" y="39"/>
                    </a:cubicBezTo>
                    <a:close/>
                    <a:moveTo>
                      <a:pt x="47" y="39"/>
                    </a:move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lose/>
                    <a:moveTo>
                      <a:pt x="48" y="38"/>
                    </a:moveTo>
                    <a:cubicBezTo>
                      <a:pt x="48" y="39"/>
                      <a:pt x="48" y="39"/>
                      <a:pt x="48" y="39"/>
                    </a:cubicBezTo>
                    <a:cubicBezTo>
                      <a:pt x="48" y="38"/>
                      <a:pt x="48" y="38"/>
                      <a:pt x="48" y="38"/>
                    </a:cubicBezTo>
                    <a:cubicBezTo>
                      <a:pt x="48" y="38"/>
                      <a:pt x="48" y="38"/>
                      <a:pt x="48" y="38"/>
                    </a:cubicBezTo>
                    <a:close/>
                    <a:moveTo>
                      <a:pt x="50" y="38"/>
                    </a:moveTo>
                    <a:cubicBezTo>
                      <a:pt x="50" y="38"/>
                      <a:pt x="50" y="38"/>
                      <a:pt x="50" y="38"/>
                    </a:cubicBezTo>
                    <a:cubicBezTo>
                      <a:pt x="50" y="38"/>
                      <a:pt x="50" y="38"/>
                      <a:pt x="50" y="38"/>
                    </a:cubicBezTo>
                    <a:cubicBezTo>
                      <a:pt x="49" y="38"/>
                      <a:pt x="49" y="38"/>
                      <a:pt x="49" y="38"/>
                    </a:cubicBezTo>
                    <a:lnTo>
                      <a:pt x="50" y="38"/>
                    </a:lnTo>
                    <a:close/>
                    <a:moveTo>
                      <a:pt x="46" y="37"/>
                    </a:moveTo>
                    <a:cubicBezTo>
                      <a:pt x="46" y="37"/>
                      <a:pt x="46" y="37"/>
                      <a:pt x="46" y="37"/>
                    </a:cubicBezTo>
                    <a:cubicBezTo>
                      <a:pt x="46" y="37"/>
                      <a:pt x="46" y="37"/>
                      <a:pt x="46" y="37"/>
                    </a:cubicBezTo>
                    <a:cubicBezTo>
                      <a:pt x="46" y="37"/>
                      <a:pt x="46" y="37"/>
                      <a:pt x="46" y="37"/>
                    </a:cubicBezTo>
                    <a:close/>
                    <a:moveTo>
                      <a:pt x="35" y="37"/>
                    </a:moveTo>
                    <a:cubicBezTo>
                      <a:pt x="35" y="37"/>
                      <a:pt x="35" y="37"/>
                      <a:pt x="35" y="37"/>
                    </a:cubicBezTo>
                    <a:cubicBezTo>
                      <a:pt x="35" y="37"/>
                      <a:pt x="35" y="37"/>
                      <a:pt x="35" y="37"/>
                    </a:cubicBezTo>
                    <a:cubicBezTo>
                      <a:pt x="35" y="37"/>
                      <a:pt x="35" y="37"/>
                      <a:pt x="35" y="37"/>
                    </a:cubicBezTo>
                    <a:cubicBezTo>
                      <a:pt x="35" y="37"/>
                      <a:pt x="35" y="37"/>
                      <a:pt x="35" y="37"/>
                    </a:cubicBezTo>
                    <a:close/>
                    <a:moveTo>
                      <a:pt x="47" y="36"/>
                    </a:moveTo>
                    <a:cubicBezTo>
                      <a:pt x="47" y="36"/>
                      <a:pt x="47" y="36"/>
                      <a:pt x="47" y="36"/>
                    </a:cubicBezTo>
                    <a:cubicBezTo>
                      <a:pt x="47" y="36"/>
                      <a:pt x="47" y="36"/>
                      <a:pt x="47" y="36"/>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lnTo>
                      <a:pt x="47" y="36"/>
                    </a:lnTo>
                    <a:close/>
                    <a:moveTo>
                      <a:pt x="52" y="54"/>
                    </a:moveTo>
                    <a:cubicBezTo>
                      <a:pt x="52" y="54"/>
                      <a:pt x="52" y="54"/>
                      <a:pt x="52" y="54"/>
                    </a:cubicBezTo>
                    <a:cubicBezTo>
                      <a:pt x="52" y="54"/>
                      <a:pt x="52" y="53"/>
                      <a:pt x="51" y="53"/>
                    </a:cubicBezTo>
                    <a:cubicBezTo>
                      <a:pt x="51" y="53"/>
                      <a:pt x="52" y="53"/>
                      <a:pt x="52" y="52"/>
                    </a:cubicBezTo>
                    <a:cubicBezTo>
                      <a:pt x="52" y="52"/>
                      <a:pt x="52" y="52"/>
                      <a:pt x="52" y="52"/>
                    </a:cubicBezTo>
                    <a:cubicBezTo>
                      <a:pt x="52" y="52"/>
                      <a:pt x="52" y="52"/>
                      <a:pt x="52" y="52"/>
                    </a:cubicBezTo>
                    <a:cubicBezTo>
                      <a:pt x="52" y="51"/>
                      <a:pt x="52" y="51"/>
                      <a:pt x="52" y="51"/>
                    </a:cubicBezTo>
                    <a:cubicBezTo>
                      <a:pt x="52" y="52"/>
                      <a:pt x="52" y="52"/>
                      <a:pt x="52" y="52"/>
                    </a:cubicBezTo>
                    <a:cubicBezTo>
                      <a:pt x="52" y="52"/>
                      <a:pt x="51" y="52"/>
                      <a:pt x="51" y="52"/>
                    </a:cubicBezTo>
                    <a:cubicBezTo>
                      <a:pt x="51" y="52"/>
                      <a:pt x="51" y="52"/>
                      <a:pt x="51" y="52"/>
                    </a:cubicBezTo>
                    <a:cubicBezTo>
                      <a:pt x="51" y="53"/>
                      <a:pt x="51" y="53"/>
                      <a:pt x="51" y="53"/>
                    </a:cubicBezTo>
                    <a:cubicBezTo>
                      <a:pt x="51" y="53"/>
                      <a:pt x="51" y="53"/>
                      <a:pt x="51" y="53"/>
                    </a:cubicBezTo>
                    <a:cubicBezTo>
                      <a:pt x="51" y="53"/>
                      <a:pt x="51" y="53"/>
                      <a:pt x="51" y="53"/>
                    </a:cubicBezTo>
                    <a:cubicBezTo>
                      <a:pt x="51" y="54"/>
                      <a:pt x="51" y="54"/>
                      <a:pt x="51" y="54"/>
                    </a:cubicBezTo>
                    <a:cubicBezTo>
                      <a:pt x="51" y="54"/>
                      <a:pt x="51" y="54"/>
                      <a:pt x="51" y="54"/>
                    </a:cubicBezTo>
                    <a:cubicBezTo>
                      <a:pt x="51" y="55"/>
                      <a:pt x="51" y="55"/>
                      <a:pt x="51" y="55"/>
                    </a:cubicBezTo>
                    <a:cubicBezTo>
                      <a:pt x="51" y="55"/>
                      <a:pt x="51" y="55"/>
                      <a:pt x="51" y="55"/>
                    </a:cubicBezTo>
                    <a:cubicBezTo>
                      <a:pt x="52" y="55"/>
                      <a:pt x="52" y="55"/>
                      <a:pt x="52" y="55"/>
                    </a:cubicBezTo>
                    <a:cubicBezTo>
                      <a:pt x="52" y="55"/>
                      <a:pt x="52" y="55"/>
                      <a:pt x="52" y="55"/>
                    </a:cubicBezTo>
                    <a:cubicBezTo>
                      <a:pt x="52" y="54"/>
                      <a:pt x="52" y="54"/>
                      <a:pt x="52" y="54"/>
                    </a:cubicBezTo>
                    <a:cubicBezTo>
                      <a:pt x="52" y="54"/>
                      <a:pt x="52" y="54"/>
                      <a:pt x="52" y="54"/>
                    </a:cubicBezTo>
                    <a:close/>
                    <a:moveTo>
                      <a:pt x="58" y="48"/>
                    </a:move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6"/>
                      <a:pt x="58" y="46"/>
                      <a:pt x="58" y="46"/>
                    </a:cubicBezTo>
                    <a:cubicBezTo>
                      <a:pt x="58" y="46"/>
                      <a:pt x="58" y="46"/>
                      <a:pt x="58" y="46"/>
                    </a:cubicBezTo>
                    <a:cubicBezTo>
                      <a:pt x="58" y="46"/>
                      <a:pt x="58" y="46"/>
                      <a:pt x="58" y="46"/>
                    </a:cubicBezTo>
                    <a:cubicBezTo>
                      <a:pt x="58" y="46"/>
                      <a:pt x="58" y="46"/>
                      <a:pt x="58" y="46"/>
                    </a:cubicBezTo>
                    <a:cubicBezTo>
                      <a:pt x="57" y="46"/>
                      <a:pt x="57" y="47"/>
                      <a:pt x="56" y="47"/>
                    </a:cubicBezTo>
                    <a:cubicBezTo>
                      <a:pt x="56" y="47"/>
                      <a:pt x="56" y="47"/>
                      <a:pt x="56" y="47"/>
                    </a:cubicBezTo>
                    <a:cubicBezTo>
                      <a:pt x="55" y="48"/>
                      <a:pt x="55" y="48"/>
                      <a:pt x="55" y="48"/>
                    </a:cubicBezTo>
                    <a:cubicBezTo>
                      <a:pt x="55" y="49"/>
                      <a:pt x="55" y="49"/>
                      <a:pt x="55" y="49"/>
                    </a:cubicBezTo>
                    <a:cubicBezTo>
                      <a:pt x="55" y="49"/>
                      <a:pt x="55" y="49"/>
                      <a:pt x="55" y="49"/>
                    </a:cubicBezTo>
                    <a:cubicBezTo>
                      <a:pt x="55" y="49"/>
                      <a:pt x="55" y="49"/>
                      <a:pt x="55" y="49"/>
                    </a:cubicBezTo>
                    <a:cubicBezTo>
                      <a:pt x="55" y="49"/>
                      <a:pt x="55" y="50"/>
                      <a:pt x="55" y="50"/>
                    </a:cubicBezTo>
                    <a:cubicBezTo>
                      <a:pt x="55" y="51"/>
                      <a:pt x="55" y="51"/>
                      <a:pt x="55" y="51"/>
                    </a:cubicBezTo>
                    <a:cubicBezTo>
                      <a:pt x="56" y="51"/>
                      <a:pt x="57" y="50"/>
                      <a:pt x="57" y="49"/>
                    </a:cubicBezTo>
                    <a:cubicBezTo>
                      <a:pt x="57" y="49"/>
                      <a:pt x="57" y="49"/>
                      <a:pt x="57" y="49"/>
                    </a:cubicBezTo>
                    <a:cubicBezTo>
                      <a:pt x="57" y="49"/>
                      <a:pt x="57" y="49"/>
                      <a:pt x="57" y="49"/>
                    </a:cubicBezTo>
                    <a:cubicBezTo>
                      <a:pt x="57" y="49"/>
                      <a:pt x="57" y="49"/>
                      <a:pt x="57" y="49"/>
                    </a:cubicBezTo>
                    <a:cubicBezTo>
                      <a:pt x="57" y="49"/>
                      <a:pt x="57" y="49"/>
                      <a:pt x="57" y="49"/>
                    </a:cubicBezTo>
                    <a:cubicBezTo>
                      <a:pt x="57" y="49"/>
                      <a:pt x="57" y="49"/>
                      <a:pt x="57" y="49"/>
                    </a:cubicBezTo>
                    <a:lnTo>
                      <a:pt x="58" y="48"/>
                    </a:lnTo>
                    <a:close/>
                    <a:moveTo>
                      <a:pt x="40" y="46"/>
                    </a:moveTo>
                    <a:cubicBezTo>
                      <a:pt x="40" y="46"/>
                      <a:pt x="40" y="46"/>
                      <a:pt x="40" y="46"/>
                    </a:cubicBezTo>
                    <a:cubicBezTo>
                      <a:pt x="40" y="47"/>
                      <a:pt x="40" y="47"/>
                      <a:pt x="40" y="47"/>
                    </a:cubicBezTo>
                    <a:cubicBezTo>
                      <a:pt x="40" y="47"/>
                      <a:pt x="40" y="47"/>
                      <a:pt x="40" y="47"/>
                    </a:cubicBezTo>
                    <a:cubicBezTo>
                      <a:pt x="40" y="47"/>
                      <a:pt x="40" y="47"/>
                      <a:pt x="40"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6"/>
                      <a:pt x="40" y="46"/>
                      <a:pt x="40" y="46"/>
                    </a:cubicBezTo>
                    <a:close/>
                    <a:moveTo>
                      <a:pt x="52" y="46"/>
                    </a:moveTo>
                    <a:cubicBezTo>
                      <a:pt x="52" y="46"/>
                      <a:pt x="52" y="46"/>
                      <a:pt x="52" y="46"/>
                    </a:cubicBezTo>
                    <a:cubicBezTo>
                      <a:pt x="52" y="47"/>
                      <a:pt x="52" y="47"/>
                      <a:pt x="52" y="47"/>
                    </a:cubicBezTo>
                    <a:cubicBezTo>
                      <a:pt x="52" y="46"/>
                      <a:pt x="52" y="46"/>
                      <a:pt x="52" y="46"/>
                    </a:cubicBezTo>
                    <a:cubicBezTo>
                      <a:pt x="53" y="47"/>
                      <a:pt x="53" y="47"/>
                      <a:pt x="53" y="47"/>
                    </a:cubicBezTo>
                    <a:cubicBezTo>
                      <a:pt x="53" y="47"/>
                      <a:pt x="53" y="47"/>
                      <a:pt x="53" y="47"/>
                    </a:cubicBezTo>
                    <a:cubicBezTo>
                      <a:pt x="53" y="47"/>
                      <a:pt x="53" y="47"/>
                      <a:pt x="53" y="47"/>
                    </a:cubicBezTo>
                    <a:cubicBezTo>
                      <a:pt x="53" y="46"/>
                      <a:pt x="53" y="46"/>
                      <a:pt x="53" y="46"/>
                    </a:cubicBezTo>
                    <a:cubicBezTo>
                      <a:pt x="53" y="46"/>
                      <a:pt x="53" y="46"/>
                      <a:pt x="53" y="46"/>
                    </a:cubicBezTo>
                    <a:cubicBezTo>
                      <a:pt x="53" y="46"/>
                      <a:pt x="53" y="46"/>
                      <a:pt x="53" y="46"/>
                    </a:cubicBezTo>
                    <a:cubicBezTo>
                      <a:pt x="52" y="46"/>
                      <a:pt x="52" y="46"/>
                      <a:pt x="52" y="46"/>
                    </a:cubicBezTo>
                    <a:close/>
                    <a:moveTo>
                      <a:pt x="46" y="45"/>
                    </a:moveTo>
                    <a:cubicBezTo>
                      <a:pt x="45" y="45"/>
                      <a:pt x="45" y="45"/>
                      <a:pt x="45" y="45"/>
                    </a:cubicBezTo>
                    <a:cubicBezTo>
                      <a:pt x="45" y="46"/>
                      <a:pt x="45" y="46"/>
                      <a:pt x="45" y="46"/>
                    </a:cubicBezTo>
                    <a:cubicBezTo>
                      <a:pt x="46" y="46"/>
                      <a:pt x="46" y="46"/>
                      <a:pt x="46" y="46"/>
                    </a:cubicBezTo>
                    <a:cubicBezTo>
                      <a:pt x="46" y="46"/>
                      <a:pt x="46" y="46"/>
                      <a:pt x="46" y="46"/>
                    </a:cubicBezTo>
                    <a:cubicBezTo>
                      <a:pt x="46" y="46"/>
                      <a:pt x="46" y="46"/>
                      <a:pt x="46" y="46"/>
                    </a:cubicBezTo>
                    <a:cubicBezTo>
                      <a:pt x="46" y="45"/>
                      <a:pt x="46" y="45"/>
                      <a:pt x="46" y="45"/>
                    </a:cubicBezTo>
                    <a:cubicBezTo>
                      <a:pt x="46" y="45"/>
                      <a:pt x="46" y="45"/>
                      <a:pt x="46" y="45"/>
                    </a:cubicBezTo>
                    <a:cubicBezTo>
                      <a:pt x="47" y="45"/>
                      <a:pt x="47" y="45"/>
                      <a:pt x="47" y="45"/>
                    </a:cubicBezTo>
                    <a:cubicBezTo>
                      <a:pt x="46" y="45"/>
                      <a:pt x="46" y="45"/>
                      <a:pt x="46" y="45"/>
                    </a:cubicBezTo>
                    <a:cubicBezTo>
                      <a:pt x="46" y="45"/>
                      <a:pt x="46" y="45"/>
                      <a:pt x="46" y="45"/>
                    </a:cubicBezTo>
                    <a:cubicBezTo>
                      <a:pt x="46" y="45"/>
                      <a:pt x="46" y="45"/>
                      <a:pt x="46" y="45"/>
                    </a:cubicBezTo>
                    <a:cubicBezTo>
                      <a:pt x="46" y="45"/>
                      <a:pt x="46" y="45"/>
                      <a:pt x="46" y="45"/>
                    </a:cubicBezTo>
                    <a:cubicBezTo>
                      <a:pt x="46" y="45"/>
                      <a:pt x="46" y="45"/>
                      <a:pt x="46" y="45"/>
                    </a:cubicBezTo>
                    <a:close/>
                    <a:moveTo>
                      <a:pt x="55" y="45"/>
                    </a:moveTo>
                    <a:cubicBezTo>
                      <a:pt x="55" y="45"/>
                      <a:pt x="55" y="45"/>
                      <a:pt x="55"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4"/>
                      <a:pt x="56" y="44"/>
                      <a:pt x="56" y="44"/>
                    </a:cubicBezTo>
                    <a:cubicBezTo>
                      <a:pt x="56" y="44"/>
                      <a:pt x="56" y="44"/>
                      <a:pt x="56" y="44"/>
                    </a:cubicBezTo>
                    <a:cubicBezTo>
                      <a:pt x="55" y="45"/>
                      <a:pt x="55" y="45"/>
                      <a:pt x="55" y="45"/>
                    </a:cubicBezTo>
                    <a:cubicBezTo>
                      <a:pt x="55" y="45"/>
                      <a:pt x="55" y="45"/>
                      <a:pt x="55" y="45"/>
                    </a:cubicBezTo>
                    <a:close/>
                    <a:moveTo>
                      <a:pt x="34" y="45"/>
                    </a:moveTo>
                    <a:cubicBezTo>
                      <a:pt x="34" y="45"/>
                      <a:pt x="34" y="44"/>
                      <a:pt x="34" y="44"/>
                    </a:cubicBezTo>
                    <a:cubicBezTo>
                      <a:pt x="34" y="44"/>
                      <a:pt x="34" y="44"/>
                      <a:pt x="33" y="44"/>
                    </a:cubicBezTo>
                    <a:cubicBezTo>
                      <a:pt x="33" y="44"/>
                      <a:pt x="33" y="44"/>
                      <a:pt x="34" y="44"/>
                    </a:cubicBezTo>
                    <a:cubicBezTo>
                      <a:pt x="34" y="44"/>
                      <a:pt x="34" y="44"/>
                      <a:pt x="34" y="44"/>
                    </a:cubicBezTo>
                    <a:cubicBezTo>
                      <a:pt x="33" y="44"/>
                      <a:pt x="33" y="44"/>
                      <a:pt x="33" y="44"/>
                    </a:cubicBezTo>
                    <a:cubicBezTo>
                      <a:pt x="33" y="44"/>
                      <a:pt x="33" y="44"/>
                      <a:pt x="33" y="44"/>
                    </a:cubicBezTo>
                    <a:cubicBezTo>
                      <a:pt x="33" y="44"/>
                      <a:pt x="33" y="44"/>
                      <a:pt x="33" y="44"/>
                    </a:cubicBezTo>
                    <a:cubicBezTo>
                      <a:pt x="33" y="44"/>
                      <a:pt x="33" y="44"/>
                      <a:pt x="33" y="44"/>
                    </a:cubicBezTo>
                    <a:cubicBezTo>
                      <a:pt x="33" y="45"/>
                      <a:pt x="33" y="45"/>
                      <a:pt x="33" y="45"/>
                    </a:cubicBezTo>
                    <a:cubicBezTo>
                      <a:pt x="33" y="45"/>
                      <a:pt x="33" y="45"/>
                      <a:pt x="34" y="45"/>
                    </a:cubicBezTo>
                    <a:close/>
                    <a:moveTo>
                      <a:pt x="39" y="44"/>
                    </a:moveTo>
                    <a:cubicBezTo>
                      <a:pt x="39" y="44"/>
                      <a:pt x="39" y="44"/>
                      <a:pt x="39" y="44"/>
                    </a:cubicBezTo>
                    <a:cubicBezTo>
                      <a:pt x="39" y="44"/>
                      <a:pt x="39" y="45"/>
                      <a:pt x="40" y="45"/>
                    </a:cubicBezTo>
                    <a:cubicBezTo>
                      <a:pt x="40" y="45"/>
                      <a:pt x="40" y="45"/>
                      <a:pt x="40" y="45"/>
                    </a:cubicBezTo>
                    <a:cubicBezTo>
                      <a:pt x="40" y="44"/>
                      <a:pt x="40" y="44"/>
                      <a:pt x="40" y="44"/>
                    </a:cubicBezTo>
                    <a:cubicBezTo>
                      <a:pt x="40" y="44"/>
                      <a:pt x="40" y="44"/>
                      <a:pt x="40" y="44"/>
                    </a:cubicBezTo>
                    <a:cubicBezTo>
                      <a:pt x="40" y="44"/>
                      <a:pt x="40" y="44"/>
                      <a:pt x="40" y="44"/>
                    </a:cubicBezTo>
                    <a:cubicBezTo>
                      <a:pt x="39" y="44"/>
                      <a:pt x="39" y="44"/>
                      <a:pt x="39" y="44"/>
                    </a:cubicBezTo>
                    <a:close/>
                    <a:moveTo>
                      <a:pt x="50" y="44"/>
                    </a:moveTo>
                    <a:cubicBezTo>
                      <a:pt x="50" y="44"/>
                      <a:pt x="50" y="44"/>
                      <a:pt x="50" y="44"/>
                    </a:cubicBezTo>
                    <a:cubicBezTo>
                      <a:pt x="50" y="44"/>
                      <a:pt x="50" y="44"/>
                      <a:pt x="50" y="44"/>
                    </a:cubicBezTo>
                    <a:cubicBezTo>
                      <a:pt x="50" y="44"/>
                      <a:pt x="50" y="44"/>
                      <a:pt x="50" y="44"/>
                    </a:cubicBezTo>
                    <a:cubicBezTo>
                      <a:pt x="50" y="44"/>
                      <a:pt x="50" y="44"/>
                      <a:pt x="50" y="44"/>
                    </a:cubicBezTo>
                    <a:cubicBezTo>
                      <a:pt x="50" y="44"/>
                      <a:pt x="50" y="44"/>
                      <a:pt x="50" y="44"/>
                    </a:cubicBezTo>
                    <a:cubicBezTo>
                      <a:pt x="51" y="44"/>
                      <a:pt x="51" y="44"/>
                      <a:pt x="51" y="44"/>
                    </a:cubicBezTo>
                    <a:cubicBezTo>
                      <a:pt x="51" y="43"/>
                      <a:pt x="52" y="43"/>
                      <a:pt x="52" y="43"/>
                    </a:cubicBezTo>
                    <a:cubicBezTo>
                      <a:pt x="52" y="43"/>
                      <a:pt x="52" y="43"/>
                      <a:pt x="52" y="43"/>
                    </a:cubicBezTo>
                    <a:cubicBezTo>
                      <a:pt x="52" y="42"/>
                      <a:pt x="52" y="42"/>
                      <a:pt x="52" y="42"/>
                    </a:cubicBezTo>
                    <a:cubicBezTo>
                      <a:pt x="51" y="42"/>
                      <a:pt x="50" y="43"/>
                      <a:pt x="50" y="44"/>
                    </a:cubicBezTo>
                    <a:cubicBezTo>
                      <a:pt x="50" y="43"/>
                      <a:pt x="50" y="43"/>
                      <a:pt x="50" y="43"/>
                    </a:cubicBezTo>
                    <a:cubicBezTo>
                      <a:pt x="50" y="44"/>
                      <a:pt x="50" y="44"/>
                      <a:pt x="50" y="44"/>
                    </a:cubicBezTo>
                    <a:cubicBezTo>
                      <a:pt x="50" y="44"/>
                      <a:pt x="50" y="44"/>
                      <a:pt x="50" y="44"/>
                    </a:cubicBezTo>
                    <a:close/>
                    <a:moveTo>
                      <a:pt x="42" y="44"/>
                    </a:moveTo>
                    <a:cubicBezTo>
                      <a:pt x="42" y="44"/>
                      <a:pt x="42" y="44"/>
                      <a:pt x="42" y="44"/>
                    </a:cubicBezTo>
                    <a:cubicBezTo>
                      <a:pt x="43" y="44"/>
                      <a:pt x="43" y="43"/>
                      <a:pt x="44" y="43"/>
                    </a:cubicBezTo>
                    <a:cubicBezTo>
                      <a:pt x="44" y="43"/>
                      <a:pt x="44" y="43"/>
                      <a:pt x="44" y="43"/>
                    </a:cubicBezTo>
                    <a:cubicBezTo>
                      <a:pt x="44" y="43"/>
                      <a:pt x="44" y="42"/>
                      <a:pt x="44" y="42"/>
                    </a:cubicBezTo>
                    <a:cubicBezTo>
                      <a:pt x="43" y="42"/>
                      <a:pt x="43" y="42"/>
                      <a:pt x="43" y="42"/>
                    </a:cubicBezTo>
                    <a:cubicBezTo>
                      <a:pt x="43" y="43"/>
                      <a:pt x="43" y="43"/>
                      <a:pt x="43" y="43"/>
                    </a:cubicBezTo>
                    <a:cubicBezTo>
                      <a:pt x="43" y="43"/>
                      <a:pt x="43" y="43"/>
                      <a:pt x="43" y="43"/>
                    </a:cubicBezTo>
                    <a:cubicBezTo>
                      <a:pt x="43" y="43"/>
                      <a:pt x="43" y="43"/>
                      <a:pt x="43" y="43"/>
                    </a:cubicBezTo>
                    <a:cubicBezTo>
                      <a:pt x="43" y="43"/>
                      <a:pt x="43" y="43"/>
                      <a:pt x="43" y="43"/>
                    </a:cubicBezTo>
                    <a:cubicBezTo>
                      <a:pt x="42" y="43"/>
                      <a:pt x="42" y="43"/>
                      <a:pt x="42" y="43"/>
                    </a:cubicBezTo>
                    <a:cubicBezTo>
                      <a:pt x="42" y="43"/>
                      <a:pt x="42" y="43"/>
                      <a:pt x="42" y="43"/>
                    </a:cubicBezTo>
                    <a:lnTo>
                      <a:pt x="42" y="44"/>
                    </a:lnTo>
                    <a:close/>
                    <a:moveTo>
                      <a:pt x="50" y="41"/>
                    </a:moveTo>
                    <a:cubicBezTo>
                      <a:pt x="50" y="42"/>
                      <a:pt x="50" y="42"/>
                      <a:pt x="50" y="42"/>
                    </a:cubicBezTo>
                    <a:cubicBezTo>
                      <a:pt x="50" y="42"/>
                      <a:pt x="50" y="42"/>
                      <a:pt x="50" y="42"/>
                    </a:cubicBezTo>
                    <a:cubicBezTo>
                      <a:pt x="49" y="42"/>
                      <a:pt x="49" y="42"/>
                      <a:pt x="49"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1"/>
                      <a:pt x="50" y="41"/>
                      <a:pt x="50" y="41"/>
                    </a:cubicBezTo>
                    <a:cubicBezTo>
                      <a:pt x="50" y="41"/>
                      <a:pt x="50" y="41"/>
                      <a:pt x="50" y="41"/>
                    </a:cubicBezTo>
                    <a:cubicBezTo>
                      <a:pt x="50" y="41"/>
                      <a:pt x="50" y="41"/>
                      <a:pt x="50" y="41"/>
                    </a:cubicBezTo>
                    <a:cubicBezTo>
                      <a:pt x="49" y="41"/>
                      <a:pt x="49" y="41"/>
                      <a:pt x="49" y="41"/>
                    </a:cubicBezTo>
                    <a:cubicBezTo>
                      <a:pt x="49" y="41"/>
                      <a:pt x="49" y="41"/>
                      <a:pt x="49" y="41"/>
                    </a:cubicBezTo>
                    <a:cubicBezTo>
                      <a:pt x="50" y="41"/>
                      <a:pt x="50" y="41"/>
                      <a:pt x="50" y="41"/>
                    </a:cubicBezTo>
                    <a:cubicBezTo>
                      <a:pt x="50" y="41"/>
                      <a:pt x="50" y="41"/>
                      <a:pt x="50" y="41"/>
                    </a:cubicBezTo>
                    <a:close/>
                    <a:moveTo>
                      <a:pt x="38" y="41"/>
                    </a:moveTo>
                    <a:cubicBezTo>
                      <a:pt x="38" y="41"/>
                      <a:pt x="38" y="41"/>
                      <a:pt x="38" y="41"/>
                    </a:cubicBezTo>
                    <a:cubicBezTo>
                      <a:pt x="38" y="42"/>
                      <a:pt x="38" y="42"/>
                      <a:pt x="38" y="42"/>
                    </a:cubicBezTo>
                    <a:cubicBezTo>
                      <a:pt x="38" y="42"/>
                      <a:pt x="38" y="42"/>
                      <a:pt x="38" y="42"/>
                    </a:cubicBezTo>
                    <a:cubicBezTo>
                      <a:pt x="38" y="42"/>
                      <a:pt x="39" y="42"/>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8" y="41"/>
                      <a:pt x="38" y="41"/>
                      <a:pt x="38" y="41"/>
                    </a:cubicBezTo>
                    <a:close/>
                    <a:moveTo>
                      <a:pt x="40" y="42"/>
                    </a:moveTo>
                    <a:cubicBezTo>
                      <a:pt x="40" y="42"/>
                      <a:pt x="40" y="42"/>
                      <a:pt x="40" y="42"/>
                    </a:cubicBezTo>
                    <a:cubicBezTo>
                      <a:pt x="40" y="42"/>
                      <a:pt x="40" y="42"/>
                      <a:pt x="40" y="43"/>
                    </a:cubicBezTo>
                    <a:cubicBezTo>
                      <a:pt x="41" y="42"/>
                      <a:pt x="41" y="41"/>
                      <a:pt x="41" y="40"/>
                    </a:cubicBezTo>
                    <a:cubicBezTo>
                      <a:pt x="41" y="40"/>
                      <a:pt x="41" y="40"/>
                      <a:pt x="41" y="40"/>
                    </a:cubicBezTo>
                    <a:cubicBezTo>
                      <a:pt x="40" y="40"/>
                      <a:pt x="40" y="41"/>
                      <a:pt x="39" y="41"/>
                    </a:cubicBezTo>
                    <a:cubicBezTo>
                      <a:pt x="40" y="42"/>
                      <a:pt x="40" y="42"/>
                      <a:pt x="40" y="42"/>
                    </a:cubicBezTo>
                    <a:close/>
                    <a:moveTo>
                      <a:pt x="33" y="38"/>
                    </a:moveTo>
                    <a:cubicBezTo>
                      <a:pt x="33" y="39"/>
                      <a:pt x="33" y="39"/>
                      <a:pt x="33" y="39"/>
                    </a:cubicBezTo>
                    <a:cubicBezTo>
                      <a:pt x="33" y="39"/>
                      <a:pt x="33" y="39"/>
                      <a:pt x="33" y="39"/>
                    </a:cubicBezTo>
                    <a:cubicBezTo>
                      <a:pt x="33" y="39"/>
                      <a:pt x="33" y="39"/>
                      <a:pt x="33" y="39"/>
                    </a:cubicBezTo>
                    <a:cubicBezTo>
                      <a:pt x="33" y="39"/>
                      <a:pt x="33" y="39"/>
                      <a:pt x="33" y="39"/>
                    </a:cubicBezTo>
                    <a:cubicBezTo>
                      <a:pt x="33" y="39"/>
                      <a:pt x="33" y="39"/>
                      <a:pt x="33" y="39"/>
                    </a:cubicBezTo>
                    <a:cubicBezTo>
                      <a:pt x="34" y="39"/>
                      <a:pt x="34" y="39"/>
                      <a:pt x="34" y="39"/>
                    </a:cubicBezTo>
                    <a:cubicBezTo>
                      <a:pt x="34" y="39"/>
                      <a:pt x="34" y="39"/>
                      <a:pt x="34" y="39"/>
                    </a:cubicBezTo>
                    <a:cubicBezTo>
                      <a:pt x="34" y="38"/>
                      <a:pt x="34" y="38"/>
                      <a:pt x="34" y="38"/>
                    </a:cubicBezTo>
                    <a:cubicBezTo>
                      <a:pt x="33" y="38"/>
                      <a:pt x="33" y="38"/>
                      <a:pt x="33" y="38"/>
                    </a:cubicBezTo>
                    <a:cubicBezTo>
                      <a:pt x="33" y="38"/>
                      <a:pt x="33" y="38"/>
                      <a:pt x="33" y="38"/>
                    </a:cubicBezTo>
                    <a:cubicBezTo>
                      <a:pt x="33" y="38"/>
                      <a:pt x="33" y="38"/>
                      <a:pt x="33" y="38"/>
                    </a:cubicBezTo>
                    <a:cubicBezTo>
                      <a:pt x="33" y="38"/>
                      <a:pt x="33" y="38"/>
                      <a:pt x="33" y="38"/>
                    </a:cubicBezTo>
                    <a:close/>
                    <a:moveTo>
                      <a:pt x="39" y="38"/>
                    </a:moveTo>
                    <a:cubicBezTo>
                      <a:pt x="40" y="38"/>
                      <a:pt x="40" y="38"/>
                      <a:pt x="40" y="38"/>
                    </a:cubicBezTo>
                    <a:cubicBezTo>
                      <a:pt x="40" y="38"/>
                      <a:pt x="40" y="38"/>
                      <a:pt x="40" y="38"/>
                    </a:cubicBezTo>
                    <a:cubicBezTo>
                      <a:pt x="40" y="38"/>
                      <a:pt x="40" y="38"/>
                      <a:pt x="40" y="38"/>
                    </a:cubicBezTo>
                    <a:cubicBezTo>
                      <a:pt x="40" y="38"/>
                      <a:pt x="40" y="38"/>
                      <a:pt x="40" y="38"/>
                    </a:cubicBezTo>
                    <a:cubicBezTo>
                      <a:pt x="40" y="38"/>
                      <a:pt x="40" y="38"/>
                      <a:pt x="40" y="38"/>
                    </a:cubicBezTo>
                    <a:cubicBezTo>
                      <a:pt x="39" y="38"/>
                      <a:pt x="39" y="38"/>
                      <a:pt x="39" y="38"/>
                    </a:cubicBezTo>
                    <a:cubicBezTo>
                      <a:pt x="39" y="38"/>
                      <a:pt x="39" y="38"/>
                      <a:pt x="39" y="38"/>
                    </a:cubicBezTo>
                    <a:cubicBezTo>
                      <a:pt x="39" y="38"/>
                      <a:pt x="39" y="38"/>
                      <a:pt x="39" y="38"/>
                    </a:cubicBezTo>
                    <a:cubicBezTo>
                      <a:pt x="39" y="38"/>
                      <a:pt x="39" y="38"/>
                      <a:pt x="39" y="38"/>
                    </a:cubicBezTo>
                    <a:close/>
                    <a:moveTo>
                      <a:pt x="37" y="38"/>
                    </a:moveTo>
                    <a:cubicBezTo>
                      <a:pt x="37" y="38"/>
                      <a:pt x="37" y="38"/>
                      <a:pt x="37" y="38"/>
                    </a:cubicBezTo>
                    <a:cubicBezTo>
                      <a:pt x="36" y="38"/>
                      <a:pt x="36" y="38"/>
                      <a:pt x="36" y="38"/>
                    </a:cubicBezTo>
                    <a:cubicBezTo>
                      <a:pt x="36" y="38"/>
                      <a:pt x="36" y="38"/>
                      <a:pt x="36" y="38"/>
                    </a:cubicBezTo>
                    <a:cubicBezTo>
                      <a:pt x="36" y="39"/>
                      <a:pt x="36" y="39"/>
                      <a:pt x="36" y="39"/>
                    </a:cubicBezTo>
                    <a:cubicBezTo>
                      <a:pt x="36" y="39"/>
                      <a:pt x="36" y="39"/>
                      <a:pt x="36" y="39"/>
                    </a:cubicBezTo>
                    <a:cubicBezTo>
                      <a:pt x="36" y="39"/>
                      <a:pt x="36" y="39"/>
                      <a:pt x="36" y="39"/>
                    </a:cubicBezTo>
                    <a:cubicBezTo>
                      <a:pt x="37" y="39"/>
                      <a:pt x="37" y="39"/>
                      <a:pt x="37" y="39"/>
                    </a:cubicBezTo>
                    <a:cubicBezTo>
                      <a:pt x="37" y="38"/>
                      <a:pt x="37" y="38"/>
                      <a:pt x="37" y="38"/>
                    </a:cubicBezTo>
                    <a:close/>
                    <a:moveTo>
                      <a:pt x="38" y="37"/>
                    </a:moveTo>
                    <a:cubicBezTo>
                      <a:pt x="39" y="37"/>
                      <a:pt x="39" y="37"/>
                      <a:pt x="39" y="37"/>
                    </a:cubicBezTo>
                    <a:cubicBezTo>
                      <a:pt x="39" y="37"/>
                      <a:pt x="39" y="37"/>
                      <a:pt x="39" y="37"/>
                    </a:cubicBezTo>
                    <a:cubicBezTo>
                      <a:pt x="38" y="36"/>
                      <a:pt x="38" y="36"/>
                      <a:pt x="38" y="36"/>
                    </a:cubicBezTo>
                    <a:cubicBezTo>
                      <a:pt x="38" y="37"/>
                      <a:pt x="38" y="37"/>
                      <a:pt x="38" y="37"/>
                    </a:cubicBezTo>
                    <a:cubicBezTo>
                      <a:pt x="38" y="36"/>
                      <a:pt x="38" y="36"/>
                      <a:pt x="38" y="36"/>
                    </a:cubicBezTo>
                    <a:cubicBezTo>
                      <a:pt x="38" y="36"/>
                      <a:pt x="38" y="36"/>
                      <a:pt x="38" y="36"/>
                    </a:cubicBezTo>
                    <a:cubicBezTo>
                      <a:pt x="37" y="36"/>
                      <a:pt x="37" y="36"/>
                      <a:pt x="37" y="36"/>
                    </a:cubicBezTo>
                    <a:cubicBezTo>
                      <a:pt x="37" y="36"/>
                      <a:pt x="37" y="36"/>
                      <a:pt x="37" y="36"/>
                    </a:cubicBezTo>
                    <a:cubicBezTo>
                      <a:pt x="37" y="36"/>
                      <a:pt x="37" y="36"/>
                      <a:pt x="37" y="36"/>
                    </a:cubicBezTo>
                    <a:cubicBezTo>
                      <a:pt x="37" y="37"/>
                      <a:pt x="38" y="37"/>
                      <a:pt x="38" y="37"/>
                    </a:cubicBezTo>
                    <a:cubicBezTo>
                      <a:pt x="38" y="37"/>
                      <a:pt x="38" y="37"/>
                      <a:pt x="38" y="37"/>
                    </a:cubicBezTo>
                    <a:close/>
                    <a:moveTo>
                      <a:pt x="33" y="36"/>
                    </a:moveTo>
                    <a:cubicBezTo>
                      <a:pt x="32" y="37"/>
                      <a:pt x="32" y="37"/>
                      <a:pt x="32" y="37"/>
                    </a:cubicBezTo>
                    <a:cubicBezTo>
                      <a:pt x="32" y="37"/>
                      <a:pt x="32" y="37"/>
                      <a:pt x="32" y="37"/>
                    </a:cubicBezTo>
                    <a:cubicBezTo>
                      <a:pt x="33" y="37"/>
                      <a:pt x="33" y="37"/>
                      <a:pt x="33" y="37"/>
                    </a:cubicBezTo>
                    <a:cubicBezTo>
                      <a:pt x="33" y="37"/>
                      <a:pt x="33" y="37"/>
                      <a:pt x="33" y="37"/>
                    </a:cubicBezTo>
                    <a:cubicBezTo>
                      <a:pt x="33" y="36"/>
                      <a:pt x="33" y="36"/>
                      <a:pt x="33" y="36"/>
                    </a:cubicBezTo>
                    <a:cubicBezTo>
                      <a:pt x="33" y="36"/>
                      <a:pt x="33" y="36"/>
                      <a:pt x="33" y="36"/>
                    </a:cubicBezTo>
                    <a:cubicBezTo>
                      <a:pt x="33" y="36"/>
                      <a:pt x="33" y="36"/>
                      <a:pt x="33" y="36"/>
                    </a:cubicBezTo>
                    <a:cubicBezTo>
                      <a:pt x="33" y="36"/>
                      <a:pt x="33" y="36"/>
                      <a:pt x="33" y="36"/>
                    </a:cubicBezTo>
                    <a:close/>
                    <a:moveTo>
                      <a:pt x="37" y="36"/>
                    </a:moveTo>
                    <a:cubicBezTo>
                      <a:pt x="37" y="36"/>
                      <a:pt x="37" y="36"/>
                      <a:pt x="37" y="36"/>
                    </a:cubicBezTo>
                    <a:cubicBezTo>
                      <a:pt x="37" y="35"/>
                      <a:pt x="37" y="35"/>
                      <a:pt x="37" y="35"/>
                    </a:cubicBezTo>
                    <a:cubicBezTo>
                      <a:pt x="37" y="35"/>
                      <a:pt x="37" y="35"/>
                      <a:pt x="37" y="35"/>
                    </a:cubicBezTo>
                    <a:cubicBezTo>
                      <a:pt x="37" y="35"/>
                      <a:pt x="37" y="35"/>
                      <a:pt x="37" y="35"/>
                    </a:cubicBezTo>
                    <a:cubicBezTo>
                      <a:pt x="37" y="34"/>
                      <a:pt x="37" y="34"/>
                      <a:pt x="37" y="34"/>
                    </a:cubicBezTo>
                    <a:cubicBezTo>
                      <a:pt x="37" y="34"/>
                      <a:pt x="37" y="34"/>
                      <a:pt x="37" y="34"/>
                    </a:cubicBezTo>
                    <a:cubicBezTo>
                      <a:pt x="36" y="34"/>
                      <a:pt x="36" y="34"/>
                      <a:pt x="36" y="34"/>
                    </a:cubicBezTo>
                    <a:cubicBezTo>
                      <a:pt x="36" y="34"/>
                      <a:pt x="36" y="34"/>
                      <a:pt x="36" y="34"/>
                    </a:cubicBezTo>
                    <a:cubicBezTo>
                      <a:pt x="36" y="34"/>
                      <a:pt x="36" y="34"/>
                      <a:pt x="36" y="34"/>
                    </a:cubicBezTo>
                    <a:cubicBezTo>
                      <a:pt x="36" y="34"/>
                      <a:pt x="36" y="34"/>
                      <a:pt x="36" y="34"/>
                    </a:cubicBezTo>
                    <a:cubicBezTo>
                      <a:pt x="36" y="34"/>
                      <a:pt x="36" y="34"/>
                      <a:pt x="36" y="34"/>
                    </a:cubicBezTo>
                    <a:cubicBezTo>
                      <a:pt x="35" y="34"/>
                      <a:pt x="35" y="34"/>
                      <a:pt x="35" y="34"/>
                    </a:cubicBezTo>
                    <a:cubicBezTo>
                      <a:pt x="35" y="34"/>
                      <a:pt x="35" y="34"/>
                      <a:pt x="35" y="34"/>
                    </a:cubicBezTo>
                    <a:cubicBezTo>
                      <a:pt x="35" y="34"/>
                      <a:pt x="35" y="34"/>
                      <a:pt x="35" y="34"/>
                    </a:cubicBezTo>
                    <a:cubicBezTo>
                      <a:pt x="35" y="34"/>
                      <a:pt x="35" y="35"/>
                      <a:pt x="36" y="35"/>
                    </a:cubicBezTo>
                    <a:cubicBezTo>
                      <a:pt x="36" y="35"/>
                      <a:pt x="36" y="35"/>
                      <a:pt x="36" y="35"/>
                    </a:cubicBezTo>
                    <a:cubicBezTo>
                      <a:pt x="36" y="35"/>
                      <a:pt x="36" y="35"/>
                      <a:pt x="36" y="35"/>
                    </a:cubicBezTo>
                    <a:cubicBezTo>
                      <a:pt x="36" y="35"/>
                      <a:pt x="36" y="35"/>
                      <a:pt x="36" y="35"/>
                    </a:cubicBezTo>
                    <a:cubicBezTo>
                      <a:pt x="36" y="35"/>
                      <a:pt x="36" y="35"/>
                      <a:pt x="36" y="35"/>
                    </a:cubicBezTo>
                    <a:cubicBezTo>
                      <a:pt x="36" y="36"/>
                      <a:pt x="36" y="36"/>
                      <a:pt x="36" y="36"/>
                    </a:cubicBezTo>
                    <a:cubicBezTo>
                      <a:pt x="37" y="36"/>
                      <a:pt x="37" y="36"/>
                      <a:pt x="37" y="36"/>
                    </a:cubicBezTo>
                    <a:close/>
                    <a:moveTo>
                      <a:pt x="45" y="29"/>
                    </a:moveTo>
                    <a:cubicBezTo>
                      <a:pt x="45" y="29"/>
                      <a:pt x="45" y="29"/>
                      <a:pt x="45" y="29"/>
                    </a:cubicBezTo>
                    <a:cubicBezTo>
                      <a:pt x="45" y="29"/>
                      <a:pt x="45" y="29"/>
                      <a:pt x="45" y="29"/>
                    </a:cubicBezTo>
                    <a:cubicBezTo>
                      <a:pt x="45" y="29"/>
                      <a:pt x="45" y="29"/>
                      <a:pt x="45" y="29"/>
                    </a:cubicBezTo>
                    <a:close/>
                    <a:moveTo>
                      <a:pt x="44" y="28"/>
                    </a:moveTo>
                    <a:cubicBezTo>
                      <a:pt x="45" y="28"/>
                      <a:pt x="45" y="28"/>
                      <a:pt x="45" y="28"/>
                    </a:cubicBezTo>
                    <a:cubicBezTo>
                      <a:pt x="45" y="29"/>
                      <a:pt x="45" y="29"/>
                      <a:pt x="45" y="29"/>
                    </a:cubicBezTo>
                    <a:cubicBezTo>
                      <a:pt x="45" y="29"/>
                      <a:pt x="45" y="29"/>
                      <a:pt x="45" y="29"/>
                    </a:cubicBezTo>
                    <a:cubicBezTo>
                      <a:pt x="45" y="28"/>
                      <a:pt x="45" y="28"/>
                      <a:pt x="45" y="28"/>
                    </a:cubicBezTo>
                    <a:lnTo>
                      <a:pt x="44" y="28"/>
                    </a:lnTo>
                    <a:close/>
                    <a:moveTo>
                      <a:pt x="40" y="28"/>
                    </a:moveTo>
                    <a:cubicBezTo>
                      <a:pt x="40" y="28"/>
                      <a:pt x="40" y="28"/>
                      <a:pt x="40" y="28"/>
                    </a:cubicBezTo>
                    <a:cubicBezTo>
                      <a:pt x="40" y="28"/>
                      <a:pt x="40" y="28"/>
                      <a:pt x="40" y="28"/>
                    </a:cubicBezTo>
                    <a:cubicBezTo>
                      <a:pt x="40" y="28"/>
                      <a:pt x="40" y="28"/>
                      <a:pt x="40" y="28"/>
                    </a:cubicBezTo>
                    <a:close/>
                    <a:moveTo>
                      <a:pt x="40" y="28"/>
                    </a:moveTo>
                    <a:cubicBezTo>
                      <a:pt x="40" y="28"/>
                      <a:pt x="40" y="28"/>
                      <a:pt x="40" y="28"/>
                    </a:cubicBezTo>
                    <a:cubicBezTo>
                      <a:pt x="40" y="28"/>
                      <a:pt x="40" y="28"/>
                      <a:pt x="40" y="28"/>
                    </a:cubicBezTo>
                    <a:cubicBezTo>
                      <a:pt x="41" y="28"/>
                      <a:pt x="41" y="28"/>
                      <a:pt x="41" y="28"/>
                    </a:cubicBezTo>
                    <a:cubicBezTo>
                      <a:pt x="41" y="28"/>
                      <a:pt x="41" y="28"/>
                      <a:pt x="41" y="28"/>
                    </a:cubicBezTo>
                    <a:cubicBezTo>
                      <a:pt x="41" y="28"/>
                      <a:pt x="41" y="28"/>
                      <a:pt x="41" y="28"/>
                    </a:cubicBezTo>
                    <a:lnTo>
                      <a:pt x="40" y="28"/>
                    </a:lnTo>
                    <a:close/>
                    <a:moveTo>
                      <a:pt x="37" y="20"/>
                    </a:moveTo>
                    <a:cubicBezTo>
                      <a:pt x="37" y="20"/>
                      <a:pt x="37" y="20"/>
                      <a:pt x="37" y="20"/>
                    </a:cubicBezTo>
                    <a:cubicBezTo>
                      <a:pt x="36" y="20"/>
                      <a:pt x="36" y="20"/>
                      <a:pt x="37" y="20"/>
                    </a:cubicBezTo>
                    <a:cubicBezTo>
                      <a:pt x="37" y="20"/>
                      <a:pt x="37" y="20"/>
                      <a:pt x="37" y="20"/>
                    </a:cubicBezTo>
                    <a:close/>
                    <a:moveTo>
                      <a:pt x="43" y="37"/>
                    </a:moveTo>
                    <a:cubicBezTo>
                      <a:pt x="44" y="37"/>
                      <a:pt x="45" y="36"/>
                      <a:pt x="46" y="36"/>
                    </a:cubicBezTo>
                    <a:cubicBezTo>
                      <a:pt x="45" y="36"/>
                      <a:pt x="45" y="36"/>
                      <a:pt x="45" y="36"/>
                    </a:cubicBezTo>
                    <a:cubicBezTo>
                      <a:pt x="44" y="36"/>
                      <a:pt x="44" y="36"/>
                      <a:pt x="43" y="37"/>
                    </a:cubicBezTo>
                    <a:close/>
                    <a:moveTo>
                      <a:pt x="50" y="35"/>
                    </a:moveTo>
                    <a:cubicBezTo>
                      <a:pt x="50" y="35"/>
                      <a:pt x="50" y="35"/>
                      <a:pt x="50" y="35"/>
                    </a:cubicBezTo>
                    <a:cubicBezTo>
                      <a:pt x="50" y="35"/>
                      <a:pt x="50" y="35"/>
                      <a:pt x="50" y="35"/>
                    </a:cubicBezTo>
                    <a:cubicBezTo>
                      <a:pt x="50" y="35"/>
                      <a:pt x="50" y="35"/>
                      <a:pt x="50" y="35"/>
                    </a:cubicBezTo>
                    <a:cubicBezTo>
                      <a:pt x="50" y="35"/>
                      <a:pt x="50" y="35"/>
                      <a:pt x="50" y="35"/>
                    </a:cubicBezTo>
                    <a:cubicBezTo>
                      <a:pt x="49" y="35"/>
                      <a:pt x="49" y="34"/>
                      <a:pt x="48" y="35"/>
                    </a:cubicBezTo>
                    <a:cubicBezTo>
                      <a:pt x="48" y="35"/>
                      <a:pt x="48" y="35"/>
                      <a:pt x="48" y="35"/>
                    </a:cubicBezTo>
                    <a:cubicBezTo>
                      <a:pt x="47" y="35"/>
                      <a:pt x="47" y="35"/>
                      <a:pt x="47" y="35"/>
                    </a:cubicBezTo>
                    <a:cubicBezTo>
                      <a:pt x="47" y="35"/>
                      <a:pt x="47" y="35"/>
                      <a:pt x="47" y="35"/>
                    </a:cubicBezTo>
                    <a:cubicBezTo>
                      <a:pt x="47" y="36"/>
                      <a:pt x="47" y="36"/>
                      <a:pt x="47" y="36"/>
                    </a:cubicBezTo>
                    <a:cubicBezTo>
                      <a:pt x="47" y="36"/>
                      <a:pt x="47" y="36"/>
                      <a:pt x="47" y="36"/>
                    </a:cubicBezTo>
                    <a:cubicBezTo>
                      <a:pt x="48" y="35"/>
                      <a:pt x="48" y="35"/>
                      <a:pt x="48" y="35"/>
                    </a:cubicBezTo>
                    <a:cubicBezTo>
                      <a:pt x="48" y="35"/>
                      <a:pt x="48" y="35"/>
                      <a:pt x="48" y="35"/>
                    </a:cubicBezTo>
                    <a:cubicBezTo>
                      <a:pt x="48" y="35"/>
                      <a:pt x="48" y="35"/>
                      <a:pt x="48" y="35"/>
                    </a:cubicBezTo>
                    <a:cubicBezTo>
                      <a:pt x="49" y="36"/>
                      <a:pt x="49" y="36"/>
                      <a:pt x="49" y="36"/>
                    </a:cubicBezTo>
                    <a:cubicBezTo>
                      <a:pt x="49" y="36"/>
                      <a:pt x="49" y="35"/>
                      <a:pt x="50" y="35"/>
                    </a:cubicBezTo>
                    <a:close/>
                    <a:moveTo>
                      <a:pt x="44" y="29"/>
                    </a:moveTo>
                    <a:cubicBezTo>
                      <a:pt x="44" y="29"/>
                      <a:pt x="44" y="29"/>
                      <a:pt x="44" y="29"/>
                    </a:cubicBezTo>
                    <a:cubicBezTo>
                      <a:pt x="44" y="29"/>
                      <a:pt x="44" y="29"/>
                      <a:pt x="44" y="29"/>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3" y="28"/>
                      <a:pt x="43" y="28"/>
                      <a:pt x="43" y="28"/>
                    </a:cubicBezTo>
                    <a:cubicBezTo>
                      <a:pt x="42" y="28"/>
                      <a:pt x="42" y="28"/>
                      <a:pt x="42" y="28"/>
                    </a:cubicBezTo>
                    <a:cubicBezTo>
                      <a:pt x="42" y="28"/>
                      <a:pt x="42" y="28"/>
                      <a:pt x="42" y="28"/>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30"/>
                      <a:pt x="43" y="30"/>
                      <a:pt x="43" y="30"/>
                    </a:cubicBezTo>
                    <a:cubicBezTo>
                      <a:pt x="43" y="30"/>
                      <a:pt x="43" y="30"/>
                      <a:pt x="43" y="30"/>
                    </a:cubicBezTo>
                    <a:cubicBezTo>
                      <a:pt x="43" y="30"/>
                      <a:pt x="43" y="30"/>
                      <a:pt x="43" y="30"/>
                    </a:cubicBezTo>
                    <a:cubicBezTo>
                      <a:pt x="43" y="30"/>
                      <a:pt x="43" y="30"/>
                      <a:pt x="43" y="30"/>
                    </a:cubicBezTo>
                    <a:cubicBezTo>
                      <a:pt x="43" y="30"/>
                      <a:pt x="43" y="30"/>
                      <a:pt x="43" y="30"/>
                    </a:cubicBezTo>
                    <a:cubicBezTo>
                      <a:pt x="43" y="31"/>
                      <a:pt x="43" y="31"/>
                      <a:pt x="43" y="31"/>
                    </a:cubicBezTo>
                    <a:cubicBezTo>
                      <a:pt x="42" y="31"/>
                      <a:pt x="42" y="31"/>
                      <a:pt x="42" y="31"/>
                    </a:cubicBezTo>
                    <a:cubicBezTo>
                      <a:pt x="43" y="31"/>
                      <a:pt x="43" y="31"/>
                      <a:pt x="43" y="31"/>
                    </a:cubicBezTo>
                    <a:cubicBezTo>
                      <a:pt x="43" y="31"/>
                      <a:pt x="43" y="31"/>
                      <a:pt x="43" y="31"/>
                    </a:cubicBezTo>
                    <a:cubicBezTo>
                      <a:pt x="43" y="31"/>
                      <a:pt x="43" y="31"/>
                      <a:pt x="43" y="32"/>
                    </a:cubicBezTo>
                    <a:cubicBezTo>
                      <a:pt x="43" y="32"/>
                      <a:pt x="43" y="32"/>
                      <a:pt x="43" y="32"/>
                    </a:cubicBezTo>
                    <a:cubicBezTo>
                      <a:pt x="43" y="32"/>
                      <a:pt x="43" y="32"/>
                      <a:pt x="43" y="32"/>
                    </a:cubicBezTo>
                    <a:cubicBezTo>
                      <a:pt x="44" y="31"/>
                      <a:pt x="44" y="31"/>
                      <a:pt x="44" y="31"/>
                    </a:cubicBezTo>
                    <a:cubicBezTo>
                      <a:pt x="44" y="31"/>
                      <a:pt x="44" y="31"/>
                      <a:pt x="44" y="31"/>
                    </a:cubicBezTo>
                    <a:cubicBezTo>
                      <a:pt x="44" y="31"/>
                      <a:pt x="44" y="31"/>
                      <a:pt x="44" y="31"/>
                    </a:cubicBezTo>
                    <a:cubicBezTo>
                      <a:pt x="44" y="31"/>
                      <a:pt x="44" y="31"/>
                      <a:pt x="44" y="31"/>
                    </a:cubicBezTo>
                    <a:cubicBezTo>
                      <a:pt x="44" y="30"/>
                      <a:pt x="44" y="30"/>
                      <a:pt x="44" y="30"/>
                    </a:cubicBezTo>
                    <a:cubicBezTo>
                      <a:pt x="44" y="30"/>
                      <a:pt x="44" y="30"/>
                      <a:pt x="44" y="30"/>
                    </a:cubicBezTo>
                    <a:cubicBezTo>
                      <a:pt x="44" y="30"/>
                      <a:pt x="44" y="29"/>
                      <a:pt x="44" y="29"/>
                    </a:cubicBezTo>
                    <a:close/>
                    <a:moveTo>
                      <a:pt x="47" y="23"/>
                    </a:moveTo>
                    <a:cubicBezTo>
                      <a:pt x="47" y="23"/>
                      <a:pt x="47" y="23"/>
                      <a:pt x="47" y="23"/>
                    </a:cubicBezTo>
                    <a:cubicBezTo>
                      <a:pt x="47" y="23"/>
                      <a:pt x="47" y="23"/>
                      <a:pt x="47" y="23"/>
                    </a:cubicBezTo>
                    <a:cubicBezTo>
                      <a:pt x="47" y="23"/>
                      <a:pt x="46" y="22"/>
                      <a:pt x="46" y="22"/>
                    </a:cubicBezTo>
                    <a:cubicBezTo>
                      <a:pt x="46" y="22"/>
                      <a:pt x="46" y="22"/>
                      <a:pt x="46" y="21"/>
                    </a:cubicBezTo>
                    <a:cubicBezTo>
                      <a:pt x="45" y="21"/>
                      <a:pt x="45" y="21"/>
                      <a:pt x="45" y="21"/>
                    </a:cubicBezTo>
                    <a:cubicBezTo>
                      <a:pt x="45" y="21"/>
                      <a:pt x="45" y="21"/>
                      <a:pt x="45" y="21"/>
                    </a:cubicBezTo>
                    <a:cubicBezTo>
                      <a:pt x="45" y="21"/>
                      <a:pt x="45" y="21"/>
                      <a:pt x="44" y="21"/>
                    </a:cubicBezTo>
                    <a:cubicBezTo>
                      <a:pt x="44" y="21"/>
                      <a:pt x="44" y="21"/>
                      <a:pt x="44" y="21"/>
                    </a:cubicBezTo>
                    <a:cubicBezTo>
                      <a:pt x="44" y="22"/>
                      <a:pt x="44" y="22"/>
                      <a:pt x="43" y="22"/>
                    </a:cubicBezTo>
                    <a:cubicBezTo>
                      <a:pt x="43" y="22"/>
                      <a:pt x="43" y="22"/>
                      <a:pt x="43" y="22"/>
                    </a:cubicBezTo>
                    <a:cubicBezTo>
                      <a:pt x="43" y="22"/>
                      <a:pt x="43" y="22"/>
                      <a:pt x="43" y="22"/>
                    </a:cubicBezTo>
                    <a:cubicBezTo>
                      <a:pt x="43" y="22"/>
                      <a:pt x="43" y="22"/>
                      <a:pt x="43" y="22"/>
                    </a:cubicBezTo>
                    <a:cubicBezTo>
                      <a:pt x="42" y="22"/>
                      <a:pt x="42" y="22"/>
                      <a:pt x="42" y="22"/>
                    </a:cubicBezTo>
                    <a:cubicBezTo>
                      <a:pt x="42" y="23"/>
                      <a:pt x="42" y="23"/>
                      <a:pt x="42" y="23"/>
                    </a:cubicBezTo>
                    <a:cubicBezTo>
                      <a:pt x="42" y="23"/>
                      <a:pt x="43" y="23"/>
                      <a:pt x="43" y="23"/>
                    </a:cubicBezTo>
                    <a:cubicBezTo>
                      <a:pt x="44" y="24"/>
                      <a:pt x="44" y="23"/>
                      <a:pt x="44" y="23"/>
                    </a:cubicBezTo>
                    <a:cubicBezTo>
                      <a:pt x="44" y="23"/>
                      <a:pt x="44" y="23"/>
                      <a:pt x="44" y="23"/>
                    </a:cubicBezTo>
                    <a:cubicBezTo>
                      <a:pt x="45" y="23"/>
                      <a:pt x="45" y="23"/>
                      <a:pt x="45" y="23"/>
                    </a:cubicBezTo>
                    <a:cubicBezTo>
                      <a:pt x="45" y="23"/>
                      <a:pt x="45" y="23"/>
                      <a:pt x="45" y="23"/>
                    </a:cubicBezTo>
                    <a:cubicBezTo>
                      <a:pt x="45" y="23"/>
                      <a:pt x="45" y="23"/>
                      <a:pt x="45" y="23"/>
                    </a:cubicBezTo>
                    <a:cubicBezTo>
                      <a:pt x="44" y="23"/>
                      <a:pt x="44" y="23"/>
                      <a:pt x="44" y="23"/>
                    </a:cubicBezTo>
                    <a:cubicBezTo>
                      <a:pt x="44" y="23"/>
                      <a:pt x="44" y="23"/>
                      <a:pt x="44" y="23"/>
                    </a:cubicBezTo>
                    <a:cubicBezTo>
                      <a:pt x="44" y="24"/>
                      <a:pt x="44" y="24"/>
                      <a:pt x="44" y="24"/>
                    </a:cubicBezTo>
                    <a:cubicBezTo>
                      <a:pt x="44" y="24"/>
                      <a:pt x="44" y="24"/>
                      <a:pt x="44" y="24"/>
                    </a:cubicBezTo>
                    <a:cubicBezTo>
                      <a:pt x="44" y="24"/>
                      <a:pt x="44" y="24"/>
                      <a:pt x="45" y="24"/>
                    </a:cubicBezTo>
                    <a:cubicBezTo>
                      <a:pt x="46" y="24"/>
                      <a:pt x="46" y="25"/>
                      <a:pt x="47" y="24"/>
                    </a:cubicBezTo>
                    <a:cubicBezTo>
                      <a:pt x="47" y="24"/>
                      <a:pt x="46" y="24"/>
                      <a:pt x="46" y="23"/>
                    </a:cubicBezTo>
                    <a:cubicBezTo>
                      <a:pt x="46" y="23"/>
                      <a:pt x="46" y="23"/>
                      <a:pt x="46" y="23"/>
                    </a:cubicBezTo>
                    <a:cubicBezTo>
                      <a:pt x="46" y="23"/>
                      <a:pt x="46" y="23"/>
                      <a:pt x="46" y="23"/>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lnTo>
                      <a:pt x="47" y="23"/>
                    </a:lnTo>
                    <a:close/>
                    <a:moveTo>
                      <a:pt x="39" y="18"/>
                    </a:moveTo>
                    <a:cubicBezTo>
                      <a:pt x="39" y="17"/>
                      <a:pt x="39" y="17"/>
                      <a:pt x="39" y="17"/>
                    </a:cubicBezTo>
                    <a:cubicBezTo>
                      <a:pt x="39" y="17"/>
                      <a:pt x="39" y="17"/>
                      <a:pt x="39" y="17"/>
                    </a:cubicBezTo>
                    <a:cubicBezTo>
                      <a:pt x="39" y="17"/>
                      <a:pt x="39" y="17"/>
                      <a:pt x="39" y="17"/>
                    </a:cubicBezTo>
                    <a:cubicBezTo>
                      <a:pt x="39" y="17"/>
                      <a:pt x="39" y="17"/>
                      <a:pt x="39" y="17"/>
                    </a:cubicBezTo>
                    <a:cubicBezTo>
                      <a:pt x="39" y="17"/>
                      <a:pt x="39" y="17"/>
                      <a:pt x="39" y="17"/>
                    </a:cubicBezTo>
                    <a:cubicBezTo>
                      <a:pt x="39" y="16"/>
                      <a:pt x="39" y="16"/>
                      <a:pt x="39" y="16"/>
                    </a:cubicBezTo>
                    <a:cubicBezTo>
                      <a:pt x="39" y="16"/>
                      <a:pt x="39" y="16"/>
                      <a:pt x="39" y="16"/>
                    </a:cubicBezTo>
                    <a:cubicBezTo>
                      <a:pt x="39" y="16"/>
                      <a:pt x="39" y="16"/>
                      <a:pt x="39" y="16"/>
                    </a:cubicBezTo>
                    <a:cubicBezTo>
                      <a:pt x="39" y="15"/>
                      <a:pt x="39" y="16"/>
                      <a:pt x="39" y="16"/>
                    </a:cubicBezTo>
                    <a:cubicBezTo>
                      <a:pt x="38" y="16"/>
                      <a:pt x="38" y="16"/>
                      <a:pt x="38" y="16"/>
                    </a:cubicBezTo>
                    <a:cubicBezTo>
                      <a:pt x="38" y="16"/>
                      <a:pt x="38" y="16"/>
                      <a:pt x="38" y="16"/>
                    </a:cubicBezTo>
                    <a:cubicBezTo>
                      <a:pt x="38" y="16"/>
                      <a:pt x="38" y="16"/>
                      <a:pt x="38" y="16"/>
                    </a:cubicBezTo>
                    <a:cubicBezTo>
                      <a:pt x="38" y="16"/>
                      <a:pt x="38" y="16"/>
                      <a:pt x="38"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7"/>
                      <a:pt x="37" y="17"/>
                      <a:pt x="37" y="17"/>
                    </a:cubicBezTo>
                    <a:cubicBezTo>
                      <a:pt x="37" y="17"/>
                      <a:pt x="37" y="17"/>
                      <a:pt x="37" y="17"/>
                    </a:cubicBezTo>
                    <a:cubicBezTo>
                      <a:pt x="37" y="17"/>
                      <a:pt x="37" y="17"/>
                      <a:pt x="37" y="17"/>
                    </a:cubicBezTo>
                    <a:cubicBezTo>
                      <a:pt x="37" y="17"/>
                      <a:pt x="37" y="17"/>
                      <a:pt x="37" y="17"/>
                    </a:cubicBezTo>
                    <a:cubicBezTo>
                      <a:pt x="37" y="17"/>
                      <a:pt x="37" y="17"/>
                      <a:pt x="37"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6"/>
                      <a:pt x="38" y="16"/>
                      <a:pt x="38" y="16"/>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lnTo>
                      <a:pt x="39" y="18"/>
                    </a:lnTo>
                    <a:close/>
                    <a:moveTo>
                      <a:pt x="32" y="34"/>
                    </a:moveTo>
                    <a:cubicBezTo>
                      <a:pt x="32" y="34"/>
                      <a:pt x="32" y="34"/>
                      <a:pt x="32" y="34"/>
                    </a:cubicBezTo>
                    <a:cubicBezTo>
                      <a:pt x="32" y="34"/>
                      <a:pt x="32" y="34"/>
                      <a:pt x="32" y="34"/>
                    </a:cubicBezTo>
                    <a:cubicBezTo>
                      <a:pt x="32" y="34"/>
                      <a:pt x="32" y="34"/>
                      <a:pt x="32" y="34"/>
                    </a:cubicBezTo>
                    <a:cubicBezTo>
                      <a:pt x="33" y="34"/>
                      <a:pt x="33" y="34"/>
                      <a:pt x="33" y="34"/>
                    </a:cubicBezTo>
                    <a:lnTo>
                      <a:pt x="32" y="34"/>
                    </a:lnTo>
                    <a:close/>
                    <a:moveTo>
                      <a:pt x="33" y="26"/>
                    </a:moveTo>
                    <a:cubicBezTo>
                      <a:pt x="33" y="26"/>
                      <a:pt x="33" y="26"/>
                      <a:pt x="33" y="26"/>
                    </a:cubicBezTo>
                    <a:cubicBezTo>
                      <a:pt x="33" y="26"/>
                      <a:pt x="33" y="26"/>
                      <a:pt x="33" y="26"/>
                    </a:cubicBezTo>
                    <a:cubicBezTo>
                      <a:pt x="33" y="26"/>
                      <a:pt x="33" y="26"/>
                      <a:pt x="33" y="26"/>
                    </a:cubicBezTo>
                    <a:close/>
                    <a:moveTo>
                      <a:pt x="34" y="26"/>
                    </a:moveTo>
                    <a:cubicBezTo>
                      <a:pt x="34" y="27"/>
                      <a:pt x="34" y="27"/>
                      <a:pt x="34" y="27"/>
                    </a:cubicBezTo>
                    <a:cubicBezTo>
                      <a:pt x="34" y="27"/>
                      <a:pt x="34" y="27"/>
                      <a:pt x="34" y="27"/>
                    </a:cubicBezTo>
                    <a:cubicBezTo>
                      <a:pt x="34" y="26"/>
                      <a:pt x="34" y="26"/>
                      <a:pt x="34" y="26"/>
                    </a:cubicBezTo>
                    <a:cubicBezTo>
                      <a:pt x="34" y="27"/>
                      <a:pt x="34" y="27"/>
                      <a:pt x="34" y="27"/>
                    </a:cubicBezTo>
                    <a:cubicBezTo>
                      <a:pt x="34" y="27"/>
                      <a:pt x="34" y="27"/>
                      <a:pt x="34" y="27"/>
                    </a:cubicBezTo>
                    <a:cubicBezTo>
                      <a:pt x="35" y="26"/>
                      <a:pt x="35" y="26"/>
                      <a:pt x="35" y="26"/>
                    </a:cubicBezTo>
                    <a:cubicBezTo>
                      <a:pt x="35" y="26"/>
                      <a:pt x="34" y="26"/>
                      <a:pt x="34" y="26"/>
                    </a:cubicBezTo>
                    <a:cubicBezTo>
                      <a:pt x="34" y="26"/>
                      <a:pt x="34" y="26"/>
                      <a:pt x="34" y="26"/>
                    </a:cubicBezTo>
                    <a:cubicBezTo>
                      <a:pt x="34" y="25"/>
                      <a:pt x="34" y="25"/>
                      <a:pt x="34" y="25"/>
                    </a:cubicBezTo>
                    <a:cubicBezTo>
                      <a:pt x="33" y="25"/>
                      <a:pt x="33" y="25"/>
                      <a:pt x="33" y="25"/>
                    </a:cubicBezTo>
                    <a:cubicBezTo>
                      <a:pt x="33" y="25"/>
                      <a:pt x="33" y="25"/>
                      <a:pt x="33" y="25"/>
                    </a:cubicBezTo>
                    <a:cubicBezTo>
                      <a:pt x="33" y="25"/>
                      <a:pt x="33" y="25"/>
                      <a:pt x="33" y="25"/>
                    </a:cubicBezTo>
                    <a:cubicBezTo>
                      <a:pt x="33" y="26"/>
                      <a:pt x="33" y="26"/>
                      <a:pt x="33" y="26"/>
                    </a:cubicBezTo>
                    <a:cubicBezTo>
                      <a:pt x="33" y="26"/>
                      <a:pt x="33" y="26"/>
                      <a:pt x="33" y="26"/>
                    </a:cubicBezTo>
                    <a:cubicBezTo>
                      <a:pt x="34" y="26"/>
                      <a:pt x="34" y="26"/>
                      <a:pt x="34" y="26"/>
                    </a:cubicBezTo>
                    <a:cubicBezTo>
                      <a:pt x="34" y="26"/>
                      <a:pt x="34" y="26"/>
                      <a:pt x="34" y="26"/>
                    </a:cubicBezTo>
                    <a:cubicBezTo>
                      <a:pt x="34" y="26"/>
                      <a:pt x="34" y="26"/>
                      <a:pt x="34" y="26"/>
                    </a:cubicBezTo>
                    <a:close/>
                    <a:moveTo>
                      <a:pt x="28" y="27"/>
                    </a:moveTo>
                    <a:cubicBezTo>
                      <a:pt x="28" y="26"/>
                      <a:pt x="28" y="26"/>
                      <a:pt x="28" y="26"/>
                    </a:cubicBezTo>
                    <a:cubicBezTo>
                      <a:pt x="28" y="27"/>
                      <a:pt x="28" y="27"/>
                      <a:pt x="28" y="27"/>
                    </a:cubicBezTo>
                    <a:cubicBezTo>
                      <a:pt x="27" y="26"/>
                      <a:pt x="27" y="26"/>
                      <a:pt x="27" y="26"/>
                    </a:cubicBezTo>
                    <a:cubicBezTo>
                      <a:pt x="27" y="26"/>
                      <a:pt x="27" y="26"/>
                      <a:pt x="27" y="26"/>
                    </a:cubicBezTo>
                    <a:cubicBezTo>
                      <a:pt x="27" y="26"/>
                      <a:pt x="26" y="26"/>
                      <a:pt x="26" y="25"/>
                    </a:cubicBezTo>
                    <a:cubicBezTo>
                      <a:pt x="26" y="25"/>
                      <a:pt x="26" y="25"/>
                      <a:pt x="26" y="25"/>
                    </a:cubicBezTo>
                    <a:cubicBezTo>
                      <a:pt x="26" y="24"/>
                      <a:pt x="25" y="24"/>
                      <a:pt x="25" y="24"/>
                    </a:cubicBezTo>
                    <a:cubicBezTo>
                      <a:pt x="24" y="24"/>
                      <a:pt x="24" y="24"/>
                      <a:pt x="24" y="24"/>
                    </a:cubicBezTo>
                    <a:cubicBezTo>
                      <a:pt x="24" y="25"/>
                      <a:pt x="24" y="25"/>
                      <a:pt x="24" y="25"/>
                    </a:cubicBezTo>
                    <a:cubicBezTo>
                      <a:pt x="24" y="25"/>
                      <a:pt x="24" y="25"/>
                      <a:pt x="24" y="25"/>
                    </a:cubicBezTo>
                    <a:cubicBezTo>
                      <a:pt x="24" y="25"/>
                      <a:pt x="24" y="25"/>
                      <a:pt x="24" y="25"/>
                    </a:cubicBezTo>
                    <a:cubicBezTo>
                      <a:pt x="24" y="25"/>
                      <a:pt x="23" y="26"/>
                      <a:pt x="23" y="26"/>
                    </a:cubicBezTo>
                    <a:cubicBezTo>
                      <a:pt x="22" y="26"/>
                      <a:pt x="22" y="26"/>
                      <a:pt x="22" y="26"/>
                    </a:cubicBezTo>
                    <a:cubicBezTo>
                      <a:pt x="23" y="26"/>
                      <a:pt x="23" y="26"/>
                      <a:pt x="23" y="26"/>
                    </a:cubicBezTo>
                    <a:cubicBezTo>
                      <a:pt x="23" y="26"/>
                      <a:pt x="23" y="26"/>
                      <a:pt x="23" y="25"/>
                    </a:cubicBezTo>
                    <a:cubicBezTo>
                      <a:pt x="24" y="25"/>
                      <a:pt x="24" y="26"/>
                      <a:pt x="24" y="26"/>
                    </a:cubicBezTo>
                    <a:cubicBezTo>
                      <a:pt x="25" y="26"/>
                      <a:pt x="25" y="26"/>
                      <a:pt x="26" y="27"/>
                    </a:cubicBezTo>
                    <a:cubicBezTo>
                      <a:pt x="26" y="27"/>
                      <a:pt x="26" y="27"/>
                      <a:pt x="26" y="27"/>
                    </a:cubicBezTo>
                    <a:cubicBezTo>
                      <a:pt x="26" y="27"/>
                      <a:pt x="26" y="27"/>
                      <a:pt x="26" y="27"/>
                    </a:cubicBezTo>
                    <a:cubicBezTo>
                      <a:pt x="27" y="28"/>
                      <a:pt x="27" y="28"/>
                      <a:pt x="27" y="28"/>
                    </a:cubicBezTo>
                    <a:cubicBezTo>
                      <a:pt x="27" y="28"/>
                      <a:pt x="27" y="28"/>
                      <a:pt x="27" y="28"/>
                    </a:cubicBezTo>
                    <a:cubicBezTo>
                      <a:pt x="27" y="28"/>
                      <a:pt x="27" y="28"/>
                      <a:pt x="27" y="28"/>
                    </a:cubicBezTo>
                    <a:cubicBezTo>
                      <a:pt x="27" y="29"/>
                      <a:pt x="27" y="29"/>
                      <a:pt x="27" y="29"/>
                    </a:cubicBezTo>
                    <a:cubicBezTo>
                      <a:pt x="27" y="29"/>
                      <a:pt x="27" y="29"/>
                      <a:pt x="27" y="29"/>
                    </a:cubicBezTo>
                    <a:cubicBezTo>
                      <a:pt x="27" y="29"/>
                      <a:pt x="27" y="29"/>
                      <a:pt x="27" y="29"/>
                    </a:cubicBezTo>
                    <a:cubicBezTo>
                      <a:pt x="27" y="29"/>
                      <a:pt x="27" y="29"/>
                      <a:pt x="27" y="29"/>
                    </a:cubicBezTo>
                    <a:cubicBezTo>
                      <a:pt x="28" y="29"/>
                      <a:pt x="28" y="29"/>
                      <a:pt x="28" y="29"/>
                    </a:cubicBezTo>
                    <a:cubicBezTo>
                      <a:pt x="28" y="29"/>
                      <a:pt x="29" y="30"/>
                      <a:pt x="30" y="30"/>
                    </a:cubicBezTo>
                    <a:cubicBezTo>
                      <a:pt x="30" y="30"/>
                      <a:pt x="30" y="30"/>
                      <a:pt x="30" y="30"/>
                    </a:cubicBezTo>
                    <a:cubicBezTo>
                      <a:pt x="30" y="30"/>
                      <a:pt x="30" y="30"/>
                      <a:pt x="30" y="30"/>
                    </a:cubicBezTo>
                    <a:cubicBezTo>
                      <a:pt x="30" y="30"/>
                      <a:pt x="30" y="30"/>
                      <a:pt x="30" y="30"/>
                    </a:cubicBezTo>
                    <a:cubicBezTo>
                      <a:pt x="30" y="30"/>
                      <a:pt x="30" y="30"/>
                      <a:pt x="31" y="30"/>
                    </a:cubicBezTo>
                    <a:cubicBezTo>
                      <a:pt x="30" y="31"/>
                      <a:pt x="30" y="31"/>
                      <a:pt x="30" y="31"/>
                    </a:cubicBezTo>
                    <a:cubicBezTo>
                      <a:pt x="30" y="31"/>
                      <a:pt x="30" y="31"/>
                      <a:pt x="30" y="31"/>
                    </a:cubicBezTo>
                    <a:cubicBezTo>
                      <a:pt x="31" y="31"/>
                      <a:pt x="31" y="31"/>
                      <a:pt x="31" y="31"/>
                    </a:cubicBezTo>
                    <a:cubicBezTo>
                      <a:pt x="31" y="31"/>
                      <a:pt x="31" y="31"/>
                      <a:pt x="31" y="31"/>
                    </a:cubicBezTo>
                    <a:cubicBezTo>
                      <a:pt x="31" y="31"/>
                      <a:pt x="31" y="31"/>
                      <a:pt x="31" y="31"/>
                    </a:cubicBezTo>
                    <a:cubicBezTo>
                      <a:pt x="31" y="31"/>
                      <a:pt x="31" y="31"/>
                      <a:pt x="31" y="31"/>
                    </a:cubicBezTo>
                    <a:cubicBezTo>
                      <a:pt x="31" y="31"/>
                      <a:pt x="31" y="31"/>
                      <a:pt x="31" y="31"/>
                    </a:cubicBezTo>
                    <a:cubicBezTo>
                      <a:pt x="31" y="32"/>
                      <a:pt x="31" y="32"/>
                      <a:pt x="31" y="32"/>
                    </a:cubicBezTo>
                    <a:cubicBezTo>
                      <a:pt x="31" y="32"/>
                      <a:pt x="31" y="32"/>
                      <a:pt x="31" y="32"/>
                    </a:cubicBezTo>
                    <a:cubicBezTo>
                      <a:pt x="31" y="32"/>
                      <a:pt x="31" y="32"/>
                      <a:pt x="31" y="32"/>
                    </a:cubicBezTo>
                    <a:cubicBezTo>
                      <a:pt x="31" y="32"/>
                      <a:pt x="31" y="32"/>
                      <a:pt x="31" y="32"/>
                    </a:cubicBezTo>
                    <a:cubicBezTo>
                      <a:pt x="32" y="32"/>
                      <a:pt x="32" y="32"/>
                      <a:pt x="32" y="32"/>
                    </a:cubicBezTo>
                    <a:cubicBezTo>
                      <a:pt x="32" y="32"/>
                      <a:pt x="32" y="32"/>
                      <a:pt x="32" y="32"/>
                    </a:cubicBezTo>
                    <a:cubicBezTo>
                      <a:pt x="32" y="33"/>
                      <a:pt x="32" y="33"/>
                      <a:pt x="32" y="33"/>
                    </a:cubicBezTo>
                    <a:cubicBezTo>
                      <a:pt x="32" y="33"/>
                      <a:pt x="32" y="33"/>
                      <a:pt x="32" y="33"/>
                    </a:cubicBezTo>
                    <a:cubicBezTo>
                      <a:pt x="32" y="33"/>
                      <a:pt x="32" y="33"/>
                      <a:pt x="32" y="33"/>
                    </a:cubicBezTo>
                    <a:cubicBezTo>
                      <a:pt x="32" y="33"/>
                      <a:pt x="32" y="33"/>
                      <a:pt x="32" y="33"/>
                    </a:cubicBezTo>
                    <a:cubicBezTo>
                      <a:pt x="32" y="33"/>
                      <a:pt x="32" y="33"/>
                      <a:pt x="32" y="33"/>
                    </a:cubicBezTo>
                    <a:cubicBezTo>
                      <a:pt x="33" y="33"/>
                      <a:pt x="33" y="33"/>
                      <a:pt x="33" y="33"/>
                    </a:cubicBezTo>
                    <a:cubicBezTo>
                      <a:pt x="33" y="33"/>
                      <a:pt x="33" y="33"/>
                      <a:pt x="33" y="33"/>
                    </a:cubicBezTo>
                    <a:cubicBezTo>
                      <a:pt x="33" y="33"/>
                      <a:pt x="33" y="33"/>
                      <a:pt x="33" y="33"/>
                    </a:cubicBezTo>
                    <a:cubicBezTo>
                      <a:pt x="33" y="33"/>
                      <a:pt x="33" y="33"/>
                      <a:pt x="34" y="32"/>
                    </a:cubicBezTo>
                    <a:cubicBezTo>
                      <a:pt x="33" y="32"/>
                      <a:pt x="33" y="32"/>
                      <a:pt x="33" y="32"/>
                    </a:cubicBezTo>
                    <a:cubicBezTo>
                      <a:pt x="33" y="32"/>
                      <a:pt x="33" y="32"/>
                      <a:pt x="33" y="32"/>
                    </a:cubicBezTo>
                    <a:cubicBezTo>
                      <a:pt x="33" y="32"/>
                      <a:pt x="33" y="32"/>
                      <a:pt x="32" y="31"/>
                    </a:cubicBezTo>
                    <a:cubicBezTo>
                      <a:pt x="32" y="32"/>
                      <a:pt x="32" y="32"/>
                      <a:pt x="32" y="32"/>
                    </a:cubicBezTo>
                    <a:cubicBezTo>
                      <a:pt x="32" y="31"/>
                      <a:pt x="32" y="31"/>
                      <a:pt x="32" y="31"/>
                    </a:cubicBezTo>
                    <a:cubicBezTo>
                      <a:pt x="31" y="31"/>
                      <a:pt x="31" y="31"/>
                      <a:pt x="31" y="31"/>
                    </a:cubicBezTo>
                    <a:cubicBezTo>
                      <a:pt x="31" y="31"/>
                      <a:pt x="31" y="31"/>
                      <a:pt x="31" y="31"/>
                    </a:cubicBezTo>
                    <a:cubicBezTo>
                      <a:pt x="31" y="31"/>
                      <a:pt x="31" y="31"/>
                      <a:pt x="31" y="31"/>
                    </a:cubicBezTo>
                    <a:cubicBezTo>
                      <a:pt x="31" y="30"/>
                      <a:pt x="31" y="30"/>
                      <a:pt x="31" y="30"/>
                    </a:cubicBezTo>
                    <a:cubicBezTo>
                      <a:pt x="31" y="30"/>
                      <a:pt x="31" y="30"/>
                      <a:pt x="31" y="30"/>
                    </a:cubicBezTo>
                    <a:cubicBezTo>
                      <a:pt x="31" y="30"/>
                      <a:pt x="31" y="30"/>
                      <a:pt x="31" y="30"/>
                    </a:cubicBezTo>
                    <a:cubicBezTo>
                      <a:pt x="31" y="29"/>
                      <a:pt x="31" y="29"/>
                      <a:pt x="31" y="29"/>
                    </a:cubicBezTo>
                    <a:cubicBezTo>
                      <a:pt x="31" y="29"/>
                      <a:pt x="31" y="29"/>
                      <a:pt x="31" y="29"/>
                    </a:cubicBezTo>
                    <a:cubicBezTo>
                      <a:pt x="31" y="29"/>
                      <a:pt x="31" y="29"/>
                      <a:pt x="31" y="29"/>
                    </a:cubicBezTo>
                    <a:cubicBezTo>
                      <a:pt x="31" y="29"/>
                      <a:pt x="31" y="29"/>
                      <a:pt x="31" y="29"/>
                    </a:cubicBezTo>
                    <a:cubicBezTo>
                      <a:pt x="31" y="28"/>
                      <a:pt x="31" y="28"/>
                      <a:pt x="31" y="28"/>
                    </a:cubicBezTo>
                    <a:cubicBezTo>
                      <a:pt x="31" y="28"/>
                      <a:pt x="31" y="28"/>
                      <a:pt x="31" y="28"/>
                    </a:cubicBezTo>
                    <a:cubicBezTo>
                      <a:pt x="31" y="28"/>
                      <a:pt x="31" y="28"/>
                      <a:pt x="31" y="27"/>
                    </a:cubicBezTo>
                    <a:cubicBezTo>
                      <a:pt x="30" y="27"/>
                      <a:pt x="30" y="27"/>
                      <a:pt x="30" y="27"/>
                    </a:cubicBezTo>
                    <a:cubicBezTo>
                      <a:pt x="30" y="27"/>
                      <a:pt x="30" y="27"/>
                      <a:pt x="30" y="27"/>
                    </a:cubicBezTo>
                    <a:cubicBezTo>
                      <a:pt x="29" y="28"/>
                      <a:pt x="29" y="27"/>
                      <a:pt x="28" y="27"/>
                    </a:cubicBezTo>
                    <a:close/>
                    <a:moveTo>
                      <a:pt x="31" y="60"/>
                    </a:moveTo>
                    <a:cubicBezTo>
                      <a:pt x="31" y="59"/>
                      <a:pt x="31" y="59"/>
                      <a:pt x="31" y="59"/>
                    </a:cubicBezTo>
                    <a:cubicBezTo>
                      <a:pt x="30" y="59"/>
                      <a:pt x="30" y="59"/>
                      <a:pt x="30" y="59"/>
                    </a:cubicBezTo>
                    <a:cubicBezTo>
                      <a:pt x="30" y="60"/>
                      <a:pt x="30" y="60"/>
                      <a:pt x="30" y="60"/>
                    </a:cubicBezTo>
                    <a:cubicBezTo>
                      <a:pt x="31" y="60"/>
                      <a:pt x="31" y="60"/>
                      <a:pt x="31" y="60"/>
                    </a:cubicBezTo>
                    <a:cubicBezTo>
                      <a:pt x="31" y="60"/>
                      <a:pt x="31" y="60"/>
                      <a:pt x="31" y="60"/>
                    </a:cubicBezTo>
                    <a:close/>
                    <a:moveTo>
                      <a:pt x="41" y="59"/>
                    </a:moveTo>
                    <a:cubicBezTo>
                      <a:pt x="41" y="59"/>
                      <a:pt x="41" y="59"/>
                      <a:pt x="41" y="59"/>
                    </a:cubicBezTo>
                    <a:cubicBezTo>
                      <a:pt x="41" y="59"/>
                      <a:pt x="41" y="59"/>
                      <a:pt x="41" y="59"/>
                    </a:cubicBezTo>
                    <a:cubicBezTo>
                      <a:pt x="41" y="59"/>
                      <a:pt x="41" y="59"/>
                      <a:pt x="41" y="59"/>
                    </a:cubicBezTo>
                    <a:close/>
                    <a:moveTo>
                      <a:pt x="44" y="59"/>
                    </a:moveTo>
                    <a:cubicBezTo>
                      <a:pt x="44" y="59"/>
                      <a:pt x="44" y="59"/>
                      <a:pt x="44" y="59"/>
                    </a:cubicBezTo>
                    <a:cubicBezTo>
                      <a:pt x="44" y="59"/>
                      <a:pt x="44" y="59"/>
                      <a:pt x="44" y="59"/>
                    </a:cubicBezTo>
                    <a:cubicBezTo>
                      <a:pt x="44" y="59"/>
                      <a:pt x="44" y="59"/>
                      <a:pt x="44" y="59"/>
                    </a:cubicBezTo>
                    <a:close/>
                    <a:moveTo>
                      <a:pt x="38" y="54"/>
                    </a:moveTo>
                    <a:cubicBezTo>
                      <a:pt x="38" y="55"/>
                      <a:pt x="38" y="55"/>
                      <a:pt x="38" y="55"/>
                    </a:cubicBezTo>
                    <a:cubicBezTo>
                      <a:pt x="38" y="55"/>
                      <a:pt x="38" y="55"/>
                      <a:pt x="38" y="55"/>
                    </a:cubicBezTo>
                    <a:cubicBezTo>
                      <a:pt x="38" y="55"/>
                      <a:pt x="38" y="55"/>
                      <a:pt x="38" y="55"/>
                    </a:cubicBezTo>
                    <a:lnTo>
                      <a:pt x="38" y="54"/>
                    </a:lnTo>
                    <a:close/>
                    <a:moveTo>
                      <a:pt x="27" y="56"/>
                    </a:moveTo>
                    <a:cubicBezTo>
                      <a:pt x="27" y="56"/>
                      <a:pt x="27" y="56"/>
                      <a:pt x="27" y="56"/>
                    </a:cubicBezTo>
                    <a:cubicBezTo>
                      <a:pt x="27" y="56"/>
                      <a:pt x="27" y="56"/>
                      <a:pt x="27" y="56"/>
                    </a:cubicBezTo>
                    <a:cubicBezTo>
                      <a:pt x="28" y="56"/>
                      <a:pt x="28" y="56"/>
                      <a:pt x="28" y="56"/>
                    </a:cubicBezTo>
                    <a:cubicBezTo>
                      <a:pt x="28" y="56"/>
                      <a:pt x="28" y="56"/>
                      <a:pt x="28" y="56"/>
                    </a:cubicBezTo>
                    <a:cubicBezTo>
                      <a:pt x="28" y="56"/>
                      <a:pt x="28" y="56"/>
                      <a:pt x="28" y="56"/>
                    </a:cubicBezTo>
                    <a:cubicBezTo>
                      <a:pt x="29" y="56"/>
                      <a:pt x="29" y="56"/>
                      <a:pt x="29" y="56"/>
                    </a:cubicBezTo>
                    <a:cubicBezTo>
                      <a:pt x="29" y="56"/>
                      <a:pt x="29" y="57"/>
                      <a:pt x="30" y="56"/>
                    </a:cubicBezTo>
                    <a:cubicBezTo>
                      <a:pt x="30" y="57"/>
                      <a:pt x="31" y="57"/>
                      <a:pt x="31" y="57"/>
                    </a:cubicBezTo>
                    <a:cubicBezTo>
                      <a:pt x="32" y="57"/>
                      <a:pt x="32" y="57"/>
                      <a:pt x="33" y="57"/>
                    </a:cubicBezTo>
                    <a:cubicBezTo>
                      <a:pt x="33" y="57"/>
                      <a:pt x="33" y="57"/>
                      <a:pt x="33" y="57"/>
                    </a:cubicBezTo>
                    <a:cubicBezTo>
                      <a:pt x="33" y="57"/>
                      <a:pt x="33" y="57"/>
                      <a:pt x="33" y="57"/>
                    </a:cubicBezTo>
                    <a:cubicBezTo>
                      <a:pt x="33" y="57"/>
                      <a:pt x="33" y="57"/>
                      <a:pt x="34" y="57"/>
                    </a:cubicBezTo>
                    <a:cubicBezTo>
                      <a:pt x="34" y="57"/>
                      <a:pt x="34" y="58"/>
                      <a:pt x="35" y="58"/>
                    </a:cubicBezTo>
                    <a:cubicBezTo>
                      <a:pt x="35" y="58"/>
                      <a:pt x="35" y="58"/>
                      <a:pt x="35" y="58"/>
                    </a:cubicBezTo>
                    <a:cubicBezTo>
                      <a:pt x="35" y="58"/>
                      <a:pt x="35" y="58"/>
                      <a:pt x="35" y="59"/>
                    </a:cubicBezTo>
                    <a:cubicBezTo>
                      <a:pt x="35" y="59"/>
                      <a:pt x="35" y="59"/>
                      <a:pt x="35" y="59"/>
                    </a:cubicBezTo>
                    <a:cubicBezTo>
                      <a:pt x="35" y="59"/>
                      <a:pt x="36" y="59"/>
                      <a:pt x="37" y="59"/>
                    </a:cubicBezTo>
                    <a:cubicBezTo>
                      <a:pt x="37" y="59"/>
                      <a:pt x="37" y="59"/>
                      <a:pt x="37" y="59"/>
                    </a:cubicBezTo>
                    <a:cubicBezTo>
                      <a:pt x="37" y="59"/>
                      <a:pt x="37" y="59"/>
                      <a:pt x="37" y="59"/>
                    </a:cubicBezTo>
                    <a:cubicBezTo>
                      <a:pt x="38" y="59"/>
                      <a:pt x="38" y="59"/>
                      <a:pt x="38" y="59"/>
                    </a:cubicBezTo>
                    <a:cubicBezTo>
                      <a:pt x="38" y="59"/>
                      <a:pt x="38" y="59"/>
                      <a:pt x="38" y="59"/>
                    </a:cubicBezTo>
                    <a:cubicBezTo>
                      <a:pt x="39" y="58"/>
                      <a:pt x="39" y="58"/>
                      <a:pt x="40" y="58"/>
                    </a:cubicBezTo>
                    <a:cubicBezTo>
                      <a:pt x="41" y="58"/>
                      <a:pt x="42" y="58"/>
                      <a:pt x="43" y="58"/>
                    </a:cubicBezTo>
                    <a:cubicBezTo>
                      <a:pt x="43" y="58"/>
                      <a:pt x="43" y="58"/>
                      <a:pt x="43" y="58"/>
                    </a:cubicBezTo>
                    <a:cubicBezTo>
                      <a:pt x="43" y="58"/>
                      <a:pt x="43" y="58"/>
                      <a:pt x="43" y="58"/>
                    </a:cubicBezTo>
                    <a:cubicBezTo>
                      <a:pt x="43" y="58"/>
                      <a:pt x="43" y="58"/>
                      <a:pt x="43" y="58"/>
                    </a:cubicBezTo>
                    <a:cubicBezTo>
                      <a:pt x="44" y="58"/>
                      <a:pt x="44" y="58"/>
                      <a:pt x="44" y="58"/>
                    </a:cubicBezTo>
                    <a:cubicBezTo>
                      <a:pt x="44" y="58"/>
                      <a:pt x="44" y="58"/>
                      <a:pt x="45" y="58"/>
                    </a:cubicBezTo>
                    <a:cubicBezTo>
                      <a:pt x="45" y="57"/>
                      <a:pt x="45" y="57"/>
                      <a:pt x="45" y="57"/>
                    </a:cubicBezTo>
                    <a:cubicBezTo>
                      <a:pt x="45" y="57"/>
                      <a:pt x="45" y="57"/>
                      <a:pt x="45" y="57"/>
                    </a:cubicBezTo>
                    <a:cubicBezTo>
                      <a:pt x="45" y="57"/>
                      <a:pt x="45" y="57"/>
                      <a:pt x="45" y="57"/>
                    </a:cubicBezTo>
                    <a:cubicBezTo>
                      <a:pt x="45" y="57"/>
                      <a:pt x="45" y="57"/>
                      <a:pt x="45" y="57"/>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4" y="56"/>
                      <a:pt x="44" y="56"/>
                      <a:pt x="44" y="56"/>
                    </a:cubicBezTo>
                    <a:cubicBezTo>
                      <a:pt x="44" y="56"/>
                      <a:pt x="44" y="56"/>
                      <a:pt x="44" y="56"/>
                    </a:cubicBezTo>
                    <a:cubicBezTo>
                      <a:pt x="44" y="57"/>
                      <a:pt x="44" y="57"/>
                      <a:pt x="44" y="57"/>
                    </a:cubicBezTo>
                    <a:cubicBezTo>
                      <a:pt x="44" y="56"/>
                      <a:pt x="44" y="56"/>
                      <a:pt x="44" y="56"/>
                    </a:cubicBezTo>
                    <a:cubicBezTo>
                      <a:pt x="44" y="56"/>
                      <a:pt x="44" y="56"/>
                      <a:pt x="44" y="56"/>
                    </a:cubicBezTo>
                    <a:cubicBezTo>
                      <a:pt x="43" y="56"/>
                      <a:pt x="43" y="56"/>
                      <a:pt x="43" y="57"/>
                    </a:cubicBezTo>
                    <a:cubicBezTo>
                      <a:pt x="42" y="57"/>
                      <a:pt x="42" y="57"/>
                      <a:pt x="42" y="57"/>
                    </a:cubicBezTo>
                    <a:cubicBezTo>
                      <a:pt x="42" y="57"/>
                      <a:pt x="42" y="57"/>
                      <a:pt x="42" y="57"/>
                    </a:cubicBezTo>
                    <a:cubicBezTo>
                      <a:pt x="42" y="57"/>
                      <a:pt x="42" y="57"/>
                      <a:pt x="42" y="57"/>
                    </a:cubicBezTo>
                    <a:cubicBezTo>
                      <a:pt x="42" y="57"/>
                      <a:pt x="42" y="57"/>
                      <a:pt x="41" y="57"/>
                    </a:cubicBezTo>
                    <a:cubicBezTo>
                      <a:pt x="41" y="57"/>
                      <a:pt x="41" y="56"/>
                      <a:pt x="41" y="56"/>
                    </a:cubicBezTo>
                    <a:cubicBezTo>
                      <a:pt x="41" y="56"/>
                      <a:pt x="41" y="56"/>
                      <a:pt x="41" y="56"/>
                    </a:cubicBezTo>
                    <a:cubicBezTo>
                      <a:pt x="41" y="56"/>
                      <a:pt x="41" y="56"/>
                      <a:pt x="41" y="56"/>
                    </a:cubicBezTo>
                    <a:cubicBezTo>
                      <a:pt x="41" y="56"/>
                      <a:pt x="41" y="56"/>
                      <a:pt x="41" y="56"/>
                    </a:cubicBezTo>
                    <a:cubicBezTo>
                      <a:pt x="41" y="56"/>
                      <a:pt x="41" y="56"/>
                      <a:pt x="41" y="55"/>
                    </a:cubicBezTo>
                    <a:cubicBezTo>
                      <a:pt x="41" y="56"/>
                      <a:pt x="41" y="55"/>
                      <a:pt x="40" y="56"/>
                    </a:cubicBezTo>
                    <a:cubicBezTo>
                      <a:pt x="40" y="56"/>
                      <a:pt x="40" y="56"/>
                      <a:pt x="39" y="56"/>
                    </a:cubicBezTo>
                    <a:cubicBezTo>
                      <a:pt x="39" y="55"/>
                      <a:pt x="39" y="55"/>
                      <a:pt x="39" y="55"/>
                    </a:cubicBezTo>
                    <a:cubicBezTo>
                      <a:pt x="39" y="56"/>
                      <a:pt x="38" y="55"/>
                      <a:pt x="38" y="55"/>
                    </a:cubicBezTo>
                    <a:cubicBezTo>
                      <a:pt x="38" y="55"/>
                      <a:pt x="37" y="55"/>
                      <a:pt x="37" y="55"/>
                    </a:cubicBezTo>
                    <a:cubicBezTo>
                      <a:pt x="37" y="55"/>
                      <a:pt x="37" y="55"/>
                      <a:pt x="36" y="55"/>
                    </a:cubicBezTo>
                    <a:cubicBezTo>
                      <a:pt x="36" y="55"/>
                      <a:pt x="36" y="55"/>
                      <a:pt x="36" y="55"/>
                    </a:cubicBezTo>
                    <a:cubicBezTo>
                      <a:pt x="36" y="55"/>
                      <a:pt x="36" y="55"/>
                      <a:pt x="36" y="55"/>
                    </a:cubicBezTo>
                    <a:cubicBezTo>
                      <a:pt x="35" y="55"/>
                      <a:pt x="35" y="55"/>
                      <a:pt x="35" y="55"/>
                    </a:cubicBezTo>
                    <a:cubicBezTo>
                      <a:pt x="34" y="55"/>
                      <a:pt x="34" y="55"/>
                      <a:pt x="33" y="55"/>
                    </a:cubicBezTo>
                    <a:cubicBezTo>
                      <a:pt x="33" y="55"/>
                      <a:pt x="33" y="55"/>
                      <a:pt x="33" y="55"/>
                    </a:cubicBezTo>
                    <a:cubicBezTo>
                      <a:pt x="32" y="55"/>
                      <a:pt x="32" y="55"/>
                      <a:pt x="32" y="55"/>
                    </a:cubicBezTo>
                    <a:cubicBezTo>
                      <a:pt x="32" y="55"/>
                      <a:pt x="32" y="55"/>
                      <a:pt x="32" y="55"/>
                    </a:cubicBezTo>
                    <a:cubicBezTo>
                      <a:pt x="32" y="55"/>
                      <a:pt x="32" y="55"/>
                      <a:pt x="32" y="54"/>
                    </a:cubicBezTo>
                    <a:cubicBezTo>
                      <a:pt x="31" y="55"/>
                      <a:pt x="31" y="55"/>
                      <a:pt x="31" y="55"/>
                    </a:cubicBezTo>
                    <a:cubicBezTo>
                      <a:pt x="30" y="54"/>
                      <a:pt x="30" y="54"/>
                      <a:pt x="30" y="54"/>
                    </a:cubicBezTo>
                    <a:cubicBezTo>
                      <a:pt x="31" y="54"/>
                      <a:pt x="31" y="54"/>
                      <a:pt x="31" y="54"/>
                    </a:cubicBezTo>
                    <a:cubicBezTo>
                      <a:pt x="31" y="54"/>
                      <a:pt x="31" y="54"/>
                      <a:pt x="31" y="54"/>
                    </a:cubicBezTo>
                    <a:cubicBezTo>
                      <a:pt x="31" y="53"/>
                      <a:pt x="31" y="53"/>
                      <a:pt x="31" y="53"/>
                    </a:cubicBezTo>
                    <a:cubicBezTo>
                      <a:pt x="31" y="53"/>
                      <a:pt x="31" y="53"/>
                      <a:pt x="31" y="53"/>
                    </a:cubicBezTo>
                    <a:cubicBezTo>
                      <a:pt x="31" y="53"/>
                      <a:pt x="31" y="53"/>
                      <a:pt x="31" y="53"/>
                    </a:cubicBezTo>
                    <a:cubicBezTo>
                      <a:pt x="30" y="53"/>
                      <a:pt x="30" y="53"/>
                      <a:pt x="30" y="53"/>
                    </a:cubicBezTo>
                    <a:cubicBezTo>
                      <a:pt x="31" y="54"/>
                      <a:pt x="31" y="54"/>
                      <a:pt x="31" y="54"/>
                    </a:cubicBezTo>
                    <a:cubicBezTo>
                      <a:pt x="30" y="54"/>
                      <a:pt x="30" y="54"/>
                      <a:pt x="30" y="54"/>
                    </a:cubicBezTo>
                    <a:cubicBezTo>
                      <a:pt x="30" y="54"/>
                      <a:pt x="29" y="54"/>
                      <a:pt x="29" y="54"/>
                    </a:cubicBezTo>
                    <a:cubicBezTo>
                      <a:pt x="29" y="54"/>
                      <a:pt x="29" y="54"/>
                      <a:pt x="29" y="54"/>
                    </a:cubicBezTo>
                    <a:cubicBezTo>
                      <a:pt x="28" y="53"/>
                      <a:pt x="28" y="53"/>
                      <a:pt x="28" y="53"/>
                    </a:cubicBezTo>
                    <a:cubicBezTo>
                      <a:pt x="29" y="53"/>
                      <a:pt x="29" y="53"/>
                      <a:pt x="29" y="53"/>
                    </a:cubicBezTo>
                    <a:cubicBezTo>
                      <a:pt x="28" y="53"/>
                      <a:pt x="28" y="53"/>
                      <a:pt x="28" y="53"/>
                    </a:cubicBezTo>
                    <a:cubicBezTo>
                      <a:pt x="28" y="53"/>
                      <a:pt x="28" y="53"/>
                      <a:pt x="28" y="53"/>
                    </a:cubicBezTo>
                    <a:cubicBezTo>
                      <a:pt x="28" y="53"/>
                      <a:pt x="28" y="53"/>
                      <a:pt x="28" y="53"/>
                    </a:cubicBezTo>
                    <a:cubicBezTo>
                      <a:pt x="28" y="53"/>
                      <a:pt x="28" y="53"/>
                      <a:pt x="28" y="53"/>
                    </a:cubicBezTo>
                    <a:cubicBezTo>
                      <a:pt x="28" y="54"/>
                      <a:pt x="28" y="54"/>
                      <a:pt x="28" y="54"/>
                    </a:cubicBezTo>
                    <a:cubicBezTo>
                      <a:pt x="28" y="54"/>
                      <a:pt x="28" y="54"/>
                      <a:pt x="28" y="54"/>
                    </a:cubicBezTo>
                    <a:cubicBezTo>
                      <a:pt x="28" y="54"/>
                      <a:pt x="28" y="54"/>
                      <a:pt x="28" y="54"/>
                    </a:cubicBezTo>
                    <a:cubicBezTo>
                      <a:pt x="28" y="54"/>
                      <a:pt x="28" y="54"/>
                      <a:pt x="28" y="54"/>
                    </a:cubicBezTo>
                    <a:cubicBezTo>
                      <a:pt x="27" y="54"/>
                      <a:pt x="27" y="54"/>
                      <a:pt x="27" y="54"/>
                    </a:cubicBezTo>
                    <a:cubicBezTo>
                      <a:pt x="27" y="54"/>
                      <a:pt x="27" y="53"/>
                      <a:pt x="27" y="53"/>
                    </a:cubicBezTo>
                    <a:cubicBezTo>
                      <a:pt x="27" y="53"/>
                      <a:pt x="27" y="54"/>
                      <a:pt x="27" y="54"/>
                    </a:cubicBezTo>
                    <a:cubicBezTo>
                      <a:pt x="27" y="54"/>
                      <a:pt x="27" y="54"/>
                      <a:pt x="27" y="54"/>
                    </a:cubicBezTo>
                    <a:cubicBezTo>
                      <a:pt x="27" y="55"/>
                      <a:pt x="27" y="55"/>
                      <a:pt x="27" y="55"/>
                    </a:cubicBezTo>
                    <a:cubicBezTo>
                      <a:pt x="27" y="55"/>
                      <a:pt x="27" y="55"/>
                      <a:pt x="27" y="55"/>
                    </a:cubicBezTo>
                    <a:cubicBezTo>
                      <a:pt x="27" y="55"/>
                      <a:pt x="27" y="55"/>
                      <a:pt x="27" y="55"/>
                    </a:cubicBezTo>
                    <a:cubicBezTo>
                      <a:pt x="27" y="56"/>
                      <a:pt x="27" y="56"/>
                      <a:pt x="27" y="56"/>
                    </a:cubicBezTo>
                    <a:cubicBezTo>
                      <a:pt x="27" y="56"/>
                      <a:pt x="27" y="56"/>
                      <a:pt x="27" y="56"/>
                    </a:cubicBezTo>
                    <a:close/>
                    <a:moveTo>
                      <a:pt x="7" y="34"/>
                    </a:moveTo>
                    <a:cubicBezTo>
                      <a:pt x="7" y="34"/>
                      <a:pt x="8" y="36"/>
                      <a:pt x="8" y="36"/>
                    </a:cubicBezTo>
                    <a:cubicBezTo>
                      <a:pt x="9" y="36"/>
                      <a:pt x="9" y="36"/>
                      <a:pt x="9" y="35"/>
                    </a:cubicBezTo>
                    <a:cubicBezTo>
                      <a:pt x="9" y="35"/>
                      <a:pt x="9" y="36"/>
                      <a:pt x="10" y="36"/>
                    </a:cubicBezTo>
                    <a:cubicBezTo>
                      <a:pt x="10" y="35"/>
                      <a:pt x="10" y="35"/>
                      <a:pt x="10" y="35"/>
                    </a:cubicBezTo>
                    <a:cubicBezTo>
                      <a:pt x="9" y="35"/>
                      <a:pt x="8" y="35"/>
                      <a:pt x="8" y="34"/>
                    </a:cubicBezTo>
                    <a:cubicBezTo>
                      <a:pt x="8" y="34"/>
                      <a:pt x="7" y="34"/>
                      <a:pt x="7" y="34"/>
                    </a:cubicBezTo>
                    <a:close/>
                    <a:moveTo>
                      <a:pt x="6" y="32"/>
                    </a:moveTo>
                    <a:cubicBezTo>
                      <a:pt x="6" y="33"/>
                      <a:pt x="7" y="32"/>
                      <a:pt x="7" y="32"/>
                    </a:cubicBezTo>
                    <a:cubicBezTo>
                      <a:pt x="8" y="32"/>
                      <a:pt x="8" y="33"/>
                      <a:pt x="8" y="32"/>
                    </a:cubicBezTo>
                    <a:cubicBezTo>
                      <a:pt x="8" y="31"/>
                      <a:pt x="8" y="31"/>
                      <a:pt x="7" y="31"/>
                    </a:cubicBezTo>
                    <a:cubicBezTo>
                      <a:pt x="7" y="31"/>
                      <a:pt x="7" y="30"/>
                      <a:pt x="7" y="30"/>
                    </a:cubicBezTo>
                    <a:cubicBezTo>
                      <a:pt x="8" y="30"/>
                      <a:pt x="8" y="30"/>
                      <a:pt x="8" y="30"/>
                    </a:cubicBezTo>
                    <a:cubicBezTo>
                      <a:pt x="8" y="30"/>
                      <a:pt x="8" y="29"/>
                      <a:pt x="7" y="29"/>
                    </a:cubicBezTo>
                    <a:cubicBezTo>
                      <a:pt x="7" y="29"/>
                      <a:pt x="7" y="30"/>
                      <a:pt x="7" y="30"/>
                    </a:cubicBezTo>
                    <a:cubicBezTo>
                      <a:pt x="6" y="30"/>
                      <a:pt x="6" y="30"/>
                      <a:pt x="6" y="30"/>
                    </a:cubicBezTo>
                    <a:cubicBezTo>
                      <a:pt x="6" y="30"/>
                      <a:pt x="6" y="30"/>
                      <a:pt x="6" y="30"/>
                    </a:cubicBezTo>
                    <a:cubicBezTo>
                      <a:pt x="5" y="30"/>
                      <a:pt x="5" y="31"/>
                      <a:pt x="5" y="31"/>
                    </a:cubicBezTo>
                    <a:cubicBezTo>
                      <a:pt x="5" y="31"/>
                      <a:pt x="5" y="31"/>
                      <a:pt x="5" y="32"/>
                    </a:cubicBezTo>
                    <a:cubicBezTo>
                      <a:pt x="6" y="32"/>
                      <a:pt x="6" y="32"/>
                      <a:pt x="6" y="32"/>
                    </a:cubicBezTo>
                    <a:cubicBezTo>
                      <a:pt x="6" y="32"/>
                      <a:pt x="6" y="32"/>
                      <a:pt x="6" y="32"/>
                    </a:cubicBezTo>
                    <a:close/>
                    <a:moveTo>
                      <a:pt x="7" y="27"/>
                    </a:moveTo>
                    <a:cubicBezTo>
                      <a:pt x="7" y="28"/>
                      <a:pt x="6" y="28"/>
                      <a:pt x="7" y="28"/>
                    </a:cubicBezTo>
                    <a:cubicBezTo>
                      <a:pt x="7" y="28"/>
                      <a:pt x="7" y="28"/>
                      <a:pt x="8" y="28"/>
                    </a:cubicBezTo>
                    <a:cubicBezTo>
                      <a:pt x="8" y="28"/>
                      <a:pt x="8" y="28"/>
                      <a:pt x="8" y="28"/>
                    </a:cubicBezTo>
                    <a:cubicBezTo>
                      <a:pt x="9" y="28"/>
                      <a:pt x="8" y="27"/>
                      <a:pt x="8" y="27"/>
                    </a:cubicBezTo>
                    <a:cubicBezTo>
                      <a:pt x="8" y="27"/>
                      <a:pt x="8" y="26"/>
                      <a:pt x="7" y="26"/>
                    </a:cubicBezTo>
                    <a:cubicBezTo>
                      <a:pt x="7" y="26"/>
                      <a:pt x="7" y="27"/>
                      <a:pt x="7" y="27"/>
                    </a:cubicBezTo>
                    <a:cubicBezTo>
                      <a:pt x="7" y="27"/>
                      <a:pt x="7" y="27"/>
                      <a:pt x="7" y="27"/>
                    </a:cubicBezTo>
                    <a:close/>
                    <a:moveTo>
                      <a:pt x="2" y="17"/>
                    </a:moveTo>
                    <a:cubicBezTo>
                      <a:pt x="1" y="18"/>
                      <a:pt x="0" y="17"/>
                      <a:pt x="1" y="18"/>
                    </a:cubicBezTo>
                    <a:cubicBezTo>
                      <a:pt x="1" y="19"/>
                      <a:pt x="2" y="19"/>
                      <a:pt x="2" y="19"/>
                    </a:cubicBezTo>
                    <a:cubicBezTo>
                      <a:pt x="2" y="20"/>
                      <a:pt x="2" y="20"/>
                      <a:pt x="2" y="21"/>
                    </a:cubicBezTo>
                    <a:cubicBezTo>
                      <a:pt x="3" y="21"/>
                      <a:pt x="4" y="21"/>
                      <a:pt x="4" y="21"/>
                    </a:cubicBezTo>
                    <a:cubicBezTo>
                      <a:pt x="4" y="21"/>
                      <a:pt x="3" y="20"/>
                      <a:pt x="3" y="20"/>
                    </a:cubicBezTo>
                    <a:cubicBezTo>
                      <a:pt x="3" y="20"/>
                      <a:pt x="2" y="19"/>
                      <a:pt x="2" y="19"/>
                    </a:cubicBezTo>
                    <a:cubicBezTo>
                      <a:pt x="2" y="18"/>
                      <a:pt x="2" y="18"/>
                      <a:pt x="2" y="18"/>
                    </a:cubicBezTo>
                    <a:cubicBezTo>
                      <a:pt x="3" y="17"/>
                      <a:pt x="2" y="18"/>
                      <a:pt x="2" y="17"/>
                    </a:cubicBezTo>
                    <a:cubicBezTo>
                      <a:pt x="1" y="18"/>
                      <a:pt x="2" y="17"/>
                      <a:pt x="2" y="17"/>
                    </a:cubicBezTo>
                    <a:close/>
                    <a:moveTo>
                      <a:pt x="34" y="9"/>
                    </a:moveTo>
                    <a:cubicBezTo>
                      <a:pt x="34" y="9"/>
                      <a:pt x="33" y="9"/>
                      <a:pt x="33" y="10"/>
                    </a:cubicBezTo>
                    <a:cubicBezTo>
                      <a:pt x="33" y="10"/>
                      <a:pt x="34" y="10"/>
                      <a:pt x="34" y="10"/>
                    </a:cubicBezTo>
                    <a:cubicBezTo>
                      <a:pt x="34" y="11"/>
                      <a:pt x="35" y="11"/>
                      <a:pt x="35" y="10"/>
                    </a:cubicBezTo>
                    <a:cubicBezTo>
                      <a:pt x="36" y="10"/>
                      <a:pt x="35" y="9"/>
                      <a:pt x="34" y="9"/>
                    </a:cubicBezTo>
                    <a:cubicBezTo>
                      <a:pt x="34" y="9"/>
                      <a:pt x="34" y="9"/>
                      <a:pt x="34" y="9"/>
                    </a:cubicBezTo>
                    <a:cubicBezTo>
                      <a:pt x="34" y="9"/>
                      <a:pt x="34" y="9"/>
                      <a:pt x="34" y="9"/>
                    </a:cubicBezTo>
                    <a:close/>
                    <a:moveTo>
                      <a:pt x="40" y="11"/>
                    </a:moveTo>
                    <a:cubicBezTo>
                      <a:pt x="40" y="11"/>
                      <a:pt x="40" y="11"/>
                      <a:pt x="40" y="11"/>
                    </a:cubicBezTo>
                    <a:cubicBezTo>
                      <a:pt x="39" y="12"/>
                      <a:pt x="41" y="12"/>
                      <a:pt x="41" y="12"/>
                    </a:cubicBezTo>
                    <a:cubicBezTo>
                      <a:pt x="42" y="12"/>
                      <a:pt x="41" y="11"/>
                      <a:pt x="40" y="11"/>
                    </a:cubicBezTo>
                    <a:cubicBezTo>
                      <a:pt x="40" y="11"/>
                      <a:pt x="41" y="11"/>
                      <a:pt x="40" y="11"/>
                    </a:cubicBezTo>
                    <a:close/>
                    <a:moveTo>
                      <a:pt x="22" y="47"/>
                    </a:moveTo>
                    <a:cubicBezTo>
                      <a:pt x="22" y="48"/>
                      <a:pt x="23" y="48"/>
                      <a:pt x="23" y="48"/>
                    </a:cubicBezTo>
                    <a:cubicBezTo>
                      <a:pt x="23" y="49"/>
                      <a:pt x="23" y="49"/>
                      <a:pt x="24" y="49"/>
                    </a:cubicBezTo>
                    <a:cubicBezTo>
                      <a:pt x="24" y="48"/>
                      <a:pt x="24" y="48"/>
                      <a:pt x="24" y="48"/>
                    </a:cubicBezTo>
                    <a:cubicBezTo>
                      <a:pt x="24" y="47"/>
                      <a:pt x="23" y="47"/>
                      <a:pt x="23" y="47"/>
                    </a:cubicBezTo>
                    <a:cubicBezTo>
                      <a:pt x="23" y="47"/>
                      <a:pt x="23" y="47"/>
                      <a:pt x="22"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5" name="Freeform 810">
                <a:extLst>
                  <a:ext uri="{FF2B5EF4-FFF2-40B4-BE49-F238E27FC236}">
                    <a16:creationId xmlns:a16="http://schemas.microsoft.com/office/drawing/2014/main" id="{FBB74715-1F3C-20C3-3963-6081252A6B91}"/>
                  </a:ext>
                </a:extLst>
              </p:cNvPr>
              <p:cNvSpPr>
                <a:spLocks noEditPoints="1"/>
              </p:cNvSpPr>
              <p:nvPr/>
            </p:nvSpPr>
            <p:spPr bwMode="auto">
              <a:xfrm>
                <a:off x="5541963" y="3030538"/>
                <a:ext cx="261937" cy="341313"/>
              </a:xfrm>
              <a:custGeom>
                <a:avLst/>
                <a:gdLst>
                  <a:gd name="T0" fmla="*/ 51 w 63"/>
                  <a:gd name="T1" fmla="*/ 7 h 82"/>
                  <a:gd name="T2" fmla="*/ 50 w 63"/>
                  <a:gd name="T3" fmla="*/ 5 h 82"/>
                  <a:gd name="T4" fmla="*/ 51 w 63"/>
                  <a:gd name="T5" fmla="*/ 3 h 82"/>
                  <a:gd name="T6" fmla="*/ 53 w 63"/>
                  <a:gd name="T7" fmla="*/ 5 h 82"/>
                  <a:gd name="T8" fmla="*/ 45 w 63"/>
                  <a:gd name="T9" fmla="*/ 6 h 82"/>
                  <a:gd name="T10" fmla="*/ 55 w 63"/>
                  <a:gd name="T11" fmla="*/ 11 h 82"/>
                  <a:gd name="T12" fmla="*/ 57 w 63"/>
                  <a:gd name="T13" fmla="*/ 11 h 82"/>
                  <a:gd name="T14" fmla="*/ 18 w 63"/>
                  <a:gd name="T15" fmla="*/ 78 h 82"/>
                  <a:gd name="T16" fmla="*/ 29 w 63"/>
                  <a:gd name="T17" fmla="*/ 81 h 82"/>
                  <a:gd name="T18" fmla="*/ 33 w 63"/>
                  <a:gd name="T19" fmla="*/ 79 h 82"/>
                  <a:gd name="T20" fmla="*/ 43 w 63"/>
                  <a:gd name="T21" fmla="*/ 79 h 82"/>
                  <a:gd name="T22" fmla="*/ 49 w 63"/>
                  <a:gd name="T23" fmla="*/ 78 h 82"/>
                  <a:gd name="T24" fmla="*/ 53 w 63"/>
                  <a:gd name="T25" fmla="*/ 69 h 82"/>
                  <a:gd name="T26" fmla="*/ 50 w 63"/>
                  <a:gd name="T27" fmla="*/ 64 h 82"/>
                  <a:gd name="T28" fmla="*/ 45 w 63"/>
                  <a:gd name="T29" fmla="*/ 57 h 82"/>
                  <a:gd name="T30" fmla="*/ 44 w 63"/>
                  <a:gd name="T31" fmla="*/ 52 h 82"/>
                  <a:gd name="T32" fmla="*/ 52 w 63"/>
                  <a:gd name="T33" fmla="*/ 47 h 82"/>
                  <a:gd name="T34" fmla="*/ 60 w 63"/>
                  <a:gd name="T35" fmla="*/ 44 h 82"/>
                  <a:gd name="T36" fmla="*/ 60 w 63"/>
                  <a:gd name="T37" fmla="*/ 36 h 82"/>
                  <a:gd name="T38" fmla="*/ 60 w 63"/>
                  <a:gd name="T39" fmla="*/ 30 h 82"/>
                  <a:gd name="T40" fmla="*/ 58 w 63"/>
                  <a:gd name="T41" fmla="*/ 19 h 82"/>
                  <a:gd name="T42" fmla="*/ 54 w 63"/>
                  <a:gd name="T43" fmla="*/ 11 h 82"/>
                  <a:gd name="T44" fmla="*/ 51 w 63"/>
                  <a:gd name="T45" fmla="*/ 8 h 82"/>
                  <a:gd name="T46" fmla="*/ 48 w 63"/>
                  <a:gd name="T47" fmla="*/ 6 h 82"/>
                  <a:gd name="T48" fmla="*/ 44 w 63"/>
                  <a:gd name="T49" fmla="*/ 7 h 82"/>
                  <a:gd name="T50" fmla="*/ 39 w 63"/>
                  <a:gd name="T51" fmla="*/ 10 h 82"/>
                  <a:gd name="T52" fmla="*/ 37 w 63"/>
                  <a:gd name="T53" fmla="*/ 11 h 82"/>
                  <a:gd name="T54" fmla="*/ 34 w 63"/>
                  <a:gd name="T55" fmla="*/ 10 h 82"/>
                  <a:gd name="T56" fmla="*/ 36 w 63"/>
                  <a:gd name="T57" fmla="*/ 4 h 82"/>
                  <a:gd name="T58" fmla="*/ 35 w 63"/>
                  <a:gd name="T59" fmla="*/ 6 h 82"/>
                  <a:gd name="T60" fmla="*/ 30 w 63"/>
                  <a:gd name="T61" fmla="*/ 7 h 82"/>
                  <a:gd name="T62" fmla="*/ 28 w 63"/>
                  <a:gd name="T63" fmla="*/ 2 h 82"/>
                  <a:gd name="T64" fmla="*/ 26 w 63"/>
                  <a:gd name="T65" fmla="*/ 1 h 82"/>
                  <a:gd name="T66" fmla="*/ 20 w 63"/>
                  <a:gd name="T67" fmla="*/ 2 h 82"/>
                  <a:gd name="T68" fmla="*/ 20 w 63"/>
                  <a:gd name="T69" fmla="*/ 6 h 82"/>
                  <a:gd name="T70" fmla="*/ 22 w 63"/>
                  <a:gd name="T71" fmla="*/ 9 h 82"/>
                  <a:gd name="T72" fmla="*/ 23 w 63"/>
                  <a:gd name="T73" fmla="*/ 12 h 82"/>
                  <a:gd name="T74" fmla="*/ 27 w 63"/>
                  <a:gd name="T75" fmla="*/ 16 h 82"/>
                  <a:gd name="T76" fmla="*/ 19 w 63"/>
                  <a:gd name="T77" fmla="*/ 13 h 82"/>
                  <a:gd name="T78" fmla="*/ 17 w 63"/>
                  <a:gd name="T79" fmla="*/ 15 h 82"/>
                  <a:gd name="T80" fmla="*/ 15 w 63"/>
                  <a:gd name="T81" fmla="*/ 14 h 82"/>
                  <a:gd name="T82" fmla="*/ 9 w 63"/>
                  <a:gd name="T83" fmla="*/ 16 h 82"/>
                  <a:gd name="T84" fmla="*/ 10 w 63"/>
                  <a:gd name="T85" fmla="*/ 19 h 82"/>
                  <a:gd name="T86" fmla="*/ 7 w 63"/>
                  <a:gd name="T87" fmla="*/ 26 h 82"/>
                  <a:gd name="T88" fmla="*/ 6 w 63"/>
                  <a:gd name="T89" fmla="*/ 32 h 82"/>
                  <a:gd name="T90" fmla="*/ 2 w 63"/>
                  <a:gd name="T91" fmla="*/ 37 h 82"/>
                  <a:gd name="T92" fmla="*/ 2 w 63"/>
                  <a:gd name="T93" fmla="*/ 43 h 82"/>
                  <a:gd name="T94" fmla="*/ 3 w 63"/>
                  <a:gd name="T95" fmla="*/ 49 h 82"/>
                  <a:gd name="T96" fmla="*/ 3 w 63"/>
                  <a:gd name="T97" fmla="*/ 52 h 82"/>
                  <a:gd name="T98" fmla="*/ 2 w 63"/>
                  <a:gd name="T99" fmla="*/ 60 h 82"/>
                  <a:gd name="T100" fmla="*/ 8 w 63"/>
                  <a:gd name="T101" fmla="*/ 63 h 82"/>
                  <a:gd name="T102" fmla="*/ 15 w 63"/>
                  <a:gd name="T103" fmla="*/ 65 h 82"/>
                  <a:gd name="T104" fmla="*/ 14 w 63"/>
                  <a:gd name="T105" fmla="*/ 69 h 82"/>
                  <a:gd name="T106" fmla="*/ 12 w 63"/>
                  <a:gd name="T107" fmla="*/ 78 h 82"/>
                  <a:gd name="T108" fmla="*/ 8 w 63"/>
                  <a:gd name="T109" fmla="*/ 14 h 82"/>
                  <a:gd name="T110" fmla="*/ 12 w 63"/>
                  <a:gd name="T111" fmla="*/ 13 h 82"/>
                  <a:gd name="T112" fmla="*/ 14 w 63"/>
                  <a:gd name="T113" fmla="*/ 1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82">
                    <a:moveTo>
                      <a:pt x="53" y="5"/>
                    </a:moveTo>
                    <a:cubicBezTo>
                      <a:pt x="53" y="6"/>
                      <a:pt x="54" y="6"/>
                      <a:pt x="54" y="6"/>
                    </a:cubicBezTo>
                    <a:cubicBezTo>
                      <a:pt x="54" y="7"/>
                      <a:pt x="54" y="7"/>
                      <a:pt x="53" y="7"/>
                    </a:cubicBezTo>
                    <a:cubicBezTo>
                      <a:pt x="53" y="7"/>
                      <a:pt x="53" y="7"/>
                      <a:pt x="53" y="6"/>
                    </a:cubicBezTo>
                    <a:cubicBezTo>
                      <a:pt x="52" y="6"/>
                      <a:pt x="52" y="7"/>
                      <a:pt x="51" y="7"/>
                    </a:cubicBezTo>
                    <a:cubicBezTo>
                      <a:pt x="51" y="7"/>
                      <a:pt x="50" y="7"/>
                      <a:pt x="50" y="7"/>
                    </a:cubicBezTo>
                    <a:cubicBezTo>
                      <a:pt x="50" y="6"/>
                      <a:pt x="50" y="6"/>
                      <a:pt x="50" y="6"/>
                    </a:cubicBezTo>
                    <a:cubicBezTo>
                      <a:pt x="50" y="6"/>
                      <a:pt x="50" y="6"/>
                      <a:pt x="50" y="5"/>
                    </a:cubicBezTo>
                    <a:cubicBezTo>
                      <a:pt x="50" y="5"/>
                      <a:pt x="50" y="5"/>
                      <a:pt x="50" y="5"/>
                    </a:cubicBezTo>
                    <a:cubicBezTo>
                      <a:pt x="50" y="5"/>
                      <a:pt x="50" y="5"/>
                      <a:pt x="50" y="5"/>
                    </a:cubicBezTo>
                    <a:cubicBezTo>
                      <a:pt x="50" y="4"/>
                      <a:pt x="50" y="4"/>
                      <a:pt x="50" y="4"/>
                    </a:cubicBezTo>
                    <a:cubicBezTo>
                      <a:pt x="50" y="4"/>
                      <a:pt x="51" y="4"/>
                      <a:pt x="51" y="4"/>
                    </a:cubicBezTo>
                    <a:cubicBezTo>
                      <a:pt x="51" y="4"/>
                      <a:pt x="51" y="4"/>
                      <a:pt x="51" y="3"/>
                    </a:cubicBezTo>
                    <a:cubicBezTo>
                      <a:pt x="51" y="3"/>
                      <a:pt x="51" y="2"/>
                      <a:pt x="51" y="2"/>
                    </a:cubicBezTo>
                    <a:cubicBezTo>
                      <a:pt x="51" y="2"/>
                      <a:pt x="51" y="3"/>
                      <a:pt x="51" y="3"/>
                    </a:cubicBezTo>
                    <a:cubicBezTo>
                      <a:pt x="52" y="3"/>
                      <a:pt x="52" y="4"/>
                      <a:pt x="52" y="4"/>
                    </a:cubicBezTo>
                    <a:cubicBezTo>
                      <a:pt x="52" y="5"/>
                      <a:pt x="51" y="5"/>
                      <a:pt x="52" y="5"/>
                    </a:cubicBezTo>
                    <a:cubicBezTo>
                      <a:pt x="53" y="5"/>
                      <a:pt x="52" y="4"/>
                      <a:pt x="52" y="4"/>
                    </a:cubicBezTo>
                    <a:cubicBezTo>
                      <a:pt x="53" y="3"/>
                      <a:pt x="53" y="4"/>
                      <a:pt x="53" y="4"/>
                    </a:cubicBezTo>
                    <a:cubicBezTo>
                      <a:pt x="54" y="4"/>
                      <a:pt x="53" y="5"/>
                      <a:pt x="53" y="5"/>
                    </a:cubicBezTo>
                    <a:cubicBezTo>
                      <a:pt x="53" y="5"/>
                      <a:pt x="53" y="5"/>
                      <a:pt x="53" y="5"/>
                    </a:cubicBezTo>
                    <a:close/>
                    <a:moveTo>
                      <a:pt x="46" y="6"/>
                    </a:moveTo>
                    <a:cubicBezTo>
                      <a:pt x="47" y="5"/>
                      <a:pt x="47" y="6"/>
                      <a:pt x="47" y="6"/>
                    </a:cubicBezTo>
                    <a:cubicBezTo>
                      <a:pt x="48" y="6"/>
                      <a:pt x="48" y="6"/>
                      <a:pt x="48" y="5"/>
                    </a:cubicBezTo>
                    <a:cubicBezTo>
                      <a:pt x="48" y="5"/>
                      <a:pt x="45" y="5"/>
                      <a:pt x="45" y="6"/>
                    </a:cubicBezTo>
                    <a:cubicBezTo>
                      <a:pt x="45" y="6"/>
                      <a:pt x="46" y="6"/>
                      <a:pt x="46" y="6"/>
                    </a:cubicBezTo>
                    <a:close/>
                    <a:moveTo>
                      <a:pt x="57" y="11"/>
                    </a:moveTo>
                    <a:cubicBezTo>
                      <a:pt x="57" y="11"/>
                      <a:pt x="56" y="10"/>
                      <a:pt x="56" y="10"/>
                    </a:cubicBezTo>
                    <a:cubicBezTo>
                      <a:pt x="56" y="10"/>
                      <a:pt x="55" y="9"/>
                      <a:pt x="55" y="9"/>
                    </a:cubicBezTo>
                    <a:cubicBezTo>
                      <a:pt x="54" y="9"/>
                      <a:pt x="55" y="10"/>
                      <a:pt x="55" y="11"/>
                    </a:cubicBezTo>
                    <a:cubicBezTo>
                      <a:pt x="55" y="11"/>
                      <a:pt x="56" y="11"/>
                      <a:pt x="55" y="11"/>
                    </a:cubicBezTo>
                    <a:cubicBezTo>
                      <a:pt x="55" y="12"/>
                      <a:pt x="54" y="12"/>
                      <a:pt x="55" y="12"/>
                    </a:cubicBezTo>
                    <a:cubicBezTo>
                      <a:pt x="56" y="12"/>
                      <a:pt x="56" y="11"/>
                      <a:pt x="57" y="12"/>
                    </a:cubicBezTo>
                    <a:cubicBezTo>
                      <a:pt x="57" y="11"/>
                      <a:pt x="57" y="11"/>
                      <a:pt x="57" y="11"/>
                    </a:cubicBezTo>
                    <a:cubicBezTo>
                      <a:pt x="57" y="11"/>
                      <a:pt x="57" y="11"/>
                      <a:pt x="57" y="11"/>
                    </a:cubicBezTo>
                    <a:close/>
                    <a:moveTo>
                      <a:pt x="13" y="79"/>
                    </a:moveTo>
                    <a:cubicBezTo>
                      <a:pt x="14" y="79"/>
                      <a:pt x="14" y="79"/>
                      <a:pt x="15" y="79"/>
                    </a:cubicBezTo>
                    <a:cubicBezTo>
                      <a:pt x="15" y="79"/>
                      <a:pt x="16" y="79"/>
                      <a:pt x="16" y="79"/>
                    </a:cubicBezTo>
                    <a:cubicBezTo>
                      <a:pt x="17" y="78"/>
                      <a:pt x="18" y="79"/>
                      <a:pt x="19" y="79"/>
                    </a:cubicBezTo>
                    <a:cubicBezTo>
                      <a:pt x="19" y="78"/>
                      <a:pt x="18" y="78"/>
                      <a:pt x="18" y="78"/>
                    </a:cubicBezTo>
                    <a:cubicBezTo>
                      <a:pt x="18" y="76"/>
                      <a:pt x="20" y="77"/>
                      <a:pt x="20" y="78"/>
                    </a:cubicBezTo>
                    <a:cubicBezTo>
                      <a:pt x="21" y="78"/>
                      <a:pt x="23" y="78"/>
                      <a:pt x="24" y="78"/>
                    </a:cubicBezTo>
                    <a:cubicBezTo>
                      <a:pt x="24" y="79"/>
                      <a:pt x="25" y="79"/>
                      <a:pt x="26" y="79"/>
                    </a:cubicBezTo>
                    <a:cubicBezTo>
                      <a:pt x="26" y="79"/>
                      <a:pt x="27" y="79"/>
                      <a:pt x="28" y="80"/>
                    </a:cubicBezTo>
                    <a:cubicBezTo>
                      <a:pt x="28" y="80"/>
                      <a:pt x="29" y="80"/>
                      <a:pt x="29" y="81"/>
                    </a:cubicBezTo>
                    <a:cubicBezTo>
                      <a:pt x="29" y="81"/>
                      <a:pt x="30" y="81"/>
                      <a:pt x="30" y="81"/>
                    </a:cubicBezTo>
                    <a:cubicBezTo>
                      <a:pt x="30" y="81"/>
                      <a:pt x="30" y="82"/>
                      <a:pt x="30" y="82"/>
                    </a:cubicBezTo>
                    <a:cubicBezTo>
                      <a:pt x="30" y="82"/>
                      <a:pt x="31" y="82"/>
                      <a:pt x="31" y="81"/>
                    </a:cubicBezTo>
                    <a:cubicBezTo>
                      <a:pt x="32" y="81"/>
                      <a:pt x="31" y="80"/>
                      <a:pt x="31" y="80"/>
                    </a:cubicBezTo>
                    <a:cubicBezTo>
                      <a:pt x="31" y="79"/>
                      <a:pt x="32" y="79"/>
                      <a:pt x="33" y="79"/>
                    </a:cubicBezTo>
                    <a:cubicBezTo>
                      <a:pt x="34" y="79"/>
                      <a:pt x="35" y="80"/>
                      <a:pt x="35" y="81"/>
                    </a:cubicBezTo>
                    <a:cubicBezTo>
                      <a:pt x="35" y="81"/>
                      <a:pt x="36" y="81"/>
                      <a:pt x="37" y="81"/>
                    </a:cubicBezTo>
                    <a:cubicBezTo>
                      <a:pt x="37" y="80"/>
                      <a:pt x="38" y="80"/>
                      <a:pt x="38" y="80"/>
                    </a:cubicBezTo>
                    <a:cubicBezTo>
                      <a:pt x="39" y="79"/>
                      <a:pt x="40" y="79"/>
                      <a:pt x="42" y="79"/>
                    </a:cubicBezTo>
                    <a:cubicBezTo>
                      <a:pt x="42" y="79"/>
                      <a:pt x="43" y="79"/>
                      <a:pt x="43" y="79"/>
                    </a:cubicBezTo>
                    <a:cubicBezTo>
                      <a:pt x="44" y="78"/>
                      <a:pt x="43" y="78"/>
                      <a:pt x="44" y="78"/>
                    </a:cubicBezTo>
                    <a:cubicBezTo>
                      <a:pt x="45" y="78"/>
                      <a:pt x="46" y="79"/>
                      <a:pt x="46" y="78"/>
                    </a:cubicBezTo>
                    <a:cubicBezTo>
                      <a:pt x="47" y="78"/>
                      <a:pt x="47" y="78"/>
                      <a:pt x="47" y="79"/>
                    </a:cubicBezTo>
                    <a:cubicBezTo>
                      <a:pt x="48" y="79"/>
                      <a:pt x="48" y="79"/>
                      <a:pt x="48" y="80"/>
                    </a:cubicBezTo>
                    <a:cubicBezTo>
                      <a:pt x="49" y="80"/>
                      <a:pt x="49" y="79"/>
                      <a:pt x="49" y="78"/>
                    </a:cubicBezTo>
                    <a:cubicBezTo>
                      <a:pt x="49" y="77"/>
                      <a:pt x="48" y="78"/>
                      <a:pt x="48" y="77"/>
                    </a:cubicBezTo>
                    <a:cubicBezTo>
                      <a:pt x="48" y="76"/>
                      <a:pt x="48" y="76"/>
                      <a:pt x="48" y="75"/>
                    </a:cubicBezTo>
                    <a:cubicBezTo>
                      <a:pt x="47" y="74"/>
                      <a:pt x="47" y="74"/>
                      <a:pt x="48" y="73"/>
                    </a:cubicBezTo>
                    <a:cubicBezTo>
                      <a:pt x="49" y="72"/>
                      <a:pt x="50" y="72"/>
                      <a:pt x="51" y="71"/>
                    </a:cubicBezTo>
                    <a:cubicBezTo>
                      <a:pt x="52" y="70"/>
                      <a:pt x="51" y="69"/>
                      <a:pt x="53" y="69"/>
                    </a:cubicBezTo>
                    <a:cubicBezTo>
                      <a:pt x="54" y="69"/>
                      <a:pt x="54" y="68"/>
                      <a:pt x="54" y="67"/>
                    </a:cubicBezTo>
                    <a:cubicBezTo>
                      <a:pt x="54" y="67"/>
                      <a:pt x="54" y="66"/>
                      <a:pt x="53" y="66"/>
                    </a:cubicBezTo>
                    <a:cubicBezTo>
                      <a:pt x="53" y="65"/>
                      <a:pt x="52" y="65"/>
                      <a:pt x="52" y="65"/>
                    </a:cubicBezTo>
                    <a:cubicBezTo>
                      <a:pt x="51" y="64"/>
                      <a:pt x="51" y="64"/>
                      <a:pt x="51" y="64"/>
                    </a:cubicBezTo>
                    <a:cubicBezTo>
                      <a:pt x="51" y="64"/>
                      <a:pt x="50" y="64"/>
                      <a:pt x="50" y="64"/>
                    </a:cubicBezTo>
                    <a:cubicBezTo>
                      <a:pt x="50" y="64"/>
                      <a:pt x="50" y="64"/>
                      <a:pt x="50" y="63"/>
                    </a:cubicBezTo>
                    <a:cubicBezTo>
                      <a:pt x="49" y="63"/>
                      <a:pt x="49" y="61"/>
                      <a:pt x="48" y="61"/>
                    </a:cubicBezTo>
                    <a:cubicBezTo>
                      <a:pt x="47" y="61"/>
                      <a:pt x="47" y="61"/>
                      <a:pt x="47" y="61"/>
                    </a:cubicBezTo>
                    <a:cubicBezTo>
                      <a:pt x="46" y="60"/>
                      <a:pt x="46" y="60"/>
                      <a:pt x="46" y="59"/>
                    </a:cubicBezTo>
                    <a:cubicBezTo>
                      <a:pt x="46" y="58"/>
                      <a:pt x="45" y="58"/>
                      <a:pt x="45" y="57"/>
                    </a:cubicBezTo>
                    <a:cubicBezTo>
                      <a:pt x="45" y="57"/>
                      <a:pt x="45" y="57"/>
                      <a:pt x="45" y="56"/>
                    </a:cubicBezTo>
                    <a:cubicBezTo>
                      <a:pt x="46" y="55"/>
                      <a:pt x="44" y="54"/>
                      <a:pt x="44" y="54"/>
                    </a:cubicBezTo>
                    <a:cubicBezTo>
                      <a:pt x="43" y="53"/>
                      <a:pt x="43" y="53"/>
                      <a:pt x="43" y="52"/>
                    </a:cubicBezTo>
                    <a:cubicBezTo>
                      <a:pt x="43" y="52"/>
                      <a:pt x="42" y="51"/>
                      <a:pt x="43" y="51"/>
                    </a:cubicBezTo>
                    <a:cubicBezTo>
                      <a:pt x="44" y="51"/>
                      <a:pt x="43" y="53"/>
                      <a:pt x="44" y="52"/>
                    </a:cubicBezTo>
                    <a:cubicBezTo>
                      <a:pt x="45" y="51"/>
                      <a:pt x="45" y="50"/>
                      <a:pt x="46" y="50"/>
                    </a:cubicBezTo>
                    <a:cubicBezTo>
                      <a:pt x="46" y="50"/>
                      <a:pt x="47" y="50"/>
                      <a:pt x="48" y="50"/>
                    </a:cubicBezTo>
                    <a:cubicBezTo>
                      <a:pt x="48" y="50"/>
                      <a:pt x="49" y="49"/>
                      <a:pt x="49" y="49"/>
                    </a:cubicBezTo>
                    <a:cubicBezTo>
                      <a:pt x="50" y="49"/>
                      <a:pt x="50" y="48"/>
                      <a:pt x="51" y="48"/>
                    </a:cubicBezTo>
                    <a:cubicBezTo>
                      <a:pt x="51" y="48"/>
                      <a:pt x="52" y="48"/>
                      <a:pt x="52" y="47"/>
                    </a:cubicBezTo>
                    <a:cubicBezTo>
                      <a:pt x="53" y="47"/>
                      <a:pt x="53" y="47"/>
                      <a:pt x="54" y="46"/>
                    </a:cubicBezTo>
                    <a:cubicBezTo>
                      <a:pt x="55" y="46"/>
                      <a:pt x="56" y="46"/>
                      <a:pt x="56" y="45"/>
                    </a:cubicBezTo>
                    <a:cubicBezTo>
                      <a:pt x="57" y="45"/>
                      <a:pt x="58" y="45"/>
                      <a:pt x="58" y="45"/>
                    </a:cubicBezTo>
                    <a:cubicBezTo>
                      <a:pt x="58" y="44"/>
                      <a:pt x="57" y="44"/>
                      <a:pt x="57" y="43"/>
                    </a:cubicBezTo>
                    <a:cubicBezTo>
                      <a:pt x="58" y="43"/>
                      <a:pt x="59" y="43"/>
                      <a:pt x="60" y="44"/>
                    </a:cubicBezTo>
                    <a:cubicBezTo>
                      <a:pt x="60" y="45"/>
                      <a:pt x="60" y="46"/>
                      <a:pt x="61" y="45"/>
                    </a:cubicBezTo>
                    <a:cubicBezTo>
                      <a:pt x="62" y="45"/>
                      <a:pt x="62" y="43"/>
                      <a:pt x="62" y="42"/>
                    </a:cubicBezTo>
                    <a:cubicBezTo>
                      <a:pt x="63" y="41"/>
                      <a:pt x="62" y="40"/>
                      <a:pt x="62" y="39"/>
                    </a:cubicBezTo>
                    <a:cubicBezTo>
                      <a:pt x="61" y="38"/>
                      <a:pt x="61" y="38"/>
                      <a:pt x="61" y="38"/>
                    </a:cubicBezTo>
                    <a:cubicBezTo>
                      <a:pt x="60" y="37"/>
                      <a:pt x="60" y="36"/>
                      <a:pt x="60" y="36"/>
                    </a:cubicBezTo>
                    <a:cubicBezTo>
                      <a:pt x="60" y="35"/>
                      <a:pt x="59" y="34"/>
                      <a:pt x="60" y="34"/>
                    </a:cubicBezTo>
                    <a:cubicBezTo>
                      <a:pt x="60" y="34"/>
                      <a:pt x="60" y="34"/>
                      <a:pt x="60" y="33"/>
                    </a:cubicBezTo>
                    <a:cubicBezTo>
                      <a:pt x="60" y="33"/>
                      <a:pt x="61" y="33"/>
                      <a:pt x="61" y="33"/>
                    </a:cubicBezTo>
                    <a:cubicBezTo>
                      <a:pt x="61" y="32"/>
                      <a:pt x="60" y="32"/>
                      <a:pt x="60" y="31"/>
                    </a:cubicBezTo>
                    <a:cubicBezTo>
                      <a:pt x="60" y="31"/>
                      <a:pt x="60" y="31"/>
                      <a:pt x="60" y="30"/>
                    </a:cubicBezTo>
                    <a:cubicBezTo>
                      <a:pt x="60" y="30"/>
                      <a:pt x="59" y="29"/>
                      <a:pt x="59" y="29"/>
                    </a:cubicBezTo>
                    <a:cubicBezTo>
                      <a:pt x="59" y="28"/>
                      <a:pt x="60" y="27"/>
                      <a:pt x="60" y="26"/>
                    </a:cubicBezTo>
                    <a:cubicBezTo>
                      <a:pt x="59" y="25"/>
                      <a:pt x="58" y="24"/>
                      <a:pt x="57" y="24"/>
                    </a:cubicBezTo>
                    <a:cubicBezTo>
                      <a:pt x="56" y="23"/>
                      <a:pt x="57" y="22"/>
                      <a:pt x="58" y="22"/>
                    </a:cubicBezTo>
                    <a:cubicBezTo>
                      <a:pt x="58" y="21"/>
                      <a:pt x="58" y="20"/>
                      <a:pt x="58" y="19"/>
                    </a:cubicBezTo>
                    <a:cubicBezTo>
                      <a:pt x="59" y="18"/>
                      <a:pt x="58" y="17"/>
                      <a:pt x="58" y="16"/>
                    </a:cubicBezTo>
                    <a:cubicBezTo>
                      <a:pt x="58" y="15"/>
                      <a:pt x="57" y="14"/>
                      <a:pt x="57" y="13"/>
                    </a:cubicBezTo>
                    <a:cubicBezTo>
                      <a:pt x="57" y="14"/>
                      <a:pt x="54" y="13"/>
                      <a:pt x="54" y="12"/>
                    </a:cubicBezTo>
                    <a:cubicBezTo>
                      <a:pt x="54" y="12"/>
                      <a:pt x="55" y="11"/>
                      <a:pt x="55" y="11"/>
                    </a:cubicBezTo>
                    <a:cubicBezTo>
                      <a:pt x="55" y="11"/>
                      <a:pt x="55" y="11"/>
                      <a:pt x="54" y="11"/>
                    </a:cubicBezTo>
                    <a:cubicBezTo>
                      <a:pt x="54" y="10"/>
                      <a:pt x="54" y="10"/>
                      <a:pt x="54" y="10"/>
                    </a:cubicBezTo>
                    <a:cubicBezTo>
                      <a:pt x="54" y="10"/>
                      <a:pt x="54" y="9"/>
                      <a:pt x="54" y="9"/>
                    </a:cubicBezTo>
                    <a:cubicBezTo>
                      <a:pt x="54" y="9"/>
                      <a:pt x="53" y="9"/>
                      <a:pt x="53" y="9"/>
                    </a:cubicBezTo>
                    <a:cubicBezTo>
                      <a:pt x="53" y="9"/>
                      <a:pt x="52" y="9"/>
                      <a:pt x="52" y="9"/>
                    </a:cubicBezTo>
                    <a:cubicBezTo>
                      <a:pt x="52" y="9"/>
                      <a:pt x="51" y="9"/>
                      <a:pt x="51" y="8"/>
                    </a:cubicBezTo>
                    <a:cubicBezTo>
                      <a:pt x="51" y="8"/>
                      <a:pt x="51" y="8"/>
                      <a:pt x="50" y="8"/>
                    </a:cubicBezTo>
                    <a:cubicBezTo>
                      <a:pt x="50" y="7"/>
                      <a:pt x="50" y="7"/>
                      <a:pt x="50" y="7"/>
                    </a:cubicBezTo>
                    <a:cubicBezTo>
                      <a:pt x="50" y="7"/>
                      <a:pt x="50" y="7"/>
                      <a:pt x="50" y="7"/>
                    </a:cubicBezTo>
                    <a:cubicBezTo>
                      <a:pt x="49" y="6"/>
                      <a:pt x="49" y="6"/>
                      <a:pt x="49" y="6"/>
                    </a:cubicBezTo>
                    <a:cubicBezTo>
                      <a:pt x="49" y="6"/>
                      <a:pt x="49" y="6"/>
                      <a:pt x="48" y="6"/>
                    </a:cubicBezTo>
                    <a:cubicBezTo>
                      <a:pt x="48" y="6"/>
                      <a:pt x="48" y="6"/>
                      <a:pt x="47" y="6"/>
                    </a:cubicBezTo>
                    <a:cubicBezTo>
                      <a:pt x="47" y="6"/>
                      <a:pt x="46" y="6"/>
                      <a:pt x="46" y="6"/>
                    </a:cubicBezTo>
                    <a:cubicBezTo>
                      <a:pt x="46" y="7"/>
                      <a:pt x="45" y="7"/>
                      <a:pt x="45" y="7"/>
                    </a:cubicBezTo>
                    <a:cubicBezTo>
                      <a:pt x="45" y="7"/>
                      <a:pt x="45" y="7"/>
                      <a:pt x="45" y="7"/>
                    </a:cubicBezTo>
                    <a:cubicBezTo>
                      <a:pt x="45" y="7"/>
                      <a:pt x="44" y="7"/>
                      <a:pt x="44" y="7"/>
                    </a:cubicBezTo>
                    <a:cubicBezTo>
                      <a:pt x="44" y="7"/>
                      <a:pt x="44" y="7"/>
                      <a:pt x="43" y="8"/>
                    </a:cubicBezTo>
                    <a:cubicBezTo>
                      <a:pt x="43" y="8"/>
                      <a:pt x="43" y="9"/>
                      <a:pt x="43" y="9"/>
                    </a:cubicBezTo>
                    <a:cubicBezTo>
                      <a:pt x="43" y="9"/>
                      <a:pt x="43" y="9"/>
                      <a:pt x="42" y="8"/>
                    </a:cubicBezTo>
                    <a:cubicBezTo>
                      <a:pt x="42" y="9"/>
                      <a:pt x="41" y="9"/>
                      <a:pt x="41" y="9"/>
                    </a:cubicBezTo>
                    <a:cubicBezTo>
                      <a:pt x="40" y="9"/>
                      <a:pt x="40" y="9"/>
                      <a:pt x="39" y="10"/>
                    </a:cubicBezTo>
                    <a:cubicBezTo>
                      <a:pt x="39" y="10"/>
                      <a:pt x="39" y="10"/>
                      <a:pt x="39" y="10"/>
                    </a:cubicBezTo>
                    <a:cubicBezTo>
                      <a:pt x="39" y="11"/>
                      <a:pt x="39" y="11"/>
                      <a:pt x="38" y="11"/>
                    </a:cubicBezTo>
                    <a:cubicBezTo>
                      <a:pt x="38" y="12"/>
                      <a:pt x="38" y="11"/>
                      <a:pt x="38" y="11"/>
                    </a:cubicBezTo>
                    <a:cubicBezTo>
                      <a:pt x="38" y="11"/>
                      <a:pt x="38" y="11"/>
                      <a:pt x="37" y="11"/>
                    </a:cubicBezTo>
                    <a:cubicBezTo>
                      <a:pt x="37" y="11"/>
                      <a:pt x="37" y="11"/>
                      <a:pt x="37" y="11"/>
                    </a:cubicBezTo>
                    <a:cubicBezTo>
                      <a:pt x="37" y="11"/>
                      <a:pt x="37" y="11"/>
                      <a:pt x="37" y="11"/>
                    </a:cubicBezTo>
                    <a:cubicBezTo>
                      <a:pt x="37" y="11"/>
                      <a:pt x="37" y="10"/>
                      <a:pt x="37" y="10"/>
                    </a:cubicBezTo>
                    <a:cubicBezTo>
                      <a:pt x="37" y="10"/>
                      <a:pt x="36" y="10"/>
                      <a:pt x="36" y="10"/>
                    </a:cubicBezTo>
                    <a:cubicBezTo>
                      <a:pt x="36" y="10"/>
                      <a:pt x="35" y="11"/>
                      <a:pt x="35" y="11"/>
                    </a:cubicBezTo>
                    <a:cubicBezTo>
                      <a:pt x="35" y="11"/>
                      <a:pt x="34" y="10"/>
                      <a:pt x="34" y="10"/>
                    </a:cubicBezTo>
                    <a:cubicBezTo>
                      <a:pt x="33" y="9"/>
                      <a:pt x="35" y="9"/>
                      <a:pt x="36" y="8"/>
                    </a:cubicBezTo>
                    <a:cubicBezTo>
                      <a:pt x="36" y="7"/>
                      <a:pt x="36" y="7"/>
                      <a:pt x="36" y="6"/>
                    </a:cubicBezTo>
                    <a:cubicBezTo>
                      <a:pt x="36" y="5"/>
                      <a:pt x="37" y="6"/>
                      <a:pt x="37" y="6"/>
                    </a:cubicBezTo>
                    <a:cubicBezTo>
                      <a:pt x="38" y="5"/>
                      <a:pt x="38" y="5"/>
                      <a:pt x="37" y="5"/>
                    </a:cubicBezTo>
                    <a:cubicBezTo>
                      <a:pt x="37" y="4"/>
                      <a:pt x="36" y="4"/>
                      <a:pt x="36" y="4"/>
                    </a:cubicBezTo>
                    <a:cubicBezTo>
                      <a:pt x="36" y="4"/>
                      <a:pt x="35" y="5"/>
                      <a:pt x="35" y="5"/>
                    </a:cubicBezTo>
                    <a:cubicBezTo>
                      <a:pt x="35" y="5"/>
                      <a:pt x="36" y="5"/>
                      <a:pt x="36" y="5"/>
                    </a:cubicBezTo>
                    <a:cubicBezTo>
                      <a:pt x="36" y="5"/>
                      <a:pt x="37" y="6"/>
                      <a:pt x="36" y="6"/>
                    </a:cubicBezTo>
                    <a:cubicBezTo>
                      <a:pt x="36" y="6"/>
                      <a:pt x="36" y="6"/>
                      <a:pt x="36" y="6"/>
                    </a:cubicBezTo>
                    <a:cubicBezTo>
                      <a:pt x="35" y="6"/>
                      <a:pt x="35" y="6"/>
                      <a:pt x="35" y="6"/>
                    </a:cubicBezTo>
                    <a:cubicBezTo>
                      <a:pt x="34" y="6"/>
                      <a:pt x="34" y="6"/>
                      <a:pt x="34" y="6"/>
                    </a:cubicBezTo>
                    <a:cubicBezTo>
                      <a:pt x="34" y="7"/>
                      <a:pt x="34" y="7"/>
                      <a:pt x="34" y="7"/>
                    </a:cubicBezTo>
                    <a:cubicBezTo>
                      <a:pt x="33" y="7"/>
                      <a:pt x="33" y="6"/>
                      <a:pt x="32" y="6"/>
                    </a:cubicBezTo>
                    <a:cubicBezTo>
                      <a:pt x="32" y="6"/>
                      <a:pt x="31" y="5"/>
                      <a:pt x="31" y="5"/>
                    </a:cubicBezTo>
                    <a:cubicBezTo>
                      <a:pt x="30" y="6"/>
                      <a:pt x="30" y="7"/>
                      <a:pt x="30" y="7"/>
                    </a:cubicBezTo>
                    <a:cubicBezTo>
                      <a:pt x="29" y="6"/>
                      <a:pt x="30" y="5"/>
                      <a:pt x="30" y="5"/>
                    </a:cubicBezTo>
                    <a:cubicBezTo>
                      <a:pt x="29" y="5"/>
                      <a:pt x="29" y="5"/>
                      <a:pt x="28" y="5"/>
                    </a:cubicBezTo>
                    <a:cubicBezTo>
                      <a:pt x="28" y="5"/>
                      <a:pt x="27" y="5"/>
                      <a:pt x="28" y="5"/>
                    </a:cubicBezTo>
                    <a:cubicBezTo>
                      <a:pt x="29" y="4"/>
                      <a:pt x="29" y="4"/>
                      <a:pt x="29" y="3"/>
                    </a:cubicBezTo>
                    <a:cubicBezTo>
                      <a:pt x="29" y="3"/>
                      <a:pt x="28" y="3"/>
                      <a:pt x="28" y="2"/>
                    </a:cubicBezTo>
                    <a:cubicBezTo>
                      <a:pt x="28" y="2"/>
                      <a:pt x="29" y="2"/>
                      <a:pt x="29" y="2"/>
                    </a:cubicBezTo>
                    <a:cubicBezTo>
                      <a:pt x="29" y="2"/>
                      <a:pt x="28" y="1"/>
                      <a:pt x="28" y="1"/>
                    </a:cubicBezTo>
                    <a:cubicBezTo>
                      <a:pt x="28" y="1"/>
                      <a:pt x="28" y="1"/>
                      <a:pt x="28" y="1"/>
                    </a:cubicBezTo>
                    <a:cubicBezTo>
                      <a:pt x="28" y="1"/>
                      <a:pt x="28" y="2"/>
                      <a:pt x="27" y="1"/>
                    </a:cubicBezTo>
                    <a:cubicBezTo>
                      <a:pt x="27" y="1"/>
                      <a:pt x="27" y="1"/>
                      <a:pt x="26" y="1"/>
                    </a:cubicBezTo>
                    <a:cubicBezTo>
                      <a:pt x="26" y="1"/>
                      <a:pt x="26" y="1"/>
                      <a:pt x="25" y="1"/>
                    </a:cubicBezTo>
                    <a:cubicBezTo>
                      <a:pt x="25" y="1"/>
                      <a:pt x="24" y="1"/>
                      <a:pt x="24" y="1"/>
                    </a:cubicBezTo>
                    <a:cubicBezTo>
                      <a:pt x="23" y="1"/>
                      <a:pt x="23" y="1"/>
                      <a:pt x="23" y="1"/>
                    </a:cubicBezTo>
                    <a:cubicBezTo>
                      <a:pt x="22" y="0"/>
                      <a:pt x="21" y="0"/>
                      <a:pt x="20" y="0"/>
                    </a:cubicBezTo>
                    <a:cubicBezTo>
                      <a:pt x="19" y="0"/>
                      <a:pt x="20" y="1"/>
                      <a:pt x="20" y="2"/>
                    </a:cubicBezTo>
                    <a:cubicBezTo>
                      <a:pt x="20" y="2"/>
                      <a:pt x="20" y="2"/>
                      <a:pt x="21" y="3"/>
                    </a:cubicBezTo>
                    <a:cubicBezTo>
                      <a:pt x="21" y="3"/>
                      <a:pt x="21" y="3"/>
                      <a:pt x="21" y="3"/>
                    </a:cubicBezTo>
                    <a:cubicBezTo>
                      <a:pt x="21" y="4"/>
                      <a:pt x="21" y="4"/>
                      <a:pt x="21" y="4"/>
                    </a:cubicBezTo>
                    <a:cubicBezTo>
                      <a:pt x="22" y="4"/>
                      <a:pt x="22" y="5"/>
                      <a:pt x="22" y="5"/>
                    </a:cubicBezTo>
                    <a:cubicBezTo>
                      <a:pt x="21" y="6"/>
                      <a:pt x="20" y="5"/>
                      <a:pt x="20" y="6"/>
                    </a:cubicBezTo>
                    <a:cubicBezTo>
                      <a:pt x="20" y="6"/>
                      <a:pt x="20" y="6"/>
                      <a:pt x="20" y="6"/>
                    </a:cubicBezTo>
                    <a:cubicBezTo>
                      <a:pt x="20" y="6"/>
                      <a:pt x="19" y="6"/>
                      <a:pt x="19" y="6"/>
                    </a:cubicBezTo>
                    <a:cubicBezTo>
                      <a:pt x="19" y="8"/>
                      <a:pt x="21" y="7"/>
                      <a:pt x="22" y="7"/>
                    </a:cubicBezTo>
                    <a:cubicBezTo>
                      <a:pt x="22" y="8"/>
                      <a:pt x="20" y="8"/>
                      <a:pt x="21" y="9"/>
                    </a:cubicBezTo>
                    <a:cubicBezTo>
                      <a:pt x="21" y="9"/>
                      <a:pt x="21" y="9"/>
                      <a:pt x="22" y="9"/>
                    </a:cubicBezTo>
                    <a:cubicBezTo>
                      <a:pt x="22" y="9"/>
                      <a:pt x="22" y="10"/>
                      <a:pt x="22" y="10"/>
                    </a:cubicBezTo>
                    <a:cubicBezTo>
                      <a:pt x="22" y="10"/>
                      <a:pt x="22" y="10"/>
                      <a:pt x="22" y="10"/>
                    </a:cubicBezTo>
                    <a:cubicBezTo>
                      <a:pt x="21" y="10"/>
                      <a:pt x="22" y="10"/>
                      <a:pt x="21" y="10"/>
                    </a:cubicBezTo>
                    <a:cubicBezTo>
                      <a:pt x="21" y="10"/>
                      <a:pt x="21" y="10"/>
                      <a:pt x="21" y="11"/>
                    </a:cubicBezTo>
                    <a:cubicBezTo>
                      <a:pt x="22" y="11"/>
                      <a:pt x="22" y="12"/>
                      <a:pt x="23" y="12"/>
                    </a:cubicBezTo>
                    <a:cubicBezTo>
                      <a:pt x="24" y="12"/>
                      <a:pt x="24" y="12"/>
                      <a:pt x="25" y="12"/>
                    </a:cubicBezTo>
                    <a:cubicBezTo>
                      <a:pt x="25" y="13"/>
                      <a:pt x="25" y="13"/>
                      <a:pt x="26" y="14"/>
                    </a:cubicBezTo>
                    <a:cubicBezTo>
                      <a:pt x="26" y="14"/>
                      <a:pt x="26" y="14"/>
                      <a:pt x="26" y="15"/>
                    </a:cubicBezTo>
                    <a:cubicBezTo>
                      <a:pt x="26" y="15"/>
                      <a:pt x="27" y="15"/>
                      <a:pt x="27" y="15"/>
                    </a:cubicBezTo>
                    <a:cubicBezTo>
                      <a:pt x="27" y="15"/>
                      <a:pt x="28" y="16"/>
                      <a:pt x="27" y="16"/>
                    </a:cubicBezTo>
                    <a:cubicBezTo>
                      <a:pt x="27" y="16"/>
                      <a:pt x="26" y="15"/>
                      <a:pt x="26" y="15"/>
                    </a:cubicBezTo>
                    <a:cubicBezTo>
                      <a:pt x="25" y="14"/>
                      <a:pt x="24" y="12"/>
                      <a:pt x="23" y="12"/>
                    </a:cubicBezTo>
                    <a:cubicBezTo>
                      <a:pt x="22" y="12"/>
                      <a:pt x="21" y="13"/>
                      <a:pt x="20" y="12"/>
                    </a:cubicBezTo>
                    <a:cubicBezTo>
                      <a:pt x="20" y="12"/>
                      <a:pt x="20" y="12"/>
                      <a:pt x="19" y="12"/>
                    </a:cubicBezTo>
                    <a:cubicBezTo>
                      <a:pt x="19" y="12"/>
                      <a:pt x="19" y="12"/>
                      <a:pt x="19" y="13"/>
                    </a:cubicBezTo>
                    <a:cubicBezTo>
                      <a:pt x="19" y="13"/>
                      <a:pt x="18" y="14"/>
                      <a:pt x="19" y="15"/>
                    </a:cubicBezTo>
                    <a:cubicBezTo>
                      <a:pt x="19" y="15"/>
                      <a:pt x="19" y="16"/>
                      <a:pt x="19" y="16"/>
                    </a:cubicBezTo>
                    <a:cubicBezTo>
                      <a:pt x="19" y="16"/>
                      <a:pt x="19" y="16"/>
                      <a:pt x="18" y="15"/>
                    </a:cubicBezTo>
                    <a:cubicBezTo>
                      <a:pt x="18" y="15"/>
                      <a:pt x="18" y="15"/>
                      <a:pt x="18" y="15"/>
                    </a:cubicBezTo>
                    <a:cubicBezTo>
                      <a:pt x="17" y="15"/>
                      <a:pt x="17" y="14"/>
                      <a:pt x="17" y="15"/>
                    </a:cubicBezTo>
                    <a:cubicBezTo>
                      <a:pt x="17" y="15"/>
                      <a:pt x="18" y="17"/>
                      <a:pt x="17" y="17"/>
                    </a:cubicBezTo>
                    <a:cubicBezTo>
                      <a:pt x="17" y="17"/>
                      <a:pt x="16" y="16"/>
                      <a:pt x="16" y="16"/>
                    </a:cubicBezTo>
                    <a:cubicBezTo>
                      <a:pt x="16" y="16"/>
                      <a:pt x="16" y="16"/>
                      <a:pt x="16" y="15"/>
                    </a:cubicBezTo>
                    <a:cubicBezTo>
                      <a:pt x="16" y="15"/>
                      <a:pt x="16" y="15"/>
                      <a:pt x="15" y="14"/>
                    </a:cubicBezTo>
                    <a:cubicBezTo>
                      <a:pt x="15" y="14"/>
                      <a:pt x="15" y="14"/>
                      <a:pt x="15" y="14"/>
                    </a:cubicBezTo>
                    <a:cubicBezTo>
                      <a:pt x="15" y="13"/>
                      <a:pt x="14" y="14"/>
                      <a:pt x="14" y="14"/>
                    </a:cubicBezTo>
                    <a:cubicBezTo>
                      <a:pt x="13" y="14"/>
                      <a:pt x="13" y="14"/>
                      <a:pt x="12" y="14"/>
                    </a:cubicBezTo>
                    <a:cubicBezTo>
                      <a:pt x="11" y="14"/>
                      <a:pt x="11" y="14"/>
                      <a:pt x="10" y="14"/>
                    </a:cubicBezTo>
                    <a:cubicBezTo>
                      <a:pt x="10" y="15"/>
                      <a:pt x="9" y="15"/>
                      <a:pt x="9" y="15"/>
                    </a:cubicBezTo>
                    <a:cubicBezTo>
                      <a:pt x="9" y="16"/>
                      <a:pt x="9" y="15"/>
                      <a:pt x="9" y="16"/>
                    </a:cubicBezTo>
                    <a:cubicBezTo>
                      <a:pt x="9" y="16"/>
                      <a:pt x="9" y="16"/>
                      <a:pt x="9" y="16"/>
                    </a:cubicBezTo>
                    <a:cubicBezTo>
                      <a:pt x="9" y="17"/>
                      <a:pt x="9" y="17"/>
                      <a:pt x="9" y="18"/>
                    </a:cubicBezTo>
                    <a:cubicBezTo>
                      <a:pt x="9" y="18"/>
                      <a:pt x="10" y="18"/>
                      <a:pt x="10" y="18"/>
                    </a:cubicBezTo>
                    <a:cubicBezTo>
                      <a:pt x="11" y="18"/>
                      <a:pt x="10" y="18"/>
                      <a:pt x="10" y="18"/>
                    </a:cubicBezTo>
                    <a:cubicBezTo>
                      <a:pt x="10" y="18"/>
                      <a:pt x="10" y="19"/>
                      <a:pt x="10" y="19"/>
                    </a:cubicBezTo>
                    <a:cubicBezTo>
                      <a:pt x="10" y="20"/>
                      <a:pt x="10" y="20"/>
                      <a:pt x="10" y="21"/>
                    </a:cubicBezTo>
                    <a:cubicBezTo>
                      <a:pt x="10" y="22"/>
                      <a:pt x="9" y="23"/>
                      <a:pt x="9" y="23"/>
                    </a:cubicBezTo>
                    <a:cubicBezTo>
                      <a:pt x="9" y="24"/>
                      <a:pt x="9" y="24"/>
                      <a:pt x="9" y="25"/>
                    </a:cubicBezTo>
                    <a:cubicBezTo>
                      <a:pt x="9" y="25"/>
                      <a:pt x="9" y="25"/>
                      <a:pt x="8" y="26"/>
                    </a:cubicBezTo>
                    <a:cubicBezTo>
                      <a:pt x="8" y="26"/>
                      <a:pt x="7" y="25"/>
                      <a:pt x="7" y="26"/>
                    </a:cubicBezTo>
                    <a:cubicBezTo>
                      <a:pt x="6" y="26"/>
                      <a:pt x="6" y="27"/>
                      <a:pt x="6" y="27"/>
                    </a:cubicBezTo>
                    <a:cubicBezTo>
                      <a:pt x="7" y="28"/>
                      <a:pt x="8" y="28"/>
                      <a:pt x="8" y="28"/>
                    </a:cubicBezTo>
                    <a:cubicBezTo>
                      <a:pt x="9" y="28"/>
                      <a:pt x="8" y="29"/>
                      <a:pt x="8" y="29"/>
                    </a:cubicBezTo>
                    <a:cubicBezTo>
                      <a:pt x="8" y="30"/>
                      <a:pt x="8" y="30"/>
                      <a:pt x="8" y="31"/>
                    </a:cubicBezTo>
                    <a:cubicBezTo>
                      <a:pt x="7" y="31"/>
                      <a:pt x="6" y="32"/>
                      <a:pt x="6" y="32"/>
                    </a:cubicBezTo>
                    <a:cubicBezTo>
                      <a:pt x="7" y="33"/>
                      <a:pt x="7" y="33"/>
                      <a:pt x="6" y="34"/>
                    </a:cubicBezTo>
                    <a:cubicBezTo>
                      <a:pt x="6" y="34"/>
                      <a:pt x="5" y="34"/>
                      <a:pt x="4" y="34"/>
                    </a:cubicBezTo>
                    <a:cubicBezTo>
                      <a:pt x="4" y="35"/>
                      <a:pt x="3" y="34"/>
                      <a:pt x="2" y="34"/>
                    </a:cubicBezTo>
                    <a:cubicBezTo>
                      <a:pt x="2" y="34"/>
                      <a:pt x="1" y="35"/>
                      <a:pt x="1" y="35"/>
                    </a:cubicBezTo>
                    <a:cubicBezTo>
                      <a:pt x="1" y="36"/>
                      <a:pt x="2" y="37"/>
                      <a:pt x="2" y="37"/>
                    </a:cubicBezTo>
                    <a:cubicBezTo>
                      <a:pt x="3" y="38"/>
                      <a:pt x="3" y="39"/>
                      <a:pt x="3" y="40"/>
                    </a:cubicBezTo>
                    <a:cubicBezTo>
                      <a:pt x="3" y="40"/>
                      <a:pt x="2" y="41"/>
                      <a:pt x="2" y="41"/>
                    </a:cubicBezTo>
                    <a:cubicBezTo>
                      <a:pt x="2" y="42"/>
                      <a:pt x="3" y="42"/>
                      <a:pt x="2" y="42"/>
                    </a:cubicBezTo>
                    <a:cubicBezTo>
                      <a:pt x="2" y="42"/>
                      <a:pt x="2" y="42"/>
                      <a:pt x="2" y="42"/>
                    </a:cubicBezTo>
                    <a:cubicBezTo>
                      <a:pt x="2" y="43"/>
                      <a:pt x="2" y="43"/>
                      <a:pt x="2" y="43"/>
                    </a:cubicBezTo>
                    <a:cubicBezTo>
                      <a:pt x="1" y="43"/>
                      <a:pt x="1" y="43"/>
                      <a:pt x="1" y="43"/>
                    </a:cubicBezTo>
                    <a:cubicBezTo>
                      <a:pt x="0" y="44"/>
                      <a:pt x="2" y="44"/>
                      <a:pt x="2" y="44"/>
                    </a:cubicBezTo>
                    <a:cubicBezTo>
                      <a:pt x="2" y="45"/>
                      <a:pt x="2" y="46"/>
                      <a:pt x="1" y="46"/>
                    </a:cubicBezTo>
                    <a:cubicBezTo>
                      <a:pt x="2" y="47"/>
                      <a:pt x="3" y="47"/>
                      <a:pt x="3" y="48"/>
                    </a:cubicBezTo>
                    <a:cubicBezTo>
                      <a:pt x="3" y="48"/>
                      <a:pt x="3" y="48"/>
                      <a:pt x="3" y="49"/>
                    </a:cubicBezTo>
                    <a:cubicBezTo>
                      <a:pt x="3" y="49"/>
                      <a:pt x="4" y="49"/>
                      <a:pt x="4" y="50"/>
                    </a:cubicBezTo>
                    <a:cubicBezTo>
                      <a:pt x="4" y="50"/>
                      <a:pt x="4" y="51"/>
                      <a:pt x="4" y="51"/>
                    </a:cubicBezTo>
                    <a:cubicBezTo>
                      <a:pt x="4" y="51"/>
                      <a:pt x="3" y="51"/>
                      <a:pt x="3" y="51"/>
                    </a:cubicBezTo>
                    <a:cubicBezTo>
                      <a:pt x="3" y="51"/>
                      <a:pt x="3" y="52"/>
                      <a:pt x="3" y="52"/>
                    </a:cubicBezTo>
                    <a:cubicBezTo>
                      <a:pt x="3" y="52"/>
                      <a:pt x="3" y="52"/>
                      <a:pt x="3" y="52"/>
                    </a:cubicBezTo>
                    <a:cubicBezTo>
                      <a:pt x="2" y="53"/>
                      <a:pt x="2" y="53"/>
                      <a:pt x="1" y="53"/>
                    </a:cubicBezTo>
                    <a:cubicBezTo>
                      <a:pt x="1" y="54"/>
                      <a:pt x="0" y="54"/>
                      <a:pt x="0" y="55"/>
                    </a:cubicBezTo>
                    <a:cubicBezTo>
                      <a:pt x="0" y="56"/>
                      <a:pt x="0" y="56"/>
                      <a:pt x="0" y="57"/>
                    </a:cubicBezTo>
                    <a:cubicBezTo>
                      <a:pt x="1" y="58"/>
                      <a:pt x="1" y="58"/>
                      <a:pt x="0" y="59"/>
                    </a:cubicBezTo>
                    <a:cubicBezTo>
                      <a:pt x="1" y="60"/>
                      <a:pt x="1" y="60"/>
                      <a:pt x="2" y="60"/>
                    </a:cubicBezTo>
                    <a:cubicBezTo>
                      <a:pt x="2" y="60"/>
                      <a:pt x="3" y="60"/>
                      <a:pt x="3" y="60"/>
                    </a:cubicBezTo>
                    <a:cubicBezTo>
                      <a:pt x="4" y="60"/>
                      <a:pt x="5" y="60"/>
                      <a:pt x="5" y="60"/>
                    </a:cubicBezTo>
                    <a:cubicBezTo>
                      <a:pt x="6" y="61"/>
                      <a:pt x="5" y="61"/>
                      <a:pt x="6" y="61"/>
                    </a:cubicBezTo>
                    <a:cubicBezTo>
                      <a:pt x="6" y="62"/>
                      <a:pt x="6" y="62"/>
                      <a:pt x="6" y="63"/>
                    </a:cubicBezTo>
                    <a:cubicBezTo>
                      <a:pt x="7" y="63"/>
                      <a:pt x="7" y="63"/>
                      <a:pt x="8" y="63"/>
                    </a:cubicBezTo>
                    <a:cubicBezTo>
                      <a:pt x="9" y="63"/>
                      <a:pt x="9" y="63"/>
                      <a:pt x="10" y="63"/>
                    </a:cubicBezTo>
                    <a:cubicBezTo>
                      <a:pt x="10" y="63"/>
                      <a:pt x="11" y="63"/>
                      <a:pt x="11" y="63"/>
                    </a:cubicBezTo>
                    <a:cubicBezTo>
                      <a:pt x="12" y="63"/>
                      <a:pt x="12" y="64"/>
                      <a:pt x="12" y="64"/>
                    </a:cubicBezTo>
                    <a:cubicBezTo>
                      <a:pt x="13" y="64"/>
                      <a:pt x="13" y="64"/>
                      <a:pt x="14" y="64"/>
                    </a:cubicBezTo>
                    <a:cubicBezTo>
                      <a:pt x="15" y="64"/>
                      <a:pt x="15" y="64"/>
                      <a:pt x="15" y="65"/>
                    </a:cubicBezTo>
                    <a:cubicBezTo>
                      <a:pt x="16" y="65"/>
                      <a:pt x="17" y="65"/>
                      <a:pt x="17" y="65"/>
                    </a:cubicBezTo>
                    <a:cubicBezTo>
                      <a:pt x="16" y="65"/>
                      <a:pt x="16" y="66"/>
                      <a:pt x="16" y="66"/>
                    </a:cubicBezTo>
                    <a:cubicBezTo>
                      <a:pt x="16" y="67"/>
                      <a:pt x="15" y="67"/>
                      <a:pt x="15" y="67"/>
                    </a:cubicBezTo>
                    <a:cubicBezTo>
                      <a:pt x="15" y="68"/>
                      <a:pt x="14" y="68"/>
                      <a:pt x="14" y="68"/>
                    </a:cubicBezTo>
                    <a:cubicBezTo>
                      <a:pt x="14" y="69"/>
                      <a:pt x="14" y="69"/>
                      <a:pt x="14" y="69"/>
                    </a:cubicBezTo>
                    <a:cubicBezTo>
                      <a:pt x="14" y="70"/>
                      <a:pt x="14" y="70"/>
                      <a:pt x="14" y="70"/>
                    </a:cubicBezTo>
                    <a:cubicBezTo>
                      <a:pt x="13" y="71"/>
                      <a:pt x="13" y="71"/>
                      <a:pt x="13" y="71"/>
                    </a:cubicBezTo>
                    <a:cubicBezTo>
                      <a:pt x="13" y="72"/>
                      <a:pt x="12" y="73"/>
                      <a:pt x="12" y="74"/>
                    </a:cubicBezTo>
                    <a:cubicBezTo>
                      <a:pt x="13" y="75"/>
                      <a:pt x="12" y="76"/>
                      <a:pt x="12" y="77"/>
                    </a:cubicBezTo>
                    <a:cubicBezTo>
                      <a:pt x="12" y="77"/>
                      <a:pt x="12" y="78"/>
                      <a:pt x="12" y="78"/>
                    </a:cubicBezTo>
                    <a:cubicBezTo>
                      <a:pt x="12" y="78"/>
                      <a:pt x="13" y="79"/>
                      <a:pt x="13" y="79"/>
                    </a:cubicBezTo>
                    <a:cubicBezTo>
                      <a:pt x="13" y="79"/>
                      <a:pt x="13" y="79"/>
                      <a:pt x="13" y="79"/>
                    </a:cubicBezTo>
                    <a:cubicBezTo>
                      <a:pt x="13" y="79"/>
                      <a:pt x="13" y="79"/>
                      <a:pt x="13" y="79"/>
                    </a:cubicBezTo>
                    <a:close/>
                    <a:moveTo>
                      <a:pt x="8" y="14"/>
                    </a:moveTo>
                    <a:cubicBezTo>
                      <a:pt x="8" y="14"/>
                      <a:pt x="8" y="14"/>
                      <a:pt x="8" y="14"/>
                    </a:cubicBezTo>
                    <a:cubicBezTo>
                      <a:pt x="8" y="14"/>
                      <a:pt x="9" y="14"/>
                      <a:pt x="9" y="14"/>
                    </a:cubicBezTo>
                    <a:cubicBezTo>
                      <a:pt x="9" y="14"/>
                      <a:pt x="9" y="14"/>
                      <a:pt x="8" y="14"/>
                    </a:cubicBezTo>
                    <a:cubicBezTo>
                      <a:pt x="8" y="14"/>
                      <a:pt x="9" y="14"/>
                      <a:pt x="8" y="14"/>
                    </a:cubicBezTo>
                    <a:close/>
                    <a:moveTo>
                      <a:pt x="11" y="14"/>
                    </a:moveTo>
                    <a:cubicBezTo>
                      <a:pt x="11" y="14"/>
                      <a:pt x="12" y="14"/>
                      <a:pt x="12" y="13"/>
                    </a:cubicBezTo>
                    <a:cubicBezTo>
                      <a:pt x="11" y="13"/>
                      <a:pt x="10" y="13"/>
                      <a:pt x="10" y="14"/>
                    </a:cubicBezTo>
                    <a:cubicBezTo>
                      <a:pt x="10" y="14"/>
                      <a:pt x="10" y="14"/>
                      <a:pt x="11" y="14"/>
                    </a:cubicBezTo>
                    <a:close/>
                    <a:moveTo>
                      <a:pt x="13" y="13"/>
                    </a:moveTo>
                    <a:cubicBezTo>
                      <a:pt x="13" y="13"/>
                      <a:pt x="12" y="13"/>
                      <a:pt x="12" y="13"/>
                    </a:cubicBezTo>
                    <a:cubicBezTo>
                      <a:pt x="13" y="13"/>
                      <a:pt x="14" y="13"/>
                      <a:pt x="14" y="13"/>
                    </a:cubicBezTo>
                    <a:cubicBezTo>
                      <a:pt x="14" y="13"/>
                      <a:pt x="13" y="13"/>
                      <a:pt x="13" y="13"/>
                    </a:cubicBezTo>
                    <a:cubicBezTo>
                      <a:pt x="13" y="13"/>
                      <a:pt x="13" y="13"/>
                      <a:pt x="13"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6" name="Freeform 811">
                <a:extLst>
                  <a:ext uri="{FF2B5EF4-FFF2-40B4-BE49-F238E27FC236}">
                    <a16:creationId xmlns:a16="http://schemas.microsoft.com/office/drawing/2014/main" id="{EB1E57CA-5DF1-24B9-8560-F2E8401AB4B9}"/>
                  </a:ext>
                </a:extLst>
              </p:cNvPr>
              <p:cNvSpPr>
                <a:spLocks noEditPoints="1"/>
              </p:cNvSpPr>
              <p:nvPr/>
            </p:nvSpPr>
            <p:spPr bwMode="auto">
              <a:xfrm>
                <a:off x="5929313" y="2084388"/>
                <a:ext cx="336550" cy="687388"/>
              </a:xfrm>
              <a:custGeom>
                <a:avLst/>
                <a:gdLst>
                  <a:gd name="T0" fmla="*/ 51 w 81"/>
                  <a:gd name="T1" fmla="*/ 156 h 165"/>
                  <a:gd name="T2" fmla="*/ 46 w 81"/>
                  <a:gd name="T3" fmla="*/ 158 h 165"/>
                  <a:gd name="T4" fmla="*/ 43 w 81"/>
                  <a:gd name="T5" fmla="*/ 159 h 165"/>
                  <a:gd name="T6" fmla="*/ 34 w 81"/>
                  <a:gd name="T7" fmla="*/ 161 h 165"/>
                  <a:gd name="T8" fmla="*/ 27 w 81"/>
                  <a:gd name="T9" fmla="*/ 163 h 165"/>
                  <a:gd name="T10" fmla="*/ 24 w 81"/>
                  <a:gd name="T11" fmla="*/ 164 h 165"/>
                  <a:gd name="T12" fmla="*/ 21 w 81"/>
                  <a:gd name="T13" fmla="*/ 159 h 165"/>
                  <a:gd name="T14" fmla="*/ 16 w 81"/>
                  <a:gd name="T15" fmla="*/ 156 h 165"/>
                  <a:gd name="T16" fmla="*/ 13 w 81"/>
                  <a:gd name="T17" fmla="*/ 153 h 165"/>
                  <a:gd name="T18" fmla="*/ 13 w 81"/>
                  <a:gd name="T19" fmla="*/ 146 h 165"/>
                  <a:gd name="T20" fmla="*/ 13 w 81"/>
                  <a:gd name="T21" fmla="*/ 142 h 165"/>
                  <a:gd name="T22" fmla="*/ 13 w 81"/>
                  <a:gd name="T23" fmla="*/ 138 h 165"/>
                  <a:gd name="T24" fmla="*/ 12 w 81"/>
                  <a:gd name="T25" fmla="*/ 130 h 165"/>
                  <a:gd name="T26" fmla="*/ 10 w 81"/>
                  <a:gd name="T27" fmla="*/ 124 h 165"/>
                  <a:gd name="T28" fmla="*/ 13 w 81"/>
                  <a:gd name="T29" fmla="*/ 117 h 165"/>
                  <a:gd name="T30" fmla="*/ 19 w 81"/>
                  <a:gd name="T31" fmla="*/ 114 h 165"/>
                  <a:gd name="T32" fmla="*/ 23 w 81"/>
                  <a:gd name="T33" fmla="*/ 108 h 165"/>
                  <a:gd name="T34" fmla="*/ 29 w 81"/>
                  <a:gd name="T35" fmla="*/ 101 h 165"/>
                  <a:gd name="T36" fmla="*/ 32 w 81"/>
                  <a:gd name="T37" fmla="*/ 97 h 165"/>
                  <a:gd name="T38" fmla="*/ 37 w 81"/>
                  <a:gd name="T39" fmla="*/ 91 h 165"/>
                  <a:gd name="T40" fmla="*/ 38 w 81"/>
                  <a:gd name="T41" fmla="*/ 87 h 165"/>
                  <a:gd name="T42" fmla="*/ 38 w 81"/>
                  <a:gd name="T43" fmla="*/ 81 h 165"/>
                  <a:gd name="T44" fmla="*/ 35 w 81"/>
                  <a:gd name="T45" fmla="*/ 75 h 165"/>
                  <a:gd name="T46" fmla="*/ 30 w 81"/>
                  <a:gd name="T47" fmla="*/ 75 h 165"/>
                  <a:gd name="T48" fmla="*/ 28 w 81"/>
                  <a:gd name="T49" fmla="*/ 65 h 165"/>
                  <a:gd name="T50" fmla="*/ 28 w 81"/>
                  <a:gd name="T51" fmla="*/ 52 h 165"/>
                  <a:gd name="T52" fmla="*/ 27 w 81"/>
                  <a:gd name="T53" fmla="*/ 41 h 165"/>
                  <a:gd name="T54" fmla="*/ 20 w 81"/>
                  <a:gd name="T55" fmla="*/ 31 h 165"/>
                  <a:gd name="T56" fmla="*/ 12 w 81"/>
                  <a:gd name="T57" fmla="*/ 25 h 165"/>
                  <a:gd name="T58" fmla="*/ 11 w 81"/>
                  <a:gd name="T59" fmla="*/ 19 h 165"/>
                  <a:gd name="T60" fmla="*/ 18 w 81"/>
                  <a:gd name="T61" fmla="*/ 21 h 165"/>
                  <a:gd name="T62" fmla="*/ 27 w 81"/>
                  <a:gd name="T63" fmla="*/ 27 h 165"/>
                  <a:gd name="T64" fmla="*/ 36 w 81"/>
                  <a:gd name="T65" fmla="*/ 28 h 165"/>
                  <a:gd name="T66" fmla="*/ 42 w 81"/>
                  <a:gd name="T67" fmla="*/ 20 h 165"/>
                  <a:gd name="T68" fmla="*/ 45 w 81"/>
                  <a:gd name="T69" fmla="*/ 7 h 165"/>
                  <a:gd name="T70" fmla="*/ 57 w 81"/>
                  <a:gd name="T71" fmla="*/ 2 h 165"/>
                  <a:gd name="T72" fmla="*/ 66 w 81"/>
                  <a:gd name="T73" fmla="*/ 12 h 165"/>
                  <a:gd name="T74" fmla="*/ 61 w 81"/>
                  <a:gd name="T75" fmla="*/ 34 h 165"/>
                  <a:gd name="T76" fmla="*/ 70 w 81"/>
                  <a:gd name="T77" fmla="*/ 48 h 165"/>
                  <a:gd name="T78" fmla="*/ 68 w 81"/>
                  <a:gd name="T79" fmla="*/ 68 h 165"/>
                  <a:gd name="T80" fmla="*/ 69 w 81"/>
                  <a:gd name="T81" fmla="*/ 80 h 165"/>
                  <a:gd name="T82" fmla="*/ 68 w 81"/>
                  <a:gd name="T83" fmla="*/ 89 h 165"/>
                  <a:gd name="T84" fmla="*/ 70 w 81"/>
                  <a:gd name="T85" fmla="*/ 98 h 165"/>
                  <a:gd name="T86" fmla="*/ 74 w 81"/>
                  <a:gd name="T87" fmla="*/ 102 h 165"/>
                  <a:gd name="T88" fmla="*/ 74 w 81"/>
                  <a:gd name="T89" fmla="*/ 114 h 165"/>
                  <a:gd name="T90" fmla="*/ 80 w 81"/>
                  <a:gd name="T91" fmla="*/ 123 h 165"/>
                  <a:gd name="T92" fmla="*/ 70 w 81"/>
                  <a:gd name="T93" fmla="*/ 140 h 165"/>
                  <a:gd name="T94" fmla="*/ 61 w 81"/>
                  <a:gd name="T95" fmla="*/ 149 h 165"/>
                  <a:gd name="T96" fmla="*/ 0 w 81"/>
                  <a:gd name="T97" fmla="*/ 160 h 165"/>
                  <a:gd name="T98" fmla="*/ 3 w 81"/>
                  <a:gd name="T99" fmla="*/ 162 h 165"/>
                  <a:gd name="T100" fmla="*/ 5 w 81"/>
                  <a:gd name="T101" fmla="*/ 159 h 165"/>
                  <a:gd name="T102" fmla="*/ 19 w 81"/>
                  <a:gd name="T103" fmla="*/ 162 h 165"/>
                  <a:gd name="T104" fmla="*/ 20 w 81"/>
                  <a:gd name="T105" fmla="*/ 161 h 165"/>
                  <a:gd name="T106" fmla="*/ 36 w 81"/>
                  <a:gd name="T107" fmla="*/ 89 h 165"/>
                  <a:gd name="T108" fmla="*/ 12 w 81"/>
                  <a:gd name="T109" fmla="*/ 11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 h="165">
                    <a:moveTo>
                      <a:pt x="56" y="156"/>
                    </a:moveTo>
                    <a:cubicBezTo>
                      <a:pt x="55" y="155"/>
                      <a:pt x="55" y="155"/>
                      <a:pt x="55" y="156"/>
                    </a:cubicBezTo>
                    <a:cubicBezTo>
                      <a:pt x="55" y="156"/>
                      <a:pt x="55" y="157"/>
                      <a:pt x="55" y="156"/>
                    </a:cubicBezTo>
                    <a:cubicBezTo>
                      <a:pt x="54" y="156"/>
                      <a:pt x="54" y="156"/>
                      <a:pt x="54" y="156"/>
                    </a:cubicBezTo>
                    <a:cubicBezTo>
                      <a:pt x="53" y="156"/>
                      <a:pt x="53" y="157"/>
                      <a:pt x="53" y="157"/>
                    </a:cubicBezTo>
                    <a:cubicBezTo>
                      <a:pt x="53" y="157"/>
                      <a:pt x="53" y="156"/>
                      <a:pt x="52" y="156"/>
                    </a:cubicBezTo>
                    <a:cubicBezTo>
                      <a:pt x="52" y="156"/>
                      <a:pt x="51" y="156"/>
                      <a:pt x="51" y="156"/>
                    </a:cubicBezTo>
                    <a:cubicBezTo>
                      <a:pt x="50" y="156"/>
                      <a:pt x="50" y="156"/>
                      <a:pt x="50" y="157"/>
                    </a:cubicBezTo>
                    <a:cubicBezTo>
                      <a:pt x="50" y="157"/>
                      <a:pt x="49" y="157"/>
                      <a:pt x="49" y="157"/>
                    </a:cubicBezTo>
                    <a:cubicBezTo>
                      <a:pt x="49" y="156"/>
                      <a:pt x="48" y="157"/>
                      <a:pt x="48" y="157"/>
                    </a:cubicBezTo>
                    <a:cubicBezTo>
                      <a:pt x="48" y="157"/>
                      <a:pt x="47" y="157"/>
                      <a:pt x="47" y="157"/>
                    </a:cubicBezTo>
                    <a:cubicBezTo>
                      <a:pt x="47" y="157"/>
                      <a:pt x="47" y="158"/>
                      <a:pt x="47" y="158"/>
                    </a:cubicBezTo>
                    <a:cubicBezTo>
                      <a:pt x="47" y="158"/>
                      <a:pt x="47" y="157"/>
                      <a:pt x="47" y="157"/>
                    </a:cubicBezTo>
                    <a:cubicBezTo>
                      <a:pt x="46" y="157"/>
                      <a:pt x="46" y="158"/>
                      <a:pt x="46" y="158"/>
                    </a:cubicBezTo>
                    <a:cubicBezTo>
                      <a:pt x="46" y="158"/>
                      <a:pt x="45" y="157"/>
                      <a:pt x="45" y="157"/>
                    </a:cubicBezTo>
                    <a:cubicBezTo>
                      <a:pt x="45" y="157"/>
                      <a:pt x="45" y="158"/>
                      <a:pt x="44" y="157"/>
                    </a:cubicBezTo>
                    <a:cubicBezTo>
                      <a:pt x="44" y="157"/>
                      <a:pt x="43" y="157"/>
                      <a:pt x="43" y="157"/>
                    </a:cubicBezTo>
                    <a:cubicBezTo>
                      <a:pt x="43" y="157"/>
                      <a:pt x="44" y="158"/>
                      <a:pt x="44" y="159"/>
                    </a:cubicBezTo>
                    <a:cubicBezTo>
                      <a:pt x="44" y="159"/>
                      <a:pt x="44" y="158"/>
                      <a:pt x="43" y="158"/>
                    </a:cubicBezTo>
                    <a:cubicBezTo>
                      <a:pt x="43" y="158"/>
                      <a:pt x="43" y="158"/>
                      <a:pt x="42" y="158"/>
                    </a:cubicBezTo>
                    <a:cubicBezTo>
                      <a:pt x="42" y="158"/>
                      <a:pt x="43" y="159"/>
                      <a:pt x="43" y="159"/>
                    </a:cubicBezTo>
                    <a:cubicBezTo>
                      <a:pt x="42" y="159"/>
                      <a:pt x="42" y="159"/>
                      <a:pt x="42" y="159"/>
                    </a:cubicBezTo>
                    <a:cubicBezTo>
                      <a:pt x="41" y="159"/>
                      <a:pt x="41" y="160"/>
                      <a:pt x="41" y="160"/>
                    </a:cubicBezTo>
                    <a:cubicBezTo>
                      <a:pt x="40" y="160"/>
                      <a:pt x="40" y="160"/>
                      <a:pt x="39" y="160"/>
                    </a:cubicBezTo>
                    <a:cubicBezTo>
                      <a:pt x="38" y="160"/>
                      <a:pt x="38" y="161"/>
                      <a:pt x="37" y="160"/>
                    </a:cubicBezTo>
                    <a:cubicBezTo>
                      <a:pt x="37" y="160"/>
                      <a:pt x="37" y="161"/>
                      <a:pt x="37" y="161"/>
                    </a:cubicBezTo>
                    <a:cubicBezTo>
                      <a:pt x="36" y="161"/>
                      <a:pt x="35" y="161"/>
                      <a:pt x="35" y="160"/>
                    </a:cubicBezTo>
                    <a:cubicBezTo>
                      <a:pt x="35" y="161"/>
                      <a:pt x="34" y="162"/>
                      <a:pt x="34" y="161"/>
                    </a:cubicBezTo>
                    <a:cubicBezTo>
                      <a:pt x="34" y="161"/>
                      <a:pt x="33" y="164"/>
                      <a:pt x="33" y="162"/>
                    </a:cubicBezTo>
                    <a:cubicBezTo>
                      <a:pt x="32" y="163"/>
                      <a:pt x="33" y="162"/>
                      <a:pt x="32" y="162"/>
                    </a:cubicBezTo>
                    <a:cubicBezTo>
                      <a:pt x="32" y="162"/>
                      <a:pt x="31" y="163"/>
                      <a:pt x="31" y="162"/>
                    </a:cubicBezTo>
                    <a:cubicBezTo>
                      <a:pt x="30" y="163"/>
                      <a:pt x="30" y="162"/>
                      <a:pt x="30" y="163"/>
                    </a:cubicBezTo>
                    <a:cubicBezTo>
                      <a:pt x="29" y="163"/>
                      <a:pt x="29" y="163"/>
                      <a:pt x="29" y="163"/>
                    </a:cubicBezTo>
                    <a:cubicBezTo>
                      <a:pt x="28" y="163"/>
                      <a:pt x="28" y="163"/>
                      <a:pt x="28" y="163"/>
                    </a:cubicBezTo>
                    <a:cubicBezTo>
                      <a:pt x="28" y="163"/>
                      <a:pt x="27" y="163"/>
                      <a:pt x="27" y="163"/>
                    </a:cubicBezTo>
                    <a:cubicBezTo>
                      <a:pt x="26" y="163"/>
                      <a:pt x="27" y="163"/>
                      <a:pt x="27" y="162"/>
                    </a:cubicBezTo>
                    <a:cubicBezTo>
                      <a:pt x="26" y="162"/>
                      <a:pt x="26" y="163"/>
                      <a:pt x="26" y="163"/>
                    </a:cubicBezTo>
                    <a:cubicBezTo>
                      <a:pt x="25" y="164"/>
                      <a:pt x="25" y="164"/>
                      <a:pt x="25" y="165"/>
                    </a:cubicBezTo>
                    <a:cubicBezTo>
                      <a:pt x="24" y="165"/>
                      <a:pt x="24" y="165"/>
                      <a:pt x="24" y="165"/>
                    </a:cubicBezTo>
                    <a:cubicBezTo>
                      <a:pt x="24" y="165"/>
                      <a:pt x="23" y="165"/>
                      <a:pt x="23" y="165"/>
                    </a:cubicBezTo>
                    <a:cubicBezTo>
                      <a:pt x="22" y="165"/>
                      <a:pt x="24" y="165"/>
                      <a:pt x="24" y="164"/>
                    </a:cubicBezTo>
                    <a:cubicBezTo>
                      <a:pt x="24" y="164"/>
                      <a:pt x="24" y="164"/>
                      <a:pt x="24" y="164"/>
                    </a:cubicBezTo>
                    <a:cubicBezTo>
                      <a:pt x="24" y="163"/>
                      <a:pt x="25" y="163"/>
                      <a:pt x="25" y="163"/>
                    </a:cubicBezTo>
                    <a:cubicBezTo>
                      <a:pt x="25" y="162"/>
                      <a:pt x="24" y="163"/>
                      <a:pt x="24" y="162"/>
                    </a:cubicBezTo>
                    <a:cubicBezTo>
                      <a:pt x="23" y="162"/>
                      <a:pt x="23" y="161"/>
                      <a:pt x="23" y="162"/>
                    </a:cubicBezTo>
                    <a:cubicBezTo>
                      <a:pt x="22" y="161"/>
                      <a:pt x="22" y="160"/>
                      <a:pt x="23" y="160"/>
                    </a:cubicBezTo>
                    <a:cubicBezTo>
                      <a:pt x="23" y="159"/>
                      <a:pt x="24" y="159"/>
                      <a:pt x="23" y="158"/>
                    </a:cubicBezTo>
                    <a:cubicBezTo>
                      <a:pt x="23" y="159"/>
                      <a:pt x="22" y="159"/>
                      <a:pt x="21" y="160"/>
                    </a:cubicBezTo>
                    <a:cubicBezTo>
                      <a:pt x="21" y="160"/>
                      <a:pt x="20" y="160"/>
                      <a:pt x="21" y="159"/>
                    </a:cubicBezTo>
                    <a:cubicBezTo>
                      <a:pt x="21" y="159"/>
                      <a:pt x="20" y="160"/>
                      <a:pt x="20" y="159"/>
                    </a:cubicBezTo>
                    <a:cubicBezTo>
                      <a:pt x="19" y="159"/>
                      <a:pt x="20" y="158"/>
                      <a:pt x="20" y="158"/>
                    </a:cubicBezTo>
                    <a:cubicBezTo>
                      <a:pt x="20" y="158"/>
                      <a:pt x="20" y="158"/>
                      <a:pt x="19" y="158"/>
                    </a:cubicBezTo>
                    <a:cubicBezTo>
                      <a:pt x="19" y="158"/>
                      <a:pt x="18" y="158"/>
                      <a:pt x="18" y="158"/>
                    </a:cubicBezTo>
                    <a:cubicBezTo>
                      <a:pt x="18" y="157"/>
                      <a:pt x="18" y="157"/>
                      <a:pt x="17" y="157"/>
                    </a:cubicBezTo>
                    <a:cubicBezTo>
                      <a:pt x="17" y="157"/>
                      <a:pt x="17" y="157"/>
                      <a:pt x="16" y="157"/>
                    </a:cubicBezTo>
                    <a:cubicBezTo>
                      <a:pt x="16" y="156"/>
                      <a:pt x="16" y="156"/>
                      <a:pt x="16" y="156"/>
                    </a:cubicBezTo>
                    <a:cubicBezTo>
                      <a:pt x="15" y="156"/>
                      <a:pt x="15" y="156"/>
                      <a:pt x="15" y="156"/>
                    </a:cubicBezTo>
                    <a:cubicBezTo>
                      <a:pt x="15" y="155"/>
                      <a:pt x="15" y="154"/>
                      <a:pt x="14" y="155"/>
                    </a:cubicBezTo>
                    <a:cubicBezTo>
                      <a:pt x="14" y="156"/>
                      <a:pt x="14" y="156"/>
                      <a:pt x="13" y="156"/>
                    </a:cubicBezTo>
                    <a:cubicBezTo>
                      <a:pt x="13" y="156"/>
                      <a:pt x="13" y="156"/>
                      <a:pt x="13" y="155"/>
                    </a:cubicBezTo>
                    <a:cubicBezTo>
                      <a:pt x="13" y="155"/>
                      <a:pt x="12" y="155"/>
                      <a:pt x="12" y="154"/>
                    </a:cubicBezTo>
                    <a:cubicBezTo>
                      <a:pt x="12" y="154"/>
                      <a:pt x="12" y="154"/>
                      <a:pt x="12" y="154"/>
                    </a:cubicBezTo>
                    <a:cubicBezTo>
                      <a:pt x="12" y="154"/>
                      <a:pt x="13" y="154"/>
                      <a:pt x="13" y="153"/>
                    </a:cubicBezTo>
                    <a:cubicBezTo>
                      <a:pt x="12" y="153"/>
                      <a:pt x="12" y="153"/>
                      <a:pt x="12" y="152"/>
                    </a:cubicBezTo>
                    <a:cubicBezTo>
                      <a:pt x="12" y="151"/>
                      <a:pt x="12" y="151"/>
                      <a:pt x="12" y="151"/>
                    </a:cubicBezTo>
                    <a:cubicBezTo>
                      <a:pt x="12" y="150"/>
                      <a:pt x="12" y="150"/>
                      <a:pt x="12" y="150"/>
                    </a:cubicBezTo>
                    <a:cubicBezTo>
                      <a:pt x="12" y="150"/>
                      <a:pt x="12" y="149"/>
                      <a:pt x="12" y="149"/>
                    </a:cubicBezTo>
                    <a:cubicBezTo>
                      <a:pt x="12" y="148"/>
                      <a:pt x="13" y="149"/>
                      <a:pt x="13" y="148"/>
                    </a:cubicBezTo>
                    <a:cubicBezTo>
                      <a:pt x="13" y="147"/>
                      <a:pt x="12" y="147"/>
                      <a:pt x="12" y="146"/>
                    </a:cubicBezTo>
                    <a:cubicBezTo>
                      <a:pt x="12" y="147"/>
                      <a:pt x="13" y="147"/>
                      <a:pt x="13" y="146"/>
                    </a:cubicBezTo>
                    <a:cubicBezTo>
                      <a:pt x="13" y="146"/>
                      <a:pt x="13" y="146"/>
                      <a:pt x="13" y="146"/>
                    </a:cubicBezTo>
                    <a:cubicBezTo>
                      <a:pt x="13" y="146"/>
                      <a:pt x="13" y="146"/>
                      <a:pt x="13" y="145"/>
                    </a:cubicBezTo>
                    <a:cubicBezTo>
                      <a:pt x="13" y="145"/>
                      <a:pt x="13" y="145"/>
                      <a:pt x="13" y="145"/>
                    </a:cubicBezTo>
                    <a:cubicBezTo>
                      <a:pt x="13" y="145"/>
                      <a:pt x="13" y="144"/>
                      <a:pt x="13" y="144"/>
                    </a:cubicBezTo>
                    <a:cubicBezTo>
                      <a:pt x="13" y="144"/>
                      <a:pt x="12" y="143"/>
                      <a:pt x="13" y="143"/>
                    </a:cubicBezTo>
                    <a:cubicBezTo>
                      <a:pt x="13" y="143"/>
                      <a:pt x="13" y="143"/>
                      <a:pt x="13" y="143"/>
                    </a:cubicBezTo>
                    <a:cubicBezTo>
                      <a:pt x="13" y="142"/>
                      <a:pt x="13" y="143"/>
                      <a:pt x="13" y="142"/>
                    </a:cubicBezTo>
                    <a:cubicBezTo>
                      <a:pt x="14" y="142"/>
                      <a:pt x="13" y="142"/>
                      <a:pt x="13" y="142"/>
                    </a:cubicBezTo>
                    <a:cubicBezTo>
                      <a:pt x="13" y="142"/>
                      <a:pt x="13" y="141"/>
                      <a:pt x="14" y="141"/>
                    </a:cubicBezTo>
                    <a:cubicBezTo>
                      <a:pt x="14" y="141"/>
                      <a:pt x="14" y="141"/>
                      <a:pt x="14" y="141"/>
                    </a:cubicBezTo>
                    <a:cubicBezTo>
                      <a:pt x="13" y="140"/>
                      <a:pt x="13" y="141"/>
                      <a:pt x="13" y="141"/>
                    </a:cubicBezTo>
                    <a:cubicBezTo>
                      <a:pt x="13" y="141"/>
                      <a:pt x="13" y="141"/>
                      <a:pt x="13" y="140"/>
                    </a:cubicBezTo>
                    <a:cubicBezTo>
                      <a:pt x="13" y="140"/>
                      <a:pt x="14" y="140"/>
                      <a:pt x="13" y="139"/>
                    </a:cubicBezTo>
                    <a:cubicBezTo>
                      <a:pt x="13" y="139"/>
                      <a:pt x="13" y="138"/>
                      <a:pt x="13" y="138"/>
                    </a:cubicBezTo>
                    <a:cubicBezTo>
                      <a:pt x="13" y="137"/>
                      <a:pt x="12" y="137"/>
                      <a:pt x="12" y="136"/>
                    </a:cubicBezTo>
                    <a:cubicBezTo>
                      <a:pt x="12" y="136"/>
                      <a:pt x="11" y="135"/>
                      <a:pt x="12" y="135"/>
                    </a:cubicBezTo>
                    <a:cubicBezTo>
                      <a:pt x="12" y="135"/>
                      <a:pt x="11" y="135"/>
                      <a:pt x="11" y="135"/>
                    </a:cubicBezTo>
                    <a:cubicBezTo>
                      <a:pt x="12" y="134"/>
                      <a:pt x="11" y="134"/>
                      <a:pt x="12" y="133"/>
                    </a:cubicBezTo>
                    <a:cubicBezTo>
                      <a:pt x="12" y="133"/>
                      <a:pt x="12" y="132"/>
                      <a:pt x="12" y="131"/>
                    </a:cubicBezTo>
                    <a:cubicBezTo>
                      <a:pt x="12" y="131"/>
                      <a:pt x="12" y="132"/>
                      <a:pt x="12" y="132"/>
                    </a:cubicBezTo>
                    <a:cubicBezTo>
                      <a:pt x="12" y="131"/>
                      <a:pt x="12" y="131"/>
                      <a:pt x="12" y="130"/>
                    </a:cubicBezTo>
                    <a:cubicBezTo>
                      <a:pt x="12" y="130"/>
                      <a:pt x="11" y="130"/>
                      <a:pt x="11" y="130"/>
                    </a:cubicBezTo>
                    <a:cubicBezTo>
                      <a:pt x="10" y="131"/>
                      <a:pt x="11" y="129"/>
                      <a:pt x="11" y="128"/>
                    </a:cubicBezTo>
                    <a:cubicBezTo>
                      <a:pt x="11" y="128"/>
                      <a:pt x="11" y="127"/>
                      <a:pt x="11" y="127"/>
                    </a:cubicBezTo>
                    <a:cubicBezTo>
                      <a:pt x="11" y="126"/>
                      <a:pt x="10" y="127"/>
                      <a:pt x="10" y="127"/>
                    </a:cubicBezTo>
                    <a:cubicBezTo>
                      <a:pt x="10" y="126"/>
                      <a:pt x="10" y="126"/>
                      <a:pt x="10" y="125"/>
                    </a:cubicBezTo>
                    <a:cubicBezTo>
                      <a:pt x="10" y="125"/>
                      <a:pt x="11" y="125"/>
                      <a:pt x="11" y="125"/>
                    </a:cubicBezTo>
                    <a:cubicBezTo>
                      <a:pt x="11" y="125"/>
                      <a:pt x="10" y="124"/>
                      <a:pt x="10" y="124"/>
                    </a:cubicBezTo>
                    <a:cubicBezTo>
                      <a:pt x="11" y="124"/>
                      <a:pt x="11" y="123"/>
                      <a:pt x="11" y="123"/>
                    </a:cubicBezTo>
                    <a:cubicBezTo>
                      <a:pt x="12" y="123"/>
                      <a:pt x="12" y="122"/>
                      <a:pt x="13" y="122"/>
                    </a:cubicBezTo>
                    <a:cubicBezTo>
                      <a:pt x="13" y="121"/>
                      <a:pt x="13" y="121"/>
                      <a:pt x="13" y="121"/>
                    </a:cubicBezTo>
                    <a:cubicBezTo>
                      <a:pt x="13" y="121"/>
                      <a:pt x="13" y="120"/>
                      <a:pt x="13" y="120"/>
                    </a:cubicBezTo>
                    <a:cubicBezTo>
                      <a:pt x="13" y="120"/>
                      <a:pt x="14" y="120"/>
                      <a:pt x="14" y="120"/>
                    </a:cubicBezTo>
                    <a:cubicBezTo>
                      <a:pt x="14" y="120"/>
                      <a:pt x="14" y="119"/>
                      <a:pt x="13" y="119"/>
                    </a:cubicBezTo>
                    <a:cubicBezTo>
                      <a:pt x="13" y="118"/>
                      <a:pt x="13" y="117"/>
                      <a:pt x="13" y="117"/>
                    </a:cubicBezTo>
                    <a:cubicBezTo>
                      <a:pt x="13" y="117"/>
                      <a:pt x="14" y="117"/>
                      <a:pt x="14" y="117"/>
                    </a:cubicBezTo>
                    <a:cubicBezTo>
                      <a:pt x="15" y="117"/>
                      <a:pt x="15" y="117"/>
                      <a:pt x="16" y="117"/>
                    </a:cubicBezTo>
                    <a:cubicBezTo>
                      <a:pt x="16" y="117"/>
                      <a:pt x="16" y="118"/>
                      <a:pt x="16" y="118"/>
                    </a:cubicBezTo>
                    <a:cubicBezTo>
                      <a:pt x="17" y="119"/>
                      <a:pt x="16" y="118"/>
                      <a:pt x="17" y="118"/>
                    </a:cubicBezTo>
                    <a:cubicBezTo>
                      <a:pt x="17" y="117"/>
                      <a:pt x="19" y="117"/>
                      <a:pt x="19" y="116"/>
                    </a:cubicBezTo>
                    <a:cubicBezTo>
                      <a:pt x="19" y="115"/>
                      <a:pt x="18" y="114"/>
                      <a:pt x="18" y="114"/>
                    </a:cubicBezTo>
                    <a:cubicBezTo>
                      <a:pt x="18" y="113"/>
                      <a:pt x="18" y="113"/>
                      <a:pt x="19" y="114"/>
                    </a:cubicBezTo>
                    <a:cubicBezTo>
                      <a:pt x="19" y="114"/>
                      <a:pt x="19" y="114"/>
                      <a:pt x="19" y="113"/>
                    </a:cubicBezTo>
                    <a:cubicBezTo>
                      <a:pt x="20" y="113"/>
                      <a:pt x="20" y="112"/>
                      <a:pt x="20" y="112"/>
                    </a:cubicBezTo>
                    <a:cubicBezTo>
                      <a:pt x="20" y="111"/>
                      <a:pt x="20" y="111"/>
                      <a:pt x="21" y="110"/>
                    </a:cubicBezTo>
                    <a:cubicBezTo>
                      <a:pt x="21" y="110"/>
                      <a:pt x="21" y="110"/>
                      <a:pt x="21" y="110"/>
                    </a:cubicBezTo>
                    <a:cubicBezTo>
                      <a:pt x="21" y="111"/>
                      <a:pt x="21" y="111"/>
                      <a:pt x="22" y="111"/>
                    </a:cubicBezTo>
                    <a:cubicBezTo>
                      <a:pt x="22" y="110"/>
                      <a:pt x="22" y="110"/>
                      <a:pt x="22" y="109"/>
                    </a:cubicBezTo>
                    <a:cubicBezTo>
                      <a:pt x="23" y="109"/>
                      <a:pt x="23" y="109"/>
                      <a:pt x="23" y="108"/>
                    </a:cubicBezTo>
                    <a:cubicBezTo>
                      <a:pt x="24" y="108"/>
                      <a:pt x="24" y="108"/>
                      <a:pt x="24" y="108"/>
                    </a:cubicBezTo>
                    <a:cubicBezTo>
                      <a:pt x="25" y="107"/>
                      <a:pt x="25" y="107"/>
                      <a:pt x="26" y="107"/>
                    </a:cubicBezTo>
                    <a:cubicBezTo>
                      <a:pt x="26" y="106"/>
                      <a:pt x="25" y="105"/>
                      <a:pt x="26" y="105"/>
                    </a:cubicBezTo>
                    <a:cubicBezTo>
                      <a:pt x="26" y="105"/>
                      <a:pt x="26" y="105"/>
                      <a:pt x="27" y="105"/>
                    </a:cubicBezTo>
                    <a:cubicBezTo>
                      <a:pt x="27" y="105"/>
                      <a:pt x="27" y="104"/>
                      <a:pt x="27" y="104"/>
                    </a:cubicBezTo>
                    <a:cubicBezTo>
                      <a:pt x="28" y="103"/>
                      <a:pt x="28" y="103"/>
                      <a:pt x="28" y="102"/>
                    </a:cubicBezTo>
                    <a:cubicBezTo>
                      <a:pt x="29" y="102"/>
                      <a:pt x="29" y="102"/>
                      <a:pt x="29" y="101"/>
                    </a:cubicBezTo>
                    <a:cubicBezTo>
                      <a:pt x="30" y="101"/>
                      <a:pt x="30" y="101"/>
                      <a:pt x="30" y="100"/>
                    </a:cubicBezTo>
                    <a:cubicBezTo>
                      <a:pt x="30" y="100"/>
                      <a:pt x="30" y="99"/>
                      <a:pt x="31" y="99"/>
                    </a:cubicBezTo>
                    <a:cubicBezTo>
                      <a:pt x="31" y="99"/>
                      <a:pt x="31" y="99"/>
                      <a:pt x="31" y="99"/>
                    </a:cubicBezTo>
                    <a:cubicBezTo>
                      <a:pt x="31" y="99"/>
                      <a:pt x="31" y="99"/>
                      <a:pt x="31" y="99"/>
                    </a:cubicBezTo>
                    <a:cubicBezTo>
                      <a:pt x="31" y="98"/>
                      <a:pt x="31" y="98"/>
                      <a:pt x="32" y="98"/>
                    </a:cubicBezTo>
                    <a:cubicBezTo>
                      <a:pt x="32" y="98"/>
                      <a:pt x="32" y="98"/>
                      <a:pt x="32" y="98"/>
                    </a:cubicBezTo>
                    <a:cubicBezTo>
                      <a:pt x="32" y="97"/>
                      <a:pt x="32" y="97"/>
                      <a:pt x="32" y="97"/>
                    </a:cubicBezTo>
                    <a:cubicBezTo>
                      <a:pt x="32" y="97"/>
                      <a:pt x="32" y="97"/>
                      <a:pt x="32" y="97"/>
                    </a:cubicBezTo>
                    <a:cubicBezTo>
                      <a:pt x="33" y="96"/>
                      <a:pt x="32" y="95"/>
                      <a:pt x="33" y="95"/>
                    </a:cubicBezTo>
                    <a:cubicBezTo>
                      <a:pt x="33" y="95"/>
                      <a:pt x="33" y="95"/>
                      <a:pt x="34" y="94"/>
                    </a:cubicBezTo>
                    <a:cubicBezTo>
                      <a:pt x="34" y="94"/>
                      <a:pt x="34" y="94"/>
                      <a:pt x="34" y="93"/>
                    </a:cubicBezTo>
                    <a:cubicBezTo>
                      <a:pt x="34" y="93"/>
                      <a:pt x="34" y="92"/>
                      <a:pt x="34" y="93"/>
                    </a:cubicBezTo>
                    <a:cubicBezTo>
                      <a:pt x="35" y="93"/>
                      <a:pt x="35" y="92"/>
                      <a:pt x="35" y="92"/>
                    </a:cubicBezTo>
                    <a:cubicBezTo>
                      <a:pt x="35" y="92"/>
                      <a:pt x="36" y="91"/>
                      <a:pt x="37" y="91"/>
                    </a:cubicBezTo>
                    <a:cubicBezTo>
                      <a:pt x="38" y="91"/>
                      <a:pt x="38" y="93"/>
                      <a:pt x="38" y="93"/>
                    </a:cubicBezTo>
                    <a:cubicBezTo>
                      <a:pt x="40" y="92"/>
                      <a:pt x="38" y="91"/>
                      <a:pt x="38" y="91"/>
                    </a:cubicBezTo>
                    <a:cubicBezTo>
                      <a:pt x="38" y="91"/>
                      <a:pt x="38" y="90"/>
                      <a:pt x="38" y="90"/>
                    </a:cubicBezTo>
                    <a:cubicBezTo>
                      <a:pt x="39" y="90"/>
                      <a:pt x="39" y="90"/>
                      <a:pt x="39" y="90"/>
                    </a:cubicBezTo>
                    <a:cubicBezTo>
                      <a:pt x="40" y="90"/>
                      <a:pt x="40" y="90"/>
                      <a:pt x="39" y="90"/>
                    </a:cubicBezTo>
                    <a:cubicBezTo>
                      <a:pt x="39" y="89"/>
                      <a:pt x="39" y="89"/>
                      <a:pt x="39" y="88"/>
                    </a:cubicBezTo>
                    <a:cubicBezTo>
                      <a:pt x="38" y="88"/>
                      <a:pt x="38" y="88"/>
                      <a:pt x="38" y="87"/>
                    </a:cubicBezTo>
                    <a:cubicBezTo>
                      <a:pt x="38" y="87"/>
                      <a:pt x="39" y="87"/>
                      <a:pt x="39" y="86"/>
                    </a:cubicBezTo>
                    <a:cubicBezTo>
                      <a:pt x="39" y="86"/>
                      <a:pt x="39" y="86"/>
                      <a:pt x="39" y="85"/>
                    </a:cubicBezTo>
                    <a:cubicBezTo>
                      <a:pt x="39" y="85"/>
                      <a:pt x="39" y="85"/>
                      <a:pt x="39" y="84"/>
                    </a:cubicBezTo>
                    <a:cubicBezTo>
                      <a:pt x="39" y="84"/>
                      <a:pt x="38" y="84"/>
                      <a:pt x="38" y="84"/>
                    </a:cubicBezTo>
                    <a:cubicBezTo>
                      <a:pt x="39" y="83"/>
                      <a:pt x="39" y="83"/>
                      <a:pt x="39" y="82"/>
                    </a:cubicBezTo>
                    <a:cubicBezTo>
                      <a:pt x="39" y="82"/>
                      <a:pt x="38" y="81"/>
                      <a:pt x="38" y="81"/>
                    </a:cubicBezTo>
                    <a:cubicBezTo>
                      <a:pt x="38" y="81"/>
                      <a:pt x="38" y="81"/>
                      <a:pt x="38" y="81"/>
                    </a:cubicBezTo>
                    <a:cubicBezTo>
                      <a:pt x="37" y="81"/>
                      <a:pt x="37" y="81"/>
                      <a:pt x="37" y="80"/>
                    </a:cubicBezTo>
                    <a:cubicBezTo>
                      <a:pt x="37" y="80"/>
                      <a:pt x="37" y="80"/>
                      <a:pt x="36" y="80"/>
                    </a:cubicBezTo>
                    <a:cubicBezTo>
                      <a:pt x="36" y="79"/>
                      <a:pt x="36" y="79"/>
                      <a:pt x="36" y="79"/>
                    </a:cubicBezTo>
                    <a:cubicBezTo>
                      <a:pt x="35" y="79"/>
                      <a:pt x="35" y="79"/>
                      <a:pt x="35" y="80"/>
                    </a:cubicBezTo>
                    <a:cubicBezTo>
                      <a:pt x="35" y="79"/>
                      <a:pt x="34" y="78"/>
                      <a:pt x="34" y="78"/>
                    </a:cubicBezTo>
                    <a:cubicBezTo>
                      <a:pt x="34" y="77"/>
                      <a:pt x="34" y="77"/>
                      <a:pt x="34" y="76"/>
                    </a:cubicBezTo>
                    <a:cubicBezTo>
                      <a:pt x="34" y="76"/>
                      <a:pt x="35" y="75"/>
                      <a:pt x="35" y="75"/>
                    </a:cubicBezTo>
                    <a:cubicBezTo>
                      <a:pt x="34" y="75"/>
                      <a:pt x="34" y="77"/>
                      <a:pt x="33" y="77"/>
                    </a:cubicBezTo>
                    <a:cubicBezTo>
                      <a:pt x="33" y="77"/>
                      <a:pt x="33" y="77"/>
                      <a:pt x="33" y="77"/>
                    </a:cubicBezTo>
                    <a:cubicBezTo>
                      <a:pt x="33" y="77"/>
                      <a:pt x="33" y="77"/>
                      <a:pt x="33" y="78"/>
                    </a:cubicBezTo>
                    <a:cubicBezTo>
                      <a:pt x="33" y="77"/>
                      <a:pt x="32" y="77"/>
                      <a:pt x="32" y="77"/>
                    </a:cubicBezTo>
                    <a:cubicBezTo>
                      <a:pt x="32" y="77"/>
                      <a:pt x="32" y="77"/>
                      <a:pt x="32" y="77"/>
                    </a:cubicBezTo>
                    <a:cubicBezTo>
                      <a:pt x="31" y="77"/>
                      <a:pt x="31" y="77"/>
                      <a:pt x="31" y="77"/>
                    </a:cubicBezTo>
                    <a:cubicBezTo>
                      <a:pt x="31" y="76"/>
                      <a:pt x="31" y="76"/>
                      <a:pt x="30" y="75"/>
                    </a:cubicBezTo>
                    <a:cubicBezTo>
                      <a:pt x="30" y="74"/>
                      <a:pt x="30" y="74"/>
                      <a:pt x="30" y="73"/>
                    </a:cubicBezTo>
                    <a:cubicBezTo>
                      <a:pt x="30" y="73"/>
                      <a:pt x="30" y="72"/>
                      <a:pt x="30" y="72"/>
                    </a:cubicBezTo>
                    <a:cubicBezTo>
                      <a:pt x="29" y="72"/>
                      <a:pt x="29" y="71"/>
                      <a:pt x="29" y="71"/>
                    </a:cubicBezTo>
                    <a:cubicBezTo>
                      <a:pt x="29" y="71"/>
                      <a:pt x="28" y="71"/>
                      <a:pt x="28" y="71"/>
                    </a:cubicBezTo>
                    <a:cubicBezTo>
                      <a:pt x="28" y="70"/>
                      <a:pt x="28" y="70"/>
                      <a:pt x="28" y="69"/>
                    </a:cubicBezTo>
                    <a:cubicBezTo>
                      <a:pt x="28" y="69"/>
                      <a:pt x="28" y="67"/>
                      <a:pt x="27" y="67"/>
                    </a:cubicBezTo>
                    <a:cubicBezTo>
                      <a:pt x="27" y="66"/>
                      <a:pt x="28" y="66"/>
                      <a:pt x="28" y="65"/>
                    </a:cubicBezTo>
                    <a:cubicBezTo>
                      <a:pt x="29" y="65"/>
                      <a:pt x="29" y="65"/>
                      <a:pt x="29" y="64"/>
                    </a:cubicBezTo>
                    <a:cubicBezTo>
                      <a:pt x="29" y="63"/>
                      <a:pt x="28" y="61"/>
                      <a:pt x="30" y="60"/>
                    </a:cubicBezTo>
                    <a:cubicBezTo>
                      <a:pt x="30" y="59"/>
                      <a:pt x="29" y="58"/>
                      <a:pt x="29" y="57"/>
                    </a:cubicBezTo>
                    <a:cubicBezTo>
                      <a:pt x="28" y="57"/>
                      <a:pt x="28" y="56"/>
                      <a:pt x="28" y="55"/>
                    </a:cubicBezTo>
                    <a:cubicBezTo>
                      <a:pt x="28" y="55"/>
                      <a:pt x="27" y="54"/>
                      <a:pt x="27" y="54"/>
                    </a:cubicBezTo>
                    <a:cubicBezTo>
                      <a:pt x="27" y="54"/>
                      <a:pt x="27" y="53"/>
                      <a:pt x="27" y="53"/>
                    </a:cubicBezTo>
                    <a:cubicBezTo>
                      <a:pt x="27" y="53"/>
                      <a:pt x="27" y="53"/>
                      <a:pt x="28" y="52"/>
                    </a:cubicBezTo>
                    <a:cubicBezTo>
                      <a:pt x="28" y="52"/>
                      <a:pt x="28" y="52"/>
                      <a:pt x="28" y="51"/>
                    </a:cubicBezTo>
                    <a:cubicBezTo>
                      <a:pt x="28" y="51"/>
                      <a:pt x="28" y="50"/>
                      <a:pt x="28" y="50"/>
                    </a:cubicBezTo>
                    <a:cubicBezTo>
                      <a:pt x="28" y="49"/>
                      <a:pt x="27" y="49"/>
                      <a:pt x="27" y="49"/>
                    </a:cubicBezTo>
                    <a:cubicBezTo>
                      <a:pt x="26" y="48"/>
                      <a:pt x="27" y="47"/>
                      <a:pt x="27" y="46"/>
                    </a:cubicBezTo>
                    <a:cubicBezTo>
                      <a:pt x="27" y="46"/>
                      <a:pt x="27" y="45"/>
                      <a:pt x="27" y="45"/>
                    </a:cubicBezTo>
                    <a:cubicBezTo>
                      <a:pt x="26" y="44"/>
                      <a:pt x="26" y="43"/>
                      <a:pt x="26" y="43"/>
                    </a:cubicBezTo>
                    <a:cubicBezTo>
                      <a:pt x="26" y="42"/>
                      <a:pt x="27" y="42"/>
                      <a:pt x="27" y="41"/>
                    </a:cubicBezTo>
                    <a:cubicBezTo>
                      <a:pt x="28" y="40"/>
                      <a:pt x="28" y="40"/>
                      <a:pt x="27" y="40"/>
                    </a:cubicBezTo>
                    <a:cubicBezTo>
                      <a:pt x="27" y="39"/>
                      <a:pt x="26" y="39"/>
                      <a:pt x="26" y="38"/>
                    </a:cubicBezTo>
                    <a:cubicBezTo>
                      <a:pt x="26" y="38"/>
                      <a:pt x="26" y="37"/>
                      <a:pt x="25" y="37"/>
                    </a:cubicBezTo>
                    <a:cubicBezTo>
                      <a:pt x="25" y="37"/>
                      <a:pt x="25" y="37"/>
                      <a:pt x="25" y="37"/>
                    </a:cubicBezTo>
                    <a:cubicBezTo>
                      <a:pt x="24" y="36"/>
                      <a:pt x="24" y="36"/>
                      <a:pt x="24" y="35"/>
                    </a:cubicBezTo>
                    <a:cubicBezTo>
                      <a:pt x="24" y="34"/>
                      <a:pt x="24" y="34"/>
                      <a:pt x="23" y="33"/>
                    </a:cubicBezTo>
                    <a:cubicBezTo>
                      <a:pt x="22" y="33"/>
                      <a:pt x="21" y="32"/>
                      <a:pt x="20" y="31"/>
                    </a:cubicBezTo>
                    <a:cubicBezTo>
                      <a:pt x="19" y="31"/>
                      <a:pt x="19" y="31"/>
                      <a:pt x="18" y="31"/>
                    </a:cubicBezTo>
                    <a:cubicBezTo>
                      <a:pt x="18" y="30"/>
                      <a:pt x="17" y="31"/>
                      <a:pt x="17" y="30"/>
                    </a:cubicBezTo>
                    <a:cubicBezTo>
                      <a:pt x="16" y="30"/>
                      <a:pt x="16" y="29"/>
                      <a:pt x="16" y="29"/>
                    </a:cubicBezTo>
                    <a:cubicBezTo>
                      <a:pt x="15" y="28"/>
                      <a:pt x="15" y="29"/>
                      <a:pt x="14" y="28"/>
                    </a:cubicBezTo>
                    <a:cubicBezTo>
                      <a:pt x="14" y="27"/>
                      <a:pt x="14" y="27"/>
                      <a:pt x="13" y="27"/>
                    </a:cubicBezTo>
                    <a:cubicBezTo>
                      <a:pt x="13" y="26"/>
                      <a:pt x="13" y="26"/>
                      <a:pt x="13" y="26"/>
                    </a:cubicBezTo>
                    <a:cubicBezTo>
                      <a:pt x="12" y="25"/>
                      <a:pt x="12" y="25"/>
                      <a:pt x="12" y="25"/>
                    </a:cubicBezTo>
                    <a:cubicBezTo>
                      <a:pt x="12" y="25"/>
                      <a:pt x="11" y="25"/>
                      <a:pt x="11" y="25"/>
                    </a:cubicBezTo>
                    <a:cubicBezTo>
                      <a:pt x="11" y="24"/>
                      <a:pt x="11" y="24"/>
                      <a:pt x="10" y="23"/>
                    </a:cubicBezTo>
                    <a:cubicBezTo>
                      <a:pt x="10" y="23"/>
                      <a:pt x="9" y="23"/>
                      <a:pt x="9" y="22"/>
                    </a:cubicBezTo>
                    <a:cubicBezTo>
                      <a:pt x="9" y="22"/>
                      <a:pt x="10" y="22"/>
                      <a:pt x="9" y="21"/>
                    </a:cubicBezTo>
                    <a:cubicBezTo>
                      <a:pt x="9" y="21"/>
                      <a:pt x="8" y="20"/>
                      <a:pt x="7" y="20"/>
                    </a:cubicBezTo>
                    <a:cubicBezTo>
                      <a:pt x="7" y="19"/>
                      <a:pt x="8" y="19"/>
                      <a:pt x="9" y="19"/>
                    </a:cubicBezTo>
                    <a:cubicBezTo>
                      <a:pt x="10" y="20"/>
                      <a:pt x="10" y="20"/>
                      <a:pt x="11" y="19"/>
                    </a:cubicBezTo>
                    <a:cubicBezTo>
                      <a:pt x="11" y="18"/>
                      <a:pt x="10" y="17"/>
                      <a:pt x="10" y="17"/>
                    </a:cubicBezTo>
                    <a:cubicBezTo>
                      <a:pt x="11" y="16"/>
                      <a:pt x="11" y="16"/>
                      <a:pt x="12" y="15"/>
                    </a:cubicBezTo>
                    <a:cubicBezTo>
                      <a:pt x="12" y="15"/>
                      <a:pt x="13" y="15"/>
                      <a:pt x="13" y="16"/>
                    </a:cubicBezTo>
                    <a:cubicBezTo>
                      <a:pt x="13" y="16"/>
                      <a:pt x="14" y="16"/>
                      <a:pt x="14" y="16"/>
                    </a:cubicBezTo>
                    <a:cubicBezTo>
                      <a:pt x="14" y="16"/>
                      <a:pt x="14" y="17"/>
                      <a:pt x="15" y="17"/>
                    </a:cubicBezTo>
                    <a:cubicBezTo>
                      <a:pt x="15" y="18"/>
                      <a:pt x="16" y="19"/>
                      <a:pt x="16" y="20"/>
                    </a:cubicBezTo>
                    <a:cubicBezTo>
                      <a:pt x="17" y="21"/>
                      <a:pt x="17" y="21"/>
                      <a:pt x="18" y="21"/>
                    </a:cubicBezTo>
                    <a:cubicBezTo>
                      <a:pt x="18" y="22"/>
                      <a:pt x="18" y="22"/>
                      <a:pt x="18" y="23"/>
                    </a:cubicBezTo>
                    <a:cubicBezTo>
                      <a:pt x="19" y="24"/>
                      <a:pt x="19" y="25"/>
                      <a:pt x="19" y="26"/>
                    </a:cubicBezTo>
                    <a:cubicBezTo>
                      <a:pt x="20" y="26"/>
                      <a:pt x="20" y="26"/>
                      <a:pt x="21" y="26"/>
                    </a:cubicBezTo>
                    <a:cubicBezTo>
                      <a:pt x="22" y="27"/>
                      <a:pt x="22" y="27"/>
                      <a:pt x="23" y="27"/>
                    </a:cubicBezTo>
                    <a:cubicBezTo>
                      <a:pt x="23" y="27"/>
                      <a:pt x="23" y="27"/>
                      <a:pt x="24" y="27"/>
                    </a:cubicBezTo>
                    <a:cubicBezTo>
                      <a:pt x="24" y="28"/>
                      <a:pt x="25" y="28"/>
                      <a:pt x="25" y="27"/>
                    </a:cubicBezTo>
                    <a:cubicBezTo>
                      <a:pt x="26" y="27"/>
                      <a:pt x="26" y="27"/>
                      <a:pt x="27" y="27"/>
                    </a:cubicBezTo>
                    <a:cubicBezTo>
                      <a:pt x="28" y="26"/>
                      <a:pt x="28" y="26"/>
                      <a:pt x="28" y="25"/>
                    </a:cubicBezTo>
                    <a:cubicBezTo>
                      <a:pt x="29" y="25"/>
                      <a:pt x="29" y="24"/>
                      <a:pt x="29" y="25"/>
                    </a:cubicBezTo>
                    <a:cubicBezTo>
                      <a:pt x="30" y="25"/>
                      <a:pt x="31" y="25"/>
                      <a:pt x="31" y="25"/>
                    </a:cubicBezTo>
                    <a:cubicBezTo>
                      <a:pt x="32" y="26"/>
                      <a:pt x="32" y="26"/>
                      <a:pt x="33" y="26"/>
                    </a:cubicBezTo>
                    <a:cubicBezTo>
                      <a:pt x="33" y="27"/>
                      <a:pt x="34" y="27"/>
                      <a:pt x="34" y="27"/>
                    </a:cubicBezTo>
                    <a:cubicBezTo>
                      <a:pt x="35" y="28"/>
                      <a:pt x="35" y="28"/>
                      <a:pt x="36" y="28"/>
                    </a:cubicBezTo>
                    <a:cubicBezTo>
                      <a:pt x="36" y="29"/>
                      <a:pt x="36" y="29"/>
                      <a:pt x="36" y="28"/>
                    </a:cubicBezTo>
                    <a:cubicBezTo>
                      <a:pt x="37" y="28"/>
                      <a:pt x="37" y="28"/>
                      <a:pt x="37" y="27"/>
                    </a:cubicBezTo>
                    <a:cubicBezTo>
                      <a:pt x="38" y="27"/>
                      <a:pt x="38" y="27"/>
                      <a:pt x="38" y="26"/>
                    </a:cubicBezTo>
                    <a:cubicBezTo>
                      <a:pt x="38" y="24"/>
                      <a:pt x="39" y="23"/>
                      <a:pt x="40" y="23"/>
                    </a:cubicBezTo>
                    <a:cubicBezTo>
                      <a:pt x="40" y="23"/>
                      <a:pt x="41" y="23"/>
                      <a:pt x="41" y="22"/>
                    </a:cubicBezTo>
                    <a:cubicBezTo>
                      <a:pt x="42" y="22"/>
                      <a:pt x="42" y="22"/>
                      <a:pt x="42" y="22"/>
                    </a:cubicBezTo>
                    <a:cubicBezTo>
                      <a:pt x="42" y="21"/>
                      <a:pt x="42" y="21"/>
                      <a:pt x="42" y="21"/>
                    </a:cubicBezTo>
                    <a:cubicBezTo>
                      <a:pt x="42" y="20"/>
                      <a:pt x="42" y="20"/>
                      <a:pt x="42" y="20"/>
                    </a:cubicBezTo>
                    <a:cubicBezTo>
                      <a:pt x="42" y="19"/>
                      <a:pt x="42" y="19"/>
                      <a:pt x="42" y="19"/>
                    </a:cubicBezTo>
                    <a:cubicBezTo>
                      <a:pt x="42" y="18"/>
                      <a:pt x="42" y="17"/>
                      <a:pt x="42" y="16"/>
                    </a:cubicBezTo>
                    <a:cubicBezTo>
                      <a:pt x="42" y="15"/>
                      <a:pt x="42" y="15"/>
                      <a:pt x="43" y="14"/>
                    </a:cubicBezTo>
                    <a:cubicBezTo>
                      <a:pt x="43" y="13"/>
                      <a:pt x="42" y="13"/>
                      <a:pt x="43" y="12"/>
                    </a:cubicBezTo>
                    <a:cubicBezTo>
                      <a:pt x="43" y="11"/>
                      <a:pt x="43" y="10"/>
                      <a:pt x="43" y="10"/>
                    </a:cubicBezTo>
                    <a:cubicBezTo>
                      <a:pt x="43" y="9"/>
                      <a:pt x="43" y="8"/>
                      <a:pt x="44" y="7"/>
                    </a:cubicBezTo>
                    <a:cubicBezTo>
                      <a:pt x="44" y="7"/>
                      <a:pt x="45" y="7"/>
                      <a:pt x="45" y="7"/>
                    </a:cubicBezTo>
                    <a:cubicBezTo>
                      <a:pt x="46" y="6"/>
                      <a:pt x="46" y="5"/>
                      <a:pt x="46" y="5"/>
                    </a:cubicBezTo>
                    <a:cubicBezTo>
                      <a:pt x="47" y="3"/>
                      <a:pt x="48" y="3"/>
                      <a:pt x="49" y="3"/>
                    </a:cubicBezTo>
                    <a:cubicBezTo>
                      <a:pt x="50" y="3"/>
                      <a:pt x="50" y="3"/>
                      <a:pt x="51" y="3"/>
                    </a:cubicBezTo>
                    <a:cubicBezTo>
                      <a:pt x="52" y="3"/>
                      <a:pt x="52" y="3"/>
                      <a:pt x="53" y="2"/>
                    </a:cubicBezTo>
                    <a:cubicBezTo>
                      <a:pt x="53" y="2"/>
                      <a:pt x="54" y="1"/>
                      <a:pt x="54" y="0"/>
                    </a:cubicBezTo>
                    <a:cubicBezTo>
                      <a:pt x="55" y="0"/>
                      <a:pt x="55" y="0"/>
                      <a:pt x="56" y="0"/>
                    </a:cubicBezTo>
                    <a:cubicBezTo>
                      <a:pt x="56" y="0"/>
                      <a:pt x="56" y="1"/>
                      <a:pt x="57" y="2"/>
                    </a:cubicBezTo>
                    <a:cubicBezTo>
                      <a:pt x="57" y="2"/>
                      <a:pt x="57" y="2"/>
                      <a:pt x="58" y="3"/>
                    </a:cubicBezTo>
                    <a:cubicBezTo>
                      <a:pt x="58" y="3"/>
                      <a:pt x="58" y="3"/>
                      <a:pt x="59" y="4"/>
                    </a:cubicBezTo>
                    <a:cubicBezTo>
                      <a:pt x="59" y="4"/>
                      <a:pt x="59" y="4"/>
                      <a:pt x="59" y="4"/>
                    </a:cubicBezTo>
                    <a:cubicBezTo>
                      <a:pt x="59" y="4"/>
                      <a:pt x="59" y="5"/>
                      <a:pt x="59" y="5"/>
                    </a:cubicBezTo>
                    <a:cubicBezTo>
                      <a:pt x="60" y="6"/>
                      <a:pt x="61" y="6"/>
                      <a:pt x="62" y="7"/>
                    </a:cubicBezTo>
                    <a:cubicBezTo>
                      <a:pt x="63" y="7"/>
                      <a:pt x="64" y="8"/>
                      <a:pt x="65" y="9"/>
                    </a:cubicBezTo>
                    <a:cubicBezTo>
                      <a:pt x="65" y="10"/>
                      <a:pt x="66" y="11"/>
                      <a:pt x="66" y="12"/>
                    </a:cubicBezTo>
                    <a:cubicBezTo>
                      <a:pt x="66" y="13"/>
                      <a:pt x="65" y="14"/>
                      <a:pt x="64" y="15"/>
                    </a:cubicBezTo>
                    <a:cubicBezTo>
                      <a:pt x="64" y="16"/>
                      <a:pt x="61" y="19"/>
                      <a:pt x="63" y="20"/>
                    </a:cubicBezTo>
                    <a:cubicBezTo>
                      <a:pt x="62" y="21"/>
                      <a:pt x="61" y="22"/>
                      <a:pt x="60" y="22"/>
                    </a:cubicBezTo>
                    <a:cubicBezTo>
                      <a:pt x="59" y="23"/>
                      <a:pt x="61" y="23"/>
                      <a:pt x="62" y="23"/>
                    </a:cubicBezTo>
                    <a:cubicBezTo>
                      <a:pt x="63" y="24"/>
                      <a:pt x="62" y="25"/>
                      <a:pt x="61" y="26"/>
                    </a:cubicBezTo>
                    <a:cubicBezTo>
                      <a:pt x="61" y="27"/>
                      <a:pt x="60" y="29"/>
                      <a:pt x="60" y="30"/>
                    </a:cubicBezTo>
                    <a:cubicBezTo>
                      <a:pt x="60" y="31"/>
                      <a:pt x="61" y="33"/>
                      <a:pt x="61" y="34"/>
                    </a:cubicBezTo>
                    <a:cubicBezTo>
                      <a:pt x="61" y="36"/>
                      <a:pt x="62" y="36"/>
                      <a:pt x="64" y="37"/>
                    </a:cubicBezTo>
                    <a:cubicBezTo>
                      <a:pt x="65" y="37"/>
                      <a:pt x="66" y="38"/>
                      <a:pt x="66" y="39"/>
                    </a:cubicBezTo>
                    <a:cubicBezTo>
                      <a:pt x="67" y="39"/>
                      <a:pt x="67" y="40"/>
                      <a:pt x="67" y="41"/>
                    </a:cubicBezTo>
                    <a:cubicBezTo>
                      <a:pt x="68" y="42"/>
                      <a:pt x="68" y="42"/>
                      <a:pt x="69" y="43"/>
                    </a:cubicBezTo>
                    <a:cubicBezTo>
                      <a:pt x="69" y="43"/>
                      <a:pt x="70" y="44"/>
                      <a:pt x="70" y="44"/>
                    </a:cubicBezTo>
                    <a:cubicBezTo>
                      <a:pt x="70" y="45"/>
                      <a:pt x="70" y="45"/>
                      <a:pt x="70" y="46"/>
                    </a:cubicBezTo>
                    <a:cubicBezTo>
                      <a:pt x="70" y="47"/>
                      <a:pt x="70" y="47"/>
                      <a:pt x="70" y="48"/>
                    </a:cubicBezTo>
                    <a:cubicBezTo>
                      <a:pt x="70" y="49"/>
                      <a:pt x="69" y="49"/>
                      <a:pt x="69" y="50"/>
                    </a:cubicBezTo>
                    <a:cubicBezTo>
                      <a:pt x="68" y="50"/>
                      <a:pt x="67" y="52"/>
                      <a:pt x="66" y="53"/>
                    </a:cubicBezTo>
                    <a:cubicBezTo>
                      <a:pt x="66" y="54"/>
                      <a:pt x="65" y="56"/>
                      <a:pt x="64" y="57"/>
                    </a:cubicBezTo>
                    <a:cubicBezTo>
                      <a:pt x="64" y="59"/>
                      <a:pt x="64" y="60"/>
                      <a:pt x="65" y="61"/>
                    </a:cubicBezTo>
                    <a:cubicBezTo>
                      <a:pt x="66" y="62"/>
                      <a:pt x="66" y="62"/>
                      <a:pt x="66" y="63"/>
                    </a:cubicBezTo>
                    <a:cubicBezTo>
                      <a:pt x="66" y="64"/>
                      <a:pt x="67" y="64"/>
                      <a:pt x="67" y="65"/>
                    </a:cubicBezTo>
                    <a:cubicBezTo>
                      <a:pt x="67" y="66"/>
                      <a:pt x="67" y="67"/>
                      <a:pt x="68" y="68"/>
                    </a:cubicBezTo>
                    <a:cubicBezTo>
                      <a:pt x="68" y="70"/>
                      <a:pt x="69" y="70"/>
                      <a:pt x="70" y="72"/>
                    </a:cubicBezTo>
                    <a:cubicBezTo>
                      <a:pt x="70" y="72"/>
                      <a:pt x="70" y="73"/>
                      <a:pt x="70" y="74"/>
                    </a:cubicBezTo>
                    <a:cubicBezTo>
                      <a:pt x="70" y="75"/>
                      <a:pt x="71" y="75"/>
                      <a:pt x="71" y="76"/>
                    </a:cubicBezTo>
                    <a:cubicBezTo>
                      <a:pt x="71" y="77"/>
                      <a:pt x="71" y="78"/>
                      <a:pt x="71" y="78"/>
                    </a:cubicBezTo>
                    <a:cubicBezTo>
                      <a:pt x="71" y="79"/>
                      <a:pt x="71" y="79"/>
                      <a:pt x="70" y="79"/>
                    </a:cubicBezTo>
                    <a:cubicBezTo>
                      <a:pt x="70" y="79"/>
                      <a:pt x="69" y="79"/>
                      <a:pt x="69" y="79"/>
                    </a:cubicBezTo>
                    <a:cubicBezTo>
                      <a:pt x="68" y="80"/>
                      <a:pt x="69" y="80"/>
                      <a:pt x="69" y="80"/>
                    </a:cubicBezTo>
                    <a:cubicBezTo>
                      <a:pt x="69" y="81"/>
                      <a:pt x="69" y="81"/>
                      <a:pt x="69" y="81"/>
                    </a:cubicBezTo>
                    <a:cubicBezTo>
                      <a:pt x="69" y="82"/>
                      <a:pt x="69" y="82"/>
                      <a:pt x="69" y="82"/>
                    </a:cubicBezTo>
                    <a:cubicBezTo>
                      <a:pt x="69" y="83"/>
                      <a:pt x="69" y="84"/>
                      <a:pt x="68" y="85"/>
                    </a:cubicBezTo>
                    <a:cubicBezTo>
                      <a:pt x="68" y="85"/>
                      <a:pt x="67" y="86"/>
                      <a:pt x="68" y="86"/>
                    </a:cubicBezTo>
                    <a:cubicBezTo>
                      <a:pt x="69" y="87"/>
                      <a:pt x="69" y="86"/>
                      <a:pt x="69" y="88"/>
                    </a:cubicBezTo>
                    <a:cubicBezTo>
                      <a:pt x="69" y="88"/>
                      <a:pt x="69" y="88"/>
                      <a:pt x="69" y="88"/>
                    </a:cubicBezTo>
                    <a:cubicBezTo>
                      <a:pt x="69" y="88"/>
                      <a:pt x="68" y="88"/>
                      <a:pt x="68" y="89"/>
                    </a:cubicBezTo>
                    <a:cubicBezTo>
                      <a:pt x="68" y="89"/>
                      <a:pt x="67" y="90"/>
                      <a:pt x="68" y="90"/>
                    </a:cubicBezTo>
                    <a:cubicBezTo>
                      <a:pt x="68" y="91"/>
                      <a:pt x="68" y="92"/>
                      <a:pt x="69" y="92"/>
                    </a:cubicBezTo>
                    <a:cubicBezTo>
                      <a:pt x="69" y="93"/>
                      <a:pt x="70" y="93"/>
                      <a:pt x="71" y="93"/>
                    </a:cubicBezTo>
                    <a:cubicBezTo>
                      <a:pt x="71" y="93"/>
                      <a:pt x="71" y="94"/>
                      <a:pt x="71" y="95"/>
                    </a:cubicBezTo>
                    <a:cubicBezTo>
                      <a:pt x="71" y="95"/>
                      <a:pt x="72" y="95"/>
                      <a:pt x="72" y="95"/>
                    </a:cubicBezTo>
                    <a:cubicBezTo>
                      <a:pt x="72" y="96"/>
                      <a:pt x="71" y="96"/>
                      <a:pt x="71" y="96"/>
                    </a:cubicBezTo>
                    <a:cubicBezTo>
                      <a:pt x="70" y="97"/>
                      <a:pt x="70" y="97"/>
                      <a:pt x="70" y="98"/>
                    </a:cubicBezTo>
                    <a:cubicBezTo>
                      <a:pt x="71" y="98"/>
                      <a:pt x="71" y="98"/>
                      <a:pt x="71" y="98"/>
                    </a:cubicBezTo>
                    <a:cubicBezTo>
                      <a:pt x="71" y="99"/>
                      <a:pt x="71" y="99"/>
                      <a:pt x="71" y="100"/>
                    </a:cubicBezTo>
                    <a:cubicBezTo>
                      <a:pt x="71" y="100"/>
                      <a:pt x="72" y="100"/>
                      <a:pt x="72" y="101"/>
                    </a:cubicBezTo>
                    <a:cubicBezTo>
                      <a:pt x="73" y="101"/>
                      <a:pt x="73" y="101"/>
                      <a:pt x="73" y="101"/>
                    </a:cubicBezTo>
                    <a:cubicBezTo>
                      <a:pt x="73" y="101"/>
                      <a:pt x="73" y="102"/>
                      <a:pt x="73" y="102"/>
                    </a:cubicBezTo>
                    <a:cubicBezTo>
                      <a:pt x="73" y="102"/>
                      <a:pt x="74" y="102"/>
                      <a:pt x="74" y="102"/>
                    </a:cubicBezTo>
                    <a:cubicBezTo>
                      <a:pt x="74" y="102"/>
                      <a:pt x="74" y="102"/>
                      <a:pt x="74" y="102"/>
                    </a:cubicBezTo>
                    <a:cubicBezTo>
                      <a:pt x="74" y="103"/>
                      <a:pt x="74" y="103"/>
                      <a:pt x="74" y="104"/>
                    </a:cubicBezTo>
                    <a:cubicBezTo>
                      <a:pt x="74" y="105"/>
                      <a:pt x="74" y="105"/>
                      <a:pt x="74" y="106"/>
                    </a:cubicBezTo>
                    <a:cubicBezTo>
                      <a:pt x="73" y="106"/>
                      <a:pt x="73" y="107"/>
                      <a:pt x="72" y="108"/>
                    </a:cubicBezTo>
                    <a:cubicBezTo>
                      <a:pt x="72" y="108"/>
                      <a:pt x="72" y="108"/>
                      <a:pt x="72" y="108"/>
                    </a:cubicBezTo>
                    <a:cubicBezTo>
                      <a:pt x="72" y="109"/>
                      <a:pt x="71" y="109"/>
                      <a:pt x="71" y="109"/>
                    </a:cubicBezTo>
                    <a:cubicBezTo>
                      <a:pt x="69" y="110"/>
                      <a:pt x="72" y="111"/>
                      <a:pt x="72" y="112"/>
                    </a:cubicBezTo>
                    <a:cubicBezTo>
                      <a:pt x="73" y="113"/>
                      <a:pt x="73" y="113"/>
                      <a:pt x="74" y="114"/>
                    </a:cubicBezTo>
                    <a:cubicBezTo>
                      <a:pt x="75" y="114"/>
                      <a:pt x="76" y="114"/>
                      <a:pt x="76" y="115"/>
                    </a:cubicBezTo>
                    <a:cubicBezTo>
                      <a:pt x="77" y="115"/>
                      <a:pt x="77" y="116"/>
                      <a:pt x="77" y="116"/>
                    </a:cubicBezTo>
                    <a:cubicBezTo>
                      <a:pt x="78" y="117"/>
                      <a:pt x="78" y="117"/>
                      <a:pt x="79" y="118"/>
                    </a:cubicBezTo>
                    <a:cubicBezTo>
                      <a:pt x="79" y="118"/>
                      <a:pt x="79" y="119"/>
                      <a:pt x="79" y="119"/>
                    </a:cubicBezTo>
                    <a:cubicBezTo>
                      <a:pt x="79" y="119"/>
                      <a:pt x="79" y="120"/>
                      <a:pt x="80" y="120"/>
                    </a:cubicBezTo>
                    <a:cubicBezTo>
                      <a:pt x="80" y="120"/>
                      <a:pt x="81" y="122"/>
                      <a:pt x="81" y="122"/>
                    </a:cubicBezTo>
                    <a:cubicBezTo>
                      <a:pt x="81" y="123"/>
                      <a:pt x="80" y="123"/>
                      <a:pt x="80" y="123"/>
                    </a:cubicBezTo>
                    <a:cubicBezTo>
                      <a:pt x="80" y="124"/>
                      <a:pt x="80" y="124"/>
                      <a:pt x="80" y="125"/>
                    </a:cubicBezTo>
                    <a:cubicBezTo>
                      <a:pt x="80" y="126"/>
                      <a:pt x="79" y="126"/>
                      <a:pt x="79" y="127"/>
                    </a:cubicBezTo>
                    <a:cubicBezTo>
                      <a:pt x="79" y="128"/>
                      <a:pt x="78" y="129"/>
                      <a:pt x="77" y="129"/>
                    </a:cubicBezTo>
                    <a:cubicBezTo>
                      <a:pt x="77" y="130"/>
                      <a:pt x="77" y="131"/>
                      <a:pt x="76" y="131"/>
                    </a:cubicBezTo>
                    <a:cubicBezTo>
                      <a:pt x="76" y="132"/>
                      <a:pt x="75" y="132"/>
                      <a:pt x="75" y="133"/>
                    </a:cubicBezTo>
                    <a:cubicBezTo>
                      <a:pt x="74" y="134"/>
                      <a:pt x="74" y="134"/>
                      <a:pt x="73" y="135"/>
                    </a:cubicBezTo>
                    <a:cubicBezTo>
                      <a:pt x="72" y="137"/>
                      <a:pt x="71" y="138"/>
                      <a:pt x="70" y="140"/>
                    </a:cubicBezTo>
                    <a:cubicBezTo>
                      <a:pt x="69" y="140"/>
                      <a:pt x="69" y="141"/>
                      <a:pt x="68" y="142"/>
                    </a:cubicBezTo>
                    <a:cubicBezTo>
                      <a:pt x="68" y="142"/>
                      <a:pt x="68" y="142"/>
                      <a:pt x="67" y="143"/>
                    </a:cubicBezTo>
                    <a:cubicBezTo>
                      <a:pt x="67" y="143"/>
                      <a:pt x="67" y="143"/>
                      <a:pt x="67" y="144"/>
                    </a:cubicBezTo>
                    <a:cubicBezTo>
                      <a:pt x="67" y="144"/>
                      <a:pt x="66" y="144"/>
                      <a:pt x="66" y="144"/>
                    </a:cubicBezTo>
                    <a:cubicBezTo>
                      <a:pt x="66" y="145"/>
                      <a:pt x="65" y="145"/>
                      <a:pt x="65" y="146"/>
                    </a:cubicBezTo>
                    <a:cubicBezTo>
                      <a:pt x="65" y="146"/>
                      <a:pt x="64" y="147"/>
                      <a:pt x="63" y="148"/>
                    </a:cubicBezTo>
                    <a:cubicBezTo>
                      <a:pt x="62" y="148"/>
                      <a:pt x="62" y="149"/>
                      <a:pt x="61" y="149"/>
                    </a:cubicBezTo>
                    <a:cubicBezTo>
                      <a:pt x="61" y="150"/>
                      <a:pt x="60" y="150"/>
                      <a:pt x="60" y="151"/>
                    </a:cubicBezTo>
                    <a:cubicBezTo>
                      <a:pt x="59" y="152"/>
                      <a:pt x="58" y="152"/>
                      <a:pt x="58" y="153"/>
                    </a:cubicBezTo>
                    <a:cubicBezTo>
                      <a:pt x="57" y="154"/>
                      <a:pt x="56" y="155"/>
                      <a:pt x="56" y="156"/>
                    </a:cubicBezTo>
                    <a:cubicBezTo>
                      <a:pt x="56" y="155"/>
                      <a:pt x="56" y="155"/>
                      <a:pt x="56" y="156"/>
                    </a:cubicBezTo>
                    <a:close/>
                    <a:moveTo>
                      <a:pt x="2" y="160"/>
                    </a:moveTo>
                    <a:cubicBezTo>
                      <a:pt x="1" y="160"/>
                      <a:pt x="1" y="160"/>
                      <a:pt x="1" y="159"/>
                    </a:cubicBezTo>
                    <a:cubicBezTo>
                      <a:pt x="1" y="160"/>
                      <a:pt x="1" y="160"/>
                      <a:pt x="0" y="160"/>
                    </a:cubicBezTo>
                    <a:cubicBezTo>
                      <a:pt x="0" y="160"/>
                      <a:pt x="0" y="160"/>
                      <a:pt x="0" y="160"/>
                    </a:cubicBezTo>
                    <a:cubicBezTo>
                      <a:pt x="0" y="161"/>
                      <a:pt x="0" y="161"/>
                      <a:pt x="0" y="161"/>
                    </a:cubicBezTo>
                    <a:cubicBezTo>
                      <a:pt x="1" y="161"/>
                      <a:pt x="1" y="161"/>
                      <a:pt x="1" y="162"/>
                    </a:cubicBezTo>
                    <a:cubicBezTo>
                      <a:pt x="1" y="162"/>
                      <a:pt x="2" y="162"/>
                      <a:pt x="2" y="162"/>
                    </a:cubicBezTo>
                    <a:cubicBezTo>
                      <a:pt x="2" y="162"/>
                      <a:pt x="2" y="162"/>
                      <a:pt x="2" y="162"/>
                    </a:cubicBezTo>
                    <a:cubicBezTo>
                      <a:pt x="3" y="162"/>
                      <a:pt x="3" y="162"/>
                      <a:pt x="3" y="162"/>
                    </a:cubicBezTo>
                    <a:cubicBezTo>
                      <a:pt x="3" y="162"/>
                      <a:pt x="3" y="162"/>
                      <a:pt x="3" y="162"/>
                    </a:cubicBezTo>
                    <a:cubicBezTo>
                      <a:pt x="3" y="161"/>
                      <a:pt x="3" y="161"/>
                      <a:pt x="3" y="161"/>
                    </a:cubicBezTo>
                    <a:cubicBezTo>
                      <a:pt x="3" y="160"/>
                      <a:pt x="3" y="160"/>
                      <a:pt x="2" y="160"/>
                    </a:cubicBezTo>
                    <a:cubicBezTo>
                      <a:pt x="2" y="160"/>
                      <a:pt x="2" y="160"/>
                      <a:pt x="2" y="160"/>
                    </a:cubicBezTo>
                    <a:close/>
                    <a:moveTo>
                      <a:pt x="3" y="159"/>
                    </a:moveTo>
                    <a:cubicBezTo>
                      <a:pt x="3" y="160"/>
                      <a:pt x="3" y="160"/>
                      <a:pt x="3" y="160"/>
                    </a:cubicBezTo>
                    <a:cubicBezTo>
                      <a:pt x="4" y="160"/>
                      <a:pt x="4" y="161"/>
                      <a:pt x="4" y="161"/>
                    </a:cubicBezTo>
                    <a:cubicBezTo>
                      <a:pt x="5" y="160"/>
                      <a:pt x="5" y="159"/>
                      <a:pt x="5" y="159"/>
                    </a:cubicBezTo>
                    <a:cubicBezTo>
                      <a:pt x="4" y="159"/>
                      <a:pt x="4" y="158"/>
                      <a:pt x="4" y="158"/>
                    </a:cubicBezTo>
                    <a:cubicBezTo>
                      <a:pt x="3" y="158"/>
                      <a:pt x="3" y="158"/>
                      <a:pt x="3" y="158"/>
                    </a:cubicBezTo>
                    <a:cubicBezTo>
                      <a:pt x="2" y="158"/>
                      <a:pt x="3" y="158"/>
                      <a:pt x="3" y="158"/>
                    </a:cubicBezTo>
                    <a:cubicBezTo>
                      <a:pt x="2" y="157"/>
                      <a:pt x="2" y="158"/>
                      <a:pt x="2" y="158"/>
                    </a:cubicBezTo>
                    <a:cubicBezTo>
                      <a:pt x="2" y="158"/>
                      <a:pt x="2" y="158"/>
                      <a:pt x="2" y="159"/>
                    </a:cubicBezTo>
                    <a:cubicBezTo>
                      <a:pt x="3" y="159"/>
                      <a:pt x="3" y="159"/>
                      <a:pt x="3" y="159"/>
                    </a:cubicBezTo>
                    <a:close/>
                    <a:moveTo>
                      <a:pt x="19" y="162"/>
                    </a:moveTo>
                    <a:cubicBezTo>
                      <a:pt x="19" y="162"/>
                      <a:pt x="19" y="163"/>
                      <a:pt x="19" y="163"/>
                    </a:cubicBezTo>
                    <a:cubicBezTo>
                      <a:pt x="20" y="163"/>
                      <a:pt x="20" y="163"/>
                      <a:pt x="20" y="163"/>
                    </a:cubicBezTo>
                    <a:cubicBezTo>
                      <a:pt x="20" y="163"/>
                      <a:pt x="21" y="162"/>
                      <a:pt x="21" y="163"/>
                    </a:cubicBezTo>
                    <a:cubicBezTo>
                      <a:pt x="21" y="163"/>
                      <a:pt x="21" y="163"/>
                      <a:pt x="21" y="163"/>
                    </a:cubicBezTo>
                    <a:cubicBezTo>
                      <a:pt x="22" y="163"/>
                      <a:pt x="22" y="161"/>
                      <a:pt x="22" y="161"/>
                    </a:cubicBezTo>
                    <a:cubicBezTo>
                      <a:pt x="21" y="160"/>
                      <a:pt x="20" y="161"/>
                      <a:pt x="20" y="161"/>
                    </a:cubicBezTo>
                    <a:cubicBezTo>
                      <a:pt x="20" y="161"/>
                      <a:pt x="20" y="161"/>
                      <a:pt x="20" y="161"/>
                    </a:cubicBezTo>
                    <a:cubicBezTo>
                      <a:pt x="20" y="162"/>
                      <a:pt x="20" y="162"/>
                      <a:pt x="19" y="162"/>
                    </a:cubicBezTo>
                    <a:close/>
                    <a:moveTo>
                      <a:pt x="34" y="90"/>
                    </a:moveTo>
                    <a:cubicBezTo>
                      <a:pt x="34" y="90"/>
                      <a:pt x="34" y="90"/>
                      <a:pt x="35" y="90"/>
                    </a:cubicBezTo>
                    <a:cubicBezTo>
                      <a:pt x="35" y="90"/>
                      <a:pt x="35" y="91"/>
                      <a:pt x="35" y="91"/>
                    </a:cubicBezTo>
                    <a:cubicBezTo>
                      <a:pt x="35" y="91"/>
                      <a:pt x="35" y="90"/>
                      <a:pt x="35" y="90"/>
                    </a:cubicBezTo>
                    <a:cubicBezTo>
                      <a:pt x="36" y="90"/>
                      <a:pt x="35" y="90"/>
                      <a:pt x="35" y="89"/>
                    </a:cubicBezTo>
                    <a:cubicBezTo>
                      <a:pt x="35" y="89"/>
                      <a:pt x="35" y="89"/>
                      <a:pt x="36" y="89"/>
                    </a:cubicBezTo>
                    <a:cubicBezTo>
                      <a:pt x="36" y="89"/>
                      <a:pt x="37" y="90"/>
                      <a:pt x="37" y="89"/>
                    </a:cubicBezTo>
                    <a:cubicBezTo>
                      <a:pt x="36" y="89"/>
                      <a:pt x="36" y="89"/>
                      <a:pt x="36" y="89"/>
                    </a:cubicBezTo>
                    <a:cubicBezTo>
                      <a:pt x="36" y="89"/>
                      <a:pt x="36" y="89"/>
                      <a:pt x="35" y="89"/>
                    </a:cubicBezTo>
                    <a:cubicBezTo>
                      <a:pt x="34" y="89"/>
                      <a:pt x="34" y="89"/>
                      <a:pt x="34" y="90"/>
                    </a:cubicBezTo>
                    <a:cubicBezTo>
                      <a:pt x="34" y="90"/>
                      <a:pt x="34" y="90"/>
                      <a:pt x="34" y="90"/>
                    </a:cubicBezTo>
                    <a:close/>
                    <a:moveTo>
                      <a:pt x="11" y="117"/>
                    </a:moveTo>
                    <a:cubicBezTo>
                      <a:pt x="10" y="117"/>
                      <a:pt x="11" y="118"/>
                      <a:pt x="12" y="118"/>
                    </a:cubicBezTo>
                    <a:cubicBezTo>
                      <a:pt x="12" y="118"/>
                      <a:pt x="13" y="117"/>
                      <a:pt x="12" y="117"/>
                    </a:cubicBezTo>
                    <a:cubicBezTo>
                      <a:pt x="12" y="116"/>
                      <a:pt x="11" y="118"/>
                      <a:pt x="11" y="117"/>
                    </a:cubicBezTo>
                    <a:cubicBezTo>
                      <a:pt x="11" y="116"/>
                      <a:pt x="11" y="116"/>
                      <a:pt x="11" y="1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7" name="Freeform 812">
                <a:extLst>
                  <a:ext uri="{FF2B5EF4-FFF2-40B4-BE49-F238E27FC236}">
                    <a16:creationId xmlns:a16="http://schemas.microsoft.com/office/drawing/2014/main" id="{7D60C77B-A884-1E48-DAC7-8243DC19849A}"/>
                  </a:ext>
                </a:extLst>
              </p:cNvPr>
              <p:cNvSpPr>
                <a:spLocks noEditPoints="1"/>
              </p:cNvSpPr>
              <p:nvPr/>
            </p:nvSpPr>
            <p:spPr bwMode="auto">
              <a:xfrm>
                <a:off x="5246688" y="3208338"/>
                <a:ext cx="403225" cy="396875"/>
              </a:xfrm>
              <a:custGeom>
                <a:avLst/>
                <a:gdLst>
                  <a:gd name="T0" fmla="*/ 85 w 97"/>
                  <a:gd name="T1" fmla="*/ 27 h 95"/>
                  <a:gd name="T2" fmla="*/ 83 w 97"/>
                  <a:gd name="T3" fmla="*/ 36 h 95"/>
                  <a:gd name="T4" fmla="*/ 79 w 97"/>
                  <a:gd name="T5" fmla="*/ 37 h 95"/>
                  <a:gd name="T6" fmla="*/ 78 w 97"/>
                  <a:gd name="T7" fmla="*/ 41 h 95"/>
                  <a:gd name="T8" fmla="*/ 73 w 97"/>
                  <a:gd name="T9" fmla="*/ 46 h 95"/>
                  <a:gd name="T10" fmla="*/ 74 w 97"/>
                  <a:gd name="T11" fmla="*/ 48 h 95"/>
                  <a:gd name="T12" fmla="*/ 78 w 97"/>
                  <a:gd name="T13" fmla="*/ 51 h 95"/>
                  <a:gd name="T14" fmla="*/ 80 w 97"/>
                  <a:gd name="T15" fmla="*/ 58 h 95"/>
                  <a:gd name="T16" fmla="*/ 77 w 97"/>
                  <a:gd name="T17" fmla="*/ 61 h 95"/>
                  <a:gd name="T18" fmla="*/ 79 w 97"/>
                  <a:gd name="T19" fmla="*/ 64 h 95"/>
                  <a:gd name="T20" fmla="*/ 79 w 97"/>
                  <a:gd name="T21" fmla="*/ 68 h 95"/>
                  <a:gd name="T22" fmla="*/ 84 w 97"/>
                  <a:gd name="T23" fmla="*/ 70 h 95"/>
                  <a:gd name="T24" fmla="*/ 79 w 97"/>
                  <a:gd name="T25" fmla="*/ 75 h 95"/>
                  <a:gd name="T26" fmla="*/ 76 w 97"/>
                  <a:gd name="T27" fmla="*/ 78 h 95"/>
                  <a:gd name="T28" fmla="*/ 71 w 97"/>
                  <a:gd name="T29" fmla="*/ 79 h 95"/>
                  <a:gd name="T30" fmla="*/ 66 w 97"/>
                  <a:gd name="T31" fmla="*/ 76 h 95"/>
                  <a:gd name="T32" fmla="*/ 63 w 97"/>
                  <a:gd name="T33" fmla="*/ 76 h 95"/>
                  <a:gd name="T34" fmla="*/ 55 w 97"/>
                  <a:gd name="T35" fmla="*/ 77 h 95"/>
                  <a:gd name="T36" fmla="*/ 53 w 97"/>
                  <a:gd name="T37" fmla="*/ 83 h 95"/>
                  <a:gd name="T38" fmla="*/ 50 w 97"/>
                  <a:gd name="T39" fmla="*/ 86 h 95"/>
                  <a:gd name="T40" fmla="*/ 42 w 97"/>
                  <a:gd name="T41" fmla="*/ 85 h 95"/>
                  <a:gd name="T42" fmla="*/ 35 w 97"/>
                  <a:gd name="T43" fmla="*/ 83 h 95"/>
                  <a:gd name="T44" fmla="*/ 27 w 97"/>
                  <a:gd name="T45" fmla="*/ 81 h 95"/>
                  <a:gd name="T46" fmla="*/ 21 w 97"/>
                  <a:gd name="T47" fmla="*/ 77 h 95"/>
                  <a:gd name="T48" fmla="*/ 21 w 97"/>
                  <a:gd name="T49" fmla="*/ 76 h 95"/>
                  <a:gd name="T50" fmla="*/ 24 w 97"/>
                  <a:gd name="T51" fmla="*/ 64 h 95"/>
                  <a:gd name="T52" fmla="*/ 28 w 97"/>
                  <a:gd name="T53" fmla="*/ 61 h 95"/>
                  <a:gd name="T54" fmla="*/ 24 w 97"/>
                  <a:gd name="T55" fmla="*/ 55 h 95"/>
                  <a:gd name="T56" fmla="*/ 25 w 97"/>
                  <a:gd name="T57" fmla="*/ 52 h 95"/>
                  <a:gd name="T58" fmla="*/ 24 w 97"/>
                  <a:gd name="T59" fmla="*/ 48 h 95"/>
                  <a:gd name="T60" fmla="*/ 20 w 97"/>
                  <a:gd name="T61" fmla="*/ 46 h 95"/>
                  <a:gd name="T62" fmla="*/ 17 w 97"/>
                  <a:gd name="T63" fmla="*/ 40 h 95"/>
                  <a:gd name="T64" fmla="*/ 16 w 97"/>
                  <a:gd name="T65" fmla="*/ 39 h 95"/>
                  <a:gd name="T66" fmla="*/ 14 w 97"/>
                  <a:gd name="T67" fmla="*/ 37 h 95"/>
                  <a:gd name="T68" fmla="*/ 9 w 97"/>
                  <a:gd name="T69" fmla="*/ 34 h 95"/>
                  <a:gd name="T70" fmla="*/ 4 w 97"/>
                  <a:gd name="T71" fmla="*/ 33 h 95"/>
                  <a:gd name="T72" fmla="*/ 3 w 97"/>
                  <a:gd name="T73" fmla="*/ 30 h 95"/>
                  <a:gd name="T74" fmla="*/ 3 w 97"/>
                  <a:gd name="T75" fmla="*/ 29 h 95"/>
                  <a:gd name="T76" fmla="*/ 0 w 97"/>
                  <a:gd name="T77" fmla="*/ 26 h 95"/>
                  <a:gd name="T78" fmla="*/ 5 w 97"/>
                  <a:gd name="T79" fmla="*/ 25 h 95"/>
                  <a:gd name="T80" fmla="*/ 11 w 97"/>
                  <a:gd name="T81" fmla="*/ 23 h 95"/>
                  <a:gd name="T82" fmla="*/ 16 w 97"/>
                  <a:gd name="T83" fmla="*/ 25 h 95"/>
                  <a:gd name="T84" fmla="*/ 20 w 97"/>
                  <a:gd name="T85" fmla="*/ 25 h 95"/>
                  <a:gd name="T86" fmla="*/ 22 w 97"/>
                  <a:gd name="T87" fmla="*/ 22 h 95"/>
                  <a:gd name="T88" fmla="*/ 20 w 97"/>
                  <a:gd name="T89" fmla="*/ 17 h 95"/>
                  <a:gd name="T90" fmla="*/ 22 w 97"/>
                  <a:gd name="T91" fmla="*/ 14 h 95"/>
                  <a:gd name="T92" fmla="*/ 25 w 97"/>
                  <a:gd name="T93" fmla="*/ 17 h 95"/>
                  <a:gd name="T94" fmla="*/ 34 w 97"/>
                  <a:gd name="T95" fmla="*/ 17 h 95"/>
                  <a:gd name="T96" fmla="*/ 33 w 97"/>
                  <a:gd name="T97" fmla="*/ 15 h 95"/>
                  <a:gd name="T98" fmla="*/ 44 w 97"/>
                  <a:gd name="T99" fmla="*/ 9 h 95"/>
                  <a:gd name="T100" fmla="*/ 43 w 97"/>
                  <a:gd name="T101" fmla="*/ 4 h 95"/>
                  <a:gd name="T102" fmla="*/ 50 w 97"/>
                  <a:gd name="T103" fmla="*/ 2 h 95"/>
                  <a:gd name="T104" fmla="*/ 56 w 97"/>
                  <a:gd name="T105" fmla="*/ 6 h 95"/>
                  <a:gd name="T106" fmla="*/ 60 w 97"/>
                  <a:gd name="T107" fmla="*/ 11 h 95"/>
                  <a:gd name="T108" fmla="*/ 65 w 97"/>
                  <a:gd name="T109" fmla="*/ 12 h 95"/>
                  <a:gd name="T110" fmla="*/ 68 w 97"/>
                  <a:gd name="T111" fmla="*/ 15 h 95"/>
                  <a:gd name="T112" fmla="*/ 74 w 97"/>
                  <a:gd name="T113" fmla="*/ 17 h 95"/>
                  <a:gd name="T114" fmla="*/ 83 w 97"/>
                  <a:gd name="T115" fmla="*/ 21 h 95"/>
                  <a:gd name="T116" fmla="*/ 97 w 97"/>
                  <a:gd name="T117" fmla="*/ 86 h 95"/>
                  <a:gd name="T118" fmla="*/ 95 w 97"/>
                  <a:gd name="T119" fmla="*/ 83 h 95"/>
                  <a:gd name="T120" fmla="*/ 90 w 97"/>
                  <a:gd name="T121" fmla="*/ 86 h 95"/>
                  <a:gd name="T122" fmla="*/ 91 w 97"/>
                  <a:gd name="T123" fmla="*/ 91 h 95"/>
                  <a:gd name="T124" fmla="*/ 94 w 97"/>
                  <a:gd name="T125"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95">
                    <a:moveTo>
                      <a:pt x="88" y="22"/>
                    </a:moveTo>
                    <a:cubicBezTo>
                      <a:pt x="87" y="22"/>
                      <a:pt x="87" y="23"/>
                      <a:pt x="87" y="23"/>
                    </a:cubicBezTo>
                    <a:cubicBezTo>
                      <a:pt x="87" y="24"/>
                      <a:pt x="86" y="24"/>
                      <a:pt x="86" y="24"/>
                    </a:cubicBezTo>
                    <a:cubicBezTo>
                      <a:pt x="86" y="25"/>
                      <a:pt x="85" y="25"/>
                      <a:pt x="85" y="25"/>
                    </a:cubicBezTo>
                    <a:cubicBezTo>
                      <a:pt x="85" y="26"/>
                      <a:pt x="85" y="26"/>
                      <a:pt x="85" y="26"/>
                    </a:cubicBezTo>
                    <a:cubicBezTo>
                      <a:pt x="85" y="27"/>
                      <a:pt x="85" y="27"/>
                      <a:pt x="85" y="27"/>
                    </a:cubicBezTo>
                    <a:cubicBezTo>
                      <a:pt x="84" y="28"/>
                      <a:pt x="84" y="28"/>
                      <a:pt x="84" y="28"/>
                    </a:cubicBezTo>
                    <a:cubicBezTo>
                      <a:pt x="84" y="29"/>
                      <a:pt x="83" y="30"/>
                      <a:pt x="83" y="31"/>
                    </a:cubicBezTo>
                    <a:cubicBezTo>
                      <a:pt x="84" y="32"/>
                      <a:pt x="83" y="33"/>
                      <a:pt x="83" y="34"/>
                    </a:cubicBezTo>
                    <a:cubicBezTo>
                      <a:pt x="83" y="34"/>
                      <a:pt x="83" y="35"/>
                      <a:pt x="83" y="35"/>
                    </a:cubicBezTo>
                    <a:cubicBezTo>
                      <a:pt x="83" y="35"/>
                      <a:pt x="84" y="36"/>
                      <a:pt x="84" y="36"/>
                    </a:cubicBezTo>
                    <a:cubicBezTo>
                      <a:pt x="83" y="36"/>
                      <a:pt x="83" y="36"/>
                      <a:pt x="83" y="36"/>
                    </a:cubicBezTo>
                    <a:cubicBezTo>
                      <a:pt x="83" y="36"/>
                      <a:pt x="83" y="37"/>
                      <a:pt x="83" y="37"/>
                    </a:cubicBezTo>
                    <a:cubicBezTo>
                      <a:pt x="82" y="37"/>
                      <a:pt x="82" y="37"/>
                      <a:pt x="82" y="37"/>
                    </a:cubicBezTo>
                    <a:cubicBezTo>
                      <a:pt x="82" y="37"/>
                      <a:pt x="82" y="37"/>
                      <a:pt x="82" y="37"/>
                    </a:cubicBezTo>
                    <a:cubicBezTo>
                      <a:pt x="81" y="37"/>
                      <a:pt x="81" y="37"/>
                      <a:pt x="81" y="37"/>
                    </a:cubicBezTo>
                    <a:cubicBezTo>
                      <a:pt x="80" y="37"/>
                      <a:pt x="80" y="37"/>
                      <a:pt x="80" y="37"/>
                    </a:cubicBezTo>
                    <a:cubicBezTo>
                      <a:pt x="79" y="37"/>
                      <a:pt x="79" y="37"/>
                      <a:pt x="79" y="37"/>
                    </a:cubicBezTo>
                    <a:cubicBezTo>
                      <a:pt x="79" y="38"/>
                      <a:pt x="78" y="38"/>
                      <a:pt x="79" y="38"/>
                    </a:cubicBezTo>
                    <a:cubicBezTo>
                      <a:pt x="79" y="38"/>
                      <a:pt x="79" y="38"/>
                      <a:pt x="79" y="38"/>
                    </a:cubicBezTo>
                    <a:cubicBezTo>
                      <a:pt x="80" y="39"/>
                      <a:pt x="79" y="39"/>
                      <a:pt x="79" y="39"/>
                    </a:cubicBezTo>
                    <a:cubicBezTo>
                      <a:pt x="79" y="39"/>
                      <a:pt x="79" y="39"/>
                      <a:pt x="79" y="39"/>
                    </a:cubicBezTo>
                    <a:cubicBezTo>
                      <a:pt x="79" y="40"/>
                      <a:pt x="78" y="40"/>
                      <a:pt x="78" y="40"/>
                    </a:cubicBezTo>
                    <a:cubicBezTo>
                      <a:pt x="78" y="40"/>
                      <a:pt x="78" y="41"/>
                      <a:pt x="78" y="41"/>
                    </a:cubicBezTo>
                    <a:cubicBezTo>
                      <a:pt x="77" y="41"/>
                      <a:pt x="77" y="41"/>
                      <a:pt x="77" y="42"/>
                    </a:cubicBezTo>
                    <a:cubicBezTo>
                      <a:pt x="77" y="42"/>
                      <a:pt x="76" y="42"/>
                      <a:pt x="75" y="42"/>
                    </a:cubicBezTo>
                    <a:cubicBezTo>
                      <a:pt x="75" y="42"/>
                      <a:pt x="76" y="43"/>
                      <a:pt x="76" y="43"/>
                    </a:cubicBezTo>
                    <a:cubicBezTo>
                      <a:pt x="76" y="43"/>
                      <a:pt x="76" y="44"/>
                      <a:pt x="76" y="44"/>
                    </a:cubicBezTo>
                    <a:cubicBezTo>
                      <a:pt x="75" y="45"/>
                      <a:pt x="74" y="45"/>
                      <a:pt x="74" y="45"/>
                    </a:cubicBezTo>
                    <a:cubicBezTo>
                      <a:pt x="74" y="46"/>
                      <a:pt x="74" y="46"/>
                      <a:pt x="73" y="46"/>
                    </a:cubicBezTo>
                    <a:cubicBezTo>
                      <a:pt x="73" y="46"/>
                      <a:pt x="73" y="47"/>
                      <a:pt x="73" y="47"/>
                    </a:cubicBezTo>
                    <a:cubicBezTo>
                      <a:pt x="73" y="48"/>
                      <a:pt x="73" y="48"/>
                      <a:pt x="74" y="48"/>
                    </a:cubicBezTo>
                    <a:cubicBezTo>
                      <a:pt x="74" y="48"/>
                      <a:pt x="74" y="48"/>
                      <a:pt x="73" y="49"/>
                    </a:cubicBezTo>
                    <a:cubicBezTo>
                      <a:pt x="73" y="49"/>
                      <a:pt x="73" y="49"/>
                      <a:pt x="72" y="50"/>
                    </a:cubicBezTo>
                    <a:cubicBezTo>
                      <a:pt x="72" y="51"/>
                      <a:pt x="75" y="50"/>
                      <a:pt x="75" y="49"/>
                    </a:cubicBezTo>
                    <a:cubicBezTo>
                      <a:pt x="75" y="49"/>
                      <a:pt x="74" y="49"/>
                      <a:pt x="74" y="48"/>
                    </a:cubicBezTo>
                    <a:cubicBezTo>
                      <a:pt x="74" y="48"/>
                      <a:pt x="74" y="48"/>
                      <a:pt x="75" y="48"/>
                    </a:cubicBezTo>
                    <a:cubicBezTo>
                      <a:pt x="75" y="48"/>
                      <a:pt x="76" y="47"/>
                      <a:pt x="76" y="47"/>
                    </a:cubicBezTo>
                    <a:cubicBezTo>
                      <a:pt x="76" y="47"/>
                      <a:pt x="77" y="47"/>
                      <a:pt x="78" y="47"/>
                    </a:cubicBezTo>
                    <a:cubicBezTo>
                      <a:pt x="78" y="48"/>
                      <a:pt x="78" y="48"/>
                      <a:pt x="78" y="49"/>
                    </a:cubicBezTo>
                    <a:cubicBezTo>
                      <a:pt x="79" y="49"/>
                      <a:pt x="78" y="50"/>
                      <a:pt x="78" y="50"/>
                    </a:cubicBezTo>
                    <a:cubicBezTo>
                      <a:pt x="78" y="51"/>
                      <a:pt x="79" y="50"/>
                      <a:pt x="78" y="51"/>
                    </a:cubicBezTo>
                    <a:cubicBezTo>
                      <a:pt x="79" y="51"/>
                      <a:pt x="80" y="51"/>
                      <a:pt x="79" y="52"/>
                    </a:cubicBezTo>
                    <a:cubicBezTo>
                      <a:pt x="79" y="53"/>
                      <a:pt x="78" y="53"/>
                      <a:pt x="78" y="54"/>
                    </a:cubicBezTo>
                    <a:cubicBezTo>
                      <a:pt x="78" y="55"/>
                      <a:pt x="79" y="54"/>
                      <a:pt x="79" y="55"/>
                    </a:cubicBezTo>
                    <a:cubicBezTo>
                      <a:pt x="79" y="55"/>
                      <a:pt x="79" y="56"/>
                      <a:pt x="79" y="56"/>
                    </a:cubicBezTo>
                    <a:cubicBezTo>
                      <a:pt x="80" y="56"/>
                      <a:pt x="80" y="57"/>
                      <a:pt x="80" y="57"/>
                    </a:cubicBezTo>
                    <a:cubicBezTo>
                      <a:pt x="80" y="57"/>
                      <a:pt x="80" y="57"/>
                      <a:pt x="80" y="58"/>
                    </a:cubicBezTo>
                    <a:cubicBezTo>
                      <a:pt x="80" y="58"/>
                      <a:pt x="80" y="58"/>
                      <a:pt x="80" y="59"/>
                    </a:cubicBezTo>
                    <a:cubicBezTo>
                      <a:pt x="80" y="59"/>
                      <a:pt x="80" y="59"/>
                      <a:pt x="80" y="59"/>
                    </a:cubicBezTo>
                    <a:cubicBezTo>
                      <a:pt x="79" y="59"/>
                      <a:pt x="79" y="59"/>
                      <a:pt x="79" y="60"/>
                    </a:cubicBezTo>
                    <a:cubicBezTo>
                      <a:pt x="78" y="60"/>
                      <a:pt x="79" y="60"/>
                      <a:pt x="78" y="60"/>
                    </a:cubicBezTo>
                    <a:cubicBezTo>
                      <a:pt x="78" y="60"/>
                      <a:pt x="78" y="60"/>
                      <a:pt x="78" y="60"/>
                    </a:cubicBezTo>
                    <a:cubicBezTo>
                      <a:pt x="77" y="60"/>
                      <a:pt x="77" y="60"/>
                      <a:pt x="77" y="61"/>
                    </a:cubicBezTo>
                    <a:cubicBezTo>
                      <a:pt x="77" y="61"/>
                      <a:pt x="77" y="61"/>
                      <a:pt x="78" y="61"/>
                    </a:cubicBezTo>
                    <a:cubicBezTo>
                      <a:pt x="78" y="61"/>
                      <a:pt x="78" y="61"/>
                      <a:pt x="78" y="62"/>
                    </a:cubicBezTo>
                    <a:cubicBezTo>
                      <a:pt x="78" y="62"/>
                      <a:pt x="78" y="62"/>
                      <a:pt x="78" y="62"/>
                    </a:cubicBezTo>
                    <a:cubicBezTo>
                      <a:pt x="79" y="62"/>
                      <a:pt x="79" y="62"/>
                      <a:pt x="79" y="63"/>
                    </a:cubicBezTo>
                    <a:cubicBezTo>
                      <a:pt x="79" y="63"/>
                      <a:pt x="80" y="64"/>
                      <a:pt x="80" y="64"/>
                    </a:cubicBezTo>
                    <a:cubicBezTo>
                      <a:pt x="80" y="64"/>
                      <a:pt x="80" y="64"/>
                      <a:pt x="79" y="64"/>
                    </a:cubicBezTo>
                    <a:cubicBezTo>
                      <a:pt x="79" y="64"/>
                      <a:pt x="79" y="65"/>
                      <a:pt x="79" y="65"/>
                    </a:cubicBezTo>
                    <a:cubicBezTo>
                      <a:pt x="79" y="65"/>
                      <a:pt x="78" y="66"/>
                      <a:pt x="78" y="66"/>
                    </a:cubicBezTo>
                    <a:cubicBezTo>
                      <a:pt x="78" y="66"/>
                      <a:pt x="79" y="66"/>
                      <a:pt x="79" y="66"/>
                    </a:cubicBezTo>
                    <a:cubicBezTo>
                      <a:pt x="79" y="66"/>
                      <a:pt x="79" y="66"/>
                      <a:pt x="79" y="67"/>
                    </a:cubicBezTo>
                    <a:cubicBezTo>
                      <a:pt x="79" y="67"/>
                      <a:pt x="79" y="67"/>
                      <a:pt x="79" y="67"/>
                    </a:cubicBezTo>
                    <a:cubicBezTo>
                      <a:pt x="79" y="68"/>
                      <a:pt x="79" y="68"/>
                      <a:pt x="79" y="68"/>
                    </a:cubicBezTo>
                    <a:cubicBezTo>
                      <a:pt x="80" y="68"/>
                      <a:pt x="80" y="68"/>
                      <a:pt x="80" y="68"/>
                    </a:cubicBezTo>
                    <a:cubicBezTo>
                      <a:pt x="81" y="68"/>
                      <a:pt x="81" y="69"/>
                      <a:pt x="82" y="69"/>
                    </a:cubicBezTo>
                    <a:cubicBezTo>
                      <a:pt x="82" y="70"/>
                      <a:pt x="83" y="69"/>
                      <a:pt x="83" y="69"/>
                    </a:cubicBezTo>
                    <a:cubicBezTo>
                      <a:pt x="83" y="69"/>
                      <a:pt x="84" y="69"/>
                      <a:pt x="84" y="69"/>
                    </a:cubicBezTo>
                    <a:cubicBezTo>
                      <a:pt x="84" y="69"/>
                      <a:pt x="84" y="69"/>
                      <a:pt x="84" y="69"/>
                    </a:cubicBezTo>
                    <a:cubicBezTo>
                      <a:pt x="84" y="70"/>
                      <a:pt x="84" y="70"/>
                      <a:pt x="84" y="70"/>
                    </a:cubicBezTo>
                    <a:cubicBezTo>
                      <a:pt x="84" y="71"/>
                      <a:pt x="83" y="71"/>
                      <a:pt x="83" y="71"/>
                    </a:cubicBezTo>
                    <a:cubicBezTo>
                      <a:pt x="83" y="72"/>
                      <a:pt x="83" y="72"/>
                      <a:pt x="83" y="72"/>
                    </a:cubicBezTo>
                    <a:cubicBezTo>
                      <a:pt x="82" y="73"/>
                      <a:pt x="82" y="73"/>
                      <a:pt x="81" y="73"/>
                    </a:cubicBezTo>
                    <a:cubicBezTo>
                      <a:pt x="81" y="73"/>
                      <a:pt x="80" y="74"/>
                      <a:pt x="80" y="74"/>
                    </a:cubicBezTo>
                    <a:cubicBezTo>
                      <a:pt x="80" y="74"/>
                      <a:pt x="80" y="75"/>
                      <a:pt x="80" y="75"/>
                    </a:cubicBezTo>
                    <a:cubicBezTo>
                      <a:pt x="80" y="75"/>
                      <a:pt x="79" y="75"/>
                      <a:pt x="79" y="75"/>
                    </a:cubicBezTo>
                    <a:cubicBezTo>
                      <a:pt x="79" y="75"/>
                      <a:pt x="79" y="76"/>
                      <a:pt x="79" y="76"/>
                    </a:cubicBezTo>
                    <a:cubicBezTo>
                      <a:pt x="78" y="76"/>
                      <a:pt x="78" y="76"/>
                      <a:pt x="78" y="76"/>
                    </a:cubicBezTo>
                    <a:cubicBezTo>
                      <a:pt x="77" y="76"/>
                      <a:pt x="77" y="76"/>
                      <a:pt x="77" y="77"/>
                    </a:cubicBezTo>
                    <a:cubicBezTo>
                      <a:pt x="77" y="77"/>
                      <a:pt x="77" y="77"/>
                      <a:pt x="77" y="77"/>
                    </a:cubicBezTo>
                    <a:cubicBezTo>
                      <a:pt x="77" y="77"/>
                      <a:pt x="77" y="77"/>
                      <a:pt x="77" y="78"/>
                    </a:cubicBezTo>
                    <a:cubicBezTo>
                      <a:pt x="77" y="78"/>
                      <a:pt x="76" y="78"/>
                      <a:pt x="76" y="78"/>
                    </a:cubicBezTo>
                    <a:cubicBezTo>
                      <a:pt x="76" y="78"/>
                      <a:pt x="75" y="78"/>
                      <a:pt x="75" y="79"/>
                    </a:cubicBezTo>
                    <a:cubicBezTo>
                      <a:pt x="75" y="79"/>
                      <a:pt x="75" y="79"/>
                      <a:pt x="74" y="79"/>
                    </a:cubicBezTo>
                    <a:cubicBezTo>
                      <a:pt x="74" y="79"/>
                      <a:pt x="74" y="78"/>
                      <a:pt x="74" y="79"/>
                    </a:cubicBezTo>
                    <a:cubicBezTo>
                      <a:pt x="74" y="79"/>
                      <a:pt x="75" y="80"/>
                      <a:pt x="74" y="80"/>
                    </a:cubicBezTo>
                    <a:cubicBezTo>
                      <a:pt x="74" y="80"/>
                      <a:pt x="73" y="79"/>
                      <a:pt x="73" y="79"/>
                    </a:cubicBezTo>
                    <a:cubicBezTo>
                      <a:pt x="72" y="79"/>
                      <a:pt x="72" y="80"/>
                      <a:pt x="71" y="79"/>
                    </a:cubicBezTo>
                    <a:cubicBezTo>
                      <a:pt x="71" y="79"/>
                      <a:pt x="71" y="79"/>
                      <a:pt x="71" y="79"/>
                    </a:cubicBezTo>
                    <a:cubicBezTo>
                      <a:pt x="71" y="78"/>
                      <a:pt x="71" y="78"/>
                      <a:pt x="70" y="78"/>
                    </a:cubicBezTo>
                    <a:cubicBezTo>
                      <a:pt x="70" y="78"/>
                      <a:pt x="69" y="78"/>
                      <a:pt x="68" y="78"/>
                    </a:cubicBezTo>
                    <a:cubicBezTo>
                      <a:pt x="68" y="77"/>
                      <a:pt x="68" y="76"/>
                      <a:pt x="68" y="76"/>
                    </a:cubicBezTo>
                    <a:cubicBezTo>
                      <a:pt x="68" y="76"/>
                      <a:pt x="67" y="77"/>
                      <a:pt x="67" y="77"/>
                    </a:cubicBezTo>
                    <a:cubicBezTo>
                      <a:pt x="67" y="77"/>
                      <a:pt x="66" y="76"/>
                      <a:pt x="66" y="76"/>
                    </a:cubicBezTo>
                    <a:cubicBezTo>
                      <a:pt x="67" y="76"/>
                      <a:pt x="67" y="76"/>
                      <a:pt x="67" y="75"/>
                    </a:cubicBezTo>
                    <a:cubicBezTo>
                      <a:pt x="67" y="75"/>
                      <a:pt x="66" y="74"/>
                      <a:pt x="66" y="75"/>
                    </a:cubicBezTo>
                    <a:cubicBezTo>
                      <a:pt x="66" y="75"/>
                      <a:pt x="66" y="75"/>
                      <a:pt x="66" y="76"/>
                    </a:cubicBezTo>
                    <a:cubicBezTo>
                      <a:pt x="66" y="76"/>
                      <a:pt x="66" y="76"/>
                      <a:pt x="65" y="76"/>
                    </a:cubicBezTo>
                    <a:cubicBezTo>
                      <a:pt x="65" y="76"/>
                      <a:pt x="65" y="77"/>
                      <a:pt x="64" y="76"/>
                    </a:cubicBezTo>
                    <a:cubicBezTo>
                      <a:pt x="63" y="77"/>
                      <a:pt x="63" y="76"/>
                      <a:pt x="63" y="76"/>
                    </a:cubicBezTo>
                    <a:cubicBezTo>
                      <a:pt x="63" y="75"/>
                      <a:pt x="63" y="75"/>
                      <a:pt x="62" y="75"/>
                    </a:cubicBezTo>
                    <a:cubicBezTo>
                      <a:pt x="62" y="75"/>
                      <a:pt x="61" y="75"/>
                      <a:pt x="60" y="75"/>
                    </a:cubicBezTo>
                    <a:cubicBezTo>
                      <a:pt x="60" y="75"/>
                      <a:pt x="60" y="75"/>
                      <a:pt x="60" y="75"/>
                    </a:cubicBezTo>
                    <a:cubicBezTo>
                      <a:pt x="59" y="74"/>
                      <a:pt x="58" y="75"/>
                      <a:pt x="57" y="76"/>
                    </a:cubicBezTo>
                    <a:cubicBezTo>
                      <a:pt x="57" y="76"/>
                      <a:pt x="57" y="76"/>
                      <a:pt x="56" y="77"/>
                    </a:cubicBezTo>
                    <a:cubicBezTo>
                      <a:pt x="56" y="77"/>
                      <a:pt x="56" y="77"/>
                      <a:pt x="55" y="77"/>
                    </a:cubicBezTo>
                    <a:cubicBezTo>
                      <a:pt x="54" y="77"/>
                      <a:pt x="54" y="78"/>
                      <a:pt x="54" y="79"/>
                    </a:cubicBezTo>
                    <a:cubicBezTo>
                      <a:pt x="53" y="79"/>
                      <a:pt x="53" y="80"/>
                      <a:pt x="53" y="80"/>
                    </a:cubicBezTo>
                    <a:cubicBezTo>
                      <a:pt x="53" y="80"/>
                      <a:pt x="53" y="81"/>
                      <a:pt x="53" y="81"/>
                    </a:cubicBezTo>
                    <a:cubicBezTo>
                      <a:pt x="53" y="81"/>
                      <a:pt x="53" y="81"/>
                      <a:pt x="53" y="81"/>
                    </a:cubicBezTo>
                    <a:cubicBezTo>
                      <a:pt x="53" y="82"/>
                      <a:pt x="53" y="81"/>
                      <a:pt x="53" y="82"/>
                    </a:cubicBezTo>
                    <a:cubicBezTo>
                      <a:pt x="53" y="82"/>
                      <a:pt x="53" y="82"/>
                      <a:pt x="53" y="83"/>
                    </a:cubicBezTo>
                    <a:cubicBezTo>
                      <a:pt x="53" y="83"/>
                      <a:pt x="53" y="83"/>
                      <a:pt x="53" y="84"/>
                    </a:cubicBezTo>
                    <a:cubicBezTo>
                      <a:pt x="53" y="84"/>
                      <a:pt x="54" y="84"/>
                      <a:pt x="54" y="85"/>
                    </a:cubicBezTo>
                    <a:cubicBezTo>
                      <a:pt x="53" y="85"/>
                      <a:pt x="53" y="85"/>
                      <a:pt x="52" y="85"/>
                    </a:cubicBezTo>
                    <a:cubicBezTo>
                      <a:pt x="52" y="85"/>
                      <a:pt x="52" y="85"/>
                      <a:pt x="51" y="85"/>
                    </a:cubicBezTo>
                    <a:cubicBezTo>
                      <a:pt x="51" y="85"/>
                      <a:pt x="51" y="85"/>
                      <a:pt x="50" y="86"/>
                    </a:cubicBezTo>
                    <a:cubicBezTo>
                      <a:pt x="50" y="86"/>
                      <a:pt x="50" y="86"/>
                      <a:pt x="50" y="86"/>
                    </a:cubicBezTo>
                    <a:cubicBezTo>
                      <a:pt x="50" y="86"/>
                      <a:pt x="49" y="86"/>
                      <a:pt x="49" y="86"/>
                    </a:cubicBezTo>
                    <a:cubicBezTo>
                      <a:pt x="48" y="85"/>
                      <a:pt x="48" y="85"/>
                      <a:pt x="47" y="85"/>
                    </a:cubicBezTo>
                    <a:cubicBezTo>
                      <a:pt x="47" y="85"/>
                      <a:pt x="46" y="86"/>
                      <a:pt x="46" y="86"/>
                    </a:cubicBezTo>
                    <a:cubicBezTo>
                      <a:pt x="45" y="86"/>
                      <a:pt x="46" y="85"/>
                      <a:pt x="45" y="85"/>
                    </a:cubicBezTo>
                    <a:cubicBezTo>
                      <a:pt x="45" y="85"/>
                      <a:pt x="44" y="85"/>
                      <a:pt x="44" y="84"/>
                    </a:cubicBezTo>
                    <a:cubicBezTo>
                      <a:pt x="44" y="85"/>
                      <a:pt x="43" y="85"/>
                      <a:pt x="42" y="85"/>
                    </a:cubicBezTo>
                    <a:cubicBezTo>
                      <a:pt x="41" y="85"/>
                      <a:pt x="42" y="84"/>
                      <a:pt x="42" y="83"/>
                    </a:cubicBezTo>
                    <a:cubicBezTo>
                      <a:pt x="42" y="83"/>
                      <a:pt x="42" y="83"/>
                      <a:pt x="42" y="83"/>
                    </a:cubicBezTo>
                    <a:cubicBezTo>
                      <a:pt x="41" y="83"/>
                      <a:pt x="40" y="82"/>
                      <a:pt x="40" y="82"/>
                    </a:cubicBezTo>
                    <a:cubicBezTo>
                      <a:pt x="39" y="82"/>
                      <a:pt x="39" y="82"/>
                      <a:pt x="38" y="82"/>
                    </a:cubicBezTo>
                    <a:cubicBezTo>
                      <a:pt x="38" y="81"/>
                      <a:pt x="37" y="81"/>
                      <a:pt x="37" y="82"/>
                    </a:cubicBezTo>
                    <a:cubicBezTo>
                      <a:pt x="36" y="83"/>
                      <a:pt x="36" y="83"/>
                      <a:pt x="35" y="83"/>
                    </a:cubicBezTo>
                    <a:cubicBezTo>
                      <a:pt x="35" y="82"/>
                      <a:pt x="34" y="83"/>
                      <a:pt x="34" y="83"/>
                    </a:cubicBezTo>
                    <a:cubicBezTo>
                      <a:pt x="34" y="83"/>
                      <a:pt x="33" y="82"/>
                      <a:pt x="33" y="82"/>
                    </a:cubicBezTo>
                    <a:cubicBezTo>
                      <a:pt x="32" y="83"/>
                      <a:pt x="32" y="83"/>
                      <a:pt x="31" y="82"/>
                    </a:cubicBezTo>
                    <a:cubicBezTo>
                      <a:pt x="31" y="82"/>
                      <a:pt x="31" y="81"/>
                      <a:pt x="30" y="81"/>
                    </a:cubicBezTo>
                    <a:cubicBezTo>
                      <a:pt x="30" y="81"/>
                      <a:pt x="30" y="82"/>
                      <a:pt x="29" y="82"/>
                    </a:cubicBezTo>
                    <a:cubicBezTo>
                      <a:pt x="28" y="82"/>
                      <a:pt x="28" y="81"/>
                      <a:pt x="27" y="81"/>
                    </a:cubicBezTo>
                    <a:cubicBezTo>
                      <a:pt x="27" y="80"/>
                      <a:pt x="26" y="80"/>
                      <a:pt x="25" y="80"/>
                    </a:cubicBezTo>
                    <a:cubicBezTo>
                      <a:pt x="24" y="80"/>
                      <a:pt x="24" y="79"/>
                      <a:pt x="23" y="79"/>
                    </a:cubicBezTo>
                    <a:cubicBezTo>
                      <a:pt x="23" y="79"/>
                      <a:pt x="23" y="80"/>
                      <a:pt x="22" y="79"/>
                    </a:cubicBezTo>
                    <a:cubicBezTo>
                      <a:pt x="22" y="79"/>
                      <a:pt x="23" y="79"/>
                      <a:pt x="23" y="78"/>
                    </a:cubicBezTo>
                    <a:cubicBezTo>
                      <a:pt x="23" y="78"/>
                      <a:pt x="23" y="77"/>
                      <a:pt x="22" y="77"/>
                    </a:cubicBezTo>
                    <a:cubicBezTo>
                      <a:pt x="22" y="77"/>
                      <a:pt x="22" y="78"/>
                      <a:pt x="21" y="77"/>
                    </a:cubicBezTo>
                    <a:cubicBezTo>
                      <a:pt x="21" y="77"/>
                      <a:pt x="20" y="77"/>
                      <a:pt x="20" y="77"/>
                    </a:cubicBezTo>
                    <a:cubicBezTo>
                      <a:pt x="20" y="76"/>
                      <a:pt x="20" y="76"/>
                      <a:pt x="20" y="76"/>
                    </a:cubicBezTo>
                    <a:cubicBezTo>
                      <a:pt x="20" y="76"/>
                      <a:pt x="20" y="76"/>
                      <a:pt x="20" y="76"/>
                    </a:cubicBezTo>
                    <a:cubicBezTo>
                      <a:pt x="20" y="76"/>
                      <a:pt x="20" y="76"/>
                      <a:pt x="20" y="76"/>
                    </a:cubicBezTo>
                    <a:cubicBezTo>
                      <a:pt x="20" y="76"/>
                      <a:pt x="21" y="76"/>
                      <a:pt x="21" y="76"/>
                    </a:cubicBezTo>
                    <a:cubicBezTo>
                      <a:pt x="21" y="76"/>
                      <a:pt x="21" y="76"/>
                      <a:pt x="21" y="76"/>
                    </a:cubicBezTo>
                    <a:cubicBezTo>
                      <a:pt x="22" y="75"/>
                      <a:pt x="22" y="75"/>
                      <a:pt x="22" y="74"/>
                    </a:cubicBezTo>
                    <a:cubicBezTo>
                      <a:pt x="23" y="72"/>
                      <a:pt x="23" y="71"/>
                      <a:pt x="23" y="69"/>
                    </a:cubicBezTo>
                    <a:cubicBezTo>
                      <a:pt x="24" y="68"/>
                      <a:pt x="24" y="68"/>
                      <a:pt x="24" y="67"/>
                    </a:cubicBezTo>
                    <a:cubicBezTo>
                      <a:pt x="24" y="66"/>
                      <a:pt x="24" y="65"/>
                      <a:pt x="24" y="65"/>
                    </a:cubicBezTo>
                    <a:cubicBezTo>
                      <a:pt x="25" y="64"/>
                      <a:pt x="25" y="65"/>
                      <a:pt x="25" y="64"/>
                    </a:cubicBezTo>
                    <a:cubicBezTo>
                      <a:pt x="25" y="63"/>
                      <a:pt x="24" y="63"/>
                      <a:pt x="24" y="64"/>
                    </a:cubicBezTo>
                    <a:cubicBezTo>
                      <a:pt x="24" y="64"/>
                      <a:pt x="24" y="62"/>
                      <a:pt x="24" y="62"/>
                    </a:cubicBezTo>
                    <a:cubicBezTo>
                      <a:pt x="24" y="61"/>
                      <a:pt x="24" y="60"/>
                      <a:pt x="24" y="60"/>
                    </a:cubicBezTo>
                    <a:cubicBezTo>
                      <a:pt x="24" y="59"/>
                      <a:pt x="24" y="58"/>
                      <a:pt x="24" y="57"/>
                    </a:cubicBezTo>
                    <a:cubicBezTo>
                      <a:pt x="24" y="57"/>
                      <a:pt x="24" y="56"/>
                      <a:pt x="25" y="56"/>
                    </a:cubicBezTo>
                    <a:cubicBezTo>
                      <a:pt x="26" y="56"/>
                      <a:pt x="27" y="58"/>
                      <a:pt x="27" y="59"/>
                    </a:cubicBezTo>
                    <a:cubicBezTo>
                      <a:pt x="27" y="59"/>
                      <a:pt x="28" y="60"/>
                      <a:pt x="28" y="61"/>
                    </a:cubicBezTo>
                    <a:cubicBezTo>
                      <a:pt x="28" y="61"/>
                      <a:pt x="28" y="61"/>
                      <a:pt x="29" y="61"/>
                    </a:cubicBezTo>
                    <a:cubicBezTo>
                      <a:pt x="29" y="62"/>
                      <a:pt x="29" y="62"/>
                      <a:pt x="29" y="62"/>
                    </a:cubicBezTo>
                    <a:cubicBezTo>
                      <a:pt x="29" y="62"/>
                      <a:pt x="29" y="61"/>
                      <a:pt x="28" y="60"/>
                    </a:cubicBezTo>
                    <a:cubicBezTo>
                      <a:pt x="28" y="60"/>
                      <a:pt x="28" y="59"/>
                      <a:pt x="28" y="58"/>
                    </a:cubicBezTo>
                    <a:cubicBezTo>
                      <a:pt x="27" y="57"/>
                      <a:pt x="27" y="57"/>
                      <a:pt x="26" y="56"/>
                    </a:cubicBezTo>
                    <a:cubicBezTo>
                      <a:pt x="26" y="55"/>
                      <a:pt x="25" y="55"/>
                      <a:pt x="24" y="55"/>
                    </a:cubicBezTo>
                    <a:cubicBezTo>
                      <a:pt x="24" y="54"/>
                      <a:pt x="24" y="53"/>
                      <a:pt x="24" y="52"/>
                    </a:cubicBezTo>
                    <a:cubicBezTo>
                      <a:pt x="24" y="52"/>
                      <a:pt x="22" y="51"/>
                      <a:pt x="23" y="51"/>
                    </a:cubicBezTo>
                    <a:cubicBezTo>
                      <a:pt x="23" y="51"/>
                      <a:pt x="24" y="52"/>
                      <a:pt x="24" y="52"/>
                    </a:cubicBezTo>
                    <a:cubicBezTo>
                      <a:pt x="24" y="53"/>
                      <a:pt x="25" y="54"/>
                      <a:pt x="26" y="54"/>
                    </a:cubicBezTo>
                    <a:cubicBezTo>
                      <a:pt x="26" y="54"/>
                      <a:pt x="25" y="54"/>
                      <a:pt x="25" y="53"/>
                    </a:cubicBezTo>
                    <a:cubicBezTo>
                      <a:pt x="25" y="53"/>
                      <a:pt x="25" y="53"/>
                      <a:pt x="25" y="52"/>
                    </a:cubicBezTo>
                    <a:cubicBezTo>
                      <a:pt x="25" y="52"/>
                      <a:pt x="25" y="52"/>
                      <a:pt x="25" y="52"/>
                    </a:cubicBezTo>
                    <a:cubicBezTo>
                      <a:pt x="25" y="52"/>
                      <a:pt x="25" y="51"/>
                      <a:pt x="25" y="51"/>
                    </a:cubicBezTo>
                    <a:cubicBezTo>
                      <a:pt x="25" y="51"/>
                      <a:pt x="25" y="51"/>
                      <a:pt x="25" y="51"/>
                    </a:cubicBezTo>
                    <a:cubicBezTo>
                      <a:pt x="25" y="51"/>
                      <a:pt x="24" y="50"/>
                      <a:pt x="24" y="49"/>
                    </a:cubicBezTo>
                    <a:cubicBezTo>
                      <a:pt x="24" y="49"/>
                      <a:pt x="25" y="49"/>
                      <a:pt x="25" y="49"/>
                    </a:cubicBezTo>
                    <a:cubicBezTo>
                      <a:pt x="25" y="48"/>
                      <a:pt x="24" y="48"/>
                      <a:pt x="24" y="48"/>
                    </a:cubicBezTo>
                    <a:cubicBezTo>
                      <a:pt x="24" y="48"/>
                      <a:pt x="24" y="49"/>
                      <a:pt x="24" y="49"/>
                    </a:cubicBezTo>
                    <a:cubicBezTo>
                      <a:pt x="24" y="49"/>
                      <a:pt x="24" y="48"/>
                      <a:pt x="23" y="48"/>
                    </a:cubicBezTo>
                    <a:cubicBezTo>
                      <a:pt x="23" y="48"/>
                      <a:pt x="23" y="48"/>
                      <a:pt x="22" y="48"/>
                    </a:cubicBezTo>
                    <a:cubicBezTo>
                      <a:pt x="22" y="48"/>
                      <a:pt x="22" y="48"/>
                      <a:pt x="22" y="47"/>
                    </a:cubicBezTo>
                    <a:cubicBezTo>
                      <a:pt x="22" y="47"/>
                      <a:pt x="21" y="47"/>
                      <a:pt x="21" y="47"/>
                    </a:cubicBezTo>
                    <a:cubicBezTo>
                      <a:pt x="21" y="47"/>
                      <a:pt x="20" y="47"/>
                      <a:pt x="20" y="46"/>
                    </a:cubicBezTo>
                    <a:cubicBezTo>
                      <a:pt x="20" y="46"/>
                      <a:pt x="20" y="45"/>
                      <a:pt x="20" y="45"/>
                    </a:cubicBezTo>
                    <a:cubicBezTo>
                      <a:pt x="19" y="44"/>
                      <a:pt x="18" y="44"/>
                      <a:pt x="18" y="42"/>
                    </a:cubicBezTo>
                    <a:cubicBezTo>
                      <a:pt x="18" y="42"/>
                      <a:pt x="19" y="42"/>
                      <a:pt x="19" y="41"/>
                    </a:cubicBezTo>
                    <a:cubicBezTo>
                      <a:pt x="19" y="41"/>
                      <a:pt x="19" y="41"/>
                      <a:pt x="18" y="41"/>
                    </a:cubicBezTo>
                    <a:cubicBezTo>
                      <a:pt x="18" y="40"/>
                      <a:pt x="17" y="41"/>
                      <a:pt x="17" y="40"/>
                    </a:cubicBezTo>
                    <a:cubicBezTo>
                      <a:pt x="17" y="40"/>
                      <a:pt x="17" y="40"/>
                      <a:pt x="17" y="40"/>
                    </a:cubicBezTo>
                    <a:cubicBezTo>
                      <a:pt x="18" y="39"/>
                      <a:pt x="17" y="39"/>
                      <a:pt x="18" y="39"/>
                    </a:cubicBezTo>
                    <a:cubicBezTo>
                      <a:pt x="18" y="39"/>
                      <a:pt x="20" y="39"/>
                      <a:pt x="19" y="39"/>
                    </a:cubicBezTo>
                    <a:cubicBezTo>
                      <a:pt x="19" y="38"/>
                      <a:pt x="18" y="38"/>
                      <a:pt x="17" y="39"/>
                    </a:cubicBezTo>
                    <a:cubicBezTo>
                      <a:pt x="17" y="39"/>
                      <a:pt x="17" y="39"/>
                      <a:pt x="17" y="39"/>
                    </a:cubicBezTo>
                    <a:cubicBezTo>
                      <a:pt x="17" y="39"/>
                      <a:pt x="17" y="39"/>
                      <a:pt x="16" y="39"/>
                    </a:cubicBezTo>
                    <a:cubicBezTo>
                      <a:pt x="16" y="39"/>
                      <a:pt x="16" y="39"/>
                      <a:pt x="16" y="39"/>
                    </a:cubicBezTo>
                    <a:cubicBezTo>
                      <a:pt x="15" y="39"/>
                      <a:pt x="15" y="39"/>
                      <a:pt x="15" y="39"/>
                    </a:cubicBezTo>
                    <a:cubicBezTo>
                      <a:pt x="15" y="38"/>
                      <a:pt x="15" y="39"/>
                      <a:pt x="15" y="38"/>
                    </a:cubicBezTo>
                    <a:cubicBezTo>
                      <a:pt x="15" y="38"/>
                      <a:pt x="15" y="38"/>
                      <a:pt x="15" y="38"/>
                    </a:cubicBezTo>
                    <a:cubicBezTo>
                      <a:pt x="15" y="38"/>
                      <a:pt x="16" y="38"/>
                      <a:pt x="16" y="37"/>
                    </a:cubicBezTo>
                    <a:cubicBezTo>
                      <a:pt x="15" y="37"/>
                      <a:pt x="15" y="36"/>
                      <a:pt x="15" y="37"/>
                    </a:cubicBezTo>
                    <a:cubicBezTo>
                      <a:pt x="15" y="37"/>
                      <a:pt x="15" y="37"/>
                      <a:pt x="14" y="37"/>
                    </a:cubicBezTo>
                    <a:cubicBezTo>
                      <a:pt x="14" y="37"/>
                      <a:pt x="13" y="37"/>
                      <a:pt x="13" y="37"/>
                    </a:cubicBezTo>
                    <a:cubicBezTo>
                      <a:pt x="13" y="36"/>
                      <a:pt x="12" y="36"/>
                      <a:pt x="11" y="36"/>
                    </a:cubicBezTo>
                    <a:cubicBezTo>
                      <a:pt x="11" y="37"/>
                      <a:pt x="12" y="37"/>
                      <a:pt x="11" y="37"/>
                    </a:cubicBezTo>
                    <a:cubicBezTo>
                      <a:pt x="11" y="37"/>
                      <a:pt x="11" y="36"/>
                      <a:pt x="11" y="35"/>
                    </a:cubicBezTo>
                    <a:cubicBezTo>
                      <a:pt x="10" y="35"/>
                      <a:pt x="10" y="35"/>
                      <a:pt x="9" y="35"/>
                    </a:cubicBezTo>
                    <a:cubicBezTo>
                      <a:pt x="9" y="35"/>
                      <a:pt x="9" y="34"/>
                      <a:pt x="9" y="34"/>
                    </a:cubicBezTo>
                    <a:cubicBezTo>
                      <a:pt x="9" y="34"/>
                      <a:pt x="9" y="34"/>
                      <a:pt x="8" y="34"/>
                    </a:cubicBezTo>
                    <a:cubicBezTo>
                      <a:pt x="8" y="34"/>
                      <a:pt x="7" y="34"/>
                      <a:pt x="7" y="34"/>
                    </a:cubicBezTo>
                    <a:cubicBezTo>
                      <a:pt x="6" y="34"/>
                      <a:pt x="6" y="34"/>
                      <a:pt x="6" y="33"/>
                    </a:cubicBezTo>
                    <a:cubicBezTo>
                      <a:pt x="6" y="33"/>
                      <a:pt x="6" y="33"/>
                      <a:pt x="6" y="33"/>
                    </a:cubicBezTo>
                    <a:cubicBezTo>
                      <a:pt x="5" y="33"/>
                      <a:pt x="5" y="33"/>
                      <a:pt x="5" y="33"/>
                    </a:cubicBezTo>
                    <a:cubicBezTo>
                      <a:pt x="5" y="33"/>
                      <a:pt x="5" y="33"/>
                      <a:pt x="4" y="33"/>
                    </a:cubicBezTo>
                    <a:cubicBezTo>
                      <a:pt x="4" y="33"/>
                      <a:pt x="4" y="34"/>
                      <a:pt x="4" y="34"/>
                    </a:cubicBezTo>
                    <a:cubicBezTo>
                      <a:pt x="4" y="34"/>
                      <a:pt x="4" y="34"/>
                      <a:pt x="4" y="34"/>
                    </a:cubicBezTo>
                    <a:cubicBezTo>
                      <a:pt x="3" y="34"/>
                      <a:pt x="3" y="34"/>
                      <a:pt x="3" y="33"/>
                    </a:cubicBezTo>
                    <a:cubicBezTo>
                      <a:pt x="3" y="33"/>
                      <a:pt x="2" y="32"/>
                      <a:pt x="2" y="32"/>
                    </a:cubicBezTo>
                    <a:cubicBezTo>
                      <a:pt x="1" y="31"/>
                      <a:pt x="0" y="31"/>
                      <a:pt x="1" y="31"/>
                    </a:cubicBezTo>
                    <a:cubicBezTo>
                      <a:pt x="1" y="31"/>
                      <a:pt x="5" y="31"/>
                      <a:pt x="3" y="30"/>
                    </a:cubicBezTo>
                    <a:cubicBezTo>
                      <a:pt x="3" y="30"/>
                      <a:pt x="2" y="29"/>
                      <a:pt x="2" y="29"/>
                    </a:cubicBezTo>
                    <a:cubicBezTo>
                      <a:pt x="2" y="29"/>
                      <a:pt x="2" y="30"/>
                      <a:pt x="2" y="30"/>
                    </a:cubicBezTo>
                    <a:cubicBezTo>
                      <a:pt x="1" y="30"/>
                      <a:pt x="2" y="30"/>
                      <a:pt x="1" y="29"/>
                    </a:cubicBezTo>
                    <a:cubicBezTo>
                      <a:pt x="1" y="29"/>
                      <a:pt x="1" y="29"/>
                      <a:pt x="1" y="29"/>
                    </a:cubicBezTo>
                    <a:cubicBezTo>
                      <a:pt x="1" y="28"/>
                      <a:pt x="2" y="29"/>
                      <a:pt x="2" y="29"/>
                    </a:cubicBezTo>
                    <a:cubicBezTo>
                      <a:pt x="2" y="29"/>
                      <a:pt x="3" y="29"/>
                      <a:pt x="3" y="29"/>
                    </a:cubicBezTo>
                    <a:cubicBezTo>
                      <a:pt x="3" y="28"/>
                      <a:pt x="3" y="29"/>
                      <a:pt x="2" y="28"/>
                    </a:cubicBezTo>
                    <a:cubicBezTo>
                      <a:pt x="2" y="28"/>
                      <a:pt x="3" y="27"/>
                      <a:pt x="3" y="27"/>
                    </a:cubicBezTo>
                    <a:cubicBezTo>
                      <a:pt x="3" y="27"/>
                      <a:pt x="2" y="28"/>
                      <a:pt x="2" y="28"/>
                    </a:cubicBezTo>
                    <a:cubicBezTo>
                      <a:pt x="2" y="28"/>
                      <a:pt x="1" y="28"/>
                      <a:pt x="1" y="28"/>
                    </a:cubicBezTo>
                    <a:cubicBezTo>
                      <a:pt x="0" y="28"/>
                      <a:pt x="0" y="28"/>
                      <a:pt x="0" y="27"/>
                    </a:cubicBezTo>
                    <a:cubicBezTo>
                      <a:pt x="0" y="27"/>
                      <a:pt x="0" y="26"/>
                      <a:pt x="0" y="26"/>
                    </a:cubicBezTo>
                    <a:cubicBezTo>
                      <a:pt x="1" y="26"/>
                      <a:pt x="1" y="26"/>
                      <a:pt x="1" y="26"/>
                    </a:cubicBezTo>
                    <a:cubicBezTo>
                      <a:pt x="1" y="26"/>
                      <a:pt x="2" y="26"/>
                      <a:pt x="2" y="25"/>
                    </a:cubicBezTo>
                    <a:cubicBezTo>
                      <a:pt x="3" y="25"/>
                      <a:pt x="3" y="25"/>
                      <a:pt x="3" y="25"/>
                    </a:cubicBezTo>
                    <a:cubicBezTo>
                      <a:pt x="3" y="25"/>
                      <a:pt x="3" y="25"/>
                      <a:pt x="3" y="25"/>
                    </a:cubicBezTo>
                    <a:cubicBezTo>
                      <a:pt x="4" y="25"/>
                      <a:pt x="4" y="25"/>
                      <a:pt x="4" y="25"/>
                    </a:cubicBezTo>
                    <a:cubicBezTo>
                      <a:pt x="5" y="25"/>
                      <a:pt x="5" y="25"/>
                      <a:pt x="5" y="25"/>
                    </a:cubicBezTo>
                    <a:cubicBezTo>
                      <a:pt x="5" y="25"/>
                      <a:pt x="5" y="24"/>
                      <a:pt x="5" y="24"/>
                    </a:cubicBezTo>
                    <a:cubicBezTo>
                      <a:pt x="6" y="25"/>
                      <a:pt x="6" y="24"/>
                      <a:pt x="7" y="24"/>
                    </a:cubicBezTo>
                    <a:cubicBezTo>
                      <a:pt x="7" y="24"/>
                      <a:pt x="8" y="25"/>
                      <a:pt x="8" y="25"/>
                    </a:cubicBezTo>
                    <a:cubicBezTo>
                      <a:pt x="8" y="24"/>
                      <a:pt x="8" y="23"/>
                      <a:pt x="9" y="23"/>
                    </a:cubicBezTo>
                    <a:cubicBezTo>
                      <a:pt x="9" y="23"/>
                      <a:pt x="9" y="23"/>
                      <a:pt x="9" y="23"/>
                    </a:cubicBezTo>
                    <a:cubicBezTo>
                      <a:pt x="10" y="24"/>
                      <a:pt x="10" y="23"/>
                      <a:pt x="11" y="23"/>
                    </a:cubicBezTo>
                    <a:cubicBezTo>
                      <a:pt x="11" y="23"/>
                      <a:pt x="11" y="23"/>
                      <a:pt x="11" y="23"/>
                    </a:cubicBezTo>
                    <a:cubicBezTo>
                      <a:pt x="11" y="23"/>
                      <a:pt x="11" y="23"/>
                      <a:pt x="12" y="23"/>
                    </a:cubicBezTo>
                    <a:cubicBezTo>
                      <a:pt x="12" y="23"/>
                      <a:pt x="12" y="24"/>
                      <a:pt x="13" y="24"/>
                    </a:cubicBezTo>
                    <a:cubicBezTo>
                      <a:pt x="13" y="25"/>
                      <a:pt x="13" y="26"/>
                      <a:pt x="14" y="26"/>
                    </a:cubicBezTo>
                    <a:cubicBezTo>
                      <a:pt x="14" y="27"/>
                      <a:pt x="14" y="27"/>
                      <a:pt x="15" y="26"/>
                    </a:cubicBezTo>
                    <a:cubicBezTo>
                      <a:pt x="15" y="26"/>
                      <a:pt x="16" y="25"/>
                      <a:pt x="16" y="25"/>
                    </a:cubicBezTo>
                    <a:cubicBezTo>
                      <a:pt x="17" y="25"/>
                      <a:pt x="16" y="25"/>
                      <a:pt x="17" y="25"/>
                    </a:cubicBezTo>
                    <a:cubicBezTo>
                      <a:pt x="17" y="25"/>
                      <a:pt x="17" y="26"/>
                      <a:pt x="17" y="26"/>
                    </a:cubicBezTo>
                    <a:cubicBezTo>
                      <a:pt x="18" y="26"/>
                      <a:pt x="18" y="25"/>
                      <a:pt x="18" y="25"/>
                    </a:cubicBezTo>
                    <a:cubicBezTo>
                      <a:pt x="18" y="25"/>
                      <a:pt x="18" y="25"/>
                      <a:pt x="19" y="25"/>
                    </a:cubicBezTo>
                    <a:cubicBezTo>
                      <a:pt x="19" y="25"/>
                      <a:pt x="19" y="24"/>
                      <a:pt x="19" y="24"/>
                    </a:cubicBezTo>
                    <a:cubicBezTo>
                      <a:pt x="20" y="24"/>
                      <a:pt x="20" y="25"/>
                      <a:pt x="20" y="25"/>
                    </a:cubicBezTo>
                    <a:cubicBezTo>
                      <a:pt x="21" y="26"/>
                      <a:pt x="21" y="25"/>
                      <a:pt x="22" y="25"/>
                    </a:cubicBezTo>
                    <a:cubicBezTo>
                      <a:pt x="22" y="25"/>
                      <a:pt x="22" y="25"/>
                      <a:pt x="23" y="25"/>
                    </a:cubicBezTo>
                    <a:cubicBezTo>
                      <a:pt x="23" y="25"/>
                      <a:pt x="23" y="25"/>
                      <a:pt x="22" y="25"/>
                    </a:cubicBezTo>
                    <a:cubicBezTo>
                      <a:pt x="22" y="25"/>
                      <a:pt x="22" y="25"/>
                      <a:pt x="22" y="24"/>
                    </a:cubicBezTo>
                    <a:cubicBezTo>
                      <a:pt x="22" y="24"/>
                      <a:pt x="22" y="24"/>
                      <a:pt x="22" y="23"/>
                    </a:cubicBezTo>
                    <a:cubicBezTo>
                      <a:pt x="22" y="23"/>
                      <a:pt x="22" y="22"/>
                      <a:pt x="22" y="22"/>
                    </a:cubicBezTo>
                    <a:cubicBezTo>
                      <a:pt x="22" y="21"/>
                      <a:pt x="21" y="21"/>
                      <a:pt x="22" y="20"/>
                    </a:cubicBezTo>
                    <a:cubicBezTo>
                      <a:pt x="22" y="20"/>
                      <a:pt x="21" y="20"/>
                      <a:pt x="22" y="19"/>
                    </a:cubicBezTo>
                    <a:cubicBezTo>
                      <a:pt x="22" y="19"/>
                      <a:pt x="22" y="19"/>
                      <a:pt x="22" y="19"/>
                    </a:cubicBezTo>
                    <a:cubicBezTo>
                      <a:pt x="21" y="19"/>
                      <a:pt x="21" y="18"/>
                      <a:pt x="21" y="18"/>
                    </a:cubicBezTo>
                    <a:cubicBezTo>
                      <a:pt x="21" y="18"/>
                      <a:pt x="20" y="18"/>
                      <a:pt x="20" y="17"/>
                    </a:cubicBezTo>
                    <a:cubicBezTo>
                      <a:pt x="20" y="17"/>
                      <a:pt x="20" y="17"/>
                      <a:pt x="20" y="17"/>
                    </a:cubicBezTo>
                    <a:cubicBezTo>
                      <a:pt x="20" y="17"/>
                      <a:pt x="20" y="17"/>
                      <a:pt x="20" y="16"/>
                    </a:cubicBezTo>
                    <a:cubicBezTo>
                      <a:pt x="20" y="16"/>
                      <a:pt x="20" y="16"/>
                      <a:pt x="20" y="15"/>
                    </a:cubicBezTo>
                    <a:cubicBezTo>
                      <a:pt x="20" y="15"/>
                      <a:pt x="19" y="15"/>
                      <a:pt x="19" y="14"/>
                    </a:cubicBezTo>
                    <a:cubicBezTo>
                      <a:pt x="19" y="14"/>
                      <a:pt x="20" y="14"/>
                      <a:pt x="21" y="14"/>
                    </a:cubicBezTo>
                    <a:cubicBezTo>
                      <a:pt x="21" y="14"/>
                      <a:pt x="21" y="15"/>
                      <a:pt x="21" y="15"/>
                    </a:cubicBezTo>
                    <a:cubicBezTo>
                      <a:pt x="22" y="15"/>
                      <a:pt x="22" y="15"/>
                      <a:pt x="22" y="14"/>
                    </a:cubicBezTo>
                    <a:cubicBezTo>
                      <a:pt x="23" y="14"/>
                      <a:pt x="23" y="14"/>
                      <a:pt x="24" y="14"/>
                    </a:cubicBezTo>
                    <a:cubicBezTo>
                      <a:pt x="24" y="15"/>
                      <a:pt x="24" y="15"/>
                      <a:pt x="24" y="15"/>
                    </a:cubicBezTo>
                    <a:cubicBezTo>
                      <a:pt x="24" y="15"/>
                      <a:pt x="24" y="16"/>
                      <a:pt x="24" y="16"/>
                    </a:cubicBezTo>
                    <a:cubicBezTo>
                      <a:pt x="24" y="16"/>
                      <a:pt x="25" y="18"/>
                      <a:pt x="25" y="18"/>
                    </a:cubicBezTo>
                    <a:cubicBezTo>
                      <a:pt x="25" y="18"/>
                      <a:pt x="25" y="18"/>
                      <a:pt x="25" y="18"/>
                    </a:cubicBezTo>
                    <a:cubicBezTo>
                      <a:pt x="25" y="18"/>
                      <a:pt x="25" y="17"/>
                      <a:pt x="25" y="17"/>
                    </a:cubicBezTo>
                    <a:cubicBezTo>
                      <a:pt x="26" y="17"/>
                      <a:pt x="26" y="18"/>
                      <a:pt x="27" y="18"/>
                    </a:cubicBezTo>
                    <a:cubicBezTo>
                      <a:pt x="27" y="18"/>
                      <a:pt x="28" y="18"/>
                      <a:pt x="28" y="18"/>
                    </a:cubicBezTo>
                    <a:cubicBezTo>
                      <a:pt x="29" y="18"/>
                      <a:pt x="29" y="18"/>
                      <a:pt x="30" y="18"/>
                    </a:cubicBezTo>
                    <a:cubicBezTo>
                      <a:pt x="30" y="18"/>
                      <a:pt x="30" y="19"/>
                      <a:pt x="31" y="19"/>
                    </a:cubicBezTo>
                    <a:cubicBezTo>
                      <a:pt x="31" y="19"/>
                      <a:pt x="32" y="18"/>
                      <a:pt x="33" y="18"/>
                    </a:cubicBezTo>
                    <a:cubicBezTo>
                      <a:pt x="33" y="18"/>
                      <a:pt x="34" y="17"/>
                      <a:pt x="34" y="17"/>
                    </a:cubicBezTo>
                    <a:cubicBezTo>
                      <a:pt x="35" y="17"/>
                      <a:pt x="36" y="17"/>
                      <a:pt x="36" y="16"/>
                    </a:cubicBezTo>
                    <a:cubicBezTo>
                      <a:pt x="36" y="16"/>
                      <a:pt x="35" y="17"/>
                      <a:pt x="35" y="17"/>
                    </a:cubicBezTo>
                    <a:cubicBezTo>
                      <a:pt x="35" y="17"/>
                      <a:pt x="34" y="17"/>
                      <a:pt x="34" y="17"/>
                    </a:cubicBezTo>
                    <a:cubicBezTo>
                      <a:pt x="34" y="17"/>
                      <a:pt x="33" y="17"/>
                      <a:pt x="33" y="16"/>
                    </a:cubicBezTo>
                    <a:cubicBezTo>
                      <a:pt x="33" y="16"/>
                      <a:pt x="33" y="16"/>
                      <a:pt x="33" y="16"/>
                    </a:cubicBezTo>
                    <a:cubicBezTo>
                      <a:pt x="33" y="16"/>
                      <a:pt x="33" y="15"/>
                      <a:pt x="33" y="15"/>
                    </a:cubicBezTo>
                    <a:cubicBezTo>
                      <a:pt x="33" y="15"/>
                      <a:pt x="33" y="15"/>
                      <a:pt x="34" y="14"/>
                    </a:cubicBezTo>
                    <a:cubicBezTo>
                      <a:pt x="35" y="13"/>
                      <a:pt x="37" y="13"/>
                      <a:pt x="38" y="12"/>
                    </a:cubicBezTo>
                    <a:cubicBezTo>
                      <a:pt x="39" y="12"/>
                      <a:pt x="40" y="12"/>
                      <a:pt x="41" y="11"/>
                    </a:cubicBezTo>
                    <a:cubicBezTo>
                      <a:pt x="42" y="10"/>
                      <a:pt x="42" y="10"/>
                      <a:pt x="42" y="9"/>
                    </a:cubicBezTo>
                    <a:cubicBezTo>
                      <a:pt x="43" y="8"/>
                      <a:pt x="43" y="9"/>
                      <a:pt x="44" y="9"/>
                    </a:cubicBezTo>
                    <a:cubicBezTo>
                      <a:pt x="44" y="9"/>
                      <a:pt x="44" y="9"/>
                      <a:pt x="44" y="9"/>
                    </a:cubicBezTo>
                    <a:cubicBezTo>
                      <a:pt x="43" y="9"/>
                      <a:pt x="43" y="8"/>
                      <a:pt x="43" y="8"/>
                    </a:cubicBezTo>
                    <a:cubicBezTo>
                      <a:pt x="43" y="8"/>
                      <a:pt x="43" y="8"/>
                      <a:pt x="43" y="7"/>
                    </a:cubicBezTo>
                    <a:cubicBezTo>
                      <a:pt x="43" y="7"/>
                      <a:pt x="43" y="8"/>
                      <a:pt x="43" y="7"/>
                    </a:cubicBezTo>
                    <a:cubicBezTo>
                      <a:pt x="43" y="7"/>
                      <a:pt x="43" y="7"/>
                      <a:pt x="43" y="7"/>
                    </a:cubicBezTo>
                    <a:cubicBezTo>
                      <a:pt x="43" y="6"/>
                      <a:pt x="43" y="6"/>
                      <a:pt x="43" y="6"/>
                    </a:cubicBezTo>
                    <a:cubicBezTo>
                      <a:pt x="43" y="6"/>
                      <a:pt x="43" y="5"/>
                      <a:pt x="43" y="4"/>
                    </a:cubicBezTo>
                    <a:cubicBezTo>
                      <a:pt x="43" y="4"/>
                      <a:pt x="43" y="3"/>
                      <a:pt x="43" y="3"/>
                    </a:cubicBezTo>
                    <a:cubicBezTo>
                      <a:pt x="43" y="2"/>
                      <a:pt x="43" y="2"/>
                      <a:pt x="44" y="2"/>
                    </a:cubicBezTo>
                    <a:cubicBezTo>
                      <a:pt x="44" y="1"/>
                      <a:pt x="45" y="1"/>
                      <a:pt x="45" y="1"/>
                    </a:cubicBezTo>
                    <a:cubicBezTo>
                      <a:pt x="47" y="0"/>
                      <a:pt x="48" y="0"/>
                      <a:pt x="49" y="0"/>
                    </a:cubicBezTo>
                    <a:cubicBezTo>
                      <a:pt x="49" y="0"/>
                      <a:pt x="49" y="0"/>
                      <a:pt x="50" y="1"/>
                    </a:cubicBezTo>
                    <a:cubicBezTo>
                      <a:pt x="50" y="1"/>
                      <a:pt x="50" y="1"/>
                      <a:pt x="50" y="2"/>
                    </a:cubicBezTo>
                    <a:cubicBezTo>
                      <a:pt x="50" y="3"/>
                      <a:pt x="50" y="2"/>
                      <a:pt x="51" y="3"/>
                    </a:cubicBezTo>
                    <a:cubicBezTo>
                      <a:pt x="51" y="3"/>
                      <a:pt x="51" y="4"/>
                      <a:pt x="51" y="4"/>
                    </a:cubicBezTo>
                    <a:cubicBezTo>
                      <a:pt x="52" y="4"/>
                      <a:pt x="52" y="4"/>
                      <a:pt x="52" y="3"/>
                    </a:cubicBezTo>
                    <a:cubicBezTo>
                      <a:pt x="53" y="3"/>
                      <a:pt x="53" y="3"/>
                      <a:pt x="54" y="4"/>
                    </a:cubicBezTo>
                    <a:cubicBezTo>
                      <a:pt x="54" y="4"/>
                      <a:pt x="54" y="5"/>
                      <a:pt x="54" y="6"/>
                    </a:cubicBezTo>
                    <a:cubicBezTo>
                      <a:pt x="55" y="6"/>
                      <a:pt x="56" y="6"/>
                      <a:pt x="56" y="6"/>
                    </a:cubicBezTo>
                    <a:cubicBezTo>
                      <a:pt x="57" y="6"/>
                      <a:pt x="57" y="8"/>
                      <a:pt x="57" y="8"/>
                    </a:cubicBezTo>
                    <a:cubicBezTo>
                      <a:pt x="58" y="8"/>
                      <a:pt x="59" y="8"/>
                      <a:pt x="59" y="8"/>
                    </a:cubicBezTo>
                    <a:cubicBezTo>
                      <a:pt x="60" y="8"/>
                      <a:pt x="60" y="8"/>
                      <a:pt x="60" y="9"/>
                    </a:cubicBezTo>
                    <a:cubicBezTo>
                      <a:pt x="61" y="9"/>
                      <a:pt x="61" y="9"/>
                      <a:pt x="61" y="9"/>
                    </a:cubicBezTo>
                    <a:cubicBezTo>
                      <a:pt x="60" y="9"/>
                      <a:pt x="60" y="9"/>
                      <a:pt x="60" y="10"/>
                    </a:cubicBezTo>
                    <a:cubicBezTo>
                      <a:pt x="60" y="10"/>
                      <a:pt x="61" y="10"/>
                      <a:pt x="60" y="11"/>
                    </a:cubicBezTo>
                    <a:cubicBezTo>
                      <a:pt x="60" y="11"/>
                      <a:pt x="60" y="11"/>
                      <a:pt x="60" y="11"/>
                    </a:cubicBezTo>
                    <a:cubicBezTo>
                      <a:pt x="60" y="12"/>
                      <a:pt x="61" y="12"/>
                      <a:pt x="61" y="12"/>
                    </a:cubicBezTo>
                    <a:cubicBezTo>
                      <a:pt x="62" y="12"/>
                      <a:pt x="63" y="12"/>
                      <a:pt x="63" y="11"/>
                    </a:cubicBezTo>
                    <a:cubicBezTo>
                      <a:pt x="64" y="12"/>
                      <a:pt x="64" y="9"/>
                      <a:pt x="65" y="10"/>
                    </a:cubicBezTo>
                    <a:cubicBezTo>
                      <a:pt x="65" y="10"/>
                      <a:pt x="64" y="11"/>
                      <a:pt x="64" y="11"/>
                    </a:cubicBezTo>
                    <a:cubicBezTo>
                      <a:pt x="64" y="12"/>
                      <a:pt x="65" y="12"/>
                      <a:pt x="65" y="12"/>
                    </a:cubicBezTo>
                    <a:cubicBezTo>
                      <a:pt x="65" y="12"/>
                      <a:pt x="65" y="13"/>
                      <a:pt x="65" y="13"/>
                    </a:cubicBezTo>
                    <a:cubicBezTo>
                      <a:pt x="65" y="13"/>
                      <a:pt x="65" y="13"/>
                      <a:pt x="65" y="13"/>
                    </a:cubicBezTo>
                    <a:cubicBezTo>
                      <a:pt x="66" y="13"/>
                      <a:pt x="66" y="13"/>
                      <a:pt x="66" y="14"/>
                    </a:cubicBezTo>
                    <a:cubicBezTo>
                      <a:pt x="66" y="14"/>
                      <a:pt x="67" y="14"/>
                      <a:pt x="67" y="14"/>
                    </a:cubicBezTo>
                    <a:cubicBezTo>
                      <a:pt x="67" y="14"/>
                      <a:pt x="67" y="14"/>
                      <a:pt x="68" y="14"/>
                    </a:cubicBezTo>
                    <a:cubicBezTo>
                      <a:pt x="68" y="15"/>
                      <a:pt x="68" y="15"/>
                      <a:pt x="68" y="15"/>
                    </a:cubicBezTo>
                    <a:cubicBezTo>
                      <a:pt x="68" y="15"/>
                      <a:pt x="69" y="15"/>
                      <a:pt x="69" y="15"/>
                    </a:cubicBezTo>
                    <a:cubicBezTo>
                      <a:pt x="69" y="16"/>
                      <a:pt x="69" y="16"/>
                      <a:pt x="69" y="16"/>
                    </a:cubicBezTo>
                    <a:cubicBezTo>
                      <a:pt x="69" y="16"/>
                      <a:pt x="70" y="16"/>
                      <a:pt x="71" y="16"/>
                    </a:cubicBezTo>
                    <a:cubicBezTo>
                      <a:pt x="72" y="16"/>
                      <a:pt x="72" y="17"/>
                      <a:pt x="72" y="17"/>
                    </a:cubicBezTo>
                    <a:cubicBezTo>
                      <a:pt x="73" y="17"/>
                      <a:pt x="73" y="17"/>
                      <a:pt x="74" y="17"/>
                    </a:cubicBezTo>
                    <a:cubicBezTo>
                      <a:pt x="74" y="17"/>
                      <a:pt x="74" y="17"/>
                      <a:pt x="74" y="17"/>
                    </a:cubicBezTo>
                    <a:cubicBezTo>
                      <a:pt x="75" y="17"/>
                      <a:pt x="76" y="17"/>
                      <a:pt x="76" y="18"/>
                    </a:cubicBezTo>
                    <a:cubicBezTo>
                      <a:pt x="77" y="18"/>
                      <a:pt x="77" y="18"/>
                      <a:pt x="77" y="19"/>
                    </a:cubicBezTo>
                    <a:cubicBezTo>
                      <a:pt x="77" y="19"/>
                      <a:pt x="78" y="20"/>
                      <a:pt x="78" y="20"/>
                    </a:cubicBezTo>
                    <a:cubicBezTo>
                      <a:pt x="79" y="20"/>
                      <a:pt x="80" y="20"/>
                      <a:pt x="80" y="20"/>
                    </a:cubicBezTo>
                    <a:cubicBezTo>
                      <a:pt x="80" y="20"/>
                      <a:pt x="82" y="20"/>
                      <a:pt x="82" y="20"/>
                    </a:cubicBezTo>
                    <a:cubicBezTo>
                      <a:pt x="83" y="20"/>
                      <a:pt x="83" y="21"/>
                      <a:pt x="83" y="21"/>
                    </a:cubicBezTo>
                    <a:cubicBezTo>
                      <a:pt x="84" y="21"/>
                      <a:pt x="84" y="21"/>
                      <a:pt x="85" y="21"/>
                    </a:cubicBezTo>
                    <a:cubicBezTo>
                      <a:pt x="86" y="21"/>
                      <a:pt x="86" y="21"/>
                      <a:pt x="86" y="22"/>
                    </a:cubicBezTo>
                    <a:cubicBezTo>
                      <a:pt x="87" y="22"/>
                      <a:pt x="88" y="22"/>
                      <a:pt x="88" y="22"/>
                    </a:cubicBezTo>
                    <a:cubicBezTo>
                      <a:pt x="88" y="22"/>
                      <a:pt x="88" y="22"/>
                      <a:pt x="88" y="22"/>
                    </a:cubicBezTo>
                    <a:close/>
                    <a:moveTo>
                      <a:pt x="96" y="89"/>
                    </a:moveTo>
                    <a:cubicBezTo>
                      <a:pt x="97" y="88"/>
                      <a:pt x="97" y="87"/>
                      <a:pt x="97" y="86"/>
                    </a:cubicBezTo>
                    <a:cubicBezTo>
                      <a:pt x="97" y="86"/>
                      <a:pt x="97" y="85"/>
                      <a:pt x="96" y="84"/>
                    </a:cubicBezTo>
                    <a:cubicBezTo>
                      <a:pt x="96" y="84"/>
                      <a:pt x="96" y="83"/>
                      <a:pt x="96" y="83"/>
                    </a:cubicBezTo>
                    <a:cubicBezTo>
                      <a:pt x="96" y="82"/>
                      <a:pt x="96" y="82"/>
                      <a:pt x="96" y="82"/>
                    </a:cubicBezTo>
                    <a:cubicBezTo>
                      <a:pt x="96" y="81"/>
                      <a:pt x="96" y="80"/>
                      <a:pt x="96" y="80"/>
                    </a:cubicBezTo>
                    <a:cubicBezTo>
                      <a:pt x="95" y="80"/>
                      <a:pt x="95" y="81"/>
                      <a:pt x="95" y="82"/>
                    </a:cubicBezTo>
                    <a:cubicBezTo>
                      <a:pt x="95" y="82"/>
                      <a:pt x="96" y="82"/>
                      <a:pt x="95" y="83"/>
                    </a:cubicBezTo>
                    <a:cubicBezTo>
                      <a:pt x="95" y="83"/>
                      <a:pt x="94" y="82"/>
                      <a:pt x="94" y="82"/>
                    </a:cubicBezTo>
                    <a:cubicBezTo>
                      <a:pt x="94" y="82"/>
                      <a:pt x="93" y="83"/>
                      <a:pt x="92" y="83"/>
                    </a:cubicBezTo>
                    <a:cubicBezTo>
                      <a:pt x="92" y="83"/>
                      <a:pt x="91" y="84"/>
                      <a:pt x="91" y="84"/>
                    </a:cubicBezTo>
                    <a:cubicBezTo>
                      <a:pt x="91" y="84"/>
                      <a:pt x="91" y="84"/>
                      <a:pt x="91" y="85"/>
                    </a:cubicBezTo>
                    <a:cubicBezTo>
                      <a:pt x="91" y="85"/>
                      <a:pt x="90" y="85"/>
                      <a:pt x="90" y="85"/>
                    </a:cubicBezTo>
                    <a:cubicBezTo>
                      <a:pt x="90" y="85"/>
                      <a:pt x="90" y="85"/>
                      <a:pt x="90" y="86"/>
                    </a:cubicBezTo>
                    <a:cubicBezTo>
                      <a:pt x="90" y="86"/>
                      <a:pt x="91" y="86"/>
                      <a:pt x="91" y="86"/>
                    </a:cubicBezTo>
                    <a:cubicBezTo>
                      <a:pt x="90" y="87"/>
                      <a:pt x="90" y="87"/>
                      <a:pt x="90" y="87"/>
                    </a:cubicBezTo>
                    <a:cubicBezTo>
                      <a:pt x="90" y="88"/>
                      <a:pt x="91" y="88"/>
                      <a:pt x="91" y="88"/>
                    </a:cubicBezTo>
                    <a:cubicBezTo>
                      <a:pt x="91" y="89"/>
                      <a:pt x="91" y="89"/>
                      <a:pt x="90" y="89"/>
                    </a:cubicBezTo>
                    <a:cubicBezTo>
                      <a:pt x="90" y="90"/>
                      <a:pt x="91" y="90"/>
                      <a:pt x="91" y="90"/>
                    </a:cubicBezTo>
                    <a:cubicBezTo>
                      <a:pt x="92" y="90"/>
                      <a:pt x="91" y="90"/>
                      <a:pt x="91" y="91"/>
                    </a:cubicBezTo>
                    <a:cubicBezTo>
                      <a:pt x="91" y="91"/>
                      <a:pt x="92" y="91"/>
                      <a:pt x="92" y="92"/>
                    </a:cubicBezTo>
                    <a:cubicBezTo>
                      <a:pt x="92" y="92"/>
                      <a:pt x="91" y="92"/>
                      <a:pt x="91" y="93"/>
                    </a:cubicBezTo>
                    <a:cubicBezTo>
                      <a:pt x="92" y="93"/>
                      <a:pt x="92" y="93"/>
                      <a:pt x="92" y="94"/>
                    </a:cubicBezTo>
                    <a:cubicBezTo>
                      <a:pt x="93" y="94"/>
                      <a:pt x="93" y="94"/>
                      <a:pt x="93" y="94"/>
                    </a:cubicBezTo>
                    <a:cubicBezTo>
                      <a:pt x="93" y="94"/>
                      <a:pt x="93" y="94"/>
                      <a:pt x="94" y="94"/>
                    </a:cubicBezTo>
                    <a:cubicBezTo>
                      <a:pt x="94" y="95"/>
                      <a:pt x="94" y="95"/>
                      <a:pt x="94" y="94"/>
                    </a:cubicBezTo>
                    <a:cubicBezTo>
                      <a:pt x="95" y="94"/>
                      <a:pt x="95" y="93"/>
                      <a:pt x="95" y="93"/>
                    </a:cubicBezTo>
                    <a:cubicBezTo>
                      <a:pt x="95" y="93"/>
                      <a:pt x="95" y="93"/>
                      <a:pt x="95" y="92"/>
                    </a:cubicBezTo>
                    <a:cubicBezTo>
                      <a:pt x="95" y="92"/>
                      <a:pt x="95" y="92"/>
                      <a:pt x="95" y="92"/>
                    </a:cubicBezTo>
                    <a:cubicBezTo>
                      <a:pt x="95" y="91"/>
                      <a:pt x="96" y="90"/>
                      <a:pt x="96" y="8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8" name="Freeform 813">
                <a:extLst>
                  <a:ext uri="{FF2B5EF4-FFF2-40B4-BE49-F238E27FC236}">
                    <a16:creationId xmlns:a16="http://schemas.microsoft.com/office/drawing/2014/main" id="{01FAEA43-B67A-6C66-5FBC-18750D03FD51}"/>
                  </a:ext>
                </a:extLst>
              </p:cNvPr>
              <p:cNvSpPr>
                <a:spLocks noEditPoints="1"/>
              </p:cNvSpPr>
              <p:nvPr/>
            </p:nvSpPr>
            <p:spPr bwMode="auto">
              <a:xfrm>
                <a:off x="5172076" y="2620963"/>
                <a:ext cx="33337" cy="63500"/>
              </a:xfrm>
              <a:custGeom>
                <a:avLst/>
                <a:gdLst>
                  <a:gd name="T0" fmla="*/ 3 w 8"/>
                  <a:gd name="T1" fmla="*/ 6 h 15"/>
                  <a:gd name="T2" fmla="*/ 0 w 8"/>
                  <a:gd name="T3" fmla="*/ 4 h 15"/>
                  <a:gd name="T4" fmla="*/ 2 w 8"/>
                  <a:gd name="T5" fmla="*/ 4 h 15"/>
                  <a:gd name="T6" fmla="*/ 3 w 8"/>
                  <a:gd name="T7" fmla="*/ 6 h 15"/>
                  <a:gd name="T8" fmla="*/ 3 w 8"/>
                  <a:gd name="T9" fmla="*/ 6 h 15"/>
                  <a:gd name="T10" fmla="*/ 4 w 8"/>
                  <a:gd name="T11" fmla="*/ 6 h 15"/>
                  <a:gd name="T12" fmla="*/ 5 w 8"/>
                  <a:gd name="T13" fmla="*/ 7 h 15"/>
                  <a:gd name="T14" fmla="*/ 2 w 8"/>
                  <a:gd name="T15" fmla="*/ 2 h 15"/>
                  <a:gd name="T16" fmla="*/ 3 w 8"/>
                  <a:gd name="T17" fmla="*/ 4 h 15"/>
                  <a:gd name="T18" fmla="*/ 4 w 8"/>
                  <a:gd name="T19" fmla="*/ 6 h 15"/>
                  <a:gd name="T20" fmla="*/ 4 w 8"/>
                  <a:gd name="T21" fmla="*/ 6 h 15"/>
                  <a:gd name="T22" fmla="*/ 3 w 8"/>
                  <a:gd name="T23" fmla="*/ 1 h 15"/>
                  <a:gd name="T24" fmla="*/ 4 w 8"/>
                  <a:gd name="T25" fmla="*/ 3 h 15"/>
                  <a:gd name="T26" fmla="*/ 6 w 8"/>
                  <a:gd name="T27" fmla="*/ 5 h 15"/>
                  <a:gd name="T28" fmla="*/ 4 w 8"/>
                  <a:gd name="T29" fmla="*/ 2 h 15"/>
                  <a:gd name="T30" fmla="*/ 3 w 8"/>
                  <a:gd name="T31" fmla="*/ 1 h 15"/>
                  <a:gd name="T32" fmla="*/ 3 w 8"/>
                  <a:gd name="T33" fmla="*/ 1 h 15"/>
                  <a:gd name="T34" fmla="*/ 5 w 8"/>
                  <a:gd name="T35" fmla="*/ 2 h 15"/>
                  <a:gd name="T36" fmla="*/ 6 w 8"/>
                  <a:gd name="T37" fmla="*/ 3 h 15"/>
                  <a:gd name="T38" fmla="*/ 7 w 8"/>
                  <a:gd name="T39" fmla="*/ 3 h 15"/>
                  <a:gd name="T40" fmla="*/ 8 w 8"/>
                  <a:gd name="T41" fmla="*/ 2 h 15"/>
                  <a:gd name="T42" fmla="*/ 7 w 8"/>
                  <a:gd name="T43" fmla="*/ 2 h 15"/>
                  <a:gd name="T44" fmla="*/ 7 w 8"/>
                  <a:gd name="T45" fmla="*/ 1 h 15"/>
                  <a:gd name="T46" fmla="*/ 6 w 8"/>
                  <a:gd name="T47" fmla="*/ 1 h 15"/>
                  <a:gd name="T48" fmla="*/ 6 w 8"/>
                  <a:gd name="T49" fmla="*/ 2 h 15"/>
                  <a:gd name="T50" fmla="*/ 6 w 8"/>
                  <a:gd name="T51" fmla="*/ 2 h 15"/>
                  <a:gd name="T52" fmla="*/ 5 w 8"/>
                  <a:gd name="T53" fmla="*/ 1 h 15"/>
                  <a:gd name="T54" fmla="*/ 5 w 8"/>
                  <a:gd name="T55" fmla="*/ 2 h 15"/>
                  <a:gd name="T56" fmla="*/ 5 w 8"/>
                  <a:gd name="T57" fmla="*/ 2 h 15"/>
                  <a:gd name="T58" fmla="*/ 4 w 8"/>
                  <a:gd name="T59" fmla="*/ 12 h 15"/>
                  <a:gd name="T60" fmla="*/ 5 w 8"/>
                  <a:gd name="T61" fmla="*/ 15 h 15"/>
                  <a:gd name="T62" fmla="*/ 5 w 8"/>
                  <a:gd name="T63" fmla="*/ 13 h 15"/>
                  <a:gd name="T64" fmla="*/ 4 w 8"/>
                  <a:gd name="T65" fmla="*/ 11 h 15"/>
                  <a:gd name="T66" fmla="*/ 4 w 8"/>
                  <a:gd name="T67" fmla="*/ 12 h 15"/>
                  <a:gd name="T68" fmla="*/ 4 w 8"/>
                  <a:gd name="T69" fmla="*/ 12 h 15"/>
                  <a:gd name="T70" fmla="*/ 4 w 8"/>
                  <a:gd name="T71" fmla="*/ 8 h 15"/>
                  <a:gd name="T72" fmla="*/ 5 w 8"/>
                  <a:gd name="T73" fmla="*/ 9 h 15"/>
                  <a:gd name="T74" fmla="*/ 6 w 8"/>
                  <a:gd name="T75" fmla="*/ 10 h 15"/>
                  <a:gd name="T76" fmla="*/ 5 w 8"/>
                  <a:gd name="T77" fmla="*/ 8 h 15"/>
                  <a:gd name="T78" fmla="*/ 4 w 8"/>
                  <a:gd name="T79" fmla="*/ 8 h 15"/>
                  <a:gd name="T80" fmla="*/ 4 w 8"/>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5">
                    <a:moveTo>
                      <a:pt x="3" y="6"/>
                    </a:moveTo>
                    <a:cubicBezTo>
                      <a:pt x="2" y="6"/>
                      <a:pt x="0" y="6"/>
                      <a:pt x="0" y="4"/>
                    </a:cubicBezTo>
                    <a:cubicBezTo>
                      <a:pt x="1" y="4"/>
                      <a:pt x="1" y="4"/>
                      <a:pt x="2" y="4"/>
                    </a:cubicBezTo>
                    <a:cubicBezTo>
                      <a:pt x="2" y="5"/>
                      <a:pt x="2" y="5"/>
                      <a:pt x="3" y="6"/>
                    </a:cubicBezTo>
                    <a:cubicBezTo>
                      <a:pt x="2" y="6"/>
                      <a:pt x="2" y="5"/>
                      <a:pt x="3" y="6"/>
                    </a:cubicBezTo>
                    <a:close/>
                    <a:moveTo>
                      <a:pt x="4" y="6"/>
                    </a:moveTo>
                    <a:cubicBezTo>
                      <a:pt x="4" y="6"/>
                      <a:pt x="5" y="7"/>
                      <a:pt x="5" y="7"/>
                    </a:cubicBezTo>
                    <a:cubicBezTo>
                      <a:pt x="5" y="6"/>
                      <a:pt x="3" y="2"/>
                      <a:pt x="2" y="2"/>
                    </a:cubicBezTo>
                    <a:cubicBezTo>
                      <a:pt x="1" y="3"/>
                      <a:pt x="2" y="3"/>
                      <a:pt x="3" y="4"/>
                    </a:cubicBezTo>
                    <a:cubicBezTo>
                      <a:pt x="3" y="5"/>
                      <a:pt x="4" y="6"/>
                      <a:pt x="4" y="6"/>
                    </a:cubicBezTo>
                    <a:cubicBezTo>
                      <a:pt x="4" y="6"/>
                      <a:pt x="3" y="5"/>
                      <a:pt x="4" y="6"/>
                    </a:cubicBezTo>
                    <a:close/>
                    <a:moveTo>
                      <a:pt x="3" y="1"/>
                    </a:moveTo>
                    <a:cubicBezTo>
                      <a:pt x="2" y="1"/>
                      <a:pt x="4" y="3"/>
                      <a:pt x="4" y="3"/>
                    </a:cubicBezTo>
                    <a:cubicBezTo>
                      <a:pt x="4" y="4"/>
                      <a:pt x="5" y="5"/>
                      <a:pt x="6" y="5"/>
                    </a:cubicBezTo>
                    <a:cubicBezTo>
                      <a:pt x="6" y="4"/>
                      <a:pt x="5" y="2"/>
                      <a:pt x="4" y="2"/>
                    </a:cubicBezTo>
                    <a:cubicBezTo>
                      <a:pt x="4" y="2"/>
                      <a:pt x="4" y="1"/>
                      <a:pt x="3" y="1"/>
                    </a:cubicBezTo>
                    <a:cubicBezTo>
                      <a:pt x="3" y="1"/>
                      <a:pt x="4" y="1"/>
                      <a:pt x="3" y="1"/>
                    </a:cubicBezTo>
                    <a:close/>
                    <a:moveTo>
                      <a:pt x="5" y="2"/>
                    </a:moveTo>
                    <a:cubicBezTo>
                      <a:pt x="6" y="2"/>
                      <a:pt x="6" y="3"/>
                      <a:pt x="6" y="3"/>
                    </a:cubicBezTo>
                    <a:cubicBezTo>
                      <a:pt x="7" y="4"/>
                      <a:pt x="7" y="3"/>
                      <a:pt x="7" y="3"/>
                    </a:cubicBezTo>
                    <a:cubicBezTo>
                      <a:pt x="7" y="2"/>
                      <a:pt x="8" y="2"/>
                      <a:pt x="8" y="2"/>
                    </a:cubicBezTo>
                    <a:cubicBezTo>
                      <a:pt x="8" y="2"/>
                      <a:pt x="7" y="2"/>
                      <a:pt x="7" y="2"/>
                    </a:cubicBezTo>
                    <a:cubicBezTo>
                      <a:pt x="7" y="2"/>
                      <a:pt x="7" y="1"/>
                      <a:pt x="7" y="1"/>
                    </a:cubicBezTo>
                    <a:cubicBezTo>
                      <a:pt x="7" y="1"/>
                      <a:pt x="7" y="0"/>
                      <a:pt x="6" y="1"/>
                    </a:cubicBezTo>
                    <a:cubicBezTo>
                      <a:pt x="6" y="1"/>
                      <a:pt x="6" y="1"/>
                      <a:pt x="6" y="2"/>
                    </a:cubicBezTo>
                    <a:cubicBezTo>
                      <a:pt x="6" y="2"/>
                      <a:pt x="7" y="2"/>
                      <a:pt x="6" y="2"/>
                    </a:cubicBezTo>
                    <a:cubicBezTo>
                      <a:pt x="6" y="2"/>
                      <a:pt x="6" y="1"/>
                      <a:pt x="5" y="1"/>
                    </a:cubicBezTo>
                    <a:cubicBezTo>
                      <a:pt x="5" y="1"/>
                      <a:pt x="5" y="2"/>
                      <a:pt x="5" y="2"/>
                    </a:cubicBezTo>
                    <a:cubicBezTo>
                      <a:pt x="6" y="2"/>
                      <a:pt x="5" y="2"/>
                      <a:pt x="5" y="2"/>
                    </a:cubicBezTo>
                    <a:close/>
                    <a:moveTo>
                      <a:pt x="4" y="12"/>
                    </a:moveTo>
                    <a:cubicBezTo>
                      <a:pt x="4" y="13"/>
                      <a:pt x="4" y="14"/>
                      <a:pt x="5" y="15"/>
                    </a:cubicBezTo>
                    <a:cubicBezTo>
                      <a:pt x="6" y="15"/>
                      <a:pt x="5" y="14"/>
                      <a:pt x="5" y="13"/>
                    </a:cubicBezTo>
                    <a:cubicBezTo>
                      <a:pt x="5" y="13"/>
                      <a:pt x="4" y="12"/>
                      <a:pt x="4" y="11"/>
                    </a:cubicBezTo>
                    <a:cubicBezTo>
                      <a:pt x="3" y="11"/>
                      <a:pt x="3" y="12"/>
                      <a:pt x="4" y="12"/>
                    </a:cubicBezTo>
                    <a:cubicBezTo>
                      <a:pt x="4" y="13"/>
                      <a:pt x="4" y="12"/>
                      <a:pt x="4" y="12"/>
                    </a:cubicBezTo>
                    <a:close/>
                    <a:moveTo>
                      <a:pt x="4" y="8"/>
                    </a:moveTo>
                    <a:cubicBezTo>
                      <a:pt x="4" y="9"/>
                      <a:pt x="4" y="9"/>
                      <a:pt x="5" y="9"/>
                    </a:cubicBezTo>
                    <a:cubicBezTo>
                      <a:pt x="5" y="9"/>
                      <a:pt x="5" y="9"/>
                      <a:pt x="6" y="10"/>
                    </a:cubicBezTo>
                    <a:cubicBezTo>
                      <a:pt x="6" y="9"/>
                      <a:pt x="5" y="8"/>
                      <a:pt x="5" y="8"/>
                    </a:cubicBezTo>
                    <a:cubicBezTo>
                      <a:pt x="4" y="7"/>
                      <a:pt x="4" y="7"/>
                      <a:pt x="4" y="8"/>
                    </a:cubicBezTo>
                    <a:cubicBezTo>
                      <a:pt x="4" y="8"/>
                      <a:pt x="4" y="8"/>
                      <a:pt x="4"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9" name="Freeform 814">
                <a:extLst>
                  <a:ext uri="{FF2B5EF4-FFF2-40B4-BE49-F238E27FC236}">
                    <a16:creationId xmlns:a16="http://schemas.microsoft.com/office/drawing/2014/main" id="{865FF5F8-F1A2-793D-604C-A8E80645897A}"/>
                  </a:ext>
                </a:extLst>
              </p:cNvPr>
              <p:cNvSpPr>
                <a:spLocks noEditPoints="1"/>
              </p:cNvSpPr>
              <p:nvPr/>
            </p:nvSpPr>
            <p:spPr bwMode="auto">
              <a:xfrm>
                <a:off x="5991225" y="2779713"/>
                <a:ext cx="179387" cy="117475"/>
              </a:xfrm>
              <a:custGeom>
                <a:avLst/>
                <a:gdLst>
                  <a:gd name="T0" fmla="*/ 2 w 43"/>
                  <a:gd name="T1" fmla="*/ 19 h 28"/>
                  <a:gd name="T2" fmla="*/ 1 w 43"/>
                  <a:gd name="T3" fmla="*/ 16 h 28"/>
                  <a:gd name="T4" fmla="*/ 3 w 43"/>
                  <a:gd name="T5" fmla="*/ 15 h 28"/>
                  <a:gd name="T6" fmla="*/ 4 w 43"/>
                  <a:gd name="T7" fmla="*/ 15 h 28"/>
                  <a:gd name="T8" fmla="*/ 7 w 43"/>
                  <a:gd name="T9" fmla="*/ 14 h 28"/>
                  <a:gd name="T10" fmla="*/ 10 w 43"/>
                  <a:gd name="T11" fmla="*/ 16 h 28"/>
                  <a:gd name="T12" fmla="*/ 8 w 43"/>
                  <a:gd name="T13" fmla="*/ 18 h 28"/>
                  <a:gd name="T14" fmla="*/ 3 w 43"/>
                  <a:gd name="T15" fmla="*/ 22 h 28"/>
                  <a:gd name="T16" fmla="*/ 3 w 43"/>
                  <a:gd name="T17" fmla="*/ 21 h 28"/>
                  <a:gd name="T18" fmla="*/ 7 w 43"/>
                  <a:gd name="T19" fmla="*/ 12 h 28"/>
                  <a:gd name="T20" fmla="*/ 8 w 43"/>
                  <a:gd name="T21" fmla="*/ 10 h 28"/>
                  <a:gd name="T22" fmla="*/ 6 w 43"/>
                  <a:gd name="T23" fmla="*/ 8 h 28"/>
                  <a:gd name="T24" fmla="*/ 4 w 43"/>
                  <a:gd name="T25" fmla="*/ 11 h 28"/>
                  <a:gd name="T26" fmla="*/ 9 w 43"/>
                  <a:gd name="T27" fmla="*/ 9 h 28"/>
                  <a:gd name="T28" fmla="*/ 9 w 43"/>
                  <a:gd name="T29" fmla="*/ 9 h 28"/>
                  <a:gd name="T30" fmla="*/ 9 w 43"/>
                  <a:gd name="T31" fmla="*/ 14 h 28"/>
                  <a:gd name="T32" fmla="*/ 37 w 43"/>
                  <a:gd name="T33" fmla="*/ 27 h 28"/>
                  <a:gd name="T34" fmla="*/ 40 w 43"/>
                  <a:gd name="T35" fmla="*/ 23 h 28"/>
                  <a:gd name="T36" fmla="*/ 39 w 43"/>
                  <a:gd name="T37" fmla="*/ 20 h 28"/>
                  <a:gd name="T38" fmla="*/ 38 w 43"/>
                  <a:gd name="T39" fmla="*/ 11 h 28"/>
                  <a:gd name="T40" fmla="*/ 42 w 43"/>
                  <a:gd name="T41" fmla="*/ 5 h 28"/>
                  <a:gd name="T42" fmla="*/ 42 w 43"/>
                  <a:gd name="T43" fmla="*/ 3 h 28"/>
                  <a:gd name="T44" fmla="*/ 34 w 43"/>
                  <a:gd name="T45" fmla="*/ 2 h 28"/>
                  <a:gd name="T46" fmla="*/ 29 w 43"/>
                  <a:gd name="T47" fmla="*/ 1 h 28"/>
                  <a:gd name="T48" fmla="*/ 27 w 43"/>
                  <a:gd name="T49" fmla="*/ 2 h 28"/>
                  <a:gd name="T50" fmla="*/ 26 w 43"/>
                  <a:gd name="T51" fmla="*/ 2 h 28"/>
                  <a:gd name="T52" fmla="*/ 24 w 43"/>
                  <a:gd name="T53" fmla="*/ 3 h 28"/>
                  <a:gd name="T54" fmla="*/ 23 w 43"/>
                  <a:gd name="T55" fmla="*/ 2 h 28"/>
                  <a:gd name="T56" fmla="*/ 20 w 43"/>
                  <a:gd name="T57" fmla="*/ 2 h 28"/>
                  <a:gd name="T58" fmla="*/ 18 w 43"/>
                  <a:gd name="T59" fmla="*/ 1 h 28"/>
                  <a:gd name="T60" fmla="*/ 17 w 43"/>
                  <a:gd name="T61" fmla="*/ 4 h 28"/>
                  <a:gd name="T62" fmla="*/ 15 w 43"/>
                  <a:gd name="T63" fmla="*/ 4 h 28"/>
                  <a:gd name="T64" fmla="*/ 13 w 43"/>
                  <a:gd name="T65" fmla="*/ 5 h 28"/>
                  <a:gd name="T66" fmla="*/ 12 w 43"/>
                  <a:gd name="T67" fmla="*/ 6 h 28"/>
                  <a:gd name="T68" fmla="*/ 12 w 43"/>
                  <a:gd name="T69" fmla="*/ 10 h 28"/>
                  <a:gd name="T70" fmla="*/ 12 w 43"/>
                  <a:gd name="T71" fmla="*/ 12 h 28"/>
                  <a:gd name="T72" fmla="*/ 13 w 43"/>
                  <a:gd name="T73" fmla="*/ 13 h 28"/>
                  <a:gd name="T74" fmla="*/ 13 w 43"/>
                  <a:gd name="T75" fmla="*/ 15 h 28"/>
                  <a:gd name="T76" fmla="*/ 16 w 43"/>
                  <a:gd name="T77" fmla="*/ 19 h 28"/>
                  <a:gd name="T78" fmla="*/ 18 w 43"/>
                  <a:gd name="T79" fmla="*/ 18 h 28"/>
                  <a:gd name="T80" fmla="*/ 17 w 43"/>
                  <a:gd name="T81" fmla="*/ 24 h 28"/>
                  <a:gd name="T82" fmla="*/ 20 w 43"/>
                  <a:gd name="T83" fmla="*/ 23 h 28"/>
                  <a:gd name="T84" fmla="*/ 23 w 43"/>
                  <a:gd name="T85" fmla="*/ 22 h 28"/>
                  <a:gd name="T86" fmla="*/ 24 w 43"/>
                  <a:gd name="T87" fmla="*/ 22 h 28"/>
                  <a:gd name="T88" fmla="*/ 27 w 43"/>
                  <a:gd name="T89" fmla="*/ 24 h 28"/>
                  <a:gd name="T90" fmla="*/ 30 w 43"/>
                  <a:gd name="T91" fmla="*/ 26 h 28"/>
                  <a:gd name="T92" fmla="*/ 34 w 43"/>
                  <a:gd name="T93" fmla="*/ 27 h 28"/>
                  <a:gd name="T94" fmla="*/ 37 w 43"/>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8">
                    <a:moveTo>
                      <a:pt x="3" y="21"/>
                    </a:moveTo>
                    <a:cubicBezTo>
                      <a:pt x="3" y="20"/>
                      <a:pt x="2" y="20"/>
                      <a:pt x="2" y="20"/>
                    </a:cubicBezTo>
                    <a:cubicBezTo>
                      <a:pt x="2" y="20"/>
                      <a:pt x="2" y="19"/>
                      <a:pt x="2" y="19"/>
                    </a:cubicBezTo>
                    <a:cubicBezTo>
                      <a:pt x="1" y="19"/>
                      <a:pt x="0" y="19"/>
                      <a:pt x="1" y="18"/>
                    </a:cubicBezTo>
                    <a:cubicBezTo>
                      <a:pt x="1" y="18"/>
                      <a:pt x="2" y="18"/>
                      <a:pt x="1" y="17"/>
                    </a:cubicBezTo>
                    <a:cubicBezTo>
                      <a:pt x="1" y="16"/>
                      <a:pt x="0" y="16"/>
                      <a:pt x="1" y="16"/>
                    </a:cubicBezTo>
                    <a:cubicBezTo>
                      <a:pt x="2" y="15"/>
                      <a:pt x="2" y="16"/>
                      <a:pt x="2" y="17"/>
                    </a:cubicBezTo>
                    <a:cubicBezTo>
                      <a:pt x="2" y="17"/>
                      <a:pt x="2" y="16"/>
                      <a:pt x="3" y="15"/>
                    </a:cubicBezTo>
                    <a:cubicBezTo>
                      <a:pt x="3" y="15"/>
                      <a:pt x="3" y="15"/>
                      <a:pt x="3" y="15"/>
                    </a:cubicBezTo>
                    <a:cubicBezTo>
                      <a:pt x="3" y="15"/>
                      <a:pt x="3" y="16"/>
                      <a:pt x="3" y="16"/>
                    </a:cubicBezTo>
                    <a:cubicBezTo>
                      <a:pt x="4" y="15"/>
                      <a:pt x="3" y="15"/>
                      <a:pt x="4" y="15"/>
                    </a:cubicBezTo>
                    <a:cubicBezTo>
                      <a:pt x="4" y="15"/>
                      <a:pt x="4" y="15"/>
                      <a:pt x="4" y="15"/>
                    </a:cubicBezTo>
                    <a:cubicBezTo>
                      <a:pt x="5" y="15"/>
                      <a:pt x="5" y="14"/>
                      <a:pt x="5" y="14"/>
                    </a:cubicBezTo>
                    <a:cubicBezTo>
                      <a:pt x="6" y="14"/>
                      <a:pt x="6" y="15"/>
                      <a:pt x="6" y="15"/>
                    </a:cubicBezTo>
                    <a:cubicBezTo>
                      <a:pt x="7" y="14"/>
                      <a:pt x="7" y="14"/>
                      <a:pt x="7" y="14"/>
                    </a:cubicBezTo>
                    <a:cubicBezTo>
                      <a:pt x="8" y="14"/>
                      <a:pt x="8" y="14"/>
                      <a:pt x="9" y="15"/>
                    </a:cubicBezTo>
                    <a:cubicBezTo>
                      <a:pt x="9" y="15"/>
                      <a:pt x="9" y="15"/>
                      <a:pt x="9" y="15"/>
                    </a:cubicBezTo>
                    <a:cubicBezTo>
                      <a:pt x="10" y="16"/>
                      <a:pt x="10" y="16"/>
                      <a:pt x="10" y="16"/>
                    </a:cubicBezTo>
                    <a:cubicBezTo>
                      <a:pt x="11" y="17"/>
                      <a:pt x="10" y="17"/>
                      <a:pt x="9" y="16"/>
                    </a:cubicBezTo>
                    <a:cubicBezTo>
                      <a:pt x="9" y="16"/>
                      <a:pt x="9" y="17"/>
                      <a:pt x="9" y="17"/>
                    </a:cubicBezTo>
                    <a:cubicBezTo>
                      <a:pt x="8" y="18"/>
                      <a:pt x="8" y="18"/>
                      <a:pt x="8" y="18"/>
                    </a:cubicBezTo>
                    <a:cubicBezTo>
                      <a:pt x="8" y="18"/>
                      <a:pt x="6" y="20"/>
                      <a:pt x="6" y="19"/>
                    </a:cubicBezTo>
                    <a:cubicBezTo>
                      <a:pt x="5" y="19"/>
                      <a:pt x="4" y="19"/>
                      <a:pt x="3" y="20"/>
                    </a:cubicBezTo>
                    <a:cubicBezTo>
                      <a:pt x="3" y="21"/>
                      <a:pt x="3" y="22"/>
                      <a:pt x="3" y="22"/>
                    </a:cubicBezTo>
                    <a:cubicBezTo>
                      <a:pt x="2" y="23"/>
                      <a:pt x="1" y="23"/>
                      <a:pt x="1" y="22"/>
                    </a:cubicBezTo>
                    <a:cubicBezTo>
                      <a:pt x="1" y="21"/>
                      <a:pt x="2" y="21"/>
                      <a:pt x="3" y="21"/>
                    </a:cubicBezTo>
                    <a:cubicBezTo>
                      <a:pt x="3" y="20"/>
                      <a:pt x="2" y="21"/>
                      <a:pt x="3" y="21"/>
                    </a:cubicBezTo>
                    <a:close/>
                    <a:moveTo>
                      <a:pt x="5" y="13"/>
                    </a:moveTo>
                    <a:cubicBezTo>
                      <a:pt x="5" y="14"/>
                      <a:pt x="6" y="13"/>
                      <a:pt x="6" y="13"/>
                    </a:cubicBezTo>
                    <a:cubicBezTo>
                      <a:pt x="6" y="13"/>
                      <a:pt x="6" y="12"/>
                      <a:pt x="7" y="12"/>
                    </a:cubicBezTo>
                    <a:cubicBezTo>
                      <a:pt x="7" y="12"/>
                      <a:pt x="7" y="12"/>
                      <a:pt x="7" y="12"/>
                    </a:cubicBezTo>
                    <a:cubicBezTo>
                      <a:pt x="8" y="12"/>
                      <a:pt x="8" y="12"/>
                      <a:pt x="8" y="12"/>
                    </a:cubicBezTo>
                    <a:cubicBezTo>
                      <a:pt x="9" y="11"/>
                      <a:pt x="8" y="11"/>
                      <a:pt x="8" y="10"/>
                    </a:cubicBezTo>
                    <a:cubicBezTo>
                      <a:pt x="8" y="10"/>
                      <a:pt x="8" y="10"/>
                      <a:pt x="7" y="9"/>
                    </a:cubicBezTo>
                    <a:cubicBezTo>
                      <a:pt x="7" y="9"/>
                      <a:pt x="7" y="9"/>
                      <a:pt x="6" y="9"/>
                    </a:cubicBezTo>
                    <a:cubicBezTo>
                      <a:pt x="6" y="9"/>
                      <a:pt x="7" y="8"/>
                      <a:pt x="6" y="8"/>
                    </a:cubicBezTo>
                    <a:cubicBezTo>
                      <a:pt x="6" y="8"/>
                      <a:pt x="5" y="8"/>
                      <a:pt x="5" y="9"/>
                    </a:cubicBezTo>
                    <a:cubicBezTo>
                      <a:pt x="4" y="10"/>
                      <a:pt x="3" y="9"/>
                      <a:pt x="2" y="10"/>
                    </a:cubicBezTo>
                    <a:cubicBezTo>
                      <a:pt x="1" y="11"/>
                      <a:pt x="4" y="11"/>
                      <a:pt x="4" y="11"/>
                    </a:cubicBezTo>
                    <a:cubicBezTo>
                      <a:pt x="4" y="12"/>
                      <a:pt x="5" y="12"/>
                      <a:pt x="5" y="13"/>
                    </a:cubicBezTo>
                    <a:cubicBezTo>
                      <a:pt x="5" y="13"/>
                      <a:pt x="5" y="13"/>
                      <a:pt x="5" y="13"/>
                    </a:cubicBezTo>
                    <a:close/>
                    <a:moveTo>
                      <a:pt x="9" y="9"/>
                    </a:moveTo>
                    <a:cubicBezTo>
                      <a:pt x="8" y="9"/>
                      <a:pt x="10" y="10"/>
                      <a:pt x="10" y="10"/>
                    </a:cubicBezTo>
                    <a:cubicBezTo>
                      <a:pt x="11" y="9"/>
                      <a:pt x="9" y="8"/>
                      <a:pt x="9" y="9"/>
                    </a:cubicBezTo>
                    <a:cubicBezTo>
                      <a:pt x="9" y="9"/>
                      <a:pt x="9" y="8"/>
                      <a:pt x="9" y="9"/>
                    </a:cubicBezTo>
                    <a:close/>
                    <a:moveTo>
                      <a:pt x="9" y="14"/>
                    </a:moveTo>
                    <a:cubicBezTo>
                      <a:pt x="9" y="15"/>
                      <a:pt x="11" y="16"/>
                      <a:pt x="11" y="15"/>
                    </a:cubicBezTo>
                    <a:cubicBezTo>
                      <a:pt x="11" y="14"/>
                      <a:pt x="9" y="13"/>
                      <a:pt x="9" y="14"/>
                    </a:cubicBezTo>
                    <a:cubicBezTo>
                      <a:pt x="9" y="14"/>
                      <a:pt x="9" y="14"/>
                      <a:pt x="9" y="14"/>
                    </a:cubicBezTo>
                    <a:cubicBezTo>
                      <a:pt x="9" y="14"/>
                      <a:pt x="9" y="14"/>
                      <a:pt x="9" y="14"/>
                    </a:cubicBezTo>
                    <a:close/>
                    <a:moveTo>
                      <a:pt x="37" y="27"/>
                    </a:moveTo>
                    <a:cubicBezTo>
                      <a:pt x="38" y="27"/>
                      <a:pt x="38" y="26"/>
                      <a:pt x="38" y="26"/>
                    </a:cubicBezTo>
                    <a:cubicBezTo>
                      <a:pt x="39" y="26"/>
                      <a:pt x="39" y="25"/>
                      <a:pt x="39" y="25"/>
                    </a:cubicBezTo>
                    <a:cubicBezTo>
                      <a:pt x="39" y="24"/>
                      <a:pt x="41" y="24"/>
                      <a:pt x="40" y="23"/>
                    </a:cubicBezTo>
                    <a:cubicBezTo>
                      <a:pt x="40" y="23"/>
                      <a:pt x="40" y="23"/>
                      <a:pt x="40" y="23"/>
                    </a:cubicBezTo>
                    <a:cubicBezTo>
                      <a:pt x="40" y="23"/>
                      <a:pt x="40" y="22"/>
                      <a:pt x="40" y="22"/>
                    </a:cubicBezTo>
                    <a:cubicBezTo>
                      <a:pt x="39" y="21"/>
                      <a:pt x="39" y="20"/>
                      <a:pt x="39" y="20"/>
                    </a:cubicBezTo>
                    <a:cubicBezTo>
                      <a:pt x="38" y="19"/>
                      <a:pt x="39" y="18"/>
                      <a:pt x="39" y="18"/>
                    </a:cubicBezTo>
                    <a:cubicBezTo>
                      <a:pt x="39" y="17"/>
                      <a:pt x="39" y="16"/>
                      <a:pt x="38" y="15"/>
                    </a:cubicBezTo>
                    <a:cubicBezTo>
                      <a:pt x="38" y="14"/>
                      <a:pt x="37" y="12"/>
                      <a:pt x="38" y="11"/>
                    </a:cubicBezTo>
                    <a:cubicBezTo>
                      <a:pt x="39" y="10"/>
                      <a:pt x="40" y="9"/>
                      <a:pt x="40" y="7"/>
                    </a:cubicBezTo>
                    <a:cubicBezTo>
                      <a:pt x="41" y="7"/>
                      <a:pt x="41" y="6"/>
                      <a:pt x="41" y="6"/>
                    </a:cubicBezTo>
                    <a:cubicBezTo>
                      <a:pt x="41" y="5"/>
                      <a:pt x="41" y="6"/>
                      <a:pt x="42" y="5"/>
                    </a:cubicBezTo>
                    <a:cubicBezTo>
                      <a:pt x="42" y="5"/>
                      <a:pt x="42" y="5"/>
                      <a:pt x="42" y="5"/>
                    </a:cubicBezTo>
                    <a:cubicBezTo>
                      <a:pt x="42" y="5"/>
                      <a:pt x="43" y="5"/>
                      <a:pt x="43" y="5"/>
                    </a:cubicBezTo>
                    <a:cubicBezTo>
                      <a:pt x="43" y="4"/>
                      <a:pt x="42" y="3"/>
                      <a:pt x="42" y="3"/>
                    </a:cubicBezTo>
                    <a:cubicBezTo>
                      <a:pt x="41" y="4"/>
                      <a:pt x="39" y="4"/>
                      <a:pt x="38" y="4"/>
                    </a:cubicBezTo>
                    <a:cubicBezTo>
                      <a:pt x="37" y="3"/>
                      <a:pt x="36" y="3"/>
                      <a:pt x="35" y="3"/>
                    </a:cubicBezTo>
                    <a:cubicBezTo>
                      <a:pt x="35" y="3"/>
                      <a:pt x="34" y="3"/>
                      <a:pt x="34" y="2"/>
                    </a:cubicBezTo>
                    <a:cubicBezTo>
                      <a:pt x="33" y="2"/>
                      <a:pt x="33" y="2"/>
                      <a:pt x="32" y="2"/>
                    </a:cubicBezTo>
                    <a:cubicBezTo>
                      <a:pt x="31" y="2"/>
                      <a:pt x="31" y="2"/>
                      <a:pt x="30" y="1"/>
                    </a:cubicBezTo>
                    <a:cubicBezTo>
                      <a:pt x="30" y="1"/>
                      <a:pt x="29" y="2"/>
                      <a:pt x="29" y="1"/>
                    </a:cubicBezTo>
                    <a:cubicBezTo>
                      <a:pt x="29" y="1"/>
                      <a:pt x="29" y="1"/>
                      <a:pt x="29" y="1"/>
                    </a:cubicBezTo>
                    <a:cubicBezTo>
                      <a:pt x="28" y="1"/>
                      <a:pt x="28" y="1"/>
                      <a:pt x="28" y="1"/>
                    </a:cubicBezTo>
                    <a:cubicBezTo>
                      <a:pt x="28" y="1"/>
                      <a:pt x="28" y="2"/>
                      <a:pt x="27" y="2"/>
                    </a:cubicBezTo>
                    <a:cubicBezTo>
                      <a:pt x="27" y="2"/>
                      <a:pt x="27" y="1"/>
                      <a:pt x="27" y="1"/>
                    </a:cubicBezTo>
                    <a:cubicBezTo>
                      <a:pt x="27" y="1"/>
                      <a:pt x="27" y="0"/>
                      <a:pt x="26" y="1"/>
                    </a:cubicBezTo>
                    <a:cubicBezTo>
                      <a:pt x="26" y="1"/>
                      <a:pt x="27" y="2"/>
                      <a:pt x="26" y="2"/>
                    </a:cubicBezTo>
                    <a:cubicBezTo>
                      <a:pt x="25" y="2"/>
                      <a:pt x="26" y="1"/>
                      <a:pt x="25" y="1"/>
                    </a:cubicBezTo>
                    <a:cubicBezTo>
                      <a:pt x="25" y="1"/>
                      <a:pt x="25" y="2"/>
                      <a:pt x="25" y="2"/>
                    </a:cubicBezTo>
                    <a:cubicBezTo>
                      <a:pt x="25" y="2"/>
                      <a:pt x="24" y="2"/>
                      <a:pt x="24" y="3"/>
                    </a:cubicBezTo>
                    <a:cubicBezTo>
                      <a:pt x="24" y="3"/>
                      <a:pt x="23" y="2"/>
                      <a:pt x="23" y="2"/>
                    </a:cubicBezTo>
                    <a:cubicBezTo>
                      <a:pt x="23" y="2"/>
                      <a:pt x="23" y="2"/>
                      <a:pt x="23" y="2"/>
                    </a:cubicBezTo>
                    <a:cubicBezTo>
                      <a:pt x="23" y="2"/>
                      <a:pt x="23" y="2"/>
                      <a:pt x="23" y="2"/>
                    </a:cubicBezTo>
                    <a:cubicBezTo>
                      <a:pt x="23" y="2"/>
                      <a:pt x="22" y="2"/>
                      <a:pt x="22" y="2"/>
                    </a:cubicBezTo>
                    <a:cubicBezTo>
                      <a:pt x="22" y="2"/>
                      <a:pt x="22" y="2"/>
                      <a:pt x="22" y="2"/>
                    </a:cubicBezTo>
                    <a:cubicBezTo>
                      <a:pt x="21" y="3"/>
                      <a:pt x="21" y="2"/>
                      <a:pt x="20" y="2"/>
                    </a:cubicBezTo>
                    <a:cubicBezTo>
                      <a:pt x="20" y="2"/>
                      <a:pt x="20" y="3"/>
                      <a:pt x="20" y="3"/>
                    </a:cubicBezTo>
                    <a:cubicBezTo>
                      <a:pt x="20" y="3"/>
                      <a:pt x="20" y="3"/>
                      <a:pt x="20" y="3"/>
                    </a:cubicBezTo>
                    <a:cubicBezTo>
                      <a:pt x="19" y="4"/>
                      <a:pt x="19" y="2"/>
                      <a:pt x="18" y="1"/>
                    </a:cubicBezTo>
                    <a:cubicBezTo>
                      <a:pt x="18" y="2"/>
                      <a:pt x="19" y="2"/>
                      <a:pt x="19" y="3"/>
                    </a:cubicBezTo>
                    <a:cubicBezTo>
                      <a:pt x="19" y="3"/>
                      <a:pt x="18" y="4"/>
                      <a:pt x="18" y="3"/>
                    </a:cubicBezTo>
                    <a:cubicBezTo>
                      <a:pt x="17" y="3"/>
                      <a:pt x="17" y="3"/>
                      <a:pt x="17" y="4"/>
                    </a:cubicBezTo>
                    <a:cubicBezTo>
                      <a:pt x="17" y="4"/>
                      <a:pt x="17" y="4"/>
                      <a:pt x="16" y="4"/>
                    </a:cubicBezTo>
                    <a:cubicBezTo>
                      <a:pt x="16" y="4"/>
                      <a:pt x="16" y="5"/>
                      <a:pt x="16" y="4"/>
                    </a:cubicBezTo>
                    <a:cubicBezTo>
                      <a:pt x="15" y="4"/>
                      <a:pt x="15" y="4"/>
                      <a:pt x="15" y="4"/>
                    </a:cubicBezTo>
                    <a:cubicBezTo>
                      <a:pt x="15" y="5"/>
                      <a:pt x="16" y="5"/>
                      <a:pt x="16" y="6"/>
                    </a:cubicBezTo>
                    <a:cubicBezTo>
                      <a:pt x="15" y="6"/>
                      <a:pt x="15" y="5"/>
                      <a:pt x="15" y="5"/>
                    </a:cubicBezTo>
                    <a:cubicBezTo>
                      <a:pt x="14" y="6"/>
                      <a:pt x="14" y="5"/>
                      <a:pt x="13" y="5"/>
                    </a:cubicBezTo>
                    <a:cubicBezTo>
                      <a:pt x="13" y="6"/>
                      <a:pt x="13" y="6"/>
                      <a:pt x="13" y="6"/>
                    </a:cubicBezTo>
                    <a:cubicBezTo>
                      <a:pt x="13" y="6"/>
                      <a:pt x="13" y="6"/>
                      <a:pt x="12" y="6"/>
                    </a:cubicBezTo>
                    <a:cubicBezTo>
                      <a:pt x="12" y="6"/>
                      <a:pt x="12" y="6"/>
                      <a:pt x="12" y="6"/>
                    </a:cubicBezTo>
                    <a:cubicBezTo>
                      <a:pt x="11" y="7"/>
                      <a:pt x="12" y="8"/>
                      <a:pt x="12" y="8"/>
                    </a:cubicBezTo>
                    <a:cubicBezTo>
                      <a:pt x="12" y="8"/>
                      <a:pt x="12" y="8"/>
                      <a:pt x="12" y="8"/>
                    </a:cubicBezTo>
                    <a:cubicBezTo>
                      <a:pt x="12" y="9"/>
                      <a:pt x="13" y="9"/>
                      <a:pt x="12" y="10"/>
                    </a:cubicBezTo>
                    <a:cubicBezTo>
                      <a:pt x="12" y="10"/>
                      <a:pt x="11" y="10"/>
                      <a:pt x="11" y="11"/>
                    </a:cubicBezTo>
                    <a:cubicBezTo>
                      <a:pt x="11" y="11"/>
                      <a:pt x="12" y="11"/>
                      <a:pt x="12" y="12"/>
                    </a:cubicBezTo>
                    <a:cubicBezTo>
                      <a:pt x="12" y="12"/>
                      <a:pt x="11" y="12"/>
                      <a:pt x="12" y="12"/>
                    </a:cubicBezTo>
                    <a:cubicBezTo>
                      <a:pt x="12" y="12"/>
                      <a:pt x="13" y="11"/>
                      <a:pt x="14" y="12"/>
                    </a:cubicBezTo>
                    <a:cubicBezTo>
                      <a:pt x="14" y="12"/>
                      <a:pt x="14" y="13"/>
                      <a:pt x="13" y="13"/>
                    </a:cubicBezTo>
                    <a:cubicBezTo>
                      <a:pt x="13" y="13"/>
                      <a:pt x="13" y="13"/>
                      <a:pt x="13" y="13"/>
                    </a:cubicBezTo>
                    <a:cubicBezTo>
                      <a:pt x="12" y="13"/>
                      <a:pt x="12" y="13"/>
                      <a:pt x="12" y="13"/>
                    </a:cubicBezTo>
                    <a:cubicBezTo>
                      <a:pt x="11" y="13"/>
                      <a:pt x="11" y="14"/>
                      <a:pt x="12" y="14"/>
                    </a:cubicBezTo>
                    <a:cubicBezTo>
                      <a:pt x="12" y="15"/>
                      <a:pt x="12" y="15"/>
                      <a:pt x="13" y="15"/>
                    </a:cubicBezTo>
                    <a:cubicBezTo>
                      <a:pt x="13" y="16"/>
                      <a:pt x="13" y="16"/>
                      <a:pt x="13" y="17"/>
                    </a:cubicBezTo>
                    <a:cubicBezTo>
                      <a:pt x="13" y="18"/>
                      <a:pt x="14" y="18"/>
                      <a:pt x="15" y="18"/>
                    </a:cubicBezTo>
                    <a:cubicBezTo>
                      <a:pt x="15" y="19"/>
                      <a:pt x="15" y="19"/>
                      <a:pt x="16" y="19"/>
                    </a:cubicBezTo>
                    <a:cubicBezTo>
                      <a:pt x="16" y="19"/>
                      <a:pt x="17" y="19"/>
                      <a:pt x="17" y="18"/>
                    </a:cubicBezTo>
                    <a:cubicBezTo>
                      <a:pt x="17" y="18"/>
                      <a:pt x="17" y="18"/>
                      <a:pt x="17" y="17"/>
                    </a:cubicBezTo>
                    <a:cubicBezTo>
                      <a:pt x="18" y="17"/>
                      <a:pt x="18" y="17"/>
                      <a:pt x="18" y="18"/>
                    </a:cubicBezTo>
                    <a:cubicBezTo>
                      <a:pt x="19" y="18"/>
                      <a:pt x="18" y="18"/>
                      <a:pt x="18" y="19"/>
                    </a:cubicBezTo>
                    <a:cubicBezTo>
                      <a:pt x="18" y="19"/>
                      <a:pt x="18" y="20"/>
                      <a:pt x="18" y="20"/>
                    </a:cubicBezTo>
                    <a:cubicBezTo>
                      <a:pt x="18" y="21"/>
                      <a:pt x="17" y="23"/>
                      <a:pt x="17" y="24"/>
                    </a:cubicBezTo>
                    <a:cubicBezTo>
                      <a:pt x="18" y="24"/>
                      <a:pt x="18" y="23"/>
                      <a:pt x="19" y="23"/>
                    </a:cubicBezTo>
                    <a:cubicBezTo>
                      <a:pt x="19" y="23"/>
                      <a:pt x="19" y="23"/>
                      <a:pt x="19" y="23"/>
                    </a:cubicBezTo>
                    <a:cubicBezTo>
                      <a:pt x="20" y="23"/>
                      <a:pt x="20" y="23"/>
                      <a:pt x="20" y="23"/>
                    </a:cubicBezTo>
                    <a:cubicBezTo>
                      <a:pt x="20" y="22"/>
                      <a:pt x="21" y="22"/>
                      <a:pt x="21" y="22"/>
                    </a:cubicBezTo>
                    <a:cubicBezTo>
                      <a:pt x="22" y="22"/>
                      <a:pt x="22" y="21"/>
                      <a:pt x="23" y="21"/>
                    </a:cubicBezTo>
                    <a:cubicBezTo>
                      <a:pt x="23" y="22"/>
                      <a:pt x="23" y="23"/>
                      <a:pt x="23" y="22"/>
                    </a:cubicBezTo>
                    <a:cubicBezTo>
                      <a:pt x="24" y="22"/>
                      <a:pt x="23" y="22"/>
                      <a:pt x="24" y="21"/>
                    </a:cubicBezTo>
                    <a:cubicBezTo>
                      <a:pt x="24" y="21"/>
                      <a:pt x="24" y="22"/>
                      <a:pt x="24" y="22"/>
                    </a:cubicBezTo>
                    <a:cubicBezTo>
                      <a:pt x="24" y="22"/>
                      <a:pt x="24" y="22"/>
                      <a:pt x="24" y="22"/>
                    </a:cubicBezTo>
                    <a:cubicBezTo>
                      <a:pt x="25" y="22"/>
                      <a:pt x="25" y="22"/>
                      <a:pt x="25" y="23"/>
                    </a:cubicBezTo>
                    <a:cubicBezTo>
                      <a:pt x="25" y="23"/>
                      <a:pt x="26" y="24"/>
                      <a:pt x="26" y="23"/>
                    </a:cubicBezTo>
                    <a:cubicBezTo>
                      <a:pt x="27" y="23"/>
                      <a:pt x="27" y="24"/>
                      <a:pt x="27" y="24"/>
                    </a:cubicBezTo>
                    <a:cubicBezTo>
                      <a:pt x="27" y="24"/>
                      <a:pt x="27" y="24"/>
                      <a:pt x="28" y="24"/>
                    </a:cubicBezTo>
                    <a:cubicBezTo>
                      <a:pt x="29" y="24"/>
                      <a:pt x="28" y="24"/>
                      <a:pt x="29" y="25"/>
                    </a:cubicBezTo>
                    <a:cubicBezTo>
                      <a:pt x="29" y="25"/>
                      <a:pt x="29" y="26"/>
                      <a:pt x="30" y="26"/>
                    </a:cubicBezTo>
                    <a:cubicBezTo>
                      <a:pt x="30" y="27"/>
                      <a:pt x="30" y="27"/>
                      <a:pt x="31" y="27"/>
                    </a:cubicBezTo>
                    <a:cubicBezTo>
                      <a:pt x="32" y="28"/>
                      <a:pt x="32" y="28"/>
                      <a:pt x="32" y="28"/>
                    </a:cubicBezTo>
                    <a:cubicBezTo>
                      <a:pt x="33" y="28"/>
                      <a:pt x="33" y="28"/>
                      <a:pt x="34" y="27"/>
                    </a:cubicBezTo>
                    <a:cubicBezTo>
                      <a:pt x="35" y="27"/>
                      <a:pt x="35" y="27"/>
                      <a:pt x="36" y="28"/>
                    </a:cubicBezTo>
                    <a:cubicBezTo>
                      <a:pt x="36" y="28"/>
                      <a:pt x="36" y="28"/>
                      <a:pt x="37" y="28"/>
                    </a:cubicBezTo>
                    <a:cubicBezTo>
                      <a:pt x="37" y="28"/>
                      <a:pt x="37" y="28"/>
                      <a:pt x="3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0" name="Freeform 815">
                <a:extLst>
                  <a:ext uri="{FF2B5EF4-FFF2-40B4-BE49-F238E27FC236}">
                    <a16:creationId xmlns:a16="http://schemas.microsoft.com/office/drawing/2014/main" id="{74965656-B47D-DB28-856C-4DCBF07D2574}"/>
                  </a:ext>
                </a:extLst>
              </p:cNvPr>
              <p:cNvSpPr>
                <a:spLocks noEditPoints="1"/>
              </p:cNvSpPr>
              <p:nvPr/>
            </p:nvSpPr>
            <p:spPr bwMode="auto">
              <a:xfrm>
                <a:off x="5608638" y="2884488"/>
                <a:ext cx="195262" cy="161925"/>
              </a:xfrm>
              <a:custGeom>
                <a:avLst/>
                <a:gdLst>
                  <a:gd name="T0" fmla="*/ 3 w 47"/>
                  <a:gd name="T1" fmla="*/ 8 h 39"/>
                  <a:gd name="T2" fmla="*/ 15 w 47"/>
                  <a:gd name="T3" fmla="*/ 2 h 39"/>
                  <a:gd name="T4" fmla="*/ 16 w 47"/>
                  <a:gd name="T5" fmla="*/ 8 h 39"/>
                  <a:gd name="T6" fmla="*/ 11 w 47"/>
                  <a:gd name="T7" fmla="*/ 9 h 39"/>
                  <a:gd name="T8" fmla="*/ 5 w 47"/>
                  <a:gd name="T9" fmla="*/ 10 h 39"/>
                  <a:gd name="T10" fmla="*/ 2 w 47"/>
                  <a:gd name="T11" fmla="*/ 14 h 39"/>
                  <a:gd name="T12" fmla="*/ 5 w 47"/>
                  <a:gd name="T13" fmla="*/ 12 h 39"/>
                  <a:gd name="T14" fmla="*/ 19 w 47"/>
                  <a:gd name="T15" fmla="*/ 7 h 39"/>
                  <a:gd name="T16" fmla="*/ 19 w 47"/>
                  <a:gd name="T17" fmla="*/ 7 h 39"/>
                  <a:gd name="T18" fmla="*/ 17 w 47"/>
                  <a:gd name="T19" fmla="*/ 33 h 39"/>
                  <a:gd name="T20" fmla="*/ 16 w 47"/>
                  <a:gd name="T21" fmla="*/ 28 h 39"/>
                  <a:gd name="T22" fmla="*/ 11 w 47"/>
                  <a:gd name="T23" fmla="*/ 29 h 39"/>
                  <a:gd name="T24" fmla="*/ 13 w 47"/>
                  <a:gd name="T25" fmla="*/ 32 h 39"/>
                  <a:gd name="T26" fmla="*/ 24 w 47"/>
                  <a:gd name="T27" fmla="*/ 33 h 39"/>
                  <a:gd name="T28" fmla="*/ 28 w 47"/>
                  <a:gd name="T29" fmla="*/ 31 h 39"/>
                  <a:gd name="T30" fmla="*/ 30 w 47"/>
                  <a:gd name="T31" fmla="*/ 25 h 39"/>
                  <a:gd name="T32" fmla="*/ 25 w 47"/>
                  <a:gd name="T33" fmla="*/ 23 h 39"/>
                  <a:gd name="T34" fmla="*/ 24 w 47"/>
                  <a:gd name="T35" fmla="*/ 25 h 39"/>
                  <a:gd name="T36" fmla="*/ 25 w 47"/>
                  <a:gd name="T37" fmla="*/ 22 h 39"/>
                  <a:gd name="T38" fmla="*/ 22 w 47"/>
                  <a:gd name="T39" fmla="*/ 25 h 39"/>
                  <a:gd name="T40" fmla="*/ 19 w 47"/>
                  <a:gd name="T41" fmla="*/ 26 h 39"/>
                  <a:gd name="T42" fmla="*/ 21 w 47"/>
                  <a:gd name="T43" fmla="*/ 29 h 39"/>
                  <a:gd name="T44" fmla="*/ 19 w 47"/>
                  <a:gd name="T45" fmla="*/ 33 h 39"/>
                  <a:gd name="T46" fmla="*/ 19 w 47"/>
                  <a:gd name="T47" fmla="*/ 33 h 39"/>
                  <a:gd name="T48" fmla="*/ 10 w 47"/>
                  <a:gd name="T49" fmla="*/ 33 h 39"/>
                  <a:gd name="T50" fmla="*/ 16 w 47"/>
                  <a:gd name="T51" fmla="*/ 36 h 39"/>
                  <a:gd name="T52" fmla="*/ 17 w 47"/>
                  <a:gd name="T53" fmla="*/ 23 h 39"/>
                  <a:gd name="T54" fmla="*/ 17 w 47"/>
                  <a:gd name="T55" fmla="*/ 28 h 39"/>
                  <a:gd name="T56" fmla="*/ 30 w 47"/>
                  <a:gd name="T57" fmla="*/ 34 h 39"/>
                  <a:gd name="T58" fmla="*/ 24 w 47"/>
                  <a:gd name="T59" fmla="*/ 35 h 39"/>
                  <a:gd name="T60" fmla="*/ 27 w 47"/>
                  <a:gd name="T61" fmla="*/ 36 h 39"/>
                  <a:gd name="T62" fmla="*/ 20 w 47"/>
                  <a:gd name="T63" fmla="*/ 35 h 39"/>
                  <a:gd name="T64" fmla="*/ 22 w 47"/>
                  <a:gd name="T65" fmla="*/ 38 h 39"/>
                  <a:gd name="T66" fmla="*/ 23 w 47"/>
                  <a:gd name="T67" fmla="*/ 36 h 39"/>
                  <a:gd name="T68" fmla="*/ 46 w 47"/>
                  <a:gd name="T69" fmla="*/ 33 h 39"/>
                  <a:gd name="T70" fmla="*/ 45 w 47"/>
                  <a:gd name="T71" fmla="*/ 30 h 39"/>
                  <a:gd name="T72" fmla="*/ 6 w 47"/>
                  <a:gd name="T73" fmla="*/ 35 h 39"/>
                  <a:gd name="T74" fmla="*/ 10 w 47"/>
                  <a:gd name="T75" fmla="*/ 35 h 39"/>
                  <a:gd name="T76" fmla="*/ 11 w 47"/>
                  <a:gd name="T77" fmla="*/ 31 h 39"/>
                  <a:gd name="T78" fmla="*/ 9 w 47"/>
                  <a:gd name="T79" fmla="*/ 28 h 39"/>
                  <a:gd name="T80" fmla="*/ 12 w 47"/>
                  <a:gd name="T81" fmla="*/ 25 h 39"/>
                  <a:gd name="T82" fmla="*/ 14 w 47"/>
                  <a:gd name="T83" fmla="*/ 22 h 39"/>
                  <a:gd name="T84" fmla="*/ 17 w 47"/>
                  <a:gd name="T85" fmla="*/ 19 h 39"/>
                  <a:gd name="T86" fmla="*/ 16 w 47"/>
                  <a:gd name="T87" fmla="*/ 16 h 39"/>
                  <a:gd name="T88" fmla="*/ 13 w 47"/>
                  <a:gd name="T89" fmla="*/ 14 h 39"/>
                  <a:gd name="T90" fmla="*/ 13 w 47"/>
                  <a:gd name="T91" fmla="*/ 9 h 39"/>
                  <a:gd name="T92" fmla="*/ 8 w 47"/>
                  <a:gd name="T93" fmla="*/ 14 h 39"/>
                  <a:gd name="T94" fmla="*/ 6 w 47"/>
                  <a:gd name="T95" fmla="*/ 12 h 39"/>
                  <a:gd name="T96" fmla="*/ 3 w 47"/>
                  <a:gd name="T97" fmla="*/ 14 h 39"/>
                  <a:gd name="T98" fmla="*/ 0 w 47"/>
                  <a:gd name="T99" fmla="*/ 15 h 39"/>
                  <a:gd name="T100" fmla="*/ 2 w 47"/>
                  <a:gd name="T101" fmla="*/ 23 h 39"/>
                  <a:gd name="T102" fmla="*/ 0 w 47"/>
                  <a:gd name="T103" fmla="*/ 22 h 39"/>
                  <a:gd name="T104" fmla="*/ 1 w 47"/>
                  <a:gd name="T105" fmla="*/ 27 h 39"/>
                  <a:gd name="T106" fmla="*/ 4 w 47"/>
                  <a:gd name="T107"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 h="39">
                    <a:moveTo>
                      <a:pt x="2" y="14"/>
                    </a:moveTo>
                    <a:cubicBezTo>
                      <a:pt x="1" y="13"/>
                      <a:pt x="2" y="13"/>
                      <a:pt x="1" y="13"/>
                    </a:cubicBezTo>
                    <a:cubicBezTo>
                      <a:pt x="1" y="13"/>
                      <a:pt x="1" y="13"/>
                      <a:pt x="1" y="12"/>
                    </a:cubicBezTo>
                    <a:cubicBezTo>
                      <a:pt x="1" y="12"/>
                      <a:pt x="2" y="11"/>
                      <a:pt x="2" y="10"/>
                    </a:cubicBezTo>
                    <a:cubicBezTo>
                      <a:pt x="2" y="10"/>
                      <a:pt x="3" y="9"/>
                      <a:pt x="3" y="8"/>
                    </a:cubicBezTo>
                    <a:cubicBezTo>
                      <a:pt x="4" y="8"/>
                      <a:pt x="4" y="9"/>
                      <a:pt x="5" y="8"/>
                    </a:cubicBezTo>
                    <a:cubicBezTo>
                      <a:pt x="6" y="8"/>
                      <a:pt x="6" y="8"/>
                      <a:pt x="7" y="8"/>
                    </a:cubicBezTo>
                    <a:cubicBezTo>
                      <a:pt x="8" y="8"/>
                      <a:pt x="9" y="8"/>
                      <a:pt x="10" y="7"/>
                    </a:cubicBezTo>
                    <a:cubicBezTo>
                      <a:pt x="11" y="6"/>
                      <a:pt x="11" y="4"/>
                      <a:pt x="12" y="3"/>
                    </a:cubicBezTo>
                    <a:cubicBezTo>
                      <a:pt x="13" y="2"/>
                      <a:pt x="14" y="2"/>
                      <a:pt x="15" y="2"/>
                    </a:cubicBezTo>
                    <a:cubicBezTo>
                      <a:pt x="15" y="1"/>
                      <a:pt x="16" y="0"/>
                      <a:pt x="17" y="0"/>
                    </a:cubicBezTo>
                    <a:cubicBezTo>
                      <a:pt x="17" y="0"/>
                      <a:pt x="16" y="1"/>
                      <a:pt x="16" y="2"/>
                    </a:cubicBezTo>
                    <a:cubicBezTo>
                      <a:pt x="15" y="2"/>
                      <a:pt x="16" y="3"/>
                      <a:pt x="16" y="4"/>
                    </a:cubicBezTo>
                    <a:cubicBezTo>
                      <a:pt x="16" y="4"/>
                      <a:pt x="16" y="5"/>
                      <a:pt x="16" y="6"/>
                    </a:cubicBezTo>
                    <a:cubicBezTo>
                      <a:pt x="16" y="7"/>
                      <a:pt x="16" y="7"/>
                      <a:pt x="16" y="8"/>
                    </a:cubicBezTo>
                    <a:cubicBezTo>
                      <a:pt x="15" y="8"/>
                      <a:pt x="15" y="10"/>
                      <a:pt x="14" y="10"/>
                    </a:cubicBezTo>
                    <a:cubicBezTo>
                      <a:pt x="14" y="10"/>
                      <a:pt x="14" y="9"/>
                      <a:pt x="14" y="9"/>
                    </a:cubicBezTo>
                    <a:cubicBezTo>
                      <a:pt x="13" y="9"/>
                      <a:pt x="13" y="9"/>
                      <a:pt x="13" y="9"/>
                    </a:cubicBezTo>
                    <a:cubicBezTo>
                      <a:pt x="12" y="9"/>
                      <a:pt x="12" y="8"/>
                      <a:pt x="11" y="8"/>
                    </a:cubicBezTo>
                    <a:cubicBezTo>
                      <a:pt x="11" y="8"/>
                      <a:pt x="11" y="9"/>
                      <a:pt x="11" y="9"/>
                    </a:cubicBezTo>
                    <a:cubicBezTo>
                      <a:pt x="10" y="9"/>
                      <a:pt x="10" y="9"/>
                      <a:pt x="9" y="9"/>
                    </a:cubicBezTo>
                    <a:cubicBezTo>
                      <a:pt x="9" y="9"/>
                      <a:pt x="8" y="10"/>
                      <a:pt x="8" y="10"/>
                    </a:cubicBezTo>
                    <a:cubicBezTo>
                      <a:pt x="7" y="10"/>
                      <a:pt x="7" y="9"/>
                      <a:pt x="7" y="9"/>
                    </a:cubicBezTo>
                    <a:cubicBezTo>
                      <a:pt x="7" y="9"/>
                      <a:pt x="6" y="9"/>
                      <a:pt x="6" y="9"/>
                    </a:cubicBezTo>
                    <a:cubicBezTo>
                      <a:pt x="6" y="10"/>
                      <a:pt x="5" y="10"/>
                      <a:pt x="5" y="10"/>
                    </a:cubicBezTo>
                    <a:cubicBezTo>
                      <a:pt x="4" y="10"/>
                      <a:pt x="4" y="10"/>
                      <a:pt x="3" y="11"/>
                    </a:cubicBezTo>
                    <a:cubicBezTo>
                      <a:pt x="3" y="11"/>
                      <a:pt x="3" y="11"/>
                      <a:pt x="3" y="11"/>
                    </a:cubicBezTo>
                    <a:cubicBezTo>
                      <a:pt x="3" y="12"/>
                      <a:pt x="3" y="12"/>
                      <a:pt x="3" y="12"/>
                    </a:cubicBezTo>
                    <a:cubicBezTo>
                      <a:pt x="3" y="12"/>
                      <a:pt x="2" y="13"/>
                      <a:pt x="2" y="14"/>
                    </a:cubicBezTo>
                    <a:cubicBezTo>
                      <a:pt x="2" y="13"/>
                      <a:pt x="2" y="13"/>
                      <a:pt x="2" y="14"/>
                    </a:cubicBezTo>
                    <a:close/>
                    <a:moveTo>
                      <a:pt x="5" y="11"/>
                    </a:moveTo>
                    <a:cubicBezTo>
                      <a:pt x="5" y="11"/>
                      <a:pt x="4" y="11"/>
                      <a:pt x="4" y="11"/>
                    </a:cubicBezTo>
                    <a:cubicBezTo>
                      <a:pt x="4" y="11"/>
                      <a:pt x="4" y="12"/>
                      <a:pt x="4" y="12"/>
                    </a:cubicBezTo>
                    <a:cubicBezTo>
                      <a:pt x="3" y="12"/>
                      <a:pt x="2" y="13"/>
                      <a:pt x="3" y="13"/>
                    </a:cubicBezTo>
                    <a:cubicBezTo>
                      <a:pt x="4" y="14"/>
                      <a:pt x="5" y="13"/>
                      <a:pt x="5" y="12"/>
                    </a:cubicBezTo>
                    <a:cubicBezTo>
                      <a:pt x="5" y="11"/>
                      <a:pt x="5" y="11"/>
                      <a:pt x="5" y="11"/>
                    </a:cubicBezTo>
                    <a:cubicBezTo>
                      <a:pt x="5" y="11"/>
                      <a:pt x="5" y="11"/>
                      <a:pt x="5" y="10"/>
                    </a:cubicBezTo>
                    <a:cubicBezTo>
                      <a:pt x="5" y="10"/>
                      <a:pt x="5" y="10"/>
                      <a:pt x="5" y="11"/>
                    </a:cubicBezTo>
                    <a:close/>
                    <a:moveTo>
                      <a:pt x="19" y="7"/>
                    </a:moveTo>
                    <a:cubicBezTo>
                      <a:pt x="19" y="7"/>
                      <a:pt x="19" y="7"/>
                      <a:pt x="19" y="7"/>
                    </a:cubicBezTo>
                    <a:cubicBezTo>
                      <a:pt x="20" y="7"/>
                      <a:pt x="20" y="7"/>
                      <a:pt x="20" y="6"/>
                    </a:cubicBezTo>
                    <a:cubicBezTo>
                      <a:pt x="20" y="6"/>
                      <a:pt x="21" y="6"/>
                      <a:pt x="20" y="6"/>
                    </a:cubicBezTo>
                    <a:cubicBezTo>
                      <a:pt x="20" y="6"/>
                      <a:pt x="20" y="6"/>
                      <a:pt x="20" y="5"/>
                    </a:cubicBezTo>
                    <a:cubicBezTo>
                      <a:pt x="19" y="6"/>
                      <a:pt x="18" y="6"/>
                      <a:pt x="19" y="7"/>
                    </a:cubicBezTo>
                    <a:cubicBezTo>
                      <a:pt x="19" y="7"/>
                      <a:pt x="19" y="6"/>
                      <a:pt x="19" y="7"/>
                    </a:cubicBezTo>
                    <a:close/>
                    <a:moveTo>
                      <a:pt x="13" y="32"/>
                    </a:moveTo>
                    <a:cubicBezTo>
                      <a:pt x="14" y="32"/>
                      <a:pt x="14" y="32"/>
                      <a:pt x="14" y="32"/>
                    </a:cubicBezTo>
                    <a:cubicBezTo>
                      <a:pt x="14" y="33"/>
                      <a:pt x="15" y="33"/>
                      <a:pt x="15" y="33"/>
                    </a:cubicBezTo>
                    <a:cubicBezTo>
                      <a:pt x="15" y="33"/>
                      <a:pt x="15" y="33"/>
                      <a:pt x="16" y="33"/>
                    </a:cubicBezTo>
                    <a:cubicBezTo>
                      <a:pt x="16" y="33"/>
                      <a:pt x="17" y="33"/>
                      <a:pt x="17" y="33"/>
                    </a:cubicBezTo>
                    <a:cubicBezTo>
                      <a:pt x="18" y="33"/>
                      <a:pt x="18" y="32"/>
                      <a:pt x="18" y="32"/>
                    </a:cubicBezTo>
                    <a:cubicBezTo>
                      <a:pt x="18" y="31"/>
                      <a:pt x="18" y="30"/>
                      <a:pt x="18" y="29"/>
                    </a:cubicBezTo>
                    <a:cubicBezTo>
                      <a:pt x="17" y="29"/>
                      <a:pt x="17" y="29"/>
                      <a:pt x="17" y="29"/>
                    </a:cubicBezTo>
                    <a:cubicBezTo>
                      <a:pt x="16" y="29"/>
                      <a:pt x="16" y="29"/>
                      <a:pt x="16" y="29"/>
                    </a:cubicBezTo>
                    <a:cubicBezTo>
                      <a:pt x="15" y="28"/>
                      <a:pt x="16" y="28"/>
                      <a:pt x="16" y="28"/>
                    </a:cubicBezTo>
                    <a:cubicBezTo>
                      <a:pt x="16" y="27"/>
                      <a:pt x="16" y="27"/>
                      <a:pt x="15" y="27"/>
                    </a:cubicBezTo>
                    <a:cubicBezTo>
                      <a:pt x="15" y="26"/>
                      <a:pt x="14" y="27"/>
                      <a:pt x="14" y="27"/>
                    </a:cubicBezTo>
                    <a:cubicBezTo>
                      <a:pt x="13" y="27"/>
                      <a:pt x="12" y="28"/>
                      <a:pt x="12" y="28"/>
                    </a:cubicBezTo>
                    <a:cubicBezTo>
                      <a:pt x="12" y="28"/>
                      <a:pt x="12" y="27"/>
                      <a:pt x="11" y="27"/>
                    </a:cubicBezTo>
                    <a:cubicBezTo>
                      <a:pt x="11" y="27"/>
                      <a:pt x="11" y="28"/>
                      <a:pt x="11" y="29"/>
                    </a:cubicBezTo>
                    <a:cubicBezTo>
                      <a:pt x="11" y="29"/>
                      <a:pt x="11" y="29"/>
                      <a:pt x="12" y="30"/>
                    </a:cubicBezTo>
                    <a:cubicBezTo>
                      <a:pt x="12" y="30"/>
                      <a:pt x="12" y="30"/>
                      <a:pt x="12" y="30"/>
                    </a:cubicBezTo>
                    <a:cubicBezTo>
                      <a:pt x="12" y="31"/>
                      <a:pt x="12" y="31"/>
                      <a:pt x="12" y="31"/>
                    </a:cubicBezTo>
                    <a:cubicBezTo>
                      <a:pt x="12" y="31"/>
                      <a:pt x="13" y="31"/>
                      <a:pt x="13" y="32"/>
                    </a:cubicBezTo>
                    <a:cubicBezTo>
                      <a:pt x="13" y="32"/>
                      <a:pt x="13" y="32"/>
                      <a:pt x="13" y="32"/>
                    </a:cubicBezTo>
                    <a:close/>
                    <a:moveTo>
                      <a:pt x="22" y="31"/>
                    </a:moveTo>
                    <a:cubicBezTo>
                      <a:pt x="23" y="31"/>
                      <a:pt x="23" y="32"/>
                      <a:pt x="24" y="32"/>
                    </a:cubicBezTo>
                    <a:cubicBezTo>
                      <a:pt x="24" y="31"/>
                      <a:pt x="24" y="31"/>
                      <a:pt x="24" y="32"/>
                    </a:cubicBezTo>
                    <a:cubicBezTo>
                      <a:pt x="24" y="32"/>
                      <a:pt x="25" y="32"/>
                      <a:pt x="25" y="32"/>
                    </a:cubicBezTo>
                    <a:cubicBezTo>
                      <a:pt x="24" y="32"/>
                      <a:pt x="24" y="33"/>
                      <a:pt x="24" y="33"/>
                    </a:cubicBezTo>
                    <a:cubicBezTo>
                      <a:pt x="24" y="33"/>
                      <a:pt x="25" y="34"/>
                      <a:pt x="25" y="34"/>
                    </a:cubicBezTo>
                    <a:cubicBezTo>
                      <a:pt x="26" y="34"/>
                      <a:pt x="27" y="34"/>
                      <a:pt x="27" y="34"/>
                    </a:cubicBezTo>
                    <a:cubicBezTo>
                      <a:pt x="27" y="34"/>
                      <a:pt x="27" y="33"/>
                      <a:pt x="27" y="32"/>
                    </a:cubicBezTo>
                    <a:cubicBezTo>
                      <a:pt x="27" y="32"/>
                      <a:pt x="26" y="32"/>
                      <a:pt x="27" y="32"/>
                    </a:cubicBezTo>
                    <a:cubicBezTo>
                      <a:pt x="27" y="31"/>
                      <a:pt x="27" y="31"/>
                      <a:pt x="28" y="31"/>
                    </a:cubicBezTo>
                    <a:cubicBezTo>
                      <a:pt x="28" y="31"/>
                      <a:pt x="30" y="31"/>
                      <a:pt x="29" y="29"/>
                    </a:cubicBezTo>
                    <a:cubicBezTo>
                      <a:pt x="29" y="29"/>
                      <a:pt x="28" y="29"/>
                      <a:pt x="28" y="29"/>
                    </a:cubicBezTo>
                    <a:cubicBezTo>
                      <a:pt x="27" y="28"/>
                      <a:pt x="28" y="28"/>
                      <a:pt x="28" y="27"/>
                    </a:cubicBezTo>
                    <a:cubicBezTo>
                      <a:pt x="29" y="27"/>
                      <a:pt x="29" y="26"/>
                      <a:pt x="29" y="26"/>
                    </a:cubicBezTo>
                    <a:cubicBezTo>
                      <a:pt x="30" y="26"/>
                      <a:pt x="30" y="25"/>
                      <a:pt x="30" y="25"/>
                    </a:cubicBezTo>
                    <a:cubicBezTo>
                      <a:pt x="30" y="24"/>
                      <a:pt x="30" y="23"/>
                      <a:pt x="30" y="23"/>
                    </a:cubicBezTo>
                    <a:cubicBezTo>
                      <a:pt x="30" y="22"/>
                      <a:pt x="31" y="22"/>
                      <a:pt x="30" y="21"/>
                    </a:cubicBezTo>
                    <a:cubicBezTo>
                      <a:pt x="30" y="21"/>
                      <a:pt x="29" y="21"/>
                      <a:pt x="29" y="20"/>
                    </a:cubicBezTo>
                    <a:cubicBezTo>
                      <a:pt x="28" y="20"/>
                      <a:pt x="27" y="21"/>
                      <a:pt x="27" y="21"/>
                    </a:cubicBezTo>
                    <a:cubicBezTo>
                      <a:pt x="26" y="22"/>
                      <a:pt x="25" y="22"/>
                      <a:pt x="25" y="23"/>
                    </a:cubicBezTo>
                    <a:cubicBezTo>
                      <a:pt x="25" y="23"/>
                      <a:pt x="26" y="23"/>
                      <a:pt x="26" y="24"/>
                    </a:cubicBezTo>
                    <a:cubicBezTo>
                      <a:pt x="26" y="24"/>
                      <a:pt x="26" y="24"/>
                      <a:pt x="25" y="24"/>
                    </a:cubicBezTo>
                    <a:cubicBezTo>
                      <a:pt x="25" y="25"/>
                      <a:pt x="25" y="25"/>
                      <a:pt x="25" y="25"/>
                    </a:cubicBezTo>
                    <a:cubicBezTo>
                      <a:pt x="25" y="26"/>
                      <a:pt x="25" y="26"/>
                      <a:pt x="25" y="26"/>
                    </a:cubicBezTo>
                    <a:cubicBezTo>
                      <a:pt x="24" y="25"/>
                      <a:pt x="24" y="25"/>
                      <a:pt x="24" y="25"/>
                    </a:cubicBezTo>
                    <a:cubicBezTo>
                      <a:pt x="24" y="25"/>
                      <a:pt x="25" y="25"/>
                      <a:pt x="25" y="24"/>
                    </a:cubicBezTo>
                    <a:cubicBezTo>
                      <a:pt x="24" y="24"/>
                      <a:pt x="24" y="25"/>
                      <a:pt x="24" y="24"/>
                    </a:cubicBezTo>
                    <a:cubicBezTo>
                      <a:pt x="24" y="24"/>
                      <a:pt x="24" y="24"/>
                      <a:pt x="24" y="24"/>
                    </a:cubicBezTo>
                    <a:cubicBezTo>
                      <a:pt x="24" y="24"/>
                      <a:pt x="24" y="23"/>
                      <a:pt x="24" y="23"/>
                    </a:cubicBezTo>
                    <a:cubicBezTo>
                      <a:pt x="24" y="23"/>
                      <a:pt x="25" y="23"/>
                      <a:pt x="25" y="22"/>
                    </a:cubicBezTo>
                    <a:cubicBezTo>
                      <a:pt x="24" y="22"/>
                      <a:pt x="23" y="22"/>
                      <a:pt x="23" y="22"/>
                    </a:cubicBezTo>
                    <a:cubicBezTo>
                      <a:pt x="22" y="22"/>
                      <a:pt x="21" y="22"/>
                      <a:pt x="21" y="22"/>
                    </a:cubicBezTo>
                    <a:cubicBezTo>
                      <a:pt x="21" y="23"/>
                      <a:pt x="24" y="22"/>
                      <a:pt x="22" y="24"/>
                    </a:cubicBezTo>
                    <a:cubicBezTo>
                      <a:pt x="22" y="24"/>
                      <a:pt x="22" y="24"/>
                      <a:pt x="22" y="24"/>
                    </a:cubicBezTo>
                    <a:cubicBezTo>
                      <a:pt x="22" y="24"/>
                      <a:pt x="22" y="25"/>
                      <a:pt x="22" y="25"/>
                    </a:cubicBezTo>
                    <a:cubicBezTo>
                      <a:pt x="22" y="25"/>
                      <a:pt x="22" y="25"/>
                      <a:pt x="21" y="25"/>
                    </a:cubicBezTo>
                    <a:cubicBezTo>
                      <a:pt x="21" y="25"/>
                      <a:pt x="21" y="25"/>
                      <a:pt x="21" y="25"/>
                    </a:cubicBezTo>
                    <a:cubicBezTo>
                      <a:pt x="20" y="26"/>
                      <a:pt x="20" y="25"/>
                      <a:pt x="20" y="25"/>
                    </a:cubicBezTo>
                    <a:cubicBezTo>
                      <a:pt x="20" y="25"/>
                      <a:pt x="19" y="25"/>
                      <a:pt x="19" y="25"/>
                    </a:cubicBezTo>
                    <a:cubicBezTo>
                      <a:pt x="19" y="26"/>
                      <a:pt x="19" y="26"/>
                      <a:pt x="19" y="26"/>
                    </a:cubicBezTo>
                    <a:cubicBezTo>
                      <a:pt x="19" y="26"/>
                      <a:pt x="19" y="26"/>
                      <a:pt x="20" y="26"/>
                    </a:cubicBezTo>
                    <a:cubicBezTo>
                      <a:pt x="20" y="26"/>
                      <a:pt x="20" y="27"/>
                      <a:pt x="20" y="27"/>
                    </a:cubicBezTo>
                    <a:cubicBezTo>
                      <a:pt x="20" y="27"/>
                      <a:pt x="20" y="27"/>
                      <a:pt x="20" y="27"/>
                    </a:cubicBezTo>
                    <a:cubicBezTo>
                      <a:pt x="20" y="28"/>
                      <a:pt x="20" y="27"/>
                      <a:pt x="20" y="28"/>
                    </a:cubicBezTo>
                    <a:cubicBezTo>
                      <a:pt x="20" y="28"/>
                      <a:pt x="21" y="28"/>
                      <a:pt x="21" y="29"/>
                    </a:cubicBezTo>
                    <a:cubicBezTo>
                      <a:pt x="21" y="29"/>
                      <a:pt x="20" y="29"/>
                      <a:pt x="20" y="30"/>
                    </a:cubicBezTo>
                    <a:cubicBezTo>
                      <a:pt x="21" y="30"/>
                      <a:pt x="21" y="31"/>
                      <a:pt x="21" y="31"/>
                    </a:cubicBezTo>
                    <a:cubicBezTo>
                      <a:pt x="22" y="31"/>
                      <a:pt x="22" y="31"/>
                      <a:pt x="22" y="31"/>
                    </a:cubicBezTo>
                    <a:close/>
                    <a:moveTo>
                      <a:pt x="19" y="33"/>
                    </a:moveTo>
                    <a:cubicBezTo>
                      <a:pt x="19" y="33"/>
                      <a:pt x="19" y="33"/>
                      <a:pt x="19" y="33"/>
                    </a:cubicBezTo>
                    <a:cubicBezTo>
                      <a:pt x="19" y="33"/>
                      <a:pt x="18" y="34"/>
                      <a:pt x="18" y="34"/>
                    </a:cubicBezTo>
                    <a:cubicBezTo>
                      <a:pt x="17" y="35"/>
                      <a:pt x="17" y="35"/>
                      <a:pt x="17" y="36"/>
                    </a:cubicBezTo>
                    <a:cubicBezTo>
                      <a:pt x="17" y="37"/>
                      <a:pt x="17" y="37"/>
                      <a:pt x="18" y="36"/>
                    </a:cubicBezTo>
                    <a:cubicBezTo>
                      <a:pt x="18" y="35"/>
                      <a:pt x="19" y="34"/>
                      <a:pt x="19" y="34"/>
                    </a:cubicBezTo>
                    <a:cubicBezTo>
                      <a:pt x="19" y="34"/>
                      <a:pt x="19" y="34"/>
                      <a:pt x="19" y="33"/>
                    </a:cubicBezTo>
                    <a:close/>
                    <a:moveTo>
                      <a:pt x="12" y="34"/>
                    </a:moveTo>
                    <a:cubicBezTo>
                      <a:pt x="12" y="35"/>
                      <a:pt x="11" y="35"/>
                      <a:pt x="12" y="35"/>
                    </a:cubicBezTo>
                    <a:cubicBezTo>
                      <a:pt x="12" y="35"/>
                      <a:pt x="13" y="35"/>
                      <a:pt x="13" y="35"/>
                    </a:cubicBezTo>
                    <a:cubicBezTo>
                      <a:pt x="13" y="34"/>
                      <a:pt x="12" y="33"/>
                      <a:pt x="11" y="33"/>
                    </a:cubicBezTo>
                    <a:cubicBezTo>
                      <a:pt x="11" y="33"/>
                      <a:pt x="11" y="32"/>
                      <a:pt x="10" y="33"/>
                    </a:cubicBezTo>
                    <a:cubicBezTo>
                      <a:pt x="10" y="33"/>
                      <a:pt x="11" y="34"/>
                      <a:pt x="12" y="34"/>
                    </a:cubicBezTo>
                    <a:cubicBezTo>
                      <a:pt x="12" y="35"/>
                      <a:pt x="11" y="34"/>
                      <a:pt x="12" y="34"/>
                    </a:cubicBezTo>
                    <a:close/>
                    <a:moveTo>
                      <a:pt x="14" y="35"/>
                    </a:moveTo>
                    <a:cubicBezTo>
                      <a:pt x="14" y="35"/>
                      <a:pt x="15" y="35"/>
                      <a:pt x="15" y="35"/>
                    </a:cubicBezTo>
                    <a:cubicBezTo>
                      <a:pt x="15" y="36"/>
                      <a:pt x="16" y="36"/>
                      <a:pt x="16" y="36"/>
                    </a:cubicBezTo>
                    <a:cubicBezTo>
                      <a:pt x="16" y="35"/>
                      <a:pt x="14" y="34"/>
                      <a:pt x="14" y="35"/>
                    </a:cubicBezTo>
                    <a:cubicBezTo>
                      <a:pt x="14" y="35"/>
                      <a:pt x="14" y="34"/>
                      <a:pt x="14" y="35"/>
                    </a:cubicBezTo>
                    <a:close/>
                    <a:moveTo>
                      <a:pt x="16" y="24"/>
                    </a:moveTo>
                    <a:cubicBezTo>
                      <a:pt x="16" y="25"/>
                      <a:pt x="17" y="25"/>
                      <a:pt x="17" y="24"/>
                    </a:cubicBezTo>
                    <a:cubicBezTo>
                      <a:pt x="17" y="24"/>
                      <a:pt x="17" y="24"/>
                      <a:pt x="17" y="23"/>
                    </a:cubicBezTo>
                    <a:cubicBezTo>
                      <a:pt x="17" y="23"/>
                      <a:pt x="16" y="22"/>
                      <a:pt x="16" y="22"/>
                    </a:cubicBezTo>
                    <a:cubicBezTo>
                      <a:pt x="16" y="22"/>
                      <a:pt x="16" y="23"/>
                      <a:pt x="16" y="24"/>
                    </a:cubicBezTo>
                    <a:cubicBezTo>
                      <a:pt x="16" y="24"/>
                      <a:pt x="16" y="23"/>
                      <a:pt x="16" y="24"/>
                    </a:cubicBezTo>
                    <a:close/>
                    <a:moveTo>
                      <a:pt x="17" y="27"/>
                    </a:moveTo>
                    <a:cubicBezTo>
                      <a:pt x="17" y="27"/>
                      <a:pt x="16" y="29"/>
                      <a:pt x="17" y="28"/>
                    </a:cubicBezTo>
                    <a:cubicBezTo>
                      <a:pt x="18" y="28"/>
                      <a:pt x="18" y="27"/>
                      <a:pt x="17" y="27"/>
                    </a:cubicBezTo>
                    <a:cubicBezTo>
                      <a:pt x="17" y="27"/>
                      <a:pt x="17" y="27"/>
                      <a:pt x="17" y="27"/>
                    </a:cubicBezTo>
                    <a:close/>
                    <a:moveTo>
                      <a:pt x="27" y="35"/>
                    </a:moveTo>
                    <a:cubicBezTo>
                      <a:pt x="28" y="36"/>
                      <a:pt x="28" y="34"/>
                      <a:pt x="29" y="34"/>
                    </a:cubicBezTo>
                    <a:cubicBezTo>
                      <a:pt x="29" y="34"/>
                      <a:pt x="30" y="35"/>
                      <a:pt x="30" y="34"/>
                    </a:cubicBezTo>
                    <a:cubicBezTo>
                      <a:pt x="29" y="33"/>
                      <a:pt x="28" y="33"/>
                      <a:pt x="28" y="33"/>
                    </a:cubicBezTo>
                    <a:cubicBezTo>
                      <a:pt x="28" y="33"/>
                      <a:pt x="28" y="34"/>
                      <a:pt x="28" y="34"/>
                    </a:cubicBezTo>
                    <a:cubicBezTo>
                      <a:pt x="27" y="34"/>
                      <a:pt x="27" y="34"/>
                      <a:pt x="27" y="35"/>
                    </a:cubicBezTo>
                    <a:cubicBezTo>
                      <a:pt x="27" y="35"/>
                      <a:pt x="27" y="34"/>
                      <a:pt x="27" y="35"/>
                    </a:cubicBezTo>
                    <a:close/>
                    <a:moveTo>
                      <a:pt x="24" y="35"/>
                    </a:moveTo>
                    <a:cubicBezTo>
                      <a:pt x="24" y="35"/>
                      <a:pt x="25" y="36"/>
                      <a:pt x="25" y="37"/>
                    </a:cubicBezTo>
                    <a:cubicBezTo>
                      <a:pt x="25" y="37"/>
                      <a:pt x="25" y="38"/>
                      <a:pt x="25" y="38"/>
                    </a:cubicBezTo>
                    <a:cubicBezTo>
                      <a:pt x="25" y="38"/>
                      <a:pt x="25" y="39"/>
                      <a:pt x="26" y="39"/>
                    </a:cubicBezTo>
                    <a:cubicBezTo>
                      <a:pt x="26" y="39"/>
                      <a:pt x="26" y="37"/>
                      <a:pt x="26" y="37"/>
                    </a:cubicBezTo>
                    <a:cubicBezTo>
                      <a:pt x="26" y="37"/>
                      <a:pt x="27" y="36"/>
                      <a:pt x="27" y="36"/>
                    </a:cubicBezTo>
                    <a:cubicBezTo>
                      <a:pt x="27" y="35"/>
                      <a:pt x="26" y="35"/>
                      <a:pt x="26" y="35"/>
                    </a:cubicBezTo>
                    <a:cubicBezTo>
                      <a:pt x="25" y="35"/>
                      <a:pt x="25" y="34"/>
                      <a:pt x="25" y="34"/>
                    </a:cubicBezTo>
                    <a:cubicBezTo>
                      <a:pt x="24" y="34"/>
                      <a:pt x="24" y="34"/>
                      <a:pt x="24" y="35"/>
                    </a:cubicBezTo>
                    <a:close/>
                    <a:moveTo>
                      <a:pt x="21" y="34"/>
                    </a:moveTo>
                    <a:cubicBezTo>
                      <a:pt x="20" y="34"/>
                      <a:pt x="20" y="34"/>
                      <a:pt x="20" y="35"/>
                    </a:cubicBezTo>
                    <a:cubicBezTo>
                      <a:pt x="19" y="35"/>
                      <a:pt x="20" y="35"/>
                      <a:pt x="20" y="35"/>
                    </a:cubicBezTo>
                    <a:cubicBezTo>
                      <a:pt x="20" y="36"/>
                      <a:pt x="20" y="36"/>
                      <a:pt x="20" y="36"/>
                    </a:cubicBezTo>
                    <a:cubicBezTo>
                      <a:pt x="20" y="36"/>
                      <a:pt x="19" y="36"/>
                      <a:pt x="20" y="37"/>
                    </a:cubicBezTo>
                    <a:cubicBezTo>
                      <a:pt x="20" y="37"/>
                      <a:pt x="20" y="37"/>
                      <a:pt x="21" y="37"/>
                    </a:cubicBezTo>
                    <a:cubicBezTo>
                      <a:pt x="21" y="37"/>
                      <a:pt x="21" y="37"/>
                      <a:pt x="22" y="38"/>
                    </a:cubicBezTo>
                    <a:cubicBezTo>
                      <a:pt x="22" y="38"/>
                      <a:pt x="22" y="38"/>
                      <a:pt x="22" y="38"/>
                    </a:cubicBezTo>
                    <a:cubicBezTo>
                      <a:pt x="23" y="38"/>
                      <a:pt x="23" y="38"/>
                      <a:pt x="23" y="38"/>
                    </a:cubicBezTo>
                    <a:cubicBezTo>
                      <a:pt x="24" y="38"/>
                      <a:pt x="25" y="38"/>
                      <a:pt x="25" y="37"/>
                    </a:cubicBezTo>
                    <a:cubicBezTo>
                      <a:pt x="25" y="37"/>
                      <a:pt x="24" y="35"/>
                      <a:pt x="24" y="35"/>
                    </a:cubicBezTo>
                    <a:cubicBezTo>
                      <a:pt x="23" y="35"/>
                      <a:pt x="23" y="36"/>
                      <a:pt x="23" y="36"/>
                    </a:cubicBezTo>
                    <a:cubicBezTo>
                      <a:pt x="22" y="36"/>
                      <a:pt x="22" y="35"/>
                      <a:pt x="22" y="35"/>
                    </a:cubicBezTo>
                    <a:cubicBezTo>
                      <a:pt x="22" y="35"/>
                      <a:pt x="21" y="35"/>
                      <a:pt x="21" y="34"/>
                    </a:cubicBezTo>
                    <a:cubicBezTo>
                      <a:pt x="21" y="34"/>
                      <a:pt x="21" y="34"/>
                      <a:pt x="21" y="34"/>
                    </a:cubicBezTo>
                    <a:close/>
                    <a:moveTo>
                      <a:pt x="44" y="33"/>
                    </a:moveTo>
                    <a:cubicBezTo>
                      <a:pt x="45" y="33"/>
                      <a:pt x="45" y="33"/>
                      <a:pt x="46" y="33"/>
                    </a:cubicBezTo>
                    <a:cubicBezTo>
                      <a:pt x="46" y="33"/>
                      <a:pt x="46" y="34"/>
                      <a:pt x="47" y="34"/>
                    </a:cubicBezTo>
                    <a:cubicBezTo>
                      <a:pt x="47" y="34"/>
                      <a:pt x="47" y="33"/>
                      <a:pt x="47" y="33"/>
                    </a:cubicBezTo>
                    <a:cubicBezTo>
                      <a:pt x="47" y="33"/>
                      <a:pt x="47" y="32"/>
                      <a:pt x="47" y="32"/>
                    </a:cubicBezTo>
                    <a:cubicBezTo>
                      <a:pt x="47" y="32"/>
                      <a:pt x="46" y="31"/>
                      <a:pt x="46" y="31"/>
                    </a:cubicBezTo>
                    <a:cubicBezTo>
                      <a:pt x="46" y="31"/>
                      <a:pt x="45" y="30"/>
                      <a:pt x="45" y="30"/>
                    </a:cubicBezTo>
                    <a:cubicBezTo>
                      <a:pt x="45" y="30"/>
                      <a:pt x="44" y="31"/>
                      <a:pt x="44" y="31"/>
                    </a:cubicBezTo>
                    <a:cubicBezTo>
                      <a:pt x="44" y="31"/>
                      <a:pt x="44" y="31"/>
                      <a:pt x="44" y="32"/>
                    </a:cubicBezTo>
                    <a:cubicBezTo>
                      <a:pt x="44" y="32"/>
                      <a:pt x="44" y="32"/>
                      <a:pt x="44" y="32"/>
                    </a:cubicBezTo>
                    <a:cubicBezTo>
                      <a:pt x="44" y="32"/>
                      <a:pt x="44" y="33"/>
                      <a:pt x="44" y="33"/>
                    </a:cubicBezTo>
                    <a:close/>
                    <a:moveTo>
                      <a:pt x="6" y="35"/>
                    </a:moveTo>
                    <a:cubicBezTo>
                      <a:pt x="6" y="35"/>
                      <a:pt x="7" y="35"/>
                      <a:pt x="7" y="36"/>
                    </a:cubicBezTo>
                    <a:cubicBezTo>
                      <a:pt x="7" y="36"/>
                      <a:pt x="7" y="36"/>
                      <a:pt x="7" y="36"/>
                    </a:cubicBezTo>
                    <a:cubicBezTo>
                      <a:pt x="8" y="36"/>
                      <a:pt x="9" y="36"/>
                      <a:pt x="9" y="36"/>
                    </a:cubicBezTo>
                    <a:cubicBezTo>
                      <a:pt x="9" y="36"/>
                      <a:pt x="10" y="35"/>
                      <a:pt x="10" y="35"/>
                    </a:cubicBezTo>
                    <a:cubicBezTo>
                      <a:pt x="10" y="35"/>
                      <a:pt x="10" y="35"/>
                      <a:pt x="10" y="35"/>
                    </a:cubicBezTo>
                    <a:cubicBezTo>
                      <a:pt x="11" y="35"/>
                      <a:pt x="10" y="35"/>
                      <a:pt x="11" y="35"/>
                    </a:cubicBezTo>
                    <a:cubicBezTo>
                      <a:pt x="11" y="35"/>
                      <a:pt x="11" y="34"/>
                      <a:pt x="11" y="34"/>
                    </a:cubicBezTo>
                    <a:cubicBezTo>
                      <a:pt x="11" y="33"/>
                      <a:pt x="10" y="33"/>
                      <a:pt x="9" y="33"/>
                    </a:cubicBezTo>
                    <a:cubicBezTo>
                      <a:pt x="9" y="33"/>
                      <a:pt x="10" y="32"/>
                      <a:pt x="9" y="32"/>
                    </a:cubicBezTo>
                    <a:cubicBezTo>
                      <a:pt x="9" y="31"/>
                      <a:pt x="10" y="32"/>
                      <a:pt x="11" y="31"/>
                    </a:cubicBezTo>
                    <a:cubicBezTo>
                      <a:pt x="11" y="31"/>
                      <a:pt x="10" y="30"/>
                      <a:pt x="10" y="30"/>
                    </a:cubicBezTo>
                    <a:cubicBezTo>
                      <a:pt x="10" y="30"/>
                      <a:pt x="10" y="29"/>
                      <a:pt x="10" y="29"/>
                    </a:cubicBezTo>
                    <a:cubicBezTo>
                      <a:pt x="10" y="29"/>
                      <a:pt x="10" y="29"/>
                      <a:pt x="10" y="29"/>
                    </a:cubicBezTo>
                    <a:cubicBezTo>
                      <a:pt x="10" y="28"/>
                      <a:pt x="10" y="28"/>
                      <a:pt x="10" y="28"/>
                    </a:cubicBezTo>
                    <a:cubicBezTo>
                      <a:pt x="9" y="28"/>
                      <a:pt x="9" y="28"/>
                      <a:pt x="9" y="28"/>
                    </a:cubicBezTo>
                    <a:cubicBezTo>
                      <a:pt x="10" y="28"/>
                      <a:pt x="10" y="28"/>
                      <a:pt x="11" y="27"/>
                    </a:cubicBezTo>
                    <a:cubicBezTo>
                      <a:pt x="11" y="27"/>
                      <a:pt x="11" y="27"/>
                      <a:pt x="12" y="27"/>
                    </a:cubicBezTo>
                    <a:cubicBezTo>
                      <a:pt x="12" y="26"/>
                      <a:pt x="10" y="26"/>
                      <a:pt x="10" y="26"/>
                    </a:cubicBezTo>
                    <a:cubicBezTo>
                      <a:pt x="10" y="25"/>
                      <a:pt x="11" y="26"/>
                      <a:pt x="11" y="26"/>
                    </a:cubicBezTo>
                    <a:cubicBezTo>
                      <a:pt x="11" y="26"/>
                      <a:pt x="12" y="26"/>
                      <a:pt x="12" y="25"/>
                    </a:cubicBezTo>
                    <a:cubicBezTo>
                      <a:pt x="12" y="25"/>
                      <a:pt x="13" y="25"/>
                      <a:pt x="13" y="25"/>
                    </a:cubicBezTo>
                    <a:cubicBezTo>
                      <a:pt x="13" y="25"/>
                      <a:pt x="13" y="24"/>
                      <a:pt x="13" y="24"/>
                    </a:cubicBezTo>
                    <a:cubicBezTo>
                      <a:pt x="13" y="24"/>
                      <a:pt x="12" y="24"/>
                      <a:pt x="12" y="24"/>
                    </a:cubicBezTo>
                    <a:cubicBezTo>
                      <a:pt x="13" y="24"/>
                      <a:pt x="13" y="23"/>
                      <a:pt x="14" y="24"/>
                    </a:cubicBezTo>
                    <a:cubicBezTo>
                      <a:pt x="14" y="24"/>
                      <a:pt x="14" y="22"/>
                      <a:pt x="14" y="22"/>
                    </a:cubicBezTo>
                    <a:cubicBezTo>
                      <a:pt x="14" y="21"/>
                      <a:pt x="14" y="20"/>
                      <a:pt x="15" y="19"/>
                    </a:cubicBezTo>
                    <a:cubicBezTo>
                      <a:pt x="15" y="19"/>
                      <a:pt x="15" y="18"/>
                      <a:pt x="16" y="19"/>
                    </a:cubicBezTo>
                    <a:cubicBezTo>
                      <a:pt x="16" y="19"/>
                      <a:pt x="15" y="19"/>
                      <a:pt x="15" y="20"/>
                    </a:cubicBezTo>
                    <a:cubicBezTo>
                      <a:pt x="16" y="20"/>
                      <a:pt x="16" y="20"/>
                      <a:pt x="16" y="20"/>
                    </a:cubicBezTo>
                    <a:cubicBezTo>
                      <a:pt x="16" y="22"/>
                      <a:pt x="16" y="19"/>
                      <a:pt x="17" y="19"/>
                    </a:cubicBezTo>
                    <a:cubicBezTo>
                      <a:pt x="17" y="19"/>
                      <a:pt x="17" y="19"/>
                      <a:pt x="17" y="20"/>
                    </a:cubicBezTo>
                    <a:cubicBezTo>
                      <a:pt x="18" y="20"/>
                      <a:pt x="18" y="20"/>
                      <a:pt x="18" y="20"/>
                    </a:cubicBezTo>
                    <a:cubicBezTo>
                      <a:pt x="18" y="19"/>
                      <a:pt x="19" y="18"/>
                      <a:pt x="19" y="17"/>
                    </a:cubicBezTo>
                    <a:cubicBezTo>
                      <a:pt x="19" y="16"/>
                      <a:pt x="18" y="16"/>
                      <a:pt x="17" y="16"/>
                    </a:cubicBezTo>
                    <a:cubicBezTo>
                      <a:pt x="17" y="16"/>
                      <a:pt x="16" y="16"/>
                      <a:pt x="16" y="16"/>
                    </a:cubicBezTo>
                    <a:cubicBezTo>
                      <a:pt x="16" y="16"/>
                      <a:pt x="16" y="16"/>
                      <a:pt x="15" y="15"/>
                    </a:cubicBezTo>
                    <a:cubicBezTo>
                      <a:pt x="15" y="15"/>
                      <a:pt x="15" y="15"/>
                      <a:pt x="15" y="15"/>
                    </a:cubicBezTo>
                    <a:cubicBezTo>
                      <a:pt x="14" y="15"/>
                      <a:pt x="14" y="16"/>
                      <a:pt x="14" y="16"/>
                    </a:cubicBezTo>
                    <a:cubicBezTo>
                      <a:pt x="14" y="15"/>
                      <a:pt x="16" y="14"/>
                      <a:pt x="15" y="13"/>
                    </a:cubicBezTo>
                    <a:cubicBezTo>
                      <a:pt x="14" y="13"/>
                      <a:pt x="14" y="13"/>
                      <a:pt x="13" y="14"/>
                    </a:cubicBezTo>
                    <a:cubicBezTo>
                      <a:pt x="13" y="14"/>
                      <a:pt x="12" y="14"/>
                      <a:pt x="12" y="14"/>
                    </a:cubicBezTo>
                    <a:cubicBezTo>
                      <a:pt x="12" y="14"/>
                      <a:pt x="13" y="14"/>
                      <a:pt x="13" y="13"/>
                    </a:cubicBezTo>
                    <a:cubicBezTo>
                      <a:pt x="14" y="13"/>
                      <a:pt x="14" y="13"/>
                      <a:pt x="15" y="13"/>
                    </a:cubicBezTo>
                    <a:cubicBezTo>
                      <a:pt x="15" y="12"/>
                      <a:pt x="15" y="11"/>
                      <a:pt x="15" y="10"/>
                    </a:cubicBezTo>
                    <a:cubicBezTo>
                      <a:pt x="14" y="10"/>
                      <a:pt x="14" y="9"/>
                      <a:pt x="13" y="9"/>
                    </a:cubicBezTo>
                    <a:cubicBezTo>
                      <a:pt x="12" y="9"/>
                      <a:pt x="12" y="9"/>
                      <a:pt x="11" y="9"/>
                    </a:cubicBezTo>
                    <a:cubicBezTo>
                      <a:pt x="11" y="9"/>
                      <a:pt x="11" y="10"/>
                      <a:pt x="10" y="10"/>
                    </a:cubicBezTo>
                    <a:cubicBezTo>
                      <a:pt x="10" y="10"/>
                      <a:pt x="10" y="10"/>
                      <a:pt x="10" y="10"/>
                    </a:cubicBezTo>
                    <a:cubicBezTo>
                      <a:pt x="8" y="9"/>
                      <a:pt x="7" y="10"/>
                      <a:pt x="7" y="12"/>
                    </a:cubicBezTo>
                    <a:cubicBezTo>
                      <a:pt x="7" y="13"/>
                      <a:pt x="8" y="13"/>
                      <a:pt x="8" y="14"/>
                    </a:cubicBezTo>
                    <a:cubicBezTo>
                      <a:pt x="8" y="14"/>
                      <a:pt x="8" y="16"/>
                      <a:pt x="8" y="15"/>
                    </a:cubicBezTo>
                    <a:cubicBezTo>
                      <a:pt x="7" y="15"/>
                      <a:pt x="8" y="14"/>
                      <a:pt x="7" y="14"/>
                    </a:cubicBezTo>
                    <a:cubicBezTo>
                      <a:pt x="7" y="14"/>
                      <a:pt x="6" y="16"/>
                      <a:pt x="6" y="15"/>
                    </a:cubicBezTo>
                    <a:cubicBezTo>
                      <a:pt x="6" y="14"/>
                      <a:pt x="7" y="13"/>
                      <a:pt x="7" y="13"/>
                    </a:cubicBezTo>
                    <a:cubicBezTo>
                      <a:pt x="7" y="12"/>
                      <a:pt x="6" y="12"/>
                      <a:pt x="6" y="12"/>
                    </a:cubicBezTo>
                    <a:cubicBezTo>
                      <a:pt x="5" y="13"/>
                      <a:pt x="5" y="13"/>
                      <a:pt x="5" y="14"/>
                    </a:cubicBezTo>
                    <a:cubicBezTo>
                      <a:pt x="4" y="14"/>
                      <a:pt x="4" y="14"/>
                      <a:pt x="4" y="15"/>
                    </a:cubicBezTo>
                    <a:cubicBezTo>
                      <a:pt x="4" y="15"/>
                      <a:pt x="4" y="15"/>
                      <a:pt x="5" y="16"/>
                    </a:cubicBezTo>
                    <a:cubicBezTo>
                      <a:pt x="5" y="16"/>
                      <a:pt x="4" y="16"/>
                      <a:pt x="3" y="16"/>
                    </a:cubicBezTo>
                    <a:cubicBezTo>
                      <a:pt x="3" y="15"/>
                      <a:pt x="3" y="15"/>
                      <a:pt x="3" y="14"/>
                    </a:cubicBezTo>
                    <a:cubicBezTo>
                      <a:pt x="2" y="14"/>
                      <a:pt x="3" y="14"/>
                      <a:pt x="3" y="15"/>
                    </a:cubicBezTo>
                    <a:cubicBezTo>
                      <a:pt x="3" y="15"/>
                      <a:pt x="2" y="15"/>
                      <a:pt x="2" y="15"/>
                    </a:cubicBezTo>
                    <a:cubicBezTo>
                      <a:pt x="2" y="15"/>
                      <a:pt x="1" y="15"/>
                      <a:pt x="1" y="15"/>
                    </a:cubicBezTo>
                    <a:cubicBezTo>
                      <a:pt x="1" y="15"/>
                      <a:pt x="1" y="14"/>
                      <a:pt x="1" y="14"/>
                    </a:cubicBezTo>
                    <a:cubicBezTo>
                      <a:pt x="0" y="14"/>
                      <a:pt x="0" y="15"/>
                      <a:pt x="0" y="15"/>
                    </a:cubicBezTo>
                    <a:cubicBezTo>
                      <a:pt x="0" y="16"/>
                      <a:pt x="0" y="17"/>
                      <a:pt x="0" y="18"/>
                    </a:cubicBezTo>
                    <a:cubicBezTo>
                      <a:pt x="0" y="19"/>
                      <a:pt x="0" y="20"/>
                      <a:pt x="0" y="21"/>
                    </a:cubicBezTo>
                    <a:cubicBezTo>
                      <a:pt x="1" y="21"/>
                      <a:pt x="1" y="21"/>
                      <a:pt x="1" y="21"/>
                    </a:cubicBezTo>
                    <a:cubicBezTo>
                      <a:pt x="1" y="22"/>
                      <a:pt x="1" y="22"/>
                      <a:pt x="1" y="22"/>
                    </a:cubicBezTo>
                    <a:cubicBezTo>
                      <a:pt x="2" y="23"/>
                      <a:pt x="2" y="23"/>
                      <a:pt x="2" y="23"/>
                    </a:cubicBezTo>
                    <a:cubicBezTo>
                      <a:pt x="1" y="24"/>
                      <a:pt x="1" y="24"/>
                      <a:pt x="1" y="24"/>
                    </a:cubicBezTo>
                    <a:cubicBezTo>
                      <a:pt x="1" y="24"/>
                      <a:pt x="1" y="24"/>
                      <a:pt x="1" y="24"/>
                    </a:cubicBezTo>
                    <a:cubicBezTo>
                      <a:pt x="0" y="23"/>
                      <a:pt x="1" y="23"/>
                      <a:pt x="0" y="23"/>
                    </a:cubicBezTo>
                    <a:cubicBezTo>
                      <a:pt x="0" y="22"/>
                      <a:pt x="0" y="21"/>
                      <a:pt x="0" y="21"/>
                    </a:cubicBezTo>
                    <a:cubicBezTo>
                      <a:pt x="0" y="21"/>
                      <a:pt x="0" y="22"/>
                      <a:pt x="0" y="22"/>
                    </a:cubicBezTo>
                    <a:cubicBezTo>
                      <a:pt x="0" y="23"/>
                      <a:pt x="0" y="23"/>
                      <a:pt x="0" y="24"/>
                    </a:cubicBezTo>
                    <a:cubicBezTo>
                      <a:pt x="0" y="24"/>
                      <a:pt x="0" y="25"/>
                      <a:pt x="0" y="26"/>
                    </a:cubicBezTo>
                    <a:cubicBezTo>
                      <a:pt x="0" y="26"/>
                      <a:pt x="0" y="27"/>
                      <a:pt x="0" y="28"/>
                    </a:cubicBezTo>
                    <a:cubicBezTo>
                      <a:pt x="0" y="28"/>
                      <a:pt x="1" y="28"/>
                      <a:pt x="1" y="28"/>
                    </a:cubicBezTo>
                    <a:cubicBezTo>
                      <a:pt x="1" y="28"/>
                      <a:pt x="1" y="27"/>
                      <a:pt x="1" y="27"/>
                    </a:cubicBezTo>
                    <a:cubicBezTo>
                      <a:pt x="1" y="27"/>
                      <a:pt x="1" y="27"/>
                      <a:pt x="2" y="27"/>
                    </a:cubicBezTo>
                    <a:cubicBezTo>
                      <a:pt x="2" y="28"/>
                      <a:pt x="2" y="28"/>
                      <a:pt x="2" y="29"/>
                    </a:cubicBezTo>
                    <a:cubicBezTo>
                      <a:pt x="2" y="29"/>
                      <a:pt x="2" y="29"/>
                      <a:pt x="2" y="30"/>
                    </a:cubicBezTo>
                    <a:cubicBezTo>
                      <a:pt x="2" y="29"/>
                      <a:pt x="2" y="28"/>
                      <a:pt x="3" y="29"/>
                    </a:cubicBezTo>
                    <a:cubicBezTo>
                      <a:pt x="4" y="29"/>
                      <a:pt x="4" y="30"/>
                      <a:pt x="4" y="30"/>
                    </a:cubicBezTo>
                    <a:cubicBezTo>
                      <a:pt x="4" y="31"/>
                      <a:pt x="4" y="32"/>
                      <a:pt x="4" y="33"/>
                    </a:cubicBezTo>
                    <a:cubicBezTo>
                      <a:pt x="4" y="33"/>
                      <a:pt x="4" y="35"/>
                      <a:pt x="4" y="35"/>
                    </a:cubicBezTo>
                    <a:cubicBezTo>
                      <a:pt x="4" y="35"/>
                      <a:pt x="5" y="35"/>
                      <a:pt x="6"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1" name="Freeform 816">
                <a:extLst>
                  <a:ext uri="{FF2B5EF4-FFF2-40B4-BE49-F238E27FC236}">
                    <a16:creationId xmlns:a16="http://schemas.microsoft.com/office/drawing/2014/main" id="{71412F44-5C50-F61E-6A97-D622FB5A29B3}"/>
                  </a:ext>
                </a:extLst>
              </p:cNvPr>
              <p:cNvSpPr>
                <a:spLocks/>
              </p:cNvSpPr>
              <p:nvPr/>
            </p:nvSpPr>
            <p:spPr bwMode="auto">
              <a:xfrm>
                <a:off x="5716588" y="3208338"/>
                <a:ext cx="192087" cy="112713"/>
              </a:xfrm>
              <a:custGeom>
                <a:avLst/>
                <a:gdLst>
                  <a:gd name="T0" fmla="*/ 17 w 46"/>
                  <a:gd name="T1" fmla="*/ 25 h 27"/>
                  <a:gd name="T2" fmla="*/ 19 w 46"/>
                  <a:gd name="T3" fmla="*/ 25 h 27"/>
                  <a:gd name="T4" fmla="*/ 20 w 46"/>
                  <a:gd name="T5" fmla="*/ 22 h 27"/>
                  <a:gd name="T6" fmla="*/ 25 w 46"/>
                  <a:gd name="T7" fmla="*/ 23 h 27"/>
                  <a:gd name="T8" fmla="*/ 28 w 46"/>
                  <a:gd name="T9" fmla="*/ 24 h 27"/>
                  <a:gd name="T10" fmla="*/ 32 w 46"/>
                  <a:gd name="T11" fmla="*/ 24 h 27"/>
                  <a:gd name="T12" fmla="*/ 34 w 46"/>
                  <a:gd name="T13" fmla="*/ 23 h 27"/>
                  <a:gd name="T14" fmla="*/ 40 w 46"/>
                  <a:gd name="T15" fmla="*/ 22 h 27"/>
                  <a:gd name="T16" fmla="*/ 43 w 46"/>
                  <a:gd name="T17" fmla="*/ 18 h 27"/>
                  <a:gd name="T18" fmla="*/ 45 w 46"/>
                  <a:gd name="T19" fmla="*/ 17 h 27"/>
                  <a:gd name="T20" fmla="*/ 45 w 46"/>
                  <a:gd name="T21" fmla="*/ 15 h 27"/>
                  <a:gd name="T22" fmla="*/ 44 w 46"/>
                  <a:gd name="T23" fmla="*/ 12 h 27"/>
                  <a:gd name="T24" fmla="*/ 41 w 46"/>
                  <a:gd name="T25" fmla="*/ 11 h 27"/>
                  <a:gd name="T26" fmla="*/ 39 w 46"/>
                  <a:gd name="T27" fmla="*/ 10 h 27"/>
                  <a:gd name="T28" fmla="*/ 39 w 46"/>
                  <a:gd name="T29" fmla="*/ 8 h 27"/>
                  <a:gd name="T30" fmla="*/ 35 w 46"/>
                  <a:gd name="T31" fmla="*/ 7 h 27"/>
                  <a:gd name="T32" fmla="*/ 33 w 46"/>
                  <a:gd name="T33" fmla="*/ 8 h 27"/>
                  <a:gd name="T34" fmla="*/ 31 w 46"/>
                  <a:gd name="T35" fmla="*/ 10 h 27"/>
                  <a:gd name="T36" fmla="*/ 30 w 46"/>
                  <a:gd name="T37" fmla="*/ 8 h 27"/>
                  <a:gd name="T38" fmla="*/ 30 w 46"/>
                  <a:gd name="T39" fmla="*/ 5 h 27"/>
                  <a:gd name="T40" fmla="*/ 26 w 46"/>
                  <a:gd name="T41" fmla="*/ 4 h 27"/>
                  <a:gd name="T42" fmla="*/ 22 w 46"/>
                  <a:gd name="T43" fmla="*/ 2 h 27"/>
                  <a:gd name="T44" fmla="*/ 19 w 46"/>
                  <a:gd name="T45" fmla="*/ 2 h 27"/>
                  <a:gd name="T46" fmla="*/ 15 w 46"/>
                  <a:gd name="T47" fmla="*/ 0 h 27"/>
                  <a:gd name="T48" fmla="*/ 13 w 46"/>
                  <a:gd name="T49" fmla="*/ 3 h 27"/>
                  <a:gd name="T50" fmla="*/ 9 w 46"/>
                  <a:gd name="T51" fmla="*/ 5 h 27"/>
                  <a:gd name="T52" fmla="*/ 8 w 46"/>
                  <a:gd name="T53" fmla="*/ 6 h 27"/>
                  <a:gd name="T54" fmla="*/ 4 w 46"/>
                  <a:gd name="T55" fmla="*/ 7 h 27"/>
                  <a:gd name="T56" fmla="*/ 2 w 46"/>
                  <a:gd name="T57" fmla="*/ 9 h 27"/>
                  <a:gd name="T58" fmla="*/ 1 w 46"/>
                  <a:gd name="T59" fmla="*/ 10 h 27"/>
                  <a:gd name="T60" fmla="*/ 3 w 46"/>
                  <a:gd name="T61" fmla="*/ 15 h 27"/>
                  <a:gd name="T62" fmla="*/ 5 w 46"/>
                  <a:gd name="T63" fmla="*/ 18 h 27"/>
                  <a:gd name="T64" fmla="*/ 7 w 46"/>
                  <a:gd name="T65" fmla="*/ 20 h 27"/>
                  <a:gd name="T66" fmla="*/ 9 w 46"/>
                  <a:gd name="T67" fmla="*/ 21 h 27"/>
                  <a:gd name="T68" fmla="*/ 12 w 46"/>
                  <a:gd name="T69" fmla="*/ 24 h 27"/>
                  <a:gd name="T70" fmla="*/ 14 w 46"/>
                  <a:gd name="T71"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27">
                    <a:moveTo>
                      <a:pt x="14" y="26"/>
                    </a:moveTo>
                    <a:cubicBezTo>
                      <a:pt x="15" y="27"/>
                      <a:pt x="16" y="25"/>
                      <a:pt x="17" y="25"/>
                    </a:cubicBezTo>
                    <a:cubicBezTo>
                      <a:pt x="17" y="25"/>
                      <a:pt x="17" y="26"/>
                      <a:pt x="18" y="26"/>
                    </a:cubicBezTo>
                    <a:cubicBezTo>
                      <a:pt x="18" y="26"/>
                      <a:pt x="18" y="25"/>
                      <a:pt x="19" y="25"/>
                    </a:cubicBezTo>
                    <a:cubicBezTo>
                      <a:pt x="19" y="24"/>
                      <a:pt x="20" y="24"/>
                      <a:pt x="20" y="23"/>
                    </a:cubicBezTo>
                    <a:cubicBezTo>
                      <a:pt x="20" y="22"/>
                      <a:pt x="20" y="22"/>
                      <a:pt x="20" y="22"/>
                    </a:cubicBezTo>
                    <a:cubicBezTo>
                      <a:pt x="21" y="22"/>
                      <a:pt x="21" y="22"/>
                      <a:pt x="21" y="22"/>
                    </a:cubicBezTo>
                    <a:cubicBezTo>
                      <a:pt x="23" y="22"/>
                      <a:pt x="24" y="23"/>
                      <a:pt x="25" y="23"/>
                    </a:cubicBezTo>
                    <a:cubicBezTo>
                      <a:pt x="25" y="23"/>
                      <a:pt x="26" y="23"/>
                      <a:pt x="26" y="23"/>
                    </a:cubicBezTo>
                    <a:cubicBezTo>
                      <a:pt x="27" y="24"/>
                      <a:pt x="27" y="24"/>
                      <a:pt x="28" y="24"/>
                    </a:cubicBezTo>
                    <a:cubicBezTo>
                      <a:pt x="29" y="24"/>
                      <a:pt x="30" y="23"/>
                      <a:pt x="31" y="24"/>
                    </a:cubicBezTo>
                    <a:cubicBezTo>
                      <a:pt x="31" y="24"/>
                      <a:pt x="32" y="24"/>
                      <a:pt x="32" y="24"/>
                    </a:cubicBezTo>
                    <a:cubicBezTo>
                      <a:pt x="33" y="25"/>
                      <a:pt x="33" y="25"/>
                      <a:pt x="33" y="25"/>
                    </a:cubicBezTo>
                    <a:cubicBezTo>
                      <a:pt x="34" y="25"/>
                      <a:pt x="34" y="24"/>
                      <a:pt x="34" y="23"/>
                    </a:cubicBezTo>
                    <a:cubicBezTo>
                      <a:pt x="35" y="23"/>
                      <a:pt x="36" y="23"/>
                      <a:pt x="37" y="23"/>
                    </a:cubicBezTo>
                    <a:cubicBezTo>
                      <a:pt x="38" y="23"/>
                      <a:pt x="39" y="22"/>
                      <a:pt x="40" y="22"/>
                    </a:cubicBezTo>
                    <a:cubicBezTo>
                      <a:pt x="41" y="21"/>
                      <a:pt x="41" y="20"/>
                      <a:pt x="41" y="20"/>
                    </a:cubicBezTo>
                    <a:cubicBezTo>
                      <a:pt x="41" y="19"/>
                      <a:pt x="42" y="19"/>
                      <a:pt x="43" y="18"/>
                    </a:cubicBezTo>
                    <a:cubicBezTo>
                      <a:pt x="43" y="18"/>
                      <a:pt x="43" y="17"/>
                      <a:pt x="44" y="17"/>
                    </a:cubicBezTo>
                    <a:cubicBezTo>
                      <a:pt x="44" y="17"/>
                      <a:pt x="45" y="17"/>
                      <a:pt x="45" y="17"/>
                    </a:cubicBezTo>
                    <a:cubicBezTo>
                      <a:pt x="45" y="16"/>
                      <a:pt x="46" y="16"/>
                      <a:pt x="46" y="16"/>
                    </a:cubicBezTo>
                    <a:cubicBezTo>
                      <a:pt x="46" y="16"/>
                      <a:pt x="46" y="15"/>
                      <a:pt x="45" y="15"/>
                    </a:cubicBezTo>
                    <a:cubicBezTo>
                      <a:pt x="45" y="15"/>
                      <a:pt x="45" y="14"/>
                      <a:pt x="45" y="14"/>
                    </a:cubicBezTo>
                    <a:cubicBezTo>
                      <a:pt x="44" y="13"/>
                      <a:pt x="45" y="12"/>
                      <a:pt x="44" y="12"/>
                    </a:cubicBezTo>
                    <a:cubicBezTo>
                      <a:pt x="43" y="12"/>
                      <a:pt x="43" y="12"/>
                      <a:pt x="43" y="12"/>
                    </a:cubicBezTo>
                    <a:cubicBezTo>
                      <a:pt x="42" y="11"/>
                      <a:pt x="42" y="11"/>
                      <a:pt x="41" y="11"/>
                    </a:cubicBezTo>
                    <a:cubicBezTo>
                      <a:pt x="40" y="10"/>
                      <a:pt x="41" y="11"/>
                      <a:pt x="40" y="11"/>
                    </a:cubicBezTo>
                    <a:cubicBezTo>
                      <a:pt x="39" y="11"/>
                      <a:pt x="39" y="11"/>
                      <a:pt x="39" y="10"/>
                    </a:cubicBezTo>
                    <a:cubicBezTo>
                      <a:pt x="38" y="10"/>
                      <a:pt x="38" y="10"/>
                      <a:pt x="38" y="10"/>
                    </a:cubicBezTo>
                    <a:cubicBezTo>
                      <a:pt x="37" y="9"/>
                      <a:pt x="39" y="9"/>
                      <a:pt x="39" y="8"/>
                    </a:cubicBezTo>
                    <a:cubicBezTo>
                      <a:pt x="38" y="8"/>
                      <a:pt x="37" y="9"/>
                      <a:pt x="36" y="8"/>
                    </a:cubicBezTo>
                    <a:cubicBezTo>
                      <a:pt x="36" y="8"/>
                      <a:pt x="35" y="8"/>
                      <a:pt x="35" y="7"/>
                    </a:cubicBezTo>
                    <a:cubicBezTo>
                      <a:pt x="34" y="7"/>
                      <a:pt x="33" y="6"/>
                      <a:pt x="33" y="7"/>
                    </a:cubicBezTo>
                    <a:cubicBezTo>
                      <a:pt x="32" y="7"/>
                      <a:pt x="33" y="8"/>
                      <a:pt x="33" y="8"/>
                    </a:cubicBezTo>
                    <a:cubicBezTo>
                      <a:pt x="34" y="9"/>
                      <a:pt x="33" y="9"/>
                      <a:pt x="32" y="9"/>
                    </a:cubicBezTo>
                    <a:cubicBezTo>
                      <a:pt x="32" y="10"/>
                      <a:pt x="31" y="10"/>
                      <a:pt x="31" y="10"/>
                    </a:cubicBezTo>
                    <a:cubicBezTo>
                      <a:pt x="30" y="9"/>
                      <a:pt x="30" y="9"/>
                      <a:pt x="30" y="8"/>
                    </a:cubicBezTo>
                    <a:cubicBezTo>
                      <a:pt x="30" y="8"/>
                      <a:pt x="30" y="8"/>
                      <a:pt x="30" y="8"/>
                    </a:cubicBezTo>
                    <a:cubicBezTo>
                      <a:pt x="29" y="7"/>
                      <a:pt x="29" y="7"/>
                      <a:pt x="29" y="7"/>
                    </a:cubicBezTo>
                    <a:cubicBezTo>
                      <a:pt x="27" y="6"/>
                      <a:pt x="30" y="6"/>
                      <a:pt x="30" y="5"/>
                    </a:cubicBezTo>
                    <a:cubicBezTo>
                      <a:pt x="29" y="4"/>
                      <a:pt x="28" y="4"/>
                      <a:pt x="28" y="4"/>
                    </a:cubicBezTo>
                    <a:cubicBezTo>
                      <a:pt x="27" y="5"/>
                      <a:pt x="27" y="4"/>
                      <a:pt x="26" y="4"/>
                    </a:cubicBezTo>
                    <a:cubicBezTo>
                      <a:pt x="25" y="3"/>
                      <a:pt x="24" y="3"/>
                      <a:pt x="24" y="3"/>
                    </a:cubicBezTo>
                    <a:cubicBezTo>
                      <a:pt x="23" y="3"/>
                      <a:pt x="23" y="2"/>
                      <a:pt x="22" y="2"/>
                    </a:cubicBezTo>
                    <a:cubicBezTo>
                      <a:pt x="22" y="1"/>
                      <a:pt x="21" y="0"/>
                      <a:pt x="20" y="1"/>
                    </a:cubicBezTo>
                    <a:cubicBezTo>
                      <a:pt x="20" y="1"/>
                      <a:pt x="20" y="2"/>
                      <a:pt x="19" y="2"/>
                    </a:cubicBezTo>
                    <a:cubicBezTo>
                      <a:pt x="19" y="3"/>
                      <a:pt x="18" y="2"/>
                      <a:pt x="18" y="1"/>
                    </a:cubicBezTo>
                    <a:cubicBezTo>
                      <a:pt x="17" y="0"/>
                      <a:pt x="16" y="0"/>
                      <a:pt x="15" y="0"/>
                    </a:cubicBezTo>
                    <a:cubicBezTo>
                      <a:pt x="15" y="1"/>
                      <a:pt x="16" y="1"/>
                      <a:pt x="16" y="2"/>
                    </a:cubicBezTo>
                    <a:cubicBezTo>
                      <a:pt x="16" y="2"/>
                      <a:pt x="14" y="3"/>
                      <a:pt x="13" y="3"/>
                    </a:cubicBezTo>
                    <a:cubicBezTo>
                      <a:pt x="13" y="3"/>
                      <a:pt x="12" y="3"/>
                      <a:pt x="11" y="4"/>
                    </a:cubicBezTo>
                    <a:cubicBezTo>
                      <a:pt x="10" y="4"/>
                      <a:pt x="10" y="4"/>
                      <a:pt x="9" y="5"/>
                    </a:cubicBezTo>
                    <a:cubicBezTo>
                      <a:pt x="9" y="5"/>
                      <a:pt x="9" y="5"/>
                      <a:pt x="9" y="5"/>
                    </a:cubicBezTo>
                    <a:cubicBezTo>
                      <a:pt x="8" y="5"/>
                      <a:pt x="8" y="6"/>
                      <a:pt x="8" y="6"/>
                    </a:cubicBezTo>
                    <a:cubicBezTo>
                      <a:pt x="7" y="6"/>
                      <a:pt x="6" y="7"/>
                      <a:pt x="6" y="7"/>
                    </a:cubicBezTo>
                    <a:cubicBezTo>
                      <a:pt x="5" y="7"/>
                      <a:pt x="4" y="7"/>
                      <a:pt x="4" y="7"/>
                    </a:cubicBezTo>
                    <a:cubicBezTo>
                      <a:pt x="3" y="7"/>
                      <a:pt x="3" y="7"/>
                      <a:pt x="3" y="8"/>
                    </a:cubicBezTo>
                    <a:cubicBezTo>
                      <a:pt x="3" y="8"/>
                      <a:pt x="2" y="9"/>
                      <a:pt x="2" y="9"/>
                    </a:cubicBezTo>
                    <a:cubicBezTo>
                      <a:pt x="1" y="9"/>
                      <a:pt x="1" y="8"/>
                      <a:pt x="1" y="8"/>
                    </a:cubicBezTo>
                    <a:cubicBezTo>
                      <a:pt x="0" y="8"/>
                      <a:pt x="1" y="9"/>
                      <a:pt x="1" y="10"/>
                    </a:cubicBezTo>
                    <a:cubicBezTo>
                      <a:pt x="2" y="10"/>
                      <a:pt x="2" y="11"/>
                      <a:pt x="3" y="11"/>
                    </a:cubicBezTo>
                    <a:cubicBezTo>
                      <a:pt x="4" y="13"/>
                      <a:pt x="3" y="14"/>
                      <a:pt x="3" y="15"/>
                    </a:cubicBezTo>
                    <a:cubicBezTo>
                      <a:pt x="4" y="16"/>
                      <a:pt x="4" y="16"/>
                      <a:pt x="4" y="17"/>
                    </a:cubicBezTo>
                    <a:cubicBezTo>
                      <a:pt x="4" y="17"/>
                      <a:pt x="5" y="18"/>
                      <a:pt x="5" y="18"/>
                    </a:cubicBezTo>
                    <a:cubicBezTo>
                      <a:pt x="6" y="18"/>
                      <a:pt x="6" y="18"/>
                      <a:pt x="6" y="18"/>
                    </a:cubicBezTo>
                    <a:cubicBezTo>
                      <a:pt x="7" y="18"/>
                      <a:pt x="7" y="19"/>
                      <a:pt x="7" y="20"/>
                    </a:cubicBezTo>
                    <a:cubicBezTo>
                      <a:pt x="7" y="20"/>
                      <a:pt x="8" y="20"/>
                      <a:pt x="8" y="20"/>
                    </a:cubicBezTo>
                    <a:cubicBezTo>
                      <a:pt x="8" y="21"/>
                      <a:pt x="8" y="20"/>
                      <a:pt x="9" y="21"/>
                    </a:cubicBezTo>
                    <a:cubicBezTo>
                      <a:pt x="9" y="21"/>
                      <a:pt x="10" y="22"/>
                      <a:pt x="10" y="22"/>
                    </a:cubicBezTo>
                    <a:cubicBezTo>
                      <a:pt x="11" y="23"/>
                      <a:pt x="12" y="23"/>
                      <a:pt x="12" y="24"/>
                    </a:cubicBezTo>
                    <a:cubicBezTo>
                      <a:pt x="13" y="24"/>
                      <a:pt x="13" y="25"/>
                      <a:pt x="14" y="26"/>
                    </a:cubicBezTo>
                    <a:cubicBezTo>
                      <a:pt x="15" y="26"/>
                      <a:pt x="13" y="25"/>
                      <a:pt x="14"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2" name="Freeform 817">
                <a:extLst>
                  <a:ext uri="{FF2B5EF4-FFF2-40B4-BE49-F238E27FC236}">
                    <a16:creationId xmlns:a16="http://schemas.microsoft.com/office/drawing/2014/main" id="{C5042770-BFC2-2445-0C22-87F137E46DDA}"/>
                  </a:ext>
                </a:extLst>
              </p:cNvPr>
              <p:cNvSpPr>
                <a:spLocks noEditPoints="1"/>
              </p:cNvSpPr>
              <p:nvPr/>
            </p:nvSpPr>
            <p:spPr bwMode="auto">
              <a:xfrm>
                <a:off x="5759450" y="3400425"/>
                <a:ext cx="165100" cy="163513"/>
              </a:xfrm>
              <a:custGeom>
                <a:avLst/>
                <a:gdLst>
                  <a:gd name="T0" fmla="*/ 32 w 40"/>
                  <a:gd name="T1" fmla="*/ 37 h 39"/>
                  <a:gd name="T2" fmla="*/ 24 w 40"/>
                  <a:gd name="T3" fmla="*/ 31 h 39"/>
                  <a:gd name="T4" fmla="*/ 16 w 40"/>
                  <a:gd name="T5" fmla="*/ 27 h 39"/>
                  <a:gd name="T6" fmla="*/ 12 w 40"/>
                  <a:gd name="T7" fmla="*/ 22 h 39"/>
                  <a:gd name="T8" fmla="*/ 12 w 40"/>
                  <a:gd name="T9" fmla="*/ 21 h 39"/>
                  <a:gd name="T10" fmla="*/ 8 w 40"/>
                  <a:gd name="T11" fmla="*/ 17 h 39"/>
                  <a:gd name="T12" fmla="*/ 6 w 40"/>
                  <a:gd name="T13" fmla="*/ 12 h 39"/>
                  <a:gd name="T14" fmla="*/ 4 w 40"/>
                  <a:gd name="T15" fmla="*/ 15 h 39"/>
                  <a:gd name="T16" fmla="*/ 2 w 40"/>
                  <a:gd name="T17" fmla="*/ 15 h 39"/>
                  <a:gd name="T18" fmla="*/ 1 w 40"/>
                  <a:gd name="T19" fmla="*/ 13 h 39"/>
                  <a:gd name="T20" fmla="*/ 3 w 40"/>
                  <a:gd name="T21" fmla="*/ 10 h 39"/>
                  <a:gd name="T22" fmla="*/ 10 w 40"/>
                  <a:gd name="T23" fmla="*/ 10 h 39"/>
                  <a:gd name="T24" fmla="*/ 13 w 40"/>
                  <a:gd name="T25" fmla="*/ 9 h 39"/>
                  <a:gd name="T26" fmla="*/ 15 w 40"/>
                  <a:gd name="T27" fmla="*/ 5 h 39"/>
                  <a:gd name="T28" fmla="*/ 17 w 40"/>
                  <a:gd name="T29" fmla="*/ 3 h 39"/>
                  <a:gd name="T30" fmla="*/ 19 w 40"/>
                  <a:gd name="T31" fmla="*/ 2 h 39"/>
                  <a:gd name="T32" fmla="*/ 23 w 40"/>
                  <a:gd name="T33" fmla="*/ 2 h 39"/>
                  <a:gd name="T34" fmla="*/ 26 w 40"/>
                  <a:gd name="T35" fmla="*/ 6 h 39"/>
                  <a:gd name="T36" fmla="*/ 34 w 40"/>
                  <a:gd name="T37" fmla="*/ 7 h 39"/>
                  <a:gd name="T38" fmla="*/ 36 w 40"/>
                  <a:gd name="T39" fmla="*/ 8 h 39"/>
                  <a:gd name="T40" fmla="*/ 38 w 40"/>
                  <a:gd name="T41" fmla="*/ 10 h 39"/>
                  <a:gd name="T42" fmla="*/ 39 w 40"/>
                  <a:gd name="T43" fmla="*/ 13 h 39"/>
                  <a:gd name="T44" fmla="*/ 37 w 40"/>
                  <a:gd name="T45" fmla="*/ 16 h 39"/>
                  <a:gd name="T46" fmla="*/ 32 w 40"/>
                  <a:gd name="T47" fmla="*/ 13 h 39"/>
                  <a:gd name="T48" fmla="*/ 28 w 40"/>
                  <a:gd name="T49" fmla="*/ 14 h 39"/>
                  <a:gd name="T50" fmla="*/ 25 w 40"/>
                  <a:gd name="T51" fmla="*/ 13 h 39"/>
                  <a:gd name="T52" fmla="*/ 21 w 40"/>
                  <a:gd name="T53" fmla="*/ 13 h 39"/>
                  <a:gd name="T54" fmla="*/ 18 w 40"/>
                  <a:gd name="T55" fmla="*/ 14 h 39"/>
                  <a:gd name="T56" fmla="*/ 16 w 40"/>
                  <a:gd name="T57" fmla="*/ 18 h 39"/>
                  <a:gd name="T58" fmla="*/ 17 w 40"/>
                  <a:gd name="T59" fmla="*/ 20 h 39"/>
                  <a:gd name="T60" fmla="*/ 19 w 40"/>
                  <a:gd name="T61" fmla="*/ 23 h 39"/>
                  <a:gd name="T62" fmla="*/ 25 w 40"/>
                  <a:gd name="T63" fmla="*/ 30 h 39"/>
                  <a:gd name="T64" fmla="*/ 29 w 40"/>
                  <a:gd name="T65" fmla="*/ 35 h 39"/>
                  <a:gd name="T66" fmla="*/ 33 w 40"/>
                  <a:gd name="T67" fmla="*/ 38 h 39"/>
                  <a:gd name="T68" fmla="*/ 7 w 40"/>
                  <a:gd name="T69" fmla="*/ 15 h 39"/>
                  <a:gd name="T70" fmla="*/ 8 w 40"/>
                  <a:gd name="T71" fmla="*/ 14 h 39"/>
                  <a:gd name="T72" fmla="*/ 6 w 40"/>
                  <a:gd name="T73" fmla="*/ 14 h 39"/>
                  <a:gd name="T74" fmla="*/ 6 w 40"/>
                  <a:gd name="T75" fmla="*/ 17 h 39"/>
                  <a:gd name="T76" fmla="*/ 7 w 40"/>
                  <a:gd name="T77" fmla="*/ 18 h 39"/>
                  <a:gd name="T78" fmla="*/ 7 w 40"/>
                  <a:gd name="T79" fmla="*/ 16 h 39"/>
                  <a:gd name="T80" fmla="*/ 9 w 40"/>
                  <a:gd name="T81" fmla="*/ 19 h 39"/>
                  <a:gd name="T82" fmla="*/ 11 w 40"/>
                  <a:gd name="T83" fmla="*/ 20 h 39"/>
                  <a:gd name="T84" fmla="*/ 9 w 40"/>
                  <a:gd name="T85" fmla="*/ 23 h 39"/>
                  <a:gd name="T86" fmla="*/ 10 w 40"/>
                  <a:gd name="T87" fmla="*/ 24 h 39"/>
                  <a:gd name="T88" fmla="*/ 19 w 40"/>
                  <a:gd name="T89" fmla="*/ 30 h 39"/>
                  <a:gd name="T90" fmla="*/ 23 w 40"/>
                  <a:gd name="T91" fmla="*/ 31 h 39"/>
                  <a:gd name="T92" fmla="*/ 21 w 40"/>
                  <a:gd name="T93" fmla="*/ 34 h 39"/>
                  <a:gd name="T94" fmla="*/ 23 w 40"/>
                  <a:gd name="T95" fmla="*/ 34 h 39"/>
                  <a:gd name="T96" fmla="*/ 25 w 40"/>
                  <a:gd name="T97" fmla="*/ 34 h 39"/>
                  <a:gd name="T98" fmla="*/ 25 w 40"/>
                  <a:gd name="T99" fmla="*/ 34 h 39"/>
                  <a:gd name="T100" fmla="*/ 18 w 40"/>
                  <a:gd name="T101" fmla="*/ 33 h 39"/>
                  <a:gd name="T102" fmla="*/ 18 w 40"/>
                  <a:gd name="T10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39">
                    <a:moveTo>
                      <a:pt x="33" y="38"/>
                    </a:moveTo>
                    <a:cubicBezTo>
                      <a:pt x="33" y="38"/>
                      <a:pt x="33" y="39"/>
                      <a:pt x="33" y="39"/>
                    </a:cubicBezTo>
                    <a:cubicBezTo>
                      <a:pt x="33" y="38"/>
                      <a:pt x="33" y="38"/>
                      <a:pt x="32" y="37"/>
                    </a:cubicBezTo>
                    <a:cubicBezTo>
                      <a:pt x="32" y="37"/>
                      <a:pt x="31" y="37"/>
                      <a:pt x="30" y="37"/>
                    </a:cubicBezTo>
                    <a:cubicBezTo>
                      <a:pt x="29" y="36"/>
                      <a:pt x="29" y="35"/>
                      <a:pt x="28" y="34"/>
                    </a:cubicBezTo>
                    <a:cubicBezTo>
                      <a:pt x="26" y="33"/>
                      <a:pt x="25" y="32"/>
                      <a:pt x="24" y="31"/>
                    </a:cubicBezTo>
                    <a:cubicBezTo>
                      <a:pt x="23" y="30"/>
                      <a:pt x="22" y="30"/>
                      <a:pt x="21" y="29"/>
                    </a:cubicBezTo>
                    <a:cubicBezTo>
                      <a:pt x="20" y="29"/>
                      <a:pt x="18" y="29"/>
                      <a:pt x="17" y="29"/>
                    </a:cubicBezTo>
                    <a:cubicBezTo>
                      <a:pt x="16" y="28"/>
                      <a:pt x="16" y="28"/>
                      <a:pt x="16" y="27"/>
                    </a:cubicBezTo>
                    <a:cubicBezTo>
                      <a:pt x="15" y="27"/>
                      <a:pt x="15" y="27"/>
                      <a:pt x="14" y="26"/>
                    </a:cubicBezTo>
                    <a:cubicBezTo>
                      <a:pt x="13" y="25"/>
                      <a:pt x="12" y="24"/>
                      <a:pt x="12" y="23"/>
                    </a:cubicBezTo>
                    <a:cubicBezTo>
                      <a:pt x="11" y="22"/>
                      <a:pt x="11" y="22"/>
                      <a:pt x="12" y="22"/>
                    </a:cubicBezTo>
                    <a:cubicBezTo>
                      <a:pt x="12" y="22"/>
                      <a:pt x="12" y="22"/>
                      <a:pt x="12" y="22"/>
                    </a:cubicBezTo>
                    <a:cubicBezTo>
                      <a:pt x="12" y="22"/>
                      <a:pt x="13" y="22"/>
                      <a:pt x="13" y="22"/>
                    </a:cubicBezTo>
                    <a:cubicBezTo>
                      <a:pt x="13" y="21"/>
                      <a:pt x="12" y="21"/>
                      <a:pt x="12" y="21"/>
                    </a:cubicBezTo>
                    <a:cubicBezTo>
                      <a:pt x="11" y="20"/>
                      <a:pt x="11" y="20"/>
                      <a:pt x="10" y="19"/>
                    </a:cubicBezTo>
                    <a:cubicBezTo>
                      <a:pt x="10" y="18"/>
                      <a:pt x="10" y="18"/>
                      <a:pt x="9" y="18"/>
                    </a:cubicBezTo>
                    <a:cubicBezTo>
                      <a:pt x="9" y="18"/>
                      <a:pt x="8" y="17"/>
                      <a:pt x="8" y="17"/>
                    </a:cubicBezTo>
                    <a:cubicBezTo>
                      <a:pt x="9" y="18"/>
                      <a:pt x="10" y="17"/>
                      <a:pt x="10" y="16"/>
                    </a:cubicBezTo>
                    <a:cubicBezTo>
                      <a:pt x="10" y="15"/>
                      <a:pt x="9" y="14"/>
                      <a:pt x="8" y="14"/>
                    </a:cubicBezTo>
                    <a:cubicBezTo>
                      <a:pt x="8" y="13"/>
                      <a:pt x="7" y="12"/>
                      <a:pt x="6" y="12"/>
                    </a:cubicBezTo>
                    <a:cubicBezTo>
                      <a:pt x="6" y="12"/>
                      <a:pt x="5" y="12"/>
                      <a:pt x="5" y="12"/>
                    </a:cubicBezTo>
                    <a:cubicBezTo>
                      <a:pt x="5" y="13"/>
                      <a:pt x="5" y="13"/>
                      <a:pt x="5" y="14"/>
                    </a:cubicBezTo>
                    <a:cubicBezTo>
                      <a:pt x="5" y="14"/>
                      <a:pt x="5" y="14"/>
                      <a:pt x="4" y="15"/>
                    </a:cubicBezTo>
                    <a:cubicBezTo>
                      <a:pt x="4" y="15"/>
                      <a:pt x="4" y="15"/>
                      <a:pt x="4" y="15"/>
                    </a:cubicBezTo>
                    <a:cubicBezTo>
                      <a:pt x="3" y="15"/>
                      <a:pt x="4" y="16"/>
                      <a:pt x="3" y="17"/>
                    </a:cubicBezTo>
                    <a:cubicBezTo>
                      <a:pt x="2" y="18"/>
                      <a:pt x="2" y="16"/>
                      <a:pt x="2" y="15"/>
                    </a:cubicBezTo>
                    <a:cubicBezTo>
                      <a:pt x="1" y="15"/>
                      <a:pt x="1" y="15"/>
                      <a:pt x="1" y="14"/>
                    </a:cubicBezTo>
                    <a:cubicBezTo>
                      <a:pt x="1" y="14"/>
                      <a:pt x="2" y="14"/>
                      <a:pt x="2" y="14"/>
                    </a:cubicBezTo>
                    <a:cubicBezTo>
                      <a:pt x="1" y="14"/>
                      <a:pt x="1" y="14"/>
                      <a:pt x="1" y="13"/>
                    </a:cubicBezTo>
                    <a:cubicBezTo>
                      <a:pt x="1" y="13"/>
                      <a:pt x="1" y="13"/>
                      <a:pt x="1" y="12"/>
                    </a:cubicBezTo>
                    <a:cubicBezTo>
                      <a:pt x="1" y="12"/>
                      <a:pt x="0" y="11"/>
                      <a:pt x="0" y="10"/>
                    </a:cubicBezTo>
                    <a:cubicBezTo>
                      <a:pt x="1" y="11"/>
                      <a:pt x="4" y="12"/>
                      <a:pt x="3" y="10"/>
                    </a:cubicBezTo>
                    <a:cubicBezTo>
                      <a:pt x="4" y="10"/>
                      <a:pt x="5" y="11"/>
                      <a:pt x="6" y="10"/>
                    </a:cubicBezTo>
                    <a:cubicBezTo>
                      <a:pt x="7" y="10"/>
                      <a:pt x="7" y="9"/>
                      <a:pt x="7" y="9"/>
                    </a:cubicBezTo>
                    <a:cubicBezTo>
                      <a:pt x="7" y="9"/>
                      <a:pt x="9" y="11"/>
                      <a:pt x="10" y="10"/>
                    </a:cubicBezTo>
                    <a:cubicBezTo>
                      <a:pt x="10" y="10"/>
                      <a:pt x="12" y="12"/>
                      <a:pt x="13" y="11"/>
                    </a:cubicBezTo>
                    <a:cubicBezTo>
                      <a:pt x="13" y="10"/>
                      <a:pt x="12" y="10"/>
                      <a:pt x="12" y="9"/>
                    </a:cubicBezTo>
                    <a:cubicBezTo>
                      <a:pt x="12" y="9"/>
                      <a:pt x="13" y="9"/>
                      <a:pt x="13" y="9"/>
                    </a:cubicBezTo>
                    <a:cubicBezTo>
                      <a:pt x="12" y="8"/>
                      <a:pt x="13" y="8"/>
                      <a:pt x="13" y="8"/>
                    </a:cubicBezTo>
                    <a:cubicBezTo>
                      <a:pt x="14" y="7"/>
                      <a:pt x="14" y="8"/>
                      <a:pt x="15" y="7"/>
                    </a:cubicBezTo>
                    <a:cubicBezTo>
                      <a:pt x="15" y="6"/>
                      <a:pt x="15" y="6"/>
                      <a:pt x="15" y="5"/>
                    </a:cubicBezTo>
                    <a:cubicBezTo>
                      <a:pt x="15" y="5"/>
                      <a:pt x="14" y="4"/>
                      <a:pt x="15" y="4"/>
                    </a:cubicBezTo>
                    <a:cubicBezTo>
                      <a:pt x="15" y="4"/>
                      <a:pt x="15" y="4"/>
                      <a:pt x="15" y="4"/>
                    </a:cubicBezTo>
                    <a:cubicBezTo>
                      <a:pt x="16" y="3"/>
                      <a:pt x="16" y="3"/>
                      <a:pt x="17" y="3"/>
                    </a:cubicBezTo>
                    <a:cubicBezTo>
                      <a:pt x="17" y="3"/>
                      <a:pt x="17" y="3"/>
                      <a:pt x="17" y="2"/>
                    </a:cubicBezTo>
                    <a:cubicBezTo>
                      <a:pt x="18" y="2"/>
                      <a:pt x="18" y="2"/>
                      <a:pt x="18" y="2"/>
                    </a:cubicBezTo>
                    <a:cubicBezTo>
                      <a:pt x="19" y="2"/>
                      <a:pt x="19" y="2"/>
                      <a:pt x="19" y="2"/>
                    </a:cubicBezTo>
                    <a:cubicBezTo>
                      <a:pt x="19" y="1"/>
                      <a:pt x="19" y="1"/>
                      <a:pt x="19" y="1"/>
                    </a:cubicBezTo>
                    <a:cubicBezTo>
                      <a:pt x="19" y="0"/>
                      <a:pt x="20" y="1"/>
                      <a:pt x="20" y="1"/>
                    </a:cubicBezTo>
                    <a:cubicBezTo>
                      <a:pt x="21" y="1"/>
                      <a:pt x="22" y="1"/>
                      <a:pt x="23" y="2"/>
                    </a:cubicBezTo>
                    <a:cubicBezTo>
                      <a:pt x="23" y="3"/>
                      <a:pt x="24" y="4"/>
                      <a:pt x="24" y="4"/>
                    </a:cubicBezTo>
                    <a:cubicBezTo>
                      <a:pt x="25" y="4"/>
                      <a:pt x="25" y="4"/>
                      <a:pt x="25" y="4"/>
                    </a:cubicBezTo>
                    <a:cubicBezTo>
                      <a:pt x="26" y="5"/>
                      <a:pt x="26" y="5"/>
                      <a:pt x="26" y="6"/>
                    </a:cubicBezTo>
                    <a:cubicBezTo>
                      <a:pt x="27" y="6"/>
                      <a:pt x="28" y="7"/>
                      <a:pt x="28" y="7"/>
                    </a:cubicBezTo>
                    <a:cubicBezTo>
                      <a:pt x="29" y="7"/>
                      <a:pt x="30" y="7"/>
                      <a:pt x="31" y="7"/>
                    </a:cubicBezTo>
                    <a:cubicBezTo>
                      <a:pt x="32" y="8"/>
                      <a:pt x="33" y="8"/>
                      <a:pt x="34" y="7"/>
                    </a:cubicBezTo>
                    <a:cubicBezTo>
                      <a:pt x="34" y="7"/>
                      <a:pt x="35" y="7"/>
                      <a:pt x="36" y="6"/>
                    </a:cubicBezTo>
                    <a:cubicBezTo>
                      <a:pt x="36" y="6"/>
                      <a:pt x="37" y="5"/>
                      <a:pt x="38" y="5"/>
                    </a:cubicBezTo>
                    <a:cubicBezTo>
                      <a:pt x="37" y="6"/>
                      <a:pt x="36" y="7"/>
                      <a:pt x="36" y="8"/>
                    </a:cubicBezTo>
                    <a:cubicBezTo>
                      <a:pt x="36" y="8"/>
                      <a:pt x="37" y="8"/>
                      <a:pt x="37" y="9"/>
                    </a:cubicBezTo>
                    <a:cubicBezTo>
                      <a:pt x="37" y="9"/>
                      <a:pt x="36" y="10"/>
                      <a:pt x="37" y="10"/>
                    </a:cubicBezTo>
                    <a:cubicBezTo>
                      <a:pt x="37" y="10"/>
                      <a:pt x="38" y="10"/>
                      <a:pt x="38" y="10"/>
                    </a:cubicBezTo>
                    <a:cubicBezTo>
                      <a:pt x="38" y="11"/>
                      <a:pt x="37" y="11"/>
                      <a:pt x="37" y="11"/>
                    </a:cubicBezTo>
                    <a:cubicBezTo>
                      <a:pt x="37" y="11"/>
                      <a:pt x="37" y="12"/>
                      <a:pt x="37" y="12"/>
                    </a:cubicBezTo>
                    <a:cubicBezTo>
                      <a:pt x="38" y="12"/>
                      <a:pt x="39" y="12"/>
                      <a:pt x="39" y="13"/>
                    </a:cubicBezTo>
                    <a:cubicBezTo>
                      <a:pt x="40" y="13"/>
                      <a:pt x="40" y="13"/>
                      <a:pt x="39" y="14"/>
                    </a:cubicBezTo>
                    <a:cubicBezTo>
                      <a:pt x="38" y="14"/>
                      <a:pt x="38" y="14"/>
                      <a:pt x="38" y="15"/>
                    </a:cubicBezTo>
                    <a:cubicBezTo>
                      <a:pt x="38" y="15"/>
                      <a:pt x="38" y="16"/>
                      <a:pt x="37" y="16"/>
                    </a:cubicBezTo>
                    <a:cubicBezTo>
                      <a:pt x="36" y="17"/>
                      <a:pt x="36" y="15"/>
                      <a:pt x="35" y="15"/>
                    </a:cubicBezTo>
                    <a:cubicBezTo>
                      <a:pt x="35" y="14"/>
                      <a:pt x="35" y="14"/>
                      <a:pt x="34" y="14"/>
                    </a:cubicBezTo>
                    <a:cubicBezTo>
                      <a:pt x="33" y="14"/>
                      <a:pt x="33" y="14"/>
                      <a:pt x="32" y="13"/>
                    </a:cubicBezTo>
                    <a:cubicBezTo>
                      <a:pt x="32" y="14"/>
                      <a:pt x="31" y="14"/>
                      <a:pt x="31" y="14"/>
                    </a:cubicBezTo>
                    <a:cubicBezTo>
                      <a:pt x="31" y="13"/>
                      <a:pt x="30" y="14"/>
                      <a:pt x="30" y="14"/>
                    </a:cubicBezTo>
                    <a:cubicBezTo>
                      <a:pt x="29" y="14"/>
                      <a:pt x="29" y="14"/>
                      <a:pt x="28" y="14"/>
                    </a:cubicBezTo>
                    <a:cubicBezTo>
                      <a:pt x="28" y="13"/>
                      <a:pt x="28" y="13"/>
                      <a:pt x="27" y="14"/>
                    </a:cubicBezTo>
                    <a:cubicBezTo>
                      <a:pt x="27" y="14"/>
                      <a:pt x="27" y="14"/>
                      <a:pt x="26" y="14"/>
                    </a:cubicBezTo>
                    <a:cubicBezTo>
                      <a:pt x="26" y="14"/>
                      <a:pt x="26" y="13"/>
                      <a:pt x="25" y="13"/>
                    </a:cubicBezTo>
                    <a:cubicBezTo>
                      <a:pt x="25" y="13"/>
                      <a:pt x="25" y="14"/>
                      <a:pt x="24" y="13"/>
                    </a:cubicBezTo>
                    <a:cubicBezTo>
                      <a:pt x="24" y="13"/>
                      <a:pt x="24" y="12"/>
                      <a:pt x="23" y="13"/>
                    </a:cubicBezTo>
                    <a:cubicBezTo>
                      <a:pt x="22" y="13"/>
                      <a:pt x="22" y="13"/>
                      <a:pt x="21" y="13"/>
                    </a:cubicBezTo>
                    <a:cubicBezTo>
                      <a:pt x="21" y="13"/>
                      <a:pt x="20" y="13"/>
                      <a:pt x="20" y="14"/>
                    </a:cubicBezTo>
                    <a:cubicBezTo>
                      <a:pt x="19" y="14"/>
                      <a:pt x="19" y="15"/>
                      <a:pt x="19" y="15"/>
                    </a:cubicBezTo>
                    <a:cubicBezTo>
                      <a:pt x="18" y="15"/>
                      <a:pt x="18" y="14"/>
                      <a:pt x="18" y="14"/>
                    </a:cubicBezTo>
                    <a:cubicBezTo>
                      <a:pt x="18" y="14"/>
                      <a:pt x="17" y="14"/>
                      <a:pt x="17" y="13"/>
                    </a:cubicBezTo>
                    <a:cubicBezTo>
                      <a:pt x="15" y="12"/>
                      <a:pt x="16" y="15"/>
                      <a:pt x="15" y="17"/>
                    </a:cubicBezTo>
                    <a:cubicBezTo>
                      <a:pt x="15" y="17"/>
                      <a:pt x="15" y="18"/>
                      <a:pt x="16" y="18"/>
                    </a:cubicBezTo>
                    <a:cubicBezTo>
                      <a:pt x="16" y="18"/>
                      <a:pt x="16" y="18"/>
                      <a:pt x="17" y="18"/>
                    </a:cubicBezTo>
                    <a:cubicBezTo>
                      <a:pt x="17" y="19"/>
                      <a:pt x="17" y="19"/>
                      <a:pt x="17" y="19"/>
                    </a:cubicBezTo>
                    <a:cubicBezTo>
                      <a:pt x="17" y="19"/>
                      <a:pt x="17" y="19"/>
                      <a:pt x="17" y="20"/>
                    </a:cubicBezTo>
                    <a:cubicBezTo>
                      <a:pt x="17" y="20"/>
                      <a:pt x="17" y="20"/>
                      <a:pt x="17" y="20"/>
                    </a:cubicBezTo>
                    <a:cubicBezTo>
                      <a:pt x="17" y="20"/>
                      <a:pt x="18" y="20"/>
                      <a:pt x="18" y="20"/>
                    </a:cubicBezTo>
                    <a:cubicBezTo>
                      <a:pt x="18" y="21"/>
                      <a:pt x="18" y="22"/>
                      <a:pt x="19" y="23"/>
                    </a:cubicBezTo>
                    <a:cubicBezTo>
                      <a:pt x="19" y="24"/>
                      <a:pt x="21" y="26"/>
                      <a:pt x="22" y="27"/>
                    </a:cubicBezTo>
                    <a:cubicBezTo>
                      <a:pt x="23" y="28"/>
                      <a:pt x="23" y="29"/>
                      <a:pt x="24" y="29"/>
                    </a:cubicBezTo>
                    <a:cubicBezTo>
                      <a:pt x="25" y="29"/>
                      <a:pt x="25" y="29"/>
                      <a:pt x="25" y="30"/>
                    </a:cubicBezTo>
                    <a:cubicBezTo>
                      <a:pt x="26" y="30"/>
                      <a:pt x="26" y="30"/>
                      <a:pt x="26" y="31"/>
                    </a:cubicBezTo>
                    <a:cubicBezTo>
                      <a:pt x="26" y="32"/>
                      <a:pt x="27" y="32"/>
                      <a:pt x="28" y="33"/>
                    </a:cubicBezTo>
                    <a:cubicBezTo>
                      <a:pt x="28" y="34"/>
                      <a:pt x="29" y="34"/>
                      <a:pt x="29" y="35"/>
                    </a:cubicBezTo>
                    <a:cubicBezTo>
                      <a:pt x="30" y="35"/>
                      <a:pt x="30" y="35"/>
                      <a:pt x="30" y="36"/>
                    </a:cubicBezTo>
                    <a:cubicBezTo>
                      <a:pt x="31" y="36"/>
                      <a:pt x="31" y="36"/>
                      <a:pt x="31" y="36"/>
                    </a:cubicBezTo>
                    <a:cubicBezTo>
                      <a:pt x="32" y="37"/>
                      <a:pt x="34" y="37"/>
                      <a:pt x="33" y="38"/>
                    </a:cubicBezTo>
                    <a:close/>
                    <a:moveTo>
                      <a:pt x="8" y="14"/>
                    </a:moveTo>
                    <a:cubicBezTo>
                      <a:pt x="8" y="13"/>
                      <a:pt x="7" y="14"/>
                      <a:pt x="7" y="14"/>
                    </a:cubicBezTo>
                    <a:cubicBezTo>
                      <a:pt x="6" y="15"/>
                      <a:pt x="7" y="14"/>
                      <a:pt x="7" y="15"/>
                    </a:cubicBezTo>
                    <a:cubicBezTo>
                      <a:pt x="8" y="15"/>
                      <a:pt x="8" y="16"/>
                      <a:pt x="9" y="15"/>
                    </a:cubicBezTo>
                    <a:cubicBezTo>
                      <a:pt x="9" y="15"/>
                      <a:pt x="8" y="14"/>
                      <a:pt x="8" y="14"/>
                    </a:cubicBezTo>
                    <a:cubicBezTo>
                      <a:pt x="8" y="14"/>
                      <a:pt x="8" y="14"/>
                      <a:pt x="8" y="14"/>
                    </a:cubicBezTo>
                    <a:close/>
                    <a:moveTo>
                      <a:pt x="7" y="16"/>
                    </a:moveTo>
                    <a:cubicBezTo>
                      <a:pt x="7" y="16"/>
                      <a:pt x="6" y="15"/>
                      <a:pt x="6" y="15"/>
                    </a:cubicBezTo>
                    <a:cubicBezTo>
                      <a:pt x="6" y="14"/>
                      <a:pt x="5" y="14"/>
                      <a:pt x="6" y="14"/>
                    </a:cubicBezTo>
                    <a:cubicBezTo>
                      <a:pt x="6" y="15"/>
                      <a:pt x="6" y="15"/>
                      <a:pt x="6" y="15"/>
                    </a:cubicBezTo>
                    <a:cubicBezTo>
                      <a:pt x="6" y="16"/>
                      <a:pt x="6" y="16"/>
                      <a:pt x="6" y="16"/>
                    </a:cubicBezTo>
                    <a:cubicBezTo>
                      <a:pt x="6" y="17"/>
                      <a:pt x="6" y="17"/>
                      <a:pt x="6" y="17"/>
                    </a:cubicBezTo>
                    <a:cubicBezTo>
                      <a:pt x="6" y="18"/>
                      <a:pt x="6" y="19"/>
                      <a:pt x="6" y="20"/>
                    </a:cubicBezTo>
                    <a:cubicBezTo>
                      <a:pt x="7" y="20"/>
                      <a:pt x="7" y="19"/>
                      <a:pt x="7" y="19"/>
                    </a:cubicBezTo>
                    <a:cubicBezTo>
                      <a:pt x="7" y="19"/>
                      <a:pt x="7" y="19"/>
                      <a:pt x="7" y="18"/>
                    </a:cubicBezTo>
                    <a:cubicBezTo>
                      <a:pt x="7" y="18"/>
                      <a:pt x="7" y="18"/>
                      <a:pt x="7" y="17"/>
                    </a:cubicBezTo>
                    <a:cubicBezTo>
                      <a:pt x="7" y="17"/>
                      <a:pt x="7" y="17"/>
                      <a:pt x="7" y="16"/>
                    </a:cubicBezTo>
                    <a:cubicBezTo>
                      <a:pt x="7" y="16"/>
                      <a:pt x="7" y="16"/>
                      <a:pt x="7" y="16"/>
                    </a:cubicBezTo>
                    <a:close/>
                    <a:moveTo>
                      <a:pt x="9" y="19"/>
                    </a:moveTo>
                    <a:cubicBezTo>
                      <a:pt x="9" y="19"/>
                      <a:pt x="9" y="18"/>
                      <a:pt x="9" y="18"/>
                    </a:cubicBezTo>
                    <a:cubicBezTo>
                      <a:pt x="8" y="18"/>
                      <a:pt x="9" y="19"/>
                      <a:pt x="9" y="19"/>
                    </a:cubicBezTo>
                    <a:cubicBezTo>
                      <a:pt x="9" y="20"/>
                      <a:pt x="10" y="20"/>
                      <a:pt x="10" y="20"/>
                    </a:cubicBezTo>
                    <a:cubicBezTo>
                      <a:pt x="10" y="21"/>
                      <a:pt x="10" y="21"/>
                      <a:pt x="11" y="21"/>
                    </a:cubicBezTo>
                    <a:cubicBezTo>
                      <a:pt x="11" y="22"/>
                      <a:pt x="11" y="21"/>
                      <a:pt x="11" y="20"/>
                    </a:cubicBezTo>
                    <a:cubicBezTo>
                      <a:pt x="10" y="20"/>
                      <a:pt x="10" y="19"/>
                      <a:pt x="9" y="19"/>
                    </a:cubicBezTo>
                    <a:cubicBezTo>
                      <a:pt x="9" y="19"/>
                      <a:pt x="9" y="19"/>
                      <a:pt x="9" y="19"/>
                    </a:cubicBezTo>
                    <a:close/>
                    <a:moveTo>
                      <a:pt x="9" y="23"/>
                    </a:moveTo>
                    <a:cubicBezTo>
                      <a:pt x="9" y="23"/>
                      <a:pt x="12" y="27"/>
                      <a:pt x="12" y="27"/>
                    </a:cubicBezTo>
                    <a:cubicBezTo>
                      <a:pt x="13" y="26"/>
                      <a:pt x="12" y="25"/>
                      <a:pt x="11" y="25"/>
                    </a:cubicBezTo>
                    <a:cubicBezTo>
                      <a:pt x="11" y="25"/>
                      <a:pt x="11" y="24"/>
                      <a:pt x="10" y="24"/>
                    </a:cubicBezTo>
                    <a:cubicBezTo>
                      <a:pt x="10" y="24"/>
                      <a:pt x="10" y="23"/>
                      <a:pt x="9" y="23"/>
                    </a:cubicBezTo>
                    <a:cubicBezTo>
                      <a:pt x="9" y="23"/>
                      <a:pt x="10" y="23"/>
                      <a:pt x="9" y="23"/>
                    </a:cubicBezTo>
                    <a:close/>
                    <a:moveTo>
                      <a:pt x="19" y="30"/>
                    </a:moveTo>
                    <a:cubicBezTo>
                      <a:pt x="18" y="30"/>
                      <a:pt x="19" y="30"/>
                      <a:pt x="19" y="31"/>
                    </a:cubicBezTo>
                    <a:cubicBezTo>
                      <a:pt x="19" y="31"/>
                      <a:pt x="20" y="31"/>
                      <a:pt x="20" y="31"/>
                    </a:cubicBezTo>
                    <a:cubicBezTo>
                      <a:pt x="21" y="31"/>
                      <a:pt x="22" y="31"/>
                      <a:pt x="23" y="31"/>
                    </a:cubicBezTo>
                    <a:cubicBezTo>
                      <a:pt x="23" y="30"/>
                      <a:pt x="20" y="30"/>
                      <a:pt x="20" y="30"/>
                    </a:cubicBezTo>
                    <a:cubicBezTo>
                      <a:pt x="20" y="30"/>
                      <a:pt x="19" y="30"/>
                      <a:pt x="19" y="30"/>
                    </a:cubicBezTo>
                    <a:close/>
                    <a:moveTo>
                      <a:pt x="21" y="34"/>
                    </a:moveTo>
                    <a:cubicBezTo>
                      <a:pt x="22" y="35"/>
                      <a:pt x="23" y="35"/>
                      <a:pt x="24" y="34"/>
                    </a:cubicBezTo>
                    <a:cubicBezTo>
                      <a:pt x="24" y="34"/>
                      <a:pt x="25" y="35"/>
                      <a:pt x="25" y="34"/>
                    </a:cubicBezTo>
                    <a:cubicBezTo>
                      <a:pt x="24" y="34"/>
                      <a:pt x="24" y="34"/>
                      <a:pt x="23" y="34"/>
                    </a:cubicBezTo>
                    <a:cubicBezTo>
                      <a:pt x="23" y="34"/>
                      <a:pt x="21" y="34"/>
                      <a:pt x="21" y="34"/>
                    </a:cubicBezTo>
                    <a:cubicBezTo>
                      <a:pt x="22" y="34"/>
                      <a:pt x="21" y="34"/>
                      <a:pt x="21" y="34"/>
                    </a:cubicBezTo>
                    <a:close/>
                    <a:moveTo>
                      <a:pt x="25" y="34"/>
                    </a:moveTo>
                    <a:cubicBezTo>
                      <a:pt x="26" y="34"/>
                      <a:pt x="27" y="36"/>
                      <a:pt x="28" y="36"/>
                    </a:cubicBezTo>
                    <a:cubicBezTo>
                      <a:pt x="28" y="35"/>
                      <a:pt x="27" y="34"/>
                      <a:pt x="26" y="34"/>
                    </a:cubicBezTo>
                    <a:cubicBezTo>
                      <a:pt x="26" y="34"/>
                      <a:pt x="26" y="33"/>
                      <a:pt x="25" y="34"/>
                    </a:cubicBezTo>
                    <a:cubicBezTo>
                      <a:pt x="25" y="34"/>
                      <a:pt x="25" y="34"/>
                      <a:pt x="25" y="34"/>
                    </a:cubicBezTo>
                    <a:cubicBezTo>
                      <a:pt x="26" y="34"/>
                      <a:pt x="25" y="34"/>
                      <a:pt x="25" y="34"/>
                    </a:cubicBezTo>
                    <a:close/>
                    <a:moveTo>
                      <a:pt x="18" y="33"/>
                    </a:moveTo>
                    <a:cubicBezTo>
                      <a:pt x="18" y="33"/>
                      <a:pt x="17" y="33"/>
                      <a:pt x="17" y="34"/>
                    </a:cubicBezTo>
                    <a:cubicBezTo>
                      <a:pt x="18" y="34"/>
                      <a:pt x="19" y="33"/>
                      <a:pt x="18" y="33"/>
                    </a:cubicBezTo>
                    <a:cubicBezTo>
                      <a:pt x="18" y="33"/>
                      <a:pt x="18" y="33"/>
                      <a:pt x="18" y="33"/>
                    </a:cubicBezTo>
                    <a:cubicBezTo>
                      <a:pt x="18" y="33"/>
                      <a:pt x="18" y="33"/>
                      <a:pt x="18" y="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3" name="Freeform 818">
                <a:extLst>
                  <a:ext uri="{FF2B5EF4-FFF2-40B4-BE49-F238E27FC236}">
                    <a16:creationId xmlns:a16="http://schemas.microsoft.com/office/drawing/2014/main" id="{7CC5134F-3C3D-582B-1BC0-00341FBCC8B7}"/>
                  </a:ext>
                </a:extLst>
              </p:cNvPr>
              <p:cNvSpPr>
                <a:spLocks/>
              </p:cNvSpPr>
              <p:nvPr/>
            </p:nvSpPr>
            <p:spPr bwMode="auto">
              <a:xfrm>
                <a:off x="6003925" y="3492500"/>
                <a:ext cx="184150" cy="115888"/>
              </a:xfrm>
              <a:custGeom>
                <a:avLst/>
                <a:gdLst>
                  <a:gd name="T0" fmla="*/ 39 w 44"/>
                  <a:gd name="T1" fmla="*/ 4 h 28"/>
                  <a:gd name="T2" fmla="*/ 37 w 44"/>
                  <a:gd name="T3" fmla="*/ 3 h 28"/>
                  <a:gd name="T4" fmla="*/ 35 w 44"/>
                  <a:gd name="T5" fmla="*/ 2 h 28"/>
                  <a:gd name="T6" fmla="*/ 29 w 44"/>
                  <a:gd name="T7" fmla="*/ 2 h 28"/>
                  <a:gd name="T8" fmla="*/ 25 w 44"/>
                  <a:gd name="T9" fmla="*/ 4 h 28"/>
                  <a:gd name="T10" fmla="*/ 20 w 44"/>
                  <a:gd name="T11" fmla="*/ 5 h 28"/>
                  <a:gd name="T12" fmla="*/ 16 w 44"/>
                  <a:gd name="T13" fmla="*/ 5 h 28"/>
                  <a:gd name="T14" fmla="*/ 11 w 44"/>
                  <a:gd name="T15" fmla="*/ 4 h 28"/>
                  <a:gd name="T16" fmla="*/ 4 w 44"/>
                  <a:gd name="T17" fmla="*/ 3 h 28"/>
                  <a:gd name="T18" fmla="*/ 4 w 44"/>
                  <a:gd name="T19" fmla="*/ 1 h 28"/>
                  <a:gd name="T20" fmla="*/ 2 w 44"/>
                  <a:gd name="T21" fmla="*/ 2 h 28"/>
                  <a:gd name="T22" fmla="*/ 2 w 44"/>
                  <a:gd name="T23" fmla="*/ 6 h 28"/>
                  <a:gd name="T24" fmla="*/ 3 w 44"/>
                  <a:gd name="T25" fmla="*/ 8 h 28"/>
                  <a:gd name="T26" fmla="*/ 5 w 44"/>
                  <a:gd name="T27" fmla="*/ 10 h 28"/>
                  <a:gd name="T28" fmla="*/ 4 w 44"/>
                  <a:gd name="T29" fmla="*/ 12 h 28"/>
                  <a:gd name="T30" fmla="*/ 1 w 44"/>
                  <a:gd name="T31" fmla="*/ 13 h 28"/>
                  <a:gd name="T32" fmla="*/ 1 w 44"/>
                  <a:gd name="T33" fmla="*/ 16 h 28"/>
                  <a:gd name="T34" fmla="*/ 1 w 44"/>
                  <a:gd name="T35" fmla="*/ 18 h 28"/>
                  <a:gd name="T36" fmla="*/ 4 w 44"/>
                  <a:gd name="T37" fmla="*/ 22 h 28"/>
                  <a:gd name="T38" fmla="*/ 4 w 44"/>
                  <a:gd name="T39" fmla="*/ 27 h 28"/>
                  <a:gd name="T40" fmla="*/ 8 w 44"/>
                  <a:gd name="T41" fmla="*/ 26 h 28"/>
                  <a:gd name="T42" fmla="*/ 12 w 44"/>
                  <a:gd name="T43" fmla="*/ 25 h 28"/>
                  <a:gd name="T44" fmla="*/ 14 w 44"/>
                  <a:gd name="T45" fmla="*/ 25 h 28"/>
                  <a:gd name="T46" fmla="*/ 15 w 44"/>
                  <a:gd name="T47" fmla="*/ 25 h 28"/>
                  <a:gd name="T48" fmla="*/ 16 w 44"/>
                  <a:gd name="T49" fmla="*/ 26 h 28"/>
                  <a:gd name="T50" fmla="*/ 20 w 44"/>
                  <a:gd name="T51" fmla="*/ 28 h 28"/>
                  <a:gd name="T52" fmla="*/ 24 w 44"/>
                  <a:gd name="T53" fmla="*/ 27 h 28"/>
                  <a:gd name="T54" fmla="*/ 26 w 44"/>
                  <a:gd name="T55" fmla="*/ 24 h 28"/>
                  <a:gd name="T56" fmla="*/ 29 w 44"/>
                  <a:gd name="T57" fmla="*/ 23 h 28"/>
                  <a:gd name="T58" fmla="*/ 33 w 44"/>
                  <a:gd name="T59" fmla="*/ 20 h 28"/>
                  <a:gd name="T60" fmla="*/ 34 w 44"/>
                  <a:gd name="T61" fmla="*/ 20 h 28"/>
                  <a:gd name="T62" fmla="*/ 36 w 44"/>
                  <a:gd name="T63" fmla="*/ 22 h 28"/>
                  <a:gd name="T64" fmla="*/ 37 w 44"/>
                  <a:gd name="T65" fmla="*/ 21 h 28"/>
                  <a:gd name="T66" fmla="*/ 38 w 44"/>
                  <a:gd name="T67" fmla="*/ 19 h 28"/>
                  <a:gd name="T68" fmla="*/ 35 w 44"/>
                  <a:gd name="T69" fmla="*/ 17 h 28"/>
                  <a:gd name="T70" fmla="*/ 37 w 44"/>
                  <a:gd name="T71" fmla="*/ 15 h 28"/>
                  <a:gd name="T72" fmla="*/ 38 w 44"/>
                  <a:gd name="T73" fmla="*/ 11 h 28"/>
                  <a:gd name="T74" fmla="*/ 42 w 44"/>
                  <a:gd name="T75" fmla="*/ 8 h 28"/>
                  <a:gd name="T76" fmla="*/ 41 w 44"/>
                  <a:gd name="T77"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28">
                    <a:moveTo>
                      <a:pt x="41" y="5"/>
                    </a:moveTo>
                    <a:cubicBezTo>
                      <a:pt x="40" y="5"/>
                      <a:pt x="39" y="5"/>
                      <a:pt x="39" y="4"/>
                    </a:cubicBezTo>
                    <a:cubicBezTo>
                      <a:pt x="38" y="3"/>
                      <a:pt x="39" y="3"/>
                      <a:pt x="38" y="3"/>
                    </a:cubicBezTo>
                    <a:cubicBezTo>
                      <a:pt x="37" y="3"/>
                      <a:pt x="37" y="3"/>
                      <a:pt x="37" y="3"/>
                    </a:cubicBezTo>
                    <a:cubicBezTo>
                      <a:pt x="37" y="3"/>
                      <a:pt x="36" y="2"/>
                      <a:pt x="36" y="2"/>
                    </a:cubicBezTo>
                    <a:cubicBezTo>
                      <a:pt x="36" y="2"/>
                      <a:pt x="35" y="2"/>
                      <a:pt x="35" y="2"/>
                    </a:cubicBezTo>
                    <a:cubicBezTo>
                      <a:pt x="35" y="2"/>
                      <a:pt x="34" y="2"/>
                      <a:pt x="34" y="2"/>
                    </a:cubicBezTo>
                    <a:cubicBezTo>
                      <a:pt x="32" y="1"/>
                      <a:pt x="31" y="1"/>
                      <a:pt x="29" y="2"/>
                    </a:cubicBezTo>
                    <a:cubicBezTo>
                      <a:pt x="28" y="2"/>
                      <a:pt x="28" y="2"/>
                      <a:pt x="27" y="3"/>
                    </a:cubicBezTo>
                    <a:cubicBezTo>
                      <a:pt x="26" y="3"/>
                      <a:pt x="25" y="4"/>
                      <a:pt x="25" y="4"/>
                    </a:cubicBezTo>
                    <a:cubicBezTo>
                      <a:pt x="24" y="5"/>
                      <a:pt x="24" y="5"/>
                      <a:pt x="23" y="5"/>
                    </a:cubicBezTo>
                    <a:cubicBezTo>
                      <a:pt x="22" y="6"/>
                      <a:pt x="21" y="6"/>
                      <a:pt x="20" y="5"/>
                    </a:cubicBezTo>
                    <a:cubicBezTo>
                      <a:pt x="20" y="5"/>
                      <a:pt x="19" y="5"/>
                      <a:pt x="18" y="5"/>
                    </a:cubicBezTo>
                    <a:cubicBezTo>
                      <a:pt x="17" y="5"/>
                      <a:pt x="17" y="5"/>
                      <a:pt x="16" y="5"/>
                    </a:cubicBezTo>
                    <a:cubicBezTo>
                      <a:pt x="15" y="4"/>
                      <a:pt x="14" y="5"/>
                      <a:pt x="14" y="5"/>
                    </a:cubicBezTo>
                    <a:cubicBezTo>
                      <a:pt x="13" y="5"/>
                      <a:pt x="12" y="4"/>
                      <a:pt x="11" y="4"/>
                    </a:cubicBezTo>
                    <a:cubicBezTo>
                      <a:pt x="9" y="4"/>
                      <a:pt x="8" y="3"/>
                      <a:pt x="6" y="4"/>
                    </a:cubicBezTo>
                    <a:cubicBezTo>
                      <a:pt x="6" y="4"/>
                      <a:pt x="3" y="4"/>
                      <a:pt x="4" y="3"/>
                    </a:cubicBezTo>
                    <a:cubicBezTo>
                      <a:pt x="4" y="2"/>
                      <a:pt x="6" y="2"/>
                      <a:pt x="5" y="2"/>
                    </a:cubicBezTo>
                    <a:cubicBezTo>
                      <a:pt x="5" y="1"/>
                      <a:pt x="5" y="1"/>
                      <a:pt x="4" y="1"/>
                    </a:cubicBezTo>
                    <a:cubicBezTo>
                      <a:pt x="4" y="1"/>
                      <a:pt x="4" y="1"/>
                      <a:pt x="3" y="0"/>
                    </a:cubicBezTo>
                    <a:cubicBezTo>
                      <a:pt x="3" y="1"/>
                      <a:pt x="3" y="1"/>
                      <a:pt x="2" y="2"/>
                    </a:cubicBezTo>
                    <a:cubicBezTo>
                      <a:pt x="2" y="2"/>
                      <a:pt x="2" y="2"/>
                      <a:pt x="1" y="3"/>
                    </a:cubicBezTo>
                    <a:cubicBezTo>
                      <a:pt x="0" y="4"/>
                      <a:pt x="1" y="5"/>
                      <a:pt x="2" y="6"/>
                    </a:cubicBezTo>
                    <a:cubicBezTo>
                      <a:pt x="2" y="7"/>
                      <a:pt x="2" y="7"/>
                      <a:pt x="2" y="7"/>
                    </a:cubicBezTo>
                    <a:cubicBezTo>
                      <a:pt x="2" y="8"/>
                      <a:pt x="3" y="8"/>
                      <a:pt x="3" y="8"/>
                    </a:cubicBezTo>
                    <a:cubicBezTo>
                      <a:pt x="4" y="9"/>
                      <a:pt x="4" y="9"/>
                      <a:pt x="4" y="9"/>
                    </a:cubicBezTo>
                    <a:cubicBezTo>
                      <a:pt x="4" y="10"/>
                      <a:pt x="5" y="10"/>
                      <a:pt x="5" y="10"/>
                    </a:cubicBezTo>
                    <a:cubicBezTo>
                      <a:pt x="5" y="11"/>
                      <a:pt x="5" y="11"/>
                      <a:pt x="5" y="11"/>
                    </a:cubicBezTo>
                    <a:cubicBezTo>
                      <a:pt x="4" y="12"/>
                      <a:pt x="4" y="12"/>
                      <a:pt x="4" y="12"/>
                    </a:cubicBezTo>
                    <a:cubicBezTo>
                      <a:pt x="3" y="13"/>
                      <a:pt x="3" y="13"/>
                      <a:pt x="3" y="13"/>
                    </a:cubicBezTo>
                    <a:cubicBezTo>
                      <a:pt x="2" y="13"/>
                      <a:pt x="2" y="13"/>
                      <a:pt x="1" y="13"/>
                    </a:cubicBezTo>
                    <a:cubicBezTo>
                      <a:pt x="1" y="14"/>
                      <a:pt x="2" y="14"/>
                      <a:pt x="1" y="15"/>
                    </a:cubicBezTo>
                    <a:cubicBezTo>
                      <a:pt x="1" y="15"/>
                      <a:pt x="1" y="15"/>
                      <a:pt x="1" y="16"/>
                    </a:cubicBezTo>
                    <a:cubicBezTo>
                      <a:pt x="2" y="16"/>
                      <a:pt x="2" y="16"/>
                      <a:pt x="2" y="17"/>
                    </a:cubicBezTo>
                    <a:cubicBezTo>
                      <a:pt x="2" y="18"/>
                      <a:pt x="1" y="18"/>
                      <a:pt x="1" y="18"/>
                    </a:cubicBezTo>
                    <a:cubicBezTo>
                      <a:pt x="1" y="19"/>
                      <a:pt x="2" y="20"/>
                      <a:pt x="3" y="20"/>
                    </a:cubicBezTo>
                    <a:cubicBezTo>
                      <a:pt x="4" y="20"/>
                      <a:pt x="4" y="21"/>
                      <a:pt x="4" y="22"/>
                    </a:cubicBezTo>
                    <a:cubicBezTo>
                      <a:pt x="4" y="23"/>
                      <a:pt x="5" y="23"/>
                      <a:pt x="5" y="24"/>
                    </a:cubicBezTo>
                    <a:cubicBezTo>
                      <a:pt x="5" y="25"/>
                      <a:pt x="5" y="26"/>
                      <a:pt x="4" y="27"/>
                    </a:cubicBezTo>
                    <a:cubicBezTo>
                      <a:pt x="5" y="27"/>
                      <a:pt x="6" y="27"/>
                      <a:pt x="6" y="27"/>
                    </a:cubicBezTo>
                    <a:cubicBezTo>
                      <a:pt x="7" y="27"/>
                      <a:pt x="7" y="26"/>
                      <a:pt x="8" y="26"/>
                    </a:cubicBezTo>
                    <a:cubicBezTo>
                      <a:pt x="9" y="26"/>
                      <a:pt x="9" y="27"/>
                      <a:pt x="10" y="26"/>
                    </a:cubicBezTo>
                    <a:cubicBezTo>
                      <a:pt x="11" y="26"/>
                      <a:pt x="11" y="25"/>
                      <a:pt x="12" y="25"/>
                    </a:cubicBezTo>
                    <a:cubicBezTo>
                      <a:pt x="13" y="25"/>
                      <a:pt x="13" y="25"/>
                      <a:pt x="13" y="25"/>
                    </a:cubicBezTo>
                    <a:cubicBezTo>
                      <a:pt x="14" y="25"/>
                      <a:pt x="13" y="25"/>
                      <a:pt x="14" y="25"/>
                    </a:cubicBezTo>
                    <a:cubicBezTo>
                      <a:pt x="14" y="25"/>
                      <a:pt x="14" y="25"/>
                      <a:pt x="14" y="25"/>
                    </a:cubicBezTo>
                    <a:cubicBezTo>
                      <a:pt x="14" y="25"/>
                      <a:pt x="15" y="25"/>
                      <a:pt x="15" y="25"/>
                    </a:cubicBezTo>
                    <a:cubicBezTo>
                      <a:pt x="15" y="25"/>
                      <a:pt x="15" y="25"/>
                      <a:pt x="15" y="25"/>
                    </a:cubicBezTo>
                    <a:cubicBezTo>
                      <a:pt x="16" y="25"/>
                      <a:pt x="16" y="25"/>
                      <a:pt x="16" y="26"/>
                    </a:cubicBezTo>
                    <a:cubicBezTo>
                      <a:pt x="16" y="26"/>
                      <a:pt x="17" y="26"/>
                      <a:pt x="17" y="27"/>
                    </a:cubicBezTo>
                    <a:cubicBezTo>
                      <a:pt x="18" y="26"/>
                      <a:pt x="20" y="27"/>
                      <a:pt x="20" y="28"/>
                    </a:cubicBezTo>
                    <a:cubicBezTo>
                      <a:pt x="21" y="28"/>
                      <a:pt x="22" y="27"/>
                      <a:pt x="22" y="27"/>
                    </a:cubicBezTo>
                    <a:cubicBezTo>
                      <a:pt x="23" y="27"/>
                      <a:pt x="24" y="27"/>
                      <a:pt x="24" y="27"/>
                    </a:cubicBezTo>
                    <a:cubicBezTo>
                      <a:pt x="26" y="27"/>
                      <a:pt x="27" y="26"/>
                      <a:pt x="27" y="25"/>
                    </a:cubicBezTo>
                    <a:cubicBezTo>
                      <a:pt x="26" y="25"/>
                      <a:pt x="26" y="24"/>
                      <a:pt x="26" y="24"/>
                    </a:cubicBezTo>
                    <a:cubicBezTo>
                      <a:pt x="26" y="23"/>
                      <a:pt x="27" y="23"/>
                      <a:pt x="27" y="23"/>
                    </a:cubicBezTo>
                    <a:cubicBezTo>
                      <a:pt x="27" y="23"/>
                      <a:pt x="28" y="23"/>
                      <a:pt x="29" y="23"/>
                    </a:cubicBezTo>
                    <a:cubicBezTo>
                      <a:pt x="29" y="22"/>
                      <a:pt x="29" y="22"/>
                      <a:pt x="29" y="22"/>
                    </a:cubicBezTo>
                    <a:cubicBezTo>
                      <a:pt x="30" y="21"/>
                      <a:pt x="32" y="22"/>
                      <a:pt x="33" y="20"/>
                    </a:cubicBezTo>
                    <a:cubicBezTo>
                      <a:pt x="33" y="20"/>
                      <a:pt x="33" y="21"/>
                      <a:pt x="33" y="21"/>
                    </a:cubicBezTo>
                    <a:cubicBezTo>
                      <a:pt x="34" y="21"/>
                      <a:pt x="34" y="20"/>
                      <a:pt x="34" y="20"/>
                    </a:cubicBezTo>
                    <a:cubicBezTo>
                      <a:pt x="35" y="20"/>
                      <a:pt x="35" y="21"/>
                      <a:pt x="35" y="21"/>
                    </a:cubicBezTo>
                    <a:cubicBezTo>
                      <a:pt x="36" y="22"/>
                      <a:pt x="36" y="22"/>
                      <a:pt x="36" y="22"/>
                    </a:cubicBezTo>
                    <a:cubicBezTo>
                      <a:pt x="36" y="22"/>
                      <a:pt x="36" y="21"/>
                      <a:pt x="37" y="21"/>
                    </a:cubicBezTo>
                    <a:cubicBezTo>
                      <a:pt x="37" y="21"/>
                      <a:pt x="37" y="21"/>
                      <a:pt x="37" y="21"/>
                    </a:cubicBezTo>
                    <a:cubicBezTo>
                      <a:pt x="38" y="21"/>
                      <a:pt x="38" y="21"/>
                      <a:pt x="39" y="21"/>
                    </a:cubicBezTo>
                    <a:cubicBezTo>
                      <a:pt x="39" y="20"/>
                      <a:pt x="38" y="20"/>
                      <a:pt x="38" y="19"/>
                    </a:cubicBezTo>
                    <a:cubicBezTo>
                      <a:pt x="37" y="19"/>
                      <a:pt x="37" y="18"/>
                      <a:pt x="37" y="18"/>
                    </a:cubicBezTo>
                    <a:cubicBezTo>
                      <a:pt x="36" y="17"/>
                      <a:pt x="36" y="17"/>
                      <a:pt x="35" y="17"/>
                    </a:cubicBezTo>
                    <a:cubicBezTo>
                      <a:pt x="35" y="17"/>
                      <a:pt x="35" y="16"/>
                      <a:pt x="36" y="16"/>
                    </a:cubicBezTo>
                    <a:cubicBezTo>
                      <a:pt x="36" y="16"/>
                      <a:pt x="37" y="15"/>
                      <a:pt x="37" y="15"/>
                    </a:cubicBezTo>
                    <a:cubicBezTo>
                      <a:pt x="37" y="15"/>
                      <a:pt x="38" y="14"/>
                      <a:pt x="38" y="14"/>
                    </a:cubicBezTo>
                    <a:cubicBezTo>
                      <a:pt x="38" y="13"/>
                      <a:pt x="38" y="12"/>
                      <a:pt x="38" y="11"/>
                    </a:cubicBezTo>
                    <a:cubicBezTo>
                      <a:pt x="38" y="11"/>
                      <a:pt x="38" y="10"/>
                      <a:pt x="39" y="10"/>
                    </a:cubicBezTo>
                    <a:cubicBezTo>
                      <a:pt x="40" y="8"/>
                      <a:pt x="40" y="8"/>
                      <a:pt x="42" y="8"/>
                    </a:cubicBezTo>
                    <a:cubicBezTo>
                      <a:pt x="44" y="8"/>
                      <a:pt x="43" y="6"/>
                      <a:pt x="43" y="5"/>
                    </a:cubicBezTo>
                    <a:cubicBezTo>
                      <a:pt x="42" y="5"/>
                      <a:pt x="41" y="5"/>
                      <a:pt x="4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4" name="Freeform 819">
                <a:extLst>
                  <a:ext uri="{FF2B5EF4-FFF2-40B4-BE49-F238E27FC236}">
                    <a16:creationId xmlns:a16="http://schemas.microsoft.com/office/drawing/2014/main" id="{7F1D6547-5124-298C-BBB2-D9B5D66D3F92}"/>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820">
                <a:extLst>
                  <a:ext uri="{FF2B5EF4-FFF2-40B4-BE49-F238E27FC236}">
                    <a16:creationId xmlns:a16="http://schemas.microsoft.com/office/drawing/2014/main" id="{C65B1B80-5D10-1479-E5CA-1549A5CA4504}"/>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821">
                <a:extLst>
                  <a:ext uri="{FF2B5EF4-FFF2-40B4-BE49-F238E27FC236}">
                    <a16:creationId xmlns:a16="http://schemas.microsoft.com/office/drawing/2014/main" id="{387BD511-4AC0-9950-0904-0F1A1CA6CDA9}"/>
                  </a:ext>
                </a:extLst>
              </p:cNvPr>
              <p:cNvSpPr>
                <a:spLocks/>
              </p:cNvSpPr>
              <p:nvPr/>
            </p:nvSpPr>
            <p:spPr bwMode="auto">
              <a:xfrm>
                <a:off x="6024563" y="2967038"/>
                <a:ext cx="274637" cy="233363"/>
              </a:xfrm>
              <a:custGeom>
                <a:avLst/>
                <a:gdLst>
                  <a:gd name="T0" fmla="*/ 8 w 66"/>
                  <a:gd name="T1" fmla="*/ 51 h 56"/>
                  <a:gd name="T2" fmla="*/ 15 w 66"/>
                  <a:gd name="T3" fmla="*/ 48 h 56"/>
                  <a:gd name="T4" fmla="*/ 23 w 66"/>
                  <a:gd name="T5" fmla="*/ 50 h 56"/>
                  <a:gd name="T6" fmla="*/ 27 w 66"/>
                  <a:gd name="T7" fmla="*/ 50 h 56"/>
                  <a:gd name="T8" fmla="*/ 30 w 66"/>
                  <a:gd name="T9" fmla="*/ 52 h 56"/>
                  <a:gd name="T10" fmla="*/ 33 w 66"/>
                  <a:gd name="T11" fmla="*/ 52 h 56"/>
                  <a:gd name="T12" fmla="*/ 36 w 66"/>
                  <a:gd name="T13" fmla="*/ 53 h 56"/>
                  <a:gd name="T14" fmla="*/ 40 w 66"/>
                  <a:gd name="T15" fmla="*/ 52 h 56"/>
                  <a:gd name="T16" fmla="*/ 43 w 66"/>
                  <a:gd name="T17" fmla="*/ 54 h 56"/>
                  <a:gd name="T18" fmla="*/ 47 w 66"/>
                  <a:gd name="T19" fmla="*/ 54 h 56"/>
                  <a:gd name="T20" fmla="*/ 51 w 66"/>
                  <a:gd name="T21" fmla="*/ 52 h 56"/>
                  <a:gd name="T22" fmla="*/ 54 w 66"/>
                  <a:gd name="T23" fmla="*/ 47 h 56"/>
                  <a:gd name="T24" fmla="*/ 59 w 66"/>
                  <a:gd name="T25" fmla="*/ 47 h 56"/>
                  <a:gd name="T26" fmla="*/ 58 w 66"/>
                  <a:gd name="T27" fmla="*/ 42 h 56"/>
                  <a:gd name="T28" fmla="*/ 58 w 66"/>
                  <a:gd name="T29" fmla="*/ 40 h 56"/>
                  <a:gd name="T30" fmla="*/ 56 w 66"/>
                  <a:gd name="T31" fmla="*/ 35 h 56"/>
                  <a:gd name="T32" fmla="*/ 60 w 66"/>
                  <a:gd name="T33" fmla="*/ 36 h 56"/>
                  <a:gd name="T34" fmla="*/ 65 w 66"/>
                  <a:gd name="T35" fmla="*/ 33 h 56"/>
                  <a:gd name="T36" fmla="*/ 64 w 66"/>
                  <a:gd name="T37" fmla="*/ 29 h 56"/>
                  <a:gd name="T38" fmla="*/ 60 w 66"/>
                  <a:gd name="T39" fmla="*/ 28 h 56"/>
                  <a:gd name="T40" fmla="*/ 57 w 66"/>
                  <a:gd name="T41" fmla="*/ 23 h 56"/>
                  <a:gd name="T42" fmla="*/ 55 w 66"/>
                  <a:gd name="T43" fmla="*/ 19 h 56"/>
                  <a:gd name="T44" fmla="*/ 53 w 66"/>
                  <a:gd name="T45" fmla="*/ 16 h 56"/>
                  <a:gd name="T46" fmla="*/ 54 w 66"/>
                  <a:gd name="T47" fmla="*/ 13 h 56"/>
                  <a:gd name="T48" fmla="*/ 53 w 66"/>
                  <a:gd name="T49" fmla="*/ 10 h 56"/>
                  <a:gd name="T50" fmla="*/ 54 w 66"/>
                  <a:gd name="T51" fmla="*/ 8 h 56"/>
                  <a:gd name="T52" fmla="*/ 51 w 66"/>
                  <a:gd name="T53" fmla="*/ 6 h 56"/>
                  <a:gd name="T54" fmla="*/ 46 w 66"/>
                  <a:gd name="T55" fmla="*/ 5 h 56"/>
                  <a:gd name="T56" fmla="*/ 44 w 66"/>
                  <a:gd name="T57" fmla="*/ 2 h 56"/>
                  <a:gd name="T58" fmla="*/ 38 w 66"/>
                  <a:gd name="T59" fmla="*/ 1 h 56"/>
                  <a:gd name="T60" fmla="*/ 33 w 66"/>
                  <a:gd name="T61" fmla="*/ 1 h 56"/>
                  <a:gd name="T62" fmla="*/ 29 w 66"/>
                  <a:gd name="T63" fmla="*/ 4 h 56"/>
                  <a:gd name="T64" fmla="*/ 24 w 66"/>
                  <a:gd name="T65" fmla="*/ 6 h 56"/>
                  <a:gd name="T66" fmla="*/ 25 w 66"/>
                  <a:gd name="T67" fmla="*/ 11 h 56"/>
                  <a:gd name="T68" fmla="*/ 22 w 66"/>
                  <a:gd name="T69" fmla="*/ 13 h 56"/>
                  <a:gd name="T70" fmla="*/ 19 w 66"/>
                  <a:gd name="T71" fmla="*/ 17 h 56"/>
                  <a:gd name="T72" fmla="*/ 18 w 66"/>
                  <a:gd name="T73" fmla="*/ 23 h 56"/>
                  <a:gd name="T74" fmla="*/ 16 w 66"/>
                  <a:gd name="T75" fmla="*/ 23 h 56"/>
                  <a:gd name="T76" fmla="*/ 12 w 66"/>
                  <a:gd name="T77" fmla="*/ 26 h 56"/>
                  <a:gd name="T78" fmla="*/ 7 w 66"/>
                  <a:gd name="T79" fmla="*/ 26 h 56"/>
                  <a:gd name="T80" fmla="*/ 4 w 66"/>
                  <a:gd name="T81" fmla="*/ 30 h 56"/>
                  <a:gd name="T82" fmla="*/ 6 w 66"/>
                  <a:gd name="T83" fmla="*/ 41 h 56"/>
                  <a:gd name="T84" fmla="*/ 4 w 66"/>
                  <a:gd name="T8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6">
                    <a:moveTo>
                      <a:pt x="6" y="52"/>
                    </a:moveTo>
                    <a:cubicBezTo>
                      <a:pt x="6" y="52"/>
                      <a:pt x="7" y="52"/>
                      <a:pt x="7" y="52"/>
                    </a:cubicBezTo>
                    <a:cubicBezTo>
                      <a:pt x="8" y="52"/>
                      <a:pt x="8" y="51"/>
                      <a:pt x="8" y="51"/>
                    </a:cubicBezTo>
                    <a:cubicBezTo>
                      <a:pt x="9" y="49"/>
                      <a:pt x="9" y="49"/>
                      <a:pt x="11" y="49"/>
                    </a:cubicBezTo>
                    <a:cubicBezTo>
                      <a:pt x="11" y="49"/>
                      <a:pt x="12" y="49"/>
                      <a:pt x="13" y="49"/>
                    </a:cubicBezTo>
                    <a:cubicBezTo>
                      <a:pt x="13" y="49"/>
                      <a:pt x="14" y="48"/>
                      <a:pt x="15" y="48"/>
                    </a:cubicBezTo>
                    <a:cubicBezTo>
                      <a:pt x="15" y="48"/>
                      <a:pt x="16" y="48"/>
                      <a:pt x="17" y="48"/>
                    </a:cubicBezTo>
                    <a:cubicBezTo>
                      <a:pt x="18" y="48"/>
                      <a:pt x="19" y="49"/>
                      <a:pt x="20" y="49"/>
                    </a:cubicBezTo>
                    <a:cubicBezTo>
                      <a:pt x="21" y="49"/>
                      <a:pt x="22" y="49"/>
                      <a:pt x="23" y="50"/>
                    </a:cubicBezTo>
                    <a:cubicBezTo>
                      <a:pt x="24" y="50"/>
                      <a:pt x="24" y="50"/>
                      <a:pt x="24" y="50"/>
                    </a:cubicBezTo>
                    <a:cubicBezTo>
                      <a:pt x="25" y="50"/>
                      <a:pt x="25" y="50"/>
                      <a:pt x="26" y="50"/>
                    </a:cubicBezTo>
                    <a:cubicBezTo>
                      <a:pt x="26" y="50"/>
                      <a:pt x="27" y="50"/>
                      <a:pt x="27" y="50"/>
                    </a:cubicBezTo>
                    <a:cubicBezTo>
                      <a:pt x="27" y="50"/>
                      <a:pt x="27" y="50"/>
                      <a:pt x="27" y="50"/>
                    </a:cubicBezTo>
                    <a:cubicBezTo>
                      <a:pt x="28" y="50"/>
                      <a:pt x="28" y="50"/>
                      <a:pt x="28" y="51"/>
                    </a:cubicBezTo>
                    <a:cubicBezTo>
                      <a:pt x="29" y="52"/>
                      <a:pt x="30" y="53"/>
                      <a:pt x="30" y="52"/>
                    </a:cubicBezTo>
                    <a:cubicBezTo>
                      <a:pt x="31" y="52"/>
                      <a:pt x="31" y="52"/>
                      <a:pt x="31" y="52"/>
                    </a:cubicBezTo>
                    <a:cubicBezTo>
                      <a:pt x="32" y="53"/>
                      <a:pt x="31" y="54"/>
                      <a:pt x="32" y="53"/>
                    </a:cubicBezTo>
                    <a:cubicBezTo>
                      <a:pt x="33" y="53"/>
                      <a:pt x="32" y="52"/>
                      <a:pt x="33" y="52"/>
                    </a:cubicBezTo>
                    <a:cubicBezTo>
                      <a:pt x="33" y="52"/>
                      <a:pt x="34" y="53"/>
                      <a:pt x="34" y="52"/>
                    </a:cubicBezTo>
                    <a:cubicBezTo>
                      <a:pt x="35" y="52"/>
                      <a:pt x="35" y="52"/>
                      <a:pt x="35" y="52"/>
                    </a:cubicBezTo>
                    <a:cubicBezTo>
                      <a:pt x="36" y="52"/>
                      <a:pt x="36" y="53"/>
                      <a:pt x="36" y="53"/>
                    </a:cubicBezTo>
                    <a:cubicBezTo>
                      <a:pt x="37" y="53"/>
                      <a:pt x="37" y="52"/>
                      <a:pt x="38" y="53"/>
                    </a:cubicBezTo>
                    <a:cubicBezTo>
                      <a:pt x="38" y="53"/>
                      <a:pt x="38" y="54"/>
                      <a:pt x="39" y="54"/>
                    </a:cubicBezTo>
                    <a:cubicBezTo>
                      <a:pt x="39" y="53"/>
                      <a:pt x="39" y="53"/>
                      <a:pt x="40" y="52"/>
                    </a:cubicBezTo>
                    <a:cubicBezTo>
                      <a:pt x="40" y="52"/>
                      <a:pt x="40" y="52"/>
                      <a:pt x="40" y="52"/>
                    </a:cubicBezTo>
                    <a:cubicBezTo>
                      <a:pt x="41" y="52"/>
                      <a:pt x="41" y="52"/>
                      <a:pt x="41" y="52"/>
                    </a:cubicBezTo>
                    <a:cubicBezTo>
                      <a:pt x="43" y="52"/>
                      <a:pt x="42" y="55"/>
                      <a:pt x="43" y="54"/>
                    </a:cubicBezTo>
                    <a:cubicBezTo>
                      <a:pt x="44" y="54"/>
                      <a:pt x="44" y="53"/>
                      <a:pt x="45" y="53"/>
                    </a:cubicBezTo>
                    <a:cubicBezTo>
                      <a:pt x="45" y="53"/>
                      <a:pt x="46" y="54"/>
                      <a:pt x="46" y="54"/>
                    </a:cubicBezTo>
                    <a:cubicBezTo>
                      <a:pt x="46" y="54"/>
                      <a:pt x="47" y="54"/>
                      <a:pt x="47" y="54"/>
                    </a:cubicBezTo>
                    <a:cubicBezTo>
                      <a:pt x="48" y="53"/>
                      <a:pt x="49" y="53"/>
                      <a:pt x="49" y="54"/>
                    </a:cubicBezTo>
                    <a:cubicBezTo>
                      <a:pt x="50" y="55"/>
                      <a:pt x="50" y="56"/>
                      <a:pt x="50" y="56"/>
                    </a:cubicBezTo>
                    <a:cubicBezTo>
                      <a:pt x="52" y="56"/>
                      <a:pt x="51" y="53"/>
                      <a:pt x="51" y="52"/>
                    </a:cubicBezTo>
                    <a:cubicBezTo>
                      <a:pt x="51" y="51"/>
                      <a:pt x="51" y="51"/>
                      <a:pt x="52" y="50"/>
                    </a:cubicBezTo>
                    <a:cubicBezTo>
                      <a:pt x="52" y="49"/>
                      <a:pt x="53" y="49"/>
                      <a:pt x="53" y="48"/>
                    </a:cubicBezTo>
                    <a:cubicBezTo>
                      <a:pt x="54" y="47"/>
                      <a:pt x="54" y="47"/>
                      <a:pt x="54" y="47"/>
                    </a:cubicBezTo>
                    <a:cubicBezTo>
                      <a:pt x="55" y="47"/>
                      <a:pt x="55" y="47"/>
                      <a:pt x="56" y="47"/>
                    </a:cubicBezTo>
                    <a:cubicBezTo>
                      <a:pt x="56" y="47"/>
                      <a:pt x="56" y="47"/>
                      <a:pt x="57" y="47"/>
                    </a:cubicBezTo>
                    <a:cubicBezTo>
                      <a:pt x="57" y="46"/>
                      <a:pt x="58" y="47"/>
                      <a:pt x="59" y="47"/>
                    </a:cubicBezTo>
                    <a:cubicBezTo>
                      <a:pt x="59" y="47"/>
                      <a:pt x="59" y="46"/>
                      <a:pt x="59" y="45"/>
                    </a:cubicBezTo>
                    <a:cubicBezTo>
                      <a:pt x="58" y="45"/>
                      <a:pt x="58" y="45"/>
                      <a:pt x="58" y="44"/>
                    </a:cubicBezTo>
                    <a:cubicBezTo>
                      <a:pt x="58" y="43"/>
                      <a:pt x="58" y="43"/>
                      <a:pt x="58" y="42"/>
                    </a:cubicBezTo>
                    <a:cubicBezTo>
                      <a:pt x="58" y="42"/>
                      <a:pt x="58" y="42"/>
                      <a:pt x="58" y="41"/>
                    </a:cubicBezTo>
                    <a:cubicBezTo>
                      <a:pt x="58" y="41"/>
                      <a:pt x="58" y="41"/>
                      <a:pt x="57" y="41"/>
                    </a:cubicBezTo>
                    <a:cubicBezTo>
                      <a:pt x="57" y="40"/>
                      <a:pt x="58" y="40"/>
                      <a:pt x="58" y="40"/>
                    </a:cubicBezTo>
                    <a:cubicBezTo>
                      <a:pt x="58" y="39"/>
                      <a:pt x="57" y="39"/>
                      <a:pt x="57" y="38"/>
                    </a:cubicBezTo>
                    <a:cubicBezTo>
                      <a:pt x="56" y="38"/>
                      <a:pt x="56" y="37"/>
                      <a:pt x="56" y="36"/>
                    </a:cubicBezTo>
                    <a:cubicBezTo>
                      <a:pt x="56" y="36"/>
                      <a:pt x="56" y="36"/>
                      <a:pt x="56" y="35"/>
                    </a:cubicBezTo>
                    <a:cubicBezTo>
                      <a:pt x="57" y="35"/>
                      <a:pt x="57" y="35"/>
                      <a:pt x="57" y="34"/>
                    </a:cubicBezTo>
                    <a:cubicBezTo>
                      <a:pt x="57" y="34"/>
                      <a:pt x="58" y="34"/>
                      <a:pt x="59" y="34"/>
                    </a:cubicBezTo>
                    <a:cubicBezTo>
                      <a:pt x="59" y="35"/>
                      <a:pt x="59" y="35"/>
                      <a:pt x="60" y="36"/>
                    </a:cubicBezTo>
                    <a:cubicBezTo>
                      <a:pt x="62" y="36"/>
                      <a:pt x="63" y="35"/>
                      <a:pt x="64" y="34"/>
                    </a:cubicBezTo>
                    <a:cubicBezTo>
                      <a:pt x="64" y="34"/>
                      <a:pt x="64" y="34"/>
                      <a:pt x="64" y="33"/>
                    </a:cubicBezTo>
                    <a:cubicBezTo>
                      <a:pt x="65" y="33"/>
                      <a:pt x="65" y="33"/>
                      <a:pt x="65" y="33"/>
                    </a:cubicBezTo>
                    <a:cubicBezTo>
                      <a:pt x="66" y="33"/>
                      <a:pt x="65" y="32"/>
                      <a:pt x="65" y="31"/>
                    </a:cubicBezTo>
                    <a:cubicBezTo>
                      <a:pt x="64" y="31"/>
                      <a:pt x="63" y="30"/>
                      <a:pt x="63" y="30"/>
                    </a:cubicBezTo>
                    <a:cubicBezTo>
                      <a:pt x="64" y="29"/>
                      <a:pt x="64" y="30"/>
                      <a:pt x="64" y="29"/>
                    </a:cubicBezTo>
                    <a:cubicBezTo>
                      <a:pt x="64" y="29"/>
                      <a:pt x="64" y="29"/>
                      <a:pt x="63" y="29"/>
                    </a:cubicBezTo>
                    <a:cubicBezTo>
                      <a:pt x="63" y="28"/>
                      <a:pt x="63" y="28"/>
                      <a:pt x="62" y="28"/>
                    </a:cubicBezTo>
                    <a:cubicBezTo>
                      <a:pt x="61" y="27"/>
                      <a:pt x="61" y="28"/>
                      <a:pt x="60" y="28"/>
                    </a:cubicBezTo>
                    <a:cubicBezTo>
                      <a:pt x="59" y="28"/>
                      <a:pt x="60" y="26"/>
                      <a:pt x="60" y="26"/>
                    </a:cubicBezTo>
                    <a:cubicBezTo>
                      <a:pt x="60" y="25"/>
                      <a:pt x="59" y="24"/>
                      <a:pt x="59" y="24"/>
                    </a:cubicBezTo>
                    <a:cubicBezTo>
                      <a:pt x="58" y="24"/>
                      <a:pt x="57" y="23"/>
                      <a:pt x="57" y="23"/>
                    </a:cubicBezTo>
                    <a:cubicBezTo>
                      <a:pt x="56" y="22"/>
                      <a:pt x="56" y="21"/>
                      <a:pt x="55" y="20"/>
                    </a:cubicBezTo>
                    <a:cubicBezTo>
                      <a:pt x="55" y="20"/>
                      <a:pt x="55" y="20"/>
                      <a:pt x="55" y="20"/>
                    </a:cubicBezTo>
                    <a:cubicBezTo>
                      <a:pt x="55" y="19"/>
                      <a:pt x="55" y="19"/>
                      <a:pt x="55" y="19"/>
                    </a:cubicBezTo>
                    <a:cubicBezTo>
                      <a:pt x="55" y="18"/>
                      <a:pt x="55" y="18"/>
                      <a:pt x="54" y="18"/>
                    </a:cubicBezTo>
                    <a:cubicBezTo>
                      <a:pt x="54" y="18"/>
                      <a:pt x="54" y="17"/>
                      <a:pt x="54" y="17"/>
                    </a:cubicBezTo>
                    <a:cubicBezTo>
                      <a:pt x="54" y="17"/>
                      <a:pt x="53" y="17"/>
                      <a:pt x="53" y="16"/>
                    </a:cubicBezTo>
                    <a:cubicBezTo>
                      <a:pt x="52" y="16"/>
                      <a:pt x="53" y="14"/>
                      <a:pt x="53" y="15"/>
                    </a:cubicBezTo>
                    <a:cubicBezTo>
                      <a:pt x="53" y="14"/>
                      <a:pt x="53" y="14"/>
                      <a:pt x="54" y="14"/>
                    </a:cubicBezTo>
                    <a:cubicBezTo>
                      <a:pt x="54" y="14"/>
                      <a:pt x="54" y="14"/>
                      <a:pt x="54" y="13"/>
                    </a:cubicBezTo>
                    <a:cubicBezTo>
                      <a:pt x="54" y="13"/>
                      <a:pt x="54" y="13"/>
                      <a:pt x="54" y="12"/>
                    </a:cubicBezTo>
                    <a:cubicBezTo>
                      <a:pt x="54" y="12"/>
                      <a:pt x="54" y="11"/>
                      <a:pt x="53" y="11"/>
                    </a:cubicBezTo>
                    <a:cubicBezTo>
                      <a:pt x="53" y="11"/>
                      <a:pt x="53" y="11"/>
                      <a:pt x="53" y="10"/>
                    </a:cubicBezTo>
                    <a:cubicBezTo>
                      <a:pt x="53" y="10"/>
                      <a:pt x="53" y="10"/>
                      <a:pt x="54" y="9"/>
                    </a:cubicBezTo>
                    <a:cubicBezTo>
                      <a:pt x="54" y="9"/>
                      <a:pt x="53" y="9"/>
                      <a:pt x="53" y="8"/>
                    </a:cubicBezTo>
                    <a:cubicBezTo>
                      <a:pt x="53" y="8"/>
                      <a:pt x="53" y="8"/>
                      <a:pt x="54" y="8"/>
                    </a:cubicBezTo>
                    <a:cubicBezTo>
                      <a:pt x="54" y="7"/>
                      <a:pt x="53" y="7"/>
                      <a:pt x="53" y="7"/>
                    </a:cubicBezTo>
                    <a:cubicBezTo>
                      <a:pt x="52" y="7"/>
                      <a:pt x="52" y="6"/>
                      <a:pt x="52" y="6"/>
                    </a:cubicBezTo>
                    <a:cubicBezTo>
                      <a:pt x="52" y="6"/>
                      <a:pt x="52" y="6"/>
                      <a:pt x="51" y="6"/>
                    </a:cubicBezTo>
                    <a:cubicBezTo>
                      <a:pt x="51" y="6"/>
                      <a:pt x="51" y="6"/>
                      <a:pt x="51" y="6"/>
                    </a:cubicBezTo>
                    <a:cubicBezTo>
                      <a:pt x="51" y="5"/>
                      <a:pt x="51" y="4"/>
                      <a:pt x="50" y="4"/>
                    </a:cubicBezTo>
                    <a:cubicBezTo>
                      <a:pt x="49" y="4"/>
                      <a:pt x="46" y="3"/>
                      <a:pt x="46" y="5"/>
                    </a:cubicBezTo>
                    <a:cubicBezTo>
                      <a:pt x="44" y="4"/>
                      <a:pt x="44" y="5"/>
                      <a:pt x="43" y="6"/>
                    </a:cubicBezTo>
                    <a:cubicBezTo>
                      <a:pt x="43" y="5"/>
                      <a:pt x="43" y="4"/>
                      <a:pt x="43" y="4"/>
                    </a:cubicBezTo>
                    <a:cubicBezTo>
                      <a:pt x="43" y="3"/>
                      <a:pt x="44" y="3"/>
                      <a:pt x="44" y="2"/>
                    </a:cubicBezTo>
                    <a:cubicBezTo>
                      <a:pt x="43" y="2"/>
                      <a:pt x="42" y="2"/>
                      <a:pt x="42" y="2"/>
                    </a:cubicBezTo>
                    <a:cubicBezTo>
                      <a:pt x="40" y="1"/>
                      <a:pt x="40" y="2"/>
                      <a:pt x="39" y="3"/>
                    </a:cubicBezTo>
                    <a:cubicBezTo>
                      <a:pt x="38" y="3"/>
                      <a:pt x="38" y="2"/>
                      <a:pt x="38" y="1"/>
                    </a:cubicBezTo>
                    <a:cubicBezTo>
                      <a:pt x="37" y="0"/>
                      <a:pt x="37" y="1"/>
                      <a:pt x="36" y="1"/>
                    </a:cubicBezTo>
                    <a:cubicBezTo>
                      <a:pt x="35" y="2"/>
                      <a:pt x="35" y="1"/>
                      <a:pt x="35" y="0"/>
                    </a:cubicBezTo>
                    <a:cubicBezTo>
                      <a:pt x="34" y="1"/>
                      <a:pt x="33" y="1"/>
                      <a:pt x="33" y="1"/>
                    </a:cubicBezTo>
                    <a:cubicBezTo>
                      <a:pt x="32" y="2"/>
                      <a:pt x="32" y="2"/>
                      <a:pt x="31" y="3"/>
                    </a:cubicBezTo>
                    <a:cubicBezTo>
                      <a:pt x="31" y="3"/>
                      <a:pt x="31" y="4"/>
                      <a:pt x="31" y="4"/>
                    </a:cubicBezTo>
                    <a:cubicBezTo>
                      <a:pt x="30" y="5"/>
                      <a:pt x="30" y="4"/>
                      <a:pt x="29" y="4"/>
                    </a:cubicBezTo>
                    <a:cubicBezTo>
                      <a:pt x="29" y="5"/>
                      <a:pt x="28" y="4"/>
                      <a:pt x="27" y="4"/>
                    </a:cubicBezTo>
                    <a:cubicBezTo>
                      <a:pt x="27" y="4"/>
                      <a:pt x="26" y="5"/>
                      <a:pt x="26" y="5"/>
                    </a:cubicBezTo>
                    <a:cubicBezTo>
                      <a:pt x="26" y="5"/>
                      <a:pt x="25" y="6"/>
                      <a:pt x="24" y="6"/>
                    </a:cubicBezTo>
                    <a:cubicBezTo>
                      <a:pt x="25" y="7"/>
                      <a:pt x="24" y="8"/>
                      <a:pt x="24" y="9"/>
                    </a:cubicBezTo>
                    <a:cubicBezTo>
                      <a:pt x="23" y="11"/>
                      <a:pt x="25" y="10"/>
                      <a:pt x="26" y="10"/>
                    </a:cubicBezTo>
                    <a:cubicBezTo>
                      <a:pt x="26" y="11"/>
                      <a:pt x="25" y="11"/>
                      <a:pt x="25" y="11"/>
                    </a:cubicBezTo>
                    <a:cubicBezTo>
                      <a:pt x="25" y="12"/>
                      <a:pt x="25" y="12"/>
                      <a:pt x="25" y="12"/>
                    </a:cubicBezTo>
                    <a:cubicBezTo>
                      <a:pt x="24" y="13"/>
                      <a:pt x="23" y="12"/>
                      <a:pt x="23" y="12"/>
                    </a:cubicBezTo>
                    <a:cubicBezTo>
                      <a:pt x="22" y="12"/>
                      <a:pt x="22" y="13"/>
                      <a:pt x="22" y="13"/>
                    </a:cubicBezTo>
                    <a:cubicBezTo>
                      <a:pt x="22" y="14"/>
                      <a:pt x="21" y="14"/>
                      <a:pt x="21" y="14"/>
                    </a:cubicBezTo>
                    <a:cubicBezTo>
                      <a:pt x="20" y="15"/>
                      <a:pt x="19" y="15"/>
                      <a:pt x="19" y="16"/>
                    </a:cubicBezTo>
                    <a:cubicBezTo>
                      <a:pt x="19" y="16"/>
                      <a:pt x="19" y="17"/>
                      <a:pt x="19" y="17"/>
                    </a:cubicBezTo>
                    <a:cubicBezTo>
                      <a:pt x="19" y="18"/>
                      <a:pt x="19" y="19"/>
                      <a:pt x="18" y="19"/>
                    </a:cubicBezTo>
                    <a:cubicBezTo>
                      <a:pt x="18" y="20"/>
                      <a:pt x="17" y="21"/>
                      <a:pt x="18" y="22"/>
                    </a:cubicBezTo>
                    <a:cubicBezTo>
                      <a:pt x="18" y="22"/>
                      <a:pt x="18" y="22"/>
                      <a:pt x="18" y="23"/>
                    </a:cubicBezTo>
                    <a:cubicBezTo>
                      <a:pt x="19" y="23"/>
                      <a:pt x="18" y="24"/>
                      <a:pt x="18" y="24"/>
                    </a:cubicBezTo>
                    <a:cubicBezTo>
                      <a:pt x="17" y="24"/>
                      <a:pt x="17" y="23"/>
                      <a:pt x="17" y="22"/>
                    </a:cubicBezTo>
                    <a:cubicBezTo>
                      <a:pt x="17" y="22"/>
                      <a:pt x="16" y="23"/>
                      <a:pt x="16" y="23"/>
                    </a:cubicBezTo>
                    <a:cubicBezTo>
                      <a:pt x="16" y="23"/>
                      <a:pt x="15" y="22"/>
                      <a:pt x="15" y="23"/>
                    </a:cubicBezTo>
                    <a:cubicBezTo>
                      <a:pt x="15" y="24"/>
                      <a:pt x="14" y="24"/>
                      <a:pt x="13" y="24"/>
                    </a:cubicBezTo>
                    <a:cubicBezTo>
                      <a:pt x="12" y="24"/>
                      <a:pt x="13" y="26"/>
                      <a:pt x="12" y="26"/>
                    </a:cubicBezTo>
                    <a:cubicBezTo>
                      <a:pt x="11" y="26"/>
                      <a:pt x="10" y="26"/>
                      <a:pt x="10" y="26"/>
                    </a:cubicBezTo>
                    <a:cubicBezTo>
                      <a:pt x="9" y="27"/>
                      <a:pt x="9" y="26"/>
                      <a:pt x="8" y="26"/>
                    </a:cubicBezTo>
                    <a:cubicBezTo>
                      <a:pt x="8" y="26"/>
                      <a:pt x="7" y="26"/>
                      <a:pt x="7" y="26"/>
                    </a:cubicBezTo>
                    <a:cubicBezTo>
                      <a:pt x="6" y="26"/>
                      <a:pt x="6" y="26"/>
                      <a:pt x="5" y="26"/>
                    </a:cubicBezTo>
                    <a:cubicBezTo>
                      <a:pt x="5" y="26"/>
                      <a:pt x="4" y="26"/>
                      <a:pt x="3" y="26"/>
                    </a:cubicBezTo>
                    <a:cubicBezTo>
                      <a:pt x="3" y="28"/>
                      <a:pt x="4" y="29"/>
                      <a:pt x="4" y="30"/>
                    </a:cubicBezTo>
                    <a:cubicBezTo>
                      <a:pt x="5" y="32"/>
                      <a:pt x="6" y="33"/>
                      <a:pt x="6" y="34"/>
                    </a:cubicBezTo>
                    <a:cubicBezTo>
                      <a:pt x="6" y="36"/>
                      <a:pt x="6" y="37"/>
                      <a:pt x="7" y="38"/>
                    </a:cubicBezTo>
                    <a:cubicBezTo>
                      <a:pt x="7" y="39"/>
                      <a:pt x="7" y="40"/>
                      <a:pt x="6" y="41"/>
                    </a:cubicBezTo>
                    <a:cubicBezTo>
                      <a:pt x="5" y="42"/>
                      <a:pt x="0" y="43"/>
                      <a:pt x="2" y="45"/>
                    </a:cubicBezTo>
                    <a:cubicBezTo>
                      <a:pt x="3" y="46"/>
                      <a:pt x="4" y="46"/>
                      <a:pt x="4" y="47"/>
                    </a:cubicBezTo>
                    <a:cubicBezTo>
                      <a:pt x="5" y="49"/>
                      <a:pt x="4" y="50"/>
                      <a:pt x="4" y="52"/>
                    </a:cubicBezTo>
                    <a:cubicBezTo>
                      <a:pt x="4" y="52"/>
                      <a:pt x="5" y="51"/>
                      <a:pt x="6"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7" name="Freeform 822">
                <a:extLst>
                  <a:ext uri="{FF2B5EF4-FFF2-40B4-BE49-F238E27FC236}">
                    <a16:creationId xmlns:a16="http://schemas.microsoft.com/office/drawing/2014/main" id="{4358A650-5CAC-F622-2703-0B2B8208A9D9}"/>
                  </a:ext>
                </a:extLst>
              </p:cNvPr>
              <p:cNvSpPr>
                <a:spLocks/>
              </p:cNvSpPr>
              <p:nvPr/>
            </p:nvSpPr>
            <p:spPr bwMode="auto">
              <a:xfrm>
                <a:off x="5646738" y="3300413"/>
                <a:ext cx="211137" cy="107950"/>
              </a:xfrm>
              <a:custGeom>
                <a:avLst/>
                <a:gdLst>
                  <a:gd name="T0" fmla="*/ 34 w 51"/>
                  <a:gd name="T1" fmla="*/ 25 h 26"/>
                  <a:gd name="T2" fmla="*/ 40 w 51"/>
                  <a:gd name="T3" fmla="*/ 23 h 26"/>
                  <a:gd name="T4" fmla="*/ 44 w 51"/>
                  <a:gd name="T5" fmla="*/ 22 h 26"/>
                  <a:gd name="T6" fmla="*/ 44 w 51"/>
                  <a:gd name="T7" fmla="*/ 21 h 26"/>
                  <a:gd name="T8" fmla="*/ 47 w 51"/>
                  <a:gd name="T9" fmla="*/ 19 h 26"/>
                  <a:gd name="T10" fmla="*/ 47 w 51"/>
                  <a:gd name="T11" fmla="*/ 17 h 26"/>
                  <a:gd name="T12" fmla="*/ 48 w 51"/>
                  <a:gd name="T13" fmla="*/ 16 h 26"/>
                  <a:gd name="T14" fmla="*/ 47 w 51"/>
                  <a:gd name="T15" fmla="*/ 13 h 26"/>
                  <a:gd name="T16" fmla="*/ 50 w 51"/>
                  <a:gd name="T17" fmla="*/ 13 h 26"/>
                  <a:gd name="T18" fmla="*/ 50 w 51"/>
                  <a:gd name="T19" fmla="*/ 7 h 26"/>
                  <a:gd name="T20" fmla="*/ 50 w 51"/>
                  <a:gd name="T21" fmla="*/ 3 h 26"/>
                  <a:gd name="T22" fmla="*/ 49 w 51"/>
                  <a:gd name="T23" fmla="*/ 2 h 26"/>
                  <a:gd name="T24" fmla="*/ 45 w 51"/>
                  <a:gd name="T25" fmla="*/ 2 h 26"/>
                  <a:gd name="T26" fmla="*/ 42 w 51"/>
                  <a:gd name="T27" fmla="*/ 1 h 26"/>
                  <a:gd name="T28" fmla="*/ 37 w 51"/>
                  <a:gd name="T29" fmla="*/ 0 h 26"/>
                  <a:gd name="T30" fmla="*/ 36 w 51"/>
                  <a:gd name="T31" fmla="*/ 2 h 26"/>
                  <a:gd name="T32" fmla="*/ 34 w 51"/>
                  <a:gd name="T33" fmla="*/ 3 h 26"/>
                  <a:gd name="T34" fmla="*/ 29 w 51"/>
                  <a:gd name="T35" fmla="*/ 2 h 26"/>
                  <a:gd name="T36" fmla="*/ 27 w 51"/>
                  <a:gd name="T37" fmla="*/ 4 h 26"/>
                  <a:gd name="T38" fmla="*/ 24 w 51"/>
                  <a:gd name="T39" fmla="*/ 7 h 26"/>
                  <a:gd name="T40" fmla="*/ 23 w 51"/>
                  <a:gd name="T41" fmla="*/ 10 h 26"/>
                  <a:gd name="T42" fmla="*/ 24 w 51"/>
                  <a:gd name="T43" fmla="*/ 13 h 26"/>
                  <a:gd name="T44" fmla="*/ 23 w 51"/>
                  <a:gd name="T45" fmla="*/ 14 h 26"/>
                  <a:gd name="T46" fmla="*/ 19 w 51"/>
                  <a:gd name="T47" fmla="*/ 13 h 26"/>
                  <a:gd name="T48" fmla="*/ 17 w 51"/>
                  <a:gd name="T49" fmla="*/ 14 h 26"/>
                  <a:gd name="T50" fmla="*/ 12 w 51"/>
                  <a:gd name="T51" fmla="*/ 16 h 26"/>
                  <a:gd name="T52" fmla="*/ 8 w 51"/>
                  <a:gd name="T53" fmla="*/ 14 h 26"/>
                  <a:gd name="T54" fmla="*/ 6 w 51"/>
                  <a:gd name="T55" fmla="*/ 16 h 26"/>
                  <a:gd name="T56" fmla="*/ 5 w 51"/>
                  <a:gd name="T57" fmla="*/ 16 h 26"/>
                  <a:gd name="T58" fmla="*/ 1 w 51"/>
                  <a:gd name="T59" fmla="*/ 14 h 26"/>
                  <a:gd name="T60" fmla="*/ 0 w 51"/>
                  <a:gd name="T61" fmla="*/ 17 h 26"/>
                  <a:gd name="T62" fmla="*/ 2 w 51"/>
                  <a:gd name="T63" fmla="*/ 19 h 26"/>
                  <a:gd name="T64" fmla="*/ 3 w 51"/>
                  <a:gd name="T65" fmla="*/ 21 h 26"/>
                  <a:gd name="T66" fmla="*/ 7 w 51"/>
                  <a:gd name="T67" fmla="*/ 21 h 26"/>
                  <a:gd name="T68" fmla="*/ 11 w 51"/>
                  <a:gd name="T69" fmla="*/ 22 h 26"/>
                  <a:gd name="T70" fmla="*/ 14 w 51"/>
                  <a:gd name="T71" fmla="*/ 20 h 26"/>
                  <a:gd name="T72" fmla="*/ 18 w 51"/>
                  <a:gd name="T73" fmla="*/ 19 h 26"/>
                  <a:gd name="T74" fmla="*/ 19 w 51"/>
                  <a:gd name="T75" fmla="*/ 21 h 26"/>
                  <a:gd name="T76" fmla="*/ 21 w 51"/>
                  <a:gd name="T77" fmla="*/ 23 h 26"/>
                  <a:gd name="T78" fmla="*/ 24 w 51"/>
                  <a:gd name="T79" fmla="*/ 24 h 26"/>
                  <a:gd name="T80" fmla="*/ 28 w 51"/>
                  <a:gd name="T8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26">
                    <a:moveTo>
                      <a:pt x="31" y="25"/>
                    </a:moveTo>
                    <a:cubicBezTo>
                      <a:pt x="32" y="25"/>
                      <a:pt x="33" y="26"/>
                      <a:pt x="34" y="25"/>
                    </a:cubicBezTo>
                    <a:cubicBezTo>
                      <a:pt x="36" y="25"/>
                      <a:pt x="36" y="23"/>
                      <a:pt x="38" y="23"/>
                    </a:cubicBezTo>
                    <a:cubicBezTo>
                      <a:pt x="38" y="23"/>
                      <a:pt x="39" y="23"/>
                      <a:pt x="40" y="23"/>
                    </a:cubicBezTo>
                    <a:cubicBezTo>
                      <a:pt x="41" y="23"/>
                      <a:pt x="41" y="23"/>
                      <a:pt x="42" y="23"/>
                    </a:cubicBezTo>
                    <a:cubicBezTo>
                      <a:pt x="42" y="23"/>
                      <a:pt x="43" y="23"/>
                      <a:pt x="44" y="22"/>
                    </a:cubicBezTo>
                    <a:cubicBezTo>
                      <a:pt x="44" y="22"/>
                      <a:pt x="44" y="22"/>
                      <a:pt x="44" y="22"/>
                    </a:cubicBezTo>
                    <a:cubicBezTo>
                      <a:pt x="44" y="21"/>
                      <a:pt x="44" y="21"/>
                      <a:pt x="44" y="21"/>
                    </a:cubicBezTo>
                    <a:cubicBezTo>
                      <a:pt x="45" y="21"/>
                      <a:pt x="45" y="20"/>
                      <a:pt x="46" y="20"/>
                    </a:cubicBezTo>
                    <a:cubicBezTo>
                      <a:pt x="46" y="20"/>
                      <a:pt x="47" y="20"/>
                      <a:pt x="47" y="19"/>
                    </a:cubicBezTo>
                    <a:cubicBezTo>
                      <a:pt x="48" y="18"/>
                      <a:pt x="47" y="18"/>
                      <a:pt x="47" y="18"/>
                    </a:cubicBezTo>
                    <a:cubicBezTo>
                      <a:pt x="47" y="17"/>
                      <a:pt x="47" y="17"/>
                      <a:pt x="47" y="17"/>
                    </a:cubicBezTo>
                    <a:cubicBezTo>
                      <a:pt x="47" y="16"/>
                      <a:pt x="47" y="16"/>
                      <a:pt x="47" y="16"/>
                    </a:cubicBezTo>
                    <a:cubicBezTo>
                      <a:pt x="47" y="16"/>
                      <a:pt x="48" y="16"/>
                      <a:pt x="48" y="16"/>
                    </a:cubicBezTo>
                    <a:cubicBezTo>
                      <a:pt x="48" y="16"/>
                      <a:pt x="48" y="15"/>
                      <a:pt x="49" y="15"/>
                    </a:cubicBezTo>
                    <a:cubicBezTo>
                      <a:pt x="49" y="13"/>
                      <a:pt x="47" y="14"/>
                      <a:pt x="47" y="13"/>
                    </a:cubicBezTo>
                    <a:cubicBezTo>
                      <a:pt x="48" y="13"/>
                      <a:pt x="48" y="12"/>
                      <a:pt x="48" y="12"/>
                    </a:cubicBezTo>
                    <a:cubicBezTo>
                      <a:pt x="49" y="12"/>
                      <a:pt x="50" y="13"/>
                      <a:pt x="50" y="13"/>
                    </a:cubicBezTo>
                    <a:cubicBezTo>
                      <a:pt x="51" y="13"/>
                      <a:pt x="51" y="12"/>
                      <a:pt x="51" y="11"/>
                    </a:cubicBezTo>
                    <a:cubicBezTo>
                      <a:pt x="51" y="10"/>
                      <a:pt x="51" y="8"/>
                      <a:pt x="50" y="7"/>
                    </a:cubicBezTo>
                    <a:cubicBezTo>
                      <a:pt x="50" y="7"/>
                      <a:pt x="50" y="6"/>
                      <a:pt x="50" y="6"/>
                    </a:cubicBezTo>
                    <a:cubicBezTo>
                      <a:pt x="50" y="5"/>
                      <a:pt x="50" y="4"/>
                      <a:pt x="50" y="3"/>
                    </a:cubicBezTo>
                    <a:cubicBezTo>
                      <a:pt x="50" y="3"/>
                      <a:pt x="50" y="3"/>
                      <a:pt x="50" y="3"/>
                    </a:cubicBezTo>
                    <a:cubicBezTo>
                      <a:pt x="50" y="3"/>
                      <a:pt x="50" y="3"/>
                      <a:pt x="49" y="2"/>
                    </a:cubicBezTo>
                    <a:cubicBezTo>
                      <a:pt x="49" y="2"/>
                      <a:pt x="48" y="2"/>
                      <a:pt x="48" y="2"/>
                    </a:cubicBezTo>
                    <a:cubicBezTo>
                      <a:pt x="47" y="1"/>
                      <a:pt x="46" y="2"/>
                      <a:pt x="45" y="2"/>
                    </a:cubicBezTo>
                    <a:cubicBezTo>
                      <a:pt x="44" y="2"/>
                      <a:pt x="44" y="2"/>
                      <a:pt x="44" y="2"/>
                    </a:cubicBezTo>
                    <a:cubicBezTo>
                      <a:pt x="43" y="1"/>
                      <a:pt x="42" y="1"/>
                      <a:pt x="42" y="1"/>
                    </a:cubicBezTo>
                    <a:cubicBezTo>
                      <a:pt x="41" y="1"/>
                      <a:pt x="40" y="0"/>
                      <a:pt x="38" y="0"/>
                    </a:cubicBezTo>
                    <a:cubicBezTo>
                      <a:pt x="38" y="0"/>
                      <a:pt x="37" y="0"/>
                      <a:pt x="37" y="0"/>
                    </a:cubicBezTo>
                    <a:cubicBezTo>
                      <a:pt x="37" y="0"/>
                      <a:pt x="37" y="1"/>
                      <a:pt x="37" y="1"/>
                    </a:cubicBezTo>
                    <a:cubicBezTo>
                      <a:pt x="37" y="2"/>
                      <a:pt x="36" y="2"/>
                      <a:pt x="36" y="2"/>
                    </a:cubicBezTo>
                    <a:cubicBezTo>
                      <a:pt x="36" y="2"/>
                      <a:pt x="36" y="3"/>
                      <a:pt x="35" y="4"/>
                    </a:cubicBezTo>
                    <a:cubicBezTo>
                      <a:pt x="35" y="4"/>
                      <a:pt x="34" y="3"/>
                      <a:pt x="34" y="3"/>
                    </a:cubicBezTo>
                    <a:cubicBezTo>
                      <a:pt x="33" y="3"/>
                      <a:pt x="33" y="4"/>
                      <a:pt x="32" y="4"/>
                    </a:cubicBezTo>
                    <a:cubicBezTo>
                      <a:pt x="31" y="4"/>
                      <a:pt x="30" y="3"/>
                      <a:pt x="29" y="2"/>
                    </a:cubicBezTo>
                    <a:cubicBezTo>
                      <a:pt x="29" y="3"/>
                      <a:pt x="29" y="4"/>
                      <a:pt x="29" y="4"/>
                    </a:cubicBezTo>
                    <a:cubicBezTo>
                      <a:pt x="28" y="4"/>
                      <a:pt x="28" y="4"/>
                      <a:pt x="27" y="4"/>
                    </a:cubicBezTo>
                    <a:cubicBezTo>
                      <a:pt x="27" y="4"/>
                      <a:pt x="27" y="5"/>
                      <a:pt x="26" y="5"/>
                    </a:cubicBezTo>
                    <a:cubicBezTo>
                      <a:pt x="26" y="7"/>
                      <a:pt x="25" y="7"/>
                      <a:pt x="24" y="7"/>
                    </a:cubicBezTo>
                    <a:cubicBezTo>
                      <a:pt x="23" y="8"/>
                      <a:pt x="22" y="8"/>
                      <a:pt x="22" y="9"/>
                    </a:cubicBezTo>
                    <a:cubicBezTo>
                      <a:pt x="22" y="9"/>
                      <a:pt x="23" y="10"/>
                      <a:pt x="23" y="10"/>
                    </a:cubicBezTo>
                    <a:cubicBezTo>
                      <a:pt x="23" y="10"/>
                      <a:pt x="23" y="11"/>
                      <a:pt x="23" y="11"/>
                    </a:cubicBezTo>
                    <a:cubicBezTo>
                      <a:pt x="23" y="12"/>
                      <a:pt x="23" y="12"/>
                      <a:pt x="24" y="13"/>
                    </a:cubicBezTo>
                    <a:cubicBezTo>
                      <a:pt x="24" y="13"/>
                      <a:pt x="24" y="13"/>
                      <a:pt x="24" y="14"/>
                    </a:cubicBezTo>
                    <a:cubicBezTo>
                      <a:pt x="24" y="15"/>
                      <a:pt x="24" y="15"/>
                      <a:pt x="23" y="14"/>
                    </a:cubicBezTo>
                    <a:cubicBezTo>
                      <a:pt x="22" y="14"/>
                      <a:pt x="22" y="13"/>
                      <a:pt x="21" y="13"/>
                    </a:cubicBezTo>
                    <a:cubicBezTo>
                      <a:pt x="21" y="14"/>
                      <a:pt x="20" y="13"/>
                      <a:pt x="19" y="13"/>
                    </a:cubicBezTo>
                    <a:cubicBezTo>
                      <a:pt x="19" y="13"/>
                      <a:pt x="19" y="13"/>
                      <a:pt x="18" y="13"/>
                    </a:cubicBezTo>
                    <a:cubicBezTo>
                      <a:pt x="18" y="14"/>
                      <a:pt x="17" y="14"/>
                      <a:pt x="17" y="14"/>
                    </a:cubicBezTo>
                    <a:cubicBezTo>
                      <a:pt x="15" y="14"/>
                      <a:pt x="14" y="14"/>
                      <a:pt x="13" y="15"/>
                    </a:cubicBezTo>
                    <a:cubicBezTo>
                      <a:pt x="13" y="15"/>
                      <a:pt x="12" y="15"/>
                      <a:pt x="12" y="16"/>
                    </a:cubicBezTo>
                    <a:cubicBezTo>
                      <a:pt x="11" y="16"/>
                      <a:pt x="11" y="16"/>
                      <a:pt x="10" y="16"/>
                    </a:cubicBezTo>
                    <a:cubicBezTo>
                      <a:pt x="9" y="15"/>
                      <a:pt x="9" y="14"/>
                      <a:pt x="8" y="14"/>
                    </a:cubicBezTo>
                    <a:cubicBezTo>
                      <a:pt x="8" y="14"/>
                      <a:pt x="7" y="14"/>
                      <a:pt x="6" y="14"/>
                    </a:cubicBezTo>
                    <a:cubicBezTo>
                      <a:pt x="6" y="15"/>
                      <a:pt x="6" y="15"/>
                      <a:pt x="6" y="16"/>
                    </a:cubicBezTo>
                    <a:cubicBezTo>
                      <a:pt x="6" y="16"/>
                      <a:pt x="6" y="17"/>
                      <a:pt x="5" y="17"/>
                    </a:cubicBezTo>
                    <a:cubicBezTo>
                      <a:pt x="5" y="17"/>
                      <a:pt x="5" y="16"/>
                      <a:pt x="5" y="16"/>
                    </a:cubicBezTo>
                    <a:cubicBezTo>
                      <a:pt x="4" y="16"/>
                      <a:pt x="4" y="15"/>
                      <a:pt x="3" y="15"/>
                    </a:cubicBezTo>
                    <a:cubicBezTo>
                      <a:pt x="2" y="14"/>
                      <a:pt x="1" y="14"/>
                      <a:pt x="1" y="14"/>
                    </a:cubicBezTo>
                    <a:cubicBezTo>
                      <a:pt x="1" y="15"/>
                      <a:pt x="1" y="15"/>
                      <a:pt x="1" y="16"/>
                    </a:cubicBezTo>
                    <a:cubicBezTo>
                      <a:pt x="1" y="16"/>
                      <a:pt x="1" y="17"/>
                      <a:pt x="0" y="17"/>
                    </a:cubicBezTo>
                    <a:cubicBezTo>
                      <a:pt x="1" y="17"/>
                      <a:pt x="1" y="18"/>
                      <a:pt x="1" y="18"/>
                    </a:cubicBezTo>
                    <a:cubicBezTo>
                      <a:pt x="1" y="19"/>
                      <a:pt x="1" y="19"/>
                      <a:pt x="2" y="19"/>
                    </a:cubicBezTo>
                    <a:cubicBezTo>
                      <a:pt x="2" y="19"/>
                      <a:pt x="2" y="19"/>
                      <a:pt x="3" y="20"/>
                    </a:cubicBezTo>
                    <a:cubicBezTo>
                      <a:pt x="3" y="20"/>
                      <a:pt x="3" y="21"/>
                      <a:pt x="3" y="21"/>
                    </a:cubicBezTo>
                    <a:cubicBezTo>
                      <a:pt x="4" y="21"/>
                      <a:pt x="5" y="21"/>
                      <a:pt x="6" y="20"/>
                    </a:cubicBezTo>
                    <a:cubicBezTo>
                      <a:pt x="6" y="19"/>
                      <a:pt x="7" y="20"/>
                      <a:pt x="7" y="21"/>
                    </a:cubicBezTo>
                    <a:cubicBezTo>
                      <a:pt x="8" y="21"/>
                      <a:pt x="8" y="21"/>
                      <a:pt x="9" y="21"/>
                    </a:cubicBezTo>
                    <a:cubicBezTo>
                      <a:pt x="9" y="22"/>
                      <a:pt x="10" y="22"/>
                      <a:pt x="11" y="22"/>
                    </a:cubicBezTo>
                    <a:cubicBezTo>
                      <a:pt x="11" y="21"/>
                      <a:pt x="11" y="20"/>
                      <a:pt x="12" y="20"/>
                    </a:cubicBezTo>
                    <a:cubicBezTo>
                      <a:pt x="12" y="20"/>
                      <a:pt x="13" y="20"/>
                      <a:pt x="14" y="20"/>
                    </a:cubicBezTo>
                    <a:cubicBezTo>
                      <a:pt x="14" y="20"/>
                      <a:pt x="15" y="20"/>
                      <a:pt x="16" y="20"/>
                    </a:cubicBezTo>
                    <a:cubicBezTo>
                      <a:pt x="17" y="20"/>
                      <a:pt x="17" y="19"/>
                      <a:pt x="18" y="19"/>
                    </a:cubicBezTo>
                    <a:cubicBezTo>
                      <a:pt x="18" y="19"/>
                      <a:pt x="18" y="20"/>
                      <a:pt x="18" y="20"/>
                    </a:cubicBezTo>
                    <a:cubicBezTo>
                      <a:pt x="18" y="21"/>
                      <a:pt x="18" y="21"/>
                      <a:pt x="19" y="21"/>
                    </a:cubicBezTo>
                    <a:cubicBezTo>
                      <a:pt x="19" y="22"/>
                      <a:pt x="19" y="22"/>
                      <a:pt x="20" y="22"/>
                    </a:cubicBezTo>
                    <a:cubicBezTo>
                      <a:pt x="20" y="23"/>
                      <a:pt x="21" y="23"/>
                      <a:pt x="21" y="23"/>
                    </a:cubicBezTo>
                    <a:cubicBezTo>
                      <a:pt x="22" y="23"/>
                      <a:pt x="22" y="23"/>
                      <a:pt x="23" y="23"/>
                    </a:cubicBezTo>
                    <a:cubicBezTo>
                      <a:pt x="23" y="23"/>
                      <a:pt x="23" y="24"/>
                      <a:pt x="24" y="24"/>
                    </a:cubicBezTo>
                    <a:cubicBezTo>
                      <a:pt x="24" y="24"/>
                      <a:pt x="24" y="24"/>
                      <a:pt x="24" y="24"/>
                    </a:cubicBezTo>
                    <a:cubicBezTo>
                      <a:pt x="26" y="24"/>
                      <a:pt x="27" y="24"/>
                      <a:pt x="28" y="24"/>
                    </a:cubicBezTo>
                    <a:cubicBezTo>
                      <a:pt x="29" y="24"/>
                      <a:pt x="30" y="25"/>
                      <a:pt x="31"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8" name="Freeform 823">
                <a:extLst>
                  <a:ext uri="{FF2B5EF4-FFF2-40B4-BE49-F238E27FC236}">
                    <a16:creationId xmlns:a16="http://schemas.microsoft.com/office/drawing/2014/main" id="{AFE48808-1D1E-9693-BB24-918D587EA24B}"/>
                  </a:ext>
                </a:extLst>
              </p:cNvPr>
              <p:cNvSpPr>
                <a:spLocks/>
              </p:cNvSpPr>
              <p:nvPr/>
            </p:nvSpPr>
            <p:spPr bwMode="auto">
              <a:xfrm>
                <a:off x="5646738" y="3371850"/>
                <a:ext cx="3175" cy="7938"/>
              </a:xfrm>
              <a:custGeom>
                <a:avLst/>
                <a:gdLst>
                  <a:gd name="T0" fmla="*/ 1 w 1"/>
                  <a:gd name="T1" fmla="*/ 1 h 2"/>
                  <a:gd name="T2" fmla="*/ 0 w 1"/>
                  <a:gd name="T3" fmla="*/ 0 h 2"/>
                  <a:gd name="T4" fmla="*/ 0 w 1"/>
                  <a:gd name="T5" fmla="*/ 2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0"/>
                      <a:pt x="0" y="0"/>
                    </a:cubicBezTo>
                    <a:cubicBezTo>
                      <a:pt x="0" y="1"/>
                      <a:pt x="0" y="1"/>
                      <a:pt x="0" y="2"/>
                    </a:cubicBezTo>
                    <a:cubicBezTo>
                      <a:pt x="0" y="2"/>
                      <a:pt x="1" y="2"/>
                      <a:pt x="1" y="2"/>
                    </a:cubicBezTo>
                    <a:cubicBezTo>
                      <a:pt x="1" y="2"/>
                      <a:pt x="1" y="2"/>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9" name="Freeform 841">
                <a:extLst>
                  <a:ext uri="{FF2B5EF4-FFF2-40B4-BE49-F238E27FC236}">
                    <a16:creationId xmlns:a16="http://schemas.microsoft.com/office/drawing/2014/main" id="{16D392B4-6D69-B1B7-352D-0BCFDAEDD03D}"/>
                  </a:ext>
                </a:extLst>
              </p:cNvPr>
              <p:cNvSpPr>
                <a:spLocks/>
              </p:cNvSpPr>
              <p:nvPr/>
            </p:nvSpPr>
            <p:spPr bwMode="auto">
              <a:xfrm>
                <a:off x="6378575" y="3892550"/>
                <a:ext cx="7937" cy="20638"/>
              </a:xfrm>
              <a:custGeom>
                <a:avLst/>
                <a:gdLst>
                  <a:gd name="T0" fmla="*/ 2 w 2"/>
                  <a:gd name="T1" fmla="*/ 0 h 5"/>
                  <a:gd name="T2" fmla="*/ 1 w 2"/>
                  <a:gd name="T3" fmla="*/ 0 h 5"/>
                  <a:gd name="T4" fmla="*/ 0 w 2"/>
                  <a:gd name="T5" fmla="*/ 1 h 5"/>
                  <a:gd name="T6" fmla="*/ 1 w 2"/>
                  <a:gd name="T7" fmla="*/ 5 h 5"/>
                  <a:gd name="T8" fmla="*/ 2 w 2"/>
                  <a:gd name="T9" fmla="*/ 4 h 5"/>
                  <a:gd name="T10" fmla="*/ 2 w 2"/>
                  <a:gd name="T11" fmla="*/ 1 h 5"/>
                  <a:gd name="T12" fmla="*/ 2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0"/>
                    </a:moveTo>
                    <a:cubicBezTo>
                      <a:pt x="1" y="0"/>
                      <a:pt x="1" y="0"/>
                      <a:pt x="1" y="0"/>
                    </a:cubicBezTo>
                    <a:cubicBezTo>
                      <a:pt x="0" y="1"/>
                      <a:pt x="0" y="1"/>
                      <a:pt x="0" y="1"/>
                    </a:cubicBezTo>
                    <a:cubicBezTo>
                      <a:pt x="1" y="5"/>
                      <a:pt x="1" y="5"/>
                      <a:pt x="1" y="5"/>
                    </a:cubicBezTo>
                    <a:cubicBezTo>
                      <a:pt x="2" y="4"/>
                      <a:pt x="2" y="4"/>
                      <a:pt x="2" y="4"/>
                    </a:cubicBezTo>
                    <a:cubicBezTo>
                      <a:pt x="2" y="1"/>
                      <a:pt x="2" y="1"/>
                      <a:pt x="2" y="1"/>
                    </a:cubicBezTo>
                    <a:lnTo>
                      <a:pt x="2"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6" name="Africa">
              <a:extLst>
                <a:ext uri="{FF2B5EF4-FFF2-40B4-BE49-F238E27FC236}">
                  <a16:creationId xmlns:a16="http://schemas.microsoft.com/office/drawing/2014/main" id="{38309055-B7A9-335A-DC7C-EB199B30776D}"/>
                </a:ext>
              </a:extLst>
            </p:cNvPr>
            <p:cNvGrpSpPr/>
            <p:nvPr/>
          </p:nvGrpSpPr>
          <p:grpSpPr>
            <a:xfrm>
              <a:off x="4659313" y="3754438"/>
              <a:ext cx="2347912" cy="2190750"/>
              <a:chOff x="4659313" y="3754438"/>
              <a:chExt cx="2347912" cy="2190750"/>
            </a:xfrm>
            <a:grpFill/>
          </p:grpSpPr>
          <p:sp>
            <p:nvSpPr>
              <p:cNvPr id="107" name="Freeform 875">
                <a:extLst>
                  <a:ext uri="{FF2B5EF4-FFF2-40B4-BE49-F238E27FC236}">
                    <a16:creationId xmlns:a16="http://schemas.microsoft.com/office/drawing/2014/main" id="{4E523724-744C-1E72-24F5-862FBDD1F086}"/>
                  </a:ext>
                </a:extLst>
              </p:cNvPr>
              <p:cNvSpPr>
                <a:spLocks/>
              </p:cNvSpPr>
              <p:nvPr/>
            </p:nvSpPr>
            <p:spPr bwMode="auto">
              <a:xfrm>
                <a:off x="6157913" y="4600575"/>
                <a:ext cx="33337" cy="25400"/>
              </a:xfrm>
              <a:custGeom>
                <a:avLst/>
                <a:gdLst>
                  <a:gd name="T0" fmla="*/ 0 w 21"/>
                  <a:gd name="T1" fmla="*/ 3 h 16"/>
                  <a:gd name="T2" fmla="*/ 3 w 21"/>
                  <a:gd name="T3" fmla="*/ 10 h 16"/>
                  <a:gd name="T4" fmla="*/ 6 w 21"/>
                  <a:gd name="T5" fmla="*/ 16 h 16"/>
                  <a:gd name="T6" fmla="*/ 16 w 21"/>
                  <a:gd name="T7" fmla="*/ 16 h 16"/>
                  <a:gd name="T8" fmla="*/ 21 w 21"/>
                  <a:gd name="T9" fmla="*/ 10 h 16"/>
                  <a:gd name="T10" fmla="*/ 21 w 21"/>
                  <a:gd name="T11" fmla="*/ 0 h 16"/>
                  <a:gd name="T12" fmla="*/ 0 w 21"/>
                  <a:gd name="T13" fmla="*/ 3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0" y="3"/>
                    </a:moveTo>
                    <a:lnTo>
                      <a:pt x="3" y="10"/>
                    </a:lnTo>
                    <a:lnTo>
                      <a:pt x="6" y="16"/>
                    </a:lnTo>
                    <a:lnTo>
                      <a:pt x="16" y="16"/>
                    </a:lnTo>
                    <a:lnTo>
                      <a:pt x="21" y="10"/>
                    </a:lnTo>
                    <a:lnTo>
                      <a:pt x="21"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Freeform 876">
                <a:extLst>
                  <a:ext uri="{FF2B5EF4-FFF2-40B4-BE49-F238E27FC236}">
                    <a16:creationId xmlns:a16="http://schemas.microsoft.com/office/drawing/2014/main" id="{C301CDA1-9063-DCEA-885A-EB584780D087}"/>
                  </a:ext>
                </a:extLst>
              </p:cNvPr>
              <p:cNvSpPr>
                <a:spLocks/>
              </p:cNvSpPr>
              <p:nvPr/>
            </p:nvSpPr>
            <p:spPr bwMode="auto">
              <a:xfrm>
                <a:off x="4892676" y="4075113"/>
                <a:ext cx="238125" cy="200025"/>
              </a:xfrm>
              <a:custGeom>
                <a:avLst/>
                <a:gdLst>
                  <a:gd name="T0" fmla="*/ 26 w 57"/>
                  <a:gd name="T1" fmla="*/ 0 h 48"/>
                  <a:gd name="T2" fmla="*/ 25 w 57"/>
                  <a:gd name="T3" fmla="*/ 4 h 48"/>
                  <a:gd name="T4" fmla="*/ 21 w 57"/>
                  <a:gd name="T5" fmla="*/ 10 h 48"/>
                  <a:gd name="T6" fmla="*/ 18 w 57"/>
                  <a:gd name="T7" fmla="*/ 13 h 48"/>
                  <a:gd name="T8" fmla="*/ 16 w 57"/>
                  <a:gd name="T9" fmla="*/ 21 h 48"/>
                  <a:gd name="T10" fmla="*/ 14 w 57"/>
                  <a:gd name="T11" fmla="*/ 24 h 48"/>
                  <a:gd name="T12" fmla="*/ 8 w 57"/>
                  <a:gd name="T13" fmla="*/ 31 h 48"/>
                  <a:gd name="T14" fmla="*/ 5 w 57"/>
                  <a:gd name="T15" fmla="*/ 38 h 48"/>
                  <a:gd name="T16" fmla="*/ 2 w 57"/>
                  <a:gd name="T17" fmla="*/ 42 h 48"/>
                  <a:gd name="T18" fmla="*/ 2 w 57"/>
                  <a:gd name="T19" fmla="*/ 42 h 48"/>
                  <a:gd name="T20" fmla="*/ 1 w 57"/>
                  <a:gd name="T21" fmla="*/ 48 h 48"/>
                  <a:gd name="T22" fmla="*/ 27 w 57"/>
                  <a:gd name="T23" fmla="*/ 47 h 48"/>
                  <a:gd name="T24" fmla="*/ 26 w 57"/>
                  <a:gd name="T25" fmla="*/ 36 h 48"/>
                  <a:gd name="T26" fmla="*/ 30 w 57"/>
                  <a:gd name="T27" fmla="*/ 33 h 48"/>
                  <a:gd name="T28" fmla="*/ 34 w 57"/>
                  <a:gd name="T29" fmla="*/ 32 h 48"/>
                  <a:gd name="T30" fmla="*/ 34 w 57"/>
                  <a:gd name="T31" fmla="*/ 13 h 48"/>
                  <a:gd name="T32" fmla="*/ 57 w 57"/>
                  <a:gd name="T33" fmla="*/ 13 h 48"/>
                  <a:gd name="T34" fmla="*/ 57 w 57"/>
                  <a:gd name="T35" fmla="*/ 3 h 48"/>
                  <a:gd name="T36" fmla="*/ 57 w 57"/>
                  <a:gd name="T37" fmla="*/ 0 h 48"/>
                  <a:gd name="T38" fmla="*/ 27 w 57"/>
                  <a:gd name="T39" fmla="*/ 0 h 48"/>
                  <a:gd name="T40" fmla="*/ 26 w 57"/>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48">
                    <a:moveTo>
                      <a:pt x="26" y="0"/>
                    </a:moveTo>
                    <a:cubicBezTo>
                      <a:pt x="26" y="0"/>
                      <a:pt x="26" y="3"/>
                      <a:pt x="25" y="4"/>
                    </a:cubicBezTo>
                    <a:cubicBezTo>
                      <a:pt x="25" y="7"/>
                      <a:pt x="23" y="9"/>
                      <a:pt x="21" y="10"/>
                    </a:cubicBezTo>
                    <a:cubicBezTo>
                      <a:pt x="20" y="11"/>
                      <a:pt x="18" y="11"/>
                      <a:pt x="18" y="13"/>
                    </a:cubicBezTo>
                    <a:cubicBezTo>
                      <a:pt x="17" y="16"/>
                      <a:pt x="15" y="18"/>
                      <a:pt x="16" y="21"/>
                    </a:cubicBezTo>
                    <a:cubicBezTo>
                      <a:pt x="16" y="23"/>
                      <a:pt x="15" y="24"/>
                      <a:pt x="14" y="24"/>
                    </a:cubicBezTo>
                    <a:cubicBezTo>
                      <a:pt x="12" y="27"/>
                      <a:pt x="10" y="28"/>
                      <a:pt x="8" y="31"/>
                    </a:cubicBezTo>
                    <a:cubicBezTo>
                      <a:pt x="7" y="33"/>
                      <a:pt x="6" y="35"/>
                      <a:pt x="5" y="38"/>
                    </a:cubicBezTo>
                    <a:cubicBezTo>
                      <a:pt x="5" y="39"/>
                      <a:pt x="5" y="41"/>
                      <a:pt x="2" y="42"/>
                    </a:cubicBezTo>
                    <a:cubicBezTo>
                      <a:pt x="2" y="42"/>
                      <a:pt x="2" y="42"/>
                      <a:pt x="2" y="42"/>
                    </a:cubicBezTo>
                    <a:cubicBezTo>
                      <a:pt x="2" y="44"/>
                      <a:pt x="0" y="46"/>
                      <a:pt x="1" y="48"/>
                    </a:cubicBezTo>
                    <a:cubicBezTo>
                      <a:pt x="27" y="47"/>
                      <a:pt x="27" y="47"/>
                      <a:pt x="27" y="47"/>
                    </a:cubicBezTo>
                    <a:cubicBezTo>
                      <a:pt x="26" y="36"/>
                      <a:pt x="26" y="36"/>
                      <a:pt x="26" y="36"/>
                    </a:cubicBezTo>
                    <a:cubicBezTo>
                      <a:pt x="30" y="33"/>
                      <a:pt x="30" y="33"/>
                      <a:pt x="30" y="33"/>
                    </a:cubicBezTo>
                    <a:cubicBezTo>
                      <a:pt x="34" y="32"/>
                      <a:pt x="34" y="32"/>
                      <a:pt x="34" y="32"/>
                    </a:cubicBezTo>
                    <a:cubicBezTo>
                      <a:pt x="34" y="13"/>
                      <a:pt x="34" y="13"/>
                      <a:pt x="34" y="13"/>
                    </a:cubicBezTo>
                    <a:cubicBezTo>
                      <a:pt x="57" y="13"/>
                      <a:pt x="57" y="13"/>
                      <a:pt x="57" y="13"/>
                    </a:cubicBezTo>
                    <a:cubicBezTo>
                      <a:pt x="57" y="3"/>
                      <a:pt x="57" y="3"/>
                      <a:pt x="57" y="3"/>
                    </a:cubicBezTo>
                    <a:cubicBezTo>
                      <a:pt x="57" y="0"/>
                      <a:pt x="57" y="0"/>
                      <a:pt x="57" y="0"/>
                    </a:cubicBezTo>
                    <a:cubicBezTo>
                      <a:pt x="27" y="0"/>
                      <a:pt x="27" y="0"/>
                      <a:pt x="27" y="0"/>
                    </a:cubicBezTo>
                    <a:cubicBezTo>
                      <a:pt x="26" y="0"/>
                      <a:pt x="26" y="0"/>
                      <a:pt x="26"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9" name="Freeform 878">
                <a:extLst>
                  <a:ext uri="{FF2B5EF4-FFF2-40B4-BE49-F238E27FC236}">
                    <a16:creationId xmlns:a16="http://schemas.microsoft.com/office/drawing/2014/main" id="{B8264615-E15D-AFA2-E236-16DAE26F5A76}"/>
                  </a:ext>
                </a:extLst>
              </p:cNvPr>
              <p:cNvSpPr>
                <a:spLocks/>
              </p:cNvSpPr>
              <p:nvPr/>
            </p:nvSpPr>
            <p:spPr bwMode="auto">
              <a:xfrm>
                <a:off x="6088063" y="5337175"/>
                <a:ext cx="220662" cy="204788"/>
              </a:xfrm>
              <a:custGeom>
                <a:avLst/>
                <a:gdLst>
                  <a:gd name="T0" fmla="*/ 48 w 53"/>
                  <a:gd name="T1" fmla="*/ 40 h 49"/>
                  <a:gd name="T2" fmla="*/ 49 w 53"/>
                  <a:gd name="T3" fmla="*/ 38 h 49"/>
                  <a:gd name="T4" fmla="*/ 49 w 53"/>
                  <a:gd name="T5" fmla="*/ 36 h 49"/>
                  <a:gd name="T6" fmla="*/ 53 w 53"/>
                  <a:gd name="T7" fmla="*/ 31 h 49"/>
                  <a:gd name="T8" fmla="*/ 53 w 53"/>
                  <a:gd name="T9" fmla="*/ 30 h 49"/>
                  <a:gd name="T10" fmla="*/ 53 w 53"/>
                  <a:gd name="T11" fmla="*/ 30 h 49"/>
                  <a:gd name="T12" fmla="*/ 51 w 53"/>
                  <a:gd name="T13" fmla="*/ 29 h 49"/>
                  <a:gd name="T14" fmla="*/ 51 w 53"/>
                  <a:gd name="T15" fmla="*/ 27 h 49"/>
                  <a:gd name="T16" fmla="*/ 52 w 53"/>
                  <a:gd name="T17" fmla="*/ 25 h 49"/>
                  <a:gd name="T18" fmla="*/ 50 w 53"/>
                  <a:gd name="T19" fmla="*/ 24 h 49"/>
                  <a:gd name="T20" fmla="*/ 50 w 53"/>
                  <a:gd name="T21" fmla="*/ 23 h 49"/>
                  <a:gd name="T22" fmla="*/ 52 w 53"/>
                  <a:gd name="T23" fmla="*/ 22 h 49"/>
                  <a:gd name="T24" fmla="*/ 52 w 53"/>
                  <a:gd name="T25" fmla="*/ 21 h 49"/>
                  <a:gd name="T26" fmla="*/ 52 w 53"/>
                  <a:gd name="T27" fmla="*/ 21 h 49"/>
                  <a:gd name="T28" fmla="*/ 52 w 53"/>
                  <a:gd name="T29" fmla="*/ 21 h 49"/>
                  <a:gd name="T30" fmla="*/ 53 w 53"/>
                  <a:gd name="T31" fmla="*/ 20 h 49"/>
                  <a:gd name="T32" fmla="*/ 52 w 53"/>
                  <a:gd name="T33" fmla="*/ 18 h 49"/>
                  <a:gd name="T34" fmla="*/ 52 w 53"/>
                  <a:gd name="T35" fmla="*/ 17 h 49"/>
                  <a:gd name="T36" fmla="*/ 52 w 53"/>
                  <a:gd name="T37" fmla="*/ 16 h 49"/>
                  <a:gd name="T38" fmla="*/ 52 w 53"/>
                  <a:gd name="T39" fmla="*/ 16 h 49"/>
                  <a:gd name="T40" fmla="*/ 52 w 53"/>
                  <a:gd name="T41" fmla="*/ 14 h 49"/>
                  <a:gd name="T42" fmla="*/ 52 w 53"/>
                  <a:gd name="T43" fmla="*/ 14 h 49"/>
                  <a:gd name="T44" fmla="*/ 52 w 53"/>
                  <a:gd name="T45" fmla="*/ 12 h 49"/>
                  <a:gd name="T46" fmla="*/ 51 w 53"/>
                  <a:gd name="T47" fmla="*/ 9 h 49"/>
                  <a:gd name="T48" fmla="*/ 52 w 53"/>
                  <a:gd name="T49" fmla="*/ 7 h 49"/>
                  <a:gd name="T50" fmla="*/ 51 w 53"/>
                  <a:gd name="T51" fmla="*/ 7 h 49"/>
                  <a:gd name="T52" fmla="*/ 48 w 53"/>
                  <a:gd name="T53" fmla="*/ 6 h 49"/>
                  <a:gd name="T54" fmla="*/ 45 w 53"/>
                  <a:gd name="T55" fmla="*/ 6 h 49"/>
                  <a:gd name="T56" fmla="*/ 40 w 53"/>
                  <a:gd name="T57" fmla="*/ 3 h 49"/>
                  <a:gd name="T58" fmla="*/ 35 w 53"/>
                  <a:gd name="T59" fmla="*/ 3 h 49"/>
                  <a:gd name="T60" fmla="*/ 35 w 53"/>
                  <a:gd name="T61" fmla="*/ 0 h 49"/>
                  <a:gd name="T62" fmla="*/ 29 w 53"/>
                  <a:gd name="T63" fmla="*/ 0 h 49"/>
                  <a:gd name="T64" fmla="*/ 25 w 53"/>
                  <a:gd name="T65" fmla="*/ 2 h 49"/>
                  <a:gd name="T66" fmla="*/ 24 w 53"/>
                  <a:gd name="T67" fmla="*/ 6 h 49"/>
                  <a:gd name="T68" fmla="*/ 17 w 53"/>
                  <a:gd name="T69" fmla="*/ 9 h 49"/>
                  <a:gd name="T70" fmla="*/ 12 w 53"/>
                  <a:gd name="T71" fmla="*/ 17 h 49"/>
                  <a:gd name="T72" fmla="*/ 10 w 53"/>
                  <a:gd name="T73" fmla="*/ 17 h 49"/>
                  <a:gd name="T74" fmla="*/ 9 w 53"/>
                  <a:gd name="T75" fmla="*/ 17 h 49"/>
                  <a:gd name="T76" fmla="*/ 6 w 53"/>
                  <a:gd name="T77" fmla="*/ 16 h 49"/>
                  <a:gd name="T78" fmla="*/ 4 w 53"/>
                  <a:gd name="T79" fmla="*/ 17 h 49"/>
                  <a:gd name="T80" fmla="*/ 3 w 53"/>
                  <a:gd name="T81" fmla="*/ 15 h 49"/>
                  <a:gd name="T82" fmla="*/ 0 w 53"/>
                  <a:gd name="T83" fmla="*/ 15 h 49"/>
                  <a:gd name="T84" fmla="*/ 0 w 53"/>
                  <a:gd name="T85" fmla="*/ 17 h 49"/>
                  <a:gd name="T86" fmla="*/ 5 w 53"/>
                  <a:gd name="T87" fmla="*/ 24 h 49"/>
                  <a:gd name="T88" fmla="*/ 6 w 53"/>
                  <a:gd name="T89" fmla="*/ 28 h 49"/>
                  <a:gd name="T90" fmla="*/ 9 w 53"/>
                  <a:gd name="T91" fmla="*/ 30 h 49"/>
                  <a:gd name="T92" fmla="*/ 13 w 53"/>
                  <a:gd name="T93" fmla="*/ 32 h 49"/>
                  <a:gd name="T94" fmla="*/ 14 w 53"/>
                  <a:gd name="T95" fmla="*/ 35 h 49"/>
                  <a:gd name="T96" fmla="*/ 16 w 53"/>
                  <a:gd name="T97" fmla="*/ 35 h 49"/>
                  <a:gd name="T98" fmla="*/ 16 w 53"/>
                  <a:gd name="T99" fmla="*/ 39 h 49"/>
                  <a:gd name="T100" fmla="*/ 19 w 53"/>
                  <a:gd name="T101" fmla="*/ 43 h 49"/>
                  <a:gd name="T102" fmla="*/ 25 w 53"/>
                  <a:gd name="T103" fmla="*/ 44 h 49"/>
                  <a:gd name="T104" fmla="*/ 25 w 53"/>
                  <a:gd name="T105" fmla="*/ 46 h 49"/>
                  <a:gd name="T106" fmla="*/ 28 w 53"/>
                  <a:gd name="T107" fmla="*/ 47 h 49"/>
                  <a:gd name="T108" fmla="*/ 30 w 53"/>
                  <a:gd name="T109" fmla="*/ 47 h 49"/>
                  <a:gd name="T110" fmla="*/ 34 w 53"/>
                  <a:gd name="T111" fmla="*/ 48 h 49"/>
                  <a:gd name="T112" fmla="*/ 39 w 53"/>
                  <a:gd name="T113" fmla="*/ 48 h 49"/>
                  <a:gd name="T114" fmla="*/ 41 w 53"/>
                  <a:gd name="T115" fmla="*/ 49 h 49"/>
                  <a:gd name="T116" fmla="*/ 49 w 53"/>
                  <a:gd name="T117" fmla="*/ 41 h 49"/>
                  <a:gd name="T118" fmla="*/ 48 w 53"/>
                  <a:gd name="T119"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49">
                    <a:moveTo>
                      <a:pt x="48" y="40"/>
                    </a:moveTo>
                    <a:cubicBezTo>
                      <a:pt x="49" y="38"/>
                      <a:pt x="49" y="38"/>
                      <a:pt x="49" y="38"/>
                    </a:cubicBezTo>
                    <a:cubicBezTo>
                      <a:pt x="49" y="36"/>
                      <a:pt x="49" y="36"/>
                      <a:pt x="49" y="36"/>
                    </a:cubicBezTo>
                    <a:cubicBezTo>
                      <a:pt x="53" y="31"/>
                      <a:pt x="53" y="31"/>
                      <a:pt x="53" y="31"/>
                    </a:cubicBezTo>
                    <a:cubicBezTo>
                      <a:pt x="53" y="30"/>
                      <a:pt x="53" y="30"/>
                      <a:pt x="53" y="30"/>
                    </a:cubicBezTo>
                    <a:cubicBezTo>
                      <a:pt x="53" y="30"/>
                      <a:pt x="53" y="30"/>
                      <a:pt x="53" y="30"/>
                    </a:cubicBezTo>
                    <a:cubicBezTo>
                      <a:pt x="51" y="29"/>
                      <a:pt x="51" y="29"/>
                      <a:pt x="51" y="29"/>
                    </a:cubicBezTo>
                    <a:cubicBezTo>
                      <a:pt x="51" y="27"/>
                      <a:pt x="51" y="27"/>
                      <a:pt x="51" y="27"/>
                    </a:cubicBezTo>
                    <a:cubicBezTo>
                      <a:pt x="52" y="25"/>
                      <a:pt x="52" y="25"/>
                      <a:pt x="52" y="25"/>
                    </a:cubicBezTo>
                    <a:cubicBezTo>
                      <a:pt x="50" y="24"/>
                      <a:pt x="50" y="24"/>
                      <a:pt x="50" y="24"/>
                    </a:cubicBezTo>
                    <a:cubicBezTo>
                      <a:pt x="50" y="23"/>
                      <a:pt x="50" y="23"/>
                      <a:pt x="50" y="23"/>
                    </a:cubicBezTo>
                    <a:cubicBezTo>
                      <a:pt x="52" y="22"/>
                      <a:pt x="52" y="22"/>
                      <a:pt x="52" y="22"/>
                    </a:cubicBezTo>
                    <a:cubicBezTo>
                      <a:pt x="52" y="21"/>
                      <a:pt x="52" y="21"/>
                      <a:pt x="52" y="21"/>
                    </a:cubicBezTo>
                    <a:cubicBezTo>
                      <a:pt x="52" y="21"/>
                      <a:pt x="52" y="21"/>
                      <a:pt x="52" y="21"/>
                    </a:cubicBezTo>
                    <a:cubicBezTo>
                      <a:pt x="52" y="21"/>
                      <a:pt x="52" y="21"/>
                      <a:pt x="52" y="21"/>
                    </a:cubicBezTo>
                    <a:cubicBezTo>
                      <a:pt x="53" y="20"/>
                      <a:pt x="53" y="20"/>
                      <a:pt x="53" y="20"/>
                    </a:cubicBezTo>
                    <a:cubicBezTo>
                      <a:pt x="53" y="20"/>
                      <a:pt x="52" y="18"/>
                      <a:pt x="52" y="18"/>
                    </a:cubicBezTo>
                    <a:cubicBezTo>
                      <a:pt x="52" y="18"/>
                      <a:pt x="52" y="17"/>
                      <a:pt x="52" y="17"/>
                    </a:cubicBezTo>
                    <a:cubicBezTo>
                      <a:pt x="52" y="17"/>
                      <a:pt x="52" y="16"/>
                      <a:pt x="52" y="16"/>
                    </a:cubicBezTo>
                    <a:cubicBezTo>
                      <a:pt x="52" y="16"/>
                      <a:pt x="52" y="16"/>
                      <a:pt x="52" y="16"/>
                    </a:cubicBezTo>
                    <a:cubicBezTo>
                      <a:pt x="52" y="16"/>
                      <a:pt x="52" y="14"/>
                      <a:pt x="52" y="14"/>
                    </a:cubicBezTo>
                    <a:cubicBezTo>
                      <a:pt x="52" y="14"/>
                      <a:pt x="52" y="14"/>
                      <a:pt x="52" y="14"/>
                    </a:cubicBezTo>
                    <a:cubicBezTo>
                      <a:pt x="52" y="12"/>
                      <a:pt x="52" y="12"/>
                      <a:pt x="52" y="12"/>
                    </a:cubicBezTo>
                    <a:cubicBezTo>
                      <a:pt x="51" y="9"/>
                      <a:pt x="51" y="9"/>
                      <a:pt x="51" y="9"/>
                    </a:cubicBezTo>
                    <a:cubicBezTo>
                      <a:pt x="52" y="7"/>
                      <a:pt x="52" y="7"/>
                      <a:pt x="52" y="7"/>
                    </a:cubicBezTo>
                    <a:cubicBezTo>
                      <a:pt x="51" y="7"/>
                      <a:pt x="51" y="7"/>
                      <a:pt x="51" y="7"/>
                    </a:cubicBezTo>
                    <a:cubicBezTo>
                      <a:pt x="48" y="6"/>
                      <a:pt x="48" y="6"/>
                      <a:pt x="48" y="6"/>
                    </a:cubicBezTo>
                    <a:cubicBezTo>
                      <a:pt x="45" y="6"/>
                      <a:pt x="45" y="6"/>
                      <a:pt x="45" y="6"/>
                    </a:cubicBezTo>
                    <a:cubicBezTo>
                      <a:pt x="40" y="3"/>
                      <a:pt x="40" y="3"/>
                      <a:pt x="40" y="3"/>
                    </a:cubicBezTo>
                    <a:cubicBezTo>
                      <a:pt x="35" y="3"/>
                      <a:pt x="35" y="3"/>
                      <a:pt x="35" y="3"/>
                    </a:cubicBezTo>
                    <a:cubicBezTo>
                      <a:pt x="35" y="0"/>
                      <a:pt x="35" y="0"/>
                      <a:pt x="35" y="0"/>
                    </a:cubicBezTo>
                    <a:cubicBezTo>
                      <a:pt x="29" y="0"/>
                      <a:pt x="29" y="0"/>
                      <a:pt x="29" y="0"/>
                    </a:cubicBezTo>
                    <a:cubicBezTo>
                      <a:pt x="25" y="2"/>
                      <a:pt x="25" y="2"/>
                      <a:pt x="25" y="2"/>
                    </a:cubicBezTo>
                    <a:cubicBezTo>
                      <a:pt x="24" y="6"/>
                      <a:pt x="24" y="6"/>
                      <a:pt x="24" y="6"/>
                    </a:cubicBezTo>
                    <a:cubicBezTo>
                      <a:pt x="17" y="9"/>
                      <a:pt x="17" y="9"/>
                      <a:pt x="17" y="9"/>
                    </a:cubicBezTo>
                    <a:cubicBezTo>
                      <a:pt x="12" y="17"/>
                      <a:pt x="12" y="17"/>
                      <a:pt x="12" y="17"/>
                    </a:cubicBezTo>
                    <a:cubicBezTo>
                      <a:pt x="10" y="17"/>
                      <a:pt x="10" y="17"/>
                      <a:pt x="10" y="17"/>
                    </a:cubicBezTo>
                    <a:cubicBezTo>
                      <a:pt x="9" y="17"/>
                      <a:pt x="9" y="17"/>
                      <a:pt x="9" y="17"/>
                    </a:cubicBezTo>
                    <a:cubicBezTo>
                      <a:pt x="6" y="16"/>
                      <a:pt x="6" y="16"/>
                      <a:pt x="6" y="16"/>
                    </a:cubicBezTo>
                    <a:cubicBezTo>
                      <a:pt x="4" y="17"/>
                      <a:pt x="4" y="17"/>
                      <a:pt x="4" y="17"/>
                    </a:cubicBezTo>
                    <a:cubicBezTo>
                      <a:pt x="3" y="15"/>
                      <a:pt x="3" y="15"/>
                      <a:pt x="3" y="15"/>
                    </a:cubicBezTo>
                    <a:cubicBezTo>
                      <a:pt x="0" y="15"/>
                      <a:pt x="0" y="15"/>
                      <a:pt x="0" y="15"/>
                    </a:cubicBezTo>
                    <a:cubicBezTo>
                      <a:pt x="0" y="17"/>
                      <a:pt x="0" y="17"/>
                      <a:pt x="0" y="17"/>
                    </a:cubicBezTo>
                    <a:cubicBezTo>
                      <a:pt x="5" y="24"/>
                      <a:pt x="5" y="24"/>
                      <a:pt x="5" y="24"/>
                    </a:cubicBezTo>
                    <a:cubicBezTo>
                      <a:pt x="6" y="28"/>
                      <a:pt x="6" y="28"/>
                      <a:pt x="6" y="28"/>
                    </a:cubicBezTo>
                    <a:cubicBezTo>
                      <a:pt x="9" y="30"/>
                      <a:pt x="9" y="30"/>
                      <a:pt x="9" y="30"/>
                    </a:cubicBezTo>
                    <a:cubicBezTo>
                      <a:pt x="13" y="32"/>
                      <a:pt x="13" y="32"/>
                      <a:pt x="13" y="32"/>
                    </a:cubicBezTo>
                    <a:cubicBezTo>
                      <a:pt x="14" y="35"/>
                      <a:pt x="14" y="35"/>
                      <a:pt x="14" y="35"/>
                    </a:cubicBezTo>
                    <a:cubicBezTo>
                      <a:pt x="16" y="35"/>
                      <a:pt x="16" y="35"/>
                      <a:pt x="16" y="35"/>
                    </a:cubicBezTo>
                    <a:cubicBezTo>
                      <a:pt x="16" y="39"/>
                      <a:pt x="16" y="39"/>
                      <a:pt x="16" y="39"/>
                    </a:cubicBezTo>
                    <a:cubicBezTo>
                      <a:pt x="19" y="43"/>
                      <a:pt x="19" y="43"/>
                      <a:pt x="19" y="43"/>
                    </a:cubicBezTo>
                    <a:cubicBezTo>
                      <a:pt x="25" y="44"/>
                      <a:pt x="25" y="44"/>
                      <a:pt x="25" y="44"/>
                    </a:cubicBezTo>
                    <a:cubicBezTo>
                      <a:pt x="25" y="46"/>
                      <a:pt x="25" y="46"/>
                      <a:pt x="25" y="46"/>
                    </a:cubicBezTo>
                    <a:cubicBezTo>
                      <a:pt x="28" y="47"/>
                      <a:pt x="28" y="47"/>
                      <a:pt x="28" y="47"/>
                    </a:cubicBezTo>
                    <a:cubicBezTo>
                      <a:pt x="30" y="47"/>
                      <a:pt x="30" y="47"/>
                      <a:pt x="30" y="47"/>
                    </a:cubicBezTo>
                    <a:cubicBezTo>
                      <a:pt x="34" y="48"/>
                      <a:pt x="34" y="48"/>
                      <a:pt x="34" y="48"/>
                    </a:cubicBezTo>
                    <a:cubicBezTo>
                      <a:pt x="39" y="48"/>
                      <a:pt x="39" y="48"/>
                      <a:pt x="39" y="48"/>
                    </a:cubicBezTo>
                    <a:cubicBezTo>
                      <a:pt x="41" y="49"/>
                      <a:pt x="41" y="49"/>
                      <a:pt x="41" y="49"/>
                    </a:cubicBezTo>
                    <a:cubicBezTo>
                      <a:pt x="49" y="41"/>
                      <a:pt x="49" y="41"/>
                      <a:pt x="49" y="41"/>
                    </a:cubicBezTo>
                    <a:lnTo>
                      <a:pt x="48" y="4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0" name="Freeform 879">
                <a:extLst>
                  <a:ext uri="{FF2B5EF4-FFF2-40B4-BE49-F238E27FC236}">
                    <a16:creationId xmlns:a16="http://schemas.microsoft.com/office/drawing/2014/main" id="{E286C67A-F326-164E-89BF-356300B40E11}"/>
                  </a:ext>
                </a:extLst>
              </p:cNvPr>
              <p:cNvSpPr>
                <a:spLocks/>
              </p:cNvSpPr>
              <p:nvPr/>
            </p:nvSpPr>
            <p:spPr bwMode="auto">
              <a:xfrm>
                <a:off x="5995988" y="5126038"/>
                <a:ext cx="328612" cy="282575"/>
              </a:xfrm>
              <a:custGeom>
                <a:avLst/>
                <a:gdLst>
                  <a:gd name="T0" fmla="*/ 67 w 79"/>
                  <a:gd name="T1" fmla="*/ 5 h 68"/>
                  <a:gd name="T2" fmla="*/ 64 w 79"/>
                  <a:gd name="T3" fmla="*/ 2 h 68"/>
                  <a:gd name="T4" fmla="*/ 59 w 79"/>
                  <a:gd name="T5" fmla="*/ 0 h 68"/>
                  <a:gd name="T6" fmla="*/ 47 w 79"/>
                  <a:gd name="T7" fmla="*/ 2 h 68"/>
                  <a:gd name="T8" fmla="*/ 47 w 79"/>
                  <a:gd name="T9" fmla="*/ 3 h 68"/>
                  <a:gd name="T10" fmla="*/ 45 w 79"/>
                  <a:gd name="T11" fmla="*/ 10 h 68"/>
                  <a:gd name="T12" fmla="*/ 45 w 79"/>
                  <a:gd name="T13" fmla="*/ 11 h 68"/>
                  <a:gd name="T14" fmla="*/ 44 w 79"/>
                  <a:gd name="T15" fmla="*/ 14 h 68"/>
                  <a:gd name="T16" fmla="*/ 45 w 79"/>
                  <a:gd name="T17" fmla="*/ 16 h 68"/>
                  <a:gd name="T18" fmla="*/ 43 w 79"/>
                  <a:gd name="T19" fmla="*/ 25 h 68"/>
                  <a:gd name="T20" fmla="*/ 47 w 79"/>
                  <a:gd name="T21" fmla="*/ 28 h 68"/>
                  <a:gd name="T22" fmla="*/ 50 w 79"/>
                  <a:gd name="T23" fmla="*/ 27 h 68"/>
                  <a:gd name="T24" fmla="*/ 53 w 79"/>
                  <a:gd name="T25" fmla="*/ 36 h 68"/>
                  <a:gd name="T26" fmla="*/ 52 w 79"/>
                  <a:gd name="T27" fmla="*/ 35 h 68"/>
                  <a:gd name="T28" fmla="*/ 52 w 79"/>
                  <a:gd name="T29" fmla="*/ 34 h 68"/>
                  <a:gd name="T30" fmla="*/ 49 w 79"/>
                  <a:gd name="T31" fmla="*/ 36 h 68"/>
                  <a:gd name="T32" fmla="*/ 46 w 79"/>
                  <a:gd name="T33" fmla="*/ 34 h 68"/>
                  <a:gd name="T34" fmla="*/ 44 w 79"/>
                  <a:gd name="T35" fmla="*/ 31 h 68"/>
                  <a:gd name="T36" fmla="*/ 42 w 79"/>
                  <a:gd name="T37" fmla="*/ 29 h 68"/>
                  <a:gd name="T38" fmla="*/ 38 w 79"/>
                  <a:gd name="T39" fmla="*/ 27 h 68"/>
                  <a:gd name="T40" fmla="*/ 35 w 79"/>
                  <a:gd name="T41" fmla="*/ 23 h 68"/>
                  <a:gd name="T42" fmla="*/ 34 w 79"/>
                  <a:gd name="T43" fmla="*/ 25 h 68"/>
                  <a:gd name="T44" fmla="*/ 27 w 79"/>
                  <a:gd name="T45" fmla="*/ 25 h 68"/>
                  <a:gd name="T46" fmla="*/ 24 w 79"/>
                  <a:gd name="T47" fmla="*/ 24 h 68"/>
                  <a:gd name="T48" fmla="*/ 23 w 79"/>
                  <a:gd name="T49" fmla="*/ 20 h 68"/>
                  <a:gd name="T50" fmla="*/ 16 w 79"/>
                  <a:gd name="T51" fmla="*/ 22 h 68"/>
                  <a:gd name="T52" fmla="*/ 15 w 79"/>
                  <a:gd name="T53" fmla="*/ 21 h 68"/>
                  <a:gd name="T54" fmla="*/ 14 w 79"/>
                  <a:gd name="T55" fmla="*/ 18 h 68"/>
                  <a:gd name="T56" fmla="*/ 14 w 79"/>
                  <a:gd name="T57" fmla="*/ 21 h 68"/>
                  <a:gd name="T58" fmla="*/ 14 w 79"/>
                  <a:gd name="T59" fmla="*/ 23 h 68"/>
                  <a:gd name="T60" fmla="*/ 13 w 79"/>
                  <a:gd name="T61" fmla="*/ 27 h 68"/>
                  <a:gd name="T62" fmla="*/ 13 w 79"/>
                  <a:gd name="T63" fmla="*/ 31 h 68"/>
                  <a:gd name="T64" fmla="*/ 0 w 79"/>
                  <a:gd name="T65" fmla="*/ 32 h 68"/>
                  <a:gd name="T66" fmla="*/ 4 w 79"/>
                  <a:gd name="T67" fmla="*/ 60 h 68"/>
                  <a:gd name="T68" fmla="*/ 15 w 79"/>
                  <a:gd name="T69" fmla="*/ 64 h 68"/>
                  <a:gd name="T70" fmla="*/ 22 w 79"/>
                  <a:gd name="T71" fmla="*/ 66 h 68"/>
                  <a:gd name="T72" fmla="*/ 26 w 79"/>
                  <a:gd name="T73" fmla="*/ 68 h 68"/>
                  <a:gd name="T74" fmla="*/ 31 w 79"/>
                  <a:gd name="T75" fmla="*/ 68 h 68"/>
                  <a:gd name="T76" fmla="*/ 34 w 79"/>
                  <a:gd name="T77" fmla="*/ 68 h 68"/>
                  <a:gd name="T78" fmla="*/ 46 w 79"/>
                  <a:gd name="T79" fmla="*/ 57 h 68"/>
                  <a:gd name="T80" fmla="*/ 51 w 79"/>
                  <a:gd name="T81" fmla="*/ 51 h 68"/>
                  <a:gd name="T82" fmla="*/ 56 w 79"/>
                  <a:gd name="T83" fmla="*/ 47 h 68"/>
                  <a:gd name="T84" fmla="*/ 72 w 79"/>
                  <a:gd name="T85" fmla="*/ 36 h 68"/>
                  <a:gd name="T86" fmla="*/ 74 w 79"/>
                  <a:gd name="T87" fmla="*/ 31 h 68"/>
                  <a:gd name="T88" fmla="*/ 77 w 79"/>
                  <a:gd name="T89" fmla="*/ 28 h 68"/>
                  <a:gd name="T90" fmla="*/ 77 w 79"/>
                  <a:gd name="T91" fmla="*/ 24 h 68"/>
                  <a:gd name="T92" fmla="*/ 76 w 79"/>
                  <a:gd name="T93" fmla="*/ 21 h 68"/>
                  <a:gd name="T94" fmla="*/ 76 w 79"/>
                  <a:gd name="T95" fmla="*/ 18 h 68"/>
                  <a:gd name="T96" fmla="*/ 79 w 79"/>
                  <a:gd name="T97" fmla="*/ 14 h 68"/>
                  <a:gd name="T98" fmla="*/ 77 w 79"/>
                  <a:gd name="T99" fmla="*/ 12 h 68"/>
                  <a:gd name="T100" fmla="*/ 76 w 79"/>
                  <a:gd name="T101" fmla="*/ 9 h 68"/>
                  <a:gd name="T102" fmla="*/ 74 w 79"/>
                  <a:gd name="T103" fmla="*/ 8 h 68"/>
                  <a:gd name="T104" fmla="*/ 68 w 79"/>
                  <a:gd name="T105"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68">
                    <a:moveTo>
                      <a:pt x="68" y="6"/>
                    </a:moveTo>
                    <a:cubicBezTo>
                      <a:pt x="67" y="5"/>
                      <a:pt x="67" y="5"/>
                      <a:pt x="67" y="5"/>
                    </a:cubicBezTo>
                    <a:cubicBezTo>
                      <a:pt x="65" y="5"/>
                      <a:pt x="65" y="5"/>
                      <a:pt x="65" y="5"/>
                    </a:cubicBezTo>
                    <a:cubicBezTo>
                      <a:pt x="64" y="2"/>
                      <a:pt x="64" y="2"/>
                      <a:pt x="64" y="2"/>
                    </a:cubicBezTo>
                    <a:cubicBezTo>
                      <a:pt x="61" y="2"/>
                      <a:pt x="61" y="2"/>
                      <a:pt x="61" y="2"/>
                    </a:cubicBezTo>
                    <a:cubicBezTo>
                      <a:pt x="59" y="0"/>
                      <a:pt x="59" y="0"/>
                      <a:pt x="59" y="0"/>
                    </a:cubicBezTo>
                    <a:cubicBezTo>
                      <a:pt x="47" y="1"/>
                      <a:pt x="47" y="1"/>
                      <a:pt x="47" y="1"/>
                    </a:cubicBezTo>
                    <a:cubicBezTo>
                      <a:pt x="47" y="2"/>
                      <a:pt x="47" y="2"/>
                      <a:pt x="47" y="2"/>
                    </a:cubicBezTo>
                    <a:cubicBezTo>
                      <a:pt x="47" y="2"/>
                      <a:pt x="47" y="2"/>
                      <a:pt x="47" y="2"/>
                    </a:cubicBezTo>
                    <a:cubicBezTo>
                      <a:pt x="47" y="3"/>
                      <a:pt x="47" y="3"/>
                      <a:pt x="47" y="3"/>
                    </a:cubicBezTo>
                    <a:cubicBezTo>
                      <a:pt x="43" y="7"/>
                      <a:pt x="43" y="7"/>
                      <a:pt x="43" y="7"/>
                    </a:cubicBezTo>
                    <a:cubicBezTo>
                      <a:pt x="45" y="10"/>
                      <a:pt x="45" y="10"/>
                      <a:pt x="45" y="10"/>
                    </a:cubicBezTo>
                    <a:cubicBezTo>
                      <a:pt x="45" y="11"/>
                      <a:pt x="45" y="11"/>
                      <a:pt x="45" y="11"/>
                    </a:cubicBezTo>
                    <a:cubicBezTo>
                      <a:pt x="45" y="11"/>
                      <a:pt x="45" y="11"/>
                      <a:pt x="45" y="11"/>
                    </a:cubicBezTo>
                    <a:cubicBezTo>
                      <a:pt x="45" y="13"/>
                      <a:pt x="45" y="13"/>
                      <a:pt x="45" y="13"/>
                    </a:cubicBezTo>
                    <a:cubicBezTo>
                      <a:pt x="44" y="14"/>
                      <a:pt x="44" y="14"/>
                      <a:pt x="44" y="14"/>
                    </a:cubicBezTo>
                    <a:cubicBezTo>
                      <a:pt x="45" y="15"/>
                      <a:pt x="45" y="15"/>
                      <a:pt x="45" y="15"/>
                    </a:cubicBezTo>
                    <a:cubicBezTo>
                      <a:pt x="45" y="16"/>
                      <a:pt x="45" y="16"/>
                      <a:pt x="45" y="16"/>
                    </a:cubicBezTo>
                    <a:cubicBezTo>
                      <a:pt x="43" y="22"/>
                      <a:pt x="43" y="22"/>
                      <a:pt x="43" y="22"/>
                    </a:cubicBezTo>
                    <a:cubicBezTo>
                      <a:pt x="43" y="25"/>
                      <a:pt x="43" y="25"/>
                      <a:pt x="43" y="25"/>
                    </a:cubicBezTo>
                    <a:cubicBezTo>
                      <a:pt x="46" y="26"/>
                      <a:pt x="46" y="26"/>
                      <a:pt x="46" y="26"/>
                    </a:cubicBezTo>
                    <a:cubicBezTo>
                      <a:pt x="47" y="28"/>
                      <a:pt x="47" y="28"/>
                      <a:pt x="47" y="28"/>
                    </a:cubicBezTo>
                    <a:cubicBezTo>
                      <a:pt x="50" y="29"/>
                      <a:pt x="50" y="29"/>
                      <a:pt x="50" y="29"/>
                    </a:cubicBezTo>
                    <a:cubicBezTo>
                      <a:pt x="50" y="27"/>
                      <a:pt x="50" y="27"/>
                      <a:pt x="50" y="27"/>
                    </a:cubicBezTo>
                    <a:cubicBezTo>
                      <a:pt x="53" y="27"/>
                      <a:pt x="53" y="27"/>
                      <a:pt x="53" y="27"/>
                    </a:cubicBezTo>
                    <a:cubicBezTo>
                      <a:pt x="53" y="36"/>
                      <a:pt x="53" y="36"/>
                      <a:pt x="53" y="36"/>
                    </a:cubicBezTo>
                    <a:cubicBezTo>
                      <a:pt x="52" y="36"/>
                      <a:pt x="52" y="36"/>
                      <a:pt x="52" y="36"/>
                    </a:cubicBezTo>
                    <a:cubicBezTo>
                      <a:pt x="52" y="35"/>
                      <a:pt x="52" y="35"/>
                      <a:pt x="52" y="35"/>
                    </a:cubicBezTo>
                    <a:cubicBezTo>
                      <a:pt x="52" y="35"/>
                      <a:pt x="52" y="35"/>
                      <a:pt x="52" y="35"/>
                    </a:cubicBezTo>
                    <a:cubicBezTo>
                      <a:pt x="52" y="34"/>
                      <a:pt x="52" y="34"/>
                      <a:pt x="52" y="34"/>
                    </a:cubicBezTo>
                    <a:cubicBezTo>
                      <a:pt x="51" y="34"/>
                      <a:pt x="51" y="34"/>
                      <a:pt x="51" y="34"/>
                    </a:cubicBezTo>
                    <a:cubicBezTo>
                      <a:pt x="49" y="36"/>
                      <a:pt x="49" y="36"/>
                      <a:pt x="49" y="36"/>
                    </a:cubicBezTo>
                    <a:cubicBezTo>
                      <a:pt x="48" y="36"/>
                      <a:pt x="48" y="36"/>
                      <a:pt x="48" y="36"/>
                    </a:cubicBezTo>
                    <a:cubicBezTo>
                      <a:pt x="46" y="34"/>
                      <a:pt x="46" y="34"/>
                      <a:pt x="46" y="34"/>
                    </a:cubicBezTo>
                    <a:cubicBezTo>
                      <a:pt x="46" y="32"/>
                      <a:pt x="46" y="32"/>
                      <a:pt x="46" y="32"/>
                    </a:cubicBezTo>
                    <a:cubicBezTo>
                      <a:pt x="44" y="31"/>
                      <a:pt x="44" y="31"/>
                      <a:pt x="44" y="31"/>
                    </a:cubicBezTo>
                    <a:cubicBezTo>
                      <a:pt x="44" y="29"/>
                      <a:pt x="44" y="29"/>
                      <a:pt x="44" y="29"/>
                    </a:cubicBezTo>
                    <a:cubicBezTo>
                      <a:pt x="42" y="29"/>
                      <a:pt x="42" y="29"/>
                      <a:pt x="42" y="29"/>
                    </a:cubicBezTo>
                    <a:cubicBezTo>
                      <a:pt x="40" y="27"/>
                      <a:pt x="40" y="27"/>
                      <a:pt x="40" y="27"/>
                    </a:cubicBezTo>
                    <a:cubicBezTo>
                      <a:pt x="38" y="27"/>
                      <a:pt x="38" y="27"/>
                      <a:pt x="38" y="27"/>
                    </a:cubicBezTo>
                    <a:cubicBezTo>
                      <a:pt x="35" y="25"/>
                      <a:pt x="35" y="25"/>
                      <a:pt x="35" y="25"/>
                    </a:cubicBezTo>
                    <a:cubicBezTo>
                      <a:pt x="35" y="23"/>
                      <a:pt x="35" y="23"/>
                      <a:pt x="35" y="23"/>
                    </a:cubicBezTo>
                    <a:cubicBezTo>
                      <a:pt x="34" y="23"/>
                      <a:pt x="34" y="23"/>
                      <a:pt x="34" y="23"/>
                    </a:cubicBezTo>
                    <a:cubicBezTo>
                      <a:pt x="34" y="25"/>
                      <a:pt x="34" y="25"/>
                      <a:pt x="34" y="25"/>
                    </a:cubicBezTo>
                    <a:cubicBezTo>
                      <a:pt x="33" y="25"/>
                      <a:pt x="33" y="25"/>
                      <a:pt x="33" y="25"/>
                    </a:cubicBezTo>
                    <a:cubicBezTo>
                      <a:pt x="27" y="25"/>
                      <a:pt x="27" y="25"/>
                      <a:pt x="27" y="25"/>
                    </a:cubicBezTo>
                    <a:cubicBezTo>
                      <a:pt x="26" y="24"/>
                      <a:pt x="26" y="24"/>
                      <a:pt x="26" y="24"/>
                    </a:cubicBezTo>
                    <a:cubicBezTo>
                      <a:pt x="24" y="24"/>
                      <a:pt x="24" y="24"/>
                      <a:pt x="24" y="24"/>
                    </a:cubicBezTo>
                    <a:cubicBezTo>
                      <a:pt x="23" y="23"/>
                      <a:pt x="23" y="23"/>
                      <a:pt x="23" y="23"/>
                    </a:cubicBezTo>
                    <a:cubicBezTo>
                      <a:pt x="23" y="20"/>
                      <a:pt x="23" y="20"/>
                      <a:pt x="23" y="20"/>
                    </a:cubicBezTo>
                    <a:cubicBezTo>
                      <a:pt x="17" y="22"/>
                      <a:pt x="17" y="22"/>
                      <a:pt x="17" y="22"/>
                    </a:cubicBezTo>
                    <a:cubicBezTo>
                      <a:pt x="16" y="22"/>
                      <a:pt x="16" y="22"/>
                      <a:pt x="16" y="22"/>
                    </a:cubicBezTo>
                    <a:cubicBezTo>
                      <a:pt x="15" y="22"/>
                      <a:pt x="15" y="22"/>
                      <a:pt x="15" y="22"/>
                    </a:cubicBezTo>
                    <a:cubicBezTo>
                      <a:pt x="15" y="21"/>
                      <a:pt x="15" y="21"/>
                      <a:pt x="15" y="21"/>
                    </a:cubicBezTo>
                    <a:cubicBezTo>
                      <a:pt x="16" y="19"/>
                      <a:pt x="16" y="19"/>
                      <a:pt x="16" y="19"/>
                    </a:cubicBezTo>
                    <a:cubicBezTo>
                      <a:pt x="14" y="18"/>
                      <a:pt x="14" y="18"/>
                      <a:pt x="14" y="18"/>
                    </a:cubicBezTo>
                    <a:cubicBezTo>
                      <a:pt x="14" y="21"/>
                      <a:pt x="14" y="21"/>
                      <a:pt x="14" y="21"/>
                    </a:cubicBezTo>
                    <a:cubicBezTo>
                      <a:pt x="14" y="21"/>
                      <a:pt x="14" y="21"/>
                      <a:pt x="14" y="21"/>
                    </a:cubicBezTo>
                    <a:cubicBezTo>
                      <a:pt x="14" y="21"/>
                      <a:pt x="14" y="22"/>
                      <a:pt x="14" y="22"/>
                    </a:cubicBezTo>
                    <a:cubicBezTo>
                      <a:pt x="14" y="22"/>
                      <a:pt x="14" y="23"/>
                      <a:pt x="14" y="23"/>
                    </a:cubicBezTo>
                    <a:cubicBezTo>
                      <a:pt x="13" y="24"/>
                      <a:pt x="13" y="24"/>
                      <a:pt x="13" y="24"/>
                    </a:cubicBezTo>
                    <a:cubicBezTo>
                      <a:pt x="13" y="27"/>
                      <a:pt x="13" y="27"/>
                      <a:pt x="13" y="27"/>
                    </a:cubicBezTo>
                    <a:cubicBezTo>
                      <a:pt x="14" y="28"/>
                      <a:pt x="14" y="28"/>
                      <a:pt x="14" y="28"/>
                    </a:cubicBezTo>
                    <a:cubicBezTo>
                      <a:pt x="13" y="31"/>
                      <a:pt x="13" y="31"/>
                      <a:pt x="13" y="31"/>
                    </a:cubicBezTo>
                    <a:cubicBezTo>
                      <a:pt x="14" y="32"/>
                      <a:pt x="14" y="32"/>
                      <a:pt x="14" y="32"/>
                    </a:cubicBezTo>
                    <a:cubicBezTo>
                      <a:pt x="0" y="32"/>
                      <a:pt x="0" y="32"/>
                      <a:pt x="0" y="32"/>
                    </a:cubicBezTo>
                    <a:cubicBezTo>
                      <a:pt x="0" y="55"/>
                      <a:pt x="0" y="55"/>
                      <a:pt x="0" y="55"/>
                    </a:cubicBezTo>
                    <a:cubicBezTo>
                      <a:pt x="4" y="60"/>
                      <a:pt x="4" y="60"/>
                      <a:pt x="4" y="60"/>
                    </a:cubicBezTo>
                    <a:cubicBezTo>
                      <a:pt x="9" y="65"/>
                      <a:pt x="9" y="65"/>
                      <a:pt x="9" y="65"/>
                    </a:cubicBezTo>
                    <a:cubicBezTo>
                      <a:pt x="15" y="64"/>
                      <a:pt x="15" y="64"/>
                      <a:pt x="15" y="64"/>
                    </a:cubicBezTo>
                    <a:cubicBezTo>
                      <a:pt x="20" y="65"/>
                      <a:pt x="20" y="65"/>
                      <a:pt x="20" y="65"/>
                    </a:cubicBezTo>
                    <a:cubicBezTo>
                      <a:pt x="22" y="66"/>
                      <a:pt x="22" y="66"/>
                      <a:pt x="22" y="66"/>
                    </a:cubicBezTo>
                    <a:cubicBezTo>
                      <a:pt x="25" y="66"/>
                      <a:pt x="25" y="66"/>
                      <a:pt x="25" y="66"/>
                    </a:cubicBezTo>
                    <a:cubicBezTo>
                      <a:pt x="26" y="68"/>
                      <a:pt x="26" y="68"/>
                      <a:pt x="26" y="68"/>
                    </a:cubicBezTo>
                    <a:cubicBezTo>
                      <a:pt x="28" y="67"/>
                      <a:pt x="28" y="67"/>
                      <a:pt x="28" y="67"/>
                    </a:cubicBezTo>
                    <a:cubicBezTo>
                      <a:pt x="31" y="68"/>
                      <a:pt x="31" y="68"/>
                      <a:pt x="31" y="68"/>
                    </a:cubicBezTo>
                    <a:cubicBezTo>
                      <a:pt x="32" y="68"/>
                      <a:pt x="32" y="68"/>
                      <a:pt x="32" y="68"/>
                    </a:cubicBezTo>
                    <a:cubicBezTo>
                      <a:pt x="34" y="68"/>
                      <a:pt x="34" y="68"/>
                      <a:pt x="34" y="68"/>
                    </a:cubicBezTo>
                    <a:cubicBezTo>
                      <a:pt x="39" y="60"/>
                      <a:pt x="39" y="60"/>
                      <a:pt x="39" y="60"/>
                    </a:cubicBezTo>
                    <a:cubicBezTo>
                      <a:pt x="46" y="57"/>
                      <a:pt x="46" y="57"/>
                      <a:pt x="46" y="57"/>
                    </a:cubicBezTo>
                    <a:cubicBezTo>
                      <a:pt x="47" y="53"/>
                      <a:pt x="47" y="53"/>
                      <a:pt x="47" y="53"/>
                    </a:cubicBezTo>
                    <a:cubicBezTo>
                      <a:pt x="51" y="51"/>
                      <a:pt x="51" y="51"/>
                      <a:pt x="51" y="51"/>
                    </a:cubicBezTo>
                    <a:cubicBezTo>
                      <a:pt x="57" y="51"/>
                      <a:pt x="57" y="51"/>
                      <a:pt x="57" y="51"/>
                    </a:cubicBezTo>
                    <a:cubicBezTo>
                      <a:pt x="56" y="47"/>
                      <a:pt x="56" y="47"/>
                      <a:pt x="56" y="47"/>
                    </a:cubicBezTo>
                    <a:cubicBezTo>
                      <a:pt x="75" y="40"/>
                      <a:pt x="75" y="40"/>
                      <a:pt x="75" y="40"/>
                    </a:cubicBezTo>
                    <a:cubicBezTo>
                      <a:pt x="72" y="36"/>
                      <a:pt x="72" y="36"/>
                      <a:pt x="72" y="36"/>
                    </a:cubicBezTo>
                    <a:cubicBezTo>
                      <a:pt x="75" y="34"/>
                      <a:pt x="75" y="34"/>
                      <a:pt x="75" y="34"/>
                    </a:cubicBezTo>
                    <a:cubicBezTo>
                      <a:pt x="74" y="31"/>
                      <a:pt x="74" y="31"/>
                      <a:pt x="74" y="31"/>
                    </a:cubicBezTo>
                    <a:cubicBezTo>
                      <a:pt x="78" y="28"/>
                      <a:pt x="78" y="28"/>
                      <a:pt x="78" y="28"/>
                    </a:cubicBezTo>
                    <a:cubicBezTo>
                      <a:pt x="77" y="28"/>
                      <a:pt x="77" y="28"/>
                      <a:pt x="77" y="28"/>
                    </a:cubicBezTo>
                    <a:cubicBezTo>
                      <a:pt x="76" y="26"/>
                      <a:pt x="76" y="26"/>
                      <a:pt x="76" y="26"/>
                    </a:cubicBezTo>
                    <a:cubicBezTo>
                      <a:pt x="77" y="24"/>
                      <a:pt x="77" y="24"/>
                      <a:pt x="77" y="24"/>
                    </a:cubicBezTo>
                    <a:cubicBezTo>
                      <a:pt x="76" y="22"/>
                      <a:pt x="76" y="22"/>
                      <a:pt x="76" y="22"/>
                    </a:cubicBezTo>
                    <a:cubicBezTo>
                      <a:pt x="76" y="21"/>
                      <a:pt x="76" y="21"/>
                      <a:pt x="76" y="21"/>
                    </a:cubicBezTo>
                    <a:cubicBezTo>
                      <a:pt x="77" y="20"/>
                      <a:pt x="77" y="20"/>
                      <a:pt x="77" y="20"/>
                    </a:cubicBezTo>
                    <a:cubicBezTo>
                      <a:pt x="76" y="18"/>
                      <a:pt x="76" y="18"/>
                      <a:pt x="76" y="18"/>
                    </a:cubicBezTo>
                    <a:cubicBezTo>
                      <a:pt x="79" y="16"/>
                      <a:pt x="79" y="16"/>
                      <a:pt x="79" y="16"/>
                    </a:cubicBezTo>
                    <a:cubicBezTo>
                      <a:pt x="79" y="14"/>
                      <a:pt x="79" y="14"/>
                      <a:pt x="79" y="14"/>
                    </a:cubicBezTo>
                    <a:cubicBezTo>
                      <a:pt x="76" y="12"/>
                      <a:pt x="76" y="12"/>
                      <a:pt x="76" y="12"/>
                    </a:cubicBezTo>
                    <a:cubicBezTo>
                      <a:pt x="77" y="12"/>
                      <a:pt x="77" y="12"/>
                      <a:pt x="77" y="12"/>
                    </a:cubicBezTo>
                    <a:cubicBezTo>
                      <a:pt x="77" y="10"/>
                      <a:pt x="77" y="10"/>
                      <a:pt x="77" y="10"/>
                    </a:cubicBezTo>
                    <a:cubicBezTo>
                      <a:pt x="76" y="9"/>
                      <a:pt x="76" y="9"/>
                      <a:pt x="76" y="9"/>
                    </a:cubicBezTo>
                    <a:cubicBezTo>
                      <a:pt x="75" y="9"/>
                      <a:pt x="75" y="9"/>
                      <a:pt x="75" y="9"/>
                    </a:cubicBezTo>
                    <a:cubicBezTo>
                      <a:pt x="74" y="8"/>
                      <a:pt x="74" y="8"/>
                      <a:pt x="74" y="8"/>
                    </a:cubicBezTo>
                    <a:cubicBezTo>
                      <a:pt x="71" y="6"/>
                      <a:pt x="71" y="6"/>
                      <a:pt x="71" y="6"/>
                    </a:cubicBezTo>
                    <a:lnTo>
                      <a:pt x="68"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Freeform 880">
                <a:extLst>
                  <a:ext uri="{FF2B5EF4-FFF2-40B4-BE49-F238E27FC236}">
                    <a16:creationId xmlns:a16="http://schemas.microsoft.com/office/drawing/2014/main" id="{527E2C89-A29B-D35C-435E-85E1D31E6B17}"/>
                  </a:ext>
                </a:extLst>
              </p:cNvPr>
              <p:cNvSpPr>
                <a:spLocks/>
              </p:cNvSpPr>
              <p:nvPr/>
            </p:nvSpPr>
            <p:spPr bwMode="auto">
              <a:xfrm>
                <a:off x="6211888" y="4770438"/>
                <a:ext cx="150812" cy="158750"/>
              </a:xfrm>
              <a:custGeom>
                <a:avLst/>
                <a:gdLst>
                  <a:gd name="T0" fmla="*/ 79 w 95"/>
                  <a:gd name="T1" fmla="*/ 66 h 100"/>
                  <a:gd name="T2" fmla="*/ 84 w 95"/>
                  <a:gd name="T3" fmla="*/ 58 h 100"/>
                  <a:gd name="T4" fmla="*/ 87 w 95"/>
                  <a:gd name="T5" fmla="*/ 56 h 100"/>
                  <a:gd name="T6" fmla="*/ 92 w 95"/>
                  <a:gd name="T7" fmla="*/ 53 h 100"/>
                  <a:gd name="T8" fmla="*/ 95 w 95"/>
                  <a:gd name="T9" fmla="*/ 48 h 100"/>
                  <a:gd name="T10" fmla="*/ 95 w 95"/>
                  <a:gd name="T11" fmla="*/ 42 h 100"/>
                  <a:gd name="T12" fmla="*/ 95 w 95"/>
                  <a:gd name="T13" fmla="*/ 37 h 100"/>
                  <a:gd name="T14" fmla="*/ 95 w 95"/>
                  <a:gd name="T15" fmla="*/ 32 h 100"/>
                  <a:gd name="T16" fmla="*/ 84 w 95"/>
                  <a:gd name="T17" fmla="*/ 19 h 100"/>
                  <a:gd name="T18" fmla="*/ 84 w 95"/>
                  <a:gd name="T19" fmla="*/ 11 h 100"/>
                  <a:gd name="T20" fmla="*/ 82 w 95"/>
                  <a:gd name="T21" fmla="*/ 8 h 100"/>
                  <a:gd name="T22" fmla="*/ 82 w 95"/>
                  <a:gd name="T23" fmla="*/ 6 h 100"/>
                  <a:gd name="T24" fmla="*/ 79 w 95"/>
                  <a:gd name="T25" fmla="*/ 6 h 100"/>
                  <a:gd name="T26" fmla="*/ 76 w 95"/>
                  <a:gd name="T27" fmla="*/ 3 h 100"/>
                  <a:gd name="T28" fmla="*/ 76 w 95"/>
                  <a:gd name="T29" fmla="*/ 0 h 100"/>
                  <a:gd name="T30" fmla="*/ 69 w 95"/>
                  <a:gd name="T31" fmla="*/ 8 h 100"/>
                  <a:gd name="T32" fmla="*/ 58 w 95"/>
                  <a:gd name="T33" fmla="*/ 6 h 100"/>
                  <a:gd name="T34" fmla="*/ 48 w 95"/>
                  <a:gd name="T35" fmla="*/ 8 h 100"/>
                  <a:gd name="T36" fmla="*/ 45 w 95"/>
                  <a:gd name="T37" fmla="*/ 14 h 100"/>
                  <a:gd name="T38" fmla="*/ 40 w 95"/>
                  <a:gd name="T39" fmla="*/ 11 h 100"/>
                  <a:gd name="T40" fmla="*/ 37 w 95"/>
                  <a:gd name="T41" fmla="*/ 8 h 100"/>
                  <a:gd name="T42" fmla="*/ 34 w 95"/>
                  <a:gd name="T43" fmla="*/ 11 h 100"/>
                  <a:gd name="T44" fmla="*/ 27 w 95"/>
                  <a:gd name="T45" fmla="*/ 8 h 100"/>
                  <a:gd name="T46" fmla="*/ 21 w 95"/>
                  <a:gd name="T47" fmla="*/ 14 h 100"/>
                  <a:gd name="T48" fmla="*/ 21 w 95"/>
                  <a:gd name="T49" fmla="*/ 16 h 100"/>
                  <a:gd name="T50" fmla="*/ 19 w 95"/>
                  <a:gd name="T51" fmla="*/ 21 h 100"/>
                  <a:gd name="T52" fmla="*/ 21 w 95"/>
                  <a:gd name="T53" fmla="*/ 24 h 100"/>
                  <a:gd name="T54" fmla="*/ 21 w 95"/>
                  <a:gd name="T55" fmla="*/ 27 h 100"/>
                  <a:gd name="T56" fmla="*/ 19 w 95"/>
                  <a:gd name="T57" fmla="*/ 32 h 100"/>
                  <a:gd name="T58" fmla="*/ 24 w 95"/>
                  <a:gd name="T59" fmla="*/ 32 h 100"/>
                  <a:gd name="T60" fmla="*/ 29 w 95"/>
                  <a:gd name="T61" fmla="*/ 37 h 100"/>
                  <a:gd name="T62" fmla="*/ 6 w 95"/>
                  <a:gd name="T63" fmla="*/ 61 h 100"/>
                  <a:gd name="T64" fmla="*/ 0 w 95"/>
                  <a:gd name="T65" fmla="*/ 77 h 100"/>
                  <a:gd name="T66" fmla="*/ 0 w 95"/>
                  <a:gd name="T67" fmla="*/ 100 h 100"/>
                  <a:gd name="T68" fmla="*/ 8 w 95"/>
                  <a:gd name="T69" fmla="*/ 100 h 100"/>
                  <a:gd name="T70" fmla="*/ 13 w 95"/>
                  <a:gd name="T71" fmla="*/ 95 h 100"/>
                  <a:gd name="T72" fmla="*/ 76 w 95"/>
                  <a:gd name="T73" fmla="*/ 95 h 100"/>
                  <a:gd name="T74" fmla="*/ 76 w 95"/>
                  <a:gd name="T75" fmla="*/ 74 h 100"/>
                  <a:gd name="T76" fmla="*/ 79 w 95"/>
                  <a:gd name="T77" fmla="*/ 6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100">
                    <a:moveTo>
                      <a:pt x="79" y="66"/>
                    </a:moveTo>
                    <a:lnTo>
                      <a:pt x="84" y="58"/>
                    </a:lnTo>
                    <a:lnTo>
                      <a:pt x="87" y="56"/>
                    </a:lnTo>
                    <a:lnTo>
                      <a:pt x="92" y="53"/>
                    </a:lnTo>
                    <a:lnTo>
                      <a:pt x="95" y="48"/>
                    </a:lnTo>
                    <a:lnTo>
                      <a:pt x="95" y="42"/>
                    </a:lnTo>
                    <a:lnTo>
                      <a:pt x="95" y="37"/>
                    </a:lnTo>
                    <a:lnTo>
                      <a:pt x="95" y="32"/>
                    </a:lnTo>
                    <a:lnTo>
                      <a:pt x="84" y="19"/>
                    </a:lnTo>
                    <a:lnTo>
                      <a:pt x="84" y="11"/>
                    </a:lnTo>
                    <a:lnTo>
                      <a:pt x="82" y="8"/>
                    </a:lnTo>
                    <a:lnTo>
                      <a:pt x="82" y="6"/>
                    </a:lnTo>
                    <a:lnTo>
                      <a:pt x="79" y="6"/>
                    </a:lnTo>
                    <a:lnTo>
                      <a:pt x="76" y="3"/>
                    </a:lnTo>
                    <a:lnTo>
                      <a:pt x="76" y="0"/>
                    </a:lnTo>
                    <a:lnTo>
                      <a:pt x="69" y="8"/>
                    </a:lnTo>
                    <a:lnTo>
                      <a:pt x="58" y="6"/>
                    </a:lnTo>
                    <a:lnTo>
                      <a:pt x="48" y="8"/>
                    </a:lnTo>
                    <a:lnTo>
                      <a:pt x="45" y="14"/>
                    </a:lnTo>
                    <a:lnTo>
                      <a:pt x="40" y="11"/>
                    </a:lnTo>
                    <a:lnTo>
                      <a:pt x="37" y="8"/>
                    </a:lnTo>
                    <a:lnTo>
                      <a:pt x="34" y="11"/>
                    </a:lnTo>
                    <a:lnTo>
                      <a:pt x="27" y="8"/>
                    </a:lnTo>
                    <a:lnTo>
                      <a:pt x="21" y="14"/>
                    </a:lnTo>
                    <a:lnTo>
                      <a:pt x="21" y="16"/>
                    </a:lnTo>
                    <a:lnTo>
                      <a:pt x="19" y="21"/>
                    </a:lnTo>
                    <a:lnTo>
                      <a:pt x="21" y="24"/>
                    </a:lnTo>
                    <a:lnTo>
                      <a:pt x="21" y="27"/>
                    </a:lnTo>
                    <a:lnTo>
                      <a:pt x="19" y="32"/>
                    </a:lnTo>
                    <a:lnTo>
                      <a:pt x="24" y="32"/>
                    </a:lnTo>
                    <a:lnTo>
                      <a:pt x="29" y="37"/>
                    </a:lnTo>
                    <a:lnTo>
                      <a:pt x="6" y="61"/>
                    </a:lnTo>
                    <a:lnTo>
                      <a:pt x="0" y="77"/>
                    </a:lnTo>
                    <a:lnTo>
                      <a:pt x="0" y="100"/>
                    </a:lnTo>
                    <a:lnTo>
                      <a:pt x="8" y="100"/>
                    </a:lnTo>
                    <a:lnTo>
                      <a:pt x="13" y="95"/>
                    </a:lnTo>
                    <a:lnTo>
                      <a:pt x="76" y="95"/>
                    </a:lnTo>
                    <a:lnTo>
                      <a:pt x="76" y="74"/>
                    </a:lnTo>
                    <a:lnTo>
                      <a:pt x="79" y="6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2" name="Freeform 881">
                <a:extLst>
                  <a:ext uri="{FF2B5EF4-FFF2-40B4-BE49-F238E27FC236}">
                    <a16:creationId xmlns:a16="http://schemas.microsoft.com/office/drawing/2014/main" id="{E7CCF54B-230E-D208-9591-F21B7A472DA5}"/>
                  </a:ext>
                </a:extLst>
              </p:cNvPr>
              <p:cNvSpPr>
                <a:spLocks/>
              </p:cNvSpPr>
              <p:nvPr/>
            </p:nvSpPr>
            <p:spPr bwMode="auto">
              <a:xfrm>
                <a:off x="5583238" y="3754438"/>
                <a:ext cx="117475" cy="238125"/>
              </a:xfrm>
              <a:custGeom>
                <a:avLst/>
                <a:gdLst>
                  <a:gd name="T0" fmla="*/ 19 w 28"/>
                  <a:gd name="T1" fmla="*/ 51 h 57"/>
                  <a:gd name="T2" fmla="*/ 18 w 28"/>
                  <a:gd name="T3" fmla="*/ 48 h 57"/>
                  <a:gd name="T4" fmla="*/ 23 w 28"/>
                  <a:gd name="T5" fmla="*/ 42 h 57"/>
                  <a:gd name="T6" fmla="*/ 28 w 28"/>
                  <a:gd name="T7" fmla="*/ 40 h 57"/>
                  <a:gd name="T8" fmla="*/ 28 w 28"/>
                  <a:gd name="T9" fmla="*/ 34 h 57"/>
                  <a:gd name="T10" fmla="*/ 24 w 28"/>
                  <a:gd name="T11" fmla="*/ 31 h 57"/>
                  <a:gd name="T12" fmla="*/ 23 w 28"/>
                  <a:gd name="T13" fmla="*/ 30 h 57"/>
                  <a:gd name="T14" fmla="*/ 25 w 28"/>
                  <a:gd name="T15" fmla="*/ 29 h 57"/>
                  <a:gd name="T16" fmla="*/ 23 w 28"/>
                  <a:gd name="T17" fmla="*/ 29 h 57"/>
                  <a:gd name="T18" fmla="*/ 19 w 28"/>
                  <a:gd name="T19" fmla="*/ 28 h 57"/>
                  <a:gd name="T20" fmla="*/ 25 w 28"/>
                  <a:gd name="T21" fmla="*/ 19 h 57"/>
                  <a:gd name="T22" fmla="*/ 22 w 28"/>
                  <a:gd name="T23" fmla="*/ 12 h 57"/>
                  <a:gd name="T24" fmla="*/ 25 w 28"/>
                  <a:gd name="T25" fmla="*/ 4 h 57"/>
                  <a:gd name="T26" fmla="*/ 24 w 28"/>
                  <a:gd name="T27" fmla="*/ 2 h 57"/>
                  <a:gd name="T28" fmla="*/ 19 w 28"/>
                  <a:gd name="T29" fmla="*/ 2 h 57"/>
                  <a:gd name="T30" fmla="*/ 12 w 28"/>
                  <a:gd name="T31" fmla="*/ 1 h 57"/>
                  <a:gd name="T32" fmla="*/ 8 w 28"/>
                  <a:gd name="T33" fmla="*/ 3 h 57"/>
                  <a:gd name="T34" fmla="*/ 7 w 28"/>
                  <a:gd name="T35" fmla="*/ 4 h 57"/>
                  <a:gd name="T36" fmla="*/ 5 w 28"/>
                  <a:gd name="T37" fmla="*/ 6 h 57"/>
                  <a:gd name="T38" fmla="*/ 6 w 28"/>
                  <a:gd name="T39" fmla="*/ 8 h 57"/>
                  <a:gd name="T40" fmla="*/ 6 w 28"/>
                  <a:gd name="T41" fmla="*/ 9 h 57"/>
                  <a:gd name="T42" fmla="*/ 6 w 28"/>
                  <a:gd name="T43" fmla="*/ 11 h 57"/>
                  <a:gd name="T44" fmla="*/ 6 w 28"/>
                  <a:gd name="T45" fmla="*/ 12 h 57"/>
                  <a:gd name="T46" fmla="*/ 6 w 28"/>
                  <a:gd name="T47" fmla="*/ 14 h 57"/>
                  <a:gd name="T48" fmla="*/ 6 w 28"/>
                  <a:gd name="T49" fmla="*/ 16 h 57"/>
                  <a:gd name="T50" fmla="*/ 6 w 28"/>
                  <a:gd name="T51" fmla="*/ 19 h 57"/>
                  <a:gd name="T52" fmla="*/ 0 w 28"/>
                  <a:gd name="T53" fmla="*/ 26 h 57"/>
                  <a:gd name="T54" fmla="*/ 2 w 28"/>
                  <a:gd name="T55" fmla="*/ 31 h 57"/>
                  <a:gd name="T56" fmla="*/ 4 w 28"/>
                  <a:gd name="T57" fmla="*/ 34 h 57"/>
                  <a:gd name="T58" fmla="*/ 6 w 28"/>
                  <a:gd name="T59" fmla="*/ 39 h 57"/>
                  <a:gd name="T60" fmla="*/ 14 w 28"/>
                  <a:gd name="T61" fmla="*/ 57 h 57"/>
                  <a:gd name="T62" fmla="*/ 19 w 28"/>
                  <a:gd name="T63" fmla="*/ 5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57">
                    <a:moveTo>
                      <a:pt x="19" y="54"/>
                    </a:moveTo>
                    <a:cubicBezTo>
                      <a:pt x="19" y="51"/>
                      <a:pt x="19" y="51"/>
                      <a:pt x="19" y="51"/>
                    </a:cubicBezTo>
                    <a:cubicBezTo>
                      <a:pt x="19" y="51"/>
                      <a:pt x="19" y="51"/>
                      <a:pt x="19" y="50"/>
                    </a:cubicBezTo>
                    <a:cubicBezTo>
                      <a:pt x="19" y="50"/>
                      <a:pt x="18" y="48"/>
                      <a:pt x="18" y="48"/>
                    </a:cubicBezTo>
                    <a:cubicBezTo>
                      <a:pt x="18" y="48"/>
                      <a:pt x="18" y="47"/>
                      <a:pt x="18" y="47"/>
                    </a:cubicBezTo>
                    <a:cubicBezTo>
                      <a:pt x="23" y="42"/>
                      <a:pt x="23" y="42"/>
                      <a:pt x="23" y="42"/>
                    </a:cubicBezTo>
                    <a:cubicBezTo>
                      <a:pt x="27" y="40"/>
                      <a:pt x="27" y="40"/>
                      <a:pt x="27" y="40"/>
                    </a:cubicBezTo>
                    <a:cubicBezTo>
                      <a:pt x="28" y="40"/>
                      <a:pt x="28" y="40"/>
                      <a:pt x="28" y="40"/>
                    </a:cubicBezTo>
                    <a:cubicBezTo>
                      <a:pt x="27" y="38"/>
                      <a:pt x="27" y="38"/>
                      <a:pt x="27" y="38"/>
                    </a:cubicBezTo>
                    <a:cubicBezTo>
                      <a:pt x="28" y="34"/>
                      <a:pt x="28" y="34"/>
                      <a:pt x="28" y="34"/>
                    </a:cubicBezTo>
                    <a:cubicBezTo>
                      <a:pt x="26" y="34"/>
                      <a:pt x="26" y="34"/>
                      <a:pt x="26" y="32"/>
                    </a:cubicBezTo>
                    <a:cubicBezTo>
                      <a:pt x="25" y="31"/>
                      <a:pt x="25" y="31"/>
                      <a:pt x="24" y="31"/>
                    </a:cubicBezTo>
                    <a:cubicBezTo>
                      <a:pt x="24" y="32"/>
                      <a:pt x="23" y="32"/>
                      <a:pt x="23" y="32"/>
                    </a:cubicBezTo>
                    <a:cubicBezTo>
                      <a:pt x="22" y="31"/>
                      <a:pt x="23" y="31"/>
                      <a:pt x="23" y="30"/>
                    </a:cubicBezTo>
                    <a:cubicBezTo>
                      <a:pt x="24" y="30"/>
                      <a:pt x="24" y="30"/>
                      <a:pt x="24" y="30"/>
                    </a:cubicBezTo>
                    <a:cubicBezTo>
                      <a:pt x="24" y="30"/>
                      <a:pt x="25" y="30"/>
                      <a:pt x="25" y="29"/>
                    </a:cubicBezTo>
                    <a:cubicBezTo>
                      <a:pt x="25" y="29"/>
                      <a:pt x="24" y="29"/>
                      <a:pt x="24" y="29"/>
                    </a:cubicBezTo>
                    <a:cubicBezTo>
                      <a:pt x="24" y="28"/>
                      <a:pt x="23" y="29"/>
                      <a:pt x="23" y="29"/>
                    </a:cubicBezTo>
                    <a:cubicBezTo>
                      <a:pt x="23" y="29"/>
                      <a:pt x="23" y="30"/>
                      <a:pt x="23" y="30"/>
                    </a:cubicBezTo>
                    <a:cubicBezTo>
                      <a:pt x="22" y="31"/>
                      <a:pt x="19" y="30"/>
                      <a:pt x="19" y="28"/>
                    </a:cubicBezTo>
                    <a:cubicBezTo>
                      <a:pt x="18" y="27"/>
                      <a:pt x="18" y="25"/>
                      <a:pt x="20" y="25"/>
                    </a:cubicBezTo>
                    <a:cubicBezTo>
                      <a:pt x="22" y="23"/>
                      <a:pt x="24" y="21"/>
                      <a:pt x="25" y="19"/>
                    </a:cubicBezTo>
                    <a:cubicBezTo>
                      <a:pt x="25" y="17"/>
                      <a:pt x="24" y="16"/>
                      <a:pt x="25" y="15"/>
                    </a:cubicBezTo>
                    <a:cubicBezTo>
                      <a:pt x="24" y="14"/>
                      <a:pt x="23" y="13"/>
                      <a:pt x="22" y="12"/>
                    </a:cubicBezTo>
                    <a:cubicBezTo>
                      <a:pt x="21" y="11"/>
                      <a:pt x="21" y="9"/>
                      <a:pt x="22" y="8"/>
                    </a:cubicBezTo>
                    <a:cubicBezTo>
                      <a:pt x="24" y="7"/>
                      <a:pt x="24" y="5"/>
                      <a:pt x="25" y="4"/>
                    </a:cubicBezTo>
                    <a:cubicBezTo>
                      <a:pt x="26" y="3"/>
                      <a:pt x="26" y="3"/>
                      <a:pt x="25" y="2"/>
                    </a:cubicBezTo>
                    <a:cubicBezTo>
                      <a:pt x="25" y="2"/>
                      <a:pt x="24" y="2"/>
                      <a:pt x="24" y="2"/>
                    </a:cubicBezTo>
                    <a:cubicBezTo>
                      <a:pt x="23" y="4"/>
                      <a:pt x="22" y="4"/>
                      <a:pt x="20" y="5"/>
                    </a:cubicBezTo>
                    <a:cubicBezTo>
                      <a:pt x="20" y="4"/>
                      <a:pt x="20" y="3"/>
                      <a:pt x="19" y="2"/>
                    </a:cubicBezTo>
                    <a:cubicBezTo>
                      <a:pt x="19" y="2"/>
                      <a:pt x="20" y="1"/>
                      <a:pt x="19" y="1"/>
                    </a:cubicBezTo>
                    <a:cubicBezTo>
                      <a:pt x="17" y="0"/>
                      <a:pt x="14" y="0"/>
                      <a:pt x="12" y="1"/>
                    </a:cubicBezTo>
                    <a:cubicBezTo>
                      <a:pt x="11" y="2"/>
                      <a:pt x="10" y="3"/>
                      <a:pt x="9" y="3"/>
                    </a:cubicBezTo>
                    <a:cubicBezTo>
                      <a:pt x="9" y="3"/>
                      <a:pt x="9" y="3"/>
                      <a:pt x="8" y="3"/>
                    </a:cubicBezTo>
                    <a:cubicBezTo>
                      <a:pt x="8" y="3"/>
                      <a:pt x="8" y="3"/>
                      <a:pt x="8" y="4"/>
                    </a:cubicBezTo>
                    <a:cubicBezTo>
                      <a:pt x="8" y="4"/>
                      <a:pt x="7" y="4"/>
                      <a:pt x="7" y="4"/>
                    </a:cubicBezTo>
                    <a:cubicBezTo>
                      <a:pt x="7" y="5"/>
                      <a:pt x="7" y="5"/>
                      <a:pt x="7" y="5"/>
                    </a:cubicBezTo>
                    <a:cubicBezTo>
                      <a:pt x="5" y="6"/>
                      <a:pt x="5" y="6"/>
                      <a:pt x="5" y="6"/>
                    </a:cubicBezTo>
                    <a:cubicBezTo>
                      <a:pt x="5" y="6"/>
                      <a:pt x="6" y="7"/>
                      <a:pt x="6" y="7"/>
                    </a:cubicBezTo>
                    <a:cubicBezTo>
                      <a:pt x="7" y="7"/>
                      <a:pt x="6" y="8"/>
                      <a:pt x="6" y="8"/>
                    </a:cubicBezTo>
                    <a:cubicBezTo>
                      <a:pt x="6" y="8"/>
                      <a:pt x="6" y="9"/>
                      <a:pt x="6" y="9"/>
                    </a:cubicBezTo>
                    <a:cubicBezTo>
                      <a:pt x="6" y="9"/>
                      <a:pt x="6" y="9"/>
                      <a:pt x="6" y="9"/>
                    </a:cubicBezTo>
                    <a:cubicBezTo>
                      <a:pt x="6" y="9"/>
                      <a:pt x="6" y="10"/>
                      <a:pt x="6" y="10"/>
                    </a:cubicBezTo>
                    <a:cubicBezTo>
                      <a:pt x="6" y="10"/>
                      <a:pt x="6" y="10"/>
                      <a:pt x="6" y="11"/>
                    </a:cubicBezTo>
                    <a:cubicBezTo>
                      <a:pt x="6" y="11"/>
                      <a:pt x="5" y="11"/>
                      <a:pt x="5" y="12"/>
                    </a:cubicBezTo>
                    <a:cubicBezTo>
                      <a:pt x="6" y="12"/>
                      <a:pt x="6" y="12"/>
                      <a:pt x="6" y="12"/>
                    </a:cubicBezTo>
                    <a:cubicBezTo>
                      <a:pt x="6" y="12"/>
                      <a:pt x="6" y="13"/>
                      <a:pt x="6" y="13"/>
                    </a:cubicBezTo>
                    <a:cubicBezTo>
                      <a:pt x="6" y="13"/>
                      <a:pt x="6" y="14"/>
                      <a:pt x="6" y="14"/>
                    </a:cubicBezTo>
                    <a:cubicBezTo>
                      <a:pt x="6" y="15"/>
                      <a:pt x="6" y="15"/>
                      <a:pt x="6" y="15"/>
                    </a:cubicBezTo>
                    <a:cubicBezTo>
                      <a:pt x="6" y="16"/>
                      <a:pt x="6" y="16"/>
                      <a:pt x="6" y="16"/>
                    </a:cubicBezTo>
                    <a:cubicBezTo>
                      <a:pt x="7" y="17"/>
                      <a:pt x="7" y="17"/>
                      <a:pt x="7" y="17"/>
                    </a:cubicBezTo>
                    <a:cubicBezTo>
                      <a:pt x="6" y="19"/>
                      <a:pt x="6" y="19"/>
                      <a:pt x="6" y="19"/>
                    </a:cubicBezTo>
                    <a:cubicBezTo>
                      <a:pt x="6" y="22"/>
                      <a:pt x="6" y="22"/>
                      <a:pt x="6" y="22"/>
                    </a:cubicBezTo>
                    <a:cubicBezTo>
                      <a:pt x="0" y="26"/>
                      <a:pt x="0" y="26"/>
                      <a:pt x="0" y="26"/>
                    </a:cubicBezTo>
                    <a:cubicBezTo>
                      <a:pt x="0" y="29"/>
                      <a:pt x="0" y="29"/>
                      <a:pt x="0" y="29"/>
                    </a:cubicBezTo>
                    <a:cubicBezTo>
                      <a:pt x="0" y="29"/>
                      <a:pt x="2" y="31"/>
                      <a:pt x="2" y="31"/>
                    </a:cubicBezTo>
                    <a:cubicBezTo>
                      <a:pt x="2" y="31"/>
                      <a:pt x="2" y="33"/>
                      <a:pt x="2" y="33"/>
                    </a:cubicBezTo>
                    <a:cubicBezTo>
                      <a:pt x="4" y="34"/>
                      <a:pt x="4" y="34"/>
                      <a:pt x="4" y="34"/>
                    </a:cubicBezTo>
                    <a:cubicBezTo>
                      <a:pt x="6" y="36"/>
                      <a:pt x="6" y="36"/>
                      <a:pt x="6" y="36"/>
                    </a:cubicBezTo>
                    <a:cubicBezTo>
                      <a:pt x="6" y="39"/>
                      <a:pt x="6" y="39"/>
                      <a:pt x="6" y="39"/>
                    </a:cubicBezTo>
                    <a:cubicBezTo>
                      <a:pt x="11" y="43"/>
                      <a:pt x="11" y="43"/>
                      <a:pt x="11" y="43"/>
                    </a:cubicBezTo>
                    <a:cubicBezTo>
                      <a:pt x="14" y="57"/>
                      <a:pt x="14" y="57"/>
                      <a:pt x="14" y="57"/>
                    </a:cubicBezTo>
                    <a:cubicBezTo>
                      <a:pt x="17" y="56"/>
                      <a:pt x="17" y="56"/>
                      <a:pt x="17" y="56"/>
                    </a:cubicBezTo>
                    <a:lnTo>
                      <a:pt x="19" y="5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Freeform 882">
                <a:extLst>
                  <a:ext uri="{FF2B5EF4-FFF2-40B4-BE49-F238E27FC236}">
                    <a16:creationId xmlns:a16="http://schemas.microsoft.com/office/drawing/2014/main" id="{1C6EF37B-53A2-670C-943A-DF4C8ACA8930}"/>
                  </a:ext>
                </a:extLst>
              </p:cNvPr>
              <p:cNvSpPr>
                <a:spLocks/>
              </p:cNvSpPr>
              <p:nvPr/>
            </p:nvSpPr>
            <p:spPr bwMode="auto">
              <a:xfrm>
                <a:off x="5372100" y="4575175"/>
                <a:ext cx="53975" cy="146050"/>
              </a:xfrm>
              <a:custGeom>
                <a:avLst/>
                <a:gdLst>
                  <a:gd name="T0" fmla="*/ 0 w 13"/>
                  <a:gd name="T1" fmla="*/ 0 h 35"/>
                  <a:gd name="T2" fmla="*/ 0 w 13"/>
                  <a:gd name="T3" fmla="*/ 1 h 35"/>
                  <a:gd name="T4" fmla="*/ 0 w 13"/>
                  <a:gd name="T5" fmla="*/ 3 h 35"/>
                  <a:gd name="T6" fmla="*/ 3 w 13"/>
                  <a:gd name="T7" fmla="*/ 5 h 35"/>
                  <a:gd name="T8" fmla="*/ 3 w 13"/>
                  <a:gd name="T9" fmla="*/ 9 h 35"/>
                  <a:gd name="T10" fmla="*/ 2 w 13"/>
                  <a:gd name="T11" fmla="*/ 11 h 35"/>
                  <a:gd name="T12" fmla="*/ 4 w 13"/>
                  <a:gd name="T13" fmla="*/ 11 h 35"/>
                  <a:gd name="T14" fmla="*/ 4 w 13"/>
                  <a:gd name="T15" fmla="*/ 15 h 35"/>
                  <a:gd name="T16" fmla="*/ 3 w 13"/>
                  <a:gd name="T17" fmla="*/ 16 h 35"/>
                  <a:gd name="T18" fmla="*/ 5 w 13"/>
                  <a:gd name="T19" fmla="*/ 19 h 35"/>
                  <a:gd name="T20" fmla="*/ 4 w 13"/>
                  <a:gd name="T21" fmla="*/ 20 h 35"/>
                  <a:gd name="T22" fmla="*/ 5 w 13"/>
                  <a:gd name="T23" fmla="*/ 23 h 35"/>
                  <a:gd name="T24" fmla="*/ 4 w 13"/>
                  <a:gd name="T25" fmla="*/ 24 h 35"/>
                  <a:gd name="T26" fmla="*/ 5 w 13"/>
                  <a:gd name="T27" fmla="*/ 26 h 35"/>
                  <a:gd name="T28" fmla="*/ 4 w 13"/>
                  <a:gd name="T29" fmla="*/ 28 h 35"/>
                  <a:gd name="T30" fmla="*/ 4 w 13"/>
                  <a:gd name="T31" fmla="*/ 29 h 35"/>
                  <a:gd name="T32" fmla="*/ 4 w 13"/>
                  <a:gd name="T33" fmla="*/ 30 h 35"/>
                  <a:gd name="T34" fmla="*/ 9 w 13"/>
                  <a:gd name="T35" fmla="*/ 35 h 35"/>
                  <a:gd name="T36" fmla="*/ 11 w 13"/>
                  <a:gd name="T37" fmla="*/ 34 h 35"/>
                  <a:gd name="T38" fmla="*/ 11 w 13"/>
                  <a:gd name="T39" fmla="*/ 33 h 35"/>
                  <a:gd name="T40" fmla="*/ 13 w 13"/>
                  <a:gd name="T41" fmla="*/ 32 h 35"/>
                  <a:gd name="T42" fmla="*/ 11 w 13"/>
                  <a:gd name="T43" fmla="*/ 30 h 35"/>
                  <a:gd name="T44" fmla="*/ 12 w 13"/>
                  <a:gd name="T45" fmla="*/ 14 h 35"/>
                  <a:gd name="T46" fmla="*/ 10 w 13"/>
                  <a:gd name="T47" fmla="*/ 12 h 35"/>
                  <a:gd name="T48" fmla="*/ 10 w 13"/>
                  <a:gd name="T49" fmla="*/ 8 h 35"/>
                  <a:gd name="T50" fmla="*/ 6 w 13"/>
                  <a:gd name="T51" fmla="*/ 5 h 35"/>
                  <a:gd name="T52" fmla="*/ 6 w 13"/>
                  <a:gd name="T53" fmla="*/ 4 h 35"/>
                  <a:gd name="T54" fmla="*/ 7 w 13"/>
                  <a:gd name="T55" fmla="*/ 1 h 35"/>
                  <a:gd name="T56" fmla="*/ 4 w 13"/>
                  <a:gd name="T57" fmla="*/ 1 h 35"/>
                  <a:gd name="T58" fmla="*/ 0 w 13"/>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35">
                    <a:moveTo>
                      <a:pt x="0" y="0"/>
                    </a:moveTo>
                    <a:cubicBezTo>
                      <a:pt x="0" y="1"/>
                      <a:pt x="0" y="1"/>
                      <a:pt x="0" y="1"/>
                    </a:cubicBezTo>
                    <a:cubicBezTo>
                      <a:pt x="0" y="1"/>
                      <a:pt x="0" y="3"/>
                      <a:pt x="0" y="3"/>
                    </a:cubicBezTo>
                    <a:cubicBezTo>
                      <a:pt x="0" y="3"/>
                      <a:pt x="3" y="5"/>
                      <a:pt x="3" y="5"/>
                    </a:cubicBezTo>
                    <a:cubicBezTo>
                      <a:pt x="3" y="9"/>
                      <a:pt x="3" y="9"/>
                      <a:pt x="3" y="9"/>
                    </a:cubicBezTo>
                    <a:cubicBezTo>
                      <a:pt x="3" y="9"/>
                      <a:pt x="2" y="11"/>
                      <a:pt x="2" y="11"/>
                    </a:cubicBezTo>
                    <a:cubicBezTo>
                      <a:pt x="2" y="11"/>
                      <a:pt x="4" y="11"/>
                      <a:pt x="4" y="11"/>
                    </a:cubicBezTo>
                    <a:cubicBezTo>
                      <a:pt x="4" y="15"/>
                      <a:pt x="4" y="15"/>
                      <a:pt x="4" y="15"/>
                    </a:cubicBezTo>
                    <a:cubicBezTo>
                      <a:pt x="3" y="16"/>
                      <a:pt x="3" y="16"/>
                      <a:pt x="3" y="16"/>
                    </a:cubicBezTo>
                    <a:cubicBezTo>
                      <a:pt x="5" y="19"/>
                      <a:pt x="5" y="19"/>
                      <a:pt x="5" y="19"/>
                    </a:cubicBezTo>
                    <a:cubicBezTo>
                      <a:pt x="4" y="20"/>
                      <a:pt x="4" y="20"/>
                      <a:pt x="4" y="20"/>
                    </a:cubicBezTo>
                    <a:cubicBezTo>
                      <a:pt x="5" y="23"/>
                      <a:pt x="5" y="23"/>
                      <a:pt x="5" y="23"/>
                    </a:cubicBezTo>
                    <a:cubicBezTo>
                      <a:pt x="5" y="23"/>
                      <a:pt x="4" y="24"/>
                      <a:pt x="4" y="24"/>
                    </a:cubicBezTo>
                    <a:cubicBezTo>
                      <a:pt x="4" y="24"/>
                      <a:pt x="5" y="26"/>
                      <a:pt x="5" y="26"/>
                    </a:cubicBezTo>
                    <a:cubicBezTo>
                      <a:pt x="5" y="26"/>
                      <a:pt x="4" y="27"/>
                      <a:pt x="4" y="28"/>
                    </a:cubicBezTo>
                    <a:cubicBezTo>
                      <a:pt x="4" y="28"/>
                      <a:pt x="4" y="29"/>
                      <a:pt x="4" y="29"/>
                    </a:cubicBezTo>
                    <a:cubicBezTo>
                      <a:pt x="4" y="30"/>
                      <a:pt x="4" y="30"/>
                      <a:pt x="4" y="30"/>
                    </a:cubicBezTo>
                    <a:cubicBezTo>
                      <a:pt x="9" y="35"/>
                      <a:pt x="9" y="35"/>
                      <a:pt x="9" y="35"/>
                    </a:cubicBezTo>
                    <a:cubicBezTo>
                      <a:pt x="10" y="34"/>
                      <a:pt x="11" y="34"/>
                      <a:pt x="11" y="34"/>
                    </a:cubicBezTo>
                    <a:cubicBezTo>
                      <a:pt x="11" y="33"/>
                      <a:pt x="11" y="33"/>
                      <a:pt x="11" y="33"/>
                    </a:cubicBezTo>
                    <a:cubicBezTo>
                      <a:pt x="13" y="32"/>
                      <a:pt x="13" y="32"/>
                      <a:pt x="13" y="32"/>
                    </a:cubicBezTo>
                    <a:cubicBezTo>
                      <a:pt x="11" y="30"/>
                      <a:pt x="11" y="30"/>
                      <a:pt x="11" y="30"/>
                    </a:cubicBezTo>
                    <a:cubicBezTo>
                      <a:pt x="12" y="14"/>
                      <a:pt x="12" y="14"/>
                      <a:pt x="12" y="14"/>
                    </a:cubicBezTo>
                    <a:cubicBezTo>
                      <a:pt x="10" y="12"/>
                      <a:pt x="10" y="12"/>
                      <a:pt x="10" y="12"/>
                    </a:cubicBezTo>
                    <a:cubicBezTo>
                      <a:pt x="10" y="8"/>
                      <a:pt x="10" y="8"/>
                      <a:pt x="10" y="8"/>
                    </a:cubicBezTo>
                    <a:cubicBezTo>
                      <a:pt x="6" y="5"/>
                      <a:pt x="6" y="5"/>
                      <a:pt x="6" y="5"/>
                    </a:cubicBezTo>
                    <a:cubicBezTo>
                      <a:pt x="6" y="4"/>
                      <a:pt x="6" y="4"/>
                      <a:pt x="6" y="4"/>
                    </a:cubicBezTo>
                    <a:cubicBezTo>
                      <a:pt x="7" y="1"/>
                      <a:pt x="7" y="1"/>
                      <a:pt x="7" y="1"/>
                    </a:cubicBezTo>
                    <a:cubicBezTo>
                      <a:pt x="4" y="1"/>
                      <a:pt x="4" y="1"/>
                      <a:pt x="4" y="1"/>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4" name="Freeform 883">
                <a:extLst>
                  <a:ext uri="{FF2B5EF4-FFF2-40B4-BE49-F238E27FC236}">
                    <a16:creationId xmlns:a16="http://schemas.microsoft.com/office/drawing/2014/main" id="{9C0C2BA3-5920-6E94-6AE7-AFACAE554107}"/>
                  </a:ext>
                </a:extLst>
              </p:cNvPr>
              <p:cNvSpPr>
                <a:spLocks noEditPoints="1"/>
              </p:cNvSpPr>
              <p:nvPr/>
            </p:nvSpPr>
            <p:spPr bwMode="auto">
              <a:xfrm>
                <a:off x="6203950" y="4921250"/>
                <a:ext cx="312737" cy="303213"/>
              </a:xfrm>
              <a:custGeom>
                <a:avLst/>
                <a:gdLst>
                  <a:gd name="T0" fmla="*/ 70 w 75"/>
                  <a:gd name="T1" fmla="*/ 37 h 73"/>
                  <a:gd name="T2" fmla="*/ 67 w 75"/>
                  <a:gd name="T3" fmla="*/ 33 h 73"/>
                  <a:gd name="T4" fmla="*/ 69 w 75"/>
                  <a:gd name="T5" fmla="*/ 34 h 73"/>
                  <a:gd name="T6" fmla="*/ 71 w 75"/>
                  <a:gd name="T7" fmla="*/ 28 h 73"/>
                  <a:gd name="T8" fmla="*/ 72 w 75"/>
                  <a:gd name="T9" fmla="*/ 28 h 73"/>
                  <a:gd name="T10" fmla="*/ 70 w 75"/>
                  <a:gd name="T11" fmla="*/ 48 h 73"/>
                  <a:gd name="T12" fmla="*/ 72 w 75"/>
                  <a:gd name="T13" fmla="*/ 46 h 73"/>
                  <a:gd name="T14" fmla="*/ 56 w 75"/>
                  <a:gd name="T15" fmla="*/ 13 h 73"/>
                  <a:gd name="T16" fmla="*/ 7 w 75"/>
                  <a:gd name="T17" fmla="*/ 0 h 73"/>
                  <a:gd name="T18" fmla="*/ 10 w 75"/>
                  <a:gd name="T19" fmla="*/ 5 h 73"/>
                  <a:gd name="T20" fmla="*/ 9 w 75"/>
                  <a:gd name="T21" fmla="*/ 9 h 73"/>
                  <a:gd name="T22" fmla="*/ 7 w 75"/>
                  <a:gd name="T23" fmla="*/ 11 h 73"/>
                  <a:gd name="T24" fmla="*/ 10 w 75"/>
                  <a:gd name="T25" fmla="*/ 13 h 73"/>
                  <a:gd name="T26" fmla="*/ 6 w 75"/>
                  <a:gd name="T27" fmla="*/ 18 h 73"/>
                  <a:gd name="T28" fmla="*/ 3 w 75"/>
                  <a:gd name="T29" fmla="*/ 23 h 73"/>
                  <a:gd name="T30" fmla="*/ 0 w 75"/>
                  <a:gd name="T31" fmla="*/ 27 h 73"/>
                  <a:gd name="T32" fmla="*/ 1 w 75"/>
                  <a:gd name="T33" fmla="*/ 33 h 73"/>
                  <a:gd name="T34" fmla="*/ 6 w 75"/>
                  <a:gd name="T35" fmla="*/ 41 h 73"/>
                  <a:gd name="T36" fmla="*/ 11 w 75"/>
                  <a:gd name="T37" fmla="*/ 51 h 73"/>
                  <a:gd name="T38" fmla="*/ 15 w 75"/>
                  <a:gd name="T39" fmla="*/ 54 h 73"/>
                  <a:gd name="T40" fmla="*/ 18 w 75"/>
                  <a:gd name="T41" fmla="*/ 55 h 73"/>
                  <a:gd name="T42" fmla="*/ 24 w 75"/>
                  <a:gd name="T43" fmla="*/ 57 h 73"/>
                  <a:gd name="T44" fmla="*/ 31 w 75"/>
                  <a:gd name="T45" fmla="*/ 58 h 73"/>
                  <a:gd name="T46" fmla="*/ 35 w 75"/>
                  <a:gd name="T47" fmla="*/ 62 h 73"/>
                  <a:gd name="T48" fmla="*/ 35 w 75"/>
                  <a:gd name="T49" fmla="*/ 64 h 73"/>
                  <a:gd name="T50" fmla="*/ 35 w 75"/>
                  <a:gd name="T51" fmla="*/ 67 h 73"/>
                  <a:gd name="T52" fmla="*/ 37 w 75"/>
                  <a:gd name="T53" fmla="*/ 70 h 73"/>
                  <a:gd name="T54" fmla="*/ 38 w 75"/>
                  <a:gd name="T55" fmla="*/ 72 h 73"/>
                  <a:gd name="T56" fmla="*/ 44 w 75"/>
                  <a:gd name="T57" fmla="*/ 71 h 73"/>
                  <a:gd name="T58" fmla="*/ 46 w 75"/>
                  <a:gd name="T59" fmla="*/ 73 h 73"/>
                  <a:gd name="T60" fmla="*/ 50 w 75"/>
                  <a:gd name="T61" fmla="*/ 72 h 73"/>
                  <a:gd name="T62" fmla="*/ 59 w 75"/>
                  <a:gd name="T63" fmla="*/ 69 h 73"/>
                  <a:gd name="T64" fmla="*/ 72 w 75"/>
                  <a:gd name="T65" fmla="*/ 66 h 73"/>
                  <a:gd name="T66" fmla="*/ 75 w 75"/>
                  <a:gd name="T67" fmla="*/ 64 h 73"/>
                  <a:gd name="T68" fmla="*/ 71 w 75"/>
                  <a:gd name="T69" fmla="*/ 60 h 73"/>
                  <a:gd name="T70" fmla="*/ 68 w 75"/>
                  <a:gd name="T71" fmla="*/ 49 h 73"/>
                  <a:gd name="T72" fmla="*/ 68 w 75"/>
                  <a:gd name="T73" fmla="*/ 45 h 73"/>
                  <a:gd name="T74" fmla="*/ 68 w 75"/>
                  <a:gd name="T75" fmla="*/ 40 h 73"/>
                  <a:gd name="T76" fmla="*/ 65 w 75"/>
                  <a:gd name="T77" fmla="*/ 36 h 73"/>
                  <a:gd name="T78" fmla="*/ 66 w 75"/>
                  <a:gd name="T79" fmla="*/ 28 h 73"/>
                  <a:gd name="T80" fmla="*/ 56 w 75"/>
                  <a:gd name="T81"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73">
                    <a:moveTo>
                      <a:pt x="69" y="34"/>
                    </a:moveTo>
                    <a:cubicBezTo>
                      <a:pt x="69" y="35"/>
                      <a:pt x="69" y="36"/>
                      <a:pt x="70" y="37"/>
                    </a:cubicBezTo>
                    <a:cubicBezTo>
                      <a:pt x="68" y="37"/>
                      <a:pt x="68" y="36"/>
                      <a:pt x="67" y="35"/>
                    </a:cubicBezTo>
                    <a:cubicBezTo>
                      <a:pt x="67" y="35"/>
                      <a:pt x="67" y="34"/>
                      <a:pt x="67" y="33"/>
                    </a:cubicBezTo>
                    <a:cubicBezTo>
                      <a:pt x="68" y="33"/>
                      <a:pt x="68" y="33"/>
                      <a:pt x="68" y="33"/>
                    </a:cubicBezTo>
                    <a:cubicBezTo>
                      <a:pt x="69" y="33"/>
                      <a:pt x="69" y="34"/>
                      <a:pt x="69" y="34"/>
                    </a:cubicBezTo>
                    <a:close/>
                    <a:moveTo>
                      <a:pt x="71" y="27"/>
                    </a:moveTo>
                    <a:cubicBezTo>
                      <a:pt x="71" y="27"/>
                      <a:pt x="71" y="27"/>
                      <a:pt x="71" y="28"/>
                    </a:cubicBezTo>
                    <a:cubicBezTo>
                      <a:pt x="71" y="28"/>
                      <a:pt x="71" y="29"/>
                      <a:pt x="71" y="30"/>
                    </a:cubicBezTo>
                    <a:cubicBezTo>
                      <a:pt x="71" y="29"/>
                      <a:pt x="71" y="28"/>
                      <a:pt x="72" y="28"/>
                    </a:cubicBezTo>
                    <a:cubicBezTo>
                      <a:pt x="72" y="28"/>
                      <a:pt x="72" y="27"/>
                      <a:pt x="71" y="27"/>
                    </a:cubicBezTo>
                    <a:close/>
                    <a:moveTo>
                      <a:pt x="70" y="48"/>
                    </a:moveTo>
                    <a:cubicBezTo>
                      <a:pt x="70" y="48"/>
                      <a:pt x="70" y="48"/>
                      <a:pt x="70" y="48"/>
                    </a:cubicBezTo>
                    <a:cubicBezTo>
                      <a:pt x="71" y="48"/>
                      <a:pt x="71" y="47"/>
                      <a:pt x="72" y="46"/>
                    </a:cubicBezTo>
                    <a:cubicBezTo>
                      <a:pt x="71" y="47"/>
                      <a:pt x="70" y="47"/>
                      <a:pt x="70" y="48"/>
                    </a:cubicBezTo>
                    <a:close/>
                    <a:moveTo>
                      <a:pt x="56" y="13"/>
                    </a:moveTo>
                    <a:cubicBezTo>
                      <a:pt x="31" y="0"/>
                      <a:pt x="31" y="0"/>
                      <a:pt x="31" y="0"/>
                    </a:cubicBezTo>
                    <a:cubicBezTo>
                      <a:pt x="7" y="0"/>
                      <a:pt x="7" y="0"/>
                      <a:pt x="7" y="0"/>
                    </a:cubicBezTo>
                    <a:cubicBezTo>
                      <a:pt x="10" y="4"/>
                      <a:pt x="10" y="4"/>
                      <a:pt x="10" y="4"/>
                    </a:cubicBezTo>
                    <a:cubicBezTo>
                      <a:pt x="10" y="5"/>
                      <a:pt x="10" y="5"/>
                      <a:pt x="10" y="5"/>
                    </a:cubicBezTo>
                    <a:cubicBezTo>
                      <a:pt x="10" y="7"/>
                      <a:pt x="10" y="7"/>
                      <a:pt x="10" y="7"/>
                    </a:cubicBezTo>
                    <a:cubicBezTo>
                      <a:pt x="9" y="9"/>
                      <a:pt x="9" y="9"/>
                      <a:pt x="9" y="9"/>
                    </a:cubicBezTo>
                    <a:cubicBezTo>
                      <a:pt x="8" y="9"/>
                      <a:pt x="8" y="9"/>
                      <a:pt x="8" y="9"/>
                    </a:cubicBezTo>
                    <a:cubicBezTo>
                      <a:pt x="8" y="9"/>
                      <a:pt x="7" y="11"/>
                      <a:pt x="7" y="11"/>
                    </a:cubicBezTo>
                    <a:cubicBezTo>
                      <a:pt x="7" y="11"/>
                      <a:pt x="7" y="12"/>
                      <a:pt x="7" y="12"/>
                    </a:cubicBezTo>
                    <a:cubicBezTo>
                      <a:pt x="10" y="13"/>
                      <a:pt x="10" y="13"/>
                      <a:pt x="10" y="13"/>
                    </a:cubicBezTo>
                    <a:cubicBezTo>
                      <a:pt x="10" y="15"/>
                      <a:pt x="10" y="15"/>
                      <a:pt x="10" y="15"/>
                    </a:cubicBezTo>
                    <a:cubicBezTo>
                      <a:pt x="6" y="18"/>
                      <a:pt x="6" y="18"/>
                      <a:pt x="6" y="18"/>
                    </a:cubicBezTo>
                    <a:cubicBezTo>
                      <a:pt x="6" y="19"/>
                      <a:pt x="6" y="19"/>
                      <a:pt x="6" y="19"/>
                    </a:cubicBezTo>
                    <a:cubicBezTo>
                      <a:pt x="3" y="23"/>
                      <a:pt x="3" y="23"/>
                      <a:pt x="3" y="23"/>
                    </a:cubicBezTo>
                    <a:cubicBezTo>
                      <a:pt x="0" y="23"/>
                      <a:pt x="0" y="23"/>
                      <a:pt x="0" y="23"/>
                    </a:cubicBezTo>
                    <a:cubicBezTo>
                      <a:pt x="0" y="27"/>
                      <a:pt x="0" y="27"/>
                      <a:pt x="0" y="27"/>
                    </a:cubicBezTo>
                    <a:cubicBezTo>
                      <a:pt x="2" y="31"/>
                      <a:pt x="2" y="31"/>
                      <a:pt x="2" y="31"/>
                    </a:cubicBezTo>
                    <a:cubicBezTo>
                      <a:pt x="1" y="33"/>
                      <a:pt x="1" y="33"/>
                      <a:pt x="1" y="33"/>
                    </a:cubicBezTo>
                    <a:cubicBezTo>
                      <a:pt x="1" y="35"/>
                      <a:pt x="1" y="35"/>
                      <a:pt x="1" y="35"/>
                    </a:cubicBezTo>
                    <a:cubicBezTo>
                      <a:pt x="6" y="41"/>
                      <a:pt x="6" y="41"/>
                      <a:pt x="6" y="41"/>
                    </a:cubicBezTo>
                    <a:cubicBezTo>
                      <a:pt x="9" y="49"/>
                      <a:pt x="9" y="49"/>
                      <a:pt x="9" y="49"/>
                    </a:cubicBezTo>
                    <a:cubicBezTo>
                      <a:pt x="11" y="51"/>
                      <a:pt x="11" y="51"/>
                      <a:pt x="11" y="51"/>
                    </a:cubicBezTo>
                    <a:cubicBezTo>
                      <a:pt x="14" y="51"/>
                      <a:pt x="14" y="51"/>
                      <a:pt x="14" y="51"/>
                    </a:cubicBezTo>
                    <a:cubicBezTo>
                      <a:pt x="15" y="54"/>
                      <a:pt x="15" y="54"/>
                      <a:pt x="15" y="54"/>
                    </a:cubicBezTo>
                    <a:cubicBezTo>
                      <a:pt x="17" y="54"/>
                      <a:pt x="17" y="54"/>
                      <a:pt x="17" y="54"/>
                    </a:cubicBezTo>
                    <a:cubicBezTo>
                      <a:pt x="18" y="55"/>
                      <a:pt x="18" y="55"/>
                      <a:pt x="18" y="55"/>
                    </a:cubicBezTo>
                    <a:cubicBezTo>
                      <a:pt x="21" y="55"/>
                      <a:pt x="21" y="55"/>
                      <a:pt x="21" y="55"/>
                    </a:cubicBezTo>
                    <a:cubicBezTo>
                      <a:pt x="24" y="57"/>
                      <a:pt x="24" y="57"/>
                      <a:pt x="24" y="57"/>
                    </a:cubicBezTo>
                    <a:cubicBezTo>
                      <a:pt x="31" y="59"/>
                      <a:pt x="31" y="59"/>
                      <a:pt x="31" y="59"/>
                    </a:cubicBezTo>
                    <a:cubicBezTo>
                      <a:pt x="31" y="58"/>
                      <a:pt x="31" y="58"/>
                      <a:pt x="31" y="58"/>
                    </a:cubicBezTo>
                    <a:cubicBezTo>
                      <a:pt x="34" y="60"/>
                      <a:pt x="34" y="60"/>
                      <a:pt x="34" y="60"/>
                    </a:cubicBezTo>
                    <a:cubicBezTo>
                      <a:pt x="35" y="62"/>
                      <a:pt x="35" y="62"/>
                      <a:pt x="35" y="62"/>
                    </a:cubicBezTo>
                    <a:cubicBezTo>
                      <a:pt x="35" y="63"/>
                      <a:pt x="35" y="63"/>
                      <a:pt x="35" y="63"/>
                    </a:cubicBezTo>
                    <a:cubicBezTo>
                      <a:pt x="35" y="64"/>
                      <a:pt x="35" y="64"/>
                      <a:pt x="35" y="64"/>
                    </a:cubicBezTo>
                    <a:cubicBezTo>
                      <a:pt x="35" y="66"/>
                      <a:pt x="35" y="66"/>
                      <a:pt x="35" y="66"/>
                    </a:cubicBezTo>
                    <a:cubicBezTo>
                      <a:pt x="35" y="67"/>
                      <a:pt x="35" y="67"/>
                      <a:pt x="35" y="67"/>
                    </a:cubicBezTo>
                    <a:cubicBezTo>
                      <a:pt x="35" y="67"/>
                      <a:pt x="36" y="68"/>
                      <a:pt x="36" y="69"/>
                    </a:cubicBezTo>
                    <a:cubicBezTo>
                      <a:pt x="36" y="69"/>
                      <a:pt x="37" y="70"/>
                      <a:pt x="37" y="70"/>
                    </a:cubicBezTo>
                    <a:cubicBezTo>
                      <a:pt x="38" y="71"/>
                      <a:pt x="38" y="71"/>
                      <a:pt x="38" y="71"/>
                    </a:cubicBezTo>
                    <a:cubicBezTo>
                      <a:pt x="38" y="72"/>
                      <a:pt x="38" y="72"/>
                      <a:pt x="38" y="72"/>
                    </a:cubicBezTo>
                    <a:cubicBezTo>
                      <a:pt x="42" y="72"/>
                      <a:pt x="42" y="72"/>
                      <a:pt x="42" y="72"/>
                    </a:cubicBezTo>
                    <a:cubicBezTo>
                      <a:pt x="44" y="71"/>
                      <a:pt x="44" y="71"/>
                      <a:pt x="44" y="71"/>
                    </a:cubicBezTo>
                    <a:cubicBezTo>
                      <a:pt x="46" y="71"/>
                      <a:pt x="46" y="71"/>
                      <a:pt x="46" y="71"/>
                    </a:cubicBezTo>
                    <a:cubicBezTo>
                      <a:pt x="46" y="73"/>
                      <a:pt x="46" y="73"/>
                      <a:pt x="46" y="73"/>
                    </a:cubicBezTo>
                    <a:cubicBezTo>
                      <a:pt x="49" y="73"/>
                      <a:pt x="49" y="73"/>
                      <a:pt x="49" y="73"/>
                    </a:cubicBezTo>
                    <a:cubicBezTo>
                      <a:pt x="50" y="72"/>
                      <a:pt x="50" y="72"/>
                      <a:pt x="50" y="72"/>
                    </a:cubicBezTo>
                    <a:cubicBezTo>
                      <a:pt x="54" y="73"/>
                      <a:pt x="54" y="73"/>
                      <a:pt x="54" y="73"/>
                    </a:cubicBezTo>
                    <a:cubicBezTo>
                      <a:pt x="59" y="69"/>
                      <a:pt x="59" y="69"/>
                      <a:pt x="59" y="69"/>
                    </a:cubicBezTo>
                    <a:cubicBezTo>
                      <a:pt x="62" y="71"/>
                      <a:pt x="62" y="71"/>
                      <a:pt x="62" y="71"/>
                    </a:cubicBezTo>
                    <a:cubicBezTo>
                      <a:pt x="72" y="66"/>
                      <a:pt x="72" y="66"/>
                      <a:pt x="72" y="66"/>
                    </a:cubicBezTo>
                    <a:cubicBezTo>
                      <a:pt x="75" y="64"/>
                      <a:pt x="75" y="64"/>
                      <a:pt x="75" y="64"/>
                    </a:cubicBezTo>
                    <a:cubicBezTo>
                      <a:pt x="75" y="64"/>
                      <a:pt x="75" y="64"/>
                      <a:pt x="75" y="64"/>
                    </a:cubicBezTo>
                    <a:cubicBezTo>
                      <a:pt x="74" y="63"/>
                      <a:pt x="73" y="62"/>
                      <a:pt x="72" y="62"/>
                    </a:cubicBezTo>
                    <a:cubicBezTo>
                      <a:pt x="71" y="62"/>
                      <a:pt x="71" y="61"/>
                      <a:pt x="71" y="60"/>
                    </a:cubicBezTo>
                    <a:cubicBezTo>
                      <a:pt x="70" y="58"/>
                      <a:pt x="70" y="55"/>
                      <a:pt x="69" y="53"/>
                    </a:cubicBezTo>
                    <a:cubicBezTo>
                      <a:pt x="68" y="52"/>
                      <a:pt x="67" y="51"/>
                      <a:pt x="68" y="49"/>
                    </a:cubicBezTo>
                    <a:cubicBezTo>
                      <a:pt x="69" y="48"/>
                      <a:pt x="69" y="47"/>
                      <a:pt x="68" y="46"/>
                    </a:cubicBezTo>
                    <a:cubicBezTo>
                      <a:pt x="67" y="46"/>
                      <a:pt x="67" y="45"/>
                      <a:pt x="68" y="45"/>
                    </a:cubicBezTo>
                    <a:cubicBezTo>
                      <a:pt x="68" y="44"/>
                      <a:pt x="68" y="43"/>
                      <a:pt x="69" y="42"/>
                    </a:cubicBezTo>
                    <a:cubicBezTo>
                      <a:pt x="69" y="41"/>
                      <a:pt x="69" y="40"/>
                      <a:pt x="68" y="40"/>
                    </a:cubicBezTo>
                    <a:cubicBezTo>
                      <a:pt x="67" y="39"/>
                      <a:pt x="66" y="38"/>
                      <a:pt x="65" y="37"/>
                    </a:cubicBezTo>
                    <a:cubicBezTo>
                      <a:pt x="65" y="37"/>
                      <a:pt x="65" y="36"/>
                      <a:pt x="65" y="36"/>
                    </a:cubicBezTo>
                    <a:cubicBezTo>
                      <a:pt x="64" y="35"/>
                      <a:pt x="65" y="34"/>
                      <a:pt x="65" y="32"/>
                    </a:cubicBezTo>
                    <a:cubicBezTo>
                      <a:pt x="65" y="31"/>
                      <a:pt x="67" y="30"/>
                      <a:pt x="66" y="28"/>
                    </a:cubicBezTo>
                    <a:cubicBezTo>
                      <a:pt x="68" y="27"/>
                      <a:pt x="67" y="26"/>
                      <a:pt x="67" y="25"/>
                    </a:cubicBezTo>
                    <a:cubicBezTo>
                      <a:pt x="56" y="17"/>
                      <a:pt x="56" y="17"/>
                      <a:pt x="56" y="17"/>
                    </a:cubicBezTo>
                    <a:lnTo>
                      <a:pt x="56"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5" name="Freeform 884">
                <a:extLst>
                  <a:ext uri="{FF2B5EF4-FFF2-40B4-BE49-F238E27FC236}">
                    <a16:creationId xmlns:a16="http://schemas.microsoft.com/office/drawing/2014/main" id="{C10FEA64-0A04-BEB7-4423-FC01E968B8A9}"/>
                  </a:ext>
                </a:extLst>
              </p:cNvPr>
              <p:cNvSpPr>
                <a:spLocks/>
              </p:cNvSpPr>
              <p:nvPr/>
            </p:nvSpPr>
            <p:spPr bwMode="auto">
              <a:xfrm>
                <a:off x="6242050" y="5641975"/>
                <a:ext cx="36512" cy="53975"/>
              </a:xfrm>
              <a:custGeom>
                <a:avLst/>
                <a:gdLst>
                  <a:gd name="T0" fmla="*/ 1 w 9"/>
                  <a:gd name="T1" fmla="*/ 5 h 13"/>
                  <a:gd name="T2" fmla="*/ 1 w 9"/>
                  <a:gd name="T3" fmla="*/ 7 h 13"/>
                  <a:gd name="T4" fmla="*/ 1 w 9"/>
                  <a:gd name="T5" fmla="*/ 8 h 13"/>
                  <a:gd name="T6" fmla="*/ 0 w 9"/>
                  <a:gd name="T7" fmla="*/ 9 h 13"/>
                  <a:gd name="T8" fmla="*/ 1 w 9"/>
                  <a:gd name="T9" fmla="*/ 9 h 13"/>
                  <a:gd name="T10" fmla="*/ 3 w 9"/>
                  <a:gd name="T11" fmla="*/ 12 h 13"/>
                  <a:gd name="T12" fmla="*/ 5 w 9"/>
                  <a:gd name="T13" fmla="*/ 12 h 13"/>
                  <a:gd name="T14" fmla="*/ 8 w 9"/>
                  <a:gd name="T15" fmla="*/ 12 h 13"/>
                  <a:gd name="T16" fmla="*/ 9 w 9"/>
                  <a:gd name="T17" fmla="*/ 13 h 13"/>
                  <a:gd name="T18" fmla="*/ 9 w 9"/>
                  <a:gd name="T19" fmla="*/ 9 h 13"/>
                  <a:gd name="T20" fmla="*/ 9 w 9"/>
                  <a:gd name="T21" fmla="*/ 9 h 13"/>
                  <a:gd name="T22" fmla="*/ 9 w 9"/>
                  <a:gd name="T23" fmla="*/ 3 h 13"/>
                  <a:gd name="T24" fmla="*/ 8 w 9"/>
                  <a:gd name="T25" fmla="*/ 2 h 13"/>
                  <a:gd name="T26" fmla="*/ 4 w 9"/>
                  <a:gd name="T27" fmla="*/ 0 h 13"/>
                  <a:gd name="T28" fmla="*/ 1 w 9"/>
                  <a:gd name="T2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3">
                    <a:moveTo>
                      <a:pt x="1" y="5"/>
                    </a:moveTo>
                    <a:cubicBezTo>
                      <a:pt x="1" y="7"/>
                      <a:pt x="1" y="7"/>
                      <a:pt x="1" y="7"/>
                    </a:cubicBezTo>
                    <a:cubicBezTo>
                      <a:pt x="1" y="8"/>
                      <a:pt x="1" y="8"/>
                      <a:pt x="1" y="8"/>
                    </a:cubicBezTo>
                    <a:cubicBezTo>
                      <a:pt x="0" y="9"/>
                      <a:pt x="0" y="9"/>
                      <a:pt x="0" y="9"/>
                    </a:cubicBezTo>
                    <a:cubicBezTo>
                      <a:pt x="1" y="9"/>
                      <a:pt x="1" y="9"/>
                      <a:pt x="1" y="9"/>
                    </a:cubicBezTo>
                    <a:cubicBezTo>
                      <a:pt x="3" y="12"/>
                      <a:pt x="3" y="12"/>
                      <a:pt x="3" y="12"/>
                    </a:cubicBezTo>
                    <a:cubicBezTo>
                      <a:pt x="5" y="12"/>
                      <a:pt x="5" y="12"/>
                      <a:pt x="5" y="12"/>
                    </a:cubicBezTo>
                    <a:cubicBezTo>
                      <a:pt x="5" y="12"/>
                      <a:pt x="7" y="12"/>
                      <a:pt x="8" y="12"/>
                    </a:cubicBezTo>
                    <a:cubicBezTo>
                      <a:pt x="8" y="12"/>
                      <a:pt x="9" y="13"/>
                      <a:pt x="9" y="13"/>
                    </a:cubicBezTo>
                    <a:cubicBezTo>
                      <a:pt x="9" y="9"/>
                      <a:pt x="9" y="9"/>
                      <a:pt x="9" y="9"/>
                    </a:cubicBezTo>
                    <a:cubicBezTo>
                      <a:pt x="9" y="9"/>
                      <a:pt x="9" y="9"/>
                      <a:pt x="9" y="9"/>
                    </a:cubicBezTo>
                    <a:cubicBezTo>
                      <a:pt x="9" y="3"/>
                      <a:pt x="9" y="3"/>
                      <a:pt x="9" y="3"/>
                    </a:cubicBezTo>
                    <a:cubicBezTo>
                      <a:pt x="8" y="2"/>
                      <a:pt x="8" y="2"/>
                      <a:pt x="8" y="2"/>
                    </a:cubicBezTo>
                    <a:cubicBezTo>
                      <a:pt x="4" y="0"/>
                      <a:pt x="4" y="0"/>
                      <a:pt x="4" y="0"/>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6" name="Freeform 885">
                <a:extLst>
                  <a:ext uri="{FF2B5EF4-FFF2-40B4-BE49-F238E27FC236}">
                    <a16:creationId xmlns:a16="http://schemas.microsoft.com/office/drawing/2014/main" id="{CF72E06D-C90D-42B1-8263-7F247F63DFA8}"/>
                  </a:ext>
                </a:extLst>
              </p:cNvPr>
              <p:cNvSpPr>
                <a:spLocks/>
              </p:cNvSpPr>
              <p:nvPr/>
            </p:nvSpPr>
            <p:spPr bwMode="auto">
              <a:xfrm>
                <a:off x="5988050" y="4246563"/>
                <a:ext cx="474662" cy="374650"/>
              </a:xfrm>
              <a:custGeom>
                <a:avLst/>
                <a:gdLst>
                  <a:gd name="T0" fmla="*/ 109 w 114"/>
                  <a:gd name="T1" fmla="*/ 26 h 90"/>
                  <a:gd name="T2" fmla="*/ 106 w 114"/>
                  <a:gd name="T3" fmla="*/ 15 h 90"/>
                  <a:gd name="T4" fmla="*/ 105 w 114"/>
                  <a:gd name="T5" fmla="*/ 7 h 90"/>
                  <a:gd name="T6" fmla="*/ 103 w 114"/>
                  <a:gd name="T7" fmla="*/ 1 h 90"/>
                  <a:gd name="T8" fmla="*/ 82 w 114"/>
                  <a:gd name="T9" fmla="*/ 4 h 90"/>
                  <a:gd name="T10" fmla="*/ 77 w 114"/>
                  <a:gd name="T11" fmla="*/ 1 h 90"/>
                  <a:gd name="T12" fmla="*/ 66 w 114"/>
                  <a:gd name="T13" fmla="*/ 0 h 90"/>
                  <a:gd name="T14" fmla="*/ 22 w 114"/>
                  <a:gd name="T15" fmla="*/ 1 h 90"/>
                  <a:gd name="T16" fmla="*/ 15 w 114"/>
                  <a:gd name="T17" fmla="*/ 16 h 90"/>
                  <a:gd name="T18" fmla="*/ 15 w 114"/>
                  <a:gd name="T19" fmla="*/ 47 h 90"/>
                  <a:gd name="T20" fmla="*/ 8 w 114"/>
                  <a:gd name="T21" fmla="*/ 48 h 90"/>
                  <a:gd name="T22" fmla="*/ 9 w 114"/>
                  <a:gd name="T23" fmla="*/ 49 h 90"/>
                  <a:gd name="T24" fmla="*/ 7 w 114"/>
                  <a:gd name="T25" fmla="*/ 52 h 90"/>
                  <a:gd name="T26" fmla="*/ 5 w 114"/>
                  <a:gd name="T27" fmla="*/ 54 h 90"/>
                  <a:gd name="T28" fmla="*/ 5 w 114"/>
                  <a:gd name="T29" fmla="*/ 57 h 90"/>
                  <a:gd name="T30" fmla="*/ 2 w 114"/>
                  <a:gd name="T31" fmla="*/ 60 h 90"/>
                  <a:gd name="T32" fmla="*/ 0 w 114"/>
                  <a:gd name="T33" fmla="*/ 67 h 90"/>
                  <a:gd name="T34" fmla="*/ 3 w 114"/>
                  <a:gd name="T35" fmla="*/ 67 h 90"/>
                  <a:gd name="T36" fmla="*/ 4 w 114"/>
                  <a:gd name="T37" fmla="*/ 70 h 90"/>
                  <a:gd name="T38" fmla="*/ 6 w 114"/>
                  <a:gd name="T39" fmla="*/ 72 h 90"/>
                  <a:gd name="T40" fmla="*/ 8 w 114"/>
                  <a:gd name="T41" fmla="*/ 77 h 90"/>
                  <a:gd name="T42" fmla="*/ 12 w 114"/>
                  <a:gd name="T43" fmla="*/ 86 h 90"/>
                  <a:gd name="T44" fmla="*/ 15 w 114"/>
                  <a:gd name="T45" fmla="*/ 89 h 90"/>
                  <a:gd name="T46" fmla="*/ 22 w 114"/>
                  <a:gd name="T47" fmla="*/ 87 h 90"/>
                  <a:gd name="T48" fmla="*/ 28 w 114"/>
                  <a:gd name="T49" fmla="*/ 84 h 90"/>
                  <a:gd name="T50" fmla="*/ 32 w 114"/>
                  <a:gd name="T51" fmla="*/ 90 h 90"/>
                  <a:gd name="T52" fmla="*/ 42 w 114"/>
                  <a:gd name="T53" fmla="*/ 89 h 90"/>
                  <a:gd name="T54" fmla="*/ 49 w 114"/>
                  <a:gd name="T55" fmla="*/ 85 h 90"/>
                  <a:gd name="T56" fmla="*/ 53 w 114"/>
                  <a:gd name="T57" fmla="*/ 88 h 90"/>
                  <a:gd name="T58" fmla="*/ 56 w 114"/>
                  <a:gd name="T59" fmla="*/ 84 h 90"/>
                  <a:gd name="T60" fmla="*/ 65 w 114"/>
                  <a:gd name="T61" fmla="*/ 88 h 90"/>
                  <a:gd name="T62" fmla="*/ 73 w 114"/>
                  <a:gd name="T63" fmla="*/ 79 h 90"/>
                  <a:gd name="T64" fmla="*/ 70 w 114"/>
                  <a:gd name="T65" fmla="*/ 73 h 90"/>
                  <a:gd name="T66" fmla="*/ 75 w 114"/>
                  <a:gd name="T67" fmla="*/ 71 h 90"/>
                  <a:gd name="T68" fmla="*/ 77 w 114"/>
                  <a:gd name="T69" fmla="*/ 75 h 90"/>
                  <a:gd name="T70" fmla="*/ 83 w 114"/>
                  <a:gd name="T71" fmla="*/ 85 h 90"/>
                  <a:gd name="T72" fmla="*/ 82 w 114"/>
                  <a:gd name="T73" fmla="*/ 90 h 90"/>
                  <a:gd name="T74" fmla="*/ 85 w 114"/>
                  <a:gd name="T75" fmla="*/ 86 h 90"/>
                  <a:gd name="T76" fmla="*/ 85 w 114"/>
                  <a:gd name="T77" fmla="*/ 84 h 90"/>
                  <a:gd name="T78" fmla="*/ 87 w 114"/>
                  <a:gd name="T79" fmla="*/ 80 h 90"/>
                  <a:gd name="T80" fmla="*/ 90 w 114"/>
                  <a:gd name="T81" fmla="*/ 80 h 90"/>
                  <a:gd name="T82" fmla="*/ 95 w 114"/>
                  <a:gd name="T83" fmla="*/ 68 h 90"/>
                  <a:gd name="T84" fmla="*/ 100 w 114"/>
                  <a:gd name="T85" fmla="*/ 57 h 90"/>
                  <a:gd name="T86" fmla="*/ 103 w 114"/>
                  <a:gd name="T87" fmla="*/ 43 h 90"/>
                  <a:gd name="T88" fmla="*/ 104 w 114"/>
                  <a:gd name="T89" fmla="*/ 37 h 90"/>
                  <a:gd name="T90" fmla="*/ 107 w 114"/>
                  <a:gd name="T91" fmla="*/ 35 h 90"/>
                  <a:gd name="T92" fmla="*/ 114 w 114"/>
                  <a:gd name="T93" fmla="*/ 3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90">
                    <a:moveTo>
                      <a:pt x="110" y="27"/>
                    </a:moveTo>
                    <a:cubicBezTo>
                      <a:pt x="110" y="26"/>
                      <a:pt x="109" y="26"/>
                      <a:pt x="109" y="26"/>
                    </a:cubicBezTo>
                    <a:cubicBezTo>
                      <a:pt x="108" y="26"/>
                      <a:pt x="107" y="26"/>
                      <a:pt x="107" y="25"/>
                    </a:cubicBezTo>
                    <a:cubicBezTo>
                      <a:pt x="106" y="22"/>
                      <a:pt x="105" y="19"/>
                      <a:pt x="106" y="15"/>
                    </a:cubicBezTo>
                    <a:cubicBezTo>
                      <a:pt x="106" y="13"/>
                      <a:pt x="105" y="10"/>
                      <a:pt x="105" y="8"/>
                    </a:cubicBezTo>
                    <a:cubicBezTo>
                      <a:pt x="105" y="8"/>
                      <a:pt x="105" y="7"/>
                      <a:pt x="105" y="7"/>
                    </a:cubicBezTo>
                    <a:cubicBezTo>
                      <a:pt x="104" y="6"/>
                      <a:pt x="103" y="5"/>
                      <a:pt x="103" y="3"/>
                    </a:cubicBezTo>
                    <a:cubicBezTo>
                      <a:pt x="103" y="2"/>
                      <a:pt x="104" y="2"/>
                      <a:pt x="103" y="1"/>
                    </a:cubicBezTo>
                    <a:cubicBezTo>
                      <a:pt x="84" y="1"/>
                      <a:pt x="84" y="1"/>
                      <a:pt x="84" y="1"/>
                    </a:cubicBezTo>
                    <a:cubicBezTo>
                      <a:pt x="82" y="4"/>
                      <a:pt x="82" y="4"/>
                      <a:pt x="82" y="4"/>
                    </a:cubicBezTo>
                    <a:cubicBezTo>
                      <a:pt x="80" y="4"/>
                      <a:pt x="80" y="4"/>
                      <a:pt x="80" y="4"/>
                    </a:cubicBezTo>
                    <a:cubicBezTo>
                      <a:pt x="77" y="1"/>
                      <a:pt x="77" y="1"/>
                      <a:pt x="77" y="1"/>
                    </a:cubicBezTo>
                    <a:cubicBezTo>
                      <a:pt x="66" y="1"/>
                      <a:pt x="66" y="1"/>
                      <a:pt x="66" y="1"/>
                    </a:cubicBezTo>
                    <a:cubicBezTo>
                      <a:pt x="66" y="0"/>
                      <a:pt x="66" y="0"/>
                      <a:pt x="66" y="0"/>
                    </a:cubicBezTo>
                    <a:cubicBezTo>
                      <a:pt x="65" y="1"/>
                      <a:pt x="65" y="1"/>
                      <a:pt x="65" y="1"/>
                    </a:cubicBezTo>
                    <a:cubicBezTo>
                      <a:pt x="22" y="1"/>
                      <a:pt x="22" y="1"/>
                      <a:pt x="22" y="1"/>
                    </a:cubicBezTo>
                    <a:cubicBezTo>
                      <a:pt x="22" y="16"/>
                      <a:pt x="22" y="16"/>
                      <a:pt x="22" y="16"/>
                    </a:cubicBezTo>
                    <a:cubicBezTo>
                      <a:pt x="15" y="16"/>
                      <a:pt x="15" y="16"/>
                      <a:pt x="15" y="16"/>
                    </a:cubicBezTo>
                    <a:cubicBezTo>
                      <a:pt x="15" y="20"/>
                      <a:pt x="15" y="20"/>
                      <a:pt x="15" y="20"/>
                    </a:cubicBezTo>
                    <a:cubicBezTo>
                      <a:pt x="15" y="47"/>
                      <a:pt x="15" y="47"/>
                      <a:pt x="15" y="47"/>
                    </a:cubicBezTo>
                    <a:cubicBezTo>
                      <a:pt x="10" y="47"/>
                      <a:pt x="10" y="47"/>
                      <a:pt x="10" y="47"/>
                    </a:cubicBezTo>
                    <a:cubicBezTo>
                      <a:pt x="10" y="47"/>
                      <a:pt x="8" y="48"/>
                      <a:pt x="8" y="48"/>
                    </a:cubicBezTo>
                    <a:cubicBezTo>
                      <a:pt x="8" y="48"/>
                      <a:pt x="8" y="49"/>
                      <a:pt x="8" y="49"/>
                    </a:cubicBezTo>
                    <a:cubicBezTo>
                      <a:pt x="8" y="49"/>
                      <a:pt x="9" y="49"/>
                      <a:pt x="9" y="49"/>
                    </a:cubicBezTo>
                    <a:cubicBezTo>
                      <a:pt x="9" y="50"/>
                      <a:pt x="9" y="50"/>
                      <a:pt x="9" y="50"/>
                    </a:cubicBezTo>
                    <a:cubicBezTo>
                      <a:pt x="7" y="52"/>
                      <a:pt x="7" y="52"/>
                      <a:pt x="7" y="52"/>
                    </a:cubicBezTo>
                    <a:cubicBezTo>
                      <a:pt x="7" y="54"/>
                      <a:pt x="7" y="54"/>
                      <a:pt x="7" y="54"/>
                    </a:cubicBezTo>
                    <a:cubicBezTo>
                      <a:pt x="5" y="54"/>
                      <a:pt x="5" y="54"/>
                      <a:pt x="5" y="54"/>
                    </a:cubicBezTo>
                    <a:cubicBezTo>
                      <a:pt x="4" y="55"/>
                      <a:pt x="4" y="55"/>
                      <a:pt x="4" y="55"/>
                    </a:cubicBezTo>
                    <a:cubicBezTo>
                      <a:pt x="4" y="55"/>
                      <a:pt x="5" y="56"/>
                      <a:pt x="5" y="57"/>
                    </a:cubicBezTo>
                    <a:cubicBezTo>
                      <a:pt x="5" y="57"/>
                      <a:pt x="5" y="58"/>
                      <a:pt x="5" y="58"/>
                    </a:cubicBezTo>
                    <a:cubicBezTo>
                      <a:pt x="2" y="60"/>
                      <a:pt x="2" y="60"/>
                      <a:pt x="2" y="60"/>
                    </a:cubicBezTo>
                    <a:cubicBezTo>
                      <a:pt x="4" y="63"/>
                      <a:pt x="4" y="63"/>
                      <a:pt x="4" y="63"/>
                    </a:cubicBezTo>
                    <a:cubicBezTo>
                      <a:pt x="0" y="67"/>
                      <a:pt x="0" y="67"/>
                      <a:pt x="0" y="67"/>
                    </a:cubicBezTo>
                    <a:cubicBezTo>
                      <a:pt x="1" y="68"/>
                      <a:pt x="1" y="68"/>
                      <a:pt x="1" y="68"/>
                    </a:cubicBezTo>
                    <a:cubicBezTo>
                      <a:pt x="3" y="67"/>
                      <a:pt x="3" y="67"/>
                      <a:pt x="3" y="67"/>
                    </a:cubicBezTo>
                    <a:cubicBezTo>
                      <a:pt x="5" y="68"/>
                      <a:pt x="5" y="68"/>
                      <a:pt x="5" y="68"/>
                    </a:cubicBezTo>
                    <a:cubicBezTo>
                      <a:pt x="4" y="70"/>
                      <a:pt x="4" y="70"/>
                      <a:pt x="4" y="70"/>
                    </a:cubicBezTo>
                    <a:cubicBezTo>
                      <a:pt x="5" y="72"/>
                      <a:pt x="5" y="72"/>
                      <a:pt x="5" y="72"/>
                    </a:cubicBezTo>
                    <a:cubicBezTo>
                      <a:pt x="6" y="72"/>
                      <a:pt x="6" y="72"/>
                      <a:pt x="6" y="72"/>
                    </a:cubicBezTo>
                    <a:cubicBezTo>
                      <a:pt x="6" y="75"/>
                      <a:pt x="6" y="75"/>
                      <a:pt x="6" y="75"/>
                    </a:cubicBezTo>
                    <a:cubicBezTo>
                      <a:pt x="8" y="77"/>
                      <a:pt x="8" y="77"/>
                      <a:pt x="8" y="77"/>
                    </a:cubicBezTo>
                    <a:cubicBezTo>
                      <a:pt x="8" y="80"/>
                      <a:pt x="8" y="80"/>
                      <a:pt x="8" y="80"/>
                    </a:cubicBezTo>
                    <a:cubicBezTo>
                      <a:pt x="12" y="86"/>
                      <a:pt x="12" y="86"/>
                      <a:pt x="12" y="86"/>
                    </a:cubicBezTo>
                    <a:cubicBezTo>
                      <a:pt x="13" y="88"/>
                      <a:pt x="13" y="88"/>
                      <a:pt x="13" y="88"/>
                    </a:cubicBezTo>
                    <a:cubicBezTo>
                      <a:pt x="15" y="89"/>
                      <a:pt x="15" y="89"/>
                      <a:pt x="15" y="89"/>
                    </a:cubicBezTo>
                    <a:cubicBezTo>
                      <a:pt x="21" y="88"/>
                      <a:pt x="21" y="88"/>
                      <a:pt x="21" y="88"/>
                    </a:cubicBezTo>
                    <a:cubicBezTo>
                      <a:pt x="22" y="87"/>
                      <a:pt x="22" y="87"/>
                      <a:pt x="22" y="87"/>
                    </a:cubicBezTo>
                    <a:cubicBezTo>
                      <a:pt x="23" y="84"/>
                      <a:pt x="23" y="84"/>
                      <a:pt x="23" y="84"/>
                    </a:cubicBezTo>
                    <a:cubicBezTo>
                      <a:pt x="28" y="84"/>
                      <a:pt x="28" y="84"/>
                      <a:pt x="28" y="84"/>
                    </a:cubicBezTo>
                    <a:cubicBezTo>
                      <a:pt x="28" y="85"/>
                      <a:pt x="28" y="85"/>
                      <a:pt x="28" y="85"/>
                    </a:cubicBezTo>
                    <a:cubicBezTo>
                      <a:pt x="32" y="90"/>
                      <a:pt x="32" y="90"/>
                      <a:pt x="32" y="90"/>
                    </a:cubicBezTo>
                    <a:cubicBezTo>
                      <a:pt x="35" y="90"/>
                      <a:pt x="35" y="90"/>
                      <a:pt x="35" y="90"/>
                    </a:cubicBezTo>
                    <a:cubicBezTo>
                      <a:pt x="42" y="89"/>
                      <a:pt x="42" y="89"/>
                      <a:pt x="42" y="89"/>
                    </a:cubicBezTo>
                    <a:cubicBezTo>
                      <a:pt x="41" y="86"/>
                      <a:pt x="41" y="86"/>
                      <a:pt x="41" y="86"/>
                    </a:cubicBezTo>
                    <a:cubicBezTo>
                      <a:pt x="49" y="85"/>
                      <a:pt x="49" y="85"/>
                      <a:pt x="49" y="85"/>
                    </a:cubicBezTo>
                    <a:cubicBezTo>
                      <a:pt x="49" y="89"/>
                      <a:pt x="49" y="89"/>
                      <a:pt x="49" y="89"/>
                    </a:cubicBezTo>
                    <a:cubicBezTo>
                      <a:pt x="53" y="88"/>
                      <a:pt x="53" y="88"/>
                      <a:pt x="53" y="88"/>
                    </a:cubicBezTo>
                    <a:cubicBezTo>
                      <a:pt x="53" y="86"/>
                      <a:pt x="53" y="86"/>
                      <a:pt x="53" y="86"/>
                    </a:cubicBezTo>
                    <a:cubicBezTo>
                      <a:pt x="56" y="84"/>
                      <a:pt x="56" y="84"/>
                      <a:pt x="56" y="84"/>
                    </a:cubicBezTo>
                    <a:cubicBezTo>
                      <a:pt x="62" y="89"/>
                      <a:pt x="62" y="89"/>
                      <a:pt x="62" y="89"/>
                    </a:cubicBezTo>
                    <a:cubicBezTo>
                      <a:pt x="65" y="88"/>
                      <a:pt x="65" y="88"/>
                      <a:pt x="65" y="88"/>
                    </a:cubicBezTo>
                    <a:cubicBezTo>
                      <a:pt x="70" y="82"/>
                      <a:pt x="70" y="82"/>
                      <a:pt x="70" y="82"/>
                    </a:cubicBezTo>
                    <a:cubicBezTo>
                      <a:pt x="73" y="79"/>
                      <a:pt x="73" y="79"/>
                      <a:pt x="73" y="79"/>
                    </a:cubicBezTo>
                    <a:cubicBezTo>
                      <a:pt x="72" y="75"/>
                      <a:pt x="72" y="75"/>
                      <a:pt x="72" y="75"/>
                    </a:cubicBezTo>
                    <a:cubicBezTo>
                      <a:pt x="70" y="73"/>
                      <a:pt x="70" y="73"/>
                      <a:pt x="70" y="73"/>
                    </a:cubicBezTo>
                    <a:cubicBezTo>
                      <a:pt x="75" y="73"/>
                      <a:pt x="75" y="73"/>
                      <a:pt x="75" y="73"/>
                    </a:cubicBezTo>
                    <a:cubicBezTo>
                      <a:pt x="75" y="71"/>
                      <a:pt x="75" y="71"/>
                      <a:pt x="75" y="71"/>
                    </a:cubicBezTo>
                    <a:cubicBezTo>
                      <a:pt x="78" y="71"/>
                      <a:pt x="78" y="71"/>
                      <a:pt x="78" y="71"/>
                    </a:cubicBezTo>
                    <a:cubicBezTo>
                      <a:pt x="77" y="75"/>
                      <a:pt x="77" y="75"/>
                      <a:pt x="77" y="75"/>
                    </a:cubicBezTo>
                    <a:cubicBezTo>
                      <a:pt x="78" y="81"/>
                      <a:pt x="78" y="81"/>
                      <a:pt x="78" y="81"/>
                    </a:cubicBezTo>
                    <a:cubicBezTo>
                      <a:pt x="83" y="85"/>
                      <a:pt x="83" y="85"/>
                      <a:pt x="83" y="85"/>
                    </a:cubicBezTo>
                    <a:cubicBezTo>
                      <a:pt x="83" y="87"/>
                      <a:pt x="83" y="87"/>
                      <a:pt x="83" y="87"/>
                    </a:cubicBezTo>
                    <a:cubicBezTo>
                      <a:pt x="82" y="90"/>
                      <a:pt x="82" y="90"/>
                      <a:pt x="82" y="90"/>
                    </a:cubicBezTo>
                    <a:cubicBezTo>
                      <a:pt x="84" y="90"/>
                      <a:pt x="84" y="90"/>
                      <a:pt x="84" y="90"/>
                    </a:cubicBezTo>
                    <a:cubicBezTo>
                      <a:pt x="85" y="86"/>
                      <a:pt x="85" y="86"/>
                      <a:pt x="85" y="86"/>
                    </a:cubicBezTo>
                    <a:cubicBezTo>
                      <a:pt x="85" y="85"/>
                      <a:pt x="85" y="85"/>
                      <a:pt x="85" y="85"/>
                    </a:cubicBezTo>
                    <a:cubicBezTo>
                      <a:pt x="85" y="84"/>
                      <a:pt x="85" y="84"/>
                      <a:pt x="85" y="84"/>
                    </a:cubicBezTo>
                    <a:cubicBezTo>
                      <a:pt x="85" y="83"/>
                      <a:pt x="85" y="83"/>
                      <a:pt x="85" y="83"/>
                    </a:cubicBezTo>
                    <a:cubicBezTo>
                      <a:pt x="87" y="80"/>
                      <a:pt x="87" y="80"/>
                      <a:pt x="87" y="80"/>
                    </a:cubicBezTo>
                    <a:cubicBezTo>
                      <a:pt x="89" y="82"/>
                      <a:pt x="89" y="82"/>
                      <a:pt x="89" y="82"/>
                    </a:cubicBezTo>
                    <a:cubicBezTo>
                      <a:pt x="90" y="80"/>
                      <a:pt x="90" y="80"/>
                      <a:pt x="90" y="80"/>
                    </a:cubicBezTo>
                    <a:cubicBezTo>
                      <a:pt x="90" y="74"/>
                      <a:pt x="90" y="74"/>
                      <a:pt x="90" y="74"/>
                    </a:cubicBezTo>
                    <a:cubicBezTo>
                      <a:pt x="95" y="68"/>
                      <a:pt x="95" y="68"/>
                      <a:pt x="95" y="68"/>
                    </a:cubicBezTo>
                    <a:cubicBezTo>
                      <a:pt x="98" y="68"/>
                      <a:pt x="98" y="68"/>
                      <a:pt x="98" y="68"/>
                    </a:cubicBezTo>
                    <a:cubicBezTo>
                      <a:pt x="100" y="57"/>
                      <a:pt x="100" y="57"/>
                      <a:pt x="100" y="57"/>
                    </a:cubicBezTo>
                    <a:cubicBezTo>
                      <a:pt x="100" y="51"/>
                      <a:pt x="100" y="51"/>
                      <a:pt x="100" y="51"/>
                    </a:cubicBezTo>
                    <a:cubicBezTo>
                      <a:pt x="103" y="43"/>
                      <a:pt x="103" y="43"/>
                      <a:pt x="103" y="43"/>
                    </a:cubicBezTo>
                    <a:cubicBezTo>
                      <a:pt x="103" y="41"/>
                      <a:pt x="103" y="41"/>
                      <a:pt x="103" y="41"/>
                    </a:cubicBezTo>
                    <a:cubicBezTo>
                      <a:pt x="104" y="37"/>
                      <a:pt x="104" y="37"/>
                      <a:pt x="104" y="37"/>
                    </a:cubicBezTo>
                    <a:cubicBezTo>
                      <a:pt x="106" y="37"/>
                      <a:pt x="106" y="37"/>
                      <a:pt x="106" y="37"/>
                    </a:cubicBezTo>
                    <a:cubicBezTo>
                      <a:pt x="107" y="35"/>
                      <a:pt x="107" y="35"/>
                      <a:pt x="107" y="35"/>
                    </a:cubicBezTo>
                    <a:cubicBezTo>
                      <a:pt x="112" y="34"/>
                      <a:pt x="112" y="34"/>
                      <a:pt x="112" y="34"/>
                    </a:cubicBezTo>
                    <a:cubicBezTo>
                      <a:pt x="114" y="30"/>
                      <a:pt x="114" y="30"/>
                      <a:pt x="114" y="30"/>
                    </a:cubicBezTo>
                    <a:cubicBezTo>
                      <a:pt x="113" y="30"/>
                      <a:pt x="111" y="28"/>
                      <a:pt x="110"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7" name="Freeform 886">
                <a:extLst>
                  <a:ext uri="{FF2B5EF4-FFF2-40B4-BE49-F238E27FC236}">
                    <a16:creationId xmlns:a16="http://schemas.microsoft.com/office/drawing/2014/main" id="{29D4B611-9C36-919A-61F5-83C14D2D4CB5}"/>
                  </a:ext>
                </a:extLst>
              </p:cNvPr>
              <p:cNvSpPr>
                <a:spLocks/>
              </p:cNvSpPr>
              <p:nvPr/>
            </p:nvSpPr>
            <p:spPr bwMode="auto">
              <a:xfrm>
                <a:off x="6034088" y="4541838"/>
                <a:ext cx="352425" cy="250825"/>
              </a:xfrm>
              <a:custGeom>
                <a:avLst/>
                <a:gdLst>
                  <a:gd name="T0" fmla="*/ 188 w 222"/>
                  <a:gd name="T1" fmla="*/ 37 h 158"/>
                  <a:gd name="T2" fmla="*/ 173 w 222"/>
                  <a:gd name="T3" fmla="*/ 11 h 158"/>
                  <a:gd name="T4" fmla="*/ 167 w 222"/>
                  <a:gd name="T5" fmla="*/ 0 h 158"/>
                  <a:gd name="T6" fmla="*/ 154 w 222"/>
                  <a:gd name="T7" fmla="*/ 5 h 158"/>
                  <a:gd name="T8" fmla="*/ 162 w 222"/>
                  <a:gd name="T9" fmla="*/ 21 h 158"/>
                  <a:gd name="T10" fmla="*/ 141 w 222"/>
                  <a:gd name="T11" fmla="*/ 45 h 158"/>
                  <a:gd name="T12" fmla="*/ 118 w 222"/>
                  <a:gd name="T13" fmla="*/ 34 h 158"/>
                  <a:gd name="T14" fmla="*/ 110 w 222"/>
                  <a:gd name="T15" fmla="*/ 45 h 158"/>
                  <a:gd name="T16" fmla="*/ 94 w 222"/>
                  <a:gd name="T17" fmla="*/ 53 h 158"/>
                  <a:gd name="T18" fmla="*/ 81 w 222"/>
                  <a:gd name="T19" fmla="*/ 47 h 158"/>
                  <a:gd name="T20" fmla="*/ 55 w 222"/>
                  <a:gd name="T21" fmla="*/ 50 h 158"/>
                  <a:gd name="T22" fmla="*/ 44 w 222"/>
                  <a:gd name="T23" fmla="*/ 34 h 158"/>
                  <a:gd name="T24" fmla="*/ 28 w 222"/>
                  <a:gd name="T25" fmla="*/ 42 h 158"/>
                  <a:gd name="T26" fmla="*/ 10 w 222"/>
                  <a:gd name="T27" fmla="*/ 47 h 158"/>
                  <a:gd name="T28" fmla="*/ 5 w 222"/>
                  <a:gd name="T29" fmla="*/ 53 h 158"/>
                  <a:gd name="T30" fmla="*/ 5 w 222"/>
                  <a:gd name="T31" fmla="*/ 58 h 158"/>
                  <a:gd name="T32" fmla="*/ 15 w 222"/>
                  <a:gd name="T33" fmla="*/ 63 h 158"/>
                  <a:gd name="T34" fmla="*/ 13 w 222"/>
                  <a:gd name="T35" fmla="*/ 71 h 158"/>
                  <a:gd name="T36" fmla="*/ 26 w 222"/>
                  <a:gd name="T37" fmla="*/ 74 h 158"/>
                  <a:gd name="T38" fmla="*/ 34 w 222"/>
                  <a:gd name="T39" fmla="*/ 87 h 158"/>
                  <a:gd name="T40" fmla="*/ 49 w 222"/>
                  <a:gd name="T41" fmla="*/ 100 h 158"/>
                  <a:gd name="T42" fmla="*/ 52 w 222"/>
                  <a:gd name="T43" fmla="*/ 105 h 158"/>
                  <a:gd name="T44" fmla="*/ 55 w 222"/>
                  <a:gd name="T45" fmla="*/ 110 h 158"/>
                  <a:gd name="T46" fmla="*/ 73 w 222"/>
                  <a:gd name="T47" fmla="*/ 131 h 158"/>
                  <a:gd name="T48" fmla="*/ 78 w 222"/>
                  <a:gd name="T49" fmla="*/ 139 h 158"/>
                  <a:gd name="T50" fmla="*/ 97 w 222"/>
                  <a:gd name="T51" fmla="*/ 139 h 158"/>
                  <a:gd name="T52" fmla="*/ 107 w 222"/>
                  <a:gd name="T53" fmla="*/ 142 h 158"/>
                  <a:gd name="T54" fmla="*/ 115 w 222"/>
                  <a:gd name="T55" fmla="*/ 139 h 158"/>
                  <a:gd name="T56" fmla="*/ 120 w 222"/>
                  <a:gd name="T57" fmla="*/ 147 h 158"/>
                  <a:gd name="T58" fmla="*/ 128 w 222"/>
                  <a:gd name="T59" fmla="*/ 150 h 158"/>
                  <a:gd name="T60" fmla="*/ 131 w 222"/>
                  <a:gd name="T61" fmla="*/ 155 h 158"/>
                  <a:gd name="T62" fmla="*/ 139 w 222"/>
                  <a:gd name="T63" fmla="*/ 152 h 158"/>
                  <a:gd name="T64" fmla="*/ 149 w 222"/>
                  <a:gd name="T65" fmla="*/ 152 h 158"/>
                  <a:gd name="T66" fmla="*/ 157 w 222"/>
                  <a:gd name="T67" fmla="*/ 158 h 158"/>
                  <a:gd name="T68" fmla="*/ 170 w 222"/>
                  <a:gd name="T69" fmla="*/ 150 h 158"/>
                  <a:gd name="T70" fmla="*/ 188 w 222"/>
                  <a:gd name="T71" fmla="*/ 144 h 158"/>
                  <a:gd name="T72" fmla="*/ 204 w 222"/>
                  <a:gd name="T73" fmla="*/ 134 h 158"/>
                  <a:gd name="T74" fmla="*/ 215 w 222"/>
                  <a:gd name="T75" fmla="*/ 131 h 158"/>
                  <a:gd name="T76" fmla="*/ 217 w 222"/>
                  <a:gd name="T77" fmla="*/ 137 h 158"/>
                  <a:gd name="T78" fmla="*/ 220 w 222"/>
                  <a:gd name="T79" fmla="*/ 134 h 158"/>
                  <a:gd name="T80" fmla="*/ 222 w 222"/>
                  <a:gd name="T81" fmla="*/ 123 h 158"/>
                  <a:gd name="T82" fmla="*/ 207 w 222"/>
                  <a:gd name="T83" fmla="*/ 113 h 158"/>
                  <a:gd name="T84" fmla="*/ 196 w 222"/>
                  <a:gd name="T85" fmla="*/ 97 h 158"/>
                  <a:gd name="T86" fmla="*/ 186 w 222"/>
                  <a:gd name="T87" fmla="*/ 84 h 158"/>
                  <a:gd name="T88" fmla="*/ 175 w 222"/>
                  <a:gd name="T89" fmla="*/ 74 h 158"/>
                  <a:gd name="T90" fmla="*/ 183 w 222"/>
                  <a:gd name="T91" fmla="*/ 68 h 158"/>
                  <a:gd name="T92" fmla="*/ 191 w 222"/>
                  <a:gd name="T93" fmla="*/ 66 h 158"/>
                  <a:gd name="T94" fmla="*/ 186 w 222"/>
                  <a:gd name="T9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2" h="158">
                    <a:moveTo>
                      <a:pt x="188" y="42"/>
                    </a:moveTo>
                    <a:lnTo>
                      <a:pt x="188" y="37"/>
                    </a:lnTo>
                    <a:lnTo>
                      <a:pt x="175" y="26"/>
                    </a:lnTo>
                    <a:lnTo>
                      <a:pt x="173" y="11"/>
                    </a:lnTo>
                    <a:lnTo>
                      <a:pt x="175" y="0"/>
                    </a:lnTo>
                    <a:lnTo>
                      <a:pt x="167" y="0"/>
                    </a:lnTo>
                    <a:lnTo>
                      <a:pt x="167" y="5"/>
                    </a:lnTo>
                    <a:lnTo>
                      <a:pt x="154" y="5"/>
                    </a:lnTo>
                    <a:lnTo>
                      <a:pt x="160" y="11"/>
                    </a:lnTo>
                    <a:lnTo>
                      <a:pt x="162" y="21"/>
                    </a:lnTo>
                    <a:lnTo>
                      <a:pt x="154" y="29"/>
                    </a:lnTo>
                    <a:lnTo>
                      <a:pt x="141" y="45"/>
                    </a:lnTo>
                    <a:lnTo>
                      <a:pt x="133" y="47"/>
                    </a:lnTo>
                    <a:lnTo>
                      <a:pt x="118" y="34"/>
                    </a:lnTo>
                    <a:lnTo>
                      <a:pt x="110" y="40"/>
                    </a:lnTo>
                    <a:lnTo>
                      <a:pt x="110" y="45"/>
                    </a:lnTo>
                    <a:lnTo>
                      <a:pt x="99" y="47"/>
                    </a:lnTo>
                    <a:lnTo>
                      <a:pt x="94" y="53"/>
                    </a:lnTo>
                    <a:lnTo>
                      <a:pt x="84" y="53"/>
                    </a:lnTo>
                    <a:lnTo>
                      <a:pt x="81" y="47"/>
                    </a:lnTo>
                    <a:lnTo>
                      <a:pt x="63" y="50"/>
                    </a:lnTo>
                    <a:lnTo>
                      <a:pt x="55" y="50"/>
                    </a:lnTo>
                    <a:lnTo>
                      <a:pt x="44" y="37"/>
                    </a:lnTo>
                    <a:lnTo>
                      <a:pt x="44" y="34"/>
                    </a:lnTo>
                    <a:lnTo>
                      <a:pt x="31" y="34"/>
                    </a:lnTo>
                    <a:lnTo>
                      <a:pt x="28" y="42"/>
                    </a:lnTo>
                    <a:lnTo>
                      <a:pt x="26" y="45"/>
                    </a:lnTo>
                    <a:lnTo>
                      <a:pt x="10" y="47"/>
                    </a:lnTo>
                    <a:lnTo>
                      <a:pt x="5" y="45"/>
                    </a:lnTo>
                    <a:lnTo>
                      <a:pt x="5" y="53"/>
                    </a:lnTo>
                    <a:lnTo>
                      <a:pt x="0" y="58"/>
                    </a:lnTo>
                    <a:lnTo>
                      <a:pt x="5" y="58"/>
                    </a:lnTo>
                    <a:lnTo>
                      <a:pt x="2" y="63"/>
                    </a:lnTo>
                    <a:lnTo>
                      <a:pt x="15" y="63"/>
                    </a:lnTo>
                    <a:lnTo>
                      <a:pt x="15" y="66"/>
                    </a:lnTo>
                    <a:lnTo>
                      <a:pt x="13" y="71"/>
                    </a:lnTo>
                    <a:lnTo>
                      <a:pt x="15" y="74"/>
                    </a:lnTo>
                    <a:lnTo>
                      <a:pt x="26" y="74"/>
                    </a:lnTo>
                    <a:lnTo>
                      <a:pt x="34" y="79"/>
                    </a:lnTo>
                    <a:lnTo>
                      <a:pt x="34" y="87"/>
                    </a:lnTo>
                    <a:lnTo>
                      <a:pt x="47" y="95"/>
                    </a:lnTo>
                    <a:lnTo>
                      <a:pt x="49" y="100"/>
                    </a:lnTo>
                    <a:lnTo>
                      <a:pt x="55" y="100"/>
                    </a:lnTo>
                    <a:lnTo>
                      <a:pt x="52" y="105"/>
                    </a:lnTo>
                    <a:lnTo>
                      <a:pt x="57" y="108"/>
                    </a:lnTo>
                    <a:lnTo>
                      <a:pt x="55" y="110"/>
                    </a:lnTo>
                    <a:lnTo>
                      <a:pt x="68" y="118"/>
                    </a:lnTo>
                    <a:lnTo>
                      <a:pt x="73" y="131"/>
                    </a:lnTo>
                    <a:lnTo>
                      <a:pt x="78" y="134"/>
                    </a:lnTo>
                    <a:lnTo>
                      <a:pt x="78" y="139"/>
                    </a:lnTo>
                    <a:lnTo>
                      <a:pt x="89" y="144"/>
                    </a:lnTo>
                    <a:lnTo>
                      <a:pt x="97" y="139"/>
                    </a:lnTo>
                    <a:lnTo>
                      <a:pt x="104" y="142"/>
                    </a:lnTo>
                    <a:lnTo>
                      <a:pt x="107" y="142"/>
                    </a:lnTo>
                    <a:lnTo>
                      <a:pt x="110" y="137"/>
                    </a:lnTo>
                    <a:lnTo>
                      <a:pt x="115" y="139"/>
                    </a:lnTo>
                    <a:lnTo>
                      <a:pt x="115" y="142"/>
                    </a:lnTo>
                    <a:lnTo>
                      <a:pt x="120" y="147"/>
                    </a:lnTo>
                    <a:lnTo>
                      <a:pt x="120" y="150"/>
                    </a:lnTo>
                    <a:lnTo>
                      <a:pt x="128" y="150"/>
                    </a:lnTo>
                    <a:lnTo>
                      <a:pt x="128" y="155"/>
                    </a:lnTo>
                    <a:lnTo>
                      <a:pt x="131" y="155"/>
                    </a:lnTo>
                    <a:lnTo>
                      <a:pt x="133" y="158"/>
                    </a:lnTo>
                    <a:lnTo>
                      <a:pt x="139" y="152"/>
                    </a:lnTo>
                    <a:lnTo>
                      <a:pt x="146" y="155"/>
                    </a:lnTo>
                    <a:lnTo>
                      <a:pt x="149" y="152"/>
                    </a:lnTo>
                    <a:lnTo>
                      <a:pt x="152" y="155"/>
                    </a:lnTo>
                    <a:lnTo>
                      <a:pt x="157" y="158"/>
                    </a:lnTo>
                    <a:lnTo>
                      <a:pt x="160" y="152"/>
                    </a:lnTo>
                    <a:lnTo>
                      <a:pt x="170" y="150"/>
                    </a:lnTo>
                    <a:lnTo>
                      <a:pt x="181" y="152"/>
                    </a:lnTo>
                    <a:lnTo>
                      <a:pt x="188" y="144"/>
                    </a:lnTo>
                    <a:lnTo>
                      <a:pt x="199" y="137"/>
                    </a:lnTo>
                    <a:lnTo>
                      <a:pt x="204" y="134"/>
                    </a:lnTo>
                    <a:lnTo>
                      <a:pt x="215" y="129"/>
                    </a:lnTo>
                    <a:lnTo>
                      <a:pt x="215" y="131"/>
                    </a:lnTo>
                    <a:lnTo>
                      <a:pt x="215" y="131"/>
                    </a:lnTo>
                    <a:lnTo>
                      <a:pt x="217" y="137"/>
                    </a:lnTo>
                    <a:lnTo>
                      <a:pt x="222" y="137"/>
                    </a:lnTo>
                    <a:lnTo>
                      <a:pt x="220" y="134"/>
                    </a:lnTo>
                    <a:lnTo>
                      <a:pt x="222" y="131"/>
                    </a:lnTo>
                    <a:lnTo>
                      <a:pt x="222" y="123"/>
                    </a:lnTo>
                    <a:lnTo>
                      <a:pt x="212" y="123"/>
                    </a:lnTo>
                    <a:lnTo>
                      <a:pt x="207" y="113"/>
                    </a:lnTo>
                    <a:lnTo>
                      <a:pt x="207" y="105"/>
                    </a:lnTo>
                    <a:lnTo>
                      <a:pt x="196" y="97"/>
                    </a:lnTo>
                    <a:lnTo>
                      <a:pt x="194" y="95"/>
                    </a:lnTo>
                    <a:lnTo>
                      <a:pt x="186" y="84"/>
                    </a:lnTo>
                    <a:lnTo>
                      <a:pt x="170" y="79"/>
                    </a:lnTo>
                    <a:lnTo>
                      <a:pt x="175" y="74"/>
                    </a:lnTo>
                    <a:lnTo>
                      <a:pt x="175" y="68"/>
                    </a:lnTo>
                    <a:lnTo>
                      <a:pt x="183" y="68"/>
                    </a:lnTo>
                    <a:lnTo>
                      <a:pt x="186" y="71"/>
                    </a:lnTo>
                    <a:lnTo>
                      <a:pt x="191" y="66"/>
                    </a:lnTo>
                    <a:lnTo>
                      <a:pt x="191" y="50"/>
                    </a:lnTo>
                    <a:lnTo>
                      <a:pt x="186" y="50"/>
                    </a:lnTo>
                    <a:lnTo>
                      <a:pt x="188" y="4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8" name="Freeform 887">
                <a:extLst>
                  <a:ext uri="{FF2B5EF4-FFF2-40B4-BE49-F238E27FC236}">
                    <a16:creationId xmlns:a16="http://schemas.microsoft.com/office/drawing/2014/main" id="{25B6FEDA-A489-0607-A272-EFAC5AFBC167}"/>
                  </a:ext>
                </a:extLst>
              </p:cNvPr>
              <p:cNvSpPr>
                <a:spLocks noEditPoints="1"/>
              </p:cNvSpPr>
              <p:nvPr/>
            </p:nvSpPr>
            <p:spPr bwMode="auto">
              <a:xfrm>
                <a:off x="5837238" y="5534025"/>
                <a:ext cx="466725" cy="411163"/>
              </a:xfrm>
              <a:custGeom>
                <a:avLst/>
                <a:gdLst>
                  <a:gd name="T0" fmla="*/ 106 w 112"/>
                  <a:gd name="T1" fmla="*/ 35 h 99"/>
                  <a:gd name="T2" fmla="*/ 105 w 112"/>
                  <a:gd name="T3" fmla="*/ 38 h 99"/>
                  <a:gd name="T4" fmla="*/ 98 w 112"/>
                  <a:gd name="T5" fmla="*/ 35 h 99"/>
                  <a:gd name="T6" fmla="*/ 98 w 112"/>
                  <a:gd name="T7" fmla="*/ 33 h 99"/>
                  <a:gd name="T8" fmla="*/ 105 w 112"/>
                  <a:gd name="T9" fmla="*/ 28 h 99"/>
                  <a:gd name="T10" fmla="*/ 101 w 112"/>
                  <a:gd name="T11" fmla="*/ 2 h 99"/>
                  <a:gd name="T12" fmla="*/ 90 w 112"/>
                  <a:gd name="T13" fmla="*/ 0 h 99"/>
                  <a:gd name="T14" fmla="*/ 85 w 112"/>
                  <a:gd name="T15" fmla="*/ 2 h 99"/>
                  <a:gd name="T16" fmla="*/ 73 w 112"/>
                  <a:gd name="T17" fmla="*/ 10 h 99"/>
                  <a:gd name="T18" fmla="*/ 68 w 112"/>
                  <a:gd name="T19" fmla="*/ 18 h 99"/>
                  <a:gd name="T20" fmla="*/ 62 w 112"/>
                  <a:gd name="T21" fmla="*/ 26 h 99"/>
                  <a:gd name="T22" fmla="*/ 52 w 112"/>
                  <a:gd name="T23" fmla="*/ 26 h 99"/>
                  <a:gd name="T24" fmla="*/ 45 w 112"/>
                  <a:gd name="T25" fmla="*/ 23 h 99"/>
                  <a:gd name="T26" fmla="*/ 38 w 112"/>
                  <a:gd name="T27" fmla="*/ 34 h 99"/>
                  <a:gd name="T28" fmla="*/ 34 w 112"/>
                  <a:gd name="T29" fmla="*/ 35 h 99"/>
                  <a:gd name="T30" fmla="*/ 29 w 112"/>
                  <a:gd name="T31" fmla="*/ 35 h 99"/>
                  <a:gd name="T32" fmla="*/ 30 w 112"/>
                  <a:gd name="T33" fmla="*/ 29 h 99"/>
                  <a:gd name="T34" fmla="*/ 28 w 112"/>
                  <a:gd name="T35" fmla="*/ 23 h 99"/>
                  <a:gd name="T36" fmla="*/ 24 w 112"/>
                  <a:gd name="T37" fmla="*/ 47 h 99"/>
                  <a:gd name="T38" fmla="*/ 17 w 112"/>
                  <a:gd name="T39" fmla="*/ 50 h 99"/>
                  <a:gd name="T40" fmla="*/ 12 w 112"/>
                  <a:gd name="T41" fmla="*/ 51 h 99"/>
                  <a:gd name="T42" fmla="*/ 7 w 112"/>
                  <a:gd name="T43" fmla="*/ 46 h 99"/>
                  <a:gd name="T44" fmla="*/ 3 w 112"/>
                  <a:gd name="T45" fmla="*/ 46 h 99"/>
                  <a:gd name="T46" fmla="*/ 0 w 112"/>
                  <a:gd name="T47" fmla="*/ 49 h 99"/>
                  <a:gd name="T48" fmla="*/ 6 w 112"/>
                  <a:gd name="T49" fmla="*/ 62 h 99"/>
                  <a:gd name="T50" fmla="*/ 13 w 112"/>
                  <a:gd name="T51" fmla="*/ 81 h 99"/>
                  <a:gd name="T52" fmla="*/ 10 w 112"/>
                  <a:gd name="T53" fmla="*/ 84 h 99"/>
                  <a:gd name="T54" fmla="*/ 14 w 112"/>
                  <a:gd name="T55" fmla="*/ 90 h 99"/>
                  <a:gd name="T56" fmla="*/ 16 w 112"/>
                  <a:gd name="T57" fmla="*/ 92 h 99"/>
                  <a:gd name="T58" fmla="*/ 19 w 112"/>
                  <a:gd name="T59" fmla="*/ 95 h 99"/>
                  <a:gd name="T60" fmla="*/ 24 w 112"/>
                  <a:gd name="T61" fmla="*/ 98 h 99"/>
                  <a:gd name="T62" fmla="*/ 28 w 112"/>
                  <a:gd name="T63" fmla="*/ 96 h 99"/>
                  <a:gd name="T64" fmla="*/ 31 w 112"/>
                  <a:gd name="T65" fmla="*/ 95 h 99"/>
                  <a:gd name="T66" fmla="*/ 37 w 112"/>
                  <a:gd name="T67" fmla="*/ 95 h 99"/>
                  <a:gd name="T68" fmla="*/ 39 w 112"/>
                  <a:gd name="T69" fmla="*/ 93 h 99"/>
                  <a:gd name="T70" fmla="*/ 46 w 112"/>
                  <a:gd name="T71" fmla="*/ 92 h 99"/>
                  <a:gd name="T72" fmla="*/ 50 w 112"/>
                  <a:gd name="T73" fmla="*/ 92 h 99"/>
                  <a:gd name="T74" fmla="*/ 59 w 112"/>
                  <a:gd name="T75" fmla="*/ 92 h 99"/>
                  <a:gd name="T76" fmla="*/ 63 w 112"/>
                  <a:gd name="T77" fmla="*/ 91 h 99"/>
                  <a:gd name="T78" fmla="*/ 66 w 112"/>
                  <a:gd name="T79" fmla="*/ 90 h 99"/>
                  <a:gd name="T80" fmla="*/ 73 w 112"/>
                  <a:gd name="T81" fmla="*/ 87 h 99"/>
                  <a:gd name="T82" fmla="*/ 78 w 112"/>
                  <a:gd name="T83" fmla="*/ 84 h 99"/>
                  <a:gd name="T84" fmla="*/ 92 w 112"/>
                  <a:gd name="T85" fmla="*/ 69 h 99"/>
                  <a:gd name="T86" fmla="*/ 106 w 112"/>
                  <a:gd name="T87" fmla="*/ 51 h 99"/>
                  <a:gd name="T88" fmla="*/ 110 w 112"/>
                  <a:gd name="T89" fmla="*/ 44 h 99"/>
                  <a:gd name="T90" fmla="*/ 112 w 112"/>
                  <a:gd name="T91" fmla="*/ 35 h 99"/>
                  <a:gd name="T92" fmla="*/ 86 w 112"/>
                  <a:gd name="T93" fmla="*/ 59 h 99"/>
                  <a:gd name="T94" fmla="*/ 77 w 112"/>
                  <a:gd name="T95" fmla="*/ 64 h 99"/>
                  <a:gd name="T96" fmla="*/ 72 w 112"/>
                  <a:gd name="T97" fmla="*/ 56 h 99"/>
                  <a:gd name="T98" fmla="*/ 77 w 112"/>
                  <a:gd name="T99" fmla="*/ 51 h 99"/>
                  <a:gd name="T100" fmla="*/ 83 w 112"/>
                  <a:gd name="T101" fmla="*/ 48 h 99"/>
                  <a:gd name="T102" fmla="*/ 88 w 112"/>
                  <a:gd name="T103" fmla="*/ 5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99">
                    <a:moveTo>
                      <a:pt x="112" y="35"/>
                    </a:moveTo>
                    <a:cubicBezTo>
                      <a:pt x="106" y="35"/>
                      <a:pt x="106" y="35"/>
                      <a:pt x="106" y="35"/>
                    </a:cubicBezTo>
                    <a:cubicBezTo>
                      <a:pt x="106" y="35"/>
                      <a:pt x="106" y="35"/>
                      <a:pt x="106" y="35"/>
                    </a:cubicBezTo>
                    <a:cubicBezTo>
                      <a:pt x="106" y="35"/>
                      <a:pt x="106" y="35"/>
                      <a:pt x="106" y="35"/>
                    </a:cubicBezTo>
                    <a:cubicBezTo>
                      <a:pt x="106" y="39"/>
                      <a:pt x="106" y="39"/>
                      <a:pt x="106" y="39"/>
                    </a:cubicBezTo>
                    <a:cubicBezTo>
                      <a:pt x="106" y="39"/>
                      <a:pt x="105" y="38"/>
                      <a:pt x="105" y="38"/>
                    </a:cubicBezTo>
                    <a:cubicBezTo>
                      <a:pt x="104" y="38"/>
                      <a:pt x="102" y="38"/>
                      <a:pt x="102" y="38"/>
                    </a:cubicBezTo>
                    <a:cubicBezTo>
                      <a:pt x="100" y="38"/>
                      <a:pt x="100" y="38"/>
                      <a:pt x="100" y="38"/>
                    </a:cubicBezTo>
                    <a:cubicBezTo>
                      <a:pt x="98" y="35"/>
                      <a:pt x="98" y="35"/>
                      <a:pt x="98" y="35"/>
                    </a:cubicBezTo>
                    <a:cubicBezTo>
                      <a:pt x="97" y="35"/>
                      <a:pt x="97" y="35"/>
                      <a:pt x="97" y="35"/>
                    </a:cubicBezTo>
                    <a:cubicBezTo>
                      <a:pt x="98" y="34"/>
                      <a:pt x="98" y="34"/>
                      <a:pt x="98" y="34"/>
                    </a:cubicBezTo>
                    <a:cubicBezTo>
                      <a:pt x="98" y="33"/>
                      <a:pt x="98" y="33"/>
                      <a:pt x="98" y="33"/>
                    </a:cubicBezTo>
                    <a:cubicBezTo>
                      <a:pt x="98" y="31"/>
                      <a:pt x="98" y="31"/>
                      <a:pt x="98" y="31"/>
                    </a:cubicBezTo>
                    <a:cubicBezTo>
                      <a:pt x="101" y="26"/>
                      <a:pt x="101" y="26"/>
                      <a:pt x="101" y="26"/>
                    </a:cubicBezTo>
                    <a:cubicBezTo>
                      <a:pt x="105" y="28"/>
                      <a:pt x="105" y="28"/>
                      <a:pt x="105" y="28"/>
                    </a:cubicBezTo>
                    <a:cubicBezTo>
                      <a:pt x="105" y="16"/>
                      <a:pt x="105" y="16"/>
                      <a:pt x="105" y="16"/>
                    </a:cubicBezTo>
                    <a:cubicBezTo>
                      <a:pt x="103" y="10"/>
                      <a:pt x="103" y="10"/>
                      <a:pt x="103" y="10"/>
                    </a:cubicBezTo>
                    <a:cubicBezTo>
                      <a:pt x="101" y="2"/>
                      <a:pt x="101" y="2"/>
                      <a:pt x="101" y="2"/>
                    </a:cubicBezTo>
                    <a:cubicBezTo>
                      <a:pt x="99" y="1"/>
                      <a:pt x="99" y="1"/>
                      <a:pt x="99" y="1"/>
                    </a:cubicBezTo>
                    <a:cubicBezTo>
                      <a:pt x="94" y="1"/>
                      <a:pt x="94" y="1"/>
                      <a:pt x="94" y="1"/>
                    </a:cubicBezTo>
                    <a:cubicBezTo>
                      <a:pt x="90" y="0"/>
                      <a:pt x="90" y="0"/>
                      <a:pt x="90" y="0"/>
                    </a:cubicBezTo>
                    <a:cubicBezTo>
                      <a:pt x="88" y="0"/>
                      <a:pt x="88" y="0"/>
                      <a:pt x="88" y="0"/>
                    </a:cubicBezTo>
                    <a:cubicBezTo>
                      <a:pt x="86" y="0"/>
                      <a:pt x="86" y="0"/>
                      <a:pt x="86" y="0"/>
                    </a:cubicBezTo>
                    <a:cubicBezTo>
                      <a:pt x="85" y="2"/>
                      <a:pt x="85" y="2"/>
                      <a:pt x="85" y="2"/>
                    </a:cubicBezTo>
                    <a:cubicBezTo>
                      <a:pt x="81" y="3"/>
                      <a:pt x="81" y="3"/>
                      <a:pt x="81" y="3"/>
                    </a:cubicBezTo>
                    <a:cubicBezTo>
                      <a:pt x="77" y="8"/>
                      <a:pt x="77" y="8"/>
                      <a:pt x="77" y="8"/>
                    </a:cubicBezTo>
                    <a:cubicBezTo>
                      <a:pt x="73" y="10"/>
                      <a:pt x="73" y="10"/>
                      <a:pt x="73" y="10"/>
                    </a:cubicBezTo>
                    <a:cubicBezTo>
                      <a:pt x="72" y="11"/>
                      <a:pt x="72" y="11"/>
                      <a:pt x="72" y="11"/>
                    </a:cubicBezTo>
                    <a:cubicBezTo>
                      <a:pt x="71" y="15"/>
                      <a:pt x="71" y="15"/>
                      <a:pt x="71" y="15"/>
                    </a:cubicBezTo>
                    <a:cubicBezTo>
                      <a:pt x="68" y="18"/>
                      <a:pt x="68" y="18"/>
                      <a:pt x="68" y="18"/>
                    </a:cubicBezTo>
                    <a:cubicBezTo>
                      <a:pt x="64" y="19"/>
                      <a:pt x="64" y="19"/>
                      <a:pt x="64" y="19"/>
                    </a:cubicBezTo>
                    <a:cubicBezTo>
                      <a:pt x="64" y="21"/>
                      <a:pt x="64" y="21"/>
                      <a:pt x="64" y="21"/>
                    </a:cubicBezTo>
                    <a:cubicBezTo>
                      <a:pt x="62" y="26"/>
                      <a:pt x="62" y="26"/>
                      <a:pt x="62" y="26"/>
                    </a:cubicBezTo>
                    <a:cubicBezTo>
                      <a:pt x="56" y="27"/>
                      <a:pt x="56" y="27"/>
                      <a:pt x="56" y="27"/>
                    </a:cubicBezTo>
                    <a:cubicBezTo>
                      <a:pt x="52" y="25"/>
                      <a:pt x="52" y="25"/>
                      <a:pt x="52" y="25"/>
                    </a:cubicBezTo>
                    <a:cubicBezTo>
                      <a:pt x="52" y="26"/>
                      <a:pt x="52" y="26"/>
                      <a:pt x="52" y="26"/>
                    </a:cubicBezTo>
                    <a:cubicBezTo>
                      <a:pt x="51" y="26"/>
                      <a:pt x="51" y="26"/>
                      <a:pt x="51" y="26"/>
                    </a:cubicBezTo>
                    <a:cubicBezTo>
                      <a:pt x="48" y="23"/>
                      <a:pt x="48" y="23"/>
                      <a:pt x="48" y="23"/>
                    </a:cubicBezTo>
                    <a:cubicBezTo>
                      <a:pt x="45" y="23"/>
                      <a:pt x="45" y="23"/>
                      <a:pt x="45" y="23"/>
                    </a:cubicBezTo>
                    <a:cubicBezTo>
                      <a:pt x="43" y="25"/>
                      <a:pt x="43" y="25"/>
                      <a:pt x="43" y="25"/>
                    </a:cubicBezTo>
                    <a:cubicBezTo>
                      <a:pt x="42" y="29"/>
                      <a:pt x="42" y="29"/>
                      <a:pt x="42" y="29"/>
                    </a:cubicBezTo>
                    <a:cubicBezTo>
                      <a:pt x="38" y="34"/>
                      <a:pt x="38" y="34"/>
                      <a:pt x="38" y="34"/>
                    </a:cubicBezTo>
                    <a:cubicBezTo>
                      <a:pt x="36" y="34"/>
                      <a:pt x="36" y="34"/>
                      <a:pt x="36" y="34"/>
                    </a:cubicBezTo>
                    <a:cubicBezTo>
                      <a:pt x="36" y="35"/>
                      <a:pt x="36" y="35"/>
                      <a:pt x="36" y="35"/>
                    </a:cubicBezTo>
                    <a:cubicBezTo>
                      <a:pt x="34" y="35"/>
                      <a:pt x="34" y="35"/>
                      <a:pt x="34" y="35"/>
                    </a:cubicBezTo>
                    <a:cubicBezTo>
                      <a:pt x="33" y="35"/>
                      <a:pt x="33" y="35"/>
                      <a:pt x="33" y="35"/>
                    </a:cubicBezTo>
                    <a:cubicBezTo>
                      <a:pt x="30" y="35"/>
                      <a:pt x="30" y="35"/>
                      <a:pt x="30" y="35"/>
                    </a:cubicBezTo>
                    <a:cubicBezTo>
                      <a:pt x="29" y="35"/>
                      <a:pt x="29" y="35"/>
                      <a:pt x="29" y="35"/>
                    </a:cubicBezTo>
                    <a:cubicBezTo>
                      <a:pt x="29" y="35"/>
                      <a:pt x="29" y="35"/>
                      <a:pt x="29" y="35"/>
                    </a:cubicBezTo>
                    <a:cubicBezTo>
                      <a:pt x="28" y="33"/>
                      <a:pt x="28" y="33"/>
                      <a:pt x="28" y="33"/>
                    </a:cubicBezTo>
                    <a:cubicBezTo>
                      <a:pt x="30" y="29"/>
                      <a:pt x="30" y="29"/>
                      <a:pt x="30" y="29"/>
                    </a:cubicBezTo>
                    <a:cubicBezTo>
                      <a:pt x="30" y="28"/>
                      <a:pt x="30" y="28"/>
                      <a:pt x="30" y="28"/>
                    </a:cubicBezTo>
                    <a:cubicBezTo>
                      <a:pt x="29" y="25"/>
                      <a:pt x="29" y="25"/>
                      <a:pt x="29" y="25"/>
                    </a:cubicBezTo>
                    <a:cubicBezTo>
                      <a:pt x="28" y="23"/>
                      <a:pt x="28" y="23"/>
                      <a:pt x="28" y="23"/>
                    </a:cubicBezTo>
                    <a:cubicBezTo>
                      <a:pt x="27" y="21"/>
                      <a:pt x="27" y="21"/>
                      <a:pt x="27" y="21"/>
                    </a:cubicBezTo>
                    <a:cubicBezTo>
                      <a:pt x="24" y="19"/>
                      <a:pt x="24" y="19"/>
                      <a:pt x="24" y="19"/>
                    </a:cubicBezTo>
                    <a:cubicBezTo>
                      <a:pt x="24" y="47"/>
                      <a:pt x="24" y="47"/>
                      <a:pt x="24" y="47"/>
                    </a:cubicBezTo>
                    <a:cubicBezTo>
                      <a:pt x="21" y="48"/>
                      <a:pt x="21" y="48"/>
                      <a:pt x="21" y="48"/>
                    </a:cubicBezTo>
                    <a:cubicBezTo>
                      <a:pt x="19" y="51"/>
                      <a:pt x="19" y="51"/>
                      <a:pt x="19" y="51"/>
                    </a:cubicBezTo>
                    <a:cubicBezTo>
                      <a:pt x="19" y="51"/>
                      <a:pt x="17" y="50"/>
                      <a:pt x="17" y="50"/>
                    </a:cubicBezTo>
                    <a:cubicBezTo>
                      <a:pt x="16" y="50"/>
                      <a:pt x="15" y="51"/>
                      <a:pt x="15" y="51"/>
                    </a:cubicBezTo>
                    <a:cubicBezTo>
                      <a:pt x="15" y="51"/>
                      <a:pt x="13" y="51"/>
                      <a:pt x="13" y="51"/>
                    </a:cubicBezTo>
                    <a:cubicBezTo>
                      <a:pt x="13" y="51"/>
                      <a:pt x="12" y="51"/>
                      <a:pt x="12" y="51"/>
                    </a:cubicBezTo>
                    <a:cubicBezTo>
                      <a:pt x="10" y="50"/>
                      <a:pt x="10" y="50"/>
                      <a:pt x="10" y="50"/>
                    </a:cubicBezTo>
                    <a:cubicBezTo>
                      <a:pt x="7" y="50"/>
                      <a:pt x="7" y="50"/>
                      <a:pt x="7" y="50"/>
                    </a:cubicBezTo>
                    <a:cubicBezTo>
                      <a:pt x="7" y="46"/>
                      <a:pt x="7" y="46"/>
                      <a:pt x="7" y="46"/>
                    </a:cubicBezTo>
                    <a:cubicBezTo>
                      <a:pt x="4" y="44"/>
                      <a:pt x="4" y="44"/>
                      <a:pt x="4" y="44"/>
                    </a:cubicBezTo>
                    <a:cubicBezTo>
                      <a:pt x="3" y="44"/>
                      <a:pt x="3" y="44"/>
                      <a:pt x="3" y="44"/>
                    </a:cubicBezTo>
                    <a:cubicBezTo>
                      <a:pt x="3" y="44"/>
                      <a:pt x="3" y="46"/>
                      <a:pt x="3" y="46"/>
                    </a:cubicBezTo>
                    <a:cubicBezTo>
                      <a:pt x="3" y="46"/>
                      <a:pt x="2" y="47"/>
                      <a:pt x="2" y="47"/>
                    </a:cubicBezTo>
                    <a:cubicBezTo>
                      <a:pt x="0" y="49"/>
                      <a:pt x="0" y="49"/>
                      <a:pt x="0" y="49"/>
                    </a:cubicBezTo>
                    <a:cubicBezTo>
                      <a:pt x="0" y="49"/>
                      <a:pt x="0" y="49"/>
                      <a:pt x="0" y="49"/>
                    </a:cubicBezTo>
                    <a:cubicBezTo>
                      <a:pt x="1" y="50"/>
                      <a:pt x="1" y="51"/>
                      <a:pt x="2" y="52"/>
                    </a:cubicBezTo>
                    <a:cubicBezTo>
                      <a:pt x="4" y="54"/>
                      <a:pt x="5" y="56"/>
                      <a:pt x="5" y="58"/>
                    </a:cubicBezTo>
                    <a:cubicBezTo>
                      <a:pt x="5" y="60"/>
                      <a:pt x="6" y="61"/>
                      <a:pt x="6" y="62"/>
                    </a:cubicBezTo>
                    <a:cubicBezTo>
                      <a:pt x="7" y="64"/>
                      <a:pt x="9" y="65"/>
                      <a:pt x="9" y="67"/>
                    </a:cubicBezTo>
                    <a:cubicBezTo>
                      <a:pt x="9" y="69"/>
                      <a:pt x="10" y="70"/>
                      <a:pt x="11" y="71"/>
                    </a:cubicBezTo>
                    <a:cubicBezTo>
                      <a:pt x="14" y="74"/>
                      <a:pt x="14" y="78"/>
                      <a:pt x="13" y="81"/>
                    </a:cubicBezTo>
                    <a:cubicBezTo>
                      <a:pt x="13" y="81"/>
                      <a:pt x="12" y="82"/>
                      <a:pt x="12" y="82"/>
                    </a:cubicBezTo>
                    <a:cubicBezTo>
                      <a:pt x="11" y="82"/>
                      <a:pt x="10" y="82"/>
                      <a:pt x="10" y="82"/>
                    </a:cubicBezTo>
                    <a:cubicBezTo>
                      <a:pt x="10" y="82"/>
                      <a:pt x="10" y="84"/>
                      <a:pt x="10" y="84"/>
                    </a:cubicBezTo>
                    <a:cubicBezTo>
                      <a:pt x="10" y="85"/>
                      <a:pt x="12" y="86"/>
                      <a:pt x="12" y="87"/>
                    </a:cubicBezTo>
                    <a:cubicBezTo>
                      <a:pt x="13" y="87"/>
                      <a:pt x="13" y="87"/>
                      <a:pt x="13" y="88"/>
                    </a:cubicBezTo>
                    <a:cubicBezTo>
                      <a:pt x="13" y="89"/>
                      <a:pt x="14" y="90"/>
                      <a:pt x="14" y="90"/>
                    </a:cubicBezTo>
                    <a:cubicBezTo>
                      <a:pt x="14" y="91"/>
                      <a:pt x="14" y="90"/>
                      <a:pt x="14" y="91"/>
                    </a:cubicBezTo>
                    <a:cubicBezTo>
                      <a:pt x="13" y="92"/>
                      <a:pt x="14" y="93"/>
                      <a:pt x="14" y="93"/>
                    </a:cubicBezTo>
                    <a:cubicBezTo>
                      <a:pt x="15" y="93"/>
                      <a:pt x="16" y="92"/>
                      <a:pt x="16" y="92"/>
                    </a:cubicBezTo>
                    <a:cubicBezTo>
                      <a:pt x="16" y="92"/>
                      <a:pt x="17" y="93"/>
                      <a:pt x="17" y="94"/>
                    </a:cubicBezTo>
                    <a:cubicBezTo>
                      <a:pt x="17" y="94"/>
                      <a:pt x="17" y="95"/>
                      <a:pt x="18" y="95"/>
                    </a:cubicBezTo>
                    <a:cubicBezTo>
                      <a:pt x="18" y="95"/>
                      <a:pt x="19" y="94"/>
                      <a:pt x="19" y="95"/>
                    </a:cubicBezTo>
                    <a:cubicBezTo>
                      <a:pt x="20" y="96"/>
                      <a:pt x="20" y="97"/>
                      <a:pt x="21" y="97"/>
                    </a:cubicBezTo>
                    <a:cubicBezTo>
                      <a:pt x="21" y="98"/>
                      <a:pt x="21" y="98"/>
                      <a:pt x="22" y="98"/>
                    </a:cubicBezTo>
                    <a:cubicBezTo>
                      <a:pt x="23" y="98"/>
                      <a:pt x="23" y="98"/>
                      <a:pt x="24" y="98"/>
                    </a:cubicBezTo>
                    <a:cubicBezTo>
                      <a:pt x="24" y="99"/>
                      <a:pt x="24" y="99"/>
                      <a:pt x="25" y="98"/>
                    </a:cubicBezTo>
                    <a:cubicBezTo>
                      <a:pt x="26" y="98"/>
                      <a:pt x="26" y="98"/>
                      <a:pt x="27" y="97"/>
                    </a:cubicBezTo>
                    <a:cubicBezTo>
                      <a:pt x="27" y="97"/>
                      <a:pt x="27" y="96"/>
                      <a:pt x="28" y="96"/>
                    </a:cubicBezTo>
                    <a:cubicBezTo>
                      <a:pt x="29" y="96"/>
                      <a:pt x="30" y="96"/>
                      <a:pt x="30" y="96"/>
                    </a:cubicBezTo>
                    <a:cubicBezTo>
                      <a:pt x="30" y="96"/>
                      <a:pt x="30" y="95"/>
                      <a:pt x="31" y="95"/>
                    </a:cubicBezTo>
                    <a:cubicBezTo>
                      <a:pt x="31" y="95"/>
                      <a:pt x="31" y="95"/>
                      <a:pt x="31" y="95"/>
                    </a:cubicBezTo>
                    <a:cubicBezTo>
                      <a:pt x="32" y="95"/>
                      <a:pt x="33" y="95"/>
                      <a:pt x="34" y="95"/>
                    </a:cubicBezTo>
                    <a:cubicBezTo>
                      <a:pt x="34" y="95"/>
                      <a:pt x="33" y="95"/>
                      <a:pt x="34" y="95"/>
                    </a:cubicBezTo>
                    <a:cubicBezTo>
                      <a:pt x="36" y="95"/>
                      <a:pt x="35" y="96"/>
                      <a:pt x="37" y="95"/>
                    </a:cubicBezTo>
                    <a:cubicBezTo>
                      <a:pt x="37" y="94"/>
                      <a:pt x="37" y="94"/>
                      <a:pt x="38" y="94"/>
                    </a:cubicBezTo>
                    <a:cubicBezTo>
                      <a:pt x="38" y="94"/>
                      <a:pt x="38" y="94"/>
                      <a:pt x="38" y="94"/>
                    </a:cubicBezTo>
                    <a:cubicBezTo>
                      <a:pt x="38" y="93"/>
                      <a:pt x="39" y="94"/>
                      <a:pt x="39" y="93"/>
                    </a:cubicBezTo>
                    <a:cubicBezTo>
                      <a:pt x="39" y="93"/>
                      <a:pt x="39" y="93"/>
                      <a:pt x="40" y="92"/>
                    </a:cubicBezTo>
                    <a:cubicBezTo>
                      <a:pt x="40" y="92"/>
                      <a:pt x="40" y="92"/>
                      <a:pt x="41" y="92"/>
                    </a:cubicBezTo>
                    <a:cubicBezTo>
                      <a:pt x="42" y="92"/>
                      <a:pt x="44" y="92"/>
                      <a:pt x="46" y="92"/>
                    </a:cubicBezTo>
                    <a:cubicBezTo>
                      <a:pt x="46" y="92"/>
                      <a:pt x="47" y="92"/>
                      <a:pt x="47" y="93"/>
                    </a:cubicBezTo>
                    <a:cubicBezTo>
                      <a:pt x="47" y="93"/>
                      <a:pt x="48" y="92"/>
                      <a:pt x="48" y="92"/>
                    </a:cubicBezTo>
                    <a:cubicBezTo>
                      <a:pt x="49" y="92"/>
                      <a:pt x="49" y="92"/>
                      <a:pt x="50" y="92"/>
                    </a:cubicBezTo>
                    <a:cubicBezTo>
                      <a:pt x="51" y="92"/>
                      <a:pt x="53" y="92"/>
                      <a:pt x="54" y="93"/>
                    </a:cubicBezTo>
                    <a:cubicBezTo>
                      <a:pt x="55" y="93"/>
                      <a:pt x="56" y="94"/>
                      <a:pt x="57" y="94"/>
                    </a:cubicBezTo>
                    <a:cubicBezTo>
                      <a:pt x="57" y="93"/>
                      <a:pt x="58" y="92"/>
                      <a:pt x="59" y="92"/>
                    </a:cubicBezTo>
                    <a:cubicBezTo>
                      <a:pt x="59" y="92"/>
                      <a:pt x="60" y="92"/>
                      <a:pt x="61" y="92"/>
                    </a:cubicBezTo>
                    <a:cubicBezTo>
                      <a:pt x="61" y="92"/>
                      <a:pt x="62" y="92"/>
                      <a:pt x="62" y="92"/>
                    </a:cubicBezTo>
                    <a:cubicBezTo>
                      <a:pt x="63" y="92"/>
                      <a:pt x="63" y="91"/>
                      <a:pt x="63" y="91"/>
                    </a:cubicBezTo>
                    <a:cubicBezTo>
                      <a:pt x="63" y="90"/>
                      <a:pt x="64" y="89"/>
                      <a:pt x="65" y="89"/>
                    </a:cubicBezTo>
                    <a:cubicBezTo>
                      <a:pt x="66" y="89"/>
                      <a:pt x="66" y="89"/>
                      <a:pt x="66" y="89"/>
                    </a:cubicBezTo>
                    <a:cubicBezTo>
                      <a:pt x="66" y="90"/>
                      <a:pt x="66" y="90"/>
                      <a:pt x="66" y="90"/>
                    </a:cubicBezTo>
                    <a:cubicBezTo>
                      <a:pt x="67" y="90"/>
                      <a:pt x="68" y="90"/>
                      <a:pt x="69" y="90"/>
                    </a:cubicBezTo>
                    <a:cubicBezTo>
                      <a:pt x="69" y="90"/>
                      <a:pt x="70" y="90"/>
                      <a:pt x="71" y="89"/>
                    </a:cubicBezTo>
                    <a:cubicBezTo>
                      <a:pt x="72" y="88"/>
                      <a:pt x="73" y="88"/>
                      <a:pt x="73" y="87"/>
                    </a:cubicBezTo>
                    <a:cubicBezTo>
                      <a:pt x="74" y="87"/>
                      <a:pt x="74" y="87"/>
                      <a:pt x="74" y="87"/>
                    </a:cubicBezTo>
                    <a:cubicBezTo>
                      <a:pt x="75" y="87"/>
                      <a:pt x="76" y="86"/>
                      <a:pt x="76" y="86"/>
                    </a:cubicBezTo>
                    <a:cubicBezTo>
                      <a:pt x="77" y="85"/>
                      <a:pt x="78" y="84"/>
                      <a:pt x="78" y="84"/>
                    </a:cubicBezTo>
                    <a:cubicBezTo>
                      <a:pt x="82" y="81"/>
                      <a:pt x="82" y="81"/>
                      <a:pt x="82" y="81"/>
                    </a:cubicBezTo>
                    <a:cubicBezTo>
                      <a:pt x="85" y="78"/>
                      <a:pt x="90" y="71"/>
                      <a:pt x="90" y="71"/>
                    </a:cubicBezTo>
                    <a:cubicBezTo>
                      <a:pt x="90" y="71"/>
                      <a:pt x="92" y="70"/>
                      <a:pt x="92" y="69"/>
                    </a:cubicBezTo>
                    <a:cubicBezTo>
                      <a:pt x="95" y="67"/>
                      <a:pt x="96" y="64"/>
                      <a:pt x="98" y="61"/>
                    </a:cubicBezTo>
                    <a:cubicBezTo>
                      <a:pt x="99" y="59"/>
                      <a:pt x="102" y="54"/>
                      <a:pt x="103" y="53"/>
                    </a:cubicBezTo>
                    <a:cubicBezTo>
                      <a:pt x="103" y="52"/>
                      <a:pt x="104" y="52"/>
                      <a:pt x="106" y="51"/>
                    </a:cubicBezTo>
                    <a:cubicBezTo>
                      <a:pt x="107" y="51"/>
                      <a:pt x="108" y="49"/>
                      <a:pt x="109" y="48"/>
                    </a:cubicBezTo>
                    <a:cubicBezTo>
                      <a:pt x="109" y="47"/>
                      <a:pt x="110" y="47"/>
                      <a:pt x="110" y="46"/>
                    </a:cubicBezTo>
                    <a:cubicBezTo>
                      <a:pt x="110" y="46"/>
                      <a:pt x="111" y="45"/>
                      <a:pt x="110" y="44"/>
                    </a:cubicBezTo>
                    <a:cubicBezTo>
                      <a:pt x="110" y="44"/>
                      <a:pt x="111" y="43"/>
                      <a:pt x="111" y="42"/>
                    </a:cubicBezTo>
                    <a:cubicBezTo>
                      <a:pt x="111" y="41"/>
                      <a:pt x="111" y="40"/>
                      <a:pt x="111" y="39"/>
                    </a:cubicBezTo>
                    <a:cubicBezTo>
                      <a:pt x="112" y="38"/>
                      <a:pt x="112" y="37"/>
                      <a:pt x="112" y="35"/>
                    </a:cubicBezTo>
                    <a:close/>
                    <a:moveTo>
                      <a:pt x="88" y="55"/>
                    </a:moveTo>
                    <a:cubicBezTo>
                      <a:pt x="86" y="57"/>
                      <a:pt x="86" y="57"/>
                      <a:pt x="86" y="57"/>
                    </a:cubicBezTo>
                    <a:cubicBezTo>
                      <a:pt x="86" y="59"/>
                      <a:pt x="86" y="59"/>
                      <a:pt x="86" y="59"/>
                    </a:cubicBezTo>
                    <a:cubicBezTo>
                      <a:pt x="81" y="61"/>
                      <a:pt x="81" y="61"/>
                      <a:pt x="81" y="61"/>
                    </a:cubicBezTo>
                    <a:cubicBezTo>
                      <a:pt x="79" y="65"/>
                      <a:pt x="79" y="65"/>
                      <a:pt x="79" y="65"/>
                    </a:cubicBezTo>
                    <a:cubicBezTo>
                      <a:pt x="77" y="64"/>
                      <a:pt x="77" y="64"/>
                      <a:pt x="77" y="64"/>
                    </a:cubicBezTo>
                    <a:cubicBezTo>
                      <a:pt x="74" y="62"/>
                      <a:pt x="74" y="62"/>
                      <a:pt x="74" y="62"/>
                    </a:cubicBezTo>
                    <a:cubicBezTo>
                      <a:pt x="74" y="60"/>
                      <a:pt x="74" y="60"/>
                      <a:pt x="74" y="60"/>
                    </a:cubicBezTo>
                    <a:cubicBezTo>
                      <a:pt x="72" y="56"/>
                      <a:pt x="72" y="56"/>
                      <a:pt x="72" y="56"/>
                    </a:cubicBezTo>
                    <a:cubicBezTo>
                      <a:pt x="74" y="55"/>
                      <a:pt x="74" y="55"/>
                      <a:pt x="74" y="55"/>
                    </a:cubicBezTo>
                    <a:cubicBezTo>
                      <a:pt x="76" y="52"/>
                      <a:pt x="76" y="52"/>
                      <a:pt x="76" y="52"/>
                    </a:cubicBezTo>
                    <a:cubicBezTo>
                      <a:pt x="77" y="51"/>
                      <a:pt x="77" y="51"/>
                      <a:pt x="77" y="51"/>
                    </a:cubicBezTo>
                    <a:cubicBezTo>
                      <a:pt x="79" y="51"/>
                      <a:pt x="79" y="51"/>
                      <a:pt x="79" y="51"/>
                    </a:cubicBezTo>
                    <a:cubicBezTo>
                      <a:pt x="80" y="49"/>
                      <a:pt x="80" y="49"/>
                      <a:pt x="80" y="49"/>
                    </a:cubicBezTo>
                    <a:cubicBezTo>
                      <a:pt x="83" y="48"/>
                      <a:pt x="83" y="48"/>
                      <a:pt x="83" y="48"/>
                    </a:cubicBezTo>
                    <a:cubicBezTo>
                      <a:pt x="84" y="50"/>
                      <a:pt x="84" y="50"/>
                      <a:pt x="84" y="50"/>
                    </a:cubicBezTo>
                    <a:cubicBezTo>
                      <a:pt x="88" y="53"/>
                      <a:pt x="88" y="53"/>
                      <a:pt x="88" y="53"/>
                    </a:cubicBezTo>
                    <a:lnTo>
                      <a:pt x="88" y="5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9" name="Freeform 888">
                <a:extLst>
                  <a:ext uri="{FF2B5EF4-FFF2-40B4-BE49-F238E27FC236}">
                    <a16:creationId xmlns:a16="http://schemas.microsoft.com/office/drawing/2014/main" id="{B9927FF3-A3B7-E286-5CF1-34816E649AB0}"/>
                  </a:ext>
                </a:extLst>
              </p:cNvPr>
              <p:cNvSpPr>
                <a:spLocks/>
              </p:cNvSpPr>
              <p:nvPr/>
            </p:nvSpPr>
            <p:spPr bwMode="auto">
              <a:xfrm>
                <a:off x="6532563" y="4549775"/>
                <a:ext cx="292100" cy="387350"/>
              </a:xfrm>
              <a:custGeom>
                <a:avLst/>
                <a:gdLst>
                  <a:gd name="T0" fmla="*/ 68 w 70"/>
                  <a:gd name="T1" fmla="*/ 1 h 93"/>
                  <a:gd name="T2" fmla="*/ 67 w 70"/>
                  <a:gd name="T3" fmla="*/ 1 h 93"/>
                  <a:gd name="T4" fmla="*/ 65 w 70"/>
                  <a:gd name="T5" fmla="*/ 2 h 93"/>
                  <a:gd name="T6" fmla="*/ 61 w 70"/>
                  <a:gd name="T7" fmla="*/ 4 h 93"/>
                  <a:gd name="T8" fmla="*/ 59 w 70"/>
                  <a:gd name="T9" fmla="*/ 4 h 93"/>
                  <a:gd name="T10" fmla="*/ 53 w 70"/>
                  <a:gd name="T11" fmla="*/ 5 h 93"/>
                  <a:gd name="T12" fmla="*/ 51 w 70"/>
                  <a:gd name="T13" fmla="*/ 5 h 93"/>
                  <a:gd name="T14" fmla="*/ 45 w 70"/>
                  <a:gd name="T15" fmla="*/ 6 h 93"/>
                  <a:gd name="T16" fmla="*/ 41 w 70"/>
                  <a:gd name="T17" fmla="*/ 8 h 93"/>
                  <a:gd name="T18" fmla="*/ 36 w 70"/>
                  <a:gd name="T19" fmla="*/ 9 h 93"/>
                  <a:gd name="T20" fmla="*/ 31 w 70"/>
                  <a:gd name="T21" fmla="*/ 9 h 93"/>
                  <a:gd name="T22" fmla="*/ 26 w 70"/>
                  <a:gd name="T23" fmla="*/ 12 h 93"/>
                  <a:gd name="T24" fmla="*/ 18 w 70"/>
                  <a:gd name="T25" fmla="*/ 7 h 93"/>
                  <a:gd name="T26" fmla="*/ 15 w 70"/>
                  <a:gd name="T27" fmla="*/ 4 h 93"/>
                  <a:gd name="T28" fmla="*/ 15 w 70"/>
                  <a:gd name="T29" fmla="*/ 4 h 93"/>
                  <a:gd name="T30" fmla="*/ 11 w 70"/>
                  <a:gd name="T31" fmla="*/ 9 h 93"/>
                  <a:gd name="T32" fmla="*/ 17 w 70"/>
                  <a:gd name="T33" fmla="*/ 18 h 93"/>
                  <a:gd name="T34" fmla="*/ 20 w 70"/>
                  <a:gd name="T35" fmla="*/ 20 h 93"/>
                  <a:gd name="T36" fmla="*/ 40 w 70"/>
                  <a:gd name="T37" fmla="*/ 27 h 93"/>
                  <a:gd name="T38" fmla="*/ 47 w 70"/>
                  <a:gd name="T39" fmla="*/ 27 h 93"/>
                  <a:gd name="T40" fmla="*/ 27 w 70"/>
                  <a:gd name="T41" fmla="*/ 48 h 93"/>
                  <a:gd name="T42" fmla="*/ 20 w 70"/>
                  <a:gd name="T43" fmla="*/ 48 h 93"/>
                  <a:gd name="T44" fmla="*/ 14 w 70"/>
                  <a:gd name="T45" fmla="*/ 50 h 93"/>
                  <a:gd name="T46" fmla="*/ 12 w 70"/>
                  <a:gd name="T47" fmla="*/ 53 h 93"/>
                  <a:gd name="T48" fmla="*/ 7 w 70"/>
                  <a:gd name="T49" fmla="*/ 53 h 93"/>
                  <a:gd name="T50" fmla="*/ 6 w 70"/>
                  <a:gd name="T51" fmla="*/ 55 h 93"/>
                  <a:gd name="T52" fmla="*/ 0 w 70"/>
                  <a:gd name="T53" fmla="*/ 63 h 93"/>
                  <a:gd name="T54" fmla="*/ 0 w 70"/>
                  <a:gd name="T55" fmla="*/ 87 h 93"/>
                  <a:gd name="T56" fmla="*/ 4 w 70"/>
                  <a:gd name="T57" fmla="*/ 93 h 93"/>
                  <a:gd name="T58" fmla="*/ 8 w 70"/>
                  <a:gd name="T59" fmla="*/ 88 h 93"/>
                  <a:gd name="T60" fmla="*/ 12 w 70"/>
                  <a:gd name="T61" fmla="*/ 84 h 93"/>
                  <a:gd name="T62" fmla="*/ 24 w 70"/>
                  <a:gd name="T63" fmla="*/ 72 h 93"/>
                  <a:gd name="T64" fmla="*/ 24 w 70"/>
                  <a:gd name="T65" fmla="*/ 72 h 93"/>
                  <a:gd name="T66" fmla="*/ 33 w 70"/>
                  <a:gd name="T67" fmla="*/ 67 h 93"/>
                  <a:gd name="T68" fmla="*/ 33 w 70"/>
                  <a:gd name="T69" fmla="*/ 66 h 93"/>
                  <a:gd name="T70" fmla="*/ 33 w 70"/>
                  <a:gd name="T71" fmla="*/ 67 h 93"/>
                  <a:gd name="T72" fmla="*/ 36 w 70"/>
                  <a:gd name="T73" fmla="*/ 64 h 93"/>
                  <a:gd name="T74" fmla="*/ 44 w 70"/>
                  <a:gd name="T75" fmla="*/ 56 h 93"/>
                  <a:gd name="T76" fmla="*/ 51 w 70"/>
                  <a:gd name="T77" fmla="*/ 47 h 93"/>
                  <a:gd name="T78" fmla="*/ 56 w 70"/>
                  <a:gd name="T79" fmla="*/ 38 h 93"/>
                  <a:gd name="T80" fmla="*/ 57 w 70"/>
                  <a:gd name="T81" fmla="*/ 36 h 93"/>
                  <a:gd name="T82" fmla="*/ 60 w 70"/>
                  <a:gd name="T83" fmla="*/ 31 h 93"/>
                  <a:gd name="T84" fmla="*/ 60 w 70"/>
                  <a:gd name="T85" fmla="*/ 28 h 93"/>
                  <a:gd name="T86" fmla="*/ 64 w 70"/>
                  <a:gd name="T87" fmla="*/ 22 h 93"/>
                  <a:gd name="T88" fmla="*/ 67 w 70"/>
                  <a:gd name="T89" fmla="*/ 13 h 93"/>
                  <a:gd name="T90" fmla="*/ 68 w 70"/>
                  <a:gd name="T91" fmla="*/ 12 h 93"/>
                  <a:gd name="T92" fmla="*/ 69 w 70"/>
                  <a:gd name="T93" fmla="*/ 9 h 93"/>
                  <a:gd name="T94" fmla="*/ 69 w 70"/>
                  <a:gd name="T95" fmla="*/ 4 h 93"/>
                  <a:gd name="T96" fmla="*/ 68 w 70"/>
                  <a:gd name="T9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93">
                    <a:moveTo>
                      <a:pt x="68" y="1"/>
                    </a:moveTo>
                    <a:cubicBezTo>
                      <a:pt x="68" y="1"/>
                      <a:pt x="68" y="1"/>
                      <a:pt x="67" y="1"/>
                    </a:cubicBezTo>
                    <a:cubicBezTo>
                      <a:pt x="66" y="0"/>
                      <a:pt x="66" y="1"/>
                      <a:pt x="65" y="2"/>
                    </a:cubicBezTo>
                    <a:cubicBezTo>
                      <a:pt x="64" y="3"/>
                      <a:pt x="63" y="4"/>
                      <a:pt x="61" y="4"/>
                    </a:cubicBezTo>
                    <a:cubicBezTo>
                      <a:pt x="60" y="4"/>
                      <a:pt x="60" y="4"/>
                      <a:pt x="59" y="4"/>
                    </a:cubicBezTo>
                    <a:cubicBezTo>
                      <a:pt x="57" y="4"/>
                      <a:pt x="55" y="6"/>
                      <a:pt x="53" y="5"/>
                    </a:cubicBezTo>
                    <a:cubicBezTo>
                      <a:pt x="52" y="5"/>
                      <a:pt x="51" y="5"/>
                      <a:pt x="51" y="5"/>
                    </a:cubicBezTo>
                    <a:cubicBezTo>
                      <a:pt x="49" y="7"/>
                      <a:pt x="47" y="6"/>
                      <a:pt x="45" y="6"/>
                    </a:cubicBezTo>
                    <a:cubicBezTo>
                      <a:pt x="43" y="6"/>
                      <a:pt x="42" y="7"/>
                      <a:pt x="41" y="8"/>
                    </a:cubicBezTo>
                    <a:cubicBezTo>
                      <a:pt x="39" y="9"/>
                      <a:pt x="38" y="10"/>
                      <a:pt x="36" y="9"/>
                    </a:cubicBezTo>
                    <a:cubicBezTo>
                      <a:pt x="34" y="8"/>
                      <a:pt x="33" y="8"/>
                      <a:pt x="31" y="9"/>
                    </a:cubicBezTo>
                    <a:cubicBezTo>
                      <a:pt x="30" y="11"/>
                      <a:pt x="28" y="11"/>
                      <a:pt x="26" y="12"/>
                    </a:cubicBezTo>
                    <a:cubicBezTo>
                      <a:pt x="22" y="12"/>
                      <a:pt x="20" y="9"/>
                      <a:pt x="18" y="7"/>
                    </a:cubicBezTo>
                    <a:cubicBezTo>
                      <a:pt x="17" y="6"/>
                      <a:pt x="17" y="4"/>
                      <a:pt x="15" y="4"/>
                    </a:cubicBezTo>
                    <a:cubicBezTo>
                      <a:pt x="15" y="4"/>
                      <a:pt x="15" y="4"/>
                      <a:pt x="15" y="4"/>
                    </a:cubicBezTo>
                    <a:cubicBezTo>
                      <a:pt x="11" y="9"/>
                      <a:pt x="11" y="9"/>
                      <a:pt x="11" y="9"/>
                    </a:cubicBezTo>
                    <a:cubicBezTo>
                      <a:pt x="17" y="18"/>
                      <a:pt x="17" y="18"/>
                      <a:pt x="17" y="18"/>
                    </a:cubicBezTo>
                    <a:cubicBezTo>
                      <a:pt x="20" y="20"/>
                      <a:pt x="20" y="20"/>
                      <a:pt x="20" y="20"/>
                    </a:cubicBezTo>
                    <a:cubicBezTo>
                      <a:pt x="40" y="27"/>
                      <a:pt x="40" y="27"/>
                      <a:pt x="40" y="27"/>
                    </a:cubicBezTo>
                    <a:cubicBezTo>
                      <a:pt x="47" y="27"/>
                      <a:pt x="47" y="27"/>
                      <a:pt x="47" y="27"/>
                    </a:cubicBezTo>
                    <a:cubicBezTo>
                      <a:pt x="27" y="48"/>
                      <a:pt x="27" y="48"/>
                      <a:pt x="27" y="48"/>
                    </a:cubicBezTo>
                    <a:cubicBezTo>
                      <a:pt x="20" y="48"/>
                      <a:pt x="20" y="48"/>
                      <a:pt x="20" y="48"/>
                    </a:cubicBezTo>
                    <a:cubicBezTo>
                      <a:pt x="14" y="50"/>
                      <a:pt x="14" y="50"/>
                      <a:pt x="14" y="50"/>
                    </a:cubicBezTo>
                    <a:cubicBezTo>
                      <a:pt x="12" y="53"/>
                      <a:pt x="12" y="53"/>
                      <a:pt x="12" y="53"/>
                    </a:cubicBezTo>
                    <a:cubicBezTo>
                      <a:pt x="7" y="53"/>
                      <a:pt x="7" y="53"/>
                      <a:pt x="7" y="53"/>
                    </a:cubicBezTo>
                    <a:cubicBezTo>
                      <a:pt x="6" y="55"/>
                      <a:pt x="6" y="55"/>
                      <a:pt x="6" y="55"/>
                    </a:cubicBezTo>
                    <a:cubicBezTo>
                      <a:pt x="0" y="63"/>
                      <a:pt x="0" y="63"/>
                      <a:pt x="0" y="63"/>
                    </a:cubicBezTo>
                    <a:cubicBezTo>
                      <a:pt x="0" y="87"/>
                      <a:pt x="0" y="87"/>
                      <a:pt x="0" y="87"/>
                    </a:cubicBezTo>
                    <a:cubicBezTo>
                      <a:pt x="4" y="93"/>
                      <a:pt x="4" y="93"/>
                      <a:pt x="4" y="93"/>
                    </a:cubicBezTo>
                    <a:cubicBezTo>
                      <a:pt x="5" y="92"/>
                      <a:pt x="7" y="90"/>
                      <a:pt x="8" y="88"/>
                    </a:cubicBezTo>
                    <a:cubicBezTo>
                      <a:pt x="9" y="87"/>
                      <a:pt x="10" y="85"/>
                      <a:pt x="12" y="84"/>
                    </a:cubicBezTo>
                    <a:cubicBezTo>
                      <a:pt x="15" y="79"/>
                      <a:pt x="19" y="76"/>
                      <a:pt x="24" y="72"/>
                    </a:cubicBezTo>
                    <a:cubicBezTo>
                      <a:pt x="24" y="72"/>
                      <a:pt x="24" y="72"/>
                      <a:pt x="24" y="72"/>
                    </a:cubicBezTo>
                    <a:cubicBezTo>
                      <a:pt x="27" y="70"/>
                      <a:pt x="30" y="69"/>
                      <a:pt x="33" y="67"/>
                    </a:cubicBezTo>
                    <a:cubicBezTo>
                      <a:pt x="33" y="66"/>
                      <a:pt x="33" y="66"/>
                      <a:pt x="33" y="66"/>
                    </a:cubicBezTo>
                    <a:cubicBezTo>
                      <a:pt x="33" y="66"/>
                      <a:pt x="33" y="66"/>
                      <a:pt x="33" y="67"/>
                    </a:cubicBezTo>
                    <a:cubicBezTo>
                      <a:pt x="34" y="66"/>
                      <a:pt x="35" y="65"/>
                      <a:pt x="36" y="64"/>
                    </a:cubicBezTo>
                    <a:cubicBezTo>
                      <a:pt x="40" y="62"/>
                      <a:pt x="42" y="59"/>
                      <a:pt x="44" y="56"/>
                    </a:cubicBezTo>
                    <a:cubicBezTo>
                      <a:pt x="47" y="53"/>
                      <a:pt x="49" y="50"/>
                      <a:pt x="51" y="47"/>
                    </a:cubicBezTo>
                    <a:cubicBezTo>
                      <a:pt x="53" y="44"/>
                      <a:pt x="55" y="41"/>
                      <a:pt x="56" y="38"/>
                    </a:cubicBezTo>
                    <a:cubicBezTo>
                      <a:pt x="56" y="37"/>
                      <a:pt x="56" y="36"/>
                      <a:pt x="57" y="36"/>
                    </a:cubicBezTo>
                    <a:cubicBezTo>
                      <a:pt x="58" y="34"/>
                      <a:pt x="59" y="32"/>
                      <a:pt x="60" y="31"/>
                    </a:cubicBezTo>
                    <a:cubicBezTo>
                      <a:pt x="60" y="30"/>
                      <a:pt x="60" y="29"/>
                      <a:pt x="60" y="28"/>
                    </a:cubicBezTo>
                    <a:cubicBezTo>
                      <a:pt x="62" y="27"/>
                      <a:pt x="63" y="24"/>
                      <a:pt x="64" y="22"/>
                    </a:cubicBezTo>
                    <a:cubicBezTo>
                      <a:pt x="67" y="19"/>
                      <a:pt x="67" y="17"/>
                      <a:pt x="67" y="13"/>
                    </a:cubicBezTo>
                    <a:cubicBezTo>
                      <a:pt x="67" y="13"/>
                      <a:pt x="67" y="12"/>
                      <a:pt x="68" y="12"/>
                    </a:cubicBezTo>
                    <a:cubicBezTo>
                      <a:pt x="69" y="11"/>
                      <a:pt x="69" y="10"/>
                      <a:pt x="69" y="9"/>
                    </a:cubicBezTo>
                    <a:cubicBezTo>
                      <a:pt x="69" y="7"/>
                      <a:pt x="68" y="6"/>
                      <a:pt x="69" y="4"/>
                    </a:cubicBezTo>
                    <a:cubicBezTo>
                      <a:pt x="70" y="2"/>
                      <a:pt x="70" y="2"/>
                      <a:pt x="68"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0" name="Freeform 889">
                <a:extLst>
                  <a:ext uri="{FF2B5EF4-FFF2-40B4-BE49-F238E27FC236}">
                    <a16:creationId xmlns:a16="http://schemas.microsoft.com/office/drawing/2014/main" id="{30D660DF-CBC6-981A-1038-A45170A8C859}"/>
                  </a:ext>
                </a:extLst>
              </p:cNvPr>
              <p:cNvSpPr>
                <a:spLocks noEditPoints="1"/>
              </p:cNvSpPr>
              <p:nvPr/>
            </p:nvSpPr>
            <p:spPr bwMode="auto">
              <a:xfrm>
                <a:off x="4997450" y="4605338"/>
                <a:ext cx="87312" cy="90488"/>
              </a:xfrm>
              <a:custGeom>
                <a:avLst/>
                <a:gdLst>
                  <a:gd name="T0" fmla="*/ 5 w 21"/>
                  <a:gd name="T1" fmla="*/ 17 h 22"/>
                  <a:gd name="T2" fmla="*/ 4 w 21"/>
                  <a:gd name="T3" fmla="*/ 18 h 22"/>
                  <a:gd name="T4" fmla="*/ 5 w 21"/>
                  <a:gd name="T5" fmla="*/ 17 h 22"/>
                  <a:gd name="T6" fmla="*/ 19 w 21"/>
                  <a:gd name="T7" fmla="*/ 10 h 22"/>
                  <a:gd name="T8" fmla="*/ 19 w 21"/>
                  <a:gd name="T9" fmla="*/ 9 h 22"/>
                  <a:gd name="T10" fmla="*/ 19 w 21"/>
                  <a:gd name="T11" fmla="*/ 7 h 22"/>
                  <a:gd name="T12" fmla="*/ 14 w 21"/>
                  <a:gd name="T13" fmla="*/ 0 h 22"/>
                  <a:gd name="T14" fmla="*/ 5 w 21"/>
                  <a:gd name="T15" fmla="*/ 2 h 22"/>
                  <a:gd name="T16" fmla="*/ 4 w 21"/>
                  <a:gd name="T17" fmla="*/ 5 h 22"/>
                  <a:gd name="T18" fmla="*/ 3 w 21"/>
                  <a:gd name="T19" fmla="*/ 5 h 22"/>
                  <a:gd name="T20" fmla="*/ 2 w 21"/>
                  <a:gd name="T21" fmla="*/ 7 h 22"/>
                  <a:gd name="T22" fmla="*/ 1 w 21"/>
                  <a:gd name="T23" fmla="*/ 7 h 22"/>
                  <a:gd name="T24" fmla="*/ 0 w 21"/>
                  <a:gd name="T25" fmla="*/ 8 h 22"/>
                  <a:gd name="T26" fmla="*/ 1 w 21"/>
                  <a:gd name="T27" fmla="*/ 8 h 22"/>
                  <a:gd name="T28" fmla="*/ 1 w 21"/>
                  <a:gd name="T29" fmla="*/ 12 h 22"/>
                  <a:gd name="T30" fmla="*/ 2 w 21"/>
                  <a:gd name="T31" fmla="*/ 13 h 22"/>
                  <a:gd name="T32" fmla="*/ 4 w 21"/>
                  <a:gd name="T33" fmla="*/ 15 h 22"/>
                  <a:gd name="T34" fmla="*/ 5 w 21"/>
                  <a:gd name="T35" fmla="*/ 17 h 22"/>
                  <a:gd name="T36" fmla="*/ 6 w 21"/>
                  <a:gd name="T37" fmla="*/ 18 h 22"/>
                  <a:gd name="T38" fmla="*/ 7 w 21"/>
                  <a:gd name="T39" fmla="*/ 18 h 22"/>
                  <a:gd name="T40" fmla="*/ 7 w 21"/>
                  <a:gd name="T41" fmla="*/ 19 h 22"/>
                  <a:gd name="T42" fmla="*/ 13 w 21"/>
                  <a:gd name="T43" fmla="*/ 22 h 22"/>
                  <a:gd name="T44" fmla="*/ 15 w 21"/>
                  <a:gd name="T45" fmla="*/ 18 h 22"/>
                  <a:gd name="T46" fmla="*/ 18 w 21"/>
                  <a:gd name="T47" fmla="*/ 16 h 22"/>
                  <a:gd name="T48" fmla="*/ 19 w 21"/>
                  <a:gd name="T49" fmla="*/ 13 h 22"/>
                  <a:gd name="T50" fmla="*/ 21 w 21"/>
                  <a:gd name="T51" fmla="*/ 13 h 22"/>
                  <a:gd name="T52" fmla="*/ 21 w 21"/>
                  <a:gd name="T53" fmla="*/ 11 h 22"/>
                  <a:gd name="T54" fmla="*/ 18 w 21"/>
                  <a:gd name="T55" fmla="*/ 12 h 22"/>
                  <a:gd name="T56" fmla="*/ 19 w 21"/>
                  <a:gd name="T5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22">
                    <a:moveTo>
                      <a:pt x="5" y="17"/>
                    </a:moveTo>
                    <a:cubicBezTo>
                      <a:pt x="5" y="19"/>
                      <a:pt x="5" y="19"/>
                      <a:pt x="4" y="18"/>
                    </a:cubicBezTo>
                    <a:cubicBezTo>
                      <a:pt x="4" y="17"/>
                      <a:pt x="5" y="18"/>
                      <a:pt x="5" y="17"/>
                    </a:cubicBezTo>
                    <a:close/>
                    <a:moveTo>
                      <a:pt x="19" y="10"/>
                    </a:moveTo>
                    <a:cubicBezTo>
                      <a:pt x="19" y="9"/>
                      <a:pt x="19" y="9"/>
                      <a:pt x="19" y="9"/>
                    </a:cubicBezTo>
                    <a:cubicBezTo>
                      <a:pt x="19" y="7"/>
                      <a:pt x="19" y="7"/>
                      <a:pt x="19" y="7"/>
                    </a:cubicBezTo>
                    <a:cubicBezTo>
                      <a:pt x="14" y="0"/>
                      <a:pt x="14" y="0"/>
                      <a:pt x="14" y="0"/>
                    </a:cubicBezTo>
                    <a:cubicBezTo>
                      <a:pt x="5" y="2"/>
                      <a:pt x="5" y="2"/>
                      <a:pt x="5" y="2"/>
                    </a:cubicBezTo>
                    <a:cubicBezTo>
                      <a:pt x="4" y="5"/>
                      <a:pt x="4" y="5"/>
                      <a:pt x="4" y="5"/>
                    </a:cubicBezTo>
                    <a:cubicBezTo>
                      <a:pt x="3" y="5"/>
                      <a:pt x="3" y="5"/>
                      <a:pt x="3" y="5"/>
                    </a:cubicBezTo>
                    <a:cubicBezTo>
                      <a:pt x="2" y="7"/>
                      <a:pt x="2" y="7"/>
                      <a:pt x="2" y="7"/>
                    </a:cubicBezTo>
                    <a:cubicBezTo>
                      <a:pt x="1" y="7"/>
                      <a:pt x="1" y="7"/>
                      <a:pt x="1" y="7"/>
                    </a:cubicBezTo>
                    <a:cubicBezTo>
                      <a:pt x="1" y="7"/>
                      <a:pt x="0" y="7"/>
                      <a:pt x="0" y="8"/>
                    </a:cubicBezTo>
                    <a:cubicBezTo>
                      <a:pt x="1" y="8"/>
                      <a:pt x="1" y="8"/>
                      <a:pt x="1" y="8"/>
                    </a:cubicBezTo>
                    <a:cubicBezTo>
                      <a:pt x="1" y="9"/>
                      <a:pt x="2" y="10"/>
                      <a:pt x="1" y="12"/>
                    </a:cubicBezTo>
                    <a:cubicBezTo>
                      <a:pt x="1" y="12"/>
                      <a:pt x="1" y="13"/>
                      <a:pt x="2" y="13"/>
                    </a:cubicBezTo>
                    <a:cubicBezTo>
                      <a:pt x="3" y="13"/>
                      <a:pt x="4" y="14"/>
                      <a:pt x="4" y="15"/>
                    </a:cubicBezTo>
                    <a:cubicBezTo>
                      <a:pt x="4" y="16"/>
                      <a:pt x="4" y="17"/>
                      <a:pt x="5" y="17"/>
                    </a:cubicBezTo>
                    <a:cubicBezTo>
                      <a:pt x="6" y="17"/>
                      <a:pt x="6" y="17"/>
                      <a:pt x="6" y="18"/>
                    </a:cubicBezTo>
                    <a:cubicBezTo>
                      <a:pt x="7" y="18"/>
                      <a:pt x="8" y="18"/>
                      <a:pt x="7" y="18"/>
                    </a:cubicBezTo>
                    <a:cubicBezTo>
                      <a:pt x="7" y="19"/>
                      <a:pt x="7" y="19"/>
                      <a:pt x="7" y="19"/>
                    </a:cubicBezTo>
                    <a:cubicBezTo>
                      <a:pt x="9" y="20"/>
                      <a:pt x="11" y="21"/>
                      <a:pt x="13" y="22"/>
                    </a:cubicBezTo>
                    <a:cubicBezTo>
                      <a:pt x="15" y="18"/>
                      <a:pt x="15" y="18"/>
                      <a:pt x="15" y="18"/>
                    </a:cubicBezTo>
                    <a:cubicBezTo>
                      <a:pt x="18" y="16"/>
                      <a:pt x="18" y="16"/>
                      <a:pt x="18" y="16"/>
                    </a:cubicBezTo>
                    <a:cubicBezTo>
                      <a:pt x="19" y="13"/>
                      <a:pt x="19" y="13"/>
                      <a:pt x="19" y="13"/>
                    </a:cubicBezTo>
                    <a:cubicBezTo>
                      <a:pt x="21" y="13"/>
                      <a:pt x="21" y="13"/>
                      <a:pt x="21" y="13"/>
                    </a:cubicBezTo>
                    <a:cubicBezTo>
                      <a:pt x="21" y="11"/>
                      <a:pt x="21" y="11"/>
                      <a:pt x="21" y="11"/>
                    </a:cubicBezTo>
                    <a:cubicBezTo>
                      <a:pt x="18" y="12"/>
                      <a:pt x="18" y="12"/>
                      <a:pt x="18" y="12"/>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Freeform 890">
                <a:extLst>
                  <a:ext uri="{FF2B5EF4-FFF2-40B4-BE49-F238E27FC236}">
                    <a16:creationId xmlns:a16="http://schemas.microsoft.com/office/drawing/2014/main" id="{C4C7C972-243F-D40A-65C2-A686B33BA04C}"/>
                  </a:ext>
                </a:extLst>
              </p:cNvPr>
              <p:cNvSpPr>
                <a:spLocks/>
              </p:cNvSpPr>
              <p:nvPr/>
            </p:nvSpPr>
            <p:spPr bwMode="auto">
              <a:xfrm>
                <a:off x="4884738" y="4413250"/>
                <a:ext cx="169862" cy="128588"/>
              </a:xfrm>
              <a:custGeom>
                <a:avLst/>
                <a:gdLst>
                  <a:gd name="T0" fmla="*/ 40 w 41"/>
                  <a:gd name="T1" fmla="*/ 27 h 31"/>
                  <a:gd name="T2" fmla="*/ 41 w 41"/>
                  <a:gd name="T3" fmla="*/ 26 h 31"/>
                  <a:gd name="T4" fmla="*/ 39 w 41"/>
                  <a:gd name="T5" fmla="*/ 23 h 31"/>
                  <a:gd name="T6" fmla="*/ 37 w 41"/>
                  <a:gd name="T7" fmla="*/ 24 h 31"/>
                  <a:gd name="T8" fmla="*/ 36 w 41"/>
                  <a:gd name="T9" fmla="*/ 21 h 31"/>
                  <a:gd name="T10" fmla="*/ 37 w 41"/>
                  <a:gd name="T11" fmla="*/ 19 h 31"/>
                  <a:gd name="T12" fmla="*/ 36 w 41"/>
                  <a:gd name="T13" fmla="*/ 17 h 31"/>
                  <a:gd name="T14" fmla="*/ 34 w 41"/>
                  <a:gd name="T15" fmla="*/ 16 h 31"/>
                  <a:gd name="T16" fmla="*/ 34 w 41"/>
                  <a:gd name="T17" fmla="*/ 13 h 31"/>
                  <a:gd name="T18" fmla="*/ 31 w 41"/>
                  <a:gd name="T19" fmla="*/ 11 h 31"/>
                  <a:gd name="T20" fmla="*/ 30 w 41"/>
                  <a:gd name="T21" fmla="*/ 8 h 31"/>
                  <a:gd name="T22" fmla="*/ 27 w 41"/>
                  <a:gd name="T23" fmla="*/ 7 h 31"/>
                  <a:gd name="T24" fmla="*/ 27 w 41"/>
                  <a:gd name="T25" fmla="*/ 4 h 31"/>
                  <a:gd name="T26" fmla="*/ 26 w 41"/>
                  <a:gd name="T27" fmla="*/ 4 h 31"/>
                  <a:gd name="T28" fmla="*/ 23 w 41"/>
                  <a:gd name="T29" fmla="*/ 3 h 31"/>
                  <a:gd name="T30" fmla="*/ 20 w 41"/>
                  <a:gd name="T31" fmla="*/ 0 h 31"/>
                  <a:gd name="T32" fmla="*/ 16 w 41"/>
                  <a:gd name="T33" fmla="*/ 0 h 31"/>
                  <a:gd name="T34" fmla="*/ 11 w 41"/>
                  <a:gd name="T35" fmla="*/ 2 h 31"/>
                  <a:gd name="T36" fmla="*/ 7 w 41"/>
                  <a:gd name="T37" fmla="*/ 1 h 31"/>
                  <a:gd name="T38" fmla="*/ 6 w 41"/>
                  <a:gd name="T39" fmla="*/ 3 h 31"/>
                  <a:gd name="T40" fmla="*/ 6 w 41"/>
                  <a:gd name="T41" fmla="*/ 4 h 31"/>
                  <a:gd name="T42" fmla="*/ 6 w 41"/>
                  <a:gd name="T43" fmla="*/ 5 h 31"/>
                  <a:gd name="T44" fmla="*/ 3 w 41"/>
                  <a:gd name="T45" fmla="*/ 12 h 31"/>
                  <a:gd name="T46" fmla="*/ 0 w 41"/>
                  <a:gd name="T47" fmla="*/ 14 h 31"/>
                  <a:gd name="T48" fmla="*/ 4 w 41"/>
                  <a:gd name="T49" fmla="*/ 19 h 31"/>
                  <a:gd name="T50" fmla="*/ 6 w 41"/>
                  <a:gd name="T51" fmla="*/ 22 h 31"/>
                  <a:gd name="T52" fmla="*/ 12 w 41"/>
                  <a:gd name="T53" fmla="*/ 22 h 31"/>
                  <a:gd name="T54" fmla="*/ 13 w 41"/>
                  <a:gd name="T55" fmla="*/ 20 h 31"/>
                  <a:gd name="T56" fmla="*/ 15 w 41"/>
                  <a:gd name="T57" fmla="*/ 20 h 31"/>
                  <a:gd name="T58" fmla="*/ 20 w 41"/>
                  <a:gd name="T59" fmla="*/ 23 h 31"/>
                  <a:gd name="T60" fmla="*/ 23 w 41"/>
                  <a:gd name="T61" fmla="*/ 21 h 31"/>
                  <a:gd name="T62" fmla="*/ 24 w 41"/>
                  <a:gd name="T63" fmla="*/ 23 h 31"/>
                  <a:gd name="T64" fmla="*/ 20 w 41"/>
                  <a:gd name="T65" fmla="*/ 24 h 31"/>
                  <a:gd name="T66" fmla="*/ 15 w 41"/>
                  <a:gd name="T67" fmla="*/ 21 h 31"/>
                  <a:gd name="T68" fmla="*/ 14 w 41"/>
                  <a:gd name="T69" fmla="*/ 23 h 31"/>
                  <a:gd name="T70" fmla="*/ 10 w 41"/>
                  <a:gd name="T71" fmla="*/ 23 h 31"/>
                  <a:gd name="T72" fmla="*/ 10 w 41"/>
                  <a:gd name="T73" fmla="*/ 25 h 31"/>
                  <a:gd name="T74" fmla="*/ 5 w 41"/>
                  <a:gd name="T75" fmla="*/ 25 h 31"/>
                  <a:gd name="T76" fmla="*/ 4 w 41"/>
                  <a:gd name="T77" fmla="*/ 26 h 31"/>
                  <a:gd name="T78" fmla="*/ 5 w 41"/>
                  <a:gd name="T79" fmla="*/ 30 h 31"/>
                  <a:gd name="T80" fmla="*/ 11 w 41"/>
                  <a:gd name="T81" fmla="*/ 30 h 31"/>
                  <a:gd name="T82" fmla="*/ 14 w 41"/>
                  <a:gd name="T83" fmla="*/ 28 h 31"/>
                  <a:gd name="T84" fmla="*/ 25 w 41"/>
                  <a:gd name="T85" fmla="*/ 28 h 31"/>
                  <a:gd name="T86" fmla="*/ 28 w 41"/>
                  <a:gd name="T87" fmla="*/ 28 h 31"/>
                  <a:gd name="T88" fmla="*/ 29 w 41"/>
                  <a:gd name="T89" fmla="*/ 29 h 31"/>
                  <a:gd name="T90" fmla="*/ 30 w 41"/>
                  <a:gd name="T91" fmla="*/ 29 h 31"/>
                  <a:gd name="T92" fmla="*/ 34 w 41"/>
                  <a:gd name="T93" fmla="*/ 31 h 31"/>
                  <a:gd name="T94" fmla="*/ 35 w 41"/>
                  <a:gd name="T95" fmla="*/ 30 h 31"/>
                  <a:gd name="T96" fmla="*/ 40 w 41"/>
                  <a:gd name="T97" fmla="*/ 30 h 31"/>
                  <a:gd name="T98" fmla="*/ 40 w 41"/>
                  <a:gd name="T99" fmla="*/ 28 h 31"/>
                  <a:gd name="T100" fmla="*/ 40 w 41"/>
                  <a:gd name="T10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 h="31">
                    <a:moveTo>
                      <a:pt x="40" y="27"/>
                    </a:moveTo>
                    <a:cubicBezTo>
                      <a:pt x="41" y="26"/>
                      <a:pt x="41" y="26"/>
                      <a:pt x="41" y="26"/>
                    </a:cubicBezTo>
                    <a:cubicBezTo>
                      <a:pt x="39" y="23"/>
                      <a:pt x="39" y="23"/>
                      <a:pt x="39" y="23"/>
                    </a:cubicBezTo>
                    <a:cubicBezTo>
                      <a:pt x="37" y="24"/>
                      <a:pt x="37" y="24"/>
                      <a:pt x="37" y="24"/>
                    </a:cubicBezTo>
                    <a:cubicBezTo>
                      <a:pt x="36" y="21"/>
                      <a:pt x="36" y="21"/>
                      <a:pt x="36" y="21"/>
                    </a:cubicBezTo>
                    <a:cubicBezTo>
                      <a:pt x="37" y="19"/>
                      <a:pt x="37" y="19"/>
                      <a:pt x="37" y="19"/>
                    </a:cubicBezTo>
                    <a:cubicBezTo>
                      <a:pt x="36" y="17"/>
                      <a:pt x="36" y="17"/>
                      <a:pt x="36" y="17"/>
                    </a:cubicBezTo>
                    <a:cubicBezTo>
                      <a:pt x="34" y="16"/>
                      <a:pt x="34" y="16"/>
                      <a:pt x="34" y="16"/>
                    </a:cubicBezTo>
                    <a:cubicBezTo>
                      <a:pt x="34" y="13"/>
                      <a:pt x="34" y="13"/>
                      <a:pt x="34" y="13"/>
                    </a:cubicBezTo>
                    <a:cubicBezTo>
                      <a:pt x="31" y="11"/>
                      <a:pt x="31" y="11"/>
                      <a:pt x="31" y="11"/>
                    </a:cubicBezTo>
                    <a:cubicBezTo>
                      <a:pt x="30" y="8"/>
                      <a:pt x="30" y="8"/>
                      <a:pt x="30" y="8"/>
                    </a:cubicBezTo>
                    <a:cubicBezTo>
                      <a:pt x="27" y="7"/>
                      <a:pt x="27" y="7"/>
                      <a:pt x="27" y="7"/>
                    </a:cubicBezTo>
                    <a:cubicBezTo>
                      <a:pt x="27" y="4"/>
                      <a:pt x="27" y="4"/>
                      <a:pt x="27" y="4"/>
                    </a:cubicBezTo>
                    <a:cubicBezTo>
                      <a:pt x="26" y="4"/>
                      <a:pt x="26" y="4"/>
                      <a:pt x="26" y="4"/>
                    </a:cubicBezTo>
                    <a:cubicBezTo>
                      <a:pt x="23" y="3"/>
                      <a:pt x="23" y="3"/>
                      <a:pt x="23" y="3"/>
                    </a:cubicBezTo>
                    <a:cubicBezTo>
                      <a:pt x="20" y="0"/>
                      <a:pt x="20" y="0"/>
                      <a:pt x="20" y="0"/>
                    </a:cubicBezTo>
                    <a:cubicBezTo>
                      <a:pt x="16" y="0"/>
                      <a:pt x="16" y="0"/>
                      <a:pt x="16" y="0"/>
                    </a:cubicBezTo>
                    <a:cubicBezTo>
                      <a:pt x="11" y="2"/>
                      <a:pt x="11" y="2"/>
                      <a:pt x="11" y="2"/>
                    </a:cubicBezTo>
                    <a:cubicBezTo>
                      <a:pt x="7" y="1"/>
                      <a:pt x="7" y="1"/>
                      <a:pt x="7" y="1"/>
                    </a:cubicBezTo>
                    <a:cubicBezTo>
                      <a:pt x="6" y="3"/>
                      <a:pt x="6" y="3"/>
                      <a:pt x="6" y="3"/>
                    </a:cubicBezTo>
                    <a:cubicBezTo>
                      <a:pt x="6" y="3"/>
                      <a:pt x="6" y="3"/>
                      <a:pt x="6" y="4"/>
                    </a:cubicBezTo>
                    <a:cubicBezTo>
                      <a:pt x="6" y="4"/>
                      <a:pt x="6" y="5"/>
                      <a:pt x="6" y="5"/>
                    </a:cubicBezTo>
                    <a:cubicBezTo>
                      <a:pt x="6" y="8"/>
                      <a:pt x="4" y="9"/>
                      <a:pt x="3" y="12"/>
                    </a:cubicBezTo>
                    <a:cubicBezTo>
                      <a:pt x="2" y="12"/>
                      <a:pt x="1" y="13"/>
                      <a:pt x="0" y="14"/>
                    </a:cubicBezTo>
                    <a:cubicBezTo>
                      <a:pt x="2" y="15"/>
                      <a:pt x="3" y="17"/>
                      <a:pt x="4" y="19"/>
                    </a:cubicBezTo>
                    <a:cubicBezTo>
                      <a:pt x="5" y="20"/>
                      <a:pt x="5" y="21"/>
                      <a:pt x="6" y="22"/>
                    </a:cubicBezTo>
                    <a:cubicBezTo>
                      <a:pt x="12" y="22"/>
                      <a:pt x="12" y="22"/>
                      <a:pt x="12" y="22"/>
                    </a:cubicBezTo>
                    <a:cubicBezTo>
                      <a:pt x="13" y="20"/>
                      <a:pt x="13" y="20"/>
                      <a:pt x="13" y="20"/>
                    </a:cubicBezTo>
                    <a:cubicBezTo>
                      <a:pt x="15" y="20"/>
                      <a:pt x="15" y="20"/>
                      <a:pt x="15" y="20"/>
                    </a:cubicBezTo>
                    <a:cubicBezTo>
                      <a:pt x="20" y="23"/>
                      <a:pt x="20" y="23"/>
                      <a:pt x="20" y="23"/>
                    </a:cubicBezTo>
                    <a:cubicBezTo>
                      <a:pt x="23" y="21"/>
                      <a:pt x="23" y="21"/>
                      <a:pt x="23" y="21"/>
                    </a:cubicBezTo>
                    <a:cubicBezTo>
                      <a:pt x="24" y="23"/>
                      <a:pt x="24" y="23"/>
                      <a:pt x="24" y="23"/>
                    </a:cubicBezTo>
                    <a:cubicBezTo>
                      <a:pt x="20" y="24"/>
                      <a:pt x="20" y="24"/>
                      <a:pt x="20" y="24"/>
                    </a:cubicBezTo>
                    <a:cubicBezTo>
                      <a:pt x="15" y="21"/>
                      <a:pt x="15" y="21"/>
                      <a:pt x="15" y="21"/>
                    </a:cubicBezTo>
                    <a:cubicBezTo>
                      <a:pt x="14" y="23"/>
                      <a:pt x="14" y="23"/>
                      <a:pt x="14" y="23"/>
                    </a:cubicBezTo>
                    <a:cubicBezTo>
                      <a:pt x="10" y="23"/>
                      <a:pt x="10" y="23"/>
                      <a:pt x="10" y="23"/>
                    </a:cubicBezTo>
                    <a:cubicBezTo>
                      <a:pt x="10" y="25"/>
                      <a:pt x="10" y="25"/>
                      <a:pt x="10" y="25"/>
                    </a:cubicBezTo>
                    <a:cubicBezTo>
                      <a:pt x="5" y="25"/>
                      <a:pt x="5" y="25"/>
                      <a:pt x="5" y="25"/>
                    </a:cubicBezTo>
                    <a:cubicBezTo>
                      <a:pt x="4" y="25"/>
                      <a:pt x="3" y="25"/>
                      <a:pt x="4" y="26"/>
                    </a:cubicBezTo>
                    <a:cubicBezTo>
                      <a:pt x="5" y="27"/>
                      <a:pt x="5" y="29"/>
                      <a:pt x="5" y="30"/>
                    </a:cubicBezTo>
                    <a:cubicBezTo>
                      <a:pt x="11" y="30"/>
                      <a:pt x="11" y="30"/>
                      <a:pt x="11" y="30"/>
                    </a:cubicBezTo>
                    <a:cubicBezTo>
                      <a:pt x="14" y="28"/>
                      <a:pt x="14" y="28"/>
                      <a:pt x="14" y="28"/>
                    </a:cubicBezTo>
                    <a:cubicBezTo>
                      <a:pt x="25" y="28"/>
                      <a:pt x="25" y="28"/>
                      <a:pt x="25" y="28"/>
                    </a:cubicBezTo>
                    <a:cubicBezTo>
                      <a:pt x="28" y="28"/>
                      <a:pt x="28" y="28"/>
                      <a:pt x="28" y="28"/>
                    </a:cubicBezTo>
                    <a:cubicBezTo>
                      <a:pt x="29" y="29"/>
                      <a:pt x="29" y="29"/>
                      <a:pt x="29" y="29"/>
                    </a:cubicBezTo>
                    <a:cubicBezTo>
                      <a:pt x="30" y="29"/>
                      <a:pt x="30" y="29"/>
                      <a:pt x="30" y="29"/>
                    </a:cubicBezTo>
                    <a:cubicBezTo>
                      <a:pt x="34" y="31"/>
                      <a:pt x="34" y="31"/>
                      <a:pt x="34" y="31"/>
                    </a:cubicBezTo>
                    <a:cubicBezTo>
                      <a:pt x="35" y="30"/>
                      <a:pt x="35" y="30"/>
                      <a:pt x="35" y="30"/>
                    </a:cubicBezTo>
                    <a:cubicBezTo>
                      <a:pt x="40" y="30"/>
                      <a:pt x="40" y="30"/>
                      <a:pt x="40" y="30"/>
                    </a:cubicBezTo>
                    <a:cubicBezTo>
                      <a:pt x="40" y="28"/>
                      <a:pt x="40" y="28"/>
                      <a:pt x="40" y="28"/>
                    </a:cubicBezTo>
                    <a:lnTo>
                      <a:pt x="40"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2" name="Freeform 891">
                <a:extLst>
                  <a:ext uri="{FF2B5EF4-FFF2-40B4-BE49-F238E27FC236}">
                    <a16:creationId xmlns:a16="http://schemas.microsoft.com/office/drawing/2014/main" id="{72F70649-EC6D-EA20-8F99-2AEC8B162EF4}"/>
                  </a:ext>
                </a:extLst>
              </p:cNvPr>
              <p:cNvSpPr>
                <a:spLocks/>
              </p:cNvSpPr>
              <p:nvPr/>
            </p:nvSpPr>
            <p:spPr bwMode="auto">
              <a:xfrm>
                <a:off x="5559425" y="4883150"/>
                <a:ext cx="7937" cy="4763"/>
              </a:xfrm>
              <a:custGeom>
                <a:avLst/>
                <a:gdLst>
                  <a:gd name="T0" fmla="*/ 1 w 2"/>
                  <a:gd name="T1" fmla="*/ 0 h 1"/>
                  <a:gd name="T2" fmla="*/ 0 w 2"/>
                  <a:gd name="T3" fmla="*/ 1 h 1"/>
                  <a:gd name="T4" fmla="*/ 0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0" y="1"/>
                    </a:cubicBezTo>
                    <a:cubicBezTo>
                      <a:pt x="0" y="1"/>
                      <a:pt x="0" y="1"/>
                      <a:pt x="0" y="1"/>
                    </a:cubicBezTo>
                    <a:cubicBezTo>
                      <a:pt x="1" y="1"/>
                      <a:pt x="1" y="1"/>
                      <a:pt x="2" y="0"/>
                    </a:cubicBezTo>
                    <a:cubicBezTo>
                      <a:pt x="2" y="0"/>
                      <a:pt x="2"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3" name="Freeform 892">
                <a:extLst>
                  <a:ext uri="{FF2B5EF4-FFF2-40B4-BE49-F238E27FC236}">
                    <a16:creationId xmlns:a16="http://schemas.microsoft.com/office/drawing/2014/main" id="{5E00BE35-B6F2-E9F6-526A-1A0BC435D77E}"/>
                  </a:ext>
                </a:extLst>
              </p:cNvPr>
              <p:cNvSpPr>
                <a:spLocks/>
              </p:cNvSpPr>
              <p:nvPr/>
            </p:nvSpPr>
            <p:spPr bwMode="auto">
              <a:xfrm>
                <a:off x="6188075" y="4921250"/>
                <a:ext cx="57150" cy="49213"/>
              </a:xfrm>
              <a:custGeom>
                <a:avLst/>
                <a:gdLst>
                  <a:gd name="T0" fmla="*/ 15 w 36"/>
                  <a:gd name="T1" fmla="*/ 5 h 31"/>
                  <a:gd name="T2" fmla="*/ 10 w 36"/>
                  <a:gd name="T3" fmla="*/ 8 h 31"/>
                  <a:gd name="T4" fmla="*/ 5 w 36"/>
                  <a:gd name="T5" fmla="*/ 13 h 31"/>
                  <a:gd name="T6" fmla="*/ 5 w 36"/>
                  <a:gd name="T7" fmla="*/ 18 h 31"/>
                  <a:gd name="T8" fmla="*/ 0 w 36"/>
                  <a:gd name="T9" fmla="*/ 24 h 31"/>
                  <a:gd name="T10" fmla="*/ 2 w 36"/>
                  <a:gd name="T11" fmla="*/ 29 h 31"/>
                  <a:gd name="T12" fmla="*/ 2 w 36"/>
                  <a:gd name="T13" fmla="*/ 29 h 31"/>
                  <a:gd name="T14" fmla="*/ 5 w 36"/>
                  <a:gd name="T15" fmla="*/ 26 h 31"/>
                  <a:gd name="T16" fmla="*/ 10 w 36"/>
                  <a:gd name="T17" fmla="*/ 29 h 31"/>
                  <a:gd name="T18" fmla="*/ 10 w 36"/>
                  <a:gd name="T19" fmla="*/ 31 h 31"/>
                  <a:gd name="T20" fmla="*/ 15 w 36"/>
                  <a:gd name="T21" fmla="*/ 31 h 31"/>
                  <a:gd name="T22" fmla="*/ 21 w 36"/>
                  <a:gd name="T23" fmla="*/ 29 h 31"/>
                  <a:gd name="T24" fmla="*/ 21 w 36"/>
                  <a:gd name="T25" fmla="*/ 24 h 31"/>
                  <a:gd name="T26" fmla="*/ 23 w 36"/>
                  <a:gd name="T27" fmla="*/ 24 h 31"/>
                  <a:gd name="T28" fmla="*/ 28 w 36"/>
                  <a:gd name="T29" fmla="*/ 21 h 31"/>
                  <a:gd name="T30" fmla="*/ 31 w 36"/>
                  <a:gd name="T31" fmla="*/ 24 h 31"/>
                  <a:gd name="T32" fmla="*/ 34 w 36"/>
                  <a:gd name="T33" fmla="*/ 24 h 31"/>
                  <a:gd name="T34" fmla="*/ 36 w 36"/>
                  <a:gd name="T35" fmla="*/ 18 h 31"/>
                  <a:gd name="T36" fmla="*/ 36 w 36"/>
                  <a:gd name="T37" fmla="*/ 13 h 31"/>
                  <a:gd name="T38" fmla="*/ 36 w 36"/>
                  <a:gd name="T39" fmla="*/ 10 h 31"/>
                  <a:gd name="T40" fmla="*/ 28 w 36"/>
                  <a:gd name="T41" fmla="*/ 0 h 31"/>
                  <a:gd name="T42" fmla="*/ 23 w 36"/>
                  <a:gd name="T43" fmla="*/ 5 h 31"/>
                  <a:gd name="T44" fmla="*/ 15 w 36"/>
                  <a:gd name="T4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15" y="5"/>
                    </a:moveTo>
                    <a:lnTo>
                      <a:pt x="10" y="8"/>
                    </a:lnTo>
                    <a:lnTo>
                      <a:pt x="5" y="13"/>
                    </a:lnTo>
                    <a:lnTo>
                      <a:pt x="5" y="18"/>
                    </a:lnTo>
                    <a:lnTo>
                      <a:pt x="0" y="24"/>
                    </a:lnTo>
                    <a:lnTo>
                      <a:pt x="2" y="29"/>
                    </a:lnTo>
                    <a:lnTo>
                      <a:pt x="2" y="29"/>
                    </a:lnTo>
                    <a:lnTo>
                      <a:pt x="5" y="26"/>
                    </a:lnTo>
                    <a:lnTo>
                      <a:pt x="10" y="29"/>
                    </a:lnTo>
                    <a:lnTo>
                      <a:pt x="10" y="31"/>
                    </a:lnTo>
                    <a:lnTo>
                      <a:pt x="15" y="31"/>
                    </a:lnTo>
                    <a:lnTo>
                      <a:pt x="21" y="29"/>
                    </a:lnTo>
                    <a:lnTo>
                      <a:pt x="21" y="24"/>
                    </a:lnTo>
                    <a:lnTo>
                      <a:pt x="23" y="24"/>
                    </a:lnTo>
                    <a:lnTo>
                      <a:pt x="28" y="21"/>
                    </a:lnTo>
                    <a:lnTo>
                      <a:pt x="31" y="24"/>
                    </a:lnTo>
                    <a:lnTo>
                      <a:pt x="34" y="24"/>
                    </a:lnTo>
                    <a:lnTo>
                      <a:pt x="36" y="18"/>
                    </a:lnTo>
                    <a:lnTo>
                      <a:pt x="36" y="13"/>
                    </a:lnTo>
                    <a:lnTo>
                      <a:pt x="36" y="10"/>
                    </a:lnTo>
                    <a:lnTo>
                      <a:pt x="28" y="0"/>
                    </a:lnTo>
                    <a:lnTo>
                      <a:pt x="23" y="5"/>
                    </a:lnTo>
                    <a:lnTo>
                      <a:pt x="15"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4" name="Freeform 893">
                <a:extLst>
                  <a:ext uri="{FF2B5EF4-FFF2-40B4-BE49-F238E27FC236}">
                    <a16:creationId xmlns:a16="http://schemas.microsoft.com/office/drawing/2014/main" id="{51502895-20F7-3863-EBA0-7358B46A0DC2}"/>
                  </a:ext>
                </a:extLst>
              </p:cNvPr>
              <p:cNvSpPr>
                <a:spLocks/>
              </p:cNvSpPr>
              <p:nvPr/>
            </p:nvSpPr>
            <p:spPr bwMode="auto">
              <a:xfrm>
                <a:off x="5451475" y="4492625"/>
                <a:ext cx="336550" cy="277813"/>
              </a:xfrm>
              <a:custGeom>
                <a:avLst/>
                <a:gdLst>
                  <a:gd name="T0" fmla="*/ 66 w 81"/>
                  <a:gd name="T1" fmla="*/ 6 h 67"/>
                  <a:gd name="T2" fmla="*/ 54 w 81"/>
                  <a:gd name="T3" fmla="*/ 4 h 67"/>
                  <a:gd name="T4" fmla="*/ 47 w 81"/>
                  <a:gd name="T5" fmla="*/ 8 h 67"/>
                  <a:gd name="T6" fmla="*/ 35 w 81"/>
                  <a:gd name="T7" fmla="*/ 4 h 67"/>
                  <a:gd name="T8" fmla="*/ 24 w 81"/>
                  <a:gd name="T9" fmla="*/ 2 h 67"/>
                  <a:gd name="T10" fmla="*/ 17 w 81"/>
                  <a:gd name="T11" fmla="*/ 2 h 67"/>
                  <a:gd name="T12" fmla="*/ 14 w 81"/>
                  <a:gd name="T13" fmla="*/ 1 h 67"/>
                  <a:gd name="T14" fmla="*/ 9 w 81"/>
                  <a:gd name="T15" fmla="*/ 7 h 67"/>
                  <a:gd name="T16" fmla="*/ 6 w 81"/>
                  <a:gd name="T17" fmla="*/ 15 h 67"/>
                  <a:gd name="T18" fmla="*/ 5 w 81"/>
                  <a:gd name="T19" fmla="*/ 18 h 67"/>
                  <a:gd name="T20" fmla="*/ 7 w 81"/>
                  <a:gd name="T21" fmla="*/ 20 h 67"/>
                  <a:gd name="T22" fmla="*/ 7 w 81"/>
                  <a:gd name="T23" fmla="*/ 25 h 67"/>
                  <a:gd name="T24" fmla="*/ 6 w 81"/>
                  <a:gd name="T25" fmla="*/ 26 h 67"/>
                  <a:gd name="T26" fmla="*/ 4 w 81"/>
                  <a:gd name="T27" fmla="*/ 29 h 67"/>
                  <a:gd name="T28" fmla="*/ 0 w 81"/>
                  <a:gd name="T29" fmla="*/ 34 h 67"/>
                  <a:gd name="T30" fmla="*/ 0 w 81"/>
                  <a:gd name="T31" fmla="*/ 44 h 67"/>
                  <a:gd name="T32" fmla="*/ 4 w 81"/>
                  <a:gd name="T33" fmla="*/ 52 h 67"/>
                  <a:gd name="T34" fmla="*/ 7 w 81"/>
                  <a:gd name="T35" fmla="*/ 53 h 67"/>
                  <a:gd name="T36" fmla="*/ 17 w 81"/>
                  <a:gd name="T37" fmla="*/ 58 h 67"/>
                  <a:gd name="T38" fmla="*/ 22 w 81"/>
                  <a:gd name="T39" fmla="*/ 60 h 67"/>
                  <a:gd name="T40" fmla="*/ 18 w 81"/>
                  <a:gd name="T41" fmla="*/ 60 h 67"/>
                  <a:gd name="T42" fmla="*/ 22 w 81"/>
                  <a:gd name="T43" fmla="*/ 66 h 67"/>
                  <a:gd name="T44" fmla="*/ 24 w 81"/>
                  <a:gd name="T45" fmla="*/ 67 h 67"/>
                  <a:gd name="T46" fmla="*/ 25 w 81"/>
                  <a:gd name="T47" fmla="*/ 67 h 67"/>
                  <a:gd name="T48" fmla="*/ 31 w 81"/>
                  <a:gd name="T49" fmla="*/ 66 h 67"/>
                  <a:gd name="T50" fmla="*/ 36 w 81"/>
                  <a:gd name="T51" fmla="*/ 66 h 67"/>
                  <a:gd name="T52" fmla="*/ 39 w 81"/>
                  <a:gd name="T53" fmla="*/ 64 h 67"/>
                  <a:gd name="T54" fmla="*/ 41 w 81"/>
                  <a:gd name="T55" fmla="*/ 56 h 67"/>
                  <a:gd name="T56" fmla="*/ 47 w 81"/>
                  <a:gd name="T57" fmla="*/ 51 h 67"/>
                  <a:gd name="T58" fmla="*/ 50 w 81"/>
                  <a:gd name="T59" fmla="*/ 48 h 67"/>
                  <a:gd name="T60" fmla="*/ 53 w 81"/>
                  <a:gd name="T61" fmla="*/ 49 h 67"/>
                  <a:gd name="T62" fmla="*/ 56 w 81"/>
                  <a:gd name="T63" fmla="*/ 50 h 67"/>
                  <a:gd name="T64" fmla="*/ 57 w 81"/>
                  <a:gd name="T65" fmla="*/ 51 h 67"/>
                  <a:gd name="T66" fmla="*/ 60 w 81"/>
                  <a:gd name="T67" fmla="*/ 48 h 67"/>
                  <a:gd name="T68" fmla="*/ 62 w 81"/>
                  <a:gd name="T69" fmla="*/ 44 h 67"/>
                  <a:gd name="T70" fmla="*/ 65 w 81"/>
                  <a:gd name="T71" fmla="*/ 38 h 67"/>
                  <a:gd name="T72" fmla="*/ 69 w 81"/>
                  <a:gd name="T73" fmla="*/ 32 h 67"/>
                  <a:gd name="T74" fmla="*/ 71 w 81"/>
                  <a:gd name="T75" fmla="*/ 27 h 67"/>
                  <a:gd name="T76" fmla="*/ 75 w 81"/>
                  <a:gd name="T77" fmla="*/ 20 h 67"/>
                  <a:gd name="T78" fmla="*/ 78 w 81"/>
                  <a:gd name="T79" fmla="*/ 19 h 67"/>
                  <a:gd name="T80" fmla="*/ 80 w 81"/>
                  <a:gd name="T81" fmla="*/ 15 h 67"/>
                  <a:gd name="T82" fmla="*/ 81 w 81"/>
                  <a:gd name="T83" fmla="*/ 12 h 67"/>
                  <a:gd name="T84" fmla="*/ 78 w 81"/>
                  <a:gd name="T85" fmla="*/ 11 h 67"/>
                  <a:gd name="T86" fmla="*/ 74 w 81"/>
                  <a:gd name="T8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67">
                    <a:moveTo>
                      <a:pt x="69" y="3"/>
                    </a:moveTo>
                    <a:cubicBezTo>
                      <a:pt x="66" y="6"/>
                      <a:pt x="66" y="6"/>
                      <a:pt x="66" y="6"/>
                    </a:cubicBezTo>
                    <a:cubicBezTo>
                      <a:pt x="60" y="4"/>
                      <a:pt x="60" y="4"/>
                      <a:pt x="60" y="4"/>
                    </a:cubicBezTo>
                    <a:cubicBezTo>
                      <a:pt x="54" y="4"/>
                      <a:pt x="54" y="4"/>
                      <a:pt x="54" y="4"/>
                    </a:cubicBezTo>
                    <a:cubicBezTo>
                      <a:pt x="50" y="5"/>
                      <a:pt x="50" y="5"/>
                      <a:pt x="50" y="5"/>
                    </a:cubicBezTo>
                    <a:cubicBezTo>
                      <a:pt x="47" y="8"/>
                      <a:pt x="47" y="8"/>
                      <a:pt x="47" y="8"/>
                    </a:cubicBezTo>
                    <a:cubicBezTo>
                      <a:pt x="42" y="8"/>
                      <a:pt x="42" y="8"/>
                      <a:pt x="42" y="8"/>
                    </a:cubicBezTo>
                    <a:cubicBezTo>
                      <a:pt x="35" y="4"/>
                      <a:pt x="35" y="4"/>
                      <a:pt x="35" y="4"/>
                    </a:cubicBezTo>
                    <a:cubicBezTo>
                      <a:pt x="29" y="7"/>
                      <a:pt x="29" y="7"/>
                      <a:pt x="29" y="7"/>
                    </a:cubicBezTo>
                    <a:cubicBezTo>
                      <a:pt x="24" y="2"/>
                      <a:pt x="24" y="2"/>
                      <a:pt x="24" y="2"/>
                    </a:cubicBezTo>
                    <a:cubicBezTo>
                      <a:pt x="19" y="0"/>
                      <a:pt x="19" y="0"/>
                      <a:pt x="19" y="0"/>
                    </a:cubicBezTo>
                    <a:cubicBezTo>
                      <a:pt x="17" y="2"/>
                      <a:pt x="17" y="2"/>
                      <a:pt x="17" y="2"/>
                    </a:cubicBezTo>
                    <a:cubicBezTo>
                      <a:pt x="16" y="2"/>
                      <a:pt x="16" y="2"/>
                      <a:pt x="16" y="2"/>
                    </a:cubicBezTo>
                    <a:cubicBezTo>
                      <a:pt x="14" y="1"/>
                      <a:pt x="14" y="1"/>
                      <a:pt x="14" y="1"/>
                    </a:cubicBezTo>
                    <a:cubicBezTo>
                      <a:pt x="9" y="3"/>
                      <a:pt x="9" y="3"/>
                      <a:pt x="9" y="3"/>
                    </a:cubicBezTo>
                    <a:cubicBezTo>
                      <a:pt x="9" y="7"/>
                      <a:pt x="9" y="7"/>
                      <a:pt x="9" y="7"/>
                    </a:cubicBezTo>
                    <a:cubicBezTo>
                      <a:pt x="6" y="10"/>
                      <a:pt x="6" y="10"/>
                      <a:pt x="6" y="10"/>
                    </a:cubicBezTo>
                    <a:cubicBezTo>
                      <a:pt x="6" y="15"/>
                      <a:pt x="6" y="15"/>
                      <a:pt x="6" y="15"/>
                    </a:cubicBezTo>
                    <a:cubicBezTo>
                      <a:pt x="6" y="15"/>
                      <a:pt x="6" y="17"/>
                      <a:pt x="6" y="17"/>
                    </a:cubicBezTo>
                    <a:cubicBezTo>
                      <a:pt x="6" y="17"/>
                      <a:pt x="5" y="18"/>
                      <a:pt x="5" y="18"/>
                    </a:cubicBezTo>
                    <a:cubicBezTo>
                      <a:pt x="5" y="19"/>
                      <a:pt x="5" y="19"/>
                      <a:pt x="5" y="19"/>
                    </a:cubicBezTo>
                    <a:cubicBezTo>
                      <a:pt x="7" y="20"/>
                      <a:pt x="7" y="20"/>
                      <a:pt x="7" y="20"/>
                    </a:cubicBezTo>
                    <a:cubicBezTo>
                      <a:pt x="7" y="22"/>
                      <a:pt x="7" y="22"/>
                      <a:pt x="7" y="22"/>
                    </a:cubicBezTo>
                    <a:cubicBezTo>
                      <a:pt x="7" y="25"/>
                      <a:pt x="7" y="25"/>
                      <a:pt x="7" y="25"/>
                    </a:cubicBezTo>
                    <a:cubicBezTo>
                      <a:pt x="6" y="25"/>
                      <a:pt x="6" y="25"/>
                      <a:pt x="6" y="25"/>
                    </a:cubicBezTo>
                    <a:cubicBezTo>
                      <a:pt x="6" y="26"/>
                      <a:pt x="6" y="26"/>
                      <a:pt x="6" y="26"/>
                    </a:cubicBezTo>
                    <a:cubicBezTo>
                      <a:pt x="6" y="28"/>
                      <a:pt x="6" y="28"/>
                      <a:pt x="6" y="28"/>
                    </a:cubicBezTo>
                    <a:cubicBezTo>
                      <a:pt x="4" y="29"/>
                      <a:pt x="4" y="29"/>
                      <a:pt x="4" y="29"/>
                    </a:cubicBezTo>
                    <a:cubicBezTo>
                      <a:pt x="3" y="34"/>
                      <a:pt x="3" y="34"/>
                      <a:pt x="3" y="34"/>
                    </a:cubicBezTo>
                    <a:cubicBezTo>
                      <a:pt x="0" y="34"/>
                      <a:pt x="0" y="34"/>
                      <a:pt x="0" y="34"/>
                    </a:cubicBezTo>
                    <a:cubicBezTo>
                      <a:pt x="0" y="42"/>
                      <a:pt x="0" y="42"/>
                      <a:pt x="0" y="42"/>
                    </a:cubicBezTo>
                    <a:cubicBezTo>
                      <a:pt x="0" y="44"/>
                      <a:pt x="0" y="44"/>
                      <a:pt x="0" y="44"/>
                    </a:cubicBezTo>
                    <a:cubicBezTo>
                      <a:pt x="0" y="53"/>
                      <a:pt x="0" y="53"/>
                      <a:pt x="0" y="53"/>
                    </a:cubicBezTo>
                    <a:cubicBezTo>
                      <a:pt x="1" y="53"/>
                      <a:pt x="3" y="52"/>
                      <a:pt x="4" y="52"/>
                    </a:cubicBezTo>
                    <a:cubicBezTo>
                      <a:pt x="5" y="53"/>
                      <a:pt x="5" y="52"/>
                      <a:pt x="5" y="51"/>
                    </a:cubicBezTo>
                    <a:cubicBezTo>
                      <a:pt x="6" y="51"/>
                      <a:pt x="6" y="53"/>
                      <a:pt x="7" y="53"/>
                    </a:cubicBezTo>
                    <a:cubicBezTo>
                      <a:pt x="10" y="52"/>
                      <a:pt x="12" y="53"/>
                      <a:pt x="15" y="55"/>
                    </a:cubicBezTo>
                    <a:cubicBezTo>
                      <a:pt x="16" y="56"/>
                      <a:pt x="17" y="57"/>
                      <a:pt x="17" y="58"/>
                    </a:cubicBezTo>
                    <a:cubicBezTo>
                      <a:pt x="18" y="59"/>
                      <a:pt x="18" y="60"/>
                      <a:pt x="19" y="60"/>
                    </a:cubicBezTo>
                    <a:cubicBezTo>
                      <a:pt x="20" y="60"/>
                      <a:pt x="21" y="59"/>
                      <a:pt x="22" y="60"/>
                    </a:cubicBezTo>
                    <a:cubicBezTo>
                      <a:pt x="21" y="60"/>
                      <a:pt x="20" y="60"/>
                      <a:pt x="19" y="60"/>
                    </a:cubicBezTo>
                    <a:cubicBezTo>
                      <a:pt x="19" y="60"/>
                      <a:pt x="18" y="60"/>
                      <a:pt x="18" y="60"/>
                    </a:cubicBezTo>
                    <a:cubicBezTo>
                      <a:pt x="19" y="63"/>
                      <a:pt x="19" y="65"/>
                      <a:pt x="21" y="66"/>
                    </a:cubicBezTo>
                    <a:cubicBezTo>
                      <a:pt x="22" y="66"/>
                      <a:pt x="22" y="66"/>
                      <a:pt x="22" y="66"/>
                    </a:cubicBezTo>
                    <a:cubicBezTo>
                      <a:pt x="23" y="65"/>
                      <a:pt x="23" y="64"/>
                      <a:pt x="24" y="64"/>
                    </a:cubicBezTo>
                    <a:cubicBezTo>
                      <a:pt x="24" y="65"/>
                      <a:pt x="23" y="66"/>
                      <a:pt x="24" y="67"/>
                    </a:cubicBezTo>
                    <a:cubicBezTo>
                      <a:pt x="24" y="67"/>
                      <a:pt x="24" y="66"/>
                      <a:pt x="24" y="66"/>
                    </a:cubicBezTo>
                    <a:cubicBezTo>
                      <a:pt x="25" y="66"/>
                      <a:pt x="24" y="66"/>
                      <a:pt x="25" y="67"/>
                    </a:cubicBezTo>
                    <a:cubicBezTo>
                      <a:pt x="25" y="67"/>
                      <a:pt x="26" y="67"/>
                      <a:pt x="26" y="67"/>
                    </a:cubicBezTo>
                    <a:cubicBezTo>
                      <a:pt x="28" y="67"/>
                      <a:pt x="29" y="67"/>
                      <a:pt x="31" y="66"/>
                    </a:cubicBezTo>
                    <a:cubicBezTo>
                      <a:pt x="32" y="65"/>
                      <a:pt x="32" y="67"/>
                      <a:pt x="33" y="66"/>
                    </a:cubicBezTo>
                    <a:cubicBezTo>
                      <a:pt x="34" y="65"/>
                      <a:pt x="35" y="66"/>
                      <a:pt x="36" y="66"/>
                    </a:cubicBezTo>
                    <a:cubicBezTo>
                      <a:pt x="37" y="65"/>
                      <a:pt x="38" y="65"/>
                      <a:pt x="38" y="64"/>
                    </a:cubicBezTo>
                    <a:cubicBezTo>
                      <a:pt x="39" y="64"/>
                      <a:pt x="39" y="64"/>
                      <a:pt x="39" y="64"/>
                    </a:cubicBezTo>
                    <a:cubicBezTo>
                      <a:pt x="41" y="61"/>
                      <a:pt x="41" y="61"/>
                      <a:pt x="41" y="61"/>
                    </a:cubicBezTo>
                    <a:cubicBezTo>
                      <a:pt x="41" y="56"/>
                      <a:pt x="41" y="56"/>
                      <a:pt x="41" y="56"/>
                    </a:cubicBezTo>
                    <a:cubicBezTo>
                      <a:pt x="46" y="51"/>
                      <a:pt x="46" y="51"/>
                      <a:pt x="46" y="51"/>
                    </a:cubicBezTo>
                    <a:cubicBezTo>
                      <a:pt x="47" y="51"/>
                      <a:pt x="47" y="51"/>
                      <a:pt x="47" y="51"/>
                    </a:cubicBezTo>
                    <a:cubicBezTo>
                      <a:pt x="48" y="49"/>
                      <a:pt x="48" y="49"/>
                      <a:pt x="48" y="49"/>
                    </a:cubicBezTo>
                    <a:cubicBezTo>
                      <a:pt x="50" y="48"/>
                      <a:pt x="50" y="48"/>
                      <a:pt x="50" y="48"/>
                    </a:cubicBezTo>
                    <a:cubicBezTo>
                      <a:pt x="51" y="49"/>
                      <a:pt x="51" y="49"/>
                      <a:pt x="51" y="49"/>
                    </a:cubicBezTo>
                    <a:cubicBezTo>
                      <a:pt x="53" y="49"/>
                      <a:pt x="53" y="49"/>
                      <a:pt x="53" y="49"/>
                    </a:cubicBezTo>
                    <a:cubicBezTo>
                      <a:pt x="53" y="47"/>
                      <a:pt x="53" y="47"/>
                      <a:pt x="53" y="47"/>
                    </a:cubicBezTo>
                    <a:cubicBezTo>
                      <a:pt x="56" y="50"/>
                      <a:pt x="56" y="50"/>
                      <a:pt x="56" y="50"/>
                    </a:cubicBezTo>
                    <a:cubicBezTo>
                      <a:pt x="57" y="50"/>
                      <a:pt x="57" y="50"/>
                      <a:pt x="57" y="50"/>
                    </a:cubicBezTo>
                    <a:cubicBezTo>
                      <a:pt x="57" y="51"/>
                      <a:pt x="57" y="51"/>
                      <a:pt x="57" y="51"/>
                    </a:cubicBezTo>
                    <a:cubicBezTo>
                      <a:pt x="59" y="51"/>
                      <a:pt x="59" y="51"/>
                      <a:pt x="59" y="51"/>
                    </a:cubicBezTo>
                    <a:cubicBezTo>
                      <a:pt x="60" y="48"/>
                      <a:pt x="60" y="48"/>
                      <a:pt x="60" y="48"/>
                    </a:cubicBezTo>
                    <a:cubicBezTo>
                      <a:pt x="62" y="47"/>
                      <a:pt x="62" y="47"/>
                      <a:pt x="62" y="47"/>
                    </a:cubicBezTo>
                    <a:cubicBezTo>
                      <a:pt x="62" y="44"/>
                      <a:pt x="62" y="44"/>
                      <a:pt x="62" y="44"/>
                    </a:cubicBezTo>
                    <a:cubicBezTo>
                      <a:pt x="65" y="41"/>
                      <a:pt x="65" y="41"/>
                      <a:pt x="65" y="41"/>
                    </a:cubicBezTo>
                    <a:cubicBezTo>
                      <a:pt x="65" y="38"/>
                      <a:pt x="65" y="38"/>
                      <a:pt x="65" y="38"/>
                    </a:cubicBezTo>
                    <a:cubicBezTo>
                      <a:pt x="68" y="36"/>
                      <a:pt x="68" y="36"/>
                      <a:pt x="68" y="36"/>
                    </a:cubicBezTo>
                    <a:cubicBezTo>
                      <a:pt x="69" y="32"/>
                      <a:pt x="69" y="32"/>
                      <a:pt x="69" y="32"/>
                    </a:cubicBezTo>
                    <a:cubicBezTo>
                      <a:pt x="71" y="30"/>
                      <a:pt x="71" y="30"/>
                      <a:pt x="71" y="30"/>
                    </a:cubicBezTo>
                    <a:cubicBezTo>
                      <a:pt x="71" y="27"/>
                      <a:pt x="71" y="27"/>
                      <a:pt x="71" y="27"/>
                    </a:cubicBezTo>
                    <a:cubicBezTo>
                      <a:pt x="73" y="26"/>
                      <a:pt x="73" y="26"/>
                      <a:pt x="73" y="26"/>
                    </a:cubicBezTo>
                    <a:cubicBezTo>
                      <a:pt x="75" y="20"/>
                      <a:pt x="75" y="20"/>
                      <a:pt x="75" y="20"/>
                    </a:cubicBezTo>
                    <a:cubicBezTo>
                      <a:pt x="76" y="18"/>
                      <a:pt x="76" y="18"/>
                      <a:pt x="76" y="18"/>
                    </a:cubicBezTo>
                    <a:cubicBezTo>
                      <a:pt x="78" y="19"/>
                      <a:pt x="78" y="19"/>
                      <a:pt x="78" y="19"/>
                    </a:cubicBezTo>
                    <a:cubicBezTo>
                      <a:pt x="81" y="17"/>
                      <a:pt x="81" y="17"/>
                      <a:pt x="81" y="17"/>
                    </a:cubicBezTo>
                    <a:cubicBezTo>
                      <a:pt x="80" y="15"/>
                      <a:pt x="80" y="15"/>
                      <a:pt x="80" y="15"/>
                    </a:cubicBezTo>
                    <a:cubicBezTo>
                      <a:pt x="81" y="13"/>
                      <a:pt x="81" y="13"/>
                      <a:pt x="81" y="13"/>
                    </a:cubicBezTo>
                    <a:cubicBezTo>
                      <a:pt x="81" y="12"/>
                      <a:pt x="81" y="12"/>
                      <a:pt x="81" y="12"/>
                    </a:cubicBezTo>
                    <a:cubicBezTo>
                      <a:pt x="79" y="11"/>
                      <a:pt x="79" y="11"/>
                      <a:pt x="79" y="11"/>
                    </a:cubicBezTo>
                    <a:cubicBezTo>
                      <a:pt x="78" y="11"/>
                      <a:pt x="78" y="11"/>
                      <a:pt x="78" y="11"/>
                    </a:cubicBezTo>
                    <a:cubicBezTo>
                      <a:pt x="77" y="6"/>
                      <a:pt x="77" y="6"/>
                      <a:pt x="77" y="6"/>
                    </a:cubicBezTo>
                    <a:cubicBezTo>
                      <a:pt x="74" y="2"/>
                      <a:pt x="74" y="2"/>
                      <a:pt x="74" y="2"/>
                    </a:cubicBezTo>
                    <a:lnTo>
                      <a:pt x="69"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4" name="Freeform 894">
                <a:extLst>
                  <a:ext uri="{FF2B5EF4-FFF2-40B4-BE49-F238E27FC236}">
                    <a16:creationId xmlns:a16="http://schemas.microsoft.com/office/drawing/2014/main" id="{53C32652-CE64-9EA0-18C7-733E96402AD7}"/>
                  </a:ext>
                </a:extLst>
              </p:cNvPr>
              <p:cNvSpPr>
                <a:spLocks/>
              </p:cNvSpPr>
              <p:nvPr/>
            </p:nvSpPr>
            <p:spPr bwMode="auto">
              <a:xfrm>
                <a:off x="5375275" y="4205288"/>
                <a:ext cx="450850" cy="349250"/>
              </a:xfrm>
              <a:custGeom>
                <a:avLst/>
                <a:gdLst>
                  <a:gd name="T0" fmla="*/ 92 w 108"/>
                  <a:gd name="T1" fmla="*/ 65 h 84"/>
                  <a:gd name="T2" fmla="*/ 97 w 108"/>
                  <a:gd name="T3" fmla="*/ 57 h 84"/>
                  <a:gd name="T4" fmla="*/ 105 w 108"/>
                  <a:gd name="T5" fmla="*/ 49 h 84"/>
                  <a:gd name="T6" fmla="*/ 105 w 108"/>
                  <a:gd name="T7" fmla="*/ 34 h 84"/>
                  <a:gd name="T8" fmla="*/ 106 w 108"/>
                  <a:gd name="T9" fmla="*/ 26 h 84"/>
                  <a:gd name="T10" fmla="*/ 108 w 108"/>
                  <a:gd name="T11" fmla="*/ 23 h 84"/>
                  <a:gd name="T12" fmla="*/ 105 w 108"/>
                  <a:gd name="T13" fmla="*/ 22 h 84"/>
                  <a:gd name="T14" fmla="*/ 104 w 108"/>
                  <a:gd name="T15" fmla="*/ 20 h 84"/>
                  <a:gd name="T16" fmla="*/ 105 w 108"/>
                  <a:gd name="T17" fmla="*/ 19 h 84"/>
                  <a:gd name="T18" fmla="*/ 103 w 108"/>
                  <a:gd name="T19" fmla="*/ 15 h 84"/>
                  <a:gd name="T20" fmla="*/ 103 w 108"/>
                  <a:gd name="T21" fmla="*/ 11 h 84"/>
                  <a:gd name="T22" fmla="*/ 101 w 108"/>
                  <a:gd name="T23" fmla="*/ 4 h 84"/>
                  <a:gd name="T24" fmla="*/ 96 w 108"/>
                  <a:gd name="T25" fmla="*/ 7 h 84"/>
                  <a:gd name="T26" fmla="*/ 92 w 108"/>
                  <a:gd name="T27" fmla="*/ 3 h 84"/>
                  <a:gd name="T28" fmla="*/ 81 w 108"/>
                  <a:gd name="T29" fmla="*/ 0 h 84"/>
                  <a:gd name="T30" fmla="*/ 50 w 108"/>
                  <a:gd name="T31" fmla="*/ 20 h 84"/>
                  <a:gd name="T32" fmla="*/ 39 w 108"/>
                  <a:gd name="T33" fmla="*/ 30 h 84"/>
                  <a:gd name="T34" fmla="*/ 28 w 108"/>
                  <a:gd name="T35" fmla="*/ 32 h 84"/>
                  <a:gd name="T36" fmla="*/ 28 w 108"/>
                  <a:gd name="T37" fmla="*/ 52 h 84"/>
                  <a:gd name="T38" fmla="*/ 26 w 108"/>
                  <a:gd name="T39" fmla="*/ 56 h 84"/>
                  <a:gd name="T40" fmla="*/ 23 w 108"/>
                  <a:gd name="T41" fmla="*/ 59 h 84"/>
                  <a:gd name="T42" fmla="*/ 9 w 108"/>
                  <a:gd name="T43" fmla="*/ 60 h 84"/>
                  <a:gd name="T44" fmla="*/ 6 w 108"/>
                  <a:gd name="T45" fmla="*/ 62 h 84"/>
                  <a:gd name="T46" fmla="*/ 1 w 108"/>
                  <a:gd name="T47" fmla="*/ 62 h 84"/>
                  <a:gd name="T48" fmla="*/ 1 w 108"/>
                  <a:gd name="T49" fmla="*/ 64 h 84"/>
                  <a:gd name="T50" fmla="*/ 0 w 108"/>
                  <a:gd name="T51" fmla="*/ 65 h 84"/>
                  <a:gd name="T52" fmla="*/ 3 w 108"/>
                  <a:gd name="T53" fmla="*/ 70 h 84"/>
                  <a:gd name="T54" fmla="*/ 8 w 108"/>
                  <a:gd name="T55" fmla="*/ 73 h 84"/>
                  <a:gd name="T56" fmla="*/ 6 w 108"/>
                  <a:gd name="T57" fmla="*/ 73 h 84"/>
                  <a:gd name="T58" fmla="*/ 6 w 108"/>
                  <a:gd name="T59" fmla="*/ 75 h 84"/>
                  <a:gd name="T60" fmla="*/ 12 w 108"/>
                  <a:gd name="T61" fmla="*/ 78 h 84"/>
                  <a:gd name="T62" fmla="*/ 13 w 108"/>
                  <a:gd name="T63" fmla="*/ 78 h 84"/>
                  <a:gd name="T64" fmla="*/ 14 w 108"/>
                  <a:gd name="T65" fmla="*/ 78 h 84"/>
                  <a:gd name="T66" fmla="*/ 15 w 108"/>
                  <a:gd name="T67" fmla="*/ 80 h 84"/>
                  <a:gd name="T68" fmla="*/ 13 w 108"/>
                  <a:gd name="T69" fmla="*/ 80 h 84"/>
                  <a:gd name="T70" fmla="*/ 16 w 108"/>
                  <a:gd name="T71" fmla="*/ 83 h 84"/>
                  <a:gd name="T72" fmla="*/ 15 w 108"/>
                  <a:gd name="T73" fmla="*/ 81 h 84"/>
                  <a:gd name="T74" fmla="*/ 18 w 108"/>
                  <a:gd name="T75" fmla="*/ 80 h 84"/>
                  <a:gd name="T76" fmla="*/ 24 w 108"/>
                  <a:gd name="T77" fmla="*/ 84 h 84"/>
                  <a:gd name="T78" fmla="*/ 24 w 108"/>
                  <a:gd name="T79" fmla="*/ 79 h 84"/>
                  <a:gd name="T80" fmla="*/ 27 w 108"/>
                  <a:gd name="T81" fmla="*/ 76 h 84"/>
                  <a:gd name="T82" fmla="*/ 27 w 108"/>
                  <a:gd name="T83" fmla="*/ 72 h 84"/>
                  <a:gd name="T84" fmla="*/ 32 w 108"/>
                  <a:gd name="T85" fmla="*/ 70 h 84"/>
                  <a:gd name="T86" fmla="*/ 34 w 108"/>
                  <a:gd name="T87" fmla="*/ 71 h 84"/>
                  <a:gd name="T88" fmla="*/ 35 w 108"/>
                  <a:gd name="T89" fmla="*/ 71 h 84"/>
                  <a:gd name="T90" fmla="*/ 37 w 108"/>
                  <a:gd name="T91" fmla="*/ 69 h 84"/>
                  <a:gd name="T92" fmla="*/ 42 w 108"/>
                  <a:gd name="T93" fmla="*/ 71 h 84"/>
                  <a:gd name="T94" fmla="*/ 47 w 108"/>
                  <a:gd name="T95" fmla="*/ 76 h 84"/>
                  <a:gd name="T96" fmla="*/ 53 w 108"/>
                  <a:gd name="T97" fmla="*/ 73 h 84"/>
                  <a:gd name="T98" fmla="*/ 60 w 108"/>
                  <a:gd name="T99" fmla="*/ 77 h 84"/>
                  <a:gd name="T100" fmla="*/ 65 w 108"/>
                  <a:gd name="T101" fmla="*/ 77 h 84"/>
                  <a:gd name="T102" fmla="*/ 68 w 108"/>
                  <a:gd name="T103" fmla="*/ 74 h 84"/>
                  <a:gd name="T104" fmla="*/ 72 w 108"/>
                  <a:gd name="T105" fmla="*/ 73 h 84"/>
                  <a:gd name="T106" fmla="*/ 78 w 108"/>
                  <a:gd name="T107" fmla="*/ 73 h 84"/>
                  <a:gd name="T108" fmla="*/ 84 w 108"/>
                  <a:gd name="T109" fmla="*/ 75 h 84"/>
                  <a:gd name="T110" fmla="*/ 87 w 108"/>
                  <a:gd name="T111" fmla="*/ 72 h 84"/>
                  <a:gd name="T112" fmla="*/ 92 w 108"/>
                  <a:gd name="T113" fmla="*/ 71 h 84"/>
                  <a:gd name="T114" fmla="*/ 91 w 108"/>
                  <a:gd name="T115" fmla="*/ 65 h 84"/>
                  <a:gd name="T116" fmla="*/ 92 w 108"/>
                  <a:gd name="T117"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84">
                    <a:moveTo>
                      <a:pt x="92" y="65"/>
                    </a:moveTo>
                    <a:cubicBezTo>
                      <a:pt x="97" y="57"/>
                      <a:pt x="97" y="57"/>
                      <a:pt x="97" y="57"/>
                    </a:cubicBezTo>
                    <a:cubicBezTo>
                      <a:pt x="105" y="49"/>
                      <a:pt x="105" y="49"/>
                      <a:pt x="105" y="49"/>
                    </a:cubicBezTo>
                    <a:cubicBezTo>
                      <a:pt x="105" y="34"/>
                      <a:pt x="105" y="34"/>
                      <a:pt x="105" y="34"/>
                    </a:cubicBezTo>
                    <a:cubicBezTo>
                      <a:pt x="106" y="26"/>
                      <a:pt x="106" y="26"/>
                      <a:pt x="106" y="26"/>
                    </a:cubicBezTo>
                    <a:cubicBezTo>
                      <a:pt x="108" y="23"/>
                      <a:pt x="108" y="23"/>
                      <a:pt x="108" y="23"/>
                    </a:cubicBezTo>
                    <a:cubicBezTo>
                      <a:pt x="108" y="23"/>
                      <a:pt x="105" y="22"/>
                      <a:pt x="105" y="22"/>
                    </a:cubicBezTo>
                    <a:cubicBezTo>
                      <a:pt x="105" y="22"/>
                      <a:pt x="104" y="20"/>
                      <a:pt x="104" y="20"/>
                    </a:cubicBezTo>
                    <a:cubicBezTo>
                      <a:pt x="105" y="19"/>
                      <a:pt x="105" y="19"/>
                      <a:pt x="105" y="19"/>
                    </a:cubicBezTo>
                    <a:cubicBezTo>
                      <a:pt x="103" y="15"/>
                      <a:pt x="103" y="15"/>
                      <a:pt x="103" y="15"/>
                    </a:cubicBezTo>
                    <a:cubicBezTo>
                      <a:pt x="103" y="11"/>
                      <a:pt x="103" y="11"/>
                      <a:pt x="103" y="11"/>
                    </a:cubicBezTo>
                    <a:cubicBezTo>
                      <a:pt x="101" y="4"/>
                      <a:pt x="101" y="4"/>
                      <a:pt x="101" y="4"/>
                    </a:cubicBezTo>
                    <a:cubicBezTo>
                      <a:pt x="96" y="7"/>
                      <a:pt x="96" y="7"/>
                      <a:pt x="96" y="7"/>
                    </a:cubicBezTo>
                    <a:cubicBezTo>
                      <a:pt x="92" y="3"/>
                      <a:pt x="92" y="3"/>
                      <a:pt x="92" y="3"/>
                    </a:cubicBezTo>
                    <a:cubicBezTo>
                      <a:pt x="81" y="0"/>
                      <a:pt x="81" y="0"/>
                      <a:pt x="81" y="0"/>
                    </a:cubicBezTo>
                    <a:cubicBezTo>
                      <a:pt x="50" y="20"/>
                      <a:pt x="50" y="20"/>
                      <a:pt x="50" y="20"/>
                    </a:cubicBezTo>
                    <a:cubicBezTo>
                      <a:pt x="39" y="30"/>
                      <a:pt x="39" y="30"/>
                      <a:pt x="39" y="30"/>
                    </a:cubicBezTo>
                    <a:cubicBezTo>
                      <a:pt x="28" y="32"/>
                      <a:pt x="28" y="32"/>
                      <a:pt x="28" y="32"/>
                    </a:cubicBezTo>
                    <a:cubicBezTo>
                      <a:pt x="28" y="52"/>
                      <a:pt x="28" y="52"/>
                      <a:pt x="28" y="52"/>
                    </a:cubicBezTo>
                    <a:cubicBezTo>
                      <a:pt x="26" y="56"/>
                      <a:pt x="26" y="56"/>
                      <a:pt x="26" y="56"/>
                    </a:cubicBezTo>
                    <a:cubicBezTo>
                      <a:pt x="23" y="59"/>
                      <a:pt x="23" y="59"/>
                      <a:pt x="23" y="59"/>
                    </a:cubicBezTo>
                    <a:cubicBezTo>
                      <a:pt x="9" y="60"/>
                      <a:pt x="9" y="60"/>
                      <a:pt x="9" y="60"/>
                    </a:cubicBezTo>
                    <a:cubicBezTo>
                      <a:pt x="6" y="62"/>
                      <a:pt x="6" y="62"/>
                      <a:pt x="6" y="62"/>
                    </a:cubicBezTo>
                    <a:cubicBezTo>
                      <a:pt x="1" y="62"/>
                      <a:pt x="1" y="62"/>
                      <a:pt x="1" y="62"/>
                    </a:cubicBezTo>
                    <a:cubicBezTo>
                      <a:pt x="1" y="64"/>
                      <a:pt x="1" y="64"/>
                      <a:pt x="1" y="64"/>
                    </a:cubicBezTo>
                    <a:cubicBezTo>
                      <a:pt x="0" y="65"/>
                      <a:pt x="0" y="65"/>
                      <a:pt x="0" y="65"/>
                    </a:cubicBezTo>
                    <a:cubicBezTo>
                      <a:pt x="3" y="70"/>
                      <a:pt x="3" y="70"/>
                      <a:pt x="3" y="70"/>
                    </a:cubicBezTo>
                    <a:cubicBezTo>
                      <a:pt x="8" y="73"/>
                      <a:pt x="8" y="73"/>
                      <a:pt x="8" y="73"/>
                    </a:cubicBezTo>
                    <a:cubicBezTo>
                      <a:pt x="6" y="73"/>
                      <a:pt x="6" y="73"/>
                      <a:pt x="6" y="73"/>
                    </a:cubicBezTo>
                    <a:cubicBezTo>
                      <a:pt x="6" y="75"/>
                      <a:pt x="6" y="75"/>
                      <a:pt x="6" y="75"/>
                    </a:cubicBezTo>
                    <a:cubicBezTo>
                      <a:pt x="12" y="78"/>
                      <a:pt x="12" y="78"/>
                      <a:pt x="12" y="78"/>
                    </a:cubicBezTo>
                    <a:cubicBezTo>
                      <a:pt x="13" y="78"/>
                      <a:pt x="13" y="78"/>
                      <a:pt x="13" y="78"/>
                    </a:cubicBezTo>
                    <a:cubicBezTo>
                      <a:pt x="14" y="78"/>
                      <a:pt x="14" y="78"/>
                      <a:pt x="14" y="78"/>
                    </a:cubicBezTo>
                    <a:cubicBezTo>
                      <a:pt x="15" y="80"/>
                      <a:pt x="15" y="80"/>
                      <a:pt x="15" y="80"/>
                    </a:cubicBezTo>
                    <a:cubicBezTo>
                      <a:pt x="13" y="80"/>
                      <a:pt x="13" y="80"/>
                      <a:pt x="13" y="80"/>
                    </a:cubicBezTo>
                    <a:cubicBezTo>
                      <a:pt x="16" y="83"/>
                      <a:pt x="16" y="83"/>
                      <a:pt x="16" y="83"/>
                    </a:cubicBezTo>
                    <a:cubicBezTo>
                      <a:pt x="15" y="81"/>
                      <a:pt x="15" y="81"/>
                      <a:pt x="15" y="81"/>
                    </a:cubicBezTo>
                    <a:cubicBezTo>
                      <a:pt x="18" y="80"/>
                      <a:pt x="18" y="80"/>
                      <a:pt x="18" y="80"/>
                    </a:cubicBezTo>
                    <a:cubicBezTo>
                      <a:pt x="24" y="84"/>
                      <a:pt x="24" y="84"/>
                      <a:pt x="24" y="84"/>
                    </a:cubicBezTo>
                    <a:cubicBezTo>
                      <a:pt x="24" y="79"/>
                      <a:pt x="24" y="79"/>
                      <a:pt x="24" y="79"/>
                    </a:cubicBezTo>
                    <a:cubicBezTo>
                      <a:pt x="27" y="76"/>
                      <a:pt x="27" y="76"/>
                      <a:pt x="27" y="76"/>
                    </a:cubicBezTo>
                    <a:cubicBezTo>
                      <a:pt x="27" y="72"/>
                      <a:pt x="27" y="72"/>
                      <a:pt x="27" y="72"/>
                    </a:cubicBezTo>
                    <a:cubicBezTo>
                      <a:pt x="32" y="70"/>
                      <a:pt x="32" y="70"/>
                      <a:pt x="32" y="70"/>
                    </a:cubicBezTo>
                    <a:cubicBezTo>
                      <a:pt x="34" y="71"/>
                      <a:pt x="34" y="71"/>
                      <a:pt x="34" y="71"/>
                    </a:cubicBezTo>
                    <a:cubicBezTo>
                      <a:pt x="35" y="71"/>
                      <a:pt x="35" y="71"/>
                      <a:pt x="35" y="71"/>
                    </a:cubicBezTo>
                    <a:cubicBezTo>
                      <a:pt x="37" y="69"/>
                      <a:pt x="37" y="69"/>
                      <a:pt x="37" y="69"/>
                    </a:cubicBezTo>
                    <a:cubicBezTo>
                      <a:pt x="42" y="71"/>
                      <a:pt x="42" y="71"/>
                      <a:pt x="42" y="71"/>
                    </a:cubicBezTo>
                    <a:cubicBezTo>
                      <a:pt x="47" y="76"/>
                      <a:pt x="47" y="76"/>
                      <a:pt x="47" y="76"/>
                    </a:cubicBezTo>
                    <a:cubicBezTo>
                      <a:pt x="53" y="73"/>
                      <a:pt x="53" y="73"/>
                      <a:pt x="53" y="73"/>
                    </a:cubicBezTo>
                    <a:cubicBezTo>
                      <a:pt x="60" y="77"/>
                      <a:pt x="60" y="77"/>
                      <a:pt x="60" y="77"/>
                    </a:cubicBezTo>
                    <a:cubicBezTo>
                      <a:pt x="65" y="77"/>
                      <a:pt x="65" y="77"/>
                      <a:pt x="65" y="77"/>
                    </a:cubicBezTo>
                    <a:cubicBezTo>
                      <a:pt x="68" y="74"/>
                      <a:pt x="68" y="74"/>
                      <a:pt x="68" y="74"/>
                    </a:cubicBezTo>
                    <a:cubicBezTo>
                      <a:pt x="72" y="73"/>
                      <a:pt x="72" y="73"/>
                      <a:pt x="72" y="73"/>
                    </a:cubicBezTo>
                    <a:cubicBezTo>
                      <a:pt x="78" y="73"/>
                      <a:pt x="78" y="73"/>
                      <a:pt x="78" y="73"/>
                    </a:cubicBezTo>
                    <a:cubicBezTo>
                      <a:pt x="84" y="75"/>
                      <a:pt x="84" y="75"/>
                      <a:pt x="84" y="75"/>
                    </a:cubicBezTo>
                    <a:cubicBezTo>
                      <a:pt x="87" y="72"/>
                      <a:pt x="87" y="72"/>
                      <a:pt x="87" y="72"/>
                    </a:cubicBezTo>
                    <a:cubicBezTo>
                      <a:pt x="92" y="71"/>
                      <a:pt x="92" y="71"/>
                      <a:pt x="92" y="71"/>
                    </a:cubicBezTo>
                    <a:cubicBezTo>
                      <a:pt x="91" y="65"/>
                      <a:pt x="91" y="65"/>
                      <a:pt x="91" y="65"/>
                    </a:cubicBezTo>
                    <a:lnTo>
                      <a:pt x="92"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6" name="Freeform 895">
                <a:extLst>
                  <a:ext uri="{FF2B5EF4-FFF2-40B4-BE49-F238E27FC236}">
                    <a16:creationId xmlns:a16="http://schemas.microsoft.com/office/drawing/2014/main" id="{EEB54D6C-327B-D104-51A8-160741866498}"/>
                  </a:ext>
                </a:extLst>
              </p:cNvPr>
              <p:cNvSpPr>
                <a:spLocks/>
              </p:cNvSpPr>
              <p:nvPr/>
            </p:nvSpPr>
            <p:spPr bwMode="auto">
              <a:xfrm>
                <a:off x="5703888" y="5380038"/>
                <a:ext cx="384175" cy="365125"/>
              </a:xfrm>
              <a:custGeom>
                <a:avLst/>
                <a:gdLst>
                  <a:gd name="T0" fmla="*/ 35 w 92"/>
                  <a:gd name="T1" fmla="*/ 83 h 88"/>
                  <a:gd name="T2" fmla="*/ 35 w 92"/>
                  <a:gd name="T3" fmla="*/ 81 h 88"/>
                  <a:gd name="T4" fmla="*/ 36 w 92"/>
                  <a:gd name="T5" fmla="*/ 81 h 88"/>
                  <a:gd name="T6" fmla="*/ 39 w 92"/>
                  <a:gd name="T7" fmla="*/ 83 h 88"/>
                  <a:gd name="T8" fmla="*/ 39 w 92"/>
                  <a:gd name="T9" fmla="*/ 87 h 88"/>
                  <a:gd name="T10" fmla="*/ 42 w 92"/>
                  <a:gd name="T11" fmla="*/ 87 h 88"/>
                  <a:gd name="T12" fmla="*/ 44 w 92"/>
                  <a:gd name="T13" fmla="*/ 88 h 88"/>
                  <a:gd name="T14" fmla="*/ 45 w 92"/>
                  <a:gd name="T15" fmla="*/ 88 h 88"/>
                  <a:gd name="T16" fmla="*/ 47 w 92"/>
                  <a:gd name="T17" fmla="*/ 88 h 88"/>
                  <a:gd name="T18" fmla="*/ 49 w 92"/>
                  <a:gd name="T19" fmla="*/ 87 h 88"/>
                  <a:gd name="T20" fmla="*/ 51 w 92"/>
                  <a:gd name="T21" fmla="*/ 88 h 88"/>
                  <a:gd name="T22" fmla="*/ 53 w 92"/>
                  <a:gd name="T23" fmla="*/ 85 h 88"/>
                  <a:gd name="T24" fmla="*/ 56 w 92"/>
                  <a:gd name="T25" fmla="*/ 84 h 88"/>
                  <a:gd name="T26" fmla="*/ 56 w 92"/>
                  <a:gd name="T27" fmla="*/ 36 h 88"/>
                  <a:gd name="T28" fmla="*/ 63 w 92"/>
                  <a:gd name="T29" fmla="*/ 35 h 88"/>
                  <a:gd name="T30" fmla="*/ 63 w 92"/>
                  <a:gd name="T31" fmla="*/ 9 h 88"/>
                  <a:gd name="T32" fmla="*/ 79 w 92"/>
                  <a:gd name="T33" fmla="*/ 7 h 88"/>
                  <a:gd name="T34" fmla="*/ 81 w 92"/>
                  <a:gd name="T35" fmla="*/ 10 h 88"/>
                  <a:gd name="T36" fmla="*/ 85 w 92"/>
                  <a:gd name="T37" fmla="*/ 7 h 88"/>
                  <a:gd name="T38" fmla="*/ 87 w 92"/>
                  <a:gd name="T39" fmla="*/ 7 h 88"/>
                  <a:gd name="T40" fmla="*/ 87 w 92"/>
                  <a:gd name="T41" fmla="*/ 7 h 88"/>
                  <a:gd name="T42" fmla="*/ 90 w 92"/>
                  <a:gd name="T43" fmla="*/ 5 h 88"/>
                  <a:gd name="T44" fmla="*/ 92 w 92"/>
                  <a:gd name="T45" fmla="*/ 5 h 88"/>
                  <a:gd name="T46" fmla="*/ 90 w 92"/>
                  <a:gd name="T47" fmla="*/ 4 h 88"/>
                  <a:gd name="T48" fmla="*/ 85 w 92"/>
                  <a:gd name="T49" fmla="*/ 3 h 88"/>
                  <a:gd name="T50" fmla="*/ 79 w 92"/>
                  <a:gd name="T51" fmla="*/ 4 h 88"/>
                  <a:gd name="T52" fmla="*/ 64 w 92"/>
                  <a:gd name="T53" fmla="*/ 7 h 88"/>
                  <a:gd name="T54" fmla="*/ 61 w 92"/>
                  <a:gd name="T55" fmla="*/ 7 h 88"/>
                  <a:gd name="T56" fmla="*/ 58 w 92"/>
                  <a:gd name="T57" fmla="*/ 6 h 88"/>
                  <a:gd name="T58" fmla="*/ 48 w 92"/>
                  <a:gd name="T59" fmla="*/ 6 h 88"/>
                  <a:gd name="T60" fmla="*/ 45 w 92"/>
                  <a:gd name="T61" fmla="*/ 3 h 88"/>
                  <a:gd name="T62" fmla="*/ 15 w 92"/>
                  <a:gd name="T63" fmla="*/ 3 h 88"/>
                  <a:gd name="T64" fmla="*/ 11 w 92"/>
                  <a:gd name="T65" fmla="*/ 0 h 88"/>
                  <a:gd name="T66" fmla="*/ 9 w 92"/>
                  <a:gd name="T67" fmla="*/ 0 h 88"/>
                  <a:gd name="T68" fmla="*/ 5 w 92"/>
                  <a:gd name="T69" fmla="*/ 2 h 88"/>
                  <a:gd name="T70" fmla="*/ 4 w 92"/>
                  <a:gd name="T71" fmla="*/ 1 h 88"/>
                  <a:gd name="T72" fmla="*/ 2 w 92"/>
                  <a:gd name="T73" fmla="*/ 1 h 88"/>
                  <a:gd name="T74" fmla="*/ 1 w 92"/>
                  <a:gd name="T75" fmla="*/ 1 h 88"/>
                  <a:gd name="T76" fmla="*/ 1 w 92"/>
                  <a:gd name="T77" fmla="*/ 2 h 88"/>
                  <a:gd name="T78" fmla="*/ 1 w 92"/>
                  <a:gd name="T79" fmla="*/ 2 h 88"/>
                  <a:gd name="T80" fmla="*/ 1 w 92"/>
                  <a:gd name="T81" fmla="*/ 6 h 88"/>
                  <a:gd name="T82" fmla="*/ 1 w 92"/>
                  <a:gd name="T83" fmla="*/ 7 h 88"/>
                  <a:gd name="T84" fmla="*/ 1 w 92"/>
                  <a:gd name="T85" fmla="*/ 9 h 88"/>
                  <a:gd name="T86" fmla="*/ 5 w 92"/>
                  <a:gd name="T87" fmla="*/ 13 h 88"/>
                  <a:gd name="T88" fmla="*/ 8 w 92"/>
                  <a:gd name="T89" fmla="*/ 19 h 88"/>
                  <a:gd name="T90" fmla="*/ 11 w 92"/>
                  <a:gd name="T91" fmla="*/ 23 h 88"/>
                  <a:gd name="T92" fmla="*/ 11 w 92"/>
                  <a:gd name="T93" fmla="*/ 25 h 88"/>
                  <a:gd name="T94" fmla="*/ 16 w 92"/>
                  <a:gd name="T95" fmla="*/ 34 h 88"/>
                  <a:gd name="T96" fmla="*/ 18 w 92"/>
                  <a:gd name="T97" fmla="*/ 37 h 88"/>
                  <a:gd name="T98" fmla="*/ 20 w 92"/>
                  <a:gd name="T99" fmla="*/ 43 h 88"/>
                  <a:gd name="T100" fmla="*/ 20 w 92"/>
                  <a:gd name="T101" fmla="*/ 47 h 88"/>
                  <a:gd name="T102" fmla="*/ 20 w 92"/>
                  <a:gd name="T103" fmla="*/ 51 h 88"/>
                  <a:gd name="T104" fmla="*/ 19 w 92"/>
                  <a:gd name="T105" fmla="*/ 52 h 88"/>
                  <a:gd name="T106" fmla="*/ 22 w 92"/>
                  <a:gd name="T107" fmla="*/ 58 h 88"/>
                  <a:gd name="T108" fmla="*/ 22 w 92"/>
                  <a:gd name="T109" fmla="*/ 60 h 88"/>
                  <a:gd name="T110" fmla="*/ 22 w 92"/>
                  <a:gd name="T111" fmla="*/ 66 h 88"/>
                  <a:gd name="T112" fmla="*/ 24 w 92"/>
                  <a:gd name="T113" fmla="*/ 70 h 88"/>
                  <a:gd name="T114" fmla="*/ 25 w 92"/>
                  <a:gd name="T115" fmla="*/ 76 h 88"/>
                  <a:gd name="T116" fmla="*/ 32 w 92"/>
                  <a:gd name="T117" fmla="*/ 86 h 88"/>
                  <a:gd name="T118" fmla="*/ 34 w 92"/>
                  <a:gd name="T119" fmla="*/ 84 h 88"/>
                  <a:gd name="T120" fmla="*/ 35 w 92"/>
                  <a:gd name="T121" fmla="*/ 8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88">
                    <a:moveTo>
                      <a:pt x="35" y="83"/>
                    </a:moveTo>
                    <a:cubicBezTo>
                      <a:pt x="35" y="83"/>
                      <a:pt x="35" y="81"/>
                      <a:pt x="35" y="81"/>
                    </a:cubicBezTo>
                    <a:cubicBezTo>
                      <a:pt x="36" y="81"/>
                      <a:pt x="36" y="81"/>
                      <a:pt x="36" y="81"/>
                    </a:cubicBezTo>
                    <a:cubicBezTo>
                      <a:pt x="39" y="83"/>
                      <a:pt x="39" y="83"/>
                      <a:pt x="39" y="83"/>
                    </a:cubicBezTo>
                    <a:cubicBezTo>
                      <a:pt x="39" y="87"/>
                      <a:pt x="39" y="87"/>
                      <a:pt x="39" y="87"/>
                    </a:cubicBezTo>
                    <a:cubicBezTo>
                      <a:pt x="42" y="87"/>
                      <a:pt x="42" y="87"/>
                      <a:pt x="42" y="87"/>
                    </a:cubicBezTo>
                    <a:cubicBezTo>
                      <a:pt x="44" y="88"/>
                      <a:pt x="44" y="88"/>
                      <a:pt x="44" y="88"/>
                    </a:cubicBezTo>
                    <a:cubicBezTo>
                      <a:pt x="44" y="88"/>
                      <a:pt x="45" y="88"/>
                      <a:pt x="45" y="88"/>
                    </a:cubicBezTo>
                    <a:cubicBezTo>
                      <a:pt x="45" y="88"/>
                      <a:pt x="47" y="88"/>
                      <a:pt x="47" y="88"/>
                    </a:cubicBezTo>
                    <a:cubicBezTo>
                      <a:pt x="47" y="88"/>
                      <a:pt x="48" y="87"/>
                      <a:pt x="49" y="87"/>
                    </a:cubicBezTo>
                    <a:cubicBezTo>
                      <a:pt x="49" y="87"/>
                      <a:pt x="51" y="88"/>
                      <a:pt x="51" y="88"/>
                    </a:cubicBezTo>
                    <a:cubicBezTo>
                      <a:pt x="53" y="85"/>
                      <a:pt x="53" y="85"/>
                      <a:pt x="53" y="85"/>
                    </a:cubicBezTo>
                    <a:cubicBezTo>
                      <a:pt x="56" y="84"/>
                      <a:pt x="56" y="84"/>
                      <a:pt x="56" y="84"/>
                    </a:cubicBezTo>
                    <a:cubicBezTo>
                      <a:pt x="56" y="36"/>
                      <a:pt x="56" y="36"/>
                      <a:pt x="56" y="36"/>
                    </a:cubicBezTo>
                    <a:cubicBezTo>
                      <a:pt x="63" y="35"/>
                      <a:pt x="63" y="35"/>
                      <a:pt x="63" y="35"/>
                    </a:cubicBezTo>
                    <a:cubicBezTo>
                      <a:pt x="63" y="9"/>
                      <a:pt x="63" y="9"/>
                      <a:pt x="63" y="9"/>
                    </a:cubicBezTo>
                    <a:cubicBezTo>
                      <a:pt x="79" y="7"/>
                      <a:pt x="79" y="7"/>
                      <a:pt x="79" y="7"/>
                    </a:cubicBezTo>
                    <a:cubicBezTo>
                      <a:pt x="81" y="10"/>
                      <a:pt x="81" y="10"/>
                      <a:pt x="81" y="10"/>
                    </a:cubicBezTo>
                    <a:cubicBezTo>
                      <a:pt x="85" y="7"/>
                      <a:pt x="85" y="7"/>
                      <a:pt x="85" y="7"/>
                    </a:cubicBezTo>
                    <a:cubicBezTo>
                      <a:pt x="87" y="7"/>
                      <a:pt x="87" y="7"/>
                      <a:pt x="87" y="7"/>
                    </a:cubicBezTo>
                    <a:cubicBezTo>
                      <a:pt x="87" y="7"/>
                      <a:pt x="87" y="7"/>
                      <a:pt x="87" y="7"/>
                    </a:cubicBezTo>
                    <a:cubicBezTo>
                      <a:pt x="90" y="5"/>
                      <a:pt x="90" y="5"/>
                      <a:pt x="90" y="5"/>
                    </a:cubicBezTo>
                    <a:cubicBezTo>
                      <a:pt x="92" y="5"/>
                      <a:pt x="92" y="5"/>
                      <a:pt x="92" y="5"/>
                    </a:cubicBezTo>
                    <a:cubicBezTo>
                      <a:pt x="90" y="4"/>
                      <a:pt x="90" y="4"/>
                      <a:pt x="90" y="4"/>
                    </a:cubicBezTo>
                    <a:cubicBezTo>
                      <a:pt x="85" y="3"/>
                      <a:pt x="85" y="3"/>
                      <a:pt x="85" y="3"/>
                    </a:cubicBezTo>
                    <a:cubicBezTo>
                      <a:pt x="79" y="4"/>
                      <a:pt x="79" y="4"/>
                      <a:pt x="79" y="4"/>
                    </a:cubicBezTo>
                    <a:cubicBezTo>
                      <a:pt x="64" y="7"/>
                      <a:pt x="64" y="7"/>
                      <a:pt x="64" y="7"/>
                    </a:cubicBezTo>
                    <a:cubicBezTo>
                      <a:pt x="61" y="7"/>
                      <a:pt x="61" y="7"/>
                      <a:pt x="61" y="7"/>
                    </a:cubicBezTo>
                    <a:cubicBezTo>
                      <a:pt x="58" y="6"/>
                      <a:pt x="58" y="6"/>
                      <a:pt x="58" y="6"/>
                    </a:cubicBezTo>
                    <a:cubicBezTo>
                      <a:pt x="48" y="6"/>
                      <a:pt x="48" y="6"/>
                      <a:pt x="48" y="6"/>
                    </a:cubicBezTo>
                    <a:cubicBezTo>
                      <a:pt x="45" y="3"/>
                      <a:pt x="45" y="3"/>
                      <a:pt x="45" y="3"/>
                    </a:cubicBezTo>
                    <a:cubicBezTo>
                      <a:pt x="15" y="3"/>
                      <a:pt x="15" y="3"/>
                      <a:pt x="15" y="3"/>
                    </a:cubicBezTo>
                    <a:cubicBezTo>
                      <a:pt x="11" y="0"/>
                      <a:pt x="11" y="0"/>
                      <a:pt x="11" y="0"/>
                    </a:cubicBezTo>
                    <a:cubicBezTo>
                      <a:pt x="9" y="0"/>
                      <a:pt x="9" y="0"/>
                      <a:pt x="9" y="0"/>
                    </a:cubicBezTo>
                    <a:cubicBezTo>
                      <a:pt x="5" y="2"/>
                      <a:pt x="5" y="2"/>
                      <a:pt x="5" y="2"/>
                    </a:cubicBezTo>
                    <a:cubicBezTo>
                      <a:pt x="4" y="1"/>
                      <a:pt x="4" y="1"/>
                      <a:pt x="4" y="1"/>
                    </a:cubicBezTo>
                    <a:cubicBezTo>
                      <a:pt x="2" y="1"/>
                      <a:pt x="2" y="1"/>
                      <a:pt x="2" y="1"/>
                    </a:cubicBezTo>
                    <a:cubicBezTo>
                      <a:pt x="1" y="1"/>
                      <a:pt x="1" y="1"/>
                      <a:pt x="1" y="1"/>
                    </a:cubicBezTo>
                    <a:cubicBezTo>
                      <a:pt x="1" y="1"/>
                      <a:pt x="1" y="2"/>
                      <a:pt x="1" y="2"/>
                    </a:cubicBezTo>
                    <a:cubicBezTo>
                      <a:pt x="1" y="2"/>
                      <a:pt x="1" y="2"/>
                      <a:pt x="1" y="2"/>
                    </a:cubicBezTo>
                    <a:cubicBezTo>
                      <a:pt x="0" y="3"/>
                      <a:pt x="0" y="5"/>
                      <a:pt x="1" y="6"/>
                    </a:cubicBezTo>
                    <a:cubicBezTo>
                      <a:pt x="1" y="6"/>
                      <a:pt x="1" y="7"/>
                      <a:pt x="1" y="7"/>
                    </a:cubicBezTo>
                    <a:cubicBezTo>
                      <a:pt x="1" y="7"/>
                      <a:pt x="1" y="8"/>
                      <a:pt x="1" y="9"/>
                    </a:cubicBezTo>
                    <a:cubicBezTo>
                      <a:pt x="2" y="10"/>
                      <a:pt x="4" y="11"/>
                      <a:pt x="5" y="13"/>
                    </a:cubicBezTo>
                    <a:cubicBezTo>
                      <a:pt x="6" y="14"/>
                      <a:pt x="7" y="17"/>
                      <a:pt x="8" y="19"/>
                    </a:cubicBezTo>
                    <a:cubicBezTo>
                      <a:pt x="9" y="20"/>
                      <a:pt x="9" y="22"/>
                      <a:pt x="11" y="23"/>
                    </a:cubicBezTo>
                    <a:cubicBezTo>
                      <a:pt x="11" y="24"/>
                      <a:pt x="11" y="25"/>
                      <a:pt x="11" y="25"/>
                    </a:cubicBezTo>
                    <a:cubicBezTo>
                      <a:pt x="12" y="28"/>
                      <a:pt x="14" y="31"/>
                      <a:pt x="16" y="34"/>
                    </a:cubicBezTo>
                    <a:cubicBezTo>
                      <a:pt x="16" y="35"/>
                      <a:pt x="17" y="36"/>
                      <a:pt x="18" y="37"/>
                    </a:cubicBezTo>
                    <a:cubicBezTo>
                      <a:pt x="19" y="39"/>
                      <a:pt x="21" y="40"/>
                      <a:pt x="20" y="43"/>
                    </a:cubicBezTo>
                    <a:cubicBezTo>
                      <a:pt x="19" y="44"/>
                      <a:pt x="19" y="45"/>
                      <a:pt x="20" y="47"/>
                    </a:cubicBezTo>
                    <a:cubicBezTo>
                      <a:pt x="20" y="48"/>
                      <a:pt x="20" y="49"/>
                      <a:pt x="20" y="51"/>
                    </a:cubicBezTo>
                    <a:cubicBezTo>
                      <a:pt x="19" y="51"/>
                      <a:pt x="19" y="52"/>
                      <a:pt x="19" y="52"/>
                    </a:cubicBezTo>
                    <a:cubicBezTo>
                      <a:pt x="20" y="54"/>
                      <a:pt x="21" y="56"/>
                      <a:pt x="22" y="58"/>
                    </a:cubicBezTo>
                    <a:cubicBezTo>
                      <a:pt x="22" y="59"/>
                      <a:pt x="22" y="59"/>
                      <a:pt x="22" y="60"/>
                    </a:cubicBezTo>
                    <a:cubicBezTo>
                      <a:pt x="22" y="62"/>
                      <a:pt x="22" y="64"/>
                      <a:pt x="22" y="66"/>
                    </a:cubicBezTo>
                    <a:cubicBezTo>
                      <a:pt x="23" y="67"/>
                      <a:pt x="24" y="69"/>
                      <a:pt x="24" y="70"/>
                    </a:cubicBezTo>
                    <a:cubicBezTo>
                      <a:pt x="24" y="72"/>
                      <a:pt x="24" y="74"/>
                      <a:pt x="25" y="76"/>
                    </a:cubicBezTo>
                    <a:cubicBezTo>
                      <a:pt x="26" y="80"/>
                      <a:pt x="29" y="83"/>
                      <a:pt x="32" y="86"/>
                    </a:cubicBezTo>
                    <a:cubicBezTo>
                      <a:pt x="34" y="84"/>
                      <a:pt x="34" y="84"/>
                      <a:pt x="34" y="84"/>
                    </a:cubicBezTo>
                    <a:cubicBezTo>
                      <a:pt x="34" y="84"/>
                      <a:pt x="35" y="83"/>
                      <a:pt x="35" y="8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7" name="Freeform 896">
                <a:extLst>
                  <a:ext uri="{FF2B5EF4-FFF2-40B4-BE49-F238E27FC236}">
                    <a16:creationId xmlns:a16="http://schemas.microsoft.com/office/drawing/2014/main" id="{45258140-D7B5-6E1B-7BED-73199A7C6710}"/>
                  </a:ext>
                </a:extLst>
              </p:cNvPr>
              <p:cNvSpPr>
                <a:spLocks/>
              </p:cNvSpPr>
              <p:nvPr/>
            </p:nvSpPr>
            <p:spPr bwMode="auto">
              <a:xfrm>
                <a:off x="6229350" y="5187950"/>
                <a:ext cx="303212" cy="490538"/>
              </a:xfrm>
              <a:custGeom>
                <a:avLst/>
                <a:gdLst>
                  <a:gd name="T0" fmla="*/ 53 w 73"/>
                  <a:gd name="T1" fmla="*/ 5 h 118"/>
                  <a:gd name="T2" fmla="*/ 44 w 73"/>
                  <a:gd name="T3" fmla="*/ 8 h 118"/>
                  <a:gd name="T4" fmla="*/ 40 w 73"/>
                  <a:gd name="T5" fmla="*/ 9 h 118"/>
                  <a:gd name="T6" fmla="*/ 38 w 73"/>
                  <a:gd name="T7" fmla="*/ 7 h 118"/>
                  <a:gd name="T8" fmla="*/ 30 w 73"/>
                  <a:gd name="T9" fmla="*/ 8 h 118"/>
                  <a:gd name="T10" fmla="*/ 29 w 73"/>
                  <a:gd name="T11" fmla="*/ 20 h 118"/>
                  <a:gd name="T12" fmla="*/ 38 w 73"/>
                  <a:gd name="T13" fmla="*/ 29 h 118"/>
                  <a:gd name="T14" fmla="*/ 37 w 73"/>
                  <a:gd name="T15" fmla="*/ 33 h 118"/>
                  <a:gd name="T16" fmla="*/ 35 w 73"/>
                  <a:gd name="T17" fmla="*/ 39 h 118"/>
                  <a:gd name="T18" fmla="*/ 34 w 73"/>
                  <a:gd name="T19" fmla="*/ 44 h 118"/>
                  <a:gd name="T20" fmla="*/ 33 w 73"/>
                  <a:gd name="T21" fmla="*/ 47 h 118"/>
                  <a:gd name="T22" fmla="*/ 30 w 73"/>
                  <a:gd name="T23" fmla="*/ 42 h 118"/>
                  <a:gd name="T24" fmla="*/ 29 w 73"/>
                  <a:gd name="T25" fmla="*/ 33 h 118"/>
                  <a:gd name="T26" fmla="*/ 28 w 73"/>
                  <a:gd name="T27" fmla="*/ 28 h 118"/>
                  <a:gd name="T28" fmla="*/ 23 w 73"/>
                  <a:gd name="T29" fmla="*/ 29 h 118"/>
                  <a:gd name="T30" fmla="*/ 19 w 73"/>
                  <a:gd name="T31" fmla="*/ 25 h 118"/>
                  <a:gd name="T32" fmla="*/ 1 w 73"/>
                  <a:gd name="T33" fmla="*/ 36 h 118"/>
                  <a:gd name="T34" fmla="*/ 6 w 73"/>
                  <a:gd name="T35" fmla="*/ 39 h 118"/>
                  <a:gd name="T36" fmla="*/ 14 w 73"/>
                  <a:gd name="T37" fmla="*/ 42 h 118"/>
                  <a:gd name="T38" fmla="*/ 18 w 73"/>
                  <a:gd name="T39" fmla="*/ 43 h 118"/>
                  <a:gd name="T40" fmla="*/ 18 w 73"/>
                  <a:gd name="T41" fmla="*/ 48 h 118"/>
                  <a:gd name="T42" fmla="*/ 18 w 73"/>
                  <a:gd name="T43" fmla="*/ 50 h 118"/>
                  <a:gd name="T44" fmla="*/ 18 w 73"/>
                  <a:gd name="T45" fmla="*/ 52 h 118"/>
                  <a:gd name="T46" fmla="*/ 18 w 73"/>
                  <a:gd name="T47" fmla="*/ 54 h 118"/>
                  <a:gd name="T48" fmla="*/ 18 w 73"/>
                  <a:gd name="T49" fmla="*/ 57 h 118"/>
                  <a:gd name="T50" fmla="*/ 18 w 73"/>
                  <a:gd name="T51" fmla="*/ 57 h 118"/>
                  <a:gd name="T52" fmla="*/ 16 w 73"/>
                  <a:gd name="T53" fmla="*/ 59 h 118"/>
                  <a:gd name="T54" fmla="*/ 18 w 73"/>
                  <a:gd name="T55" fmla="*/ 61 h 118"/>
                  <a:gd name="T56" fmla="*/ 17 w 73"/>
                  <a:gd name="T57" fmla="*/ 65 h 118"/>
                  <a:gd name="T58" fmla="*/ 19 w 73"/>
                  <a:gd name="T59" fmla="*/ 66 h 118"/>
                  <a:gd name="T60" fmla="*/ 15 w 73"/>
                  <a:gd name="T61" fmla="*/ 72 h 118"/>
                  <a:gd name="T62" fmla="*/ 14 w 73"/>
                  <a:gd name="T63" fmla="*/ 76 h 118"/>
                  <a:gd name="T64" fmla="*/ 7 w 73"/>
                  <a:gd name="T65" fmla="*/ 85 h 118"/>
                  <a:gd name="T66" fmla="*/ 11 w 73"/>
                  <a:gd name="T67" fmla="*/ 99 h 118"/>
                  <a:gd name="T68" fmla="*/ 12 w 73"/>
                  <a:gd name="T69" fmla="*/ 112 h 118"/>
                  <a:gd name="T70" fmla="*/ 18 w 73"/>
                  <a:gd name="T71" fmla="*/ 118 h 118"/>
                  <a:gd name="T72" fmla="*/ 18 w 73"/>
                  <a:gd name="T73" fmla="*/ 114 h 118"/>
                  <a:gd name="T74" fmla="*/ 17 w 73"/>
                  <a:gd name="T75" fmla="*/ 111 h 118"/>
                  <a:gd name="T76" fmla="*/ 22 w 73"/>
                  <a:gd name="T77" fmla="*/ 106 h 118"/>
                  <a:gd name="T78" fmla="*/ 36 w 73"/>
                  <a:gd name="T79" fmla="*/ 96 h 118"/>
                  <a:gd name="T80" fmla="*/ 36 w 73"/>
                  <a:gd name="T81" fmla="*/ 93 h 118"/>
                  <a:gd name="T82" fmla="*/ 37 w 73"/>
                  <a:gd name="T83" fmla="*/ 86 h 118"/>
                  <a:gd name="T84" fmla="*/ 35 w 73"/>
                  <a:gd name="T85" fmla="*/ 83 h 118"/>
                  <a:gd name="T86" fmla="*/ 33 w 73"/>
                  <a:gd name="T87" fmla="*/ 75 h 118"/>
                  <a:gd name="T88" fmla="*/ 31 w 73"/>
                  <a:gd name="T89" fmla="*/ 70 h 118"/>
                  <a:gd name="T90" fmla="*/ 33 w 73"/>
                  <a:gd name="T91" fmla="*/ 66 h 118"/>
                  <a:gd name="T92" fmla="*/ 34 w 73"/>
                  <a:gd name="T93" fmla="*/ 65 h 118"/>
                  <a:gd name="T94" fmla="*/ 42 w 73"/>
                  <a:gd name="T95" fmla="*/ 59 h 118"/>
                  <a:gd name="T96" fmla="*/ 48 w 73"/>
                  <a:gd name="T97" fmla="*/ 52 h 118"/>
                  <a:gd name="T98" fmla="*/ 59 w 73"/>
                  <a:gd name="T99" fmla="*/ 47 h 118"/>
                  <a:gd name="T100" fmla="*/ 64 w 73"/>
                  <a:gd name="T101" fmla="*/ 44 h 118"/>
                  <a:gd name="T102" fmla="*/ 67 w 73"/>
                  <a:gd name="T103" fmla="*/ 39 h 118"/>
                  <a:gd name="T104" fmla="*/ 72 w 73"/>
                  <a:gd name="T105" fmla="*/ 31 h 118"/>
                  <a:gd name="T106" fmla="*/ 70 w 73"/>
                  <a:gd name="T107" fmla="*/ 26 h 118"/>
                  <a:gd name="T108" fmla="*/ 69 w 73"/>
                  <a:gd name="T109" fmla="*/ 7 h 118"/>
                  <a:gd name="T110" fmla="*/ 69 w 73"/>
                  <a:gd name="T111" fmla="*/ 0 h 118"/>
                  <a:gd name="T112" fmla="*/ 56 w 73"/>
                  <a:gd name="T113"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 h="118">
                    <a:moveTo>
                      <a:pt x="56" y="7"/>
                    </a:moveTo>
                    <a:cubicBezTo>
                      <a:pt x="53" y="5"/>
                      <a:pt x="53" y="5"/>
                      <a:pt x="53" y="5"/>
                    </a:cubicBezTo>
                    <a:cubicBezTo>
                      <a:pt x="48" y="9"/>
                      <a:pt x="48" y="9"/>
                      <a:pt x="48" y="9"/>
                    </a:cubicBezTo>
                    <a:cubicBezTo>
                      <a:pt x="44" y="8"/>
                      <a:pt x="44" y="8"/>
                      <a:pt x="44" y="8"/>
                    </a:cubicBezTo>
                    <a:cubicBezTo>
                      <a:pt x="43" y="9"/>
                      <a:pt x="43" y="9"/>
                      <a:pt x="43" y="9"/>
                    </a:cubicBezTo>
                    <a:cubicBezTo>
                      <a:pt x="40" y="9"/>
                      <a:pt x="40" y="9"/>
                      <a:pt x="40" y="9"/>
                    </a:cubicBezTo>
                    <a:cubicBezTo>
                      <a:pt x="40" y="7"/>
                      <a:pt x="40" y="7"/>
                      <a:pt x="40" y="7"/>
                    </a:cubicBezTo>
                    <a:cubicBezTo>
                      <a:pt x="38" y="7"/>
                      <a:pt x="38" y="7"/>
                      <a:pt x="38" y="7"/>
                    </a:cubicBezTo>
                    <a:cubicBezTo>
                      <a:pt x="36" y="8"/>
                      <a:pt x="36" y="8"/>
                      <a:pt x="36" y="8"/>
                    </a:cubicBezTo>
                    <a:cubicBezTo>
                      <a:pt x="30" y="8"/>
                      <a:pt x="30" y="8"/>
                      <a:pt x="30" y="8"/>
                    </a:cubicBezTo>
                    <a:cubicBezTo>
                      <a:pt x="28" y="12"/>
                      <a:pt x="28" y="12"/>
                      <a:pt x="28" y="12"/>
                    </a:cubicBezTo>
                    <a:cubicBezTo>
                      <a:pt x="29" y="20"/>
                      <a:pt x="29" y="20"/>
                      <a:pt x="29" y="20"/>
                    </a:cubicBezTo>
                    <a:cubicBezTo>
                      <a:pt x="33" y="22"/>
                      <a:pt x="33" y="22"/>
                      <a:pt x="33" y="22"/>
                    </a:cubicBezTo>
                    <a:cubicBezTo>
                      <a:pt x="38" y="29"/>
                      <a:pt x="38" y="29"/>
                      <a:pt x="38" y="29"/>
                    </a:cubicBezTo>
                    <a:cubicBezTo>
                      <a:pt x="38" y="32"/>
                      <a:pt x="38" y="32"/>
                      <a:pt x="38" y="32"/>
                    </a:cubicBezTo>
                    <a:cubicBezTo>
                      <a:pt x="37" y="33"/>
                      <a:pt x="37" y="33"/>
                      <a:pt x="37" y="33"/>
                    </a:cubicBezTo>
                    <a:cubicBezTo>
                      <a:pt x="37" y="39"/>
                      <a:pt x="37" y="39"/>
                      <a:pt x="37" y="39"/>
                    </a:cubicBezTo>
                    <a:cubicBezTo>
                      <a:pt x="35" y="39"/>
                      <a:pt x="35" y="39"/>
                      <a:pt x="35" y="39"/>
                    </a:cubicBezTo>
                    <a:cubicBezTo>
                      <a:pt x="33" y="42"/>
                      <a:pt x="33" y="42"/>
                      <a:pt x="33" y="42"/>
                    </a:cubicBezTo>
                    <a:cubicBezTo>
                      <a:pt x="34" y="44"/>
                      <a:pt x="34" y="44"/>
                      <a:pt x="34" y="44"/>
                    </a:cubicBezTo>
                    <a:cubicBezTo>
                      <a:pt x="34" y="47"/>
                      <a:pt x="34" y="47"/>
                      <a:pt x="34" y="47"/>
                    </a:cubicBezTo>
                    <a:cubicBezTo>
                      <a:pt x="33" y="47"/>
                      <a:pt x="33" y="47"/>
                      <a:pt x="33" y="47"/>
                    </a:cubicBezTo>
                    <a:cubicBezTo>
                      <a:pt x="33" y="45"/>
                      <a:pt x="33" y="45"/>
                      <a:pt x="33" y="45"/>
                    </a:cubicBezTo>
                    <a:cubicBezTo>
                      <a:pt x="30" y="42"/>
                      <a:pt x="30" y="42"/>
                      <a:pt x="30" y="42"/>
                    </a:cubicBezTo>
                    <a:cubicBezTo>
                      <a:pt x="27" y="38"/>
                      <a:pt x="27" y="38"/>
                      <a:pt x="27" y="38"/>
                    </a:cubicBezTo>
                    <a:cubicBezTo>
                      <a:pt x="29" y="33"/>
                      <a:pt x="29" y="33"/>
                      <a:pt x="29" y="33"/>
                    </a:cubicBezTo>
                    <a:cubicBezTo>
                      <a:pt x="29" y="29"/>
                      <a:pt x="29" y="29"/>
                      <a:pt x="29" y="29"/>
                    </a:cubicBezTo>
                    <a:cubicBezTo>
                      <a:pt x="28" y="28"/>
                      <a:pt x="28" y="28"/>
                      <a:pt x="28" y="28"/>
                    </a:cubicBezTo>
                    <a:cubicBezTo>
                      <a:pt x="24" y="28"/>
                      <a:pt x="24" y="28"/>
                      <a:pt x="24" y="28"/>
                    </a:cubicBezTo>
                    <a:cubicBezTo>
                      <a:pt x="23" y="29"/>
                      <a:pt x="23" y="29"/>
                      <a:pt x="23" y="29"/>
                    </a:cubicBezTo>
                    <a:cubicBezTo>
                      <a:pt x="20" y="25"/>
                      <a:pt x="20" y="25"/>
                      <a:pt x="20" y="25"/>
                    </a:cubicBezTo>
                    <a:cubicBezTo>
                      <a:pt x="19" y="25"/>
                      <a:pt x="19" y="25"/>
                      <a:pt x="19" y="25"/>
                    </a:cubicBezTo>
                    <a:cubicBezTo>
                      <a:pt x="0" y="32"/>
                      <a:pt x="0" y="32"/>
                      <a:pt x="0" y="32"/>
                    </a:cubicBezTo>
                    <a:cubicBezTo>
                      <a:pt x="1" y="36"/>
                      <a:pt x="1" y="36"/>
                      <a:pt x="1" y="36"/>
                    </a:cubicBezTo>
                    <a:cubicBezTo>
                      <a:pt x="1" y="39"/>
                      <a:pt x="1" y="39"/>
                      <a:pt x="1" y="39"/>
                    </a:cubicBezTo>
                    <a:cubicBezTo>
                      <a:pt x="6" y="39"/>
                      <a:pt x="6" y="39"/>
                      <a:pt x="6" y="39"/>
                    </a:cubicBezTo>
                    <a:cubicBezTo>
                      <a:pt x="11" y="42"/>
                      <a:pt x="11" y="42"/>
                      <a:pt x="11" y="42"/>
                    </a:cubicBezTo>
                    <a:cubicBezTo>
                      <a:pt x="14" y="42"/>
                      <a:pt x="14" y="42"/>
                      <a:pt x="14" y="42"/>
                    </a:cubicBezTo>
                    <a:cubicBezTo>
                      <a:pt x="17" y="43"/>
                      <a:pt x="17" y="43"/>
                      <a:pt x="17" y="43"/>
                    </a:cubicBezTo>
                    <a:cubicBezTo>
                      <a:pt x="18" y="43"/>
                      <a:pt x="18" y="43"/>
                      <a:pt x="18" y="43"/>
                    </a:cubicBezTo>
                    <a:cubicBezTo>
                      <a:pt x="17" y="45"/>
                      <a:pt x="17" y="45"/>
                      <a:pt x="17" y="45"/>
                    </a:cubicBezTo>
                    <a:cubicBezTo>
                      <a:pt x="18" y="48"/>
                      <a:pt x="18" y="48"/>
                      <a:pt x="18" y="48"/>
                    </a:cubicBezTo>
                    <a:cubicBezTo>
                      <a:pt x="18" y="50"/>
                      <a:pt x="18" y="50"/>
                      <a:pt x="18" y="50"/>
                    </a:cubicBezTo>
                    <a:cubicBezTo>
                      <a:pt x="18" y="50"/>
                      <a:pt x="18" y="50"/>
                      <a:pt x="18" y="50"/>
                    </a:cubicBezTo>
                    <a:cubicBezTo>
                      <a:pt x="18" y="50"/>
                      <a:pt x="18" y="52"/>
                      <a:pt x="18" y="52"/>
                    </a:cubicBezTo>
                    <a:cubicBezTo>
                      <a:pt x="18" y="52"/>
                      <a:pt x="18" y="52"/>
                      <a:pt x="18" y="52"/>
                    </a:cubicBezTo>
                    <a:cubicBezTo>
                      <a:pt x="18" y="52"/>
                      <a:pt x="18" y="53"/>
                      <a:pt x="18" y="53"/>
                    </a:cubicBezTo>
                    <a:cubicBezTo>
                      <a:pt x="18" y="53"/>
                      <a:pt x="18" y="54"/>
                      <a:pt x="18" y="54"/>
                    </a:cubicBezTo>
                    <a:cubicBezTo>
                      <a:pt x="18" y="54"/>
                      <a:pt x="19" y="56"/>
                      <a:pt x="19" y="56"/>
                    </a:cubicBezTo>
                    <a:cubicBezTo>
                      <a:pt x="18" y="57"/>
                      <a:pt x="18" y="57"/>
                      <a:pt x="18" y="57"/>
                    </a:cubicBezTo>
                    <a:cubicBezTo>
                      <a:pt x="18" y="57"/>
                      <a:pt x="18" y="57"/>
                      <a:pt x="18" y="57"/>
                    </a:cubicBezTo>
                    <a:cubicBezTo>
                      <a:pt x="18" y="57"/>
                      <a:pt x="18" y="57"/>
                      <a:pt x="18" y="57"/>
                    </a:cubicBezTo>
                    <a:cubicBezTo>
                      <a:pt x="18" y="58"/>
                      <a:pt x="18" y="58"/>
                      <a:pt x="18" y="58"/>
                    </a:cubicBezTo>
                    <a:cubicBezTo>
                      <a:pt x="16" y="59"/>
                      <a:pt x="16" y="59"/>
                      <a:pt x="16" y="59"/>
                    </a:cubicBezTo>
                    <a:cubicBezTo>
                      <a:pt x="16" y="60"/>
                      <a:pt x="16" y="60"/>
                      <a:pt x="16" y="60"/>
                    </a:cubicBezTo>
                    <a:cubicBezTo>
                      <a:pt x="18" y="61"/>
                      <a:pt x="18" y="61"/>
                      <a:pt x="18" y="61"/>
                    </a:cubicBezTo>
                    <a:cubicBezTo>
                      <a:pt x="17" y="63"/>
                      <a:pt x="17" y="63"/>
                      <a:pt x="17" y="63"/>
                    </a:cubicBezTo>
                    <a:cubicBezTo>
                      <a:pt x="17" y="65"/>
                      <a:pt x="17" y="65"/>
                      <a:pt x="17" y="65"/>
                    </a:cubicBezTo>
                    <a:cubicBezTo>
                      <a:pt x="19" y="66"/>
                      <a:pt x="19" y="66"/>
                      <a:pt x="19" y="66"/>
                    </a:cubicBezTo>
                    <a:cubicBezTo>
                      <a:pt x="19" y="66"/>
                      <a:pt x="19" y="66"/>
                      <a:pt x="19" y="66"/>
                    </a:cubicBezTo>
                    <a:cubicBezTo>
                      <a:pt x="19" y="67"/>
                      <a:pt x="19" y="67"/>
                      <a:pt x="19" y="67"/>
                    </a:cubicBezTo>
                    <a:cubicBezTo>
                      <a:pt x="15" y="72"/>
                      <a:pt x="15" y="72"/>
                      <a:pt x="15" y="72"/>
                    </a:cubicBezTo>
                    <a:cubicBezTo>
                      <a:pt x="15" y="74"/>
                      <a:pt x="15" y="74"/>
                      <a:pt x="15" y="74"/>
                    </a:cubicBezTo>
                    <a:cubicBezTo>
                      <a:pt x="14" y="76"/>
                      <a:pt x="14" y="76"/>
                      <a:pt x="14" y="76"/>
                    </a:cubicBezTo>
                    <a:cubicBezTo>
                      <a:pt x="15" y="77"/>
                      <a:pt x="15" y="77"/>
                      <a:pt x="15" y="77"/>
                    </a:cubicBezTo>
                    <a:cubicBezTo>
                      <a:pt x="7" y="85"/>
                      <a:pt x="7" y="85"/>
                      <a:pt x="7" y="85"/>
                    </a:cubicBezTo>
                    <a:cubicBezTo>
                      <a:pt x="9" y="93"/>
                      <a:pt x="9" y="93"/>
                      <a:pt x="9" y="93"/>
                    </a:cubicBezTo>
                    <a:cubicBezTo>
                      <a:pt x="11" y="99"/>
                      <a:pt x="11" y="99"/>
                      <a:pt x="11" y="99"/>
                    </a:cubicBezTo>
                    <a:cubicBezTo>
                      <a:pt x="11" y="111"/>
                      <a:pt x="11" y="111"/>
                      <a:pt x="11" y="111"/>
                    </a:cubicBezTo>
                    <a:cubicBezTo>
                      <a:pt x="12" y="112"/>
                      <a:pt x="12" y="112"/>
                      <a:pt x="12" y="112"/>
                    </a:cubicBezTo>
                    <a:cubicBezTo>
                      <a:pt x="12" y="118"/>
                      <a:pt x="12" y="118"/>
                      <a:pt x="12" y="118"/>
                    </a:cubicBezTo>
                    <a:cubicBezTo>
                      <a:pt x="18" y="118"/>
                      <a:pt x="18" y="118"/>
                      <a:pt x="18" y="118"/>
                    </a:cubicBezTo>
                    <a:cubicBezTo>
                      <a:pt x="19" y="117"/>
                      <a:pt x="19" y="116"/>
                      <a:pt x="18" y="115"/>
                    </a:cubicBezTo>
                    <a:cubicBezTo>
                      <a:pt x="18" y="114"/>
                      <a:pt x="18" y="114"/>
                      <a:pt x="18" y="114"/>
                    </a:cubicBezTo>
                    <a:cubicBezTo>
                      <a:pt x="17" y="114"/>
                      <a:pt x="17" y="113"/>
                      <a:pt x="17" y="113"/>
                    </a:cubicBezTo>
                    <a:cubicBezTo>
                      <a:pt x="17" y="112"/>
                      <a:pt x="17" y="111"/>
                      <a:pt x="17" y="111"/>
                    </a:cubicBezTo>
                    <a:cubicBezTo>
                      <a:pt x="18" y="109"/>
                      <a:pt x="20" y="108"/>
                      <a:pt x="20" y="107"/>
                    </a:cubicBezTo>
                    <a:cubicBezTo>
                      <a:pt x="21" y="107"/>
                      <a:pt x="21" y="107"/>
                      <a:pt x="22" y="106"/>
                    </a:cubicBezTo>
                    <a:cubicBezTo>
                      <a:pt x="24" y="106"/>
                      <a:pt x="25" y="105"/>
                      <a:pt x="27" y="104"/>
                    </a:cubicBezTo>
                    <a:cubicBezTo>
                      <a:pt x="31" y="103"/>
                      <a:pt x="35" y="102"/>
                      <a:pt x="36" y="96"/>
                    </a:cubicBezTo>
                    <a:cubicBezTo>
                      <a:pt x="34" y="97"/>
                      <a:pt x="35" y="95"/>
                      <a:pt x="35" y="94"/>
                    </a:cubicBezTo>
                    <a:cubicBezTo>
                      <a:pt x="36" y="94"/>
                      <a:pt x="36" y="94"/>
                      <a:pt x="36" y="93"/>
                    </a:cubicBezTo>
                    <a:cubicBezTo>
                      <a:pt x="36" y="92"/>
                      <a:pt x="36" y="91"/>
                      <a:pt x="36" y="90"/>
                    </a:cubicBezTo>
                    <a:cubicBezTo>
                      <a:pt x="37" y="89"/>
                      <a:pt x="37" y="88"/>
                      <a:pt x="37" y="86"/>
                    </a:cubicBezTo>
                    <a:cubicBezTo>
                      <a:pt x="37" y="85"/>
                      <a:pt x="37" y="84"/>
                      <a:pt x="35" y="84"/>
                    </a:cubicBezTo>
                    <a:cubicBezTo>
                      <a:pt x="35" y="84"/>
                      <a:pt x="35" y="83"/>
                      <a:pt x="35" y="83"/>
                    </a:cubicBezTo>
                    <a:cubicBezTo>
                      <a:pt x="35" y="82"/>
                      <a:pt x="35" y="80"/>
                      <a:pt x="34" y="80"/>
                    </a:cubicBezTo>
                    <a:cubicBezTo>
                      <a:pt x="33" y="78"/>
                      <a:pt x="33" y="77"/>
                      <a:pt x="33" y="75"/>
                    </a:cubicBezTo>
                    <a:cubicBezTo>
                      <a:pt x="33" y="74"/>
                      <a:pt x="33" y="73"/>
                      <a:pt x="32" y="73"/>
                    </a:cubicBezTo>
                    <a:cubicBezTo>
                      <a:pt x="31" y="73"/>
                      <a:pt x="31" y="71"/>
                      <a:pt x="31" y="70"/>
                    </a:cubicBezTo>
                    <a:cubicBezTo>
                      <a:pt x="31" y="70"/>
                      <a:pt x="31" y="70"/>
                      <a:pt x="31" y="69"/>
                    </a:cubicBezTo>
                    <a:cubicBezTo>
                      <a:pt x="31" y="68"/>
                      <a:pt x="32" y="67"/>
                      <a:pt x="33" y="66"/>
                    </a:cubicBezTo>
                    <a:cubicBezTo>
                      <a:pt x="33" y="66"/>
                      <a:pt x="33" y="66"/>
                      <a:pt x="33" y="66"/>
                    </a:cubicBezTo>
                    <a:cubicBezTo>
                      <a:pt x="34" y="66"/>
                      <a:pt x="34" y="65"/>
                      <a:pt x="34" y="65"/>
                    </a:cubicBezTo>
                    <a:cubicBezTo>
                      <a:pt x="36" y="64"/>
                      <a:pt x="37" y="61"/>
                      <a:pt x="40" y="60"/>
                    </a:cubicBezTo>
                    <a:cubicBezTo>
                      <a:pt x="41" y="60"/>
                      <a:pt x="41" y="60"/>
                      <a:pt x="42" y="59"/>
                    </a:cubicBezTo>
                    <a:cubicBezTo>
                      <a:pt x="42" y="58"/>
                      <a:pt x="44" y="57"/>
                      <a:pt x="45" y="55"/>
                    </a:cubicBezTo>
                    <a:cubicBezTo>
                      <a:pt x="45" y="54"/>
                      <a:pt x="47" y="53"/>
                      <a:pt x="48" y="52"/>
                    </a:cubicBezTo>
                    <a:cubicBezTo>
                      <a:pt x="49" y="51"/>
                      <a:pt x="51" y="50"/>
                      <a:pt x="53" y="49"/>
                    </a:cubicBezTo>
                    <a:cubicBezTo>
                      <a:pt x="55" y="48"/>
                      <a:pt x="57" y="47"/>
                      <a:pt x="59" y="47"/>
                    </a:cubicBezTo>
                    <a:cubicBezTo>
                      <a:pt x="59" y="46"/>
                      <a:pt x="61" y="47"/>
                      <a:pt x="61" y="46"/>
                    </a:cubicBezTo>
                    <a:cubicBezTo>
                      <a:pt x="62" y="45"/>
                      <a:pt x="63" y="44"/>
                      <a:pt x="64" y="44"/>
                    </a:cubicBezTo>
                    <a:cubicBezTo>
                      <a:pt x="65" y="43"/>
                      <a:pt x="66" y="43"/>
                      <a:pt x="66" y="41"/>
                    </a:cubicBezTo>
                    <a:cubicBezTo>
                      <a:pt x="67" y="41"/>
                      <a:pt x="67" y="40"/>
                      <a:pt x="67" y="39"/>
                    </a:cubicBezTo>
                    <a:cubicBezTo>
                      <a:pt x="69" y="38"/>
                      <a:pt x="71" y="36"/>
                      <a:pt x="71" y="34"/>
                    </a:cubicBezTo>
                    <a:cubicBezTo>
                      <a:pt x="71" y="33"/>
                      <a:pt x="71" y="32"/>
                      <a:pt x="72" y="31"/>
                    </a:cubicBezTo>
                    <a:cubicBezTo>
                      <a:pt x="72" y="30"/>
                      <a:pt x="73" y="29"/>
                      <a:pt x="72" y="29"/>
                    </a:cubicBezTo>
                    <a:cubicBezTo>
                      <a:pt x="71" y="28"/>
                      <a:pt x="71" y="27"/>
                      <a:pt x="70" y="26"/>
                    </a:cubicBezTo>
                    <a:cubicBezTo>
                      <a:pt x="70" y="21"/>
                      <a:pt x="70" y="16"/>
                      <a:pt x="70" y="11"/>
                    </a:cubicBezTo>
                    <a:cubicBezTo>
                      <a:pt x="70" y="10"/>
                      <a:pt x="70" y="9"/>
                      <a:pt x="69" y="7"/>
                    </a:cubicBezTo>
                    <a:cubicBezTo>
                      <a:pt x="69" y="7"/>
                      <a:pt x="69" y="6"/>
                      <a:pt x="70" y="6"/>
                    </a:cubicBezTo>
                    <a:cubicBezTo>
                      <a:pt x="71" y="4"/>
                      <a:pt x="70" y="1"/>
                      <a:pt x="69" y="0"/>
                    </a:cubicBezTo>
                    <a:cubicBezTo>
                      <a:pt x="66" y="2"/>
                      <a:pt x="66" y="2"/>
                      <a:pt x="66" y="2"/>
                    </a:cubicBezTo>
                    <a:lnTo>
                      <a:pt x="56" y="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8" name="Freeform 897">
                <a:extLst>
                  <a:ext uri="{FF2B5EF4-FFF2-40B4-BE49-F238E27FC236}">
                    <a16:creationId xmlns:a16="http://schemas.microsoft.com/office/drawing/2014/main" id="{E63E1B7B-1956-31C8-6199-A9C8AE1B62B1}"/>
                  </a:ext>
                </a:extLst>
              </p:cNvPr>
              <p:cNvSpPr>
                <a:spLocks/>
              </p:cNvSpPr>
              <p:nvPr/>
            </p:nvSpPr>
            <p:spPr bwMode="auto">
              <a:xfrm>
                <a:off x="5005388" y="3805238"/>
                <a:ext cx="341312" cy="269875"/>
              </a:xfrm>
              <a:custGeom>
                <a:avLst/>
                <a:gdLst>
                  <a:gd name="T0" fmla="*/ 82 w 82"/>
                  <a:gd name="T1" fmla="*/ 27 h 65"/>
                  <a:gd name="T2" fmla="*/ 79 w 82"/>
                  <a:gd name="T3" fmla="*/ 25 h 65"/>
                  <a:gd name="T4" fmla="*/ 77 w 82"/>
                  <a:gd name="T5" fmla="*/ 21 h 65"/>
                  <a:gd name="T6" fmla="*/ 77 w 82"/>
                  <a:gd name="T7" fmla="*/ 20 h 65"/>
                  <a:gd name="T8" fmla="*/ 77 w 82"/>
                  <a:gd name="T9" fmla="*/ 20 h 65"/>
                  <a:gd name="T10" fmla="*/ 78 w 82"/>
                  <a:gd name="T11" fmla="*/ 19 h 65"/>
                  <a:gd name="T12" fmla="*/ 77 w 82"/>
                  <a:gd name="T13" fmla="*/ 18 h 65"/>
                  <a:gd name="T14" fmla="*/ 77 w 82"/>
                  <a:gd name="T15" fmla="*/ 11 h 65"/>
                  <a:gd name="T16" fmla="*/ 76 w 82"/>
                  <a:gd name="T17" fmla="*/ 10 h 65"/>
                  <a:gd name="T18" fmla="*/ 77 w 82"/>
                  <a:gd name="T19" fmla="*/ 9 h 65"/>
                  <a:gd name="T20" fmla="*/ 74 w 82"/>
                  <a:gd name="T21" fmla="*/ 7 h 65"/>
                  <a:gd name="T22" fmla="*/ 74 w 82"/>
                  <a:gd name="T23" fmla="*/ 7 h 65"/>
                  <a:gd name="T24" fmla="*/ 73 w 82"/>
                  <a:gd name="T25" fmla="*/ 6 h 65"/>
                  <a:gd name="T26" fmla="*/ 69 w 82"/>
                  <a:gd name="T27" fmla="*/ 4 h 65"/>
                  <a:gd name="T28" fmla="*/ 67 w 82"/>
                  <a:gd name="T29" fmla="*/ 6 h 65"/>
                  <a:gd name="T30" fmla="*/ 66 w 82"/>
                  <a:gd name="T31" fmla="*/ 6 h 65"/>
                  <a:gd name="T32" fmla="*/ 60 w 82"/>
                  <a:gd name="T33" fmla="*/ 6 h 65"/>
                  <a:gd name="T34" fmla="*/ 59 w 82"/>
                  <a:gd name="T35" fmla="*/ 6 h 65"/>
                  <a:gd name="T36" fmla="*/ 57 w 82"/>
                  <a:gd name="T37" fmla="*/ 6 h 65"/>
                  <a:gd name="T38" fmla="*/ 53 w 82"/>
                  <a:gd name="T39" fmla="*/ 0 h 65"/>
                  <a:gd name="T40" fmla="*/ 53 w 82"/>
                  <a:gd name="T41" fmla="*/ 0 h 65"/>
                  <a:gd name="T42" fmla="*/ 48 w 82"/>
                  <a:gd name="T43" fmla="*/ 3 h 65"/>
                  <a:gd name="T44" fmla="*/ 45 w 82"/>
                  <a:gd name="T45" fmla="*/ 11 h 65"/>
                  <a:gd name="T46" fmla="*/ 42 w 82"/>
                  <a:gd name="T47" fmla="*/ 16 h 65"/>
                  <a:gd name="T48" fmla="*/ 37 w 82"/>
                  <a:gd name="T49" fmla="*/ 19 h 65"/>
                  <a:gd name="T50" fmla="*/ 33 w 82"/>
                  <a:gd name="T51" fmla="*/ 21 h 65"/>
                  <a:gd name="T52" fmla="*/ 31 w 82"/>
                  <a:gd name="T53" fmla="*/ 22 h 65"/>
                  <a:gd name="T54" fmla="*/ 27 w 82"/>
                  <a:gd name="T55" fmla="*/ 26 h 65"/>
                  <a:gd name="T56" fmla="*/ 26 w 82"/>
                  <a:gd name="T57" fmla="*/ 29 h 65"/>
                  <a:gd name="T58" fmla="*/ 26 w 82"/>
                  <a:gd name="T59" fmla="*/ 32 h 65"/>
                  <a:gd name="T60" fmla="*/ 23 w 82"/>
                  <a:gd name="T61" fmla="*/ 35 h 65"/>
                  <a:gd name="T62" fmla="*/ 23 w 82"/>
                  <a:gd name="T63" fmla="*/ 43 h 65"/>
                  <a:gd name="T64" fmla="*/ 24 w 82"/>
                  <a:gd name="T65" fmla="*/ 47 h 65"/>
                  <a:gd name="T66" fmla="*/ 23 w 82"/>
                  <a:gd name="T67" fmla="*/ 48 h 65"/>
                  <a:gd name="T68" fmla="*/ 19 w 82"/>
                  <a:gd name="T69" fmla="*/ 54 h 65"/>
                  <a:gd name="T70" fmla="*/ 12 w 82"/>
                  <a:gd name="T71" fmla="*/ 60 h 65"/>
                  <a:gd name="T72" fmla="*/ 5 w 82"/>
                  <a:gd name="T73" fmla="*/ 63 h 65"/>
                  <a:gd name="T74" fmla="*/ 0 w 82"/>
                  <a:gd name="T75" fmla="*/ 65 h 65"/>
                  <a:gd name="T76" fmla="*/ 30 w 82"/>
                  <a:gd name="T77" fmla="*/ 65 h 65"/>
                  <a:gd name="T78" fmla="*/ 30 w 82"/>
                  <a:gd name="T79" fmla="*/ 57 h 65"/>
                  <a:gd name="T80" fmla="*/ 36 w 82"/>
                  <a:gd name="T81" fmla="*/ 52 h 65"/>
                  <a:gd name="T82" fmla="*/ 40 w 82"/>
                  <a:gd name="T83" fmla="*/ 51 h 65"/>
                  <a:gd name="T84" fmla="*/ 43 w 82"/>
                  <a:gd name="T85" fmla="*/ 51 h 65"/>
                  <a:gd name="T86" fmla="*/ 49 w 82"/>
                  <a:gd name="T87" fmla="*/ 50 h 65"/>
                  <a:gd name="T88" fmla="*/ 51 w 82"/>
                  <a:gd name="T89" fmla="*/ 51 h 65"/>
                  <a:gd name="T90" fmla="*/ 55 w 82"/>
                  <a:gd name="T91" fmla="*/ 46 h 65"/>
                  <a:gd name="T92" fmla="*/ 59 w 82"/>
                  <a:gd name="T93" fmla="*/ 43 h 65"/>
                  <a:gd name="T94" fmla="*/ 64 w 82"/>
                  <a:gd name="T95" fmla="*/ 42 h 65"/>
                  <a:gd name="T96" fmla="*/ 64 w 82"/>
                  <a:gd name="T97" fmla="*/ 40 h 65"/>
                  <a:gd name="T98" fmla="*/ 64 w 82"/>
                  <a:gd name="T99" fmla="*/ 39 h 65"/>
                  <a:gd name="T100" fmla="*/ 63 w 82"/>
                  <a:gd name="T101" fmla="*/ 37 h 65"/>
                  <a:gd name="T102" fmla="*/ 64 w 82"/>
                  <a:gd name="T103" fmla="*/ 34 h 65"/>
                  <a:gd name="T104" fmla="*/ 69 w 82"/>
                  <a:gd name="T105" fmla="*/ 33 h 65"/>
                  <a:gd name="T106" fmla="*/ 69 w 82"/>
                  <a:gd name="T107" fmla="*/ 30 h 65"/>
                  <a:gd name="T108" fmla="*/ 77 w 82"/>
                  <a:gd name="T109" fmla="*/ 30 h 65"/>
                  <a:gd name="T110" fmla="*/ 81 w 82"/>
                  <a:gd name="T111" fmla="*/ 31 h 65"/>
                  <a:gd name="T112" fmla="*/ 81 w 82"/>
                  <a:gd name="T113" fmla="*/ 30 h 65"/>
                  <a:gd name="T114" fmla="*/ 80 w 82"/>
                  <a:gd name="T115" fmla="*/ 29 h 65"/>
                  <a:gd name="T116" fmla="*/ 82 w 82"/>
                  <a:gd name="T117" fmla="*/ 2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65">
                    <a:moveTo>
                      <a:pt x="82" y="27"/>
                    </a:moveTo>
                    <a:cubicBezTo>
                      <a:pt x="79" y="25"/>
                      <a:pt x="79" y="25"/>
                      <a:pt x="79" y="25"/>
                    </a:cubicBezTo>
                    <a:cubicBezTo>
                      <a:pt x="77" y="21"/>
                      <a:pt x="77" y="21"/>
                      <a:pt x="77" y="21"/>
                    </a:cubicBezTo>
                    <a:cubicBezTo>
                      <a:pt x="77" y="20"/>
                      <a:pt x="77" y="20"/>
                      <a:pt x="77" y="20"/>
                    </a:cubicBezTo>
                    <a:cubicBezTo>
                      <a:pt x="77" y="20"/>
                      <a:pt x="77" y="20"/>
                      <a:pt x="77" y="20"/>
                    </a:cubicBezTo>
                    <a:cubicBezTo>
                      <a:pt x="78" y="19"/>
                      <a:pt x="78" y="19"/>
                      <a:pt x="78" y="19"/>
                    </a:cubicBezTo>
                    <a:cubicBezTo>
                      <a:pt x="77" y="18"/>
                      <a:pt x="77" y="18"/>
                      <a:pt x="77" y="18"/>
                    </a:cubicBezTo>
                    <a:cubicBezTo>
                      <a:pt x="77" y="11"/>
                      <a:pt x="77" y="11"/>
                      <a:pt x="77" y="11"/>
                    </a:cubicBezTo>
                    <a:cubicBezTo>
                      <a:pt x="76" y="10"/>
                      <a:pt x="76" y="10"/>
                      <a:pt x="76" y="10"/>
                    </a:cubicBezTo>
                    <a:cubicBezTo>
                      <a:pt x="77" y="9"/>
                      <a:pt x="77" y="9"/>
                      <a:pt x="77" y="9"/>
                    </a:cubicBezTo>
                    <a:cubicBezTo>
                      <a:pt x="74" y="7"/>
                      <a:pt x="74" y="7"/>
                      <a:pt x="74" y="7"/>
                    </a:cubicBezTo>
                    <a:cubicBezTo>
                      <a:pt x="74" y="7"/>
                      <a:pt x="74" y="7"/>
                      <a:pt x="74" y="7"/>
                    </a:cubicBezTo>
                    <a:cubicBezTo>
                      <a:pt x="73" y="6"/>
                      <a:pt x="73" y="6"/>
                      <a:pt x="73" y="6"/>
                    </a:cubicBezTo>
                    <a:cubicBezTo>
                      <a:pt x="70" y="7"/>
                      <a:pt x="70" y="7"/>
                      <a:pt x="69" y="4"/>
                    </a:cubicBezTo>
                    <a:cubicBezTo>
                      <a:pt x="68" y="5"/>
                      <a:pt x="68" y="6"/>
                      <a:pt x="67" y="6"/>
                    </a:cubicBezTo>
                    <a:cubicBezTo>
                      <a:pt x="67" y="6"/>
                      <a:pt x="66" y="6"/>
                      <a:pt x="66" y="6"/>
                    </a:cubicBezTo>
                    <a:cubicBezTo>
                      <a:pt x="64" y="6"/>
                      <a:pt x="62" y="5"/>
                      <a:pt x="60" y="6"/>
                    </a:cubicBezTo>
                    <a:cubicBezTo>
                      <a:pt x="60" y="7"/>
                      <a:pt x="59" y="7"/>
                      <a:pt x="59" y="6"/>
                    </a:cubicBezTo>
                    <a:cubicBezTo>
                      <a:pt x="58" y="6"/>
                      <a:pt x="57" y="6"/>
                      <a:pt x="57" y="6"/>
                    </a:cubicBezTo>
                    <a:cubicBezTo>
                      <a:pt x="56" y="4"/>
                      <a:pt x="53" y="3"/>
                      <a:pt x="53" y="0"/>
                    </a:cubicBezTo>
                    <a:cubicBezTo>
                      <a:pt x="53" y="0"/>
                      <a:pt x="53" y="0"/>
                      <a:pt x="53" y="0"/>
                    </a:cubicBezTo>
                    <a:cubicBezTo>
                      <a:pt x="52" y="0"/>
                      <a:pt x="48" y="2"/>
                      <a:pt x="48" y="3"/>
                    </a:cubicBezTo>
                    <a:cubicBezTo>
                      <a:pt x="48" y="5"/>
                      <a:pt x="47" y="8"/>
                      <a:pt x="45" y="11"/>
                    </a:cubicBezTo>
                    <a:cubicBezTo>
                      <a:pt x="44" y="13"/>
                      <a:pt x="44" y="15"/>
                      <a:pt x="42" y="16"/>
                    </a:cubicBezTo>
                    <a:cubicBezTo>
                      <a:pt x="41" y="17"/>
                      <a:pt x="39" y="18"/>
                      <a:pt x="37" y="19"/>
                    </a:cubicBezTo>
                    <a:cubicBezTo>
                      <a:pt x="36" y="20"/>
                      <a:pt x="34" y="20"/>
                      <a:pt x="33" y="21"/>
                    </a:cubicBezTo>
                    <a:cubicBezTo>
                      <a:pt x="32" y="21"/>
                      <a:pt x="31" y="21"/>
                      <a:pt x="31" y="22"/>
                    </a:cubicBezTo>
                    <a:cubicBezTo>
                      <a:pt x="30" y="24"/>
                      <a:pt x="29" y="25"/>
                      <a:pt x="27" y="26"/>
                    </a:cubicBezTo>
                    <a:cubicBezTo>
                      <a:pt x="27" y="27"/>
                      <a:pt x="26" y="28"/>
                      <a:pt x="26" y="29"/>
                    </a:cubicBezTo>
                    <a:cubicBezTo>
                      <a:pt x="26" y="30"/>
                      <a:pt x="26" y="31"/>
                      <a:pt x="26" y="32"/>
                    </a:cubicBezTo>
                    <a:cubicBezTo>
                      <a:pt x="24" y="33"/>
                      <a:pt x="24" y="34"/>
                      <a:pt x="23" y="35"/>
                    </a:cubicBezTo>
                    <a:cubicBezTo>
                      <a:pt x="22" y="38"/>
                      <a:pt x="22" y="41"/>
                      <a:pt x="23" y="43"/>
                    </a:cubicBezTo>
                    <a:cubicBezTo>
                      <a:pt x="23" y="44"/>
                      <a:pt x="24" y="45"/>
                      <a:pt x="24" y="47"/>
                    </a:cubicBezTo>
                    <a:cubicBezTo>
                      <a:pt x="23" y="47"/>
                      <a:pt x="23" y="48"/>
                      <a:pt x="23" y="48"/>
                    </a:cubicBezTo>
                    <a:cubicBezTo>
                      <a:pt x="21" y="50"/>
                      <a:pt x="21" y="52"/>
                      <a:pt x="19" y="54"/>
                    </a:cubicBezTo>
                    <a:cubicBezTo>
                      <a:pt x="17" y="56"/>
                      <a:pt x="13" y="57"/>
                      <a:pt x="12" y="60"/>
                    </a:cubicBezTo>
                    <a:cubicBezTo>
                      <a:pt x="9" y="61"/>
                      <a:pt x="7" y="63"/>
                      <a:pt x="5" y="63"/>
                    </a:cubicBezTo>
                    <a:cubicBezTo>
                      <a:pt x="3" y="63"/>
                      <a:pt x="1" y="63"/>
                      <a:pt x="0" y="65"/>
                    </a:cubicBezTo>
                    <a:cubicBezTo>
                      <a:pt x="30" y="65"/>
                      <a:pt x="30" y="65"/>
                      <a:pt x="30" y="65"/>
                    </a:cubicBezTo>
                    <a:cubicBezTo>
                      <a:pt x="30" y="57"/>
                      <a:pt x="30" y="57"/>
                      <a:pt x="30" y="57"/>
                    </a:cubicBezTo>
                    <a:cubicBezTo>
                      <a:pt x="36" y="52"/>
                      <a:pt x="36" y="52"/>
                      <a:pt x="36" y="52"/>
                    </a:cubicBezTo>
                    <a:cubicBezTo>
                      <a:pt x="40" y="51"/>
                      <a:pt x="40" y="51"/>
                      <a:pt x="40" y="51"/>
                    </a:cubicBezTo>
                    <a:cubicBezTo>
                      <a:pt x="43" y="51"/>
                      <a:pt x="43" y="51"/>
                      <a:pt x="43" y="51"/>
                    </a:cubicBezTo>
                    <a:cubicBezTo>
                      <a:pt x="49" y="50"/>
                      <a:pt x="49" y="50"/>
                      <a:pt x="49" y="50"/>
                    </a:cubicBezTo>
                    <a:cubicBezTo>
                      <a:pt x="51" y="51"/>
                      <a:pt x="51" y="51"/>
                      <a:pt x="51" y="51"/>
                    </a:cubicBezTo>
                    <a:cubicBezTo>
                      <a:pt x="55" y="46"/>
                      <a:pt x="55" y="46"/>
                      <a:pt x="55" y="46"/>
                    </a:cubicBezTo>
                    <a:cubicBezTo>
                      <a:pt x="55" y="46"/>
                      <a:pt x="59" y="43"/>
                      <a:pt x="59" y="43"/>
                    </a:cubicBezTo>
                    <a:cubicBezTo>
                      <a:pt x="60" y="43"/>
                      <a:pt x="64" y="42"/>
                      <a:pt x="64" y="42"/>
                    </a:cubicBezTo>
                    <a:cubicBezTo>
                      <a:pt x="64" y="40"/>
                      <a:pt x="64" y="40"/>
                      <a:pt x="64" y="40"/>
                    </a:cubicBezTo>
                    <a:cubicBezTo>
                      <a:pt x="64" y="39"/>
                      <a:pt x="64" y="39"/>
                      <a:pt x="64" y="39"/>
                    </a:cubicBezTo>
                    <a:cubicBezTo>
                      <a:pt x="63" y="37"/>
                      <a:pt x="63" y="37"/>
                      <a:pt x="63" y="37"/>
                    </a:cubicBezTo>
                    <a:cubicBezTo>
                      <a:pt x="64" y="34"/>
                      <a:pt x="64" y="34"/>
                      <a:pt x="64" y="34"/>
                    </a:cubicBezTo>
                    <a:cubicBezTo>
                      <a:pt x="69" y="33"/>
                      <a:pt x="69" y="33"/>
                      <a:pt x="69" y="33"/>
                    </a:cubicBezTo>
                    <a:cubicBezTo>
                      <a:pt x="69" y="30"/>
                      <a:pt x="69" y="30"/>
                      <a:pt x="69" y="30"/>
                    </a:cubicBezTo>
                    <a:cubicBezTo>
                      <a:pt x="77" y="30"/>
                      <a:pt x="77" y="30"/>
                      <a:pt x="77" y="30"/>
                    </a:cubicBezTo>
                    <a:cubicBezTo>
                      <a:pt x="81" y="31"/>
                      <a:pt x="81" y="31"/>
                      <a:pt x="81" y="31"/>
                    </a:cubicBezTo>
                    <a:cubicBezTo>
                      <a:pt x="81" y="30"/>
                      <a:pt x="81" y="30"/>
                      <a:pt x="81" y="30"/>
                    </a:cubicBezTo>
                    <a:cubicBezTo>
                      <a:pt x="80" y="29"/>
                      <a:pt x="80" y="29"/>
                      <a:pt x="80" y="29"/>
                    </a:cubicBezTo>
                    <a:lnTo>
                      <a:pt x="82"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9" name="Freeform 898">
                <a:extLst>
                  <a:ext uri="{FF2B5EF4-FFF2-40B4-BE49-F238E27FC236}">
                    <a16:creationId xmlns:a16="http://schemas.microsoft.com/office/drawing/2014/main" id="{9760434D-2231-CD67-1C7C-CC694CBDA181}"/>
                  </a:ext>
                </a:extLst>
              </p:cNvPr>
              <p:cNvSpPr>
                <a:spLocks/>
              </p:cNvSpPr>
              <p:nvPr/>
            </p:nvSpPr>
            <p:spPr bwMode="auto">
              <a:xfrm>
                <a:off x="6994525" y="5470525"/>
                <a:ext cx="12700" cy="17463"/>
              </a:xfrm>
              <a:custGeom>
                <a:avLst/>
                <a:gdLst>
                  <a:gd name="T0" fmla="*/ 3 w 3"/>
                  <a:gd name="T1" fmla="*/ 2 h 4"/>
                  <a:gd name="T2" fmla="*/ 2 w 3"/>
                  <a:gd name="T3" fmla="*/ 0 h 4"/>
                  <a:gd name="T4" fmla="*/ 0 w 3"/>
                  <a:gd name="T5" fmla="*/ 3 h 4"/>
                  <a:gd name="T6" fmla="*/ 1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3" y="1"/>
                      <a:pt x="3" y="0"/>
                      <a:pt x="2" y="0"/>
                    </a:cubicBezTo>
                    <a:cubicBezTo>
                      <a:pt x="2" y="0"/>
                      <a:pt x="0" y="2"/>
                      <a:pt x="0" y="3"/>
                    </a:cubicBezTo>
                    <a:cubicBezTo>
                      <a:pt x="0" y="3"/>
                      <a:pt x="1" y="4"/>
                      <a:pt x="1" y="4"/>
                    </a:cubicBezTo>
                    <a:cubicBezTo>
                      <a:pt x="2" y="4"/>
                      <a:pt x="3" y="2"/>
                      <a:pt x="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0" name="Freeform 899">
                <a:extLst>
                  <a:ext uri="{FF2B5EF4-FFF2-40B4-BE49-F238E27FC236}">
                    <a16:creationId xmlns:a16="http://schemas.microsoft.com/office/drawing/2014/main" id="{58E5AC08-2451-F9A5-19E9-80A2F8B2397E}"/>
                  </a:ext>
                </a:extLst>
              </p:cNvPr>
              <p:cNvSpPr>
                <a:spLocks/>
              </p:cNvSpPr>
              <p:nvPr/>
            </p:nvSpPr>
            <p:spPr bwMode="auto">
              <a:xfrm>
                <a:off x="4892675" y="4087813"/>
                <a:ext cx="346075" cy="379413"/>
              </a:xfrm>
              <a:custGeom>
                <a:avLst/>
                <a:gdLst>
                  <a:gd name="T0" fmla="*/ 35 w 83"/>
                  <a:gd name="T1" fmla="*/ 91 h 91"/>
                  <a:gd name="T2" fmla="*/ 35 w 83"/>
                  <a:gd name="T3" fmla="*/ 89 h 91"/>
                  <a:gd name="T4" fmla="*/ 35 w 83"/>
                  <a:gd name="T5" fmla="*/ 87 h 91"/>
                  <a:gd name="T6" fmla="*/ 36 w 83"/>
                  <a:gd name="T7" fmla="*/ 86 h 91"/>
                  <a:gd name="T8" fmla="*/ 38 w 83"/>
                  <a:gd name="T9" fmla="*/ 85 h 91"/>
                  <a:gd name="T10" fmla="*/ 41 w 83"/>
                  <a:gd name="T11" fmla="*/ 89 h 91"/>
                  <a:gd name="T12" fmla="*/ 43 w 83"/>
                  <a:gd name="T13" fmla="*/ 87 h 91"/>
                  <a:gd name="T14" fmla="*/ 52 w 83"/>
                  <a:gd name="T15" fmla="*/ 87 h 91"/>
                  <a:gd name="T16" fmla="*/ 52 w 83"/>
                  <a:gd name="T17" fmla="*/ 85 h 91"/>
                  <a:gd name="T18" fmla="*/ 52 w 83"/>
                  <a:gd name="T19" fmla="*/ 86 h 91"/>
                  <a:gd name="T20" fmla="*/ 78 w 83"/>
                  <a:gd name="T21" fmla="*/ 86 h 91"/>
                  <a:gd name="T22" fmla="*/ 79 w 83"/>
                  <a:gd name="T23" fmla="*/ 81 h 91"/>
                  <a:gd name="T24" fmla="*/ 79 w 83"/>
                  <a:gd name="T25" fmla="*/ 80 h 91"/>
                  <a:gd name="T26" fmla="*/ 77 w 83"/>
                  <a:gd name="T27" fmla="*/ 79 h 91"/>
                  <a:gd name="T28" fmla="*/ 71 w 83"/>
                  <a:gd name="T29" fmla="*/ 17 h 91"/>
                  <a:gd name="T30" fmla="*/ 83 w 83"/>
                  <a:gd name="T31" fmla="*/ 17 h 91"/>
                  <a:gd name="T32" fmla="*/ 57 w 83"/>
                  <a:gd name="T33" fmla="*/ 0 h 91"/>
                  <a:gd name="T34" fmla="*/ 57 w 83"/>
                  <a:gd name="T35" fmla="*/ 10 h 91"/>
                  <a:gd name="T36" fmla="*/ 34 w 83"/>
                  <a:gd name="T37" fmla="*/ 10 h 91"/>
                  <a:gd name="T38" fmla="*/ 34 w 83"/>
                  <a:gd name="T39" fmla="*/ 29 h 91"/>
                  <a:gd name="T40" fmla="*/ 30 w 83"/>
                  <a:gd name="T41" fmla="*/ 30 h 91"/>
                  <a:gd name="T42" fmla="*/ 26 w 83"/>
                  <a:gd name="T43" fmla="*/ 33 h 91"/>
                  <a:gd name="T44" fmla="*/ 27 w 83"/>
                  <a:gd name="T45" fmla="*/ 44 h 91"/>
                  <a:gd name="T46" fmla="*/ 1 w 83"/>
                  <a:gd name="T47" fmla="*/ 45 h 91"/>
                  <a:gd name="T48" fmla="*/ 0 w 83"/>
                  <a:gd name="T49" fmla="*/ 49 h 91"/>
                  <a:gd name="T50" fmla="*/ 1 w 83"/>
                  <a:gd name="T51" fmla="*/ 47 h 91"/>
                  <a:gd name="T52" fmla="*/ 1 w 83"/>
                  <a:gd name="T53" fmla="*/ 47 h 91"/>
                  <a:gd name="T54" fmla="*/ 5 w 83"/>
                  <a:gd name="T55" fmla="*/ 52 h 91"/>
                  <a:gd name="T56" fmla="*/ 5 w 83"/>
                  <a:gd name="T57" fmla="*/ 58 h 91"/>
                  <a:gd name="T58" fmla="*/ 5 w 83"/>
                  <a:gd name="T59" fmla="*/ 59 h 91"/>
                  <a:gd name="T60" fmla="*/ 5 w 83"/>
                  <a:gd name="T61" fmla="*/ 61 h 91"/>
                  <a:gd name="T62" fmla="*/ 6 w 83"/>
                  <a:gd name="T63" fmla="*/ 62 h 91"/>
                  <a:gd name="T64" fmla="*/ 7 w 83"/>
                  <a:gd name="T65" fmla="*/ 65 h 91"/>
                  <a:gd name="T66" fmla="*/ 7 w 83"/>
                  <a:gd name="T67" fmla="*/ 73 h 91"/>
                  <a:gd name="T68" fmla="*/ 6 w 83"/>
                  <a:gd name="T69" fmla="*/ 74 h 91"/>
                  <a:gd name="T70" fmla="*/ 5 w 83"/>
                  <a:gd name="T71" fmla="*/ 78 h 91"/>
                  <a:gd name="T72" fmla="*/ 4 w 83"/>
                  <a:gd name="T73" fmla="*/ 81 h 91"/>
                  <a:gd name="T74" fmla="*/ 5 w 83"/>
                  <a:gd name="T75" fmla="*/ 79 h 91"/>
                  <a:gd name="T76" fmla="*/ 9 w 83"/>
                  <a:gd name="T77" fmla="*/ 80 h 91"/>
                  <a:gd name="T78" fmla="*/ 14 w 83"/>
                  <a:gd name="T79" fmla="*/ 78 h 91"/>
                  <a:gd name="T80" fmla="*/ 18 w 83"/>
                  <a:gd name="T81" fmla="*/ 78 h 91"/>
                  <a:gd name="T82" fmla="*/ 21 w 83"/>
                  <a:gd name="T83" fmla="*/ 81 h 91"/>
                  <a:gd name="T84" fmla="*/ 24 w 83"/>
                  <a:gd name="T85" fmla="*/ 82 h 91"/>
                  <a:gd name="T86" fmla="*/ 25 w 83"/>
                  <a:gd name="T87" fmla="*/ 82 h 91"/>
                  <a:gd name="T88" fmla="*/ 25 w 83"/>
                  <a:gd name="T89" fmla="*/ 85 h 91"/>
                  <a:gd name="T90" fmla="*/ 28 w 83"/>
                  <a:gd name="T91" fmla="*/ 86 h 91"/>
                  <a:gd name="T92" fmla="*/ 29 w 83"/>
                  <a:gd name="T93" fmla="*/ 89 h 91"/>
                  <a:gd name="T94" fmla="*/ 32 w 83"/>
                  <a:gd name="T95" fmla="*/ 91 h 91"/>
                  <a:gd name="T96" fmla="*/ 34 w 83"/>
                  <a:gd name="T97" fmla="*/ 91 h 91"/>
                  <a:gd name="T98" fmla="*/ 35 w 83"/>
                  <a:gd name="T9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91">
                    <a:moveTo>
                      <a:pt x="35" y="91"/>
                    </a:moveTo>
                    <a:cubicBezTo>
                      <a:pt x="35" y="91"/>
                      <a:pt x="35" y="89"/>
                      <a:pt x="35" y="89"/>
                    </a:cubicBezTo>
                    <a:cubicBezTo>
                      <a:pt x="35" y="89"/>
                      <a:pt x="35" y="88"/>
                      <a:pt x="35" y="87"/>
                    </a:cubicBezTo>
                    <a:cubicBezTo>
                      <a:pt x="36" y="87"/>
                      <a:pt x="36" y="86"/>
                      <a:pt x="36" y="86"/>
                    </a:cubicBezTo>
                    <a:cubicBezTo>
                      <a:pt x="38" y="85"/>
                      <a:pt x="38" y="85"/>
                      <a:pt x="38" y="85"/>
                    </a:cubicBezTo>
                    <a:cubicBezTo>
                      <a:pt x="41" y="89"/>
                      <a:pt x="41" y="89"/>
                      <a:pt x="41" y="89"/>
                    </a:cubicBezTo>
                    <a:cubicBezTo>
                      <a:pt x="43" y="87"/>
                      <a:pt x="43" y="87"/>
                      <a:pt x="43" y="87"/>
                    </a:cubicBezTo>
                    <a:cubicBezTo>
                      <a:pt x="52" y="87"/>
                      <a:pt x="52" y="87"/>
                      <a:pt x="52" y="87"/>
                    </a:cubicBezTo>
                    <a:cubicBezTo>
                      <a:pt x="52" y="85"/>
                      <a:pt x="52" y="85"/>
                      <a:pt x="52" y="85"/>
                    </a:cubicBezTo>
                    <a:cubicBezTo>
                      <a:pt x="52" y="86"/>
                      <a:pt x="52" y="86"/>
                      <a:pt x="52" y="86"/>
                    </a:cubicBezTo>
                    <a:cubicBezTo>
                      <a:pt x="78" y="86"/>
                      <a:pt x="78" y="86"/>
                      <a:pt x="78" y="86"/>
                    </a:cubicBezTo>
                    <a:cubicBezTo>
                      <a:pt x="79" y="81"/>
                      <a:pt x="79" y="81"/>
                      <a:pt x="79" y="81"/>
                    </a:cubicBezTo>
                    <a:cubicBezTo>
                      <a:pt x="79" y="81"/>
                      <a:pt x="79" y="80"/>
                      <a:pt x="79" y="80"/>
                    </a:cubicBezTo>
                    <a:cubicBezTo>
                      <a:pt x="79" y="80"/>
                      <a:pt x="77" y="79"/>
                      <a:pt x="77" y="79"/>
                    </a:cubicBezTo>
                    <a:cubicBezTo>
                      <a:pt x="71" y="17"/>
                      <a:pt x="71" y="17"/>
                      <a:pt x="71" y="17"/>
                    </a:cubicBezTo>
                    <a:cubicBezTo>
                      <a:pt x="83" y="17"/>
                      <a:pt x="83" y="17"/>
                      <a:pt x="83" y="17"/>
                    </a:cubicBezTo>
                    <a:cubicBezTo>
                      <a:pt x="57" y="0"/>
                      <a:pt x="57" y="0"/>
                      <a:pt x="57" y="0"/>
                    </a:cubicBezTo>
                    <a:cubicBezTo>
                      <a:pt x="57" y="10"/>
                      <a:pt x="57" y="10"/>
                      <a:pt x="57" y="10"/>
                    </a:cubicBezTo>
                    <a:cubicBezTo>
                      <a:pt x="34" y="10"/>
                      <a:pt x="34" y="10"/>
                      <a:pt x="34" y="10"/>
                    </a:cubicBezTo>
                    <a:cubicBezTo>
                      <a:pt x="34" y="29"/>
                      <a:pt x="34" y="29"/>
                      <a:pt x="34" y="29"/>
                    </a:cubicBezTo>
                    <a:cubicBezTo>
                      <a:pt x="30" y="30"/>
                      <a:pt x="30" y="30"/>
                      <a:pt x="30" y="30"/>
                    </a:cubicBezTo>
                    <a:cubicBezTo>
                      <a:pt x="26" y="33"/>
                      <a:pt x="26" y="33"/>
                      <a:pt x="26" y="33"/>
                    </a:cubicBezTo>
                    <a:cubicBezTo>
                      <a:pt x="27" y="44"/>
                      <a:pt x="27" y="44"/>
                      <a:pt x="27" y="44"/>
                    </a:cubicBezTo>
                    <a:cubicBezTo>
                      <a:pt x="1" y="45"/>
                      <a:pt x="1" y="45"/>
                      <a:pt x="1" y="45"/>
                    </a:cubicBezTo>
                    <a:cubicBezTo>
                      <a:pt x="0" y="46"/>
                      <a:pt x="0" y="47"/>
                      <a:pt x="0" y="49"/>
                    </a:cubicBezTo>
                    <a:cubicBezTo>
                      <a:pt x="1" y="48"/>
                      <a:pt x="0" y="47"/>
                      <a:pt x="1" y="47"/>
                    </a:cubicBezTo>
                    <a:cubicBezTo>
                      <a:pt x="1" y="47"/>
                      <a:pt x="1" y="47"/>
                      <a:pt x="1" y="47"/>
                    </a:cubicBezTo>
                    <a:cubicBezTo>
                      <a:pt x="2" y="49"/>
                      <a:pt x="4" y="50"/>
                      <a:pt x="5" y="52"/>
                    </a:cubicBezTo>
                    <a:cubicBezTo>
                      <a:pt x="6" y="54"/>
                      <a:pt x="6" y="56"/>
                      <a:pt x="5" y="58"/>
                    </a:cubicBezTo>
                    <a:cubicBezTo>
                      <a:pt x="4" y="58"/>
                      <a:pt x="4" y="58"/>
                      <a:pt x="5" y="59"/>
                    </a:cubicBezTo>
                    <a:cubicBezTo>
                      <a:pt x="4" y="60"/>
                      <a:pt x="4" y="61"/>
                      <a:pt x="5" y="61"/>
                    </a:cubicBezTo>
                    <a:cubicBezTo>
                      <a:pt x="6" y="61"/>
                      <a:pt x="6" y="62"/>
                      <a:pt x="6" y="62"/>
                    </a:cubicBezTo>
                    <a:cubicBezTo>
                      <a:pt x="6" y="63"/>
                      <a:pt x="7" y="64"/>
                      <a:pt x="7" y="65"/>
                    </a:cubicBezTo>
                    <a:cubicBezTo>
                      <a:pt x="7" y="68"/>
                      <a:pt x="7" y="70"/>
                      <a:pt x="7" y="73"/>
                    </a:cubicBezTo>
                    <a:cubicBezTo>
                      <a:pt x="6" y="73"/>
                      <a:pt x="6" y="74"/>
                      <a:pt x="6" y="74"/>
                    </a:cubicBezTo>
                    <a:cubicBezTo>
                      <a:pt x="6" y="75"/>
                      <a:pt x="5" y="77"/>
                      <a:pt x="5" y="78"/>
                    </a:cubicBezTo>
                    <a:cubicBezTo>
                      <a:pt x="5" y="79"/>
                      <a:pt x="4" y="80"/>
                      <a:pt x="4" y="81"/>
                    </a:cubicBezTo>
                    <a:cubicBezTo>
                      <a:pt x="5" y="79"/>
                      <a:pt x="5" y="79"/>
                      <a:pt x="5" y="79"/>
                    </a:cubicBezTo>
                    <a:cubicBezTo>
                      <a:pt x="9" y="80"/>
                      <a:pt x="9" y="80"/>
                      <a:pt x="9" y="80"/>
                    </a:cubicBezTo>
                    <a:cubicBezTo>
                      <a:pt x="14" y="78"/>
                      <a:pt x="14" y="78"/>
                      <a:pt x="14" y="78"/>
                    </a:cubicBezTo>
                    <a:cubicBezTo>
                      <a:pt x="18" y="78"/>
                      <a:pt x="18" y="78"/>
                      <a:pt x="18" y="78"/>
                    </a:cubicBezTo>
                    <a:cubicBezTo>
                      <a:pt x="21" y="81"/>
                      <a:pt x="21" y="81"/>
                      <a:pt x="21" y="81"/>
                    </a:cubicBezTo>
                    <a:cubicBezTo>
                      <a:pt x="24" y="82"/>
                      <a:pt x="24" y="82"/>
                      <a:pt x="24" y="82"/>
                    </a:cubicBezTo>
                    <a:cubicBezTo>
                      <a:pt x="25" y="82"/>
                      <a:pt x="25" y="82"/>
                      <a:pt x="25" y="82"/>
                    </a:cubicBezTo>
                    <a:cubicBezTo>
                      <a:pt x="25" y="85"/>
                      <a:pt x="25" y="85"/>
                      <a:pt x="25" y="85"/>
                    </a:cubicBezTo>
                    <a:cubicBezTo>
                      <a:pt x="28" y="86"/>
                      <a:pt x="28" y="86"/>
                      <a:pt x="28" y="86"/>
                    </a:cubicBezTo>
                    <a:cubicBezTo>
                      <a:pt x="29" y="89"/>
                      <a:pt x="29" y="89"/>
                      <a:pt x="29" y="89"/>
                    </a:cubicBezTo>
                    <a:cubicBezTo>
                      <a:pt x="32" y="91"/>
                      <a:pt x="32" y="91"/>
                      <a:pt x="32" y="91"/>
                    </a:cubicBezTo>
                    <a:cubicBezTo>
                      <a:pt x="34" y="91"/>
                      <a:pt x="34" y="91"/>
                      <a:pt x="34" y="91"/>
                    </a:cubicBezTo>
                    <a:lnTo>
                      <a:pt x="35" y="9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1" name="Freeform 900">
                <a:extLst>
                  <a:ext uri="{FF2B5EF4-FFF2-40B4-BE49-F238E27FC236}">
                    <a16:creationId xmlns:a16="http://schemas.microsoft.com/office/drawing/2014/main" id="{503017BD-BEA3-18E2-DC4B-7DE3C9CDB155}"/>
                  </a:ext>
                </a:extLst>
              </p:cNvPr>
              <p:cNvSpPr>
                <a:spLocks/>
              </p:cNvSpPr>
              <p:nvPr/>
            </p:nvSpPr>
            <p:spPr bwMode="auto">
              <a:xfrm>
                <a:off x="5026025" y="4159250"/>
                <a:ext cx="466725" cy="446088"/>
              </a:xfrm>
              <a:custGeom>
                <a:avLst/>
                <a:gdLst>
                  <a:gd name="T0" fmla="*/ 107 w 112"/>
                  <a:gd name="T1" fmla="*/ 70 h 107"/>
                  <a:gd name="T2" fmla="*/ 112 w 112"/>
                  <a:gd name="T3" fmla="*/ 63 h 107"/>
                  <a:gd name="T4" fmla="*/ 106 w 112"/>
                  <a:gd name="T5" fmla="*/ 44 h 107"/>
                  <a:gd name="T6" fmla="*/ 105 w 112"/>
                  <a:gd name="T7" fmla="*/ 38 h 107"/>
                  <a:gd name="T8" fmla="*/ 100 w 112"/>
                  <a:gd name="T9" fmla="*/ 37 h 107"/>
                  <a:gd name="T10" fmla="*/ 99 w 112"/>
                  <a:gd name="T11" fmla="*/ 35 h 107"/>
                  <a:gd name="T12" fmla="*/ 94 w 112"/>
                  <a:gd name="T13" fmla="*/ 33 h 107"/>
                  <a:gd name="T14" fmla="*/ 91 w 112"/>
                  <a:gd name="T15" fmla="*/ 29 h 107"/>
                  <a:gd name="T16" fmla="*/ 39 w 112"/>
                  <a:gd name="T17" fmla="*/ 0 h 107"/>
                  <a:gd name="T18" fmla="*/ 47 w 112"/>
                  <a:gd name="T19" fmla="*/ 63 h 107"/>
                  <a:gd name="T20" fmla="*/ 46 w 112"/>
                  <a:gd name="T21" fmla="*/ 69 h 107"/>
                  <a:gd name="T22" fmla="*/ 20 w 112"/>
                  <a:gd name="T23" fmla="*/ 68 h 107"/>
                  <a:gd name="T24" fmla="*/ 11 w 112"/>
                  <a:gd name="T25" fmla="*/ 70 h 107"/>
                  <a:gd name="T26" fmla="*/ 6 w 112"/>
                  <a:gd name="T27" fmla="*/ 68 h 107"/>
                  <a:gd name="T28" fmla="*/ 3 w 112"/>
                  <a:gd name="T29" fmla="*/ 70 h 107"/>
                  <a:gd name="T30" fmla="*/ 3 w 112"/>
                  <a:gd name="T31" fmla="*/ 74 h 107"/>
                  <a:gd name="T32" fmla="*/ 0 w 112"/>
                  <a:gd name="T33" fmla="*/ 74 h 107"/>
                  <a:gd name="T34" fmla="*/ 2 w 112"/>
                  <a:gd name="T35" fmla="*/ 78 h 107"/>
                  <a:gd name="T36" fmla="*/ 2 w 112"/>
                  <a:gd name="T37" fmla="*/ 82 h 107"/>
                  <a:gd name="T38" fmla="*/ 5 w 112"/>
                  <a:gd name="T39" fmla="*/ 84 h 107"/>
                  <a:gd name="T40" fmla="*/ 6 w 112"/>
                  <a:gd name="T41" fmla="*/ 88 h 107"/>
                  <a:gd name="T42" fmla="*/ 6 w 112"/>
                  <a:gd name="T43" fmla="*/ 91 h 107"/>
                  <a:gd name="T44" fmla="*/ 7 w 112"/>
                  <a:gd name="T45" fmla="*/ 94 h 107"/>
                  <a:gd name="T46" fmla="*/ 11 w 112"/>
                  <a:gd name="T47" fmla="*/ 94 h 107"/>
                  <a:gd name="T48" fmla="*/ 13 w 112"/>
                  <a:gd name="T49" fmla="*/ 92 h 107"/>
                  <a:gd name="T50" fmla="*/ 18 w 112"/>
                  <a:gd name="T51" fmla="*/ 93 h 107"/>
                  <a:gd name="T52" fmla="*/ 20 w 112"/>
                  <a:gd name="T53" fmla="*/ 92 h 107"/>
                  <a:gd name="T54" fmla="*/ 20 w 112"/>
                  <a:gd name="T55" fmla="*/ 90 h 107"/>
                  <a:gd name="T56" fmla="*/ 24 w 112"/>
                  <a:gd name="T57" fmla="*/ 94 h 107"/>
                  <a:gd name="T58" fmla="*/ 23 w 112"/>
                  <a:gd name="T59" fmla="*/ 96 h 107"/>
                  <a:gd name="T60" fmla="*/ 24 w 112"/>
                  <a:gd name="T61" fmla="*/ 101 h 107"/>
                  <a:gd name="T62" fmla="*/ 27 w 112"/>
                  <a:gd name="T63" fmla="*/ 103 h 107"/>
                  <a:gd name="T64" fmla="*/ 29 w 112"/>
                  <a:gd name="T65" fmla="*/ 107 h 107"/>
                  <a:gd name="T66" fmla="*/ 35 w 112"/>
                  <a:gd name="T67" fmla="*/ 107 h 107"/>
                  <a:gd name="T68" fmla="*/ 38 w 112"/>
                  <a:gd name="T69" fmla="*/ 105 h 107"/>
                  <a:gd name="T70" fmla="*/ 40 w 112"/>
                  <a:gd name="T71" fmla="*/ 104 h 107"/>
                  <a:gd name="T72" fmla="*/ 41 w 112"/>
                  <a:gd name="T73" fmla="*/ 102 h 107"/>
                  <a:gd name="T74" fmla="*/ 43 w 112"/>
                  <a:gd name="T75" fmla="*/ 106 h 107"/>
                  <a:gd name="T76" fmla="*/ 46 w 112"/>
                  <a:gd name="T77" fmla="*/ 104 h 107"/>
                  <a:gd name="T78" fmla="*/ 47 w 112"/>
                  <a:gd name="T79" fmla="*/ 101 h 107"/>
                  <a:gd name="T80" fmla="*/ 48 w 112"/>
                  <a:gd name="T81" fmla="*/ 98 h 107"/>
                  <a:gd name="T82" fmla="*/ 47 w 112"/>
                  <a:gd name="T83" fmla="*/ 95 h 107"/>
                  <a:gd name="T84" fmla="*/ 54 w 112"/>
                  <a:gd name="T85" fmla="*/ 91 h 107"/>
                  <a:gd name="T86" fmla="*/ 55 w 112"/>
                  <a:gd name="T87" fmla="*/ 89 h 107"/>
                  <a:gd name="T88" fmla="*/ 54 w 112"/>
                  <a:gd name="T89" fmla="*/ 86 h 107"/>
                  <a:gd name="T90" fmla="*/ 57 w 112"/>
                  <a:gd name="T91" fmla="*/ 84 h 107"/>
                  <a:gd name="T92" fmla="*/ 60 w 112"/>
                  <a:gd name="T93" fmla="*/ 85 h 107"/>
                  <a:gd name="T94" fmla="*/ 61 w 112"/>
                  <a:gd name="T95" fmla="*/ 82 h 107"/>
                  <a:gd name="T96" fmla="*/ 64 w 112"/>
                  <a:gd name="T97" fmla="*/ 80 h 107"/>
                  <a:gd name="T98" fmla="*/ 66 w 112"/>
                  <a:gd name="T99" fmla="*/ 78 h 107"/>
                  <a:gd name="T100" fmla="*/ 70 w 112"/>
                  <a:gd name="T101" fmla="*/ 78 h 107"/>
                  <a:gd name="T102" fmla="*/ 76 w 112"/>
                  <a:gd name="T103" fmla="*/ 74 h 107"/>
                  <a:gd name="T104" fmla="*/ 85 w 112"/>
                  <a:gd name="T105" fmla="*/ 73 h 107"/>
                  <a:gd name="T106" fmla="*/ 93 w 112"/>
                  <a:gd name="T107" fmla="*/ 7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07">
                    <a:moveTo>
                      <a:pt x="93" y="71"/>
                    </a:moveTo>
                    <a:cubicBezTo>
                      <a:pt x="107" y="70"/>
                      <a:pt x="107" y="70"/>
                      <a:pt x="107" y="70"/>
                    </a:cubicBezTo>
                    <a:cubicBezTo>
                      <a:pt x="110" y="67"/>
                      <a:pt x="110" y="67"/>
                      <a:pt x="110" y="67"/>
                    </a:cubicBezTo>
                    <a:cubicBezTo>
                      <a:pt x="112" y="63"/>
                      <a:pt x="112" y="63"/>
                      <a:pt x="112" y="63"/>
                    </a:cubicBezTo>
                    <a:cubicBezTo>
                      <a:pt x="112" y="43"/>
                      <a:pt x="112" y="43"/>
                      <a:pt x="112" y="43"/>
                    </a:cubicBezTo>
                    <a:cubicBezTo>
                      <a:pt x="106" y="44"/>
                      <a:pt x="106" y="44"/>
                      <a:pt x="106" y="44"/>
                    </a:cubicBezTo>
                    <a:cubicBezTo>
                      <a:pt x="105" y="44"/>
                      <a:pt x="105" y="44"/>
                      <a:pt x="105" y="44"/>
                    </a:cubicBezTo>
                    <a:cubicBezTo>
                      <a:pt x="105" y="38"/>
                      <a:pt x="105" y="38"/>
                      <a:pt x="105" y="38"/>
                    </a:cubicBezTo>
                    <a:cubicBezTo>
                      <a:pt x="102" y="36"/>
                      <a:pt x="102" y="36"/>
                      <a:pt x="102" y="36"/>
                    </a:cubicBezTo>
                    <a:cubicBezTo>
                      <a:pt x="100" y="37"/>
                      <a:pt x="100" y="37"/>
                      <a:pt x="100" y="37"/>
                    </a:cubicBezTo>
                    <a:cubicBezTo>
                      <a:pt x="99" y="37"/>
                      <a:pt x="99" y="37"/>
                      <a:pt x="99" y="37"/>
                    </a:cubicBezTo>
                    <a:cubicBezTo>
                      <a:pt x="99" y="35"/>
                      <a:pt x="99" y="35"/>
                      <a:pt x="99" y="35"/>
                    </a:cubicBezTo>
                    <a:cubicBezTo>
                      <a:pt x="96" y="35"/>
                      <a:pt x="96" y="35"/>
                      <a:pt x="96" y="35"/>
                    </a:cubicBezTo>
                    <a:cubicBezTo>
                      <a:pt x="94" y="33"/>
                      <a:pt x="94" y="33"/>
                      <a:pt x="94" y="33"/>
                    </a:cubicBezTo>
                    <a:cubicBezTo>
                      <a:pt x="91" y="32"/>
                      <a:pt x="91" y="32"/>
                      <a:pt x="91" y="32"/>
                    </a:cubicBezTo>
                    <a:cubicBezTo>
                      <a:pt x="91" y="29"/>
                      <a:pt x="91" y="29"/>
                      <a:pt x="91" y="29"/>
                    </a:cubicBezTo>
                    <a:cubicBezTo>
                      <a:pt x="51" y="0"/>
                      <a:pt x="51" y="0"/>
                      <a:pt x="51" y="0"/>
                    </a:cubicBezTo>
                    <a:cubicBezTo>
                      <a:pt x="39" y="0"/>
                      <a:pt x="39" y="0"/>
                      <a:pt x="39" y="0"/>
                    </a:cubicBezTo>
                    <a:cubicBezTo>
                      <a:pt x="45" y="62"/>
                      <a:pt x="45" y="62"/>
                      <a:pt x="45" y="62"/>
                    </a:cubicBezTo>
                    <a:cubicBezTo>
                      <a:pt x="45" y="62"/>
                      <a:pt x="47" y="63"/>
                      <a:pt x="47" y="63"/>
                    </a:cubicBezTo>
                    <a:cubicBezTo>
                      <a:pt x="47" y="63"/>
                      <a:pt x="47" y="64"/>
                      <a:pt x="47" y="64"/>
                    </a:cubicBezTo>
                    <a:cubicBezTo>
                      <a:pt x="46" y="69"/>
                      <a:pt x="46" y="69"/>
                      <a:pt x="46" y="69"/>
                    </a:cubicBezTo>
                    <a:cubicBezTo>
                      <a:pt x="20" y="69"/>
                      <a:pt x="20" y="69"/>
                      <a:pt x="20" y="69"/>
                    </a:cubicBezTo>
                    <a:cubicBezTo>
                      <a:pt x="20" y="68"/>
                      <a:pt x="20" y="68"/>
                      <a:pt x="20" y="68"/>
                    </a:cubicBezTo>
                    <a:cubicBezTo>
                      <a:pt x="20" y="70"/>
                      <a:pt x="20" y="70"/>
                      <a:pt x="20" y="70"/>
                    </a:cubicBezTo>
                    <a:cubicBezTo>
                      <a:pt x="11" y="70"/>
                      <a:pt x="11" y="70"/>
                      <a:pt x="11" y="70"/>
                    </a:cubicBezTo>
                    <a:cubicBezTo>
                      <a:pt x="9" y="72"/>
                      <a:pt x="9" y="72"/>
                      <a:pt x="9" y="72"/>
                    </a:cubicBezTo>
                    <a:cubicBezTo>
                      <a:pt x="6" y="68"/>
                      <a:pt x="6" y="68"/>
                      <a:pt x="6" y="68"/>
                    </a:cubicBezTo>
                    <a:cubicBezTo>
                      <a:pt x="4" y="69"/>
                      <a:pt x="4" y="69"/>
                      <a:pt x="4" y="69"/>
                    </a:cubicBezTo>
                    <a:cubicBezTo>
                      <a:pt x="4" y="69"/>
                      <a:pt x="4" y="70"/>
                      <a:pt x="3" y="70"/>
                    </a:cubicBezTo>
                    <a:cubicBezTo>
                      <a:pt x="3" y="71"/>
                      <a:pt x="3" y="72"/>
                      <a:pt x="3" y="72"/>
                    </a:cubicBezTo>
                    <a:cubicBezTo>
                      <a:pt x="3" y="72"/>
                      <a:pt x="3" y="74"/>
                      <a:pt x="3" y="74"/>
                    </a:cubicBezTo>
                    <a:cubicBezTo>
                      <a:pt x="2" y="74"/>
                      <a:pt x="2" y="74"/>
                      <a:pt x="2" y="74"/>
                    </a:cubicBezTo>
                    <a:cubicBezTo>
                      <a:pt x="0" y="74"/>
                      <a:pt x="0" y="74"/>
                      <a:pt x="0" y="74"/>
                    </a:cubicBezTo>
                    <a:cubicBezTo>
                      <a:pt x="0" y="77"/>
                      <a:pt x="0" y="77"/>
                      <a:pt x="0" y="77"/>
                    </a:cubicBezTo>
                    <a:cubicBezTo>
                      <a:pt x="2" y="78"/>
                      <a:pt x="2" y="78"/>
                      <a:pt x="2" y="78"/>
                    </a:cubicBezTo>
                    <a:cubicBezTo>
                      <a:pt x="3" y="80"/>
                      <a:pt x="3" y="80"/>
                      <a:pt x="3" y="80"/>
                    </a:cubicBezTo>
                    <a:cubicBezTo>
                      <a:pt x="2" y="82"/>
                      <a:pt x="2" y="82"/>
                      <a:pt x="2" y="82"/>
                    </a:cubicBezTo>
                    <a:cubicBezTo>
                      <a:pt x="3" y="85"/>
                      <a:pt x="3" y="85"/>
                      <a:pt x="3" y="85"/>
                    </a:cubicBezTo>
                    <a:cubicBezTo>
                      <a:pt x="5" y="84"/>
                      <a:pt x="5" y="84"/>
                      <a:pt x="5" y="84"/>
                    </a:cubicBezTo>
                    <a:cubicBezTo>
                      <a:pt x="7" y="87"/>
                      <a:pt x="7" y="87"/>
                      <a:pt x="7" y="87"/>
                    </a:cubicBezTo>
                    <a:cubicBezTo>
                      <a:pt x="6" y="88"/>
                      <a:pt x="6" y="88"/>
                      <a:pt x="6" y="88"/>
                    </a:cubicBezTo>
                    <a:cubicBezTo>
                      <a:pt x="6" y="89"/>
                      <a:pt x="6" y="89"/>
                      <a:pt x="6" y="89"/>
                    </a:cubicBezTo>
                    <a:cubicBezTo>
                      <a:pt x="6" y="91"/>
                      <a:pt x="6" y="91"/>
                      <a:pt x="6" y="91"/>
                    </a:cubicBezTo>
                    <a:cubicBezTo>
                      <a:pt x="5" y="92"/>
                      <a:pt x="5" y="92"/>
                      <a:pt x="5" y="92"/>
                    </a:cubicBezTo>
                    <a:cubicBezTo>
                      <a:pt x="7" y="94"/>
                      <a:pt x="7" y="94"/>
                      <a:pt x="7" y="94"/>
                    </a:cubicBezTo>
                    <a:cubicBezTo>
                      <a:pt x="9" y="92"/>
                      <a:pt x="9" y="92"/>
                      <a:pt x="9" y="92"/>
                    </a:cubicBezTo>
                    <a:cubicBezTo>
                      <a:pt x="11" y="94"/>
                      <a:pt x="11" y="94"/>
                      <a:pt x="11" y="94"/>
                    </a:cubicBezTo>
                    <a:cubicBezTo>
                      <a:pt x="12" y="94"/>
                      <a:pt x="12" y="94"/>
                      <a:pt x="12" y="94"/>
                    </a:cubicBezTo>
                    <a:cubicBezTo>
                      <a:pt x="13" y="92"/>
                      <a:pt x="13" y="92"/>
                      <a:pt x="13" y="92"/>
                    </a:cubicBezTo>
                    <a:cubicBezTo>
                      <a:pt x="17" y="93"/>
                      <a:pt x="17" y="93"/>
                      <a:pt x="17" y="93"/>
                    </a:cubicBezTo>
                    <a:cubicBezTo>
                      <a:pt x="18" y="93"/>
                      <a:pt x="18" y="93"/>
                      <a:pt x="18" y="93"/>
                    </a:cubicBezTo>
                    <a:cubicBezTo>
                      <a:pt x="18" y="92"/>
                      <a:pt x="18" y="92"/>
                      <a:pt x="18" y="92"/>
                    </a:cubicBezTo>
                    <a:cubicBezTo>
                      <a:pt x="20" y="92"/>
                      <a:pt x="20" y="92"/>
                      <a:pt x="20" y="92"/>
                    </a:cubicBezTo>
                    <a:cubicBezTo>
                      <a:pt x="20" y="91"/>
                      <a:pt x="20" y="91"/>
                      <a:pt x="20" y="91"/>
                    </a:cubicBezTo>
                    <a:cubicBezTo>
                      <a:pt x="20" y="90"/>
                      <a:pt x="20" y="90"/>
                      <a:pt x="20" y="90"/>
                    </a:cubicBezTo>
                    <a:cubicBezTo>
                      <a:pt x="22" y="90"/>
                      <a:pt x="22" y="90"/>
                      <a:pt x="22" y="90"/>
                    </a:cubicBezTo>
                    <a:cubicBezTo>
                      <a:pt x="24" y="94"/>
                      <a:pt x="24" y="94"/>
                      <a:pt x="24" y="94"/>
                    </a:cubicBezTo>
                    <a:cubicBezTo>
                      <a:pt x="23" y="95"/>
                      <a:pt x="23" y="95"/>
                      <a:pt x="23" y="95"/>
                    </a:cubicBezTo>
                    <a:cubicBezTo>
                      <a:pt x="23" y="96"/>
                      <a:pt x="23" y="96"/>
                      <a:pt x="23" y="96"/>
                    </a:cubicBezTo>
                    <a:cubicBezTo>
                      <a:pt x="27" y="98"/>
                      <a:pt x="27" y="98"/>
                      <a:pt x="27" y="98"/>
                    </a:cubicBezTo>
                    <a:cubicBezTo>
                      <a:pt x="24" y="101"/>
                      <a:pt x="24" y="101"/>
                      <a:pt x="24" y="101"/>
                    </a:cubicBezTo>
                    <a:cubicBezTo>
                      <a:pt x="27" y="101"/>
                      <a:pt x="27" y="101"/>
                      <a:pt x="27" y="101"/>
                    </a:cubicBezTo>
                    <a:cubicBezTo>
                      <a:pt x="27" y="103"/>
                      <a:pt x="27" y="103"/>
                      <a:pt x="27" y="103"/>
                    </a:cubicBezTo>
                    <a:cubicBezTo>
                      <a:pt x="29" y="105"/>
                      <a:pt x="29" y="105"/>
                      <a:pt x="29" y="105"/>
                    </a:cubicBezTo>
                    <a:cubicBezTo>
                      <a:pt x="29" y="107"/>
                      <a:pt x="29" y="107"/>
                      <a:pt x="29" y="107"/>
                    </a:cubicBezTo>
                    <a:cubicBezTo>
                      <a:pt x="32" y="104"/>
                      <a:pt x="32" y="104"/>
                      <a:pt x="32" y="104"/>
                    </a:cubicBezTo>
                    <a:cubicBezTo>
                      <a:pt x="35" y="107"/>
                      <a:pt x="35" y="107"/>
                      <a:pt x="35" y="107"/>
                    </a:cubicBezTo>
                    <a:cubicBezTo>
                      <a:pt x="36" y="105"/>
                      <a:pt x="36" y="105"/>
                      <a:pt x="36" y="105"/>
                    </a:cubicBezTo>
                    <a:cubicBezTo>
                      <a:pt x="38" y="105"/>
                      <a:pt x="38" y="105"/>
                      <a:pt x="38" y="105"/>
                    </a:cubicBezTo>
                    <a:cubicBezTo>
                      <a:pt x="38" y="103"/>
                      <a:pt x="38" y="103"/>
                      <a:pt x="38" y="103"/>
                    </a:cubicBezTo>
                    <a:cubicBezTo>
                      <a:pt x="40" y="104"/>
                      <a:pt x="40" y="104"/>
                      <a:pt x="40" y="104"/>
                    </a:cubicBezTo>
                    <a:cubicBezTo>
                      <a:pt x="40" y="103"/>
                      <a:pt x="40" y="103"/>
                      <a:pt x="40" y="103"/>
                    </a:cubicBezTo>
                    <a:cubicBezTo>
                      <a:pt x="41" y="102"/>
                      <a:pt x="41" y="102"/>
                      <a:pt x="41" y="102"/>
                    </a:cubicBezTo>
                    <a:cubicBezTo>
                      <a:pt x="42" y="106"/>
                      <a:pt x="42" y="106"/>
                      <a:pt x="42" y="106"/>
                    </a:cubicBezTo>
                    <a:cubicBezTo>
                      <a:pt x="43" y="106"/>
                      <a:pt x="43" y="106"/>
                      <a:pt x="43" y="106"/>
                    </a:cubicBezTo>
                    <a:cubicBezTo>
                      <a:pt x="44" y="104"/>
                      <a:pt x="44" y="104"/>
                      <a:pt x="44" y="104"/>
                    </a:cubicBezTo>
                    <a:cubicBezTo>
                      <a:pt x="46" y="104"/>
                      <a:pt x="46" y="104"/>
                      <a:pt x="46" y="104"/>
                    </a:cubicBezTo>
                    <a:cubicBezTo>
                      <a:pt x="46" y="103"/>
                      <a:pt x="46" y="103"/>
                      <a:pt x="46" y="103"/>
                    </a:cubicBezTo>
                    <a:cubicBezTo>
                      <a:pt x="46" y="103"/>
                      <a:pt x="47" y="102"/>
                      <a:pt x="47" y="101"/>
                    </a:cubicBezTo>
                    <a:cubicBezTo>
                      <a:pt x="47" y="101"/>
                      <a:pt x="46" y="100"/>
                      <a:pt x="46" y="100"/>
                    </a:cubicBezTo>
                    <a:cubicBezTo>
                      <a:pt x="48" y="98"/>
                      <a:pt x="48" y="98"/>
                      <a:pt x="48" y="98"/>
                    </a:cubicBezTo>
                    <a:cubicBezTo>
                      <a:pt x="48" y="96"/>
                      <a:pt x="48" y="96"/>
                      <a:pt x="48" y="96"/>
                    </a:cubicBezTo>
                    <a:cubicBezTo>
                      <a:pt x="47" y="95"/>
                      <a:pt x="47" y="95"/>
                      <a:pt x="47" y="95"/>
                    </a:cubicBezTo>
                    <a:cubicBezTo>
                      <a:pt x="52" y="93"/>
                      <a:pt x="52" y="93"/>
                      <a:pt x="52" y="93"/>
                    </a:cubicBezTo>
                    <a:cubicBezTo>
                      <a:pt x="54" y="91"/>
                      <a:pt x="54" y="91"/>
                      <a:pt x="54" y="91"/>
                    </a:cubicBezTo>
                    <a:cubicBezTo>
                      <a:pt x="53" y="89"/>
                      <a:pt x="53" y="89"/>
                      <a:pt x="53" y="89"/>
                    </a:cubicBezTo>
                    <a:cubicBezTo>
                      <a:pt x="55" y="89"/>
                      <a:pt x="55" y="89"/>
                      <a:pt x="55" y="89"/>
                    </a:cubicBezTo>
                    <a:cubicBezTo>
                      <a:pt x="54" y="87"/>
                      <a:pt x="54" y="87"/>
                      <a:pt x="54" y="87"/>
                    </a:cubicBezTo>
                    <a:cubicBezTo>
                      <a:pt x="54" y="86"/>
                      <a:pt x="54" y="86"/>
                      <a:pt x="54" y="86"/>
                    </a:cubicBezTo>
                    <a:cubicBezTo>
                      <a:pt x="57" y="83"/>
                      <a:pt x="57" y="83"/>
                      <a:pt x="57" y="83"/>
                    </a:cubicBezTo>
                    <a:cubicBezTo>
                      <a:pt x="57" y="84"/>
                      <a:pt x="57" y="84"/>
                      <a:pt x="57" y="84"/>
                    </a:cubicBezTo>
                    <a:cubicBezTo>
                      <a:pt x="60" y="86"/>
                      <a:pt x="60" y="86"/>
                      <a:pt x="60" y="86"/>
                    </a:cubicBezTo>
                    <a:cubicBezTo>
                      <a:pt x="60" y="85"/>
                      <a:pt x="60" y="85"/>
                      <a:pt x="60" y="85"/>
                    </a:cubicBezTo>
                    <a:cubicBezTo>
                      <a:pt x="61" y="85"/>
                      <a:pt x="61" y="85"/>
                      <a:pt x="61" y="85"/>
                    </a:cubicBezTo>
                    <a:cubicBezTo>
                      <a:pt x="61" y="82"/>
                      <a:pt x="61" y="82"/>
                      <a:pt x="61" y="82"/>
                    </a:cubicBezTo>
                    <a:cubicBezTo>
                      <a:pt x="64" y="82"/>
                      <a:pt x="64" y="82"/>
                      <a:pt x="64" y="82"/>
                    </a:cubicBezTo>
                    <a:cubicBezTo>
                      <a:pt x="64" y="82"/>
                      <a:pt x="64" y="81"/>
                      <a:pt x="64" y="80"/>
                    </a:cubicBezTo>
                    <a:cubicBezTo>
                      <a:pt x="64" y="80"/>
                      <a:pt x="64" y="79"/>
                      <a:pt x="64" y="79"/>
                    </a:cubicBezTo>
                    <a:cubicBezTo>
                      <a:pt x="64" y="79"/>
                      <a:pt x="66" y="78"/>
                      <a:pt x="66" y="78"/>
                    </a:cubicBezTo>
                    <a:cubicBezTo>
                      <a:pt x="69" y="79"/>
                      <a:pt x="69" y="79"/>
                      <a:pt x="69" y="79"/>
                    </a:cubicBezTo>
                    <a:cubicBezTo>
                      <a:pt x="70" y="78"/>
                      <a:pt x="70" y="78"/>
                      <a:pt x="70" y="78"/>
                    </a:cubicBezTo>
                    <a:cubicBezTo>
                      <a:pt x="70" y="76"/>
                      <a:pt x="70" y="76"/>
                      <a:pt x="70" y="76"/>
                    </a:cubicBezTo>
                    <a:cubicBezTo>
                      <a:pt x="76" y="74"/>
                      <a:pt x="76" y="74"/>
                      <a:pt x="76" y="74"/>
                    </a:cubicBezTo>
                    <a:cubicBezTo>
                      <a:pt x="79" y="72"/>
                      <a:pt x="79" y="72"/>
                      <a:pt x="79" y="72"/>
                    </a:cubicBezTo>
                    <a:cubicBezTo>
                      <a:pt x="85" y="73"/>
                      <a:pt x="85" y="73"/>
                      <a:pt x="85" y="73"/>
                    </a:cubicBezTo>
                    <a:cubicBezTo>
                      <a:pt x="90" y="73"/>
                      <a:pt x="90" y="73"/>
                      <a:pt x="90" y="73"/>
                    </a:cubicBezTo>
                    <a:lnTo>
                      <a:pt x="93"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2" name="Freeform 901">
                <a:extLst>
                  <a:ext uri="{FF2B5EF4-FFF2-40B4-BE49-F238E27FC236}">
                    <a16:creationId xmlns:a16="http://schemas.microsoft.com/office/drawing/2014/main" id="{F97B408A-4487-2434-3BD9-BBCFE3B9DA7B}"/>
                  </a:ext>
                </a:extLst>
              </p:cNvPr>
              <p:cNvSpPr>
                <a:spLocks/>
              </p:cNvSpPr>
              <p:nvPr/>
            </p:nvSpPr>
            <p:spPr bwMode="auto">
              <a:xfrm>
                <a:off x="6296025" y="5157788"/>
                <a:ext cx="90487" cy="225425"/>
              </a:xfrm>
              <a:custGeom>
                <a:avLst/>
                <a:gdLst>
                  <a:gd name="T0" fmla="*/ 15 w 22"/>
                  <a:gd name="T1" fmla="*/ 13 h 54"/>
                  <a:gd name="T2" fmla="*/ 14 w 22"/>
                  <a:gd name="T3" fmla="*/ 12 h 54"/>
                  <a:gd name="T4" fmla="*/ 13 w 22"/>
                  <a:gd name="T5" fmla="*/ 10 h 54"/>
                  <a:gd name="T6" fmla="*/ 13 w 22"/>
                  <a:gd name="T7" fmla="*/ 9 h 54"/>
                  <a:gd name="T8" fmla="*/ 13 w 22"/>
                  <a:gd name="T9" fmla="*/ 7 h 54"/>
                  <a:gd name="T10" fmla="*/ 13 w 22"/>
                  <a:gd name="T11" fmla="*/ 6 h 54"/>
                  <a:gd name="T12" fmla="*/ 13 w 22"/>
                  <a:gd name="T13" fmla="*/ 5 h 54"/>
                  <a:gd name="T14" fmla="*/ 12 w 22"/>
                  <a:gd name="T15" fmla="*/ 3 h 54"/>
                  <a:gd name="T16" fmla="*/ 9 w 22"/>
                  <a:gd name="T17" fmla="*/ 1 h 54"/>
                  <a:gd name="T18" fmla="*/ 9 w 22"/>
                  <a:gd name="T19" fmla="*/ 2 h 54"/>
                  <a:gd name="T20" fmla="*/ 2 w 22"/>
                  <a:gd name="T21" fmla="*/ 0 h 54"/>
                  <a:gd name="T22" fmla="*/ 3 w 22"/>
                  <a:gd name="T23" fmla="*/ 1 h 54"/>
                  <a:gd name="T24" fmla="*/ 4 w 22"/>
                  <a:gd name="T25" fmla="*/ 1 h 54"/>
                  <a:gd name="T26" fmla="*/ 5 w 22"/>
                  <a:gd name="T27" fmla="*/ 2 h 54"/>
                  <a:gd name="T28" fmla="*/ 5 w 22"/>
                  <a:gd name="T29" fmla="*/ 4 h 54"/>
                  <a:gd name="T30" fmla="*/ 4 w 22"/>
                  <a:gd name="T31" fmla="*/ 4 h 54"/>
                  <a:gd name="T32" fmla="*/ 7 w 22"/>
                  <a:gd name="T33" fmla="*/ 6 h 54"/>
                  <a:gd name="T34" fmla="*/ 7 w 22"/>
                  <a:gd name="T35" fmla="*/ 8 h 54"/>
                  <a:gd name="T36" fmla="*/ 4 w 22"/>
                  <a:gd name="T37" fmla="*/ 10 h 54"/>
                  <a:gd name="T38" fmla="*/ 5 w 22"/>
                  <a:gd name="T39" fmla="*/ 12 h 54"/>
                  <a:gd name="T40" fmla="*/ 4 w 22"/>
                  <a:gd name="T41" fmla="*/ 13 h 54"/>
                  <a:gd name="T42" fmla="*/ 4 w 22"/>
                  <a:gd name="T43" fmla="*/ 14 h 54"/>
                  <a:gd name="T44" fmla="*/ 5 w 22"/>
                  <a:gd name="T45" fmla="*/ 16 h 54"/>
                  <a:gd name="T46" fmla="*/ 4 w 22"/>
                  <a:gd name="T47" fmla="*/ 18 h 54"/>
                  <a:gd name="T48" fmla="*/ 5 w 22"/>
                  <a:gd name="T49" fmla="*/ 20 h 54"/>
                  <a:gd name="T50" fmla="*/ 6 w 22"/>
                  <a:gd name="T51" fmla="*/ 20 h 54"/>
                  <a:gd name="T52" fmla="*/ 2 w 22"/>
                  <a:gd name="T53" fmla="*/ 23 h 54"/>
                  <a:gd name="T54" fmla="*/ 3 w 22"/>
                  <a:gd name="T55" fmla="*/ 26 h 54"/>
                  <a:gd name="T56" fmla="*/ 0 w 22"/>
                  <a:gd name="T57" fmla="*/ 28 h 54"/>
                  <a:gd name="T58" fmla="*/ 3 w 22"/>
                  <a:gd name="T59" fmla="*/ 32 h 54"/>
                  <a:gd name="T60" fmla="*/ 4 w 22"/>
                  <a:gd name="T61" fmla="*/ 32 h 54"/>
                  <a:gd name="T62" fmla="*/ 7 w 22"/>
                  <a:gd name="T63" fmla="*/ 36 h 54"/>
                  <a:gd name="T64" fmla="*/ 8 w 22"/>
                  <a:gd name="T65" fmla="*/ 35 h 54"/>
                  <a:gd name="T66" fmla="*/ 12 w 22"/>
                  <a:gd name="T67" fmla="*/ 35 h 54"/>
                  <a:gd name="T68" fmla="*/ 13 w 22"/>
                  <a:gd name="T69" fmla="*/ 36 h 54"/>
                  <a:gd name="T70" fmla="*/ 13 w 22"/>
                  <a:gd name="T71" fmla="*/ 40 h 54"/>
                  <a:gd name="T72" fmla="*/ 11 w 22"/>
                  <a:gd name="T73" fmla="*/ 45 h 54"/>
                  <a:gd name="T74" fmla="*/ 14 w 22"/>
                  <a:gd name="T75" fmla="*/ 49 h 54"/>
                  <a:gd name="T76" fmla="*/ 17 w 22"/>
                  <a:gd name="T77" fmla="*/ 52 h 54"/>
                  <a:gd name="T78" fmla="*/ 17 w 22"/>
                  <a:gd name="T79" fmla="*/ 54 h 54"/>
                  <a:gd name="T80" fmla="*/ 18 w 22"/>
                  <a:gd name="T81" fmla="*/ 54 h 54"/>
                  <a:gd name="T82" fmla="*/ 18 w 22"/>
                  <a:gd name="T83" fmla="*/ 51 h 54"/>
                  <a:gd name="T84" fmla="*/ 17 w 22"/>
                  <a:gd name="T85" fmla="*/ 49 h 54"/>
                  <a:gd name="T86" fmla="*/ 19 w 22"/>
                  <a:gd name="T87" fmla="*/ 46 h 54"/>
                  <a:gd name="T88" fmla="*/ 21 w 22"/>
                  <a:gd name="T89" fmla="*/ 46 h 54"/>
                  <a:gd name="T90" fmla="*/ 21 w 22"/>
                  <a:gd name="T91" fmla="*/ 40 h 54"/>
                  <a:gd name="T92" fmla="*/ 22 w 22"/>
                  <a:gd name="T93" fmla="*/ 39 h 54"/>
                  <a:gd name="T94" fmla="*/ 22 w 22"/>
                  <a:gd name="T95" fmla="*/ 36 h 54"/>
                  <a:gd name="T96" fmla="*/ 17 w 22"/>
                  <a:gd name="T97" fmla="*/ 29 h 54"/>
                  <a:gd name="T98" fmla="*/ 13 w 22"/>
                  <a:gd name="T99" fmla="*/ 27 h 54"/>
                  <a:gd name="T100" fmla="*/ 12 w 22"/>
                  <a:gd name="T101" fmla="*/ 19 h 54"/>
                  <a:gd name="T102" fmla="*/ 14 w 22"/>
                  <a:gd name="T103" fmla="*/ 15 h 54"/>
                  <a:gd name="T104" fmla="*/ 16 w 22"/>
                  <a:gd name="T105" fmla="*/ 15 h 54"/>
                  <a:gd name="T106" fmla="*/ 16 w 22"/>
                  <a:gd name="T107" fmla="*/ 14 h 54"/>
                  <a:gd name="T108" fmla="*/ 15 w 22"/>
                  <a:gd name="T109"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54">
                    <a:moveTo>
                      <a:pt x="15" y="13"/>
                    </a:moveTo>
                    <a:cubicBezTo>
                      <a:pt x="15" y="13"/>
                      <a:pt x="14" y="12"/>
                      <a:pt x="14" y="12"/>
                    </a:cubicBezTo>
                    <a:cubicBezTo>
                      <a:pt x="14" y="11"/>
                      <a:pt x="13" y="10"/>
                      <a:pt x="13" y="10"/>
                    </a:cubicBezTo>
                    <a:cubicBezTo>
                      <a:pt x="13" y="9"/>
                      <a:pt x="13" y="9"/>
                      <a:pt x="13" y="9"/>
                    </a:cubicBezTo>
                    <a:cubicBezTo>
                      <a:pt x="13" y="7"/>
                      <a:pt x="13" y="7"/>
                      <a:pt x="13" y="7"/>
                    </a:cubicBezTo>
                    <a:cubicBezTo>
                      <a:pt x="13" y="6"/>
                      <a:pt x="13" y="6"/>
                      <a:pt x="13" y="6"/>
                    </a:cubicBezTo>
                    <a:cubicBezTo>
                      <a:pt x="13" y="5"/>
                      <a:pt x="13" y="5"/>
                      <a:pt x="13" y="5"/>
                    </a:cubicBezTo>
                    <a:cubicBezTo>
                      <a:pt x="12" y="3"/>
                      <a:pt x="12" y="3"/>
                      <a:pt x="12" y="3"/>
                    </a:cubicBezTo>
                    <a:cubicBezTo>
                      <a:pt x="9" y="1"/>
                      <a:pt x="9" y="1"/>
                      <a:pt x="9" y="1"/>
                    </a:cubicBezTo>
                    <a:cubicBezTo>
                      <a:pt x="9" y="2"/>
                      <a:pt x="9" y="2"/>
                      <a:pt x="9" y="2"/>
                    </a:cubicBezTo>
                    <a:cubicBezTo>
                      <a:pt x="2" y="0"/>
                      <a:pt x="2" y="0"/>
                      <a:pt x="2" y="0"/>
                    </a:cubicBezTo>
                    <a:cubicBezTo>
                      <a:pt x="3" y="1"/>
                      <a:pt x="3" y="1"/>
                      <a:pt x="3" y="1"/>
                    </a:cubicBezTo>
                    <a:cubicBezTo>
                      <a:pt x="4" y="1"/>
                      <a:pt x="4" y="1"/>
                      <a:pt x="4" y="1"/>
                    </a:cubicBezTo>
                    <a:cubicBezTo>
                      <a:pt x="5" y="2"/>
                      <a:pt x="5" y="2"/>
                      <a:pt x="5" y="2"/>
                    </a:cubicBezTo>
                    <a:cubicBezTo>
                      <a:pt x="5" y="4"/>
                      <a:pt x="5" y="4"/>
                      <a:pt x="5" y="4"/>
                    </a:cubicBezTo>
                    <a:cubicBezTo>
                      <a:pt x="4" y="4"/>
                      <a:pt x="4" y="4"/>
                      <a:pt x="4" y="4"/>
                    </a:cubicBezTo>
                    <a:cubicBezTo>
                      <a:pt x="7" y="6"/>
                      <a:pt x="7" y="6"/>
                      <a:pt x="7" y="6"/>
                    </a:cubicBezTo>
                    <a:cubicBezTo>
                      <a:pt x="7" y="8"/>
                      <a:pt x="7" y="8"/>
                      <a:pt x="7" y="8"/>
                    </a:cubicBezTo>
                    <a:cubicBezTo>
                      <a:pt x="4" y="10"/>
                      <a:pt x="4" y="10"/>
                      <a:pt x="4" y="10"/>
                    </a:cubicBezTo>
                    <a:cubicBezTo>
                      <a:pt x="5" y="12"/>
                      <a:pt x="5" y="12"/>
                      <a:pt x="5" y="12"/>
                    </a:cubicBezTo>
                    <a:cubicBezTo>
                      <a:pt x="4" y="13"/>
                      <a:pt x="4" y="13"/>
                      <a:pt x="4" y="13"/>
                    </a:cubicBezTo>
                    <a:cubicBezTo>
                      <a:pt x="4" y="14"/>
                      <a:pt x="4" y="14"/>
                      <a:pt x="4" y="14"/>
                    </a:cubicBezTo>
                    <a:cubicBezTo>
                      <a:pt x="5" y="16"/>
                      <a:pt x="5" y="16"/>
                      <a:pt x="5" y="16"/>
                    </a:cubicBezTo>
                    <a:cubicBezTo>
                      <a:pt x="4" y="18"/>
                      <a:pt x="4" y="18"/>
                      <a:pt x="4" y="18"/>
                    </a:cubicBezTo>
                    <a:cubicBezTo>
                      <a:pt x="5" y="20"/>
                      <a:pt x="5" y="20"/>
                      <a:pt x="5" y="20"/>
                    </a:cubicBezTo>
                    <a:cubicBezTo>
                      <a:pt x="6" y="20"/>
                      <a:pt x="6" y="20"/>
                      <a:pt x="6" y="20"/>
                    </a:cubicBezTo>
                    <a:cubicBezTo>
                      <a:pt x="2" y="23"/>
                      <a:pt x="2" y="23"/>
                      <a:pt x="2" y="23"/>
                    </a:cubicBezTo>
                    <a:cubicBezTo>
                      <a:pt x="3" y="26"/>
                      <a:pt x="3" y="26"/>
                      <a:pt x="3" y="26"/>
                    </a:cubicBezTo>
                    <a:cubicBezTo>
                      <a:pt x="0" y="28"/>
                      <a:pt x="0" y="28"/>
                      <a:pt x="0" y="28"/>
                    </a:cubicBezTo>
                    <a:cubicBezTo>
                      <a:pt x="3" y="32"/>
                      <a:pt x="3" y="32"/>
                      <a:pt x="3" y="32"/>
                    </a:cubicBezTo>
                    <a:cubicBezTo>
                      <a:pt x="4" y="32"/>
                      <a:pt x="4" y="32"/>
                      <a:pt x="4" y="32"/>
                    </a:cubicBezTo>
                    <a:cubicBezTo>
                      <a:pt x="7" y="36"/>
                      <a:pt x="7" y="36"/>
                      <a:pt x="7" y="36"/>
                    </a:cubicBezTo>
                    <a:cubicBezTo>
                      <a:pt x="8" y="35"/>
                      <a:pt x="8" y="35"/>
                      <a:pt x="8" y="35"/>
                    </a:cubicBezTo>
                    <a:cubicBezTo>
                      <a:pt x="12" y="35"/>
                      <a:pt x="12" y="35"/>
                      <a:pt x="12" y="35"/>
                    </a:cubicBezTo>
                    <a:cubicBezTo>
                      <a:pt x="13" y="36"/>
                      <a:pt x="13" y="36"/>
                      <a:pt x="13" y="36"/>
                    </a:cubicBezTo>
                    <a:cubicBezTo>
                      <a:pt x="13" y="40"/>
                      <a:pt x="13" y="40"/>
                      <a:pt x="13" y="40"/>
                    </a:cubicBezTo>
                    <a:cubicBezTo>
                      <a:pt x="11" y="45"/>
                      <a:pt x="11" y="45"/>
                      <a:pt x="11" y="45"/>
                    </a:cubicBezTo>
                    <a:cubicBezTo>
                      <a:pt x="14" y="49"/>
                      <a:pt x="14" y="49"/>
                      <a:pt x="14" y="49"/>
                    </a:cubicBezTo>
                    <a:cubicBezTo>
                      <a:pt x="17" y="52"/>
                      <a:pt x="17" y="52"/>
                      <a:pt x="17" y="52"/>
                    </a:cubicBezTo>
                    <a:cubicBezTo>
                      <a:pt x="17" y="54"/>
                      <a:pt x="17" y="54"/>
                      <a:pt x="17" y="54"/>
                    </a:cubicBezTo>
                    <a:cubicBezTo>
                      <a:pt x="18" y="54"/>
                      <a:pt x="18" y="54"/>
                      <a:pt x="18" y="54"/>
                    </a:cubicBezTo>
                    <a:cubicBezTo>
                      <a:pt x="18" y="51"/>
                      <a:pt x="18" y="51"/>
                      <a:pt x="18" y="51"/>
                    </a:cubicBezTo>
                    <a:cubicBezTo>
                      <a:pt x="17" y="49"/>
                      <a:pt x="17" y="49"/>
                      <a:pt x="17" y="49"/>
                    </a:cubicBezTo>
                    <a:cubicBezTo>
                      <a:pt x="19" y="46"/>
                      <a:pt x="19" y="46"/>
                      <a:pt x="19" y="46"/>
                    </a:cubicBezTo>
                    <a:cubicBezTo>
                      <a:pt x="21" y="46"/>
                      <a:pt x="21" y="46"/>
                      <a:pt x="21" y="46"/>
                    </a:cubicBezTo>
                    <a:cubicBezTo>
                      <a:pt x="21" y="40"/>
                      <a:pt x="21" y="40"/>
                      <a:pt x="21" y="40"/>
                    </a:cubicBezTo>
                    <a:cubicBezTo>
                      <a:pt x="22" y="39"/>
                      <a:pt x="22" y="39"/>
                      <a:pt x="22" y="39"/>
                    </a:cubicBezTo>
                    <a:cubicBezTo>
                      <a:pt x="22" y="36"/>
                      <a:pt x="22" y="36"/>
                      <a:pt x="22" y="36"/>
                    </a:cubicBezTo>
                    <a:cubicBezTo>
                      <a:pt x="17" y="29"/>
                      <a:pt x="17" y="29"/>
                      <a:pt x="17" y="29"/>
                    </a:cubicBezTo>
                    <a:cubicBezTo>
                      <a:pt x="13" y="27"/>
                      <a:pt x="13" y="27"/>
                      <a:pt x="13" y="27"/>
                    </a:cubicBezTo>
                    <a:cubicBezTo>
                      <a:pt x="12" y="19"/>
                      <a:pt x="12" y="19"/>
                      <a:pt x="12" y="19"/>
                    </a:cubicBezTo>
                    <a:cubicBezTo>
                      <a:pt x="14" y="15"/>
                      <a:pt x="14" y="15"/>
                      <a:pt x="14" y="15"/>
                    </a:cubicBezTo>
                    <a:cubicBezTo>
                      <a:pt x="16" y="15"/>
                      <a:pt x="16" y="15"/>
                      <a:pt x="16" y="15"/>
                    </a:cubicBezTo>
                    <a:cubicBezTo>
                      <a:pt x="16" y="14"/>
                      <a:pt x="16" y="14"/>
                      <a:pt x="16" y="14"/>
                    </a:cubicBezTo>
                    <a:lnTo>
                      <a:pt x="15"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3" name="Freeform 902">
                <a:extLst>
                  <a:ext uri="{FF2B5EF4-FFF2-40B4-BE49-F238E27FC236}">
                    <a16:creationId xmlns:a16="http://schemas.microsoft.com/office/drawing/2014/main" id="{6DD5173C-4E98-8EF9-9271-F77CB035A0A9}"/>
                  </a:ext>
                </a:extLst>
              </p:cNvPr>
              <p:cNvSpPr>
                <a:spLocks/>
              </p:cNvSpPr>
              <p:nvPr/>
            </p:nvSpPr>
            <p:spPr bwMode="auto">
              <a:xfrm>
                <a:off x="6599238" y="5233988"/>
                <a:ext cx="204787" cy="412750"/>
              </a:xfrm>
              <a:custGeom>
                <a:avLst/>
                <a:gdLst>
                  <a:gd name="T0" fmla="*/ 45 w 49"/>
                  <a:gd name="T1" fmla="*/ 8 h 99"/>
                  <a:gd name="T2" fmla="*/ 42 w 49"/>
                  <a:gd name="T3" fmla="*/ 5 h 99"/>
                  <a:gd name="T4" fmla="*/ 40 w 49"/>
                  <a:gd name="T5" fmla="*/ 0 h 99"/>
                  <a:gd name="T6" fmla="*/ 38 w 49"/>
                  <a:gd name="T7" fmla="*/ 3 h 99"/>
                  <a:gd name="T8" fmla="*/ 38 w 49"/>
                  <a:gd name="T9" fmla="*/ 10 h 99"/>
                  <a:gd name="T10" fmla="*/ 34 w 49"/>
                  <a:gd name="T11" fmla="*/ 12 h 99"/>
                  <a:gd name="T12" fmla="*/ 33 w 49"/>
                  <a:gd name="T13" fmla="*/ 12 h 99"/>
                  <a:gd name="T14" fmla="*/ 31 w 49"/>
                  <a:gd name="T15" fmla="*/ 12 h 99"/>
                  <a:gd name="T16" fmla="*/ 32 w 49"/>
                  <a:gd name="T17" fmla="*/ 16 h 99"/>
                  <a:gd name="T18" fmla="*/ 28 w 49"/>
                  <a:gd name="T19" fmla="*/ 22 h 99"/>
                  <a:gd name="T20" fmla="*/ 26 w 49"/>
                  <a:gd name="T21" fmla="*/ 23 h 99"/>
                  <a:gd name="T22" fmla="*/ 21 w 49"/>
                  <a:gd name="T23" fmla="*/ 27 h 99"/>
                  <a:gd name="T24" fmla="*/ 18 w 49"/>
                  <a:gd name="T25" fmla="*/ 27 h 99"/>
                  <a:gd name="T26" fmla="*/ 14 w 49"/>
                  <a:gd name="T27" fmla="*/ 28 h 99"/>
                  <a:gd name="T28" fmla="*/ 9 w 49"/>
                  <a:gd name="T29" fmla="*/ 30 h 99"/>
                  <a:gd name="T30" fmla="*/ 6 w 49"/>
                  <a:gd name="T31" fmla="*/ 36 h 99"/>
                  <a:gd name="T32" fmla="*/ 5 w 49"/>
                  <a:gd name="T33" fmla="*/ 45 h 99"/>
                  <a:gd name="T34" fmla="*/ 6 w 49"/>
                  <a:gd name="T35" fmla="*/ 49 h 99"/>
                  <a:gd name="T36" fmla="*/ 8 w 49"/>
                  <a:gd name="T37" fmla="*/ 54 h 99"/>
                  <a:gd name="T38" fmla="*/ 4 w 49"/>
                  <a:gd name="T39" fmla="*/ 65 h 99"/>
                  <a:gd name="T40" fmla="*/ 0 w 49"/>
                  <a:gd name="T41" fmla="*/ 72 h 99"/>
                  <a:gd name="T42" fmla="*/ 3 w 49"/>
                  <a:gd name="T43" fmla="*/ 83 h 99"/>
                  <a:gd name="T44" fmla="*/ 4 w 49"/>
                  <a:gd name="T45" fmla="*/ 91 h 99"/>
                  <a:gd name="T46" fmla="*/ 8 w 49"/>
                  <a:gd name="T47" fmla="*/ 96 h 99"/>
                  <a:gd name="T48" fmla="*/ 16 w 49"/>
                  <a:gd name="T49" fmla="*/ 97 h 99"/>
                  <a:gd name="T50" fmla="*/ 27 w 49"/>
                  <a:gd name="T51" fmla="*/ 91 h 99"/>
                  <a:gd name="T52" fmla="*/ 29 w 49"/>
                  <a:gd name="T53" fmla="*/ 82 h 99"/>
                  <a:gd name="T54" fmla="*/ 33 w 49"/>
                  <a:gd name="T55" fmla="*/ 69 h 99"/>
                  <a:gd name="T56" fmla="*/ 36 w 49"/>
                  <a:gd name="T57" fmla="*/ 60 h 99"/>
                  <a:gd name="T58" fmla="*/ 38 w 49"/>
                  <a:gd name="T59" fmla="*/ 56 h 99"/>
                  <a:gd name="T60" fmla="*/ 42 w 49"/>
                  <a:gd name="T61" fmla="*/ 40 h 99"/>
                  <a:gd name="T62" fmla="*/ 44 w 49"/>
                  <a:gd name="T63" fmla="*/ 34 h 99"/>
                  <a:gd name="T64" fmla="*/ 43 w 49"/>
                  <a:gd name="T65" fmla="*/ 26 h 99"/>
                  <a:gd name="T66" fmla="*/ 45 w 49"/>
                  <a:gd name="T67" fmla="*/ 25 h 99"/>
                  <a:gd name="T68" fmla="*/ 47 w 49"/>
                  <a:gd name="T69" fmla="*/ 28 h 99"/>
                  <a:gd name="T70" fmla="*/ 47 w 49"/>
                  <a:gd name="T71"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99">
                    <a:moveTo>
                      <a:pt x="47" y="17"/>
                    </a:moveTo>
                    <a:cubicBezTo>
                      <a:pt x="47" y="14"/>
                      <a:pt x="46" y="11"/>
                      <a:pt x="45" y="8"/>
                    </a:cubicBezTo>
                    <a:cubicBezTo>
                      <a:pt x="45" y="7"/>
                      <a:pt x="44" y="7"/>
                      <a:pt x="44" y="6"/>
                    </a:cubicBezTo>
                    <a:cubicBezTo>
                      <a:pt x="43" y="7"/>
                      <a:pt x="43" y="5"/>
                      <a:pt x="42" y="5"/>
                    </a:cubicBezTo>
                    <a:cubicBezTo>
                      <a:pt x="42" y="4"/>
                      <a:pt x="41" y="3"/>
                      <a:pt x="41" y="1"/>
                    </a:cubicBezTo>
                    <a:cubicBezTo>
                      <a:pt x="41" y="1"/>
                      <a:pt x="41" y="0"/>
                      <a:pt x="40" y="0"/>
                    </a:cubicBezTo>
                    <a:cubicBezTo>
                      <a:pt x="40" y="0"/>
                      <a:pt x="40" y="1"/>
                      <a:pt x="40" y="1"/>
                    </a:cubicBezTo>
                    <a:cubicBezTo>
                      <a:pt x="40" y="2"/>
                      <a:pt x="39" y="3"/>
                      <a:pt x="38" y="3"/>
                    </a:cubicBezTo>
                    <a:cubicBezTo>
                      <a:pt x="38" y="3"/>
                      <a:pt x="38" y="3"/>
                      <a:pt x="38" y="4"/>
                    </a:cubicBezTo>
                    <a:cubicBezTo>
                      <a:pt x="38" y="6"/>
                      <a:pt x="38" y="8"/>
                      <a:pt x="38" y="10"/>
                    </a:cubicBezTo>
                    <a:cubicBezTo>
                      <a:pt x="37" y="10"/>
                      <a:pt x="36" y="10"/>
                      <a:pt x="36" y="10"/>
                    </a:cubicBezTo>
                    <a:cubicBezTo>
                      <a:pt x="35" y="11"/>
                      <a:pt x="34" y="11"/>
                      <a:pt x="34" y="12"/>
                    </a:cubicBezTo>
                    <a:cubicBezTo>
                      <a:pt x="34" y="12"/>
                      <a:pt x="34" y="13"/>
                      <a:pt x="33" y="13"/>
                    </a:cubicBezTo>
                    <a:cubicBezTo>
                      <a:pt x="33" y="13"/>
                      <a:pt x="33" y="12"/>
                      <a:pt x="33" y="12"/>
                    </a:cubicBezTo>
                    <a:cubicBezTo>
                      <a:pt x="33" y="11"/>
                      <a:pt x="32" y="11"/>
                      <a:pt x="32" y="11"/>
                    </a:cubicBezTo>
                    <a:cubicBezTo>
                      <a:pt x="31" y="11"/>
                      <a:pt x="31" y="11"/>
                      <a:pt x="31" y="12"/>
                    </a:cubicBezTo>
                    <a:cubicBezTo>
                      <a:pt x="31" y="13"/>
                      <a:pt x="31" y="13"/>
                      <a:pt x="31" y="14"/>
                    </a:cubicBezTo>
                    <a:cubicBezTo>
                      <a:pt x="32" y="15"/>
                      <a:pt x="32" y="15"/>
                      <a:pt x="32" y="16"/>
                    </a:cubicBezTo>
                    <a:cubicBezTo>
                      <a:pt x="30" y="16"/>
                      <a:pt x="30" y="17"/>
                      <a:pt x="30" y="19"/>
                    </a:cubicBezTo>
                    <a:cubicBezTo>
                      <a:pt x="30" y="20"/>
                      <a:pt x="29" y="21"/>
                      <a:pt x="28" y="22"/>
                    </a:cubicBezTo>
                    <a:cubicBezTo>
                      <a:pt x="28" y="21"/>
                      <a:pt x="29" y="20"/>
                      <a:pt x="28" y="19"/>
                    </a:cubicBezTo>
                    <a:cubicBezTo>
                      <a:pt x="28" y="21"/>
                      <a:pt x="26" y="21"/>
                      <a:pt x="26" y="23"/>
                    </a:cubicBezTo>
                    <a:cubicBezTo>
                      <a:pt x="24" y="23"/>
                      <a:pt x="23" y="24"/>
                      <a:pt x="21" y="25"/>
                    </a:cubicBezTo>
                    <a:cubicBezTo>
                      <a:pt x="21" y="25"/>
                      <a:pt x="21" y="26"/>
                      <a:pt x="21" y="27"/>
                    </a:cubicBezTo>
                    <a:cubicBezTo>
                      <a:pt x="21" y="27"/>
                      <a:pt x="21" y="27"/>
                      <a:pt x="20" y="27"/>
                    </a:cubicBezTo>
                    <a:cubicBezTo>
                      <a:pt x="20" y="26"/>
                      <a:pt x="19" y="27"/>
                      <a:pt x="18" y="27"/>
                    </a:cubicBezTo>
                    <a:cubicBezTo>
                      <a:pt x="17" y="27"/>
                      <a:pt x="16" y="28"/>
                      <a:pt x="15" y="28"/>
                    </a:cubicBezTo>
                    <a:cubicBezTo>
                      <a:pt x="14" y="29"/>
                      <a:pt x="14" y="29"/>
                      <a:pt x="14" y="28"/>
                    </a:cubicBezTo>
                    <a:cubicBezTo>
                      <a:pt x="13" y="27"/>
                      <a:pt x="13" y="28"/>
                      <a:pt x="12" y="29"/>
                    </a:cubicBezTo>
                    <a:cubicBezTo>
                      <a:pt x="12" y="30"/>
                      <a:pt x="11" y="31"/>
                      <a:pt x="9" y="30"/>
                    </a:cubicBezTo>
                    <a:cubicBezTo>
                      <a:pt x="7" y="29"/>
                      <a:pt x="7" y="30"/>
                      <a:pt x="8" y="31"/>
                    </a:cubicBezTo>
                    <a:cubicBezTo>
                      <a:pt x="8" y="33"/>
                      <a:pt x="7" y="35"/>
                      <a:pt x="6" y="36"/>
                    </a:cubicBezTo>
                    <a:cubicBezTo>
                      <a:pt x="5" y="38"/>
                      <a:pt x="4" y="39"/>
                      <a:pt x="5" y="41"/>
                    </a:cubicBezTo>
                    <a:cubicBezTo>
                      <a:pt x="5" y="42"/>
                      <a:pt x="5" y="44"/>
                      <a:pt x="5" y="45"/>
                    </a:cubicBezTo>
                    <a:cubicBezTo>
                      <a:pt x="5" y="46"/>
                      <a:pt x="6" y="46"/>
                      <a:pt x="6" y="47"/>
                    </a:cubicBezTo>
                    <a:cubicBezTo>
                      <a:pt x="6" y="48"/>
                      <a:pt x="7" y="48"/>
                      <a:pt x="6" y="49"/>
                    </a:cubicBezTo>
                    <a:cubicBezTo>
                      <a:pt x="6" y="50"/>
                      <a:pt x="7" y="51"/>
                      <a:pt x="8" y="52"/>
                    </a:cubicBezTo>
                    <a:cubicBezTo>
                      <a:pt x="7" y="53"/>
                      <a:pt x="8" y="54"/>
                      <a:pt x="8" y="54"/>
                    </a:cubicBezTo>
                    <a:cubicBezTo>
                      <a:pt x="9" y="56"/>
                      <a:pt x="7" y="57"/>
                      <a:pt x="7" y="59"/>
                    </a:cubicBezTo>
                    <a:cubicBezTo>
                      <a:pt x="6" y="61"/>
                      <a:pt x="4" y="63"/>
                      <a:pt x="4" y="65"/>
                    </a:cubicBezTo>
                    <a:cubicBezTo>
                      <a:pt x="1" y="66"/>
                      <a:pt x="1" y="68"/>
                      <a:pt x="0" y="70"/>
                    </a:cubicBezTo>
                    <a:cubicBezTo>
                      <a:pt x="0" y="70"/>
                      <a:pt x="0" y="71"/>
                      <a:pt x="0" y="72"/>
                    </a:cubicBezTo>
                    <a:cubicBezTo>
                      <a:pt x="0" y="75"/>
                      <a:pt x="0" y="77"/>
                      <a:pt x="2" y="80"/>
                    </a:cubicBezTo>
                    <a:cubicBezTo>
                      <a:pt x="3" y="81"/>
                      <a:pt x="3" y="82"/>
                      <a:pt x="3" y="83"/>
                    </a:cubicBezTo>
                    <a:cubicBezTo>
                      <a:pt x="2" y="86"/>
                      <a:pt x="1" y="88"/>
                      <a:pt x="4" y="90"/>
                    </a:cubicBezTo>
                    <a:cubicBezTo>
                      <a:pt x="4" y="90"/>
                      <a:pt x="4" y="91"/>
                      <a:pt x="4" y="91"/>
                    </a:cubicBezTo>
                    <a:cubicBezTo>
                      <a:pt x="5" y="93"/>
                      <a:pt x="5" y="94"/>
                      <a:pt x="7" y="95"/>
                    </a:cubicBezTo>
                    <a:cubicBezTo>
                      <a:pt x="7" y="96"/>
                      <a:pt x="8" y="96"/>
                      <a:pt x="8" y="96"/>
                    </a:cubicBezTo>
                    <a:cubicBezTo>
                      <a:pt x="10" y="96"/>
                      <a:pt x="10" y="96"/>
                      <a:pt x="11" y="97"/>
                    </a:cubicBezTo>
                    <a:cubicBezTo>
                      <a:pt x="13" y="99"/>
                      <a:pt x="14" y="99"/>
                      <a:pt x="16" y="97"/>
                    </a:cubicBezTo>
                    <a:cubicBezTo>
                      <a:pt x="18" y="96"/>
                      <a:pt x="20" y="95"/>
                      <a:pt x="22" y="95"/>
                    </a:cubicBezTo>
                    <a:cubicBezTo>
                      <a:pt x="24" y="95"/>
                      <a:pt x="26" y="93"/>
                      <a:pt x="27" y="91"/>
                    </a:cubicBezTo>
                    <a:cubicBezTo>
                      <a:pt x="27" y="90"/>
                      <a:pt x="27" y="89"/>
                      <a:pt x="28" y="88"/>
                    </a:cubicBezTo>
                    <a:cubicBezTo>
                      <a:pt x="29" y="86"/>
                      <a:pt x="29" y="84"/>
                      <a:pt x="29" y="82"/>
                    </a:cubicBezTo>
                    <a:cubicBezTo>
                      <a:pt x="31" y="81"/>
                      <a:pt x="30" y="79"/>
                      <a:pt x="31" y="77"/>
                    </a:cubicBezTo>
                    <a:cubicBezTo>
                      <a:pt x="31" y="74"/>
                      <a:pt x="32" y="72"/>
                      <a:pt x="33" y="69"/>
                    </a:cubicBezTo>
                    <a:cubicBezTo>
                      <a:pt x="34" y="67"/>
                      <a:pt x="35" y="65"/>
                      <a:pt x="35" y="64"/>
                    </a:cubicBezTo>
                    <a:cubicBezTo>
                      <a:pt x="35" y="62"/>
                      <a:pt x="35" y="61"/>
                      <a:pt x="36" y="60"/>
                    </a:cubicBezTo>
                    <a:cubicBezTo>
                      <a:pt x="37" y="60"/>
                      <a:pt x="36" y="59"/>
                      <a:pt x="37" y="58"/>
                    </a:cubicBezTo>
                    <a:cubicBezTo>
                      <a:pt x="37" y="57"/>
                      <a:pt x="38" y="57"/>
                      <a:pt x="38" y="56"/>
                    </a:cubicBezTo>
                    <a:cubicBezTo>
                      <a:pt x="38" y="53"/>
                      <a:pt x="39" y="50"/>
                      <a:pt x="40" y="48"/>
                    </a:cubicBezTo>
                    <a:cubicBezTo>
                      <a:pt x="41" y="45"/>
                      <a:pt x="41" y="43"/>
                      <a:pt x="42" y="40"/>
                    </a:cubicBezTo>
                    <a:cubicBezTo>
                      <a:pt x="42" y="40"/>
                      <a:pt x="42" y="40"/>
                      <a:pt x="42" y="39"/>
                    </a:cubicBezTo>
                    <a:cubicBezTo>
                      <a:pt x="41" y="37"/>
                      <a:pt x="42" y="36"/>
                      <a:pt x="44" y="34"/>
                    </a:cubicBezTo>
                    <a:cubicBezTo>
                      <a:pt x="44" y="34"/>
                      <a:pt x="44" y="34"/>
                      <a:pt x="44" y="34"/>
                    </a:cubicBezTo>
                    <a:cubicBezTo>
                      <a:pt x="45" y="31"/>
                      <a:pt x="43" y="28"/>
                      <a:pt x="43" y="26"/>
                    </a:cubicBezTo>
                    <a:cubicBezTo>
                      <a:pt x="43" y="25"/>
                      <a:pt x="43" y="25"/>
                      <a:pt x="44" y="24"/>
                    </a:cubicBezTo>
                    <a:cubicBezTo>
                      <a:pt x="45" y="24"/>
                      <a:pt x="45" y="25"/>
                      <a:pt x="45" y="25"/>
                    </a:cubicBezTo>
                    <a:cubicBezTo>
                      <a:pt x="45" y="26"/>
                      <a:pt x="45" y="26"/>
                      <a:pt x="45" y="27"/>
                    </a:cubicBezTo>
                    <a:cubicBezTo>
                      <a:pt x="45" y="28"/>
                      <a:pt x="46" y="28"/>
                      <a:pt x="47" y="28"/>
                    </a:cubicBezTo>
                    <a:cubicBezTo>
                      <a:pt x="48" y="27"/>
                      <a:pt x="49" y="23"/>
                      <a:pt x="48" y="22"/>
                    </a:cubicBezTo>
                    <a:cubicBezTo>
                      <a:pt x="47" y="21"/>
                      <a:pt x="46" y="19"/>
                      <a:pt x="47"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4" name="Freeform 903">
                <a:extLst>
                  <a:ext uri="{FF2B5EF4-FFF2-40B4-BE49-F238E27FC236}">
                    <a16:creationId xmlns:a16="http://schemas.microsoft.com/office/drawing/2014/main" id="{D4D04E72-BC1E-343B-1FB3-1047C621B183}"/>
                  </a:ext>
                </a:extLst>
              </p:cNvPr>
              <p:cNvSpPr>
                <a:spLocks/>
              </p:cNvSpPr>
              <p:nvPr/>
            </p:nvSpPr>
            <p:spPr bwMode="auto">
              <a:xfrm>
                <a:off x="5638800" y="3895725"/>
                <a:ext cx="444500" cy="433388"/>
              </a:xfrm>
              <a:custGeom>
                <a:avLst/>
                <a:gdLst>
                  <a:gd name="T0" fmla="*/ 45 w 107"/>
                  <a:gd name="T1" fmla="*/ 75 h 104"/>
                  <a:gd name="T2" fmla="*/ 99 w 107"/>
                  <a:gd name="T3" fmla="*/ 104 h 104"/>
                  <a:gd name="T4" fmla="*/ 106 w 107"/>
                  <a:gd name="T5" fmla="*/ 100 h 104"/>
                  <a:gd name="T6" fmla="*/ 104 w 107"/>
                  <a:gd name="T7" fmla="*/ 24 h 104"/>
                  <a:gd name="T8" fmla="*/ 105 w 107"/>
                  <a:gd name="T9" fmla="*/ 14 h 104"/>
                  <a:gd name="T10" fmla="*/ 104 w 107"/>
                  <a:gd name="T11" fmla="*/ 10 h 104"/>
                  <a:gd name="T12" fmla="*/ 95 w 107"/>
                  <a:gd name="T13" fmla="*/ 8 h 104"/>
                  <a:gd name="T14" fmla="*/ 92 w 107"/>
                  <a:gd name="T15" fmla="*/ 4 h 104"/>
                  <a:gd name="T16" fmla="*/ 89 w 107"/>
                  <a:gd name="T17" fmla="*/ 3 h 104"/>
                  <a:gd name="T18" fmla="*/ 82 w 107"/>
                  <a:gd name="T19" fmla="*/ 4 h 104"/>
                  <a:gd name="T20" fmla="*/ 74 w 107"/>
                  <a:gd name="T21" fmla="*/ 8 h 104"/>
                  <a:gd name="T22" fmla="*/ 74 w 107"/>
                  <a:gd name="T23" fmla="*/ 16 h 104"/>
                  <a:gd name="T24" fmla="*/ 69 w 107"/>
                  <a:gd name="T25" fmla="*/ 23 h 104"/>
                  <a:gd name="T26" fmla="*/ 57 w 107"/>
                  <a:gd name="T27" fmla="*/ 18 h 104"/>
                  <a:gd name="T28" fmla="*/ 44 w 107"/>
                  <a:gd name="T29" fmla="*/ 15 h 104"/>
                  <a:gd name="T30" fmla="*/ 39 w 107"/>
                  <a:gd name="T31" fmla="*/ 6 h 104"/>
                  <a:gd name="T32" fmla="*/ 25 w 107"/>
                  <a:gd name="T33" fmla="*/ 3 h 104"/>
                  <a:gd name="T34" fmla="*/ 15 w 107"/>
                  <a:gd name="T35" fmla="*/ 0 h 104"/>
                  <a:gd name="T36" fmla="*/ 14 w 107"/>
                  <a:gd name="T37" fmla="*/ 4 h 104"/>
                  <a:gd name="T38" fmla="*/ 14 w 107"/>
                  <a:gd name="T39" fmla="*/ 6 h 104"/>
                  <a:gd name="T40" fmla="*/ 5 w 107"/>
                  <a:gd name="T41" fmla="*/ 13 h 104"/>
                  <a:gd name="T42" fmla="*/ 6 w 107"/>
                  <a:gd name="T43" fmla="*/ 16 h 104"/>
                  <a:gd name="T44" fmla="*/ 6 w 107"/>
                  <a:gd name="T45" fmla="*/ 20 h 104"/>
                  <a:gd name="T46" fmla="*/ 1 w 107"/>
                  <a:gd name="T47" fmla="*/ 23 h 104"/>
                  <a:gd name="T48" fmla="*/ 0 w 107"/>
                  <a:gd name="T49" fmla="*/ 25 h 104"/>
                  <a:gd name="T50" fmla="*/ 4 w 107"/>
                  <a:gd name="T51" fmla="*/ 42 h 104"/>
                  <a:gd name="T52" fmla="*/ 4 w 107"/>
                  <a:gd name="T53" fmla="*/ 49 h 104"/>
                  <a:gd name="T54" fmla="*/ 3 w 107"/>
                  <a:gd name="T55" fmla="*/ 52 h 104"/>
                  <a:gd name="T56" fmla="*/ 0 w 107"/>
                  <a:gd name="T57" fmla="*/ 54 h 104"/>
                  <a:gd name="T58" fmla="*/ 5 w 107"/>
                  <a:gd name="T59" fmla="*/ 65 h 104"/>
                  <a:gd name="T60" fmla="*/ 11 w 107"/>
                  <a:gd name="T61" fmla="*/ 67 h 104"/>
                  <a:gd name="T62" fmla="*/ 15 w 107"/>
                  <a:gd name="T63" fmla="*/ 69 h 104"/>
                  <a:gd name="T64" fmla="*/ 29 w 107"/>
                  <a:gd name="T65" fmla="*/ 7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4">
                    <a:moveTo>
                      <a:pt x="33" y="81"/>
                    </a:moveTo>
                    <a:cubicBezTo>
                      <a:pt x="45" y="75"/>
                      <a:pt x="45" y="75"/>
                      <a:pt x="45" y="75"/>
                    </a:cubicBezTo>
                    <a:cubicBezTo>
                      <a:pt x="73" y="89"/>
                      <a:pt x="73" y="89"/>
                      <a:pt x="73" y="89"/>
                    </a:cubicBezTo>
                    <a:cubicBezTo>
                      <a:pt x="99" y="104"/>
                      <a:pt x="99" y="104"/>
                      <a:pt x="99" y="104"/>
                    </a:cubicBezTo>
                    <a:cubicBezTo>
                      <a:pt x="99" y="100"/>
                      <a:pt x="99" y="100"/>
                      <a:pt x="99" y="100"/>
                    </a:cubicBezTo>
                    <a:cubicBezTo>
                      <a:pt x="106" y="100"/>
                      <a:pt x="106" y="100"/>
                      <a:pt x="106" y="100"/>
                    </a:cubicBezTo>
                    <a:cubicBezTo>
                      <a:pt x="106" y="30"/>
                      <a:pt x="106" y="30"/>
                      <a:pt x="106" y="30"/>
                    </a:cubicBezTo>
                    <a:cubicBezTo>
                      <a:pt x="104" y="24"/>
                      <a:pt x="104" y="24"/>
                      <a:pt x="104" y="24"/>
                    </a:cubicBezTo>
                    <a:cubicBezTo>
                      <a:pt x="106" y="19"/>
                      <a:pt x="106" y="19"/>
                      <a:pt x="106" y="19"/>
                    </a:cubicBezTo>
                    <a:cubicBezTo>
                      <a:pt x="105" y="14"/>
                      <a:pt x="105" y="14"/>
                      <a:pt x="105" y="14"/>
                    </a:cubicBezTo>
                    <a:cubicBezTo>
                      <a:pt x="107" y="12"/>
                      <a:pt x="107" y="12"/>
                      <a:pt x="107" y="12"/>
                    </a:cubicBezTo>
                    <a:cubicBezTo>
                      <a:pt x="107" y="10"/>
                      <a:pt x="106" y="10"/>
                      <a:pt x="104" y="10"/>
                    </a:cubicBezTo>
                    <a:cubicBezTo>
                      <a:pt x="103" y="10"/>
                      <a:pt x="101" y="10"/>
                      <a:pt x="100" y="9"/>
                    </a:cubicBezTo>
                    <a:cubicBezTo>
                      <a:pt x="99" y="8"/>
                      <a:pt x="97" y="8"/>
                      <a:pt x="95" y="8"/>
                    </a:cubicBezTo>
                    <a:cubicBezTo>
                      <a:pt x="95" y="8"/>
                      <a:pt x="94" y="8"/>
                      <a:pt x="94" y="7"/>
                    </a:cubicBezTo>
                    <a:cubicBezTo>
                      <a:pt x="95" y="5"/>
                      <a:pt x="93" y="5"/>
                      <a:pt x="92" y="4"/>
                    </a:cubicBezTo>
                    <a:cubicBezTo>
                      <a:pt x="91" y="4"/>
                      <a:pt x="91" y="4"/>
                      <a:pt x="91" y="4"/>
                    </a:cubicBezTo>
                    <a:cubicBezTo>
                      <a:pt x="90" y="3"/>
                      <a:pt x="90" y="3"/>
                      <a:pt x="89" y="3"/>
                    </a:cubicBezTo>
                    <a:cubicBezTo>
                      <a:pt x="87" y="3"/>
                      <a:pt x="85" y="2"/>
                      <a:pt x="82" y="4"/>
                    </a:cubicBezTo>
                    <a:cubicBezTo>
                      <a:pt x="82" y="4"/>
                      <a:pt x="82" y="4"/>
                      <a:pt x="82" y="4"/>
                    </a:cubicBezTo>
                    <a:cubicBezTo>
                      <a:pt x="80" y="4"/>
                      <a:pt x="78" y="5"/>
                      <a:pt x="76" y="6"/>
                    </a:cubicBezTo>
                    <a:cubicBezTo>
                      <a:pt x="76" y="7"/>
                      <a:pt x="75" y="7"/>
                      <a:pt x="74" y="8"/>
                    </a:cubicBezTo>
                    <a:cubicBezTo>
                      <a:pt x="74" y="8"/>
                      <a:pt x="72" y="11"/>
                      <a:pt x="72" y="12"/>
                    </a:cubicBezTo>
                    <a:cubicBezTo>
                      <a:pt x="73" y="13"/>
                      <a:pt x="73" y="15"/>
                      <a:pt x="74" y="16"/>
                    </a:cubicBezTo>
                    <a:cubicBezTo>
                      <a:pt x="74" y="17"/>
                      <a:pt x="74" y="17"/>
                      <a:pt x="74" y="18"/>
                    </a:cubicBezTo>
                    <a:cubicBezTo>
                      <a:pt x="73" y="20"/>
                      <a:pt x="71" y="22"/>
                      <a:pt x="69" y="23"/>
                    </a:cubicBezTo>
                    <a:cubicBezTo>
                      <a:pt x="68" y="24"/>
                      <a:pt x="67" y="24"/>
                      <a:pt x="66" y="23"/>
                    </a:cubicBezTo>
                    <a:cubicBezTo>
                      <a:pt x="62" y="22"/>
                      <a:pt x="60" y="19"/>
                      <a:pt x="57" y="18"/>
                    </a:cubicBezTo>
                    <a:cubicBezTo>
                      <a:pt x="54" y="17"/>
                      <a:pt x="51" y="16"/>
                      <a:pt x="48" y="16"/>
                    </a:cubicBezTo>
                    <a:cubicBezTo>
                      <a:pt x="47" y="16"/>
                      <a:pt x="45" y="16"/>
                      <a:pt x="44" y="15"/>
                    </a:cubicBezTo>
                    <a:cubicBezTo>
                      <a:pt x="42" y="14"/>
                      <a:pt x="41" y="12"/>
                      <a:pt x="41" y="9"/>
                    </a:cubicBezTo>
                    <a:cubicBezTo>
                      <a:pt x="41" y="8"/>
                      <a:pt x="40" y="6"/>
                      <a:pt x="39" y="6"/>
                    </a:cubicBezTo>
                    <a:cubicBezTo>
                      <a:pt x="37" y="7"/>
                      <a:pt x="36" y="6"/>
                      <a:pt x="34" y="5"/>
                    </a:cubicBezTo>
                    <a:cubicBezTo>
                      <a:pt x="31" y="3"/>
                      <a:pt x="28" y="3"/>
                      <a:pt x="25" y="3"/>
                    </a:cubicBezTo>
                    <a:cubicBezTo>
                      <a:pt x="23" y="3"/>
                      <a:pt x="21" y="4"/>
                      <a:pt x="19" y="2"/>
                    </a:cubicBezTo>
                    <a:cubicBezTo>
                      <a:pt x="18" y="1"/>
                      <a:pt x="17" y="1"/>
                      <a:pt x="15" y="0"/>
                    </a:cubicBezTo>
                    <a:cubicBezTo>
                      <a:pt x="15" y="0"/>
                      <a:pt x="15" y="0"/>
                      <a:pt x="15" y="0"/>
                    </a:cubicBezTo>
                    <a:cubicBezTo>
                      <a:pt x="14" y="4"/>
                      <a:pt x="14" y="4"/>
                      <a:pt x="14" y="4"/>
                    </a:cubicBezTo>
                    <a:cubicBezTo>
                      <a:pt x="15" y="6"/>
                      <a:pt x="15" y="6"/>
                      <a:pt x="15" y="6"/>
                    </a:cubicBezTo>
                    <a:cubicBezTo>
                      <a:pt x="14" y="6"/>
                      <a:pt x="14" y="6"/>
                      <a:pt x="14" y="6"/>
                    </a:cubicBezTo>
                    <a:cubicBezTo>
                      <a:pt x="10" y="8"/>
                      <a:pt x="10" y="8"/>
                      <a:pt x="10" y="8"/>
                    </a:cubicBezTo>
                    <a:cubicBezTo>
                      <a:pt x="5" y="13"/>
                      <a:pt x="5" y="13"/>
                      <a:pt x="5" y="13"/>
                    </a:cubicBezTo>
                    <a:cubicBezTo>
                      <a:pt x="5" y="13"/>
                      <a:pt x="5" y="14"/>
                      <a:pt x="5" y="14"/>
                    </a:cubicBezTo>
                    <a:cubicBezTo>
                      <a:pt x="5" y="14"/>
                      <a:pt x="6" y="16"/>
                      <a:pt x="6" y="16"/>
                    </a:cubicBezTo>
                    <a:cubicBezTo>
                      <a:pt x="6" y="17"/>
                      <a:pt x="6" y="17"/>
                      <a:pt x="6" y="17"/>
                    </a:cubicBezTo>
                    <a:cubicBezTo>
                      <a:pt x="6" y="20"/>
                      <a:pt x="6" y="20"/>
                      <a:pt x="6" y="20"/>
                    </a:cubicBezTo>
                    <a:cubicBezTo>
                      <a:pt x="4" y="22"/>
                      <a:pt x="4" y="22"/>
                      <a:pt x="4" y="22"/>
                    </a:cubicBezTo>
                    <a:cubicBezTo>
                      <a:pt x="1" y="23"/>
                      <a:pt x="1" y="23"/>
                      <a:pt x="1" y="23"/>
                    </a:cubicBezTo>
                    <a:cubicBezTo>
                      <a:pt x="0" y="24"/>
                      <a:pt x="0" y="24"/>
                      <a:pt x="0" y="24"/>
                    </a:cubicBezTo>
                    <a:cubicBezTo>
                      <a:pt x="0" y="25"/>
                      <a:pt x="0" y="25"/>
                      <a:pt x="0" y="25"/>
                    </a:cubicBezTo>
                    <a:cubicBezTo>
                      <a:pt x="3" y="32"/>
                      <a:pt x="3" y="32"/>
                      <a:pt x="3" y="32"/>
                    </a:cubicBezTo>
                    <a:cubicBezTo>
                      <a:pt x="4" y="42"/>
                      <a:pt x="4" y="42"/>
                      <a:pt x="4" y="42"/>
                    </a:cubicBezTo>
                    <a:cubicBezTo>
                      <a:pt x="3" y="46"/>
                      <a:pt x="3" y="46"/>
                      <a:pt x="3" y="46"/>
                    </a:cubicBezTo>
                    <a:cubicBezTo>
                      <a:pt x="4" y="49"/>
                      <a:pt x="4" y="49"/>
                      <a:pt x="4" y="49"/>
                    </a:cubicBezTo>
                    <a:cubicBezTo>
                      <a:pt x="3" y="51"/>
                      <a:pt x="3" y="51"/>
                      <a:pt x="3" y="51"/>
                    </a:cubicBezTo>
                    <a:cubicBezTo>
                      <a:pt x="3" y="52"/>
                      <a:pt x="3" y="52"/>
                      <a:pt x="3" y="52"/>
                    </a:cubicBezTo>
                    <a:cubicBezTo>
                      <a:pt x="3" y="52"/>
                      <a:pt x="1" y="53"/>
                      <a:pt x="1" y="53"/>
                    </a:cubicBezTo>
                    <a:cubicBezTo>
                      <a:pt x="1" y="53"/>
                      <a:pt x="0" y="54"/>
                      <a:pt x="0" y="54"/>
                    </a:cubicBezTo>
                    <a:cubicBezTo>
                      <a:pt x="4" y="60"/>
                      <a:pt x="4" y="60"/>
                      <a:pt x="4" y="60"/>
                    </a:cubicBezTo>
                    <a:cubicBezTo>
                      <a:pt x="5" y="65"/>
                      <a:pt x="5" y="65"/>
                      <a:pt x="5" y="65"/>
                    </a:cubicBezTo>
                    <a:cubicBezTo>
                      <a:pt x="7" y="67"/>
                      <a:pt x="7" y="67"/>
                      <a:pt x="7" y="67"/>
                    </a:cubicBezTo>
                    <a:cubicBezTo>
                      <a:pt x="11" y="67"/>
                      <a:pt x="11" y="67"/>
                      <a:pt x="11" y="67"/>
                    </a:cubicBezTo>
                    <a:cubicBezTo>
                      <a:pt x="14" y="69"/>
                      <a:pt x="14" y="69"/>
                      <a:pt x="14" y="69"/>
                    </a:cubicBezTo>
                    <a:cubicBezTo>
                      <a:pt x="15" y="69"/>
                      <a:pt x="15" y="69"/>
                      <a:pt x="15" y="69"/>
                    </a:cubicBezTo>
                    <a:cubicBezTo>
                      <a:pt x="18" y="74"/>
                      <a:pt x="18" y="74"/>
                      <a:pt x="18" y="74"/>
                    </a:cubicBezTo>
                    <a:cubicBezTo>
                      <a:pt x="29" y="77"/>
                      <a:pt x="29" y="77"/>
                      <a:pt x="29" y="77"/>
                    </a:cubicBezTo>
                    <a:lnTo>
                      <a:pt x="33" y="8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Freeform 904">
                <a:extLst>
                  <a:ext uri="{FF2B5EF4-FFF2-40B4-BE49-F238E27FC236}">
                    <a16:creationId xmlns:a16="http://schemas.microsoft.com/office/drawing/2014/main" id="{F41F8FCD-B3B4-4200-2FD6-0108FD4B5D61}"/>
                  </a:ext>
                </a:extLst>
              </p:cNvPr>
              <p:cNvSpPr>
                <a:spLocks/>
              </p:cNvSpPr>
              <p:nvPr/>
            </p:nvSpPr>
            <p:spPr bwMode="auto">
              <a:xfrm>
                <a:off x="5051425" y="4646613"/>
                <a:ext cx="112712" cy="120650"/>
              </a:xfrm>
              <a:custGeom>
                <a:avLst/>
                <a:gdLst>
                  <a:gd name="T0" fmla="*/ 27 w 27"/>
                  <a:gd name="T1" fmla="*/ 23 h 29"/>
                  <a:gd name="T2" fmla="*/ 27 w 27"/>
                  <a:gd name="T3" fmla="*/ 19 h 29"/>
                  <a:gd name="T4" fmla="*/ 25 w 27"/>
                  <a:gd name="T5" fmla="*/ 18 h 29"/>
                  <a:gd name="T6" fmla="*/ 24 w 27"/>
                  <a:gd name="T7" fmla="*/ 16 h 29"/>
                  <a:gd name="T8" fmla="*/ 22 w 27"/>
                  <a:gd name="T9" fmla="*/ 16 h 29"/>
                  <a:gd name="T10" fmla="*/ 19 w 27"/>
                  <a:gd name="T11" fmla="*/ 14 h 29"/>
                  <a:gd name="T12" fmla="*/ 21 w 27"/>
                  <a:gd name="T13" fmla="*/ 11 h 29"/>
                  <a:gd name="T14" fmla="*/ 20 w 27"/>
                  <a:gd name="T15" fmla="*/ 6 h 29"/>
                  <a:gd name="T16" fmla="*/ 19 w 27"/>
                  <a:gd name="T17" fmla="*/ 6 h 29"/>
                  <a:gd name="T18" fmla="*/ 18 w 27"/>
                  <a:gd name="T19" fmla="*/ 9 h 29"/>
                  <a:gd name="T20" fmla="*/ 16 w 27"/>
                  <a:gd name="T21" fmla="*/ 10 h 29"/>
                  <a:gd name="T22" fmla="*/ 15 w 27"/>
                  <a:gd name="T23" fmla="*/ 8 h 29"/>
                  <a:gd name="T24" fmla="*/ 13 w 27"/>
                  <a:gd name="T25" fmla="*/ 8 h 29"/>
                  <a:gd name="T26" fmla="*/ 14 w 27"/>
                  <a:gd name="T27" fmla="*/ 7 h 29"/>
                  <a:gd name="T28" fmla="*/ 13 w 27"/>
                  <a:gd name="T29" fmla="*/ 2 h 29"/>
                  <a:gd name="T30" fmla="*/ 11 w 27"/>
                  <a:gd name="T31" fmla="*/ 0 h 29"/>
                  <a:gd name="T32" fmla="*/ 9 w 27"/>
                  <a:gd name="T33" fmla="*/ 1 h 29"/>
                  <a:gd name="T34" fmla="*/ 8 w 27"/>
                  <a:gd name="T35" fmla="*/ 1 h 29"/>
                  <a:gd name="T36" fmla="*/ 8 w 27"/>
                  <a:gd name="T37" fmla="*/ 3 h 29"/>
                  <a:gd name="T38" fmla="*/ 6 w 27"/>
                  <a:gd name="T39" fmla="*/ 3 h 29"/>
                  <a:gd name="T40" fmla="*/ 5 w 27"/>
                  <a:gd name="T41" fmla="*/ 6 h 29"/>
                  <a:gd name="T42" fmla="*/ 2 w 27"/>
                  <a:gd name="T43" fmla="*/ 8 h 29"/>
                  <a:gd name="T44" fmla="*/ 0 w 27"/>
                  <a:gd name="T45" fmla="*/ 12 h 29"/>
                  <a:gd name="T46" fmla="*/ 0 w 27"/>
                  <a:gd name="T47" fmla="*/ 12 h 29"/>
                  <a:gd name="T48" fmla="*/ 4 w 27"/>
                  <a:gd name="T49" fmla="*/ 15 h 29"/>
                  <a:gd name="T50" fmla="*/ 7 w 27"/>
                  <a:gd name="T51" fmla="*/ 17 h 29"/>
                  <a:gd name="T52" fmla="*/ 18 w 27"/>
                  <a:gd name="T53" fmla="*/ 26 h 29"/>
                  <a:gd name="T54" fmla="*/ 27 w 27"/>
                  <a:gd name="T55" fmla="*/ 29 h 29"/>
                  <a:gd name="T56" fmla="*/ 26 w 27"/>
                  <a:gd name="T57" fmla="*/ 26 h 29"/>
                  <a:gd name="T58" fmla="*/ 27 w 27"/>
                  <a:gd name="T5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9">
                    <a:moveTo>
                      <a:pt x="27" y="23"/>
                    </a:moveTo>
                    <a:cubicBezTo>
                      <a:pt x="27" y="19"/>
                      <a:pt x="27" y="19"/>
                      <a:pt x="27" y="19"/>
                    </a:cubicBezTo>
                    <a:cubicBezTo>
                      <a:pt x="25" y="18"/>
                      <a:pt x="25" y="18"/>
                      <a:pt x="25" y="18"/>
                    </a:cubicBezTo>
                    <a:cubicBezTo>
                      <a:pt x="24" y="16"/>
                      <a:pt x="24" y="16"/>
                      <a:pt x="24" y="16"/>
                    </a:cubicBezTo>
                    <a:cubicBezTo>
                      <a:pt x="22" y="16"/>
                      <a:pt x="22" y="16"/>
                      <a:pt x="22" y="16"/>
                    </a:cubicBezTo>
                    <a:cubicBezTo>
                      <a:pt x="19" y="14"/>
                      <a:pt x="19" y="14"/>
                      <a:pt x="19" y="14"/>
                    </a:cubicBezTo>
                    <a:cubicBezTo>
                      <a:pt x="21" y="11"/>
                      <a:pt x="21" y="11"/>
                      <a:pt x="21" y="11"/>
                    </a:cubicBezTo>
                    <a:cubicBezTo>
                      <a:pt x="20" y="6"/>
                      <a:pt x="20" y="6"/>
                      <a:pt x="20" y="6"/>
                    </a:cubicBezTo>
                    <a:cubicBezTo>
                      <a:pt x="19" y="6"/>
                      <a:pt x="19" y="6"/>
                      <a:pt x="19" y="6"/>
                    </a:cubicBezTo>
                    <a:cubicBezTo>
                      <a:pt x="18" y="9"/>
                      <a:pt x="18" y="9"/>
                      <a:pt x="18" y="9"/>
                    </a:cubicBezTo>
                    <a:cubicBezTo>
                      <a:pt x="16" y="10"/>
                      <a:pt x="16" y="10"/>
                      <a:pt x="16" y="10"/>
                    </a:cubicBezTo>
                    <a:cubicBezTo>
                      <a:pt x="15" y="8"/>
                      <a:pt x="15" y="8"/>
                      <a:pt x="15" y="8"/>
                    </a:cubicBezTo>
                    <a:cubicBezTo>
                      <a:pt x="13" y="8"/>
                      <a:pt x="13" y="8"/>
                      <a:pt x="13" y="8"/>
                    </a:cubicBezTo>
                    <a:cubicBezTo>
                      <a:pt x="14" y="7"/>
                      <a:pt x="14" y="7"/>
                      <a:pt x="14" y="7"/>
                    </a:cubicBezTo>
                    <a:cubicBezTo>
                      <a:pt x="13" y="2"/>
                      <a:pt x="13" y="2"/>
                      <a:pt x="13" y="2"/>
                    </a:cubicBezTo>
                    <a:cubicBezTo>
                      <a:pt x="11" y="0"/>
                      <a:pt x="11" y="0"/>
                      <a:pt x="11" y="0"/>
                    </a:cubicBezTo>
                    <a:cubicBezTo>
                      <a:pt x="9" y="1"/>
                      <a:pt x="9" y="1"/>
                      <a:pt x="9" y="1"/>
                    </a:cubicBezTo>
                    <a:cubicBezTo>
                      <a:pt x="8" y="1"/>
                      <a:pt x="8" y="1"/>
                      <a:pt x="8" y="1"/>
                    </a:cubicBezTo>
                    <a:cubicBezTo>
                      <a:pt x="8" y="3"/>
                      <a:pt x="8" y="3"/>
                      <a:pt x="8" y="3"/>
                    </a:cubicBezTo>
                    <a:cubicBezTo>
                      <a:pt x="6" y="3"/>
                      <a:pt x="6" y="3"/>
                      <a:pt x="6" y="3"/>
                    </a:cubicBezTo>
                    <a:cubicBezTo>
                      <a:pt x="5" y="6"/>
                      <a:pt x="5" y="6"/>
                      <a:pt x="5" y="6"/>
                    </a:cubicBezTo>
                    <a:cubicBezTo>
                      <a:pt x="2" y="8"/>
                      <a:pt x="2" y="8"/>
                      <a:pt x="2" y="8"/>
                    </a:cubicBezTo>
                    <a:cubicBezTo>
                      <a:pt x="0" y="12"/>
                      <a:pt x="0" y="12"/>
                      <a:pt x="0" y="12"/>
                    </a:cubicBezTo>
                    <a:cubicBezTo>
                      <a:pt x="0" y="12"/>
                      <a:pt x="0" y="12"/>
                      <a:pt x="0" y="12"/>
                    </a:cubicBezTo>
                    <a:cubicBezTo>
                      <a:pt x="1" y="13"/>
                      <a:pt x="2" y="14"/>
                      <a:pt x="4" y="15"/>
                    </a:cubicBezTo>
                    <a:cubicBezTo>
                      <a:pt x="5" y="16"/>
                      <a:pt x="5" y="18"/>
                      <a:pt x="7" y="17"/>
                    </a:cubicBezTo>
                    <a:cubicBezTo>
                      <a:pt x="11" y="20"/>
                      <a:pt x="14" y="24"/>
                      <a:pt x="18" y="26"/>
                    </a:cubicBezTo>
                    <a:cubicBezTo>
                      <a:pt x="21" y="28"/>
                      <a:pt x="24" y="29"/>
                      <a:pt x="27" y="29"/>
                    </a:cubicBezTo>
                    <a:cubicBezTo>
                      <a:pt x="26" y="26"/>
                      <a:pt x="26" y="26"/>
                      <a:pt x="26" y="26"/>
                    </a:cubicBezTo>
                    <a:lnTo>
                      <a:pt x="27" y="2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6" name="Freeform 905">
                <a:extLst>
                  <a:ext uri="{FF2B5EF4-FFF2-40B4-BE49-F238E27FC236}">
                    <a16:creationId xmlns:a16="http://schemas.microsoft.com/office/drawing/2014/main" id="{8F7C73E2-8A7A-A0C0-8A58-B196C7B02CC3}"/>
                  </a:ext>
                </a:extLst>
              </p:cNvPr>
              <p:cNvSpPr>
                <a:spLocks/>
              </p:cNvSpPr>
              <p:nvPr/>
            </p:nvSpPr>
            <p:spPr bwMode="auto">
              <a:xfrm>
                <a:off x="6137275" y="5734050"/>
                <a:ext cx="66675" cy="69850"/>
              </a:xfrm>
              <a:custGeom>
                <a:avLst/>
                <a:gdLst>
                  <a:gd name="T0" fmla="*/ 24 w 42"/>
                  <a:gd name="T1" fmla="*/ 34 h 44"/>
                  <a:gd name="T2" fmla="*/ 19 w 42"/>
                  <a:gd name="T3" fmla="*/ 44 h 44"/>
                  <a:gd name="T4" fmla="*/ 13 w 42"/>
                  <a:gd name="T5" fmla="*/ 42 h 44"/>
                  <a:gd name="T6" fmla="*/ 5 w 42"/>
                  <a:gd name="T7" fmla="*/ 36 h 44"/>
                  <a:gd name="T8" fmla="*/ 5 w 42"/>
                  <a:gd name="T9" fmla="*/ 31 h 44"/>
                  <a:gd name="T10" fmla="*/ 0 w 42"/>
                  <a:gd name="T11" fmla="*/ 21 h 44"/>
                  <a:gd name="T12" fmla="*/ 5 w 42"/>
                  <a:gd name="T13" fmla="*/ 18 h 44"/>
                  <a:gd name="T14" fmla="*/ 11 w 42"/>
                  <a:gd name="T15" fmla="*/ 10 h 44"/>
                  <a:gd name="T16" fmla="*/ 13 w 42"/>
                  <a:gd name="T17" fmla="*/ 7 h 44"/>
                  <a:gd name="T18" fmla="*/ 19 w 42"/>
                  <a:gd name="T19" fmla="*/ 7 h 44"/>
                  <a:gd name="T20" fmla="*/ 21 w 42"/>
                  <a:gd name="T21" fmla="*/ 2 h 44"/>
                  <a:gd name="T22" fmla="*/ 29 w 42"/>
                  <a:gd name="T23" fmla="*/ 0 h 44"/>
                  <a:gd name="T24" fmla="*/ 32 w 42"/>
                  <a:gd name="T25" fmla="*/ 5 h 44"/>
                  <a:gd name="T26" fmla="*/ 42 w 42"/>
                  <a:gd name="T27" fmla="*/ 13 h 44"/>
                  <a:gd name="T28" fmla="*/ 42 w 42"/>
                  <a:gd name="T29" fmla="*/ 18 h 44"/>
                  <a:gd name="T30" fmla="*/ 37 w 42"/>
                  <a:gd name="T31" fmla="*/ 23 h 44"/>
                  <a:gd name="T32" fmla="*/ 37 w 42"/>
                  <a:gd name="T33" fmla="*/ 28 h 44"/>
                  <a:gd name="T34" fmla="*/ 24 w 42"/>
                  <a:gd name="T35"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44">
                    <a:moveTo>
                      <a:pt x="24" y="34"/>
                    </a:moveTo>
                    <a:lnTo>
                      <a:pt x="19" y="44"/>
                    </a:lnTo>
                    <a:lnTo>
                      <a:pt x="13" y="42"/>
                    </a:lnTo>
                    <a:lnTo>
                      <a:pt x="5" y="36"/>
                    </a:lnTo>
                    <a:lnTo>
                      <a:pt x="5" y="31"/>
                    </a:lnTo>
                    <a:lnTo>
                      <a:pt x="0" y="21"/>
                    </a:lnTo>
                    <a:lnTo>
                      <a:pt x="5" y="18"/>
                    </a:lnTo>
                    <a:lnTo>
                      <a:pt x="11" y="10"/>
                    </a:lnTo>
                    <a:lnTo>
                      <a:pt x="13" y="7"/>
                    </a:lnTo>
                    <a:lnTo>
                      <a:pt x="19" y="7"/>
                    </a:lnTo>
                    <a:lnTo>
                      <a:pt x="21" y="2"/>
                    </a:lnTo>
                    <a:lnTo>
                      <a:pt x="29" y="0"/>
                    </a:lnTo>
                    <a:lnTo>
                      <a:pt x="32" y="5"/>
                    </a:lnTo>
                    <a:lnTo>
                      <a:pt x="42" y="13"/>
                    </a:lnTo>
                    <a:lnTo>
                      <a:pt x="42" y="18"/>
                    </a:lnTo>
                    <a:lnTo>
                      <a:pt x="37" y="23"/>
                    </a:lnTo>
                    <a:lnTo>
                      <a:pt x="37" y="28"/>
                    </a:lnTo>
                    <a:lnTo>
                      <a:pt x="24"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7" name="Freeform 906">
                <a:extLst>
                  <a:ext uri="{FF2B5EF4-FFF2-40B4-BE49-F238E27FC236}">
                    <a16:creationId xmlns:a16="http://schemas.microsoft.com/office/drawing/2014/main" id="{1C2121EB-F216-1CA2-AB2C-93D22DD1FBA3}"/>
                  </a:ext>
                </a:extLst>
              </p:cNvPr>
              <p:cNvSpPr>
                <a:spLocks/>
              </p:cNvSpPr>
              <p:nvPr/>
            </p:nvSpPr>
            <p:spPr bwMode="auto">
              <a:xfrm>
                <a:off x="6332538" y="4746625"/>
                <a:ext cx="225425" cy="279400"/>
              </a:xfrm>
              <a:custGeom>
                <a:avLst/>
                <a:gdLst>
                  <a:gd name="T0" fmla="*/ 48 w 54"/>
                  <a:gd name="T1" fmla="*/ 16 h 67"/>
                  <a:gd name="T2" fmla="*/ 54 w 54"/>
                  <a:gd name="T3" fmla="*/ 8 h 67"/>
                  <a:gd name="T4" fmla="*/ 49 w 54"/>
                  <a:gd name="T5" fmla="*/ 8 h 67"/>
                  <a:gd name="T6" fmla="*/ 46 w 54"/>
                  <a:gd name="T7" fmla="*/ 5 h 67"/>
                  <a:gd name="T8" fmla="*/ 40 w 54"/>
                  <a:gd name="T9" fmla="*/ 8 h 67"/>
                  <a:gd name="T10" fmla="*/ 38 w 54"/>
                  <a:gd name="T11" fmla="*/ 11 h 67"/>
                  <a:gd name="T12" fmla="*/ 32 w 54"/>
                  <a:gd name="T13" fmla="*/ 10 h 67"/>
                  <a:gd name="T14" fmla="*/ 28 w 54"/>
                  <a:gd name="T15" fmla="*/ 10 h 67"/>
                  <a:gd name="T16" fmla="*/ 20 w 54"/>
                  <a:gd name="T17" fmla="*/ 5 h 67"/>
                  <a:gd name="T18" fmla="*/ 14 w 54"/>
                  <a:gd name="T19" fmla="*/ 4 h 67"/>
                  <a:gd name="T20" fmla="*/ 13 w 54"/>
                  <a:gd name="T21" fmla="*/ 3 h 67"/>
                  <a:gd name="T22" fmla="*/ 11 w 54"/>
                  <a:gd name="T23" fmla="*/ 3 h 67"/>
                  <a:gd name="T24" fmla="*/ 10 w 54"/>
                  <a:gd name="T25" fmla="*/ 1 h 67"/>
                  <a:gd name="T26" fmla="*/ 10 w 54"/>
                  <a:gd name="T27" fmla="*/ 1 h 67"/>
                  <a:gd name="T28" fmla="*/ 10 w 54"/>
                  <a:gd name="T29" fmla="*/ 0 h 67"/>
                  <a:gd name="T30" fmla="*/ 6 w 54"/>
                  <a:gd name="T31" fmla="*/ 2 h 67"/>
                  <a:gd name="T32" fmla="*/ 4 w 54"/>
                  <a:gd name="T33" fmla="*/ 3 h 67"/>
                  <a:gd name="T34" fmla="*/ 0 w 54"/>
                  <a:gd name="T35" fmla="*/ 6 h 67"/>
                  <a:gd name="T36" fmla="*/ 0 w 54"/>
                  <a:gd name="T37" fmla="*/ 7 h 67"/>
                  <a:gd name="T38" fmla="*/ 1 w 54"/>
                  <a:gd name="T39" fmla="*/ 8 h 67"/>
                  <a:gd name="T40" fmla="*/ 2 w 54"/>
                  <a:gd name="T41" fmla="*/ 8 h 67"/>
                  <a:gd name="T42" fmla="*/ 2 w 54"/>
                  <a:gd name="T43" fmla="*/ 9 h 67"/>
                  <a:gd name="T44" fmla="*/ 3 w 54"/>
                  <a:gd name="T45" fmla="*/ 10 h 67"/>
                  <a:gd name="T46" fmla="*/ 3 w 54"/>
                  <a:gd name="T47" fmla="*/ 13 h 67"/>
                  <a:gd name="T48" fmla="*/ 7 w 54"/>
                  <a:gd name="T49" fmla="*/ 18 h 67"/>
                  <a:gd name="T50" fmla="*/ 7 w 54"/>
                  <a:gd name="T51" fmla="*/ 20 h 67"/>
                  <a:gd name="T52" fmla="*/ 7 w 54"/>
                  <a:gd name="T53" fmla="*/ 22 h 67"/>
                  <a:gd name="T54" fmla="*/ 7 w 54"/>
                  <a:gd name="T55" fmla="*/ 24 h 67"/>
                  <a:gd name="T56" fmla="*/ 6 w 54"/>
                  <a:gd name="T57" fmla="*/ 26 h 67"/>
                  <a:gd name="T58" fmla="*/ 4 w 54"/>
                  <a:gd name="T59" fmla="*/ 27 h 67"/>
                  <a:gd name="T60" fmla="*/ 3 w 54"/>
                  <a:gd name="T61" fmla="*/ 28 h 67"/>
                  <a:gd name="T62" fmla="*/ 1 w 54"/>
                  <a:gd name="T63" fmla="*/ 31 h 67"/>
                  <a:gd name="T64" fmla="*/ 0 w 54"/>
                  <a:gd name="T65" fmla="*/ 34 h 67"/>
                  <a:gd name="T66" fmla="*/ 0 w 54"/>
                  <a:gd name="T67" fmla="*/ 42 h 67"/>
                  <a:gd name="T68" fmla="*/ 25 w 54"/>
                  <a:gd name="T69" fmla="*/ 55 h 67"/>
                  <a:gd name="T70" fmla="*/ 25 w 54"/>
                  <a:gd name="T71" fmla="*/ 59 h 67"/>
                  <a:gd name="T72" fmla="*/ 36 w 54"/>
                  <a:gd name="T73" fmla="*/ 67 h 67"/>
                  <a:gd name="T74" fmla="*/ 38 w 54"/>
                  <a:gd name="T75" fmla="*/ 65 h 67"/>
                  <a:gd name="T76" fmla="*/ 41 w 54"/>
                  <a:gd name="T77" fmla="*/ 59 h 67"/>
                  <a:gd name="T78" fmla="*/ 43 w 54"/>
                  <a:gd name="T79" fmla="*/ 54 h 67"/>
                  <a:gd name="T80" fmla="*/ 45 w 54"/>
                  <a:gd name="T81" fmla="*/ 52 h 67"/>
                  <a:gd name="T82" fmla="*/ 48 w 54"/>
                  <a:gd name="T83" fmla="*/ 50 h 67"/>
                  <a:gd name="T84" fmla="*/ 49 w 54"/>
                  <a:gd name="T85" fmla="*/ 49 h 67"/>
                  <a:gd name="T86" fmla="*/ 52 w 54"/>
                  <a:gd name="T87" fmla="*/ 46 h 67"/>
                  <a:gd name="T88" fmla="*/ 48 w 54"/>
                  <a:gd name="T89" fmla="*/ 40 h 67"/>
                  <a:gd name="T90" fmla="*/ 48 w 54"/>
                  <a:gd name="T91"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67">
                    <a:moveTo>
                      <a:pt x="48" y="16"/>
                    </a:moveTo>
                    <a:cubicBezTo>
                      <a:pt x="54" y="8"/>
                      <a:pt x="54" y="8"/>
                      <a:pt x="54" y="8"/>
                    </a:cubicBezTo>
                    <a:cubicBezTo>
                      <a:pt x="49" y="8"/>
                      <a:pt x="49" y="8"/>
                      <a:pt x="49" y="8"/>
                    </a:cubicBezTo>
                    <a:cubicBezTo>
                      <a:pt x="46" y="5"/>
                      <a:pt x="46" y="5"/>
                      <a:pt x="46" y="5"/>
                    </a:cubicBezTo>
                    <a:cubicBezTo>
                      <a:pt x="40" y="8"/>
                      <a:pt x="40" y="8"/>
                      <a:pt x="40" y="8"/>
                    </a:cubicBezTo>
                    <a:cubicBezTo>
                      <a:pt x="38" y="11"/>
                      <a:pt x="38" y="11"/>
                      <a:pt x="38" y="11"/>
                    </a:cubicBezTo>
                    <a:cubicBezTo>
                      <a:pt x="32" y="10"/>
                      <a:pt x="32" y="10"/>
                      <a:pt x="32" y="10"/>
                    </a:cubicBezTo>
                    <a:cubicBezTo>
                      <a:pt x="28" y="10"/>
                      <a:pt x="28" y="10"/>
                      <a:pt x="28" y="10"/>
                    </a:cubicBezTo>
                    <a:cubicBezTo>
                      <a:pt x="20" y="5"/>
                      <a:pt x="20" y="5"/>
                      <a:pt x="20" y="5"/>
                    </a:cubicBezTo>
                    <a:cubicBezTo>
                      <a:pt x="14" y="4"/>
                      <a:pt x="14" y="4"/>
                      <a:pt x="14" y="4"/>
                    </a:cubicBezTo>
                    <a:cubicBezTo>
                      <a:pt x="13" y="3"/>
                      <a:pt x="13" y="3"/>
                      <a:pt x="13" y="3"/>
                    </a:cubicBezTo>
                    <a:cubicBezTo>
                      <a:pt x="11" y="3"/>
                      <a:pt x="11" y="3"/>
                      <a:pt x="11" y="3"/>
                    </a:cubicBezTo>
                    <a:cubicBezTo>
                      <a:pt x="10" y="1"/>
                      <a:pt x="10" y="1"/>
                      <a:pt x="10" y="1"/>
                    </a:cubicBezTo>
                    <a:cubicBezTo>
                      <a:pt x="10" y="1"/>
                      <a:pt x="10" y="1"/>
                      <a:pt x="10" y="1"/>
                    </a:cubicBezTo>
                    <a:cubicBezTo>
                      <a:pt x="10" y="0"/>
                      <a:pt x="10" y="0"/>
                      <a:pt x="10" y="0"/>
                    </a:cubicBezTo>
                    <a:cubicBezTo>
                      <a:pt x="6" y="2"/>
                      <a:pt x="6" y="2"/>
                      <a:pt x="6" y="2"/>
                    </a:cubicBezTo>
                    <a:cubicBezTo>
                      <a:pt x="4" y="3"/>
                      <a:pt x="4" y="3"/>
                      <a:pt x="4" y="3"/>
                    </a:cubicBezTo>
                    <a:cubicBezTo>
                      <a:pt x="0" y="6"/>
                      <a:pt x="0" y="6"/>
                      <a:pt x="0" y="6"/>
                    </a:cubicBezTo>
                    <a:cubicBezTo>
                      <a:pt x="0" y="7"/>
                      <a:pt x="0" y="7"/>
                      <a:pt x="0" y="7"/>
                    </a:cubicBezTo>
                    <a:cubicBezTo>
                      <a:pt x="1" y="8"/>
                      <a:pt x="1" y="8"/>
                      <a:pt x="1" y="8"/>
                    </a:cubicBezTo>
                    <a:cubicBezTo>
                      <a:pt x="2" y="8"/>
                      <a:pt x="2" y="8"/>
                      <a:pt x="2" y="8"/>
                    </a:cubicBezTo>
                    <a:cubicBezTo>
                      <a:pt x="2" y="9"/>
                      <a:pt x="2" y="9"/>
                      <a:pt x="2" y="9"/>
                    </a:cubicBezTo>
                    <a:cubicBezTo>
                      <a:pt x="3" y="10"/>
                      <a:pt x="3" y="10"/>
                      <a:pt x="3" y="10"/>
                    </a:cubicBezTo>
                    <a:cubicBezTo>
                      <a:pt x="3" y="13"/>
                      <a:pt x="3" y="13"/>
                      <a:pt x="3" y="13"/>
                    </a:cubicBezTo>
                    <a:cubicBezTo>
                      <a:pt x="7" y="18"/>
                      <a:pt x="7" y="18"/>
                      <a:pt x="7" y="18"/>
                    </a:cubicBezTo>
                    <a:cubicBezTo>
                      <a:pt x="7" y="20"/>
                      <a:pt x="7" y="20"/>
                      <a:pt x="7" y="20"/>
                    </a:cubicBezTo>
                    <a:cubicBezTo>
                      <a:pt x="7" y="22"/>
                      <a:pt x="7" y="22"/>
                      <a:pt x="7" y="22"/>
                    </a:cubicBezTo>
                    <a:cubicBezTo>
                      <a:pt x="7" y="24"/>
                      <a:pt x="7" y="24"/>
                      <a:pt x="7" y="24"/>
                    </a:cubicBezTo>
                    <a:cubicBezTo>
                      <a:pt x="6" y="26"/>
                      <a:pt x="6" y="26"/>
                      <a:pt x="6" y="26"/>
                    </a:cubicBezTo>
                    <a:cubicBezTo>
                      <a:pt x="4" y="27"/>
                      <a:pt x="4" y="27"/>
                      <a:pt x="4" y="27"/>
                    </a:cubicBezTo>
                    <a:cubicBezTo>
                      <a:pt x="3" y="28"/>
                      <a:pt x="3" y="28"/>
                      <a:pt x="3" y="28"/>
                    </a:cubicBezTo>
                    <a:cubicBezTo>
                      <a:pt x="1" y="31"/>
                      <a:pt x="1" y="31"/>
                      <a:pt x="1" y="31"/>
                    </a:cubicBezTo>
                    <a:cubicBezTo>
                      <a:pt x="0" y="34"/>
                      <a:pt x="0" y="34"/>
                      <a:pt x="0" y="34"/>
                    </a:cubicBezTo>
                    <a:cubicBezTo>
                      <a:pt x="0" y="42"/>
                      <a:pt x="0" y="42"/>
                      <a:pt x="0" y="42"/>
                    </a:cubicBezTo>
                    <a:cubicBezTo>
                      <a:pt x="25" y="55"/>
                      <a:pt x="25" y="55"/>
                      <a:pt x="25" y="55"/>
                    </a:cubicBezTo>
                    <a:cubicBezTo>
                      <a:pt x="25" y="59"/>
                      <a:pt x="25" y="59"/>
                      <a:pt x="25" y="59"/>
                    </a:cubicBezTo>
                    <a:cubicBezTo>
                      <a:pt x="36" y="67"/>
                      <a:pt x="36" y="67"/>
                      <a:pt x="36" y="67"/>
                    </a:cubicBezTo>
                    <a:cubicBezTo>
                      <a:pt x="37" y="67"/>
                      <a:pt x="38" y="66"/>
                      <a:pt x="38" y="65"/>
                    </a:cubicBezTo>
                    <a:cubicBezTo>
                      <a:pt x="40" y="63"/>
                      <a:pt x="40" y="61"/>
                      <a:pt x="41" y="59"/>
                    </a:cubicBezTo>
                    <a:cubicBezTo>
                      <a:pt x="42" y="57"/>
                      <a:pt x="43" y="55"/>
                      <a:pt x="43" y="54"/>
                    </a:cubicBezTo>
                    <a:cubicBezTo>
                      <a:pt x="44" y="53"/>
                      <a:pt x="44" y="52"/>
                      <a:pt x="45" y="52"/>
                    </a:cubicBezTo>
                    <a:cubicBezTo>
                      <a:pt x="47" y="53"/>
                      <a:pt x="47" y="52"/>
                      <a:pt x="48" y="50"/>
                    </a:cubicBezTo>
                    <a:cubicBezTo>
                      <a:pt x="48" y="50"/>
                      <a:pt x="48" y="49"/>
                      <a:pt x="49" y="49"/>
                    </a:cubicBezTo>
                    <a:cubicBezTo>
                      <a:pt x="51" y="49"/>
                      <a:pt x="51" y="48"/>
                      <a:pt x="52" y="46"/>
                    </a:cubicBezTo>
                    <a:cubicBezTo>
                      <a:pt x="48" y="40"/>
                      <a:pt x="48" y="40"/>
                      <a:pt x="48" y="40"/>
                    </a:cubicBezTo>
                    <a:lnTo>
                      <a:pt x="48"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8" name="Freeform 907">
                <a:extLst>
                  <a:ext uri="{FF2B5EF4-FFF2-40B4-BE49-F238E27FC236}">
                    <a16:creationId xmlns:a16="http://schemas.microsoft.com/office/drawing/2014/main" id="{259476E6-6478-B002-2E62-898EE32437AA}"/>
                  </a:ext>
                </a:extLst>
              </p:cNvPr>
              <p:cNvSpPr>
                <a:spLocks/>
              </p:cNvSpPr>
              <p:nvPr/>
            </p:nvSpPr>
            <p:spPr bwMode="auto">
              <a:xfrm>
                <a:off x="5130800" y="4583113"/>
                <a:ext cx="169862" cy="187325"/>
              </a:xfrm>
              <a:custGeom>
                <a:avLst/>
                <a:gdLst>
                  <a:gd name="T0" fmla="*/ 32 w 41"/>
                  <a:gd name="T1" fmla="*/ 6 h 45"/>
                  <a:gd name="T2" fmla="*/ 29 w 41"/>
                  <a:gd name="T3" fmla="*/ 8 h 45"/>
                  <a:gd name="T4" fmla="*/ 28 w 41"/>
                  <a:gd name="T5" fmla="*/ 7 h 45"/>
                  <a:gd name="T6" fmla="*/ 25 w 41"/>
                  <a:gd name="T7" fmla="*/ 6 h 45"/>
                  <a:gd name="T8" fmla="*/ 22 w 41"/>
                  <a:gd name="T9" fmla="*/ 3 h 45"/>
                  <a:gd name="T10" fmla="*/ 19 w 41"/>
                  <a:gd name="T11" fmla="*/ 2 h 45"/>
                  <a:gd name="T12" fmla="*/ 17 w 41"/>
                  <a:gd name="T13" fmla="*/ 4 h 45"/>
                  <a:gd name="T14" fmla="*/ 15 w 41"/>
                  <a:gd name="T15" fmla="*/ 1 h 45"/>
                  <a:gd name="T16" fmla="*/ 13 w 41"/>
                  <a:gd name="T17" fmla="*/ 1 h 45"/>
                  <a:gd name="T18" fmla="*/ 11 w 41"/>
                  <a:gd name="T19" fmla="*/ 3 h 45"/>
                  <a:gd name="T20" fmla="*/ 7 w 41"/>
                  <a:gd name="T21" fmla="*/ 2 h 45"/>
                  <a:gd name="T22" fmla="*/ 3 w 41"/>
                  <a:gd name="T23" fmla="*/ 9 h 45"/>
                  <a:gd name="T24" fmla="*/ 5 w 41"/>
                  <a:gd name="T25" fmla="*/ 9 h 45"/>
                  <a:gd name="T26" fmla="*/ 6 w 41"/>
                  <a:gd name="T27" fmla="*/ 12 h 45"/>
                  <a:gd name="T28" fmla="*/ 6 w 41"/>
                  <a:gd name="T29" fmla="*/ 15 h 45"/>
                  <a:gd name="T30" fmla="*/ 5 w 41"/>
                  <a:gd name="T31" fmla="*/ 16 h 45"/>
                  <a:gd name="T32" fmla="*/ 2 w 41"/>
                  <a:gd name="T33" fmla="*/ 18 h 45"/>
                  <a:gd name="T34" fmla="*/ 5 w 41"/>
                  <a:gd name="T35" fmla="*/ 19 h 45"/>
                  <a:gd name="T36" fmla="*/ 3 w 41"/>
                  <a:gd name="T37" fmla="*/ 22 h 45"/>
                  <a:gd name="T38" fmla="*/ 2 w 41"/>
                  <a:gd name="T39" fmla="*/ 26 h 45"/>
                  <a:gd name="T40" fmla="*/ 3 w 41"/>
                  <a:gd name="T41" fmla="*/ 31 h 45"/>
                  <a:gd name="T42" fmla="*/ 6 w 41"/>
                  <a:gd name="T43" fmla="*/ 33 h 45"/>
                  <a:gd name="T44" fmla="*/ 8 w 41"/>
                  <a:gd name="T45" fmla="*/ 38 h 45"/>
                  <a:gd name="T46" fmla="*/ 8 w 41"/>
                  <a:gd name="T47" fmla="*/ 44 h 45"/>
                  <a:gd name="T48" fmla="*/ 9 w 41"/>
                  <a:gd name="T49" fmla="*/ 44 h 45"/>
                  <a:gd name="T50" fmla="*/ 28 w 41"/>
                  <a:gd name="T51" fmla="*/ 39 h 45"/>
                  <a:gd name="T52" fmla="*/ 30 w 41"/>
                  <a:gd name="T53" fmla="*/ 38 h 45"/>
                  <a:gd name="T54" fmla="*/ 40 w 41"/>
                  <a:gd name="T55" fmla="*/ 39 h 45"/>
                  <a:gd name="T56" fmla="*/ 40 w 41"/>
                  <a:gd name="T57" fmla="*/ 35 h 45"/>
                  <a:gd name="T58" fmla="*/ 36 w 41"/>
                  <a:gd name="T59" fmla="*/ 30 h 45"/>
                  <a:gd name="T60" fmla="*/ 38 w 41"/>
                  <a:gd name="T61" fmla="*/ 24 h 45"/>
                  <a:gd name="T62" fmla="*/ 41 w 41"/>
                  <a:gd name="T63" fmla="*/ 18 h 45"/>
                  <a:gd name="T64" fmla="*/ 39 w 41"/>
                  <a:gd name="T65" fmla="*/ 12 h 45"/>
                  <a:gd name="T66" fmla="*/ 40 w 41"/>
                  <a:gd name="T67" fmla="*/ 9 h 45"/>
                  <a:gd name="T68" fmla="*/ 39 w 41"/>
                  <a:gd name="T69"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5">
                    <a:moveTo>
                      <a:pt x="37" y="6"/>
                    </a:moveTo>
                    <a:cubicBezTo>
                      <a:pt x="32" y="6"/>
                      <a:pt x="32" y="6"/>
                      <a:pt x="32" y="6"/>
                    </a:cubicBezTo>
                    <a:cubicBezTo>
                      <a:pt x="29" y="7"/>
                      <a:pt x="29" y="7"/>
                      <a:pt x="29" y="7"/>
                    </a:cubicBezTo>
                    <a:cubicBezTo>
                      <a:pt x="29" y="8"/>
                      <a:pt x="29" y="8"/>
                      <a:pt x="29" y="8"/>
                    </a:cubicBezTo>
                    <a:cubicBezTo>
                      <a:pt x="29" y="8"/>
                      <a:pt x="28" y="8"/>
                      <a:pt x="28" y="8"/>
                    </a:cubicBezTo>
                    <a:cubicBezTo>
                      <a:pt x="28" y="8"/>
                      <a:pt x="28" y="7"/>
                      <a:pt x="28" y="7"/>
                    </a:cubicBezTo>
                    <a:cubicBezTo>
                      <a:pt x="26" y="8"/>
                      <a:pt x="26" y="8"/>
                      <a:pt x="26" y="8"/>
                    </a:cubicBezTo>
                    <a:cubicBezTo>
                      <a:pt x="25" y="6"/>
                      <a:pt x="25" y="6"/>
                      <a:pt x="25" y="6"/>
                    </a:cubicBezTo>
                    <a:cubicBezTo>
                      <a:pt x="24" y="3"/>
                      <a:pt x="24" y="3"/>
                      <a:pt x="24" y="3"/>
                    </a:cubicBezTo>
                    <a:cubicBezTo>
                      <a:pt x="22" y="3"/>
                      <a:pt x="22" y="3"/>
                      <a:pt x="22" y="3"/>
                    </a:cubicBezTo>
                    <a:cubicBezTo>
                      <a:pt x="21" y="2"/>
                      <a:pt x="21" y="2"/>
                      <a:pt x="21" y="2"/>
                    </a:cubicBezTo>
                    <a:cubicBezTo>
                      <a:pt x="19" y="2"/>
                      <a:pt x="19" y="2"/>
                      <a:pt x="19" y="2"/>
                    </a:cubicBezTo>
                    <a:cubicBezTo>
                      <a:pt x="18" y="4"/>
                      <a:pt x="18" y="4"/>
                      <a:pt x="18" y="4"/>
                    </a:cubicBezTo>
                    <a:cubicBezTo>
                      <a:pt x="17" y="4"/>
                      <a:pt x="17" y="4"/>
                      <a:pt x="17" y="4"/>
                    </a:cubicBezTo>
                    <a:cubicBezTo>
                      <a:pt x="16" y="0"/>
                      <a:pt x="16" y="0"/>
                      <a:pt x="16" y="0"/>
                    </a:cubicBezTo>
                    <a:cubicBezTo>
                      <a:pt x="15" y="1"/>
                      <a:pt x="15" y="1"/>
                      <a:pt x="15" y="1"/>
                    </a:cubicBezTo>
                    <a:cubicBezTo>
                      <a:pt x="15" y="2"/>
                      <a:pt x="15" y="2"/>
                      <a:pt x="15" y="2"/>
                    </a:cubicBezTo>
                    <a:cubicBezTo>
                      <a:pt x="13" y="1"/>
                      <a:pt x="13" y="1"/>
                      <a:pt x="13" y="1"/>
                    </a:cubicBezTo>
                    <a:cubicBezTo>
                      <a:pt x="13" y="3"/>
                      <a:pt x="13" y="3"/>
                      <a:pt x="13" y="3"/>
                    </a:cubicBezTo>
                    <a:cubicBezTo>
                      <a:pt x="11" y="3"/>
                      <a:pt x="11" y="3"/>
                      <a:pt x="11" y="3"/>
                    </a:cubicBezTo>
                    <a:cubicBezTo>
                      <a:pt x="10" y="5"/>
                      <a:pt x="10" y="5"/>
                      <a:pt x="10" y="5"/>
                    </a:cubicBezTo>
                    <a:cubicBezTo>
                      <a:pt x="7" y="2"/>
                      <a:pt x="7" y="2"/>
                      <a:pt x="7" y="2"/>
                    </a:cubicBezTo>
                    <a:cubicBezTo>
                      <a:pt x="3" y="6"/>
                      <a:pt x="3" y="6"/>
                      <a:pt x="3" y="6"/>
                    </a:cubicBezTo>
                    <a:cubicBezTo>
                      <a:pt x="3" y="9"/>
                      <a:pt x="3" y="9"/>
                      <a:pt x="3" y="9"/>
                    </a:cubicBezTo>
                    <a:cubicBezTo>
                      <a:pt x="4" y="9"/>
                      <a:pt x="4" y="9"/>
                      <a:pt x="4" y="9"/>
                    </a:cubicBezTo>
                    <a:cubicBezTo>
                      <a:pt x="5" y="9"/>
                      <a:pt x="5" y="9"/>
                      <a:pt x="5" y="9"/>
                    </a:cubicBezTo>
                    <a:cubicBezTo>
                      <a:pt x="5" y="11"/>
                      <a:pt x="5" y="11"/>
                      <a:pt x="5" y="11"/>
                    </a:cubicBezTo>
                    <a:cubicBezTo>
                      <a:pt x="6" y="12"/>
                      <a:pt x="6" y="12"/>
                      <a:pt x="6" y="12"/>
                    </a:cubicBezTo>
                    <a:cubicBezTo>
                      <a:pt x="4" y="13"/>
                      <a:pt x="4" y="13"/>
                      <a:pt x="4" y="13"/>
                    </a:cubicBezTo>
                    <a:cubicBezTo>
                      <a:pt x="6" y="15"/>
                      <a:pt x="6" y="15"/>
                      <a:pt x="6" y="15"/>
                    </a:cubicBezTo>
                    <a:cubicBezTo>
                      <a:pt x="6" y="16"/>
                      <a:pt x="6" y="16"/>
                      <a:pt x="6" y="16"/>
                    </a:cubicBezTo>
                    <a:cubicBezTo>
                      <a:pt x="5" y="16"/>
                      <a:pt x="5" y="16"/>
                      <a:pt x="5" y="16"/>
                    </a:cubicBezTo>
                    <a:cubicBezTo>
                      <a:pt x="2" y="16"/>
                      <a:pt x="2" y="16"/>
                      <a:pt x="2" y="16"/>
                    </a:cubicBezTo>
                    <a:cubicBezTo>
                      <a:pt x="2" y="18"/>
                      <a:pt x="2" y="18"/>
                      <a:pt x="2" y="18"/>
                    </a:cubicBezTo>
                    <a:cubicBezTo>
                      <a:pt x="5" y="18"/>
                      <a:pt x="5" y="18"/>
                      <a:pt x="5" y="18"/>
                    </a:cubicBezTo>
                    <a:cubicBezTo>
                      <a:pt x="5" y="19"/>
                      <a:pt x="5" y="19"/>
                      <a:pt x="5" y="19"/>
                    </a:cubicBezTo>
                    <a:cubicBezTo>
                      <a:pt x="4" y="19"/>
                      <a:pt x="4" y="19"/>
                      <a:pt x="4" y="19"/>
                    </a:cubicBezTo>
                    <a:cubicBezTo>
                      <a:pt x="3" y="22"/>
                      <a:pt x="3" y="22"/>
                      <a:pt x="3" y="22"/>
                    </a:cubicBezTo>
                    <a:cubicBezTo>
                      <a:pt x="1" y="22"/>
                      <a:pt x="1" y="22"/>
                      <a:pt x="1" y="22"/>
                    </a:cubicBezTo>
                    <a:cubicBezTo>
                      <a:pt x="2" y="26"/>
                      <a:pt x="2" y="26"/>
                      <a:pt x="2" y="26"/>
                    </a:cubicBezTo>
                    <a:cubicBezTo>
                      <a:pt x="0" y="29"/>
                      <a:pt x="0" y="29"/>
                      <a:pt x="0" y="29"/>
                    </a:cubicBezTo>
                    <a:cubicBezTo>
                      <a:pt x="3" y="31"/>
                      <a:pt x="3" y="31"/>
                      <a:pt x="3" y="31"/>
                    </a:cubicBezTo>
                    <a:cubicBezTo>
                      <a:pt x="5" y="31"/>
                      <a:pt x="5" y="31"/>
                      <a:pt x="5" y="31"/>
                    </a:cubicBezTo>
                    <a:cubicBezTo>
                      <a:pt x="6" y="33"/>
                      <a:pt x="6" y="33"/>
                      <a:pt x="6" y="33"/>
                    </a:cubicBezTo>
                    <a:cubicBezTo>
                      <a:pt x="8" y="34"/>
                      <a:pt x="8" y="34"/>
                      <a:pt x="8" y="34"/>
                    </a:cubicBezTo>
                    <a:cubicBezTo>
                      <a:pt x="8" y="38"/>
                      <a:pt x="8" y="38"/>
                      <a:pt x="8" y="38"/>
                    </a:cubicBezTo>
                    <a:cubicBezTo>
                      <a:pt x="7" y="41"/>
                      <a:pt x="7" y="41"/>
                      <a:pt x="7" y="41"/>
                    </a:cubicBezTo>
                    <a:cubicBezTo>
                      <a:pt x="8" y="44"/>
                      <a:pt x="8" y="44"/>
                      <a:pt x="8" y="44"/>
                    </a:cubicBezTo>
                    <a:cubicBezTo>
                      <a:pt x="8" y="44"/>
                      <a:pt x="8" y="45"/>
                      <a:pt x="8" y="45"/>
                    </a:cubicBezTo>
                    <a:cubicBezTo>
                      <a:pt x="8" y="44"/>
                      <a:pt x="8" y="44"/>
                      <a:pt x="9" y="44"/>
                    </a:cubicBezTo>
                    <a:cubicBezTo>
                      <a:pt x="11" y="44"/>
                      <a:pt x="12" y="43"/>
                      <a:pt x="14" y="42"/>
                    </a:cubicBezTo>
                    <a:cubicBezTo>
                      <a:pt x="18" y="40"/>
                      <a:pt x="23" y="39"/>
                      <a:pt x="28" y="39"/>
                    </a:cubicBezTo>
                    <a:cubicBezTo>
                      <a:pt x="28" y="39"/>
                      <a:pt x="28" y="39"/>
                      <a:pt x="28" y="39"/>
                    </a:cubicBezTo>
                    <a:cubicBezTo>
                      <a:pt x="29" y="38"/>
                      <a:pt x="29" y="38"/>
                      <a:pt x="30" y="38"/>
                    </a:cubicBezTo>
                    <a:cubicBezTo>
                      <a:pt x="32" y="38"/>
                      <a:pt x="35" y="40"/>
                      <a:pt x="37" y="39"/>
                    </a:cubicBezTo>
                    <a:cubicBezTo>
                      <a:pt x="40" y="39"/>
                      <a:pt x="40" y="39"/>
                      <a:pt x="40" y="39"/>
                    </a:cubicBezTo>
                    <a:cubicBezTo>
                      <a:pt x="40" y="37"/>
                      <a:pt x="40" y="37"/>
                      <a:pt x="40" y="37"/>
                    </a:cubicBezTo>
                    <a:cubicBezTo>
                      <a:pt x="40" y="35"/>
                      <a:pt x="40" y="35"/>
                      <a:pt x="40" y="35"/>
                    </a:cubicBezTo>
                    <a:cubicBezTo>
                      <a:pt x="38" y="35"/>
                      <a:pt x="38" y="35"/>
                      <a:pt x="38" y="35"/>
                    </a:cubicBezTo>
                    <a:cubicBezTo>
                      <a:pt x="36" y="30"/>
                      <a:pt x="36" y="30"/>
                      <a:pt x="36" y="30"/>
                    </a:cubicBezTo>
                    <a:cubicBezTo>
                      <a:pt x="36" y="27"/>
                      <a:pt x="36" y="27"/>
                      <a:pt x="36" y="27"/>
                    </a:cubicBezTo>
                    <a:cubicBezTo>
                      <a:pt x="38" y="24"/>
                      <a:pt x="38" y="24"/>
                      <a:pt x="38" y="24"/>
                    </a:cubicBezTo>
                    <a:cubicBezTo>
                      <a:pt x="39" y="20"/>
                      <a:pt x="39" y="20"/>
                      <a:pt x="39" y="20"/>
                    </a:cubicBezTo>
                    <a:cubicBezTo>
                      <a:pt x="41" y="18"/>
                      <a:pt x="41" y="18"/>
                      <a:pt x="41" y="18"/>
                    </a:cubicBezTo>
                    <a:cubicBezTo>
                      <a:pt x="41" y="14"/>
                      <a:pt x="41" y="14"/>
                      <a:pt x="41" y="14"/>
                    </a:cubicBezTo>
                    <a:cubicBezTo>
                      <a:pt x="39" y="12"/>
                      <a:pt x="39" y="12"/>
                      <a:pt x="39" y="12"/>
                    </a:cubicBezTo>
                    <a:cubicBezTo>
                      <a:pt x="40" y="11"/>
                      <a:pt x="40" y="11"/>
                      <a:pt x="40" y="11"/>
                    </a:cubicBezTo>
                    <a:cubicBezTo>
                      <a:pt x="40" y="9"/>
                      <a:pt x="40" y="9"/>
                      <a:pt x="40" y="9"/>
                    </a:cubicBezTo>
                    <a:cubicBezTo>
                      <a:pt x="40" y="9"/>
                      <a:pt x="40" y="9"/>
                      <a:pt x="40" y="9"/>
                    </a:cubicBezTo>
                    <a:cubicBezTo>
                      <a:pt x="39" y="9"/>
                      <a:pt x="39" y="9"/>
                      <a:pt x="39" y="9"/>
                    </a:cubicBezTo>
                    <a:lnTo>
                      <a:pt x="37"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9" name="Freeform 908">
                <a:extLst>
                  <a:ext uri="{FF2B5EF4-FFF2-40B4-BE49-F238E27FC236}">
                    <a16:creationId xmlns:a16="http://schemas.microsoft.com/office/drawing/2014/main" id="{90DE0B32-A0FA-41D1-A64B-7E8A061BB50C}"/>
                  </a:ext>
                </a:extLst>
              </p:cNvPr>
              <p:cNvSpPr>
                <a:spLocks noEditPoints="1"/>
              </p:cNvSpPr>
              <p:nvPr/>
            </p:nvSpPr>
            <p:spPr bwMode="auto">
              <a:xfrm>
                <a:off x="4900613" y="4529138"/>
                <a:ext cx="88900" cy="50800"/>
              </a:xfrm>
              <a:custGeom>
                <a:avLst/>
                <a:gdLst>
                  <a:gd name="T0" fmla="*/ 6 w 21"/>
                  <a:gd name="T1" fmla="*/ 12 h 12"/>
                  <a:gd name="T2" fmla="*/ 5 w 21"/>
                  <a:gd name="T3" fmla="*/ 12 h 12"/>
                  <a:gd name="T4" fmla="*/ 5 w 21"/>
                  <a:gd name="T5" fmla="*/ 11 h 12"/>
                  <a:gd name="T6" fmla="*/ 5 w 21"/>
                  <a:gd name="T7" fmla="*/ 11 h 12"/>
                  <a:gd name="T8" fmla="*/ 6 w 21"/>
                  <a:gd name="T9" fmla="*/ 12 h 12"/>
                  <a:gd name="T10" fmla="*/ 7 w 21"/>
                  <a:gd name="T11" fmla="*/ 2 h 12"/>
                  <a:gd name="T12" fmla="*/ 1 w 21"/>
                  <a:gd name="T13" fmla="*/ 2 h 12"/>
                  <a:gd name="T14" fmla="*/ 0 w 21"/>
                  <a:gd name="T15" fmla="*/ 3 h 12"/>
                  <a:gd name="T16" fmla="*/ 1 w 21"/>
                  <a:gd name="T17" fmla="*/ 3 h 12"/>
                  <a:gd name="T18" fmla="*/ 3 w 21"/>
                  <a:gd name="T19" fmla="*/ 4 h 12"/>
                  <a:gd name="T20" fmla="*/ 4 w 21"/>
                  <a:gd name="T21" fmla="*/ 4 h 12"/>
                  <a:gd name="T22" fmla="*/ 6 w 21"/>
                  <a:gd name="T23" fmla="*/ 6 h 12"/>
                  <a:gd name="T24" fmla="*/ 8 w 21"/>
                  <a:gd name="T25" fmla="*/ 6 h 12"/>
                  <a:gd name="T26" fmla="*/ 9 w 21"/>
                  <a:gd name="T27" fmla="*/ 6 h 12"/>
                  <a:gd name="T28" fmla="*/ 10 w 21"/>
                  <a:gd name="T29" fmla="*/ 8 h 12"/>
                  <a:gd name="T30" fmla="*/ 10 w 21"/>
                  <a:gd name="T31" fmla="*/ 9 h 12"/>
                  <a:gd name="T32" fmla="*/ 9 w 21"/>
                  <a:gd name="T33" fmla="*/ 10 h 12"/>
                  <a:gd name="T34" fmla="*/ 11 w 21"/>
                  <a:gd name="T35" fmla="*/ 12 h 12"/>
                  <a:gd name="T36" fmla="*/ 14 w 21"/>
                  <a:gd name="T37" fmla="*/ 8 h 12"/>
                  <a:gd name="T38" fmla="*/ 14 w 21"/>
                  <a:gd name="T39" fmla="*/ 8 h 12"/>
                  <a:gd name="T40" fmla="*/ 17 w 21"/>
                  <a:gd name="T41" fmla="*/ 7 h 12"/>
                  <a:gd name="T42" fmla="*/ 21 w 21"/>
                  <a:gd name="T43" fmla="*/ 7 h 12"/>
                  <a:gd name="T44" fmla="*/ 21 w 21"/>
                  <a:gd name="T45" fmla="*/ 4 h 12"/>
                  <a:gd name="T46" fmla="*/ 19 w 21"/>
                  <a:gd name="T47" fmla="*/ 4 h 12"/>
                  <a:gd name="T48" fmla="*/ 21 w 21"/>
                  <a:gd name="T49" fmla="*/ 2 h 12"/>
                  <a:gd name="T50" fmla="*/ 21 w 21"/>
                  <a:gd name="T51" fmla="*/ 1 h 12"/>
                  <a:gd name="T52" fmla="*/ 21 w 21"/>
                  <a:gd name="T53" fmla="*/ 0 h 12"/>
                  <a:gd name="T54" fmla="*/ 10 w 21"/>
                  <a:gd name="T55" fmla="*/ 0 h 12"/>
                  <a:gd name="T56" fmla="*/ 7 w 21"/>
                  <a:gd name="T5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12">
                    <a:moveTo>
                      <a:pt x="6" y="12"/>
                    </a:moveTo>
                    <a:cubicBezTo>
                      <a:pt x="6" y="12"/>
                      <a:pt x="6" y="12"/>
                      <a:pt x="5" y="12"/>
                    </a:cubicBezTo>
                    <a:cubicBezTo>
                      <a:pt x="5" y="12"/>
                      <a:pt x="5" y="12"/>
                      <a:pt x="5" y="11"/>
                    </a:cubicBezTo>
                    <a:cubicBezTo>
                      <a:pt x="5" y="11"/>
                      <a:pt x="5" y="11"/>
                      <a:pt x="5" y="11"/>
                    </a:cubicBezTo>
                    <a:cubicBezTo>
                      <a:pt x="6" y="11"/>
                      <a:pt x="6" y="11"/>
                      <a:pt x="6" y="12"/>
                    </a:cubicBezTo>
                    <a:close/>
                    <a:moveTo>
                      <a:pt x="7" y="2"/>
                    </a:moveTo>
                    <a:cubicBezTo>
                      <a:pt x="1" y="2"/>
                      <a:pt x="1" y="2"/>
                      <a:pt x="1" y="2"/>
                    </a:cubicBezTo>
                    <a:cubicBezTo>
                      <a:pt x="0" y="2"/>
                      <a:pt x="0" y="3"/>
                      <a:pt x="0" y="3"/>
                    </a:cubicBezTo>
                    <a:cubicBezTo>
                      <a:pt x="1" y="3"/>
                      <a:pt x="1" y="3"/>
                      <a:pt x="1" y="3"/>
                    </a:cubicBezTo>
                    <a:cubicBezTo>
                      <a:pt x="2" y="3"/>
                      <a:pt x="2" y="4"/>
                      <a:pt x="3" y="4"/>
                    </a:cubicBezTo>
                    <a:cubicBezTo>
                      <a:pt x="3" y="3"/>
                      <a:pt x="4" y="4"/>
                      <a:pt x="4" y="4"/>
                    </a:cubicBezTo>
                    <a:cubicBezTo>
                      <a:pt x="4" y="6"/>
                      <a:pt x="4" y="5"/>
                      <a:pt x="6" y="6"/>
                    </a:cubicBezTo>
                    <a:cubicBezTo>
                      <a:pt x="7" y="7"/>
                      <a:pt x="7" y="7"/>
                      <a:pt x="8" y="6"/>
                    </a:cubicBezTo>
                    <a:cubicBezTo>
                      <a:pt x="9" y="6"/>
                      <a:pt x="9" y="6"/>
                      <a:pt x="9" y="6"/>
                    </a:cubicBezTo>
                    <a:cubicBezTo>
                      <a:pt x="9" y="7"/>
                      <a:pt x="9" y="7"/>
                      <a:pt x="10" y="8"/>
                    </a:cubicBezTo>
                    <a:cubicBezTo>
                      <a:pt x="10" y="8"/>
                      <a:pt x="10" y="8"/>
                      <a:pt x="10" y="9"/>
                    </a:cubicBezTo>
                    <a:cubicBezTo>
                      <a:pt x="9" y="9"/>
                      <a:pt x="9" y="9"/>
                      <a:pt x="9" y="10"/>
                    </a:cubicBezTo>
                    <a:cubicBezTo>
                      <a:pt x="9" y="11"/>
                      <a:pt x="11" y="11"/>
                      <a:pt x="11" y="12"/>
                    </a:cubicBezTo>
                    <a:cubicBezTo>
                      <a:pt x="14" y="8"/>
                      <a:pt x="14" y="8"/>
                      <a:pt x="14" y="8"/>
                    </a:cubicBezTo>
                    <a:cubicBezTo>
                      <a:pt x="14" y="8"/>
                      <a:pt x="14" y="8"/>
                      <a:pt x="14" y="8"/>
                    </a:cubicBezTo>
                    <a:cubicBezTo>
                      <a:pt x="17" y="7"/>
                      <a:pt x="17" y="7"/>
                      <a:pt x="17" y="7"/>
                    </a:cubicBezTo>
                    <a:cubicBezTo>
                      <a:pt x="21" y="7"/>
                      <a:pt x="21" y="7"/>
                      <a:pt x="21" y="7"/>
                    </a:cubicBezTo>
                    <a:cubicBezTo>
                      <a:pt x="21" y="4"/>
                      <a:pt x="21" y="4"/>
                      <a:pt x="21" y="4"/>
                    </a:cubicBezTo>
                    <a:cubicBezTo>
                      <a:pt x="19" y="4"/>
                      <a:pt x="19" y="4"/>
                      <a:pt x="19" y="4"/>
                    </a:cubicBezTo>
                    <a:cubicBezTo>
                      <a:pt x="21" y="2"/>
                      <a:pt x="21" y="2"/>
                      <a:pt x="21" y="2"/>
                    </a:cubicBezTo>
                    <a:cubicBezTo>
                      <a:pt x="21" y="1"/>
                      <a:pt x="21" y="1"/>
                      <a:pt x="21" y="1"/>
                    </a:cubicBezTo>
                    <a:cubicBezTo>
                      <a:pt x="21" y="0"/>
                      <a:pt x="21" y="0"/>
                      <a:pt x="21" y="0"/>
                    </a:cubicBezTo>
                    <a:cubicBezTo>
                      <a:pt x="10" y="0"/>
                      <a:pt x="10" y="0"/>
                      <a:pt x="10" y="0"/>
                    </a:cubicBezTo>
                    <a:lnTo>
                      <a:pt x="7"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0" name="Freeform 909">
                <a:extLst>
                  <a:ext uri="{FF2B5EF4-FFF2-40B4-BE49-F238E27FC236}">
                    <a16:creationId xmlns:a16="http://schemas.microsoft.com/office/drawing/2014/main" id="{02D8653B-5721-A3C7-5540-CB2949CC5BC6}"/>
                  </a:ext>
                </a:extLst>
              </p:cNvPr>
              <p:cNvSpPr>
                <a:spLocks/>
              </p:cNvSpPr>
              <p:nvPr/>
            </p:nvSpPr>
            <p:spPr bwMode="auto">
              <a:xfrm>
                <a:off x="4946650" y="4529138"/>
                <a:ext cx="207962" cy="158750"/>
              </a:xfrm>
              <a:custGeom>
                <a:avLst/>
                <a:gdLst>
                  <a:gd name="T0" fmla="*/ 46 w 50"/>
                  <a:gd name="T1" fmla="*/ 12 h 38"/>
                  <a:gd name="T2" fmla="*/ 46 w 50"/>
                  <a:gd name="T3" fmla="*/ 9 h 38"/>
                  <a:gd name="T4" fmla="*/ 42 w 50"/>
                  <a:gd name="T5" fmla="*/ 6 h 38"/>
                  <a:gd name="T6" fmla="*/ 41 w 50"/>
                  <a:gd name="T7" fmla="*/ 1 h 38"/>
                  <a:gd name="T8" fmla="*/ 39 w 50"/>
                  <a:gd name="T9" fmla="*/ 2 h 38"/>
                  <a:gd name="T10" fmla="*/ 37 w 50"/>
                  <a:gd name="T11" fmla="*/ 3 h 38"/>
                  <a:gd name="T12" fmla="*/ 36 w 50"/>
                  <a:gd name="T13" fmla="*/ 4 h 38"/>
                  <a:gd name="T14" fmla="*/ 31 w 50"/>
                  <a:gd name="T15" fmla="*/ 5 h 38"/>
                  <a:gd name="T16" fmla="*/ 28 w 50"/>
                  <a:gd name="T17" fmla="*/ 3 h 38"/>
                  <a:gd name="T18" fmla="*/ 24 w 50"/>
                  <a:gd name="T19" fmla="*/ 3 h 38"/>
                  <a:gd name="T20" fmla="*/ 20 w 50"/>
                  <a:gd name="T21" fmla="*/ 2 h 38"/>
                  <a:gd name="T22" fmla="*/ 15 w 50"/>
                  <a:gd name="T23" fmla="*/ 1 h 38"/>
                  <a:gd name="T24" fmla="*/ 13 w 50"/>
                  <a:gd name="T25" fmla="*/ 0 h 38"/>
                  <a:gd name="T26" fmla="*/ 10 w 50"/>
                  <a:gd name="T27" fmla="*/ 1 h 38"/>
                  <a:gd name="T28" fmla="*/ 8 w 50"/>
                  <a:gd name="T29" fmla="*/ 4 h 38"/>
                  <a:gd name="T30" fmla="*/ 10 w 50"/>
                  <a:gd name="T31" fmla="*/ 7 h 38"/>
                  <a:gd name="T32" fmla="*/ 3 w 50"/>
                  <a:gd name="T33" fmla="*/ 8 h 38"/>
                  <a:gd name="T34" fmla="*/ 0 w 50"/>
                  <a:gd name="T35" fmla="*/ 12 h 38"/>
                  <a:gd name="T36" fmla="*/ 2 w 50"/>
                  <a:gd name="T37" fmla="*/ 13 h 38"/>
                  <a:gd name="T38" fmla="*/ 7 w 50"/>
                  <a:gd name="T39" fmla="*/ 18 h 38"/>
                  <a:gd name="T40" fmla="*/ 13 w 50"/>
                  <a:gd name="T41" fmla="*/ 25 h 38"/>
                  <a:gd name="T42" fmla="*/ 15 w 50"/>
                  <a:gd name="T43" fmla="*/ 23 h 38"/>
                  <a:gd name="T44" fmla="*/ 17 w 50"/>
                  <a:gd name="T45" fmla="*/ 20 h 38"/>
                  <a:gd name="T46" fmla="*/ 31 w 50"/>
                  <a:gd name="T47" fmla="*/ 25 h 38"/>
                  <a:gd name="T48" fmla="*/ 31 w 50"/>
                  <a:gd name="T49" fmla="*/ 28 h 38"/>
                  <a:gd name="T50" fmla="*/ 33 w 50"/>
                  <a:gd name="T51" fmla="*/ 29 h 38"/>
                  <a:gd name="T52" fmla="*/ 36 w 50"/>
                  <a:gd name="T53" fmla="*/ 28 h 38"/>
                  <a:gd name="T54" fmla="*/ 39 w 50"/>
                  <a:gd name="T55" fmla="*/ 35 h 38"/>
                  <a:gd name="T56" fmla="*/ 40 w 50"/>
                  <a:gd name="T57" fmla="*/ 36 h 38"/>
                  <a:gd name="T58" fmla="*/ 43 w 50"/>
                  <a:gd name="T59" fmla="*/ 37 h 38"/>
                  <a:gd name="T60" fmla="*/ 45 w 50"/>
                  <a:gd name="T61" fmla="*/ 34 h 38"/>
                  <a:gd name="T62" fmla="*/ 47 w 50"/>
                  <a:gd name="T63" fmla="*/ 35 h 38"/>
                  <a:gd name="T64" fmla="*/ 49 w 50"/>
                  <a:gd name="T65" fmla="*/ 32 h 38"/>
                  <a:gd name="T66" fmla="*/ 46 w 50"/>
                  <a:gd name="T67" fmla="*/ 31 h 38"/>
                  <a:gd name="T68" fmla="*/ 49 w 50"/>
                  <a:gd name="T69" fmla="*/ 29 h 38"/>
                  <a:gd name="T70" fmla="*/ 50 w 50"/>
                  <a:gd name="T71" fmla="*/ 28 h 38"/>
                  <a:gd name="T72" fmla="*/ 50 w 50"/>
                  <a:gd name="T73" fmla="*/ 25 h 38"/>
                  <a:gd name="T74" fmla="*/ 49 w 50"/>
                  <a:gd name="T75" fmla="*/ 22 h 38"/>
                  <a:gd name="T76" fmla="*/ 47 w 50"/>
                  <a:gd name="T77" fmla="*/ 22 h 38"/>
                  <a:gd name="T78" fmla="*/ 48 w 50"/>
                  <a:gd name="T79" fmla="*/ 18 h 38"/>
                  <a:gd name="T80" fmla="*/ 46 w 50"/>
                  <a:gd name="T81"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46" y="14"/>
                    </a:moveTo>
                    <a:cubicBezTo>
                      <a:pt x="46" y="12"/>
                      <a:pt x="46" y="12"/>
                      <a:pt x="46" y="12"/>
                    </a:cubicBezTo>
                    <a:cubicBezTo>
                      <a:pt x="43" y="12"/>
                      <a:pt x="43" y="12"/>
                      <a:pt x="43" y="12"/>
                    </a:cubicBezTo>
                    <a:cubicBezTo>
                      <a:pt x="46" y="9"/>
                      <a:pt x="46" y="9"/>
                      <a:pt x="46" y="9"/>
                    </a:cubicBezTo>
                    <a:cubicBezTo>
                      <a:pt x="42" y="7"/>
                      <a:pt x="42" y="7"/>
                      <a:pt x="42" y="7"/>
                    </a:cubicBezTo>
                    <a:cubicBezTo>
                      <a:pt x="42" y="6"/>
                      <a:pt x="42" y="6"/>
                      <a:pt x="42" y="6"/>
                    </a:cubicBezTo>
                    <a:cubicBezTo>
                      <a:pt x="43" y="5"/>
                      <a:pt x="43" y="5"/>
                      <a:pt x="43" y="5"/>
                    </a:cubicBezTo>
                    <a:cubicBezTo>
                      <a:pt x="41" y="1"/>
                      <a:pt x="41" y="1"/>
                      <a:pt x="41" y="1"/>
                    </a:cubicBezTo>
                    <a:cubicBezTo>
                      <a:pt x="39" y="1"/>
                      <a:pt x="39" y="1"/>
                      <a:pt x="39" y="1"/>
                    </a:cubicBezTo>
                    <a:cubicBezTo>
                      <a:pt x="39" y="2"/>
                      <a:pt x="39" y="2"/>
                      <a:pt x="39" y="2"/>
                    </a:cubicBezTo>
                    <a:cubicBezTo>
                      <a:pt x="39" y="3"/>
                      <a:pt x="39" y="3"/>
                      <a:pt x="39" y="3"/>
                    </a:cubicBezTo>
                    <a:cubicBezTo>
                      <a:pt x="37" y="3"/>
                      <a:pt x="37" y="3"/>
                      <a:pt x="37" y="3"/>
                    </a:cubicBezTo>
                    <a:cubicBezTo>
                      <a:pt x="37" y="4"/>
                      <a:pt x="37" y="4"/>
                      <a:pt x="37" y="4"/>
                    </a:cubicBezTo>
                    <a:cubicBezTo>
                      <a:pt x="36" y="4"/>
                      <a:pt x="36" y="4"/>
                      <a:pt x="36" y="4"/>
                    </a:cubicBezTo>
                    <a:cubicBezTo>
                      <a:pt x="32" y="3"/>
                      <a:pt x="32" y="3"/>
                      <a:pt x="32" y="3"/>
                    </a:cubicBezTo>
                    <a:cubicBezTo>
                      <a:pt x="31" y="5"/>
                      <a:pt x="31" y="5"/>
                      <a:pt x="31" y="5"/>
                    </a:cubicBezTo>
                    <a:cubicBezTo>
                      <a:pt x="30" y="5"/>
                      <a:pt x="30" y="5"/>
                      <a:pt x="30" y="5"/>
                    </a:cubicBezTo>
                    <a:cubicBezTo>
                      <a:pt x="28" y="3"/>
                      <a:pt x="28" y="3"/>
                      <a:pt x="28" y="3"/>
                    </a:cubicBezTo>
                    <a:cubicBezTo>
                      <a:pt x="26" y="5"/>
                      <a:pt x="26" y="5"/>
                      <a:pt x="26" y="5"/>
                    </a:cubicBezTo>
                    <a:cubicBezTo>
                      <a:pt x="24" y="3"/>
                      <a:pt x="24" y="3"/>
                      <a:pt x="24" y="3"/>
                    </a:cubicBezTo>
                    <a:cubicBezTo>
                      <a:pt x="25" y="2"/>
                      <a:pt x="25" y="2"/>
                      <a:pt x="25" y="2"/>
                    </a:cubicBezTo>
                    <a:cubicBezTo>
                      <a:pt x="20" y="2"/>
                      <a:pt x="20" y="2"/>
                      <a:pt x="20" y="2"/>
                    </a:cubicBezTo>
                    <a:cubicBezTo>
                      <a:pt x="19" y="3"/>
                      <a:pt x="19" y="3"/>
                      <a:pt x="19" y="3"/>
                    </a:cubicBezTo>
                    <a:cubicBezTo>
                      <a:pt x="15" y="1"/>
                      <a:pt x="15" y="1"/>
                      <a:pt x="15" y="1"/>
                    </a:cubicBezTo>
                    <a:cubicBezTo>
                      <a:pt x="14" y="1"/>
                      <a:pt x="14" y="1"/>
                      <a:pt x="14" y="1"/>
                    </a:cubicBezTo>
                    <a:cubicBezTo>
                      <a:pt x="13" y="0"/>
                      <a:pt x="13" y="0"/>
                      <a:pt x="13" y="0"/>
                    </a:cubicBezTo>
                    <a:cubicBezTo>
                      <a:pt x="10" y="0"/>
                      <a:pt x="10" y="0"/>
                      <a:pt x="10" y="0"/>
                    </a:cubicBezTo>
                    <a:cubicBezTo>
                      <a:pt x="10" y="1"/>
                      <a:pt x="10" y="1"/>
                      <a:pt x="10" y="1"/>
                    </a:cubicBezTo>
                    <a:cubicBezTo>
                      <a:pt x="10" y="2"/>
                      <a:pt x="10" y="2"/>
                      <a:pt x="10" y="2"/>
                    </a:cubicBezTo>
                    <a:cubicBezTo>
                      <a:pt x="8" y="4"/>
                      <a:pt x="8" y="4"/>
                      <a:pt x="8" y="4"/>
                    </a:cubicBezTo>
                    <a:cubicBezTo>
                      <a:pt x="10" y="4"/>
                      <a:pt x="10" y="4"/>
                      <a:pt x="10" y="4"/>
                    </a:cubicBezTo>
                    <a:cubicBezTo>
                      <a:pt x="10" y="7"/>
                      <a:pt x="10" y="7"/>
                      <a:pt x="10" y="7"/>
                    </a:cubicBezTo>
                    <a:cubicBezTo>
                      <a:pt x="6" y="7"/>
                      <a:pt x="6" y="7"/>
                      <a:pt x="6" y="7"/>
                    </a:cubicBezTo>
                    <a:cubicBezTo>
                      <a:pt x="3" y="8"/>
                      <a:pt x="3" y="8"/>
                      <a:pt x="3" y="8"/>
                    </a:cubicBezTo>
                    <a:cubicBezTo>
                      <a:pt x="3" y="8"/>
                      <a:pt x="3" y="8"/>
                      <a:pt x="3" y="8"/>
                    </a:cubicBezTo>
                    <a:cubicBezTo>
                      <a:pt x="0" y="12"/>
                      <a:pt x="0" y="12"/>
                      <a:pt x="0" y="12"/>
                    </a:cubicBezTo>
                    <a:cubicBezTo>
                      <a:pt x="0" y="12"/>
                      <a:pt x="0" y="13"/>
                      <a:pt x="1" y="13"/>
                    </a:cubicBezTo>
                    <a:cubicBezTo>
                      <a:pt x="1" y="14"/>
                      <a:pt x="2" y="13"/>
                      <a:pt x="2" y="13"/>
                    </a:cubicBezTo>
                    <a:cubicBezTo>
                      <a:pt x="3" y="13"/>
                      <a:pt x="3" y="13"/>
                      <a:pt x="3" y="14"/>
                    </a:cubicBezTo>
                    <a:cubicBezTo>
                      <a:pt x="3" y="16"/>
                      <a:pt x="5" y="17"/>
                      <a:pt x="7" y="18"/>
                    </a:cubicBezTo>
                    <a:cubicBezTo>
                      <a:pt x="8" y="19"/>
                      <a:pt x="10" y="21"/>
                      <a:pt x="11" y="22"/>
                    </a:cubicBezTo>
                    <a:cubicBezTo>
                      <a:pt x="12" y="23"/>
                      <a:pt x="13" y="24"/>
                      <a:pt x="13" y="25"/>
                    </a:cubicBezTo>
                    <a:cubicBezTo>
                      <a:pt x="14" y="25"/>
                      <a:pt x="14" y="25"/>
                      <a:pt x="14" y="25"/>
                    </a:cubicBezTo>
                    <a:cubicBezTo>
                      <a:pt x="15" y="23"/>
                      <a:pt x="15" y="23"/>
                      <a:pt x="15" y="23"/>
                    </a:cubicBezTo>
                    <a:cubicBezTo>
                      <a:pt x="16" y="23"/>
                      <a:pt x="16" y="23"/>
                      <a:pt x="16" y="23"/>
                    </a:cubicBezTo>
                    <a:cubicBezTo>
                      <a:pt x="17" y="20"/>
                      <a:pt x="17" y="20"/>
                      <a:pt x="17" y="20"/>
                    </a:cubicBezTo>
                    <a:cubicBezTo>
                      <a:pt x="26" y="18"/>
                      <a:pt x="26" y="18"/>
                      <a:pt x="26" y="18"/>
                    </a:cubicBezTo>
                    <a:cubicBezTo>
                      <a:pt x="31" y="25"/>
                      <a:pt x="31" y="25"/>
                      <a:pt x="31" y="25"/>
                    </a:cubicBezTo>
                    <a:cubicBezTo>
                      <a:pt x="31" y="27"/>
                      <a:pt x="31" y="27"/>
                      <a:pt x="31" y="27"/>
                    </a:cubicBezTo>
                    <a:cubicBezTo>
                      <a:pt x="31" y="28"/>
                      <a:pt x="31" y="28"/>
                      <a:pt x="31" y="28"/>
                    </a:cubicBezTo>
                    <a:cubicBezTo>
                      <a:pt x="30" y="30"/>
                      <a:pt x="30" y="30"/>
                      <a:pt x="30" y="30"/>
                    </a:cubicBezTo>
                    <a:cubicBezTo>
                      <a:pt x="33" y="29"/>
                      <a:pt x="33" y="29"/>
                      <a:pt x="33" y="29"/>
                    </a:cubicBezTo>
                    <a:cubicBezTo>
                      <a:pt x="34" y="29"/>
                      <a:pt x="34" y="29"/>
                      <a:pt x="34" y="29"/>
                    </a:cubicBezTo>
                    <a:cubicBezTo>
                      <a:pt x="36" y="28"/>
                      <a:pt x="36" y="28"/>
                      <a:pt x="36" y="28"/>
                    </a:cubicBezTo>
                    <a:cubicBezTo>
                      <a:pt x="38" y="30"/>
                      <a:pt x="38" y="30"/>
                      <a:pt x="38" y="30"/>
                    </a:cubicBezTo>
                    <a:cubicBezTo>
                      <a:pt x="39" y="35"/>
                      <a:pt x="39" y="35"/>
                      <a:pt x="39" y="35"/>
                    </a:cubicBezTo>
                    <a:cubicBezTo>
                      <a:pt x="38" y="36"/>
                      <a:pt x="38" y="36"/>
                      <a:pt x="38" y="36"/>
                    </a:cubicBezTo>
                    <a:cubicBezTo>
                      <a:pt x="40" y="36"/>
                      <a:pt x="40" y="36"/>
                      <a:pt x="40" y="36"/>
                    </a:cubicBezTo>
                    <a:cubicBezTo>
                      <a:pt x="41" y="38"/>
                      <a:pt x="41" y="38"/>
                      <a:pt x="41" y="38"/>
                    </a:cubicBezTo>
                    <a:cubicBezTo>
                      <a:pt x="43" y="37"/>
                      <a:pt x="43" y="37"/>
                      <a:pt x="43" y="37"/>
                    </a:cubicBezTo>
                    <a:cubicBezTo>
                      <a:pt x="44" y="34"/>
                      <a:pt x="44" y="34"/>
                      <a:pt x="44" y="34"/>
                    </a:cubicBezTo>
                    <a:cubicBezTo>
                      <a:pt x="45" y="34"/>
                      <a:pt x="45" y="34"/>
                      <a:pt x="45" y="34"/>
                    </a:cubicBezTo>
                    <a:cubicBezTo>
                      <a:pt x="45" y="35"/>
                      <a:pt x="45" y="35"/>
                      <a:pt x="45" y="35"/>
                    </a:cubicBezTo>
                    <a:cubicBezTo>
                      <a:pt x="47" y="35"/>
                      <a:pt x="47" y="35"/>
                      <a:pt x="47" y="35"/>
                    </a:cubicBezTo>
                    <a:cubicBezTo>
                      <a:pt x="48" y="32"/>
                      <a:pt x="48" y="32"/>
                      <a:pt x="48" y="32"/>
                    </a:cubicBezTo>
                    <a:cubicBezTo>
                      <a:pt x="49" y="32"/>
                      <a:pt x="49" y="32"/>
                      <a:pt x="49" y="32"/>
                    </a:cubicBezTo>
                    <a:cubicBezTo>
                      <a:pt x="49" y="31"/>
                      <a:pt x="49" y="31"/>
                      <a:pt x="49" y="31"/>
                    </a:cubicBezTo>
                    <a:cubicBezTo>
                      <a:pt x="46" y="31"/>
                      <a:pt x="46" y="31"/>
                      <a:pt x="46" y="31"/>
                    </a:cubicBezTo>
                    <a:cubicBezTo>
                      <a:pt x="46" y="29"/>
                      <a:pt x="46" y="29"/>
                      <a:pt x="46" y="29"/>
                    </a:cubicBezTo>
                    <a:cubicBezTo>
                      <a:pt x="49" y="29"/>
                      <a:pt x="49" y="29"/>
                      <a:pt x="49" y="29"/>
                    </a:cubicBezTo>
                    <a:cubicBezTo>
                      <a:pt x="50" y="29"/>
                      <a:pt x="50" y="29"/>
                      <a:pt x="50" y="29"/>
                    </a:cubicBezTo>
                    <a:cubicBezTo>
                      <a:pt x="50" y="28"/>
                      <a:pt x="50" y="28"/>
                      <a:pt x="50" y="28"/>
                    </a:cubicBezTo>
                    <a:cubicBezTo>
                      <a:pt x="48" y="26"/>
                      <a:pt x="48" y="26"/>
                      <a:pt x="48" y="26"/>
                    </a:cubicBezTo>
                    <a:cubicBezTo>
                      <a:pt x="50" y="25"/>
                      <a:pt x="50" y="25"/>
                      <a:pt x="50" y="25"/>
                    </a:cubicBezTo>
                    <a:cubicBezTo>
                      <a:pt x="49" y="24"/>
                      <a:pt x="49" y="24"/>
                      <a:pt x="49" y="24"/>
                    </a:cubicBezTo>
                    <a:cubicBezTo>
                      <a:pt x="49" y="22"/>
                      <a:pt x="49" y="22"/>
                      <a:pt x="49" y="22"/>
                    </a:cubicBezTo>
                    <a:cubicBezTo>
                      <a:pt x="48" y="22"/>
                      <a:pt x="48" y="22"/>
                      <a:pt x="48" y="22"/>
                    </a:cubicBezTo>
                    <a:cubicBezTo>
                      <a:pt x="47" y="22"/>
                      <a:pt x="47" y="22"/>
                      <a:pt x="47" y="22"/>
                    </a:cubicBezTo>
                    <a:cubicBezTo>
                      <a:pt x="47" y="19"/>
                      <a:pt x="47" y="19"/>
                      <a:pt x="47" y="19"/>
                    </a:cubicBezTo>
                    <a:cubicBezTo>
                      <a:pt x="48" y="18"/>
                      <a:pt x="48" y="18"/>
                      <a:pt x="48" y="18"/>
                    </a:cubicBezTo>
                    <a:cubicBezTo>
                      <a:pt x="48" y="16"/>
                      <a:pt x="48" y="16"/>
                      <a:pt x="48" y="16"/>
                    </a:cubicBezTo>
                    <a:lnTo>
                      <a:pt x="46"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1" name="Freeform 910">
                <a:extLst>
                  <a:ext uri="{FF2B5EF4-FFF2-40B4-BE49-F238E27FC236}">
                    <a16:creationId xmlns:a16="http://schemas.microsoft.com/office/drawing/2014/main" id="{013D72CA-129E-3BB6-319B-238CAD85A45B}"/>
                  </a:ext>
                </a:extLst>
              </p:cNvPr>
              <p:cNvSpPr>
                <a:spLocks/>
              </p:cNvSpPr>
              <p:nvPr/>
            </p:nvSpPr>
            <p:spPr bwMode="auto">
              <a:xfrm>
                <a:off x="5280025" y="4575175"/>
                <a:ext cx="128587" cy="187325"/>
              </a:xfrm>
              <a:custGeom>
                <a:avLst/>
                <a:gdLst>
                  <a:gd name="T0" fmla="*/ 17 w 31"/>
                  <a:gd name="T1" fmla="*/ 0 h 45"/>
                  <a:gd name="T2" fmla="*/ 3 w 31"/>
                  <a:gd name="T3" fmla="*/ 0 h 45"/>
                  <a:gd name="T4" fmla="*/ 3 w 31"/>
                  <a:gd name="T5" fmla="*/ 3 h 45"/>
                  <a:gd name="T6" fmla="*/ 4 w 31"/>
                  <a:gd name="T7" fmla="*/ 4 h 45"/>
                  <a:gd name="T8" fmla="*/ 3 w 31"/>
                  <a:gd name="T9" fmla="*/ 6 h 45"/>
                  <a:gd name="T10" fmla="*/ 4 w 31"/>
                  <a:gd name="T11" fmla="*/ 9 h 45"/>
                  <a:gd name="T12" fmla="*/ 4 w 31"/>
                  <a:gd name="T13" fmla="*/ 11 h 45"/>
                  <a:gd name="T14" fmla="*/ 4 w 31"/>
                  <a:gd name="T15" fmla="*/ 13 h 45"/>
                  <a:gd name="T16" fmla="*/ 3 w 31"/>
                  <a:gd name="T17" fmla="*/ 14 h 45"/>
                  <a:gd name="T18" fmla="*/ 5 w 31"/>
                  <a:gd name="T19" fmla="*/ 16 h 45"/>
                  <a:gd name="T20" fmla="*/ 5 w 31"/>
                  <a:gd name="T21" fmla="*/ 20 h 45"/>
                  <a:gd name="T22" fmla="*/ 3 w 31"/>
                  <a:gd name="T23" fmla="*/ 22 h 45"/>
                  <a:gd name="T24" fmla="*/ 2 w 31"/>
                  <a:gd name="T25" fmla="*/ 26 h 45"/>
                  <a:gd name="T26" fmla="*/ 0 w 31"/>
                  <a:gd name="T27" fmla="*/ 29 h 45"/>
                  <a:gd name="T28" fmla="*/ 0 w 31"/>
                  <a:gd name="T29" fmla="*/ 32 h 45"/>
                  <a:gd name="T30" fmla="*/ 2 w 31"/>
                  <a:gd name="T31" fmla="*/ 37 h 45"/>
                  <a:gd name="T32" fmla="*/ 4 w 31"/>
                  <a:gd name="T33" fmla="*/ 37 h 45"/>
                  <a:gd name="T34" fmla="*/ 4 w 31"/>
                  <a:gd name="T35" fmla="*/ 39 h 45"/>
                  <a:gd name="T36" fmla="*/ 4 w 31"/>
                  <a:gd name="T37" fmla="*/ 41 h 45"/>
                  <a:gd name="T38" fmla="*/ 1 w 31"/>
                  <a:gd name="T39" fmla="*/ 41 h 45"/>
                  <a:gd name="T40" fmla="*/ 3 w 31"/>
                  <a:gd name="T41" fmla="*/ 42 h 45"/>
                  <a:gd name="T42" fmla="*/ 6 w 31"/>
                  <a:gd name="T43" fmla="*/ 42 h 45"/>
                  <a:gd name="T44" fmla="*/ 6 w 31"/>
                  <a:gd name="T45" fmla="*/ 42 h 45"/>
                  <a:gd name="T46" fmla="*/ 11 w 31"/>
                  <a:gd name="T47" fmla="*/ 43 h 45"/>
                  <a:gd name="T48" fmla="*/ 15 w 31"/>
                  <a:gd name="T49" fmla="*/ 41 h 45"/>
                  <a:gd name="T50" fmla="*/ 19 w 31"/>
                  <a:gd name="T51" fmla="*/ 40 h 45"/>
                  <a:gd name="T52" fmla="*/ 21 w 31"/>
                  <a:gd name="T53" fmla="*/ 39 h 45"/>
                  <a:gd name="T54" fmla="*/ 28 w 31"/>
                  <a:gd name="T55" fmla="*/ 37 h 45"/>
                  <a:gd name="T56" fmla="*/ 29 w 31"/>
                  <a:gd name="T57" fmla="*/ 37 h 45"/>
                  <a:gd name="T58" fmla="*/ 31 w 31"/>
                  <a:gd name="T59" fmla="*/ 35 h 45"/>
                  <a:gd name="T60" fmla="*/ 31 w 31"/>
                  <a:gd name="T61" fmla="*/ 35 h 45"/>
                  <a:gd name="T62" fmla="*/ 26 w 31"/>
                  <a:gd name="T63" fmla="*/ 30 h 45"/>
                  <a:gd name="T64" fmla="*/ 26 w 31"/>
                  <a:gd name="T65" fmla="*/ 29 h 45"/>
                  <a:gd name="T66" fmla="*/ 26 w 31"/>
                  <a:gd name="T67" fmla="*/ 28 h 45"/>
                  <a:gd name="T68" fmla="*/ 27 w 31"/>
                  <a:gd name="T69" fmla="*/ 26 h 45"/>
                  <a:gd name="T70" fmla="*/ 26 w 31"/>
                  <a:gd name="T71" fmla="*/ 24 h 45"/>
                  <a:gd name="T72" fmla="*/ 27 w 31"/>
                  <a:gd name="T73" fmla="*/ 23 h 45"/>
                  <a:gd name="T74" fmla="*/ 26 w 31"/>
                  <a:gd name="T75" fmla="*/ 20 h 45"/>
                  <a:gd name="T76" fmla="*/ 27 w 31"/>
                  <a:gd name="T77" fmla="*/ 19 h 45"/>
                  <a:gd name="T78" fmla="*/ 25 w 31"/>
                  <a:gd name="T79" fmla="*/ 16 h 45"/>
                  <a:gd name="T80" fmla="*/ 26 w 31"/>
                  <a:gd name="T81" fmla="*/ 15 h 45"/>
                  <a:gd name="T82" fmla="*/ 26 w 31"/>
                  <a:gd name="T83" fmla="*/ 11 h 45"/>
                  <a:gd name="T84" fmla="*/ 24 w 31"/>
                  <a:gd name="T85" fmla="*/ 11 h 45"/>
                  <a:gd name="T86" fmla="*/ 25 w 31"/>
                  <a:gd name="T87" fmla="*/ 9 h 45"/>
                  <a:gd name="T88" fmla="*/ 25 w 31"/>
                  <a:gd name="T89" fmla="*/ 5 h 45"/>
                  <a:gd name="T90" fmla="*/ 22 w 31"/>
                  <a:gd name="T91" fmla="*/ 3 h 45"/>
                  <a:gd name="T92" fmla="*/ 22 w 31"/>
                  <a:gd name="T93" fmla="*/ 1 h 45"/>
                  <a:gd name="T94" fmla="*/ 22 w 31"/>
                  <a:gd name="T95" fmla="*/ 0 h 45"/>
                  <a:gd name="T96" fmla="*/ 18 w 31"/>
                  <a:gd name="T97" fmla="*/ 0 h 45"/>
                  <a:gd name="T98" fmla="*/ 17 w 31"/>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45">
                    <a:moveTo>
                      <a:pt x="17" y="0"/>
                    </a:moveTo>
                    <a:cubicBezTo>
                      <a:pt x="3" y="0"/>
                      <a:pt x="3" y="0"/>
                      <a:pt x="3" y="0"/>
                    </a:cubicBezTo>
                    <a:cubicBezTo>
                      <a:pt x="3" y="3"/>
                      <a:pt x="3" y="3"/>
                      <a:pt x="3" y="3"/>
                    </a:cubicBezTo>
                    <a:cubicBezTo>
                      <a:pt x="4" y="4"/>
                      <a:pt x="4" y="4"/>
                      <a:pt x="4" y="4"/>
                    </a:cubicBezTo>
                    <a:cubicBezTo>
                      <a:pt x="3" y="6"/>
                      <a:pt x="3" y="6"/>
                      <a:pt x="3" y="6"/>
                    </a:cubicBezTo>
                    <a:cubicBezTo>
                      <a:pt x="4" y="9"/>
                      <a:pt x="4" y="9"/>
                      <a:pt x="4" y="9"/>
                    </a:cubicBezTo>
                    <a:cubicBezTo>
                      <a:pt x="4" y="11"/>
                      <a:pt x="4" y="11"/>
                      <a:pt x="4" y="11"/>
                    </a:cubicBezTo>
                    <a:cubicBezTo>
                      <a:pt x="4" y="13"/>
                      <a:pt x="4" y="13"/>
                      <a:pt x="4" y="13"/>
                    </a:cubicBezTo>
                    <a:cubicBezTo>
                      <a:pt x="3" y="14"/>
                      <a:pt x="3" y="14"/>
                      <a:pt x="3" y="14"/>
                    </a:cubicBezTo>
                    <a:cubicBezTo>
                      <a:pt x="5" y="16"/>
                      <a:pt x="5" y="16"/>
                      <a:pt x="5" y="16"/>
                    </a:cubicBezTo>
                    <a:cubicBezTo>
                      <a:pt x="5" y="20"/>
                      <a:pt x="5" y="20"/>
                      <a:pt x="5" y="20"/>
                    </a:cubicBezTo>
                    <a:cubicBezTo>
                      <a:pt x="3" y="22"/>
                      <a:pt x="3" y="22"/>
                      <a:pt x="3" y="22"/>
                    </a:cubicBezTo>
                    <a:cubicBezTo>
                      <a:pt x="2" y="26"/>
                      <a:pt x="2" y="26"/>
                      <a:pt x="2" y="26"/>
                    </a:cubicBezTo>
                    <a:cubicBezTo>
                      <a:pt x="0" y="29"/>
                      <a:pt x="0" y="29"/>
                      <a:pt x="0" y="29"/>
                    </a:cubicBezTo>
                    <a:cubicBezTo>
                      <a:pt x="0" y="32"/>
                      <a:pt x="0" y="32"/>
                      <a:pt x="0" y="32"/>
                    </a:cubicBezTo>
                    <a:cubicBezTo>
                      <a:pt x="2" y="37"/>
                      <a:pt x="2" y="37"/>
                      <a:pt x="2" y="37"/>
                    </a:cubicBezTo>
                    <a:cubicBezTo>
                      <a:pt x="4" y="37"/>
                      <a:pt x="4" y="37"/>
                      <a:pt x="4" y="37"/>
                    </a:cubicBezTo>
                    <a:cubicBezTo>
                      <a:pt x="4" y="39"/>
                      <a:pt x="4" y="39"/>
                      <a:pt x="4" y="39"/>
                    </a:cubicBezTo>
                    <a:cubicBezTo>
                      <a:pt x="4" y="41"/>
                      <a:pt x="4" y="41"/>
                      <a:pt x="4" y="41"/>
                    </a:cubicBezTo>
                    <a:cubicBezTo>
                      <a:pt x="1" y="41"/>
                      <a:pt x="1" y="41"/>
                      <a:pt x="1" y="41"/>
                    </a:cubicBezTo>
                    <a:cubicBezTo>
                      <a:pt x="2" y="42"/>
                      <a:pt x="2" y="42"/>
                      <a:pt x="3" y="42"/>
                    </a:cubicBezTo>
                    <a:cubicBezTo>
                      <a:pt x="4" y="42"/>
                      <a:pt x="5" y="42"/>
                      <a:pt x="6" y="42"/>
                    </a:cubicBezTo>
                    <a:cubicBezTo>
                      <a:pt x="6" y="42"/>
                      <a:pt x="6" y="42"/>
                      <a:pt x="6" y="42"/>
                    </a:cubicBezTo>
                    <a:cubicBezTo>
                      <a:pt x="8" y="43"/>
                      <a:pt x="9" y="45"/>
                      <a:pt x="11" y="43"/>
                    </a:cubicBezTo>
                    <a:cubicBezTo>
                      <a:pt x="12" y="42"/>
                      <a:pt x="14" y="43"/>
                      <a:pt x="15" y="41"/>
                    </a:cubicBezTo>
                    <a:cubicBezTo>
                      <a:pt x="16" y="41"/>
                      <a:pt x="18" y="41"/>
                      <a:pt x="19" y="40"/>
                    </a:cubicBezTo>
                    <a:cubicBezTo>
                      <a:pt x="20" y="40"/>
                      <a:pt x="20" y="39"/>
                      <a:pt x="21" y="39"/>
                    </a:cubicBezTo>
                    <a:cubicBezTo>
                      <a:pt x="23" y="38"/>
                      <a:pt x="25" y="36"/>
                      <a:pt x="28" y="37"/>
                    </a:cubicBezTo>
                    <a:cubicBezTo>
                      <a:pt x="28" y="37"/>
                      <a:pt x="29" y="37"/>
                      <a:pt x="29" y="37"/>
                    </a:cubicBezTo>
                    <a:cubicBezTo>
                      <a:pt x="29" y="35"/>
                      <a:pt x="30" y="35"/>
                      <a:pt x="31" y="35"/>
                    </a:cubicBezTo>
                    <a:cubicBezTo>
                      <a:pt x="31" y="35"/>
                      <a:pt x="31" y="35"/>
                      <a:pt x="31" y="35"/>
                    </a:cubicBezTo>
                    <a:cubicBezTo>
                      <a:pt x="26" y="30"/>
                      <a:pt x="26" y="30"/>
                      <a:pt x="26" y="30"/>
                    </a:cubicBezTo>
                    <a:cubicBezTo>
                      <a:pt x="26" y="29"/>
                      <a:pt x="26" y="29"/>
                      <a:pt x="26" y="29"/>
                    </a:cubicBezTo>
                    <a:cubicBezTo>
                      <a:pt x="26" y="29"/>
                      <a:pt x="26" y="28"/>
                      <a:pt x="26" y="28"/>
                    </a:cubicBezTo>
                    <a:cubicBezTo>
                      <a:pt x="26" y="27"/>
                      <a:pt x="27" y="26"/>
                      <a:pt x="27" y="26"/>
                    </a:cubicBezTo>
                    <a:cubicBezTo>
                      <a:pt x="27" y="26"/>
                      <a:pt x="26" y="24"/>
                      <a:pt x="26" y="24"/>
                    </a:cubicBezTo>
                    <a:cubicBezTo>
                      <a:pt x="26" y="24"/>
                      <a:pt x="27" y="23"/>
                      <a:pt x="27" y="23"/>
                    </a:cubicBezTo>
                    <a:cubicBezTo>
                      <a:pt x="26" y="20"/>
                      <a:pt x="26" y="20"/>
                      <a:pt x="26" y="20"/>
                    </a:cubicBezTo>
                    <a:cubicBezTo>
                      <a:pt x="27" y="19"/>
                      <a:pt x="27" y="19"/>
                      <a:pt x="27" y="19"/>
                    </a:cubicBezTo>
                    <a:cubicBezTo>
                      <a:pt x="25" y="16"/>
                      <a:pt x="25" y="16"/>
                      <a:pt x="25" y="16"/>
                    </a:cubicBezTo>
                    <a:cubicBezTo>
                      <a:pt x="26" y="15"/>
                      <a:pt x="26" y="15"/>
                      <a:pt x="26" y="15"/>
                    </a:cubicBezTo>
                    <a:cubicBezTo>
                      <a:pt x="26" y="11"/>
                      <a:pt x="26" y="11"/>
                      <a:pt x="26" y="11"/>
                    </a:cubicBezTo>
                    <a:cubicBezTo>
                      <a:pt x="26" y="11"/>
                      <a:pt x="24" y="11"/>
                      <a:pt x="24" y="11"/>
                    </a:cubicBezTo>
                    <a:cubicBezTo>
                      <a:pt x="24" y="11"/>
                      <a:pt x="25" y="9"/>
                      <a:pt x="25" y="9"/>
                    </a:cubicBezTo>
                    <a:cubicBezTo>
                      <a:pt x="25" y="5"/>
                      <a:pt x="25" y="5"/>
                      <a:pt x="25" y="5"/>
                    </a:cubicBezTo>
                    <a:cubicBezTo>
                      <a:pt x="25" y="5"/>
                      <a:pt x="22" y="3"/>
                      <a:pt x="22" y="3"/>
                    </a:cubicBezTo>
                    <a:cubicBezTo>
                      <a:pt x="22" y="3"/>
                      <a:pt x="22" y="1"/>
                      <a:pt x="22" y="1"/>
                    </a:cubicBezTo>
                    <a:cubicBezTo>
                      <a:pt x="22" y="0"/>
                      <a:pt x="22" y="0"/>
                      <a:pt x="22" y="0"/>
                    </a:cubicBezTo>
                    <a:cubicBezTo>
                      <a:pt x="18" y="0"/>
                      <a:pt x="18" y="0"/>
                      <a:pt x="18" y="0"/>
                    </a:cubicBezTo>
                    <a:lnTo>
                      <a:pt x="1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Freeform 911">
                <a:extLst>
                  <a:ext uri="{FF2B5EF4-FFF2-40B4-BE49-F238E27FC236}">
                    <a16:creationId xmlns:a16="http://schemas.microsoft.com/office/drawing/2014/main" id="{D189900B-8E0F-139C-5354-85D55797EA85}"/>
                  </a:ext>
                </a:extLst>
              </p:cNvPr>
              <p:cNvSpPr>
                <a:spLocks/>
              </p:cNvSpPr>
              <p:nvPr/>
            </p:nvSpPr>
            <p:spPr bwMode="auto">
              <a:xfrm>
                <a:off x="4900613" y="4495800"/>
                <a:ext cx="84137" cy="20638"/>
              </a:xfrm>
              <a:custGeom>
                <a:avLst/>
                <a:gdLst>
                  <a:gd name="T0" fmla="*/ 6 w 20"/>
                  <a:gd name="T1" fmla="*/ 3 h 5"/>
                  <a:gd name="T2" fmla="*/ 10 w 20"/>
                  <a:gd name="T3" fmla="*/ 3 h 5"/>
                  <a:gd name="T4" fmla="*/ 11 w 20"/>
                  <a:gd name="T5" fmla="*/ 1 h 5"/>
                  <a:gd name="T6" fmla="*/ 16 w 20"/>
                  <a:gd name="T7" fmla="*/ 4 h 5"/>
                  <a:gd name="T8" fmla="*/ 20 w 20"/>
                  <a:gd name="T9" fmla="*/ 3 h 5"/>
                  <a:gd name="T10" fmla="*/ 19 w 20"/>
                  <a:gd name="T11" fmla="*/ 1 h 5"/>
                  <a:gd name="T12" fmla="*/ 16 w 20"/>
                  <a:gd name="T13" fmla="*/ 3 h 5"/>
                  <a:gd name="T14" fmla="*/ 11 w 20"/>
                  <a:gd name="T15" fmla="*/ 0 h 5"/>
                  <a:gd name="T16" fmla="*/ 9 w 20"/>
                  <a:gd name="T17" fmla="*/ 0 h 5"/>
                  <a:gd name="T18" fmla="*/ 8 w 20"/>
                  <a:gd name="T19" fmla="*/ 2 h 5"/>
                  <a:gd name="T20" fmla="*/ 2 w 20"/>
                  <a:gd name="T21" fmla="*/ 2 h 5"/>
                  <a:gd name="T22" fmla="*/ 1 w 20"/>
                  <a:gd name="T23" fmla="*/ 2 h 5"/>
                  <a:gd name="T24" fmla="*/ 1 w 20"/>
                  <a:gd name="T25" fmla="*/ 5 h 5"/>
                  <a:gd name="T26" fmla="*/ 6 w 20"/>
                  <a:gd name="T27" fmla="*/ 5 h 5"/>
                  <a:gd name="T28" fmla="*/ 6 w 20"/>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5">
                    <a:moveTo>
                      <a:pt x="6" y="3"/>
                    </a:moveTo>
                    <a:cubicBezTo>
                      <a:pt x="10" y="3"/>
                      <a:pt x="10" y="3"/>
                      <a:pt x="10" y="3"/>
                    </a:cubicBezTo>
                    <a:cubicBezTo>
                      <a:pt x="11" y="1"/>
                      <a:pt x="11" y="1"/>
                      <a:pt x="11" y="1"/>
                    </a:cubicBezTo>
                    <a:cubicBezTo>
                      <a:pt x="16" y="4"/>
                      <a:pt x="16" y="4"/>
                      <a:pt x="16" y="4"/>
                    </a:cubicBezTo>
                    <a:cubicBezTo>
                      <a:pt x="20" y="3"/>
                      <a:pt x="20" y="3"/>
                      <a:pt x="20" y="3"/>
                    </a:cubicBezTo>
                    <a:cubicBezTo>
                      <a:pt x="19" y="1"/>
                      <a:pt x="19" y="1"/>
                      <a:pt x="19" y="1"/>
                    </a:cubicBezTo>
                    <a:cubicBezTo>
                      <a:pt x="16" y="3"/>
                      <a:pt x="16" y="3"/>
                      <a:pt x="16" y="3"/>
                    </a:cubicBezTo>
                    <a:cubicBezTo>
                      <a:pt x="11" y="0"/>
                      <a:pt x="11" y="0"/>
                      <a:pt x="11" y="0"/>
                    </a:cubicBezTo>
                    <a:cubicBezTo>
                      <a:pt x="9" y="0"/>
                      <a:pt x="9" y="0"/>
                      <a:pt x="9" y="0"/>
                    </a:cubicBezTo>
                    <a:cubicBezTo>
                      <a:pt x="8" y="2"/>
                      <a:pt x="8" y="2"/>
                      <a:pt x="8" y="2"/>
                    </a:cubicBezTo>
                    <a:cubicBezTo>
                      <a:pt x="2" y="2"/>
                      <a:pt x="2" y="2"/>
                      <a:pt x="2" y="2"/>
                    </a:cubicBezTo>
                    <a:cubicBezTo>
                      <a:pt x="1" y="2"/>
                      <a:pt x="1" y="2"/>
                      <a:pt x="1" y="2"/>
                    </a:cubicBezTo>
                    <a:cubicBezTo>
                      <a:pt x="1" y="3"/>
                      <a:pt x="0" y="4"/>
                      <a:pt x="1" y="5"/>
                    </a:cubicBezTo>
                    <a:cubicBezTo>
                      <a:pt x="6" y="5"/>
                      <a:pt x="6" y="5"/>
                      <a:pt x="6" y="5"/>
                    </a:cubicBezTo>
                    <a:lnTo>
                      <a:pt x="6"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3" name="Freeform 912">
                <a:extLst>
                  <a:ext uri="{FF2B5EF4-FFF2-40B4-BE49-F238E27FC236}">
                    <a16:creationId xmlns:a16="http://schemas.microsoft.com/office/drawing/2014/main" id="{6E3E6ACC-0CC1-6E84-9B42-8E62E48A928F}"/>
                  </a:ext>
                </a:extLst>
              </p:cNvPr>
              <p:cNvSpPr>
                <a:spLocks/>
              </p:cNvSpPr>
              <p:nvPr/>
            </p:nvSpPr>
            <p:spPr bwMode="auto">
              <a:xfrm>
                <a:off x="5629275" y="4826000"/>
                <a:ext cx="153987" cy="174625"/>
              </a:xfrm>
              <a:custGeom>
                <a:avLst/>
                <a:gdLst>
                  <a:gd name="T0" fmla="*/ 18 w 37"/>
                  <a:gd name="T1" fmla="*/ 41 h 42"/>
                  <a:gd name="T2" fmla="*/ 19 w 37"/>
                  <a:gd name="T3" fmla="*/ 38 h 42"/>
                  <a:gd name="T4" fmla="*/ 19 w 37"/>
                  <a:gd name="T5" fmla="*/ 36 h 42"/>
                  <a:gd name="T6" fmla="*/ 17 w 37"/>
                  <a:gd name="T7" fmla="*/ 32 h 42"/>
                  <a:gd name="T8" fmla="*/ 20 w 37"/>
                  <a:gd name="T9" fmla="*/ 32 h 42"/>
                  <a:gd name="T10" fmla="*/ 23 w 37"/>
                  <a:gd name="T11" fmla="*/ 32 h 42"/>
                  <a:gd name="T12" fmla="*/ 23 w 37"/>
                  <a:gd name="T13" fmla="*/ 28 h 42"/>
                  <a:gd name="T14" fmla="*/ 27 w 37"/>
                  <a:gd name="T15" fmla="*/ 32 h 42"/>
                  <a:gd name="T16" fmla="*/ 32 w 37"/>
                  <a:gd name="T17" fmla="*/ 30 h 42"/>
                  <a:gd name="T18" fmla="*/ 34 w 37"/>
                  <a:gd name="T19" fmla="*/ 32 h 42"/>
                  <a:gd name="T20" fmla="*/ 35 w 37"/>
                  <a:gd name="T21" fmla="*/ 31 h 42"/>
                  <a:gd name="T22" fmla="*/ 37 w 37"/>
                  <a:gd name="T23" fmla="*/ 27 h 42"/>
                  <a:gd name="T24" fmla="*/ 36 w 37"/>
                  <a:gd name="T25" fmla="*/ 24 h 42"/>
                  <a:gd name="T26" fmla="*/ 37 w 37"/>
                  <a:gd name="T27" fmla="*/ 20 h 42"/>
                  <a:gd name="T28" fmla="*/ 35 w 37"/>
                  <a:gd name="T29" fmla="*/ 19 h 42"/>
                  <a:gd name="T30" fmla="*/ 33 w 37"/>
                  <a:gd name="T31" fmla="*/ 17 h 42"/>
                  <a:gd name="T32" fmla="*/ 33 w 37"/>
                  <a:gd name="T33" fmla="*/ 13 h 42"/>
                  <a:gd name="T34" fmla="*/ 35 w 37"/>
                  <a:gd name="T35" fmla="*/ 6 h 42"/>
                  <a:gd name="T36" fmla="*/ 28 w 37"/>
                  <a:gd name="T37" fmla="*/ 7 h 42"/>
                  <a:gd name="T38" fmla="*/ 28 w 37"/>
                  <a:gd name="T39" fmla="*/ 5 h 42"/>
                  <a:gd name="T40" fmla="*/ 29 w 37"/>
                  <a:gd name="T41" fmla="*/ 1 h 42"/>
                  <a:gd name="T42" fmla="*/ 16 w 37"/>
                  <a:gd name="T43" fmla="*/ 0 h 42"/>
                  <a:gd name="T44" fmla="*/ 15 w 37"/>
                  <a:gd name="T45" fmla="*/ 9 h 42"/>
                  <a:gd name="T46" fmla="*/ 4 w 37"/>
                  <a:gd name="T47" fmla="*/ 9 h 42"/>
                  <a:gd name="T48" fmla="*/ 4 w 37"/>
                  <a:gd name="T49" fmla="*/ 11 h 42"/>
                  <a:gd name="T50" fmla="*/ 3 w 37"/>
                  <a:gd name="T51" fmla="*/ 14 h 42"/>
                  <a:gd name="T52" fmla="*/ 4 w 37"/>
                  <a:gd name="T53" fmla="*/ 15 h 42"/>
                  <a:gd name="T54" fmla="*/ 1 w 37"/>
                  <a:gd name="T55" fmla="*/ 22 h 42"/>
                  <a:gd name="T56" fmla="*/ 2 w 37"/>
                  <a:gd name="T57" fmla="*/ 24 h 42"/>
                  <a:gd name="T58" fmla="*/ 3 w 37"/>
                  <a:gd name="T59" fmla="*/ 30 h 42"/>
                  <a:gd name="T60" fmla="*/ 9 w 37"/>
                  <a:gd name="T61" fmla="*/ 37 h 42"/>
                  <a:gd name="T62" fmla="*/ 14 w 37"/>
                  <a:gd name="T63" fmla="*/ 42 h 42"/>
                  <a:gd name="T64" fmla="*/ 18 w 37"/>
                  <a:gd name="T6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42">
                    <a:moveTo>
                      <a:pt x="18" y="41"/>
                    </a:moveTo>
                    <a:cubicBezTo>
                      <a:pt x="18" y="41"/>
                      <a:pt x="18" y="41"/>
                      <a:pt x="18" y="41"/>
                    </a:cubicBezTo>
                    <a:cubicBezTo>
                      <a:pt x="19" y="40"/>
                      <a:pt x="19" y="40"/>
                      <a:pt x="19" y="40"/>
                    </a:cubicBezTo>
                    <a:cubicBezTo>
                      <a:pt x="19" y="38"/>
                      <a:pt x="19" y="38"/>
                      <a:pt x="19" y="38"/>
                    </a:cubicBezTo>
                    <a:cubicBezTo>
                      <a:pt x="18" y="37"/>
                      <a:pt x="18" y="37"/>
                      <a:pt x="18" y="37"/>
                    </a:cubicBezTo>
                    <a:cubicBezTo>
                      <a:pt x="19" y="36"/>
                      <a:pt x="19" y="36"/>
                      <a:pt x="19" y="36"/>
                    </a:cubicBezTo>
                    <a:cubicBezTo>
                      <a:pt x="17" y="35"/>
                      <a:pt x="17" y="35"/>
                      <a:pt x="17" y="35"/>
                    </a:cubicBezTo>
                    <a:cubicBezTo>
                      <a:pt x="17" y="32"/>
                      <a:pt x="17" y="32"/>
                      <a:pt x="17" y="32"/>
                    </a:cubicBezTo>
                    <a:cubicBezTo>
                      <a:pt x="18" y="33"/>
                      <a:pt x="18" y="33"/>
                      <a:pt x="18" y="33"/>
                    </a:cubicBezTo>
                    <a:cubicBezTo>
                      <a:pt x="20" y="32"/>
                      <a:pt x="20" y="32"/>
                      <a:pt x="20" y="32"/>
                    </a:cubicBezTo>
                    <a:cubicBezTo>
                      <a:pt x="21" y="32"/>
                      <a:pt x="21" y="32"/>
                      <a:pt x="21" y="32"/>
                    </a:cubicBezTo>
                    <a:cubicBezTo>
                      <a:pt x="23" y="32"/>
                      <a:pt x="23" y="32"/>
                      <a:pt x="23" y="32"/>
                    </a:cubicBezTo>
                    <a:cubicBezTo>
                      <a:pt x="23" y="30"/>
                      <a:pt x="23" y="30"/>
                      <a:pt x="23" y="30"/>
                    </a:cubicBezTo>
                    <a:cubicBezTo>
                      <a:pt x="23" y="28"/>
                      <a:pt x="23" y="28"/>
                      <a:pt x="23" y="28"/>
                    </a:cubicBezTo>
                    <a:cubicBezTo>
                      <a:pt x="25" y="28"/>
                      <a:pt x="25" y="28"/>
                      <a:pt x="25" y="28"/>
                    </a:cubicBezTo>
                    <a:cubicBezTo>
                      <a:pt x="27" y="32"/>
                      <a:pt x="27" y="32"/>
                      <a:pt x="27" y="32"/>
                    </a:cubicBezTo>
                    <a:cubicBezTo>
                      <a:pt x="30" y="32"/>
                      <a:pt x="30" y="32"/>
                      <a:pt x="30" y="32"/>
                    </a:cubicBezTo>
                    <a:cubicBezTo>
                      <a:pt x="32" y="30"/>
                      <a:pt x="32" y="30"/>
                      <a:pt x="32" y="30"/>
                    </a:cubicBezTo>
                    <a:cubicBezTo>
                      <a:pt x="33" y="33"/>
                      <a:pt x="33" y="33"/>
                      <a:pt x="33" y="33"/>
                    </a:cubicBezTo>
                    <a:cubicBezTo>
                      <a:pt x="34" y="32"/>
                      <a:pt x="34" y="32"/>
                      <a:pt x="34" y="32"/>
                    </a:cubicBezTo>
                    <a:cubicBezTo>
                      <a:pt x="35" y="32"/>
                      <a:pt x="35" y="32"/>
                      <a:pt x="35" y="32"/>
                    </a:cubicBezTo>
                    <a:cubicBezTo>
                      <a:pt x="35" y="32"/>
                      <a:pt x="35" y="31"/>
                      <a:pt x="35" y="31"/>
                    </a:cubicBezTo>
                    <a:cubicBezTo>
                      <a:pt x="35" y="31"/>
                      <a:pt x="35" y="30"/>
                      <a:pt x="35" y="30"/>
                    </a:cubicBezTo>
                    <a:cubicBezTo>
                      <a:pt x="37" y="27"/>
                      <a:pt x="37" y="27"/>
                      <a:pt x="37" y="27"/>
                    </a:cubicBezTo>
                    <a:cubicBezTo>
                      <a:pt x="37" y="25"/>
                      <a:pt x="37" y="25"/>
                      <a:pt x="37" y="25"/>
                    </a:cubicBezTo>
                    <a:cubicBezTo>
                      <a:pt x="37" y="25"/>
                      <a:pt x="36" y="24"/>
                      <a:pt x="36" y="24"/>
                    </a:cubicBezTo>
                    <a:cubicBezTo>
                      <a:pt x="36" y="24"/>
                      <a:pt x="37" y="22"/>
                      <a:pt x="37" y="22"/>
                    </a:cubicBezTo>
                    <a:cubicBezTo>
                      <a:pt x="37" y="22"/>
                      <a:pt x="37" y="20"/>
                      <a:pt x="37" y="20"/>
                    </a:cubicBezTo>
                    <a:cubicBezTo>
                      <a:pt x="36" y="19"/>
                      <a:pt x="36" y="19"/>
                      <a:pt x="36" y="19"/>
                    </a:cubicBezTo>
                    <a:cubicBezTo>
                      <a:pt x="35" y="19"/>
                      <a:pt x="35" y="19"/>
                      <a:pt x="35" y="19"/>
                    </a:cubicBezTo>
                    <a:cubicBezTo>
                      <a:pt x="34" y="17"/>
                      <a:pt x="34" y="17"/>
                      <a:pt x="34" y="17"/>
                    </a:cubicBezTo>
                    <a:cubicBezTo>
                      <a:pt x="33" y="17"/>
                      <a:pt x="33" y="17"/>
                      <a:pt x="33" y="17"/>
                    </a:cubicBezTo>
                    <a:cubicBezTo>
                      <a:pt x="33" y="15"/>
                      <a:pt x="33" y="15"/>
                      <a:pt x="33" y="15"/>
                    </a:cubicBezTo>
                    <a:cubicBezTo>
                      <a:pt x="33" y="13"/>
                      <a:pt x="33" y="13"/>
                      <a:pt x="33" y="13"/>
                    </a:cubicBezTo>
                    <a:cubicBezTo>
                      <a:pt x="37" y="10"/>
                      <a:pt x="37" y="10"/>
                      <a:pt x="37" y="10"/>
                    </a:cubicBezTo>
                    <a:cubicBezTo>
                      <a:pt x="35" y="6"/>
                      <a:pt x="35" y="6"/>
                      <a:pt x="35" y="6"/>
                    </a:cubicBezTo>
                    <a:cubicBezTo>
                      <a:pt x="28" y="8"/>
                      <a:pt x="28" y="8"/>
                      <a:pt x="28" y="8"/>
                    </a:cubicBezTo>
                    <a:cubicBezTo>
                      <a:pt x="28" y="7"/>
                      <a:pt x="28" y="7"/>
                      <a:pt x="28" y="7"/>
                    </a:cubicBezTo>
                    <a:cubicBezTo>
                      <a:pt x="29" y="6"/>
                      <a:pt x="29" y="6"/>
                      <a:pt x="29" y="6"/>
                    </a:cubicBezTo>
                    <a:cubicBezTo>
                      <a:pt x="28" y="5"/>
                      <a:pt x="28" y="5"/>
                      <a:pt x="28" y="5"/>
                    </a:cubicBezTo>
                    <a:cubicBezTo>
                      <a:pt x="28" y="3"/>
                      <a:pt x="28" y="3"/>
                      <a:pt x="28" y="3"/>
                    </a:cubicBezTo>
                    <a:cubicBezTo>
                      <a:pt x="29" y="1"/>
                      <a:pt x="29" y="1"/>
                      <a:pt x="29" y="1"/>
                    </a:cubicBezTo>
                    <a:cubicBezTo>
                      <a:pt x="28" y="0"/>
                      <a:pt x="28" y="0"/>
                      <a:pt x="28" y="0"/>
                    </a:cubicBezTo>
                    <a:cubicBezTo>
                      <a:pt x="16" y="0"/>
                      <a:pt x="16" y="0"/>
                      <a:pt x="16" y="0"/>
                    </a:cubicBezTo>
                    <a:cubicBezTo>
                      <a:pt x="15" y="1"/>
                      <a:pt x="15" y="1"/>
                      <a:pt x="15" y="1"/>
                    </a:cubicBezTo>
                    <a:cubicBezTo>
                      <a:pt x="15" y="9"/>
                      <a:pt x="15" y="9"/>
                      <a:pt x="15" y="9"/>
                    </a:cubicBezTo>
                    <a:cubicBezTo>
                      <a:pt x="3" y="9"/>
                      <a:pt x="3" y="9"/>
                      <a:pt x="3" y="9"/>
                    </a:cubicBezTo>
                    <a:cubicBezTo>
                      <a:pt x="3" y="9"/>
                      <a:pt x="3" y="9"/>
                      <a:pt x="4" y="9"/>
                    </a:cubicBezTo>
                    <a:cubicBezTo>
                      <a:pt x="4" y="9"/>
                      <a:pt x="4" y="9"/>
                      <a:pt x="4" y="9"/>
                    </a:cubicBezTo>
                    <a:cubicBezTo>
                      <a:pt x="4" y="10"/>
                      <a:pt x="4" y="11"/>
                      <a:pt x="4" y="11"/>
                    </a:cubicBezTo>
                    <a:cubicBezTo>
                      <a:pt x="4" y="11"/>
                      <a:pt x="4" y="12"/>
                      <a:pt x="4" y="12"/>
                    </a:cubicBezTo>
                    <a:cubicBezTo>
                      <a:pt x="2" y="12"/>
                      <a:pt x="3" y="13"/>
                      <a:pt x="3" y="14"/>
                    </a:cubicBezTo>
                    <a:cubicBezTo>
                      <a:pt x="3" y="14"/>
                      <a:pt x="4" y="15"/>
                      <a:pt x="5" y="15"/>
                    </a:cubicBezTo>
                    <a:cubicBezTo>
                      <a:pt x="4" y="16"/>
                      <a:pt x="4" y="15"/>
                      <a:pt x="4" y="15"/>
                    </a:cubicBezTo>
                    <a:cubicBezTo>
                      <a:pt x="3" y="15"/>
                      <a:pt x="3" y="15"/>
                      <a:pt x="3" y="15"/>
                    </a:cubicBezTo>
                    <a:cubicBezTo>
                      <a:pt x="2" y="18"/>
                      <a:pt x="2" y="20"/>
                      <a:pt x="1" y="22"/>
                    </a:cubicBezTo>
                    <a:cubicBezTo>
                      <a:pt x="0" y="23"/>
                      <a:pt x="1" y="23"/>
                      <a:pt x="1" y="23"/>
                    </a:cubicBezTo>
                    <a:cubicBezTo>
                      <a:pt x="2" y="23"/>
                      <a:pt x="2" y="23"/>
                      <a:pt x="2" y="24"/>
                    </a:cubicBezTo>
                    <a:cubicBezTo>
                      <a:pt x="2" y="24"/>
                      <a:pt x="1" y="24"/>
                      <a:pt x="0" y="24"/>
                    </a:cubicBezTo>
                    <a:cubicBezTo>
                      <a:pt x="1" y="26"/>
                      <a:pt x="2" y="28"/>
                      <a:pt x="3" y="30"/>
                    </a:cubicBezTo>
                    <a:cubicBezTo>
                      <a:pt x="3" y="31"/>
                      <a:pt x="4" y="32"/>
                      <a:pt x="5" y="33"/>
                    </a:cubicBezTo>
                    <a:cubicBezTo>
                      <a:pt x="7" y="35"/>
                      <a:pt x="8" y="36"/>
                      <a:pt x="9" y="37"/>
                    </a:cubicBezTo>
                    <a:cubicBezTo>
                      <a:pt x="10" y="37"/>
                      <a:pt x="11" y="39"/>
                      <a:pt x="11" y="40"/>
                    </a:cubicBezTo>
                    <a:cubicBezTo>
                      <a:pt x="12" y="40"/>
                      <a:pt x="13" y="41"/>
                      <a:pt x="14" y="42"/>
                    </a:cubicBezTo>
                    <a:cubicBezTo>
                      <a:pt x="16" y="39"/>
                      <a:pt x="16" y="39"/>
                      <a:pt x="16" y="39"/>
                    </a:cubicBezTo>
                    <a:lnTo>
                      <a:pt x="18" y="4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4" name="Freeform 913">
                <a:extLst>
                  <a:ext uri="{FF2B5EF4-FFF2-40B4-BE49-F238E27FC236}">
                    <a16:creationId xmlns:a16="http://schemas.microsoft.com/office/drawing/2014/main" id="{2BA29859-59FF-8C9A-FCEA-1AFCB9547E71}"/>
                  </a:ext>
                </a:extLst>
              </p:cNvPr>
              <p:cNvSpPr>
                <a:spLocks/>
              </p:cNvSpPr>
              <p:nvPr/>
            </p:nvSpPr>
            <p:spPr bwMode="auto">
              <a:xfrm>
                <a:off x="6303963" y="4462463"/>
                <a:ext cx="423862" cy="330200"/>
              </a:xfrm>
              <a:custGeom>
                <a:avLst/>
                <a:gdLst>
                  <a:gd name="T0" fmla="*/ 197 w 267"/>
                  <a:gd name="T1" fmla="*/ 108 h 208"/>
                  <a:gd name="T2" fmla="*/ 173 w 267"/>
                  <a:gd name="T3" fmla="*/ 79 h 208"/>
                  <a:gd name="T4" fmla="*/ 173 w 267"/>
                  <a:gd name="T5" fmla="*/ 71 h 208"/>
                  <a:gd name="T6" fmla="*/ 157 w 267"/>
                  <a:gd name="T7" fmla="*/ 74 h 208"/>
                  <a:gd name="T8" fmla="*/ 168 w 267"/>
                  <a:gd name="T9" fmla="*/ 45 h 208"/>
                  <a:gd name="T10" fmla="*/ 147 w 267"/>
                  <a:gd name="T11" fmla="*/ 24 h 208"/>
                  <a:gd name="T12" fmla="*/ 129 w 267"/>
                  <a:gd name="T13" fmla="*/ 11 h 208"/>
                  <a:gd name="T14" fmla="*/ 126 w 267"/>
                  <a:gd name="T15" fmla="*/ 11 h 208"/>
                  <a:gd name="T16" fmla="*/ 118 w 267"/>
                  <a:gd name="T17" fmla="*/ 8 h 208"/>
                  <a:gd name="T18" fmla="*/ 113 w 267"/>
                  <a:gd name="T19" fmla="*/ 11 h 208"/>
                  <a:gd name="T20" fmla="*/ 108 w 267"/>
                  <a:gd name="T21" fmla="*/ 6 h 208"/>
                  <a:gd name="T22" fmla="*/ 100 w 267"/>
                  <a:gd name="T23" fmla="*/ 11 h 208"/>
                  <a:gd name="T24" fmla="*/ 92 w 267"/>
                  <a:gd name="T25" fmla="*/ 6 h 208"/>
                  <a:gd name="T26" fmla="*/ 81 w 267"/>
                  <a:gd name="T27" fmla="*/ 13 h 208"/>
                  <a:gd name="T28" fmla="*/ 73 w 267"/>
                  <a:gd name="T29" fmla="*/ 13 h 208"/>
                  <a:gd name="T30" fmla="*/ 58 w 267"/>
                  <a:gd name="T31" fmla="*/ 42 h 208"/>
                  <a:gd name="T32" fmla="*/ 37 w 267"/>
                  <a:gd name="T33" fmla="*/ 58 h 208"/>
                  <a:gd name="T34" fmla="*/ 34 w 267"/>
                  <a:gd name="T35" fmla="*/ 79 h 208"/>
                  <a:gd name="T36" fmla="*/ 24 w 267"/>
                  <a:gd name="T37" fmla="*/ 82 h 208"/>
                  <a:gd name="T38" fmla="*/ 24 w 267"/>
                  <a:gd name="T39" fmla="*/ 87 h 208"/>
                  <a:gd name="T40" fmla="*/ 21 w 267"/>
                  <a:gd name="T41" fmla="*/ 100 h 208"/>
                  <a:gd name="T42" fmla="*/ 16 w 267"/>
                  <a:gd name="T43" fmla="*/ 121 h 208"/>
                  <a:gd name="T44" fmla="*/ 5 w 267"/>
                  <a:gd name="T45" fmla="*/ 118 h 208"/>
                  <a:gd name="T46" fmla="*/ 0 w 267"/>
                  <a:gd name="T47" fmla="*/ 129 h 208"/>
                  <a:gd name="T48" fmla="*/ 24 w 267"/>
                  <a:gd name="T49" fmla="*/ 145 h 208"/>
                  <a:gd name="T50" fmla="*/ 37 w 267"/>
                  <a:gd name="T51" fmla="*/ 155 h 208"/>
                  <a:gd name="T52" fmla="*/ 42 w 267"/>
                  <a:gd name="T53" fmla="*/ 173 h 208"/>
                  <a:gd name="T54" fmla="*/ 52 w 267"/>
                  <a:gd name="T55" fmla="*/ 181 h 208"/>
                  <a:gd name="T56" fmla="*/ 52 w 267"/>
                  <a:gd name="T57" fmla="*/ 187 h 208"/>
                  <a:gd name="T58" fmla="*/ 71 w 267"/>
                  <a:gd name="T59" fmla="*/ 192 h 208"/>
                  <a:gd name="T60" fmla="*/ 102 w 267"/>
                  <a:gd name="T61" fmla="*/ 205 h 208"/>
                  <a:gd name="T62" fmla="*/ 123 w 267"/>
                  <a:gd name="T63" fmla="*/ 200 h 208"/>
                  <a:gd name="T64" fmla="*/ 147 w 267"/>
                  <a:gd name="T65" fmla="*/ 200 h 208"/>
                  <a:gd name="T66" fmla="*/ 163 w 267"/>
                  <a:gd name="T67" fmla="*/ 194 h 208"/>
                  <a:gd name="T68" fmla="*/ 181 w 267"/>
                  <a:gd name="T69" fmla="*/ 187 h 208"/>
                  <a:gd name="T70" fmla="*/ 215 w 267"/>
                  <a:gd name="T71" fmla="*/ 181 h 208"/>
                  <a:gd name="T72" fmla="*/ 249 w 267"/>
                  <a:gd name="T73" fmla="*/ 12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08">
                    <a:moveTo>
                      <a:pt x="249" y="126"/>
                    </a:moveTo>
                    <a:lnTo>
                      <a:pt x="197" y="108"/>
                    </a:lnTo>
                    <a:lnTo>
                      <a:pt x="189" y="103"/>
                    </a:lnTo>
                    <a:lnTo>
                      <a:pt x="173" y="79"/>
                    </a:lnTo>
                    <a:lnTo>
                      <a:pt x="178" y="74"/>
                    </a:lnTo>
                    <a:lnTo>
                      <a:pt x="173" y="71"/>
                    </a:lnTo>
                    <a:lnTo>
                      <a:pt x="165" y="74"/>
                    </a:lnTo>
                    <a:lnTo>
                      <a:pt x="157" y="74"/>
                    </a:lnTo>
                    <a:lnTo>
                      <a:pt x="157" y="58"/>
                    </a:lnTo>
                    <a:lnTo>
                      <a:pt x="168" y="45"/>
                    </a:lnTo>
                    <a:lnTo>
                      <a:pt x="155" y="29"/>
                    </a:lnTo>
                    <a:lnTo>
                      <a:pt x="147" y="24"/>
                    </a:lnTo>
                    <a:lnTo>
                      <a:pt x="142" y="13"/>
                    </a:lnTo>
                    <a:lnTo>
                      <a:pt x="129" y="11"/>
                    </a:lnTo>
                    <a:lnTo>
                      <a:pt x="129" y="8"/>
                    </a:lnTo>
                    <a:lnTo>
                      <a:pt x="126" y="11"/>
                    </a:lnTo>
                    <a:lnTo>
                      <a:pt x="118" y="6"/>
                    </a:lnTo>
                    <a:lnTo>
                      <a:pt x="118" y="8"/>
                    </a:lnTo>
                    <a:lnTo>
                      <a:pt x="115" y="8"/>
                    </a:lnTo>
                    <a:lnTo>
                      <a:pt x="113" y="11"/>
                    </a:lnTo>
                    <a:lnTo>
                      <a:pt x="110" y="6"/>
                    </a:lnTo>
                    <a:lnTo>
                      <a:pt x="108" y="6"/>
                    </a:lnTo>
                    <a:lnTo>
                      <a:pt x="105" y="8"/>
                    </a:lnTo>
                    <a:lnTo>
                      <a:pt x="100" y="11"/>
                    </a:lnTo>
                    <a:lnTo>
                      <a:pt x="94" y="6"/>
                    </a:lnTo>
                    <a:lnTo>
                      <a:pt x="92" y="6"/>
                    </a:lnTo>
                    <a:lnTo>
                      <a:pt x="89" y="0"/>
                    </a:lnTo>
                    <a:lnTo>
                      <a:pt x="81" y="13"/>
                    </a:lnTo>
                    <a:lnTo>
                      <a:pt x="79" y="8"/>
                    </a:lnTo>
                    <a:lnTo>
                      <a:pt x="73" y="13"/>
                    </a:lnTo>
                    <a:lnTo>
                      <a:pt x="63" y="13"/>
                    </a:lnTo>
                    <a:lnTo>
                      <a:pt x="58" y="42"/>
                    </a:lnTo>
                    <a:lnTo>
                      <a:pt x="50" y="42"/>
                    </a:lnTo>
                    <a:lnTo>
                      <a:pt x="37" y="58"/>
                    </a:lnTo>
                    <a:lnTo>
                      <a:pt x="37" y="74"/>
                    </a:lnTo>
                    <a:lnTo>
                      <a:pt x="34" y="79"/>
                    </a:lnTo>
                    <a:lnTo>
                      <a:pt x="29" y="74"/>
                    </a:lnTo>
                    <a:lnTo>
                      <a:pt x="24" y="82"/>
                    </a:lnTo>
                    <a:lnTo>
                      <a:pt x="24" y="84"/>
                    </a:lnTo>
                    <a:lnTo>
                      <a:pt x="24" y="87"/>
                    </a:lnTo>
                    <a:lnTo>
                      <a:pt x="24" y="90"/>
                    </a:lnTo>
                    <a:lnTo>
                      <a:pt x="21" y="100"/>
                    </a:lnTo>
                    <a:lnTo>
                      <a:pt x="21" y="116"/>
                    </a:lnTo>
                    <a:lnTo>
                      <a:pt x="16" y="121"/>
                    </a:lnTo>
                    <a:lnTo>
                      <a:pt x="13" y="118"/>
                    </a:lnTo>
                    <a:lnTo>
                      <a:pt x="5" y="118"/>
                    </a:lnTo>
                    <a:lnTo>
                      <a:pt x="5" y="124"/>
                    </a:lnTo>
                    <a:lnTo>
                      <a:pt x="0" y="129"/>
                    </a:lnTo>
                    <a:lnTo>
                      <a:pt x="16" y="134"/>
                    </a:lnTo>
                    <a:lnTo>
                      <a:pt x="24" y="145"/>
                    </a:lnTo>
                    <a:lnTo>
                      <a:pt x="26" y="147"/>
                    </a:lnTo>
                    <a:lnTo>
                      <a:pt x="37" y="155"/>
                    </a:lnTo>
                    <a:lnTo>
                      <a:pt x="37" y="163"/>
                    </a:lnTo>
                    <a:lnTo>
                      <a:pt x="42" y="173"/>
                    </a:lnTo>
                    <a:lnTo>
                      <a:pt x="52" y="173"/>
                    </a:lnTo>
                    <a:lnTo>
                      <a:pt x="52" y="181"/>
                    </a:lnTo>
                    <a:lnTo>
                      <a:pt x="50" y="184"/>
                    </a:lnTo>
                    <a:lnTo>
                      <a:pt x="52" y="187"/>
                    </a:lnTo>
                    <a:lnTo>
                      <a:pt x="55" y="189"/>
                    </a:lnTo>
                    <a:lnTo>
                      <a:pt x="71" y="192"/>
                    </a:lnTo>
                    <a:lnTo>
                      <a:pt x="92" y="205"/>
                    </a:lnTo>
                    <a:lnTo>
                      <a:pt x="102" y="205"/>
                    </a:lnTo>
                    <a:lnTo>
                      <a:pt x="118" y="208"/>
                    </a:lnTo>
                    <a:lnTo>
                      <a:pt x="123" y="200"/>
                    </a:lnTo>
                    <a:lnTo>
                      <a:pt x="139" y="192"/>
                    </a:lnTo>
                    <a:lnTo>
                      <a:pt x="147" y="200"/>
                    </a:lnTo>
                    <a:lnTo>
                      <a:pt x="160" y="200"/>
                    </a:lnTo>
                    <a:lnTo>
                      <a:pt x="163" y="194"/>
                    </a:lnTo>
                    <a:lnTo>
                      <a:pt x="176" y="194"/>
                    </a:lnTo>
                    <a:lnTo>
                      <a:pt x="181" y="187"/>
                    </a:lnTo>
                    <a:lnTo>
                      <a:pt x="197" y="181"/>
                    </a:lnTo>
                    <a:lnTo>
                      <a:pt x="215" y="181"/>
                    </a:lnTo>
                    <a:lnTo>
                      <a:pt x="267" y="126"/>
                    </a:lnTo>
                    <a:lnTo>
                      <a:pt x="24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5" name="Freeform 914">
                <a:extLst>
                  <a:ext uri="{FF2B5EF4-FFF2-40B4-BE49-F238E27FC236}">
                    <a16:creationId xmlns:a16="http://schemas.microsoft.com/office/drawing/2014/main" id="{63CC4E60-DE09-1B89-ECEF-E8FF5E8D2D56}"/>
                  </a:ext>
                </a:extLst>
              </p:cNvPr>
              <p:cNvSpPr>
                <a:spLocks noEditPoints="1"/>
              </p:cNvSpPr>
              <p:nvPr/>
            </p:nvSpPr>
            <p:spPr bwMode="auto">
              <a:xfrm>
                <a:off x="6403975" y="4371975"/>
                <a:ext cx="187325" cy="166688"/>
              </a:xfrm>
              <a:custGeom>
                <a:avLst/>
                <a:gdLst>
                  <a:gd name="T0" fmla="*/ 24 w 45"/>
                  <a:gd name="T1" fmla="*/ 17 h 40"/>
                  <a:gd name="T2" fmla="*/ 25 w 45"/>
                  <a:gd name="T3" fmla="*/ 17 h 40"/>
                  <a:gd name="T4" fmla="*/ 26 w 45"/>
                  <a:gd name="T5" fmla="*/ 18 h 40"/>
                  <a:gd name="T6" fmla="*/ 26 w 45"/>
                  <a:gd name="T7" fmla="*/ 18 h 40"/>
                  <a:gd name="T8" fmla="*/ 24 w 45"/>
                  <a:gd name="T9" fmla="*/ 17 h 40"/>
                  <a:gd name="T10" fmla="*/ 42 w 45"/>
                  <a:gd name="T11" fmla="*/ 35 h 40"/>
                  <a:gd name="T12" fmla="*/ 40 w 45"/>
                  <a:gd name="T13" fmla="*/ 33 h 40"/>
                  <a:gd name="T14" fmla="*/ 37 w 45"/>
                  <a:gd name="T15" fmla="*/ 30 h 40"/>
                  <a:gd name="T16" fmla="*/ 36 w 45"/>
                  <a:gd name="T17" fmla="*/ 29 h 40"/>
                  <a:gd name="T18" fmla="*/ 34 w 45"/>
                  <a:gd name="T19" fmla="*/ 27 h 40"/>
                  <a:gd name="T20" fmla="*/ 31 w 45"/>
                  <a:gd name="T21" fmla="*/ 25 h 40"/>
                  <a:gd name="T22" fmla="*/ 30 w 45"/>
                  <a:gd name="T23" fmla="*/ 24 h 40"/>
                  <a:gd name="T24" fmla="*/ 26 w 45"/>
                  <a:gd name="T25" fmla="*/ 23 h 40"/>
                  <a:gd name="T26" fmla="*/ 25 w 45"/>
                  <a:gd name="T27" fmla="*/ 20 h 40"/>
                  <a:gd name="T28" fmla="*/ 24 w 45"/>
                  <a:gd name="T29" fmla="*/ 19 h 40"/>
                  <a:gd name="T30" fmla="*/ 24 w 45"/>
                  <a:gd name="T31" fmla="*/ 21 h 40"/>
                  <a:gd name="T32" fmla="*/ 23 w 45"/>
                  <a:gd name="T33" fmla="*/ 21 h 40"/>
                  <a:gd name="T34" fmla="*/ 23 w 45"/>
                  <a:gd name="T35" fmla="*/ 21 h 40"/>
                  <a:gd name="T36" fmla="*/ 20 w 45"/>
                  <a:gd name="T37" fmla="*/ 17 h 40"/>
                  <a:gd name="T38" fmla="*/ 19 w 45"/>
                  <a:gd name="T39" fmla="*/ 15 h 40"/>
                  <a:gd name="T40" fmla="*/ 18 w 45"/>
                  <a:gd name="T41" fmla="*/ 7 h 40"/>
                  <a:gd name="T42" fmla="*/ 14 w 45"/>
                  <a:gd name="T43" fmla="*/ 1 h 40"/>
                  <a:gd name="T44" fmla="*/ 14 w 45"/>
                  <a:gd name="T45" fmla="*/ 0 h 40"/>
                  <a:gd name="T46" fmla="*/ 12 w 45"/>
                  <a:gd name="T47" fmla="*/ 4 h 40"/>
                  <a:gd name="T48" fmla="*/ 7 w 45"/>
                  <a:gd name="T49" fmla="*/ 5 h 40"/>
                  <a:gd name="T50" fmla="*/ 6 w 45"/>
                  <a:gd name="T51" fmla="*/ 7 h 40"/>
                  <a:gd name="T52" fmla="*/ 4 w 45"/>
                  <a:gd name="T53" fmla="*/ 7 h 40"/>
                  <a:gd name="T54" fmla="*/ 3 w 45"/>
                  <a:gd name="T55" fmla="*/ 11 h 40"/>
                  <a:gd name="T56" fmla="*/ 3 w 45"/>
                  <a:gd name="T57" fmla="*/ 13 h 40"/>
                  <a:gd name="T58" fmla="*/ 0 w 45"/>
                  <a:gd name="T59" fmla="*/ 21 h 40"/>
                  <a:gd name="T60" fmla="*/ 0 w 45"/>
                  <a:gd name="T61" fmla="*/ 27 h 40"/>
                  <a:gd name="T62" fmla="*/ 4 w 45"/>
                  <a:gd name="T63" fmla="*/ 27 h 40"/>
                  <a:gd name="T64" fmla="*/ 6 w 45"/>
                  <a:gd name="T65" fmla="*/ 25 h 40"/>
                  <a:gd name="T66" fmla="*/ 7 w 45"/>
                  <a:gd name="T67" fmla="*/ 27 h 40"/>
                  <a:gd name="T68" fmla="*/ 10 w 45"/>
                  <a:gd name="T69" fmla="*/ 22 h 40"/>
                  <a:gd name="T70" fmla="*/ 11 w 45"/>
                  <a:gd name="T71" fmla="*/ 24 h 40"/>
                  <a:gd name="T72" fmla="*/ 12 w 45"/>
                  <a:gd name="T73" fmla="*/ 24 h 40"/>
                  <a:gd name="T74" fmla="*/ 14 w 45"/>
                  <a:gd name="T75" fmla="*/ 26 h 40"/>
                  <a:gd name="T76" fmla="*/ 16 w 45"/>
                  <a:gd name="T77" fmla="*/ 25 h 40"/>
                  <a:gd name="T78" fmla="*/ 17 w 45"/>
                  <a:gd name="T79" fmla="*/ 24 h 40"/>
                  <a:gd name="T80" fmla="*/ 18 w 45"/>
                  <a:gd name="T81" fmla="*/ 24 h 40"/>
                  <a:gd name="T82" fmla="*/ 19 w 45"/>
                  <a:gd name="T83" fmla="*/ 26 h 40"/>
                  <a:gd name="T84" fmla="*/ 20 w 45"/>
                  <a:gd name="T85" fmla="*/ 25 h 40"/>
                  <a:gd name="T86" fmla="*/ 21 w 45"/>
                  <a:gd name="T87" fmla="*/ 25 h 40"/>
                  <a:gd name="T88" fmla="*/ 21 w 45"/>
                  <a:gd name="T89" fmla="*/ 24 h 40"/>
                  <a:gd name="T90" fmla="*/ 24 w 45"/>
                  <a:gd name="T91" fmla="*/ 26 h 40"/>
                  <a:gd name="T92" fmla="*/ 25 w 45"/>
                  <a:gd name="T93" fmla="*/ 25 h 40"/>
                  <a:gd name="T94" fmla="*/ 25 w 45"/>
                  <a:gd name="T95" fmla="*/ 26 h 40"/>
                  <a:gd name="T96" fmla="*/ 30 w 45"/>
                  <a:gd name="T97" fmla="*/ 27 h 40"/>
                  <a:gd name="T98" fmla="*/ 32 w 45"/>
                  <a:gd name="T99" fmla="*/ 31 h 40"/>
                  <a:gd name="T100" fmla="*/ 35 w 45"/>
                  <a:gd name="T101" fmla="*/ 33 h 40"/>
                  <a:gd name="T102" fmla="*/ 40 w 45"/>
                  <a:gd name="T103" fmla="*/ 39 h 40"/>
                  <a:gd name="T104" fmla="*/ 42 w 45"/>
                  <a:gd name="T105" fmla="*/ 40 h 40"/>
                  <a:gd name="T106" fmla="*/ 45 w 45"/>
                  <a:gd name="T107" fmla="*/ 38 h 40"/>
                  <a:gd name="T108" fmla="*/ 42 w 45"/>
                  <a:gd name="T109"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 h="40">
                    <a:moveTo>
                      <a:pt x="24" y="17"/>
                    </a:moveTo>
                    <a:cubicBezTo>
                      <a:pt x="24" y="17"/>
                      <a:pt x="24" y="17"/>
                      <a:pt x="25" y="17"/>
                    </a:cubicBezTo>
                    <a:cubicBezTo>
                      <a:pt x="26" y="17"/>
                      <a:pt x="26" y="17"/>
                      <a:pt x="26" y="18"/>
                    </a:cubicBezTo>
                    <a:cubicBezTo>
                      <a:pt x="26" y="18"/>
                      <a:pt x="26" y="18"/>
                      <a:pt x="26" y="18"/>
                    </a:cubicBezTo>
                    <a:cubicBezTo>
                      <a:pt x="25" y="18"/>
                      <a:pt x="24" y="18"/>
                      <a:pt x="24" y="17"/>
                    </a:cubicBezTo>
                    <a:close/>
                    <a:moveTo>
                      <a:pt x="42" y="35"/>
                    </a:moveTo>
                    <a:cubicBezTo>
                      <a:pt x="41" y="35"/>
                      <a:pt x="40" y="34"/>
                      <a:pt x="40" y="33"/>
                    </a:cubicBezTo>
                    <a:cubicBezTo>
                      <a:pt x="40" y="32"/>
                      <a:pt x="39" y="31"/>
                      <a:pt x="37" y="30"/>
                    </a:cubicBezTo>
                    <a:cubicBezTo>
                      <a:pt x="37" y="30"/>
                      <a:pt x="36" y="29"/>
                      <a:pt x="36" y="29"/>
                    </a:cubicBezTo>
                    <a:cubicBezTo>
                      <a:pt x="35" y="28"/>
                      <a:pt x="35" y="28"/>
                      <a:pt x="34" y="27"/>
                    </a:cubicBezTo>
                    <a:cubicBezTo>
                      <a:pt x="34" y="26"/>
                      <a:pt x="33" y="25"/>
                      <a:pt x="31" y="25"/>
                    </a:cubicBezTo>
                    <a:cubicBezTo>
                      <a:pt x="31" y="25"/>
                      <a:pt x="30" y="24"/>
                      <a:pt x="30" y="24"/>
                    </a:cubicBezTo>
                    <a:cubicBezTo>
                      <a:pt x="29" y="22"/>
                      <a:pt x="28" y="22"/>
                      <a:pt x="26" y="23"/>
                    </a:cubicBezTo>
                    <a:cubicBezTo>
                      <a:pt x="26" y="22"/>
                      <a:pt x="25" y="21"/>
                      <a:pt x="25" y="20"/>
                    </a:cubicBezTo>
                    <a:cubicBezTo>
                      <a:pt x="25" y="20"/>
                      <a:pt x="25" y="19"/>
                      <a:pt x="24" y="19"/>
                    </a:cubicBezTo>
                    <a:cubicBezTo>
                      <a:pt x="23" y="20"/>
                      <a:pt x="24" y="20"/>
                      <a:pt x="24" y="21"/>
                    </a:cubicBezTo>
                    <a:cubicBezTo>
                      <a:pt x="24" y="21"/>
                      <a:pt x="23" y="21"/>
                      <a:pt x="23" y="21"/>
                    </a:cubicBezTo>
                    <a:cubicBezTo>
                      <a:pt x="23" y="21"/>
                      <a:pt x="23" y="21"/>
                      <a:pt x="23" y="21"/>
                    </a:cubicBezTo>
                    <a:cubicBezTo>
                      <a:pt x="22" y="19"/>
                      <a:pt x="20" y="18"/>
                      <a:pt x="20" y="17"/>
                    </a:cubicBezTo>
                    <a:cubicBezTo>
                      <a:pt x="20" y="16"/>
                      <a:pt x="20" y="16"/>
                      <a:pt x="19" y="15"/>
                    </a:cubicBezTo>
                    <a:cubicBezTo>
                      <a:pt x="19" y="13"/>
                      <a:pt x="18" y="10"/>
                      <a:pt x="18" y="7"/>
                    </a:cubicBezTo>
                    <a:cubicBezTo>
                      <a:pt x="17" y="5"/>
                      <a:pt x="16" y="3"/>
                      <a:pt x="14" y="1"/>
                    </a:cubicBezTo>
                    <a:cubicBezTo>
                      <a:pt x="14" y="1"/>
                      <a:pt x="14" y="1"/>
                      <a:pt x="14" y="0"/>
                    </a:cubicBezTo>
                    <a:cubicBezTo>
                      <a:pt x="12" y="4"/>
                      <a:pt x="12" y="4"/>
                      <a:pt x="12" y="4"/>
                    </a:cubicBezTo>
                    <a:cubicBezTo>
                      <a:pt x="7" y="5"/>
                      <a:pt x="7" y="5"/>
                      <a:pt x="7" y="5"/>
                    </a:cubicBezTo>
                    <a:cubicBezTo>
                      <a:pt x="6" y="7"/>
                      <a:pt x="6" y="7"/>
                      <a:pt x="6" y="7"/>
                    </a:cubicBezTo>
                    <a:cubicBezTo>
                      <a:pt x="4" y="7"/>
                      <a:pt x="4" y="7"/>
                      <a:pt x="4" y="7"/>
                    </a:cubicBezTo>
                    <a:cubicBezTo>
                      <a:pt x="3" y="11"/>
                      <a:pt x="3" y="11"/>
                      <a:pt x="3" y="11"/>
                    </a:cubicBezTo>
                    <a:cubicBezTo>
                      <a:pt x="3" y="13"/>
                      <a:pt x="3" y="13"/>
                      <a:pt x="3" y="13"/>
                    </a:cubicBezTo>
                    <a:cubicBezTo>
                      <a:pt x="0" y="21"/>
                      <a:pt x="0" y="21"/>
                      <a:pt x="0" y="21"/>
                    </a:cubicBezTo>
                    <a:cubicBezTo>
                      <a:pt x="0" y="27"/>
                      <a:pt x="0" y="27"/>
                      <a:pt x="0" y="27"/>
                    </a:cubicBezTo>
                    <a:cubicBezTo>
                      <a:pt x="4" y="27"/>
                      <a:pt x="4" y="27"/>
                      <a:pt x="4" y="27"/>
                    </a:cubicBezTo>
                    <a:cubicBezTo>
                      <a:pt x="6" y="25"/>
                      <a:pt x="6" y="25"/>
                      <a:pt x="6" y="25"/>
                    </a:cubicBezTo>
                    <a:cubicBezTo>
                      <a:pt x="7" y="27"/>
                      <a:pt x="7" y="27"/>
                      <a:pt x="7" y="27"/>
                    </a:cubicBezTo>
                    <a:cubicBezTo>
                      <a:pt x="10" y="22"/>
                      <a:pt x="10" y="22"/>
                      <a:pt x="10" y="22"/>
                    </a:cubicBezTo>
                    <a:cubicBezTo>
                      <a:pt x="11" y="24"/>
                      <a:pt x="11" y="24"/>
                      <a:pt x="11" y="24"/>
                    </a:cubicBezTo>
                    <a:cubicBezTo>
                      <a:pt x="12" y="24"/>
                      <a:pt x="12" y="24"/>
                      <a:pt x="12" y="24"/>
                    </a:cubicBezTo>
                    <a:cubicBezTo>
                      <a:pt x="14" y="26"/>
                      <a:pt x="14" y="26"/>
                      <a:pt x="14" y="26"/>
                    </a:cubicBezTo>
                    <a:cubicBezTo>
                      <a:pt x="16" y="25"/>
                      <a:pt x="16" y="25"/>
                      <a:pt x="16" y="25"/>
                    </a:cubicBezTo>
                    <a:cubicBezTo>
                      <a:pt x="17" y="24"/>
                      <a:pt x="17" y="24"/>
                      <a:pt x="17" y="24"/>
                    </a:cubicBezTo>
                    <a:cubicBezTo>
                      <a:pt x="18" y="24"/>
                      <a:pt x="18" y="24"/>
                      <a:pt x="18" y="24"/>
                    </a:cubicBezTo>
                    <a:cubicBezTo>
                      <a:pt x="19" y="26"/>
                      <a:pt x="19" y="26"/>
                      <a:pt x="19" y="26"/>
                    </a:cubicBezTo>
                    <a:cubicBezTo>
                      <a:pt x="20" y="25"/>
                      <a:pt x="20" y="25"/>
                      <a:pt x="20" y="25"/>
                    </a:cubicBezTo>
                    <a:cubicBezTo>
                      <a:pt x="21" y="25"/>
                      <a:pt x="21" y="25"/>
                      <a:pt x="21" y="25"/>
                    </a:cubicBezTo>
                    <a:cubicBezTo>
                      <a:pt x="21" y="24"/>
                      <a:pt x="21" y="24"/>
                      <a:pt x="21" y="24"/>
                    </a:cubicBezTo>
                    <a:cubicBezTo>
                      <a:pt x="24" y="26"/>
                      <a:pt x="24" y="26"/>
                      <a:pt x="24" y="26"/>
                    </a:cubicBezTo>
                    <a:cubicBezTo>
                      <a:pt x="25" y="25"/>
                      <a:pt x="25" y="25"/>
                      <a:pt x="25" y="25"/>
                    </a:cubicBezTo>
                    <a:cubicBezTo>
                      <a:pt x="25" y="26"/>
                      <a:pt x="25" y="26"/>
                      <a:pt x="25" y="26"/>
                    </a:cubicBezTo>
                    <a:cubicBezTo>
                      <a:pt x="30" y="27"/>
                      <a:pt x="30" y="27"/>
                      <a:pt x="30" y="27"/>
                    </a:cubicBezTo>
                    <a:cubicBezTo>
                      <a:pt x="32" y="31"/>
                      <a:pt x="32" y="31"/>
                      <a:pt x="32" y="31"/>
                    </a:cubicBezTo>
                    <a:cubicBezTo>
                      <a:pt x="35" y="33"/>
                      <a:pt x="35" y="33"/>
                      <a:pt x="35" y="33"/>
                    </a:cubicBezTo>
                    <a:cubicBezTo>
                      <a:pt x="40" y="39"/>
                      <a:pt x="40" y="39"/>
                      <a:pt x="40" y="39"/>
                    </a:cubicBezTo>
                    <a:cubicBezTo>
                      <a:pt x="42" y="40"/>
                      <a:pt x="42" y="40"/>
                      <a:pt x="42" y="40"/>
                    </a:cubicBezTo>
                    <a:cubicBezTo>
                      <a:pt x="45" y="38"/>
                      <a:pt x="45" y="38"/>
                      <a:pt x="45" y="38"/>
                    </a:cubicBezTo>
                    <a:cubicBezTo>
                      <a:pt x="44" y="37"/>
                      <a:pt x="43" y="36"/>
                      <a:pt x="42"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6" name="Freeform 915">
                <a:extLst>
                  <a:ext uri="{FF2B5EF4-FFF2-40B4-BE49-F238E27FC236}">
                    <a16:creationId xmlns:a16="http://schemas.microsoft.com/office/drawing/2014/main" id="{DDDD1A20-63F8-B256-E3A0-E2505874C059}"/>
                  </a:ext>
                </a:extLst>
              </p:cNvPr>
              <p:cNvSpPr>
                <a:spLocks noEditPoints="1"/>
              </p:cNvSpPr>
              <p:nvPr/>
            </p:nvSpPr>
            <p:spPr bwMode="auto">
              <a:xfrm>
                <a:off x="5616575" y="4787900"/>
                <a:ext cx="76200" cy="74613"/>
              </a:xfrm>
              <a:custGeom>
                <a:avLst/>
                <a:gdLst>
                  <a:gd name="T0" fmla="*/ 3 w 18"/>
                  <a:gd name="T1" fmla="*/ 1 h 18"/>
                  <a:gd name="T2" fmla="*/ 1 w 18"/>
                  <a:gd name="T3" fmla="*/ 3 h 18"/>
                  <a:gd name="T4" fmla="*/ 0 w 18"/>
                  <a:gd name="T5" fmla="*/ 2 h 18"/>
                  <a:gd name="T6" fmla="*/ 2 w 18"/>
                  <a:gd name="T7" fmla="*/ 0 h 18"/>
                  <a:gd name="T8" fmla="*/ 3 w 18"/>
                  <a:gd name="T9" fmla="*/ 1 h 18"/>
                  <a:gd name="T10" fmla="*/ 8 w 18"/>
                  <a:gd name="T11" fmla="*/ 9 h 18"/>
                  <a:gd name="T12" fmla="*/ 9 w 18"/>
                  <a:gd name="T13" fmla="*/ 10 h 18"/>
                  <a:gd name="T14" fmla="*/ 7 w 18"/>
                  <a:gd name="T15" fmla="*/ 15 h 18"/>
                  <a:gd name="T16" fmla="*/ 6 w 18"/>
                  <a:gd name="T17" fmla="*/ 17 h 18"/>
                  <a:gd name="T18" fmla="*/ 6 w 18"/>
                  <a:gd name="T19" fmla="*/ 18 h 18"/>
                  <a:gd name="T20" fmla="*/ 18 w 18"/>
                  <a:gd name="T21" fmla="*/ 18 h 18"/>
                  <a:gd name="T22" fmla="*/ 18 w 18"/>
                  <a:gd name="T23" fmla="*/ 10 h 18"/>
                  <a:gd name="T24" fmla="*/ 9 w 18"/>
                  <a:gd name="T25" fmla="*/ 10 h 18"/>
                  <a:gd name="T26" fmla="*/ 8 w 18"/>
                  <a:gd name="T2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3" y="1"/>
                    </a:moveTo>
                    <a:cubicBezTo>
                      <a:pt x="2" y="1"/>
                      <a:pt x="2" y="3"/>
                      <a:pt x="1" y="3"/>
                    </a:cubicBezTo>
                    <a:cubicBezTo>
                      <a:pt x="0" y="4"/>
                      <a:pt x="0" y="3"/>
                      <a:pt x="0" y="2"/>
                    </a:cubicBezTo>
                    <a:cubicBezTo>
                      <a:pt x="0" y="1"/>
                      <a:pt x="1" y="0"/>
                      <a:pt x="2" y="0"/>
                    </a:cubicBezTo>
                    <a:cubicBezTo>
                      <a:pt x="2" y="0"/>
                      <a:pt x="3" y="0"/>
                      <a:pt x="3" y="1"/>
                    </a:cubicBezTo>
                    <a:close/>
                    <a:moveTo>
                      <a:pt x="8" y="9"/>
                    </a:moveTo>
                    <a:cubicBezTo>
                      <a:pt x="8" y="9"/>
                      <a:pt x="9" y="10"/>
                      <a:pt x="9" y="10"/>
                    </a:cubicBezTo>
                    <a:cubicBezTo>
                      <a:pt x="9" y="12"/>
                      <a:pt x="9" y="13"/>
                      <a:pt x="7" y="15"/>
                    </a:cubicBezTo>
                    <a:cubicBezTo>
                      <a:pt x="7" y="15"/>
                      <a:pt x="6" y="16"/>
                      <a:pt x="6" y="17"/>
                    </a:cubicBezTo>
                    <a:cubicBezTo>
                      <a:pt x="6" y="17"/>
                      <a:pt x="6" y="18"/>
                      <a:pt x="6" y="18"/>
                    </a:cubicBezTo>
                    <a:cubicBezTo>
                      <a:pt x="18" y="18"/>
                      <a:pt x="18" y="18"/>
                      <a:pt x="18" y="18"/>
                    </a:cubicBezTo>
                    <a:cubicBezTo>
                      <a:pt x="18" y="10"/>
                      <a:pt x="18" y="10"/>
                      <a:pt x="18" y="10"/>
                    </a:cubicBezTo>
                    <a:cubicBezTo>
                      <a:pt x="9" y="10"/>
                      <a:pt x="9" y="10"/>
                      <a:pt x="9" y="10"/>
                    </a:cubicBezTo>
                    <a:lnTo>
                      <a:pt x="8"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Freeform 916">
                <a:extLst>
                  <a:ext uri="{FF2B5EF4-FFF2-40B4-BE49-F238E27FC236}">
                    <a16:creationId xmlns:a16="http://schemas.microsoft.com/office/drawing/2014/main" id="{BF53BA28-BA5F-B6B3-BBD5-3528BD2FB80F}"/>
                  </a:ext>
                </a:extLst>
              </p:cNvPr>
              <p:cNvSpPr>
                <a:spLocks noEditPoints="1"/>
              </p:cNvSpPr>
              <p:nvPr/>
            </p:nvSpPr>
            <p:spPr bwMode="auto">
              <a:xfrm>
                <a:off x="6070600" y="3946525"/>
                <a:ext cx="346075" cy="315913"/>
              </a:xfrm>
              <a:custGeom>
                <a:avLst/>
                <a:gdLst>
                  <a:gd name="T0" fmla="*/ 64 w 83"/>
                  <a:gd name="T1" fmla="*/ 73 h 76"/>
                  <a:gd name="T2" fmla="*/ 60 w 83"/>
                  <a:gd name="T3" fmla="*/ 76 h 76"/>
                  <a:gd name="T4" fmla="*/ 83 w 83"/>
                  <a:gd name="T5" fmla="*/ 73 h 76"/>
                  <a:gd name="T6" fmla="*/ 77 w 83"/>
                  <a:gd name="T7" fmla="*/ 69 h 76"/>
                  <a:gd name="T8" fmla="*/ 75 w 83"/>
                  <a:gd name="T9" fmla="*/ 65 h 76"/>
                  <a:gd name="T10" fmla="*/ 69 w 83"/>
                  <a:gd name="T11" fmla="*/ 67 h 76"/>
                  <a:gd name="T12" fmla="*/ 65 w 83"/>
                  <a:gd name="T13" fmla="*/ 72 h 76"/>
                  <a:gd name="T14" fmla="*/ 64 w 83"/>
                  <a:gd name="T15" fmla="*/ 73 h 76"/>
                  <a:gd name="T16" fmla="*/ 83 w 83"/>
                  <a:gd name="T17" fmla="*/ 73 h 76"/>
                  <a:gd name="T18" fmla="*/ 68 w 83"/>
                  <a:gd name="T19" fmla="*/ 71 h 76"/>
                  <a:gd name="T20" fmla="*/ 71 w 83"/>
                  <a:gd name="T21" fmla="*/ 68 h 76"/>
                  <a:gd name="T22" fmla="*/ 74 w 83"/>
                  <a:gd name="T23" fmla="*/ 63 h 76"/>
                  <a:gd name="T24" fmla="*/ 74 w 83"/>
                  <a:gd name="T25" fmla="*/ 58 h 76"/>
                  <a:gd name="T26" fmla="*/ 69 w 83"/>
                  <a:gd name="T27" fmla="*/ 50 h 76"/>
                  <a:gd name="T28" fmla="*/ 63 w 83"/>
                  <a:gd name="T29" fmla="*/ 36 h 76"/>
                  <a:gd name="T30" fmla="*/ 59 w 83"/>
                  <a:gd name="T31" fmla="*/ 29 h 76"/>
                  <a:gd name="T32" fmla="*/ 53 w 83"/>
                  <a:gd name="T33" fmla="*/ 17 h 76"/>
                  <a:gd name="T34" fmla="*/ 55 w 83"/>
                  <a:gd name="T35" fmla="*/ 16 h 76"/>
                  <a:gd name="T36" fmla="*/ 57 w 83"/>
                  <a:gd name="T37" fmla="*/ 20 h 76"/>
                  <a:gd name="T38" fmla="*/ 60 w 83"/>
                  <a:gd name="T39" fmla="*/ 26 h 76"/>
                  <a:gd name="T40" fmla="*/ 66 w 83"/>
                  <a:gd name="T41" fmla="*/ 30 h 76"/>
                  <a:gd name="T42" fmla="*/ 68 w 83"/>
                  <a:gd name="T43" fmla="*/ 23 h 76"/>
                  <a:gd name="T44" fmla="*/ 70 w 83"/>
                  <a:gd name="T45" fmla="*/ 18 h 76"/>
                  <a:gd name="T46" fmla="*/ 60 w 83"/>
                  <a:gd name="T47" fmla="*/ 4 h 76"/>
                  <a:gd name="T48" fmla="*/ 54 w 83"/>
                  <a:gd name="T49" fmla="*/ 5 h 76"/>
                  <a:gd name="T50" fmla="*/ 48 w 83"/>
                  <a:gd name="T51" fmla="*/ 2 h 76"/>
                  <a:gd name="T52" fmla="*/ 43 w 83"/>
                  <a:gd name="T53" fmla="*/ 2 h 76"/>
                  <a:gd name="T54" fmla="*/ 36 w 83"/>
                  <a:gd name="T55" fmla="*/ 4 h 76"/>
                  <a:gd name="T56" fmla="*/ 33 w 83"/>
                  <a:gd name="T57" fmla="*/ 6 h 76"/>
                  <a:gd name="T58" fmla="*/ 24 w 83"/>
                  <a:gd name="T59" fmla="*/ 5 h 76"/>
                  <a:gd name="T60" fmla="*/ 19 w 83"/>
                  <a:gd name="T61" fmla="*/ 4 h 76"/>
                  <a:gd name="T62" fmla="*/ 12 w 83"/>
                  <a:gd name="T63" fmla="*/ 2 h 76"/>
                  <a:gd name="T64" fmla="*/ 4 w 83"/>
                  <a:gd name="T65" fmla="*/ 0 h 76"/>
                  <a:gd name="T66" fmla="*/ 1 w 83"/>
                  <a:gd name="T67" fmla="*/ 2 h 76"/>
                  <a:gd name="T68" fmla="*/ 0 w 83"/>
                  <a:gd name="T69" fmla="*/ 12 h 76"/>
                  <a:gd name="T70" fmla="*/ 2 w 83"/>
                  <a:gd name="T71" fmla="*/ 73 h 76"/>
                  <a:gd name="T72" fmla="*/ 46 w 83"/>
                  <a:gd name="T73" fmla="*/ 72 h 76"/>
                  <a:gd name="T74" fmla="*/ 57 w 83"/>
                  <a:gd name="T75" fmla="*/ 73 h 76"/>
                  <a:gd name="T76" fmla="*/ 64 w 83"/>
                  <a:gd name="T77"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76">
                    <a:moveTo>
                      <a:pt x="57" y="73"/>
                    </a:moveTo>
                    <a:cubicBezTo>
                      <a:pt x="64" y="73"/>
                      <a:pt x="64" y="73"/>
                      <a:pt x="64" y="73"/>
                    </a:cubicBezTo>
                    <a:cubicBezTo>
                      <a:pt x="62" y="76"/>
                      <a:pt x="62" y="76"/>
                      <a:pt x="62" y="76"/>
                    </a:cubicBezTo>
                    <a:cubicBezTo>
                      <a:pt x="60" y="76"/>
                      <a:pt x="60" y="76"/>
                      <a:pt x="60" y="76"/>
                    </a:cubicBezTo>
                    <a:lnTo>
                      <a:pt x="57" y="73"/>
                    </a:lnTo>
                    <a:close/>
                    <a:moveTo>
                      <a:pt x="83" y="73"/>
                    </a:moveTo>
                    <a:cubicBezTo>
                      <a:pt x="81" y="72"/>
                      <a:pt x="80" y="71"/>
                      <a:pt x="79" y="69"/>
                    </a:cubicBezTo>
                    <a:cubicBezTo>
                      <a:pt x="78" y="69"/>
                      <a:pt x="78" y="69"/>
                      <a:pt x="77" y="69"/>
                    </a:cubicBezTo>
                    <a:cubicBezTo>
                      <a:pt x="76" y="69"/>
                      <a:pt x="75" y="68"/>
                      <a:pt x="75" y="66"/>
                    </a:cubicBezTo>
                    <a:cubicBezTo>
                      <a:pt x="75" y="66"/>
                      <a:pt x="75" y="66"/>
                      <a:pt x="75" y="65"/>
                    </a:cubicBezTo>
                    <a:cubicBezTo>
                      <a:pt x="71" y="68"/>
                      <a:pt x="71" y="68"/>
                      <a:pt x="71" y="68"/>
                    </a:cubicBezTo>
                    <a:cubicBezTo>
                      <a:pt x="69" y="67"/>
                      <a:pt x="69" y="67"/>
                      <a:pt x="69" y="67"/>
                    </a:cubicBezTo>
                    <a:cubicBezTo>
                      <a:pt x="68" y="71"/>
                      <a:pt x="68" y="71"/>
                      <a:pt x="68" y="71"/>
                    </a:cubicBezTo>
                    <a:cubicBezTo>
                      <a:pt x="65" y="72"/>
                      <a:pt x="65" y="72"/>
                      <a:pt x="65" y="72"/>
                    </a:cubicBezTo>
                    <a:cubicBezTo>
                      <a:pt x="64" y="73"/>
                      <a:pt x="64" y="73"/>
                      <a:pt x="64" y="73"/>
                    </a:cubicBezTo>
                    <a:cubicBezTo>
                      <a:pt x="64" y="73"/>
                      <a:pt x="64" y="73"/>
                      <a:pt x="64" y="73"/>
                    </a:cubicBezTo>
                    <a:cubicBezTo>
                      <a:pt x="83" y="73"/>
                      <a:pt x="83" y="73"/>
                      <a:pt x="83" y="73"/>
                    </a:cubicBezTo>
                    <a:cubicBezTo>
                      <a:pt x="83" y="73"/>
                      <a:pt x="83" y="73"/>
                      <a:pt x="83" y="73"/>
                    </a:cubicBezTo>
                    <a:close/>
                    <a:moveTo>
                      <a:pt x="65" y="72"/>
                    </a:moveTo>
                    <a:cubicBezTo>
                      <a:pt x="68" y="71"/>
                      <a:pt x="68" y="71"/>
                      <a:pt x="68" y="71"/>
                    </a:cubicBezTo>
                    <a:cubicBezTo>
                      <a:pt x="69" y="67"/>
                      <a:pt x="69" y="67"/>
                      <a:pt x="69" y="67"/>
                    </a:cubicBezTo>
                    <a:cubicBezTo>
                      <a:pt x="71" y="68"/>
                      <a:pt x="71" y="68"/>
                      <a:pt x="71" y="68"/>
                    </a:cubicBezTo>
                    <a:cubicBezTo>
                      <a:pt x="75" y="65"/>
                      <a:pt x="75" y="65"/>
                      <a:pt x="75" y="65"/>
                    </a:cubicBezTo>
                    <a:cubicBezTo>
                      <a:pt x="74" y="65"/>
                      <a:pt x="74" y="64"/>
                      <a:pt x="74" y="63"/>
                    </a:cubicBezTo>
                    <a:cubicBezTo>
                      <a:pt x="73" y="62"/>
                      <a:pt x="74" y="60"/>
                      <a:pt x="76" y="60"/>
                    </a:cubicBezTo>
                    <a:cubicBezTo>
                      <a:pt x="75" y="59"/>
                      <a:pt x="74" y="59"/>
                      <a:pt x="74" y="58"/>
                    </a:cubicBezTo>
                    <a:cubicBezTo>
                      <a:pt x="73" y="57"/>
                      <a:pt x="72" y="56"/>
                      <a:pt x="72" y="55"/>
                    </a:cubicBezTo>
                    <a:cubicBezTo>
                      <a:pt x="71" y="53"/>
                      <a:pt x="70" y="51"/>
                      <a:pt x="69" y="50"/>
                    </a:cubicBezTo>
                    <a:cubicBezTo>
                      <a:pt x="68" y="48"/>
                      <a:pt x="67" y="46"/>
                      <a:pt x="66" y="44"/>
                    </a:cubicBezTo>
                    <a:cubicBezTo>
                      <a:pt x="65" y="42"/>
                      <a:pt x="63" y="39"/>
                      <a:pt x="63" y="36"/>
                    </a:cubicBezTo>
                    <a:cubicBezTo>
                      <a:pt x="62" y="34"/>
                      <a:pt x="61" y="33"/>
                      <a:pt x="61" y="31"/>
                    </a:cubicBezTo>
                    <a:cubicBezTo>
                      <a:pt x="61" y="30"/>
                      <a:pt x="60" y="29"/>
                      <a:pt x="59" y="29"/>
                    </a:cubicBezTo>
                    <a:cubicBezTo>
                      <a:pt x="58" y="27"/>
                      <a:pt x="57" y="25"/>
                      <a:pt x="55" y="23"/>
                    </a:cubicBezTo>
                    <a:cubicBezTo>
                      <a:pt x="55" y="21"/>
                      <a:pt x="55" y="19"/>
                      <a:pt x="53" y="17"/>
                    </a:cubicBezTo>
                    <a:cubicBezTo>
                      <a:pt x="52" y="17"/>
                      <a:pt x="53" y="15"/>
                      <a:pt x="54" y="15"/>
                    </a:cubicBezTo>
                    <a:cubicBezTo>
                      <a:pt x="55" y="14"/>
                      <a:pt x="55" y="16"/>
                      <a:pt x="55" y="16"/>
                    </a:cubicBezTo>
                    <a:cubicBezTo>
                      <a:pt x="55" y="16"/>
                      <a:pt x="55" y="17"/>
                      <a:pt x="55" y="17"/>
                    </a:cubicBezTo>
                    <a:cubicBezTo>
                      <a:pt x="55" y="18"/>
                      <a:pt x="56" y="19"/>
                      <a:pt x="57" y="20"/>
                    </a:cubicBezTo>
                    <a:cubicBezTo>
                      <a:pt x="57" y="21"/>
                      <a:pt x="58" y="21"/>
                      <a:pt x="58" y="22"/>
                    </a:cubicBezTo>
                    <a:cubicBezTo>
                      <a:pt x="58" y="24"/>
                      <a:pt x="59" y="25"/>
                      <a:pt x="60" y="26"/>
                    </a:cubicBezTo>
                    <a:cubicBezTo>
                      <a:pt x="61" y="27"/>
                      <a:pt x="61" y="28"/>
                      <a:pt x="62" y="29"/>
                    </a:cubicBezTo>
                    <a:cubicBezTo>
                      <a:pt x="63" y="31"/>
                      <a:pt x="65" y="31"/>
                      <a:pt x="66" y="30"/>
                    </a:cubicBezTo>
                    <a:cubicBezTo>
                      <a:pt x="67" y="30"/>
                      <a:pt x="67" y="29"/>
                      <a:pt x="67" y="29"/>
                    </a:cubicBezTo>
                    <a:cubicBezTo>
                      <a:pt x="67" y="27"/>
                      <a:pt x="67" y="25"/>
                      <a:pt x="68" y="23"/>
                    </a:cubicBezTo>
                    <a:cubicBezTo>
                      <a:pt x="68" y="21"/>
                      <a:pt x="69" y="19"/>
                      <a:pt x="70" y="18"/>
                    </a:cubicBezTo>
                    <a:cubicBezTo>
                      <a:pt x="70" y="18"/>
                      <a:pt x="70" y="18"/>
                      <a:pt x="70" y="18"/>
                    </a:cubicBezTo>
                    <a:cubicBezTo>
                      <a:pt x="69" y="15"/>
                      <a:pt x="66" y="6"/>
                      <a:pt x="65" y="3"/>
                    </a:cubicBezTo>
                    <a:cubicBezTo>
                      <a:pt x="63" y="3"/>
                      <a:pt x="62" y="6"/>
                      <a:pt x="60" y="4"/>
                    </a:cubicBezTo>
                    <a:cubicBezTo>
                      <a:pt x="60" y="4"/>
                      <a:pt x="59" y="5"/>
                      <a:pt x="59" y="5"/>
                    </a:cubicBezTo>
                    <a:cubicBezTo>
                      <a:pt x="57" y="5"/>
                      <a:pt x="56" y="7"/>
                      <a:pt x="54" y="5"/>
                    </a:cubicBezTo>
                    <a:cubicBezTo>
                      <a:pt x="53" y="4"/>
                      <a:pt x="53" y="4"/>
                      <a:pt x="52" y="4"/>
                    </a:cubicBezTo>
                    <a:cubicBezTo>
                      <a:pt x="51" y="3"/>
                      <a:pt x="50" y="1"/>
                      <a:pt x="48" y="2"/>
                    </a:cubicBezTo>
                    <a:cubicBezTo>
                      <a:pt x="47" y="2"/>
                      <a:pt x="46" y="2"/>
                      <a:pt x="46" y="2"/>
                    </a:cubicBezTo>
                    <a:cubicBezTo>
                      <a:pt x="45" y="1"/>
                      <a:pt x="44" y="1"/>
                      <a:pt x="43" y="2"/>
                    </a:cubicBezTo>
                    <a:cubicBezTo>
                      <a:pt x="43" y="3"/>
                      <a:pt x="42" y="3"/>
                      <a:pt x="41" y="3"/>
                    </a:cubicBezTo>
                    <a:cubicBezTo>
                      <a:pt x="39" y="2"/>
                      <a:pt x="38" y="3"/>
                      <a:pt x="36" y="4"/>
                    </a:cubicBezTo>
                    <a:cubicBezTo>
                      <a:pt x="35" y="4"/>
                      <a:pt x="35" y="5"/>
                      <a:pt x="34" y="5"/>
                    </a:cubicBezTo>
                    <a:cubicBezTo>
                      <a:pt x="34" y="6"/>
                      <a:pt x="33" y="6"/>
                      <a:pt x="33" y="6"/>
                    </a:cubicBezTo>
                    <a:cubicBezTo>
                      <a:pt x="32" y="7"/>
                      <a:pt x="30" y="8"/>
                      <a:pt x="29" y="7"/>
                    </a:cubicBezTo>
                    <a:cubicBezTo>
                      <a:pt x="28" y="6"/>
                      <a:pt x="26" y="5"/>
                      <a:pt x="24" y="5"/>
                    </a:cubicBezTo>
                    <a:cubicBezTo>
                      <a:pt x="23" y="5"/>
                      <a:pt x="21" y="4"/>
                      <a:pt x="20" y="4"/>
                    </a:cubicBezTo>
                    <a:cubicBezTo>
                      <a:pt x="20" y="4"/>
                      <a:pt x="19" y="4"/>
                      <a:pt x="19" y="4"/>
                    </a:cubicBezTo>
                    <a:cubicBezTo>
                      <a:pt x="19" y="2"/>
                      <a:pt x="17" y="3"/>
                      <a:pt x="16" y="2"/>
                    </a:cubicBezTo>
                    <a:cubicBezTo>
                      <a:pt x="15" y="2"/>
                      <a:pt x="13" y="2"/>
                      <a:pt x="12" y="2"/>
                    </a:cubicBezTo>
                    <a:cubicBezTo>
                      <a:pt x="11" y="1"/>
                      <a:pt x="8" y="0"/>
                      <a:pt x="6" y="2"/>
                    </a:cubicBezTo>
                    <a:cubicBezTo>
                      <a:pt x="5" y="3"/>
                      <a:pt x="4" y="2"/>
                      <a:pt x="4" y="0"/>
                    </a:cubicBezTo>
                    <a:cubicBezTo>
                      <a:pt x="4" y="0"/>
                      <a:pt x="3" y="0"/>
                      <a:pt x="3" y="0"/>
                    </a:cubicBezTo>
                    <a:cubicBezTo>
                      <a:pt x="1" y="2"/>
                      <a:pt x="1" y="2"/>
                      <a:pt x="1" y="2"/>
                    </a:cubicBezTo>
                    <a:cubicBezTo>
                      <a:pt x="2" y="7"/>
                      <a:pt x="2" y="7"/>
                      <a:pt x="2" y="7"/>
                    </a:cubicBezTo>
                    <a:cubicBezTo>
                      <a:pt x="0" y="12"/>
                      <a:pt x="0" y="12"/>
                      <a:pt x="0" y="12"/>
                    </a:cubicBezTo>
                    <a:cubicBezTo>
                      <a:pt x="2" y="18"/>
                      <a:pt x="2" y="18"/>
                      <a:pt x="2" y="18"/>
                    </a:cubicBezTo>
                    <a:cubicBezTo>
                      <a:pt x="2" y="73"/>
                      <a:pt x="2" y="73"/>
                      <a:pt x="2" y="73"/>
                    </a:cubicBezTo>
                    <a:cubicBezTo>
                      <a:pt x="45" y="73"/>
                      <a:pt x="45" y="73"/>
                      <a:pt x="45" y="73"/>
                    </a:cubicBezTo>
                    <a:cubicBezTo>
                      <a:pt x="46" y="72"/>
                      <a:pt x="46" y="72"/>
                      <a:pt x="46" y="72"/>
                    </a:cubicBezTo>
                    <a:cubicBezTo>
                      <a:pt x="46" y="73"/>
                      <a:pt x="46" y="73"/>
                      <a:pt x="46" y="73"/>
                    </a:cubicBezTo>
                    <a:cubicBezTo>
                      <a:pt x="57" y="73"/>
                      <a:pt x="57" y="73"/>
                      <a:pt x="57" y="73"/>
                    </a:cubicBezTo>
                    <a:cubicBezTo>
                      <a:pt x="64" y="73"/>
                      <a:pt x="64" y="73"/>
                      <a:pt x="64" y="73"/>
                    </a:cubicBezTo>
                    <a:cubicBezTo>
                      <a:pt x="64" y="73"/>
                      <a:pt x="64" y="73"/>
                      <a:pt x="64" y="73"/>
                    </a:cubicBezTo>
                    <a:lnTo>
                      <a:pt x="65" y="7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8" name="Freeform 917">
                <a:extLst>
                  <a:ext uri="{FF2B5EF4-FFF2-40B4-BE49-F238E27FC236}">
                    <a16:creationId xmlns:a16="http://schemas.microsoft.com/office/drawing/2014/main" id="{FE97F889-973A-52AC-8E99-183EB11DF40C}"/>
                  </a:ext>
                </a:extLst>
              </p:cNvPr>
              <p:cNvSpPr>
                <a:spLocks/>
              </p:cNvSpPr>
              <p:nvPr/>
            </p:nvSpPr>
            <p:spPr bwMode="auto">
              <a:xfrm>
                <a:off x="6553200" y="4529138"/>
                <a:ext cx="50800" cy="50800"/>
              </a:xfrm>
              <a:custGeom>
                <a:avLst/>
                <a:gdLst>
                  <a:gd name="T0" fmla="*/ 4 w 12"/>
                  <a:gd name="T1" fmla="*/ 1 h 12"/>
                  <a:gd name="T2" fmla="*/ 0 w 12"/>
                  <a:gd name="T3" fmla="*/ 6 h 12"/>
                  <a:gd name="T4" fmla="*/ 0 w 12"/>
                  <a:gd name="T5" fmla="*/ 12 h 12"/>
                  <a:gd name="T6" fmla="*/ 3 w 12"/>
                  <a:gd name="T7" fmla="*/ 12 h 12"/>
                  <a:gd name="T8" fmla="*/ 6 w 12"/>
                  <a:gd name="T9" fmla="*/ 11 h 12"/>
                  <a:gd name="T10" fmla="*/ 8 w 12"/>
                  <a:gd name="T11" fmla="*/ 12 h 12"/>
                  <a:gd name="T12" fmla="*/ 10 w 12"/>
                  <a:gd name="T13" fmla="*/ 9 h 12"/>
                  <a:gd name="T14" fmla="*/ 8 w 12"/>
                  <a:gd name="T15" fmla="*/ 8 h 12"/>
                  <a:gd name="T16" fmla="*/ 7 w 12"/>
                  <a:gd name="T17" fmla="*/ 8 h 12"/>
                  <a:gd name="T18" fmla="*/ 8 w 12"/>
                  <a:gd name="T19" fmla="*/ 7 h 12"/>
                  <a:gd name="T20" fmla="*/ 11 w 12"/>
                  <a:gd name="T21" fmla="*/ 5 h 12"/>
                  <a:gd name="T22" fmla="*/ 9 w 12"/>
                  <a:gd name="T23" fmla="*/ 0 h 12"/>
                  <a:gd name="T24" fmla="*/ 9 w 12"/>
                  <a:gd name="T25" fmla="*/ 0 h 12"/>
                  <a:gd name="T26" fmla="*/ 6 w 12"/>
                  <a:gd name="T27" fmla="*/ 2 h 12"/>
                  <a:gd name="T28" fmla="*/ 4 w 12"/>
                  <a:gd name="T2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2">
                    <a:moveTo>
                      <a:pt x="4" y="1"/>
                    </a:moveTo>
                    <a:cubicBezTo>
                      <a:pt x="0" y="6"/>
                      <a:pt x="0" y="6"/>
                      <a:pt x="0" y="6"/>
                    </a:cubicBezTo>
                    <a:cubicBezTo>
                      <a:pt x="0" y="12"/>
                      <a:pt x="0" y="12"/>
                      <a:pt x="0" y="12"/>
                    </a:cubicBezTo>
                    <a:cubicBezTo>
                      <a:pt x="3" y="12"/>
                      <a:pt x="3" y="12"/>
                      <a:pt x="3" y="12"/>
                    </a:cubicBezTo>
                    <a:cubicBezTo>
                      <a:pt x="6" y="11"/>
                      <a:pt x="6" y="11"/>
                      <a:pt x="6" y="11"/>
                    </a:cubicBezTo>
                    <a:cubicBezTo>
                      <a:pt x="8" y="12"/>
                      <a:pt x="8" y="12"/>
                      <a:pt x="8" y="12"/>
                    </a:cubicBezTo>
                    <a:cubicBezTo>
                      <a:pt x="10" y="9"/>
                      <a:pt x="10" y="9"/>
                      <a:pt x="10" y="9"/>
                    </a:cubicBezTo>
                    <a:cubicBezTo>
                      <a:pt x="10" y="8"/>
                      <a:pt x="9" y="8"/>
                      <a:pt x="8" y="8"/>
                    </a:cubicBezTo>
                    <a:cubicBezTo>
                      <a:pt x="8" y="8"/>
                      <a:pt x="7" y="9"/>
                      <a:pt x="7" y="8"/>
                    </a:cubicBezTo>
                    <a:cubicBezTo>
                      <a:pt x="7" y="7"/>
                      <a:pt x="8" y="7"/>
                      <a:pt x="8" y="7"/>
                    </a:cubicBezTo>
                    <a:cubicBezTo>
                      <a:pt x="9" y="7"/>
                      <a:pt x="10" y="6"/>
                      <a:pt x="11" y="5"/>
                    </a:cubicBezTo>
                    <a:cubicBezTo>
                      <a:pt x="12" y="3"/>
                      <a:pt x="11" y="1"/>
                      <a:pt x="9" y="0"/>
                    </a:cubicBezTo>
                    <a:cubicBezTo>
                      <a:pt x="9" y="0"/>
                      <a:pt x="9" y="0"/>
                      <a:pt x="9" y="0"/>
                    </a:cubicBezTo>
                    <a:cubicBezTo>
                      <a:pt x="6" y="2"/>
                      <a:pt x="6" y="2"/>
                      <a:pt x="6" y="2"/>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9" name="Freeform 918">
                <a:extLst>
                  <a:ext uri="{FF2B5EF4-FFF2-40B4-BE49-F238E27FC236}">
                    <a16:creationId xmlns:a16="http://schemas.microsoft.com/office/drawing/2014/main" id="{6BF349FB-1EDC-9FAA-A1AB-1ECF6DE0652D}"/>
                  </a:ext>
                </a:extLst>
              </p:cNvPr>
              <p:cNvSpPr>
                <a:spLocks/>
              </p:cNvSpPr>
              <p:nvPr/>
            </p:nvSpPr>
            <p:spPr bwMode="auto">
              <a:xfrm>
                <a:off x="5688013" y="4787900"/>
                <a:ext cx="212725" cy="246063"/>
              </a:xfrm>
              <a:custGeom>
                <a:avLst/>
                <a:gdLst>
                  <a:gd name="T0" fmla="*/ 43 w 51"/>
                  <a:gd name="T1" fmla="*/ 0 h 59"/>
                  <a:gd name="T2" fmla="*/ 37 w 51"/>
                  <a:gd name="T3" fmla="*/ 5 h 59"/>
                  <a:gd name="T4" fmla="*/ 33 w 51"/>
                  <a:gd name="T5" fmla="*/ 10 h 59"/>
                  <a:gd name="T6" fmla="*/ 31 w 51"/>
                  <a:gd name="T7" fmla="*/ 12 h 59"/>
                  <a:gd name="T8" fmla="*/ 23 w 51"/>
                  <a:gd name="T9" fmla="*/ 10 h 59"/>
                  <a:gd name="T10" fmla="*/ 14 w 51"/>
                  <a:gd name="T11" fmla="*/ 12 h 59"/>
                  <a:gd name="T12" fmla="*/ 15 w 51"/>
                  <a:gd name="T13" fmla="*/ 15 h 59"/>
                  <a:gd name="T14" fmla="*/ 14 w 51"/>
                  <a:gd name="T15" fmla="*/ 17 h 59"/>
                  <a:gd name="T16" fmla="*/ 23 w 51"/>
                  <a:gd name="T17" fmla="*/ 19 h 59"/>
                  <a:gd name="T18" fmla="*/ 19 w 51"/>
                  <a:gd name="T19" fmla="*/ 24 h 59"/>
                  <a:gd name="T20" fmla="*/ 20 w 51"/>
                  <a:gd name="T21" fmla="*/ 26 h 59"/>
                  <a:gd name="T22" fmla="*/ 22 w 51"/>
                  <a:gd name="T23" fmla="*/ 28 h 59"/>
                  <a:gd name="T24" fmla="*/ 23 w 51"/>
                  <a:gd name="T25" fmla="*/ 31 h 59"/>
                  <a:gd name="T26" fmla="*/ 23 w 51"/>
                  <a:gd name="T27" fmla="*/ 34 h 59"/>
                  <a:gd name="T28" fmla="*/ 21 w 51"/>
                  <a:gd name="T29" fmla="*/ 39 h 59"/>
                  <a:gd name="T30" fmla="*/ 21 w 51"/>
                  <a:gd name="T31" fmla="*/ 41 h 59"/>
                  <a:gd name="T32" fmla="*/ 19 w 51"/>
                  <a:gd name="T33" fmla="*/ 42 h 59"/>
                  <a:gd name="T34" fmla="*/ 16 w 51"/>
                  <a:gd name="T35" fmla="*/ 41 h 59"/>
                  <a:gd name="T36" fmla="*/ 11 w 51"/>
                  <a:gd name="T37" fmla="*/ 37 h 59"/>
                  <a:gd name="T38" fmla="*/ 9 w 51"/>
                  <a:gd name="T39" fmla="*/ 39 h 59"/>
                  <a:gd name="T40" fmla="*/ 7 w 51"/>
                  <a:gd name="T41" fmla="*/ 41 h 59"/>
                  <a:gd name="T42" fmla="*/ 4 w 51"/>
                  <a:gd name="T43" fmla="*/ 42 h 59"/>
                  <a:gd name="T44" fmla="*/ 3 w 51"/>
                  <a:gd name="T45" fmla="*/ 44 h 59"/>
                  <a:gd name="T46" fmla="*/ 4 w 51"/>
                  <a:gd name="T47" fmla="*/ 46 h 59"/>
                  <a:gd name="T48" fmla="*/ 5 w 51"/>
                  <a:gd name="T49" fmla="*/ 49 h 59"/>
                  <a:gd name="T50" fmla="*/ 4 w 51"/>
                  <a:gd name="T51" fmla="*/ 50 h 59"/>
                  <a:gd name="T52" fmla="*/ 0 w 51"/>
                  <a:gd name="T53" fmla="*/ 51 h 59"/>
                  <a:gd name="T54" fmla="*/ 3 w 51"/>
                  <a:gd name="T55" fmla="*/ 54 h 59"/>
                  <a:gd name="T56" fmla="*/ 5 w 51"/>
                  <a:gd name="T57" fmla="*/ 56 h 59"/>
                  <a:gd name="T58" fmla="*/ 6 w 51"/>
                  <a:gd name="T59" fmla="*/ 59 h 59"/>
                  <a:gd name="T60" fmla="*/ 11 w 51"/>
                  <a:gd name="T61" fmla="*/ 56 h 59"/>
                  <a:gd name="T62" fmla="*/ 12 w 51"/>
                  <a:gd name="T63" fmla="*/ 55 h 59"/>
                  <a:gd name="T64" fmla="*/ 14 w 51"/>
                  <a:gd name="T65" fmla="*/ 56 h 59"/>
                  <a:gd name="T66" fmla="*/ 18 w 51"/>
                  <a:gd name="T67" fmla="*/ 57 h 59"/>
                  <a:gd name="T68" fmla="*/ 18 w 51"/>
                  <a:gd name="T69" fmla="*/ 55 h 59"/>
                  <a:gd name="T70" fmla="*/ 22 w 51"/>
                  <a:gd name="T71" fmla="*/ 58 h 59"/>
                  <a:gd name="T72" fmla="*/ 28 w 51"/>
                  <a:gd name="T73" fmla="*/ 54 h 59"/>
                  <a:gd name="T74" fmla="*/ 30 w 51"/>
                  <a:gd name="T75" fmla="*/ 53 h 59"/>
                  <a:gd name="T76" fmla="*/ 33 w 51"/>
                  <a:gd name="T77" fmla="*/ 51 h 59"/>
                  <a:gd name="T78" fmla="*/ 35 w 51"/>
                  <a:gd name="T79" fmla="*/ 42 h 59"/>
                  <a:gd name="T80" fmla="*/ 35 w 51"/>
                  <a:gd name="T81" fmla="*/ 39 h 59"/>
                  <a:gd name="T82" fmla="*/ 39 w 51"/>
                  <a:gd name="T83" fmla="*/ 34 h 59"/>
                  <a:gd name="T84" fmla="*/ 43 w 51"/>
                  <a:gd name="T85" fmla="*/ 30 h 59"/>
                  <a:gd name="T86" fmla="*/ 45 w 51"/>
                  <a:gd name="T87" fmla="*/ 25 h 59"/>
                  <a:gd name="T88" fmla="*/ 46 w 51"/>
                  <a:gd name="T89" fmla="*/ 18 h 59"/>
                  <a:gd name="T90" fmla="*/ 47 w 51"/>
                  <a:gd name="T91" fmla="*/ 9 h 59"/>
                  <a:gd name="T92" fmla="*/ 51 w 51"/>
                  <a:gd name="T93" fmla="*/ 1 h 59"/>
                  <a:gd name="T94" fmla="*/ 49 w 51"/>
                  <a:gd name="T9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9">
                    <a:moveTo>
                      <a:pt x="48" y="1"/>
                    </a:moveTo>
                    <a:cubicBezTo>
                      <a:pt x="43" y="0"/>
                      <a:pt x="43" y="0"/>
                      <a:pt x="43" y="0"/>
                    </a:cubicBezTo>
                    <a:cubicBezTo>
                      <a:pt x="37" y="1"/>
                      <a:pt x="37" y="1"/>
                      <a:pt x="37" y="1"/>
                    </a:cubicBezTo>
                    <a:cubicBezTo>
                      <a:pt x="37" y="5"/>
                      <a:pt x="37" y="5"/>
                      <a:pt x="37" y="5"/>
                    </a:cubicBezTo>
                    <a:cubicBezTo>
                      <a:pt x="35" y="9"/>
                      <a:pt x="35" y="9"/>
                      <a:pt x="35" y="9"/>
                    </a:cubicBezTo>
                    <a:cubicBezTo>
                      <a:pt x="33" y="10"/>
                      <a:pt x="33" y="10"/>
                      <a:pt x="33" y="10"/>
                    </a:cubicBezTo>
                    <a:cubicBezTo>
                      <a:pt x="33" y="13"/>
                      <a:pt x="33" y="13"/>
                      <a:pt x="33" y="13"/>
                    </a:cubicBezTo>
                    <a:cubicBezTo>
                      <a:pt x="31" y="12"/>
                      <a:pt x="31" y="12"/>
                      <a:pt x="31" y="12"/>
                    </a:cubicBezTo>
                    <a:cubicBezTo>
                      <a:pt x="27" y="11"/>
                      <a:pt x="27" y="11"/>
                      <a:pt x="27" y="11"/>
                    </a:cubicBezTo>
                    <a:cubicBezTo>
                      <a:pt x="23" y="10"/>
                      <a:pt x="23" y="10"/>
                      <a:pt x="23" y="10"/>
                    </a:cubicBezTo>
                    <a:cubicBezTo>
                      <a:pt x="15" y="10"/>
                      <a:pt x="15" y="10"/>
                      <a:pt x="15" y="10"/>
                    </a:cubicBezTo>
                    <a:cubicBezTo>
                      <a:pt x="14" y="12"/>
                      <a:pt x="14" y="12"/>
                      <a:pt x="14" y="12"/>
                    </a:cubicBezTo>
                    <a:cubicBezTo>
                      <a:pt x="14" y="14"/>
                      <a:pt x="14" y="14"/>
                      <a:pt x="14" y="14"/>
                    </a:cubicBezTo>
                    <a:cubicBezTo>
                      <a:pt x="15" y="15"/>
                      <a:pt x="15" y="15"/>
                      <a:pt x="15" y="15"/>
                    </a:cubicBezTo>
                    <a:cubicBezTo>
                      <a:pt x="14" y="16"/>
                      <a:pt x="14" y="16"/>
                      <a:pt x="14" y="16"/>
                    </a:cubicBezTo>
                    <a:cubicBezTo>
                      <a:pt x="14" y="17"/>
                      <a:pt x="14" y="17"/>
                      <a:pt x="14" y="17"/>
                    </a:cubicBezTo>
                    <a:cubicBezTo>
                      <a:pt x="21" y="15"/>
                      <a:pt x="21" y="15"/>
                      <a:pt x="21" y="15"/>
                    </a:cubicBezTo>
                    <a:cubicBezTo>
                      <a:pt x="23" y="19"/>
                      <a:pt x="23" y="19"/>
                      <a:pt x="23" y="19"/>
                    </a:cubicBezTo>
                    <a:cubicBezTo>
                      <a:pt x="19" y="22"/>
                      <a:pt x="19" y="22"/>
                      <a:pt x="19" y="22"/>
                    </a:cubicBezTo>
                    <a:cubicBezTo>
                      <a:pt x="19" y="24"/>
                      <a:pt x="19" y="24"/>
                      <a:pt x="19" y="24"/>
                    </a:cubicBezTo>
                    <a:cubicBezTo>
                      <a:pt x="19" y="26"/>
                      <a:pt x="19" y="26"/>
                      <a:pt x="19" y="26"/>
                    </a:cubicBezTo>
                    <a:cubicBezTo>
                      <a:pt x="20" y="26"/>
                      <a:pt x="20" y="26"/>
                      <a:pt x="20" y="26"/>
                    </a:cubicBezTo>
                    <a:cubicBezTo>
                      <a:pt x="21" y="28"/>
                      <a:pt x="21" y="28"/>
                      <a:pt x="21" y="28"/>
                    </a:cubicBezTo>
                    <a:cubicBezTo>
                      <a:pt x="22" y="28"/>
                      <a:pt x="22" y="28"/>
                      <a:pt x="22" y="28"/>
                    </a:cubicBezTo>
                    <a:cubicBezTo>
                      <a:pt x="23" y="29"/>
                      <a:pt x="23" y="29"/>
                      <a:pt x="23" y="29"/>
                    </a:cubicBezTo>
                    <a:cubicBezTo>
                      <a:pt x="23" y="29"/>
                      <a:pt x="23" y="31"/>
                      <a:pt x="23" y="31"/>
                    </a:cubicBezTo>
                    <a:cubicBezTo>
                      <a:pt x="23" y="31"/>
                      <a:pt x="22" y="33"/>
                      <a:pt x="22" y="33"/>
                    </a:cubicBezTo>
                    <a:cubicBezTo>
                      <a:pt x="22" y="33"/>
                      <a:pt x="23" y="34"/>
                      <a:pt x="23" y="34"/>
                    </a:cubicBezTo>
                    <a:cubicBezTo>
                      <a:pt x="23" y="36"/>
                      <a:pt x="23" y="36"/>
                      <a:pt x="23" y="36"/>
                    </a:cubicBezTo>
                    <a:cubicBezTo>
                      <a:pt x="21" y="39"/>
                      <a:pt x="21" y="39"/>
                      <a:pt x="21" y="39"/>
                    </a:cubicBezTo>
                    <a:cubicBezTo>
                      <a:pt x="21" y="39"/>
                      <a:pt x="21" y="40"/>
                      <a:pt x="21" y="40"/>
                    </a:cubicBezTo>
                    <a:cubicBezTo>
                      <a:pt x="21" y="40"/>
                      <a:pt x="21" y="41"/>
                      <a:pt x="21" y="41"/>
                    </a:cubicBezTo>
                    <a:cubicBezTo>
                      <a:pt x="20" y="41"/>
                      <a:pt x="20" y="41"/>
                      <a:pt x="20" y="41"/>
                    </a:cubicBezTo>
                    <a:cubicBezTo>
                      <a:pt x="19" y="42"/>
                      <a:pt x="19" y="42"/>
                      <a:pt x="19" y="42"/>
                    </a:cubicBezTo>
                    <a:cubicBezTo>
                      <a:pt x="18" y="39"/>
                      <a:pt x="18" y="39"/>
                      <a:pt x="18" y="39"/>
                    </a:cubicBezTo>
                    <a:cubicBezTo>
                      <a:pt x="16" y="41"/>
                      <a:pt x="16" y="41"/>
                      <a:pt x="16" y="41"/>
                    </a:cubicBezTo>
                    <a:cubicBezTo>
                      <a:pt x="13" y="41"/>
                      <a:pt x="13" y="41"/>
                      <a:pt x="13" y="41"/>
                    </a:cubicBezTo>
                    <a:cubicBezTo>
                      <a:pt x="11" y="37"/>
                      <a:pt x="11" y="37"/>
                      <a:pt x="11" y="37"/>
                    </a:cubicBezTo>
                    <a:cubicBezTo>
                      <a:pt x="9" y="37"/>
                      <a:pt x="9" y="37"/>
                      <a:pt x="9" y="37"/>
                    </a:cubicBezTo>
                    <a:cubicBezTo>
                      <a:pt x="9" y="39"/>
                      <a:pt x="9" y="39"/>
                      <a:pt x="9" y="39"/>
                    </a:cubicBezTo>
                    <a:cubicBezTo>
                      <a:pt x="9" y="41"/>
                      <a:pt x="9" y="41"/>
                      <a:pt x="9" y="41"/>
                    </a:cubicBezTo>
                    <a:cubicBezTo>
                      <a:pt x="7" y="41"/>
                      <a:pt x="7" y="41"/>
                      <a:pt x="7" y="41"/>
                    </a:cubicBezTo>
                    <a:cubicBezTo>
                      <a:pt x="6" y="41"/>
                      <a:pt x="6" y="41"/>
                      <a:pt x="6" y="41"/>
                    </a:cubicBezTo>
                    <a:cubicBezTo>
                      <a:pt x="4" y="42"/>
                      <a:pt x="4" y="42"/>
                      <a:pt x="4" y="42"/>
                    </a:cubicBezTo>
                    <a:cubicBezTo>
                      <a:pt x="3" y="41"/>
                      <a:pt x="3" y="41"/>
                      <a:pt x="3" y="41"/>
                    </a:cubicBezTo>
                    <a:cubicBezTo>
                      <a:pt x="3" y="44"/>
                      <a:pt x="3" y="44"/>
                      <a:pt x="3" y="44"/>
                    </a:cubicBezTo>
                    <a:cubicBezTo>
                      <a:pt x="5" y="45"/>
                      <a:pt x="5" y="45"/>
                      <a:pt x="5" y="45"/>
                    </a:cubicBezTo>
                    <a:cubicBezTo>
                      <a:pt x="4" y="46"/>
                      <a:pt x="4" y="46"/>
                      <a:pt x="4" y="46"/>
                    </a:cubicBezTo>
                    <a:cubicBezTo>
                      <a:pt x="5" y="47"/>
                      <a:pt x="5" y="47"/>
                      <a:pt x="5" y="47"/>
                    </a:cubicBezTo>
                    <a:cubicBezTo>
                      <a:pt x="5" y="49"/>
                      <a:pt x="5" y="49"/>
                      <a:pt x="5" y="49"/>
                    </a:cubicBezTo>
                    <a:cubicBezTo>
                      <a:pt x="4" y="50"/>
                      <a:pt x="4" y="50"/>
                      <a:pt x="4" y="50"/>
                    </a:cubicBezTo>
                    <a:cubicBezTo>
                      <a:pt x="4" y="50"/>
                      <a:pt x="4" y="50"/>
                      <a:pt x="4" y="50"/>
                    </a:cubicBezTo>
                    <a:cubicBezTo>
                      <a:pt x="2" y="48"/>
                      <a:pt x="2" y="48"/>
                      <a:pt x="2" y="48"/>
                    </a:cubicBezTo>
                    <a:cubicBezTo>
                      <a:pt x="0" y="51"/>
                      <a:pt x="0" y="51"/>
                      <a:pt x="0" y="51"/>
                    </a:cubicBezTo>
                    <a:cubicBezTo>
                      <a:pt x="0" y="52"/>
                      <a:pt x="0" y="52"/>
                      <a:pt x="1" y="52"/>
                    </a:cubicBezTo>
                    <a:cubicBezTo>
                      <a:pt x="1" y="53"/>
                      <a:pt x="3" y="53"/>
                      <a:pt x="3" y="54"/>
                    </a:cubicBezTo>
                    <a:cubicBezTo>
                      <a:pt x="3" y="55"/>
                      <a:pt x="4" y="56"/>
                      <a:pt x="5" y="56"/>
                    </a:cubicBezTo>
                    <a:cubicBezTo>
                      <a:pt x="5" y="56"/>
                      <a:pt x="5" y="56"/>
                      <a:pt x="5" y="56"/>
                    </a:cubicBezTo>
                    <a:cubicBezTo>
                      <a:pt x="5" y="57"/>
                      <a:pt x="5" y="58"/>
                      <a:pt x="5" y="58"/>
                    </a:cubicBezTo>
                    <a:cubicBezTo>
                      <a:pt x="6" y="59"/>
                      <a:pt x="6" y="59"/>
                      <a:pt x="6" y="59"/>
                    </a:cubicBezTo>
                    <a:cubicBezTo>
                      <a:pt x="9" y="56"/>
                      <a:pt x="9" y="56"/>
                      <a:pt x="9" y="56"/>
                    </a:cubicBezTo>
                    <a:cubicBezTo>
                      <a:pt x="11" y="56"/>
                      <a:pt x="11" y="56"/>
                      <a:pt x="11" y="56"/>
                    </a:cubicBezTo>
                    <a:cubicBezTo>
                      <a:pt x="11" y="54"/>
                      <a:pt x="11" y="54"/>
                      <a:pt x="11" y="54"/>
                    </a:cubicBezTo>
                    <a:cubicBezTo>
                      <a:pt x="12" y="55"/>
                      <a:pt x="12" y="55"/>
                      <a:pt x="12" y="55"/>
                    </a:cubicBezTo>
                    <a:cubicBezTo>
                      <a:pt x="13" y="56"/>
                      <a:pt x="13" y="56"/>
                      <a:pt x="13" y="56"/>
                    </a:cubicBezTo>
                    <a:cubicBezTo>
                      <a:pt x="14" y="56"/>
                      <a:pt x="14" y="56"/>
                      <a:pt x="14" y="56"/>
                    </a:cubicBezTo>
                    <a:cubicBezTo>
                      <a:pt x="16" y="58"/>
                      <a:pt x="16" y="58"/>
                      <a:pt x="16" y="58"/>
                    </a:cubicBezTo>
                    <a:cubicBezTo>
                      <a:pt x="18" y="57"/>
                      <a:pt x="18" y="57"/>
                      <a:pt x="18" y="57"/>
                    </a:cubicBezTo>
                    <a:cubicBezTo>
                      <a:pt x="18" y="55"/>
                      <a:pt x="18" y="55"/>
                      <a:pt x="18" y="55"/>
                    </a:cubicBezTo>
                    <a:cubicBezTo>
                      <a:pt x="18" y="55"/>
                      <a:pt x="18" y="55"/>
                      <a:pt x="18" y="55"/>
                    </a:cubicBezTo>
                    <a:cubicBezTo>
                      <a:pt x="22" y="54"/>
                      <a:pt x="22" y="54"/>
                      <a:pt x="22" y="54"/>
                    </a:cubicBezTo>
                    <a:cubicBezTo>
                      <a:pt x="22" y="58"/>
                      <a:pt x="22" y="58"/>
                      <a:pt x="22" y="58"/>
                    </a:cubicBezTo>
                    <a:cubicBezTo>
                      <a:pt x="25" y="57"/>
                      <a:pt x="25" y="57"/>
                      <a:pt x="25" y="57"/>
                    </a:cubicBezTo>
                    <a:cubicBezTo>
                      <a:pt x="28" y="54"/>
                      <a:pt x="28" y="54"/>
                      <a:pt x="28" y="54"/>
                    </a:cubicBezTo>
                    <a:cubicBezTo>
                      <a:pt x="29" y="54"/>
                      <a:pt x="29" y="54"/>
                      <a:pt x="29" y="54"/>
                    </a:cubicBezTo>
                    <a:cubicBezTo>
                      <a:pt x="30" y="53"/>
                      <a:pt x="30" y="53"/>
                      <a:pt x="30" y="53"/>
                    </a:cubicBezTo>
                    <a:cubicBezTo>
                      <a:pt x="30" y="52"/>
                      <a:pt x="30" y="52"/>
                      <a:pt x="30" y="52"/>
                    </a:cubicBezTo>
                    <a:cubicBezTo>
                      <a:pt x="33" y="51"/>
                      <a:pt x="33" y="51"/>
                      <a:pt x="33" y="51"/>
                    </a:cubicBezTo>
                    <a:cubicBezTo>
                      <a:pt x="35" y="47"/>
                      <a:pt x="35" y="47"/>
                      <a:pt x="35" y="47"/>
                    </a:cubicBezTo>
                    <a:cubicBezTo>
                      <a:pt x="35" y="42"/>
                      <a:pt x="35" y="42"/>
                      <a:pt x="35" y="42"/>
                    </a:cubicBezTo>
                    <a:cubicBezTo>
                      <a:pt x="34" y="41"/>
                      <a:pt x="34" y="41"/>
                      <a:pt x="34" y="41"/>
                    </a:cubicBezTo>
                    <a:cubicBezTo>
                      <a:pt x="35" y="39"/>
                      <a:pt x="35" y="39"/>
                      <a:pt x="35" y="39"/>
                    </a:cubicBezTo>
                    <a:cubicBezTo>
                      <a:pt x="37" y="38"/>
                      <a:pt x="37" y="38"/>
                      <a:pt x="37" y="38"/>
                    </a:cubicBezTo>
                    <a:cubicBezTo>
                      <a:pt x="37" y="38"/>
                      <a:pt x="39" y="34"/>
                      <a:pt x="39" y="34"/>
                    </a:cubicBezTo>
                    <a:cubicBezTo>
                      <a:pt x="39" y="34"/>
                      <a:pt x="40" y="32"/>
                      <a:pt x="40" y="32"/>
                    </a:cubicBezTo>
                    <a:cubicBezTo>
                      <a:pt x="40" y="32"/>
                      <a:pt x="43" y="30"/>
                      <a:pt x="43" y="30"/>
                    </a:cubicBezTo>
                    <a:cubicBezTo>
                      <a:pt x="43" y="30"/>
                      <a:pt x="45" y="28"/>
                      <a:pt x="45" y="28"/>
                    </a:cubicBezTo>
                    <a:cubicBezTo>
                      <a:pt x="45" y="25"/>
                      <a:pt x="45" y="25"/>
                      <a:pt x="45" y="25"/>
                    </a:cubicBezTo>
                    <a:cubicBezTo>
                      <a:pt x="46" y="22"/>
                      <a:pt x="46" y="22"/>
                      <a:pt x="46" y="22"/>
                    </a:cubicBezTo>
                    <a:cubicBezTo>
                      <a:pt x="46" y="18"/>
                      <a:pt x="46" y="18"/>
                      <a:pt x="46" y="18"/>
                    </a:cubicBezTo>
                    <a:cubicBezTo>
                      <a:pt x="47" y="14"/>
                      <a:pt x="47" y="14"/>
                      <a:pt x="47" y="14"/>
                    </a:cubicBezTo>
                    <a:cubicBezTo>
                      <a:pt x="47" y="9"/>
                      <a:pt x="47" y="9"/>
                      <a:pt x="47" y="9"/>
                    </a:cubicBezTo>
                    <a:cubicBezTo>
                      <a:pt x="51" y="3"/>
                      <a:pt x="51" y="3"/>
                      <a:pt x="51" y="3"/>
                    </a:cubicBezTo>
                    <a:cubicBezTo>
                      <a:pt x="51" y="1"/>
                      <a:pt x="51" y="1"/>
                      <a:pt x="51" y="1"/>
                    </a:cubicBezTo>
                    <a:cubicBezTo>
                      <a:pt x="51" y="0"/>
                      <a:pt x="51" y="0"/>
                      <a:pt x="51" y="0"/>
                    </a:cubicBezTo>
                    <a:cubicBezTo>
                      <a:pt x="49" y="0"/>
                      <a:pt x="49" y="0"/>
                      <a:pt x="49" y="0"/>
                    </a:cubicBezTo>
                    <a:lnTo>
                      <a:pt x="4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0" name="Freeform 919">
                <a:extLst>
                  <a:ext uri="{FF2B5EF4-FFF2-40B4-BE49-F238E27FC236}">
                    <a16:creationId xmlns:a16="http://schemas.microsoft.com/office/drawing/2014/main" id="{78AA707C-28F7-F8FD-D0BD-3A044A8176BF}"/>
                  </a:ext>
                </a:extLst>
              </p:cNvPr>
              <p:cNvSpPr>
                <a:spLocks/>
              </p:cNvSpPr>
              <p:nvPr/>
            </p:nvSpPr>
            <p:spPr bwMode="auto">
              <a:xfrm>
                <a:off x="5716588" y="4737100"/>
                <a:ext cx="541337" cy="538163"/>
              </a:xfrm>
              <a:custGeom>
                <a:avLst/>
                <a:gdLst>
                  <a:gd name="T0" fmla="*/ 122 w 130"/>
                  <a:gd name="T1" fmla="*/ 10 h 129"/>
                  <a:gd name="T2" fmla="*/ 120 w 130"/>
                  <a:gd name="T3" fmla="*/ 6 h 129"/>
                  <a:gd name="T4" fmla="*/ 116 w 130"/>
                  <a:gd name="T5" fmla="*/ 7 h 129"/>
                  <a:gd name="T6" fmla="*/ 106 w 130"/>
                  <a:gd name="T7" fmla="*/ 6 h 129"/>
                  <a:gd name="T8" fmla="*/ 101 w 130"/>
                  <a:gd name="T9" fmla="*/ 1 h 129"/>
                  <a:gd name="T10" fmla="*/ 95 w 130"/>
                  <a:gd name="T11" fmla="*/ 1 h 129"/>
                  <a:gd name="T12" fmla="*/ 89 w 130"/>
                  <a:gd name="T13" fmla="*/ 0 h 129"/>
                  <a:gd name="T14" fmla="*/ 85 w 130"/>
                  <a:gd name="T15" fmla="*/ 4 h 129"/>
                  <a:gd name="T16" fmla="*/ 76 w 130"/>
                  <a:gd name="T17" fmla="*/ 6 h 129"/>
                  <a:gd name="T18" fmla="*/ 62 w 130"/>
                  <a:gd name="T19" fmla="*/ 8 h 129"/>
                  <a:gd name="T20" fmla="*/ 50 w 130"/>
                  <a:gd name="T21" fmla="*/ 2 h 129"/>
                  <a:gd name="T22" fmla="*/ 43 w 130"/>
                  <a:gd name="T23" fmla="*/ 7 h 129"/>
                  <a:gd name="T24" fmla="*/ 44 w 130"/>
                  <a:gd name="T25" fmla="*/ 15 h 129"/>
                  <a:gd name="T26" fmla="*/ 39 w 130"/>
                  <a:gd name="T27" fmla="*/ 30 h 129"/>
                  <a:gd name="T28" fmla="*/ 38 w 130"/>
                  <a:gd name="T29" fmla="*/ 40 h 129"/>
                  <a:gd name="T30" fmla="*/ 32 w 130"/>
                  <a:gd name="T31" fmla="*/ 46 h 129"/>
                  <a:gd name="T32" fmla="*/ 27 w 130"/>
                  <a:gd name="T33" fmla="*/ 53 h 129"/>
                  <a:gd name="T34" fmla="*/ 26 w 130"/>
                  <a:gd name="T35" fmla="*/ 63 h 129"/>
                  <a:gd name="T36" fmla="*/ 22 w 130"/>
                  <a:gd name="T37" fmla="*/ 66 h 129"/>
                  <a:gd name="T38" fmla="*/ 15 w 130"/>
                  <a:gd name="T39" fmla="*/ 70 h 129"/>
                  <a:gd name="T40" fmla="*/ 11 w 130"/>
                  <a:gd name="T41" fmla="*/ 67 h 129"/>
                  <a:gd name="T42" fmla="*/ 7 w 130"/>
                  <a:gd name="T43" fmla="*/ 68 h 129"/>
                  <a:gd name="T44" fmla="*/ 2 w 130"/>
                  <a:gd name="T45" fmla="*/ 76 h 129"/>
                  <a:gd name="T46" fmla="*/ 1 w 130"/>
                  <a:gd name="T47" fmla="*/ 77 h 129"/>
                  <a:gd name="T48" fmla="*/ 29 w 130"/>
                  <a:gd name="T49" fmla="*/ 76 h 129"/>
                  <a:gd name="T50" fmla="*/ 32 w 130"/>
                  <a:gd name="T51" fmla="*/ 85 h 129"/>
                  <a:gd name="T52" fmla="*/ 40 w 130"/>
                  <a:gd name="T53" fmla="*/ 92 h 129"/>
                  <a:gd name="T54" fmla="*/ 49 w 130"/>
                  <a:gd name="T55" fmla="*/ 91 h 129"/>
                  <a:gd name="T56" fmla="*/ 57 w 130"/>
                  <a:gd name="T57" fmla="*/ 86 h 129"/>
                  <a:gd name="T58" fmla="*/ 66 w 130"/>
                  <a:gd name="T59" fmla="*/ 94 h 129"/>
                  <a:gd name="T60" fmla="*/ 65 w 130"/>
                  <a:gd name="T61" fmla="*/ 101 h 129"/>
                  <a:gd name="T62" fmla="*/ 69 w 130"/>
                  <a:gd name="T63" fmla="*/ 110 h 129"/>
                  <a:gd name="T64" fmla="*/ 68 w 130"/>
                  <a:gd name="T65" fmla="*/ 113 h 129"/>
                  <a:gd name="T66" fmla="*/ 72 w 130"/>
                  <a:gd name="T67" fmla="*/ 112 h 129"/>
                  <a:gd name="T68" fmla="*/ 76 w 130"/>
                  <a:gd name="T69" fmla="*/ 111 h 129"/>
                  <a:gd name="T70" fmla="*/ 79 w 130"/>
                  <a:gd name="T71" fmla="*/ 112 h 129"/>
                  <a:gd name="T72" fmla="*/ 82 w 130"/>
                  <a:gd name="T73" fmla="*/ 114 h 129"/>
                  <a:gd name="T74" fmla="*/ 84 w 130"/>
                  <a:gd name="T75" fmla="*/ 115 h 129"/>
                  <a:gd name="T76" fmla="*/ 91 w 130"/>
                  <a:gd name="T77" fmla="*/ 117 h 129"/>
                  <a:gd name="T78" fmla="*/ 100 w 130"/>
                  <a:gd name="T79" fmla="*/ 118 h 129"/>
                  <a:gd name="T80" fmla="*/ 102 w 130"/>
                  <a:gd name="T81" fmla="*/ 116 h 129"/>
                  <a:gd name="T82" fmla="*/ 107 w 130"/>
                  <a:gd name="T83" fmla="*/ 120 h 129"/>
                  <a:gd name="T84" fmla="*/ 111 w 130"/>
                  <a:gd name="T85" fmla="*/ 124 h 129"/>
                  <a:gd name="T86" fmla="*/ 115 w 130"/>
                  <a:gd name="T87" fmla="*/ 129 h 129"/>
                  <a:gd name="T88" fmla="*/ 119 w 130"/>
                  <a:gd name="T89" fmla="*/ 127 h 129"/>
                  <a:gd name="T90" fmla="*/ 119 w 130"/>
                  <a:gd name="T91" fmla="*/ 129 h 129"/>
                  <a:gd name="T92" fmla="*/ 117 w 130"/>
                  <a:gd name="T93" fmla="*/ 120 h 129"/>
                  <a:gd name="T94" fmla="*/ 113 w 130"/>
                  <a:gd name="T95" fmla="*/ 119 h 129"/>
                  <a:gd name="T96" fmla="*/ 112 w 130"/>
                  <a:gd name="T97" fmla="*/ 109 h 129"/>
                  <a:gd name="T98" fmla="*/ 112 w 130"/>
                  <a:gd name="T99" fmla="*/ 106 h 129"/>
                  <a:gd name="T100" fmla="*/ 112 w 130"/>
                  <a:gd name="T101" fmla="*/ 103 h 129"/>
                  <a:gd name="T102" fmla="*/ 114 w 130"/>
                  <a:gd name="T103" fmla="*/ 95 h 129"/>
                  <a:gd name="T104" fmla="*/ 126 w 130"/>
                  <a:gd name="T105" fmla="*/ 93 h 129"/>
                  <a:gd name="T106" fmla="*/ 118 w 130"/>
                  <a:gd name="T107" fmla="*/ 77 h 129"/>
                  <a:gd name="T108" fmla="*/ 117 w 130"/>
                  <a:gd name="T109" fmla="*/ 67 h 129"/>
                  <a:gd name="T110" fmla="*/ 114 w 130"/>
                  <a:gd name="T111" fmla="*/ 55 h 129"/>
                  <a:gd name="T112" fmla="*/ 115 w 130"/>
                  <a:gd name="T113" fmla="*/ 51 h 129"/>
                  <a:gd name="T114" fmla="*/ 119 w 130"/>
                  <a:gd name="T115" fmla="*/ 46 h 129"/>
                  <a:gd name="T116" fmla="*/ 130 w 130"/>
                  <a:gd name="T117" fmla="*/ 22 h 129"/>
                  <a:gd name="T118" fmla="*/ 127 w 130"/>
                  <a:gd name="T119" fmla="*/ 18 h 129"/>
                  <a:gd name="T120" fmla="*/ 127 w 130"/>
                  <a:gd name="T121" fmla="*/ 14 h 129"/>
                  <a:gd name="T122" fmla="*/ 125 w 130"/>
                  <a:gd name="T123"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129">
                    <a:moveTo>
                      <a:pt x="125" y="12"/>
                    </a:moveTo>
                    <a:cubicBezTo>
                      <a:pt x="125" y="10"/>
                      <a:pt x="125" y="10"/>
                      <a:pt x="125" y="10"/>
                    </a:cubicBezTo>
                    <a:cubicBezTo>
                      <a:pt x="122" y="10"/>
                      <a:pt x="122" y="10"/>
                      <a:pt x="122" y="10"/>
                    </a:cubicBezTo>
                    <a:cubicBezTo>
                      <a:pt x="122" y="9"/>
                      <a:pt x="122" y="9"/>
                      <a:pt x="122" y="9"/>
                    </a:cubicBezTo>
                    <a:cubicBezTo>
                      <a:pt x="120" y="7"/>
                      <a:pt x="120" y="7"/>
                      <a:pt x="120" y="7"/>
                    </a:cubicBezTo>
                    <a:cubicBezTo>
                      <a:pt x="120" y="6"/>
                      <a:pt x="120" y="6"/>
                      <a:pt x="120" y="6"/>
                    </a:cubicBezTo>
                    <a:cubicBezTo>
                      <a:pt x="118" y="5"/>
                      <a:pt x="118" y="5"/>
                      <a:pt x="118" y="5"/>
                    </a:cubicBezTo>
                    <a:cubicBezTo>
                      <a:pt x="117" y="7"/>
                      <a:pt x="117" y="7"/>
                      <a:pt x="117" y="7"/>
                    </a:cubicBezTo>
                    <a:cubicBezTo>
                      <a:pt x="116" y="7"/>
                      <a:pt x="116" y="7"/>
                      <a:pt x="116" y="7"/>
                    </a:cubicBezTo>
                    <a:cubicBezTo>
                      <a:pt x="113" y="6"/>
                      <a:pt x="113" y="6"/>
                      <a:pt x="113" y="6"/>
                    </a:cubicBezTo>
                    <a:cubicBezTo>
                      <a:pt x="110" y="8"/>
                      <a:pt x="110" y="8"/>
                      <a:pt x="110" y="8"/>
                    </a:cubicBezTo>
                    <a:cubicBezTo>
                      <a:pt x="106" y="6"/>
                      <a:pt x="106" y="6"/>
                      <a:pt x="106" y="6"/>
                    </a:cubicBezTo>
                    <a:cubicBezTo>
                      <a:pt x="106" y="4"/>
                      <a:pt x="106" y="4"/>
                      <a:pt x="106" y="4"/>
                    </a:cubicBezTo>
                    <a:cubicBezTo>
                      <a:pt x="103" y="2"/>
                      <a:pt x="103" y="2"/>
                      <a:pt x="103" y="2"/>
                    </a:cubicBezTo>
                    <a:cubicBezTo>
                      <a:pt x="103" y="2"/>
                      <a:pt x="102" y="1"/>
                      <a:pt x="101" y="1"/>
                    </a:cubicBezTo>
                    <a:cubicBezTo>
                      <a:pt x="101" y="1"/>
                      <a:pt x="100" y="3"/>
                      <a:pt x="100" y="3"/>
                    </a:cubicBezTo>
                    <a:cubicBezTo>
                      <a:pt x="97" y="3"/>
                      <a:pt x="97" y="3"/>
                      <a:pt x="97" y="3"/>
                    </a:cubicBezTo>
                    <a:cubicBezTo>
                      <a:pt x="95" y="1"/>
                      <a:pt x="95" y="1"/>
                      <a:pt x="95" y="1"/>
                    </a:cubicBezTo>
                    <a:cubicBezTo>
                      <a:pt x="93" y="1"/>
                      <a:pt x="93" y="1"/>
                      <a:pt x="93" y="1"/>
                    </a:cubicBezTo>
                    <a:cubicBezTo>
                      <a:pt x="91" y="0"/>
                      <a:pt x="91" y="0"/>
                      <a:pt x="91" y="0"/>
                    </a:cubicBezTo>
                    <a:cubicBezTo>
                      <a:pt x="89" y="0"/>
                      <a:pt x="89" y="0"/>
                      <a:pt x="89" y="0"/>
                    </a:cubicBezTo>
                    <a:cubicBezTo>
                      <a:pt x="89" y="2"/>
                      <a:pt x="89" y="2"/>
                      <a:pt x="89" y="2"/>
                    </a:cubicBezTo>
                    <a:cubicBezTo>
                      <a:pt x="88" y="3"/>
                      <a:pt x="88" y="3"/>
                      <a:pt x="88" y="3"/>
                    </a:cubicBezTo>
                    <a:cubicBezTo>
                      <a:pt x="85" y="4"/>
                      <a:pt x="85" y="4"/>
                      <a:pt x="85" y="4"/>
                    </a:cubicBezTo>
                    <a:cubicBezTo>
                      <a:pt x="83" y="2"/>
                      <a:pt x="83" y="2"/>
                      <a:pt x="83" y="2"/>
                    </a:cubicBezTo>
                    <a:cubicBezTo>
                      <a:pt x="82" y="3"/>
                      <a:pt x="82" y="3"/>
                      <a:pt x="82" y="3"/>
                    </a:cubicBezTo>
                    <a:cubicBezTo>
                      <a:pt x="76" y="6"/>
                      <a:pt x="76" y="6"/>
                      <a:pt x="76" y="6"/>
                    </a:cubicBezTo>
                    <a:cubicBezTo>
                      <a:pt x="73" y="4"/>
                      <a:pt x="73" y="4"/>
                      <a:pt x="73" y="4"/>
                    </a:cubicBezTo>
                    <a:cubicBezTo>
                      <a:pt x="70" y="8"/>
                      <a:pt x="70" y="8"/>
                      <a:pt x="70" y="8"/>
                    </a:cubicBezTo>
                    <a:cubicBezTo>
                      <a:pt x="62" y="8"/>
                      <a:pt x="62" y="8"/>
                      <a:pt x="62" y="8"/>
                    </a:cubicBezTo>
                    <a:cubicBezTo>
                      <a:pt x="57" y="6"/>
                      <a:pt x="57" y="6"/>
                      <a:pt x="57" y="6"/>
                    </a:cubicBezTo>
                    <a:cubicBezTo>
                      <a:pt x="54" y="3"/>
                      <a:pt x="54" y="3"/>
                      <a:pt x="54" y="3"/>
                    </a:cubicBezTo>
                    <a:cubicBezTo>
                      <a:pt x="50" y="2"/>
                      <a:pt x="50" y="2"/>
                      <a:pt x="50" y="2"/>
                    </a:cubicBezTo>
                    <a:cubicBezTo>
                      <a:pt x="47" y="3"/>
                      <a:pt x="47" y="3"/>
                      <a:pt x="47" y="3"/>
                    </a:cubicBezTo>
                    <a:cubicBezTo>
                      <a:pt x="45" y="6"/>
                      <a:pt x="45" y="6"/>
                      <a:pt x="45" y="6"/>
                    </a:cubicBezTo>
                    <a:cubicBezTo>
                      <a:pt x="43" y="7"/>
                      <a:pt x="43" y="7"/>
                      <a:pt x="43" y="7"/>
                    </a:cubicBezTo>
                    <a:cubicBezTo>
                      <a:pt x="44" y="12"/>
                      <a:pt x="44" y="12"/>
                      <a:pt x="44" y="12"/>
                    </a:cubicBezTo>
                    <a:cubicBezTo>
                      <a:pt x="44" y="13"/>
                      <a:pt x="44" y="13"/>
                      <a:pt x="44" y="13"/>
                    </a:cubicBezTo>
                    <a:cubicBezTo>
                      <a:pt x="44" y="15"/>
                      <a:pt x="44" y="15"/>
                      <a:pt x="44" y="15"/>
                    </a:cubicBezTo>
                    <a:cubicBezTo>
                      <a:pt x="40" y="21"/>
                      <a:pt x="40" y="21"/>
                      <a:pt x="40" y="21"/>
                    </a:cubicBezTo>
                    <a:cubicBezTo>
                      <a:pt x="40" y="26"/>
                      <a:pt x="40" y="26"/>
                      <a:pt x="40" y="26"/>
                    </a:cubicBezTo>
                    <a:cubicBezTo>
                      <a:pt x="39" y="30"/>
                      <a:pt x="39" y="30"/>
                      <a:pt x="39" y="30"/>
                    </a:cubicBezTo>
                    <a:cubicBezTo>
                      <a:pt x="39" y="34"/>
                      <a:pt x="39" y="34"/>
                      <a:pt x="39" y="34"/>
                    </a:cubicBezTo>
                    <a:cubicBezTo>
                      <a:pt x="38" y="37"/>
                      <a:pt x="38" y="37"/>
                      <a:pt x="38" y="37"/>
                    </a:cubicBezTo>
                    <a:cubicBezTo>
                      <a:pt x="38" y="40"/>
                      <a:pt x="38" y="40"/>
                      <a:pt x="38" y="40"/>
                    </a:cubicBezTo>
                    <a:cubicBezTo>
                      <a:pt x="38" y="40"/>
                      <a:pt x="36" y="42"/>
                      <a:pt x="36" y="42"/>
                    </a:cubicBezTo>
                    <a:cubicBezTo>
                      <a:pt x="36" y="42"/>
                      <a:pt x="33" y="44"/>
                      <a:pt x="33" y="44"/>
                    </a:cubicBezTo>
                    <a:cubicBezTo>
                      <a:pt x="33" y="44"/>
                      <a:pt x="32" y="46"/>
                      <a:pt x="32" y="46"/>
                    </a:cubicBezTo>
                    <a:cubicBezTo>
                      <a:pt x="32" y="46"/>
                      <a:pt x="30" y="50"/>
                      <a:pt x="30" y="50"/>
                    </a:cubicBezTo>
                    <a:cubicBezTo>
                      <a:pt x="28" y="51"/>
                      <a:pt x="28" y="51"/>
                      <a:pt x="28" y="51"/>
                    </a:cubicBezTo>
                    <a:cubicBezTo>
                      <a:pt x="27" y="53"/>
                      <a:pt x="27" y="53"/>
                      <a:pt x="27" y="53"/>
                    </a:cubicBezTo>
                    <a:cubicBezTo>
                      <a:pt x="28" y="54"/>
                      <a:pt x="28" y="54"/>
                      <a:pt x="28" y="54"/>
                    </a:cubicBezTo>
                    <a:cubicBezTo>
                      <a:pt x="28" y="59"/>
                      <a:pt x="28" y="59"/>
                      <a:pt x="28" y="59"/>
                    </a:cubicBezTo>
                    <a:cubicBezTo>
                      <a:pt x="26" y="63"/>
                      <a:pt x="26" y="63"/>
                      <a:pt x="26" y="63"/>
                    </a:cubicBezTo>
                    <a:cubicBezTo>
                      <a:pt x="23" y="64"/>
                      <a:pt x="23" y="64"/>
                      <a:pt x="23" y="64"/>
                    </a:cubicBezTo>
                    <a:cubicBezTo>
                      <a:pt x="23" y="65"/>
                      <a:pt x="23" y="65"/>
                      <a:pt x="23" y="65"/>
                    </a:cubicBezTo>
                    <a:cubicBezTo>
                      <a:pt x="22" y="66"/>
                      <a:pt x="22" y="66"/>
                      <a:pt x="22" y="66"/>
                    </a:cubicBezTo>
                    <a:cubicBezTo>
                      <a:pt x="21" y="66"/>
                      <a:pt x="21" y="66"/>
                      <a:pt x="21" y="66"/>
                    </a:cubicBezTo>
                    <a:cubicBezTo>
                      <a:pt x="18" y="69"/>
                      <a:pt x="18" y="69"/>
                      <a:pt x="18" y="69"/>
                    </a:cubicBezTo>
                    <a:cubicBezTo>
                      <a:pt x="15" y="70"/>
                      <a:pt x="15" y="70"/>
                      <a:pt x="15" y="70"/>
                    </a:cubicBezTo>
                    <a:cubicBezTo>
                      <a:pt x="15" y="66"/>
                      <a:pt x="15" y="66"/>
                      <a:pt x="15" y="66"/>
                    </a:cubicBezTo>
                    <a:cubicBezTo>
                      <a:pt x="11" y="67"/>
                      <a:pt x="11" y="67"/>
                      <a:pt x="11" y="67"/>
                    </a:cubicBezTo>
                    <a:cubicBezTo>
                      <a:pt x="11" y="67"/>
                      <a:pt x="11" y="67"/>
                      <a:pt x="11" y="67"/>
                    </a:cubicBezTo>
                    <a:cubicBezTo>
                      <a:pt x="11" y="69"/>
                      <a:pt x="11" y="69"/>
                      <a:pt x="11" y="69"/>
                    </a:cubicBezTo>
                    <a:cubicBezTo>
                      <a:pt x="9" y="70"/>
                      <a:pt x="9" y="70"/>
                      <a:pt x="9" y="70"/>
                    </a:cubicBezTo>
                    <a:cubicBezTo>
                      <a:pt x="7" y="68"/>
                      <a:pt x="7" y="68"/>
                      <a:pt x="7" y="68"/>
                    </a:cubicBezTo>
                    <a:cubicBezTo>
                      <a:pt x="2" y="71"/>
                      <a:pt x="2" y="71"/>
                      <a:pt x="2" y="71"/>
                    </a:cubicBezTo>
                    <a:cubicBezTo>
                      <a:pt x="2" y="72"/>
                      <a:pt x="2" y="72"/>
                      <a:pt x="2" y="72"/>
                    </a:cubicBezTo>
                    <a:cubicBezTo>
                      <a:pt x="2" y="76"/>
                      <a:pt x="2" y="76"/>
                      <a:pt x="2" y="76"/>
                    </a:cubicBezTo>
                    <a:cubicBezTo>
                      <a:pt x="1" y="76"/>
                      <a:pt x="1" y="76"/>
                      <a:pt x="1" y="76"/>
                    </a:cubicBezTo>
                    <a:cubicBezTo>
                      <a:pt x="1" y="76"/>
                      <a:pt x="1" y="76"/>
                      <a:pt x="1" y="76"/>
                    </a:cubicBezTo>
                    <a:cubicBezTo>
                      <a:pt x="0" y="76"/>
                      <a:pt x="0" y="76"/>
                      <a:pt x="1" y="77"/>
                    </a:cubicBezTo>
                    <a:cubicBezTo>
                      <a:pt x="1" y="77"/>
                      <a:pt x="2" y="77"/>
                      <a:pt x="2" y="78"/>
                    </a:cubicBezTo>
                    <a:cubicBezTo>
                      <a:pt x="6" y="76"/>
                      <a:pt x="6" y="76"/>
                      <a:pt x="6" y="76"/>
                    </a:cubicBezTo>
                    <a:cubicBezTo>
                      <a:pt x="29" y="76"/>
                      <a:pt x="29" y="76"/>
                      <a:pt x="29" y="76"/>
                    </a:cubicBezTo>
                    <a:cubicBezTo>
                      <a:pt x="31" y="79"/>
                      <a:pt x="31" y="79"/>
                      <a:pt x="31" y="79"/>
                    </a:cubicBezTo>
                    <a:cubicBezTo>
                      <a:pt x="31" y="80"/>
                      <a:pt x="31" y="80"/>
                      <a:pt x="31" y="80"/>
                    </a:cubicBezTo>
                    <a:cubicBezTo>
                      <a:pt x="32" y="85"/>
                      <a:pt x="32" y="85"/>
                      <a:pt x="32" y="85"/>
                    </a:cubicBezTo>
                    <a:cubicBezTo>
                      <a:pt x="34" y="88"/>
                      <a:pt x="34" y="88"/>
                      <a:pt x="34" y="88"/>
                    </a:cubicBezTo>
                    <a:cubicBezTo>
                      <a:pt x="36" y="92"/>
                      <a:pt x="36" y="92"/>
                      <a:pt x="36" y="92"/>
                    </a:cubicBezTo>
                    <a:cubicBezTo>
                      <a:pt x="40" y="92"/>
                      <a:pt x="40" y="92"/>
                      <a:pt x="40" y="92"/>
                    </a:cubicBezTo>
                    <a:cubicBezTo>
                      <a:pt x="43" y="90"/>
                      <a:pt x="43" y="90"/>
                      <a:pt x="43" y="90"/>
                    </a:cubicBezTo>
                    <a:cubicBezTo>
                      <a:pt x="46" y="91"/>
                      <a:pt x="46" y="91"/>
                      <a:pt x="46" y="91"/>
                    </a:cubicBezTo>
                    <a:cubicBezTo>
                      <a:pt x="49" y="91"/>
                      <a:pt x="49" y="91"/>
                      <a:pt x="49" y="91"/>
                    </a:cubicBezTo>
                    <a:cubicBezTo>
                      <a:pt x="50" y="84"/>
                      <a:pt x="50" y="84"/>
                      <a:pt x="50" y="84"/>
                    </a:cubicBezTo>
                    <a:cubicBezTo>
                      <a:pt x="58" y="84"/>
                      <a:pt x="58" y="84"/>
                      <a:pt x="58" y="84"/>
                    </a:cubicBezTo>
                    <a:cubicBezTo>
                      <a:pt x="57" y="86"/>
                      <a:pt x="57" y="86"/>
                      <a:pt x="57" y="86"/>
                    </a:cubicBezTo>
                    <a:cubicBezTo>
                      <a:pt x="65" y="86"/>
                      <a:pt x="65" y="86"/>
                      <a:pt x="65" y="86"/>
                    </a:cubicBezTo>
                    <a:cubicBezTo>
                      <a:pt x="65" y="91"/>
                      <a:pt x="65" y="91"/>
                      <a:pt x="65" y="91"/>
                    </a:cubicBezTo>
                    <a:cubicBezTo>
                      <a:pt x="66" y="94"/>
                      <a:pt x="66" y="94"/>
                      <a:pt x="66" y="94"/>
                    </a:cubicBezTo>
                    <a:cubicBezTo>
                      <a:pt x="66" y="99"/>
                      <a:pt x="66" y="99"/>
                      <a:pt x="66" y="99"/>
                    </a:cubicBezTo>
                    <a:cubicBezTo>
                      <a:pt x="65" y="100"/>
                      <a:pt x="65" y="100"/>
                      <a:pt x="65" y="100"/>
                    </a:cubicBezTo>
                    <a:cubicBezTo>
                      <a:pt x="65" y="101"/>
                      <a:pt x="65" y="101"/>
                      <a:pt x="65" y="101"/>
                    </a:cubicBezTo>
                    <a:cubicBezTo>
                      <a:pt x="68" y="104"/>
                      <a:pt x="68" y="104"/>
                      <a:pt x="68" y="104"/>
                    </a:cubicBezTo>
                    <a:cubicBezTo>
                      <a:pt x="69" y="107"/>
                      <a:pt x="69" y="107"/>
                      <a:pt x="69" y="107"/>
                    </a:cubicBezTo>
                    <a:cubicBezTo>
                      <a:pt x="69" y="110"/>
                      <a:pt x="69" y="110"/>
                      <a:pt x="69" y="110"/>
                    </a:cubicBezTo>
                    <a:cubicBezTo>
                      <a:pt x="68" y="111"/>
                      <a:pt x="68" y="111"/>
                      <a:pt x="68" y="111"/>
                    </a:cubicBezTo>
                    <a:cubicBezTo>
                      <a:pt x="68" y="112"/>
                      <a:pt x="68" y="112"/>
                      <a:pt x="68" y="112"/>
                    </a:cubicBezTo>
                    <a:cubicBezTo>
                      <a:pt x="68" y="113"/>
                      <a:pt x="68" y="113"/>
                      <a:pt x="68" y="113"/>
                    </a:cubicBezTo>
                    <a:cubicBezTo>
                      <a:pt x="69" y="114"/>
                      <a:pt x="69" y="114"/>
                      <a:pt x="69" y="114"/>
                    </a:cubicBezTo>
                    <a:cubicBezTo>
                      <a:pt x="70" y="112"/>
                      <a:pt x="70" y="112"/>
                      <a:pt x="70" y="112"/>
                    </a:cubicBezTo>
                    <a:cubicBezTo>
                      <a:pt x="72" y="112"/>
                      <a:pt x="72" y="112"/>
                      <a:pt x="72" y="112"/>
                    </a:cubicBezTo>
                    <a:cubicBezTo>
                      <a:pt x="72" y="112"/>
                      <a:pt x="72" y="112"/>
                      <a:pt x="72" y="112"/>
                    </a:cubicBezTo>
                    <a:cubicBezTo>
                      <a:pt x="75" y="112"/>
                      <a:pt x="75" y="112"/>
                      <a:pt x="75" y="112"/>
                    </a:cubicBezTo>
                    <a:cubicBezTo>
                      <a:pt x="76" y="111"/>
                      <a:pt x="76" y="111"/>
                      <a:pt x="76" y="111"/>
                    </a:cubicBezTo>
                    <a:cubicBezTo>
                      <a:pt x="77" y="111"/>
                      <a:pt x="77" y="111"/>
                      <a:pt x="77" y="111"/>
                    </a:cubicBezTo>
                    <a:cubicBezTo>
                      <a:pt x="77" y="111"/>
                      <a:pt x="78" y="112"/>
                      <a:pt x="78" y="112"/>
                    </a:cubicBezTo>
                    <a:cubicBezTo>
                      <a:pt x="78" y="112"/>
                      <a:pt x="79" y="112"/>
                      <a:pt x="79" y="112"/>
                    </a:cubicBezTo>
                    <a:cubicBezTo>
                      <a:pt x="81" y="111"/>
                      <a:pt x="81" y="111"/>
                      <a:pt x="81" y="111"/>
                    </a:cubicBezTo>
                    <a:cubicBezTo>
                      <a:pt x="83" y="112"/>
                      <a:pt x="83" y="112"/>
                      <a:pt x="83" y="112"/>
                    </a:cubicBezTo>
                    <a:cubicBezTo>
                      <a:pt x="82" y="114"/>
                      <a:pt x="82" y="114"/>
                      <a:pt x="82" y="114"/>
                    </a:cubicBezTo>
                    <a:cubicBezTo>
                      <a:pt x="82" y="115"/>
                      <a:pt x="82" y="115"/>
                      <a:pt x="82" y="115"/>
                    </a:cubicBezTo>
                    <a:cubicBezTo>
                      <a:pt x="83" y="115"/>
                      <a:pt x="83" y="115"/>
                      <a:pt x="83" y="115"/>
                    </a:cubicBezTo>
                    <a:cubicBezTo>
                      <a:pt x="84" y="115"/>
                      <a:pt x="84" y="115"/>
                      <a:pt x="84" y="115"/>
                    </a:cubicBezTo>
                    <a:cubicBezTo>
                      <a:pt x="90" y="113"/>
                      <a:pt x="90" y="113"/>
                      <a:pt x="90" y="113"/>
                    </a:cubicBezTo>
                    <a:cubicBezTo>
                      <a:pt x="90" y="116"/>
                      <a:pt x="90" y="116"/>
                      <a:pt x="90" y="116"/>
                    </a:cubicBezTo>
                    <a:cubicBezTo>
                      <a:pt x="91" y="117"/>
                      <a:pt x="91" y="117"/>
                      <a:pt x="91" y="117"/>
                    </a:cubicBezTo>
                    <a:cubicBezTo>
                      <a:pt x="93" y="117"/>
                      <a:pt x="93" y="117"/>
                      <a:pt x="93" y="117"/>
                    </a:cubicBezTo>
                    <a:cubicBezTo>
                      <a:pt x="94" y="118"/>
                      <a:pt x="94" y="118"/>
                      <a:pt x="94" y="118"/>
                    </a:cubicBezTo>
                    <a:cubicBezTo>
                      <a:pt x="100" y="118"/>
                      <a:pt x="100" y="118"/>
                      <a:pt x="100" y="118"/>
                    </a:cubicBezTo>
                    <a:cubicBezTo>
                      <a:pt x="101" y="118"/>
                      <a:pt x="101" y="118"/>
                      <a:pt x="101" y="118"/>
                    </a:cubicBezTo>
                    <a:cubicBezTo>
                      <a:pt x="101" y="116"/>
                      <a:pt x="101" y="116"/>
                      <a:pt x="101" y="116"/>
                    </a:cubicBezTo>
                    <a:cubicBezTo>
                      <a:pt x="102" y="116"/>
                      <a:pt x="102" y="116"/>
                      <a:pt x="102" y="116"/>
                    </a:cubicBezTo>
                    <a:cubicBezTo>
                      <a:pt x="102" y="118"/>
                      <a:pt x="102" y="118"/>
                      <a:pt x="102" y="118"/>
                    </a:cubicBezTo>
                    <a:cubicBezTo>
                      <a:pt x="105" y="120"/>
                      <a:pt x="105" y="120"/>
                      <a:pt x="105" y="120"/>
                    </a:cubicBezTo>
                    <a:cubicBezTo>
                      <a:pt x="107" y="120"/>
                      <a:pt x="107" y="120"/>
                      <a:pt x="107" y="120"/>
                    </a:cubicBezTo>
                    <a:cubicBezTo>
                      <a:pt x="109" y="122"/>
                      <a:pt x="109" y="122"/>
                      <a:pt x="109" y="122"/>
                    </a:cubicBezTo>
                    <a:cubicBezTo>
                      <a:pt x="111" y="122"/>
                      <a:pt x="111" y="122"/>
                      <a:pt x="111" y="122"/>
                    </a:cubicBezTo>
                    <a:cubicBezTo>
                      <a:pt x="111" y="124"/>
                      <a:pt x="111" y="124"/>
                      <a:pt x="111" y="124"/>
                    </a:cubicBezTo>
                    <a:cubicBezTo>
                      <a:pt x="113" y="125"/>
                      <a:pt x="113" y="125"/>
                      <a:pt x="113" y="125"/>
                    </a:cubicBezTo>
                    <a:cubicBezTo>
                      <a:pt x="113" y="127"/>
                      <a:pt x="113" y="127"/>
                      <a:pt x="113" y="127"/>
                    </a:cubicBezTo>
                    <a:cubicBezTo>
                      <a:pt x="115" y="129"/>
                      <a:pt x="115" y="129"/>
                      <a:pt x="115" y="129"/>
                    </a:cubicBezTo>
                    <a:cubicBezTo>
                      <a:pt x="116" y="129"/>
                      <a:pt x="116" y="129"/>
                      <a:pt x="116" y="129"/>
                    </a:cubicBezTo>
                    <a:cubicBezTo>
                      <a:pt x="118" y="127"/>
                      <a:pt x="118" y="127"/>
                      <a:pt x="118" y="127"/>
                    </a:cubicBezTo>
                    <a:cubicBezTo>
                      <a:pt x="119" y="127"/>
                      <a:pt x="119" y="127"/>
                      <a:pt x="119" y="127"/>
                    </a:cubicBezTo>
                    <a:cubicBezTo>
                      <a:pt x="119" y="128"/>
                      <a:pt x="119" y="128"/>
                      <a:pt x="119" y="128"/>
                    </a:cubicBezTo>
                    <a:cubicBezTo>
                      <a:pt x="119" y="128"/>
                      <a:pt x="119" y="128"/>
                      <a:pt x="119" y="128"/>
                    </a:cubicBezTo>
                    <a:cubicBezTo>
                      <a:pt x="119" y="129"/>
                      <a:pt x="119" y="129"/>
                      <a:pt x="119" y="129"/>
                    </a:cubicBezTo>
                    <a:cubicBezTo>
                      <a:pt x="120" y="129"/>
                      <a:pt x="120" y="129"/>
                      <a:pt x="120" y="129"/>
                    </a:cubicBezTo>
                    <a:cubicBezTo>
                      <a:pt x="120" y="120"/>
                      <a:pt x="120" y="120"/>
                      <a:pt x="120" y="120"/>
                    </a:cubicBezTo>
                    <a:cubicBezTo>
                      <a:pt x="117" y="120"/>
                      <a:pt x="117" y="120"/>
                      <a:pt x="117" y="120"/>
                    </a:cubicBezTo>
                    <a:cubicBezTo>
                      <a:pt x="117" y="122"/>
                      <a:pt x="117" y="122"/>
                      <a:pt x="117" y="122"/>
                    </a:cubicBezTo>
                    <a:cubicBezTo>
                      <a:pt x="114" y="121"/>
                      <a:pt x="114" y="121"/>
                      <a:pt x="114" y="121"/>
                    </a:cubicBezTo>
                    <a:cubicBezTo>
                      <a:pt x="113" y="119"/>
                      <a:pt x="113" y="119"/>
                      <a:pt x="113" y="119"/>
                    </a:cubicBezTo>
                    <a:cubicBezTo>
                      <a:pt x="110" y="118"/>
                      <a:pt x="110" y="118"/>
                      <a:pt x="110" y="118"/>
                    </a:cubicBezTo>
                    <a:cubicBezTo>
                      <a:pt x="110" y="115"/>
                      <a:pt x="110" y="115"/>
                      <a:pt x="110" y="115"/>
                    </a:cubicBezTo>
                    <a:cubicBezTo>
                      <a:pt x="112" y="109"/>
                      <a:pt x="112" y="109"/>
                      <a:pt x="112" y="109"/>
                    </a:cubicBezTo>
                    <a:cubicBezTo>
                      <a:pt x="112" y="108"/>
                      <a:pt x="112" y="108"/>
                      <a:pt x="112" y="108"/>
                    </a:cubicBezTo>
                    <a:cubicBezTo>
                      <a:pt x="111" y="107"/>
                      <a:pt x="111" y="107"/>
                      <a:pt x="111" y="107"/>
                    </a:cubicBezTo>
                    <a:cubicBezTo>
                      <a:pt x="112" y="106"/>
                      <a:pt x="112" y="106"/>
                      <a:pt x="112" y="106"/>
                    </a:cubicBezTo>
                    <a:cubicBezTo>
                      <a:pt x="112" y="104"/>
                      <a:pt x="112" y="104"/>
                      <a:pt x="112" y="104"/>
                    </a:cubicBezTo>
                    <a:cubicBezTo>
                      <a:pt x="112" y="104"/>
                      <a:pt x="112" y="104"/>
                      <a:pt x="112" y="104"/>
                    </a:cubicBezTo>
                    <a:cubicBezTo>
                      <a:pt x="112" y="103"/>
                      <a:pt x="112" y="103"/>
                      <a:pt x="112" y="103"/>
                    </a:cubicBezTo>
                    <a:cubicBezTo>
                      <a:pt x="110" y="100"/>
                      <a:pt x="110" y="100"/>
                      <a:pt x="110" y="100"/>
                    </a:cubicBezTo>
                    <a:cubicBezTo>
                      <a:pt x="114" y="96"/>
                      <a:pt x="114" y="96"/>
                      <a:pt x="114" y="96"/>
                    </a:cubicBezTo>
                    <a:cubicBezTo>
                      <a:pt x="114" y="95"/>
                      <a:pt x="114" y="95"/>
                      <a:pt x="114" y="95"/>
                    </a:cubicBezTo>
                    <a:cubicBezTo>
                      <a:pt x="114" y="95"/>
                      <a:pt x="114" y="95"/>
                      <a:pt x="114" y="95"/>
                    </a:cubicBezTo>
                    <a:cubicBezTo>
                      <a:pt x="114" y="94"/>
                      <a:pt x="114" y="94"/>
                      <a:pt x="114" y="94"/>
                    </a:cubicBezTo>
                    <a:cubicBezTo>
                      <a:pt x="126" y="93"/>
                      <a:pt x="126" y="93"/>
                      <a:pt x="126" y="93"/>
                    </a:cubicBezTo>
                    <a:cubicBezTo>
                      <a:pt x="123" y="85"/>
                      <a:pt x="123" y="85"/>
                      <a:pt x="123" y="85"/>
                    </a:cubicBezTo>
                    <a:cubicBezTo>
                      <a:pt x="118" y="79"/>
                      <a:pt x="118" y="79"/>
                      <a:pt x="118" y="79"/>
                    </a:cubicBezTo>
                    <a:cubicBezTo>
                      <a:pt x="118" y="77"/>
                      <a:pt x="118" y="77"/>
                      <a:pt x="118" y="77"/>
                    </a:cubicBezTo>
                    <a:cubicBezTo>
                      <a:pt x="119" y="75"/>
                      <a:pt x="119" y="75"/>
                      <a:pt x="119" y="75"/>
                    </a:cubicBezTo>
                    <a:cubicBezTo>
                      <a:pt x="117" y="71"/>
                      <a:pt x="117" y="71"/>
                      <a:pt x="117" y="71"/>
                    </a:cubicBezTo>
                    <a:cubicBezTo>
                      <a:pt x="117" y="67"/>
                      <a:pt x="117" y="67"/>
                      <a:pt x="117" y="67"/>
                    </a:cubicBezTo>
                    <a:cubicBezTo>
                      <a:pt x="116" y="63"/>
                      <a:pt x="116" y="63"/>
                      <a:pt x="116" y="63"/>
                    </a:cubicBezTo>
                    <a:cubicBezTo>
                      <a:pt x="116" y="58"/>
                      <a:pt x="116" y="58"/>
                      <a:pt x="116" y="58"/>
                    </a:cubicBezTo>
                    <a:cubicBezTo>
                      <a:pt x="114" y="55"/>
                      <a:pt x="114" y="55"/>
                      <a:pt x="114" y="55"/>
                    </a:cubicBezTo>
                    <a:cubicBezTo>
                      <a:pt x="114" y="55"/>
                      <a:pt x="114" y="55"/>
                      <a:pt x="114" y="55"/>
                    </a:cubicBezTo>
                    <a:cubicBezTo>
                      <a:pt x="113" y="53"/>
                      <a:pt x="113" y="53"/>
                      <a:pt x="113" y="53"/>
                    </a:cubicBezTo>
                    <a:cubicBezTo>
                      <a:pt x="115" y="51"/>
                      <a:pt x="115" y="51"/>
                      <a:pt x="115" y="51"/>
                    </a:cubicBezTo>
                    <a:cubicBezTo>
                      <a:pt x="115" y="49"/>
                      <a:pt x="115" y="49"/>
                      <a:pt x="115" y="49"/>
                    </a:cubicBezTo>
                    <a:cubicBezTo>
                      <a:pt x="117" y="47"/>
                      <a:pt x="117" y="47"/>
                      <a:pt x="117" y="47"/>
                    </a:cubicBezTo>
                    <a:cubicBezTo>
                      <a:pt x="119" y="46"/>
                      <a:pt x="119" y="46"/>
                      <a:pt x="119" y="46"/>
                    </a:cubicBezTo>
                    <a:cubicBezTo>
                      <a:pt x="119" y="37"/>
                      <a:pt x="119" y="37"/>
                      <a:pt x="119" y="37"/>
                    </a:cubicBezTo>
                    <a:cubicBezTo>
                      <a:pt x="121" y="31"/>
                      <a:pt x="121" y="31"/>
                      <a:pt x="121" y="31"/>
                    </a:cubicBezTo>
                    <a:cubicBezTo>
                      <a:pt x="130" y="22"/>
                      <a:pt x="130" y="22"/>
                      <a:pt x="130" y="22"/>
                    </a:cubicBezTo>
                    <a:cubicBezTo>
                      <a:pt x="128" y="20"/>
                      <a:pt x="128" y="20"/>
                      <a:pt x="128" y="20"/>
                    </a:cubicBezTo>
                    <a:cubicBezTo>
                      <a:pt x="126" y="20"/>
                      <a:pt x="126" y="20"/>
                      <a:pt x="126" y="20"/>
                    </a:cubicBezTo>
                    <a:cubicBezTo>
                      <a:pt x="127" y="18"/>
                      <a:pt x="127" y="18"/>
                      <a:pt x="127" y="18"/>
                    </a:cubicBezTo>
                    <a:cubicBezTo>
                      <a:pt x="127" y="17"/>
                      <a:pt x="127" y="17"/>
                      <a:pt x="127" y="17"/>
                    </a:cubicBezTo>
                    <a:cubicBezTo>
                      <a:pt x="126" y="16"/>
                      <a:pt x="126" y="16"/>
                      <a:pt x="126" y="16"/>
                    </a:cubicBezTo>
                    <a:cubicBezTo>
                      <a:pt x="127" y="14"/>
                      <a:pt x="127" y="14"/>
                      <a:pt x="127" y="14"/>
                    </a:cubicBezTo>
                    <a:cubicBezTo>
                      <a:pt x="127" y="13"/>
                      <a:pt x="127" y="13"/>
                      <a:pt x="127" y="13"/>
                    </a:cubicBezTo>
                    <a:cubicBezTo>
                      <a:pt x="126" y="12"/>
                      <a:pt x="126" y="12"/>
                      <a:pt x="126" y="12"/>
                    </a:cubicBezTo>
                    <a:lnTo>
                      <a:pt x="125"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1" name="Freeform 920">
                <a:extLst>
                  <a:ext uri="{FF2B5EF4-FFF2-40B4-BE49-F238E27FC236}">
                    <a16:creationId xmlns:a16="http://schemas.microsoft.com/office/drawing/2014/main" id="{4DE2A8D6-79DF-0663-818E-FEC9F42773AF}"/>
                  </a:ext>
                </a:extLst>
              </p:cNvPr>
              <p:cNvSpPr>
                <a:spLocks noEditPoints="1"/>
              </p:cNvSpPr>
              <p:nvPr/>
            </p:nvSpPr>
            <p:spPr bwMode="auto">
              <a:xfrm>
                <a:off x="6596063" y="5221288"/>
                <a:ext cx="57150" cy="41275"/>
              </a:xfrm>
              <a:custGeom>
                <a:avLst/>
                <a:gdLst>
                  <a:gd name="T0" fmla="*/ 1 w 14"/>
                  <a:gd name="T1" fmla="*/ 3 h 10"/>
                  <a:gd name="T2" fmla="*/ 1 w 14"/>
                  <a:gd name="T3" fmla="*/ 2 h 10"/>
                  <a:gd name="T4" fmla="*/ 1 w 14"/>
                  <a:gd name="T5" fmla="*/ 0 h 10"/>
                  <a:gd name="T6" fmla="*/ 2 w 14"/>
                  <a:gd name="T7" fmla="*/ 2 h 10"/>
                  <a:gd name="T8" fmla="*/ 2 w 14"/>
                  <a:gd name="T9" fmla="*/ 3 h 10"/>
                  <a:gd name="T10" fmla="*/ 1 w 14"/>
                  <a:gd name="T11" fmla="*/ 3 h 10"/>
                  <a:gd name="T12" fmla="*/ 9 w 14"/>
                  <a:gd name="T13" fmla="*/ 5 h 10"/>
                  <a:gd name="T14" fmla="*/ 9 w 14"/>
                  <a:gd name="T15" fmla="*/ 5 h 10"/>
                  <a:gd name="T16" fmla="*/ 9 w 14"/>
                  <a:gd name="T17" fmla="*/ 4 h 10"/>
                  <a:gd name="T18" fmla="*/ 8 w 14"/>
                  <a:gd name="T19" fmla="*/ 5 h 10"/>
                  <a:gd name="T20" fmla="*/ 9 w 14"/>
                  <a:gd name="T21" fmla="*/ 5 h 10"/>
                  <a:gd name="T22" fmla="*/ 14 w 14"/>
                  <a:gd name="T23" fmla="*/ 10 h 10"/>
                  <a:gd name="T24" fmla="*/ 14 w 14"/>
                  <a:gd name="T25" fmla="*/ 9 h 10"/>
                  <a:gd name="T26" fmla="*/ 14 w 14"/>
                  <a:gd name="T27" fmla="*/ 9 h 10"/>
                  <a:gd name="T28" fmla="*/ 14 w 14"/>
                  <a:gd name="T29" fmla="*/ 9 h 10"/>
                  <a:gd name="T30" fmla="*/ 14 w 14"/>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 y="3"/>
                    </a:moveTo>
                    <a:cubicBezTo>
                      <a:pt x="1" y="2"/>
                      <a:pt x="0" y="2"/>
                      <a:pt x="1" y="2"/>
                    </a:cubicBezTo>
                    <a:cubicBezTo>
                      <a:pt x="1" y="1"/>
                      <a:pt x="1" y="1"/>
                      <a:pt x="1" y="0"/>
                    </a:cubicBezTo>
                    <a:cubicBezTo>
                      <a:pt x="2" y="1"/>
                      <a:pt x="1" y="1"/>
                      <a:pt x="2" y="2"/>
                    </a:cubicBezTo>
                    <a:cubicBezTo>
                      <a:pt x="2" y="2"/>
                      <a:pt x="2" y="2"/>
                      <a:pt x="2" y="3"/>
                    </a:cubicBezTo>
                    <a:cubicBezTo>
                      <a:pt x="2" y="3"/>
                      <a:pt x="1" y="3"/>
                      <a:pt x="1" y="3"/>
                    </a:cubicBezTo>
                    <a:close/>
                    <a:moveTo>
                      <a:pt x="9" y="5"/>
                    </a:moveTo>
                    <a:cubicBezTo>
                      <a:pt x="9" y="5"/>
                      <a:pt x="9" y="5"/>
                      <a:pt x="9" y="5"/>
                    </a:cubicBezTo>
                    <a:cubicBezTo>
                      <a:pt x="9" y="5"/>
                      <a:pt x="9" y="4"/>
                      <a:pt x="9" y="4"/>
                    </a:cubicBezTo>
                    <a:cubicBezTo>
                      <a:pt x="8" y="4"/>
                      <a:pt x="8" y="5"/>
                      <a:pt x="8" y="5"/>
                    </a:cubicBezTo>
                    <a:cubicBezTo>
                      <a:pt x="8" y="5"/>
                      <a:pt x="8" y="5"/>
                      <a:pt x="9" y="5"/>
                    </a:cubicBezTo>
                    <a:close/>
                    <a:moveTo>
                      <a:pt x="14" y="10"/>
                    </a:moveTo>
                    <a:cubicBezTo>
                      <a:pt x="14" y="10"/>
                      <a:pt x="14" y="9"/>
                      <a:pt x="14" y="9"/>
                    </a:cubicBezTo>
                    <a:cubicBezTo>
                      <a:pt x="14" y="9"/>
                      <a:pt x="14" y="9"/>
                      <a:pt x="14" y="9"/>
                    </a:cubicBezTo>
                    <a:cubicBezTo>
                      <a:pt x="14" y="9"/>
                      <a:pt x="14" y="9"/>
                      <a:pt x="14" y="9"/>
                    </a:cubicBezTo>
                    <a:cubicBezTo>
                      <a:pt x="13" y="10"/>
                      <a:pt x="14" y="10"/>
                      <a:pt x="14"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2" name="Freeform 921">
                <a:extLst>
                  <a:ext uri="{FF2B5EF4-FFF2-40B4-BE49-F238E27FC236}">
                    <a16:creationId xmlns:a16="http://schemas.microsoft.com/office/drawing/2014/main" id="{1C9BF55A-A126-4CD3-F236-75E2640C74A0}"/>
                  </a:ext>
                </a:extLst>
              </p:cNvPr>
              <p:cNvSpPr>
                <a:spLocks/>
              </p:cNvSpPr>
              <p:nvPr/>
            </p:nvSpPr>
            <p:spPr bwMode="auto">
              <a:xfrm>
                <a:off x="5754688" y="4208463"/>
                <a:ext cx="295275" cy="471488"/>
              </a:xfrm>
              <a:custGeom>
                <a:avLst/>
                <a:gdLst>
                  <a:gd name="T0" fmla="*/ 62 w 71"/>
                  <a:gd name="T1" fmla="*/ 81 h 113"/>
                  <a:gd name="T2" fmla="*/ 60 w 71"/>
                  <a:gd name="T3" fmla="*/ 79 h 113"/>
                  <a:gd name="T4" fmla="*/ 59 w 71"/>
                  <a:gd name="T5" fmla="*/ 76 h 113"/>
                  <a:gd name="T6" fmla="*/ 56 w 71"/>
                  <a:gd name="T7" fmla="*/ 76 h 113"/>
                  <a:gd name="T8" fmla="*/ 58 w 71"/>
                  <a:gd name="T9" fmla="*/ 69 h 113"/>
                  <a:gd name="T10" fmla="*/ 61 w 71"/>
                  <a:gd name="T11" fmla="*/ 66 h 113"/>
                  <a:gd name="T12" fmla="*/ 61 w 71"/>
                  <a:gd name="T13" fmla="*/ 63 h 113"/>
                  <a:gd name="T14" fmla="*/ 63 w 71"/>
                  <a:gd name="T15" fmla="*/ 61 h 113"/>
                  <a:gd name="T16" fmla="*/ 65 w 71"/>
                  <a:gd name="T17" fmla="*/ 58 h 113"/>
                  <a:gd name="T18" fmla="*/ 64 w 71"/>
                  <a:gd name="T19" fmla="*/ 57 h 113"/>
                  <a:gd name="T20" fmla="*/ 71 w 71"/>
                  <a:gd name="T21" fmla="*/ 56 h 113"/>
                  <a:gd name="T22" fmla="*/ 45 w 71"/>
                  <a:gd name="T23" fmla="*/ 14 h 113"/>
                  <a:gd name="T24" fmla="*/ 10 w 71"/>
                  <a:gd name="T25" fmla="*/ 3 h 113"/>
                  <a:gd name="T26" fmla="*/ 12 w 71"/>
                  <a:gd name="T27" fmla="*/ 14 h 113"/>
                  <a:gd name="T28" fmla="*/ 13 w 71"/>
                  <a:gd name="T29" fmla="*/ 19 h 113"/>
                  <a:gd name="T30" fmla="*/ 17 w 71"/>
                  <a:gd name="T31" fmla="*/ 22 h 113"/>
                  <a:gd name="T32" fmla="*/ 14 w 71"/>
                  <a:gd name="T33" fmla="*/ 33 h 113"/>
                  <a:gd name="T34" fmla="*/ 6 w 71"/>
                  <a:gd name="T35" fmla="*/ 56 h 113"/>
                  <a:gd name="T36" fmla="*/ 0 w 71"/>
                  <a:gd name="T37" fmla="*/ 64 h 113"/>
                  <a:gd name="T38" fmla="*/ 4 w 71"/>
                  <a:gd name="T39" fmla="*/ 74 h 113"/>
                  <a:gd name="T40" fmla="*/ 7 w 71"/>
                  <a:gd name="T41" fmla="*/ 76 h 113"/>
                  <a:gd name="T42" fmla="*/ 10 w 71"/>
                  <a:gd name="T43" fmla="*/ 80 h 113"/>
                  <a:gd name="T44" fmla="*/ 11 w 71"/>
                  <a:gd name="T45" fmla="*/ 92 h 113"/>
                  <a:gd name="T46" fmla="*/ 5 w 71"/>
                  <a:gd name="T47" fmla="*/ 95 h 113"/>
                  <a:gd name="T48" fmla="*/ 7 w 71"/>
                  <a:gd name="T49" fmla="*/ 102 h 113"/>
                  <a:gd name="T50" fmla="*/ 14 w 71"/>
                  <a:gd name="T51" fmla="*/ 111 h 113"/>
                  <a:gd name="T52" fmla="*/ 17 w 71"/>
                  <a:gd name="T53" fmla="*/ 113 h 113"/>
                  <a:gd name="T54" fmla="*/ 23 w 71"/>
                  <a:gd name="T55" fmla="*/ 113 h 113"/>
                  <a:gd name="T56" fmla="*/ 35 w 71"/>
                  <a:gd name="T57" fmla="*/ 109 h 113"/>
                  <a:gd name="T58" fmla="*/ 38 w 71"/>
                  <a:gd name="T59" fmla="*/ 104 h 113"/>
                  <a:gd name="T60" fmla="*/ 38 w 71"/>
                  <a:gd name="T61" fmla="*/ 102 h 113"/>
                  <a:gd name="T62" fmla="*/ 48 w 71"/>
                  <a:gd name="T63" fmla="*/ 100 h 113"/>
                  <a:gd name="T64" fmla="*/ 53 w 71"/>
                  <a:gd name="T65" fmla="*/ 95 h 113"/>
                  <a:gd name="T66" fmla="*/ 56 w 71"/>
                  <a:gd name="T67" fmla="*/ 92 h 113"/>
                  <a:gd name="T68" fmla="*/ 60 w 71"/>
                  <a:gd name="T69" fmla="*/ 89 h 113"/>
                  <a:gd name="T70" fmla="*/ 64 w 71"/>
                  <a:gd name="T71" fmla="*/ 89 h 113"/>
                  <a:gd name="T72" fmla="*/ 62 w 71"/>
                  <a:gd name="T73"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 h="113">
                    <a:moveTo>
                      <a:pt x="62" y="84"/>
                    </a:moveTo>
                    <a:cubicBezTo>
                      <a:pt x="62" y="81"/>
                      <a:pt x="62" y="81"/>
                      <a:pt x="62" y="81"/>
                    </a:cubicBezTo>
                    <a:cubicBezTo>
                      <a:pt x="61" y="81"/>
                      <a:pt x="61" y="81"/>
                      <a:pt x="61" y="81"/>
                    </a:cubicBezTo>
                    <a:cubicBezTo>
                      <a:pt x="60" y="79"/>
                      <a:pt x="60" y="79"/>
                      <a:pt x="60" y="79"/>
                    </a:cubicBezTo>
                    <a:cubicBezTo>
                      <a:pt x="61" y="77"/>
                      <a:pt x="61" y="77"/>
                      <a:pt x="61" y="77"/>
                    </a:cubicBezTo>
                    <a:cubicBezTo>
                      <a:pt x="59" y="76"/>
                      <a:pt x="59" y="76"/>
                      <a:pt x="59" y="76"/>
                    </a:cubicBezTo>
                    <a:cubicBezTo>
                      <a:pt x="57" y="77"/>
                      <a:pt x="57" y="77"/>
                      <a:pt x="57" y="77"/>
                    </a:cubicBezTo>
                    <a:cubicBezTo>
                      <a:pt x="56" y="76"/>
                      <a:pt x="56" y="76"/>
                      <a:pt x="56" y="76"/>
                    </a:cubicBezTo>
                    <a:cubicBezTo>
                      <a:pt x="60" y="72"/>
                      <a:pt x="60" y="72"/>
                      <a:pt x="60" y="72"/>
                    </a:cubicBezTo>
                    <a:cubicBezTo>
                      <a:pt x="58" y="69"/>
                      <a:pt x="58" y="69"/>
                      <a:pt x="58" y="69"/>
                    </a:cubicBezTo>
                    <a:cubicBezTo>
                      <a:pt x="61" y="67"/>
                      <a:pt x="61" y="67"/>
                      <a:pt x="61" y="67"/>
                    </a:cubicBezTo>
                    <a:cubicBezTo>
                      <a:pt x="61" y="67"/>
                      <a:pt x="61" y="66"/>
                      <a:pt x="61" y="66"/>
                    </a:cubicBezTo>
                    <a:cubicBezTo>
                      <a:pt x="61" y="65"/>
                      <a:pt x="60" y="64"/>
                      <a:pt x="60" y="64"/>
                    </a:cubicBezTo>
                    <a:cubicBezTo>
                      <a:pt x="61" y="63"/>
                      <a:pt x="61" y="63"/>
                      <a:pt x="61" y="63"/>
                    </a:cubicBezTo>
                    <a:cubicBezTo>
                      <a:pt x="63" y="63"/>
                      <a:pt x="63" y="63"/>
                      <a:pt x="63" y="63"/>
                    </a:cubicBezTo>
                    <a:cubicBezTo>
                      <a:pt x="63" y="61"/>
                      <a:pt x="63" y="61"/>
                      <a:pt x="63" y="61"/>
                    </a:cubicBezTo>
                    <a:cubicBezTo>
                      <a:pt x="65" y="59"/>
                      <a:pt x="65" y="59"/>
                      <a:pt x="65" y="59"/>
                    </a:cubicBezTo>
                    <a:cubicBezTo>
                      <a:pt x="65" y="58"/>
                      <a:pt x="65" y="58"/>
                      <a:pt x="65" y="58"/>
                    </a:cubicBezTo>
                    <a:cubicBezTo>
                      <a:pt x="65" y="58"/>
                      <a:pt x="64" y="58"/>
                      <a:pt x="64" y="58"/>
                    </a:cubicBezTo>
                    <a:cubicBezTo>
                      <a:pt x="64" y="58"/>
                      <a:pt x="64" y="57"/>
                      <a:pt x="64" y="57"/>
                    </a:cubicBezTo>
                    <a:cubicBezTo>
                      <a:pt x="64" y="57"/>
                      <a:pt x="66" y="56"/>
                      <a:pt x="66" y="56"/>
                    </a:cubicBezTo>
                    <a:cubicBezTo>
                      <a:pt x="71" y="56"/>
                      <a:pt x="71" y="56"/>
                      <a:pt x="71" y="56"/>
                    </a:cubicBezTo>
                    <a:cubicBezTo>
                      <a:pt x="71" y="29"/>
                      <a:pt x="71" y="29"/>
                      <a:pt x="71" y="29"/>
                    </a:cubicBezTo>
                    <a:cubicBezTo>
                      <a:pt x="45" y="14"/>
                      <a:pt x="45" y="14"/>
                      <a:pt x="45" y="14"/>
                    </a:cubicBezTo>
                    <a:cubicBezTo>
                      <a:pt x="17" y="0"/>
                      <a:pt x="17" y="0"/>
                      <a:pt x="17" y="0"/>
                    </a:cubicBezTo>
                    <a:cubicBezTo>
                      <a:pt x="10" y="3"/>
                      <a:pt x="10" y="3"/>
                      <a:pt x="10" y="3"/>
                    </a:cubicBezTo>
                    <a:cubicBezTo>
                      <a:pt x="12" y="10"/>
                      <a:pt x="12" y="10"/>
                      <a:pt x="12" y="10"/>
                    </a:cubicBezTo>
                    <a:cubicBezTo>
                      <a:pt x="12" y="14"/>
                      <a:pt x="12" y="14"/>
                      <a:pt x="12" y="14"/>
                    </a:cubicBezTo>
                    <a:cubicBezTo>
                      <a:pt x="14" y="18"/>
                      <a:pt x="14" y="18"/>
                      <a:pt x="14" y="18"/>
                    </a:cubicBezTo>
                    <a:cubicBezTo>
                      <a:pt x="13" y="19"/>
                      <a:pt x="13" y="19"/>
                      <a:pt x="13" y="19"/>
                    </a:cubicBezTo>
                    <a:cubicBezTo>
                      <a:pt x="13" y="19"/>
                      <a:pt x="14" y="21"/>
                      <a:pt x="14" y="21"/>
                    </a:cubicBezTo>
                    <a:cubicBezTo>
                      <a:pt x="14" y="21"/>
                      <a:pt x="17" y="22"/>
                      <a:pt x="17" y="22"/>
                    </a:cubicBezTo>
                    <a:cubicBezTo>
                      <a:pt x="15" y="25"/>
                      <a:pt x="15" y="25"/>
                      <a:pt x="15" y="25"/>
                    </a:cubicBezTo>
                    <a:cubicBezTo>
                      <a:pt x="14" y="33"/>
                      <a:pt x="14" y="33"/>
                      <a:pt x="14" y="33"/>
                    </a:cubicBezTo>
                    <a:cubicBezTo>
                      <a:pt x="14" y="48"/>
                      <a:pt x="14" y="48"/>
                      <a:pt x="14" y="48"/>
                    </a:cubicBezTo>
                    <a:cubicBezTo>
                      <a:pt x="6" y="56"/>
                      <a:pt x="6" y="56"/>
                      <a:pt x="6" y="56"/>
                    </a:cubicBezTo>
                    <a:cubicBezTo>
                      <a:pt x="1" y="64"/>
                      <a:pt x="1" y="64"/>
                      <a:pt x="1" y="64"/>
                    </a:cubicBezTo>
                    <a:cubicBezTo>
                      <a:pt x="0" y="64"/>
                      <a:pt x="0" y="64"/>
                      <a:pt x="0" y="64"/>
                    </a:cubicBezTo>
                    <a:cubicBezTo>
                      <a:pt x="1" y="70"/>
                      <a:pt x="1" y="70"/>
                      <a:pt x="1" y="70"/>
                    </a:cubicBezTo>
                    <a:cubicBezTo>
                      <a:pt x="4" y="74"/>
                      <a:pt x="4" y="74"/>
                      <a:pt x="4" y="74"/>
                    </a:cubicBezTo>
                    <a:cubicBezTo>
                      <a:pt x="7" y="74"/>
                      <a:pt x="7" y="74"/>
                      <a:pt x="7" y="74"/>
                    </a:cubicBezTo>
                    <a:cubicBezTo>
                      <a:pt x="7" y="76"/>
                      <a:pt x="7" y="76"/>
                      <a:pt x="7" y="76"/>
                    </a:cubicBezTo>
                    <a:cubicBezTo>
                      <a:pt x="9" y="77"/>
                      <a:pt x="9" y="77"/>
                      <a:pt x="9" y="77"/>
                    </a:cubicBezTo>
                    <a:cubicBezTo>
                      <a:pt x="10" y="80"/>
                      <a:pt x="10" y="80"/>
                      <a:pt x="10" y="80"/>
                    </a:cubicBezTo>
                    <a:cubicBezTo>
                      <a:pt x="10" y="81"/>
                      <a:pt x="10" y="81"/>
                      <a:pt x="10" y="81"/>
                    </a:cubicBezTo>
                    <a:cubicBezTo>
                      <a:pt x="11" y="92"/>
                      <a:pt x="11" y="92"/>
                      <a:pt x="11" y="92"/>
                    </a:cubicBezTo>
                    <a:cubicBezTo>
                      <a:pt x="15" y="95"/>
                      <a:pt x="15" y="95"/>
                      <a:pt x="15" y="95"/>
                    </a:cubicBezTo>
                    <a:cubicBezTo>
                      <a:pt x="5" y="95"/>
                      <a:pt x="5" y="95"/>
                      <a:pt x="5" y="95"/>
                    </a:cubicBezTo>
                    <a:cubicBezTo>
                      <a:pt x="3" y="98"/>
                      <a:pt x="3" y="98"/>
                      <a:pt x="3" y="98"/>
                    </a:cubicBezTo>
                    <a:cubicBezTo>
                      <a:pt x="7" y="102"/>
                      <a:pt x="7" y="102"/>
                      <a:pt x="7" y="102"/>
                    </a:cubicBezTo>
                    <a:cubicBezTo>
                      <a:pt x="11" y="104"/>
                      <a:pt x="11" y="104"/>
                      <a:pt x="11" y="104"/>
                    </a:cubicBezTo>
                    <a:cubicBezTo>
                      <a:pt x="14" y="111"/>
                      <a:pt x="14" y="111"/>
                      <a:pt x="14" y="111"/>
                    </a:cubicBezTo>
                    <a:cubicBezTo>
                      <a:pt x="14" y="112"/>
                      <a:pt x="14" y="112"/>
                      <a:pt x="14" y="112"/>
                    </a:cubicBezTo>
                    <a:cubicBezTo>
                      <a:pt x="17" y="113"/>
                      <a:pt x="17" y="113"/>
                      <a:pt x="17" y="113"/>
                    </a:cubicBezTo>
                    <a:cubicBezTo>
                      <a:pt x="21" y="110"/>
                      <a:pt x="21" y="110"/>
                      <a:pt x="21" y="110"/>
                    </a:cubicBezTo>
                    <a:cubicBezTo>
                      <a:pt x="23" y="113"/>
                      <a:pt x="23" y="113"/>
                      <a:pt x="23" y="113"/>
                    </a:cubicBezTo>
                    <a:cubicBezTo>
                      <a:pt x="28" y="109"/>
                      <a:pt x="28" y="109"/>
                      <a:pt x="28" y="109"/>
                    </a:cubicBezTo>
                    <a:cubicBezTo>
                      <a:pt x="35" y="109"/>
                      <a:pt x="35" y="109"/>
                      <a:pt x="35" y="109"/>
                    </a:cubicBezTo>
                    <a:cubicBezTo>
                      <a:pt x="38" y="105"/>
                      <a:pt x="38" y="105"/>
                      <a:pt x="38" y="105"/>
                    </a:cubicBezTo>
                    <a:cubicBezTo>
                      <a:pt x="38" y="104"/>
                      <a:pt x="38" y="104"/>
                      <a:pt x="38" y="104"/>
                    </a:cubicBezTo>
                    <a:cubicBezTo>
                      <a:pt x="36" y="103"/>
                      <a:pt x="36" y="103"/>
                      <a:pt x="36" y="103"/>
                    </a:cubicBezTo>
                    <a:cubicBezTo>
                      <a:pt x="38" y="102"/>
                      <a:pt x="38" y="102"/>
                      <a:pt x="38" y="102"/>
                    </a:cubicBezTo>
                    <a:cubicBezTo>
                      <a:pt x="47" y="101"/>
                      <a:pt x="47" y="101"/>
                      <a:pt x="47" y="101"/>
                    </a:cubicBezTo>
                    <a:cubicBezTo>
                      <a:pt x="48" y="100"/>
                      <a:pt x="48" y="100"/>
                      <a:pt x="48" y="100"/>
                    </a:cubicBezTo>
                    <a:cubicBezTo>
                      <a:pt x="50" y="100"/>
                      <a:pt x="50" y="100"/>
                      <a:pt x="50" y="100"/>
                    </a:cubicBezTo>
                    <a:cubicBezTo>
                      <a:pt x="53" y="95"/>
                      <a:pt x="53" y="95"/>
                      <a:pt x="53" y="95"/>
                    </a:cubicBezTo>
                    <a:cubicBezTo>
                      <a:pt x="56" y="94"/>
                      <a:pt x="56" y="94"/>
                      <a:pt x="56" y="94"/>
                    </a:cubicBezTo>
                    <a:cubicBezTo>
                      <a:pt x="56" y="94"/>
                      <a:pt x="56" y="93"/>
                      <a:pt x="56" y="92"/>
                    </a:cubicBezTo>
                    <a:cubicBezTo>
                      <a:pt x="56" y="92"/>
                      <a:pt x="56" y="90"/>
                      <a:pt x="56" y="90"/>
                    </a:cubicBezTo>
                    <a:cubicBezTo>
                      <a:pt x="60" y="89"/>
                      <a:pt x="60" y="89"/>
                      <a:pt x="60" y="89"/>
                    </a:cubicBezTo>
                    <a:cubicBezTo>
                      <a:pt x="61" y="88"/>
                      <a:pt x="61" y="88"/>
                      <a:pt x="61" y="88"/>
                    </a:cubicBezTo>
                    <a:cubicBezTo>
                      <a:pt x="64" y="89"/>
                      <a:pt x="64" y="89"/>
                      <a:pt x="64" y="89"/>
                    </a:cubicBezTo>
                    <a:cubicBezTo>
                      <a:pt x="64" y="86"/>
                      <a:pt x="64" y="86"/>
                      <a:pt x="64" y="86"/>
                    </a:cubicBezTo>
                    <a:lnTo>
                      <a:pt x="62" y="8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3" name="Freeform 922">
                <a:extLst>
                  <a:ext uri="{FF2B5EF4-FFF2-40B4-BE49-F238E27FC236}">
                    <a16:creationId xmlns:a16="http://schemas.microsoft.com/office/drawing/2014/main" id="{A0248032-5D6C-DB09-CA98-1177AFBB20EB}"/>
                  </a:ext>
                </a:extLst>
              </p:cNvPr>
              <p:cNvSpPr>
                <a:spLocks/>
              </p:cNvSpPr>
              <p:nvPr/>
            </p:nvSpPr>
            <p:spPr bwMode="auto">
              <a:xfrm>
                <a:off x="5780088" y="4575175"/>
                <a:ext cx="369887" cy="250825"/>
              </a:xfrm>
              <a:custGeom>
                <a:avLst/>
                <a:gdLst>
                  <a:gd name="T0" fmla="*/ 83 w 89"/>
                  <a:gd name="T1" fmla="*/ 33 h 60"/>
                  <a:gd name="T2" fmla="*/ 82 w 89"/>
                  <a:gd name="T3" fmla="*/ 30 h 60"/>
                  <a:gd name="T4" fmla="*/ 79 w 89"/>
                  <a:gd name="T5" fmla="*/ 28 h 60"/>
                  <a:gd name="T6" fmla="*/ 74 w 89"/>
                  <a:gd name="T7" fmla="*/ 22 h 60"/>
                  <a:gd name="T8" fmla="*/ 67 w 89"/>
                  <a:gd name="T9" fmla="*/ 20 h 60"/>
                  <a:gd name="T10" fmla="*/ 67 w 89"/>
                  <a:gd name="T11" fmla="*/ 17 h 60"/>
                  <a:gd name="T12" fmla="*/ 62 w 89"/>
                  <a:gd name="T13" fmla="*/ 16 h 60"/>
                  <a:gd name="T14" fmla="*/ 61 w 89"/>
                  <a:gd name="T15" fmla="*/ 14 h 60"/>
                  <a:gd name="T16" fmla="*/ 63 w 89"/>
                  <a:gd name="T17" fmla="*/ 9 h 60"/>
                  <a:gd name="T18" fmla="*/ 58 w 89"/>
                  <a:gd name="T19" fmla="*/ 1 h 60"/>
                  <a:gd name="T20" fmla="*/ 54 w 89"/>
                  <a:gd name="T21" fmla="*/ 1 h 60"/>
                  <a:gd name="T22" fmla="*/ 50 w 89"/>
                  <a:gd name="T23" fmla="*/ 4 h 60"/>
                  <a:gd name="T24" fmla="*/ 47 w 89"/>
                  <a:gd name="T25" fmla="*/ 7 h 60"/>
                  <a:gd name="T26" fmla="*/ 42 w 89"/>
                  <a:gd name="T27" fmla="*/ 12 h 60"/>
                  <a:gd name="T28" fmla="*/ 32 w 89"/>
                  <a:gd name="T29" fmla="*/ 14 h 60"/>
                  <a:gd name="T30" fmla="*/ 32 w 89"/>
                  <a:gd name="T31" fmla="*/ 16 h 60"/>
                  <a:gd name="T32" fmla="*/ 29 w 89"/>
                  <a:gd name="T33" fmla="*/ 21 h 60"/>
                  <a:gd name="T34" fmla="*/ 17 w 89"/>
                  <a:gd name="T35" fmla="*/ 25 h 60"/>
                  <a:gd name="T36" fmla="*/ 11 w 89"/>
                  <a:gd name="T37" fmla="*/ 25 h 60"/>
                  <a:gd name="T38" fmla="*/ 6 w 89"/>
                  <a:gd name="T39" fmla="*/ 26 h 60"/>
                  <a:gd name="T40" fmla="*/ 3 w 89"/>
                  <a:gd name="T41" fmla="*/ 33 h 60"/>
                  <a:gd name="T42" fmla="*/ 2 w 89"/>
                  <a:gd name="T43" fmla="*/ 36 h 60"/>
                  <a:gd name="T44" fmla="*/ 2 w 89"/>
                  <a:gd name="T45" fmla="*/ 41 h 60"/>
                  <a:gd name="T46" fmla="*/ 5 w 89"/>
                  <a:gd name="T47" fmla="*/ 47 h 60"/>
                  <a:gd name="T48" fmla="*/ 11 w 89"/>
                  <a:gd name="T49" fmla="*/ 55 h 60"/>
                  <a:gd name="T50" fmla="*/ 15 w 89"/>
                  <a:gd name="T51" fmla="*/ 56 h 60"/>
                  <a:gd name="T52" fmla="*/ 21 w 89"/>
                  <a:gd name="T53" fmla="*/ 51 h 60"/>
                  <a:gd name="T54" fmla="*/ 27 w 89"/>
                  <a:gd name="T55" fmla="*/ 51 h 60"/>
                  <a:gd name="T56" fmla="*/ 28 w 89"/>
                  <a:gd name="T57" fmla="*/ 46 h 60"/>
                  <a:gd name="T58" fmla="*/ 32 w 89"/>
                  <a:gd name="T59" fmla="*/ 42 h 60"/>
                  <a:gd name="T60" fmla="*/ 39 w 89"/>
                  <a:gd name="T61" fmla="*/ 42 h 60"/>
                  <a:gd name="T62" fmla="*/ 47 w 89"/>
                  <a:gd name="T63" fmla="*/ 47 h 60"/>
                  <a:gd name="T64" fmla="*/ 58 w 89"/>
                  <a:gd name="T65" fmla="*/ 43 h 60"/>
                  <a:gd name="T66" fmla="*/ 67 w 89"/>
                  <a:gd name="T67" fmla="*/ 42 h 60"/>
                  <a:gd name="T68" fmla="*/ 70 w 89"/>
                  <a:gd name="T69" fmla="*/ 43 h 60"/>
                  <a:gd name="T70" fmla="*/ 74 w 89"/>
                  <a:gd name="T71" fmla="*/ 41 h 60"/>
                  <a:gd name="T72" fmla="*/ 76 w 89"/>
                  <a:gd name="T73" fmla="*/ 39 h 60"/>
                  <a:gd name="T74" fmla="*/ 80 w 89"/>
                  <a:gd name="T75" fmla="*/ 40 h 60"/>
                  <a:gd name="T76" fmla="*/ 85 w 89"/>
                  <a:gd name="T77" fmla="*/ 42 h 60"/>
                  <a:gd name="T78" fmla="*/ 88 w 89"/>
                  <a:gd name="T79" fmla="*/ 41 h 60"/>
                  <a:gd name="T80" fmla="*/ 87 w 89"/>
                  <a:gd name="T81"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60">
                    <a:moveTo>
                      <a:pt x="82" y="34"/>
                    </a:moveTo>
                    <a:cubicBezTo>
                      <a:pt x="83" y="33"/>
                      <a:pt x="83" y="33"/>
                      <a:pt x="83" y="33"/>
                    </a:cubicBezTo>
                    <a:cubicBezTo>
                      <a:pt x="81" y="32"/>
                      <a:pt x="81" y="32"/>
                      <a:pt x="81" y="32"/>
                    </a:cubicBezTo>
                    <a:cubicBezTo>
                      <a:pt x="82" y="30"/>
                      <a:pt x="82" y="30"/>
                      <a:pt x="82" y="30"/>
                    </a:cubicBezTo>
                    <a:cubicBezTo>
                      <a:pt x="80" y="30"/>
                      <a:pt x="80" y="30"/>
                      <a:pt x="80" y="30"/>
                    </a:cubicBezTo>
                    <a:cubicBezTo>
                      <a:pt x="79" y="28"/>
                      <a:pt x="79" y="28"/>
                      <a:pt x="79" y="28"/>
                    </a:cubicBezTo>
                    <a:cubicBezTo>
                      <a:pt x="74" y="25"/>
                      <a:pt x="74" y="25"/>
                      <a:pt x="74" y="25"/>
                    </a:cubicBezTo>
                    <a:cubicBezTo>
                      <a:pt x="74" y="22"/>
                      <a:pt x="74" y="22"/>
                      <a:pt x="74" y="22"/>
                    </a:cubicBezTo>
                    <a:cubicBezTo>
                      <a:pt x="71" y="20"/>
                      <a:pt x="71" y="20"/>
                      <a:pt x="71" y="20"/>
                    </a:cubicBezTo>
                    <a:cubicBezTo>
                      <a:pt x="67" y="20"/>
                      <a:pt x="67" y="20"/>
                      <a:pt x="67" y="20"/>
                    </a:cubicBezTo>
                    <a:cubicBezTo>
                      <a:pt x="66" y="19"/>
                      <a:pt x="66" y="19"/>
                      <a:pt x="66" y="19"/>
                    </a:cubicBezTo>
                    <a:cubicBezTo>
                      <a:pt x="67" y="17"/>
                      <a:pt x="67" y="17"/>
                      <a:pt x="67" y="17"/>
                    </a:cubicBezTo>
                    <a:cubicBezTo>
                      <a:pt x="67" y="16"/>
                      <a:pt x="67" y="16"/>
                      <a:pt x="67" y="16"/>
                    </a:cubicBezTo>
                    <a:cubicBezTo>
                      <a:pt x="62" y="16"/>
                      <a:pt x="62" y="16"/>
                      <a:pt x="62" y="16"/>
                    </a:cubicBezTo>
                    <a:cubicBezTo>
                      <a:pt x="63" y="14"/>
                      <a:pt x="63" y="14"/>
                      <a:pt x="63" y="14"/>
                    </a:cubicBezTo>
                    <a:cubicBezTo>
                      <a:pt x="61" y="14"/>
                      <a:pt x="61" y="14"/>
                      <a:pt x="61" y="14"/>
                    </a:cubicBezTo>
                    <a:cubicBezTo>
                      <a:pt x="63" y="12"/>
                      <a:pt x="63" y="12"/>
                      <a:pt x="63" y="12"/>
                    </a:cubicBezTo>
                    <a:cubicBezTo>
                      <a:pt x="63" y="9"/>
                      <a:pt x="63" y="9"/>
                      <a:pt x="63" y="9"/>
                    </a:cubicBezTo>
                    <a:cubicBezTo>
                      <a:pt x="62" y="7"/>
                      <a:pt x="62" y="7"/>
                      <a:pt x="62" y="7"/>
                    </a:cubicBezTo>
                    <a:cubicBezTo>
                      <a:pt x="58" y="1"/>
                      <a:pt x="58" y="1"/>
                      <a:pt x="58" y="1"/>
                    </a:cubicBezTo>
                    <a:cubicBezTo>
                      <a:pt x="55" y="0"/>
                      <a:pt x="55" y="0"/>
                      <a:pt x="55" y="0"/>
                    </a:cubicBezTo>
                    <a:cubicBezTo>
                      <a:pt x="54" y="1"/>
                      <a:pt x="54" y="1"/>
                      <a:pt x="54" y="1"/>
                    </a:cubicBezTo>
                    <a:cubicBezTo>
                      <a:pt x="50" y="2"/>
                      <a:pt x="50" y="2"/>
                      <a:pt x="50" y="2"/>
                    </a:cubicBezTo>
                    <a:cubicBezTo>
                      <a:pt x="50" y="2"/>
                      <a:pt x="50" y="4"/>
                      <a:pt x="50" y="4"/>
                    </a:cubicBezTo>
                    <a:cubicBezTo>
                      <a:pt x="50" y="5"/>
                      <a:pt x="50" y="6"/>
                      <a:pt x="50" y="6"/>
                    </a:cubicBezTo>
                    <a:cubicBezTo>
                      <a:pt x="47" y="7"/>
                      <a:pt x="47" y="7"/>
                      <a:pt x="47" y="7"/>
                    </a:cubicBezTo>
                    <a:cubicBezTo>
                      <a:pt x="44" y="12"/>
                      <a:pt x="44" y="12"/>
                      <a:pt x="44" y="12"/>
                    </a:cubicBezTo>
                    <a:cubicBezTo>
                      <a:pt x="42" y="12"/>
                      <a:pt x="42" y="12"/>
                      <a:pt x="42" y="12"/>
                    </a:cubicBezTo>
                    <a:cubicBezTo>
                      <a:pt x="41" y="13"/>
                      <a:pt x="41" y="13"/>
                      <a:pt x="41" y="13"/>
                    </a:cubicBezTo>
                    <a:cubicBezTo>
                      <a:pt x="32" y="14"/>
                      <a:pt x="32" y="14"/>
                      <a:pt x="32" y="14"/>
                    </a:cubicBezTo>
                    <a:cubicBezTo>
                      <a:pt x="30" y="15"/>
                      <a:pt x="30" y="15"/>
                      <a:pt x="30" y="15"/>
                    </a:cubicBezTo>
                    <a:cubicBezTo>
                      <a:pt x="32" y="16"/>
                      <a:pt x="32" y="16"/>
                      <a:pt x="32" y="16"/>
                    </a:cubicBezTo>
                    <a:cubicBezTo>
                      <a:pt x="32" y="17"/>
                      <a:pt x="32" y="17"/>
                      <a:pt x="32" y="17"/>
                    </a:cubicBezTo>
                    <a:cubicBezTo>
                      <a:pt x="29" y="21"/>
                      <a:pt x="29" y="21"/>
                      <a:pt x="29" y="21"/>
                    </a:cubicBezTo>
                    <a:cubicBezTo>
                      <a:pt x="22" y="21"/>
                      <a:pt x="22" y="21"/>
                      <a:pt x="22" y="21"/>
                    </a:cubicBezTo>
                    <a:cubicBezTo>
                      <a:pt x="17" y="25"/>
                      <a:pt x="17" y="25"/>
                      <a:pt x="17" y="25"/>
                    </a:cubicBezTo>
                    <a:cubicBezTo>
                      <a:pt x="15" y="22"/>
                      <a:pt x="15" y="22"/>
                      <a:pt x="15" y="22"/>
                    </a:cubicBezTo>
                    <a:cubicBezTo>
                      <a:pt x="11" y="25"/>
                      <a:pt x="11" y="25"/>
                      <a:pt x="11" y="25"/>
                    </a:cubicBezTo>
                    <a:cubicBezTo>
                      <a:pt x="8" y="24"/>
                      <a:pt x="8" y="24"/>
                      <a:pt x="8" y="24"/>
                    </a:cubicBezTo>
                    <a:cubicBezTo>
                      <a:pt x="6" y="26"/>
                      <a:pt x="6" y="26"/>
                      <a:pt x="6" y="26"/>
                    </a:cubicBezTo>
                    <a:cubicBezTo>
                      <a:pt x="6" y="28"/>
                      <a:pt x="6" y="28"/>
                      <a:pt x="6" y="28"/>
                    </a:cubicBezTo>
                    <a:cubicBezTo>
                      <a:pt x="3" y="33"/>
                      <a:pt x="3" y="33"/>
                      <a:pt x="3" y="33"/>
                    </a:cubicBezTo>
                    <a:cubicBezTo>
                      <a:pt x="0" y="34"/>
                      <a:pt x="0" y="34"/>
                      <a:pt x="0" y="34"/>
                    </a:cubicBezTo>
                    <a:cubicBezTo>
                      <a:pt x="2" y="36"/>
                      <a:pt x="2" y="36"/>
                      <a:pt x="2" y="36"/>
                    </a:cubicBezTo>
                    <a:cubicBezTo>
                      <a:pt x="1" y="40"/>
                      <a:pt x="1" y="40"/>
                      <a:pt x="1" y="40"/>
                    </a:cubicBezTo>
                    <a:cubicBezTo>
                      <a:pt x="2" y="41"/>
                      <a:pt x="2" y="41"/>
                      <a:pt x="2" y="41"/>
                    </a:cubicBezTo>
                    <a:cubicBezTo>
                      <a:pt x="2" y="44"/>
                      <a:pt x="2" y="44"/>
                      <a:pt x="2" y="44"/>
                    </a:cubicBezTo>
                    <a:cubicBezTo>
                      <a:pt x="5" y="47"/>
                      <a:pt x="5" y="47"/>
                      <a:pt x="5" y="47"/>
                    </a:cubicBezTo>
                    <a:cubicBezTo>
                      <a:pt x="6" y="51"/>
                      <a:pt x="6" y="51"/>
                      <a:pt x="6" y="51"/>
                    </a:cubicBezTo>
                    <a:cubicBezTo>
                      <a:pt x="11" y="55"/>
                      <a:pt x="11" y="55"/>
                      <a:pt x="11" y="55"/>
                    </a:cubicBezTo>
                    <a:cubicBezTo>
                      <a:pt x="13" y="60"/>
                      <a:pt x="13" y="60"/>
                      <a:pt x="13" y="60"/>
                    </a:cubicBezTo>
                    <a:cubicBezTo>
                      <a:pt x="15" y="56"/>
                      <a:pt x="15" y="56"/>
                      <a:pt x="15" y="56"/>
                    </a:cubicBezTo>
                    <a:cubicBezTo>
                      <a:pt x="15" y="52"/>
                      <a:pt x="15" y="52"/>
                      <a:pt x="15" y="52"/>
                    </a:cubicBezTo>
                    <a:cubicBezTo>
                      <a:pt x="21" y="51"/>
                      <a:pt x="21" y="51"/>
                      <a:pt x="21" y="51"/>
                    </a:cubicBezTo>
                    <a:cubicBezTo>
                      <a:pt x="26" y="52"/>
                      <a:pt x="26" y="52"/>
                      <a:pt x="26" y="52"/>
                    </a:cubicBezTo>
                    <a:cubicBezTo>
                      <a:pt x="27" y="51"/>
                      <a:pt x="27" y="51"/>
                      <a:pt x="27" y="51"/>
                    </a:cubicBezTo>
                    <a:cubicBezTo>
                      <a:pt x="29" y="51"/>
                      <a:pt x="29" y="51"/>
                      <a:pt x="29" y="51"/>
                    </a:cubicBezTo>
                    <a:cubicBezTo>
                      <a:pt x="28" y="46"/>
                      <a:pt x="28" y="46"/>
                      <a:pt x="28" y="46"/>
                    </a:cubicBezTo>
                    <a:cubicBezTo>
                      <a:pt x="30" y="45"/>
                      <a:pt x="30" y="45"/>
                      <a:pt x="30" y="45"/>
                    </a:cubicBezTo>
                    <a:cubicBezTo>
                      <a:pt x="32" y="42"/>
                      <a:pt x="32" y="42"/>
                      <a:pt x="32" y="42"/>
                    </a:cubicBezTo>
                    <a:cubicBezTo>
                      <a:pt x="35" y="41"/>
                      <a:pt x="35" y="41"/>
                      <a:pt x="35" y="41"/>
                    </a:cubicBezTo>
                    <a:cubicBezTo>
                      <a:pt x="39" y="42"/>
                      <a:pt x="39" y="42"/>
                      <a:pt x="39" y="42"/>
                    </a:cubicBezTo>
                    <a:cubicBezTo>
                      <a:pt x="42" y="45"/>
                      <a:pt x="42" y="45"/>
                      <a:pt x="42" y="45"/>
                    </a:cubicBezTo>
                    <a:cubicBezTo>
                      <a:pt x="47" y="47"/>
                      <a:pt x="47" y="47"/>
                      <a:pt x="47" y="47"/>
                    </a:cubicBezTo>
                    <a:cubicBezTo>
                      <a:pt x="55" y="47"/>
                      <a:pt x="55" y="47"/>
                      <a:pt x="55" y="47"/>
                    </a:cubicBezTo>
                    <a:cubicBezTo>
                      <a:pt x="58" y="43"/>
                      <a:pt x="58" y="43"/>
                      <a:pt x="58" y="43"/>
                    </a:cubicBezTo>
                    <a:cubicBezTo>
                      <a:pt x="61" y="45"/>
                      <a:pt x="61" y="45"/>
                      <a:pt x="61" y="45"/>
                    </a:cubicBezTo>
                    <a:cubicBezTo>
                      <a:pt x="67" y="42"/>
                      <a:pt x="67" y="42"/>
                      <a:pt x="67" y="42"/>
                    </a:cubicBezTo>
                    <a:cubicBezTo>
                      <a:pt x="68" y="41"/>
                      <a:pt x="68" y="41"/>
                      <a:pt x="68" y="41"/>
                    </a:cubicBezTo>
                    <a:cubicBezTo>
                      <a:pt x="70" y="43"/>
                      <a:pt x="70" y="43"/>
                      <a:pt x="70" y="43"/>
                    </a:cubicBezTo>
                    <a:cubicBezTo>
                      <a:pt x="73" y="42"/>
                      <a:pt x="73" y="42"/>
                      <a:pt x="73" y="42"/>
                    </a:cubicBezTo>
                    <a:cubicBezTo>
                      <a:pt x="74" y="41"/>
                      <a:pt x="74" y="41"/>
                      <a:pt x="74" y="41"/>
                    </a:cubicBezTo>
                    <a:cubicBezTo>
                      <a:pt x="74" y="39"/>
                      <a:pt x="74" y="39"/>
                      <a:pt x="74" y="39"/>
                    </a:cubicBezTo>
                    <a:cubicBezTo>
                      <a:pt x="76" y="39"/>
                      <a:pt x="76" y="39"/>
                      <a:pt x="76" y="39"/>
                    </a:cubicBezTo>
                    <a:cubicBezTo>
                      <a:pt x="78" y="40"/>
                      <a:pt x="78" y="40"/>
                      <a:pt x="78" y="40"/>
                    </a:cubicBezTo>
                    <a:cubicBezTo>
                      <a:pt x="80" y="40"/>
                      <a:pt x="80" y="40"/>
                      <a:pt x="80" y="40"/>
                    </a:cubicBezTo>
                    <a:cubicBezTo>
                      <a:pt x="82" y="42"/>
                      <a:pt x="82" y="42"/>
                      <a:pt x="82" y="42"/>
                    </a:cubicBezTo>
                    <a:cubicBezTo>
                      <a:pt x="85" y="42"/>
                      <a:pt x="85" y="42"/>
                      <a:pt x="85" y="42"/>
                    </a:cubicBezTo>
                    <a:cubicBezTo>
                      <a:pt x="85" y="42"/>
                      <a:pt x="86" y="40"/>
                      <a:pt x="86" y="40"/>
                    </a:cubicBezTo>
                    <a:cubicBezTo>
                      <a:pt x="87" y="40"/>
                      <a:pt x="88" y="41"/>
                      <a:pt x="88" y="41"/>
                    </a:cubicBezTo>
                    <a:cubicBezTo>
                      <a:pt x="89" y="42"/>
                      <a:pt x="89" y="42"/>
                      <a:pt x="89" y="42"/>
                    </a:cubicBezTo>
                    <a:cubicBezTo>
                      <a:pt x="87" y="37"/>
                      <a:pt x="87" y="37"/>
                      <a:pt x="87" y="37"/>
                    </a:cubicBezTo>
                    <a:lnTo>
                      <a:pt x="82"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4" name="Freeform 923">
                <a:extLst>
                  <a:ext uri="{FF2B5EF4-FFF2-40B4-BE49-F238E27FC236}">
                    <a16:creationId xmlns:a16="http://schemas.microsoft.com/office/drawing/2014/main" id="{C681845E-F8A9-E246-099B-B112909ED3CC}"/>
                  </a:ext>
                </a:extLst>
              </p:cNvPr>
              <p:cNvSpPr>
                <a:spLocks noEditPoints="1"/>
              </p:cNvSpPr>
              <p:nvPr/>
            </p:nvSpPr>
            <p:spPr bwMode="auto">
              <a:xfrm>
                <a:off x="4659313" y="4400550"/>
                <a:ext cx="76200" cy="71438"/>
              </a:xfrm>
              <a:custGeom>
                <a:avLst/>
                <a:gdLst>
                  <a:gd name="T0" fmla="*/ 12 w 18"/>
                  <a:gd name="T1" fmla="*/ 15 h 17"/>
                  <a:gd name="T2" fmla="*/ 12 w 18"/>
                  <a:gd name="T3" fmla="*/ 16 h 17"/>
                  <a:gd name="T4" fmla="*/ 11 w 18"/>
                  <a:gd name="T5" fmla="*/ 15 h 17"/>
                  <a:gd name="T6" fmla="*/ 11 w 18"/>
                  <a:gd name="T7" fmla="*/ 14 h 17"/>
                  <a:gd name="T8" fmla="*/ 12 w 18"/>
                  <a:gd name="T9" fmla="*/ 15 h 17"/>
                  <a:gd name="T10" fmla="*/ 2 w 18"/>
                  <a:gd name="T11" fmla="*/ 0 h 17"/>
                  <a:gd name="T12" fmla="*/ 0 w 18"/>
                  <a:gd name="T13" fmla="*/ 1 h 17"/>
                  <a:gd name="T14" fmla="*/ 1 w 18"/>
                  <a:gd name="T15" fmla="*/ 2 h 17"/>
                  <a:gd name="T16" fmla="*/ 2 w 18"/>
                  <a:gd name="T17" fmla="*/ 1 h 17"/>
                  <a:gd name="T18" fmla="*/ 2 w 18"/>
                  <a:gd name="T19" fmla="*/ 0 h 17"/>
                  <a:gd name="T20" fmla="*/ 17 w 18"/>
                  <a:gd name="T21" fmla="*/ 7 h 17"/>
                  <a:gd name="T22" fmla="*/ 17 w 18"/>
                  <a:gd name="T23" fmla="*/ 8 h 17"/>
                  <a:gd name="T24" fmla="*/ 17 w 18"/>
                  <a:gd name="T25" fmla="*/ 8 h 17"/>
                  <a:gd name="T26" fmla="*/ 18 w 18"/>
                  <a:gd name="T27" fmla="*/ 8 h 17"/>
                  <a:gd name="T28" fmla="*/ 17 w 18"/>
                  <a:gd name="T29" fmla="*/ 7 h 17"/>
                  <a:gd name="T30" fmla="*/ 7 w 18"/>
                  <a:gd name="T31" fmla="*/ 16 h 17"/>
                  <a:gd name="T32" fmla="*/ 6 w 18"/>
                  <a:gd name="T33" fmla="*/ 16 h 17"/>
                  <a:gd name="T34" fmla="*/ 7 w 18"/>
                  <a:gd name="T35" fmla="*/ 17 h 17"/>
                  <a:gd name="T36" fmla="*/ 7 w 18"/>
                  <a:gd name="T37" fmla="*/ 16 h 17"/>
                  <a:gd name="T38" fmla="*/ 7 w 18"/>
                  <a:gd name="T39" fmla="*/ 16 h 17"/>
                  <a:gd name="T40" fmla="*/ 2 w 18"/>
                  <a:gd name="T41" fmla="*/ 2 h 17"/>
                  <a:gd name="T42" fmla="*/ 2 w 18"/>
                  <a:gd name="T43" fmla="*/ 3 h 17"/>
                  <a:gd name="T44" fmla="*/ 3 w 18"/>
                  <a:gd name="T45" fmla="*/ 3 h 17"/>
                  <a:gd name="T46" fmla="*/ 3 w 18"/>
                  <a:gd name="T47" fmla="*/ 2 h 17"/>
                  <a:gd name="T48" fmla="*/ 2 w 18"/>
                  <a:gd name="T4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7">
                    <a:moveTo>
                      <a:pt x="12" y="15"/>
                    </a:moveTo>
                    <a:cubicBezTo>
                      <a:pt x="12" y="15"/>
                      <a:pt x="12" y="16"/>
                      <a:pt x="12" y="16"/>
                    </a:cubicBezTo>
                    <a:cubicBezTo>
                      <a:pt x="11" y="16"/>
                      <a:pt x="11" y="15"/>
                      <a:pt x="11" y="15"/>
                    </a:cubicBezTo>
                    <a:cubicBezTo>
                      <a:pt x="11" y="14"/>
                      <a:pt x="11" y="14"/>
                      <a:pt x="11" y="14"/>
                    </a:cubicBezTo>
                    <a:cubicBezTo>
                      <a:pt x="12" y="14"/>
                      <a:pt x="12" y="14"/>
                      <a:pt x="12" y="15"/>
                    </a:cubicBezTo>
                    <a:close/>
                    <a:moveTo>
                      <a:pt x="2" y="0"/>
                    </a:moveTo>
                    <a:cubicBezTo>
                      <a:pt x="1" y="0"/>
                      <a:pt x="0" y="0"/>
                      <a:pt x="0" y="1"/>
                    </a:cubicBezTo>
                    <a:cubicBezTo>
                      <a:pt x="0" y="2"/>
                      <a:pt x="1" y="2"/>
                      <a:pt x="1" y="2"/>
                    </a:cubicBezTo>
                    <a:cubicBezTo>
                      <a:pt x="2" y="2"/>
                      <a:pt x="2" y="1"/>
                      <a:pt x="2" y="1"/>
                    </a:cubicBezTo>
                    <a:cubicBezTo>
                      <a:pt x="2" y="0"/>
                      <a:pt x="2" y="0"/>
                      <a:pt x="2" y="0"/>
                    </a:cubicBezTo>
                    <a:close/>
                    <a:moveTo>
                      <a:pt x="17" y="7"/>
                    </a:moveTo>
                    <a:cubicBezTo>
                      <a:pt x="17" y="7"/>
                      <a:pt x="17" y="7"/>
                      <a:pt x="17" y="8"/>
                    </a:cubicBezTo>
                    <a:cubicBezTo>
                      <a:pt x="17" y="8"/>
                      <a:pt x="17" y="8"/>
                      <a:pt x="17" y="8"/>
                    </a:cubicBezTo>
                    <a:cubicBezTo>
                      <a:pt x="18" y="8"/>
                      <a:pt x="18" y="8"/>
                      <a:pt x="18" y="8"/>
                    </a:cubicBezTo>
                    <a:cubicBezTo>
                      <a:pt x="18" y="7"/>
                      <a:pt x="18" y="7"/>
                      <a:pt x="17" y="7"/>
                    </a:cubicBezTo>
                    <a:close/>
                    <a:moveTo>
                      <a:pt x="7" y="16"/>
                    </a:moveTo>
                    <a:cubicBezTo>
                      <a:pt x="6" y="16"/>
                      <a:pt x="6" y="16"/>
                      <a:pt x="6" y="16"/>
                    </a:cubicBezTo>
                    <a:cubicBezTo>
                      <a:pt x="6" y="16"/>
                      <a:pt x="6" y="17"/>
                      <a:pt x="7" y="17"/>
                    </a:cubicBezTo>
                    <a:cubicBezTo>
                      <a:pt x="7" y="17"/>
                      <a:pt x="7" y="16"/>
                      <a:pt x="7" y="16"/>
                    </a:cubicBezTo>
                    <a:cubicBezTo>
                      <a:pt x="7" y="16"/>
                      <a:pt x="7" y="16"/>
                      <a:pt x="7" y="16"/>
                    </a:cubicBezTo>
                    <a:close/>
                    <a:moveTo>
                      <a:pt x="2" y="2"/>
                    </a:moveTo>
                    <a:cubicBezTo>
                      <a:pt x="2" y="2"/>
                      <a:pt x="2" y="2"/>
                      <a:pt x="2" y="3"/>
                    </a:cubicBezTo>
                    <a:cubicBezTo>
                      <a:pt x="2" y="3"/>
                      <a:pt x="2" y="3"/>
                      <a:pt x="3" y="3"/>
                    </a:cubicBezTo>
                    <a:cubicBezTo>
                      <a:pt x="3" y="3"/>
                      <a:pt x="3" y="3"/>
                      <a:pt x="3" y="2"/>
                    </a:cubicBezTo>
                    <a:cubicBezTo>
                      <a:pt x="3" y="2"/>
                      <a:pt x="3" y="2"/>
                      <a:pt x="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5" name="Freeform 924">
                <a:extLst>
                  <a:ext uri="{FF2B5EF4-FFF2-40B4-BE49-F238E27FC236}">
                    <a16:creationId xmlns:a16="http://schemas.microsoft.com/office/drawing/2014/main" id="{41ECE2CE-370B-D38D-D046-7068E06942FC}"/>
                  </a:ext>
                </a:extLst>
              </p:cNvPr>
              <p:cNvSpPr>
                <a:spLocks/>
              </p:cNvSpPr>
              <p:nvPr/>
            </p:nvSpPr>
            <p:spPr bwMode="auto">
              <a:xfrm>
                <a:off x="5613400" y="4516438"/>
                <a:ext cx="220662" cy="325438"/>
              </a:xfrm>
              <a:custGeom>
                <a:avLst/>
                <a:gdLst>
                  <a:gd name="T0" fmla="*/ 45 w 53"/>
                  <a:gd name="T1" fmla="*/ 61 h 78"/>
                  <a:gd name="T2" fmla="*/ 42 w 53"/>
                  <a:gd name="T3" fmla="*/ 55 h 78"/>
                  <a:gd name="T4" fmla="*/ 42 w 53"/>
                  <a:gd name="T5" fmla="*/ 50 h 78"/>
                  <a:gd name="T6" fmla="*/ 43 w 53"/>
                  <a:gd name="T7" fmla="*/ 47 h 78"/>
                  <a:gd name="T8" fmla="*/ 46 w 53"/>
                  <a:gd name="T9" fmla="*/ 40 h 78"/>
                  <a:gd name="T10" fmla="*/ 48 w 53"/>
                  <a:gd name="T11" fmla="*/ 37 h 78"/>
                  <a:gd name="T12" fmla="*/ 41 w 53"/>
                  <a:gd name="T13" fmla="*/ 28 h 78"/>
                  <a:gd name="T14" fmla="*/ 39 w 53"/>
                  <a:gd name="T15" fmla="*/ 21 h 78"/>
                  <a:gd name="T16" fmla="*/ 45 w 53"/>
                  <a:gd name="T17" fmla="*/ 18 h 78"/>
                  <a:gd name="T18" fmla="*/ 44 w 53"/>
                  <a:gd name="T19" fmla="*/ 6 h 78"/>
                  <a:gd name="T20" fmla="*/ 41 w 53"/>
                  <a:gd name="T21" fmla="*/ 2 h 78"/>
                  <a:gd name="T22" fmla="*/ 38 w 53"/>
                  <a:gd name="T23" fmla="*/ 0 h 78"/>
                  <a:gd name="T24" fmla="*/ 40 w 53"/>
                  <a:gd name="T25" fmla="*/ 5 h 78"/>
                  <a:gd name="T26" fmla="*/ 42 w 53"/>
                  <a:gd name="T27" fmla="*/ 7 h 78"/>
                  <a:gd name="T28" fmla="*/ 42 w 53"/>
                  <a:gd name="T29" fmla="*/ 11 h 78"/>
                  <a:gd name="T30" fmla="*/ 37 w 53"/>
                  <a:gd name="T31" fmla="*/ 12 h 78"/>
                  <a:gd name="T32" fmla="*/ 34 w 53"/>
                  <a:gd name="T33" fmla="*/ 20 h 78"/>
                  <a:gd name="T34" fmla="*/ 32 w 53"/>
                  <a:gd name="T35" fmla="*/ 24 h 78"/>
                  <a:gd name="T36" fmla="*/ 29 w 53"/>
                  <a:gd name="T37" fmla="*/ 30 h 78"/>
                  <a:gd name="T38" fmla="*/ 26 w 53"/>
                  <a:gd name="T39" fmla="*/ 35 h 78"/>
                  <a:gd name="T40" fmla="*/ 23 w 53"/>
                  <a:gd name="T41" fmla="*/ 41 h 78"/>
                  <a:gd name="T42" fmla="*/ 20 w 53"/>
                  <a:gd name="T43" fmla="*/ 45 h 78"/>
                  <a:gd name="T44" fmla="*/ 18 w 53"/>
                  <a:gd name="T45" fmla="*/ 44 h 78"/>
                  <a:gd name="T46" fmla="*/ 14 w 53"/>
                  <a:gd name="T47" fmla="*/ 41 h 78"/>
                  <a:gd name="T48" fmla="*/ 12 w 53"/>
                  <a:gd name="T49" fmla="*/ 43 h 78"/>
                  <a:gd name="T50" fmla="*/ 9 w 53"/>
                  <a:gd name="T51" fmla="*/ 43 h 78"/>
                  <a:gd name="T52" fmla="*/ 7 w 53"/>
                  <a:gd name="T53" fmla="*/ 45 h 78"/>
                  <a:gd name="T54" fmla="*/ 2 w 53"/>
                  <a:gd name="T55" fmla="*/ 55 h 78"/>
                  <a:gd name="T56" fmla="*/ 1 w 53"/>
                  <a:gd name="T57" fmla="*/ 58 h 78"/>
                  <a:gd name="T58" fmla="*/ 4 w 53"/>
                  <a:gd name="T59" fmla="*/ 61 h 78"/>
                  <a:gd name="T60" fmla="*/ 8 w 53"/>
                  <a:gd name="T61" fmla="*/ 63 h 78"/>
                  <a:gd name="T62" fmla="*/ 11 w 53"/>
                  <a:gd name="T63" fmla="*/ 69 h 78"/>
                  <a:gd name="T64" fmla="*/ 9 w 53"/>
                  <a:gd name="T65" fmla="*/ 74 h 78"/>
                  <a:gd name="T66" fmla="*/ 19 w 53"/>
                  <a:gd name="T67" fmla="*/ 75 h 78"/>
                  <a:gd name="T68" fmla="*/ 32 w 53"/>
                  <a:gd name="T69" fmla="*/ 74 h 78"/>
                  <a:gd name="T70" fmla="*/ 41 w 53"/>
                  <a:gd name="T71" fmla="*/ 75 h 78"/>
                  <a:gd name="T72" fmla="*/ 49 w 53"/>
                  <a:gd name="T73" fmla="*/ 77 h 78"/>
                  <a:gd name="T74" fmla="*/ 51 w 53"/>
                  <a:gd name="T75" fmla="*/ 75 h 78"/>
                  <a:gd name="T76" fmla="*/ 51 w 53"/>
                  <a:gd name="T7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78">
                    <a:moveTo>
                      <a:pt x="46" y="65"/>
                    </a:moveTo>
                    <a:cubicBezTo>
                      <a:pt x="45" y="61"/>
                      <a:pt x="45" y="61"/>
                      <a:pt x="45" y="61"/>
                    </a:cubicBezTo>
                    <a:cubicBezTo>
                      <a:pt x="42" y="58"/>
                      <a:pt x="42" y="58"/>
                      <a:pt x="42" y="58"/>
                    </a:cubicBezTo>
                    <a:cubicBezTo>
                      <a:pt x="42" y="55"/>
                      <a:pt x="42" y="55"/>
                      <a:pt x="42" y="55"/>
                    </a:cubicBezTo>
                    <a:cubicBezTo>
                      <a:pt x="41" y="54"/>
                      <a:pt x="41" y="54"/>
                      <a:pt x="41" y="54"/>
                    </a:cubicBezTo>
                    <a:cubicBezTo>
                      <a:pt x="42" y="50"/>
                      <a:pt x="42" y="50"/>
                      <a:pt x="42" y="50"/>
                    </a:cubicBezTo>
                    <a:cubicBezTo>
                      <a:pt x="40" y="48"/>
                      <a:pt x="40" y="48"/>
                      <a:pt x="40" y="48"/>
                    </a:cubicBezTo>
                    <a:cubicBezTo>
                      <a:pt x="43" y="47"/>
                      <a:pt x="43" y="47"/>
                      <a:pt x="43" y="47"/>
                    </a:cubicBezTo>
                    <a:cubicBezTo>
                      <a:pt x="46" y="42"/>
                      <a:pt x="46" y="42"/>
                      <a:pt x="46" y="42"/>
                    </a:cubicBezTo>
                    <a:cubicBezTo>
                      <a:pt x="46" y="40"/>
                      <a:pt x="46" y="40"/>
                      <a:pt x="46" y="40"/>
                    </a:cubicBezTo>
                    <a:cubicBezTo>
                      <a:pt x="48" y="38"/>
                      <a:pt x="48" y="38"/>
                      <a:pt x="48" y="38"/>
                    </a:cubicBezTo>
                    <a:cubicBezTo>
                      <a:pt x="48" y="37"/>
                      <a:pt x="48" y="37"/>
                      <a:pt x="48" y="37"/>
                    </a:cubicBezTo>
                    <a:cubicBezTo>
                      <a:pt x="45" y="30"/>
                      <a:pt x="45" y="30"/>
                      <a:pt x="45" y="30"/>
                    </a:cubicBezTo>
                    <a:cubicBezTo>
                      <a:pt x="41" y="28"/>
                      <a:pt x="41" y="28"/>
                      <a:pt x="41" y="28"/>
                    </a:cubicBezTo>
                    <a:cubicBezTo>
                      <a:pt x="37" y="24"/>
                      <a:pt x="37" y="24"/>
                      <a:pt x="37" y="24"/>
                    </a:cubicBezTo>
                    <a:cubicBezTo>
                      <a:pt x="39" y="21"/>
                      <a:pt x="39" y="21"/>
                      <a:pt x="39" y="21"/>
                    </a:cubicBezTo>
                    <a:cubicBezTo>
                      <a:pt x="49" y="21"/>
                      <a:pt x="49" y="21"/>
                      <a:pt x="49" y="21"/>
                    </a:cubicBezTo>
                    <a:cubicBezTo>
                      <a:pt x="45" y="18"/>
                      <a:pt x="45" y="18"/>
                      <a:pt x="45" y="18"/>
                    </a:cubicBezTo>
                    <a:cubicBezTo>
                      <a:pt x="44" y="7"/>
                      <a:pt x="44" y="7"/>
                      <a:pt x="44" y="7"/>
                    </a:cubicBezTo>
                    <a:cubicBezTo>
                      <a:pt x="44" y="6"/>
                      <a:pt x="44" y="6"/>
                      <a:pt x="44" y="6"/>
                    </a:cubicBezTo>
                    <a:cubicBezTo>
                      <a:pt x="43" y="3"/>
                      <a:pt x="43" y="3"/>
                      <a:pt x="43" y="3"/>
                    </a:cubicBezTo>
                    <a:cubicBezTo>
                      <a:pt x="41" y="2"/>
                      <a:pt x="41" y="2"/>
                      <a:pt x="41" y="2"/>
                    </a:cubicBezTo>
                    <a:cubicBezTo>
                      <a:pt x="41" y="0"/>
                      <a:pt x="41" y="0"/>
                      <a:pt x="41" y="0"/>
                    </a:cubicBezTo>
                    <a:cubicBezTo>
                      <a:pt x="38" y="0"/>
                      <a:pt x="38" y="0"/>
                      <a:pt x="38" y="0"/>
                    </a:cubicBezTo>
                    <a:cubicBezTo>
                      <a:pt x="39" y="5"/>
                      <a:pt x="39" y="5"/>
                      <a:pt x="39" y="5"/>
                    </a:cubicBezTo>
                    <a:cubicBezTo>
                      <a:pt x="40" y="5"/>
                      <a:pt x="40" y="5"/>
                      <a:pt x="40" y="5"/>
                    </a:cubicBezTo>
                    <a:cubicBezTo>
                      <a:pt x="42" y="6"/>
                      <a:pt x="42" y="6"/>
                      <a:pt x="42" y="6"/>
                    </a:cubicBezTo>
                    <a:cubicBezTo>
                      <a:pt x="42" y="7"/>
                      <a:pt x="42" y="7"/>
                      <a:pt x="42" y="7"/>
                    </a:cubicBezTo>
                    <a:cubicBezTo>
                      <a:pt x="41" y="9"/>
                      <a:pt x="41" y="9"/>
                      <a:pt x="41" y="9"/>
                    </a:cubicBezTo>
                    <a:cubicBezTo>
                      <a:pt x="42" y="11"/>
                      <a:pt x="42" y="11"/>
                      <a:pt x="42" y="11"/>
                    </a:cubicBezTo>
                    <a:cubicBezTo>
                      <a:pt x="39" y="13"/>
                      <a:pt x="39" y="13"/>
                      <a:pt x="39" y="13"/>
                    </a:cubicBezTo>
                    <a:cubicBezTo>
                      <a:pt x="37" y="12"/>
                      <a:pt x="37" y="12"/>
                      <a:pt x="37" y="12"/>
                    </a:cubicBezTo>
                    <a:cubicBezTo>
                      <a:pt x="36" y="14"/>
                      <a:pt x="36" y="14"/>
                      <a:pt x="36" y="14"/>
                    </a:cubicBezTo>
                    <a:cubicBezTo>
                      <a:pt x="34" y="20"/>
                      <a:pt x="34" y="20"/>
                      <a:pt x="34" y="20"/>
                    </a:cubicBezTo>
                    <a:cubicBezTo>
                      <a:pt x="32" y="21"/>
                      <a:pt x="32" y="21"/>
                      <a:pt x="32" y="21"/>
                    </a:cubicBezTo>
                    <a:cubicBezTo>
                      <a:pt x="32" y="24"/>
                      <a:pt x="32" y="24"/>
                      <a:pt x="32" y="24"/>
                    </a:cubicBezTo>
                    <a:cubicBezTo>
                      <a:pt x="30" y="26"/>
                      <a:pt x="30" y="26"/>
                      <a:pt x="30" y="26"/>
                    </a:cubicBezTo>
                    <a:cubicBezTo>
                      <a:pt x="29" y="30"/>
                      <a:pt x="29" y="30"/>
                      <a:pt x="29" y="30"/>
                    </a:cubicBezTo>
                    <a:cubicBezTo>
                      <a:pt x="26" y="32"/>
                      <a:pt x="26" y="32"/>
                      <a:pt x="26" y="32"/>
                    </a:cubicBezTo>
                    <a:cubicBezTo>
                      <a:pt x="26" y="35"/>
                      <a:pt x="26" y="35"/>
                      <a:pt x="26" y="35"/>
                    </a:cubicBezTo>
                    <a:cubicBezTo>
                      <a:pt x="23" y="38"/>
                      <a:pt x="23" y="38"/>
                      <a:pt x="23" y="38"/>
                    </a:cubicBezTo>
                    <a:cubicBezTo>
                      <a:pt x="23" y="41"/>
                      <a:pt x="23" y="41"/>
                      <a:pt x="23" y="41"/>
                    </a:cubicBezTo>
                    <a:cubicBezTo>
                      <a:pt x="21" y="42"/>
                      <a:pt x="21" y="42"/>
                      <a:pt x="21" y="42"/>
                    </a:cubicBezTo>
                    <a:cubicBezTo>
                      <a:pt x="20" y="45"/>
                      <a:pt x="20" y="45"/>
                      <a:pt x="20" y="45"/>
                    </a:cubicBezTo>
                    <a:cubicBezTo>
                      <a:pt x="18" y="45"/>
                      <a:pt x="18" y="45"/>
                      <a:pt x="18" y="45"/>
                    </a:cubicBezTo>
                    <a:cubicBezTo>
                      <a:pt x="18" y="44"/>
                      <a:pt x="18" y="44"/>
                      <a:pt x="18" y="44"/>
                    </a:cubicBezTo>
                    <a:cubicBezTo>
                      <a:pt x="17" y="44"/>
                      <a:pt x="17" y="44"/>
                      <a:pt x="17" y="44"/>
                    </a:cubicBezTo>
                    <a:cubicBezTo>
                      <a:pt x="14" y="41"/>
                      <a:pt x="14" y="41"/>
                      <a:pt x="14" y="41"/>
                    </a:cubicBezTo>
                    <a:cubicBezTo>
                      <a:pt x="14" y="43"/>
                      <a:pt x="14" y="43"/>
                      <a:pt x="14" y="43"/>
                    </a:cubicBezTo>
                    <a:cubicBezTo>
                      <a:pt x="12" y="43"/>
                      <a:pt x="12" y="43"/>
                      <a:pt x="12" y="43"/>
                    </a:cubicBezTo>
                    <a:cubicBezTo>
                      <a:pt x="11" y="42"/>
                      <a:pt x="11" y="42"/>
                      <a:pt x="11" y="42"/>
                    </a:cubicBezTo>
                    <a:cubicBezTo>
                      <a:pt x="9" y="43"/>
                      <a:pt x="9" y="43"/>
                      <a:pt x="9" y="43"/>
                    </a:cubicBezTo>
                    <a:cubicBezTo>
                      <a:pt x="8" y="45"/>
                      <a:pt x="8" y="45"/>
                      <a:pt x="8" y="45"/>
                    </a:cubicBezTo>
                    <a:cubicBezTo>
                      <a:pt x="7" y="45"/>
                      <a:pt x="7" y="45"/>
                      <a:pt x="7" y="45"/>
                    </a:cubicBezTo>
                    <a:cubicBezTo>
                      <a:pt x="2" y="50"/>
                      <a:pt x="2" y="50"/>
                      <a:pt x="2" y="50"/>
                    </a:cubicBezTo>
                    <a:cubicBezTo>
                      <a:pt x="2" y="55"/>
                      <a:pt x="2" y="55"/>
                      <a:pt x="2" y="55"/>
                    </a:cubicBezTo>
                    <a:cubicBezTo>
                      <a:pt x="0" y="58"/>
                      <a:pt x="0" y="58"/>
                      <a:pt x="0" y="58"/>
                    </a:cubicBezTo>
                    <a:cubicBezTo>
                      <a:pt x="0" y="58"/>
                      <a:pt x="1" y="59"/>
                      <a:pt x="1" y="58"/>
                    </a:cubicBezTo>
                    <a:cubicBezTo>
                      <a:pt x="1" y="59"/>
                      <a:pt x="1" y="60"/>
                      <a:pt x="2" y="60"/>
                    </a:cubicBezTo>
                    <a:cubicBezTo>
                      <a:pt x="3" y="59"/>
                      <a:pt x="4" y="60"/>
                      <a:pt x="4" y="61"/>
                    </a:cubicBezTo>
                    <a:cubicBezTo>
                      <a:pt x="4" y="62"/>
                      <a:pt x="5" y="63"/>
                      <a:pt x="6" y="64"/>
                    </a:cubicBezTo>
                    <a:cubicBezTo>
                      <a:pt x="7" y="64"/>
                      <a:pt x="7" y="63"/>
                      <a:pt x="8" y="63"/>
                    </a:cubicBezTo>
                    <a:cubicBezTo>
                      <a:pt x="9" y="64"/>
                      <a:pt x="8" y="65"/>
                      <a:pt x="9" y="65"/>
                    </a:cubicBezTo>
                    <a:cubicBezTo>
                      <a:pt x="10" y="66"/>
                      <a:pt x="10" y="68"/>
                      <a:pt x="11" y="69"/>
                    </a:cubicBezTo>
                    <a:cubicBezTo>
                      <a:pt x="11" y="71"/>
                      <a:pt x="10" y="72"/>
                      <a:pt x="10" y="74"/>
                    </a:cubicBezTo>
                    <a:cubicBezTo>
                      <a:pt x="10" y="74"/>
                      <a:pt x="9" y="74"/>
                      <a:pt x="9" y="74"/>
                    </a:cubicBezTo>
                    <a:cubicBezTo>
                      <a:pt x="10" y="75"/>
                      <a:pt x="10" y="75"/>
                      <a:pt x="10" y="75"/>
                    </a:cubicBezTo>
                    <a:cubicBezTo>
                      <a:pt x="19" y="75"/>
                      <a:pt x="19" y="75"/>
                      <a:pt x="19" y="75"/>
                    </a:cubicBezTo>
                    <a:cubicBezTo>
                      <a:pt x="20" y="74"/>
                      <a:pt x="20" y="74"/>
                      <a:pt x="20" y="74"/>
                    </a:cubicBezTo>
                    <a:cubicBezTo>
                      <a:pt x="32" y="74"/>
                      <a:pt x="32" y="74"/>
                      <a:pt x="32" y="74"/>
                    </a:cubicBezTo>
                    <a:cubicBezTo>
                      <a:pt x="33" y="75"/>
                      <a:pt x="33" y="75"/>
                      <a:pt x="33" y="75"/>
                    </a:cubicBezTo>
                    <a:cubicBezTo>
                      <a:pt x="41" y="75"/>
                      <a:pt x="41" y="75"/>
                      <a:pt x="41" y="75"/>
                    </a:cubicBezTo>
                    <a:cubicBezTo>
                      <a:pt x="45" y="76"/>
                      <a:pt x="45" y="76"/>
                      <a:pt x="45" y="76"/>
                    </a:cubicBezTo>
                    <a:cubicBezTo>
                      <a:pt x="49" y="77"/>
                      <a:pt x="49" y="77"/>
                      <a:pt x="49" y="77"/>
                    </a:cubicBezTo>
                    <a:cubicBezTo>
                      <a:pt x="51" y="78"/>
                      <a:pt x="51" y="78"/>
                      <a:pt x="51" y="78"/>
                    </a:cubicBezTo>
                    <a:cubicBezTo>
                      <a:pt x="51" y="75"/>
                      <a:pt x="51" y="75"/>
                      <a:pt x="51" y="75"/>
                    </a:cubicBezTo>
                    <a:cubicBezTo>
                      <a:pt x="53" y="74"/>
                      <a:pt x="53" y="74"/>
                      <a:pt x="53" y="74"/>
                    </a:cubicBezTo>
                    <a:cubicBezTo>
                      <a:pt x="51" y="69"/>
                      <a:pt x="51" y="69"/>
                      <a:pt x="51" y="69"/>
                    </a:cubicBezTo>
                    <a:lnTo>
                      <a:pt x="46"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6" name="Freeform 925">
                <a:extLst>
                  <a:ext uri="{FF2B5EF4-FFF2-40B4-BE49-F238E27FC236}">
                    <a16:creationId xmlns:a16="http://schemas.microsoft.com/office/drawing/2014/main" id="{F5FD57E0-A1E8-B86F-B2AB-51FA76D627D2}"/>
                  </a:ext>
                </a:extLst>
              </p:cNvPr>
              <p:cNvSpPr>
                <a:spLocks/>
              </p:cNvSpPr>
              <p:nvPr/>
            </p:nvSpPr>
            <p:spPr bwMode="auto">
              <a:xfrm>
                <a:off x="6191250" y="4954588"/>
                <a:ext cx="53975" cy="61913"/>
              </a:xfrm>
              <a:custGeom>
                <a:avLst/>
                <a:gdLst>
                  <a:gd name="T0" fmla="*/ 8 w 13"/>
                  <a:gd name="T1" fmla="*/ 1 h 15"/>
                  <a:gd name="T2" fmla="*/ 7 w 13"/>
                  <a:gd name="T3" fmla="*/ 1 h 15"/>
                  <a:gd name="T4" fmla="*/ 7 w 13"/>
                  <a:gd name="T5" fmla="*/ 3 h 15"/>
                  <a:gd name="T6" fmla="*/ 5 w 13"/>
                  <a:gd name="T7" fmla="*/ 4 h 15"/>
                  <a:gd name="T8" fmla="*/ 3 w 13"/>
                  <a:gd name="T9" fmla="*/ 4 h 15"/>
                  <a:gd name="T10" fmla="*/ 3 w 13"/>
                  <a:gd name="T11" fmla="*/ 3 h 15"/>
                  <a:gd name="T12" fmla="*/ 1 w 13"/>
                  <a:gd name="T13" fmla="*/ 2 h 15"/>
                  <a:gd name="T14" fmla="*/ 0 w 13"/>
                  <a:gd name="T15" fmla="*/ 3 h 15"/>
                  <a:gd name="T16" fmla="*/ 2 w 13"/>
                  <a:gd name="T17" fmla="*/ 6 h 15"/>
                  <a:gd name="T18" fmla="*/ 2 w 13"/>
                  <a:gd name="T19" fmla="*/ 11 h 15"/>
                  <a:gd name="T20" fmla="*/ 3 w 13"/>
                  <a:gd name="T21" fmla="*/ 15 h 15"/>
                  <a:gd name="T22" fmla="*/ 6 w 13"/>
                  <a:gd name="T23" fmla="*/ 15 h 15"/>
                  <a:gd name="T24" fmla="*/ 9 w 13"/>
                  <a:gd name="T25" fmla="*/ 11 h 15"/>
                  <a:gd name="T26" fmla="*/ 9 w 13"/>
                  <a:gd name="T27" fmla="*/ 10 h 15"/>
                  <a:gd name="T28" fmla="*/ 13 w 13"/>
                  <a:gd name="T29" fmla="*/ 7 h 15"/>
                  <a:gd name="T30" fmla="*/ 13 w 13"/>
                  <a:gd name="T31" fmla="*/ 5 h 15"/>
                  <a:gd name="T32" fmla="*/ 10 w 13"/>
                  <a:gd name="T33" fmla="*/ 4 h 15"/>
                  <a:gd name="T34" fmla="*/ 10 w 13"/>
                  <a:gd name="T35" fmla="*/ 3 h 15"/>
                  <a:gd name="T36" fmla="*/ 11 w 13"/>
                  <a:gd name="T37" fmla="*/ 1 h 15"/>
                  <a:gd name="T38" fmla="*/ 10 w 13"/>
                  <a:gd name="T39" fmla="*/ 0 h 15"/>
                  <a:gd name="T40" fmla="*/ 8 w 13"/>
                  <a:gd name="T4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8" y="1"/>
                    </a:moveTo>
                    <a:cubicBezTo>
                      <a:pt x="7" y="1"/>
                      <a:pt x="7" y="1"/>
                      <a:pt x="7" y="1"/>
                    </a:cubicBezTo>
                    <a:cubicBezTo>
                      <a:pt x="7" y="3"/>
                      <a:pt x="7" y="3"/>
                      <a:pt x="7" y="3"/>
                    </a:cubicBezTo>
                    <a:cubicBezTo>
                      <a:pt x="5" y="4"/>
                      <a:pt x="5" y="4"/>
                      <a:pt x="5" y="4"/>
                    </a:cubicBezTo>
                    <a:cubicBezTo>
                      <a:pt x="3" y="4"/>
                      <a:pt x="3" y="4"/>
                      <a:pt x="3" y="4"/>
                    </a:cubicBezTo>
                    <a:cubicBezTo>
                      <a:pt x="3" y="3"/>
                      <a:pt x="3" y="3"/>
                      <a:pt x="3" y="3"/>
                    </a:cubicBezTo>
                    <a:cubicBezTo>
                      <a:pt x="1" y="2"/>
                      <a:pt x="1" y="2"/>
                      <a:pt x="1" y="2"/>
                    </a:cubicBezTo>
                    <a:cubicBezTo>
                      <a:pt x="0" y="3"/>
                      <a:pt x="0" y="3"/>
                      <a:pt x="0" y="3"/>
                    </a:cubicBezTo>
                    <a:cubicBezTo>
                      <a:pt x="2" y="6"/>
                      <a:pt x="2" y="6"/>
                      <a:pt x="2" y="6"/>
                    </a:cubicBezTo>
                    <a:cubicBezTo>
                      <a:pt x="2" y="11"/>
                      <a:pt x="2" y="11"/>
                      <a:pt x="2" y="11"/>
                    </a:cubicBezTo>
                    <a:cubicBezTo>
                      <a:pt x="3" y="15"/>
                      <a:pt x="3" y="15"/>
                      <a:pt x="3" y="15"/>
                    </a:cubicBezTo>
                    <a:cubicBezTo>
                      <a:pt x="6" y="15"/>
                      <a:pt x="6" y="15"/>
                      <a:pt x="6" y="15"/>
                    </a:cubicBezTo>
                    <a:cubicBezTo>
                      <a:pt x="9" y="11"/>
                      <a:pt x="9" y="11"/>
                      <a:pt x="9" y="11"/>
                    </a:cubicBezTo>
                    <a:cubicBezTo>
                      <a:pt x="9" y="10"/>
                      <a:pt x="9" y="10"/>
                      <a:pt x="9" y="10"/>
                    </a:cubicBezTo>
                    <a:cubicBezTo>
                      <a:pt x="13" y="7"/>
                      <a:pt x="13" y="7"/>
                      <a:pt x="13" y="7"/>
                    </a:cubicBezTo>
                    <a:cubicBezTo>
                      <a:pt x="13" y="5"/>
                      <a:pt x="13" y="5"/>
                      <a:pt x="13" y="5"/>
                    </a:cubicBezTo>
                    <a:cubicBezTo>
                      <a:pt x="10" y="4"/>
                      <a:pt x="10" y="4"/>
                      <a:pt x="10" y="4"/>
                    </a:cubicBezTo>
                    <a:cubicBezTo>
                      <a:pt x="10" y="4"/>
                      <a:pt x="10" y="3"/>
                      <a:pt x="10" y="3"/>
                    </a:cubicBezTo>
                    <a:cubicBezTo>
                      <a:pt x="10" y="3"/>
                      <a:pt x="11" y="1"/>
                      <a:pt x="11" y="1"/>
                    </a:cubicBezTo>
                    <a:cubicBezTo>
                      <a:pt x="10" y="0"/>
                      <a:pt x="10" y="0"/>
                      <a:pt x="10" y="0"/>
                    </a:cubicBezTo>
                    <a:lnTo>
                      <a:pt x="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7" name="Freeform 926">
                <a:extLst>
                  <a:ext uri="{FF2B5EF4-FFF2-40B4-BE49-F238E27FC236}">
                    <a16:creationId xmlns:a16="http://schemas.microsoft.com/office/drawing/2014/main" id="{936FCF1C-E1E5-5C5B-B3C7-161E579E141E}"/>
                  </a:ext>
                </a:extLst>
              </p:cNvPr>
              <p:cNvSpPr>
                <a:spLocks/>
              </p:cNvSpPr>
              <p:nvPr/>
            </p:nvSpPr>
            <p:spPr bwMode="auto">
              <a:xfrm>
                <a:off x="5218113" y="4459288"/>
                <a:ext cx="223837" cy="161925"/>
              </a:xfrm>
              <a:custGeom>
                <a:avLst/>
                <a:gdLst>
                  <a:gd name="T0" fmla="*/ 52 w 54"/>
                  <a:gd name="T1" fmla="*/ 17 h 39"/>
                  <a:gd name="T2" fmla="*/ 50 w 54"/>
                  <a:gd name="T3" fmla="*/ 17 h 39"/>
                  <a:gd name="T4" fmla="*/ 44 w 54"/>
                  <a:gd name="T5" fmla="*/ 12 h 39"/>
                  <a:gd name="T6" fmla="*/ 41 w 54"/>
                  <a:gd name="T7" fmla="*/ 9 h 39"/>
                  <a:gd name="T8" fmla="*/ 39 w 54"/>
                  <a:gd name="T9" fmla="*/ 3 h 39"/>
                  <a:gd name="T10" fmla="*/ 33 w 54"/>
                  <a:gd name="T11" fmla="*/ 0 h 39"/>
                  <a:gd name="T12" fmla="*/ 24 w 54"/>
                  <a:gd name="T13" fmla="*/ 4 h 39"/>
                  <a:gd name="T14" fmla="*/ 23 w 54"/>
                  <a:gd name="T15" fmla="*/ 7 h 39"/>
                  <a:gd name="T16" fmla="*/ 18 w 54"/>
                  <a:gd name="T17" fmla="*/ 7 h 39"/>
                  <a:gd name="T18" fmla="*/ 18 w 54"/>
                  <a:gd name="T19" fmla="*/ 10 h 39"/>
                  <a:gd name="T20" fmla="*/ 15 w 54"/>
                  <a:gd name="T21" fmla="*/ 13 h 39"/>
                  <a:gd name="T22" fmla="*/ 14 w 54"/>
                  <a:gd name="T23" fmla="*/ 14 h 39"/>
                  <a:gd name="T24" fmla="*/ 11 w 54"/>
                  <a:gd name="T25" fmla="*/ 11 h 39"/>
                  <a:gd name="T26" fmla="*/ 8 w 54"/>
                  <a:gd name="T27" fmla="*/ 15 h 39"/>
                  <a:gd name="T28" fmla="*/ 7 w 54"/>
                  <a:gd name="T29" fmla="*/ 17 h 39"/>
                  <a:gd name="T30" fmla="*/ 6 w 54"/>
                  <a:gd name="T31" fmla="*/ 21 h 39"/>
                  <a:gd name="T32" fmla="*/ 2 w 54"/>
                  <a:gd name="T33" fmla="*/ 24 h 39"/>
                  <a:gd name="T34" fmla="*/ 0 w 54"/>
                  <a:gd name="T35" fmla="*/ 28 h 39"/>
                  <a:gd name="T36" fmla="*/ 0 w 54"/>
                  <a:gd name="T37" fmla="*/ 31 h 39"/>
                  <a:gd name="T38" fmla="*/ 1 w 54"/>
                  <a:gd name="T39" fmla="*/ 33 h 39"/>
                  <a:gd name="T40" fmla="*/ 4 w 54"/>
                  <a:gd name="T41" fmla="*/ 36 h 39"/>
                  <a:gd name="T42" fmla="*/ 7 w 54"/>
                  <a:gd name="T43" fmla="*/ 37 h 39"/>
                  <a:gd name="T44" fmla="*/ 8 w 54"/>
                  <a:gd name="T45" fmla="*/ 38 h 39"/>
                  <a:gd name="T46" fmla="*/ 11 w 54"/>
                  <a:gd name="T47" fmla="*/ 36 h 39"/>
                  <a:gd name="T48" fmla="*/ 18 w 54"/>
                  <a:gd name="T49" fmla="*/ 39 h 39"/>
                  <a:gd name="T50" fmla="*/ 19 w 54"/>
                  <a:gd name="T51" fmla="*/ 37 h 39"/>
                  <a:gd name="T52" fmla="*/ 19 w 54"/>
                  <a:gd name="T53" fmla="*/ 32 h 39"/>
                  <a:gd name="T54" fmla="*/ 18 w 54"/>
                  <a:gd name="T55" fmla="*/ 28 h 39"/>
                  <a:gd name="T56" fmla="*/ 33 w 54"/>
                  <a:gd name="T57" fmla="*/ 28 h 39"/>
                  <a:gd name="T58" fmla="*/ 41 w 54"/>
                  <a:gd name="T59" fmla="*/ 29 h 39"/>
                  <a:gd name="T60" fmla="*/ 45 w 54"/>
                  <a:gd name="T61" fmla="*/ 28 h 39"/>
                  <a:gd name="T62" fmla="*/ 47 w 54"/>
                  <a:gd name="T63" fmla="*/ 27 h 39"/>
                  <a:gd name="T64" fmla="*/ 51 w 54"/>
                  <a:gd name="T65" fmla="*/ 25 h 39"/>
                  <a:gd name="T66" fmla="*/ 51 w 54"/>
                  <a:gd name="T67"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39">
                    <a:moveTo>
                      <a:pt x="53" y="19"/>
                    </a:moveTo>
                    <a:cubicBezTo>
                      <a:pt x="52" y="17"/>
                      <a:pt x="52" y="17"/>
                      <a:pt x="52" y="17"/>
                    </a:cubicBezTo>
                    <a:cubicBezTo>
                      <a:pt x="51" y="17"/>
                      <a:pt x="51" y="17"/>
                      <a:pt x="51" y="17"/>
                    </a:cubicBezTo>
                    <a:cubicBezTo>
                      <a:pt x="50" y="17"/>
                      <a:pt x="50" y="17"/>
                      <a:pt x="50" y="17"/>
                    </a:cubicBezTo>
                    <a:cubicBezTo>
                      <a:pt x="44" y="14"/>
                      <a:pt x="44" y="14"/>
                      <a:pt x="44" y="14"/>
                    </a:cubicBezTo>
                    <a:cubicBezTo>
                      <a:pt x="44" y="12"/>
                      <a:pt x="44" y="12"/>
                      <a:pt x="44" y="12"/>
                    </a:cubicBezTo>
                    <a:cubicBezTo>
                      <a:pt x="46" y="12"/>
                      <a:pt x="46" y="12"/>
                      <a:pt x="46" y="12"/>
                    </a:cubicBezTo>
                    <a:cubicBezTo>
                      <a:pt x="41" y="9"/>
                      <a:pt x="41" y="9"/>
                      <a:pt x="41" y="9"/>
                    </a:cubicBezTo>
                    <a:cubicBezTo>
                      <a:pt x="38" y="4"/>
                      <a:pt x="38" y="4"/>
                      <a:pt x="38" y="4"/>
                    </a:cubicBezTo>
                    <a:cubicBezTo>
                      <a:pt x="39" y="3"/>
                      <a:pt x="39" y="3"/>
                      <a:pt x="39" y="3"/>
                    </a:cubicBezTo>
                    <a:cubicBezTo>
                      <a:pt x="39" y="1"/>
                      <a:pt x="39" y="1"/>
                      <a:pt x="39" y="1"/>
                    </a:cubicBezTo>
                    <a:cubicBezTo>
                      <a:pt x="33" y="0"/>
                      <a:pt x="33" y="0"/>
                      <a:pt x="33" y="0"/>
                    </a:cubicBezTo>
                    <a:cubicBezTo>
                      <a:pt x="30" y="2"/>
                      <a:pt x="30" y="2"/>
                      <a:pt x="30" y="2"/>
                    </a:cubicBezTo>
                    <a:cubicBezTo>
                      <a:pt x="24" y="4"/>
                      <a:pt x="24" y="4"/>
                      <a:pt x="24" y="4"/>
                    </a:cubicBezTo>
                    <a:cubicBezTo>
                      <a:pt x="24" y="6"/>
                      <a:pt x="24" y="6"/>
                      <a:pt x="24" y="6"/>
                    </a:cubicBezTo>
                    <a:cubicBezTo>
                      <a:pt x="23" y="7"/>
                      <a:pt x="23" y="7"/>
                      <a:pt x="23" y="7"/>
                    </a:cubicBezTo>
                    <a:cubicBezTo>
                      <a:pt x="20" y="6"/>
                      <a:pt x="20" y="6"/>
                      <a:pt x="20" y="6"/>
                    </a:cubicBezTo>
                    <a:cubicBezTo>
                      <a:pt x="20" y="6"/>
                      <a:pt x="18" y="7"/>
                      <a:pt x="18" y="7"/>
                    </a:cubicBezTo>
                    <a:cubicBezTo>
                      <a:pt x="18" y="7"/>
                      <a:pt x="18" y="8"/>
                      <a:pt x="18" y="8"/>
                    </a:cubicBezTo>
                    <a:cubicBezTo>
                      <a:pt x="18" y="9"/>
                      <a:pt x="18" y="10"/>
                      <a:pt x="18" y="10"/>
                    </a:cubicBezTo>
                    <a:cubicBezTo>
                      <a:pt x="15" y="10"/>
                      <a:pt x="15" y="10"/>
                      <a:pt x="15" y="10"/>
                    </a:cubicBezTo>
                    <a:cubicBezTo>
                      <a:pt x="15" y="13"/>
                      <a:pt x="15" y="13"/>
                      <a:pt x="15" y="13"/>
                    </a:cubicBezTo>
                    <a:cubicBezTo>
                      <a:pt x="14" y="13"/>
                      <a:pt x="14" y="13"/>
                      <a:pt x="14" y="13"/>
                    </a:cubicBezTo>
                    <a:cubicBezTo>
                      <a:pt x="14" y="14"/>
                      <a:pt x="14" y="14"/>
                      <a:pt x="14" y="14"/>
                    </a:cubicBezTo>
                    <a:cubicBezTo>
                      <a:pt x="11" y="12"/>
                      <a:pt x="11" y="12"/>
                      <a:pt x="11" y="12"/>
                    </a:cubicBezTo>
                    <a:cubicBezTo>
                      <a:pt x="11" y="11"/>
                      <a:pt x="11" y="11"/>
                      <a:pt x="11" y="11"/>
                    </a:cubicBezTo>
                    <a:cubicBezTo>
                      <a:pt x="8" y="14"/>
                      <a:pt x="8" y="14"/>
                      <a:pt x="8" y="14"/>
                    </a:cubicBezTo>
                    <a:cubicBezTo>
                      <a:pt x="8" y="15"/>
                      <a:pt x="8" y="15"/>
                      <a:pt x="8" y="15"/>
                    </a:cubicBezTo>
                    <a:cubicBezTo>
                      <a:pt x="9" y="17"/>
                      <a:pt x="9" y="17"/>
                      <a:pt x="9" y="17"/>
                    </a:cubicBezTo>
                    <a:cubicBezTo>
                      <a:pt x="7" y="17"/>
                      <a:pt x="7" y="17"/>
                      <a:pt x="7" y="17"/>
                    </a:cubicBezTo>
                    <a:cubicBezTo>
                      <a:pt x="8" y="19"/>
                      <a:pt x="8" y="19"/>
                      <a:pt x="8" y="19"/>
                    </a:cubicBezTo>
                    <a:cubicBezTo>
                      <a:pt x="6" y="21"/>
                      <a:pt x="6" y="21"/>
                      <a:pt x="6" y="21"/>
                    </a:cubicBezTo>
                    <a:cubicBezTo>
                      <a:pt x="1" y="23"/>
                      <a:pt x="1" y="23"/>
                      <a:pt x="1" y="23"/>
                    </a:cubicBezTo>
                    <a:cubicBezTo>
                      <a:pt x="2" y="24"/>
                      <a:pt x="2" y="24"/>
                      <a:pt x="2" y="24"/>
                    </a:cubicBezTo>
                    <a:cubicBezTo>
                      <a:pt x="2" y="26"/>
                      <a:pt x="2" y="26"/>
                      <a:pt x="2" y="26"/>
                    </a:cubicBezTo>
                    <a:cubicBezTo>
                      <a:pt x="0" y="28"/>
                      <a:pt x="0" y="28"/>
                      <a:pt x="0" y="28"/>
                    </a:cubicBezTo>
                    <a:cubicBezTo>
                      <a:pt x="0" y="28"/>
                      <a:pt x="1" y="29"/>
                      <a:pt x="1" y="29"/>
                    </a:cubicBezTo>
                    <a:cubicBezTo>
                      <a:pt x="1" y="30"/>
                      <a:pt x="0" y="31"/>
                      <a:pt x="0" y="31"/>
                    </a:cubicBezTo>
                    <a:cubicBezTo>
                      <a:pt x="0" y="32"/>
                      <a:pt x="0" y="32"/>
                      <a:pt x="0" y="32"/>
                    </a:cubicBezTo>
                    <a:cubicBezTo>
                      <a:pt x="1" y="33"/>
                      <a:pt x="1" y="33"/>
                      <a:pt x="1" y="33"/>
                    </a:cubicBezTo>
                    <a:cubicBezTo>
                      <a:pt x="3" y="33"/>
                      <a:pt x="3" y="33"/>
                      <a:pt x="3" y="33"/>
                    </a:cubicBezTo>
                    <a:cubicBezTo>
                      <a:pt x="4" y="36"/>
                      <a:pt x="4" y="36"/>
                      <a:pt x="4" y="36"/>
                    </a:cubicBezTo>
                    <a:cubicBezTo>
                      <a:pt x="5" y="38"/>
                      <a:pt x="5" y="38"/>
                      <a:pt x="5" y="38"/>
                    </a:cubicBezTo>
                    <a:cubicBezTo>
                      <a:pt x="7" y="37"/>
                      <a:pt x="7" y="37"/>
                      <a:pt x="7" y="37"/>
                    </a:cubicBezTo>
                    <a:cubicBezTo>
                      <a:pt x="7" y="37"/>
                      <a:pt x="7" y="38"/>
                      <a:pt x="7" y="38"/>
                    </a:cubicBezTo>
                    <a:cubicBezTo>
                      <a:pt x="7" y="38"/>
                      <a:pt x="8" y="38"/>
                      <a:pt x="8" y="38"/>
                    </a:cubicBezTo>
                    <a:cubicBezTo>
                      <a:pt x="8" y="37"/>
                      <a:pt x="8" y="37"/>
                      <a:pt x="8" y="37"/>
                    </a:cubicBezTo>
                    <a:cubicBezTo>
                      <a:pt x="11" y="36"/>
                      <a:pt x="11" y="36"/>
                      <a:pt x="11" y="36"/>
                    </a:cubicBezTo>
                    <a:cubicBezTo>
                      <a:pt x="16" y="36"/>
                      <a:pt x="16" y="36"/>
                      <a:pt x="16" y="36"/>
                    </a:cubicBezTo>
                    <a:cubicBezTo>
                      <a:pt x="18" y="39"/>
                      <a:pt x="18" y="39"/>
                      <a:pt x="18" y="39"/>
                    </a:cubicBezTo>
                    <a:cubicBezTo>
                      <a:pt x="19" y="39"/>
                      <a:pt x="19" y="39"/>
                      <a:pt x="19" y="39"/>
                    </a:cubicBezTo>
                    <a:cubicBezTo>
                      <a:pt x="19" y="37"/>
                      <a:pt x="19" y="37"/>
                      <a:pt x="19" y="37"/>
                    </a:cubicBezTo>
                    <a:cubicBezTo>
                      <a:pt x="18" y="34"/>
                      <a:pt x="18" y="34"/>
                      <a:pt x="18" y="34"/>
                    </a:cubicBezTo>
                    <a:cubicBezTo>
                      <a:pt x="19" y="32"/>
                      <a:pt x="19" y="32"/>
                      <a:pt x="19" y="32"/>
                    </a:cubicBezTo>
                    <a:cubicBezTo>
                      <a:pt x="18" y="31"/>
                      <a:pt x="18" y="31"/>
                      <a:pt x="18" y="31"/>
                    </a:cubicBezTo>
                    <a:cubicBezTo>
                      <a:pt x="18" y="28"/>
                      <a:pt x="18" y="28"/>
                      <a:pt x="18" y="28"/>
                    </a:cubicBezTo>
                    <a:cubicBezTo>
                      <a:pt x="32" y="28"/>
                      <a:pt x="32" y="28"/>
                      <a:pt x="32" y="28"/>
                    </a:cubicBezTo>
                    <a:cubicBezTo>
                      <a:pt x="33" y="28"/>
                      <a:pt x="33" y="28"/>
                      <a:pt x="33" y="28"/>
                    </a:cubicBezTo>
                    <a:cubicBezTo>
                      <a:pt x="37" y="28"/>
                      <a:pt x="37" y="28"/>
                      <a:pt x="37" y="28"/>
                    </a:cubicBezTo>
                    <a:cubicBezTo>
                      <a:pt x="41" y="29"/>
                      <a:pt x="41" y="29"/>
                      <a:pt x="41" y="29"/>
                    </a:cubicBezTo>
                    <a:cubicBezTo>
                      <a:pt x="44" y="29"/>
                      <a:pt x="44" y="29"/>
                      <a:pt x="44" y="29"/>
                    </a:cubicBezTo>
                    <a:cubicBezTo>
                      <a:pt x="45" y="28"/>
                      <a:pt x="45" y="28"/>
                      <a:pt x="45" y="28"/>
                    </a:cubicBezTo>
                    <a:cubicBezTo>
                      <a:pt x="45" y="27"/>
                      <a:pt x="45" y="27"/>
                      <a:pt x="45" y="27"/>
                    </a:cubicBezTo>
                    <a:cubicBezTo>
                      <a:pt x="45" y="27"/>
                      <a:pt x="47" y="27"/>
                      <a:pt x="47" y="27"/>
                    </a:cubicBezTo>
                    <a:cubicBezTo>
                      <a:pt x="47" y="27"/>
                      <a:pt x="47" y="25"/>
                      <a:pt x="47" y="25"/>
                    </a:cubicBezTo>
                    <a:cubicBezTo>
                      <a:pt x="51" y="25"/>
                      <a:pt x="51" y="25"/>
                      <a:pt x="51" y="25"/>
                    </a:cubicBezTo>
                    <a:cubicBezTo>
                      <a:pt x="54" y="22"/>
                      <a:pt x="54" y="22"/>
                      <a:pt x="54" y="22"/>
                    </a:cubicBezTo>
                    <a:cubicBezTo>
                      <a:pt x="51" y="19"/>
                      <a:pt x="51" y="19"/>
                      <a:pt x="51" y="19"/>
                    </a:cubicBezTo>
                    <a:lnTo>
                      <a:pt x="53"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8" name="Freeform 927">
                <a:extLst>
                  <a:ext uri="{FF2B5EF4-FFF2-40B4-BE49-F238E27FC236}">
                    <a16:creationId xmlns:a16="http://schemas.microsoft.com/office/drawing/2014/main" id="{687D8EDF-5291-6575-888A-59AAB3A5D5C1}"/>
                  </a:ext>
                </a:extLst>
              </p:cNvPr>
              <p:cNvSpPr>
                <a:spLocks/>
              </p:cNvSpPr>
              <p:nvPr/>
            </p:nvSpPr>
            <p:spPr bwMode="auto">
              <a:xfrm>
                <a:off x="5937250" y="5400675"/>
                <a:ext cx="266700" cy="277813"/>
              </a:xfrm>
              <a:custGeom>
                <a:avLst/>
                <a:gdLst>
                  <a:gd name="T0" fmla="*/ 160 w 168"/>
                  <a:gd name="T1" fmla="*/ 76 h 175"/>
                  <a:gd name="T2" fmla="*/ 145 w 168"/>
                  <a:gd name="T3" fmla="*/ 73 h 175"/>
                  <a:gd name="T4" fmla="*/ 137 w 168"/>
                  <a:gd name="T5" fmla="*/ 63 h 175"/>
                  <a:gd name="T6" fmla="*/ 137 w 168"/>
                  <a:gd name="T7" fmla="*/ 52 h 175"/>
                  <a:gd name="T8" fmla="*/ 131 w 168"/>
                  <a:gd name="T9" fmla="*/ 52 h 175"/>
                  <a:gd name="T10" fmla="*/ 129 w 168"/>
                  <a:gd name="T11" fmla="*/ 44 h 175"/>
                  <a:gd name="T12" fmla="*/ 118 w 168"/>
                  <a:gd name="T13" fmla="*/ 39 h 175"/>
                  <a:gd name="T14" fmla="*/ 110 w 168"/>
                  <a:gd name="T15" fmla="*/ 34 h 175"/>
                  <a:gd name="T16" fmla="*/ 108 w 168"/>
                  <a:gd name="T17" fmla="*/ 23 h 175"/>
                  <a:gd name="T18" fmla="*/ 95 w 168"/>
                  <a:gd name="T19" fmla="*/ 5 h 175"/>
                  <a:gd name="T20" fmla="*/ 95 w 168"/>
                  <a:gd name="T21" fmla="*/ 0 h 175"/>
                  <a:gd name="T22" fmla="*/ 89 w 168"/>
                  <a:gd name="T23" fmla="*/ 0 h 175"/>
                  <a:gd name="T24" fmla="*/ 82 w 168"/>
                  <a:gd name="T25" fmla="*/ 5 h 175"/>
                  <a:gd name="T26" fmla="*/ 82 w 168"/>
                  <a:gd name="T27" fmla="*/ 5 h 175"/>
                  <a:gd name="T28" fmla="*/ 76 w 168"/>
                  <a:gd name="T29" fmla="*/ 5 h 175"/>
                  <a:gd name="T30" fmla="*/ 66 w 168"/>
                  <a:gd name="T31" fmla="*/ 13 h 175"/>
                  <a:gd name="T32" fmla="*/ 61 w 168"/>
                  <a:gd name="T33" fmla="*/ 5 h 175"/>
                  <a:gd name="T34" fmla="*/ 19 w 168"/>
                  <a:gd name="T35" fmla="*/ 10 h 175"/>
                  <a:gd name="T36" fmla="*/ 19 w 168"/>
                  <a:gd name="T37" fmla="*/ 78 h 175"/>
                  <a:gd name="T38" fmla="*/ 0 w 168"/>
                  <a:gd name="T39" fmla="*/ 81 h 175"/>
                  <a:gd name="T40" fmla="*/ 0 w 168"/>
                  <a:gd name="T41" fmla="*/ 134 h 175"/>
                  <a:gd name="T42" fmla="*/ 8 w 168"/>
                  <a:gd name="T43" fmla="*/ 139 h 175"/>
                  <a:gd name="T44" fmla="*/ 11 w 168"/>
                  <a:gd name="T45" fmla="*/ 144 h 175"/>
                  <a:gd name="T46" fmla="*/ 13 w 168"/>
                  <a:gd name="T47" fmla="*/ 149 h 175"/>
                  <a:gd name="T48" fmla="*/ 16 w 168"/>
                  <a:gd name="T49" fmla="*/ 157 h 175"/>
                  <a:gd name="T50" fmla="*/ 16 w 168"/>
                  <a:gd name="T51" fmla="*/ 160 h 175"/>
                  <a:gd name="T52" fmla="*/ 11 w 168"/>
                  <a:gd name="T53" fmla="*/ 170 h 175"/>
                  <a:gd name="T54" fmla="*/ 13 w 168"/>
                  <a:gd name="T55" fmla="*/ 175 h 175"/>
                  <a:gd name="T56" fmla="*/ 13 w 168"/>
                  <a:gd name="T57" fmla="*/ 175 h 175"/>
                  <a:gd name="T58" fmla="*/ 16 w 168"/>
                  <a:gd name="T59" fmla="*/ 175 h 175"/>
                  <a:gd name="T60" fmla="*/ 24 w 168"/>
                  <a:gd name="T61" fmla="*/ 175 h 175"/>
                  <a:gd name="T62" fmla="*/ 27 w 168"/>
                  <a:gd name="T63" fmla="*/ 175 h 175"/>
                  <a:gd name="T64" fmla="*/ 32 w 168"/>
                  <a:gd name="T65" fmla="*/ 175 h 175"/>
                  <a:gd name="T66" fmla="*/ 32 w 168"/>
                  <a:gd name="T67" fmla="*/ 173 h 175"/>
                  <a:gd name="T68" fmla="*/ 37 w 168"/>
                  <a:gd name="T69" fmla="*/ 173 h 175"/>
                  <a:gd name="T70" fmla="*/ 47 w 168"/>
                  <a:gd name="T71" fmla="*/ 160 h 175"/>
                  <a:gd name="T72" fmla="*/ 50 w 168"/>
                  <a:gd name="T73" fmla="*/ 149 h 175"/>
                  <a:gd name="T74" fmla="*/ 55 w 168"/>
                  <a:gd name="T75" fmla="*/ 144 h 175"/>
                  <a:gd name="T76" fmla="*/ 63 w 168"/>
                  <a:gd name="T77" fmla="*/ 144 h 175"/>
                  <a:gd name="T78" fmla="*/ 71 w 168"/>
                  <a:gd name="T79" fmla="*/ 152 h 175"/>
                  <a:gd name="T80" fmla="*/ 74 w 168"/>
                  <a:gd name="T81" fmla="*/ 152 h 175"/>
                  <a:gd name="T82" fmla="*/ 74 w 168"/>
                  <a:gd name="T83" fmla="*/ 149 h 175"/>
                  <a:gd name="T84" fmla="*/ 84 w 168"/>
                  <a:gd name="T85" fmla="*/ 155 h 175"/>
                  <a:gd name="T86" fmla="*/ 100 w 168"/>
                  <a:gd name="T87" fmla="*/ 152 h 175"/>
                  <a:gd name="T88" fmla="*/ 105 w 168"/>
                  <a:gd name="T89" fmla="*/ 139 h 175"/>
                  <a:gd name="T90" fmla="*/ 105 w 168"/>
                  <a:gd name="T91" fmla="*/ 134 h 175"/>
                  <a:gd name="T92" fmla="*/ 116 w 168"/>
                  <a:gd name="T93" fmla="*/ 131 h 175"/>
                  <a:gd name="T94" fmla="*/ 124 w 168"/>
                  <a:gd name="T95" fmla="*/ 123 h 175"/>
                  <a:gd name="T96" fmla="*/ 126 w 168"/>
                  <a:gd name="T97" fmla="*/ 113 h 175"/>
                  <a:gd name="T98" fmla="*/ 129 w 168"/>
                  <a:gd name="T99" fmla="*/ 110 h 175"/>
                  <a:gd name="T100" fmla="*/ 139 w 168"/>
                  <a:gd name="T101" fmla="*/ 105 h 175"/>
                  <a:gd name="T102" fmla="*/ 150 w 168"/>
                  <a:gd name="T103" fmla="*/ 92 h 175"/>
                  <a:gd name="T104" fmla="*/ 160 w 168"/>
                  <a:gd name="T105" fmla="*/ 89 h 175"/>
                  <a:gd name="T106" fmla="*/ 163 w 168"/>
                  <a:gd name="T107" fmla="*/ 84 h 175"/>
                  <a:gd name="T108" fmla="*/ 168 w 168"/>
                  <a:gd name="T109" fmla="*/ 84 h 175"/>
                  <a:gd name="T110" fmla="*/ 160 w 168"/>
                  <a:gd name="T111" fmla="*/ 81 h 175"/>
                  <a:gd name="T112" fmla="*/ 160 w 168"/>
                  <a:gd name="T113" fmla="*/ 7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75">
                    <a:moveTo>
                      <a:pt x="160" y="76"/>
                    </a:moveTo>
                    <a:lnTo>
                      <a:pt x="145" y="73"/>
                    </a:lnTo>
                    <a:lnTo>
                      <a:pt x="137" y="63"/>
                    </a:lnTo>
                    <a:lnTo>
                      <a:pt x="137" y="52"/>
                    </a:lnTo>
                    <a:lnTo>
                      <a:pt x="131" y="52"/>
                    </a:lnTo>
                    <a:lnTo>
                      <a:pt x="129" y="44"/>
                    </a:lnTo>
                    <a:lnTo>
                      <a:pt x="118" y="39"/>
                    </a:lnTo>
                    <a:lnTo>
                      <a:pt x="110" y="34"/>
                    </a:lnTo>
                    <a:lnTo>
                      <a:pt x="108" y="23"/>
                    </a:lnTo>
                    <a:lnTo>
                      <a:pt x="95" y="5"/>
                    </a:lnTo>
                    <a:lnTo>
                      <a:pt x="95" y="0"/>
                    </a:lnTo>
                    <a:lnTo>
                      <a:pt x="89" y="0"/>
                    </a:lnTo>
                    <a:lnTo>
                      <a:pt x="82" y="5"/>
                    </a:lnTo>
                    <a:lnTo>
                      <a:pt x="82" y="5"/>
                    </a:lnTo>
                    <a:lnTo>
                      <a:pt x="76" y="5"/>
                    </a:lnTo>
                    <a:lnTo>
                      <a:pt x="66" y="13"/>
                    </a:lnTo>
                    <a:lnTo>
                      <a:pt x="61" y="5"/>
                    </a:lnTo>
                    <a:lnTo>
                      <a:pt x="19" y="10"/>
                    </a:lnTo>
                    <a:lnTo>
                      <a:pt x="19" y="78"/>
                    </a:lnTo>
                    <a:lnTo>
                      <a:pt x="0" y="81"/>
                    </a:lnTo>
                    <a:lnTo>
                      <a:pt x="0" y="134"/>
                    </a:lnTo>
                    <a:lnTo>
                      <a:pt x="8" y="139"/>
                    </a:lnTo>
                    <a:lnTo>
                      <a:pt x="11" y="144"/>
                    </a:lnTo>
                    <a:lnTo>
                      <a:pt x="13" y="149"/>
                    </a:lnTo>
                    <a:lnTo>
                      <a:pt x="16" y="157"/>
                    </a:lnTo>
                    <a:lnTo>
                      <a:pt x="16" y="160"/>
                    </a:lnTo>
                    <a:lnTo>
                      <a:pt x="11" y="170"/>
                    </a:lnTo>
                    <a:lnTo>
                      <a:pt x="13" y="175"/>
                    </a:lnTo>
                    <a:lnTo>
                      <a:pt x="13" y="175"/>
                    </a:lnTo>
                    <a:lnTo>
                      <a:pt x="16" y="175"/>
                    </a:lnTo>
                    <a:lnTo>
                      <a:pt x="24" y="175"/>
                    </a:lnTo>
                    <a:lnTo>
                      <a:pt x="27" y="175"/>
                    </a:lnTo>
                    <a:lnTo>
                      <a:pt x="32" y="175"/>
                    </a:lnTo>
                    <a:lnTo>
                      <a:pt x="32" y="173"/>
                    </a:lnTo>
                    <a:lnTo>
                      <a:pt x="37" y="173"/>
                    </a:lnTo>
                    <a:lnTo>
                      <a:pt x="47" y="160"/>
                    </a:lnTo>
                    <a:lnTo>
                      <a:pt x="50" y="149"/>
                    </a:lnTo>
                    <a:lnTo>
                      <a:pt x="55" y="144"/>
                    </a:lnTo>
                    <a:lnTo>
                      <a:pt x="63" y="144"/>
                    </a:lnTo>
                    <a:lnTo>
                      <a:pt x="71" y="152"/>
                    </a:lnTo>
                    <a:lnTo>
                      <a:pt x="74" y="152"/>
                    </a:lnTo>
                    <a:lnTo>
                      <a:pt x="74" y="149"/>
                    </a:lnTo>
                    <a:lnTo>
                      <a:pt x="84" y="155"/>
                    </a:lnTo>
                    <a:lnTo>
                      <a:pt x="100" y="152"/>
                    </a:lnTo>
                    <a:lnTo>
                      <a:pt x="105" y="139"/>
                    </a:lnTo>
                    <a:lnTo>
                      <a:pt x="105" y="134"/>
                    </a:lnTo>
                    <a:lnTo>
                      <a:pt x="116" y="131"/>
                    </a:lnTo>
                    <a:lnTo>
                      <a:pt x="124" y="123"/>
                    </a:lnTo>
                    <a:lnTo>
                      <a:pt x="126" y="113"/>
                    </a:lnTo>
                    <a:lnTo>
                      <a:pt x="129" y="110"/>
                    </a:lnTo>
                    <a:lnTo>
                      <a:pt x="139" y="105"/>
                    </a:lnTo>
                    <a:lnTo>
                      <a:pt x="150" y="92"/>
                    </a:lnTo>
                    <a:lnTo>
                      <a:pt x="160" y="89"/>
                    </a:lnTo>
                    <a:lnTo>
                      <a:pt x="163" y="84"/>
                    </a:lnTo>
                    <a:lnTo>
                      <a:pt x="168" y="84"/>
                    </a:lnTo>
                    <a:lnTo>
                      <a:pt x="160" y="81"/>
                    </a:lnTo>
                    <a:lnTo>
                      <a:pt x="160"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9" name="Freeform 928">
                <a:extLst>
                  <a:ext uri="{FF2B5EF4-FFF2-40B4-BE49-F238E27FC236}">
                    <a16:creationId xmlns:a16="http://schemas.microsoft.com/office/drawing/2014/main" id="{17ECDC16-2176-0066-9664-F66538E50A30}"/>
                  </a:ext>
                </a:extLst>
              </p:cNvPr>
              <p:cNvSpPr>
                <a:spLocks/>
              </p:cNvSpPr>
              <p:nvPr/>
            </p:nvSpPr>
            <p:spPr bwMode="auto">
              <a:xfrm>
                <a:off x="5395913" y="4538663"/>
                <a:ext cx="84137" cy="177800"/>
              </a:xfrm>
              <a:custGeom>
                <a:avLst/>
                <a:gdLst>
                  <a:gd name="T0" fmla="*/ 10 w 20"/>
                  <a:gd name="T1" fmla="*/ 1 h 43"/>
                  <a:gd name="T2" fmla="*/ 11 w 20"/>
                  <a:gd name="T3" fmla="*/ 3 h 43"/>
                  <a:gd name="T4" fmla="*/ 8 w 20"/>
                  <a:gd name="T5" fmla="*/ 6 h 43"/>
                  <a:gd name="T6" fmla="*/ 4 w 20"/>
                  <a:gd name="T7" fmla="*/ 6 h 43"/>
                  <a:gd name="T8" fmla="*/ 4 w 20"/>
                  <a:gd name="T9" fmla="*/ 8 h 43"/>
                  <a:gd name="T10" fmla="*/ 2 w 20"/>
                  <a:gd name="T11" fmla="*/ 8 h 43"/>
                  <a:gd name="T12" fmla="*/ 2 w 20"/>
                  <a:gd name="T13" fmla="*/ 9 h 43"/>
                  <a:gd name="T14" fmla="*/ 1 w 20"/>
                  <a:gd name="T15" fmla="*/ 10 h 43"/>
                  <a:gd name="T16" fmla="*/ 0 w 20"/>
                  <a:gd name="T17" fmla="*/ 13 h 43"/>
                  <a:gd name="T18" fmla="*/ 0 w 20"/>
                  <a:gd name="T19" fmla="*/ 14 h 43"/>
                  <a:gd name="T20" fmla="*/ 4 w 20"/>
                  <a:gd name="T21" fmla="*/ 17 h 43"/>
                  <a:gd name="T22" fmla="*/ 4 w 20"/>
                  <a:gd name="T23" fmla="*/ 21 h 43"/>
                  <a:gd name="T24" fmla="*/ 6 w 20"/>
                  <a:gd name="T25" fmla="*/ 23 h 43"/>
                  <a:gd name="T26" fmla="*/ 5 w 20"/>
                  <a:gd name="T27" fmla="*/ 39 h 43"/>
                  <a:gd name="T28" fmla="*/ 7 w 20"/>
                  <a:gd name="T29" fmla="*/ 41 h 43"/>
                  <a:gd name="T30" fmla="*/ 5 w 20"/>
                  <a:gd name="T31" fmla="*/ 42 h 43"/>
                  <a:gd name="T32" fmla="*/ 5 w 20"/>
                  <a:gd name="T33" fmla="*/ 43 h 43"/>
                  <a:gd name="T34" fmla="*/ 7 w 20"/>
                  <a:gd name="T35" fmla="*/ 42 h 43"/>
                  <a:gd name="T36" fmla="*/ 9 w 20"/>
                  <a:gd name="T37" fmla="*/ 42 h 43"/>
                  <a:gd name="T38" fmla="*/ 13 w 20"/>
                  <a:gd name="T39" fmla="*/ 42 h 43"/>
                  <a:gd name="T40" fmla="*/ 13 w 20"/>
                  <a:gd name="T41" fmla="*/ 33 h 43"/>
                  <a:gd name="T42" fmla="*/ 13 w 20"/>
                  <a:gd name="T43" fmla="*/ 31 h 43"/>
                  <a:gd name="T44" fmla="*/ 13 w 20"/>
                  <a:gd name="T45" fmla="*/ 23 h 43"/>
                  <a:gd name="T46" fmla="*/ 16 w 20"/>
                  <a:gd name="T47" fmla="*/ 23 h 43"/>
                  <a:gd name="T48" fmla="*/ 17 w 20"/>
                  <a:gd name="T49" fmla="*/ 18 h 43"/>
                  <a:gd name="T50" fmla="*/ 19 w 20"/>
                  <a:gd name="T51" fmla="*/ 17 h 43"/>
                  <a:gd name="T52" fmla="*/ 19 w 20"/>
                  <a:gd name="T53" fmla="*/ 15 h 43"/>
                  <a:gd name="T54" fmla="*/ 19 w 20"/>
                  <a:gd name="T55" fmla="*/ 14 h 43"/>
                  <a:gd name="T56" fmla="*/ 20 w 20"/>
                  <a:gd name="T57" fmla="*/ 14 h 43"/>
                  <a:gd name="T58" fmla="*/ 20 w 20"/>
                  <a:gd name="T59" fmla="*/ 11 h 43"/>
                  <a:gd name="T60" fmla="*/ 20 w 20"/>
                  <a:gd name="T61" fmla="*/ 9 h 43"/>
                  <a:gd name="T62" fmla="*/ 18 w 20"/>
                  <a:gd name="T63" fmla="*/ 8 h 43"/>
                  <a:gd name="T64" fmla="*/ 18 w 20"/>
                  <a:gd name="T65" fmla="*/ 7 h 43"/>
                  <a:gd name="T66" fmla="*/ 19 w 20"/>
                  <a:gd name="T67" fmla="*/ 6 h 43"/>
                  <a:gd name="T68" fmla="*/ 19 w 20"/>
                  <a:gd name="T69" fmla="*/ 4 h 43"/>
                  <a:gd name="T70" fmla="*/ 13 w 20"/>
                  <a:gd name="T71" fmla="*/ 0 h 43"/>
                  <a:gd name="T72" fmla="*/ 10 w 20"/>
                  <a:gd name="T73"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43">
                    <a:moveTo>
                      <a:pt x="10" y="1"/>
                    </a:moveTo>
                    <a:cubicBezTo>
                      <a:pt x="11" y="3"/>
                      <a:pt x="11" y="3"/>
                      <a:pt x="11" y="3"/>
                    </a:cubicBezTo>
                    <a:cubicBezTo>
                      <a:pt x="8" y="6"/>
                      <a:pt x="8" y="6"/>
                      <a:pt x="8" y="6"/>
                    </a:cubicBezTo>
                    <a:cubicBezTo>
                      <a:pt x="4" y="6"/>
                      <a:pt x="4" y="6"/>
                      <a:pt x="4" y="6"/>
                    </a:cubicBezTo>
                    <a:cubicBezTo>
                      <a:pt x="4" y="6"/>
                      <a:pt x="4" y="8"/>
                      <a:pt x="4" y="8"/>
                    </a:cubicBezTo>
                    <a:cubicBezTo>
                      <a:pt x="4" y="8"/>
                      <a:pt x="2" y="8"/>
                      <a:pt x="2" y="8"/>
                    </a:cubicBezTo>
                    <a:cubicBezTo>
                      <a:pt x="2" y="9"/>
                      <a:pt x="2" y="9"/>
                      <a:pt x="2" y="9"/>
                    </a:cubicBezTo>
                    <a:cubicBezTo>
                      <a:pt x="1" y="10"/>
                      <a:pt x="1" y="10"/>
                      <a:pt x="1" y="10"/>
                    </a:cubicBezTo>
                    <a:cubicBezTo>
                      <a:pt x="0" y="13"/>
                      <a:pt x="0" y="13"/>
                      <a:pt x="0" y="13"/>
                    </a:cubicBezTo>
                    <a:cubicBezTo>
                      <a:pt x="0" y="14"/>
                      <a:pt x="0" y="14"/>
                      <a:pt x="0" y="14"/>
                    </a:cubicBezTo>
                    <a:cubicBezTo>
                      <a:pt x="4" y="17"/>
                      <a:pt x="4" y="17"/>
                      <a:pt x="4" y="17"/>
                    </a:cubicBezTo>
                    <a:cubicBezTo>
                      <a:pt x="4" y="21"/>
                      <a:pt x="4" y="21"/>
                      <a:pt x="4" y="21"/>
                    </a:cubicBezTo>
                    <a:cubicBezTo>
                      <a:pt x="6" y="23"/>
                      <a:pt x="6" y="23"/>
                      <a:pt x="6" y="23"/>
                    </a:cubicBezTo>
                    <a:cubicBezTo>
                      <a:pt x="5" y="39"/>
                      <a:pt x="5" y="39"/>
                      <a:pt x="5" y="39"/>
                    </a:cubicBezTo>
                    <a:cubicBezTo>
                      <a:pt x="7" y="41"/>
                      <a:pt x="7" y="41"/>
                      <a:pt x="7" y="41"/>
                    </a:cubicBezTo>
                    <a:cubicBezTo>
                      <a:pt x="5" y="42"/>
                      <a:pt x="5" y="42"/>
                      <a:pt x="5" y="42"/>
                    </a:cubicBezTo>
                    <a:cubicBezTo>
                      <a:pt x="5" y="43"/>
                      <a:pt x="5" y="43"/>
                      <a:pt x="5" y="43"/>
                    </a:cubicBezTo>
                    <a:cubicBezTo>
                      <a:pt x="6" y="43"/>
                      <a:pt x="6" y="43"/>
                      <a:pt x="7" y="42"/>
                    </a:cubicBezTo>
                    <a:cubicBezTo>
                      <a:pt x="7" y="43"/>
                      <a:pt x="8" y="43"/>
                      <a:pt x="9" y="42"/>
                    </a:cubicBezTo>
                    <a:cubicBezTo>
                      <a:pt x="10" y="42"/>
                      <a:pt x="12" y="42"/>
                      <a:pt x="13" y="42"/>
                    </a:cubicBezTo>
                    <a:cubicBezTo>
                      <a:pt x="13" y="33"/>
                      <a:pt x="13" y="33"/>
                      <a:pt x="13" y="33"/>
                    </a:cubicBezTo>
                    <a:cubicBezTo>
                      <a:pt x="13" y="31"/>
                      <a:pt x="13" y="31"/>
                      <a:pt x="13" y="31"/>
                    </a:cubicBezTo>
                    <a:cubicBezTo>
                      <a:pt x="13" y="23"/>
                      <a:pt x="13" y="23"/>
                      <a:pt x="13" y="23"/>
                    </a:cubicBezTo>
                    <a:cubicBezTo>
                      <a:pt x="16" y="23"/>
                      <a:pt x="16" y="23"/>
                      <a:pt x="16" y="23"/>
                    </a:cubicBezTo>
                    <a:cubicBezTo>
                      <a:pt x="17" y="18"/>
                      <a:pt x="17" y="18"/>
                      <a:pt x="17" y="18"/>
                    </a:cubicBezTo>
                    <a:cubicBezTo>
                      <a:pt x="19" y="17"/>
                      <a:pt x="19" y="17"/>
                      <a:pt x="19" y="17"/>
                    </a:cubicBezTo>
                    <a:cubicBezTo>
                      <a:pt x="19" y="15"/>
                      <a:pt x="19" y="15"/>
                      <a:pt x="19" y="15"/>
                    </a:cubicBezTo>
                    <a:cubicBezTo>
                      <a:pt x="19" y="14"/>
                      <a:pt x="19" y="14"/>
                      <a:pt x="19" y="14"/>
                    </a:cubicBezTo>
                    <a:cubicBezTo>
                      <a:pt x="20" y="14"/>
                      <a:pt x="20" y="14"/>
                      <a:pt x="20" y="14"/>
                    </a:cubicBezTo>
                    <a:cubicBezTo>
                      <a:pt x="20" y="11"/>
                      <a:pt x="20" y="11"/>
                      <a:pt x="20" y="11"/>
                    </a:cubicBezTo>
                    <a:cubicBezTo>
                      <a:pt x="20" y="9"/>
                      <a:pt x="20" y="9"/>
                      <a:pt x="20" y="9"/>
                    </a:cubicBezTo>
                    <a:cubicBezTo>
                      <a:pt x="18" y="8"/>
                      <a:pt x="18" y="8"/>
                      <a:pt x="18" y="8"/>
                    </a:cubicBezTo>
                    <a:cubicBezTo>
                      <a:pt x="18" y="7"/>
                      <a:pt x="18" y="7"/>
                      <a:pt x="18" y="7"/>
                    </a:cubicBezTo>
                    <a:cubicBezTo>
                      <a:pt x="18" y="7"/>
                      <a:pt x="19" y="6"/>
                      <a:pt x="19" y="6"/>
                    </a:cubicBezTo>
                    <a:cubicBezTo>
                      <a:pt x="19" y="6"/>
                      <a:pt x="19" y="4"/>
                      <a:pt x="19" y="4"/>
                    </a:cubicBezTo>
                    <a:cubicBezTo>
                      <a:pt x="13" y="0"/>
                      <a:pt x="13" y="0"/>
                      <a:pt x="13" y="0"/>
                    </a:cubicBezTo>
                    <a:lnTo>
                      <a:pt x="10"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0" name="Freeform 929">
                <a:extLst>
                  <a:ext uri="{FF2B5EF4-FFF2-40B4-BE49-F238E27FC236}">
                    <a16:creationId xmlns:a16="http://schemas.microsoft.com/office/drawing/2014/main" id="{E7E50F8B-8702-297B-C1DA-D33652FF28F7}"/>
                  </a:ext>
                </a:extLst>
              </p:cNvPr>
              <p:cNvSpPr>
                <a:spLocks noEditPoints="1"/>
              </p:cNvSpPr>
              <p:nvPr/>
            </p:nvSpPr>
            <p:spPr bwMode="auto">
              <a:xfrm>
                <a:off x="5703888" y="5013325"/>
                <a:ext cx="350837" cy="395288"/>
              </a:xfrm>
              <a:custGeom>
                <a:avLst/>
                <a:gdLst>
                  <a:gd name="T0" fmla="*/ 9 w 84"/>
                  <a:gd name="T1" fmla="*/ 2 h 95"/>
                  <a:gd name="T2" fmla="*/ 5 w 84"/>
                  <a:gd name="T3" fmla="*/ 6 h 95"/>
                  <a:gd name="T4" fmla="*/ 4 w 84"/>
                  <a:gd name="T5" fmla="*/ 10 h 95"/>
                  <a:gd name="T6" fmla="*/ 2 w 84"/>
                  <a:gd name="T7" fmla="*/ 5 h 95"/>
                  <a:gd name="T8" fmla="*/ 7 w 84"/>
                  <a:gd name="T9" fmla="*/ 2 h 95"/>
                  <a:gd name="T10" fmla="*/ 8 w 84"/>
                  <a:gd name="T11" fmla="*/ 1 h 95"/>
                  <a:gd name="T12" fmla="*/ 70 w 84"/>
                  <a:gd name="T13" fmla="*/ 59 h 95"/>
                  <a:gd name="T14" fmla="*/ 83 w 84"/>
                  <a:gd name="T15" fmla="*/ 58 h 95"/>
                  <a:gd name="T16" fmla="*/ 83 w 84"/>
                  <a:gd name="T17" fmla="*/ 54 h 95"/>
                  <a:gd name="T18" fmla="*/ 84 w 84"/>
                  <a:gd name="T19" fmla="*/ 50 h 95"/>
                  <a:gd name="T20" fmla="*/ 84 w 84"/>
                  <a:gd name="T21" fmla="*/ 48 h 95"/>
                  <a:gd name="T22" fmla="*/ 84 w 84"/>
                  <a:gd name="T23" fmla="*/ 45 h 95"/>
                  <a:gd name="T24" fmla="*/ 81 w 84"/>
                  <a:gd name="T25" fmla="*/ 46 h 95"/>
                  <a:gd name="T26" fmla="*/ 79 w 84"/>
                  <a:gd name="T27" fmla="*/ 45 h 95"/>
                  <a:gd name="T28" fmla="*/ 75 w 84"/>
                  <a:gd name="T29" fmla="*/ 46 h 95"/>
                  <a:gd name="T30" fmla="*/ 73 w 84"/>
                  <a:gd name="T31" fmla="*/ 46 h 95"/>
                  <a:gd name="T32" fmla="*/ 71 w 84"/>
                  <a:gd name="T33" fmla="*/ 47 h 95"/>
                  <a:gd name="T34" fmla="*/ 71 w 84"/>
                  <a:gd name="T35" fmla="*/ 45 h 95"/>
                  <a:gd name="T36" fmla="*/ 72 w 84"/>
                  <a:gd name="T37" fmla="*/ 41 h 95"/>
                  <a:gd name="T38" fmla="*/ 68 w 84"/>
                  <a:gd name="T39" fmla="*/ 35 h 95"/>
                  <a:gd name="T40" fmla="*/ 69 w 84"/>
                  <a:gd name="T41" fmla="*/ 33 h 95"/>
                  <a:gd name="T42" fmla="*/ 68 w 84"/>
                  <a:gd name="T43" fmla="*/ 25 h 95"/>
                  <a:gd name="T44" fmla="*/ 60 w 84"/>
                  <a:gd name="T45" fmla="*/ 20 h 95"/>
                  <a:gd name="T46" fmla="*/ 53 w 84"/>
                  <a:gd name="T47" fmla="*/ 18 h 95"/>
                  <a:gd name="T48" fmla="*/ 49 w 84"/>
                  <a:gd name="T49" fmla="*/ 25 h 95"/>
                  <a:gd name="T50" fmla="*/ 43 w 84"/>
                  <a:gd name="T51" fmla="*/ 26 h 95"/>
                  <a:gd name="T52" fmla="*/ 37 w 84"/>
                  <a:gd name="T53" fmla="*/ 22 h 95"/>
                  <a:gd name="T54" fmla="*/ 34 w 84"/>
                  <a:gd name="T55" fmla="*/ 14 h 95"/>
                  <a:gd name="T56" fmla="*/ 32 w 84"/>
                  <a:gd name="T57" fmla="*/ 10 h 95"/>
                  <a:gd name="T58" fmla="*/ 5 w 84"/>
                  <a:gd name="T59" fmla="*/ 12 h 95"/>
                  <a:gd name="T60" fmla="*/ 5 w 84"/>
                  <a:gd name="T61" fmla="*/ 13 h 95"/>
                  <a:gd name="T62" fmla="*/ 8 w 84"/>
                  <a:gd name="T63" fmla="*/ 19 h 95"/>
                  <a:gd name="T64" fmla="*/ 9 w 84"/>
                  <a:gd name="T65" fmla="*/ 22 h 95"/>
                  <a:gd name="T66" fmla="*/ 12 w 84"/>
                  <a:gd name="T67" fmla="*/ 31 h 95"/>
                  <a:gd name="T68" fmla="*/ 10 w 84"/>
                  <a:gd name="T69" fmla="*/ 35 h 95"/>
                  <a:gd name="T70" fmla="*/ 14 w 84"/>
                  <a:gd name="T71" fmla="*/ 43 h 95"/>
                  <a:gd name="T72" fmla="*/ 15 w 84"/>
                  <a:gd name="T73" fmla="*/ 49 h 95"/>
                  <a:gd name="T74" fmla="*/ 15 w 84"/>
                  <a:gd name="T75" fmla="*/ 52 h 95"/>
                  <a:gd name="T76" fmla="*/ 14 w 84"/>
                  <a:gd name="T77" fmla="*/ 55 h 95"/>
                  <a:gd name="T78" fmla="*/ 9 w 84"/>
                  <a:gd name="T79" fmla="*/ 59 h 95"/>
                  <a:gd name="T80" fmla="*/ 6 w 84"/>
                  <a:gd name="T81" fmla="*/ 64 h 95"/>
                  <a:gd name="T82" fmla="*/ 5 w 84"/>
                  <a:gd name="T83" fmla="*/ 71 h 95"/>
                  <a:gd name="T84" fmla="*/ 3 w 84"/>
                  <a:gd name="T85" fmla="*/ 77 h 95"/>
                  <a:gd name="T86" fmla="*/ 1 w 84"/>
                  <a:gd name="T87" fmla="*/ 80 h 95"/>
                  <a:gd name="T88" fmla="*/ 1 w 84"/>
                  <a:gd name="T89" fmla="*/ 88 h 95"/>
                  <a:gd name="T90" fmla="*/ 2 w 84"/>
                  <a:gd name="T91" fmla="*/ 89 h 95"/>
                  <a:gd name="T92" fmla="*/ 5 w 84"/>
                  <a:gd name="T93" fmla="*/ 90 h 95"/>
                  <a:gd name="T94" fmla="*/ 11 w 84"/>
                  <a:gd name="T95" fmla="*/ 88 h 95"/>
                  <a:gd name="T96" fmla="*/ 45 w 84"/>
                  <a:gd name="T97" fmla="*/ 91 h 95"/>
                  <a:gd name="T98" fmla="*/ 58 w 84"/>
                  <a:gd name="T99" fmla="*/ 94 h 95"/>
                  <a:gd name="T100" fmla="*/ 64 w 84"/>
                  <a:gd name="T101" fmla="*/ 95 h 95"/>
                  <a:gd name="T102" fmla="*/ 74 w 84"/>
                  <a:gd name="T103" fmla="*/ 8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95">
                    <a:moveTo>
                      <a:pt x="8" y="1"/>
                    </a:moveTo>
                    <a:cubicBezTo>
                      <a:pt x="9" y="2"/>
                      <a:pt x="9" y="2"/>
                      <a:pt x="9" y="2"/>
                    </a:cubicBezTo>
                    <a:cubicBezTo>
                      <a:pt x="5" y="5"/>
                      <a:pt x="5" y="5"/>
                      <a:pt x="5" y="5"/>
                    </a:cubicBezTo>
                    <a:cubicBezTo>
                      <a:pt x="5" y="6"/>
                      <a:pt x="5" y="6"/>
                      <a:pt x="5" y="6"/>
                    </a:cubicBezTo>
                    <a:cubicBezTo>
                      <a:pt x="5" y="10"/>
                      <a:pt x="5" y="10"/>
                      <a:pt x="5" y="10"/>
                    </a:cubicBezTo>
                    <a:cubicBezTo>
                      <a:pt x="4" y="10"/>
                      <a:pt x="4" y="10"/>
                      <a:pt x="4" y="10"/>
                    </a:cubicBezTo>
                    <a:cubicBezTo>
                      <a:pt x="4" y="8"/>
                      <a:pt x="4" y="7"/>
                      <a:pt x="3" y="6"/>
                    </a:cubicBezTo>
                    <a:cubicBezTo>
                      <a:pt x="2" y="5"/>
                      <a:pt x="2" y="5"/>
                      <a:pt x="2" y="5"/>
                    </a:cubicBezTo>
                    <a:cubicBezTo>
                      <a:pt x="5" y="2"/>
                      <a:pt x="5" y="2"/>
                      <a:pt x="5" y="2"/>
                    </a:cubicBezTo>
                    <a:cubicBezTo>
                      <a:pt x="7" y="2"/>
                      <a:pt x="7" y="2"/>
                      <a:pt x="7" y="2"/>
                    </a:cubicBezTo>
                    <a:cubicBezTo>
                      <a:pt x="7" y="0"/>
                      <a:pt x="7" y="0"/>
                      <a:pt x="7" y="0"/>
                    </a:cubicBezTo>
                    <a:lnTo>
                      <a:pt x="8" y="1"/>
                    </a:lnTo>
                    <a:close/>
                    <a:moveTo>
                      <a:pt x="70" y="82"/>
                    </a:moveTo>
                    <a:cubicBezTo>
                      <a:pt x="70" y="59"/>
                      <a:pt x="70" y="59"/>
                      <a:pt x="70" y="59"/>
                    </a:cubicBezTo>
                    <a:cubicBezTo>
                      <a:pt x="84" y="59"/>
                      <a:pt x="84" y="59"/>
                      <a:pt x="84" y="59"/>
                    </a:cubicBezTo>
                    <a:cubicBezTo>
                      <a:pt x="83" y="58"/>
                      <a:pt x="83" y="58"/>
                      <a:pt x="83" y="58"/>
                    </a:cubicBezTo>
                    <a:cubicBezTo>
                      <a:pt x="84" y="55"/>
                      <a:pt x="84" y="55"/>
                      <a:pt x="84" y="55"/>
                    </a:cubicBezTo>
                    <a:cubicBezTo>
                      <a:pt x="83" y="54"/>
                      <a:pt x="83" y="54"/>
                      <a:pt x="83" y="54"/>
                    </a:cubicBezTo>
                    <a:cubicBezTo>
                      <a:pt x="83" y="51"/>
                      <a:pt x="83" y="51"/>
                      <a:pt x="83" y="51"/>
                    </a:cubicBezTo>
                    <a:cubicBezTo>
                      <a:pt x="84" y="50"/>
                      <a:pt x="84" y="50"/>
                      <a:pt x="84" y="50"/>
                    </a:cubicBezTo>
                    <a:cubicBezTo>
                      <a:pt x="84" y="50"/>
                      <a:pt x="84" y="49"/>
                      <a:pt x="84" y="49"/>
                    </a:cubicBezTo>
                    <a:cubicBezTo>
                      <a:pt x="84" y="49"/>
                      <a:pt x="84" y="48"/>
                      <a:pt x="84" y="48"/>
                    </a:cubicBezTo>
                    <a:cubicBezTo>
                      <a:pt x="84" y="48"/>
                      <a:pt x="84" y="48"/>
                      <a:pt x="84" y="48"/>
                    </a:cubicBezTo>
                    <a:cubicBezTo>
                      <a:pt x="84" y="45"/>
                      <a:pt x="84" y="45"/>
                      <a:pt x="84" y="45"/>
                    </a:cubicBezTo>
                    <a:cubicBezTo>
                      <a:pt x="82" y="46"/>
                      <a:pt x="82" y="46"/>
                      <a:pt x="82" y="46"/>
                    </a:cubicBezTo>
                    <a:cubicBezTo>
                      <a:pt x="82" y="46"/>
                      <a:pt x="81" y="46"/>
                      <a:pt x="81" y="46"/>
                    </a:cubicBezTo>
                    <a:cubicBezTo>
                      <a:pt x="81" y="46"/>
                      <a:pt x="80" y="45"/>
                      <a:pt x="80" y="45"/>
                    </a:cubicBezTo>
                    <a:cubicBezTo>
                      <a:pt x="79" y="45"/>
                      <a:pt x="79" y="45"/>
                      <a:pt x="79" y="45"/>
                    </a:cubicBezTo>
                    <a:cubicBezTo>
                      <a:pt x="78" y="46"/>
                      <a:pt x="78" y="46"/>
                      <a:pt x="78" y="46"/>
                    </a:cubicBezTo>
                    <a:cubicBezTo>
                      <a:pt x="75" y="46"/>
                      <a:pt x="75" y="46"/>
                      <a:pt x="75" y="46"/>
                    </a:cubicBezTo>
                    <a:cubicBezTo>
                      <a:pt x="75" y="46"/>
                      <a:pt x="75" y="46"/>
                      <a:pt x="75" y="46"/>
                    </a:cubicBezTo>
                    <a:cubicBezTo>
                      <a:pt x="73" y="46"/>
                      <a:pt x="73" y="46"/>
                      <a:pt x="73" y="46"/>
                    </a:cubicBezTo>
                    <a:cubicBezTo>
                      <a:pt x="72" y="48"/>
                      <a:pt x="72" y="48"/>
                      <a:pt x="72" y="48"/>
                    </a:cubicBezTo>
                    <a:cubicBezTo>
                      <a:pt x="71" y="47"/>
                      <a:pt x="71" y="47"/>
                      <a:pt x="71" y="47"/>
                    </a:cubicBezTo>
                    <a:cubicBezTo>
                      <a:pt x="71" y="46"/>
                      <a:pt x="71" y="46"/>
                      <a:pt x="71" y="46"/>
                    </a:cubicBezTo>
                    <a:cubicBezTo>
                      <a:pt x="71" y="45"/>
                      <a:pt x="71" y="45"/>
                      <a:pt x="71" y="45"/>
                    </a:cubicBezTo>
                    <a:cubicBezTo>
                      <a:pt x="72" y="44"/>
                      <a:pt x="72" y="44"/>
                      <a:pt x="72" y="44"/>
                    </a:cubicBezTo>
                    <a:cubicBezTo>
                      <a:pt x="72" y="41"/>
                      <a:pt x="72" y="41"/>
                      <a:pt x="72" y="41"/>
                    </a:cubicBezTo>
                    <a:cubicBezTo>
                      <a:pt x="71" y="38"/>
                      <a:pt x="71" y="38"/>
                      <a:pt x="71" y="38"/>
                    </a:cubicBezTo>
                    <a:cubicBezTo>
                      <a:pt x="68" y="35"/>
                      <a:pt x="68" y="35"/>
                      <a:pt x="68" y="35"/>
                    </a:cubicBezTo>
                    <a:cubicBezTo>
                      <a:pt x="68" y="34"/>
                      <a:pt x="68" y="34"/>
                      <a:pt x="68" y="34"/>
                    </a:cubicBezTo>
                    <a:cubicBezTo>
                      <a:pt x="69" y="33"/>
                      <a:pt x="69" y="33"/>
                      <a:pt x="69" y="33"/>
                    </a:cubicBezTo>
                    <a:cubicBezTo>
                      <a:pt x="69" y="28"/>
                      <a:pt x="69" y="28"/>
                      <a:pt x="69" y="28"/>
                    </a:cubicBezTo>
                    <a:cubicBezTo>
                      <a:pt x="68" y="25"/>
                      <a:pt x="68" y="25"/>
                      <a:pt x="68" y="25"/>
                    </a:cubicBezTo>
                    <a:cubicBezTo>
                      <a:pt x="68" y="20"/>
                      <a:pt x="68" y="20"/>
                      <a:pt x="68" y="20"/>
                    </a:cubicBezTo>
                    <a:cubicBezTo>
                      <a:pt x="60" y="20"/>
                      <a:pt x="60" y="20"/>
                      <a:pt x="60" y="20"/>
                    </a:cubicBezTo>
                    <a:cubicBezTo>
                      <a:pt x="61" y="18"/>
                      <a:pt x="61" y="18"/>
                      <a:pt x="61" y="18"/>
                    </a:cubicBezTo>
                    <a:cubicBezTo>
                      <a:pt x="53" y="18"/>
                      <a:pt x="53" y="18"/>
                      <a:pt x="53" y="18"/>
                    </a:cubicBezTo>
                    <a:cubicBezTo>
                      <a:pt x="52" y="25"/>
                      <a:pt x="52" y="25"/>
                      <a:pt x="52" y="25"/>
                    </a:cubicBezTo>
                    <a:cubicBezTo>
                      <a:pt x="49" y="25"/>
                      <a:pt x="49" y="25"/>
                      <a:pt x="49" y="25"/>
                    </a:cubicBezTo>
                    <a:cubicBezTo>
                      <a:pt x="46" y="24"/>
                      <a:pt x="46" y="24"/>
                      <a:pt x="46" y="24"/>
                    </a:cubicBezTo>
                    <a:cubicBezTo>
                      <a:pt x="43" y="26"/>
                      <a:pt x="43" y="26"/>
                      <a:pt x="43" y="26"/>
                    </a:cubicBezTo>
                    <a:cubicBezTo>
                      <a:pt x="39" y="26"/>
                      <a:pt x="39" y="26"/>
                      <a:pt x="39" y="26"/>
                    </a:cubicBezTo>
                    <a:cubicBezTo>
                      <a:pt x="37" y="22"/>
                      <a:pt x="37" y="22"/>
                      <a:pt x="37" y="22"/>
                    </a:cubicBezTo>
                    <a:cubicBezTo>
                      <a:pt x="35" y="19"/>
                      <a:pt x="35" y="19"/>
                      <a:pt x="35" y="19"/>
                    </a:cubicBezTo>
                    <a:cubicBezTo>
                      <a:pt x="34" y="14"/>
                      <a:pt x="34" y="14"/>
                      <a:pt x="34" y="14"/>
                    </a:cubicBezTo>
                    <a:cubicBezTo>
                      <a:pt x="34" y="13"/>
                      <a:pt x="34" y="13"/>
                      <a:pt x="34" y="13"/>
                    </a:cubicBezTo>
                    <a:cubicBezTo>
                      <a:pt x="32" y="10"/>
                      <a:pt x="32" y="10"/>
                      <a:pt x="32" y="10"/>
                    </a:cubicBezTo>
                    <a:cubicBezTo>
                      <a:pt x="9" y="10"/>
                      <a:pt x="9" y="10"/>
                      <a:pt x="9" y="10"/>
                    </a:cubicBezTo>
                    <a:cubicBezTo>
                      <a:pt x="5" y="12"/>
                      <a:pt x="5" y="12"/>
                      <a:pt x="5" y="12"/>
                    </a:cubicBezTo>
                    <a:cubicBezTo>
                      <a:pt x="4" y="12"/>
                      <a:pt x="4" y="12"/>
                      <a:pt x="5" y="12"/>
                    </a:cubicBezTo>
                    <a:cubicBezTo>
                      <a:pt x="5" y="12"/>
                      <a:pt x="5" y="12"/>
                      <a:pt x="5" y="13"/>
                    </a:cubicBezTo>
                    <a:cubicBezTo>
                      <a:pt x="4" y="13"/>
                      <a:pt x="4" y="14"/>
                      <a:pt x="5" y="14"/>
                    </a:cubicBezTo>
                    <a:cubicBezTo>
                      <a:pt x="6" y="16"/>
                      <a:pt x="7" y="18"/>
                      <a:pt x="8" y="19"/>
                    </a:cubicBezTo>
                    <a:cubicBezTo>
                      <a:pt x="8" y="20"/>
                      <a:pt x="8" y="21"/>
                      <a:pt x="9" y="21"/>
                    </a:cubicBezTo>
                    <a:cubicBezTo>
                      <a:pt x="9" y="22"/>
                      <a:pt x="9" y="22"/>
                      <a:pt x="9" y="22"/>
                    </a:cubicBezTo>
                    <a:cubicBezTo>
                      <a:pt x="10" y="24"/>
                      <a:pt x="10" y="26"/>
                      <a:pt x="12" y="28"/>
                    </a:cubicBezTo>
                    <a:cubicBezTo>
                      <a:pt x="12" y="29"/>
                      <a:pt x="12" y="30"/>
                      <a:pt x="12" y="31"/>
                    </a:cubicBezTo>
                    <a:cubicBezTo>
                      <a:pt x="12" y="31"/>
                      <a:pt x="12" y="31"/>
                      <a:pt x="11" y="31"/>
                    </a:cubicBezTo>
                    <a:cubicBezTo>
                      <a:pt x="10" y="32"/>
                      <a:pt x="9" y="33"/>
                      <a:pt x="10" y="35"/>
                    </a:cubicBezTo>
                    <a:cubicBezTo>
                      <a:pt x="10" y="35"/>
                      <a:pt x="10" y="36"/>
                      <a:pt x="10" y="36"/>
                    </a:cubicBezTo>
                    <a:cubicBezTo>
                      <a:pt x="11" y="39"/>
                      <a:pt x="12" y="41"/>
                      <a:pt x="14" y="43"/>
                    </a:cubicBezTo>
                    <a:cubicBezTo>
                      <a:pt x="14" y="44"/>
                      <a:pt x="14" y="45"/>
                      <a:pt x="15" y="46"/>
                    </a:cubicBezTo>
                    <a:cubicBezTo>
                      <a:pt x="15" y="47"/>
                      <a:pt x="15" y="48"/>
                      <a:pt x="15" y="49"/>
                    </a:cubicBezTo>
                    <a:cubicBezTo>
                      <a:pt x="14" y="50"/>
                      <a:pt x="14" y="51"/>
                      <a:pt x="15" y="52"/>
                    </a:cubicBezTo>
                    <a:cubicBezTo>
                      <a:pt x="15" y="52"/>
                      <a:pt x="15" y="52"/>
                      <a:pt x="15" y="52"/>
                    </a:cubicBezTo>
                    <a:cubicBezTo>
                      <a:pt x="14" y="53"/>
                      <a:pt x="14" y="54"/>
                      <a:pt x="14" y="54"/>
                    </a:cubicBezTo>
                    <a:cubicBezTo>
                      <a:pt x="14" y="54"/>
                      <a:pt x="14" y="55"/>
                      <a:pt x="14" y="55"/>
                    </a:cubicBezTo>
                    <a:cubicBezTo>
                      <a:pt x="12" y="56"/>
                      <a:pt x="12" y="58"/>
                      <a:pt x="10" y="58"/>
                    </a:cubicBezTo>
                    <a:cubicBezTo>
                      <a:pt x="9" y="58"/>
                      <a:pt x="9" y="59"/>
                      <a:pt x="9" y="59"/>
                    </a:cubicBezTo>
                    <a:cubicBezTo>
                      <a:pt x="9" y="60"/>
                      <a:pt x="8" y="61"/>
                      <a:pt x="7" y="62"/>
                    </a:cubicBezTo>
                    <a:cubicBezTo>
                      <a:pt x="6" y="63"/>
                      <a:pt x="6" y="63"/>
                      <a:pt x="6" y="64"/>
                    </a:cubicBezTo>
                    <a:cubicBezTo>
                      <a:pt x="6" y="65"/>
                      <a:pt x="6" y="67"/>
                      <a:pt x="5" y="68"/>
                    </a:cubicBezTo>
                    <a:cubicBezTo>
                      <a:pt x="4" y="69"/>
                      <a:pt x="5" y="70"/>
                      <a:pt x="5" y="71"/>
                    </a:cubicBezTo>
                    <a:cubicBezTo>
                      <a:pt x="4" y="72"/>
                      <a:pt x="4" y="73"/>
                      <a:pt x="4" y="75"/>
                    </a:cubicBezTo>
                    <a:cubicBezTo>
                      <a:pt x="3" y="75"/>
                      <a:pt x="3" y="76"/>
                      <a:pt x="3" y="77"/>
                    </a:cubicBezTo>
                    <a:cubicBezTo>
                      <a:pt x="2" y="77"/>
                      <a:pt x="2" y="78"/>
                      <a:pt x="2" y="79"/>
                    </a:cubicBezTo>
                    <a:cubicBezTo>
                      <a:pt x="2" y="79"/>
                      <a:pt x="2" y="79"/>
                      <a:pt x="1" y="80"/>
                    </a:cubicBezTo>
                    <a:cubicBezTo>
                      <a:pt x="1" y="80"/>
                      <a:pt x="1" y="80"/>
                      <a:pt x="1" y="80"/>
                    </a:cubicBezTo>
                    <a:cubicBezTo>
                      <a:pt x="1" y="83"/>
                      <a:pt x="1" y="85"/>
                      <a:pt x="1" y="88"/>
                    </a:cubicBezTo>
                    <a:cubicBezTo>
                      <a:pt x="0" y="88"/>
                      <a:pt x="0" y="89"/>
                      <a:pt x="1" y="89"/>
                    </a:cubicBezTo>
                    <a:cubicBezTo>
                      <a:pt x="2" y="89"/>
                      <a:pt x="2" y="89"/>
                      <a:pt x="2" y="89"/>
                    </a:cubicBezTo>
                    <a:cubicBezTo>
                      <a:pt x="4" y="89"/>
                      <a:pt x="4" y="89"/>
                      <a:pt x="4" y="89"/>
                    </a:cubicBezTo>
                    <a:cubicBezTo>
                      <a:pt x="5" y="90"/>
                      <a:pt x="5" y="90"/>
                      <a:pt x="5" y="90"/>
                    </a:cubicBezTo>
                    <a:cubicBezTo>
                      <a:pt x="9" y="88"/>
                      <a:pt x="9" y="88"/>
                      <a:pt x="9" y="88"/>
                    </a:cubicBezTo>
                    <a:cubicBezTo>
                      <a:pt x="11" y="88"/>
                      <a:pt x="11" y="88"/>
                      <a:pt x="11" y="88"/>
                    </a:cubicBezTo>
                    <a:cubicBezTo>
                      <a:pt x="15" y="91"/>
                      <a:pt x="15" y="91"/>
                      <a:pt x="15" y="91"/>
                    </a:cubicBezTo>
                    <a:cubicBezTo>
                      <a:pt x="45" y="91"/>
                      <a:pt x="45" y="91"/>
                      <a:pt x="45" y="91"/>
                    </a:cubicBezTo>
                    <a:cubicBezTo>
                      <a:pt x="48" y="94"/>
                      <a:pt x="48" y="94"/>
                      <a:pt x="48" y="94"/>
                    </a:cubicBezTo>
                    <a:cubicBezTo>
                      <a:pt x="58" y="94"/>
                      <a:pt x="58" y="94"/>
                      <a:pt x="58" y="94"/>
                    </a:cubicBezTo>
                    <a:cubicBezTo>
                      <a:pt x="61" y="95"/>
                      <a:pt x="61" y="95"/>
                      <a:pt x="61" y="95"/>
                    </a:cubicBezTo>
                    <a:cubicBezTo>
                      <a:pt x="64" y="95"/>
                      <a:pt x="64" y="95"/>
                      <a:pt x="64" y="95"/>
                    </a:cubicBezTo>
                    <a:cubicBezTo>
                      <a:pt x="79" y="92"/>
                      <a:pt x="79" y="92"/>
                      <a:pt x="79" y="92"/>
                    </a:cubicBezTo>
                    <a:cubicBezTo>
                      <a:pt x="74" y="87"/>
                      <a:pt x="74" y="87"/>
                      <a:pt x="74" y="87"/>
                    </a:cubicBezTo>
                    <a:lnTo>
                      <a:pt x="70" y="8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1" name="Freeform 930">
                <a:extLst>
                  <a:ext uri="{FF2B5EF4-FFF2-40B4-BE49-F238E27FC236}">
                    <a16:creationId xmlns:a16="http://schemas.microsoft.com/office/drawing/2014/main" id="{5F235672-350D-3EA7-E5E3-362227EC414B}"/>
                  </a:ext>
                </a:extLst>
              </p:cNvPr>
              <p:cNvSpPr>
                <a:spLocks/>
              </p:cNvSpPr>
              <p:nvPr/>
            </p:nvSpPr>
            <p:spPr bwMode="auto">
              <a:xfrm>
                <a:off x="5130800" y="3762375"/>
                <a:ext cx="582612" cy="579438"/>
              </a:xfrm>
              <a:custGeom>
                <a:avLst/>
                <a:gdLst>
                  <a:gd name="T0" fmla="*/ 140 w 140"/>
                  <a:gd name="T1" fmla="*/ 106 h 139"/>
                  <a:gd name="T2" fmla="*/ 136 w 140"/>
                  <a:gd name="T3" fmla="*/ 101 h 139"/>
                  <a:gd name="T4" fmla="*/ 129 w 140"/>
                  <a:gd name="T5" fmla="*/ 99 h 139"/>
                  <a:gd name="T6" fmla="*/ 126 w 140"/>
                  <a:gd name="T7" fmla="*/ 92 h 139"/>
                  <a:gd name="T8" fmla="*/ 123 w 140"/>
                  <a:gd name="T9" fmla="*/ 85 h 139"/>
                  <a:gd name="T10" fmla="*/ 125 w 140"/>
                  <a:gd name="T11" fmla="*/ 83 h 139"/>
                  <a:gd name="T12" fmla="*/ 125 w 140"/>
                  <a:gd name="T13" fmla="*/ 78 h 139"/>
                  <a:gd name="T14" fmla="*/ 125 w 140"/>
                  <a:gd name="T15" fmla="*/ 64 h 139"/>
                  <a:gd name="T16" fmla="*/ 122 w 140"/>
                  <a:gd name="T17" fmla="*/ 56 h 139"/>
                  <a:gd name="T18" fmla="*/ 120 w 140"/>
                  <a:gd name="T19" fmla="*/ 41 h 139"/>
                  <a:gd name="T20" fmla="*/ 115 w 140"/>
                  <a:gd name="T21" fmla="*/ 34 h 139"/>
                  <a:gd name="T22" fmla="*/ 111 w 140"/>
                  <a:gd name="T23" fmla="*/ 31 h 139"/>
                  <a:gd name="T24" fmla="*/ 109 w 140"/>
                  <a:gd name="T25" fmla="*/ 27 h 139"/>
                  <a:gd name="T26" fmla="*/ 115 w 140"/>
                  <a:gd name="T27" fmla="*/ 20 h 139"/>
                  <a:gd name="T28" fmla="*/ 116 w 140"/>
                  <a:gd name="T29" fmla="*/ 15 h 139"/>
                  <a:gd name="T30" fmla="*/ 115 w 140"/>
                  <a:gd name="T31" fmla="*/ 13 h 139"/>
                  <a:gd name="T32" fmla="*/ 115 w 140"/>
                  <a:gd name="T33" fmla="*/ 11 h 139"/>
                  <a:gd name="T34" fmla="*/ 114 w 140"/>
                  <a:gd name="T35" fmla="*/ 10 h 139"/>
                  <a:gd name="T36" fmla="*/ 115 w 140"/>
                  <a:gd name="T37" fmla="*/ 8 h 139"/>
                  <a:gd name="T38" fmla="*/ 115 w 140"/>
                  <a:gd name="T39" fmla="*/ 7 h 139"/>
                  <a:gd name="T40" fmla="*/ 115 w 140"/>
                  <a:gd name="T41" fmla="*/ 5 h 139"/>
                  <a:gd name="T42" fmla="*/ 116 w 140"/>
                  <a:gd name="T43" fmla="*/ 3 h 139"/>
                  <a:gd name="T44" fmla="*/ 113 w 140"/>
                  <a:gd name="T45" fmla="*/ 2 h 139"/>
                  <a:gd name="T46" fmla="*/ 108 w 140"/>
                  <a:gd name="T47" fmla="*/ 1 h 139"/>
                  <a:gd name="T48" fmla="*/ 105 w 140"/>
                  <a:gd name="T49" fmla="*/ 1 h 139"/>
                  <a:gd name="T50" fmla="*/ 102 w 140"/>
                  <a:gd name="T51" fmla="*/ 1 h 139"/>
                  <a:gd name="T52" fmla="*/ 97 w 140"/>
                  <a:gd name="T53" fmla="*/ 3 h 139"/>
                  <a:gd name="T54" fmla="*/ 91 w 140"/>
                  <a:gd name="T55" fmla="*/ 2 h 139"/>
                  <a:gd name="T56" fmla="*/ 79 w 140"/>
                  <a:gd name="T57" fmla="*/ 3 h 139"/>
                  <a:gd name="T58" fmla="*/ 73 w 140"/>
                  <a:gd name="T59" fmla="*/ 4 h 139"/>
                  <a:gd name="T60" fmla="*/ 60 w 140"/>
                  <a:gd name="T61" fmla="*/ 10 h 139"/>
                  <a:gd name="T62" fmla="*/ 56 w 140"/>
                  <a:gd name="T63" fmla="*/ 10 h 139"/>
                  <a:gd name="T64" fmla="*/ 51 w 140"/>
                  <a:gd name="T65" fmla="*/ 14 h 139"/>
                  <a:gd name="T66" fmla="*/ 44 w 140"/>
                  <a:gd name="T67" fmla="*/ 17 h 139"/>
                  <a:gd name="T68" fmla="*/ 46 w 140"/>
                  <a:gd name="T69" fmla="*/ 20 h 139"/>
                  <a:gd name="T70" fmla="*/ 47 w 140"/>
                  <a:gd name="T71" fmla="*/ 28 h 139"/>
                  <a:gd name="T72" fmla="*/ 47 w 140"/>
                  <a:gd name="T73" fmla="*/ 30 h 139"/>
                  <a:gd name="T74" fmla="*/ 47 w 140"/>
                  <a:gd name="T75" fmla="*/ 31 h 139"/>
                  <a:gd name="T76" fmla="*/ 52 w 140"/>
                  <a:gd name="T77" fmla="*/ 37 h 139"/>
                  <a:gd name="T78" fmla="*/ 51 w 140"/>
                  <a:gd name="T79" fmla="*/ 40 h 139"/>
                  <a:gd name="T80" fmla="*/ 47 w 140"/>
                  <a:gd name="T81" fmla="*/ 40 h 139"/>
                  <a:gd name="T82" fmla="*/ 39 w 140"/>
                  <a:gd name="T83" fmla="*/ 43 h 139"/>
                  <a:gd name="T84" fmla="*/ 33 w 140"/>
                  <a:gd name="T85" fmla="*/ 47 h 139"/>
                  <a:gd name="T86" fmla="*/ 34 w 140"/>
                  <a:gd name="T87" fmla="*/ 50 h 139"/>
                  <a:gd name="T88" fmla="*/ 29 w 140"/>
                  <a:gd name="T89" fmla="*/ 53 h 139"/>
                  <a:gd name="T90" fmla="*/ 21 w 140"/>
                  <a:gd name="T91" fmla="*/ 61 h 139"/>
                  <a:gd name="T92" fmla="*/ 13 w 140"/>
                  <a:gd name="T93" fmla="*/ 61 h 139"/>
                  <a:gd name="T94" fmla="*/ 6 w 140"/>
                  <a:gd name="T95" fmla="*/ 62 h 139"/>
                  <a:gd name="T96" fmla="*/ 0 w 140"/>
                  <a:gd name="T97" fmla="*/ 78 h 139"/>
                  <a:gd name="T98" fmla="*/ 66 w 140"/>
                  <a:gd name="T99" fmla="*/ 124 h 139"/>
                  <a:gd name="T100" fmla="*/ 69 w 140"/>
                  <a:gd name="T101" fmla="*/ 128 h 139"/>
                  <a:gd name="T102" fmla="*/ 74 w 140"/>
                  <a:gd name="T103" fmla="*/ 130 h 139"/>
                  <a:gd name="T104" fmla="*/ 75 w 140"/>
                  <a:gd name="T105" fmla="*/ 132 h 139"/>
                  <a:gd name="T106" fmla="*/ 80 w 140"/>
                  <a:gd name="T107" fmla="*/ 133 h 139"/>
                  <a:gd name="T108" fmla="*/ 81 w 140"/>
                  <a:gd name="T109" fmla="*/ 139 h 139"/>
                  <a:gd name="T110" fmla="*/ 98 w 140"/>
                  <a:gd name="T111" fmla="*/ 13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39">
                    <a:moveTo>
                      <a:pt x="109" y="126"/>
                    </a:moveTo>
                    <a:cubicBezTo>
                      <a:pt x="140" y="106"/>
                      <a:pt x="140" y="106"/>
                      <a:pt x="140" y="106"/>
                    </a:cubicBezTo>
                    <a:cubicBezTo>
                      <a:pt x="137" y="101"/>
                      <a:pt x="137" y="101"/>
                      <a:pt x="137" y="101"/>
                    </a:cubicBezTo>
                    <a:cubicBezTo>
                      <a:pt x="136" y="101"/>
                      <a:pt x="136" y="101"/>
                      <a:pt x="136" y="101"/>
                    </a:cubicBezTo>
                    <a:cubicBezTo>
                      <a:pt x="133" y="99"/>
                      <a:pt x="133" y="99"/>
                      <a:pt x="133" y="99"/>
                    </a:cubicBezTo>
                    <a:cubicBezTo>
                      <a:pt x="129" y="99"/>
                      <a:pt x="129" y="99"/>
                      <a:pt x="129" y="99"/>
                    </a:cubicBezTo>
                    <a:cubicBezTo>
                      <a:pt x="127" y="97"/>
                      <a:pt x="127" y="97"/>
                      <a:pt x="127" y="97"/>
                    </a:cubicBezTo>
                    <a:cubicBezTo>
                      <a:pt x="126" y="92"/>
                      <a:pt x="126" y="92"/>
                      <a:pt x="126" y="92"/>
                    </a:cubicBezTo>
                    <a:cubicBezTo>
                      <a:pt x="122" y="86"/>
                      <a:pt x="122" y="86"/>
                      <a:pt x="122" y="86"/>
                    </a:cubicBezTo>
                    <a:cubicBezTo>
                      <a:pt x="122" y="86"/>
                      <a:pt x="123" y="85"/>
                      <a:pt x="123" y="85"/>
                    </a:cubicBezTo>
                    <a:cubicBezTo>
                      <a:pt x="123" y="85"/>
                      <a:pt x="125" y="84"/>
                      <a:pt x="125" y="84"/>
                    </a:cubicBezTo>
                    <a:cubicBezTo>
                      <a:pt x="125" y="83"/>
                      <a:pt x="125" y="83"/>
                      <a:pt x="125" y="83"/>
                    </a:cubicBezTo>
                    <a:cubicBezTo>
                      <a:pt x="126" y="81"/>
                      <a:pt x="126" y="81"/>
                      <a:pt x="126" y="81"/>
                    </a:cubicBezTo>
                    <a:cubicBezTo>
                      <a:pt x="125" y="78"/>
                      <a:pt x="125" y="78"/>
                      <a:pt x="125" y="78"/>
                    </a:cubicBezTo>
                    <a:cubicBezTo>
                      <a:pt x="126" y="74"/>
                      <a:pt x="126" y="74"/>
                      <a:pt x="126" y="74"/>
                    </a:cubicBezTo>
                    <a:cubicBezTo>
                      <a:pt x="125" y="64"/>
                      <a:pt x="125" y="64"/>
                      <a:pt x="125" y="64"/>
                    </a:cubicBezTo>
                    <a:cubicBezTo>
                      <a:pt x="122" y="57"/>
                      <a:pt x="122" y="57"/>
                      <a:pt x="122" y="57"/>
                    </a:cubicBezTo>
                    <a:cubicBezTo>
                      <a:pt x="122" y="56"/>
                      <a:pt x="122" y="56"/>
                      <a:pt x="122" y="56"/>
                    </a:cubicBezTo>
                    <a:cubicBezTo>
                      <a:pt x="123" y="55"/>
                      <a:pt x="123" y="55"/>
                      <a:pt x="123" y="55"/>
                    </a:cubicBezTo>
                    <a:cubicBezTo>
                      <a:pt x="120" y="41"/>
                      <a:pt x="120" y="41"/>
                      <a:pt x="120" y="41"/>
                    </a:cubicBezTo>
                    <a:cubicBezTo>
                      <a:pt x="115" y="37"/>
                      <a:pt x="115" y="37"/>
                      <a:pt x="115" y="37"/>
                    </a:cubicBezTo>
                    <a:cubicBezTo>
                      <a:pt x="115" y="34"/>
                      <a:pt x="115" y="34"/>
                      <a:pt x="115" y="34"/>
                    </a:cubicBezTo>
                    <a:cubicBezTo>
                      <a:pt x="113" y="32"/>
                      <a:pt x="113" y="32"/>
                      <a:pt x="113" y="32"/>
                    </a:cubicBezTo>
                    <a:cubicBezTo>
                      <a:pt x="111" y="31"/>
                      <a:pt x="111" y="31"/>
                      <a:pt x="111" y="31"/>
                    </a:cubicBezTo>
                    <a:cubicBezTo>
                      <a:pt x="111" y="31"/>
                      <a:pt x="111" y="29"/>
                      <a:pt x="111" y="29"/>
                    </a:cubicBezTo>
                    <a:cubicBezTo>
                      <a:pt x="111" y="29"/>
                      <a:pt x="109" y="27"/>
                      <a:pt x="109" y="27"/>
                    </a:cubicBezTo>
                    <a:cubicBezTo>
                      <a:pt x="109" y="24"/>
                      <a:pt x="109" y="24"/>
                      <a:pt x="109" y="24"/>
                    </a:cubicBezTo>
                    <a:cubicBezTo>
                      <a:pt x="115" y="20"/>
                      <a:pt x="115" y="20"/>
                      <a:pt x="115" y="20"/>
                    </a:cubicBezTo>
                    <a:cubicBezTo>
                      <a:pt x="115" y="17"/>
                      <a:pt x="115" y="17"/>
                      <a:pt x="115" y="17"/>
                    </a:cubicBezTo>
                    <a:cubicBezTo>
                      <a:pt x="116" y="15"/>
                      <a:pt x="116" y="15"/>
                      <a:pt x="116" y="15"/>
                    </a:cubicBezTo>
                    <a:cubicBezTo>
                      <a:pt x="115" y="14"/>
                      <a:pt x="115" y="14"/>
                      <a:pt x="115" y="14"/>
                    </a:cubicBezTo>
                    <a:cubicBezTo>
                      <a:pt x="115" y="13"/>
                      <a:pt x="115" y="13"/>
                      <a:pt x="115" y="13"/>
                    </a:cubicBezTo>
                    <a:cubicBezTo>
                      <a:pt x="115" y="12"/>
                      <a:pt x="115" y="12"/>
                      <a:pt x="115" y="12"/>
                    </a:cubicBezTo>
                    <a:cubicBezTo>
                      <a:pt x="115" y="12"/>
                      <a:pt x="115" y="11"/>
                      <a:pt x="115" y="11"/>
                    </a:cubicBezTo>
                    <a:cubicBezTo>
                      <a:pt x="115" y="11"/>
                      <a:pt x="115" y="10"/>
                      <a:pt x="115" y="10"/>
                    </a:cubicBezTo>
                    <a:cubicBezTo>
                      <a:pt x="115" y="10"/>
                      <a:pt x="115" y="10"/>
                      <a:pt x="114" y="10"/>
                    </a:cubicBezTo>
                    <a:cubicBezTo>
                      <a:pt x="114" y="9"/>
                      <a:pt x="115" y="9"/>
                      <a:pt x="115" y="9"/>
                    </a:cubicBezTo>
                    <a:cubicBezTo>
                      <a:pt x="115" y="8"/>
                      <a:pt x="115" y="8"/>
                      <a:pt x="115" y="8"/>
                    </a:cubicBezTo>
                    <a:cubicBezTo>
                      <a:pt x="115" y="8"/>
                      <a:pt x="115" y="7"/>
                      <a:pt x="115" y="7"/>
                    </a:cubicBezTo>
                    <a:cubicBezTo>
                      <a:pt x="115" y="7"/>
                      <a:pt x="115" y="7"/>
                      <a:pt x="115" y="7"/>
                    </a:cubicBezTo>
                    <a:cubicBezTo>
                      <a:pt x="115" y="7"/>
                      <a:pt x="115" y="6"/>
                      <a:pt x="115" y="6"/>
                    </a:cubicBezTo>
                    <a:cubicBezTo>
                      <a:pt x="115" y="6"/>
                      <a:pt x="116" y="5"/>
                      <a:pt x="115" y="5"/>
                    </a:cubicBezTo>
                    <a:cubicBezTo>
                      <a:pt x="115" y="5"/>
                      <a:pt x="114" y="4"/>
                      <a:pt x="114" y="4"/>
                    </a:cubicBezTo>
                    <a:cubicBezTo>
                      <a:pt x="116" y="3"/>
                      <a:pt x="116" y="3"/>
                      <a:pt x="116" y="3"/>
                    </a:cubicBezTo>
                    <a:cubicBezTo>
                      <a:pt x="116" y="2"/>
                      <a:pt x="116" y="2"/>
                      <a:pt x="116" y="2"/>
                    </a:cubicBezTo>
                    <a:cubicBezTo>
                      <a:pt x="115" y="2"/>
                      <a:pt x="114" y="1"/>
                      <a:pt x="113" y="2"/>
                    </a:cubicBezTo>
                    <a:cubicBezTo>
                      <a:pt x="113" y="2"/>
                      <a:pt x="112" y="2"/>
                      <a:pt x="112" y="2"/>
                    </a:cubicBezTo>
                    <a:cubicBezTo>
                      <a:pt x="110" y="0"/>
                      <a:pt x="109" y="0"/>
                      <a:pt x="108" y="1"/>
                    </a:cubicBezTo>
                    <a:cubicBezTo>
                      <a:pt x="107" y="2"/>
                      <a:pt x="106" y="1"/>
                      <a:pt x="106" y="2"/>
                    </a:cubicBezTo>
                    <a:cubicBezTo>
                      <a:pt x="105" y="1"/>
                      <a:pt x="105" y="1"/>
                      <a:pt x="105" y="1"/>
                    </a:cubicBezTo>
                    <a:cubicBezTo>
                      <a:pt x="104" y="1"/>
                      <a:pt x="104" y="1"/>
                      <a:pt x="103" y="0"/>
                    </a:cubicBezTo>
                    <a:cubicBezTo>
                      <a:pt x="103" y="0"/>
                      <a:pt x="102" y="0"/>
                      <a:pt x="102" y="1"/>
                    </a:cubicBezTo>
                    <a:cubicBezTo>
                      <a:pt x="102" y="2"/>
                      <a:pt x="101" y="1"/>
                      <a:pt x="100" y="2"/>
                    </a:cubicBezTo>
                    <a:cubicBezTo>
                      <a:pt x="99" y="2"/>
                      <a:pt x="98" y="2"/>
                      <a:pt x="97" y="3"/>
                    </a:cubicBezTo>
                    <a:cubicBezTo>
                      <a:pt x="97" y="4"/>
                      <a:pt x="95" y="4"/>
                      <a:pt x="94" y="4"/>
                    </a:cubicBezTo>
                    <a:cubicBezTo>
                      <a:pt x="93" y="3"/>
                      <a:pt x="92" y="2"/>
                      <a:pt x="91" y="2"/>
                    </a:cubicBezTo>
                    <a:cubicBezTo>
                      <a:pt x="91" y="2"/>
                      <a:pt x="91" y="2"/>
                      <a:pt x="91" y="2"/>
                    </a:cubicBezTo>
                    <a:cubicBezTo>
                      <a:pt x="87" y="1"/>
                      <a:pt x="83" y="3"/>
                      <a:pt x="79" y="3"/>
                    </a:cubicBezTo>
                    <a:cubicBezTo>
                      <a:pt x="78" y="3"/>
                      <a:pt x="78" y="3"/>
                      <a:pt x="78" y="4"/>
                    </a:cubicBezTo>
                    <a:cubicBezTo>
                      <a:pt x="76" y="4"/>
                      <a:pt x="74" y="4"/>
                      <a:pt x="73" y="4"/>
                    </a:cubicBezTo>
                    <a:cubicBezTo>
                      <a:pt x="70" y="5"/>
                      <a:pt x="67" y="4"/>
                      <a:pt x="64" y="6"/>
                    </a:cubicBezTo>
                    <a:cubicBezTo>
                      <a:pt x="63" y="7"/>
                      <a:pt x="61" y="8"/>
                      <a:pt x="60" y="10"/>
                    </a:cubicBezTo>
                    <a:cubicBezTo>
                      <a:pt x="59" y="10"/>
                      <a:pt x="58" y="12"/>
                      <a:pt x="57" y="10"/>
                    </a:cubicBezTo>
                    <a:cubicBezTo>
                      <a:pt x="57" y="10"/>
                      <a:pt x="56" y="9"/>
                      <a:pt x="56" y="10"/>
                    </a:cubicBezTo>
                    <a:cubicBezTo>
                      <a:pt x="55" y="11"/>
                      <a:pt x="55" y="12"/>
                      <a:pt x="54" y="11"/>
                    </a:cubicBezTo>
                    <a:cubicBezTo>
                      <a:pt x="52" y="11"/>
                      <a:pt x="52" y="13"/>
                      <a:pt x="51" y="14"/>
                    </a:cubicBezTo>
                    <a:cubicBezTo>
                      <a:pt x="49" y="15"/>
                      <a:pt x="47" y="17"/>
                      <a:pt x="45" y="17"/>
                    </a:cubicBezTo>
                    <a:cubicBezTo>
                      <a:pt x="45" y="17"/>
                      <a:pt x="44" y="17"/>
                      <a:pt x="44" y="17"/>
                    </a:cubicBezTo>
                    <a:cubicBezTo>
                      <a:pt x="47" y="19"/>
                      <a:pt x="47" y="19"/>
                      <a:pt x="47" y="19"/>
                    </a:cubicBezTo>
                    <a:cubicBezTo>
                      <a:pt x="46" y="20"/>
                      <a:pt x="46" y="20"/>
                      <a:pt x="46" y="20"/>
                    </a:cubicBezTo>
                    <a:cubicBezTo>
                      <a:pt x="47" y="21"/>
                      <a:pt x="47" y="21"/>
                      <a:pt x="47" y="21"/>
                    </a:cubicBezTo>
                    <a:cubicBezTo>
                      <a:pt x="47" y="28"/>
                      <a:pt x="47" y="28"/>
                      <a:pt x="47" y="28"/>
                    </a:cubicBezTo>
                    <a:cubicBezTo>
                      <a:pt x="48" y="29"/>
                      <a:pt x="48" y="29"/>
                      <a:pt x="48" y="29"/>
                    </a:cubicBezTo>
                    <a:cubicBezTo>
                      <a:pt x="47" y="30"/>
                      <a:pt x="47" y="30"/>
                      <a:pt x="47" y="30"/>
                    </a:cubicBezTo>
                    <a:cubicBezTo>
                      <a:pt x="47" y="30"/>
                      <a:pt x="47" y="30"/>
                      <a:pt x="47" y="30"/>
                    </a:cubicBezTo>
                    <a:cubicBezTo>
                      <a:pt x="47" y="31"/>
                      <a:pt x="47" y="31"/>
                      <a:pt x="47" y="31"/>
                    </a:cubicBezTo>
                    <a:cubicBezTo>
                      <a:pt x="49" y="35"/>
                      <a:pt x="49" y="35"/>
                      <a:pt x="49" y="35"/>
                    </a:cubicBezTo>
                    <a:cubicBezTo>
                      <a:pt x="52" y="37"/>
                      <a:pt x="52" y="37"/>
                      <a:pt x="52" y="37"/>
                    </a:cubicBezTo>
                    <a:cubicBezTo>
                      <a:pt x="50" y="39"/>
                      <a:pt x="50" y="39"/>
                      <a:pt x="50" y="39"/>
                    </a:cubicBezTo>
                    <a:cubicBezTo>
                      <a:pt x="51" y="40"/>
                      <a:pt x="51" y="40"/>
                      <a:pt x="51" y="40"/>
                    </a:cubicBezTo>
                    <a:cubicBezTo>
                      <a:pt x="51" y="41"/>
                      <a:pt x="51" y="41"/>
                      <a:pt x="51" y="41"/>
                    </a:cubicBezTo>
                    <a:cubicBezTo>
                      <a:pt x="47" y="40"/>
                      <a:pt x="47" y="40"/>
                      <a:pt x="47" y="40"/>
                    </a:cubicBezTo>
                    <a:cubicBezTo>
                      <a:pt x="39" y="40"/>
                      <a:pt x="39" y="40"/>
                      <a:pt x="39" y="40"/>
                    </a:cubicBezTo>
                    <a:cubicBezTo>
                      <a:pt x="39" y="43"/>
                      <a:pt x="39" y="43"/>
                      <a:pt x="39" y="43"/>
                    </a:cubicBezTo>
                    <a:cubicBezTo>
                      <a:pt x="34" y="44"/>
                      <a:pt x="34" y="44"/>
                      <a:pt x="34" y="44"/>
                    </a:cubicBezTo>
                    <a:cubicBezTo>
                      <a:pt x="33" y="47"/>
                      <a:pt x="33" y="47"/>
                      <a:pt x="33" y="47"/>
                    </a:cubicBezTo>
                    <a:cubicBezTo>
                      <a:pt x="34" y="49"/>
                      <a:pt x="34" y="49"/>
                      <a:pt x="34" y="49"/>
                    </a:cubicBezTo>
                    <a:cubicBezTo>
                      <a:pt x="34" y="50"/>
                      <a:pt x="34" y="50"/>
                      <a:pt x="34" y="50"/>
                    </a:cubicBezTo>
                    <a:cubicBezTo>
                      <a:pt x="34" y="52"/>
                      <a:pt x="34" y="52"/>
                      <a:pt x="34" y="52"/>
                    </a:cubicBezTo>
                    <a:cubicBezTo>
                      <a:pt x="34" y="52"/>
                      <a:pt x="30" y="53"/>
                      <a:pt x="29" y="53"/>
                    </a:cubicBezTo>
                    <a:cubicBezTo>
                      <a:pt x="29" y="53"/>
                      <a:pt x="25" y="56"/>
                      <a:pt x="25" y="56"/>
                    </a:cubicBezTo>
                    <a:cubicBezTo>
                      <a:pt x="21" y="61"/>
                      <a:pt x="21" y="61"/>
                      <a:pt x="21" y="61"/>
                    </a:cubicBezTo>
                    <a:cubicBezTo>
                      <a:pt x="19" y="60"/>
                      <a:pt x="19" y="60"/>
                      <a:pt x="19" y="60"/>
                    </a:cubicBezTo>
                    <a:cubicBezTo>
                      <a:pt x="13" y="61"/>
                      <a:pt x="13" y="61"/>
                      <a:pt x="13" y="61"/>
                    </a:cubicBezTo>
                    <a:cubicBezTo>
                      <a:pt x="10" y="61"/>
                      <a:pt x="10" y="61"/>
                      <a:pt x="10" y="61"/>
                    </a:cubicBezTo>
                    <a:cubicBezTo>
                      <a:pt x="6" y="62"/>
                      <a:pt x="6" y="62"/>
                      <a:pt x="6" y="62"/>
                    </a:cubicBezTo>
                    <a:cubicBezTo>
                      <a:pt x="0" y="67"/>
                      <a:pt x="0" y="67"/>
                      <a:pt x="0" y="67"/>
                    </a:cubicBezTo>
                    <a:cubicBezTo>
                      <a:pt x="0" y="78"/>
                      <a:pt x="0" y="78"/>
                      <a:pt x="0" y="78"/>
                    </a:cubicBezTo>
                    <a:cubicBezTo>
                      <a:pt x="26" y="95"/>
                      <a:pt x="26" y="95"/>
                      <a:pt x="26" y="95"/>
                    </a:cubicBezTo>
                    <a:cubicBezTo>
                      <a:pt x="66" y="124"/>
                      <a:pt x="66" y="124"/>
                      <a:pt x="66" y="124"/>
                    </a:cubicBezTo>
                    <a:cubicBezTo>
                      <a:pt x="66" y="127"/>
                      <a:pt x="66" y="127"/>
                      <a:pt x="66" y="127"/>
                    </a:cubicBezTo>
                    <a:cubicBezTo>
                      <a:pt x="69" y="128"/>
                      <a:pt x="69" y="128"/>
                      <a:pt x="69" y="128"/>
                    </a:cubicBezTo>
                    <a:cubicBezTo>
                      <a:pt x="71" y="130"/>
                      <a:pt x="71" y="130"/>
                      <a:pt x="71" y="130"/>
                    </a:cubicBezTo>
                    <a:cubicBezTo>
                      <a:pt x="74" y="130"/>
                      <a:pt x="74" y="130"/>
                      <a:pt x="74" y="130"/>
                    </a:cubicBezTo>
                    <a:cubicBezTo>
                      <a:pt x="74" y="132"/>
                      <a:pt x="74" y="132"/>
                      <a:pt x="74" y="132"/>
                    </a:cubicBezTo>
                    <a:cubicBezTo>
                      <a:pt x="75" y="132"/>
                      <a:pt x="75" y="132"/>
                      <a:pt x="75" y="132"/>
                    </a:cubicBezTo>
                    <a:cubicBezTo>
                      <a:pt x="77" y="131"/>
                      <a:pt x="77" y="131"/>
                      <a:pt x="77" y="131"/>
                    </a:cubicBezTo>
                    <a:cubicBezTo>
                      <a:pt x="80" y="133"/>
                      <a:pt x="80" y="133"/>
                      <a:pt x="80" y="133"/>
                    </a:cubicBezTo>
                    <a:cubicBezTo>
                      <a:pt x="80" y="139"/>
                      <a:pt x="80" y="139"/>
                      <a:pt x="80" y="139"/>
                    </a:cubicBezTo>
                    <a:cubicBezTo>
                      <a:pt x="81" y="139"/>
                      <a:pt x="81" y="139"/>
                      <a:pt x="81" y="139"/>
                    </a:cubicBezTo>
                    <a:cubicBezTo>
                      <a:pt x="87" y="138"/>
                      <a:pt x="87" y="138"/>
                      <a:pt x="87" y="138"/>
                    </a:cubicBezTo>
                    <a:cubicBezTo>
                      <a:pt x="98" y="136"/>
                      <a:pt x="98" y="136"/>
                      <a:pt x="98" y="136"/>
                    </a:cubicBezTo>
                    <a:lnTo>
                      <a:pt x="10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sp>
        <p:nvSpPr>
          <p:cNvPr id="384" name="Freeform 383">
            <a:extLst>
              <a:ext uri="{FF2B5EF4-FFF2-40B4-BE49-F238E27FC236}">
                <a16:creationId xmlns:a16="http://schemas.microsoft.com/office/drawing/2014/main" id="{19BB75A0-84B5-DA1C-7D5D-3806C114B231}"/>
              </a:ext>
            </a:extLst>
          </p:cNvPr>
          <p:cNvSpPr/>
          <p:nvPr/>
        </p:nvSpPr>
        <p:spPr bwMode="gray">
          <a:xfrm>
            <a:off x="452439" y="3290888"/>
            <a:ext cx="130175" cy="146050"/>
          </a:xfrm>
          <a:custGeom>
            <a:avLst/>
            <a:gdLst>
              <a:gd name="connsiteX0" fmla="*/ 70883 w 131208"/>
              <a:gd name="connsiteY0" fmla="*/ 0 h 146050"/>
              <a:gd name="connsiteX1" fmla="*/ 70883 w 131208"/>
              <a:gd name="connsiteY1" fmla="*/ 0 h 146050"/>
              <a:gd name="connsiteX2" fmla="*/ 93108 w 131208"/>
              <a:gd name="connsiteY2" fmla="*/ 15875 h 146050"/>
              <a:gd name="connsiteX3" fmla="*/ 105808 w 131208"/>
              <a:gd name="connsiteY3" fmla="*/ 44450 h 146050"/>
              <a:gd name="connsiteX4" fmla="*/ 115333 w 131208"/>
              <a:gd name="connsiteY4" fmla="*/ 50800 h 146050"/>
              <a:gd name="connsiteX5" fmla="*/ 131208 w 131208"/>
              <a:gd name="connsiteY5" fmla="*/ 79375 h 146050"/>
              <a:gd name="connsiteX6" fmla="*/ 128033 w 131208"/>
              <a:gd name="connsiteY6" fmla="*/ 114300 h 146050"/>
              <a:gd name="connsiteX7" fmla="*/ 105808 w 131208"/>
              <a:gd name="connsiteY7" fmla="*/ 139700 h 146050"/>
              <a:gd name="connsiteX8" fmla="*/ 96283 w 131208"/>
              <a:gd name="connsiteY8" fmla="*/ 142875 h 146050"/>
              <a:gd name="connsiteX9" fmla="*/ 86758 w 131208"/>
              <a:gd name="connsiteY9" fmla="*/ 139700 h 146050"/>
              <a:gd name="connsiteX10" fmla="*/ 77233 w 131208"/>
              <a:gd name="connsiteY10" fmla="*/ 133350 h 146050"/>
              <a:gd name="connsiteX11" fmla="*/ 67708 w 131208"/>
              <a:gd name="connsiteY11" fmla="*/ 142875 h 146050"/>
              <a:gd name="connsiteX12" fmla="*/ 58183 w 131208"/>
              <a:gd name="connsiteY12" fmla="*/ 146050 h 146050"/>
              <a:gd name="connsiteX13" fmla="*/ 48658 w 131208"/>
              <a:gd name="connsiteY13" fmla="*/ 92075 h 146050"/>
              <a:gd name="connsiteX14" fmla="*/ 39133 w 131208"/>
              <a:gd name="connsiteY14" fmla="*/ 95250 h 146050"/>
              <a:gd name="connsiteX15" fmla="*/ 29608 w 131208"/>
              <a:gd name="connsiteY15" fmla="*/ 104775 h 146050"/>
              <a:gd name="connsiteX16" fmla="*/ 16908 w 131208"/>
              <a:gd name="connsiteY16" fmla="*/ 101600 h 146050"/>
              <a:gd name="connsiteX17" fmla="*/ 13733 w 131208"/>
              <a:gd name="connsiteY17" fmla="*/ 92075 h 146050"/>
              <a:gd name="connsiteX18" fmla="*/ 23258 w 131208"/>
              <a:gd name="connsiteY18" fmla="*/ 85725 h 146050"/>
              <a:gd name="connsiteX19" fmla="*/ 26433 w 131208"/>
              <a:gd name="connsiteY19" fmla="*/ 76200 h 146050"/>
              <a:gd name="connsiteX20" fmla="*/ 16908 w 131208"/>
              <a:gd name="connsiteY20" fmla="*/ 69850 h 146050"/>
              <a:gd name="connsiteX21" fmla="*/ 1033 w 131208"/>
              <a:gd name="connsiteY21" fmla="*/ 66675 h 146050"/>
              <a:gd name="connsiteX22" fmla="*/ 4208 w 131208"/>
              <a:gd name="connsiteY22" fmla="*/ 50800 h 146050"/>
              <a:gd name="connsiteX23" fmla="*/ 20083 w 131208"/>
              <a:gd name="connsiteY23" fmla="*/ 34925 h 146050"/>
              <a:gd name="connsiteX24" fmla="*/ 29608 w 131208"/>
              <a:gd name="connsiteY24" fmla="*/ 25400 h 146050"/>
              <a:gd name="connsiteX25" fmla="*/ 32783 w 131208"/>
              <a:gd name="connsiteY25" fmla="*/ 12700 h 146050"/>
              <a:gd name="connsiteX26" fmla="*/ 55008 w 131208"/>
              <a:gd name="connsiteY26" fmla="*/ 9525 h 146050"/>
              <a:gd name="connsiteX27" fmla="*/ 70883 w 131208"/>
              <a:gd name="connsiteY27"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1208" h="146050">
                <a:moveTo>
                  <a:pt x="70883" y="0"/>
                </a:moveTo>
                <a:lnTo>
                  <a:pt x="70883" y="0"/>
                </a:lnTo>
                <a:cubicBezTo>
                  <a:pt x="78291" y="5292"/>
                  <a:pt x="87343" y="8829"/>
                  <a:pt x="93108" y="15875"/>
                </a:cubicBezTo>
                <a:cubicBezTo>
                  <a:pt x="121402" y="50457"/>
                  <a:pt x="83923" y="22565"/>
                  <a:pt x="105808" y="44450"/>
                </a:cubicBezTo>
                <a:cubicBezTo>
                  <a:pt x="108506" y="47148"/>
                  <a:pt x="112158" y="48683"/>
                  <a:pt x="115333" y="50800"/>
                </a:cubicBezTo>
                <a:cubicBezTo>
                  <a:pt x="129889" y="72635"/>
                  <a:pt x="125620" y="62610"/>
                  <a:pt x="131208" y="79375"/>
                </a:cubicBezTo>
                <a:cubicBezTo>
                  <a:pt x="130150" y="91017"/>
                  <a:pt x="131331" y="103085"/>
                  <a:pt x="128033" y="114300"/>
                </a:cubicBezTo>
                <a:cubicBezTo>
                  <a:pt x="124749" y="125467"/>
                  <a:pt x="115917" y="134646"/>
                  <a:pt x="105808" y="139700"/>
                </a:cubicBezTo>
                <a:cubicBezTo>
                  <a:pt x="102815" y="141197"/>
                  <a:pt x="99458" y="141817"/>
                  <a:pt x="96283" y="142875"/>
                </a:cubicBezTo>
                <a:cubicBezTo>
                  <a:pt x="93108" y="141817"/>
                  <a:pt x="89751" y="141197"/>
                  <a:pt x="86758" y="139700"/>
                </a:cubicBezTo>
                <a:cubicBezTo>
                  <a:pt x="83345" y="137993"/>
                  <a:pt x="80997" y="132723"/>
                  <a:pt x="77233" y="133350"/>
                </a:cubicBezTo>
                <a:cubicBezTo>
                  <a:pt x="72804" y="134088"/>
                  <a:pt x="71444" y="140384"/>
                  <a:pt x="67708" y="142875"/>
                </a:cubicBezTo>
                <a:cubicBezTo>
                  <a:pt x="64923" y="144731"/>
                  <a:pt x="61358" y="144992"/>
                  <a:pt x="58183" y="146050"/>
                </a:cubicBezTo>
                <a:cubicBezTo>
                  <a:pt x="48136" y="115910"/>
                  <a:pt x="52439" y="133666"/>
                  <a:pt x="48658" y="92075"/>
                </a:cubicBezTo>
                <a:cubicBezTo>
                  <a:pt x="45483" y="93133"/>
                  <a:pt x="41918" y="93394"/>
                  <a:pt x="39133" y="95250"/>
                </a:cubicBezTo>
                <a:cubicBezTo>
                  <a:pt x="35397" y="97741"/>
                  <a:pt x="33925" y="103541"/>
                  <a:pt x="29608" y="104775"/>
                </a:cubicBezTo>
                <a:cubicBezTo>
                  <a:pt x="25412" y="105974"/>
                  <a:pt x="21141" y="102658"/>
                  <a:pt x="16908" y="101600"/>
                </a:cubicBezTo>
                <a:cubicBezTo>
                  <a:pt x="15850" y="98425"/>
                  <a:pt x="12490" y="95182"/>
                  <a:pt x="13733" y="92075"/>
                </a:cubicBezTo>
                <a:cubicBezTo>
                  <a:pt x="15150" y="88532"/>
                  <a:pt x="20874" y="88705"/>
                  <a:pt x="23258" y="85725"/>
                </a:cubicBezTo>
                <a:cubicBezTo>
                  <a:pt x="25349" y="83112"/>
                  <a:pt x="25375" y="79375"/>
                  <a:pt x="26433" y="76200"/>
                </a:cubicBezTo>
                <a:cubicBezTo>
                  <a:pt x="23258" y="74083"/>
                  <a:pt x="20481" y="71190"/>
                  <a:pt x="16908" y="69850"/>
                </a:cubicBezTo>
                <a:cubicBezTo>
                  <a:pt x="11855" y="67955"/>
                  <a:pt x="4026" y="71165"/>
                  <a:pt x="1033" y="66675"/>
                </a:cubicBezTo>
                <a:cubicBezTo>
                  <a:pt x="-1960" y="62185"/>
                  <a:pt x="2313" y="55853"/>
                  <a:pt x="4208" y="50800"/>
                </a:cubicBezTo>
                <a:cubicBezTo>
                  <a:pt x="8441" y="39511"/>
                  <a:pt x="11616" y="41981"/>
                  <a:pt x="20083" y="34925"/>
                </a:cubicBezTo>
                <a:cubicBezTo>
                  <a:pt x="23532" y="32050"/>
                  <a:pt x="26433" y="28575"/>
                  <a:pt x="29608" y="25400"/>
                </a:cubicBezTo>
                <a:cubicBezTo>
                  <a:pt x="30666" y="21167"/>
                  <a:pt x="29083" y="15013"/>
                  <a:pt x="32783" y="12700"/>
                </a:cubicBezTo>
                <a:cubicBezTo>
                  <a:pt x="39129" y="8734"/>
                  <a:pt x="47670" y="10993"/>
                  <a:pt x="55008" y="9525"/>
                </a:cubicBezTo>
                <a:cubicBezTo>
                  <a:pt x="64129" y="7701"/>
                  <a:pt x="68237" y="1588"/>
                  <a:pt x="70883" y="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5" name="Freeform 384">
            <a:extLst>
              <a:ext uri="{FF2B5EF4-FFF2-40B4-BE49-F238E27FC236}">
                <a16:creationId xmlns:a16="http://schemas.microsoft.com/office/drawing/2014/main" id="{46076911-619D-F28F-9B61-B96D330C7BCF}"/>
              </a:ext>
            </a:extLst>
          </p:cNvPr>
          <p:cNvSpPr/>
          <p:nvPr/>
        </p:nvSpPr>
        <p:spPr bwMode="gray">
          <a:xfrm>
            <a:off x="500063" y="3357564"/>
            <a:ext cx="82550" cy="79375"/>
          </a:xfrm>
          <a:custGeom>
            <a:avLst/>
            <a:gdLst>
              <a:gd name="connsiteX0" fmla="*/ 10005 w 64053"/>
              <a:gd name="connsiteY0" fmla="*/ 38167 h 79442"/>
              <a:gd name="connsiteX1" fmla="*/ 10005 w 64053"/>
              <a:gd name="connsiteY1" fmla="*/ 38167 h 79442"/>
              <a:gd name="connsiteX2" fmla="*/ 38580 w 64053"/>
              <a:gd name="connsiteY2" fmla="*/ 31817 h 79442"/>
              <a:gd name="connsiteX3" fmla="*/ 32230 w 64053"/>
              <a:gd name="connsiteY3" fmla="*/ 12767 h 79442"/>
              <a:gd name="connsiteX4" fmla="*/ 38580 w 64053"/>
              <a:gd name="connsiteY4" fmla="*/ 67 h 79442"/>
              <a:gd name="connsiteX5" fmla="*/ 57630 w 64053"/>
              <a:gd name="connsiteY5" fmla="*/ 15942 h 79442"/>
              <a:gd name="connsiteX6" fmla="*/ 54455 w 64053"/>
              <a:gd name="connsiteY6" fmla="*/ 38167 h 79442"/>
              <a:gd name="connsiteX7" fmla="*/ 48105 w 64053"/>
              <a:gd name="connsiteY7" fmla="*/ 57217 h 79442"/>
              <a:gd name="connsiteX8" fmla="*/ 63980 w 64053"/>
              <a:gd name="connsiteY8" fmla="*/ 69917 h 79442"/>
              <a:gd name="connsiteX9" fmla="*/ 60805 w 64053"/>
              <a:gd name="connsiteY9" fmla="*/ 79442 h 79442"/>
              <a:gd name="connsiteX10" fmla="*/ 25880 w 64053"/>
              <a:gd name="connsiteY10" fmla="*/ 69917 h 79442"/>
              <a:gd name="connsiteX11" fmla="*/ 19530 w 64053"/>
              <a:gd name="connsiteY11" fmla="*/ 60392 h 79442"/>
              <a:gd name="connsiteX12" fmla="*/ 480 w 64053"/>
              <a:gd name="connsiteY12" fmla="*/ 60392 h 79442"/>
              <a:gd name="connsiteX13" fmla="*/ 10005 w 64053"/>
              <a:gd name="connsiteY13" fmla="*/ 38167 h 7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053" h="79442">
                <a:moveTo>
                  <a:pt x="10005" y="38167"/>
                </a:moveTo>
                <a:lnTo>
                  <a:pt x="10005" y="38167"/>
                </a:lnTo>
                <a:cubicBezTo>
                  <a:pt x="19530" y="36050"/>
                  <a:pt x="32155" y="39160"/>
                  <a:pt x="38580" y="31817"/>
                </a:cubicBezTo>
                <a:cubicBezTo>
                  <a:pt x="42988" y="26780"/>
                  <a:pt x="32230" y="12767"/>
                  <a:pt x="32230" y="12767"/>
                </a:cubicBezTo>
                <a:cubicBezTo>
                  <a:pt x="34347" y="8534"/>
                  <a:pt x="34186" y="1825"/>
                  <a:pt x="38580" y="67"/>
                </a:cubicBezTo>
                <a:cubicBezTo>
                  <a:pt x="41737" y="-1196"/>
                  <a:pt x="57296" y="15608"/>
                  <a:pt x="57630" y="15942"/>
                </a:cubicBezTo>
                <a:cubicBezTo>
                  <a:pt x="56572" y="23350"/>
                  <a:pt x="56138" y="30875"/>
                  <a:pt x="54455" y="38167"/>
                </a:cubicBezTo>
                <a:cubicBezTo>
                  <a:pt x="52950" y="44689"/>
                  <a:pt x="48105" y="57217"/>
                  <a:pt x="48105" y="57217"/>
                </a:cubicBezTo>
                <a:cubicBezTo>
                  <a:pt x="55534" y="59693"/>
                  <a:pt x="62290" y="59780"/>
                  <a:pt x="63980" y="69917"/>
                </a:cubicBezTo>
                <a:cubicBezTo>
                  <a:pt x="64530" y="73218"/>
                  <a:pt x="61863" y="76267"/>
                  <a:pt x="60805" y="79442"/>
                </a:cubicBezTo>
                <a:cubicBezTo>
                  <a:pt x="45780" y="77564"/>
                  <a:pt x="36171" y="80208"/>
                  <a:pt x="25880" y="69917"/>
                </a:cubicBezTo>
                <a:cubicBezTo>
                  <a:pt x="23182" y="67219"/>
                  <a:pt x="21647" y="63567"/>
                  <a:pt x="19530" y="60392"/>
                </a:cubicBezTo>
                <a:cubicBezTo>
                  <a:pt x="18375" y="60777"/>
                  <a:pt x="1635" y="68474"/>
                  <a:pt x="480" y="60392"/>
                </a:cubicBezTo>
                <a:cubicBezTo>
                  <a:pt x="-2385" y="40338"/>
                  <a:pt x="8418" y="41871"/>
                  <a:pt x="10005" y="38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6" name="Freeform 385">
            <a:extLst>
              <a:ext uri="{FF2B5EF4-FFF2-40B4-BE49-F238E27FC236}">
                <a16:creationId xmlns:a16="http://schemas.microsoft.com/office/drawing/2014/main" id="{F436A9E5-768B-7F0B-D140-D33DD1DEC8CC}"/>
              </a:ext>
            </a:extLst>
          </p:cNvPr>
          <p:cNvSpPr/>
          <p:nvPr/>
        </p:nvSpPr>
        <p:spPr bwMode="gray">
          <a:xfrm>
            <a:off x="434975" y="3192463"/>
            <a:ext cx="101600" cy="82550"/>
          </a:xfrm>
          <a:custGeom>
            <a:avLst/>
            <a:gdLst>
              <a:gd name="connsiteX0" fmla="*/ 101600 w 101600"/>
              <a:gd name="connsiteY0" fmla="*/ 73025 h 82550"/>
              <a:gd name="connsiteX1" fmla="*/ 101600 w 101600"/>
              <a:gd name="connsiteY1" fmla="*/ 73025 h 82550"/>
              <a:gd name="connsiteX2" fmla="*/ 82550 w 101600"/>
              <a:gd name="connsiteY2" fmla="*/ 50800 h 82550"/>
              <a:gd name="connsiteX3" fmla="*/ 63500 w 101600"/>
              <a:gd name="connsiteY3" fmla="*/ 38100 h 82550"/>
              <a:gd name="connsiteX4" fmla="*/ 66675 w 101600"/>
              <a:gd name="connsiteY4" fmla="*/ 28575 h 82550"/>
              <a:gd name="connsiteX5" fmla="*/ 60325 w 101600"/>
              <a:gd name="connsiteY5" fmla="*/ 19050 h 82550"/>
              <a:gd name="connsiteX6" fmla="*/ 53975 w 101600"/>
              <a:gd name="connsiteY6" fmla="*/ 0 h 82550"/>
              <a:gd name="connsiteX7" fmla="*/ 34925 w 101600"/>
              <a:gd name="connsiteY7" fmla="*/ 6350 h 82550"/>
              <a:gd name="connsiteX8" fmla="*/ 15875 w 101600"/>
              <a:gd name="connsiteY8" fmla="*/ 15875 h 82550"/>
              <a:gd name="connsiteX9" fmla="*/ 6350 w 101600"/>
              <a:gd name="connsiteY9" fmla="*/ 25400 h 82550"/>
              <a:gd name="connsiteX10" fmla="*/ 0 w 101600"/>
              <a:gd name="connsiteY10" fmla="*/ 44450 h 82550"/>
              <a:gd name="connsiteX11" fmla="*/ 19050 w 101600"/>
              <a:gd name="connsiteY11" fmla="*/ 50800 h 82550"/>
              <a:gd name="connsiteX12" fmla="*/ 28575 w 101600"/>
              <a:gd name="connsiteY12" fmla="*/ 53975 h 82550"/>
              <a:gd name="connsiteX13" fmla="*/ 22225 w 101600"/>
              <a:gd name="connsiteY13" fmla="*/ 66675 h 82550"/>
              <a:gd name="connsiteX14" fmla="*/ 34925 w 101600"/>
              <a:gd name="connsiteY14" fmla="*/ 82550 h 82550"/>
              <a:gd name="connsiteX15" fmla="*/ 101600 w 101600"/>
              <a:gd name="connsiteY15" fmla="*/ 73025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82550">
                <a:moveTo>
                  <a:pt x="101600" y="73025"/>
                </a:moveTo>
                <a:lnTo>
                  <a:pt x="101600" y="73025"/>
                </a:lnTo>
                <a:cubicBezTo>
                  <a:pt x="95250" y="65617"/>
                  <a:pt x="89743" y="57393"/>
                  <a:pt x="82550" y="50800"/>
                </a:cubicBezTo>
                <a:cubicBezTo>
                  <a:pt x="76924" y="45643"/>
                  <a:pt x="67936" y="44310"/>
                  <a:pt x="63500" y="38100"/>
                </a:cubicBezTo>
                <a:cubicBezTo>
                  <a:pt x="61555" y="35377"/>
                  <a:pt x="65617" y="31750"/>
                  <a:pt x="66675" y="28575"/>
                </a:cubicBezTo>
                <a:cubicBezTo>
                  <a:pt x="64558" y="25400"/>
                  <a:pt x="61875" y="22537"/>
                  <a:pt x="60325" y="19050"/>
                </a:cubicBezTo>
                <a:cubicBezTo>
                  <a:pt x="57607" y="12933"/>
                  <a:pt x="53975" y="0"/>
                  <a:pt x="53975" y="0"/>
                </a:cubicBezTo>
                <a:cubicBezTo>
                  <a:pt x="47625" y="2117"/>
                  <a:pt x="40494" y="2637"/>
                  <a:pt x="34925" y="6350"/>
                </a:cubicBezTo>
                <a:cubicBezTo>
                  <a:pt x="22615" y="14556"/>
                  <a:pt x="29020" y="11493"/>
                  <a:pt x="15875" y="15875"/>
                </a:cubicBezTo>
                <a:cubicBezTo>
                  <a:pt x="12700" y="19050"/>
                  <a:pt x="8531" y="21475"/>
                  <a:pt x="6350" y="25400"/>
                </a:cubicBezTo>
                <a:cubicBezTo>
                  <a:pt x="3099" y="31251"/>
                  <a:pt x="0" y="44450"/>
                  <a:pt x="0" y="44450"/>
                </a:cubicBezTo>
                <a:lnTo>
                  <a:pt x="19050" y="50800"/>
                </a:lnTo>
                <a:lnTo>
                  <a:pt x="28575" y="53975"/>
                </a:lnTo>
                <a:cubicBezTo>
                  <a:pt x="37042" y="79375"/>
                  <a:pt x="30692" y="49742"/>
                  <a:pt x="22225" y="66675"/>
                </a:cubicBezTo>
                <a:cubicBezTo>
                  <a:pt x="18391" y="74343"/>
                  <a:pt x="31983" y="80588"/>
                  <a:pt x="34925" y="82550"/>
                </a:cubicBezTo>
                <a:cubicBezTo>
                  <a:pt x="78560" y="79193"/>
                  <a:pt x="90488" y="74612"/>
                  <a:pt x="101600" y="73025"/>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7" name="Freeform 386">
            <a:extLst>
              <a:ext uri="{FF2B5EF4-FFF2-40B4-BE49-F238E27FC236}">
                <a16:creationId xmlns:a16="http://schemas.microsoft.com/office/drawing/2014/main" id="{9865F796-B2AB-7BC3-E945-A1736383145D}"/>
              </a:ext>
            </a:extLst>
          </p:cNvPr>
          <p:cNvSpPr/>
          <p:nvPr/>
        </p:nvSpPr>
        <p:spPr bwMode="gray">
          <a:xfrm>
            <a:off x="434975" y="3198813"/>
            <a:ext cx="61913" cy="82550"/>
          </a:xfrm>
          <a:custGeom>
            <a:avLst/>
            <a:gdLst>
              <a:gd name="connsiteX0" fmla="*/ 60597 w 61037"/>
              <a:gd name="connsiteY0" fmla="*/ 19167 h 82667"/>
              <a:gd name="connsiteX1" fmla="*/ 60597 w 61037"/>
              <a:gd name="connsiteY1" fmla="*/ 19167 h 82667"/>
              <a:gd name="connsiteX2" fmla="*/ 35197 w 61037"/>
              <a:gd name="connsiteY2" fmla="*/ 9642 h 82667"/>
              <a:gd name="connsiteX3" fmla="*/ 32022 w 61037"/>
              <a:gd name="connsiteY3" fmla="*/ 117 h 82667"/>
              <a:gd name="connsiteX4" fmla="*/ 22497 w 61037"/>
              <a:gd name="connsiteY4" fmla="*/ 6467 h 82667"/>
              <a:gd name="connsiteX5" fmla="*/ 3447 w 61037"/>
              <a:gd name="connsiteY5" fmla="*/ 25517 h 82667"/>
              <a:gd name="connsiteX6" fmla="*/ 272 w 61037"/>
              <a:gd name="connsiteY6" fmla="*/ 35042 h 82667"/>
              <a:gd name="connsiteX7" fmla="*/ 22497 w 61037"/>
              <a:gd name="connsiteY7" fmla="*/ 44567 h 82667"/>
              <a:gd name="connsiteX8" fmla="*/ 16147 w 61037"/>
              <a:gd name="connsiteY8" fmla="*/ 57267 h 82667"/>
              <a:gd name="connsiteX9" fmla="*/ 19322 w 61037"/>
              <a:gd name="connsiteY9" fmla="*/ 66792 h 82667"/>
              <a:gd name="connsiteX10" fmla="*/ 41547 w 61037"/>
              <a:gd name="connsiteY10" fmla="*/ 73142 h 82667"/>
              <a:gd name="connsiteX11" fmla="*/ 60597 w 61037"/>
              <a:gd name="connsiteY11" fmla="*/ 82667 h 82667"/>
              <a:gd name="connsiteX12" fmla="*/ 51072 w 61037"/>
              <a:gd name="connsiteY12" fmla="*/ 28692 h 82667"/>
              <a:gd name="connsiteX13" fmla="*/ 60597 w 61037"/>
              <a:gd name="connsiteY13" fmla="*/ 19167 h 8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037" h="82667">
                <a:moveTo>
                  <a:pt x="60597" y="19167"/>
                </a:moveTo>
                <a:lnTo>
                  <a:pt x="60597" y="19167"/>
                </a:lnTo>
                <a:cubicBezTo>
                  <a:pt x="52130" y="15992"/>
                  <a:pt x="42721" y="14658"/>
                  <a:pt x="35197" y="9642"/>
                </a:cubicBezTo>
                <a:cubicBezTo>
                  <a:pt x="32412" y="7786"/>
                  <a:pt x="35269" y="929"/>
                  <a:pt x="32022" y="117"/>
                </a:cubicBezTo>
                <a:cubicBezTo>
                  <a:pt x="28320" y="-808"/>
                  <a:pt x="25349" y="3932"/>
                  <a:pt x="22497" y="6467"/>
                </a:cubicBezTo>
                <a:cubicBezTo>
                  <a:pt x="15785" y="12433"/>
                  <a:pt x="3447" y="25517"/>
                  <a:pt x="3447" y="25517"/>
                </a:cubicBezTo>
                <a:cubicBezTo>
                  <a:pt x="2389" y="28692"/>
                  <a:pt x="-971" y="31935"/>
                  <a:pt x="272" y="35042"/>
                </a:cubicBezTo>
                <a:cubicBezTo>
                  <a:pt x="2708" y="41133"/>
                  <a:pt x="18353" y="43531"/>
                  <a:pt x="22497" y="44567"/>
                </a:cubicBezTo>
                <a:cubicBezTo>
                  <a:pt x="30964" y="69967"/>
                  <a:pt x="24614" y="40334"/>
                  <a:pt x="16147" y="57267"/>
                </a:cubicBezTo>
                <a:cubicBezTo>
                  <a:pt x="14650" y="60260"/>
                  <a:pt x="16955" y="64425"/>
                  <a:pt x="19322" y="66792"/>
                </a:cubicBezTo>
                <a:cubicBezTo>
                  <a:pt x="20845" y="68315"/>
                  <a:pt x="41432" y="73109"/>
                  <a:pt x="41547" y="73142"/>
                </a:cubicBezTo>
                <a:cubicBezTo>
                  <a:pt x="53049" y="76428"/>
                  <a:pt x="50161" y="75710"/>
                  <a:pt x="60597" y="82667"/>
                </a:cubicBezTo>
                <a:cubicBezTo>
                  <a:pt x="60162" y="76577"/>
                  <a:pt x="64888" y="39745"/>
                  <a:pt x="51072" y="28692"/>
                </a:cubicBezTo>
                <a:cubicBezTo>
                  <a:pt x="34725" y="15614"/>
                  <a:pt x="59010" y="20754"/>
                  <a:pt x="60597" y="19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8" name="Freeform 387">
            <a:extLst>
              <a:ext uri="{FF2B5EF4-FFF2-40B4-BE49-F238E27FC236}">
                <a16:creationId xmlns:a16="http://schemas.microsoft.com/office/drawing/2014/main" id="{11BA1C3F-6E7C-2046-F437-990F52019361}"/>
              </a:ext>
            </a:extLst>
          </p:cNvPr>
          <p:cNvSpPr/>
          <p:nvPr/>
        </p:nvSpPr>
        <p:spPr bwMode="gray">
          <a:xfrm>
            <a:off x="838200" y="3322637"/>
            <a:ext cx="139700" cy="230188"/>
          </a:xfrm>
          <a:custGeom>
            <a:avLst/>
            <a:gdLst>
              <a:gd name="connsiteX0" fmla="*/ 38557 w 140157"/>
              <a:gd name="connsiteY0" fmla="*/ 95250 h 229565"/>
              <a:gd name="connsiteX1" fmla="*/ 38557 w 140157"/>
              <a:gd name="connsiteY1" fmla="*/ 95250 h 229565"/>
              <a:gd name="connsiteX2" fmla="*/ 3632 w 140157"/>
              <a:gd name="connsiteY2" fmla="*/ 3175 h 229565"/>
              <a:gd name="connsiteX3" fmla="*/ 13157 w 140157"/>
              <a:gd name="connsiteY3" fmla="*/ 0 h 229565"/>
              <a:gd name="connsiteX4" fmla="*/ 29032 w 140157"/>
              <a:gd name="connsiteY4" fmla="*/ 3175 h 229565"/>
              <a:gd name="connsiteX5" fmla="*/ 32207 w 140157"/>
              <a:gd name="connsiteY5" fmla="*/ 12700 h 229565"/>
              <a:gd name="connsiteX6" fmla="*/ 41732 w 140157"/>
              <a:gd name="connsiteY6" fmla="*/ 6350 h 229565"/>
              <a:gd name="connsiteX7" fmla="*/ 54432 w 140157"/>
              <a:gd name="connsiteY7" fmla="*/ 3175 h 229565"/>
              <a:gd name="connsiteX8" fmla="*/ 57607 w 140157"/>
              <a:gd name="connsiteY8" fmla="*/ 12700 h 229565"/>
              <a:gd name="connsiteX9" fmla="*/ 76657 w 140157"/>
              <a:gd name="connsiteY9" fmla="*/ 41275 h 229565"/>
              <a:gd name="connsiteX10" fmla="*/ 83007 w 140157"/>
              <a:gd name="connsiteY10" fmla="*/ 50800 h 229565"/>
              <a:gd name="connsiteX11" fmla="*/ 89357 w 140157"/>
              <a:gd name="connsiteY11" fmla="*/ 69850 h 229565"/>
              <a:gd name="connsiteX12" fmla="*/ 95707 w 140157"/>
              <a:gd name="connsiteY12" fmla="*/ 79375 h 229565"/>
              <a:gd name="connsiteX13" fmla="*/ 98882 w 140157"/>
              <a:gd name="connsiteY13" fmla="*/ 88900 h 229565"/>
              <a:gd name="connsiteX14" fmla="*/ 111582 w 140157"/>
              <a:gd name="connsiteY14" fmla="*/ 107950 h 229565"/>
              <a:gd name="connsiteX15" fmla="*/ 117932 w 140157"/>
              <a:gd name="connsiteY15" fmla="*/ 127000 h 229565"/>
              <a:gd name="connsiteX16" fmla="*/ 124282 w 140157"/>
              <a:gd name="connsiteY16" fmla="*/ 136525 h 229565"/>
              <a:gd name="connsiteX17" fmla="*/ 130632 w 140157"/>
              <a:gd name="connsiteY17" fmla="*/ 155575 h 229565"/>
              <a:gd name="connsiteX18" fmla="*/ 133807 w 140157"/>
              <a:gd name="connsiteY18" fmla="*/ 165100 h 229565"/>
              <a:gd name="connsiteX19" fmla="*/ 130632 w 140157"/>
              <a:gd name="connsiteY19" fmla="*/ 196850 h 229565"/>
              <a:gd name="connsiteX20" fmla="*/ 130632 w 140157"/>
              <a:gd name="connsiteY20" fmla="*/ 215900 h 229565"/>
              <a:gd name="connsiteX21" fmla="*/ 140157 w 140157"/>
              <a:gd name="connsiteY21" fmla="*/ 219075 h 229565"/>
              <a:gd name="connsiteX22" fmla="*/ 136982 w 140157"/>
              <a:gd name="connsiteY22" fmla="*/ 228600 h 229565"/>
              <a:gd name="connsiteX23" fmla="*/ 117932 w 140157"/>
              <a:gd name="connsiteY23" fmla="*/ 215900 h 229565"/>
              <a:gd name="connsiteX24" fmla="*/ 114757 w 140157"/>
              <a:gd name="connsiteY24" fmla="*/ 190500 h 229565"/>
              <a:gd name="connsiteX25" fmla="*/ 105232 w 140157"/>
              <a:gd name="connsiteY25" fmla="*/ 187325 h 229565"/>
              <a:gd name="connsiteX26" fmla="*/ 92532 w 140157"/>
              <a:gd name="connsiteY26" fmla="*/ 184150 h 229565"/>
              <a:gd name="connsiteX27" fmla="*/ 86182 w 140157"/>
              <a:gd name="connsiteY27" fmla="*/ 174625 h 229565"/>
              <a:gd name="connsiteX28" fmla="*/ 76657 w 140157"/>
              <a:gd name="connsiteY28" fmla="*/ 152400 h 229565"/>
              <a:gd name="connsiteX29" fmla="*/ 57607 w 140157"/>
              <a:gd name="connsiteY29" fmla="*/ 139700 h 229565"/>
              <a:gd name="connsiteX30" fmla="*/ 51257 w 140157"/>
              <a:gd name="connsiteY30" fmla="*/ 130175 h 229565"/>
              <a:gd name="connsiteX31" fmla="*/ 38557 w 140157"/>
              <a:gd name="connsiteY31" fmla="*/ 95250 h 22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0157" h="229565">
                <a:moveTo>
                  <a:pt x="38557" y="95250"/>
                </a:moveTo>
                <a:lnTo>
                  <a:pt x="38557" y="95250"/>
                </a:lnTo>
                <a:cubicBezTo>
                  <a:pt x="28889" y="77525"/>
                  <a:pt x="-12327" y="35094"/>
                  <a:pt x="3632" y="3175"/>
                </a:cubicBezTo>
                <a:cubicBezTo>
                  <a:pt x="5129" y="182"/>
                  <a:pt x="9982" y="1058"/>
                  <a:pt x="13157" y="0"/>
                </a:cubicBezTo>
                <a:cubicBezTo>
                  <a:pt x="18449" y="1058"/>
                  <a:pt x="24542" y="182"/>
                  <a:pt x="29032" y="3175"/>
                </a:cubicBezTo>
                <a:cubicBezTo>
                  <a:pt x="31817" y="5031"/>
                  <a:pt x="28960" y="11888"/>
                  <a:pt x="32207" y="12700"/>
                </a:cubicBezTo>
                <a:cubicBezTo>
                  <a:pt x="35909" y="13625"/>
                  <a:pt x="38225" y="7853"/>
                  <a:pt x="41732" y="6350"/>
                </a:cubicBezTo>
                <a:cubicBezTo>
                  <a:pt x="45743" y="4631"/>
                  <a:pt x="50199" y="4233"/>
                  <a:pt x="54432" y="3175"/>
                </a:cubicBezTo>
                <a:cubicBezTo>
                  <a:pt x="55490" y="6350"/>
                  <a:pt x="55982" y="9774"/>
                  <a:pt x="57607" y="12700"/>
                </a:cubicBezTo>
                <a:lnTo>
                  <a:pt x="76657" y="41275"/>
                </a:lnTo>
                <a:cubicBezTo>
                  <a:pt x="78774" y="44450"/>
                  <a:pt x="81800" y="47180"/>
                  <a:pt x="83007" y="50800"/>
                </a:cubicBezTo>
                <a:cubicBezTo>
                  <a:pt x="85124" y="57150"/>
                  <a:pt x="85644" y="64281"/>
                  <a:pt x="89357" y="69850"/>
                </a:cubicBezTo>
                <a:cubicBezTo>
                  <a:pt x="91474" y="73025"/>
                  <a:pt x="94000" y="75962"/>
                  <a:pt x="95707" y="79375"/>
                </a:cubicBezTo>
                <a:cubicBezTo>
                  <a:pt x="97204" y="82368"/>
                  <a:pt x="97257" y="85974"/>
                  <a:pt x="98882" y="88900"/>
                </a:cubicBezTo>
                <a:cubicBezTo>
                  <a:pt x="102588" y="95571"/>
                  <a:pt x="109169" y="100710"/>
                  <a:pt x="111582" y="107950"/>
                </a:cubicBezTo>
                <a:cubicBezTo>
                  <a:pt x="113699" y="114300"/>
                  <a:pt x="114219" y="121431"/>
                  <a:pt x="117932" y="127000"/>
                </a:cubicBezTo>
                <a:cubicBezTo>
                  <a:pt x="120049" y="130175"/>
                  <a:pt x="122732" y="133038"/>
                  <a:pt x="124282" y="136525"/>
                </a:cubicBezTo>
                <a:cubicBezTo>
                  <a:pt x="127000" y="142642"/>
                  <a:pt x="128515" y="149225"/>
                  <a:pt x="130632" y="155575"/>
                </a:cubicBezTo>
                <a:lnTo>
                  <a:pt x="133807" y="165100"/>
                </a:lnTo>
                <a:cubicBezTo>
                  <a:pt x="132749" y="175683"/>
                  <a:pt x="132249" y="186338"/>
                  <a:pt x="130632" y="196850"/>
                </a:cubicBezTo>
                <a:cubicBezTo>
                  <a:pt x="129503" y="204188"/>
                  <a:pt x="123294" y="208562"/>
                  <a:pt x="130632" y="215900"/>
                </a:cubicBezTo>
                <a:cubicBezTo>
                  <a:pt x="132999" y="218267"/>
                  <a:pt x="136982" y="218017"/>
                  <a:pt x="140157" y="219075"/>
                </a:cubicBezTo>
                <a:cubicBezTo>
                  <a:pt x="139099" y="222250"/>
                  <a:pt x="140089" y="227357"/>
                  <a:pt x="136982" y="228600"/>
                </a:cubicBezTo>
                <a:cubicBezTo>
                  <a:pt x="126191" y="232916"/>
                  <a:pt x="121796" y="221695"/>
                  <a:pt x="117932" y="215900"/>
                </a:cubicBezTo>
                <a:cubicBezTo>
                  <a:pt x="116874" y="207433"/>
                  <a:pt x="118222" y="198297"/>
                  <a:pt x="114757" y="190500"/>
                </a:cubicBezTo>
                <a:cubicBezTo>
                  <a:pt x="113398" y="187442"/>
                  <a:pt x="108450" y="188244"/>
                  <a:pt x="105232" y="187325"/>
                </a:cubicBezTo>
                <a:cubicBezTo>
                  <a:pt x="101036" y="186126"/>
                  <a:pt x="96765" y="185208"/>
                  <a:pt x="92532" y="184150"/>
                </a:cubicBezTo>
                <a:cubicBezTo>
                  <a:pt x="90415" y="180975"/>
                  <a:pt x="87685" y="178132"/>
                  <a:pt x="86182" y="174625"/>
                </a:cubicBezTo>
                <a:cubicBezTo>
                  <a:pt x="81694" y="164152"/>
                  <a:pt x="85767" y="160371"/>
                  <a:pt x="76657" y="152400"/>
                </a:cubicBezTo>
                <a:cubicBezTo>
                  <a:pt x="70914" y="147374"/>
                  <a:pt x="57607" y="139700"/>
                  <a:pt x="57607" y="139700"/>
                </a:cubicBezTo>
                <a:cubicBezTo>
                  <a:pt x="55490" y="136525"/>
                  <a:pt x="52807" y="133662"/>
                  <a:pt x="51257" y="130175"/>
                </a:cubicBezTo>
                <a:cubicBezTo>
                  <a:pt x="48539" y="124058"/>
                  <a:pt x="40674" y="101071"/>
                  <a:pt x="38557" y="9525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9" name="Freeform 388">
            <a:extLst>
              <a:ext uri="{FF2B5EF4-FFF2-40B4-BE49-F238E27FC236}">
                <a16:creationId xmlns:a16="http://schemas.microsoft.com/office/drawing/2014/main" id="{0E3D23D5-9A15-C952-690B-E1C07F5F0055}"/>
              </a:ext>
            </a:extLst>
          </p:cNvPr>
          <p:cNvSpPr/>
          <p:nvPr/>
        </p:nvSpPr>
        <p:spPr bwMode="gray">
          <a:xfrm>
            <a:off x="1106488" y="3313113"/>
            <a:ext cx="80963" cy="41275"/>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0" name="Freeform 389">
            <a:extLst>
              <a:ext uri="{FF2B5EF4-FFF2-40B4-BE49-F238E27FC236}">
                <a16:creationId xmlns:a16="http://schemas.microsoft.com/office/drawing/2014/main" id="{22855834-ECBA-E202-F2CC-2337419F39CD}"/>
              </a:ext>
            </a:extLst>
          </p:cNvPr>
          <p:cNvSpPr/>
          <p:nvPr/>
        </p:nvSpPr>
        <p:spPr bwMode="gray">
          <a:xfrm rot="2259811">
            <a:off x="1000125" y="3378200"/>
            <a:ext cx="49213" cy="49213"/>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1" name="Freeform 390">
            <a:extLst>
              <a:ext uri="{FF2B5EF4-FFF2-40B4-BE49-F238E27FC236}">
                <a16:creationId xmlns:a16="http://schemas.microsoft.com/office/drawing/2014/main" id="{2BCC54F3-DA11-453A-4230-28310CA7F014}"/>
              </a:ext>
            </a:extLst>
          </p:cNvPr>
          <p:cNvSpPr/>
          <p:nvPr/>
        </p:nvSpPr>
        <p:spPr bwMode="gray">
          <a:xfrm>
            <a:off x="1042987" y="3371849"/>
            <a:ext cx="50800" cy="46038"/>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2" name="Freeform 391">
            <a:extLst>
              <a:ext uri="{FF2B5EF4-FFF2-40B4-BE49-F238E27FC236}">
                <a16:creationId xmlns:a16="http://schemas.microsoft.com/office/drawing/2014/main" id="{0A47F316-26C6-B6FA-DF2D-CE5CF59315A6}"/>
              </a:ext>
            </a:extLst>
          </p:cNvPr>
          <p:cNvSpPr/>
          <p:nvPr/>
        </p:nvSpPr>
        <p:spPr bwMode="gray">
          <a:xfrm>
            <a:off x="1027113" y="3648075"/>
            <a:ext cx="385763" cy="563563"/>
          </a:xfrm>
          <a:custGeom>
            <a:avLst/>
            <a:gdLst>
              <a:gd name="connsiteX0" fmla="*/ 70899 w 385224"/>
              <a:gd name="connsiteY0" fmla="*/ 55275 h 563275"/>
              <a:gd name="connsiteX1" fmla="*/ 70899 w 385224"/>
              <a:gd name="connsiteY1" fmla="*/ 55275 h 563275"/>
              <a:gd name="connsiteX2" fmla="*/ 140749 w 385224"/>
              <a:gd name="connsiteY2" fmla="*/ 99725 h 563275"/>
              <a:gd name="connsiteX3" fmla="*/ 140749 w 385224"/>
              <a:gd name="connsiteY3" fmla="*/ 99725 h 563275"/>
              <a:gd name="connsiteX4" fmla="*/ 93124 w 385224"/>
              <a:gd name="connsiteY4" fmla="*/ 90200 h 563275"/>
              <a:gd name="connsiteX5" fmla="*/ 118524 w 385224"/>
              <a:gd name="connsiteY5" fmla="*/ 121950 h 563275"/>
              <a:gd name="connsiteX6" fmla="*/ 134399 w 385224"/>
              <a:gd name="connsiteY6" fmla="*/ 144175 h 563275"/>
              <a:gd name="connsiteX7" fmla="*/ 143924 w 385224"/>
              <a:gd name="connsiteY7" fmla="*/ 125125 h 563275"/>
              <a:gd name="connsiteX8" fmla="*/ 147099 w 385224"/>
              <a:gd name="connsiteY8" fmla="*/ 115600 h 563275"/>
              <a:gd name="connsiteX9" fmla="*/ 156624 w 385224"/>
              <a:gd name="connsiteY9" fmla="*/ 109250 h 563275"/>
              <a:gd name="connsiteX10" fmla="*/ 162974 w 385224"/>
              <a:gd name="connsiteY10" fmla="*/ 128300 h 563275"/>
              <a:gd name="connsiteX11" fmla="*/ 204249 w 385224"/>
              <a:gd name="connsiteY11" fmla="*/ 134650 h 563275"/>
              <a:gd name="connsiteX12" fmla="*/ 229649 w 385224"/>
              <a:gd name="connsiteY12" fmla="*/ 137825 h 563275"/>
              <a:gd name="connsiteX13" fmla="*/ 235999 w 385224"/>
              <a:gd name="connsiteY13" fmla="*/ 118775 h 563275"/>
              <a:gd name="connsiteX14" fmla="*/ 274099 w 385224"/>
              <a:gd name="connsiteY14" fmla="*/ 128300 h 563275"/>
              <a:gd name="connsiteX15" fmla="*/ 258224 w 385224"/>
              <a:gd name="connsiteY15" fmla="*/ 160050 h 563275"/>
              <a:gd name="connsiteX16" fmla="*/ 248699 w 385224"/>
              <a:gd name="connsiteY16" fmla="*/ 163225 h 563275"/>
              <a:gd name="connsiteX17" fmla="*/ 235999 w 385224"/>
              <a:gd name="connsiteY17" fmla="*/ 166400 h 563275"/>
              <a:gd name="connsiteX18" fmla="*/ 229649 w 385224"/>
              <a:gd name="connsiteY18" fmla="*/ 175925 h 563275"/>
              <a:gd name="connsiteX19" fmla="*/ 226474 w 385224"/>
              <a:gd name="connsiteY19" fmla="*/ 185450 h 563275"/>
              <a:gd name="connsiteX20" fmla="*/ 216949 w 385224"/>
              <a:gd name="connsiteY20" fmla="*/ 191800 h 563275"/>
              <a:gd name="connsiteX21" fmla="*/ 220124 w 385224"/>
              <a:gd name="connsiteY21" fmla="*/ 220375 h 563275"/>
              <a:gd name="connsiteX22" fmla="*/ 226474 w 385224"/>
              <a:gd name="connsiteY22" fmla="*/ 239425 h 563275"/>
              <a:gd name="connsiteX23" fmla="*/ 223299 w 385224"/>
              <a:gd name="connsiteY23" fmla="*/ 248950 h 563275"/>
              <a:gd name="connsiteX24" fmla="*/ 232824 w 385224"/>
              <a:gd name="connsiteY24" fmla="*/ 255300 h 563275"/>
              <a:gd name="connsiteX25" fmla="*/ 242349 w 385224"/>
              <a:gd name="connsiteY25" fmla="*/ 252125 h 563275"/>
              <a:gd name="connsiteX26" fmla="*/ 267749 w 385224"/>
              <a:gd name="connsiteY26" fmla="*/ 248950 h 563275"/>
              <a:gd name="connsiteX27" fmla="*/ 280449 w 385224"/>
              <a:gd name="connsiteY27" fmla="*/ 252125 h 563275"/>
              <a:gd name="connsiteX28" fmla="*/ 283624 w 385224"/>
              <a:gd name="connsiteY28" fmla="*/ 261650 h 563275"/>
              <a:gd name="connsiteX29" fmla="*/ 277274 w 385224"/>
              <a:gd name="connsiteY29" fmla="*/ 299750 h 563275"/>
              <a:gd name="connsiteX30" fmla="*/ 270924 w 385224"/>
              <a:gd name="connsiteY30" fmla="*/ 309275 h 563275"/>
              <a:gd name="connsiteX31" fmla="*/ 274099 w 385224"/>
              <a:gd name="connsiteY31" fmla="*/ 328325 h 563275"/>
              <a:gd name="connsiteX32" fmla="*/ 277274 w 385224"/>
              <a:gd name="connsiteY32" fmla="*/ 337850 h 563275"/>
              <a:gd name="connsiteX33" fmla="*/ 280449 w 385224"/>
              <a:gd name="connsiteY33" fmla="*/ 350550 h 563275"/>
              <a:gd name="connsiteX34" fmla="*/ 283624 w 385224"/>
              <a:gd name="connsiteY34" fmla="*/ 426750 h 563275"/>
              <a:gd name="connsiteX35" fmla="*/ 286799 w 385224"/>
              <a:gd name="connsiteY35" fmla="*/ 436275 h 563275"/>
              <a:gd name="connsiteX36" fmla="*/ 315374 w 385224"/>
              <a:gd name="connsiteY36" fmla="*/ 433100 h 563275"/>
              <a:gd name="connsiteX37" fmla="*/ 318549 w 385224"/>
              <a:gd name="connsiteY37" fmla="*/ 423575 h 563275"/>
              <a:gd name="connsiteX38" fmla="*/ 337599 w 385224"/>
              <a:gd name="connsiteY38" fmla="*/ 414050 h 563275"/>
              <a:gd name="connsiteX39" fmla="*/ 350299 w 385224"/>
              <a:gd name="connsiteY39" fmla="*/ 417225 h 563275"/>
              <a:gd name="connsiteX40" fmla="*/ 359824 w 385224"/>
              <a:gd name="connsiteY40" fmla="*/ 426750 h 563275"/>
              <a:gd name="connsiteX41" fmla="*/ 369349 w 385224"/>
              <a:gd name="connsiteY41" fmla="*/ 445800 h 563275"/>
              <a:gd name="connsiteX42" fmla="*/ 372524 w 385224"/>
              <a:gd name="connsiteY42" fmla="*/ 468025 h 563275"/>
              <a:gd name="connsiteX43" fmla="*/ 375699 w 385224"/>
              <a:gd name="connsiteY43" fmla="*/ 477550 h 563275"/>
              <a:gd name="connsiteX44" fmla="*/ 385224 w 385224"/>
              <a:gd name="connsiteY44" fmla="*/ 480725 h 563275"/>
              <a:gd name="connsiteX45" fmla="*/ 382049 w 385224"/>
              <a:gd name="connsiteY45" fmla="*/ 528350 h 563275"/>
              <a:gd name="connsiteX46" fmla="*/ 375699 w 385224"/>
              <a:gd name="connsiteY46" fmla="*/ 547400 h 563275"/>
              <a:gd name="connsiteX47" fmla="*/ 353474 w 385224"/>
              <a:gd name="connsiteY47" fmla="*/ 544225 h 563275"/>
              <a:gd name="connsiteX48" fmla="*/ 334424 w 385224"/>
              <a:gd name="connsiteY48" fmla="*/ 556925 h 563275"/>
              <a:gd name="connsiteX49" fmla="*/ 324899 w 385224"/>
              <a:gd name="connsiteY49" fmla="*/ 563275 h 563275"/>
              <a:gd name="connsiteX50" fmla="*/ 309024 w 385224"/>
              <a:gd name="connsiteY50" fmla="*/ 550575 h 563275"/>
              <a:gd name="connsiteX51" fmla="*/ 299499 w 385224"/>
              <a:gd name="connsiteY51" fmla="*/ 541050 h 563275"/>
              <a:gd name="connsiteX52" fmla="*/ 286799 w 385224"/>
              <a:gd name="connsiteY52" fmla="*/ 512475 h 563275"/>
              <a:gd name="connsiteX53" fmla="*/ 283624 w 385224"/>
              <a:gd name="connsiteY53" fmla="*/ 496600 h 563275"/>
              <a:gd name="connsiteX54" fmla="*/ 264574 w 385224"/>
              <a:gd name="connsiteY54" fmla="*/ 483900 h 563275"/>
              <a:gd name="connsiteX55" fmla="*/ 255049 w 385224"/>
              <a:gd name="connsiteY55" fmla="*/ 477550 h 563275"/>
              <a:gd name="connsiteX56" fmla="*/ 248699 w 385224"/>
              <a:gd name="connsiteY56" fmla="*/ 468025 h 563275"/>
              <a:gd name="connsiteX57" fmla="*/ 235999 w 385224"/>
              <a:gd name="connsiteY57" fmla="*/ 439450 h 563275"/>
              <a:gd name="connsiteX58" fmla="*/ 226474 w 385224"/>
              <a:gd name="connsiteY58" fmla="*/ 436275 h 563275"/>
              <a:gd name="connsiteX59" fmla="*/ 216949 w 385224"/>
              <a:gd name="connsiteY59" fmla="*/ 429925 h 563275"/>
              <a:gd name="connsiteX60" fmla="*/ 201074 w 385224"/>
              <a:gd name="connsiteY60" fmla="*/ 401350 h 563275"/>
              <a:gd name="connsiteX61" fmla="*/ 194724 w 385224"/>
              <a:gd name="connsiteY61" fmla="*/ 391825 h 563275"/>
              <a:gd name="connsiteX62" fmla="*/ 188374 w 385224"/>
              <a:gd name="connsiteY62" fmla="*/ 372775 h 563275"/>
              <a:gd name="connsiteX63" fmla="*/ 185199 w 385224"/>
              <a:gd name="connsiteY63" fmla="*/ 363250 h 563275"/>
              <a:gd name="connsiteX64" fmla="*/ 175674 w 385224"/>
              <a:gd name="connsiteY64" fmla="*/ 356900 h 563275"/>
              <a:gd name="connsiteX65" fmla="*/ 172499 w 385224"/>
              <a:gd name="connsiteY65" fmla="*/ 404525 h 563275"/>
              <a:gd name="connsiteX66" fmla="*/ 178849 w 385224"/>
              <a:gd name="connsiteY66" fmla="*/ 414050 h 563275"/>
              <a:gd name="connsiteX67" fmla="*/ 188374 w 385224"/>
              <a:gd name="connsiteY67" fmla="*/ 423575 h 563275"/>
              <a:gd name="connsiteX68" fmla="*/ 207424 w 385224"/>
              <a:gd name="connsiteY68" fmla="*/ 436275 h 563275"/>
              <a:gd name="connsiteX69" fmla="*/ 213774 w 385224"/>
              <a:gd name="connsiteY69" fmla="*/ 445800 h 563275"/>
              <a:gd name="connsiteX70" fmla="*/ 220124 w 385224"/>
              <a:gd name="connsiteY70" fmla="*/ 464850 h 563275"/>
              <a:gd name="connsiteX71" fmla="*/ 216949 w 385224"/>
              <a:gd name="connsiteY71" fmla="*/ 474375 h 563275"/>
              <a:gd name="connsiteX72" fmla="*/ 201074 w 385224"/>
              <a:gd name="connsiteY72" fmla="*/ 461675 h 563275"/>
              <a:gd name="connsiteX73" fmla="*/ 197899 w 385224"/>
              <a:gd name="connsiteY73" fmla="*/ 452150 h 563275"/>
              <a:gd name="connsiteX74" fmla="*/ 185199 w 385224"/>
              <a:gd name="connsiteY74" fmla="*/ 433100 h 563275"/>
              <a:gd name="connsiteX75" fmla="*/ 178849 w 385224"/>
              <a:gd name="connsiteY75" fmla="*/ 423575 h 563275"/>
              <a:gd name="connsiteX76" fmla="*/ 169324 w 385224"/>
              <a:gd name="connsiteY76" fmla="*/ 414050 h 563275"/>
              <a:gd name="connsiteX77" fmla="*/ 159799 w 385224"/>
              <a:gd name="connsiteY77" fmla="*/ 395000 h 563275"/>
              <a:gd name="connsiteX78" fmla="*/ 150274 w 385224"/>
              <a:gd name="connsiteY78" fmla="*/ 375950 h 563275"/>
              <a:gd name="connsiteX79" fmla="*/ 140749 w 385224"/>
              <a:gd name="connsiteY79" fmla="*/ 372775 h 563275"/>
              <a:gd name="connsiteX80" fmla="*/ 137574 w 385224"/>
              <a:gd name="connsiteY80" fmla="*/ 363250 h 563275"/>
              <a:gd name="connsiteX81" fmla="*/ 131224 w 385224"/>
              <a:gd name="connsiteY81" fmla="*/ 306100 h 563275"/>
              <a:gd name="connsiteX82" fmla="*/ 124874 w 385224"/>
              <a:gd name="connsiteY82" fmla="*/ 296575 h 563275"/>
              <a:gd name="connsiteX83" fmla="*/ 128049 w 385224"/>
              <a:gd name="connsiteY83" fmla="*/ 264825 h 563275"/>
              <a:gd name="connsiteX84" fmla="*/ 124874 w 385224"/>
              <a:gd name="connsiteY84" fmla="*/ 255300 h 563275"/>
              <a:gd name="connsiteX85" fmla="*/ 108999 w 385224"/>
              <a:gd name="connsiteY85" fmla="*/ 252125 h 563275"/>
              <a:gd name="connsiteX86" fmla="*/ 102649 w 385224"/>
              <a:gd name="connsiteY86" fmla="*/ 226725 h 563275"/>
              <a:gd name="connsiteX87" fmla="*/ 99474 w 385224"/>
              <a:gd name="connsiteY87" fmla="*/ 217200 h 563275"/>
              <a:gd name="connsiteX88" fmla="*/ 96299 w 385224"/>
              <a:gd name="connsiteY88" fmla="*/ 198150 h 563275"/>
              <a:gd name="connsiteX89" fmla="*/ 93124 w 385224"/>
              <a:gd name="connsiteY89" fmla="*/ 188625 h 563275"/>
              <a:gd name="connsiteX90" fmla="*/ 89949 w 385224"/>
              <a:gd name="connsiteY90" fmla="*/ 172750 h 563275"/>
              <a:gd name="connsiteX91" fmla="*/ 74074 w 385224"/>
              <a:gd name="connsiteY91" fmla="*/ 144175 h 563275"/>
              <a:gd name="connsiteX92" fmla="*/ 51849 w 385224"/>
              <a:gd name="connsiteY92" fmla="*/ 137825 h 563275"/>
              <a:gd name="connsiteX93" fmla="*/ 55024 w 385224"/>
              <a:gd name="connsiteY93" fmla="*/ 115600 h 563275"/>
              <a:gd name="connsiteX94" fmla="*/ 58199 w 385224"/>
              <a:gd name="connsiteY94" fmla="*/ 83850 h 563275"/>
              <a:gd name="connsiteX95" fmla="*/ 39149 w 385224"/>
              <a:gd name="connsiteY95" fmla="*/ 77500 h 563275"/>
              <a:gd name="connsiteX96" fmla="*/ 35974 w 385224"/>
              <a:gd name="connsiteY96" fmla="*/ 67975 h 563275"/>
              <a:gd name="connsiteX97" fmla="*/ 32799 w 385224"/>
              <a:gd name="connsiteY97" fmla="*/ 52100 h 563275"/>
              <a:gd name="connsiteX98" fmla="*/ 20099 w 385224"/>
              <a:gd name="connsiteY98" fmla="*/ 33050 h 563275"/>
              <a:gd name="connsiteX99" fmla="*/ 4224 w 385224"/>
              <a:gd name="connsiteY99" fmla="*/ 10825 h 563275"/>
              <a:gd name="connsiteX100" fmla="*/ 1049 w 385224"/>
              <a:gd name="connsiteY100" fmla="*/ 1300 h 563275"/>
              <a:gd name="connsiteX101" fmla="*/ 48674 w 385224"/>
              <a:gd name="connsiteY101" fmla="*/ 7650 h 563275"/>
              <a:gd name="connsiteX102" fmla="*/ 51849 w 385224"/>
              <a:gd name="connsiteY102" fmla="*/ 17175 h 563275"/>
              <a:gd name="connsiteX103" fmla="*/ 58199 w 385224"/>
              <a:gd name="connsiteY103" fmla="*/ 39400 h 563275"/>
              <a:gd name="connsiteX104" fmla="*/ 64549 w 385224"/>
              <a:gd name="connsiteY104" fmla="*/ 48925 h 563275"/>
              <a:gd name="connsiteX105" fmla="*/ 74074 w 385224"/>
              <a:gd name="connsiteY105" fmla="*/ 52100 h 563275"/>
              <a:gd name="connsiteX106" fmla="*/ 70899 w 385224"/>
              <a:gd name="connsiteY106" fmla="*/ 55275 h 56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85224" h="563275">
                <a:moveTo>
                  <a:pt x="70899" y="55275"/>
                </a:moveTo>
                <a:lnTo>
                  <a:pt x="70899" y="55275"/>
                </a:lnTo>
                <a:lnTo>
                  <a:pt x="140749" y="99725"/>
                </a:lnTo>
                <a:lnTo>
                  <a:pt x="140749" y="99725"/>
                </a:lnTo>
                <a:cubicBezTo>
                  <a:pt x="124874" y="96550"/>
                  <a:pt x="104572" y="78752"/>
                  <a:pt x="93124" y="90200"/>
                </a:cubicBezTo>
                <a:cubicBezTo>
                  <a:pt x="83540" y="99784"/>
                  <a:pt x="111341" y="110457"/>
                  <a:pt x="118524" y="121950"/>
                </a:cubicBezTo>
                <a:cubicBezTo>
                  <a:pt x="134120" y="146904"/>
                  <a:pt x="114430" y="137519"/>
                  <a:pt x="134399" y="144175"/>
                </a:cubicBezTo>
                <a:cubicBezTo>
                  <a:pt x="142379" y="120234"/>
                  <a:pt x="131614" y="149744"/>
                  <a:pt x="143924" y="125125"/>
                </a:cubicBezTo>
                <a:cubicBezTo>
                  <a:pt x="145421" y="122132"/>
                  <a:pt x="145008" y="118213"/>
                  <a:pt x="147099" y="115600"/>
                </a:cubicBezTo>
                <a:cubicBezTo>
                  <a:pt x="149483" y="112620"/>
                  <a:pt x="153449" y="111367"/>
                  <a:pt x="156624" y="109250"/>
                </a:cubicBezTo>
                <a:cubicBezTo>
                  <a:pt x="158741" y="115600"/>
                  <a:pt x="156624" y="126183"/>
                  <a:pt x="162974" y="128300"/>
                </a:cubicBezTo>
                <a:cubicBezTo>
                  <a:pt x="183141" y="135022"/>
                  <a:pt x="167415" y="130557"/>
                  <a:pt x="204249" y="134650"/>
                </a:cubicBezTo>
                <a:cubicBezTo>
                  <a:pt x="212729" y="135592"/>
                  <a:pt x="221182" y="136767"/>
                  <a:pt x="229649" y="137825"/>
                </a:cubicBezTo>
                <a:cubicBezTo>
                  <a:pt x="231766" y="131475"/>
                  <a:pt x="229649" y="116658"/>
                  <a:pt x="235999" y="118775"/>
                </a:cubicBezTo>
                <a:cubicBezTo>
                  <a:pt x="261156" y="127161"/>
                  <a:pt x="248447" y="124025"/>
                  <a:pt x="274099" y="128300"/>
                </a:cubicBezTo>
                <a:cubicBezTo>
                  <a:pt x="268652" y="150089"/>
                  <a:pt x="274211" y="152056"/>
                  <a:pt x="258224" y="160050"/>
                </a:cubicBezTo>
                <a:cubicBezTo>
                  <a:pt x="255231" y="161547"/>
                  <a:pt x="251917" y="162306"/>
                  <a:pt x="248699" y="163225"/>
                </a:cubicBezTo>
                <a:cubicBezTo>
                  <a:pt x="244503" y="164424"/>
                  <a:pt x="240232" y="165342"/>
                  <a:pt x="235999" y="166400"/>
                </a:cubicBezTo>
                <a:cubicBezTo>
                  <a:pt x="233882" y="169575"/>
                  <a:pt x="231356" y="172512"/>
                  <a:pt x="229649" y="175925"/>
                </a:cubicBezTo>
                <a:cubicBezTo>
                  <a:pt x="228152" y="178918"/>
                  <a:pt x="228565" y="182837"/>
                  <a:pt x="226474" y="185450"/>
                </a:cubicBezTo>
                <a:cubicBezTo>
                  <a:pt x="224090" y="188430"/>
                  <a:pt x="220124" y="189683"/>
                  <a:pt x="216949" y="191800"/>
                </a:cubicBezTo>
                <a:cubicBezTo>
                  <a:pt x="218007" y="201325"/>
                  <a:pt x="218244" y="210977"/>
                  <a:pt x="220124" y="220375"/>
                </a:cubicBezTo>
                <a:cubicBezTo>
                  <a:pt x="221437" y="226939"/>
                  <a:pt x="226474" y="239425"/>
                  <a:pt x="226474" y="239425"/>
                </a:cubicBezTo>
                <a:cubicBezTo>
                  <a:pt x="225416" y="242600"/>
                  <a:pt x="222056" y="245843"/>
                  <a:pt x="223299" y="248950"/>
                </a:cubicBezTo>
                <a:cubicBezTo>
                  <a:pt x="224716" y="252493"/>
                  <a:pt x="229060" y="254673"/>
                  <a:pt x="232824" y="255300"/>
                </a:cubicBezTo>
                <a:cubicBezTo>
                  <a:pt x="236125" y="255850"/>
                  <a:pt x="239056" y="252724"/>
                  <a:pt x="242349" y="252125"/>
                </a:cubicBezTo>
                <a:cubicBezTo>
                  <a:pt x="250744" y="250599"/>
                  <a:pt x="259282" y="250008"/>
                  <a:pt x="267749" y="248950"/>
                </a:cubicBezTo>
                <a:cubicBezTo>
                  <a:pt x="271982" y="250008"/>
                  <a:pt x="277042" y="249399"/>
                  <a:pt x="280449" y="252125"/>
                </a:cubicBezTo>
                <a:cubicBezTo>
                  <a:pt x="283062" y="254216"/>
                  <a:pt x="283624" y="258303"/>
                  <a:pt x="283624" y="261650"/>
                </a:cubicBezTo>
                <a:cubicBezTo>
                  <a:pt x="283624" y="263693"/>
                  <a:pt x="279077" y="294943"/>
                  <a:pt x="277274" y="299750"/>
                </a:cubicBezTo>
                <a:cubicBezTo>
                  <a:pt x="275934" y="303323"/>
                  <a:pt x="273041" y="306100"/>
                  <a:pt x="270924" y="309275"/>
                </a:cubicBezTo>
                <a:cubicBezTo>
                  <a:pt x="271982" y="315625"/>
                  <a:pt x="272702" y="322041"/>
                  <a:pt x="274099" y="328325"/>
                </a:cubicBezTo>
                <a:cubicBezTo>
                  <a:pt x="274825" y="331592"/>
                  <a:pt x="276355" y="334632"/>
                  <a:pt x="277274" y="337850"/>
                </a:cubicBezTo>
                <a:cubicBezTo>
                  <a:pt x="278473" y="342046"/>
                  <a:pt x="279391" y="346317"/>
                  <a:pt x="280449" y="350550"/>
                </a:cubicBezTo>
                <a:cubicBezTo>
                  <a:pt x="281507" y="375950"/>
                  <a:pt x="281746" y="401397"/>
                  <a:pt x="283624" y="426750"/>
                </a:cubicBezTo>
                <a:cubicBezTo>
                  <a:pt x="283871" y="430088"/>
                  <a:pt x="283517" y="435619"/>
                  <a:pt x="286799" y="436275"/>
                </a:cubicBezTo>
                <a:cubicBezTo>
                  <a:pt x="296197" y="438155"/>
                  <a:pt x="305849" y="434158"/>
                  <a:pt x="315374" y="433100"/>
                </a:cubicBezTo>
                <a:cubicBezTo>
                  <a:pt x="316432" y="429925"/>
                  <a:pt x="316458" y="426188"/>
                  <a:pt x="318549" y="423575"/>
                </a:cubicBezTo>
                <a:cubicBezTo>
                  <a:pt x="323025" y="417980"/>
                  <a:pt x="331324" y="416142"/>
                  <a:pt x="337599" y="414050"/>
                </a:cubicBezTo>
                <a:cubicBezTo>
                  <a:pt x="341832" y="415108"/>
                  <a:pt x="346510" y="415060"/>
                  <a:pt x="350299" y="417225"/>
                </a:cubicBezTo>
                <a:cubicBezTo>
                  <a:pt x="354198" y="419453"/>
                  <a:pt x="356949" y="423301"/>
                  <a:pt x="359824" y="426750"/>
                </a:cubicBezTo>
                <a:cubicBezTo>
                  <a:pt x="366663" y="434956"/>
                  <a:pt x="366167" y="436254"/>
                  <a:pt x="369349" y="445800"/>
                </a:cubicBezTo>
                <a:cubicBezTo>
                  <a:pt x="370407" y="453208"/>
                  <a:pt x="371056" y="460687"/>
                  <a:pt x="372524" y="468025"/>
                </a:cubicBezTo>
                <a:cubicBezTo>
                  <a:pt x="373180" y="471307"/>
                  <a:pt x="373332" y="475183"/>
                  <a:pt x="375699" y="477550"/>
                </a:cubicBezTo>
                <a:cubicBezTo>
                  <a:pt x="378066" y="479917"/>
                  <a:pt x="382049" y="479667"/>
                  <a:pt x="385224" y="480725"/>
                </a:cubicBezTo>
                <a:cubicBezTo>
                  <a:pt x="384166" y="496600"/>
                  <a:pt x="384299" y="512600"/>
                  <a:pt x="382049" y="528350"/>
                </a:cubicBezTo>
                <a:cubicBezTo>
                  <a:pt x="381102" y="534976"/>
                  <a:pt x="375699" y="547400"/>
                  <a:pt x="375699" y="547400"/>
                </a:cubicBezTo>
                <a:cubicBezTo>
                  <a:pt x="368291" y="546342"/>
                  <a:pt x="360958" y="544225"/>
                  <a:pt x="353474" y="544225"/>
                </a:cubicBezTo>
                <a:cubicBezTo>
                  <a:pt x="343430" y="544225"/>
                  <a:pt x="341296" y="551198"/>
                  <a:pt x="334424" y="556925"/>
                </a:cubicBezTo>
                <a:cubicBezTo>
                  <a:pt x="331493" y="559368"/>
                  <a:pt x="328074" y="561158"/>
                  <a:pt x="324899" y="563275"/>
                </a:cubicBezTo>
                <a:cubicBezTo>
                  <a:pt x="309262" y="558063"/>
                  <a:pt x="320071" y="563832"/>
                  <a:pt x="309024" y="550575"/>
                </a:cubicBezTo>
                <a:cubicBezTo>
                  <a:pt x="306149" y="547126"/>
                  <a:pt x="302374" y="544499"/>
                  <a:pt x="299499" y="541050"/>
                </a:cubicBezTo>
                <a:cubicBezTo>
                  <a:pt x="292498" y="532649"/>
                  <a:pt x="288985" y="523405"/>
                  <a:pt x="286799" y="512475"/>
                </a:cubicBezTo>
                <a:cubicBezTo>
                  <a:pt x="285741" y="507183"/>
                  <a:pt x="286037" y="501427"/>
                  <a:pt x="283624" y="496600"/>
                </a:cubicBezTo>
                <a:cubicBezTo>
                  <a:pt x="277605" y="484563"/>
                  <a:pt x="273981" y="488604"/>
                  <a:pt x="264574" y="483900"/>
                </a:cubicBezTo>
                <a:cubicBezTo>
                  <a:pt x="261161" y="482193"/>
                  <a:pt x="258224" y="479667"/>
                  <a:pt x="255049" y="477550"/>
                </a:cubicBezTo>
                <a:cubicBezTo>
                  <a:pt x="252932" y="474375"/>
                  <a:pt x="250249" y="471512"/>
                  <a:pt x="248699" y="468025"/>
                </a:cubicBezTo>
                <a:cubicBezTo>
                  <a:pt x="245755" y="461401"/>
                  <a:pt x="243432" y="445397"/>
                  <a:pt x="235999" y="439450"/>
                </a:cubicBezTo>
                <a:cubicBezTo>
                  <a:pt x="233386" y="437359"/>
                  <a:pt x="229467" y="437772"/>
                  <a:pt x="226474" y="436275"/>
                </a:cubicBezTo>
                <a:cubicBezTo>
                  <a:pt x="223061" y="434568"/>
                  <a:pt x="220124" y="432042"/>
                  <a:pt x="216949" y="429925"/>
                </a:cubicBezTo>
                <a:cubicBezTo>
                  <a:pt x="211361" y="413160"/>
                  <a:pt x="215630" y="423185"/>
                  <a:pt x="201074" y="401350"/>
                </a:cubicBezTo>
                <a:cubicBezTo>
                  <a:pt x="198957" y="398175"/>
                  <a:pt x="195931" y="395445"/>
                  <a:pt x="194724" y="391825"/>
                </a:cubicBezTo>
                <a:lnTo>
                  <a:pt x="188374" y="372775"/>
                </a:lnTo>
                <a:cubicBezTo>
                  <a:pt x="187316" y="369600"/>
                  <a:pt x="187984" y="365106"/>
                  <a:pt x="185199" y="363250"/>
                </a:cubicBezTo>
                <a:lnTo>
                  <a:pt x="175674" y="356900"/>
                </a:lnTo>
                <a:cubicBezTo>
                  <a:pt x="168246" y="379184"/>
                  <a:pt x="165789" y="377685"/>
                  <a:pt x="172499" y="404525"/>
                </a:cubicBezTo>
                <a:cubicBezTo>
                  <a:pt x="173424" y="408227"/>
                  <a:pt x="176406" y="411119"/>
                  <a:pt x="178849" y="414050"/>
                </a:cubicBezTo>
                <a:cubicBezTo>
                  <a:pt x="181724" y="417499"/>
                  <a:pt x="184830" y="420818"/>
                  <a:pt x="188374" y="423575"/>
                </a:cubicBezTo>
                <a:cubicBezTo>
                  <a:pt x="194398" y="428260"/>
                  <a:pt x="207424" y="436275"/>
                  <a:pt x="207424" y="436275"/>
                </a:cubicBezTo>
                <a:cubicBezTo>
                  <a:pt x="209541" y="439450"/>
                  <a:pt x="212224" y="442313"/>
                  <a:pt x="213774" y="445800"/>
                </a:cubicBezTo>
                <a:cubicBezTo>
                  <a:pt x="216492" y="451917"/>
                  <a:pt x="220124" y="464850"/>
                  <a:pt x="220124" y="464850"/>
                </a:cubicBezTo>
                <a:cubicBezTo>
                  <a:pt x="219066" y="468025"/>
                  <a:pt x="219942" y="472878"/>
                  <a:pt x="216949" y="474375"/>
                </a:cubicBezTo>
                <a:cubicBezTo>
                  <a:pt x="209625" y="478037"/>
                  <a:pt x="202643" y="464814"/>
                  <a:pt x="201074" y="461675"/>
                </a:cubicBezTo>
                <a:cubicBezTo>
                  <a:pt x="199577" y="458682"/>
                  <a:pt x="199524" y="455076"/>
                  <a:pt x="197899" y="452150"/>
                </a:cubicBezTo>
                <a:cubicBezTo>
                  <a:pt x="194193" y="445479"/>
                  <a:pt x="189432" y="439450"/>
                  <a:pt x="185199" y="433100"/>
                </a:cubicBezTo>
                <a:cubicBezTo>
                  <a:pt x="183082" y="429925"/>
                  <a:pt x="181547" y="426273"/>
                  <a:pt x="178849" y="423575"/>
                </a:cubicBezTo>
                <a:lnTo>
                  <a:pt x="169324" y="414050"/>
                </a:lnTo>
                <a:cubicBezTo>
                  <a:pt x="161344" y="390109"/>
                  <a:pt x="172109" y="419619"/>
                  <a:pt x="159799" y="395000"/>
                </a:cubicBezTo>
                <a:cubicBezTo>
                  <a:pt x="155964" y="387331"/>
                  <a:pt x="157857" y="382016"/>
                  <a:pt x="150274" y="375950"/>
                </a:cubicBezTo>
                <a:cubicBezTo>
                  <a:pt x="147661" y="373859"/>
                  <a:pt x="143924" y="373833"/>
                  <a:pt x="140749" y="372775"/>
                </a:cubicBezTo>
                <a:cubicBezTo>
                  <a:pt x="139691" y="369600"/>
                  <a:pt x="138047" y="366563"/>
                  <a:pt x="137574" y="363250"/>
                </a:cubicBezTo>
                <a:cubicBezTo>
                  <a:pt x="134863" y="344275"/>
                  <a:pt x="141856" y="322048"/>
                  <a:pt x="131224" y="306100"/>
                </a:cubicBezTo>
                <a:lnTo>
                  <a:pt x="124874" y="296575"/>
                </a:lnTo>
                <a:cubicBezTo>
                  <a:pt x="132038" y="275084"/>
                  <a:pt x="133217" y="282911"/>
                  <a:pt x="128049" y="264825"/>
                </a:cubicBezTo>
                <a:cubicBezTo>
                  <a:pt x="127130" y="261607"/>
                  <a:pt x="127659" y="257156"/>
                  <a:pt x="124874" y="255300"/>
                </a:cubicBezTo>
                <a:cubicBezTo>
                  <a:pt x="120384" y="252307"/>
                  <a:pt x="114291" y="253183"/>
                  <a:pt x="108999" y="252125"/>
                </a:cubicBezTo>
                <a:cubicBezTo>
                  <a:pt x="101741" y="230352"/>
                  <a:pt x="110312" y="257376"/>
                  <a:pt x="102649" y="226725"/>
                </a:cubicBezTo>
                <a:cubicBezTo>
                  <a:pt x="101837" y="223478"/>
                  <a:pt x="100200" y="220467"/>
                  <a:pt x="99474" y="217200"/>
                </a:cubicBezTo>
                <a:cubicBezTo>
                  <a:pt x="98077" y="210916"/>
                  <a:pt x="97696" y="204434"/>
                  <a:pt x="96299" y="198150"/>
                </a:cubicBezTo>
                <a:cubicBezTo>
                  <a:pt x="95573" y="194883"/>
                  <a:pt x="93936" y="191872"/>
                  <a:pt x="93124" y="188625"/>
                </a:cubicBezTo>
                <a:cubicBezTo>
                  <a:pt x="91815" y="183390"/>
                  <a:pt x="91258" y="177985"/>
                  <a:pt x="89949" y="172750"/>
                </a:cubicBezTo>
                <a:cubicBezTo>
                  <a:pt x="87916" y="164617"/>
                  <a:pt x="80523" y="146325"/>
                  <a:pt x="74074" y="144175"/>
                </a:cubicBezTo>
                <a:cubicBezTo>
                  <a:pt x="60409" y="139620"/>
                  <a:pt x="67796" y="141812"/>
                  <a:pt x="51849" y="137825"/>
                </a:cubicBezTo>
                <a:cubicBezTo>
                  <a:pt x="44441" y="115600"/>
                  <a:pt x="39149" y="120892"/>
                  <a:pt x="55024" y="115600"/>
                </a:cubicBezTo>
                <a:cubicBezTo>
                  <a:pt x="59761" y="106125"/>
                  <a:pt x="68261" y="95350"/>
                  <a:pt x="58199" y="83850"/>
                </a:cubicBezTo>
                <a:cubicBezTo>
                  <a:pt x="53791" y="78813"/>
                  <a:pt x="39149" y="77500"/>
                  <a:pt x="39149" y="77500"/>
                </a:cubicBezTo>
                <a:cubicBezTo>
                  <a:pt x="38091" y="74325"/>
                  <a:pt x="36786" y="71222"/>
                  <a:pt x="35974" y="67975"/>
                </a:cubicBezTo>
                <a:cubicBezTo>
                  <a:pt x="34665" y="62740"/>
                  <a:pt x="35032" y="57013"/>
                  <a:pt x="32799" y="52100"/>
                </a:cubicBezTo>
                <a:cubicBezTo>
                  <a:pt x="29641" y="45152"/>
                  <a:pt x="22512" y="40290"/>
                  <a:pt x="20099" y="33050"/>
                </a:cubicBezTo>
                <a:cubicBezTo>
                  <a:pt x="12691" y="10825"/>
                  <a:pt x="20099" y="16117"/>
                  <a:pt x="4224" y="10825"/>
                </a:cubicBezTo>
                <a:cubicBezTo>
                  <a:pt x="3166" y="7650"/>
                  <a:pt x="-2244" y="1899"/>
                  <a:pt x="1049" y="1300"/>
                </a:cubicBezTo>
                <a:cubicBezTo>
                  <a:pt x="21157" y="-2356"/>
                  <a:pt x="32660" y="2312"/>
                  <a:pt x="48674" y="7650"/>
                </a:cubicBezTo>
                <a:cubicBezTo>
                  <a:pt x="49732" y="10825"/>
                  <a:pt x="50930" y="13957"/>
                  <a:pt x="51849" y="17175"/>
                </a:cubicBezTo>
                <a:cubicBezTo>
                  <a:pt x="53205" y="21922"/>
                  <a:pt x="55661" y="34325"/>
                  <a:pt x="58199" y="39400"/>
                </a:cubicBezTo>
                <a:cubicBezTo>
                  <a:pt x="59906" y="42813"/>
                  <a:pt x="61569" y="46541"/>
                  <a:pt x="64549" y="48925"/>
                </a:cubicBezTo>
                <a:cubicBezTo>
                  <a:pt x="67162" y="51016"/>
                  <a:pt x="71081" y="50603"/>
                  <a:pt x="74074" y="52100"/>
                </a:cubicBezTo>
                <a:cubicBezTo>
                  <a:pt x="75413" y="52769"/>
                  <a:pt x="76191" y="54217"/>
                  <a:pt x="70899" y="55275"/>
                </a:cubicBezTo>
                <a:close/>
              </a:path>
            </a:pathLst>
          </a:custGeom>
          <a:solidFill>
            <a:srgbClr val="FBBC7A">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3" name="Freeform 392">
            <a:extLst>
              <a:ext uri="{FF2B5EF4-FFF2-40B4-BE49-F238E27FC236}">
                <a16:creationId xmlns:a16="http://schemas.microsoft.com/office/drawing/2014/main" id="{25E57CF9-0BA8-1934-01E6-C699D92CF949}"/>
              </a:ext>
            </a:extLst>
          </p:cNvPr>
          <p:cNvSpPr/>
          <p:nvPr/>
        </p:nvSpPr>
        <p:spPr bwMode="gray">
          <a:xfrm>
            <a:off x="1187451" y="3944938"/>
            <a:ext cx="53975" cy="79375"/>
          </a:xfrm>
          <a:custGeom>
            <a:avLst/>
            <a:gdLst>
              <a:gd name="connsiteX0" fmla="*/ 9590 w 54040"/>
              <a:gd name="connsiteY0" fmla="*/ 0 h 79375"/>
              <a:gd name="connsiteX1" fmla="*/ 9590 w 54040"/>
              <a:gd name="connsiteY1" fmla="*/ 0 h 79375"/>
              <a:gd name="connsiteX2" fmla="*/ 6415 w 54040"/>
              <a:gd name="connsiteY2" fmla="*/ 28575 h 79375"/>
              <a:gd name="connsiteX3" fmla="*/ 65 w 54040"/>
              <a:gd name="connsiteY3" fmla="*/ 38100 h 79375"/>
              <a:gd name="connsiteX4" fmla="*/ 9590 w 54040"/>
              <a:gd name="connsiteY4" fmla="*/ 57150 h 79375"/>
              <a:gd name="connsiteX5" fmla="*/ 19115 w 54040"/>
              <a:gd name="connsiteY5" fmla="*/ 73025 h 79375"/>
              <a:gd name="connsiteX6" fmla="*/ 25465 w 54040"/>
              <a:gd name="connsiteY6" fmla="*/ 63500 h 79375"/>
              <a:gd name="connsiteX7" fmla="*/ 34990 w 54040"/>
              <a:gd name="connsiteY7" fmla="*/ 57150 h 79375"/>
              <a:gd name="connsiteX8" fmla="*/ 44515 w 54040"/>
              <a:gd name="connsiteY8" fmla="*/ 76200 h 79375"/>
              <a:gd name="connsiteX9" fmla="*/ 54040 w 54040"/>
              <a:gd name="connsiteY9" fmla="*/ 79375 h 79375"/>
              <a:gd name="connsiteX10" fmla="*/ 50865 w 54040"/>
              <a:gd name="connsiteY10" fmla="*/ 47625 h 79375"/>
              <a:gd name="connsiteX11" fmla="*/ 44515 w 54040"/>
              <a:gd name="connsiteY11" fmla="*/ 28575 h 79375"/>
              <a:gd name="connsiteX12" fmla="*/ 25465 w 54040"/>
              <a:gd name="connsiteY12" fmla="*/ 19050 h 79375"/>
              <a:gd name="connsiteX13" fmla="*/ 19115 w 54040"/>
              <a:gd name="connsiteY13" fmla="*/ 9525 h 79375"/>
              <a:gd name="connsiteX14" fmla="*/ 9590 w 54040"/>
              <a:gd name="connsiteY14"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040" h="79375">
                <a:moveTo>
                  <a:pt x="9590" y="0"/>
                </a:moveTo>
                <a:lnTo>
                  <a:pt x="9590" y="0"/>
                </a:lnTo>
                <a:cubicBezTo>
                  <a:pt x="8532" y="9525"/>
                  <a:pt x="8739" y="19278"/>
                  <a:pt x="6415" y="28575"/>
                </a:cubicBezTo>
                <a:cubicBezTo>
                  <a:pt x="5490" y="32277"/>
                  <a:pt x="692" y="34336"/>
                  <a:pt x="65" y="38100"/>
                </a:cubicBezTo>
                <a:cubicBezTo>
                  <a:pt x="-811" y="43358"/>
                  <a:pt x="7379" y="53833"/>
                  <a:pt x="9590" y="57150"/>
                </a:cubicBezTo>
                <a:cubicBezTo>
                  <a:pt x="1533" y="81320"/>
                  <a:pt x="-3324" y="77513"/>
                  <a:pt x="19115" y="73025"/>
                </a:cubicBezTo>
                <a:cubicBezTo>
                  <a:pt x="21232" y="69850"/>
                  <a:pt x="22767" y="66198"/>
                  <a:pt x="25465" y="63500"/>
                </a:cubicBezTo>
                <a:cubicBezTo>
                  <a:pt x="28163" y="60802"/>
                  <a:pt x="31248" y="56402"/>
                  <a:pt x="34990" y="57150"/>
                </a:cubicBezTo>
                <a:cubicBezTo>
                  <a:pt x="42351" y="58622"/>
                  <a:pt x="40875" y="72560"/>
                  <a:pt x="44515" y="76200"/>
                </a:cubicBezTo>
                <a:cubicBezTo>
                  <a:pt x="46882" y="78567"/>
                  <a:pt x="50865" y="78317"/>
                  <a:pt x="54040" y="79375"/>
                </a:cubicBezTo>
                <a:cubicBezTo>
                  <a:pt x="52982" y="68792"/>
                  <a:pt x="52825" y="58079"/>
                  <a:pt x="50865" y="47625"/>
                </a:cubicBezTo>
                <a:cubicBezTo>
                  <a:pt x="49631" y="41046"/>
                  <a:pt x="50084" y="32288"/>
                  <a:pt x="44515" y="28575"/>
                </a:cubicBezTo>
                <a:cubicBezTo>
                  <a:pt x="32205" y="20369"/>
                  <a:pt x="38610" y="23432"/>
                  <a:pt x="25465" y="19050"/>
                </a:cubicBezTo>
                <a:cubicBezTo>
                  <a:pt x="23348" y="15875"/>
                  <a:pt x="21813" y="12223"/>
                  <a:pt x="19115" y="9525"/>
                </a:cubicBezTo>
                <a:lnTo>
                  <a:pt x="959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4" name="Freeform 393">
            <a:extLst>
              <a:ext uri="{FF2B5EF4-FFF2-40B4-BE49-F238E27FC236}">
                <a16:creationId xmlns:a16="http://schemas.microsoft.com/office/drawing/2014/main" id="{D08118A0-DC05-0B3E-D4DD-5E1EE12F65CC}"/>
              </a:ext>
            </a:extLst>
          </p:cNvPr>
          <p:cNvSpPr/>
          <p:nvPr/>
        </p:nvSpPr>
        <p:spPr bwMode="gray">
          <a:xfrm>
            <a:off x="1168400" y="3779838"/>
            <a:ext cx="69850" cy="73025"/>
          </a:xfrm>
          <a:custGeom>
            <a:avLst/>
            <a:gdLst>
              <a:gd name="connsiteX0" fmla="*/ 0 w 69850"/>
              <a:gd name="connsiteY0" fmla="*/ 9525 h 73025"/>
              <a:gd name="connsiteX1" fmla="*/ 0 w 69850"/>
              <a:gd name="connsiteY1" fmla="*/ 9525 h 73025"/>
              <a:gd name="connsiteX2" fmla="*/ 22225 w 69850"/>
              <a:gd name="connsiteY2" fmla="*/ 50800 h 73025"/>
              <a:gd name="connsiteX3" fmla="*/ 53975 w 69850"/>
              <a:gd name="connsiteY3" fmla="*/ 73025 h 73025"/>
              <a:gd name="connsiteX4" fmla="*/ 63500 w 69850"/>
              <a:gd name="connsiteY4" fmla="*/ 69850 h 73025"/>
              <a:gd name="connsiteX5" fmla="*/ 69850 w 69850"/>
              <a:gd name="connsiteY5" fmla="*/ 47625 h 73025"/>
              <a:gd name="connsiteX6" fmla="*/ 60325 w 69850"/>
              <a:gd name="connsiteY6" fmla="*/ 22225 h 73025"/>
              <a:gd name="connsiteX7" fmla="*/ 31750 w 69850"/>
              <a:gd name="connsiteY7" fmla="*/ 19050 h 73025"/>
              <a:gd name="connsiteX8" fmla="*/ 25400 w 69850"/>
              <a:gd name="connsiteY8" fmla="*/ 9525 h 73025"/>
              <a:gd name="connsiteX9" fmla="*/ 6350 w 69850"/>
              <a:gd name="connsiteY9" fmla="*/ 0 h 73025"/>
              <a:gd name="connsiteX10" fmla="*/ 0 w 69850"/>
              <a:gd name="connsiteY10" fmla="*/ 9525 h 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50" h="73025">
                <a:moveTo>
                  <a:pt x="0" y="9525"/>
                </a:moveTo>
                <a:lnTo>
                  <a:pt x="0" y="9525"/>
                </a:lnTo>
                <a:cubicBezTo>
                  <a:pt x="7408" y="23283"/>
                  <a:pt x="11515" y="39421"/>
                  <a:pt x="22225" y="50800"/>
                </a:cubicBezTo>
                <a:cubicBezTo>
                  <a:pt x="63949" y="95132"/>
                  <a:pt x="44264" y="43892"/>
                  <a:pt x="53975" y="73025"/>
                </a:cubicBezTo>
                <a:cubicBezTo>
                  <a:pt x="57150" y="71967"/>
                  <a:pt x="61133" y="72217"/>
                  <a:pt x="63500" y="69850"/>
                </a:cubicBezTo>
                <a:cubicBezTo>
                  <a:pt x="65018" y="68332"/>
                  <a:pt x="69823" y="47735"/>
                  <a:pt x="69850" y="47625"/>
                </a:cubicBezTo>
                <a:cubicBezTo>
                  <a:pt x="69165" y="44201"/>
                  <a:pt x="67378" y="24790"/>
                  <a:pt x="60325" y="22225"/>
                </a:cubicBezTo>
                <a:cubicBezTo>
                  <a:pt x="51318" y="18950"/>
                  <a:pt x="41275" y="20108"/>
                  <a:pt x="31750" y="19050"/>
                </a:cubicBezTo>
                <a:cubicBezTo>
                  <a:pt x="29633" y="15875"/>
                  <a:pt x="28098" y="12223"/>
                  <a:pt x="25400" y="9525"/>
                </a:cubicBezTo>
                <a:cubicBezTo>
                  <a:pt x="19245" y="3370"/>
                  <a:pt x="14097" y="2582"/>
                  <a:pt x="6350" y="0"/>
                </a:cubicBezTo>
                <a:cubicBezTo>
                  <a:pt x="2702" y="10945"/>
                  <a:pt x="1058" y="7937"/>
                  <a:pt x="0" y="9525"/>
                </a:cubicBez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5" name="Freeform 394">
            <a:extLst>
              <a:ext uri="{FF2B5EF4-FFF2-40B4-BE49-F238E27FC236}">
                <a16:creationId xmlns:a16="http://schemas.microsoft.com/office/drawing/2014/main" id="{3ED64BCC-9042-4E2D-482B-719CEE129156}"/>
              </a:ext>
            </a:extLst>
          </p:cNvPr>
          <p:cNvSpPr/>
          <p:nvPr/>
        </p:nvSpPr>
        <p:spPr bwMode="gray">
          <a:xfrm>
            <a:off x="1247775" y="3738564"/>
            <a:ext cx="50800" cy="73025"/>
          </a:xfrm>
          <a:custGeom>
            <a:avLst/>
            <a:gdLst>
              <a:gd name="connsiteX0" fmla="*/ 514 w 51314"/>
              <a:gd name="connsiteY0" fmla="*/ 0 h 73104"/>
              <a:gd name="connsiteX1" fmla="*/ 514 w 51314"/>
              <a:gd name="connsiteY1" fmla="*/ 0 h 73104"/>
              <a:gd name="connsiteX2" fmla="*/ 13214 w 51314"/>
              <a:gd name="connsiteY2" fmla="*/ 50800 h 73104"/>
              <a:gd name="connsiteX3" fmla="*/ 13214 w 51314"/>
              <a:gd name="connsiteY3" fmla="*/ 57150 h 73104"/>
              <a:gd name="connsiteX4" fmla="*/ 44964 w 51314"/>
              <a:gd name="connsiteY4" fmla="*/ 69850 h 73104"/>
              <a:gd name="connsiteX5" fmla="*/ 51314 w 51314"/>
              <a:gd name="connsiteY5" fmla="*/ 60325 h 73104"/>
              <a:gd name="connsiteX6" fmla="*/ 41789 w 51314"/>
              <a:gd name="connsiteY6" fmla="*/ 53975 h 73104"/>
              <a:gd name="connsiteX7" fmla="*/ 32264 w 51314"/>
              <a:gd name="connsiteY7" fmla="*/ 50800 h 73104"/>
              <a:gd name="connsiteX8" fmla="*/ 25914 w 51314"/>
              <a:gd name="connsiteY8" fmla="*/ 41275 h 73104"/>
              <a:gd name="connsiteX9" fmla="*/ 29089 w 51314"/>
              <a:gd name="connsiteY9" fmla="*/ 28575 h 73104"/>
              <a:gd name="connsiteX10" fmla="*/ 32264 w 51314"/>
              <a:gd name="connsiteY10" fmla="*/ 19050 h 73104"/>
              <a:gd name="connsiteX11" fmla="*/ 6864 w 51314"/>
              <a:gd name="connsiteY11" fmla="*/ 12700 h 73104"/>
              <a:gd name="connsiteX12" fmla="*/ 514 w 51314"/>
              <a:gd name="connsiteY12" fmla="*/ 0 h 7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14" h="73104">
                <a:moveTo>
                  <a:pt x="514" y="0"/>
                </a:moveTo>
                <a:lnTo>
                  <a:pt x="514" y="0"/>
                </a:lnTo>
                <a:lnTo>
                  <a:pt x="13214" y="50800"/>
                </a:lnTo>
                <a:lnTo>
                  <a:pt x="13214" y="57150"/>
                </a:lnTo>
                <a:cubicBezTo>
                  <a:pt x="22937" y="64095"/>
                  <a:pt x="32399" y="79902"/>
                  <a:pt x="44964" y="69850"/>
                </a:cubicBezTo>
                <a:cubicBezTo>
                  <a:pt x="47944" y="67466"/>
                  <a:pt x="49197" y="63500"/>
                  <a:pt x="51314" y="60325"/>
                </a:cubicBezTo>
                <a:cubicBezTo>
                  <a:pt x="48139" y="58208"/>
                  <a:pt x="45202" y="55682"/>
                  <a:pt x="41789" y="53975"/>
                </a:cubicBezTo>
                <a:cubicBezTo>
                  <a:pt x="38796" y="52478"/>
                  <a:pt x="34877" y="52891"/>
                  <a:pt x="32264" y="50800"/>
                </a:cubicBezTo>
                <a:cubicBezTo>
                  <a:pt x="29284" y="48416"/>
                  <a:pt x="28031" y="44450"/>
                  <a:pt x="25914" y="41275"/>
                </a:cubicBezTo>
                <a:cubicBezTo>
                  <a:pt x="26972" y="37042"/>
                  <a:pt x="27890" y="32771"/>
                  <a:pt x="29089" y="28575"/>
                </a:cubicBezTo>
                <a:cubicBezTo>
                  <a:pt x="30008" y="25357"/>
                  <a:pt x="34987" y="20995"/>
                  <a:pt x="32264" y="19050"/>
                </a:cubicBezTo>
                <a:cubicBezTo>
                  <a:pt x="25162" y="13977"/>
                  <a:pt x="6864" y="12700"/>
                  <a:pt x="6864" y="12700"/>
                </a:cubicBezTo>
                <a:cubicBezTo>
                  <a:pt x="-3542" y="5763"/>
                  <a:pt x="1155" y="6350"/>
                  <a:pt x="514" y="0"/>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6" name="Freeform 395">
            <a:extLst>
              <a:ext uri="{FF2B5EF4-FFF2-40B4-BE49-F238E27FC236}">
                <a16:creationId xmlns:a16="http://schemas.microsoft.com/office/drawing/2014/main" id="{705F59FF-DCFF-6FE4-55CC-4571D8B2E125}"/>
              </a:ext>
            </a:extLst>
          </p:cNvPr>
          <p:cNvSpPr/>
          <p:nvPr/>
        </p:nvSpPr>
        <p:spPr bwMode="gray">
          <a:xfrm>
            <a:off x="1123951" y="3817938"/>
            <a:ext cx="98425" cy="88900"/>
          </a:xfrm>
          <a:custGeom>
            <a:avLst/>
            <a:gdLst>
              <a:gd name="connsiteX0" fmla="*/ 124 w 98894"/>
              <a:gd name="connsiteY0" fmla="*/ 0 h 88900"/>
              <a:gd name="connsiteX1" fmla="*/ 124 w 98894"/>
              <a:gd name="connsiteY1" fmla="*/ 0 h 88900"/>
              <a:gd name="connsiteX2" fmla="*/ 12824 w 98894"/>
              <a:gd name="connsiteY2" fmla="*/ 25400 h 88900"/>
              <a:gd name="connsiteX3" fmla="*/ 22349 w 98894"/>
              <a:gd name="connsiteY3" fmla="*/ 31750 h 88900"/>
              <a:gd name="connsiteX4" fmla="*/ 41399 w 98894"/>
              <a:gd name="connsiteY4" fmla="*/ 47625 h 88900"/>
              <a:gd name="connsiteX5" fmla="*/ 60449 w 98894"/>
              <a:gd name="connsiteY5" fmla="*/ 31750 h 88900"/>
              <a:gd name="connsiteX6" fmla="*/ 85849 w 98894"/>
              <a:gd name="connsiteY6" fmla="*/ 34925 h 88900"/>
              <a:gd name="connsiteX7" fmla="*/ 98549 w 98894"/>
              <a:gd name="connsiteY7" fmla="*/ 53975 h 88900"/>
              <a:gd name="connsiteX8" fmla="*/ 89024 w 98894"/>
              <a:gd name="connsiteY8" fmla="*/ 60325 h 88900"/>
              <a:gd name="connsiteX9" fmla="*/ 76324 w 98894"/>
              <a:gd name="connsiteY9" fmla="*/ 57150 h 88900"/>
              <a:gd name="connsiteX10" fmla="*/ 69974 w 98894"/>
              <a:gd name="connsiteY10" fmla="*/ 47625 h 88900"/>
              <a:gd name="connsiteX11" fmla="*/ 57274 w 98894"/>
              <a:gd name="connsiteY11" fmla="*/ 50800 h 88900"/>
              <a:gd name="connsiteX12" fmla="*/ 50924 w 98894"/>
              <a:gd name="connsiteY12" fmla="*/ 60325 h 88900"/>
              <a:gd name="connsiteX13" fmla="*/ 44574 w 98894"/>
              <a:gd name="connsiteY13" fmla="*/ 88900 h 88900"/>
              <a:gd name="connsiteX14" fmla="*/ 28699 w 98894"/>
              <a:gd name="connsiteY14" fmla="*/ 66675 h 88900"/>
              <a:gd name="connsiteX15" fmla="*/ 6474 w 98894"/>
              <a:gd name="connsiteY15" fmla="*/ 69850 h 88900"/>
              <a:gd name="connsiteX16" fmla="*/ 124 w 98894"/>
              <a:gd name="connsiteY16" fmla="*/ 60325 h 88900"/>
              <a:gd name="connsiteX17" fmla="*/ 12824 w 98894"/>
              <a:gd name="connsiteY17" fmla="*/ 41275 h 88900"/>
              <a:gd name="connsiteX18" fmla="*/ 22349 w 98894"/>
              <a:gd name="connsiteY18" fmla="*/ 50800 h 88900"/>
              <a:gd name="connsiteX19" fmla="*/ 28699 w 98894"/>
              <a:gd name="connsiteY19" fmla="*/ 60325 h 88900"/>
              <a:gd name="connsiteX20" fmla="*/ 25524 w 98894"/>
              <a:gd name="connsiteY20" fmla="*/ 50800 h 88900"/>
              <a:gd name="connsiteX21" fmla="*/ 15999 w 98894"/>
              <a:gd name="connsiteY21" fmla="*/ 44450 h 88900"/>
              <a:gd name="connsiteX22" fmla="*/ 6474 w 98894"/>
              <a:gd name="connsiteY22" fmla="*/ 34925 h 88900"/>
              <a:gd name="connsiteX23" fmla="*/ 124 w 98894"/>
              <a:gd name="connsiteY23" fmla="*/ 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8894" h="88900">
                <a:moveTo>
                  <a:pt x="124" y="0"/>
                </a:moveTo>
                <a:lnTo>
                  <a:pt x="124" y="0"/>
                </a:lnTo>
                <a:cubicBezTo>
                  <a:pt x="4357" y="8467"/>
                  <a:pt x="7396" y="17645"/>
                  <a:pt x="12824" y="25400"/>
                </a:cubicBezTo>
                <a:cubicBezTo>
                  <a:pt x="15012" y="28526"/>
                  <a:pt x="19418" y="29307"/>
                  <a:pt x="22349" y="31750"/>
                </a:cubicBezTo>
                <a:cubicBezTo>
                  <a:pt x="46795" y="52122"/>
                  <a:pt x="17750" y="31859"/>
                  <a:pt x="41399" y="47625"/>
                </a:cubicBezTo>
                <a:cubicBezTo>
                  <a:pt x="43740" y="45284"/>
                  <a:pt x="55587" y="32192"/>
                  <a:pt x="60449" y="31750"/>
                </a:cubicBezTo>
                <a:cubicBezTo>
                  <a:pt x="68947" y="30977"/>
                  <a:pt x="77382" y="33867"/>
                  <a:pt x="85849" y="34925"/>
                </a:cubicBezTo>
                <a:cubicBezTo>
                  <a:pt x="88053" y="37129"/>
                  <a:pt x="101175" y="47411"/>
                  <a:pt x="98549" y="53975"/>
                </a:cubicBezTo>
                <a:cubicBezTo>
                  <a:pt x="97132" y="57518"/>
                  <a:pt x="92199" y="58208"/>
                  <a:pt x="89024" y="60325"/>
                </a:cubicBezTo>
                <a:cubicBezTo>
                  <a:pt x="84791" y="59267"/>
                  <a:pt x="79955" y="59571"/>
                  <a:pt x="76324" y="57150"/>
                </a:cubicBezTo>
                <a:cubicBezTo>
                  <a:pt x="73149" y="55033"/>
                  <a:pt x="73594" y="48832"/>
                  <a:pt x="69974" y="47625"/>
                </a:cubicBezTo>
                <a:cubicBezTo>
                  <a:pt x="65834" y="46245"/>
                  <a:pt x="61507" y="49742"/>
                  <a:pt x="57274" y="50800"/>
                </a:cubicBezTo>
                <a:cubicBezTo>
                  <a:pt x="55157" y="53975"/>
                  <a:pt x="52631" y="56912"/>
                  <a:pt x="50924" y="60325"/>
                </a:cubicBezTo>
                <a:cubicBezTo>
                  <a:pt x="47016" y="68141"/>
                  <a:pt x="45793" y="81583"/>
                  <a:pt x="44574" y="88900"/>
                </a:cubicBezTo>
                <a:cubicBezTo>
                  <a:pt x="37166" y="66675"/>
                  <a:pt x="44574" y="71967"/>
                  <a:pt x="28699" y="66675"/>
                </a:cubicBezTo>
                <a:cubicBezTo>
                  <a:pt x="21291" y="67733"/>
                  <a:pt x="13779" y="71473"/>
                  <a:pt x="6474" y="69850"/>
                </a:cubicBezTo>
                <a:cubicBezTo>
                  <a:pt x="2749" y="69022"/>
                  <a:pt x="-704" y="64050"/>
                  <a:pt x="124" y="60325"/>
                </a:cubicBezTo>
                <a:cubicBezTo>
                  <a:pt x="1780" y="52875"/>
                  <a:pt x="12824" y="41275"/>
                  <a:pt x="12824" y="41275"/>
                </a:cubicBezTo>
                <a:cubicBezTo>
                  <a:pt x="15999" y="44450"/>
                  <a:pt x="19474" y="47351"/>
                  <a:pt x="22349" y="50800"/>
                </a:cubicBezTo>
                <a:cubicBezTo>
                  <a:pt x="24792" y="53731"/>
                  <a:pt x="24883" y="60325"/>
                  <a:pt x="28699" y="60325"/>
                </a:cubicBezTo>
                <a:cubicBezTo>
                  <a:pt x="32046" y="60325"/>
                  <a:pt x="27615" y="53413"/>
                  <a:pt x="25524" y="50800"/>
                </a:cubicBezTo>
                <a:cubicBezTo>
                  <a:pt x="23140" y="47820"/>
                  <a:pt x="18930" y="46893"/>
                  <a:pt x="15999" y="44450"/>
                </a:cubicBezTo>
                <a:cubicBezTo>
                  <a:pt x="12550" y="41575"/>
                  <a:pt x="9649" y="38100"/>
                  <a:pt x="6474" y="34925"/>
                </a:cubicBezTo>
                <a:cubicBezTo>
                  <a:pt x="2551" y="23155"/>
                  <a:pt x="1182" y="5821"/>
                  <a:pt x="124"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7" name="Freeform 396">
            <a:extLst>
              <a:ext uri="{FF2B5EF4-FFF2-40B4-BE49-F238E27FC236}">
                <a16:creationId xmlns:a16="http://schemas.microsoft.com/office/drawing/2014/main" id="{9EFA8938-A34A-5169-80A1-36F24B564689}"/>
              </a:ext>
            </a:extLst>
          </p:cNvPr>
          <p:cNvSpPr/>
          <p:nvPr/>
        </p:nvSpPr>
        <p:spPr bwMode="gray">
          <a:xfrm>
            <a:off x="1285875" y="4100513"/>
            <a:ext cx="101600" cy="101600"/>
          </a:xfrm>
          <a:custGeom>
            <a:avLst/>
            <a:gdLst>
              <a:gd name="connsiteX0" fmla="*/ 0 w 101600"/>
              <a:gd name="connsiteY0" fmla="*/ 0 h 101600"/>
              <a:gd name="connsiteX1" fmla="*/ 0 w 101600"/>
              <a:gd name="connsiteY1" fmla="*/ 0 h 101600"/>
              <a:gd name="connsiteX2" fmla="*/ 28575 w 101600"/>
              <a:gd name="connsiteY2" fmla="*/ 25400 h 101600"/>
              <a:gd name="connsiteX3" fmla="*/ 31750 w 101600"/>
              <a:gd name="connsiteY3" fmla="*/ 34925 h 101600"/>
              <a:gd name="connsiteX4" fmla="*/ 41275 w 101600"/>
              <a:gd name="connsiteY4" fmla="*/ 41275 h 101600"/>
              <a:gd name="connsiteX5" fmla="*/ 60325 w 101600"/>
              <a:gd name="connsiteY5" fmla="*/ 47625 h 101600"/>
              <a:gd name="connsiteX6" fmla="*/ 82550 w 101600"/>
              <a:gd name="connsiteY6" fmla="*/ 41275 h 101600"/>
              <a:gd name="connsiteX7" fmla="*/ 88900 w 101600"/>
              <a:gd name="connsiteY7" fmla="*/ 31750 h 101600"/>
              <a:gd name="connsiteX8" fmla="*/ 85725 w 101600"/>
              <a:gd name="connsiteY8" fmla="*/ 19050 h 101600"/>
              <a:gd name="connsiteX9" fmla="*/ 101600 w 101600"/>
              <a:gd name="connsiteY9" fmla="*/ 38100 h 101600"/>
              <a:gd name="connsiteX10" fmla="*/ 92075 w 101600"/>
              <a:gd name="connsiteY10" fmla="*/ 79375 h 101600"/>
              <a:gd name="connsiteX11" fmla="*/ 82550 w 101600"/>
              <a:gd name="connsiteY11" fmla="*/ 98425 h 101600"/>
              <a:gd name="connsiteX12" fmla="*/ 73025 w 101600"/>
              <a:gd name="connsiteY12" fmla="*/ 101600 h 101600"/>
              <a:gd name="connsiteX13" fmla="*/ 66675 w 101600"/>
              <a:gd name="connsiteY13" fmla="*/ 92075 h 101600"/>
              <a:gd name="connsiteX14" fmla="*/ 63500 w 101600"/>
              <a:gd name="connsiteY14" fmla="*/ 69850 h 101600"/>
              <a:gd name="connsiteX15" fmla="*/ 47625 w 101600"/>
              <a:gd name="connsiteY15" fmla="*/ 66675 h 101600"/>
              <a:gd name="connsiteX16" fmla="*/ 22225 w 101600"/>
              <a:gd name="connsiteY16" fmla="*/ 44450 h 101600"/>
              <a:gd name="connsiteX17" fmla="*/ 6350 w 101600"/>
              <a:gd name="connsiteY17" fmla="*/ 25400 h 101600"/>
              <a:gd name="connsiteX18" fmla="*/ 0 w 101600"/>
              <a:gd name="connsiteY18" fmla="*/ 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600" h="101600">
                <a:moveTo>
                  <a:pt x="0" y="0"/>
                </a:moveTo>
                <a:lnTo>
                  <a:pt x="0" y="0"/>
                </a:lnTo>
                <a:cubicBezTo>
                  <a:pt x="14753" y="10538"/>
                  <a:pt x="21608" y="11467"/>
                  <a:pt x="28575" y="25400"/>
                </a:cubicBezTo>
                <a:cubicBezTo>
                  <a:pt x="30072" y="28393"/>
                  <a:pt x="29659" y="32312"/>
                  <a:pt x="31750" y="34925"/>
                </a:cubicBezTo>
                <a:cubicBezTo>
                  <a:pt x="34134" y="37905"/>
                  <a:pt x="37788" y="39725"/>
                  <a:pt x="41275" y="41275"/>
                </a:cubicBezTo>
                <a:cubicBezTo>
                  <a:pt x="47392" y="43993"/>
                  <a:pt x="60325" y="47625"/>
                  <a:pt x="60325" y="47625"/>
                </a:cubicBezTo>
                <a:cubicBezTo>
                  <a:pt x="61155" y="47418"/>
                  <a:pt x="80480" y="42931"/>
                  <a:pt x="82550" y="41275"/>
                </a:cubicBezTo>
                <a:cubicBezTo>
                  <a:pt x="85530" y="38891"/>
                  <a:pt x="86783" y="34925"/>
                  <a:pt x="88900" y="31750"/>
                </a:cubicBezTo>
                <a:cubicBezTo>
                  <a:pt x="87842" y="27517"/>
                  <a:pt x="81822" y="21001"/>
                  <a:pt x="85725" y="19050"/>
                </a:cubicBezTo>
                <a:cubicBezTo>
                  <a:pt x="88781" y="17522"/>
                  <a:pt x="100550" y="36525"/>
                  <a:pt x="101600" y="38100"/>
                </a:cubicBezTo>
                <a:cubicBezTo>
                  <a:pt x="95911" y="94987"/>
                  <a:pt x="105090" y="53344"/>
                  <a:pt x="92075" y="79375"/>
                </a:cubicBezTo>
                <a:cubicBezTo>
                  <a:pt x="88240" y="87044"/>
                  <a:pt x="90133" y="92359"/>
                  <a:pt x="82550" y="98425"/>
                </a:cubicBezTo>
                <a:cubicBezTo>
                  <a:pt x="79937" y="100516"/>
                  <a:pt x="76200" y="100542"/>
                  <a:pt x="73025" y="101600"/>
                </a:cubicBezTo>
                <a:cubicBezTo>
                  <a:pt x="70908" y="98425"/>
                  <a:pt x="67771" y="95730"/>
                  <a:pt x="66675" y="92075"/>
                </a:cubicBezTo>
                <a:cubicBezTo>
                  <a:pt x="64525" y="84907"/>
                  <a:pt x="67990" y="75837"/>
                  <a:pt x="63500" y="69850"/>
                </a:cubicBezTo>
                <a:cubicBezTo>
                  <a:pt x="60262" y="65533"/>
                  <a:pt x="52917" y="67733"/>
                  <a:pt x="47625" y="66675"/>
                </a:cubicBezTo>
                <a:cubicBezTo>
                  <a:pt x="29633" y="39688"/>
                  <a:pt x="59267" y="81492"/>
                  <a:pt x="22225" y="44450"/>
                </a:cubicBezTo>
                <a:cubicBezTo>
                  <a:pt x="10002" y="32227"/>
                  <a:pt x="15191" y="38661"/>
                  <a:pt x="6350" y="25400"/>
                </a:cubicBezTo>
                <a:lnTo>
                  <a:pt x="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8" name="Freeform 397">
            <a:extLst>
              <a:ext uri="{FF2B5EF4-FFF2-40B4-BE49-F238E27FC236}">
                <a16:creationId xmlns:a16="http://schemas.microsoft.com/office/drawing/2014/main" id="{84E80B78-3175-642D-39B5-F3582683D0D3}"/>
              </a:ext>
            </a:extLst>
          </p:cNvPr>
          <p:cNvSpPr/>
          <p:nvPr/>
        </p:nvSpPr>
        <p:spPr bwMode="gray">
          <a:xfrm>
            <a:off x="1876425" y="4341813"/>
            <a:ext cx="50800" cy="34925"/>
          </a:xfrm>
          <a:custGeom>
            <a:avLst/>
            <a:gdLst>
              <a:gd name="connsiteX0" fmla="*/ 0 w 51349"/>
              <a:gd name="connsiteY0" fmla="*/ 3175 h 34925"/>
              <a:gd name="connsiteX1" fmla="*/ 0 w 51349"/>
              <a:gd name="connsiteY1" fmla="*/ 3175 h 34925"/>
              <a:gd name="connsiteX2" fmla="*/ 15875 w 51349"/>
              <a:gd name="connsiteY2" fmla="*/ 28575 h 34925"/>
              <a:gd name="connsiteX3" fmla="*/ 19050 w 51349"/>
              <a:gd name="connsiteY3" fmla="*/ 19050 h 34925"/>
              <a:gd name="connsiteX4" fmla="*/ 34925 w 51349"/>
              <a:gd name="connsiteY4" fmla="*/ 34925 h 34925"/>
              <a:gd name="connsiteX5" fmla="*/ 44450 w 51349"/>
              <a:gd name="connsiteY5" fmla="*/ 31750 h 34925"/>
              <a:gd name="connsiteX6" fmla="*/ 47625 w 51349"/>
              <a:gd name="connsiteY6" fmla="*/ 6350 h 34925"/>
              <a:gd name="connsiteX7" fmla="*/ 38100 w 51349"/>
              <a:gd name="connsiteY7" fmla="*/ 3175 h 34925"/>
              <a:gd name="connsiteX8" fmla="*/ 12700 w 51349"/>
              <a:gd name="connsiteY8" fmla="*/ 0 h 34925"/>
              <a:gd name="connsiteX9" fmla="*/ 3175 w 51349"/>
              <a:gd name="connsiteY9" fmla="*/ 3175 h 34925"/>
              <a:gd name="connsiteX10" fmla="*/ 0 w 51349"/>
              <a:gd name="connsiteY10" fmla="*/ 317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49" h="34925">
                <a:moveTo>
                  <a:pt x="0" y="3175"/>
                </a:moveTo>
                <a:lnTo>
                  <a:pt x="0" y="3175"/>
                </a:lnTo>
                <a:cubicBezTo>
                  <a:pt x="5292" y="11642"/>
                  <a:pt x="8205" y="22183"/>
                  <a:pt x="15875" y="28575"/>
                </a:cubicBezTo>
                <a:cubicBezTo>
                  <a:pt x="18446" y="30718"/>
                  <a:pt x="15875" y="17992"/>
                  <a:pt x="19050" y="19050"/>
                </a:cubicBezTo>
                <a:cubicBezTo>
                  <a:pt x="26150" y="21417"/>
                  <a:pt x="29633" y="29633"/>
                  <a:pt x="34925" y="34925"/>
                </a:cubicBezTo>
                <a:cubicBezTo>
                  <a:pt x="38100" y="33867"/>
                  <a:pt x="41837" y="33841"/>
                  <a:pt x="44450" y="31750"/>
                </a:cubicBezTo>
                <a:cubicBezTo>
                  <a:pt x="52415" y="25378"/>
                  <a:pt x="53497" y="15158"/>
                  <a:pt x="47625" y="6350"/>
                </a:cubicBezTo>
                <a:cubicBezTo>
                  <a:pt x="45769" y="3565"/>
                  <a:pt x="41393" y="3774"/>
                  <a:pt x="38100" y="3175"/>
                </a:cubicBezTo>
                <a:cubicBezTo>
                  <a:pt x="29705" y="1649"/>
                  <a:pt x="21167" y="1058"/>
                  <a:pt x="12700" y="0"/>
                </a:cubicBezTo>
                <a:cubicBezTo>
                  <a:pt x="9525" y="1058"/>
                  <a:pt x="3175" y="-172"/>
                  <a:pt x="3175" y="3175"/>
                </a:cubicBezTo>
                <a:cubicBezTo>
                  <a:pt x="3175" y="6522"/>
                  <a:pt x="529" y="3175"/>
                  <a:pt x="0" y="3175"/>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9" name="Freeform 398">
            <a:extLst>
              <a:ext uri="{FF2B5EF4-FFF2-40B4-BE49-F238E27FC236}">
                <a16:creationId xmlns:a16="http://schemas.microsoft.com/office/drawing/2014/main" id="{83DF3111-1612-9596-404D-E2E7F8A244B2}"/>
              </a:ext>
            </a:extLst>
          </p:cNvPr>
          <p:cNvSpPr/>
          <p:nvPr/>
        </p:nvSpPr>
        <p:spPr bwMode="gray">
          <a:xfrm>
            <a:off x="1931988" y="4357688"/>
            <a:ext cx="42863" cy="31750"/>
          </a:xfrm>
          <a:custGeom>
            <a:avLst/>
            <a:gdLst>
              <a:gd name="connsiteX0" fmla="*/ 13641 w 42647"/>
              <a:gd name="connsiteY0" fmla="*/ 6350 h 32036"/>
              <a:gd name="connsiteX1" fmla="*/ 13641 w 42647"/>
              <a:gd name="connsiteY1" fmla="*/ 6350 h 32036"/>
              <a:gd name="connsiteX2" fmla="*/ 35866 w 42647"/>
              <a:gd name="connsiteY2" fmla="*/ 31750 h 32036"/>
              <a:gd name="connsiteX3" fmla="*/ 42216 w 42647"/>
              <a:gd name="connsiteY3" fmla="*/ 22225 h 32036"/>
              <a:gd name="connsiteX4" fmla="*/ 29516 w 42647"/>
              <a:gd name="connsiteY4" fmla="*/ 0 h 32036"/>
              <a:gd name="connsiteX5" fmla="*/ 4116 w 42647"/>
              <a:gd name="connsiteY5" fmla="*/ 3175 h 32036"/>
              <a:gd name="connsiteX6" fmla="*/ 941 w 42647"/>
              <a:gd name="connsiteY6" fmla="*/ 12700 h 32036"/>
              <a:gd name="connsiteX7" fmla="*/ 13641 w 42647"/>
              <a:gd name="connsiteY7" fmla="*/ 6350 h 3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47" h="32036">
                <a:moveTo>
                  <a:pt x="13641" y="6350"/>
                </a:moveTo>
                <a:lnTo>
                  <a:pt x="13641" y="6350"/>
                </a:lnTo>
                <a:cubicBezTo>
                  <a:pt x="21049" y="14817"/>
                  <a:pt x="26032" y="26286"/>
                  <a:pt x="35866" y="31750"/>
                </a:cubicBezTo>
                <a:cubicBezTo>
                  <a:pt x="39202" y="33603"/>
                  <a:pt x="41743" y="26011"/>
                  <a:pt x="42216" y="22225"/>
                </a:cubicBezTo>
                <a:cubicBezTo>
                  <a:pt x="44178" y="6532"/>
                  <a:pt x="39370" y="6569"/>
                  <a:pt x="29516" y="0"/>
                </a:cubicBezTo>
                <a:cubicBezTo>
                  <a:pt x="21049" y="1058"/>
                  <a:pt x="11913" y="-290"/>
                  <a:pt x="4116" y="3175"/>
                </a:cubicBezTo>
                <a:cubicBezTo>
                  <a:pt x="1058" y="4534"/>
                  <a:pt x="-1426" y="10333"/>
                  <a:pt x="941" y="12700"/>
                </a:cubicBezTo>
                <a:cubicBezTo>
                  <a:pt x="20995" y="32754"/>
                  <a:pt x="11524" y="7408"/>
                  <a:pt x="13641" y="635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0" name="Freeform 399">
            <a:extLst>
              <a:ext uri="{FF2B5EF4-FFF2-40B4-BE49-F238E27FC236}">
                <a16:creationId xmlns:a16="http://schemas.microsoft.com/office/drawing/2014/main" id="{5E824441-F57D-4747-BA54-6E05425538E1}"/>
              </a:ext>
            </a:extLst>
          </p:cNvPr>
          <p:cNvSpPr/>
          <p:nvPr/>
        </p:nvSpPr>
        <p:spPr bwMode="gray">
          <a:xfrm>
            <a:off x="1781175" y="4703763"/>
            <a:ext cx="139700" cy="209550"/>
          </a:xfrm>
          <a:custGeom>
            <a:avLst/>
            <a:gdLst>
              <a:gd name="connsiteX0" fmla="*/ 9768 w 139943"/>
              <a:gd name="connsiteY0" fmla="*/ 0 h 209550"/>
              <a:gd name="connsiteX1" fmla="*/ 9768 w 139943"/>
              <a:gd name="connsiteY1" fmla="*/ 0 h 209550"/>
              <a:gd name="connsiteX2" fmla="*/ 38343 w 139943"/>
              <a:gd name="connsiteY2" fmla="*/ 22225 h 209550"/>
              <a:gd name="connsiteX3" fmla="*/ 85968 w 139943"/>
              <a:gd name="connsiteY3" fmla="*/ 38100 h 209550"/>
              <a:gd name="connsiteX4" fmla="*/ 95493 w 139943"/>
              <a:gd name="connsiteY4" fmla="*/ 57150 h 209550"/>
              <a:gd name="connsiteX5" fmla="*/ 105018 w 139943"/>
              <a:gd name="connsiteY5" fmla="*/ 60325 h 209550"/>
              <a:gd name="connsiteX6" fmla="*/ 101843 w 139943"/>
              <a:gd name="connsiteY6" fmla="*/ 69850 h 209550"/>
              <a:gd name="connsiteX7" fmla="*/ 120893 w 139943"/>
              <a:gd name="connsiteY7" fmla="*/ 88900 h 209550"/>
              <a:gd name="connsiteX8" fmla="*/ 117718 w 139943"/>
              <a:gd name="connsiteY8" fmla="*/ 101600 h 209550"/>
              <a:gd name="connsiteX9" fmla="*/ 114543 w 139943"/>
              <a:gd name="connsiteY9" fmla="*/ 111125 h 209550"/>
              <a:gd name="connsiteX10" fmla="*/ 117718 w 139943"/>
              <a:gd name="connsiteY10" fmla="*/ 155575 h 209550"/>
              <a:gd name="connsiteX11" fmla="*/ 133593 w 139943"/>
              <a:gd name="connsiteY11" fmla="*/ 146050 h 209550"/>
              <a:gd name="connsiteX12" fmla="*/ 139943 w 139943"/>
              <a:gd name="connsiteY12" fmla="*/ 155575 h 209550"/>
              <a:gd name="connsiteX13" fmla="*/ 136768 w 139943"/>
              <a:gd name="connsiteY13" fmla="*/ 174625 h 209550"/>
              <a:gd name="connsiteX14" fmla="*/ 133593 w 139943"/>
              <a:gd name="connsiteY14" fmla="*/ 187325 h 209550"/>
              <a:gd name="connsiteX15" fmla="*/ 130418 w 139943"/>
              <a:gd name="connsiteY15" fmla="*/ 209550 h 209550"/>
              <a:gd name="connsiteX16" fmla="*/ 111368 w 139943"/>
              <a:gd name="connsiteY16" fmla="*/ 206375 h 209550"/>
              <a:gd name="connsiteX17" fmla="*/ 101843 w 139943"/>
              <a:gd name="connsiteY17" fmla="*/ 187325 h 209550"/>
              <a:gd name="connsiteX18" fmla="*/ 82793 w 139943"/>
              <a:gd name="connsiteY18" fmla="*/ 180975 h 209550"/>
              <a:gd name="connsiteX19" fmla="*/ 73268 w 139943"/>
              <a:gd name="connsiteY19" fmla="*/ 177800 h 209550"/>
              <a:gd name="connsiteX20" fmla="*/ 89143 w 139943"/>
              <a:gd name="connsiteY20" fmla="*/ 174625 h 209550"/>
              <a:gd name="connsiteX21" fmla="*/ 98668 w 139943"/>
              <a:gd name="connsiteY21" fmla="*/ 171450 h 209550"/>
              <a:gd name="connsiteX22" fmla="*/ 89143 w 139943"/>
              <a:gd name="connsiteY22" fmla="*/ 146050 h 209550"/>
              <a:gd name="connsiteX23" fmla="*/ 85968 w 139943"/>
              <a:gd name="connsiteY23" fmla="*/ 136525 h 209550"/>
              <a:gd name="connsiteX24" fmla="*/ 82793 w 139943"/>
              <a:gd name="connsiteY24" fmla="*/ 104775 h 209550"/>
              <a:gd name="connsiteX25" fmla="*/ 76443 w 139943"/>
              <a:gd name="connsiteY25" fmla="*/ 92075 h 209550"/>
              <a:gd name="connsiteX26" fmla="*/ 73268 w 139943"/>
              <a:gd name="connsiteY26" fmla="*/ 82550 h 209550"/>
              <a:gd name="connsiteX27" fmla="*/ 60568 w 139943"/>
              <a:gd name="connsiteY27" fmla="*/ 50800 h 209550"/>
              <a:gd name="connsiteX28" fmla="*/ 35168 w 139943"/>
              <a:gd name="connsiteY28" fmla="*/ 41275 h 209550"/>
              <a:gd name="connsiteX29" fmla="*/ 22468 w 139943"/>
              <a:gd name="connsiteY29" fmla="*/ 25400 h 209550"/>
              <a:gd name="connsiteX30" fmla="*/ 19293 w 139943"/>
              <a:gd name="connsiteY30" fmla="*/ 15875 h 209550"/>
              <a:gd name="connsiteX31" fmla="*/ 9768 w 139943"/>
              <a:gd name="connsiteY31" fmla="*/ 9525 h 209550"/>
              <a:gd name="connsiteX32" fmla="*/ 243 w 139943"/>
              <a:gd name="connsiteY32" fmla="*/ 6350 h 209550"/>
              <a:gd name="connsiteX33" fmla="*/ 9768 w 139943"/>
              <a:gd name="connsiteY33"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943" h="209550">
                <a:moveTo>
                  <a:pt x="9768" y="0"/>
                </a:moveTo>
                <a:lnTo>
                  <a:pt x="9768" y="0"/>
                </a:lnTo>
                <a:cubicBezTo>
                  <a:pt x="19293" y="7408"/>
                  <a:pt x="27252" y="17472"/>
                  <a:pt x="38343" y="22225"/>
                </a:cubicBezTo>
                <a:cubicBezTo>
                  <a:pt x="100365" y="48806"/>
                  <a:pt x="60541" y="12673"/>
                  <a:pt x="85968" y="38100"/>
                </a:cubicBezTo>
                <a:cubicBezTo>
                  <a:pt x="88060" y="44375"/>
                  <a:pt x="89898" y="52674"/>
                  <a:pt x="95493" y="57150"/>
                </a:cubicBezTo>
                <a:cubicBezTo>
                  <a:pt x="98106" y="59241"/>
                  <a:pt x="101843" y="59267"/>
                  <a:pt x="105018" y="60325"/>
                </a:cubicBezTo>
                <a:cubicBezTo>
                  <a:pt x="103960" y="63500"/>
                  <a:pt x="100218" y="66924"/>
                  <a:pt x="101843" y="69850"/>
                </a:cubicBezTo>
                <a:cubicBezTo>
                  <a:pt x="106204" y="77700"/>
                  <a:pt x="120893" y="88900"/>
                  <a:pt x="120893" y="88900"/>
                </a:cubicBezTo>
                <a:cubicBezTo>
                  <a:pt x="119835" y="93133"/>
                  <a:pt x="118917" y="97404"/>
                  <a:pt x="117718" y="101600"/>
                </a:cubicBezTo>
                <a:cubicBezTo>
                  <a:pt x="116799" y="104818"/>
                  <a:pt x="114543" y="107778"/>
                  <a:pt x="114543" y="111125"/>
                </a:cubicBezTo>
                <a:cubicBezTo>
                  <a:pt x="114543" y="125979"/>
                  <a:pt x="116660" y="140758"/>
                  <a:pt x="117718" y="155575"/>
                </a:cubicBezTo>
                <a:cubicBezTo>
                  <a:pt x="135915" y="128279"/>
                  <a:pt x="126408" y="131680"/>
                  <a:pt x="133593" y="146050"/>
                </a:cubicBezTo>
                <a:cubicBezTo>
                  <a:pt x="135300" y="149463"/>
                  <a:pt x="137826" y="152400"/>
                  <a:pt x="139943" y="155575"/>
                </a:cubicBezTo>
                <a:cubicBezTo>
                  <a:pt x="138885" y="161925"/>
                  <a:pt x="138031" y="168312"/>
                  <a:pt x="136768" y="174625"/>
                </a:cubicBezTo>
                <a:cubicBezTo>
                  <a:pt x="135912" y="178904"/>
                  <a:pt x="134374" y="183032"/>
                  <a:pt x="133593" y="187325"/>
                </a:cubicBezTo>
                <a:cubicBezTo>
                  <a:pt x="132254" y="194688"/>
                  <a:pt x="131476" y="202142"/>
                  <a:pt x="130418" y="209550"/>
                </a:cubicBezTo>
                <a:cubicBezTo>
                  <a:pt x="124068" y="208492"/>
                  <a:pt x="117126" y="209254"/>
                  <a:pt x="111368" y="206375"/>
                </a:cubicBezTo>
                <a:cubicBezTo>
                  <a:pt x="88169" y="194775"/>
                  <a:pt x="119374" y="199847"/>
                  <a:pt x="101843" y="187325"/>
                </a:cubicBezTo>
                <a:cubicBezTo>
                  <a:pt x="96396" y="183434"/>
                  <a:pt x="89143" y="183092"/>
                  <a:pt x="82793" y="180975"/>
                </a:cubicBezTo>
                <a:lnTo>
                  <a:pt x="73268" y="177800"/>
                </a:lnTo>
                <a:cubicBezTo>
                  <a:pt x="78560" y="176742"/>
                  <a:pt x="83908" y="175934"/>
                  <a:pt x="89143" y="174625"/>
                </a:cubicBezTo>
                <a:cubicBezTo>
                  <a:pt x="92390" y="173813"/>
                  <a:pt x="97610" y="174625"/>
                  <a:pt x="98668" y="171450"/>
                </a:cubicBezTo>
                <a:cubicBezTo>
                  <a:pt x="102343" y="160424"/>
                  <a:pt x="93113" y="153991"/>
                  <a:pt x="89143" y="146050"/>
                </a:cubicBezTo>
                <a:cubicBezTo>
                  <a:pt x="87646" y="143057"/>
                  <a:pt x="87026" y="139700"/>
                  <a:pt x="85968" y="136525"/>
                </a:cubicBezTo>
                <a:cubicBezTo>
                  <a:pt x="84910" y="125942"/>
                  <a:pt x="85022" y="115175"/>
                  <a:pt x="82793" y="104775"/>
                </a:cubicBezTo>
                <a:cubicBezTo>
                  <a:pt x="81801" y="100147"/>
                  <a:pt x="78307" y="96425"/>
                  <a:pt x="76443" y="92075"/>
                </a:cubicBezTo>
                <a:cubicBezTo>
                  <a:pt x="75125" y="88999"/>
                  <a:pt x="74187" y="85768"/>
                  <a:pt x="73268" y="82550"/>
                </a:cubicBezTo>
                <a:cubicBezTo>
                  <a:pt x="70163" y="71684"/>
                  <a:pt x="69070" y="59302"/>
                  <a:pt x="60568" y="50800"/>
                </a:cubicBezTo>
                <a:cubicBezTo>
                  <a:pt x="52393" y="42625"/>
                  <a:pt x="46526" y="43547"/>
                  <a:pt x="35168" y="41275"/>
                </a:cubicBezTo>
                <a:cubicBezTo>
                  <a:pt x="27188" y="17334"/>
                  <a:pt x="38881" y="45916"/>
                  <a:pt x="22468" y="25400"/>
                </a:cubicBezTo>
                <a:cubicBezTo>
                  <a:pt x="20377" y="22787"/>
                  <a:pt x="21384" y="18488"/>
                  <a:pt x="19293" y="15875"/>
                </a:cubicBezTo>
                <a:cubicBezTo>
                  <a:pt x="16909" y="12895"/>
                  <a:pt x="13181" y="11232"/>
                  <a:pt x="9768" y="9525"/>
                </a:cubicBezTo>
                <a:cubicBezTo>
                  <a:pt x="6775" y="8028"/>
                  <a:pt x="2251" y="9027"/>
                  <a:pt x="243" y="6350"/>
                </a:cubicBezTo>
                <a:cubicBezTo>
                  <a:pt x="-1662" y="3810"/>
                  <a:pt x="8180" y="1058"/>
                  <a:pt x="9768"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1" name="Freeform 400">
            <a:extLst>
              <a:ext uri="{FF2B5EF4-FFF2-40B4-BE49-F238E27FC236}">
                <a16:creationId xmlns:a16="http://schemas.microsoft.com/office/drawing/2014/main" id="{C53E8AD0-2198-61D0-A42C-F44B85BD4D6E}"/>
              </a:ext>
            </a:extLst>
          </p:cNvPr>
          <p:cNvSpPr/>
          <p:nvPr/>
        </p:nvSpPr>
        <p:spPr bwMode="gray">
          <a:xfrm>
            <a:off x="1763714" y="4889500"/>
            <a:ext cx="182563" cy="590550"/>
          </a:xfrm>
          <a:custGeom>
            <a:avLst/>
            <a:gdLst>
              <a:gd name="connsiteX0" fmla="*/ 136525 w 182620"/>
              <a:gd name="connsiteY0" fmla="*/ 60440 h 590695"/>
              <a:gd name="connsiteX1" fmla="*/ 136525 w 182620"/>
              <a:gd name="connsiteY1" fmla="*/ 60440 h 590695"/>
              <a:gd name="connsiteX2" fmla="*/ 174625 w 182620"/>
              <a:gd name="connsiteY2" fmla="*/ 115 h 590695"/>
              <a:gd name="connsiteX3" fmla="*/ 165100 w 182620"/>
              <a:gd name="connsiteY3" fmla="*/ 63615 h 590695"/>
              <a:gd name="connsiteX4" fmla="*/ 161925 w 182620"/>
              <a:gd name="connsiteY4" fmla="*/ 82665 h 590695"/>
              <a:gd name="connsiteX5" fmla="*/ 158750 w 182620"/>
              <a:gd name="connsiteY5" fmla="*/ 92190 h 590695"/>
              <a:gd name="connsiteX6" fmla="*/ 152400 w 182620"/>
              <a:gd name="connsiteY6" fmla="*/ 127115 h 590695"/>
              <a:gd name="connsiteX7" fmla="*/ 149225 w 182620"/>
              <a:gd name="connsiteY7" fmla="*/ 165215 h 590695"/>
              <a:gd name="connsiteX8" fmla="*/ 130175 w 182620"/>
              <a:gd name="connsiteY8" fmla="*/ 187440 h 590695"/>
              <a:gd name="connsiteX9" fmla="*/ 114300 w 182620"/>
              <a:gd name="connsiteY9" fmla="*/ 206490 h 590695"/>
              <a:gd name="connsiteX10" fmla="*/ 107950 w 182620"/>
              <a:gd name="connsiteY10" fmla="*/ 216015 h 590695"/>
              <a:gd name="connsiteX11" fmla="*/ 95250 w 182620"/>
              <a:gd name="connsiteY11" fmla="*/ 228715 h 590695"/>
              <a:gd name="connsiteX12" fmla="*/ 88900 w 182620"/>
              <a:gd name="connsiteY12" fmla="*/ 238240 h 590695"/>
              <a:gd name="connsiteX13" fmla="*/ 82550 w 182620"/>
              <a:gd name="connsiteY13" fmla="*/ 257290 h 590695"/>
              <a:gd name="connsiteX14" fmla="*/ 85725 w 182620"/>
              <a:gd name="connsiteY14" fmla="*/ 269990 h 590695"/>
              <a:gd name="connsiteX15" fmla="*/ 92075 w 182620"/>
              <a:gd name="connsiteY15" fmla="*/ 295390 h 590695"/>
              <a:gd name="connsiteX16" fmla="*/ 98425 w 182620"/>
              <a:gd name="connsiteY16" fmla="*/ 311265 h 590695"/>
              <a:gd name="connsiteX17" fmla="*/ 111125 w 182620"/>
              <a:gd name="connsiteY17" fmla="*/ 330315 h 590695"/>
              <a:gd name="connsiteX18" fmla="*/ 120650 w 182620"/>
              <a:gd name="connsiteY18" fmla="*/ 339840 h 590695"/>
              <a:gd name="connsiteX19" fmla="*/ 133350 w 182620"/>
              <a:gd name="connsiteY19" fmla="*/ 358890 h 590695"/>
              <a:gd name="connsiteX20" fmla="*/ 127000 w 182620"/>
              <a:gd name="connsiteY20" fmla="*/ 368415 h 590695"/>
              <a:gd name="connsiteX21" fmla="*/ 114300 w 182620"/>
              <a:gd name="connsiteY21" fmla="*/ 396990 h 590695"/>
              <a:gd name="connsiteX22" fmla="*/ 107950 w 182620"/>
              <a:gd name="connsiteY22" fmla="*/ 419215 h 590695"/>
              <a:gd name="connsiteX23" fmla="*/ 95250 w 182620"/>
              <a:gd name="connsiteY23" fmla="*/ 441440 h 590695"/>
              <a:gd name="connsiteX24" fmla="*/ 92075 w 182620"/>
              <a:gd name="connsiteY24" fmla="*/ 454140 h 590695"/>
              <a:gd name="connsiteX25" fmla="*/ 88900 w 182620"/>
              <a:gd name="connsiteY25" fmla="*/ 495415 h 590695"/>
              <a:gd name="connsiteX26" fmla="*/ 82550 w 182620"/>
              <a:gd name="connsiteY26" fmla="*/ 517640 h 590695"/>
              <a:gd name="connsiteX27" fmla="*/ 85725 w 182620"/>
              <a:gd name="connsiteY27" fmla="*/ 555740 h 590695"/>
              <a:gd name="connsiteX28" fmla="*/ 95250 w 182620"/>
              <a:gd name="connsiteY28" fmla="*/ 558915 h 590695"/>
              <a:gd name="connsiteX29" fmla="*/ 98425 w 182620"/>
              <a:gd name="connsiteY29" fmla="*/ 568440 h 590695"/>
              <a:gd name="connsiteX30" fmla="*/ 95250 w 182620"/>
              <a:gd name="connsiteY30" fmla="*/ 587490 h 590695"/>
              <a:gd name="connsiteX31" fmla="*/ 69850 w 182620"/>
              <a:gd name="connsiteY31" fmla="*/ 587490 h 590695"/>
              <a:gd name="connsiteX32" fmla="*/ 60325 w 182620"/>
              <a:gd name="connsiteY32" fmla="*/ 577965 h 590695"/>
              <a:gd name="connsiteX33" fmla="*/ 50800 w 182620"/>
              <a:gd name="connsiteY33" fmla="*/ 571615 h 590695"/>
              <a:gd name="connsiteX34" fmla="*/ 41275 w 182620"/>
              <a:gd name="connsiteY34" fmla="*/ 539865 h 590695"/>
              <a:gd name="connsiteX35" fmla="*/ 38100 w 182620"/>
              <a:gd name="connsiteY35" fmla="*/ 530340 h 590695"/>
              <a:gd name="connsiteX36" fmla="*/ 28575 w 182620"/>
              <a:gd name="connsiteY36" fmla="*/ 520815 h 590695"/>
              <a:gd name="connsiteX37" fmla="*/ 25400 w 182620"/>
              <a:gd name="connsiteY37" fmla="*/ 511290 h 590695"/>
              <a:gd name="connsiteX38" fmla="*/ 6350 w 182620"/>
              <a:gd name="connsiteY38" fmla="*/ 492240 h 590695"/>
              <a:gd name="connsiteX39" fmla="*/ 0 w 182620"/>
              <a:gd name="connsiteY39" fmla="*/ 470015 h 590695"/>
              <a:gd name="connsiteX40" fmla="*/ 6350 w 182620"/>
              <a:gd name="connsiteY40" fmla="*/ 435090 h 590695"/>
              <a:gd name="connsiteX41" fmla="*/ 12700 w 182620"/>
              <a:gd name="connsiteY41" fmla="*/ 425565 h 590695"/>
              <a:gd name="connsiteX42" fmla="*/ 15875 w 182620"/>
              <a:gd name="connsiteY42" fmla="*/ 403340 h 590695"/>
              <a:gd name="connsiteX43" fmla="*/ 22225 w 182620"/>
              <a:gd name="connsiteY43" fmla="*/ 362065 h 590695"/>
              <a:gd name="connsiteX44" fmla="*/ 25400 w 182620"/>
              <a:gd name="connsiteY44" fmla="*/ 333490 h 590695"/>
              <a:gd name="connsiteX45" fmla="*/ 28575 w 182620"/>
              <a:gd name="connsiteY45" fmla="*/ 254115 h 590695"/>
              <a:gd name="connsiteX46" fmla="*/ 31750 w 182620"/>
              <a:gd name="connsiteY46" fmla="*/ 228715 h 590695"/>
              <a:gd name="connsiteX47" fmla="*/ 34925 w 182620"/>
              <a:gd name="connsiteY47" fmla="*/ 190615 h 590695"/>
              <a:gd name="connsiteX48" fmla="*/ 44450 w 182620"/>
              <a:gd name="connsiteY48" fmla="*/ 146165 h 590695"/>
              <a:gd name="connsiteX49" fmla="*/ 53975 w 182620"/>
              <a:gd name="connsiteY49" fmla="*/ 142990 h 590695"/>
              <a:gd name="connsiteX50" fmla="*/ 73025 w 182620"/>
              <a:gd name="connsiteY50" fmla="*/ 133465 h 590695"/>
              <a:gd name="connsiteX51" fmla="*/ 82550 w 182620"/>
              <a:gd name="connsiteY51" fmla="*/ 136640 h 590695"/>
              <a:gd name="connsiteX52" fmla="*/ 92075 w 182620"/>
              <a:gd name="connsiteY52" fmla="*/ 155690 h 590695"/>
              <a:gd name="connsiteX53" fmla="*/ 85725 w 182620"/>
              <a:gd name="connsiteY53" fmla="*/ 177915 h 590695"/>
              <a:gd name="connsiteX54" fmla="*/ 92075 w 182620"/>
              <a:gd name="connsiteY54" fmla="*/ 168390 h 590695"/>
              <a:gd name="connsiteX55" fmla="*/ 95250 w 182620"/>
              <a:gd name="connsiteY55" fmla="*/ 155690 h 590695"/>
              <a:gd name="connsiteX56" fmla="*/ 117475 w 182620"/>
              <a:gd name="connsiteY56" fmla="*/ 130290 h 590695"/>
              <a:gd name="connsiteX57" fmla="*/ 127000 w 182620"/>
              <a:gd name="connsiteY57" fmla="*/ 123940 h 590695"/>
              <a:gd name="connsiteX58" fmla="*/ 123825 w 182620"/>
              <a:gd name="connsiteY58" fmla="*/ 104890 h 590695"/>
              <a:gd name="connsiteX59" fmla="*/ 133350 w 182620"/>
              <a:gd name="connsiteY59" fmla="*/ 54090 h 590695"/>
              <a:gd name="connsiteX60" fmla="*/ 139700 w 182620"/>
              <a:gd name="connsiteY60" fmla="*/ 44565 h 590695"/>
              <a:gd name="connsiteX61" fmla="*/ 133350 w 182620"/>
              <a:gd name="connsiteY61" fmla="*/ 89015 h 590695"/>
              <a:gd name="connsiteX62" fmla="*/ 123825 w 182620"/>
              <a:gd name="connsiteY62" fmla="*/ 98540 h 590695"/>
              <a:gd name="connsiteX63" fmla="*/ 114300 w 182620"/>
              <a:gd name="connsiteY63" fmla="*/ 146165 h 590695"/>
              <a:gd name="connsiteX64" fmla="*/ 101600 w 182620"/>
              <a:gd name="connsiteY64" fmla="*/ 165215 h 590695"/>
              <a:gd name="connsiteX65" fmla="*/ 92075 w 182620"/>
              <a:gd name="connsiteY65" fmla="*/ 168390 h 590695"/>
              <a:gd name="connsiteX66" fmla="*/ 82550 w 182620"/>
              <a:gd name="connsiteY66" fmla="*/ 136640 h 590695"/>
              <a:gd name="connsiteX67" fmla="*/ 73025 w 182620"/>
              <a:gd name="connsiteY67" fmla="*/ 130290 h 590695"/>
              <a:gd name="connsiteX68" fmla="*/ 50800 w 182620"/>
              <a:gd name="connsiteY68" fmla="*/ 152515 h 590695"/>
              <a:gd name="connsiteX69" fmla="*/ 76200 w 182620"/>
              <a:gd name="connsiteY69" fmla="*/ 133465 h 590695"/>
              <a:gd name="connsiteX70" fmla="*/ 76200 w 182620"/>
              <a:gd name="connsiteY70" fmla="*/ 133465 h 59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620" h="590695">
                <a:moveTo>
                  <a:pt x="136525" y="60440"/>
                </a:moveTo>
                <a:lnTo>
                  <a:pt x="136525" y="60440"/>
                </a:lnTo>
                <a:cubicBezTo>
                  <a:pt x="149225" y="40332"/>
                  <a:pt x="150987" y="-2511"/>
                  <a:pt x="174625" y="115"/>
                </a:cubicBezTo>
                <a:cubicBezTo>
                  <a:pt x="195898" y="2479"/>
                  <a:pt x="168355" y="42460"/>
                  <a:pt x="165100" y="63615"/>
                </a:cubicBezTo>
                <a:cubicBezTo>
                  <a:pt x="164121" y="69978"/>
                  <a:pt x="163322" y="76381"/>
                  <a:pt x="161925" y="82665"/>
                </a:cubicBezTo>
                <a:cubicBezTo>
                  <a:pt x="161199" y="85932"/>
                  <a:pt x="159562" y="88943"/>
                  <a:pt x="158750" y="92190"/>
                </a:cubicBezTo>
                <a:cubicBezTo>
                  <a:pt x="157243" y="98218"/>
                  <a:pt x="152966" y="122020"/>
                  <a:pt x="152400" y="127115"/>
                </a:cubicBezTo>
                <a:cubicBezTo>
                  <a:pt x="150993" y="139781"/>
                  <a:pt x="152316" y="152851"/>
                  <a:pt x="149225" y="165215"/>
                </a:cubicBezTo>
                <a:cubicBezTo>
                  <a:pt x="147867" y="170646"/>
                  <a:pt x="134226" y="183389"/>
                  <a:pt x="130175" y="187440"/>
                </a:cubicBezTo>
                <a:cubicBezTo>
                  <a:pt x="124111" y="205632"/>
                  <a:pt x="131600" y="189190"/>
                  <a:pt x="114300" y="206490"/>
                </a:cubicBezTo>
                <a:cubicBezTo>
                  <a:pt x="111602" y="209188"/>
                  <a:pt x="110433" y="213118"/>
                  <a:pt x="107950" y="216015"/>
                </a:cubicBezTo>
                <a:cubicBezTo>
                  <a:pt x="104054" y="220561"/>
                  <a:pt x="99146" y="224169"/>
                  <a:pt x="95250" y="228715"/>
                </a:cubicBezTo>
                <a:cubicBezTo>
                  <a:pt x="92767" y="231612"/>
                  <a:pt x="90450" y="234753"/>
                  <a:pt x="88900" y="238240"/>
                </a:cubicBezTo>
                <a:cubicBezTo>
                  <a:pt x="86182" y="244357"/>
                  <a:pt x="82550" y="257290"/>
                  <a:pt x="82550" y="257290"/>
                </a:cubicBezTo>
                <a:cubicBezTo>
                  <a:pt x="83608" y="261523"/>
                  <a:pt x="84778" y="265730"/>
                  <a:pt x="85725" y="269990"/>
                </a:cubicBezTo>
                <a:cubicBezTo>
                  <a:pt x="89170" y="285493"/>
                  <a:pt x="87433" y="283011"/>
                  <a:pt x="92075" y="295390"/>
                </a:cubicBezTo>
                <a:cubicBezTo>
                  <a:pt x="94076" y="300726"/>
                  <a:pt x="95696" y="306262"/>
                  <a:pt x="98425" y="311265"/>
                </a:cubicBezTo>
                <a:cubicBezTo>
                  <a:pt x="102079" y="317965"/>
                  <a:pt x="105729" y="324919"/>
                  <a:pt x="111125" y="330315"/>
                </a:cubicBezTo>
                <a:cubicBezTo>
                  <a:pt x="114300" y="333490"/>
                  <a:pt x="117893" y="336296"/>
                  <a:pt x="120650" y="339840"/>
                </a:cubicBezTo>
                <a:cubicBezTo>
                  <a:pt x="125335" y="345864"/>
                  <a:pt x="133350" y="358890"/>
                  <a:pt x="133350" y="358890"/>
                </a:cubicBezTo>
                <a:cubicBezTo>
                  <a:pt x="131233" y="362065"/>
                  <a:pt x="128550" y="364928"/>
                  <a:pt x="127000" y="368415"/>
                </a:cubicBezTo>
                <a:cubicBezTo>
                  <a:pt x="111887" y="402420"/>
                  <a:pt x="128671" y="375434"/>
                  <a:pt x="114300" y="396990"/>
                </a:cubicBezTo>
                <a:cubicBezTo>
                  <a:pt x="113283" y="401059"/>
                  <a:pt x="110227" y="414660"/>
                  <a:pt x="107950" y="419215"/>
                </a:cubicBezTo>
                <a:cubicBezTo>
                  <a:pt x="98738" y="437638"/>
                  <a:pt x="103599" y="419175"/>
                  <a:pt x="95250" y="441440"/>
                </a:cubicBezTo>
                <a:cubicBezTo>
                  <a:pt x="93718" y="445526"/>
                  <a:pt x="93133" y="449907"/>
                  <a:pt x="92075" y="454140"/>
                </a:cubicBezTo>
                <a:cubicBezTo>
                  <a:pt x="91017" y="467898"/>
                  <a:pt x="90512" y="481711"/>
                  <a:pt x="88900" y="495415"/>
                </a:cubicBezTo>
                <a:cubicBezTo>
                  <a:pt x="88175" y="501576"/>
                  <a:pt x="84603" y="511480"/>
                  <a:pt x="82550" y="517640"/>
                </a:cubicBezTo>
                <a:cubicBezTo>
                  <a:pt x="83608" y="530340"/>
                  <a:pt x="81977" y="543560"/>
                  <a:pt x="85725" y="555740"/>
                </a:cubicBezTo>
                <a:cubicBezTo>
                  <a:pt x="86709" y="558939"/>
                  <a:pt x="92883" y="556548"/>
                  <a:pt x="95250" y="558915"/>
                </a:cubicBezTo>
                <a:cubicBezTo>
                  <a:pt x="97617" y="561282"/>
                  <a:pt x="97367" y="565265"/>
                  <a:pt x="98425" y="568440"/>
                </a:cubicBezTo>
                <a:cubicBezTo>
                  <a:pt x="97367" y="574790"/>
                  <a:pt x="98444" y="581901"/>
                  <a:pt x="95250" y="587490"/>
                </a:cubicBezTo>
                <a:cubicBezTo>
                  <a:pt x="91245" y="594499"/>
                  <a:pt x="71852" y="587890"/>
                  <a:pt x="69850" y="587490"/>
                </a:cubicBezTo>
                <a:cubicBezTo>
                  <a:pt x="66675" y="584315"/>
                  <a:pt x="63774" y="580840"/>
                  <a:pt x="60325" y="577965"/>
                </a:cubicBezTo>
                <a:cubicBezTo>
                  <a:pt x="57394" y="575522"/>
                  <a:pt x="52822" y="574851"/>
                  <a:pt x="50800" y="571615"/>
                </a:cubicBezTo>
                <a:cubicBezTo>
                  <a:pt x="46829" y="565261"/>
                  <a:pt x="43623" y="548083"/>
                  <a:pt x="41275" y="539865"/>
                </a:cubicBezTo>
                <a:cubicBezTo>
                  <a:pt x="40356" y="536647"/>
                  <a:pt x="39956" y="533125"/>
                  <a:pt x="38100" y="530340"/>
                </a:cubicBezTo>
                <a:cubicBezTo>
                  <a:pt x="35609" y="526604"/>
                  <a:pt x="31750" y="523990"/>
                  <a:pt x="28575" y="520815"/>
                </a:cubicBezTo>
                <a:cubicBezTo>
                  <a:pt x="27517" y="517640"/>
                  <a:pt x="27455" y="513932"/>
                  <a:pt x="25400" y="511290"/>
                </a:cubicBezTo>
                <a:cubicBezTo>
                  <a:pt x="19887" y="504201"/>
                  <a:pt x="6350" y="492240"/>
                  <a:pt x="6350" y="492240"/>
                </a:cubicBezTo>
                <a:cubicBezTo>
                  <a:pt x="4853" y="487748"/>
                  <a:pt x="0" y="474002"/>
                  <a:pt x="0" y="470015"/>
                </a:cubicBezTo>
                <a:cubicBezTo>
                  <a:pt x="0" y="466582"/>
                  <a:pt x="3571" y="441574"/>
                  <a:pt x="6350" y="435090"/>
                </a:cubicBezTo>
                <a:cubicBezTo>
                  <a:pt x="7853" y="431583"/>
                  <a:pt x="10583" y="428740"/>
                  <a:pt x="12700" y="425565"/>
                </a:cubicBezTo>
                <a:cubicBezTo>
                  <a:pt x="13758" y="418157"/>
                  <a:pt x="14737" y="410737"/>
                  <a:pt x="15875" y="403340"/>
                </a:cubicBezTo>
                <a:cubicBezTo>
                  <a:pt x="19406" y="380390"/>
                  <a:pt x="19156" y="386616"/>
                  <a:pt x="22225" y="362065"/>
                </a:cubicBezTo>
                <a:cubicBezTo>
                  <a:pt x="23414" y="352555"/>
                  <a:pt x="24342" y="343015"/>
                  <a:pt x="25400" y="333490"/>
                </a:cubicBezTo>
                <a:cubicBezTo>
                  <a:pt x="26458" y="307032"/>
                  <a:pt x="26973" y="280546"/>
                  <a:pt x="28575" y="254115"/>
                </a:cubicBezTo>
                <a:cubicBezTo>
                  <a:pt x="29091" y="245598"/>
                  <a:pt x="30901" y="237205"/>
                  <a:pt x="31750" y="228715"/>
                </a:cubicBezTo>
                <a:cubicBezTo>
                  <a:pt x="33018" y="216034"/>
                  <a:pt x="33518" y="203281"/>
                  <a:pt x="34925" y="190615"/>
                </a:cubicBezTo>
                <a:cubicBezTo>
                  <a:pt x="35470" y="185709"/>
                  <a:pt x="42049" y="146965"/>
                  <a:pt x="44450" y="146165"/>
                </a:cubicBezTo>
                <a:cubicBezTo>
                  <a:pt x="47625" y="145107"/>
                  <a:pt x="50982" y="144487"/>
                  <a:pt x="53975" y="142990"/>
                </a:cubicBezTo>
                <a:cubicBezTo>
                  <a:pt x="78594" y="130680"/>
                  <a:pt x="49084" y="141445"/>
                  <a:pt x="73025" y="133465"/>
                </a:cubicBezTo>
                <a:cubicBezTo>
                  <a:pt x="76200" y="134523"/>
                  <a:pt x="79937" y="134549"/>
                  <a:pt x="82550" y="136640"/>
                </a:cubicBezTo>
                <a:cubicBezTo>
                  <a:pt x="88145" y="141116"/>
                  <a:pt x="89983" y="149415"/>
                  <a:pt x="92075" y="155690"/>
                </a:cubicBezTo>
                <a:cubicBezTo>
                  <a:pt x="91342" y="157888"/>
                  <a:pt x="84728" y="176918"/>
                  <a:pt x="85725" y="177915"/>
                </a:cubicBezTo>
                <a:cubicBezTo>
                  <a:pt x="88423" y="180613"/>
                  <a:pt x="89958" y="171565"/>
                  <a:pt x="92075" y="168390"/>
                </a:cubicBezTo>
                <a:cubicBezTo>
                  <a:pt x="93133" y="164157"/>
                  <a:pt x="93131" y="159504"/>
                  <a:pt x="95250" y="155690"/>
                </a:cubicBezTo>
                <a:cubicBezTo>
                  <a:pt x="98208" y="150366"/>
                  <a:pt x="111472" y="135293"/>
                  <a:pt x="117475" y="130290"/>
                </a:cubicBezTo>
                <a:cubicBezTo>
                  <a:pt x="120406" y="127847"/>
                  <a:pt x="123825" y="126057"/>
                  <a:pt x="127000" y="123940"/>
                </a:cubicBezTo>
                <a:cubicBezTo>
                  <a:pt x="125942" y="117590"/>
                  <a:pt x="123825" y="111328"/>
                  <a:pt x="123825" y="104890"/>
                </a:cubicBezTo>
                <a:cubicBezTo>
                  <a:pt x="123825" y="95394"/>
                  <a:pt x="126054" y="65034"/>
                  <a:pt x="133350" y="54090"/>
                </a:cubicBezTo>
                <a:lnTo>
                  <a:pt x="139700" y="44565"/>
                </a:lnTo>
                <a:cubicBezTo>
                  <a:pt x="139684" y="44697"/>
                  <a:pt x="134942" y="85432"/>
                  <a:pt x="133350" y="89015"/>
                </a:cubicBezTo>
                <a:cubicBezTo>
                  <a:pt x="131526" y="93118"/>
                  <a:pt x="127000" y="95365"/>
                  <a:pt x="123825" y="98540"/>
                </a:cubicBezTo>
                <a:cubicBezTo>
                  <a:pt x="121243" y="126945"/>
                  <a:pt x="125464" y="127558"/>
                  <a:pt x="114300" y="146165"/>
                </a:cubicBezTo>
                <a:cubicBezTo>
                  <a:pt x="110373" y="152709"/>
                  <a:pt x="108840" y="162802"/>
                  <a:pt x="101600" y="165215"/>
                </a:cubicBezTo>
                <a:lnTo>
                  <a:pt x="92075" y="168390"/>
                </a:lnTo>
                <a:cubicBezTo>
                  <a:pt x="90804" y="163306"/>
                  <a:pt x="84869" y="138186"/>
                  <a:pt x="82550" y="136640"/>
                </a:cubicBezTo>
                <a:lnTo>
                  <a:pt x="73025" y="130290"/>
                </a:lnTo>
                <a:cubicBezTo>
                  <a:pt x="59851" y="134681"/>
                  <a:pt x="48154" y="148811"/>
                  <a:pt x="50800" y="152515"/>
                </a:cubicBezTo>
                <a:lnTo>
                  <a:pt x="76200" y="133465"/>
                </a:lnTo>
                <a:lnTo>
                  <a:pt x="76200" y="133465"/>
                </a:lnTo>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2" name="Freeform 401">
            <a:extLst>
              <a:ext uri="{FF2B5EF4-FFF2-40B4-BE49-F238E27FC236}">
                <a16:creationId xmlns:a16="http://schemas.microsoft.com/office/drawing/2014/main" id="{B87E2F1D-E92C-C5CB-6D96-769E680F701F}"/>
              </a:ext>
            </a:extLst>
          </p:cNvPr>
          <p:cNvSpPr/>
          <p:nvPr/>
        </p:nvSpPr>
        <p:spPr bwMode="gray">
          <a:xfrm>
            <a:off x="1781175" y="5018088"/>
            <a:ext cx="117475" cy="393700"/>
          </a:xfrm>
          <a:custGeom>
            <a:avLst/>
            <a:gdLst>
              <a:gd name="connsiteX0" fmla="*/ 47625 w 117475"/>
              <a:gd name="connsiteY0" fmla="*/ 57150 h 394315"/>
              <a:gd name="connsiteX1" fmla="*/ 47625 w 117475"/>
              <a:gd name="connsiteY1" fmla="*/ 57150 h 394315"/>
              <a:gd name="connsiteX2" fmla="*/ 63500 w 117475"/>
              <a:gd name="connsiteY2" fmla="*/ 120650 h 394315"/>
              <a:gd name="connsiteX3" fmla="*/ 73025 w 117475"/>
              <a:gd name="connsiteY3" fmla="*/ 133350 h 394315"/>
              <a:gd name="connsiteX4" fmla="*/ 117475 w 117475"/>
              <a:gd name="connsiteY4" fmla="*/ 228600 h 394315"/>
              <a:gd name="connsiteX5" fmla="*/ 114300 w 117475"/>
              <a:gd name="connsiteY5" fmla="*/ 257175 h 394315"/>
              <a:gd name="connsiteX6" fmla="*/ 104775 w 117475"/>
              <a:gd name="connsiteY6" fmla="*/ 263525 h 394315"/>
              <a:gd name="connsiteX7" fmla="*/ 98425 w 117475"/>
              <a:gd name="connsiteY7" fmla="*/ 273050 h 394315"/>
              <a:gd name="connsiteX8" fmla="*/ 88900 w 117475"/>
              <a:gd name="connsiteY8" fmla="*/ 282575 h 394315"/>
              <a:gd name="connsiteX9" fmla="*/ 79375 w 117475"/>
              <a:gd name="connsiteY9" fmla="*/ 301625 h 394315"/>
              <a:gd name="connsiteX10" fmla="*/ 79375 w 117475"/>
              <a:gd name="connsiteY10" fmla="*/ 390525 h 394315"/>
              <a:gd name="connsiteX11" fmla="*/ 57150 w 117475"/>
              <a:gd name="connsiteY11" fmla="*/ 393700 h 394315"/>
              <a:gd name="connsiteX12" fmla="*/ 50800 w 117475"/>
              <a:gd name="connsiteY12" fmla="*/ 384175 h 394315"/>
              <a:gd name="connsiteX13" fmla="*/ 47625 w 117475"/>
              <a:gd name="connsiteY13" fmla="*/ 374650 h 394315"/>
              <a:gd name="connsiteX14" fmla="*/ 38100 w 117475"/>
              <a:gd name="connsiteY14" fmla="*/ 361950 h 394315"/>
              <a:gd name="connsiteX15" fmla="*/ 31750 w 117475"/>
              <a:gd name="connsiteY15" fmla="*/ 342900 h 394315"/>
              <a:gd name="connsiteX16" fmla="*/ 22225 w 117475"/>
              <a:gd name="connsiteY16" fmla="*/ 323850 h 394315"/>
              <a:gd name="connsiteX17" fmla="*/ 12700 w 117475"/>
              <a:gd name="connsiteY17" fmla="*/ 327025 h 394315"/>
              <a:gd name="connsiteX18" fmla="*/ 0 w 117475"/>
              <a:gd name="connsiteY18" fmla="*/ 330200 h 394315"/>
              <a:gd name="connsiteX19" fmla="*/ 3175 w 117475"/>
              <a:gd name="connsiteY19" fmla="*/ 285750 h 394315"/>
              <a:gd name="connsiteX20" fmla="*/ 9525 w 117475"/>
              <a:gd name="connsiteY20" fmla="*/ 260350 h 394315"/>
              <a:gd name="connsiteX21" fmla="*/ 22225 w 117475"/>
              <a:gd name="connsiteY21" fmla="*/ 219075 h 394315"/>
              <a:gd name="connsiteX22" fmla="*/ 25400 w 117475"/>
              <a:gd name="connsiteY22" fmla="*/ 209550 h 394315"/>
              <a:gd name="connsiteX23" fmla="*/ 31750 w 117475"/>
              <a:gd name="connsiteY23" fmla="*/ 200025 h 394315"/>
              <a:gd name="connsiteX24" fmla="*/ 31750 w 117475"/>
              <a:gd name="connsiteY24" fmla="*/ 41275 h 394315"/>
              <a:gd name="connsiteX25" fmla="*/ 44450 w 117475"/>
              <a:gd name="connsiteY25" fmla="*/ 28575 h 394315"/>
              <a:gd name="connsiteX26" fmla="*/ 53975 w 117475"/>
              <a:gd name="connsiteY26" fmla="*/ 19050 h 394315"/>
              <a:gd name="connsiteX27" fmla="*/ 73025 w 117475"/>
              <a:gd name="connsiteY27" fmla="*/ 12700 h 394315"/>
              <a:gd name="connsiteX28" fmla="*/ 76200 w 117475"/>
              <a:gd name="connsiteY28" fmla="*/ 0 h 394315"/>
              <a:gd name="connsiteX29" fmla="*/ 47625 w 117475"/>
              <a:gd name="connsiteY29" fmla="*/ 57150 h 39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7475" h="394315">
                <a:moveTo>
                  <a:pt x="47625" y="57150"/>
                </a:moveTo>
                <a:lnTo>
                  <a:pt x="47625" y="57150"/>
                </a:lnTo>
                <a:cubicBezTo>
                  <a:pt x="52917" y="78317"/>
                  <a:pt x="56601" y="99952"/>
                  <a:pt x="63500" y="120650"/>
                </a:cubicBezTo>
                <a:cubicBezTo>
                  <a:pt x="65173" y="125670"/>
                  <a:pt x="70598" y="128648"/>
                  <a:pt x="73025" y="133350"/>
                </a:cubicBezTo>
                <a:cubicBezTo>
                  <a:pt x="110145" y="205270"/>
                  <a:pt x="104863" y="190763"/>
                  <a:pt x="117475" y="228600"/>
                </a:cubicBezTo>
                <a:cubicBezTo>
                  <a:pt x="116417" y="238125"/>
                  <a:pt x="117575" y="248168"/>
                  <a:pt x="114300" y="257175"/>
                </a:cubicBezTo>
                <a:cubicBezTo>
                  <a:pt x="112996" y="260761"/>
                  <a:pt x="107473" y="260827"/>
                  <a:pt x="104775" y="263525"/>
                </a:cubicBezTo>
                <a:cubicBezTo>
                  <a:pt x="102077" y="266223"/>
                  <a:pt x="100868" y="270119"/>
                  <a:pt x="98425" y="273050"/>
                </a:cubicBezTo>
                <a:cubicBezTo>
                  <a:pt x="95550" y="276499"/>
                  <a:pt x="91775" y="279126"/>
                  <a:pt x="88900" y="282575"/>
                </a:cubicBezTo>
                <a:cubicBezTo>
                  <a:pt x="82061" y="290781"/>
                  <a:pt x="82557" y="292079"/>
                  <a:pt x="79375" y="301625"/>
                </a:cubicBezTo>
                <a:cubicBezTo>
                  <a:pt x="81394" y="323830"/>
                  <a:pt x="87535" y="372165"/>
                  <a:pt x="79375" y="390525"/>
                </a:cubicBezTo>
                <a:cubicBezTo>
                  <a:pt x="76336" y="397364"/>
                  <a:pt x="64558" y="392642"/>
                  <a:pt x="57150" y="393700"/>
                </a:cubicBezTo>
                <a:cubicBezTo>
                  <a:pt x="55033" y="390525"/>
                  <a:pt x="52507" y="387588"/>
                  <a:pt x="50800" y="384175"/>
                </a:cubicBezTo>
                <a:cubicBezTo>
                  <a:pt x="49303" y="381182"/>
                  <a:pt x="49285" y="377556"/>
                  <a:pt x="47625" y="374650"/>
                </a:cubicBezTo>
                <a:cubicBezTo>
                  <a:pt x="45000" y="370056"/>
                  <a:pt x="41275" y="366183"/>
                  <a:pt x="38100" y="361950"/>
                </a:cubicBezTo>
                <a:cubicBezTo>
                  <a:pt x="35983" y="355600"/>
                  <a:pt x="35463" y="348469"/>
                  <a:pt x="31750" y="342900"/>
                </a:cubicBezTo>
                <a:cubicBezTo>
                  <a:pt x="23544" y="330590"/>
                  <a:pt x="26607" y="336995"/>
                  <a:pt x="22225" y="323850"/>
                </a:cubicBezTo>
                <a:cubicBezTo>
                  <a:pt x="19050" y="324908"/>
                  <a:pt x="15067" y="324658"/>
                  <a:pt x="12700" y="327025"/>
                </a:cubicBezTo>
                <a:cubicBezTo>
                  <a:pt x="3060" y="336665"/>
                  <a:pt x="18305" y="342403"/>
                  <a:pt x="0" y="330200"/>
                </a:cubicBezTo>
                <a:cubicBezTo>
                  <a:pt x="1058" y="315383"/>
                  <a:pt x="1168" y="300468"/>
                  <a:pt x="3175" y="285750"/>
                </a:cubicBezTo>
                <a:cubicBezTo>
                  <a:pt x="4354" y="277103"/>
                  <a:pt x="7408" y="268817"/>
                  <a:pt x="9525" y="260350"/>
                </a:cubicBezTo>
                <a:cubicBezTo>
                  <a:pt x="15135" y="237910"/>
                  <a:pt x="11320" y="251790"/>
                  <a:pt x="22225" y="219075"/>
                </a:cubicBezTo>
                <a:cubicBezTo>
                  <a:pt x="23283" y="215900"/>
                  <a:pt x="23544" y="212335"/>
                  <a:pt x="25400" y="209550"/>
                </a:cubicBezTo>
                <a:lnTo>
                  <a:pt x="31750" y="200025"/>
                </a:lnTo>
                <a:cubicBezTo>
                  <a:pt x="29331" y="127448"/>
                  <a:pt x="26013" y="107246"/>
                  <a:pt x="31750" y="41275"/>
                </a:cubicBezTo>
                <a:cubicBezTo>
                  <a:pt x="32761" y="29649"/>
                  <a:pt x="34972" y="31734"/>
                  <a:pt x="44450" y="28575"/>
                </a:cubicBezTo>
                <a:cubicBezTo>
                  <a:pt x="47625" y="25400"/>
                  <a:pt x="50050" y="21231"/>
                  <a:pt x="53975" y="19050"/>
                </a:cubicBezTo>
                <a:cubicBezTo>
                  <a:pt x="59826" y="15799"/>
                  <a:pt x="73025" y="12700"/>
                  <a:pt x="73025" y="12700"/>
                </a:cubicBezTo>
                <a:cubicBezTo>
                  <a:pt x="76535" y="2171"/>
                  <a:pt x="76200" y="6522"/>
                  <a:pt x="76200" y="0"/>
                </a:cubicBezTo>
                <a:lnTo>
                  <a:pt x="47625" y="57150"/>
                </a:ln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3" name="Rectangle 402">
            <a:extLst>
              <a:ext uri="{FF2B5EF4-FFF2-40B4-BE49-F238E27FC236}">
                <a16:creationId xmlns:a16="http://schemas.microsoft.com/office/drawing/2014/main" id="{B453DD20-5B14-4319-C9B7-EDE6E4428E88}"/>
              </a:ext>
            </a:extLst>
          </p:cNvPr>
          <p:cNvSpPr/>
          <p:nvPr/>
        </p:nvSpPr>
        <p:spPr bwMode="gray">
          <a:xfrm>
            <a:off x="425809" y="4722381"/>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4" name="Rectangle 403">
            <a:extLst>
              <a:ext uri="{FF2B5EF4-FFF2-40B4-BE49-F238E27FC236}">
                <a16:creationId xmlns:a16="http://schemas.microsoft.com/office/drawing/2014/main" id="{0F4D67B9-CE5E-AA87-4436-96BAEF9506A6}"/>
              </a:ext>
            </a:extLst>
          </p:cNvPr>
          <p:cNvSpPr/>
          <p:nvPr/>
        </p:nvSpPr>
        <p:spPr bwMode="gray">
          <a:xfrm>
            <a:off x="600435" y="4717618"/>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5-7.5 km</a:t>
            </a:r>
          </a:p>
        </p:txBody>
      </p:sp>
      <p:sp>
        <p:nvSpPr>
          <p:cNvPr id="405" name="Rectangle 404">
            <a:extLst>
              <a:ext uri="{FF2B5EF4-FFF2-40B4-BE49-F238E27FC236}">
                <a16:creationId xmlns:a16="http://schemas.microsoft.com/office/drawing/2014/main" id="{EDC4E447-8EFF-F4F7-26A3-9D9578C49020}"/>
              </a:ext>
            </a:extLst>
          </p:cNvPr>
          <p:cNvSpPr/>
          <p:nvPr/>
        </p:nvSpPr>
        <p:spPr bwMode="gray">
          <a:xfrm>
            <a:off x="425809" y="4847793"/>
            <a:ext cx="139700" cy="79375"/>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6" name="Rectangle 405">
            <a:extLst>
              <a:ext uri="{FF2B5EF4-FFF2-40B4-BE49-F238E27FC236}">
                <a16:creationId xmlns:a16="http://schemas.microsoft.com/office/drawing/2014/main" id="{2DC50EAF-763E-BEF3-C36B-2177B9F2B643}"/>
              </a:ext>
            </a:extLst>
          </p:cNvPr>
          <p:cNvSpPr/>
          <p:nvPr/>
        </p:nvSpPr>
        <p:spPr bwMode="gray">
          <a:xfrm>
            <a:off x="600435" y="4843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7.5-10 km</a:t>
            </a:r>
          </a:p>
        </p:txBody>
      </p:sp>
      <p:sp>
        <p:nvSpPr>
          <p:cNvPr id="407" name="Rectangle 406">
            <a:extLst>
              <a:ext uri="{FF2B5EF4-FFF2-40B4-BE49-F238E27FC236}">
                <a16:creationId xmlns:a16="http://schemas.microsoft.com/office/drawing/2014/main" id="{E9AF8A4B-4CFD-0D21-F4D0-AEEC80F60928}"/>
              </a:ext>
            </a:extLst>
          </p:cNvPr>
          <p:cNvSpPr/>
          <p:nvPr/>
        </p:nvSpPr>
        <p:spPr bwMode="gray">
          <a:xfrm>
            <a:off x="425809" y="4974793"/>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8" name="Rectangle 407">
            <a:extLst>
              <a:ext uri="{FF2B5EF4-FFF2-40B4-BE49-F238E27FC236}">
                <a16:creationId xmlns:a16="http://schemas.microsoft.com/office/drawing/2014/main" id="{935E7265-FD7B-A0A6-7CD8-6F101C6967CC}"/>
              </a:ext>
            </a:extLst>
          </p:cNvPr>
          <p:cNvSpPr/>
          <p:nvPr/>
        </p:nvSpPr>
        <p:spPr bwMode="gray">
          <a:xfrm>
            <a:off x="600435" y="4970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0-12.5 km</a:t>
            </a:r>
          </a:p>
        </p:txBody>
      </p:sp>
      <p:sp>
        <p:nvSpPr>
          <p:cNvPr id="409" name="Rectangle 408">
            <a:extLst>
              <a:ext uri="{FF2B5EF4-FFF2-40B4-BE49-F238E27FC236}">
                <a16:creationId xmlns:a16="http://schemas.microsoft.com/office/drawing/2014/main" id="{BE313790-FBFA-E565-2684-C63654641792}"/>
              </a:ext>
            </a:extLst>
          </p:cNvPr>
          <p:cNvSpPr/>
          <p:nvPr/>
        </p:nvSpPr>
        <p:spPr bwMode="gray">
          <a:xfrm>
            <a:off x="425809" y="5104968"/>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Rectangle 409">
            <a:extLst>
              <a:ext uri="{FF2B5EF4-FFF2-40B4-BE49-F238E27FC236}">
                <a16:creationId xmlns:a16="http://schemas.microsoft.com/office/drawing/2014/main" id="{74094F21-A2F2-B62E-C69A-226A1F7F5100}"/>
              </a:ext>
            </a:extLst>
          </p:cNvPr>
          <p:cNvSpPr/>
          <p:nvPr/>
        </p:nvSpPr>
        <p:spPr bwMode="gray">
          <a:xfrm>
            <a:off x="600435" y="5100206"/>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2.5+ km</a:t>
            </a:r>
          </a:p>
        </p:txBody>
      </p:sp>
      <p:sp>
        <p:nvSpPr>
          <p:cNvPr id="411" name="Rectangle 410">
            <a:extLst>
              <a:ext uri="{FF2B5EF4-FFF2-40B4-BE49-F238E27FC236}">
                <a16:creationId xmlns:a16="http://schemas.microsoft.com/office/drawing/2014/main" id="{474343A0-51E2-B12F-3C09-759EF6FE47CA}"/>
              </a:ext>
            </a:extLst>
          </p:cNvPr>
          <p:cNvSpPr/>
          <p:nvPr/>
        </p:nvSpPr>
        <p:spPr bwMode="gray">
          <a:xfrm>
            <a:off x="408348" y="5193868"/>
            <a:ext cx="720725" cy="252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rgbClr val="000000"/>
                </a:solidFill>
                <a:effectLst/>
                <a:uLnTx/>
                <a:uFillTx/>
                <a:latin typeface="Arial"/>
                <a:ea typeface="+mn-ea"/>
                <a:cs typeface="+mn-cs"/>
              </a:rPr>
              <a:t>Estimate</a:t>
            </a:r>
          </a:p>
        </p:txBody>
      </p:sp>
      <p:sp>
        <p:nvSpPr>
          <p:cNvPr id="412" name="Freeform 411">
            <a:extLst>
              <a:ext uri="{FF2B5EF4-FFF2-40B4-BE49-F238E27FC236}">
                <a16:creationId xmlns:a16="http://schemas.microsoft.com/office/drawing/2014/main" id="{C496E387-360E-D2A1-1ECD-EDF95DD13FF3}"/>
              </a:ext>
            </a:extLst>
          </p:cNvPr>
          <p:cNvSpPr/>
          <p:nvPr/>
        </p:nvSpPr>
        <p:spPr bwMode="gray">
          <a:xfrm>
            <a:off x="2913063" y="4017963"/>
            <a:ext cx="638175" cy="422275"/>
          </a:xfrm>
          <a:custGeom>
            <a:avLst/>
            <a:gdLst>
              <a:gd name="connsiteX0" fmla="*/ 26229 w 637072"/>
              <a:gd name="connsiteY0" fmla="*/ 352425 h 422275"/>
              <a:gd name="connsiteX1" fmla="*/ 26229 w 637072"/>
              <a:gd name="connsiteY1" fmla="*/ 352425 h 422275"/>
              <a:gd name="connsiteX2" fmla="*/ 829 w 637072"/>
              <a:gd name="connsiteY2" fmla="*/ 368300 h 422275"/>
              <a:gd name="connsiteX3" fmla="*/ 16704 w 637072"/>
              <a:gd name="connsiteY3" fmla="*/ 307975 h 422275"/>
              <a:gd name="connsiteX4" fmla="*/ 23054 w 637072"/>
              <a:gd name="connsiteY4" fmla="*/ 298450 h 422275"/>
              <a:gd name="connsiteX5" fmla="*/ 32579 w 637072"/>
              <a:gd name="connsiteY5" fmla="*/ 292100 h 422275"/>
              <a:gd name="connsiteX6" fmla="*/ 42104 w 637072"/>
              <a:gd name="connsiteY6" fmla="*/ 273050 h 422275"/>
              <a:gd name="connsiteX7" fmla="*/ 51629 w 637072"/>
              <a:gd name="connsiteY7" fmla="*/ 266700 h 422275"/>
              <a:gd name="connsiteX8" fmla="*/ 61154 w 637072"/>
              <a:gd name="connsiteY8" fmla="*/ 263525 h 422275"/>
              <a:gd name="connsiteX9" fmla="*/ 80204 w 637072"/>
              <a:gd name="connsiteY9" fmla="*/ 250825 h 422275"/>
              <a:gd name="connsiteX10" fmla="*/ 80204 w 637072"/>
              <a:gd name="connsiteY10" fmla="*/ 231775 h 422275"/>
              <a:gd name="connsiteX11" fmla="*/ 61154 w 637072"/>
              <a:gd name="connsiteY11" fmla="*/ 225425 h 422275"/>
              <a:gd name="connsiteX12" fmla="*/ 51629 w 637072"/>
              <a:gd name="connsiteY12" fmla="*/ 215900 h 422275"/>
              <a:gd name="connsiteX13" fmla="*/ 38929 w 637072"/>
              <a:gd name="connsiteY13" fmla="*/ 196850 h 422275"/>
              <a:gd name="connsiteX14" fmla="*/ 26229 w 637072"/>
              <a:gd name="connsiteY14" fmla="*/ 177800 h 422275"/>
              <a:gd name="connsiteX15" fmla="*/ 19879 w 637072"/>
              <a:gd name="connsiteY15" fmla="*/ 168275 h 422275"/>
              <a:gd name="connsiteX16" fmla="*/ 13529 w 637072"/>
              <a:gd name="connsiteY16" fmla="*/ 158750 h 422275"/>
              <a:gd name="connsiteX17" fmla="*/ 16704 w 637072"/>
              <a:gd name="connsiteY17" fmla="*/ 133350 h 422275"/>
              <a:gd name="connsiteX18" fmla="*/ 23054 w 637072"/>
              <a:gd name="connsiteY18" fmla="*/ 114300 h 422275"/>
              <a:gd name="connsiteX19" fmla="*/ 32579 w 637072"/>
              <a:gd name="connsiteY19" fmla="*/ 85725 h 422275"/>
              <a:gd name="connsiteX20" fmla="*/ 35754 w 637072"/>
              <a:gd name="connsiteY20" fmla="*/ 76200 h 422275"/>
              <a:gd name="connsiteX21" fmla="*/ 38929 w 637072"/>
              <a:gd name="connsiteY21" fmla="*/ 66675 h 422275"/>
              <a:gd name="connsiteX22" fmla="*/ 64329 w 637072"/>
              <a:gd name="connsiteY22" fmla="*/ 63500 h 422275"/>
              <a:gd name="connsiteX23" fmla="*/ 73854 w 637072"/>
              <a:gd name="connsiteY23" fmla="*/ 60325 h 422275"/>
              <a:gd name="connsiteX24" fmla="*/ 96079 w 637072"/>
              <a:gd name="connsiteY24" fmla="*/ 57150 h 422275"/>
              <a:gd name="connsiteX25" fmla="*/ 115129 w 637072"/>
              <a:gd name="connsiteY25" fmla="*/ 44450 h 422275"/>
              <a:gd name="connsiteX26" fmla="*/ 131004 w 637072"/>
              <a:gd name="connsiteY26" fmla="*/ 28575 h 422275"/>
              <a:gd name="connsiteX27" fmla="*/ 137354 w 637072"/>
              <a:gd name="connsiteY27" fmla="*/ 19050 h 422275"/>
              <a:gd name="connsiteX28" fmla="*/ 146879 w 637072"/>
              <a:gd name="connsiteY28" fmla="*/ 15875 h 422275"/>
              <a:gd name="connsiteX29" fmla="*/ 156404 w 637072"/>
              <a:gd name="connsiteY29" fmla="*/ 9525 h 422275"/>
              <a:gd name="connsiteX30" fmla="*/ 175454 w 637072"/>
              <a:gd name="connsiteY30" fmla="*/ 3175 h 422275"/>
              <a:gd name="connsiteX31" fmla="*/ 184979 w 637072"/>
              <a:gd name="connsiteY31" fmla="*/ 0 h 422275"/>
              <a:gd name="connsiteX32" fmla="*/ 194504 w 637072"/>
              <a:gd name="connsiteY32" fmla="*/ 3175 h 422275"/>
              <a:gd name="connsiteX33" fmla="*/ 200854 w 637072"/>
              <a:gd name="connsiteY33" fmla="*/ 12700 h 422275"/>
              <a:gd name="connsiteX34" fmla="*/ 207204 w 637072"/>
              <a:gd name="connsiteY34" fmla="*/ 31750 h 422275"/>
              <a:gd name="connsiteX35" fmla="*/ 210379 w 637072"/>
              <a:gd name="connsiteY35" fmla="*/ 41275 h 422275"/>
              <a:gd name="connsiteX36" fmla="*/ 223079 w 637072"/>
              <a:gd name="connsiteY36" fmla="*/ 57150 h 422275"/>
              <a:gd name="connsiteX37" fmla="*/ 273879 w 637072"/>
              <a:gd name="connsiteY37" fmla="*/ 60325 h 422275"/>
              <a:gd name="connsiteX38" fmla="*/ 280229 w 637072"/>
              <a:gd name="connsiteY38" fmla="*/ 69850 h 422275"/>
              <a:gd name="connsiteX39" fmla="*/ 283404 w 637072"/>
              <a:gd name="connsiteY39" fmla="*/ 98425 h 422275"/>
              <a:gd name="connsiteX40" fmla="*/ 308804 w 637072"/>
              <a:gd name="connsiteY40" fmla="*/ 95250 h 422275"/>
              <a:gd name="connsiteX41" fmla="*/ 356429 w 637072"/>
              <a:gd name="connsiteY41" fmla="*/ 92075 h 422275"/>
              <a:gd name="connsiteX42" fmla="*/ 375479 w 637072"/>
              <a:gd name="connsiteY42" fmla="*/ 85725 h 422275"/>
              <a:gd name="connsiteX43" fmla="*/ 385004 w 637072"/>
              <a:gd name="connsiteY43" fmla="*/ 82550 h 422275"/>
              <a:gd name="connsiteX44" fmla="*/ 438979 w 637072"/>
              <a:gd name="connsiteY44" fmla="*/ 88900 h 422275"/>
              <a:gd name="connsiteX45" fmla="*/ 448504 w 637072"/>
              <a:gd name="connsiteY45" fmla="*/ 95250 h 422275"/>
              <a:gd name="connsiteX46" fmla="*/ 458029 w 637072"/>
              <a:gd name="connsiteY46" fmla="*/ 114300 h 422275"/>
              <a:gd name="connsiteX47" fmla="*/ 451679 w 637072"/>
              <a:gd name="connsiteY47" fmla="*/ 146050 h 422275"/>
              <a:gd name="connsiteX48" fmla="*/ 445329 w 637072"/>
              <a:gd name="connsiteY48" fmla="*/ 155575 h 422275"/>
              <a:gd name="connsiteX49" fmla="*/ 435804 w 637072"/>
              <a:gd name="connsiteY49" fmla="*/ 158750 h 422275"/>
              <a:gd name="connsiteX50" fmla="*/ 432629 w 637072"/>
              <a:gd name="connsiteY50" fmla="*/ 168275 h 422275"/>
              <a:gd name="connsiteX51" fmla="*/ 445329 w 637072"/>
              <a:gd name="connsiteY51" fmla="*/ 187325 h 422275"/>
              <a:gd name="connsiteX52" fmla="*/ 451679 w 637072"/>
              <a:gd name="connsiteY52" fmla="*/ 206375 h 422275"/>
              <a:gd name="connsiteX53" fmla="*/ 454854 w 637072"/>
              <a:gd name="connsiteY53" fmla="*/ 215900 h 422275"/>
              <a:gd name="connsiteX54" fmla="*/ 451679 w 637072"/>
              <a:gd name="connsiteY54" fmla="*/ 231775 h 422275"/>
              <a:gd name="connsiteX55" fmla="*/ 442154 w 637072"/>
              <a:gd name="connsiteY55" fmla="*/ 228600 h 422275"/>
              <a:gd name="connsiteX56" fmla="*/ 432629 w 637072"/>
              <a:gd name="connsiteY56" fmla="*/ 200025 h 422275"/>
              <a:gd name="connsiteX57" fmla="*/ 429454 w 637072"/>
              <a:gd name="connsiteY57" fmla="*/ 190500 h 422275"/>
              <a:gd name="connsiteX58" fmla="*/ 426279 w 637072"/>
              <a:gd name="connsiteY58" fmla="*/ 180975 h 422275"/>
              <a:gd name="connsiteX59" fmla="*/ 413579 w 637072"/>
              <a:gd name="connsiteY59" fmla="*/ 184150 h 422275"/>
              <a:gd name="connsiteX60" fmla="*/ 404054 w 637072"/>
              <a:gd name="connsiteY60" fmla="*/ 190500 h 422275"/>
              <a:gd name="connsiteX61" fmla="*/ 391354 w 637072"/>
              <a:gd name="connsiteY61" fmla="*/ 165100 h 422275"/>
              <a:gd name="connsiteX62" fmla="*/ 375479 w 637072"/>
              <a:gd name="connsiteY62" fmla="*/ 136525 h 422275"/>
              <a:gd name="connsiteX63" fmla="*/ 372304 w 637072"/>
              <a:gd name="connsiteY63" fmla="*/ 123825 h 422275"/>
              <a:gd name="connsiteX64" fmla="*/ 369129 w 637072"/>
              <a:gd name="connsiteY64" fmla="*/ 187325 h 422275"/>
              <a:gd name="connsiteX65" fmla="*/ 372304 w 637072"/>
              <a:gd name="connsiteY65" fmla="*/ 209550 h 422275"/>
              <a:gd name="connsiteX66" fmla="*/ 375479 w 637072"/>
              <a:gd name="connsiteY66" fmla="*/ 219075 h 422275"/>
              <a:gd name="connsiteX67" fmla="*/ 419929 w 637072"/>
              <a:gd name="connsiteY67" fmla="*/ 234950 h 422275"/>
              <a:gd name="connsiteX68" fmla="*/ 432629 w 637072"/>
              <a:gd name="connsiteY68" fmla="*/ 238125 h 422275"/>
              <a:gd name="connsiteX69" fmla="*/ 448504 w 637072"/>
              <a:gd name="connsiteY69" fmla="*/ 241300 h 422275"/>
              <a:gd name="connsiteX70" fmla="*/ 458029 w 637072"/>
              <a:gd name="connsiteY70" fmla="*/ 247650 h 422275"/>
              <a:gd name="connsiteX71" fmla="*/ 454854 w 637072"/>
              <a:gd name="connsiteY71" fmla="*/ 260350 h 422275"/>
              <a:gd name="connsiteX72" fmla="*/ 432629 w 637072"/>
              <a:gd name="connsiteY72" fmla="*/ 282575 h 422275"/>
              <a:gd name="connsiteX73" fmla="*/ 426279 w 637072"/>
              <a:gd name="connsiteY73" fmla="*/ 292100 h 422275"/>
              <a:gd name="connsiteX74" fmla="*/ 445329 w 637072"/>
              <a:gd name="connsiteY74" fmla="*/ 304800 h 422275"/>
              <a:gd name="connsiteX75" fmla="*/ 477079 w 637072"/>
              <a:gd name="connsiteY75" fmla="*/ 295275 h 422275"/>
              <a:gd name="connsiteX76" fmla="*/ 502479 w 637072"/>
              <a:gd name="connsiteY76" fmla="*/ 298450 h 422275"/>
              <a:gd name="connsiteX77" fmla="*/ 521529 w 637072"/>
              <a:gd name="connsiteY77" fmla="*/ 307975 h 422275"/>
              <a:gd name="connsiteX78" fmla="*/ 534229 w 637072"/>
              <a:gd name="connsiteY78" fmla="*/ 314325 h 422275"/>
              <a:gd name="connsiteX79" fmla="*/ 565979 w 637072"/>
              <a:gd name="connsiteY79" fmla="*/ 314325 h 422275"/>
              <a:gd name="connsiteX80" fmla="*/ 578679 w 637072"/>
              <a:gd name="connsiteY80" fmla="*/ 333375 h 422275"/>
              <a:gd name="connsiteX81" fmla="*/ 635829 w 637072"/>
              <a:gd name="connsiteY81" fmla="*/ 330200 h 422275"/>
              <a:gd name="connsiteX82" fmla="*/ 632654 w 637072"/>
              <a:gd name="connsiteY82" fmla="*/ 339725 h 422275"/>
              <a:gd name="connsiteX83" fmla="*/ 613604 w 637072"/>
              <a:gd name="connsiteY83" fmla="*/ 352425 h 422275"/>
              <a:gd name="connsiteX84" fmla="*/ 610429 w 637072"/>
              <a:gd name="connsiteY84" fmla="*/ 361950 h 422275"/>
              <a:gd name="connsiteX85" fmla="*/ 604079 w 637072"/>
              <a:gd name="connsiteY85" fmla="*/ 387350 h 422275"/>
              <a:gd name="connsiteX86" fmla="*/ 594554 w 637072"/>
              <a:gd name="connsiteY86" fmla="*/ 390525 h 422275"/>
              <a:gd name="connsiteX87" fmla="*/ 578679 w 637072"/>
              <a:gd name="connsiteY87" fmla="*/ 374650 h 422275"/>
              <a:gd name="connsiteX88" fmla="*/ 572329 w 637072"/>
              <a:gd name="connsiteY88" fmla="*/ 355600 h 422275"/>
              <a:gd name="connsiteX89" fmla="*/ 553279 w 637072"/>
              <a:gd name="connsiteY89" fmla="*/ 349250 h 422275"/>
              <a:gd name="connsiteX90" fmla="*/ 524704 w 637072"/>
              <a:gd name="connsiteY90" fmla="*/ 352425 h 422275"/>
              <a:gd name="connsiteX91" fmla="*/ 521529 w 637072"/>
              <a:gd name="connsiteY91" fmla="*/ 374650 h 422275"/>
              <a:gd name="connsiteX92" fmla="*/ 512004 w 637072"/>
              <a:gd name="connsiteY92" fmla="*/ 400050 h 422275"/>
              <a:gd name="connsiteX93" fmla="*/ 483429 w 637072"/>
              <a:gd name="connsiteY93" fmla="*/ 415925 h 422275"/>
              <a:gd name="connsiteX94" fmla="*/ 473904 w 637072"/>
              <a:gd name="connsiteY94" fmla="*/ 419100 h 422275"/>
              <a:gd name="connsiteX95" fmla="*/ 464379 w 637072"/>
              <a:gd name="connsiteY95" fmla="*/ 422275 h 422275"/>
              <a:gd name="connsiteX96" fmla="*/ 442154 w 637072"/>
              <a:gd name="connsiteY96" fmla="*/ 419100 h 422275"/>
              <a:gd name="connsiteX97" fmla="*/ 435804 w 637072"/>
              <a:gd name="connsiteY97" fmla="*/ 400050 h 422275"/>
              <a:gd name="connsiteX98" fmla="*/ 438979 w 637072"/>
              <a:gd name="connsiteY98" fmla="*/ 374650 h 422275"/>
              <a:gd name="connsiteX99" fmla="*/ 429454 w 637072"/>
              <a:gd name="connsiteY99" fmla="*/ 368300 h 422275"/>
              <a:gd name="connsiteX100" fmla="*/ 410404 w 637072"/>
              <a:gd name="connsiteY100" fmla="*/ 361950 h 422275"/>
              <a:gd name="connsiteX101" fmla="*/ 381829 w 637072"/>
              <a:gd name="connsiteY101" fmla="*/ 346075 h 422275"/>
              <a:gd name="connsiteX102" fmla="*/ 331029 w 637072"/>
              <a:gd name="connsiteY102" fmla="*/ 342900 h 422275"/>
              <a:gd name="connsiteX103" fmla="*/ 315154 w 637072"/>
              <a:gd name="connsiteY103" fmla="*/ 323850 h 422275"/>
              <a:gd name="connsiteX104" fmla="*/ 302454 w 637072"/>
              <a:gd name="connsiteY104" fmla="*/ 295275 h 422275"/>
              <a:gd name="connsiteX105" fmla="*/ 261179 w 637072"/>
              <a:gd name="connsiteY105" fmla="*/ 301625 h 422275"/>
              <a:gd name="connsiteX106" fmla="*/ 238954 w 637072"/>
              <a:gd name="connsiteY106" fmla="*/ 307975 h 422275"/>
              <a:gd name="connsiteX107" fmla="*/ 229429 w 637072"/>
              <a:gd name="connsiteY107" fmla="*/ 314325 h 422275"/>
              <a:gd name="connsiteX108" fmla="*/ 226254 w 637072"/>
              <a:gd name="connsiteY108" fmla="*/ 323850 h 422275"/>
              <a:gd name="connsiteX109" fmla="*/ 162754 w 637072"/>
              <a:gd name="connsiteY109" fmla="*/ 358775 h 422275"/>
              <a:gd name="connsiteX110" fmla="*/ 156404 w 637072"/>
              <a:gd name="connsiteY110" fmla="*/ 368300 h 422275"/>
              <a:gd name="connsiteX111" fmla="*/ 153229 w 637072"/>
              <a:gd name="connsiteY111" fmla="*/ 393700 h 422275"/>
              <a:gd name="connsiteX112" fmla="*/ 140529 w 637072"/>
              <a:gd name="connsiteY112" fmla="*/ 403225 h 422275"/>
              <a:gd name="connsiteX113" fmla="*/ 111954 w 637072"/>
              <a:gd name="connsiteY113" fmla="*/ 419100 h 422275"/>
              <a:gd name="connsiteX114" fmla="*/ 80204 w 637072"/>
              <a:gd name="connsiteY114" fmla="*/ 393700 h 422275"/>
              <a:gd name="connsiteX115" fmla="*/ 73854 w 637072"/>
              <a:gd name="connsiteY115" fmla="*/ 384175 h 422275"/>
              <a:gd name="connsiteX116" fmla="*/ 57979 w 637072"/>
              <a:gd name="connsiteY116" fmla="*/ 368300 h 422275"/>
              <a:gd name="connsiteX117" fmla="*/ 26229 w 637072"/>
              <a:gd name="connsiteY117" fmla="*/ 352425 h 42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37072" h="422275">
                <a:moveTo>
                  <a:pt x="26229" y="352425"/>
                </a:moveTo>
                <a:lnTo>
                  <a:pt x="26229" y="352425"/>
                </a:lnTo>
                <a:cubicBezTo>
                  <a:pt x="17762" y="357717"/>
                  <a:pt x="2921" y="378063"/>
                  <a:pt x="829" y="368300"/>
                </a:cubicBezTo>
                <a:cubicBezTo>
                  <a:pt x="-3528" y="347969"/>
                  <a:pt x="10400" y="327789"/>
                  <a:pt x="16704" y="307975"/>
                </a:cubicBezTo>
                <a:cubicBezTo>
                  <a:pt x="17861" y="304339"/>
                  <a:pt x="20356" y="301148"/>
                  <a:pt x="23054" y="298450"/>
                </a:cubicBezTo>
                <a:cubicBezTo>
                  <a:pt x="25752" y="295752"/>
                  <a:pt x="29404" y="294217"/>
                  <a:pt x="32579" y="292100"/>
                </a:cubicBezTo>
                <a:cubicBezTo>
                  <a:pt x="35161" y="284353"/>
                  <a:pt x="35949" y="279205"/>
                  <a:pt x="42104" y="273050"/>
                </a:cubicBezTo>
                <a:cubicBezTo>
                  <a:pt x="44802" y="270352"/>
                  <a:pt x="48216" y="268407"/>
                  <a:pt x="51629" y="266700"/>
                </a:cubicBezTo>
                <a:cubicBezTo>
                  <a:pt x="54622" y="265203"/>
                  <a:pt x="58228" y="265150"/>
                  <a:pt x="61154" y="263525"/>
                </a:cubicBezTo>
                <a:cubicBezTo>
                  <a:pt x="67825" y="259819"/>
                  <a:pt x="80204" y="250825"/>
                  <a:pt x="80204" y="250825"/>
                </a:cubicBezTo>
                <a:cubicBezTo>
                  <a:pt x="81832" y="245940"/>
                  <a:pt x="87042" y="236660"/>
                  <a:pt x="80204" y="231775"/>
                </a:cubicBezTo>
                <a:cubicBezTo>
                  <a:pt x="74757" y="227884"/>
                  <a:pt x="61154" y="225425"/>
                  <a:pt x="61154" y="225425"/>
                </a:cubicBezTo>
                <a:cubicBezTo>
                  <a:pt x="57979" y="222250"/>
                  <a:pt x="54386" y="219444"/>
                  <a:pt x="51629" y="215900"/>
                </a:cubicBezTo>
                <a:cubicBezTo>
                  <a:pt x="46944" y="209876"/>
                  <a:pt x="43162" y="203200"/>
                  <a:pt x="38929" y="196850"/>
                </a:cubicBezTo>
                <a:lnTo>
                  <a:pt x="26229" y="177800"/>
                </a:lnTo>
                <a:lnTo>
                  <a:pt x="19879" y="168275"/>
                </a:lnTo>
                <a:lnTo>
                  <a:pt x="13529" y="158750"/>
                </a:lnTo>
                <a:cubicBezTo>
                  <a:pt x="14587" y="150283"/>
                  <a:pt x="14916" y="141693"/>
                  <a:pt x="16704" y="133350"/>
                </a:cubicBezTo>
                <a:cubicBezTo>
                  <a:pt x="18106" y="126805"/>
                  <a:pt x="20937" y="120650"/>
                  <a:pt x="23054" y="114300"/>
                </a:cubicBezTo>
                <a:lnTo>
                  <a:pt x="32579" y="85725"/>
                </a:lnTo>
                <a:lnTo>
                  <a:pt x="35754" y="76200"/>
                </a:lnTo>
                <a:cubicBezTo>
                  <a:pt x="36812" y="73025"/>
                  <a:pt x="35608" y="67090"/>
                  <a:pt x="38929" y="66675"/>
                </a:cubicBezTo>
                <a:lnTo>
                  <a:pt x="64329" y="63500"/>
                </a:lnTo>
                <a:cubicBezTo>
                  <a:pt x="67504" y="62442"/>
                  <a:pt x="70572" y="60981"/>
                  <a:pt x="73854" y="60325"/>
                </a:cubicBezTo>
                <a:cubicBezTo>
                  <a:pt x="81192" y="58857"/>
                  <a:pt x="89094" y="59836"/>
                  <a:pt x="96079" y="57150"/>
                </a:cubicBezTo>
                <a:cubicBezTo>
                  <a:pt x="103202" y="54410"/>
                  <a:pt x="115129" y="44450"/>
                  <a:pt x="115129" y="44450"/>
                </a:cubicBezTo>
                <a:cubicBezTo>
                  <a:pt x="132062" y="19050"/>
                  <a:pt x="109837" y="49742"/>
                  <a:pt x="131004" y="28575"/>
                </a:cubicBezTo>
                <a:cubicBezTo>
                  <a:pt x="133702" y="25877"/>
                  <a:pt x="134374" y="21434"/>
                  <a:pt x="137354" y="19050"/>
                </a:cubicBezTo>
                <a:cubicBezTo>
                  <a:pt x="139967" y="16959"/>
                  <a:pt x="143886" y="17372"/>
                  <a:pt x="146879" y="15875"/>
                </a:cubicBezTo>
                <a:cubicBezTo>
                  <a:pt x="150292" y="14168"/>
                  <a:pt x="152917" y="11075"/>
                  <a:pt x="156404" y="9525"/>
                </a:cubicBezTo>
                <a:cubicBezTo>
                  <a:pt x="162521" y="6807"/>
                  <a:pt x="169104" y="5292"/>
                  <a:pt x="175454" y="3175"/>
                </a:cubicBezTo>
                <a:lnTo>
                  <a:pt x="184979" y="0"/>
                </a:lnTo>
                <a:cubicBezTo>
                  <a:pt x="188154" y="1058"/>
                  <a:pt x="191891" y="1084"/>
                  <a:pt x="194504" y="3175"/>
                </a:cubicBezTo>
                <a:cubicBezTo>
                  <a:pt x="197484" y="5559"/>
                  <a:pt x="199304" y="9213"/>
                  <a:pt x="200854" y="12700"/>
                </a:cubicBezTo>
                <a:cubicBezTo>
                  <a:pt x="203572" y="18817"/>
                  <a:pt x="205087" y="25400"/>
                  <a:pt x="207204" y="31750"/>
                </a:cubicBezTo>
                <a:lnTo>
                  <a:pt x="210379" y="41275"/>
                </a:lnTo>
                <a:cubicBezTo>
                  <a:pt x="212828" y="48622"/>
                  <a:pt x="212973" y="55554"/>
                  <a:pt x="223079" y="57150"/>
                </a:cubicBezTo>
                <a:cubicBezTo>
                  <a:pt x="239838" y="59796"/>
                  <a:pt x="256946" y="59267"/>
                  <a:pt x="273879" y="60325"/>
                </a:cubicBezTo>
                <a:cubicBezTo>
                  <a:pt x="275996" y="63500"/>
                  <a:pt x="279304" y="66148"/>
                  <a:pt x="280229" y="69850"/>
                </a:cubicBezTo>
                <a:cubicBezTo>
                  <a:pt x="282553" y="79147"/>
                  <a:pt x="276241" y="92058"/>
                  <a:pt x="283404" y="98425"/>
                </a:cubicBezTo>
                <a:cubicBezTo>
                  <a:pt x="289781" y="104094"/>
                  <a:pt x="300304" y="95989"/>
                  <a:pt x="308804" y="95250"/>
                </a:cubicBezTo>
                <a:cubicBezTo>
                  <a:pt x="324654" y="93872"/>
                  <a:pt x="340554" y="93133"/>
                  <a:pt x="356429" y="92075"/>
                </a:cubicBezTo>
                <a:lnTo>
                  <a:pt x="375479" y="85725"/>
                </a:lnTo>
                <a:lnTo>
                  <a:pt x="385004" y="82550"/>
                </a:lnTo>
                <a:cubicBezTo>
                  <a:pt x="392027" y="83052"/>
                  <a:pt x="424546" y="81684"/>
                  <a:pt x="438979" y="88900"/>
                </a:cubicBezTo>
                <a:cubicBezTo>
                  <a:pt x="442392" y="90607"/>
                  <a:pt x="445329" y="93133"/>
                  <a:pt x="448504" y="95250"/>
                </a:cubicBezTo>
                <a:cubicBezTo>
                  <a:pt x="451715" y="100066"/>
                  <a:pt x="458029" y="107727"/>
                  <a:pt x="458029" y="114300"/>
                </a:cubicBezTo>
                <a:cubicBezTo>
                  <a:pt x="458029" y="120150"/>
                  <a:pt x="455589" y="138230"/>
                  <a:pt x="451679" y="146050"/>
                </a:cubicBezTo>
                <a:cubicBezTo>
                  <a:pt x="449972" y="149463"/>
                  <a:pt x="448309" y="153191"/>
                  <a:pt x="445329" y="155575"/>
                </a:cubicBezTo>
                <a:cubicBezTo>
                  <a:pt x="442716" y="157666"/>
                  <a:pt x="438979" y="157692"/>
                  <a:pt x="435804" y="158750"/>
                </a:cubicBezTo>
                <a:cubicBezTo>
                  <a:pt x="434746" y="161925"/>
                  <a:pt x="432629" y="164928"/>
                  <a:pt x="432629" y="168275"/>
                </a:cubicBezTo>
                <a:cubicBezTo>
                  <a:pt x="432629" y="177465"/>
                  <a:pt x="439602" y="181598"/>
                  <a:pt x="445329" y="187325"/>
                </a:cubicBezTo>
                <a:lnTo>
                  <a:pt x="451679" y="206375"/>
                </a:lnTo>
                <a:lnTo>
                  <a:pt x="454854" y="215900"/>
                </a:lnTo>
                <a:cubicBezTo>
                  <a:pt x="453796" y="221192"/>
                  <a:pt x="455495" y="227959"/>
                  <a:pt x="451679" y="231775"/>
                </a:cubicBezTo>
                <a:cubicBezTo>
                  <a:pt x="449312" y="234142"/>
                  <a:pt x="444099" y="231323"/>
                  <a:pt x="442154" y="228600"/>
                </a:cubicBezTo>
                <a:lnTo>
                  <a:pt x="432629" y="200025"/>
                </a:lnTo>
                <a:lnTo>
                  <a:pt x="429454" y="190500"/>
                </a:lnTo>
                <a:lnTo>
                  <a:pt x="426279" y="180975"/>
                </a:lnTo>
                <a:cubicBezTo>
                  <a:pt x="422046" y="182033"/>
                  <a:pt x="417590" y="182431"/>
                  <a:pt x="413579" y="184150"/>
                </a:cubicBezTo>
                <a:cubicBezTo>
                  <a:pt x="410072" y="185653"/>
                  <a:pt x="406438" y="193480"/>
                  <a:pt x="404054" y="190500"/>
                </a:cubicBezTo>
                <a:cubicBezTo>
                  <a:pt x="377521" y="157334"/>
                  <a:pt x="418213" y="174053"/>
                  <a:pt x="391354" y="165100"/>
                </a:cubicBezTo>
                <a:cubicBezTo>
                  <a:pt x="379983" y="148044"/>
                  <a:pt x="379670" y="151194"/>
                  <a:pt x="375479" y="136525"/>
                </a:cubicBezTo>
                <a:cubicBezTo>
                  <a:pt x="374280" y="132329"/>
                  <a:pt x="373362" y="128058"/>
                  <a:pt x="372304" y="123825"/>
                </a:cubicBezTo>
                <a:cubicBezTo>
                  <a:pt x="371246" y="144992"/>
                  <a:pt x="369129" y="166132"/>
                  <a:pt x="369129" y="187325"/>
                </a:cubicBezTo>
                <a:cubicBezTo>
                  <a:pt x="369129" y="194809"/>
                  <a:pt x="370836" y="202212"/>
                  <a:pt x="372304" y="209550"/>
                </a:cubicBezTo>
                <a:cubicBezTo>
                  <a:pt x="372960" y="212832"/>
                  <a:pt x="373112" y="216708"/>
                  <a:pt x="375479" y="219075"/>
                </a:cubicBezTo>
                <a:cubicBezTo>
                  <a:pt x="392643" y="236239"/>
                  <a:pt x="397002" y="231129"/>
                  <a:pt x="419929" y="234950"/>
                </a:cubicBezTo>
                <a:cubicBezTo>
                  <a:pt x="424233" y="235667"/>
                  <a:pt x="428369" y="237178"/>
                  <a:pt x="432629" y="238125"/>
                </a:cubicBezTo>
                <a:cubicBezTo>
                  <a:pt x="437897" y="239296"/>
                  <a:pt x="443212" y="240242"/>
                  <a:pt x="448504" y="241300"/>
                </a:cubicBezTo>
                <a:cubicBezTo>
                  <a:pt x="451679" y="243417"/>
                  <a:pt x="456822" y="244030"/>
                  <a:pt x="458029" y="247650"/>
                </a:cubicBezTo>
                <a:cubicBezTo>
                  <a:pt x="459409" y="251790"/>
                  <a:pt x="456805" y="256447"/>
                  <a:pt x="454854" y="260350"/>
                </a:cubicBezTo>
                <a:cubicBezTo>
                  <a:pt x="444664" y="280729"/>
                  <a:pt x="447479" y="277625"/>
                  <a:pt x="432629" y="282575"/>
                </a:cubicBezTo>
                <a:cubicBezTo>
                  <a:pt x="430512" y="285750"/>
                  <a:pt x="425652" y="288336"/>
                  <a:pt x="426279" y="292100"/>
                </a:cubicBezTo>
                <a:cubicBezTo>
                  <a:pt x="427678" y="300494"/>
                  <a:pt x="439365" y="302812"/>
                  <a:pt x="445329" y="304800"/>
                </a:cubicBezTo>
                <a:cubicBezTo>
                  <a:pt x="468519" y="297070"/>
                  <a:pt x="457885" y="300073"/>
                  <a:pt x="477079" y="295275"/>
                </a:cubicBezTo>
                <a:cubicBezTo>
                  <a:pt x="485546" y="296333"/>
                  <a:pt x="494084" y="296924"/>
                  <a:pt x="502479" y="298450"/>
                </a:cubicBezTo>
                <a:cubicBezTo>
                  <a:pt x="513151" y="300390"/>
                  <a:pt x="512039" y="302552"/>
                  <a:pt x="521529" y="307975"/>
                </a:cubicBezTo>
                <a:cubicBezTo>
                  <a:pt x="525638" y="310323"/>
                  <a:pt x="529996" y="312208"/>
                  <a:pt x="534229" y="314325"/>
                </a:cubicBezTo>
                <a:cubicBezTo>
                  <a:pt x="543302" y="312057"/>
                  <a:pt x="557190" y="306791"/>
                  <a:pt x="565979" y="314325"/>
                </a:cubicBezTo>
                <a:cubicBezTo>
                  <a:pt x="600113" y="343583"/>
                  <a:pt x="545242" y="322229"/>
                  <a:pt x="578679" y="333375"/>
                </a:cubicBezTo>
                <a:cubicBezTo>
                  <a:pt x="597729" y="332317"/>
                  <a:pt x="616880" y="327971"/>
                  <a:pt x="635829" y="330200"/>
                </a:cubicBezTo>
                <a:cubicBezTo>
                  <a:pt x="639153" y="330591"/>
                  <a:pt x="635021" y="337358"/>
                  <a:pt x="632654" y="339725"/>
                </a:cubicBezTo>
                <a:cubicBezTo>
                  <a:pt x="627258" y="345121"/>
                  <a:pt x="613604" y="352425"/>
                  <a:pt x="613604" y="352425"/>
                </a:cubicBezTo>
                <a:cubicBezTo>
                  <a:pt x="612546" y="355600"/>
                  <a:pt x="611310" y="358721"/>
                  <a:pt x="610429" y="361950"/>
                </a:cubicBezTo>
                <a:cubicBezTo>
                  <a:pt x="608133" y="370370"/>
                  <a:pt x="612358" y="384590"/>
                  <a:pt x="604079" y="387350"/>
                </a:cubicBezTo>
                <a:lnTo>
                  <a:pt x="594554" y="390525"/>
                </a:lnTo>
                <a:cubicBezTo>
                  <a:pt x="585865" y="384732"/>
                  <a:pt x="583135" y="384676"/>
                  <a:pt x="578679" y="374650"/>
                </a:cubicBezTo>
                <a:cubicBezTo>
                  <a:pt x="575961" y="368533"/>
                  <a:pt x="578679" y="357717"/>
                  <a:pt x="572329" y="355600"/>
                </a:cubicBezTo>
                <a:lnTo>
                  <a:pt x="553279" y="349250"/>
                </a:lnTo>
                <a:cubicBezTo>
                  <a:pt x="543754" y="350308"/>
                  <a:pt x="532188" y="346438"/>
                  <a:pt x="524704" y="352425"/>
                </a:cubicBezTo>
                <a:cubicBezTo>
                  <a:pt x="518860" y="357100"/>
                  <a:pt x="522868" y="367287"/>
                  <a:pt x="521529" y="374650"/>
                </a:cubicBezTo>
                <a:cubicBezTo>
                  <a:pt x="519908" y="383567"/>
                  <a:pt x="517375" y="392530"/>
                  <a:pt x="512004" y="400050"/>
                </a:cubicBezTo>
                <a:cubicBezTo>
                  <a:pt x="503093" y="412526"/>
                  <a:pt x="498768" y="410812"/>
                  <a:pt x="483429" y="415925"/>
                </a:cubicBezTo>
                <a:lnTo>
                  <a:pt x="473904" y="419100"/>
                </a:lnTo>
                <a:lnTo>
                  <a:pt x="464379" y="422275"/>
                </a:lnTo>
                <a:cubicBezTo>
                  <a:pt x="456971" y="421217"/>
                  <a:pt x="448061" y="423694"/>
                  <a:pt x="442154" y="419100"/>
                </a:cubicBezTo>
                <a:cubicBezTo>
                  <a:pt x="436870" y="414991"/>
                  <a:pt x="435804" y="400050"/>
                  <a:pt x="435804" y="400050"/>
                </a:cubicBezTo>
                <a:cubicBezTo>
                  <a:pt x="436862" y="391583"/>
                  <a:pt x="440652" y="383017"/>
                  <a:pt x="438979" y="374650"/>
                </a:cubicBezTo>
                <a:cubicBezTo>
                  <a:pt x="438231" y="370908"/>
                  <a:pt x="432941" y="369850"/>
                  <a:pt x="429454" y="368300"/>
                </a:cubicBezTo>
                <a:cubicBezTo>
                  <a:pt x="423337" y="365582"/>
                  <a:pt x="415973" y="365663"/>
                  <a:pt x="410404" y="361950"/>
                </a:cubicBezTo>
                <a:cubicBezTo>
                  <a:pt x="404100" y="357748"/>
                  <a:pt x="391783" y="347123"/>
                  <a:pt x="381829" y="346075"/>
                </a:cubicBezTo>
                <a:cubicBezTo>
                  <a:pt x="364956" y="344299"/>
                  <a:pt x="347962" y="343958"/>
                  <a:pt x="331029" y="342900"/>
                </a:cubicBezTo>
                <a:cubicBezTo>
                  <a:pt x="325047" y="336918"/>
                  <a:pt x="318690" y="331807"/>
                  <a:pt x="315154" y="323850"/>
                </a:cubicBezTo>
                <a:cubicBezTo>
                  <a:pt x="300041" y="289845"/>
                  <a:pt x="316825" y="316831"/>
                  <a:pt x="302454" y="295275"/>
                </a:cubicBezTo>
                <a:cubicBezTo>
                  <a:pt x="280460" y="298024"/>
                  <a:pt x="279880" y="297469"/>
                  <a:pt x="261179" y="301625"/>
                </a:cubicBezTo>
                <a:cubicBezTo>
                  <a:pt x="257517" y="302439"/>
                  <a:pt x="243197" y="305854"/>
                  <a:pt x="238954" y="307975"/>
                </a:cubicBezTo>
                <a:cubicBezTo>
                  <a:pt x="235541" y="309682"/>
                  <a:pt x="232604" y="312208"/>
                  <a:pt x="229429" y="314325"/>
                </a:cubicBezTo>
                <a:cubicBezTo>
                  <a:pt x="228371" y="317500"/>
                  <a:pt x="226763" y="320542"/>
                  <a:pt x="226254" y="323850"/>
                </a:cubicBezTo>
                <a:cubicBezTo>
                  <a:pt x="218264" y="375784"/>
                  <a:pt x="239023" y="354761"/>
                  <a:pt x="162754" y="358775"/>
                </a:cubicBezTo>
                <a:cubicBezTo>
                  <a:pt x="160637" y="361950"/>
                  <a:pt x="157408" y="364619"/>
                  <a:pt x="156404" y="368300"/>
                </a:cubicBezTo>
                <a:cubicBezTo>
                  <a:pt x="154159" y="376532"/>
                  <a:pt x="156760" y="385932"/>
                  <a:pt x="153229" y="393700"/>
                </a:cubicBezTo>
                <a:cubicBezTo>
                  <a:pt x="151039" y="398517"/>
                  <a:pt x="144864" y="400190"/>
                  <a:pt x="140529" y="403225"/>
                </a:cubicBezTo>
                <a:cubicBezTo>
                  <a:pt x="120679" y="417120"/>
                  <a:pt x="127849" y="413802"/>
                  <a:pt x="111954" y="419100"/>
                </a:cubicBezTo>
                <a:cubicBezTo>
                  <a:pt x="85664" y="410337"/>
                  <a:pt x="96617" y="418319"/>
                  <a:pt x="80204" y="393700"/>
                </a:cubicBezTo>
                <a:lnTo>
                  <a:pt x="73854" y="384175"/>
                </a:lnTo>
                <a:cubicBezTo>
                  <a:pt x="70499" y="379143"/>
                  <a:pt x="65567" y="369099"/>
                  <a:pt x="57979" y="368300"/>
                </a:cubicBezTo>
                <a:cubicBezTo>
                  <a:pt x="41139" y="366527"/>
                  <a:pt x="31521" y="355071"/>
                  <a:pt x="26229" y="352425"/>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Freeform 412">
            <a:extLst>
              <a:ext uri="{FF2B5EF4-FFF2-40B4-BE49-F238E27FC236}">
                <a16:creationId xmlns:a16="http://schemas.microsoft.com/office/drawing/2014/main" id="{F16EB8BA-4AF8-C992-5611-223F4A35F7EE}"/>
              </a:ext>
            </a:extLst>
          </p:cNvPr>
          <p:cNvSpPr/>
          <p:nvPr/>
        </p:nvSpPr>
        <p:spPr bwMode="gray">
          <a:xfrm>
            <a:off x="2946400" y="4217988"/>
            <a:ext cx="381000" cy="193675"/>
          </a:xfrm>
          <a:custGeom>
            <a:avLst/>
            <a:gdLst>
              <a:gd name="connsiteX0" fmla="*/ 73025 w 381051"/>
              <a:gd name="connsiteY0" fmla="*/ 193777 h 193777"/>
              <a:gd name="connsiteX1" fmla="*/ 73025 w 381051"/>
              <a:gd name="connsiteY1" fmla="*/ 193777 h 193777"/>
              <a:gd name="connsiteX2" fmla="*/ 38100 w 381051"/>
              <a:gd name="connsiteY2" fmla="*/ 187427 h 193777"/>
              <a:gd name="connsiteX3" fmla="*/ 31750 w 381051"/>
              <a:gd name="connsiteY3" fmla="*/ 174727 h 193777"/>
              <a:gd name="connsiteX4" fmla="*/ 0 w 381051"/>
              <a:gd name="connsiteY4" fmla="*/ 139802 h 193777"/>
              <a:gd name="connsiteX5" fmla="*/ 28575 w 381051"/>
              <a:gd name="connsiteY5" fmla="*/ 114402 h 193777"/>
              <a:gd name="connsiteX6" fmla="*/ 38100 w 381051"/>
              <a:gd name="connsiteY6" fmla="*/ 104877 h 193777"/>
              <a:gd name="connsiteX7" fmla="*/ 50800 w 381051"/>
              <a:gd name="connsiteY7" fmla="*/ 85827 h 193777"/>
              <a:gd name="connsiteX8" fmla="*/ 57150 w 381051"/>
              <a:gd name="connsiteY8" fmla="*/ 76302 h 193777"/>
              <a:gd name="connsiteX9" fmla="*/ 69850 w 381051"/>
              <a:gd name="connsiteY9" fmla="*/ 54077 h 193777"/>
              <a:gd name="connsiteX10" fmla="*/ 79375 w 381051"/>
              <a:gd name="connsiteY10" fmla="*/ 47727 h 193777"/>
              <a:gd name="connsiteX11" fmla="*/ 92075 w 381051"/>
              <a:gd name="connsiteY11" fmla="*/ 28677 h 193777"/>
              <a:gd name="connsiteX12" fmla="*/ 98425 w 381051"/>
              <a:gd name="connsiteY12" fmla="*/ 19152 h 193777"/>
              <a:gd name="connsiteX13" fmla="*/ 117475 w 381051"/>
              <a:gd name="connsiteY13" fmla="*/ 9627 h 193777"/>
              <a:gd name="connsiteX14" fmla="*/ 149225 w 381051"/>
              <a:gd name="connsiteY14" fmla="*/ 12802 h 193777"/>
              <a:gd name="connsiteX15" fmla="*/ 168275 w 381051"/>
              <a:gd name="connsiteY15" fmla="*/ 19152 h 193777"/>
              <a:gd name="connsiteX16" fmla="*/ 196850 w 381051"/>
              <a:gd name="connsiteY16" fmla="*/ 28677 h 193777"/>
              <a:gd name="connsiteX17" fmla="*/ 206375 w 381051"/>
              <a:gd name="connsiteY17" fmla="*/ 31852 h 193777"/>
              <a:gd name="connsiteX18" fmla="*/ 222250 w 381051"/>
              <a:gd name="connsiteY18" fmla="*/ 35027 h 193777"/>
              <a:gd name="connsiteX19" fmla="*/ 254000 w 381051"/>
              <a:gd name="connsiteY19" fmla="*/ 31852 h 193777"/>
              <a:gd name="connsiteX20" fmla="*/ 257175 w 381051"/>
              <a:gd name="connsiteY20" fmla="*/ 22327 h 193777"/>
              <a:gd name="connsiteX21" fmla="*/ 266700 w 381051"/>
              <a:gd name="connsiteY21" fmla="*/ 15977 h 193777"/>
              <a:gd name="connsiteX22" fmla="*/ 282575 w 381051"/>
              <a:gd name="connsiteY22" fmla="*/ 102 h 193777"/>
              <a:gd name="connsiteX23" fmla="*/ 298450 w 381051"/>
              <a:gd name="connsiteY23" fmla="*/ 3277 h 193777"/>
              <a:gd name="connsiteX24" fmla="*/ 307975 w 381051"/>
              <a:gd name="connsiteY24" fmla="*/ 9627 h 193777"/>
              <a:gd name="connsiteX25" fmla="*/ 323850 w 381051"/>
              <a:gd name="connsiteY25" fmla="*/ 35027 h 193777"/>
              <a:gd name="connsiteX26" fmla="*/ 342900 w 381051"/>
              <a:gd name="connsiteY26" fmla="*/ 41377 h 193777"/>
              <a:gd name="connsiteX27" fmla="*/ 352425 w 381051"/>
              <a:gd name="connsiteY27" fmla="*/ 47727 h 193777"/>
              <a:gd name="connsiteX28" fmla="*/ 371475 w 381051"/>
              <a:gd name="connsiteY28" fmla="*/ 54077 h 193777"/>
              <a:gd name="connsiteX29" fmla="*/ 374650 w 381051"/>
              <a:gd name="connsiteY29" fmla="*/ 63602 h 193777"/>
              <a:gd name="connsiteX30" fmla="*/ 381000 w 381051"/>
              <a:gd name="connsiteY30" fmla="*/ 73127 h 193777"/>
              <a:gd name="connsiteX31" fmla="*/ 358775 w 381051"/>
              <a:gd name="connsiteY31" fmla="*/ 85827 h 193777"/>
              <a:gd name="connsiteX32" fmla="*/ 346075 w 381051"/>
              <a:gd name="connsiteY32" fmla="*/ 82652 h 193777"/>
              <a:gd name="connsiteX33" fmla="*/ 342900 w 381051"/>
              <a:gd name="connsiteY33" fmla="*/ 73127 h 193777"/>
              <a:gd name="connsiteX34" fmla="*/ 339725 w 381051"/>
              <a:gd name="connsiteY34" fmla="*/ 60427 h 193777"/>
              <a:gd name="connsiteX35" fmla="*/ 327025 w 381051"/>
              <a:gd name="connsiteY35" fmla="*/ 73127 h 193777"/>
              <a:gd name="connsiteX36" fmla="*/ 317500 w 381051"/>
              <a:gd name="connsiteY36" fmla="*/ 82652 h 193777"/>
              <a:gd name="connsiteX37" fmla="*/ 298450 w 381051"/>
              <a:gd name="connsiteY37" fmla="*/ 104877 h 193777"/>
              <a:gd name="connsiteX38" fmla="*/ 304800 w 381051"/>
              <a:gd name="connsiteY38" fmla="*/ 117577 h 193777"/>
              <a:gd name="connsiteX39" fmla="*/ 323850 w 381051"/>
              <a:gd name="connsiteY39" fmla="*/ 108052 h 193777"/>
              <a:gd name="connsiteX40" fmla="*/ 342900 w 381051"/>
              <a:gd name="connsiteY40" fmla="*/ 101702 h 193777"/>
              <a:gd name="connsiteX41" fmla="*/ 336550 w 381051"/>
              <a:gd name="connsiteY41" fmla="*/ 114402 h 193777"/>
              <a:gd name="connsiteX42" fmla="*/ 307975 w 381051"/>
              <a:gd name="connsiteY42" fmla="*/ 130277 h 193777"/>
              <a:gd name="connsiteX43" fmla="*/ 298450 w 381051"/>
              <a:gd name="connsiteY43" fmla="*/ 136627 h 193777"/>
              <a:gd name="connsiteX44" fmla="*/ 295275 w 381051"/>
              <a:gd name="connsiteY44" fmla="*/ 117577 h 193777"/>
              <a:gd name="connsiteX45" fmla="*/ 285750 w 381051"/>
              <a:gd name="connsiteY45" fmla="*/ 111227 h 193777"/>
              <a:gd name="connsiteX46" fmla="*/ 273050 w 381051"/>
              <a:gd name="connsiteY46" fmla="*/ 108052 h 193777"/>
              <a:gd name="connsiteX47" fmla="*/ 263525 w 381051"/>
              <a:gd name="connsiteY47" fmla="*/ 104877 h 193777"/>
              <a:gd name="connsiteX48" fmla="*/ 231775 w 381051"/>
              <a:gd name="connsiteY48" fmla="*/ 108052 h 193777"/>
              <a:gd name="connsiteX49" fmla="*/ 212725 w 381051"/>
              <a:gd name="connsiteY49" fmla="*/ 114402 h 193777"/>
              <a:gd name="connsiteX50" fmla="*/ 206375 w 381051"/>
              <a:gd name="connsiteY50" fmla="*/ 123927 h 193777"/>
              <a:gd name="connsiteX51" fmla="*/ 203200 w 381051"/>
              <a:gd name="connsiteY51" fmla="*/ 133452 h 193777"/>
              <a:gd name="connsiteX52" fmla="*/ 174625 w 381051"/>
              <a:gd name="connsiteY52" fmla="*/ 149327 h 193777"/>
              <a:gd name="connsiteX53" fmla="*/ 139700 w 381051"/>
              <a:gd name="connsiteY53" fmla="*/ 152502 h 193777"/>
              <a:gd name="connsiteX54" fmla="*/ 120650 w 381051"/>
              <a:gd name="connsiteY54" fmla="*/ 158852 h 193777"/>
              <a:gd name="connsiteX55" fmla="*/ 101600 w 381051"/>
              <a:gd name="connsiteY55" fmla="*/ 177902 h 193777"/>
              <a:gd name="connsiteX56" fmla="*/ 98425 w 381051"/>
              <a:gd name="connsiteY56" fmla="*/ 187427 h 193777"/>
              <a:gd name="connsiteX57" fmla="*/ 73025 w 381051"/>
              <a:gd name="connsiteY57" fmla="*/ 193777 h 19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81051" h="193777">
                <a:moveTo>
                  <a:pt x="73025" y="193777"/>
                </a:moveTo>
                <a:lnTo>
                  <a:pt x="73025" y="193777"/>
                </a:lnTo>
                <a:cubicBezTo>
                  <a:pt x="61383" y="191660"/>
                  <a:pt x="48843" y="192386"/>
                  <a:pt x="38100" y="187427"/>
                </a:cubicBezTo>
                <a:cubicBezTo>
                  <a:pt x="33803" y="185444"/>
                  <a:pt x="34780" y="178363"/>
                  <a:pt x="31750" y="174727"/>
                </a:cubicBezTo>
                <a:cubicBezTo>
                  <a:pt x="-15080" y="118531"/>
                  <a:pt x="18962" y="168244"/>
                  <a:pt x="0" y="139802"/>
                </a:cubicBezTo>
                <a:cubicBezTo>
                  <a:pt x="16997" y="128471"/>
                  <a:pt x="6827" y="136150"/>
                  <a:pt x="28575" y="114402"/>
                </a:cubicBezTo>
                <a:cubicBezTo>
                  <a:pt x="31750" y="111227"/>
                  <a:pt x="35609" y="108613"/>
                  <a:pt x="38100" y="104877"/>
                </a:cubicBezTo>
                <a:lnTo>
                  <a:pt x="50800" y="85827"/>
                </a:lnTo>
                <a:cubicBezTo>
                  <a:pt x="52917" y="82652"/>
                  <a:pt x="55443" y="79715"/>
                  <a:pt x="57150" y="76302"/>
                </a:cubicBezTo>
                <a:cubicBezTo>
                  <a:pt x="59640" y="71322"/>
                  <a:pt x="65362" y="58565"/>
                  <a:pt x="69850" y="54077"/>
                </a:cubicBezTo>
                <a:cubicBezTo>
                  <a:pt x="72548" y="51379"/>
                  <a:pt x="76200" y="49844"/>
                  <a:pt x="79375" y="47727"/>
                </a:cubicBezTo>
                <a:cubicBezTo>
                  <a:pt x="84955" y="30988"/>
                  <a:pt x="78862" y="44532"/>
                  <a:pt x="92075" y="28677"/>
                </a:cubicBezTo>
                <a:cubicBezTo>
                  <a:pt x="94518" y="25746"/>
                  <a:pt x="95727" y="21850"/>
                  <a:pt x="98425" y="19152"/>
                </a:cubicBezTo>
                <a:cubicBezTo>
                  <a:pt x="104580" y="12997"/>
                  <a:pt x="109728" y="12209"/>
                  <a:pt x="117475" y="9627"/>
                </a:cubicBezTo>
                <a:cubicBezTo>
                  <a:pt x="128058" y="10685"/>
                  <a:pt x="138771" y="10842"/>
                  <a:pt x="149225" y="12802"/>
                </a:cubicBezTo>
                <a:cubicBezTo>
                  <a:pt x="155804" y="14036"/>
                  <a:pt x="161925" y="17035"/>
                  <a:pt x="168275" y="19152"/>
                </a:cubicBezTo>
                <a:lnTo>
                  <a:pt x="196850" y="28677"/>
                </a:lnTo>
                <a:cubicBezTo>
                  <a:pt x="200025" y="29735"/>
                  <a:pt x="203093" y="31196"/>
                  <a:pt x="206375" y="31852"/>
                </a:cubicBezTo>
                <a:lnTo>
                  <a:pt x="222250" y="35027"/>
                </a:lnTo>
                <a:cubicBezTo>
                  <a:pt x="232833" y="33969"/>
                  <a:pt x="244004" y="35487"/>
                  <a:pt x="254000" y="31852"/>
                </a:cubicBezTo>
                <a:cubicBezTo>
                  <a:pt x="257145" y="30708"/>
                  <a:pt x="255084" y="24940"/>
                  <a:pt x="257175" y="22327"/>
                </a:cubicBezTo>
                <a:cubicBezTo>
                  <a:pt x="259559" y="19347"/>
                  <a:pt x="263525" y="18094"/>
                  <a:pt x="266700" y="15977"/>
                </a:cubicBezTo>
                <a:cubicBezTo>
                  <a:pt x="270164" y="10782"/>
                  <a:pt x="274878" y="1064"/>
                  <a:pt x="282575" y="102"/>
                </a:cubicBezTo>
                <a:cubicBezTo>
                  <a:pt x="287930" y="-567"/>
                  <a:pt x="293158" y="2219"/>
                  <a:pt x="298450" y="3277"/>
                </a:cubicBezTo>
                <a:cubicBezTo>
                  <a:pt x="301625" y="5394"/>
                  <a:pt x="305953" y="6391"/>
                  <a:pt x="307975" y="9627"/>
                </a:cubicBezTo>
                <a:cubicBezTo>
                  <a:pt x="319595" y="28219"/>
                  <a:pt x="306439" y="27289"/>
                  <a:pt x="323850" y="35027"/>
                </a:cubicBezTo>
                <a:cubicBezTo>
                  <a:pt x="329967" y="37745"/>
                  <a:pt x="337331" y="37664"/>
                  <a:pt x="342900" y="41377"/>
                </a:cubicBezTo>
                <a:cubicBezTo>
                  <a:pt x="346075" y="43494"/>
                  <a:pt x="348938" y="46177"/>
                  <a:pt x="352425" y="47727"/>
                </a:cubicBezTo>
                <a:cubicBezTo>
                  <a:pt x="358542" y="50445"/>
                  <a:pt x="371475" y="54077"/>
                  <a:pt x="371475" y="54077"/>
                </a:cubicBezTo>
                <a:cubicBezTo>
                  <a:pt x="372533" y="57252"/>
                  <a:pt x="373153" y="60609"/>
                  <a:pt x="374650" y="63602"/>
                </a:cubicBezTo>
                <a:cubicBezTo>
                  <a:pt x="376357" y="67015"/>
                  <a:pt x="381627" y="69363"/>
                  <a:pt x="381000" y="73127"/>
                </a:cubicBezTo>
                <a:cubicBezTo>
                  <a:pt x="379355" y="82996"/>
                  <a:pt x="365174" y="84227"/>
                  <a:pt x="358775" y="85827"/>
                </a:cubicBezTo>
                <a:cubicBezTo>
                  <a:pt x="354542" y="84769"/>
                  <a:pt x="349482" y="85378"/>
                  <a:pt x="346075" y="82652"/>
                </a:cubicBezTo>
                <a:cubicBezTo>
                  <a:pt x="343462" y="80561"/>
                  <a:pt x="343819" y="76345"/>
                  <a:pt x="342900" y="73127"/>
                </a:cubicBezTo>
                <a:cubicBezTo>
                  <a:pt x="341701" y="68931"/>
                  <a:pt x="340783" y="64660"/>
                  <a:pt x="339725" y="60427"/>
                </a:cubicBezTo>
                <a:cubicBezTo>
                  <a:pt x="321582" y="66475"/>
                  <a:pt x="336701" y="58613"/>
                  <a:pt x="327025" y="73127"/>
                </a:cubicBezTo>
                <a:cubicBezTo>
                  <a:pt x="324534" y="76863"/>
                  <a:pt x="320422" y="79243"/>
                  <a:pt x="317500" y="82652"/>
                </a:cubicBezTo>
                <a:cubicBezTo>
                  <a:pt x="293062" y="111163"/>
                  <a:pt x="322085" y="81242"/>
                  <a:pt x="298450" y="104877"/>
                </a:cubicBezTo>
                <a:cubicBezTo>
                  <a:pt x="295628" y="113344"/>
                  <a:pt x="290689" y="117577"/>
                  <a:pt x="304800" y="117577"/>
                </a:cubicBezTo>
                <a:cubicBezTo>
                  <a:pt x="313484" y="117577"/>
                  <a:pt x="316626" y="111263"/>
                  <a:pt x="323850" y="108052"/>
                </a:cubicBezTo>
                <a:cubicBezTo>
                  <a:pt x="329967" y="105334"/>
                  <a:pt x="342900" y="101702"/>
                  <a:pt x="342900" y="101702"/>
                </a:cubicBezTo>
                <a:cubicBezTo>
                  <a:pt x="340783" y="105935"/>
                  <a:pt x="339897" y="111055"/>
                  <a:pt x="336550" y="114402"/>
                </a:cubicBezTo>
                <a:cubicBezTo>
                  <a:pt x="316528" y="134424"/>
                  <a:pt x="323945" y="122292"/>
                  <a:pt x="307975" y="130277"/>
                </a:cubicBezTo>
                <a:cubicBezTo>
                  <a:pt x="304562" y="131984"/>
                  <a:pt x="301625" y="134510"/>
                  <a:pt x="298450" y="136627"/>
                </a:cubicBezTo>
                <a:cubicBezTo>
                  <a:pt x="297392" y="130277"/>
                  <a:pt x="298154" y="123335"/>
                  <a:pt x="295275" y="117577"/>
                </a:cubicBezTo>
                <a:cubicBezTo>
                  <a:pt x="293568" y="114164"/>
                  <a:pt x="289257" y="112730"/>
                  <a:pt x="285750" y="111227"/>
                </a:cubicBezTo>
                <a:cubicBezTo>
                  <a:pt x="281739" y="109508"/>
                  <a:pt x="277246" y="109251"/>
                  <a:pt x="273050" y="108052"/>
                </a:cubicBezTo>
                <a:cubicBezTo>
                  <a:pt x="269832" y="107133"/>
                  <a:pt x="266700" y="105935"/>
                  <a:pt x="263525" y="104877"/>
                </a:cubicBezTo>
                <a:cubicBezTo>
                  <a:pt x="252942" y="105935"/>
                  <a:pt x="242229" y="106092"/>
                  <a:pt x="231775" y="108052"/>
                </a:cubicBezTo>
                <a:cubicBezTo>
                  <a:pt x="225196" y="109286"/>
                  <a:pt x="212725" y="114402"/>
                  <a:pt x="212725" y="114402"/>
                </a:cubicBezTo>
                <a:cubicBezTo>
                  <a:pt x="210608" y="117577"/>
                  <a:pt x="208082" y="120514"/>
                  <a:pt x="206375" y="123927"/>
                </a:cubicBezTo>
                <a:cubicBezTo>
                  <a:pt x="204878" y="126920"/>
                  <a:pt x="205567" y="131085"/>
                  <a:pt x="203200" y="133452"/>
                </a:cubicBezTo>
                <a:cubicBezTo>
                  <a:pt x="198352" y="138300"/>
                  <a:pt x="183941" y="147996"/>
                  <a:pt x="174625" y="149327"/>
                </a:cubicBezTo>
                <a:cubicBezTo>
                  <a:pt x="163053" y="150980"/>
                  <a:pt x="151342" y="151444"/>
                  <a:pt x="139700" y="152502"/>
                </a:cubicBezTo>
                <a:cubicBezTo>
                  <a:pt x="133350" y="154619"/>
                  <a:pt x="125383" y="154119"/>
                  <a:pt x="120650" y="158852"/>
                </a:cubicBezTo>
                <a:lnTo>
                  <a:pt x="101600" y="177902"/>
                </a:lnTo>
                <a:cubicBezTo>
                  <a:pt x="100542" y="181077"/>
                  <a:pt x="101148" y="185482"/>
                  <a:pt x="98425" y="187427"/>
                </a:cubicBezTo>
                <a:cubicBezTo>
                  <a:pt x="87661" y="195116"/>
                  <a:pt x="77258" y="192719"/>
                  <a:pt x="73025" y="193777"/>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4" name="Freeform 413">
            <a:extLst>
              <a:ext uri="{FF2B5EF4-FFF2-40B4-BE49-F238E27FC236}">
                <a16:creationId xmlns:a16="http://schemas.microsoft.com/office/drawing/2014/main" id="{2995F78C-06FF-70A8-5C3D-C68385880AF0}"/>
              </a:ext>
            </a:extLst>
          </p:cNvPr>
          <p:cNvSpPr/>
          <p:nvPr/>
        </p:nvSpPr>
        <p:spPr bwMode="gray">
          <a:xfrm>
            <a:off x="2952750" y="4046538"/>
            <a:ext cx="241300" cy="115888"/>
          </a:xfrm>
          <a:custGeom>
            <a:avLst/>
            <a:gdLst>
              <a:gd name="connsiteX0" fmla="*/ 19050 w 241300"/>
              <a:gd name="connsiteY0" fmla="*/ 111125 h 115514"/>
              <a:gd name="connsiteX1" fmla="*/ 19050 w 241300"/>
              <a:gd name="connsiteY1" fmla="*/ 111125 h 115514"/>
              <a:gd name="connsiteX2" fmla="*/ 79375 w 241300"/>
              <a:gd name="connsiteY2" fmla="*/ 76200 h 115514"/>
              <a:gd name="connsiteX3" fmla="*/ 146050 w 241300"/>
              <a:gd name="connsiteY3" fmla="*/ 98425 h 115514"/>
              <a:gd name="connsiteX4" fmla="*/ 193675 w 241300"/>
              <a:gd name="connsiteY4" fmla="*/ 95250 h 115514"/>
              <a:gd name="connsiteX5" fmla="*/ 212725 w 241300"/>
              <a:gd name="connsiteY5" fmla="*/ 82550 h 115514"/>
              <a:gd name="connsiteX6" fmla="*/ 241300 w 241300"/>
              <a:gd name="connsiteY6" fmla="*/ 76200 h 115514"/>
              <a:gd name="connsiteX7" fmla="*/ 209550 w 241300"/>
              <a:gd name="connsiteY7" fmla="*/ 63500 h 115514"/>
              <a:gd name="connsiteX8" fmla="*/ 200025 w 241300"/>
              <a:gd name="connsiteY8" fmla="*/ 57150 h 115514"/>
              <a:gd name="connsiteX9" fmla="*/ 190500 w 241300"/>
              <a:gd name="connsiteY9" fmla="*/ 53975 h 115514"/>
              <a:gd name="connsiteX10" fmla="*/ 177800 w 241300"/>
              <a:gd name="connsiteY10" fmla="*/ 34925 h 115514"/>
              <a:gd name="connsiteX11" fmla="*/ 174625 w 241300"/>
              <a:gd name="connsiteY11" fmla="*/ 25400 h 115514"/>
              <a:gd name="connsiteX12" fmla="*/ 161925 w 241300"/>
              <a:gd name="connsiteY12" fmla="*/ 22225 h 115514"/>
              <a:gd name="connsiteX13" fmla="*/ 139700 w 241300"/>
              <a:gd name="connsiteY13" fmla="*/ 0 h 115514"/>
              <a:gd name="connsiteX14" fmla="*/ 123825 w 241300"/>
              <a:gd name="connsiteY14" fmla="*/ 3175 h 115514"/>
              <a:gd name="connsiteX15" fmla="*/ 104775 w 241300"/>
              <a:gd name="connsiteY15" fmla="*/ 22225 h 115514"/>
              <a:gd name="connsiteX16" fmla="*/ 85725 w 241300"/>
              <a:gd name="connsiteY16" fmla="*/ 41275 h 115514"/>
              <a:gd name="connsiteX17" fmla="*/ 66675 w 241300"/>
              <a:gd name="connsiteY17" fmla="*/ 57150 h 115514"/>
              <a:gd name="connsiteX18" fmla="*/ 41275 w 241300"/>
              <a:gd name="connsiteY18" fmla="*/ 60325 h 115514"/>
              <a:gd name="connsiteX19" fmla="*/ 31750 w 241300"/>
              <a:gd name="connsiteY19" fmla="*/ 63500 h 115514"/>
              <a:gd name="connsiteX20" fmla="*/ 25400 w 241300"/>
              <a:gd name="connsiteY20" fmla="*/ 73025 h 115514"/>
              <a:gd name="connsiteX21" fmla="*/ 15875 w 241300"/>
              <a:gd name="connsiteY21" fmla="*/ 82550 h 115514"/>
              <a:gd name="connsiteX22" fmla="*/ 0 w 241300"/>
              <a:gd name="connsiteY22" fmla="*/ 101600 h 115514"/>
              <a:gd name="connsiteX23" fmla="*/ 3175 w 241300"/>
              <a:gd name="connsiteY23" fmla="*/ 114300 h 115514"/>
              <a:gd name="connsiteX24" fmla="*/ 22225 w 241300"/>
              <a:gd name="connsiteY24" fmla="*/ 101600 h 115514"/>
              <a:gd name="connsiteX25" fmla="*/ 19050 w 241300"/>
              <a:gd name="connsiteY25" fmla="*/ 111125 h 1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1300" h="115514">
                <a:moveTo>
                  <a:pt x="19050" y="111125"/>
                </a:moveTo>
                <a:lnTo>
                  <a:pt x="19050" y="111125"/>
                </a:lnTo>
                <a:cubicBezTo>
                  <a:pt x="39158" y="99483"/>
                  <a:pt x="56255" y="78512"/>
                  <a:pt x="79375" y="76200"/>
                </a:cubicBezTo>
                <a:cubicBezTo>
                  <a:pt x="102686" y="73869"/>
                  <a:pt x="146050" y="98425"/>
                  <a:pt x="146050" y="98425"/>
                </a:cubicBezTo>
                <a:cubicBezTo>
                  <a:pt x="161925" y="97367"/>
                  <a:pt x="177862" y="97007"/>
                  <a:pt x="193675" y="95250"/>
                </a:cubicBezTo>
                <a:cubicBezTo>
                  <a:pt x="207264" y="93740"/>
                  <a:pt x="201096" y="90303"/>
                  <a:pt x="212725" y="82550"/>
                </a:cubicBezTo>
                <a:cubicBezTo>
                  <a:pt x="217936" y="79076"/>
                  <a:pt x="238995" y="76584"/>
                  <a:pt x="241300" y="76200"/>
                </a:cubicBezTo>
                <a:cubicBezTo>
                  <a:pt x="228646" y="57219"/>
                  <a:pt x="242250" y="72418"/>
                  <a:pt x="209550" y="63500"/>
                </a:cubicBezTo>
                <a:cubicBezTo>
                  <a:pt x="205869" y="62496"/>
                  <a:pt x="203438" y="58857"/>
                  <a:pt x="200025" y="57150"/>
                </a:cubicBezTo>
                <a:cubicBezTo>
                  <a:pt x="197032" y="55653"/>
                  <a:pt x="193675" y="55033"/>
                  <a:pt x="190500" y="53975"/>
                </a:cubicBezTo>
                <a:cubicBezTo>
                  <a:pt x="186267" y="47625"/>
                  <a:pt x="180213" y="42165"/>
                  <a:pt x="177800" y="34925"/>
                </a:cubicBezTo>
                <a:cubicBezTo>
                  <a:pt x="176742" y="31750"/>
                  <a:pt x="177238" y="27491"/>
                  <a:pt x="174625" y="25400"/>
                </a:cubicBezTo>
                <a:cubicBezTo>
                  <a:pt x="171218" y="22674"/>
                  <a:pt x="166158" y="23283"/>
                  <a:pt x="161925" y="22225"/>
                </a:cubicBezTo>
                <a:cubicBezTo>
                  <a:pt x="147369" y="390"/>
                  <a:pt x="156465" y="5588"/>
                  <a:pt x="139700" y="0"/>
                </a:cubicBezTo>
                <a:cubicBezTo>
                  <a:pt x="134408" y="1058"/>
                  <a:pt x="128378" y="278"/>
                  <a:pt x="123825" y="3175"/>
                </a:cubicBezTo>
                <a:cubicBezTo>
                  <a:pt x="116249" y="7996"/>
                  <a:pt x="111125" y="15875"/>
                  <a:pt x="104775" y="22225"/>
                </a:cubicBezTo>
                <a:lnTo>
                  <a:pt x="85725" y="41275"/>
                </a:lnTo>
                <a:cubicBezTo>
                  <a:pt x="81954" y="45046"/>
                  <a:pt x="72753" y="55492"/>
                  <a:pt x="66675" y="57150"/>
                </a:cubicBezTo>
                <a:cubicBezTo>
                  <a:pt x="58443" y="59395"/>
                  <a:pt x="49742" y="59267"/>
                  <a:pt x="41275" y="60325"/>
                </a:cubicBezTo>
                <a:cubicBezTo>
                  <a:pt x="38100" y="61383"/>
                  <a:pt x="34363" y="61409"/>
                  <a:pt x="31750" y="63500"/>
                </a:cubicBezTo>
                <a:cubicBezTo>
                  <a:pt x="28770" y="65884"/>
                  <a:pt x="27843" y="70094"/>
                  <a:pt x="25400" y="73025"/>
                </a:cubicBezTo>
                <a:cubicBezTo>
                  <a:pt x="22525" y="76474"/>
                  <a:pt x="18750" y="79101"/>
                  <a:pt x="15875" y="82550"/>
                </a:cubicBezTo>
                <a:cubicBezTo>
                  <a:pt x="-6227" y="109072"/>
                  <a:pt x="27827" y="73773"/>
                  <a:pt x="0" y="101600"/>
                </a:cubicBezTo>
                <a:cubicBezTo>
                  <a:pt x="1058" y="105833"/>
                  <a:pt x="-567" y="112055"/>
                  <a:pt x="3175" y="114300"/>
                </a:cubicBezTo>
                <a:cubicBezTo>
                  <a:pt x="11844" y="119502"/>
                  <a:pt x="20216" y="106621"/>
                  <a:pt x="22225" y="101600"/>
                </a:cubicBezTo>
                <a:cubicBezTo>
                  <a:pt x="23011" y="99635"/>
                  <a:pt x="19579" y="109538"/>
                  <a:pt x="19050" y="1111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Freeform 414">
            <a:extLst>
              <a:ext uri="{FF2B5EF4-FFF2-40B4-BE49-F238E27FC236}">
                <a16:creationId xmlns:a16="http://schemas.microsoft.com/office/drawing/2014/main" id="{DB531702-6DEF-B1B9-BF7B-8B7D41363345}"/>
              </a:ext>
            </a:extLst>
          </p:cNvPr>
          <p:cNvSpPr/>
          <p:nvPr/>
        </p:nvSpPr>
        <p:spPr bwMode="gray">
          <a:xfrm>
            <a:off x="3355975" y="4303713"/>
            <a:ext cx="155575" cy="101600"/>
          </a:xfrm>
          <a:custGeom>
            <a:avLst/>
            <a:gdLst>
              <a:gd name="connsiteX0" fmla="*/ 25468 w 155643"/>
              <a:gd name="connsiteY0" fmla="*/ 53975 h 101600"/>
              <a:gd name="connsiteX1" fmla="*/ 25468 w 155643"/>
              <a:gd name="connsiteY1" fmla="*/ 53975 h 101600"/>
              <a:gd name="connsiteX2" fmla="*/ 68 w 155643"/>
              <a:gd name="connsiteY2" fmla="*/ 82550 h 101600"/>
              <a:gd name="connsiteX3" fmla="*/ 19118 w 155643"/>
              <a:gd name="connsiteY3" fmla="*/ 95250 h 101600"/>
              <a:gd name="connsiteX4" fmla="*/ 28643 w 155643"/>
              <a:gd name="connsiteY4" fmla="*/ 101600 h 101600"/>
              <a:gd name="connsiteX5" fmla="*/ 50868 w 155643"/>
              <a:gd name="connsiteY5" fmla="*/ 98425 h 101600"/>
              <a:gd name="connsiteX6" fmla="*/ 60393 w 155643"/>
              <a:gd name="connsiteY6" fmla="*/ 76200 h 101600"/>
              <a:gd name="connsiteX7" fmla="*/ 73093 w 155643"/>
              <a:gd name="connsiteY7" fmla="*/ 60325 h 101600"/>
              <a:gd name="connsiteX8" fmla="*/ 98493 w 155643"/>
              <a:gd name="connsiteY8" fmla="*/ 53975 h 101600"/>
              <a:gd name="connsiteX9" fmla="*/ 117543 w 155643"/>
              <a:gd name="connsiteY9" fmla="*/ 47625 h 101600"/>
              <a:gd name="connsiteX10" fmla="*/ 127068 w 155643"/>
              <a:gd name="connsiteY10" fmla="*/ 44450 h 101600"/>
              <a:gd name="connsiteX11" fmla="*/ 136593 w 155643"/>
              <a:gd name="connsiteY11" fmla="*/ 47625 h 101600"/>
              <a:gd name="connsiteX12" fmla="*/ 155643 w 155643"/>
              <a:gd name="connsiteY12" fmla="*/ 38100 h 101600"/>
              <a:gd name="connsiteX13" fmla="*/ 136593 w 155643"/>
              <a:gd name="connsiteY13" fmla="*/ 28575 h 101600"/>
              <a:gd name="connsiteX14" fmla="*/ 127068 w 155643"/>
              <a:gd name="connsiteY14" fmla="*/ 31750 h 101600"/>
              <a:gd name="connsiteX15" fmla="*/ 108018 w 155643"/>
              <a:gd name="connsiteY15" fmla="*/ 28575 h 101600"/>
              <a:gd name="connsiteX16" fmla="*/ 114368 w 155643"/>
              <a:gd name="connsiteY16" fmla="*/ 9525 h 101600"/>
              <a:gd name="connsiteX17" fmla="*/ 95318 w 155643"/>
              <a:gd name="connsiteY17" fmla="*/ 0 h 101600"/>
              <a:gd name="connsiteX18" fmla="*/ 82618 w 155643"/>
              <a:gd name="connsiteY18" fmla="*/ 3175 h 101600"/>
              <a:gd name="connsiteX19" fmla="*/ 69918 w 155643"/>
              <a:gd name="connsiteY19" fmla="*/ 22225 h 101600"/>
              <a:gd name="connsiteX20" fmla="*/ 63568 w 155643"/>
              <a:gd name="connsiteY20" fmla="*/ 31750 h 101600"/>
              <a:gd name="connsiteX21" fmla="*/ 54043 w 155643"/>
              <a:gd name="connsiteY21" fmla="*/ 38100 h 101600"/>
              <a:gd name="connsiteX22" fmla="*/ 22293 w 155643"/>
              <a:gd name="connsiteY22" fmla="*/ 47625 h 101600"/>
              <a:gd name="connsiteX23" fmla="*/ 25468 w 155643"/>
              <a:gd name="connsiteY23" fmla="*/ 5397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5643" h="101600">
                <a:moveTo>
                  <a:pt x="25468" y="53975"/>
                </a:moveTo>
                <a:lnTo>
                  <a:pt x="25468" y="53975"/>
                </a:lnTo>
                <a:cubicBezTo>
                  <a:pt x="17001" y="63500"/>
                  <a:pt x="2006" y="69954"/>
                  <a:pt x="68" y="82550"/>
                </a:cubicBezTo>
                <a:cubicBezTo>
                  <a:pt x="-1092" y="90093"/>
                  <a:pt x="12768" y="91017"/>
                  <a:pt x="19118" y="95250"/>
                </a:cubicBezTo>
                <a:lnTo>
                  <a:pt x="28643" y="101600"/>
                </a:lnTo>
                <a:cubicBezTo>
                  <a:pt x="36051" y="100542"/>
                  <a:pt x="44029" y="101464"/>
                  <a:pt x="50868" y="98425"/>
                </a:cubicBezTo>
                <a:cubicBezTo>
                  <a:pt x="57195" y="95613"/>
                  <a:pt x="59086" y="80774"/>
                  <a:pt x="60393" y="76200"/>
                </a:cubicBezTo>
                <a:cubicBezTo>
                  <a:pt x="63445" y="65519"/>
                  <a:pt x="62300" y="65722"/>
                  <a:pt x="73093" y="60325"/>
                </a:cubicBezTo>
                <a:cubicBezTo>
                  <a:pt x="80800" y="56472"/>
                  <a:pt x="90523" y="56149"/>
                  <a:pt x="98493" y="53975"/>
                </a:cubicBezTo>
                <a:cubicBezTo>
                  <a:pt x="104951" y="52214"/>
                  <a:pt x="111193" y="49742"/>
                  <a:pt x="117543" y="47625"/>
                </a:cubicBezTo>
                <a:lnTo>
                  <a:pt x="127068" y="44450"/>
                </a:lnTo>
                <a:cubicBezTo>
                  <a:pt x="130243" y="45508"/>
                  <a:pt x="133246" y="47625"/>
                  <a:pt x="136593" y="47625"/>
                </a:cubicBezTo>
                <a:cubicBezTo>
                  <a:pt x="143166" y="47625"/>
                  <a:pt x="150827" y="41311"/>
                  <a:pt x="155643" y="38100"/>
                </a:cubicBezTo>
                <a:cubicBezTo>
                  <a:pt x="150827" y="34889"/>
                  <a:pt x="143166" y="28575"/>
                  <a:pt x="136593" y="28575"/>
                </a:cubicBezTo>
                <a:cubicBezTo>
                  <a:pt x="133246" y="28575"/>
                  <a:pt x="130243" y="30692"/>
                  <a:pt x="127068" y="31750"/>
                </a:cubicBezTo>
                <a:cubicBezTo>
                  <a:pt x="120718" y="30692"/>
                  <a:pt x="111212" y="34164"/>
                  <a:pt x="108018" y="28575"/>
                </a:cubicBezTo>
                <a:cubicBezTo>
                  <a:pt x="104697" y="22763"/>
                  <a:pt x="114368" y="9525"/>
                  <a:pt x="114368" y="9525"/>
                </a:cubicBezTo>
                <a:cubicBezTo>
                  <a:pt x="109552" y="6314"/>
                  <a:pt x="101891" y="0"/>
                  <a:pt x="95318" y="0"/>
                </a:cubicBezTo>
                <a:cubicBezTo>
                  <a:pt x="90954" y="0"/>
                  <a:pt x="86851" y="2117"/>
                  <a:pt x="82618" y="3175"/>
                </a:cubicBezTo>
                <a:cubicBezTo>
                  <a:pt x="77038" y="19914"/>
                  <a:pt x="83131" y="6370"/>
                  <a:pt x="69918" y="22225"/>
                </a:cubicBezTo>
                <a:cubicBezTo>
                  <a:pt x="67475" y="25156"/>
                  <a:pt x="66266" y="29052"/>
                  <a:pt x="63568" y="31750"/>
                </a:cubicBezTo>
                <a:cubicBezTo>
                  <a:pt x="60870" y="34448"/>
                  <a:pt x="57530" y="36550"/>
                  <a:pt x="54043" y="38100"/>
                </a:cubicBezTo>
                <a:cubicBezTo>
                  <a:pt x="44105" y="42517"/>
                  <a:pt x="32848" y="44986"/>
                  <a:pt x="22293" y="47625"/>
                </a:cubicBezTo>
                <a:cubicBezTo>
                  <a:pt x="10799" y="55288"/>
                  <a:pt x="24939" y="52917"/>
                  <a:pt x="25468" y="5397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6" name="Freeform 415">
            <a:extLst>
              <a:ext uri="{FF2B5EF4-FFF2-40B4-BE49-F238E27FC236}">
                <a16:creationId xmlns:a16="http://schemas.microsoft.com/office/drawing/2014/main" id="{0B8D3752-670D-287D-7804-7C3AAF38C691}"/>
              </a:ext>
            </a:extLst>
          </p:cNvPr>
          <p:cNvSpPr/>
          <p:nvPr/>
        </p:nvSpPr>
        <p:spPr bwMode="gray">
          <a:xfrm>
            <a:off x="3046414" y="4646613"/>
            <a:ext cx="55563" cy="76200"/>
          </a:xfrm>
          <a:custGeom>
            <a:avLst/>
            <a:gdLst>
              <a:gd name="connsiteX0" fmla="*/ 27144 w 55808"/>
              <a:gd name="connsiteY0" fmla="*/ 0 h 76200"/>
              <a:gd name="connsiteX1" fmla="*/ 27144 w 55808"/>
              <a:gd name="connsiteY1" fmla="*/ 0 h 76200"/>
              <a:gd name="connsiteX2" fmla="*/ 55719 w 55808"/>
              <a:gd name="connsiteY2" fmla="*/ 19050 h 76200"/>
              <a:gd name="connsiteX3" fmla="*/ 49369 w 55808"/>
              <a:gd name="connsiteY3" fmla="*/ 38100 h 76200"/>
              <a:gd name="connsiteX4" fmla="*/ 30319 w 55808"/>
              <a:gd name="connsiteY4" fmla="*/ 44450 h 76200"/>
              <a:gd name="connsiteX5" fmla="*/ 23969 w 55808"/>
              <a:gd name="connsiteY5" fmla="*/ 53975 h 76200"/>
              <a:gd name="connsiteX6" fmla="*/ 11269 w 55808"/>
              <a:gd name="connsiteY6" fmla="*/ 76200 h 76200"/>
              <a:gd name="connsiteX7" fmla="*/ 1744 w 55808"/>
              <a:gd name="connsiteY7" fmla="*/ 73025 h 76200"/>
              <a:gd name="connsiteX8" fmla="*/ 11269 w 55808"/>
              <a:gd name="connsiteY8" fmla="*/ 38100 h 76200"/>
              <a:gd name="connsiteX9" fmla="*/ 23969 w 55808"/>
              <a:gd name="connsiteY9" fmla="*/ 19050 h 76200"/>
              <a:gd name="connsiteX10" fmla="*/ 33494 w 55808"/>
              <a:gd name="connsiteY10" fmla="*/ 12700 h 76200"/>
              <a:gd name="connsiteX11" fmla="*/ 27144 w 55808"/>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808" h="76200">
                <a:moveTo>
                  <a:pt x="27144" y="0"/>
                </a:moveTo>
                <a:lnTo>
                  <a:pt x="27144" y="0"/>
                </a:lnTo>
                <a:cubicBezTo>
                  <a:pt x="34808" y="2874"/>
                  <a:pt x="57409" y="3843"/>
                  <a:pt x="55719" y="19050"/>
                </a:cubicBezTo>
                <a:cubicBezTo>
                  <a:pt x="54980" y="25703"/>
                  <a:pt x="55719" y="35983"/>
                  <a:pt x="49369" y="38100"/>
                </a:cubicBezTo>
                <a:lnTo>
                  <a:pt x="30319" y="44450"/>
                </a:lnTo>
                <a:cubicBezTo>
                  <a:pt x="28202" y="47625"/>
                  <a:pt x="25862" y="50662"/>
                  <a:pt x="23969" y="53975"/>
                </a:cubicBezTo>
                <a:cubicBezTo>
                  <a:pt x="7856" y="82173"/>
                  <a:pt x="26740" y="52994"/>
                  <a:pt x="11269" y="76200"/>
                </a:cubicBezTo>
                <a:cubicBezTo>
                  <a:pt x="8094" y="75142"/>
                  <a:pt x="2470" y="76292"/>
                  <a:pt x="1744" y="73025"/>
                </a:cubicBezTo>
                <a:cubicBezTo>
                  <a:pt x="-3530" y="49292"/>
                  <a:pt x="4176" y="52286"/>
                  <a:pt x="11269" y="38100"/>
                </a:cubicBezTo>
                <a:cubicBezTo>
                  <a:pt x="18536" y="23566"/>
                  <a:pt x="8492" y="31947"/>
                  <a:pt x="23969" y="19050"/>
                </a:cubicBezTo>
                <a:cubicBezTo>
                  <a:pt x="26900" y="16607"/>
                  <a:pt x="32569" y="16402"/>
                  <a:pt x="33494" y="12700"/>
                </a:cubicBezTo>
                <a:cubicBezTo>
                  <a:pt x="34220" y="9796"/>
                  <a:pt x="28202" y="2117"/>
                  <a:pt x="27144"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7" name="Freeform 416">
            <a:extLst>
              <a:ext uri="{FF2B5EF4-FFF2-40B4-BE49-F238E27FC236}">
                <a16:creationId xmlns:a16="http://schemas.microsoft.com/office/drawing/2014/main" id="{5A173CF1-1F11-F0AB-1756-D941F648444F}"/>
              </a:ext>
            </a:extLst>
          </p:cNvPr>
          <p:cNvSpPr/>
          <p:nvPr/>
        </p:nvSpPr>
        <p:spPr bwMode="gray">
          <a:xfrm>
            <a:off x="3411538" y="4452938"/>
            <a:ext cx="61913" cy="47625"/>
          </a:xfrm>
          <a:custGeom>
            <a:avLst/>
            <a:gdLst>
              <a:gd name="connsiteX0" fmla="*/ 48871 w 61576"/>
              <a:gd name="connsiteY0" fmla="*/ 0 h 47625"/>
              <a:gd name="connsiteX1" fmla="*/ 48871 w 61576"/>
              <a:gd name="connsiteY1" fmla="*/ 0 h 47625"/>
              <a:gd name="connsiteX2" fmla="*/ 4421 w 61576"/>
              <a:gd name="connsiteY2" fmla="*/ 22225 h 47625"/>
              <a:gd name="connsiteX3" fmla="*/ 1246 w 61576"/>
              <a:gd name="connsiteY3" fmla="*/ 31750 h 47625"/>
              <a:gd name="connsiteX4" fmla="*/ 52046 w 61576"/>
              <a:gd name="connsiteY4" fmla="*/ 38100 h 47625"/>
              <a:gd name="connsiteX5" fmla="*/ 58396 w 61576"/>
              <a:gd name="connsiteY5" fmla="*/ 47625 h 47625"/>
              <a:gd name="connsiteX6" fmla="*/ 61571 w 61576"/>
              <a:gd name="connsiteY6" fmla="*/ 38100 h 47625"/>
              <a:gd name="connsiteX7" fmla="*/ 58396 w 61576"/>
              <a:gd name="connsiteY7" fmla="*/ 12700 h 47625"/>
              <a:gd name="connsiteX8" fmla="*/ 48871 w 61576"/>
              <a:gd name="connsiteY8" fmla="*/ 9525 h 47625"/>
              <a:gd name="connsiteX9" fmla="*/ 48871 w 61576"/>
              <a:gd name="connsiteY9"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76" h="47625">
                <a:moveTo>
                  <a:pt x="48871" y="0"/>
                </a:moveTo>
                <a:lnTo>
                  <a:pt x="48871" y="0"/>
                </a:lnTo>
                <a:cubicBezTo>
                  <a:pt x="34054" y="7408"/>
                  <a:pt x="18204" y="13036"/>
                  <a:pt x="4421" y="22225"/>
                </a:cubicBezTo>
                <a:cubicBezTo>
                  <a:pt x="1636" y="24081"/>
                  <a:pt x="-1929" y="30692"/>
                  <a:pt x="1246" y="31750"/>
                </a:cubicBezTo>
                <a:cubicBezTo>
                  <a:pt x="17435" y="37146"/>
                  <a:pt x="35113" y="35983"/>
                  <a:pt x="52046" y="38100"/>
                </a:cubicBezTo>
                <a:cubicBezTo>
                  <a:pt x="54163" y="41275"/>
                  <a:pt x="54580" y="47625"/>
                  <a:pt x="58396" y="47625"/>
                </a:cubicBezTo>
                <a:cubicBezTo>
                  <a:pt x="61743" y="47625"/>
                  <a:pt x="61571" y="41447"/>
                  <a:pt x="61571" y="38100"/>
                </a:cubicBezTo>
                <a:cubicBezTo>
                  <a:pt x="61571" y="29567"/>
                  <a:pt x="61861" y="20497"/>
                  <a:pt x="58396" y="12700"/>
                </a:cubicBezTo>
                <a:cubicBezTo>
                  <a:pt x="57037" y="9642"/>
                  <a:pt x="52192" y="9940"/>
                  <a:pt x="48871" y="9525"/>
                </a:cubicBezTo>
                <a:cubicBezTo>
                  <a:pt x="43620" y="8869"/>
                  <a:pt x="48871" y="1587"/>
                  <a:pt x="48871"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8" name="Freeform 417">
            <a:extLst>
              <a:ext uri="{FF2B5EF4-FFF2-40B4-BE49-F238E27FC236}">
                <a16:creationId xmlns:a16="http://schemas.microsoft.com/office/drawing/2014/main" id="{2E9510BC-E9E7-C394-718C-4D222C1F351B}"/>
              </a:ext>
            </a:extLst>
          </p:cNvPr>
          <p:cNvSpPr/>
          <p:nvPr/>
        </p:nvSpPr>
        <p:spPr bwMode="gray">
          <a:xfrm>
            <a:off x="2730501" y="3948113"/>
            <a:ext cx="111125" cy="79375"/>
          </a:xfrm>
          <a:custGeom>
            <a:avLst/>
            <a:gdLst>
              <a:gd name="connsiteX0" fmla="*/ 25400 w 111204"/>
              <a:gd name="connsiteY0" fmla="*/ 60373 h 79423"/>
              <a:gd name="connsiteX1" fmla="*/ 25400 w 111204"/>
              <a:gd name="connsiteY1" fmla="*/ 60373 h 79423"/>
              <a:gd name="connsiteX2" fmla="*/ 0 w 111204"/>
              <a:gd name="connsiteY2" fmla="*/ 79423 h 79423"/>
              <a:gd name="connsiteX3" fmla="*/ 9525 w 111204"/>
              <a:gd name="connsiteY3" fmla="*/ 54023 h 79423"/>
              <a:gd name="connsiteX4" fmla="*/ 19050 w 111204"/>
              <a:gd name="connsiteY4" fmla="*/ 50848 h 79423"/>
              <a:gd name="connsiteX5" fmla="*/ 25400 w 111204"/>
              <a:gd name="connsiteY5" fmla="*/ 41323 h 79423"/>
              <a:gd name="connsiteX6" fmla="*/ 34925 w 111204"/>
              <a:gd name="connsiteY6" fmla="*/ 22273 h 79423"/>
              <a:gd name="connsiteX7" fmla="*/ 44450 w 111204"/>
              <a:gd name="connsiteY7" fmla="*/ 19098 h 79423"/>
              <a:gd name="connsiteX8" fmla="*/ 66675 w 111204"/>
              <a:gd name="connsiteY8" fmla="*/ 3223 h 79423"/>
              <a:gd name="connsiteX9" fmla="*/ 69850 w 111204"/>
              <a:gd name="connsiteY9" fmla="*/ 19098 h 79423"/>
              <a:gd name="connsiteX10" fmla="*/ 98425 w 111204"/>
              <a:gd name="connsiteY10" fmla="*/ 15923 h 79423"/>
              <a:gd name="connsiteX11" fmla="*/ 104775 w 111204"/>
              <a:gd name="connsiteY11" fmla="*/ 6398 h 79423"/>
              <a:gd name="connsiteX12" fmla="*/ 111125 w 111204"/>
              <a:gd name="connsiteY12" fmla="*/ 15923 h 79423"/>
              <a:gd name="connsiteX13" fmla="*/ 101600 w 111204"/>
              <a:gd name="connsiteY13" fmla="*/ 25448 h 79423"/>
              <a:gd name="connsiteX14" fmla="*/ 53975 w 111204"/>
              <a:gd name="connsiteY14" fmla="*/ 34973 h 79423"/>
              <a:gd name="connsiteX15" fmla="*/ 34925 w 111204"/>
              <a:gd name="connsiteY15" fmla="*/ 47673 h 79423"/>
              <a:gd name="connsiteX16" fmla="*/ 25400 w 111204"/>
              <a:gd name="connsiteY16" fmla="*/ 60373 h 7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204" h="79423">
                <a:moveTo>
                  <a:pt x="25400" y="60373"/>
                </a:moveTo>
                <a:lnTo>
                  <a:pt x="25400" y="60373"/>
                </a:lnTo>
                <a:lnTo>
                  <a:pt x="0" y="79423"/>
                </a:lnTo>
                <a:cubicBezTo>
                  <a:pt x="3175" y="70956"/>
                  <a:pt x="4509" y="61547"/>
                  <a:pt x="9525" y="54023"/>
                </a:cubicBezTo>
                <a:cubicBezTo>
                  <a:pt x="11381" y="51238"/>
                  <a:pt x="16437" y="52939"/>
                  <a:pt x="19050" y="50848"/>
                </a:cubicBezTo>
                <a:cubicBezTo>
                  <a:pt x="22030" y="48464"/>
                  <a:pt x="23693" y="44736"/>
                  <a:pt x="25400" y="41323"/>
                </a:cubicBezTo>
                <a:cubicBezTo>
                  <a:pt x="29235" y="33654"/>
                  <a:pt x="27342" y="28339"/>
                  <a:pt x="34925" y="22273"/>
                </a:cubicBezTo>
                <a:cubicBezTo>
                  <a:pt x="37538" y="20182"/>
                  <a:pt x="41275" y="20156"/>
                  <a:pt x="44450" y="19098"/>
                </a:cubicBezTo>
                <a:cubicBezTo>
                  <a:pt x="59006" y="-2737"/>
                  <a:pt x="49910" y="-2365"/>
                  <a:pt x="66675" y="3223"/>
                </a:cubicBezTo>
                <a:cubicBezTo>
                  <a:pt x="67733" y="8515"/>
                  <a:pt x="67173" y="14413"/>
                  <a:pt x="69850" y="19098"/>
                </a:cubicBezTo>
                <a:cubicBezTo>
                  <a:pt x="77575" y="32616"/>
                  <a:pt x="90726" y="21056"/>
                  <a:pt x="98425" y="15923"/>
                </a:cubicBezTo>
                <a:cubicBezTo>
                  <a:pt x="100542" y="12748"/>
                  <a:pt x="100959" y="6398"/>
                  <a:pt x="104775" y="6398"/>
                </a:cubicBezTo>
                <a:cubicBezTo>
                  <a:pt x="108591" y="6398"/>
                  <a:pt x="111752" y="12159"/>
                  <a:pt x="111125" y="15923"/>
                </a:cubicBezTo>
                <a:cubicBezTo>
                  <a:pt x="110387" y="20352"/>
                  <a:pt x="105049" y="22573"/>
                  <a:pt x="101600" y="25448"/>
                </a:cubicBezTo>
                <a:cubicBezTo>
                  <a:pt x="85944" y="38494"/>
                  <a:pt x="80939" y="32726"/>
                  <a:pt x="53975" y="34973"/>
                </a:cubicBezTo>
                <a:cubicBezTo>
                  <a:pt x="47625" y="39206"/>
                  <a:pt x="40321" y="42277"/>
                  <a:pt x="34925" y="47673"/>
                </a:cubicBezTo>
                <a:lnTo>
                  <a:pt x="25400" y="60373"/>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9" name="Freeform 418">
            <a:extLst>
              <a:ext uri="{FF2B5EF4-FFF2-40B4-BE49-F238E27FC236}">
                <a16:creationId xmlns:a16="http://schemas.microsoft.com/office/drawing/2014/main" id="{81C9C43F-6E9C-B0B0-2C1A-877E02B9FC65}"/>
              </a:ext>
            </a:extLst>
          </p:cNvPr>
          <p:cNvSpPr/>
          <p:nvPr/>
        </p:nvSpPr>
        <p:spPr bwMode="gray">
          <a:xfrm>
            <a:off x="2765425" y="3856038"/>
            <a:ext cx="57150" cy="79375"/>
          </a:xfrm>
          <a:custGeom>
            <a:avLst/>
            <a:gdLst>
              <a:gd name="connsiteX0" fmla="*/ 35717 w 58015"/>
              <a:gd name="connsiteY0" fmla="*/ 69850 h 79375"/>
              <a:gd name="connsiteX1" fmla="*/ 35717 w 58015"/>
              <a:gd name="connsiteY1" fmla="*/ 69850 h 79375"/>
              <a:gd name="connsiteX2" fmla="*/ 54767 w 58015"/>
              <a:gd name="connsiteY2" fmla="*/ 47625 h 79375"/>
              <a:gd name="connsiteX3" fmla="*/ 48417 w 58015"/>
              <a:gd name="connsiteY3" fmla="*/ 28575 h 79375"/>
              <a:gd name="connsiteX4" fmla="*/ 51592 w 58015"/>
              <a:gd name="connsiteY4" fmla="*/ 19050 h 79375"/>
              <a:gd name="connsiteX5" fmla="*/ 57942 w 58015"/>
              <a:gd name="connsiteY5" fmla="*/ 9525 h 79375"/>
              <a:gd name="connsiteX6" fmla="*/ 54767 w 58015"/>
              <a:gd name="connsiteY6" fmla="*/ 0 h 79375"/>
              <a:gd name="connsiteX7" fmla="*/ 32542 w 58015"/>
              <a:gd name="connsiteY7" fmla="*/ 6350 h 79375"/>
              <a:gd name="connsiteX8" fmla="*/ 23017 w 58015"/>
              <a:gd name="connsiteY8" fmla="*/ 9525 h 79375"/>
              <a:gd name="connsiteX9" fmla="*/ 16667 w 58015"/>
              <a:gd name="connsiteY9" fmla="*/ 28575 h 79375"/>
              <a:gd name="connsiteX10" fmla="*/ 13492 w 58015"/>
              <a:gd name="connsiteY10" fmla="*/ 38100 h 79375"/>
              <a:gd name="connsiteX11" fmla="*/ 3967 w 58015"/>
              <a:gd name="connsiteY11" fmla="*/ 44450 h 79375"/>
              <a:gd name="connsiteX12" fmla="*/ 3967 w 58015"/>
              <a:gd name="connsiteY12" fmla="*/ 73025 h 79375"/>
              <a:gd name="connsiteX13" fmla="*/ 13492 w 58015"/>
              <a:gd name="connsiteY13" fmla="*/ 79375 h 79375"/>
              <a:gd name="connsiteX14" fmla="*/ 26192 w 58015"/>
              <a:gd name="connsiteY14" fmla="*/ 76200 h 79375"/>
              <a:gd name="connsiteX15" fmla="*/ 35717 w 58015"/>
              <a:gd name="connsiteY15" fmla="*/ 6985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15" h="79375">
                <a:moveTo>
                  <a:pt x="35717" y="69850"/>
                </a:moveTo>
                <a:lnTo>
                  <a:pt x="35717" y="69850"/>
                </a:lnTo>
                <a:cubicBezTo>
                  <a:pt x="42067" y="62442"/>
                  <a:pt x="51898" y="56951"/>
                  <a:pt x="54767" y="47625"/>
                </a:cubicBezTo>
                <a:cubicBezTo>
                  <a:pt x="56735" y="41228"/>
                  <a:pt x="48417" y="28575"/>
                  <a:pt x="48417" y="28575"/>
                </a:cubicBezTo>
                <a:cubicBezTo>
                  <a:pt x="49475" y="25400"/>
                  <a:pt x="50095" y="22043"/>
                  <a:pt x="51592" y="19050"/>
                </a:cubicBezTo>
                <a:cubicBezTo>
                  <a:pt x="53299" y="15637"/>
                  <a:pt x="57315" y="13289"/>
                  <a:pt x="57942" y="9525"/>
                </a:cubicBezTo>
                <a:cubicBezTo>
                  <a:pt x="58492" y="6224"/>
                  <a:pt x="55825" y="3175"/>
                  <a:pt x="54767" y="0"/>
                </a:cubicBezTo>
                <a:cubicBezTo>
                  <a:pt x="31929" y="7613"/>
                  <a:pt x="60449" y="-1623"/>
                  <a:pt x="32542" y="6350"/>
                </a:cubicBezTo>
                <a:cubicBezTo>
                  <a:pt x="29324" y="7269"/>
                  <a:pt x="26192" y="8467"/>
                  <a:pt x="23017" y="9525"/>
                </a:cubicBezTo>
                <a:lnTo>
                  <a:pt x="16667" y="28575"/>
                </a:lnTo>
                <a:cubicBezTo>
                  <a:pt x="15609" y="31750"/>
                  <a:pt x="16277" y="36244"/>
                  <a:pt x="13492" y="38100"/>
                </a:cubicBezTo>
                <a:lnTo>
                  <a:pt x="3967" y="44450"/>
                </a:lnTo>
                <a:cubicBezTo>
                  <a:pt x="306" y="55434"/>
                  <a:pt x="-2738" y="59614"/>
                  <a:pt x="3967" y="73025"/>
                </a:cubicBezTo>
                <a:cubicBezTo>
                  <a:pt x="5674" y="76438"/>
                  <a:pt x="10317" y="77258"/>
                  <a:pt x="13492" y="79375"/>
                </a:cubicBezTo>
                <a:cubicBezTo>
                  <a:pt x="17725" y="78317"/>
                  <a:pt x="22181" y="77919"/>
                  <a:pt x="26192" y="76200"/>
                </a:cubicBezTo>
                <a:cubicBezTo>
                  <a:pt x="32475" y="73507"/>
                  <a:pt x="34129" y="70908"/>
                  <a:pt x="35717" y="6985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0" name="Freeform 419">
            <a:extLst>
              <a:ext uri="{FF2B5EF4-FFF2-40B4-BE49-F238E27FC236}">
                <a16:creationId xmlns:a16="http://schemas.microsoft.com/office/drawing/2014/main" id="{E4A0C496-63DF-B082-F2FB-01FC0E716627}"/>
              </a:ext>
            </a:extLst>
          </p:cNvPr>
          <p:cNvSpPr/>
          <p:nvPr/>
        </p:nvSpPr>
        <p:spPr bwMode="gray">
          <a:xfrm>
            <a:off x="3479799" y="4081463"/>
            <a:ext cx="198438" cy="234950"/>
          </a:xfrm>
          <a:custGeom>
            <a:avLst/>
            <a:gdLst>
              <a:gd name="connsiteX0" fmla="*/ 15875 w 197693"/>
              <a:gd name="connsiteY0" fmla="*/ 219075 h 234950"/>
              <a:gd name="connsiteX1" fmla="*/ 15875 w 197693"/>
              <a:gd name="connsiteY1" fmla="*/ 219075 h 234950"/>
              <a:gd name="connsiteX2" fmla="*/ 6350 w 197693"/>
              <a:gd name="connsiteY2" fmla="*/ 171450 h 234950"/>
              <a:gd name="connsiteX3" fmla="*/ 15875 w 197693"/>
              <a:gd name="connsiteY3" fmla="*/ 168275 h 234950"/>
              <a:gd name="connsiteX4" fmla="*/ 44450 w 197693"/>
              <a:gd name="connsiteY4" fmla="*/ 142875 h 234950"/>
              <a:gd name="connsiteX5" fmla="*/ 41275 w 197693"/>
              <a:gd name="connsiteY5" fmla="*/ 117475 h 234950"/>
              <a:gd name="connsiteX6" fmla="*/ 22225 w 197693"/>
              <a:gd name="connsiteY6" fmla="*/ 114300 h 234950"/>
              <a:gd name="connsiteX7" fmla="*/ 12700 w 197693"/>
              <a:gd name="connsiteY7" fmla="*/ 66675 h 234950"/>
              <a:gd name="connsiteX8" fmla="*/ 3175 w 197693"/>
              <a:gd name="connsiteY8" fmla="*/ 47625 h 234950"/>
              <a:gd name="connsiteX9" fmla="*/ 0 w 197693"/>
              <a:gd name="connsiteY9" fmla="*/ 38100 h 234950"/>
              <a:gd name="connsiteX10" fmla="*/ 3175 w 197693"/>
              <a:gd name="connsiteY10" fmla="*/ 12700 h 234950"/>
              <a:gd name="connsiteX11" fmla="*/ 6350 w 197693"/>
              <a:gd name="connsiteY11" fmla="*/ 3175 h 234950"/>
              <a:gd name="connsiteX12" fmla="*/ 15875 w 197693"/>
              <a:gd name="connsiteY12" fmla="*/ 0 h 234950"/>
              <a:gd name="connsiteX13" fmla="*/ 25400 w 197693"/>
              <a:gd name="connsiteY13" fmla="*/ 3175 h 234950"/>
              <a:gd name="connsiteX14" fmla="*/ 28575 w 197693"/>
              <a:gd name="connsiteY14" fmla="*/ 57150 h 234950"/>
              <a:gd name="connsiteX15" fmla="*/ 31750 w 197693"/>
              <a:gd name="connsiteY15" fmla="*/ 88900 h 234950"/>
              <a:gd name="connsiteX16" fmla="*/ 53975 w 197693"/>
              <a:gd name="connsiteY16" fmla="*/ 101600 h 234950"/>
              <a:gd name="connsiteX17" fmla="*/ 73025 w 197693"/>
              <a:gd name="connsiteY17" fmla="*/ 107950 h 234950"/>
              <a:gd name="connsiteX18" fmla="*/ 79375 w 197693"/>
              <a:gd name="connsiteY18" fmla="*/ 117475 h 234950"/>
              <a:gd name="connsiteX19" fmla="*/ 88900 w 197693"/>
              <a:gd name="connsiteY19" fmla="*/ 136525 h 234950"/>
              <a:gd name="connsiteX20" fmla="*/ 142875 w 197693"/>
              <a:gd name="connsiteY20" fmla="*/ 133350 h 234950"/>
              <a:gd name="connsiteX21" fmla="*/ 152400 w 197693"/>
              <a:gd name="connsiteY21" fmla="*/ 127000 h 234950"/>
              <a:gd name="connsiteX22" fmla="*/ 187325 w 197693"/>
              <a:gd name="connsiteY22" fmla="*/ 130175 h 234950"/>
              <a:gd name="connsiteX23" fmla="*/ 196850 w 197693"/>
              <a:gd name="connsiteY23" fmla="*/ 136525 h 234950"/>
              <a:gd name="connsiteX24" fmla="*/ 184150 w 197693"/>
              <a:gd name="connsiteY24" fmla="*/ 158750 h 234950"/>
              <a:gd name="connsiteX25" fmla="*/ 171450 w 197693"/>
              <a:gd name="connsiteY25" fmla="*/ 161925 h 234950"/>
              <a:gd name="connsiteX26" fmla="*/ 152400 w 197693"/>
              <a:gd name="connsiteY26" fmla="*/ 165100 h 234950"/>
              <a:gd name="connsiteX27" fmla="*/ 139700 w 197693"/>
              <a:gd name="connsiteY27" fmla="*/ 168275 h 234950"/>
              <a:gd name="connsiteX28" fmla="*/ 133350 w 197693"/>
              <a:gd name="connsiteY28" fmla="*/ 177800 h 234950"/>
              <a:gd name="connsiteX29" fmla="*/ 130175 w 197693"/>
              <a:gd name="connsiteY29" fmla="*/ 196850 h 234950"/>
              <a:gd name="connsiteX30" fmla="*/ 120650 w 197693"/>
              <a:gd name="connsiteY30" fmla="*/ 200025 h 234950"/>
              <a:gd name="connsiteX31" fmla="*/ 95250 w 197693"/>
              <a:gd name="connsiteY31" fmla="*/ 203200 h 234950"/>
              <a:gd name="connsiteX32" fmla="*/ 76200 w 197693"/>
              <a:gd name="connsiteY32" fmla="*/ 209550 h 234950"/>
              <a:gd name="connsiteX33" fmla="*/ 53975 w 197693"/>
              <a:gd name="connsiteY33" fmla="*/ 219075 h 234950"/>
              <a:gd name="connsiteX34" fmla="*/ 44450 w 197693"/>
              <a:gd name="connsiteY34" fmla="*/ 228600 h 234950"/>
              <a:gd name="connsiteX35" fmla="*/ 25400 w 197693"/>
              <a:gd name="connsiteY35" fmla="*/ 234950 h 234950"/>
              <a:gd name="connsiteX36" fmla="*/ 15875 w 197693"/>
              <a:gd name="connsiteY36" fmla="*/ 231775 h 234950"/>
              <a:gd name="connsiteX37" fmla="*/ 15875 w 197693"/>
              <a:gd name="connsiteY37" fmla="*/ 219075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7693" h="234950">
                <a:moveTo>
                  <a:pt x="15875" y="219075"/>
                </a:moveTo>
                <a:lnTo>
                  <a:pt x="15875" y="219075"/>
                </a:lnTo>
                <a:cubicBezTo>
                  <a:pt x="12700" y="203200"/>
                  <a:pt x="6350" y="187639"/>
                  <a:pt x="6350" y="171450"/>
                </a:cubicBezTo>
                <a:cubicBezTo>
                  <a:pt x="6350" y="168103"/>
                  <a:pt x="13198" y="170283"/>
                  <a:pt x="15875" y="168275"/>
                </a:cubicBezTo>
                <a:cubicBezTo>
                  <a:pt x="26070" y="160629"/>
                  <a:pt x="34925" y="151342"/>
                  <a:pt x="44450" y="142875"/>
                </a:cubicBezTo>
                <a:cubicBezTo>
                  <a:pt x="49359" y="128148"/>
                  <a:pt x="57879" y="123010"/>
                  <a:pt x="41275" y="117475"/>
                </a:cubicBezTo>
                <a:cubicBezTo>
                  <a:pt x="35168" y="115439"/>
                  <a:pt x="28575" y="115358"/>
                  <a:pt x="22225" y="114300"/>
                </a:cubicBezTo>
                <a:cubicBezTo>
                  <a:pt x="8022" y="92995"/>
                  <a:pt x="18811" y="112506"/>
                  <a:pt x="12700" y="66675"/>
                </a:cubicBezTo>
                <a:cubicBezTo>
                  <a:pt x="11249" y="55793"/>
                  <a:pt x="8040" y="57355"/>
                  <a:pt x="3175" y="47625"/>
                </a:cubicBezTo>
                <a:cubicBezTo>
                  <a:pt x="1678" y="44632"/>
                  <a:pt x="1058" y="41275"/>
                  <a:pt x="0" y="38100"/>
                </a:cubicBezTo>
                <a:cubicBezTo>
                  <a:pt x="1058" y="29633"/>
                  <a:pt x="1649" y="21095"/>
                  <a:pt x="3175" y="12700"/>
                </a:cubicBezTo>
                <a:cubicBezTo>
                  <a:pt x="3774" y="9407"/>
                  <a:pt x="3983" y="5542"/>
                  <a:pt x="6350" y="3175"/>
                </a:cubicBezTo>
                <a:cubicBezTo>
                  <a:pt x="8717" y="808"/>
                  <a:pt x="12700" y="1058"/>
                  <a:pt x="15875" y="0"/>
                </a:cubicBezTo>
                <a:cubicBezTo>
                  <a:pt x="19050" y="1058"/>
                  <a:pt x="24674" y="-92"/>
                  <a:pt x="25400" y="3175"/>
                </a:cubicBezTo>
                <a:cubicBezTo>
                  <a:pt x="29310" y="20769"/>
                  <a:pt x="27244" y="39176"/>
                  <a:pt x="28575" y="57150"/>
                </a:cubicBezTo>
                <a:cubicBezTo>
                  <a:pt x="29361" y="67757"/>
                  <a:pt x="28622" y="78734"/>
                  <a:pt x="31750" y="88900"/>
                </a:cubicBezTo>
                <a:cubicBezTo>
                  <a:pt x="35040" y="99592"/>
                  <a:pt x="45977" y="99201"/>
                  <a:pt x="53975" y="101600"/>
                </a:cubicBezTo>
                <a:cubicBezTo>
                  <a:pt x="60386" y="103523"/>
                  <a:pt x="73025" y="107950"/>
                  <a:pt x="73025" y="107950"/>
                </a:cubicBezTo>
                <a:cubicBezTo>
                  <a:pt x="75142" y="111125"/>
                  <a:pt x="77668" y="114062"/>
                  <a:pt x="79375" y="117475"/>
                </a:cubicBezTo>
                <a:cubicBezTo>
                  <a:pt x="92520" y="143765"/>
                  <a:pt x="70702" y="109228"/>
                  <a:pt x="88900" y="136525"/>
                </a:cubicBezTo>
                <a:cubicBezTo>
                  <a:pt x="106892" y="135467"/>
                  <a:pt x="125052" y="136024"/>
                  <a:pt x="142875" y="133350"/>
                </a:cubicBezTo>
                <a:cubicBezTo>
                  <a:pt x="146649" y="132784"/>
                  <a:pt x="148594" y="127272"/>
                  <a:pt x="152400" y="127000"/>
                </a:cubicBezTo>
                <a:cubicBezTo>
                  <a:pt x="164060" y="126167"/>
                  <a:pt x="175683" y="129117"/>
                  <a:pt x="187325" y="130175"/>
                </a:cubicBezTo>
                <a:cubicBezTo>
                  <a:pt x="190500" y="132292"/>
                  <a:pt x="195802" y="132856"/>
                  <a:pt x="196850" y="136525"/>
                </a:cubicBezTo>
                <a:cubicBezTo>
                  <a:pt x="200214" y="148299"/>
                  <a:pt x="193012" y="154952"/>
                  <a:pt x="184150" y="158750"/>
                </a:cubicBezTo>
                <a:cubicBezTo>
                  <a:pt x="180139" y="160469"/>
                  <a:pt x="175729" y="161069"/>
                  <a:pt x="171450" y="161925"/>
                </a:cubicBezTo>
                <a:cubicBezTo>
                  <a:pt x="165137" y="163188"/>
                  <a:pt x="158713" y="163837"/>
                  <a:pt x="152400" y="165100"/>
                </a:cubicBezTo>
                <a:cubicBezTo>
                  <a:pt x="148121" y="165956"/>
                  <a:pt x="143933" y="167217"/>
                  <a:pt x="139700" y="168275"/>
                </a:cubicBezTo>
                <a:cubicBezTo>
                  <a:pt x="137583" y="171450"/>
                  <a:pt x="134557" y="174180"/>
                  <a:pt x="133350" y="177800"/>
                </a:cubicBezTo>
                <a:cubicBezTo>
                  <a:pt x="131314" y="183907"/>
                  <a:pt x="133369" y="191261"/>
                  <a:pt x="130175" y="196850"/>
                </a:cubicBezTo>
                <a:cubicBezTo>
                  <a:pt x="128515" y="199756"/>
                  <a:pt x="123943" y="199426"/>
                  <a:pt x="120650" y="200025"/>
                </a:cubicBezTo>
                <a:cubicBezTo>
                  <a:pt x="112255" y="201551"/>
                  <a:pt x="103717" y="202142"/>
                  <a:pt x="95250" y="203200"/>
                </a:cubicBezTo>
                <a:cubicBezTo>
                  <a:pt x="88900" y="205317"/>
                  <a:pt x="82187" y="206557"/>
                  <a:pt x="76200" y="209550"/>
                </a:cubicBezTo>
                <a:cubicBezTo>
                  <a:pt x="60507" y="217397"/>
                  <a:pt x="67990" y="214403"/>
                  <a:pt x="53975" y="219075"/>
                </a:cubicBezTo>
                <a:cubicBezTo>
                  <a:pt x="50800" y="222250"/>
                  <a:pt x="48375" y="226419"/>
                  <a:pt x="44450" y="228600"/>
                </a:cubicBezTo>
                <a:cubicBezTo>
                  <a:pt x="38599" y="231851"/>
                  <a:pt x="25400" y="234950"/>
                  <a:pt x="25400" y="234950"/>
                </a:cubicBezTo>
                <a:cubicBezTo>
                  <a:pt x="22225" y="233892"/>
                  <a:pt x="18242" y="234142"/>
                  <a:pt x="15875" y="231775"/>
                </a:cubicBezTo>
                <a:lnTo>
                  <a:pt x="15875" y="219075"/>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1" name="Freeform 420">
            <a:extLst>
              <a:ext uri="{FF2B5EF4-FFF2-40B4-BE49-F238E27FC236}">
                <a16:creationId xmlns:a16="http://schemas.microsoft.com/office/drawing/2014/main" id="{0A49EEFA-235A-1B7A-DD1E-5943A77065AD}"/>
              </a:ext>
            </a:extLst>
          </p:cNvPr>
          <p:cNvSpPr/>
          <p:nvPr/>
        </p:nvSpPr>
        <p:spPr bwMode="gray">
          <a:xfrm>
            <a:off x="3511550" y="4243388"/>
            <a:ext cx="95250" cy="60325"/>
          </a:xfrm>
          <a:custGeom>
            <a:avLst/>
            <a:gdLst>
              <a:gd name="connsiteX0" fmla="*/ 86128 w 95925"/>
              <a:gd name="connsiteY0" fmla="*/ 22295 h 60395"/>
              <a:gd name="connsiteX1" fmla="*/ 86128 w 95925"/>
              <a:gd name="connsiteY1" fmla="*/ 22295 h 60395"/>
              <a:gd name="connsiteX2" fmla="*/ 67078 w 95925"/>
              <a:gd name="connsiteY2" fmla="*/ 70 h 60395"/>
              <a:gd name="connsiteX3" fmla="*/ 13103 w 95925"/>
              <a:gd name="connsiteY3" fmla="*/ 31820 h 60395"/>
              <a:gd name="connsiteX4" fmla="*/ 3578 w 95925"/>
              <a:gd name="connsiteY4" fmla="*/ 34995 h 60395"/>
              <a:gd name="connsiteX5" fmla="*/ 3578 w 95925"/>
              <a:gd name="connsiteY5" fmla="*/ 57220 h 60395"/>
              <a:gd name="connsiteX6" fmla="*/ 13103 w 95925"/>
              <a:gd name="connsiteY6" fmla="*/ 60395 h 60395"/>
              <a:gd name="connsiteX7" fmla="*/ 41678 w 95925"/>
              <a:gd name="connsiteY7" fmla="*/ 54045 h 60395"/>
              <a:gd name="connsiteX8" fmla="*/ 54378 w 95925"/>
              <a:gd name="connsiteY8" fmla="*/ 47695 h 60395"/>
              <a:gd name="connsiteX9" fmla="*/ 63903 w 95925"/>
              <a:gd name="connsiteY9" fmla="*/ 44520 h 60395"/>
              <a:gd name="connsiteX10" fmla="*/ 73428 w 95925"/>
              <a:gd name="connsiteY10" fmla="*/ 38170 h 60395"/>
              <a:gd name="connsiteX11" fmla="*/ 92478 w 95925"/>
              <a:gd name="connsiteY11" fmla="*/ 28645 h 60395"/>
              <a:gd name="connsiteX12" fmla="*/ 95653 w 95925"/>
              <a:gd name="connsiteY12" fmla="*/ 19120 h 60395"/>
              <a:gd name="connsiteX13" fmla="*/ 86128 w 95925"/>
              <a:gd name="connsiteY13" fmla="*/ 22295 h 6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925" h="60395">
                <a:moveTo>
                  <a:pt x="86128" y="22295"/>
                </a:moveTo>
                <a:lnTo>
                  <a:pt x="86128" y="22295"/>
                </a:lnTo>
                <a:cubicBezTo>
                  <a:pt x="79778" y="14887"/>
                  <a:pt x="76753" y="-1192"/>
                  <a:pt x="67078" y="70"/>
                </a:cubicBezTo>
                <a:cubicBezTo>
                  <a:pt x="46380" y="2770"/>
                  <a:pt x="31393" y="21761"/>
                  <a:pt x="13103" y="31820"/>
                </a:cubicBezTo>
                <a:cubicBezTo>
                  <a:pt x="10171" y="33433"/>
                  <a:pt x="6753" y="33937"/>
                  <a:pt x="3578" y="34995"/>
                </a:cubicBezTo>
                <a:cubicBezTo>
                  <a:pt x="1002" y="42724"/>
                  <a:pt x="-2988" y="49012"/>
                  <a:pt x="3578" y="57220"/>
                </a:cubicBezTo>
                <a:cubicBezTo>
                  <a:pt x="5669" y="59833"/>
                  <a:pt x="9928" y="59337"/>
                  <a:pt x="13103" y="60395"/>
                </a:cubicBezTo>
                <a:cubicBezTo>
                  <a:pt x="24520" y="58492"/>
                  <a:pt x="31730" y="58308"/>
                  <a:pt x="41678" y="54045"/>
                </a:cubicBezTo>
                <a:cubicBezTo>
                  <a:pt x="46028" y="52181"/>
                  <a:pt x="50028" y="49559"/>
                  <a:pt x="54378" y="47695"/>
                </a:cubicBezTo>
                <a:cubicBezTo>
                  <a:pt x="57454" y="46377"/>
                  <a:pt x="60910" y="46017"/>
                  <a:pt x="63903" y="44520"/>
                </a:cubicBezTo>
                <a:cubicBezTo>
                  <a:pt x="67316" y="42813"/>
                  <a:pt x="70015" y="39877"/>
                  <a:pt x="73428" y="38170"/>
                </a:cubicBezTo>
                <a:cubicBezTo>
                  <a:pt x="99718" y="25025"/>
                  <a:pt x="65181" y="46843"/>
                  <a:pt x="92478" y="28645"/>
                </a:cubicBezTo>
                <a:cubicBezTo>
                  <a:pt x="93536" y="25470"/>
                  <a:pt x="96896" y="22227"/>
                  <a:pt x="95653" y="19120"/>
                </a:cubicBezTo>
                <a:cubicBezTo>
                  <a:pt x="91704" y="9248"/>
                  <a:pt x="87715" y="21766"/>
                  <a:pt x="86128" y="2229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2" name="Freeform 421">
            <a:extLst>
              <a:ext uri="{FF2B5EF4-FFF2-40B4-BE49-F238E27FC236}">
                <a16:creationId xmlns:a16="http://schemas.microsoft.com/office/drawing/2014/main" id="{1220D73B-5914-3C2B-AFCE-3AB376C452D5}"/>
              </a:ext>
            </a:extLst>
          </p:cNvPr>
          <p:cNvSpPr/>
          <p:nvPr/>
        </p:nvSpPr>
        <p:spPr bwMode="gray">
          <a:xfrm>
            <a:off x="3552825" y="4262438"/>
            <a:ext cx="52388" cy="33338"/>
          </a:xfrm>
          <a:custGeom>
            <a:avLst/>
            <a:gdLst>
              <a:gd name="connsiteX0" fmla="*/ 24750 w 52435"/>
              <a:gd name="connsiteY0" fmla="*/ 0 h 34054"/>
              <a:gd name="connsiteX1" fmla="*/ 24750 w 52435"/>
              <a:gd name="connsiteY1" fmla="*/ 0 h 34054"/>
              <a:gd name="connsiteX2" fmla="*/ 2525 w 52435"/>
              <a:gd name="connsiteY2" fmla="*/ 25400 h 34054"/>
              <a:gd name="connsiteX3" fmla="*/ 46975 w 52435"/>
              <a:gd name="connsiteY3" fmla="*/ 0 h 34054"/>
              <a:gd name="connsiteX4" fmla="*/ 24750 w 52435"/>
              <a:gd name="connsiteY4" fmla="*/ 0 h 3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5" h="34054">
                <a:moveTo>
                  <a:pt x="24750" y="0"/>
                </a:moveTo>
                <a:lnTo>
                  <a:pt x="24750" y="0"/>
                </a:lnTo>
                <a:cubicBezTo>
                  <a:pt x="17342" y="8467"/>
                  <a:pt x="-8009" y="21450"/>
                  <a:pt x="2525" y="25400"/>
                </a:cubicBezTo>
                <a:cubicBezTo>
                  <a:pt x="67033" y="49590"/>
                  <a:pt x="52700" y="17175"/>
                  <a:pt x="46975" y="0"/>
                </a:cubicBezTo>
                <a:cubicBezTo>
                  <a:pt x="23909" y="7689"/>
                  <a:pt x="28454" y="0"/>
                  <a:pt x="2475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3" name="Freeform 422">
            <a:extLst>
              <a:ext uri="{FF2B5EF4-FFF2-40B4-BE49-F238E27FC236}">
                <a16:creationId xmlns:a16="http://schemas.microsoft.com/office/drawing/2014/main" id="{2E22AC3F-5505-B87F-6F12-AD89CDE6727A}"/>
              </a:ext>
            </a:extLst>
          </p:cNvPr>
          <p:cNvSpPr/>
          <p:nvPr/>
        </p:nvSpPr>
        <p:spPr bwMode="gray">
          <a:xfrm>
            <a:off x="3365500" y="3827463"/>
            <a:ext cx="215900" cy="330200"/>
          </a:xfrm>
          <a:custGeom>
            <a:avLst/>
            <a:gdLst>
              <a:gd name="connsiteX0" fmla="*/ 60325 w 215900"/>
              <a:gd name="connsiteY0" fmla="*/ 330488 h 330488"/>
              <a:gd name="connsiteX1" fmla="*/ 60325 w 215900"/>
              <a:gd name="connsiteY1" fmla="*/ 330488 h 330488"/>
              <a:gd name="connsiteX2" fmla="*/ 95250 w 215900"/>
              <a:gd name="connsiteY2" fmla="*/ 286038 h 330488"/>
              <a:gd name="connsiteX3" fmla="*/ 85725 w 215900"/>
              <a:gd name="connsiteY3" fmla="*/ 279688 h 330488"/>
              <a:gd name="connsiteX4" fmla="*/ 104775 w 215900"/>
              <a:gd name="connsiteY4" fmla="*/ 238413 h 330488"/>
              <a:gd name="connsiteX5" fmla="*/ 107950 w 215900"/>
              <a:gd name="connsiteY5" fmla="*/ 228888 h 330488"/>
              <a:gd name="connsiteX6" fmla="*/ 98425 w 215900"/>
              <a:gd name="connsiteY6" fmla="*/ 222538 h 330488"/>
              <a:gd name="connsiteX7" fmla="*/ 82550 w 215900"/>
              <a:gd name="connsiteY7" fmla="*/ 206663 h 330488"/>
              <a:gd name="connsiteX8" fmla="*/ 73025 w 215900"/>
              <a:gd name="connsiteY8" fmla="*/ 178088 h 330488"/>
              <a:gd name="connsiteX9" fmla="*/ 69850 w 215900"/>
              <a:gd name="connsiteY9" fmla="*/ 168563 h 330488"/>
              <a:gd name="connsiteX10" fmla="*/ 66675 w 215900"/>
              <a:gd name="connsiteY10" fmla="*/ 159038 h 330488"/>
              <a:gd name="connsiteX11" fmla="*/ 69850 w 215900"/>
              <a:gd name="connsiteY11" fmla="*/ 139988 h 330488"/>
              <a:gd name="connsiteX12" fmla="*/ 88900 w 215900"/>
              <a:gd name="connsiteY12" fmla="*/ 130463 h 330488"/>
              <a:gd name="connsiteX13" fmla="*/ 107950 w 215900"/>
              <a:gd name="connsiteY13" fmla="*/ 117763 h 330488"/>
              <a:gd name="connsiteX14" fmla="*/ 117475 w 215900"/>
              <a:gd name="connsiteY14" fmla="*/ 111413 h 330488"/>
              <a:gd name="connsiteX15" fmla="*/ 127000 w 215900"/>
              <a:gd name="connsiteY15" fmla="*/ 92363 h 330488"/>
              <a:gd name="connsiteX16" fmla="*/ 133350 w 215900"/>
              <a:gd name="connsiteY16" fmla="*/ 82838 h 330488"/>
              <a:gd name="connsiteX17" fmla="*/ 136525 w 215900"/>
              <a:gd name="connsiteY17" fmla="*/ 73313 h 330488"/>
              <a:gd name="connsiteX18" fmla="*/ 142875 w 215900"/>
              <a:gd name="connsiteY18" fmla="*/ 60613 h 330488"/>
              <a:gd name="connsiteX19" fmla="*/ 146050 w 215900"/>
              <a:gd name="connsiteY19" fmla="*/ 51088 h 330488"/>
              <a:gd name="connsiteX20" fmla="*/ 155575 w 215900"/>
              <a:gd name="connsiteY20" fmla="*/ 44738 h 330488"/>
              <a:gd name="connsiteX21" fmla="*/ 161925 w 215900"/>
              <a:gd name="connsiteY21" fmla="*/ 73313 h 330488"/>
              <a:gd name="connsiteX22" fmla="*/ 158750 w 215900"/>
              <a:gd name="connsiteY22" fmla="*/ 82838 h 330488"/>
              <a:gd name="connsiteX23" fmla="*/ 149225 w 215900"/>
              <a:gd name="connsiteY23" fmla="*/ 89188 h 330488"/>
              <a:gd name="connsiteX24" fmla="*/ 158750 w 215900"/>
              <a:gd name="connsiteY24" fmla="*/ 95538 h 330488"/>
              <a:gd name="connsiteX25" fmla="*/ 171450 w 215900"/>
              <a:gd name="connsiteY25" fmla="*/ 66963 h 330488"/>
              <a:gd name="connsiteX26" fmla="*/ 187325 w 215900"/>
              <a:gd name="connsiteY26" fmla="*/ 51088 h 330488"/>
              <a:gd name="connsiteX27" fmla="*/ 190500 w 215900"/>
              <a:gd name="connsiteY27" fmla="*/ 86013 h 330488"/>
              <a:gd name="connsiteX28" fmla="*/ 200025 w 215900"/>
              <a:gd name="connsiteY28" fmla="*/ 82838 h 330488"/>
              <a:gd name="connsiteX29" fmla="*/ 206375 w 215900"/>
              <a:gd name="connsiteY29" fmla="*/ 73313 h 330488"/>
              <a:gd name="connsiteX30" fmla="*/ 209550 w 215900"/>
              <a:gd name="connsiteY30" fmla="*/ 60613 h 330488"/>
              <a:gd name="connsiteX31" fmla="*/ 215900 w 215900"/>
              <a:gd name="connsiteY31" fmla="*/ 41563 h 330488"/>
              <a:gd name="connsiteX32" fmla="*/ 203200 w 215900"/>
              <a:gd name="connsiteY32" fmla="*/ 28863 h 330488"/>
              <a:gd name="connsiteX33" fmla="*/ 184150 w 215900"/>
              <a:gd name="connsiteY33" fmla="*/ 41563 h 330488"/>
              <a:gd name="connsiteX34" fmla="*/ 165100 w 215900"/>
              <a:gd name="connsiteY34" fmla="*/ 32038 h 330488"/>
              <a:gd name="connsiteX35" fmla="*/ 155575 w 215900"/>
              <a:gd name="connsiteY35" fmla="*/ 25688 h 330488"/>
              <a:gd name="connsiteX36" fmla="*/ 127000 w 215900"/>
              <a:gd name="connsiteY36" fmla="*/ 22513 h 330488"/>
              <a:gd name="connsiteX37" fmla="*/ 123825 w 215900"/>
              <a:gd name="connsiteY37" fmla="*/ 12988 h 330488"/>
              <a:gd name="connsiteX38" fmla="*/ 120650 w 215900"/>
              <a:gd name="connsiteY38" fmla="*/ 288 h 330488"/>
              <a:gd name="connsiteX39" fmla="*/ 111125 w 215900"/>
              <a:gd name="connsiteY39" fmla="*/ 6638 h 330488"/>
              <a:gd name="connsiteX40" fmla="*/ 101600 w 215900"/>
              <a:gd name="connsiteY40" fmla="*/ 9813 h 330488"/>
              <a:gd name="connsiteX41" fmla="*/ 95250 w 215900"/>
              <a:gd name="connsiteY41" fmla="*/ 19338 h 330488"/>
              <a:gd name="connsiteX42" fmla="*/ 85725 w 215900"/>
              <a:gd name="connsiteY42" fmla="*/ 22513 h 330488"/>
              <a:gd name="connsiteX43" fmla="*/ 53975 w 215900"/>
              <a:gd name="connsiteY43" fmla="*/ 25688 h 330488"/>
              <a:gd name="connsiteX44" fmla="*/ 50800 w 215900"/>
              <a:gd name="connsiteY44" fmla="*/ 47913 h 330488"/>
              <a:gd name="connsiteX45" fmla="*/ 44450 w 215900"/>
              <a:gd name="connsiteY45" fmla="*/ 66963 h 330488"/>
              <a:gd name="connsiteX46" fmla="*/ 47625 w 215900"/>
              <a:gd name="connsiteY46" fmla="*/ 108238 h 330488"/>
              <a:gd name="connsiteX47" fmla="*/ 53975 w 215900"/>
              <a:gd name="connsiteY47" fmla="*/ 127288 h 330488"/>
              <a:gd name="connsiteX48" fmla="*/ 57150 w 215900"/>
              <a:gd name="connsiteY48" fmla="*/ 143163 h 330488"/>
              <a:gd name="connsiteX49" fmla="*/ 47625 w 215900"/>
              <a:gd name="connsiteY49" fmla="*/ 162213 h 330488"/>
              <a:gd name="connsiteX50" fmla="*/ 15875 w 215900"/>
              <a:gd name="connsiteY50" fmla="*/ 171738 h 330488"/>
              <a:gd name="connsiteX51" fmla="*/ 12700 w 215900"/>
              <a:gd name="connsiteY51" fmla="*/ 181263 h 330488"/>
              <a:gd name="connsiteX52" fmla="*/ 19050 w 215900"/>
              <a:gd name="connsiteY52" fmla="*/ 203488 h 330488"/>
              <a:gd name="connsiteX53" fmla="*/ 15875 w 215900"/>
              <a:gd name="connsiteY53" fmla="*/ 232063 h 330488"/>
              <a:gd name="connsiteX54" fmla="*/ 6350 w 215900"/>
              <a:gd name="connsiteY54" fmla="*/ 244763 h 330488"/>
              <a:gd name="connsiteX55" fmla="*/ 0 w 215900"/>
              <a:gd name="connsiteY55" fmla="*/ 254288 h 330488"/>
              <a:gd name="connsiteX56" fmla="*/ 19050 w 215900"/>
              <a:gd name="connsiteY56" fmla="*/ 263813 h 330488"/>
              <a:gd name="connsiteX57" fmla="*/ 38100 w 215900"/>
              <a:gd name="connsiteY57" fmla="*/ 276513 h 330488"/>
              <a:gd name="connsiteX58" fmla="*/ 50800 w 215900"/>
              <a:gd name="connsiteY58" fmla="*/ 295563 h 330488"/>
              <a:gd name="connsiteX59" fmla="*/ 57150 w 215900"/>
              <a:gd name="connsiteY59" fmla="*/ 314613 h 330488"/>
              <a:gd name="connsiteX60" fmla="*/ 60325 w 215900"/>
              <a:gd name="connsiteY60" fmla="*/ 330488 h 3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15900" h="330488">
                <a:moveTo>
                  <a:pt x="60325" y="330488"/>
                </a:moveTo>
                <a:lnTo>
                  <a:pt x="60325" y="330488"/>
                </a:lnTo>
                <a:cubicBezTo>
                  <a:pt x="71967" y="315671"/>
                  <a:pt x="86823" y="302892"/>
                  <a:pt x="95250" y="286038"/>
                </a:cubicBezTo>
                <a:cubicBezTo>
                  <a:pt x="96957" y="282625"/>
                  <a:pt x="84977" y="283430"/>
                  <a:pt x="85725" y="279688"/>
                </a:cubicBezTo>
                <a:cubicBezTo>
                  <a:pt x="88697" y="264829"/>
                  <a:pt x="98701" y="252296"/>
                  <a:pt x="104775" y="238413"/>
                </a:cubicBezTo>
                <a:cubicBezTo>
                  <a:pt x="106116" y="235347"/>
                  <a:pt x="106892" y="232063"/>
                  <a:pt x="107950" y="228888"/>
                </a:cubicBezTo>
                <a:cubicBezTo>
                  <a:pt x="104775" y="226771"/>
                  <a:pt x="101123" y="225236"/>
                  <a:pt x="98425" y="222538"/>
                </a:cubicBezTo>
                <a:cubicBezTo>
                  <a:pt x="77258" y="201371"/>
                  <a:pt x="107950" y="223596"/>
                  <a:pt x="82550" y="206663"/>
                </a:cubicBezTo>
                <a:lnTo>
                  <a:pt x="73025" y="178088"/>
                </a:lnTo>
                <a:lnTo>
                  <a:pt x="69850" y="168563"/>
                </a:lnTo>
                <a:lnTo>
                  <a:pt x="66675" y="159038"/>
                </a:lnTo>
                <a:cubicBezTo>
                  <a:pt x="67733" y="152688"/>
                  <a:pt x="66971" y="145746"/>
                  <a:pt x="69850" y="139988"/>
                </a:cubicBezTo>
                <a:cubicBezTo>
                  <a:pt x="73103" y="133483"/>
                  <a:pt x="83698" y="133353"/>
                  <a:pt x="88900" y="130463"/>
                </a:cubicBezTo>
                <a:cubicBezTo>
                  <a:pt x="95571" y="126757"/>
                  <a:pt x="101600" y="121996"/>
                  <a:pt x="107950" y="117763"/>
                </a:cubicBezTo>
                <a:lnTo>
                  <a:pt x="117475" y="111413"/>
                </a:lnTo>
                <a:cubicBezTo>
                  <a:pt x="135673" y="84116"/>
                  <a:pt x="113855" y="118653"/>
                  <a:pt x="127000" y="92363"/>
                </a:cubicBezTo>
                <a:cubicBezTo>
                  <a:pt x="128707" y="88950"/>
                  <a:pt x="131643" y="86251"/>
                  <a:pt x="133350" y="82838"/>
                </a:cubicBezTo>
                <a:cubicBezTo>
                  <a:pt x="134847" y="79845"/>
                  <a:pt x="135207" y="76389"/>
                  <a:pt x="136525" y="73313"/>
                </a:cubicBezTo>
                <a:cubicBezTo>
                  <a:pt x="138389" y="68963"/>
                  <a:pt x="141011" y="64963"/>
                  <a:pt x="142875" y="60613"/>
                </a:cubicBezTo>
                <a:cubicBezTo>
                  <a:pt x="144193" y="57537"/>
                  <a:pt x="143959" y="53701"/>
                  <a:pt x="146050" y="51088"/>
                </a:cubicBezTo>
                <a:cubicBezTo>
                  <a:pt x="148434" y="48108"/>
                  <a:pt x="152400" y="46855"/>
                  <a:pt x="155575" y="44738"/>
                </a:cubicBezTo>
                <a:cubicBezTo>
                  <a:pt x="158849" y="54560"/>
                  <a:pt x="161925" y="62137"/>
                  <a:pt x="161925" y="73313"/>
                </a:cubicBezTo>
                <a:cubicBezTo>
                  <a:pt x="161925" y="76660"/>
                  <a:pt x="160841" y="80225"/>
                  <a:pt x="158750" y="82838"/>
                </a:cubicBezTo>
                <a:cubicBezTo>
                  <a:pt x="156366" y="85818"/>
                  <a:pt x="152400" y="87071"/>
                  <a:pt x="149225" y="89188"/>
                </a:cubicBezTo>
                <a:cubicBezTo>
                  <a:pt x="146854" y="96301"/>
                  <a:pt x="139956" y="108068"/>
                  <a:pt x="158750" y="95538"/>
                </a:cubicBezTo>
                <a:cubicBezTo>
                  <a:pt x="166504" y="90368"/>
                  <a:pt x="167943" y="72224"/>
                  <a:pt x="171450" y="66963"/>
                </a:cubicBezTo>
                <a:cubicBezTo>
                  <a:pt x="179917" y="54263"/>
                  <a:pt x="174625" y="59555"/>
                  <a:pt x="187325" y="51088"/>
                </a:cubicBezTo>
                <a:cubicBezTo>
                  <a:pt x="188383" y="62730"/>
                  <a:pt x="186159" y="75159"/>
                  <a:pt x="190500" y="86013"/>
                </a:cubicBezTo>
                <a:cubicBezTo>
                  <a:pt x="191743" y="89120"/>
                  <a:pt x="197412" y="84929"/>
                  <a:pt x="200025" y="82838"/>
                </a:cubicBezTo>
                <a:cubicBezTo>
                  <a:pt x="203005" y="80454"/>
                  <a:pt x="204258" y="76488"/>
                  <a:pt x="206375" y="73313"/>
                </a:cubicBezTo>
                <a:cubicBezTo>
                  <a:pt x="207433" y="69080"/>
                  <a:pt x="208296" y="64793"/>
                  <a:pt x="209550" y="60613"/>
                </a:cubicBezTo>
                <a:cubicBezTo>
                  <a:pt x="211473" y="54202"/>
                  <a:pt x="215900" y="41563"/>
                  <a:pt x="215900" y="41563"/>
                </a:cubicBezTo>
                <a:cubicBezTo>
                  <a:pt x="214207" y="36483"/>
                  <a:pt x="213360" y="25476"/>
                  <a:pt x="203200" y="28863"/>
                </a:cubicBezTo>
                <a:cubicBezTo>
                  <a:pt x="195960" y="31276"/>
                  <a:pt x="184150" y="41563"/>
                  <a:pt x="184150" y="41563"/>
                </a:cubicBezTo>
                <a:cubicBezTo>
                  <a:pt x="156853" y="23365"/>
                  <a:pt x="191390" y="45183"/>
                  <a:pt x="165100" y="32038"/>
                </a:cubicBezTo>
                <a:cubicBezTo>
                  <a:pt x="161687" y="30331"/>
                  <a:pt x="159277" y="26613"/>
                  <a:pt x="155575" y="25688"/>
                </a:cubicBezTo>
                <a:cubicBezTo>
                  <a:pt x="146278" y="23364"/>
                  <a:pt x="136525" y="23571"/>
                  <a:pt x="127000" y="22513"/>
                </a:cubicBezTo>
                <a:cubicBezTo>
                  <a:pt x="125942" y="19338"/>
                  <a:pt x="124744" y="16206"/>
                  <a:pt x="123825" y="12988"/>
                </a:cubicBezTo>
                <a:cubicBezTo>
                  <a:pt x="122626" y="8792"/>
                  <a:pt x="124553" y="2239"/>
                  <a:pt x="120650" y="288"/>
                </a:cubicBezTo>
                <a:cubicBezTo>
                  <a:pt x="117237" y="-1419"/>
                  <a:pt x="114538" y="4931"/>
                  <a:pt x="111125" y="6638"/>
                </a:cubicBezTo>
                <a:cubicBezTo>
                  <a:pt x="108132" y="8135"/>
                  <a:pt x="104775" y="8755"/>
                  <a:pt x="101600" y="9813"/>
                </a:cubicBezTo>
                <a:cubicBezTo>
                  <a:pt x="99483" y="12988"/>
                  <a:pt x="98230" y="16954"/>
                  <a:pt x="95250" y="19338"/>
                </a:cubicBezTo>
                <a:cubicBezTo>
                  <a:pt x="92637" y="21429"/>
                  <a:pt x="89033" y="22004"/>
                  <a:pt x="85725" y="22513"/>
                </a:cubicBezTo>
                <a:cubicBezTo>
                  <a:pt x="75213" y="24130"/>
                  <a:pt x="64558" y="24630"/>
                  <a:pt x="53975" y="25688"/>
                </a:cubicBezTo>
                <a:cubicBezTo>
                  <a:pt x="52917" y="33096"/>
                  <a:pt x="52483" y="40621"/>
                  <a:pt x="50800" y="47913"/>
                </a:cubicBezTo>
                <a:cubicBezTo>
                  <a:pt x="49295" y="54435"/>
                  <a:pt x="44450" y="66963"/>
                  <a:pt x="44450" y="66963"/>
                </a:cubicBezTo>
                <a:cubicBezTo>
                  <a:pt x="45508" y="80721"/>
                  <a:pt x="45473" y="94608"/>
                  <a:pt x="47625" y="108238"/>
                </a:cubicBezTo>
                <a:cubicBezTo>
                  <a:pt x="48669" y="114850"/>
                  <a:pt x="52662" y="120724"/>
                  <a:pt x="53975" y="127288"/>
                </a:cubicBezTo>
                <a:lnTo>
                  <a:pt x="57150" y="143163"/>
                </a:lnTo>
                <a:cubicBezTo>
                  <a:pt x="55420" y="148353"/>
                  <a:pt x="52808" y="158974"/>
                  <a:pt x="47625" y="162213"/>
                </a:cubicBezTo>
                <a:cubicBezTo>
                  <a:pt x="42472" y="165434"/>
                  <a:pt x="23310" y="169879"/>
                  <a:pt x="15875" y="171738"/>
                </a:cubicBezTo>
                <a:cubicBezTo>
                  <a:pt x="14817" y="174913"/>
                  <a:pt x="12700" y="177916"/>
                  <a:pt x="12700" y="181263"/>
                </a:cubicBezTo>
                <a:cubicBezTo>
                  <a:pt x="12700" y="185250"/>
                  <a:pt x="17553" y="198996"/>
                  <a:pt x="19050" y="203488"/>
                </a:cubicBezTo>
                <a:cubicBezTo>
                  <a:pt x="17992" y="213013"/>
                  <a:pt x="18693" y="222903"/>
                  <a:pt x="15875" y="232063"/>
                </a:cubicBezTo>
                <a:cubicBezTo>
                  <a:pt x="14319" y="237121"/>
                  <a:pt x="9426" y="240457"/>
                  <a:pt x="6350" y="244763"/>
                </a:cubicBezTo>
                <a:cubicBezTo>
                  <a:pt x="4132" y="247868"/>
                  <a:pt x="2117" y="251113"/>
                  <a:pt x="0" y="254288"/>
                </a:cubicBezTo>
                <a:cubicBezTo>
                  <a:pt x="9546" y="257470"/>
                  <a:pt x="10844" y="256974"/>
                  <a:pt x="19050" y="263813"/>
                </a:cubicBezTo>
                <a:cubicBezTo>
                  <a:pt x="34905" y="277026"/>
                  <a:pt x="21361" y="270933"/>
                  <a:pt x="38100" y="276513"/>
                </a:cubicBezTo>
                <a:cubicBezTo>
                  <a:pt x="42333" y="282863"/>
                  <a:pt x="48387" y="288323"/>
                  <a:pt x="50800" y="295563"/>
                </a:cubicBezTo>
                <a:cubicBezTo>
                  <a:pt x="52917" y="301913"/>
                  <a:pt x="53437" y="309044"/>
                  <a:pt x="57150" y="314613"/>
                </a:cubicBezTo>
                <a:cubicBezTo>
                  <a:pt x="65261" y="326780"/>
                  <a:pt x="59796" y="327842"/>
                  <a:pt x="60325" y="330488"/>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4" name="Freeform 423">
            <a:extLst>
              <a:ext uri="{FF2B5EF4-FFF2-40B4-BE49-F238E27FC236}">
                <a16:creationId xmlns:a16="http://schemas.microsoft.com/office/drawing/2014/main" id="{6074091D-8D33-02B7-647F-5D66442139E8}"/>
              </a:ext>
            </a:extLst>
          </p:cNvPr>
          <p:cNvSpPr/>
          <p:nvPr/>
        </p:nvSpPr>
        <p:spPr bwMode="gray">
          <a:xfrm>
            <a:off x="3432175" y="3902074"/>
            <a:ext cx="38100" cy="52388"/>
          </a:xfrm>
          <a:custGeom>
            <a:avLst/>
            <a:gdLst>
              <a:gd name="connsiteX0" fmla="*/ 7015 w 38765"/>
              <a:gd name="connsiteY0" fmla="*/ 42104 h 51629"/>
              <a:gd name="connsiteX1" fmla="*/ 7015 w 38765"/>
              <a:gd name="connsiteY1" fmla="*/ 42104 h 51629"/>
              <a:gd name="connsiteX2" fmla="*/ 10190 w 38765"/>
              <a:gd name="connsiteY2" fmla="*/ 4004 h 51629"/>
              <a:gd name="connsiteX3" fmla="*/ 19715 w 38765"/>
              <a:gd name="connsiteY3" fmla="*/ 829 h 51629"/>
              <a:gd name="connsiteX4" fmla="*/ 38765 w 38765"/>
              <a:gd name="connsiteY4" fmla="*/ 26229 h 51629"/>
              <a:gd name="connsiteX5" fmla="*/ 32415 w 38765"/>
              <a:gd name="connsiteY5" fmla="*/ 42104 h 51629"/>
              <a:gd name="connsiteX6" fmla="*/ 29240 w 38765"/>
              <a:gd name="connsiteY6" fmla="*/ 51629 h 51629"/>
              <a:gd name="connsiteX7" fmla="*/ 13365 w 38765"/>
              <a:gd name="connsiteY7" fmla="*/ 48454 h 51629"/>
              <a:gd name="connsiteX8" fmla="*/ 3840 w 38765"/>
              <a:gd name="connsiteY8" fmla="*/ 45279 h 51629"/>
              <a:gd name="connsiteX9" fmla="*/ 7015 w 38765"/>
              <a:gd name="connsiteY9" fmla="*/ 42104 h 5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65" h="51629">
                <a:moveTo>
                  <a:pt x="7015" y="42104"/>
                </a:moveTo>
                <a:lnTo>
                  <a:pt x="7015" y="42104"/>
                </a:lnTo>
                <a:cubicBezTo>
                  <a:pt x="8073" y="29404"/>
                  <a:pt x="6442" y="16184"/>
                  <a:pt x="10190" y="4004"/>
                </a:cubicBezTo>
                <a:cubicBezTo>
                  <a:pt x="11174" y="805"/>
                  <a:pt x="17073" y="-1226"/>
                  <a:pt x="19715" y="829"/>
                </a:cubicBezTo>
                <a:cubicBezTo>
                  <a:pt x="28069" y="7327"/>
                  <a:pt x="32415" y="17762"/>
                  <a:pt x="38765" y="26229"/>
                </a:cubicBezTo>
                <a:cubicBezTo>
                  <a:pt x="22043" y="31803"/>
                  <a:pt x="32415" y="24828"/>
                  <a:pt x="32415" y="42104"/>
                </a:cubicBezTo>
                <a:cubicBezTo>
                  <a:pt x="32415" y="45451"/>
                  <a:pt x="30298" y="48454"/>
                  <a:pt x="29240" y="51629"/>
                </a:cubicBezTo>
                <a:cubicBezTo>
                  <a:pt x="23948" y="50571"/>
                  <a:pt x="18600" y="49763"/>
                  <a:pt x="13365" y="48454"/>
                </a:cubicBezTo>
                <a:cubicBezTo>
                  <a:pt x="10118" y="47642"/>
                  <a:pt x="5696" y="48064"/>
                  <a:pt x="3840" y="45279"/>
                </a:cubicBezTo>
                <a:cubicBezTo>
                  <a:pt x="-6168" y="30268"/>
                  <a:pt x="6486" y="42633"/>
                  <a:pt x="7015" y="42104"/>
                </a:cubicBezTo>
                <a:close/>
              </a:path>
            </a:pathLst>
          </a:custGeom>
          <a:solidFill>
            <a:srgbClr val="FA677B">
              <a:alpha val="74000"/>
            </a:srgbClr>
          </a:solidFill>
          <a:ln w="9525">
            <a:noFill/>
          </a:ln>
          <a:effectLst>
            <a:reflection stA="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5" name="Freeform 424">
            <a:extLst>
              <a:ext uri="{FF2B5EF4-FFF2-40B4-BE49-F238E27FC236}">
                <a16:creationId xmlns:a16="http://schemas.microsoft.com/office/drawing/2014/main" id="{136BB1B4-38DA-325C-8D26-A672B3D44007}"/>
              </a:ext>
            </a:extLst>
          </p:cNvPr>
          <p:cNvSpPr/>
          <p:nvPr/>
        </p:nvSpPr>
        <p:spPr bwMode="gray">
          <a:xfrm>
            <a:off x="3382963" y="3997324"/>
            <a:ext cx="39688" cy="69850"/>
          </a:xfrm>
          <a:custGeom>
            <a:avLst/>
            <a:gdLst>
              <a:gd name="connsiteX0" fmla="*/ 14733 w 40277"/>
              <a:gd name="connsiteY0" fmla="*/ 959 h 68783"/>
              <a:gd name="connsiteX1" fmla="*/ 14733 w 40277"/>
              <a:gd name="connsiteY1" fmla="*/ 959 h 68783"/>
              <a:gd name="connsiteX2" fmla="*/ 2033 w 40277"/>
              <a:gd name="connsiteY2" fmla="*/ 67634 h 68783"/>
              <a:gd name="connsiteX3" fmla="*/ 36958 w 40277"/>
              <a:gd name="connsiteY3" fmla="*/ 48584 h 68783"/>
              <a:gd name="connsiteX4" fmla="*/ 36958 w 40277"/>
              <a:gd name="connsiteY4" fmla="*/ 16834 h 68783"/>
              <a:gd name="connsiteX5" fmla="*/ 33783 w 40277"/>
              <a:gd name="connsiteY5" fmla="*/ 7309 h 68783"/>
              <a:gd name="connsiteX6" fmla="*/ 14733 w 40277"/>
              <a:gd name="connsiteY6" fmla="*/ 959 h 6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77" h="68783">
                <a:moveTo>
                  <a:pt x="14733" y="959"/>
                </a:moveTo>
                <a:lnTo>
                  <a:pt x="14733" y="959"/>
                </a:lnTo>
                <a:cubicBezTo>
                  <a:pt x="13689" y="4439"/>
                  <a:pt x="-6318" y="63459"/>
                  <a:pt x="2033" y="67634"/>
                </a:cubicBezTo>
                <a:cubicBezTo>
                  <a:pt x="13894" y="73564"/>
                  <a:pt x="25316" y="54934"/>
                  <a:pt x="36958" y="48584"/>
                </a:cubicBezTo>
                <a:cubicBezTo>
                  <a:pt x="41229" y="31501"/>
                  <a:pt x="41537" y="37441"/>
                  <a:pt x="36958" y="16834"/>
                </a:cubicBezTo>
                <a:cubicBezTo>
                  <a:pt x="36232" y="13567"/>
                  <a:pt x="36689" y="8969"/>
                  <a:pt x="33783" y="7309"/>
                </a:cubicBezTo>
                <a:cubicBezTo>
                  <a:pt x="12645" y="-4770"/>
                  <a:pt x="17908" y="2017"/>
                  <a:pt x="14733" y="959"/>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6" name="Freeform 425">
            <a:extLst>
              <a:ext uri="{FF2B5EF4-FFF2-40B4-BE49-F238E27FC236}">
                <a16:creationId xmlns:a16="http://schemas.microsoft.com/office/drawing/2014/main" id="{B8AF5A25-12DD-475C-3D64-EB319ED697B4}"/>
              </a:ext>
            </a:extLst>
          </p:cNvPr>
          <p:cNvSpPr/>
          <p:nvPr/>
        </p:nvSpPr>
        <p:spPr bwMode="gray">
          <a:xfrm>
            <a:off x="3187700" y="3783014"/>
            <a:ext cx="80963" cy="61913"/>
          </a:xfrm>
          <a:custGeom>
            <a:avLst/>
            <a:gdLst>
              <a:gd name="connsiteX0" fmla="*/ 63500 w 80939"/>
              <a:gd name="connsiteY0" fmla="*/ 54749 h 62860"/>
              <a:gd name="connsiteX1" fmla="*/ 63500 w 80939"/>
              <a:gd name="connsiteY1" fmla="*/ 54749 h 62860"/>
              <a:gd name="connsiteX2" fmla="*/ 79375 w 80939"/>
              <a:gd name="connsiteY2" fmla="*/ 32524 h 62860"/>
              <a:gd name="connsiteX3" fmla="*/ 0 w 80939"/>
              <a:gd name="connsiteY3" fmla="*/ 13474 h 62860"/>
              <a:gd name="connsiteX4" fmla="*/ 44450 w 80939"/>
              <a:gd name="connsiteY4" fmla="*/ 51574 h 62860"/>
              <a:gd name="connsiteX5" fmla="*/ 50800 w 80939"/>
              <a:gd name="connsiteY5" fmla="*/ 61099 h 62860"/>
              <a:gd name="connsiteX6" fmla="*/ 63500 w 80939"/>
              <a:gd name="connsiteY6" fmla="*/ 54749 h 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39" h="62860">
                <a:moveTo>
                  <a:pt x="63500" y="54749"/>
                </a:moveTo>
                <a:lnTo>
                  <a:pt x="63500" y="54749"/>
                </a:lnTo>
                <a:cubicBezTo>
                  <a:pt x="68792" y="47341"/>
                  <a:pt x="86202" y="38547"/>
                  <a:pt x="79375" y="32524"/>
                </a:cubicBezTo>
                <a:cubicBezTo>
                  <a:pt x="30530" y="-10574"/>
                  <a:pt x="26351" y="-4094"/>
                  <a:pt x="0" y="13474"/>
                </a:cubicBezTo>
                <a:cubicBezTo>
                  <a:pt x="21291" y="72025"/>
                  <a:pt x="-3882" y="35463"/>
                  <a:pt x="44450" y="51574"/>
                </a:cubicBezTo>
                <a:cubicBezTo>
                  <a:pt x="48070" y="52781"/>
                  <a:pt x="47820" y="58715"/>
                  <a:pt x="50800" y="61099"/>
                </a:cubicBezTo>
                <a:cubicBezTo>
                  <a:pt x="58345" y="67135"/>
                  <a:pt x="61383" y="55807"/>
                  <a:pt x="63500" y="54749"/>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7" name="Freeform 426">
            <a:extLst>
              <a:ext uri="{FF2B5EF4-FFF2-40B4-BE49-F238E27FC236}">
                <a16:creationId xmlns:a16="http://schemas.microsoft.com/office/drawing/2014/main" id="{84716568-6E81-6FB5-CB43-EDF8A6E23BA4}"/>
              </a:ext>
            </a:extLst>
          </p:cNvPr>
          <p:cNvSpPr/>
          <p:nvPr/>
        </p:nvSpPr>
        <p:spPr bwMode="gray">
          <a:xfrm>
            <a:off x="2935288" y="3678238"/>
            <a:ext cx="128588" cy="88900"/>
          </a:xfrm>
          <a:custGeom>
            <a:avLst/>
            <a:gdLst>
              <a:gd name="connsiteX0" fmla="*/ 102681 w 128154"/>
              <a:gd name="connsiteY0" fmla="*/ 88900 h 88900"/>
              <a:gd name="connsiteX1" fmla="*/ 102681 w 128154"/>
              <a:gd name="connsiteY1" fmla="*/ 88900 h 88900"/>
              <a:gd name="connsiteX2" fmla="*/ 1081 w 128154"/>
              <a:gd name="connsiteY2" fmla="*/ 44450 h 88900"/>
              <a:gd name="connsiteX3" fmla="*/ 4256 w 128154"/>
              <a:gd name="connsiteY3" fmla="*/ 34925 h 88900"/>
              <a:gd name="connsiteX4" fmla="*/ 10606 w 128154"/>
              <a:gd name="connsiteY4" fmla="*/ 25400 h 88900"/>
              <a:gd name="connsiteX5" fmla="*/ 20131 w 128154"/>
              <a:gd name="connsiteY5" fmla="*/ 15875 h 88900"/>
              <a:gd name="connsiteX6" fmla="*/ 26481 w 128154"/>
              <a:gd name="connsiteY6" fmla="*/ 6350 h 88900"/>
              <a:gd name="connsiteX7" fmla="*/ 36006 w 128154"/>
              <a:gd name="connsiteY7" fmla="*/ 3175 h 88900"/>
              <a:gd name="connsiteX8" fmla="*/ 64581 w 128154"/>
              <a:gd name="connsiteY8" fmla="*/ 0 h 88900"/>
              <a:gd name="connsiteX9" fmla="*/ 86806 w 128154"/>
              <a:gd name="connsiteY9" fmla="*/ 12700 h 88900"/>
              <a:gd name="connsiteX10" fmla="*/ 93156 w 128154"/>
              <a:gd name="connsiteY10" fmla="*/ 31750 h 88900"/>
              <a:gd name="connsiteX11" fmla="*/ 124906 w 128154"/>
              <a:gd name="connsiteY11" fmla="*/ 41275 h 88900"/>
              <a:gd name="connsiteX12" fmla="*/ 128081 w 128154"/>
              <a:gd name="connsiteY12" fmla="*/ 50800 h 88900"/>
              <a:gd name="connsiteX13" fmla="*/ 112206 w 128154"/>
              <a:gd name="connsiteY13" fmla="*/ 66675 h 88900"/>
              <a:gd name="connsiteX14" fmla="*/ 102681 w 128154"/>
              <a:gd name="connsiteY14" fmla="*/ 85725 h 88900"/>
              <a:gd name="connsiteX15" fmla="*/ 93156 w 128154"/>
              <a:gd name="connsiteY15" fmla="*/ 88900 h 88900"/>
              <a:gd name="connsiteX16" fmla="*/ 102681 w 128154"/>
              <a:gd name="connsiteY16" fmla="*/ 8890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154" h="88900">
                <a:moveTo>
                  <a:pt x="102681" y="88900"/>
                </a:moveTo>
                <a:lnTo>
                  <a:pt x="102681" y="88900"/>
                </a:lnTo>
                <a:cubicBezTo>
                  <a:pt x="34326" y="20545"/>
                  <a:pt x="100470" y="70605"/>
                  <a:pt x="1081" y="44450"/>
                </a:cubicBezTo>
                <a:cubicBezTo>
                  <a:pt x="-2156" y="43598"/>
                  <a:pt x="2759" y="37918"/>
                  <a:pt x="4256" y="34925"/>
                </a:cubicBezTo>
                <a:cubicBezTo>
                  <a:pt x="5963" y="31512"/>
                  <a:pt x="8163" y="28331"/>
                  <a:pt x="10606" y="25400"/>
                </a:cubicBezTo>
                <a:cubicBezTo>
                  <a:pt x="13481" y="21951"/>
                  <a:pt x="17256" y="19324"/>
                  <a:pt x="20131" y="15875"/>
                </a:cubicBezTo>
                <a:cubicBezTo>
                  <a:pt x="22574" y="12944"/>
                  <a:pt x="23501" y="8734"/>
                  <a:pt x="26481" y="6350"/>
                </a:cubicBezTo>
                <a:cubicBezTo>
                  <a:pt x="29094" y="4259"/>
                  <a:pt x="32705" y="3725"/>
                  <a:pt x="36006" y="3175"/>
                </a:cubicBezTo>
                <a:cubicBezTo>
                  <a:pt x="45459" y="1599"/>
                  <a:pt x="55056" y="1058"/>
                  <a:pt x="64581" y="0"/>
                </a:cubicBezTo>
                <a:cubicBezTo>
                  <a:pt x="79364" y="2957"/>
                  <a:pt x="80881" y="-631"/>
                  <a:pt x="86806" y="12700"/>
                </a:cubicBezTo>
                <a:cubicBezTo>
                  <a:pt x="89524" y="18817"/>
                  <a:pt x="86806" y="29633"/>
                  <a:pt x="93156" y="31750"/>
                </a:cubicBezTo>
                <a:cubicBezTo>
                  <a:pt x="116346" y="39480"/>
                  <a:pt x="105712" y="36477"/>
                  <a:pt x="124906" y="41275"/>
                </a:cubicBezTo>
                <a:cubicBezTo>
                  <a:pt x="125964" y="44450"/>
                  <a:pt x="128631" y="47499"/>
                  <a:pt x="128081" y="50800"/>
                </a:cubicBezTo>
                <a:cubicBezTo>
                  <a:pt x="126758" y="58737"/>
                  <a:pt x="117762" y="62971"/>
                  <a:pt x="112206" y="66675"/>
                </a:cubicBezTo>
                <a:cubicBezTo>
                  <a:pt x="110114" y="72950"/>
                  <a:pt x="108276" y="81249"/>
                  <a:pt x="102681" y="85725"/>
                </a:cubicBezTo>
                <a:cubicBezTo>
                  <a:pt x="100068" y="87816"/>
                  <a:pt x="96331" y="87842"/>
                  <a:pt x="93156" y="88900"/>
                </a:cubicBezTo>
                <a:cubicBezTo>
                  <a:pt x="82883" y="78627"/>
                  <a:pt x="101094" y="88900"/>
                  <a:pt x="102681" y="889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8" name="Freeform 427">
            <a:extLst>
              <a:ext uri="{FF2B5EF4-FFF2-40B4-BE49-F238E27FC236}">
                <a16:creationId xmlns:a16="http://schemas.microsoft.com/office/drawing/2014/main" id="{A8D9F671-9BA6-F535-184C-0871EACAA934}"/>
              </a:ext>
            </a:extLst>
          </p:cNvPr>
          <p:cNvSpPr/>
          <p:nvPr/>
        </p:nvSpPr>
        <p:spPr bwMode="gray">
          <a:xfrm>
            <a:off x="3100388" y="3706813"/>
            <a:ext cx="33338" cy="34925"/>
          </a:xfrm>
          <a:custGeom>
            <a:avLst/>
            <a:gdLst>
              <a:gd name="connsiteX0" fmla="*/ 17123 w 32810"/>
              <a:gd name="connsiteY0" fmla="*/ 0 h 34941"/>
              <a:gd name="connsiteX1" fmla="*/ 17123 w 32810"/>
              <a:gd name="connsiteY1" fmla="*/ 0 h 34941"/>
              <a:gd name="connsiteX2" fmla="*/ 1248 w 32810"/>
              <a:gd name="connsiteY2" fmla="*/ 31750 h 34941"/>
              <a:gd name="connsiteX3" fmla="*/ 29823 w 32810"/>
              <a:gd name="connsiteY3" fmla="*/ 22225 h 34941"/>
              <a:gd name="connsiteX4" fmla="*/ 17123 w 32810"/>
              <a:gd name="connsiteY4" fmla="*/ 0 h 34941"/>
              <a:gd name="connsiteX5" fmla="*/ 17123 w 32810"/>
              <a:gd name="connsiteY5" fmla="*/ 0 h 3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0" h="34941">
                <a:moveTo>
                  <a:pt x="17123" y="0"/>
                </a:moveTo>
                <a:lnTo>
                  <a:pt x="17123" y="0"/>
                </a:lnTo>
                <a:cubicBezTo>
                  <a:pt x="11831" y="10583"/>
                  <a:pt x="-4623" y="21476"/>
                  <a:pt x="1248" y="31750"/>
                </a:cubicBezTo>
                <a:cubicBezTo>
                  <a:pt x="6229" y="40467"/>
                  <a:pt x="22723" y="29325"/>
                  <a:pt x="29823" y="22225"/>
                </a:cubicBezTo>
                <a:cubicBezTo>
                  <a:pt x="40024" y="12024"/>
                  <a:pt x="21151" y="2685"/>
                  <a:pt x="17123" y="0"/>
                </a:cubicBezTo>
                <a:lnTo>
                  <a:pt x="17123"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9" name="Freeform 428">
            <a:extLst>
              <a:ext uri="{FF2B5EF4-FFF2-40B4-BE49-F238E27FC236}">
                <a16:creationId xmlns:a16="http://schemas.microsoft.com/office/drawing/2014/main" id="{72CB2270-A01C-6567-1C99-077257EBCC03}"/>
              </a:ext>
            </a:extLst>
          </p:cNvPr>
          <p:cNvSpPr/>
          <p:nvPr/>
        </p:nvSpPr>
        <p:spPr bwMode="gray">
          <a:xfrm>
            <a:off x="2911476" y="3703638"/>
            <a:ext cx="34925" cy="317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0" name="Freeform 429">
            <a:extLst>
              <a:ext uri="{FF2B5EF4-FFF2-40B4-BE49-F238E27FC236}">
                <a16:creationId xmlns:a16="http://schemas.microsoft.com/office/drawing/2014/main" id="{100E0A75-2B3B-3AAD-6FA4-0AC485618786}"/>
              </a:ext>
            </a:extLst>
          </p:cNvPr>
          <p:cNvSpPr/>
          <p:nvPr/>
        </p:nvSpPr>
        <p:spPr bwMode="gray">
          <a:xfrm flipH="1">
            <a:off x="2867025" y="3727449"/>
            <a:ext cx="50800" cy="46038"/>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1" name="Freeform 430">
            <a:extLst>
              <a:ext uri="{FF2B5EF4-FFF2-40B4-BE49-F238E27FC236}">
                <a16:creationId xmlns:a16="http://schemas.microsoft.com/office/drawing/2014/main" id="{36FB6378-D693-5840-CBAA-229F2F3AC8CA}"/>
              </a:ext>
            </a:extLst>
          </p:cNvPr>
          <p:cNvSpPr/>
          <p:nvPr/>
        </p:nvSpPr>
        <p:spPr bwMode="gray">
          <a:xfrm flipH="1">
            <a:off x="2740024" y="3802063"/>
            <a:ext cx="46038" cy="444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2" name="Freeform 431">
            <a:extLst>
              <a:ext uri="{FF2B5EF4-FFF2-40B4-BE49-F238E27FC236}">
                <a16:creationId xmlns:a16="http://schemas.microsoft.com/office/drawing/2014/main" id="{C4234330-C5E4-4DA7-65F6-0C64314210A9}"/>
              </a:ext>
            </a:extLst>
          </p:cNvPr>
          <p:cNvSpPr/>
          <p:nvPr/>
        </p:nvSpPr>
        <p:spPr bwMode="gray">
          <a:xfrm>
            <a:off x="3257550" y="3884613"/>
            <a:ext cx="41275" cy="44450"/>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3" name="Freeform 432">
            <a:extLst>
              <a:ext uri="{FF2B5EF4-FFF2-40B4-BE49-F238E27FC236}">
                <a16:creationId xmlns:a16="http://schemas.microsoft.com/office/drawing/2014/main" id="{0F78AC19-C632-30B4-AE3D-3D8C09C6F90F}"/>
              </a:ext>
            </a:extLst>
          </p:cNvPr>
          <p:cNvSpPr/>
          <p:nvPr/>
        </p:nvSpPr>
        <p:spPr bwMode="gray">
          <a:xfrm>
            <a:off x="2857499" y="4086224"/>
            <a:ext cx="46038" cy="46038"/>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4" name="Freeform 433">
            <a:extLst>
              <a:ext uri="{FF2B5EF4-FFF2-40B4-BE49-F238E27FC236}">
                <a16:creationId xmlns:a16="http://schemas.microsoft.com/office/drawing/2014/main" id="{2C91B323-2AD2-8288-E5E2-BD8A7B2DA485}"/>
              </a:ext>
            </a:extLst>
          </p:cNvPr>
          <p:cNvSpPr/>
          <p:nvPr/>
        </p:nvSpPr>
        <p:spPr bwMode="gray">
          <a:xfrm>
            <a:off x="3898900" y="3482975"/>
            <a:ext cx="996950" cy="811213"/>
          </a:xfrm>
          <a:custGeom>
            <a:avLst/>
            <a:gdLst>
              <a:gd name="connsiteX0" fmla="*/ 22225 w 996308"/>
              <a:gd name="connsiteY0" fmla="*/ 429644 h 810998"/>
              <a:gd name="connsiteX1" fmla="*/ 22225 w 996308"/>
              <a:gd name="connsiteY1" fmla="*/ 429644 h 810998"/>
              <a:gd name="connsiteX2" fmla="*/ 25400 w 996308"/>
              <a:gd name="connsiteY2" fmla="*/ 512194 h 810998"/>
              <a:gd name="connsiteX3" fmla="*/ 101600 w 996308"/>
              <a:gd name="connsiteY3" fmla="*/ 509019 h 810998"/>
              <a:gd name="connsiteX4" fmla="*/ 111125 w 996308"/>
              <a:gd name="connsiteY4" fmla="*/ 502669 h 810998"/>
              <a:gd name="connsiteX5" fmla="*/ 130175 w 996308"/>
              <a:gd name="connsiteY5" fmla="*/ 496319 h 810998"/>
              <a:gd name="connsiteX6" fmla="*/ 142875 w 996308"/>
              <a:gd name="connsiteY6" fmla="*/ 486794 h 810998"/>
              <a:gd name="connsiteX7" fmla="*/ 184150 w 996308"/>
              <a:gd name="connsiteY7" fmla="*/ 496319 h 810998"/>
              <a:gd name="connsiteX8" fmla="*/ 203200 w 996308"/>
              <a:gd name="connsiteY8" fmla="*/ 505844 h 810998"/>
              <a:gd name="connsiteX9" fmla="*/ 212725 w 996308"/>
              <a:gd name="connsiteY9" fmla="*/ 524894 h 810998"/>
              <a:gd name="connsiteX10" fmla="*/ 219075 w 996308"/>
              <a:gd name="connsiteY10" fmla="*/ 534419 h 810998"/>
              <a:gd name="connsiteX11" fmla="*/ 222250 w 996308"/>
              <a:gd name="connsiteY11" fmla="*/ 543944 h 810998"/>
              <a:gd name="connsiteX12" fmla="*/ 231775 w 996308"/>
              <a:gd name="connsiteY12" fmla="*/ 553469 h 810998"/>
              <a:gd name="connsiteX13" fmla="*/ 238125 w 996308"/>
              <a:gd name="connsiteY13" fmla="*/ 572519 h 810998"/>
              <a:gd name="connsiteX14" fmla="*/ 244475 w 996308"/>
              <a:gd name="connsiteY14" fmla="*/ 601094 h 810998"/>
              <a:gd name="connsiteX15" fmla="*/ 250825 w 996308"/>
              <a:gd name="connsiteY15" fmla="*/ 610619 h 810998"/>
              <a:gd name="connsiteX16" fmla="*/ 269875 w 996308"/>
              <a:gd name="connsiteY16" fmla="*/ 616969 h 810998"/>
              <a:gd name="connsiteX17" fmla="*/ 276225 w 996308"/>
              <a:gd name="connsiteY17" fmla="*/ 607444 h 810998"/>
              <a:gd name="connsiteX18" fmla="*/ 285750 w 996308"/>
              <a:gd name="connsiteY18" fmla="*/ 588394 h 810998"/>
              <a:gd name="connsiteX19" fmla="*/ 314325 w 996308"/>
              <a:gd name="connsiteY19" fmla="*/ 572519 h 810998"/>
              <a:gd name="connsiteX20" fmla="*/ 327025 w 996308"/>
              <a:gd name="connsiteY20" fmla="*/ 569344 h 810998"/>
              <a:gd name="connsiteX21" fmla="*/ 333375 w 996308"/>
              <a:gd name="connsiteY21" fmla="*/ 601094 h 810998"/>
              <a:gd name="connsiteX22" fmla="*/ 336550 w 996308"/>
              <a:gd name="connsiteY22" fmla="*/ 610619 h 810998"/>
              <a:gd name="connsiteX23" fmla="*/ 352425 w 996308"/>
              <a:gd name="connsiteY23" fmla="*/ 636019 h 810998"/>
              <a:gd name="connsiteX24" fmla="*/ 361950 w 996308"/>
              <a:gd name="connsiteY24" fmla="*/ 645544 h 810998"/>
              <a:gd name="connsiteX25" fmla="*/ 371475 w 996308"/>
              <a:gd name="connsiteY25" fmla="*/ 642369 h 810998"/>
              <a:gd name="connsiteX26" fmla="*/ 387350 w 996308"/>
              <a:gd name="connsiteY26" fmla="*/ 658244 h 810998"/>
              <a:gd name="connsiteX27" fmla="*/ 396875 w 996308"/>
              <a:gd name="connsiteY27" fmla="*/ 664594 h 810998"/>
              <a:gd name="connsiteX28" fmla="*/ 403225 w 996308"/>
              <a:gd name="connsiteY28" fmla="*/ 677294 h 810998"/>
              <a:gd name="connsiteX29" fmla="*/ 409575 w 996308"/>
              <a:gd name="connsiteY29" fmla="*/ 686819 h 810998"/>
              <a:gd name="connsiteX30" fmla="*/ 412750 w 996308"/>
              <a:gd name="connsiteY30" fmla="*/ 696344 h 810998"/>
              <a:gd name="connsiteX31" fmla="*/ 409575 w 996308"/>
              <a:gd name="connsiteY31" fmla="*/ 715394 h 810998"/>
              <a:gd name="connsiteX32" fmla="*/ 400050 w 996308"/>
              <a:gd name="connsiteY32" fmla="*/ 718569 h 810998"/>
              <a:gd name="connsiteX33" fmla="*/ 368300 w 996308"/>
              <a:gd name="connsiteY33" fmla="*/ 721744 h 810998"/>
              <a:gd name="connsiteX34" fmla="*/ 342900 w 996308"/>
              <a:gd name="connsiteY34" fmla="*/ 737619 h 810998"/>
              <a:gd name="connsiteX35" fmla="*/ 323850 w 996308"/>
              <a:gd name="connsiteY35" fmla="*/ 756669 h 810998"/>
              <a:gd name="connsiteX36" fmla="*/ 333375 w 996308"/>
              <a:gd name="connsiteY36" fmla="*/ 763019 h 810998"/>
              <a:gd name="connsiteX37" fmla="*/ 365125 w 996308"/>
              <a:gd name="connsiteY37" fmla="*/ 769369 h 810998"/>
              <a:gd name="connsiteX38" fmla="*/ 374650 w 996308"/>
              <a:gd name="connsiteY38" fmla="*/ 775719 h 810998"/>
              <a:gd name="connsiteX39" fmla="*/ 387350 w 996308"/>
              <a:gd name="connsiteY39" fmla="*/ 794769 h 810998"/>
              <a:gd name="connsiteX40" fmla="*/ 384175 w 996308"/>
              <a:gd name="connsiteY40" fmla="*/ 810644 h 810998"/>
              <a:gd name="connsiteX41" fmla="*/ 377825 w 996308"/>
              <a:gd name="connsiteY41" fmla="*/ 801119 h 810998"/>
              <a:gd name="connsiteX42" fmla="*/ 390525 w 996308"/>
              <a:gd name="connsiteY42" fmla="*/ 775719 h 810998"/>
              <a:gd name="connsiteX43" fmla="*/ 393700 w 996308"/>
              <a:gd name="connsiteY43" fmla="*/ 766194 h 810998"/>
              <a:gd name="connsiteX44" fmla="*/ 396875 w 996308"/>
              <a:gd name="connsiteY44" fmla="*/ 753494 h 810998"/>
              <a:gd name="connsiteX45" fmla="*/ 409575 w 996308"/>
              <a:gd name="connsiteY45" fmla="*/ 734444 h 810998"/>
              <a:gd name="connsiteX46" fmla="*/ 444500 w 996308"/>
              <a:gd name="connsiteY46" fmla="*/ 734444 h 810998"/>
              <a:gd name="connsiteX47" fmla="*/ 447675 w 996308"/>
              <a:gd name="connsiteY47" fmla="*/ 724919 h 810998"/>
              <a:gd name="connsiteX48" fmla="*/ 454025 w 996308"/>
              <a:gd name="connsiteY48" fmla="*/ 715394 h 810998"/>
              <a:gd name="connsiteX49" fmla="*/ 460375 w 996308"/>
              <a:gd name="connsiteY49" fmla="*/ 696344 h 810998"/>
              <a:gd name="connsiteX50" fmla="*/ 463550 w 996308"/>
              <a:gd name="connsiteY50" fmla="*/ 674119 h 810998"/>
              <a:gd name="connsiteX51" fmla="*/ 473075 w 996308"/>
              <a:gd name="connsiteY51" fmla="*/ 667769 h 810998"/>
              <a:gd name="connsiteX52" fmla="*/ 450850 w 996308"/>
              <a:gd name="connsiteY52" fmla="*/ 658244 h 810998"/>
              <a:gd name="connsiteX53" fmla="*/ 431800 w 996308"/>
              <a:gd name="connsiteY53" fmla="*/ 642369 h 810998"/>
              <a:gd name="connsiteX54" fmla="*/ 428625 w 996308"/>
              <a:gd name="connsiteY54" fmla="*/ 632844 h 810998"/>
              <a:gd name="connsiteX55" fmla="*/ 425450 w 996308"/>
              <a:gd name="connsiteY55" fmla="*/ 597919 h 810998"/>
              <a:gd name="connsiteX56" fmla="*/ 428625 w 996308"/>
              <a:gd name="connsiteY56" fmla="*/ 585219 h 810998"/>
              <a:gd name="connsiteX57" fmla="*/ 438150 w 996308"/>
              <a:gd name="connsiteY57" fmla="*/ 588394 h 810998"/>
              <a:gd name="connsiteX58" fmla="*/ 444500 w 996308"/>
              <a:gd name="connsiteY58" fmla="*/ 578869 h 810998"/>
              <a:gd name="connsiteX59" fmla="*/ 434975 w 996308"/>
              <a:gd name="connsiteY59" fmla="*/ 559819 h 810998"/>
              <a:gd name="connsiteX60" fmla="*/ 425450 w 996308"/>
              <a:gd name="connsiteY60" fmla="*/ 540769 h 810998"/>
              <a:gd name="connsiteX61" fmla="*/ 422275 w 996308"/>
              <a:gd name="connsiteY61" fmla="*/ 528069 h 810998"/>
              <a:gd name="connsiteX62" fmla="*/ 419100 w 996308"/>
              <a:gd name="connsiteY62" fmla="*/ 518544 h 810998"/>
              <a:gd name="connsiteX63" fmla="*/ 428625 w 996308"/>
              <a:gd name="connsiteY63" fmla="*/ 512194 h 810998"/>
              <a:gd name="connsiteX64" fmla="*/ 466725 w 996308"/>
              <a:gd name="connsiteY64" fmla="*/ 515369 h 810998"/>
              <a:gd name="connsiteX65" fmla="*/ 469900 w 996308"/>
              <a:gd name="connsiteY65" fmla="*/ 505844 h 810998"/>
              <a:gd name="connsiteX66" fmla="*/ 523875 w 996308"/>
              <a:gd name="connsiteY66" fmla="*/ 480444 h 810998"/>
              <a:gd name="connsiteX67" fmla="*/ 514350 w 996308"/>
              <a:gd name="connsiteY67" fmla="*/ 445519 h 810998"/>
              <a:gd name="connsiteX68" fmla="*/ 508000 w 996308"/>
              <a:gd name="connsiteY68" fmla="*/ 426469 h 810998"/>
              <a:gd name="connsiteX69" fmla="*/ 511175 w 996308"/>
              <a:gd name="connsiteY69" fmla="*/ 416944 h 810998"/>
              <a:gd name="connsiteX70" fmla="*/ 558800 w 996308"/>
              <a:gd name="connsiteY70" fmla="*/ 416944 h 810998"/>
              <a:gd name="connsiteX71" fmla="*/ 561975 w 996308"/>
              <a:gd name="connsiteY71" fmla="*/ 426469 h 810998"/>
              <a:gd name="connsiteX72" fmla="*/ 581025 w 996308"/>
              <a:gd name="connsiteY72" fmla="*/ 439169 h 810998"/>
              <a:gd name="connsiteX73" fmla="*/ 587375 w 996308"/>
              <a:gd name="connsiteY73" fmla="*/ 448694 h 810998"/>
              <a:gd name="connsiteX74" fmla="*/ 596900 w 996308"/>
              <a:gd name="connsiteY74" fmla="*/ 451869 h 810998"/>
              <a:gd name="connsiteX75" fmla="*/ 600075 w 996308"/>
              <a:gd name="connsiteY75" fmla="*/ 489969 h 810998"/>
              <a:gd name="connsiteX76" fmla="*/ 609600 w 996308"/>
              <a:gd name="connsiteY76" fmla="*/ 515369 h 810998"/>
              <a:gd name="connsiteX77" fmla="*/ 612775 w 996308"/>
              <a:gd name="connsiteY77" fmla="*/ 524894 h 810998"/>
              <a:gd name="connsiteX78" fmla="*/ 622300 w 996308"/>
              <a:gd name="connsiteY78" fmla="*/ 537594 h 810998"/>
              <a:gd name="connsiteX79" fmla="*/ 628650 w 996308"/>
              <a:gd name="connsiteY79" fmla="*/ 547119 h 810998"/>
              <a:gd name="connsiteX80" fmla="*/ 657225 w 996308"/>
              <a:gd name="connsiteY80" fmla="*/ 569344 h 810998"/>
              <a:gd name="connsiteX81" fmla="*/ 688975 w 996308"/>
              <a:gd name="connsiteY81" fmla="*/ 607444 h 810998"/>
              <a:gd name="connsiteX82" fmla="*/ 698500 w 996308"/>
              <a:gd name="connsiteY82" fmla="*/ 610619 h 810998"/>
              <a:gd name="connsiteX83" fmla="*/ 701675 w 996308"/>
              <a:gd name="connsiteY83" fmla="*/ 601094 h 810998"/>
              <a:gd name="connsiteX84" fmla="*/ 708025 w 996308"/>
              <a:gd name="connsiteY84" fmla="*/ 591569 h 810998"/>
              <a:gd name="connsiteX85" fmla="*/ 711200 w 996308"/>
              <a:gd name="connsiteY85" fmla="*/ 569344 h 810998"/>
              <a:gd name="connsiteX86" fmla="*/ 714375 w 996308"/>
              <a:gd name="connsiteY86" fmla="*/ 559819 h 810998"/>
              <a:gd name="connsiteX87" fmla="*/ 717550 w 996308"/>
              <a:gd name="connsiteY87" fmla="*/ 543944 h 810998"/>
              <a:gd name="connsiteX88" fmla="*/ 711200 w 996308"/>
              <a:gd name="connsiteY88" fmla="*/ 499494 h 810998"/>
              <a:gd name="connsiteX89" fmla="*/ 704850 w 996308"/>
              <a:gd name="connsiteY89" fmla="*/ 489969 h 810998"/>
              <a:gd name="connsiteX90" fmla="*/ 695325 w 996308"/>
              <a:gd name="connsiteY90" fmla="*/ 486794 h 810998"/>
              <a:gd name="connsiteX91" fmla="*/ 688975 w 996308"/>
              <a:gd name="connsiteY91" fmla="*/ 467744 h 810998"/>
              <a:gd name="connsiteX92" fmla="*/ 685800 w 996308"/>
              <a:gd name="connsiteY92" fmla="*/ 458219 h 810998"/>
              <a:gd name="connsiteX93" fmla="*/ 704850 w 996308"/>
              <a:gd name="connsiteY93" fmla="*/ 445519 h 810998"/>
              <a:gd name="connsiteX94" fmla="*/ 714375 w 996308"/>
              <a:gd name="connsiteY94" fmla="*/ 439169 h 810998"/>
              <a:gd name="connsiteX95" fmla="*/ 723900 w 996308"/>
              <a:gd name="connsiteY95" fmla="*/ 435994 h 810998"/>
              <a:gd name="connsiteX96" fmla="*/ 720725 w 996308"/>
              <a:gd name="connsiteY96" fmla="*/ 420119 h 810998"/>
              <a:gd name="connsiteX97" fmla="*/ 673100 w 996308"/>
              <a:gd name="connsiteY97" fmla="*/ 429644 h 810998"/>
              <a:gd name="connsiteX98" fmla="*/ 669925 w 996308"/>
              <a:gd name="connsiteY98" fmla="*/ 416944 h 810998"/>
              <a:gd name="connsiteX99" fmla="*/ 669925 w 996308"/>
              <a:gd name="connsiteY99" fmla="*/ 378844 h 810998"/>
              <a:gd name="connsiteX100" fmla="*/ 717550 w 996308"/>
              <a:gd name="connsiteY100" fmla="*/ 369319 h 810998"/>
              <a:gd name="connsiteX101" fmla="*/ 730250 w 996308"/>
              <a:gd name="connsiteY101" fmla="*/ 372494 h 810998"/>
              <a:gd name="connsiteX102" fmla="*/ 727075 w 996308"/>
              <a:gd name="connsiteY102" fmla="*/ 388369 h 810998"/>
              <a:gd name="connsiteX103" fmla="*/ 720725 w 996308"/>
              <a:gd name="connsiteY103" fmla="*/ 397894 h 810998"/>
              <a:gd name="connsiteX104" fmla="*/ 730250 w 996308"/>
              <a:gd name="connsiteY104" fmla="*/ 391544 h 810998"/>
              <a:gd name="connsiteX105" fmla="*/ 742950 w 996308"/>
              <a:gd name="connsiteY105" fmla="*/ 382019 h 810998"/>
              <a:gd name="connsiteX106" fmla="*/ 758825 w 996308"/>
              <a:gd name="connsiteY106" fmla="*/ 372494 h 810998"/>
              <a:gd name="connsiteX107" fmla="*/ 768350 w 996308"/>
              <a:gd name="connsiteY107" fmla="*/ 366144 h 810998"/>
              <a:gd name="connsiteX108" fmla="*/ 765175 w 996308"/>
              <a:gd name="connsiteY108" fmla="*/ 353444 h 810998"/>
              <a:gd name="connsiteX109" fmla="*/ 755650 w 996308"/>
              <a:gd name="connsiteY109" fmla="*/ 350269 h 810998"/>
              <a:gd name="connsiteX110" fmla="*/ 698500 w 996308"/>
              <a:gd name="connsiteY110" fmla="*/ 347094 h 810998"/>
              <a:gd name="connsiteX111" fmla="*/ 669925 w 996308"/>
              <a:gd name="connsiteY111" fmla="*/ 324869 h 810998"/>
              <a:gd name="connsiteX112" fmla="*/ 660400 w 996308"/>
              <a:gd name="connsiteY112" fmla="*/ 318519 h 810998"/>
              <a:gd name="connsiteX113" fmla="*/ 654050 w 996308"/>
              <a:gd name="connsiteY113" fmla="*/ 308994 h 810998"/>
              <a:gd name="connsiteX114" fmla="*/ 644525 w 996308"/>
              <a:gd name="connsiteY114" fmla="*/ 299469 h 810998"/>
              <a:gd name="connsiteX115" fmla="*/ 650875 w 996308"/>
              <a:gd name="connsiteY115" fmla="*/ 289944 h 810998"/>
              <a:gd name="connsiteX116" fmla="*/ 685800 w 996308"/>
              <a:gd name="connsiteY116" fmla="*/ 293119 h 810998"/>
              <a:gd name="connsiteX117" fmla="*/ 742950 w 996308"/>
              <a:gd name="connsiteY117" fmla="*/ 296294 h 810998"/>
              <a:gd name="connsiteX118" fmla="*/ 793750 w 996308"/>
              <a:gd name="connsiteY118" fmla="*/ 299469 h 810998"/>
              <a:gd name="connsiteX119" fmla="*/ 803275 w 996308"/>
              <a:gd name="connsiteY119" fmla="*/ 305819 h 810998"/>
              <a:gd name="connsiteX120" fmla="*/ 825500 w 996308"/>
              <a:gd name="connsiteY120" fmla="*/ 308994 h 810998"/>
              <a:gd name="connsiteX121" fmla="*/ 841375 w 996308"/>
              <a:gd name="connsiteY121" fmla="*/ 312169 h 810998"/>
              <a:gd name="connsiteX122" fmla="*/ 847725 w 996308"/>
              <a:gd name="connsiteY122" fmla="*/ 321694 h 810998"/>
              <a:gd name="connsiteX123" fmla="*/ 857250 w 996308"/>
              <a:gd name="connsiteY123" fmla="*/ 328044 h 810998"/>
              <a:gd name="connsiteX124" fmla="*/ 882650 w 996308"/>
              <a:gd name="connsiteY124" fmla="*/ 321694 h 810998"/>
              <a:gd name="connsiteX125" fmla="*/ 895350 w 996308"/>
              <a:gd name="connsiteY125" fmla="*/ 293119 h 810998"/>
              <a:gd name="connsiteX126" fmla="*/ 898525 w 996308"/>
              <a:gd name="connsiteY126" fmla="*/ 283594 h 810998"/>
              <a:gd name="connsiteX127" fmla="*/ 908050 w 996308"/>
              <a:gd name="connsiteY127" fmla="*/ 274069 h 810998"/>
              <a:gd name="connsiteX128" fmla="*/ 914400 w 996308"/>
              <a:gd name="connsiteY128" fmla="*/ 220094 h 810998"/>
              <a:gd name="connsiteX129" fmla="*/ 911225 w 996308"/>
              <a:gd name="connsiteY129" fmla="*/ 194694 h 810998"/>
              <a:gd name="connsiteX130" fmla="*/ 904875 w 996308"/>
              <a:gd name="connsiteY130" fmla="*/ 175644 h 810998"/>
              <a:gd name="connsiteX131" fmla="*/ 908050 w 996308"/>
              <a:gd name="connsiteY131" fmla="*/ 147069 h 810998"/>
              <a:gd name="connsiteX132" fmla="*/ 927100 w 996308"/>
              <a:gd name="connsiteY132" fmla="*/ 143894 h 810998"/>
              <a:gd name="connsiteX133" fmla="*/ 936625 w 996308"/>
              <a:gd name="connsiteY133" fmla="*/ 140719 h 810998"/>
              <a:gd name="connsiteX134" fmla="*/ 949325 w 996308"/>
              <a:gd name="connsiteY134" fmla="*/ 137544 h 810998"/>
              <a:gd name="connsiteX135" fmla="*/ 965200 w 996308"/>
              <a:gd name="connsiteY135" fmla="*/ 140719 h 810998"/>
              <a:gd name="connsiteX136" fmla="*/ 974725 w 996308"/>
              <a:gd name="connsiteY136" fmla="*/ 172469 h 810998"/>
              <a:gd name="connsiteX137" fmla="*/ 984250 w 996308"/>
              <a:gd name="connsiteY137" fmla="*/ 178819 h 810998"/>
              <a:gd name="connsiteX138" fmla="*/ 993775 w 996308"/>
              <a:gd name="connsiteY138" fmla="*/ 172469 h 810998"/>
              <a:gd name="connsiteX139" fmla="*/ 984250 w 996308"/>
              <a:gd name="connsiteY139" fmla="*/ 115319 h 810998"/>
              <a:gd name="connsiteX140" fmla="*/ 981075 w 996308"/>
              <a:gd name="connsiteY140" fmla="*/ 102619 h 810998"/>
              <a:gd name="connsiteX141" fmla="*/ 977900 w 996308"/>
              <a:gd name="connsiteY141" fmla="*/ 83569 h 810998"/>
              <a:gd name="connsiteX142" fmla="*/ 971550 w 996308"/>
              <a:gd name="connsiteY142" fmla="*/ 64519 h 810998"/>
              <a:gd name="connsiteX143" fmla="*/ 968375 w 996308"/>
              <a:gd name="connsiteY143" fmla="*/ 54994 h 810998"/>
              <a:gd name="connsiteX144" fmla="*/ 958850 w 996308"/>
              <a:gd name="connsiteY144" fmla="*/ 51819 h 810998"/>
              <a:gd name="connsiteX145" fmla="*/ 949325 w 996308"/>
              <a:gd name="connsiteY145" fmla="*/ 58169 h 810998"/>
              <a:gd name="connsiteX146" fmla="*/ 942975 w 996308"/>
              <a:gd name="connsiteY146" fmla="*/ 67694 h 810998"/>
              <a:gd name="connsiteX147" fmla="*/ 933450 w 996308"/>
              <a:gd name="connsiteY147" fmla="*/ 77219 h 810998"/>
              <a:gd name="connsiteX148" fmla="*/ 930275 w 996308"/>
              <a:gd name="connsiteY148" fmla="*/ 86744 h 810998"/>
              <a:gd name="connsiteX149" fmla="*/ 920750 w 996308"/>
              <a:gd name="connsiteY149" fmla="*/ 80394 h 810998"/>
              <a:gd name="connsiteX150" fmla="*/ 904875 w 996308"/>
              <a:gd name="connsiteY150" fmla="*/ 20069 h 810998"/>
              <a:gd name="connsiteX151" fmla="*/ 892175 w 996308"/>
              <a:gd name="connsiteY151" fmla="*/ 16894 h 810998"/>
              <a:gd name="connsiteX152" fmla="*/ 879475 w 996308"/>
              <a:gd name="connsiteY152" fmla="*/ 20069 h 810998"/>
              <a:gd name="connsiteX153" fmla="*/ 863600 w 996308"/>
              <a:gd name="connsiteY153" fmla="*/ 23244 h 810998"/>
              <a:gd name="connsiteX154" fmla="*/ 844550 w 996308"/>
              <a:gd name="connsiteY154" fmla="*/ 29594 h 810998"/>
              <a:gd name="connsiteX155" fmla="*/ 809625 w 996308"/>
              <a:gd name="connsiteY155" fmla="*/ 26419 h 810998"/>
              <a:gd name="connsiteX156" fmla="*/ 774700 w 996308"/>
              <a:gd name="connsiteY156" fmla="*/ 16894 h 810998"/>
              <a:gd name="connsiteX157" fmla="*/ 765175 w 996308"/>
              <a:gd name="connsiteY157" fmla="*/ 7369 h 810998"/>
              <a:gd name="connsiteX158" fmla="*/ 723900 w 996308"/>
              <a:gd name="connsiteY158" fmla="*/ 4194 h 810998"/>
              <a:gd name="connsiteX159" fmla="*/ 714375 w 996308"/>
              <a:gd name="connsiteY159" fmla="*/ 7369 h 810998"/>
              <a:gd name="connsiteX160" fmla="*/ 704850 w 996308"/>
              <a:gd name="connsiteY160" fmla="*/ 16894 h 810998"/>
              <a:gd name="connsiteX161" fmla="*/ 695325 w 996308"/>
              <a:gd name="connsiteY161" fmla="*/ 23244 h 810998"/>
              <a:gd name="connsiteX162" fmla="*/ 688975 w 996308"/>
              <a:gd name="connsiteY162" fmla="*/ 32769 h 810998"/>
              <a:gd name="connsiteX163" fmla="*/ 676275 w 996308"/>
              <a:gd name="connsiteY163" fmla="*/ 77219 h 810998"/>
              <a:gd name="connsiteX164" fmla="*/ 663575 w 996308"/>
              <a:gd name="connsiteY164" fmla="*/ 99444 h 810998"/>
              <a:gd name="connsiteX165" fmla="*/ 647700 w 996308"/>
              <a:gd name="connsiteY165" fmla="*/ 102619 h 810998"/>
              <a:gd name="connsiteX166" fmla="*/ 628650 w 996308"/>
              <a:gd name="connsiteY166" fmla="*/ 108969 h 810998"/>
              <a:gd name="connsiteX167" fmla="*/ 619125 w 996308"/>
              <a:gd name="connsiteY167" fmla="*/ 112144 h 810998"/>
              <a:gd name="connsiteX168" fmla="*/ 609600 w 996308"/>
              <a:gd name="connsiteY168" fmla="*/ 118494 h 810998"/>
              <a:gd name="connsiteX169" fmla="*/ 593725 w 996308"/>
              <a:gd name="connsiteY169" fmla="*/ 137544 h 810998"/>
              <a:gd name="connsiteX170" fmla="*/ 587375 w 996308"/>
              <a:gd name="connsiteY170" fmla="*/ 156594 h 810998"/>
              <a:gd name="connsiteX171" fmla="*/ 596900 w 996308"/>
              <a:gd name="connsiteY171" fmla="*/ 166119 h 810998"/>
              <a:gd name="connsiteX172" fmla="*/ 593725 w 996308"/>
              <a:gd name="connsiteY172" fmla="*/ 178819 h 810998"/>
              <a:gd name="connsiteX173" fmla="*/ 574675 w 996308"/>
              <a:gd name="connsiteY173" fmla="*/ 194694 h 810998"/>
              <a:gd name="connsiteX174" fmla="*/ 549275 w 996308"/>
              <a:gd name="connsiteY174" fmla="*/ 185169 h 810998"/>
              <a:gd name="connsiteX175" fmla="*/ 539750 w 996308"/>
              <a:gd name="connsiteY175" fmla="*/ 162944 h 810998"/>
              <a:gd name="connsiteX176" fmla="*/ 536575 w 996308"/>
              <a:gd name="connsiteY176" fmla="*/ 150244 h 810998"/>
              <a:gd name="connsiteX177" fmla="*/ 530225 w 996308"/>
              <a:gd name="connsiteY177" fmla="*/ 137544 h 810998"/>
              <a:gd name="connsiteX178" fmla="*/ 514350 w 996308"/>
              <a:gd name="connsiteY178" fmla="*/ 108969 h 810998"/>
              <a:gd name="connsiteX179" fmla="*/ 508000 w 996308"/>
              <a:gd name="connsiteY179" fmla="*/ 99444 h 810998"/>
              <a:gd name="connsiteX180" fmla="*/ 498475 w 996308"/>
              <a:gd name="connsiteY180" fmla="*/ 93094 h 810998"/>
              <a:gd name="connsiteX181" fmla="*/ 444500 w 996308"/>
              <a:gd name="connsiteY181" fmla="*/ 96269 h 810998"/>
              <a:gd name="connsiteX182" fmla="*/ 447675 w 996308"/>
              <a:gd name="connsiteY182" fmla="*/ 115319 h 810998"/>
              <a:gd name="connsiteX183" fmla="*/ 460375 w 996308"/>
              <a:gd name="connsiteY183" fmla="*/ 143894 h 810998"/>
              <a:gd name="connsiteX184" fmla="*/ 457200 w 996308"/>
              <a:gd name="connsiteY184" fmla="*/ 166119 h 810998"/>
              <a:gd name="connsiteX185" fmla="*/ 434975 w 996308"/>
              <a:gd name="connsiteY185" fmla="*/ 156594 h 810998"/>
              <a:gd name="connsiteX186" fmla="*/ 428625 w 996308"/>
              <a:gd name="connsiteY186" fmla="*/ 147069 h 810998"/>
              <a:gd name="connsiteX187" fmla="*/ 425450 w 996308"/>
              <a:gd name="connsiteY187" fmla="*/ 137544 h 810998"/>
              <a:gd name="connsiteX188" fmla="*/ 415925 w 996308"/>
              <a:gd name="connsiteY188" fmla="*/ 134369 h 810998"/>
              <a:gd name="connsiteX189" fmla="*/ 403225 w 996308"/>
              <a:gd name="connsiteY189" fmla="*/ 105794 h 810998"/>
              <a:gd name="connsiteX190" fmla="*/ 387350 w 996308"/>
              <a:gd name="connsiteY190" fmla="*/ 83569 h 810998"/>
              <a:gd name="connsiteX191" fmla="*/ 371475 w 996308"/>
              <a:gd name="connsiteY191" fmla="*/ 64519 h 810998"/>
              <a:gd name="connsiteX192" fmla="*/ 352425 w 996308"/>
              <a:gd name="connsiteY192" fmla="*/ 51819 h 810998"/>
              <a:gd name="connsiteX193" fmla="*/ 314325 w 996308"/>
              <a:gd name="connsiteY193" fmla="*/ 45469 h 810998"/>
              <a:gd name="connsiteX194" fmla="*/ 304800 w 996308"/>
              <a:gd name="connsiteY194" fmla="*/ 26419 h 810998"/>
              <a:gd name="connsiteX195" fmla="*/ 301625 w 996308"/>
              <a:gd name="connsiteY195" fmla="*/ 13719 h 810998"/>
              <a:gd name="connsiteX196" fmla="*/ 292100 w 996308"/>
              <a:gd name="connsiteY196" fmla="*/ 7369 h 810998"/>
              <a:gd name="connsiteX197" fmla="*/ 276225 w 996308"/>
              <a:gd name="connsiteY197" fmla="*/ 10544 h 810998"/>
              <a:gd name="connsiteX198" fmla="*/ 266700 w 996308"/>
              <a:gd name="connsiteY198" fmla="*/ 29594 h 810998"/>
              <a:gd name="connsiteX199" fmla="*/ 263525 w 996308"/>
              <a:gd name="connsiteY199" fmla="*/ 64519 h 810998"/>
              <a:gd name="connsiteX200" fmla="*/ 257175 w 996308"/>
              <a:gd name="connsiteY200" fmla="*/ 83569 h 810998"/>
              <a:gd name="connsiteX201" fmla="*/ 247650 w 996308"/>
              <a:gd name="connsiteY201" fmla="*/ 108969 h 810998"/>
              <a:gd name="connsiteX202" fmla="*/ 234950 w 996308"/>
              <a:gd name="connsiteY202" fmla="*/ 105794 h 810998"/>
              <a:gd name="connsiteX203" fmla="*/ 228600 w 996308"/>
              <a:gd name="connsiteY203" fmla="*/ 96269 h 810998"/>
              <a:gd name="connsiteX204" fmla="*/ 219075 w 996308"/>
              <a:gd name="connsiteY204" fmla="*/ 86744 h 810998"/>
              <a:gd name="connsiteX205" fmla="*/ 206375 w 996308"/>
              <a:gd name="connsiteY205" fmla="*/ 89919 h 810998"/>
              <a:gd name="connsiteX206" fmla="*/ 203200 w 996308"/>
              <a:gd name="connsiteY206" fmla="*/ 99444 h 810998"/>
              <a:gd name="connsiteX207" fmla="*/ 200025 w 996308"/>
              <a:gd name="connsiteY207" fmla="*/ 118494 h 810998"/>
              <a:gd name="connsiteX208" fmla="*/ 193675 w 996308"/>
              <a:gd name="connsiteY208" fmla="*/ 137544 h 810998"/>
              <a:gd name="connsiteX209" fmla="*/ 196850 w 996308"/>
              <a:gd name="connsiteY209" fmla="*/ 150244 h 810998"/>
              <a:gd name="connsiteX210" fmla="*/ 203200 w 996308"/>
              <a:gd name="connsiteY210" fmla="*/ 162944 h 810998"/>
              <a:gd name="connsiteX211" fmla="*/ 206375 w 996308"/>
              <a:gd name="connsiteY211" fmla="*/ 172469 h 810998"/>
              <a:gd name="connsiteX212" fmla="*/ 200025 w 996308"/>
              <a:gd name="connsiteY212" fmla="*/ 216919 h 810998"/>
              <a:gd name="connsiteX213" fmla="*/ 193675 w 996308"/>
              <a:gd name="connsiteY213" fmla="*/ 235969 h 810998"/>
              <a:gd name="connsiteX214" fmla="*/ 180975 w 996308"/>
              <a:gd name="connsiteY214" fmla="*/ 255019 h 810998"/>
              <a:gd name="connsiteX215" fmla="*/ 171450 w 996308"/>
              <a:gd name="connsiteY215" fmla="*/ 261369 h 810998"/>
              <a:gd name="connsiteX216" fmla="*/ 152400 w 996308"/>
              <a:gd name="connsiteY216" fmla="*/ 277244 h 810998"/>
              <a:gd name="connsiteX217" fmla="*/ 130175 w 996308"/>
              <a:gd name="connsiteY217" fmla="*/ 302644 h 810998"/>
              <a:gd name="connsiteX218" fmla="*/ 104775 w 996308"/>
              <a:gd name="connsiteY218" fmla="*/ 299469 h 810998"/>
              <a:gd name="connsiteX219" fmla="*/ 95250 w 996308"/>
              <a:gd name="connsiteY219" fmla="*/ 296294 h 810998"/>
              <a:gd name="connsiteX220" fmla="*/ 82550 w 996308"/>
              <a:gd name="connsiteY220" fmla="*/ 274069 h 810998"/>
              <a:gd name="connsiteX221" fmla="*/ 79375 w 996308"/>
              <a:gd name="connsiteY221" fmla="*/ 264544 h 810998"/>
              <a:gd name="connsiteX222" fmla="*/ 53975 w 996308"/>
              <a:gd name="connsiteY222" fmla="*/ 261369 h 810998"/>
              <a:gd name="connsiteX223" fmla="*/ 50800 w 996308"/>
              <a:gd name="connsiteY223" fmla="*/ 251844 h 810998"/>
              <a:gd name="connsiteX224" fmla="*/ 38100 w 996308"/>
              <a:gd name="connsiteY224" fmla="*/ 232794 h 810998"/>
              <a:gd name="connsiteX225" fmla="*/ 28575 w 996308"/>
              <a:gd name="connsiteY225" fmla="*/ 201044 h 810998"/>
              <a:gd name="connsiteX226" fmla="*/ 25400 w 996308"/>
              <a:gd name="connsiteY226" fmla="*/ 147069 h 810998"/>
              <a:gd name="connsiteX227" fmla="*/ 15875 w 996308"/>
              <a:gd name="connsiteY227" fmla="*/ 143894 h 810998"/>
              <a:gd name="connsiteX228" fmla="*/ 0 w 996308"/>
              <a:gd name="connsiteY228" fmla="*/ 166119 h 810998"/>
              <a:gd name="connsiteX229" fmla="*/ 3175 w 996308"/>
              <a:gd name="connsiteY229" fmla="*/ 197869 h 810998"/>
              <a:gd name="connsiteX230" fmla="*/ 19050 w 996308"/>
              <a:gd name="connsiteY230" fmla="*/ 213744 h 810998"/>
              <a:gd name="connsiteX231" fmla="*/ 31750 w 996308"/>
              <a:gd name="connsiteY231" fmla="*/ 216919 h 810998"/>
              <a:gd name="connsiteX232" fmla="*/ 41275 w 996308"/>
              <a:gd name="connsiteY232" fmla="*/ 220094 h 810998"/>
              <a:gd name="connsiteX233" fmla="*/ 38100 w 996308"/>
              <a:gd name="connsiteY233" fmla="*/ 245494 h 810998"/>
              <a:gd name="connsiteX234" fmla="*/ 31750 w 996308"/>
              <a:gd name="connsiteY234" fmla="*/ 267719 h 810998"/>
              <a:gd name="connsiteX235" fmla="*/ 34925 w 996308"/>
              <a:gd name="connsiteY235" fmla="*/ 289944 h 810998"/>
              <a:gd name="connsiteX236" fmla="*/ 38100 w 996308"/>
              <a:gd name="connsiteY236" fmla="*/ 299469 h 810998"/>
              <a:gd name="connsiteX237" fmla="*/ 44450 w 996308"/>
              <a:gd name="connsiteY237" fmla="*/ 334394 h 810998"/>
              <a:gd name="connsiteX238" fmla="*/ 50800 w 996308"/>
              <a:gd name="connsiteY238" fmla="*/ 343919 h 810998"/>
              <a:gd name="connsiteX239" fmla="*/ 69850 w 996308"/>
              <a:gd name="connsiteY239" fmla="*/ 356619 h 810998"/>
              <a:gd name="connsiteX240" fmla="*/ 92075 w 996308"/>
              <a:gd name="connsiteY240" fmla="*/ 350269 h 810998"/>
              <a:gd name="connsiteX241" fmla="*/ 101600 w 996308"/>
              <a:gd name="connsiteY241" fmla="*/ 343919 h 810998"/>
              <a:gd name="connsiteX242" fmla="*/ 111125 w 996308"/>
              <a:gd name="connsiteY242" fmla="*/ 340744 h 810998"/>
              <a:gd name="connsiteX243" fmla="*/ 120650 w 996308"/>
              <a:gd name="connsiteY243" fmla="*/ 334394 h 810998"/>
              <a:gd name="connsiteX244" fmla="*/ 142875 w 996308"/>
              <a:gd name="connsiteY244" fmla="*/ 328044 h 810998"/>
              <a:gd name="connsiteX245" fmla="*/ 161925 w 996308"/>
              <a:gd name="connsiteY245" fmla="*/ 321694 h 810998"/>
              <a:gd name="connsiteX246" fmla="*/ 174625 w 996308"/>
              <a:gd name="connsiteY246" fmla="*/ 318519 h 810998"/>
              <a:gd name="connsiteX247" fmla="*/ 206375 w 996308"/>
              <a:gd name="connsiteY247" fmla="*/ 308994 h 810998"/>
              <a:gd name="connsiteX248" fmla="*/ 244475 w 996308"/>
              <a:gd name="connsiteY248" fmla="*/ 312169 h 810998"/>
              <a:gd name="connsiteX249" fmla="*/ 273050 w 996308"/>
              <a:gd name="connsiteY249" fmla="*/ 324869 h 810998"/>
              <a:gd name="connsiteX250" fmla="*/ 282575 w 996308"/>
              <a:gd name="connsiteY250" fmla="*/ 334394 h 810998"/>
              <a:gd name="connsiteX251" fmla="*/ 282575 w 996308"/>
              <a:gd name="connsiteY251" fmla="*/ 391544 h 810998"/>
              <a:gd name="connsiteX252" fmla="*/ 285750 w 996308"/>
              <a:gd name="connsiteY252" fmla="*/ 401069 h 810998"/>
              <a:gd name="connsiteX253" fmla="*/ 292100 w 996308"/>
              <a:gd name="connsiteY253" fmla="*/ 410594 h 810998"/>
              <a:gd name="connsiteX254" fmla="*/ 298450 w 996308"/>
              <a:gd name="connsiteY254" fmla="*/ 429644 h 810998"/>
              <a:gd name="connsiteX255" fmla="*/ 295275 w 996308"/>
              <a:gd name="connsiteY255" fmla="*/ 439169 h 810998"/>
              <a:gd name="connsiteX256" fmla="*/ 282575 w 996308"/>
              <a:gd name="connsiteY256" fmla="*/ 442344 h 810998"/>
              <a:gd name="connsiteX257" fmla="*/ 263525 w 996308"/>
              <a:gd name="connsiteY257" fmla="*/ 451869 h 810998"/>
              <a:gd name="connsiteX258" fmla="*/ 244475 w 996308"/>
              <a:gd name="connsiteY258" fmla="*/ 458219 h 810998"/>
              <a:gd name="connsiteX259" fmla="*/ 231775 w 996308"/>
              <a:gd name="connsiteY259" fmla="*/ 455044 h 810998"/>
              <a:gd name="connsiteX260" fmla="*/ 212725 w 996308"/>
              <a:gd name="connsiteY260" fmla="*/ 442344 h 810998"/>
              <a:gd name="connsiteX261" fmla="*/ 184150 w 996308"/>
              <a:gd name="connsiteY261" fmla="*/ 451869 h 810998"/>
              <a:gd name="connsiteX262" fmla="*/ 174625 w 996308"/>
              <a:gd name="connsiteY262" fmla="*/ 455044 h 810998"/>
              <a:gd name="connsiteX263" fmla="*/ 152400 w 996308"/>
              <a:gd name="connsiteY263" fmla="*/ 429644 h 810998"/>
              <a:gd name="connsiteX264" fmla="*/ 142875 w 996308"/>
              <a:gd name="connsiteY264" fmla="*/ 432819 h 810998"/>
              <a:gd name="connsiteX265" fmla="*/ 127000 w 996308"/>
              <a:gd name="connsiteY265" fmla="*/ 461394 h 810998"/>
              <a:gd name="connsiteX266" fmla="*/ 117475 w 996308"/>
              <a:gd name="connsiteY266" fmla="*/ 464569 h 810998"/>
              <a:gd name="connsiteX267" fmla="*/ 95250 w 996308"/>
              <a:gd name="connsiteY267" fmla="*/ 451869 h 810998"/>
              <a:gd name="connsiteX268" fmla="*/ 85725 w 996308"/>
              <a:gd name="connsiteY268" fmla="*/ 448694 h 810998"/>
              <a:gd name="connsiteX269" fmla="*/ 57150 w 996308"/>
              <a:gd name="connsiteY269" fmla="*/ 439169 h 810998"/>
              <a:gd name="connsiteX270" fmla="*/ 22225 w 996308"/>
              <a:gd name="connsiteY270" fmla="*/ 429644 h 81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96308" h="810998">
                <a:moveTo>
                  <a:pt x="22225" y="429644"/>
                </a:moveTo>
                <a:lnTo>
                  <a:pt x="22225" y="429644"/>
                </a:lnTo>
                <a:cubicBezTo>
                  <a:pt x="23283" y="457161"/>
                  <a:pt x="5928" y="492722"/>
                  <a:pt x="25400" y="512194"/>
                </a:cubicBezTo>
                <a:cubicBezTo>
                  <a:pt x="43376" y="530170"/>
                  <a:pt x="76333" y="511826"/>
                  <a:pt x="101600" y="509019"/>
                </a:cubicBezTo>
                <a:cubicBezTo>
                  <a:pt x="105393" y="508598"/>
                  <a:pt x="107638" y="504219"/>
                  <a:pt x="111125" y="502669"/>
                </a:cubicBezTo>
                <a:cubicBezTo>
                  <a:pt x="117242" y="499951"/>
                  <a:pt x="130175" y="496319"/>
                  <a:pt x="130175" y="496319"/>
                </a:cubicBezTo>
                <a:cubicBezTo>
                  <a:pt x="134408" y="493144"/>
                  <a:pt x="137637" y="487542"/>
                  <a:pt x="142875" y="486794"/>
                </a:cubicBezTo>
                <a:cubicBezTo>
                  <a:pt x="178271" y="481737"/>
                  <a:pt x="165829" y="487159"/>
                  <a:pt x="184150" y="496319"/>
                </a:cubicBezTo>
                <a:cubicBezTo>
                  <a:pt x="210440" y="509464"/>
                  <a:pt x="175903" y="487646"/>
                  <a:pt x="203200" y="505844"/>
                </a:cubicBezTo>
                <a:cubicBezTo>
                  <a:pt x="221398" y="533141"/>
                  <a:pt x="199580" y="498604"/>
                  <a:pt x="212725" y="524894"/>
                </a:cubicBezTo>
                <a:cubicBezTo>
                  <a:pt x="214432" y="528307"/>
                  <a:pt x="217368" y="531006"/>
                  <a:pt x="219075" y="534419"/>
                </a:cubicBezTo>
                <a:cubicBezTo>
                  <a:pt x="220572" y="537412"/>
                  <a:pt x="220394" y="541159"/>
                  <a:pt x="222250" y="543944"/>
                </a:cubicBezTo>
                <a:cubicBezTo>
                  <a:pt x="224741" y="547680"/>
                  <a:pt x="228600" y="550294"/>
                  <a:pt x="231775" y="553469"/>
                </a:cubicBezTo>
                <a:cubicBezTo>
                  <a:pt x="233892" y="559819"/>
                  <a:pt x="237025" y="565917"/>
                  <a:pt x="238125" y="572519"/>
                </a:cubicBezTo>
                <a:cubicBezTo>
                  <a:pt x="239344" y="579836"/>
                  <a:pt x="240567" y="593278"/>
                  <a:pt x="244475" y="601094"/>
                </a:cubicBezTo>
                <a:cubicBezTo>
                  <a:pt x="246182" y="604507"/>
                  <a:pt x="247589" y="608597"/>
                  <a:pt x="250825" y="610619"/>
                </a:cubicBezTo>
                <a:cubicBezTo>
                  <a:pt x="256501" y="614167"/>
                  <a:pt x="269875" y="616969"/>
                  <a:pt x="269875" y="616969"/>
                </a:cubicBezTo>
                <a:cubicBezTo>
                  <a:pt x="271992" y="613794"/>
                  <a:pt x="274518" y="610857"/>
                  <a:pt x="276225" y="607444"/>
                </a:cubicBezTo>
                <a:cubicBezTo>
                  <a:pt x="280503" y="598888"/>
                  <a:pt x="277662" y="595471"/>
                  <a:pt x="285750" y="588394"/>
                </a:cubicBezTo>
                <a:cubicBezTo>
                  <a:pt x="296776" y="578746"/>
                  <a:pt x="302300" y="575955"/>
                  <a:pt x="314325" y="572519"/>
                </a:cubicBezTo>
                <a:cubicBezTo>
                  <a:pt x="318521" y="571320"/>
                  <a:pt x="322792" y="570402"/>
                  <a:pt x="327025" y="569344"/>
                </a:cubicBezTo>
                <a:cubicBezTo>
                  <a:pt x="334198" y="590863"/>
                  <a:pt x="326078" y="564611"/>
                  <a:pt x="333375" y="601094"/>
                </a:cubicBezTo>
                <a:cubicBezTo>
                  <a:pt x="334031" y="604376"/>
                  <a:pt x="335232" y="607543"/>
                  <a:pt x="336550" y="610619"/>
                </a:cubicBezTo>
                <a:cubicBezTo>
                  <a:pt x="341196" y="621460"/>
                  <a:pt x="344611" y="626903"/>
                  <a:pt x="352425" y="636019"/>
                </a:cubicBezTo>
                <a:cubicBezTo>
                  <a:pt x="355347" y="639428"/>
                  <a:pt x="358775" y="642369"/>
                  <a:pt x="361950" y="645544"/>
                </a:cubicBezTo>
                <a:cubicBezTo>
                  <a:pt x="365125" y="644486"/>
                  <a:pt x="368174" y="641819"/>
                  <a:pt x="371475" y="642369"/>
                </a:cubicBezTo>
                <a:cubicBezTo>
                  <a:pt x="381635" y="644062"/>
                  <a:pt x="381423" y="652317"/>
                  <a:pt x="387350" y="658244"/>
                </a:cubicBezTo>
                <a:cubicBezTo>
                  <a:pt x="390048" y="660942"/>
                  <a:pt x="393700" y="662477"/>
                  <a:pt x="396875" y="664594"/>
                </a:cubicBezTo>
                <a:cubicBezTo>
                  <a:pt x="398992" y="668827"/>
                  <a:pt x="400877" y="673185"/>
                  <a:pt x="403225" y="677294"/>
                </a:cubicBezTo>
                <a:cubicBezTo>
                  <a:pt x="405118" y="680607"/>
                  <a:pt x="407868" y="683406"/>
                  <a:pt x="409575" y="686819"/>
                </a:cubicBezTo>
                <a:cubicBezTo>
                  <a:pt x="411072" y="689812"/>
                  <a:pt x="411692" y="693169"/>
                  <a:pt x="412750" y="696344"/>
                </a:cubicBezTo>
                <a:cubicBezTo>
                  <a:pt x="411692" y="702694"/>
                  <a:pt x="412769" y="709805"/>
                  <a:pt x="409575" y="715394"/>
                </a:cubicBezTo>
                <a:cubicBezTo>
                  <a:pt x="407915" y="718300"/>
                  <a:pt x="403358" y="718060"/>
                  <a:pt x="400050" y="718569"/>
                </a:cubicBezTo>
                <a:cubicBezTo>
                  <a:pt x="389538" y="720186"/>
                  <a:pt x="378883" y="720686"/>
                  <a:pt x="368300" y="721744"/>
                </a:cubicBezTo>
                <a:cubicBezTo>
                  <a:pt x="337269" y="732088"/>
                  <a:pt x="357730" y="720936"/>
                  <a:pt x="342900" y="737619"/>
                </a:cubicBezTo>
                <a:cubicBezTo>
                  <a:pt x="336934" y="744331"/>
                  <a:pt x="323850" y="756669"/>
                  <a:pt x="323850" y="756669"/>
                </a:cubicBezTo>
                <a:cubicBezTo>
                  <a:pt x="327025" y="758786"/>
                  <a:pt x="329728" y="761897"/>
                  <a:pt x="333375" y="763019"/>
                </a:cubicBezTo>
                <a:cubicBezTo>
                  <a:pt x="343691" y="766193"/>
                  <a:pt x="365125" y="769369"/>
                  <a:pt x="365125" y="769369"/>
                </a:cubicBezTo>
                <a:cubicBezTo>
                  <a:pt x="368300" y="771486"/>
                  <a:pt x="372137" y="772847"/>
                  <a:pt x="374650" y="775719"/>
                </a:cubicBezTo>
                <a:cubicBezTo>
                  <a:pt x="379676" y="781462"/>
                  <a:pt x="387350" y="794769"/>
                  <a:pt x="387350" y="794769"/>
                </a:cubicBezTo>
                <a:cubicBezTo>
                  <a:pt x="386292" y="800061"/>
                  <a:pt x="388665" y="807651"/>
                  <a:pt x="384175" y="810644"/>
                </a:cubicBezTo>
                <a:cubicBezTo>
                  <a:pt x="381000" y="812761"/>
                  <a:pt x="377142" y="804873"/>
                  <a:pt x="377825" y="801119"/>
                </a:cubicBezTo>
                <a:cubicBezTo>
                  <a:pt x="379518" y="791806"/>
                  <a:pt x="387532" y="784699"/>
                  <a:pt x="390525" y="775719"/>
                </a:cubicBezTo>
                <a:cubicBezTo>
                  <a:pt x="391583" y="772544"/>
                  <a:pt x="392781" y="769412"/>
                  <a:pt x="393700" y="766194"/>
                </a:cubicBezTo>
                <a:cubicBezTo>
                  <a:pt x="394899" y="761998"/>
                  <a:pt x="394924" y="757397"/>
                  <a:pt x="396875" y="753494"/>
                </a:cubicBezTo>
                <a:cubicBezTo>
                  <a:pt x="400288" y="746668"/>
                  <a:pt x="409575" y="734444"/>
                  <a:pt x="409575" y="734444"/>
                </a:cubicBezTo>
                <a:cubicBezTo>
                  <a:pt x="422568" y="738775"/>
                  <a:pt x="427575" y="741966"/>
                  <a:pt x="444500" y="734444"/>
                </a:cubicBezTo>
                <a:cubicBezTo>
                  <a:pt x="447558" y="733085"/>
                  <a:pt x="446178" y="727912"/>
                  <a:pt x="447675" y="724919"/>
                </a:cubicBezTo>
                <a:cubicBezTo>
                  <a:pt x="449382" y="721506"/>
                  <a:pt x="452475" y="718881"/>
                  <a:pt x="454025" y="715394"/>
                </a:cubicBezTo>
                <a:cubicBezTo>
                  <a:pt x="456743" y="709277"/>
                  <a:pt x="460375" y="696344"/>
                  <a:pt x="460375" y="696344"/>
                </a:cubicBezTo>
                <a:cubicBezTo>
                  <a:pt x="461433" y="688936"/>
                  <a:pt x="460511" y="680958"/>
                  <a:pt x="463550" y="674119"/>
                </a:cubicBezTo>
                <a:cubicBezTo>
                  <a:pt x="465100" y="670632"/>
                  <a:pt x="473075" y="671585"/>
                  <a:pt x="473075" y="667769"/>
                </a:cubicBezTo>
                <a:cubicBezTo>
                  <a:pt x="473075" y="662287"/>
                  <a:pt x="452208" y="658583"/>
                  <a:pt x="450850" y="658244"/>
                </a:cubicBezTo>
                <a:cubicBezTo>
                  <a:pt x="443822" y="653558"/>
                  <a:pt x="436689" y="649703"/>
                  <a:pt x="431800" y="642369"/>
                </a:cubicBezTo>
                <a:cubicBezTo>
                  <a:pt x="429944" y="639584"/>
                  <a:pt x="429683" y="636019"/>
                  <a:pt x="428625" y="632844"/>
                </a:cubicBezTo>
                <a:cubicBezTo>
                  <a:pt x="427567" y="621202"/>
                  <a:pt x="425450" y="609609"/>
                  <a:pt x="425450" y="597919"/>
                </a:cubicBezTo>
                <a:cubicBezTo>
                  <a:pt x="425450" y="593555"/>
                  <a:pt x="425134" y="587837"/>
                  <a:pt x="428625" y="585219"/>
                </a:cubicBezTo>
                <a:cubicBezTo>
                  <a:pt x="431302" y="583211"/>
                  <a:pt x="434975" y="587336"/>
                  <a:pt x="438150" y="588394"/>
                </a:cubicBezTo>
                <a:cubicBezTo>
                  <a:pt x="440267" y="585219"/>
                  <a:pt x="443873" y="582633"/>
                  <a:pt x="444500" y="578869"/>
                </a:cubicBezTo>
                <a:cubicBezTo>
                  <a:pt x="445498" y="572884"/>
                  <a:pt x="437048" y="563965"/>
                  <a:pt x="434975" y="559819"/>
                </a:cubicBezTo>
                <a:cubicBezTo>
                  <a:pt x="421830" y="533529"/>
                  <a:pt x="443648" y="568066"/>
                  <a:pt x="425450" y="540769"/>
                </a:cubicBezTo>
                <a:cubicBezTo>
                  <a:pt x="424392" y="536536"/>
                  <a:pt x="423474" y="532265"/>
                  <a:pt x="422275" y="528069"/>
                </a:cubicBezTo>
                <a:cubicBezTo>
                  <a:pt x="421356" y="524851"/>
                  <a:pt x="417857" y="521651"/>
                  <a:pt x="419100" y="518544"/>
                </a:cubicBezTo>
                <a:cubicBezTo>
                  <a:pt x="420517" y="515001"/>
                  <a:pt x="425450" y="514311"/>
                  <a:pt x="428625" y="512194"/>
                </a:cubicBezTo>
                <a:cubicBezTo>
                  <a:pt x="453782" y="520580"/>
                  <a:pt x="441073" y="519644"/>
                  <a:pt x="466725" y="515369"/>
                </a:cubicBezTo>
                <a:cubicBezTo>
                  <a:pt x="467783" y="512194"/>
                  <a:pt x="469244" y="509126"/>
                  <a:pt x="469900" y="505844"/>
                </a:cubicBezTo>
                <a:cubicBezTo>
                  <a:pt x="477732" y="466682"/>
                  <a:pt x="460487" y="484406"/>
                  <a:pt x="523875" y="480444"/>
                </a:cubicBezTo>
                <a:cubicBezTo>
                  <a:pt x="530880" y="459429"/>
                  <a:pt x="526181" y="481011"/>
                  <a:pt x="514350" y="445519"/>
                </a:cubicBezTo>
                <a:lnTo>
                  <a:pt x="508000" y="426469"/>
                </a:lnTo>
                <a:cubicBezTo>
                  <a:pt x="509058" y="423294"/>
                  <a:pt x="508030" y="418088"/>
                  <a:pt x="511175" y="416944"/>
                </a:cubicBezTo>
                <a:cubicBezTo>
                  <a:pt x="530932" y="409760"/>
                  <a:pt x="541305" y="413445"/>
                  <a:pt x="558800" y="416944"/>
                </a:cubicBezTo>
                <a:cubicBezTo>
                  <a:pt x="559858" y="420119"/>
                  <a:pt x="559608" y="424102"/>
                  <a:pt x="561975" y="426469"/>
                </a:cubicBezTo>
                <a:cubicBezTo>
                  <a:pt x="567371" y="431865"/>
                  <a:pt x="581025" y="439169"/>
                  <a:pt x="581025" y="439169"/>
                </a:cubicBezTo>
                <a:cubicBezTo>
                  <a:pt x="583142" y="442344"/>
                  <a:pt x="584395" y="446310"/>
                  <a:pt x="587375" y="448694"/>
                </a:cubicBezTo>
                <a:cubicBezTo>
                  <a:pt x="589988" y="450785"/>
                  <a:pt x="595916" y="448670"/>
                  <a:pt x="596900" y="451869"/>
                </a:cubicBezTo>
                <a:cubicBezTo>
                  <a:pt x="600648" y="464049"/>
                  <a:pt x="598494" y="477323"/>
                  <a:pt x="600075" y="489969"/>
                </a:cubicBezTo>
                <a:cubicBezTo>
                  <a:pt x="601797" y="503742"/>
                  <a:pt x="604120" y="502582"/>
                  <a:pt x="609600" y="515369"/>
                </a:cubicBezTo>
                <a:cubicBezTo>
                  <a:pt x="610918" y="518445"/>
                  <a:pt x="611115" y="521988"/>
                  <a:pt x="612775" y="524894"/>
                </a:cubicBezTo>
                <a:cubicBezTo>
                  <a:pt x="615400" y="529488"/>
                  <a:pt x="619224" y="533288"/>
                  <a:pt x="622300" y="537594"/>
                </a:cubicBezTo>
                <a:cubicBezTo>
                  <a:pt x="624518" y="540699"/>
                  <a:pt x="625778" y="544606"/>
                  <a:pt x="628650" y="547119"/>
                </a:cubicBezTo>
                <a:cubicBezTo>
                  <a:pt x="645351" y="561733"/>
                  <a:pt x="645883" y="554762"/>
                  <a:pt x="657225" y="569344"/>
                </a:cubicBezTo>
                <a:cubicBezTo>
                  <a:pt x="664342" y="578494"/>
                  <a:pt x="676960" y="603439"/>
                  <a:pt x="688975" y="607444"/>
                </a:cubicBezTo>
                <a:lnTo>
                  <a:pt x="698500" y="610619"/>
                </a:lnTo>
                <a:cubicBezTo>
                  <a:pt x="699558" y="607444"/>
                  <a:pt x="700178" y="604087"/>
                  <a:pt x="701675" y="601094"/>
                </a:cubicBezTo>
                <a:cubicBezTo>
                  <a:pt x="703382" y="597681"/>
                  <a:pt x="706929" y="595224"/>
                  <a:pt x="708025" y="591569"/>
                </a:cubicBezTo>
                <a:cubicBezTo>
                  <a:pt x="710175" y="584401"/>
                  <a:pt x="709732" y="576682"/>
                  <a:pt x="711200" y="569344"/>
                </a:cubicBezTo>
                <a:cubicBezTo>
                  <a:pt x="711856" y="566062"/>
                  <a:pt x="713563" y="563066"/>
                  <a:pt x="714375" y="559819"/>
                </a:cubicBezTo>
                <a:cubicBezTo>
                  <a:pt x="715684" y="554584"/>
                  <a:pt x="716492" y="549236"/>
                  <a:pt x="717550" y="543944"/>
                </a:cubicBezTo>
                <a:cubicBezTo>
                  <a:pt x="716739" y="535021"/>
                  <a:pt x="717308" y="511710"/>
                  <a:pt x="711200" y="499494"/>
                </a:cubicBezTo>
                <a:cubicBezTo>
                  <a:pt x="709493" y="496081"/>
                  <a:pt x="707830" y="492353"/>
                  <a:pt x="704850" y="489969"/>
                </a:cubicBezTo>
                <a:cubicBezTo>
                  <a:pt x="702237" y="487878"/>
                  <a:pt x="698500" y="487852"/>
                  <a:pt x="695325" y="486794"/>
                </a:cubicBezTo>
                <a:lnTo>
                  <a:pt x="688975" y="467744"/>
                </a:lnTo>
                <a:lnTo>
                  <a:pt x="685800" y="458219"/>
                </a:lnTo>
                <a:cubicBezTo>
                  <a:pt x="691474" y="441198"/>
                  <a:pt x="684416" y="453182"/>
                  <a:pt x="704850" y="445519"/>
                </a:cubicBezTo>
                <a:cubicBezTo>
                  <a:pt x="708423" y="444179"/>
                  <a:pt x="710962" y="440876"/>
                  <a:pt x="714375" y="439169"/>
                </a:cubicBezTo>
                <a:cubicBezTo>
                  <a:pt x="717368" y="437672"/>
                  <a:pt x="720725" y="437052"/>
                  <a:pt x="723900" y="435994"/>
                </a:cubicBezTo>
                <a:cubicBezTo>
                  <a:pt x="726722" y="431761"/>
                  <a:pt x="739069" y="420119"/>
                  <a:pt x="720725" y="420119"/>
                </a:cubicBezTo>
                <a:cubicBezTo>
                  <a:pt x="700024" y="420119"/>
                  <a:pt x="689459" y="424191"/>
                  <a:pt x="673100" y="429644"/>
                </a:cubicBezTo>
                <a:cubicBezTo>
                  <a:pt x="672042" y="425411"/>
                  <a:pt x="671124" y="421140"/>
                  <a:pt x="669925" y="416944"/>
                </a:cubicBezTo>
                <a:cubicBezTo>
                  <a:pt x="666144" y="403712"/>
                  <a:pt x="659436" y="395326"/>
                  <a:pt x="669925" y="378844"/>
                </a:cubicBezTo>
                <a:cubicBezTo>
                  <a:pt x="674207" y="372114"/>
                  <a:pt x="716484" y="369437"/>
                  <a:pt x="717550" y="369319"/>
                </a:cubicBezTo>
                <a:cubicBezTo>
                  <a:pt x="721783" y="370377"/>
                  <a:pt x="728299" y="368591"/>
                  <a:pt x="730250" y="372494"/>
                </a:cubicBezTo>
                <a:cubicBezTo>
                  <a:pt x="732663" y="377321"/>
                  <a:pt x="728970" y="383316"/>
                  <a:pt x="727075" y="388369"/>
                </a:cubicBezTo>
                <a:cubicBezTo>
                  <a:pt x="725735" y="391942"/>
                  <a:pt x="718027" y="395196"/>
                  <a:pt x="720725" y="397894"/>
                </a:cubicBezTo>
                <a:cubicBezTo>
                  <a:pt x="723423" y="400592"/>
                  <a:pt x="727145" y="393762"/>
                  <a:pt x="730250" y="391544"/>
                </a:cubicBezTo>
                <a:cubicBezTo>
                  <a:pt x="734556" y="388468"/>
                  <a:pt x="738547" y="384954"/>
                  <a:pt x="742950" y="382019"/>
                </a:cubicBezTo>
                <a:cubicBezTo>
                  <a:pt x="748085" y="378596"/>
                  <a:pt x="753592" y="375765"/>
                  <a:pt x="758825" y="372494"/>
                </a:cubicBezTo>
                <a:cubicBezTo>
                  <a:pt x="762061" y="370472"/>
                  <a:pt x="765175" y="368261"/>
                  <a:pt x="768350" y="366144"/>
                </a:cubicBezTo>
                <a:cubicBezTo>
                  <a:pt x="767292" y="361911"/>
                  <a:pt x="767901" y="356851"/>
                  <a:pt x="765175" y="353444"/>
                </a:cubicBezTo>
                <a:cubicBezTo>
                  <a:pt x="763084" y="350831"/>
                  <a:pt x="758982" y="350586"/>
                  <a:pt x="755650" y="350269"/>
                </a:cubicBezTo>
                <a:cubicBezTo>
                  <a:pt x="736657" y="348460"/>
                  <a:pt x="717550" y="348152"/>
                  <a:pt x="698500" y="347094"/>
                </a:cubicBezTo>
                <a:cubicBezTo>
                  <a:pt x="683579" y="332173"/>
                  <a:pt x="692711" y="340060"/>
                  <a:pt x="669925" y="324869"/>
                </a:cubicBezTo>
                <a:lnTo>
                  <a:pt x="660400" y="318519"/>
                </a:lnTo>
                <a:cubicBezTo>
                  <a:pt x="658283" y="315344"/>
                  <a:pt x="656493" y="311925"/>
                  <a:pt x="654050" y="308994"/>
                </a:cubicBezTo>
                <a:cubicBezTo>
                  <a:pt x="651175" y="305545"/>
                  <a:pt x="645263" y="303898"/>
                  <a:pt x="644525" y="299469"/>
                </a:cubicBezTo>
                <a:cubicBezTo>
                  <a:pt x="643898" y="295705"/>
                  <a:pt x="648758" y="293119"/>
                  <a:pt x="650875" y="289944"/>
                </a:cubicBezTo>
                <a:cubicBezTo>
                  <a:pt x="662517" y="291002"/>
                  <a:pt x="674138" y="292315"/>
                  <a:pt x="685800" y="293119"/>
                </a:cubicBezTo>
                <a:cubicBezTo>
                  <a:pt x="704834" y="294432"/>
                  <a:pt x="723904" y="295174"/>
                  <a:pt x="742950" y="296294"/>
                </a:cubicBezTo>
                <a:lnTo>
                  <a:pt x="793750" y="299469"/>
                </a:lnTo>
                <a:cubicBezTo>
                  <a:pt x="796925" y="301586"/>
                  <a:pt x="799620" y="304723"/>
                  <a:pt x="803275" y="305819"/>
                </a:cubicBezTo>
                <a:cubicBezTo>
                  <a:pt x="810443" y="307969"/>
                  <a:pt x="818118" y="307764"/>
                  <a:pt x="825500" y="308994"/>
                </a:cubicBezTo>
                <a:cubicBezTo>
                  <a:pt x="830823" y="309881"/>
                  <a:pt x="836083" y="311111"/>
                  <a:pt x="841375" y="312169"/>
                </a:cubicBezTo>
                <a:cubicBezTo>
                  <a:pt x="843492" y="315344"/>
                  <a:pt x="845027" y="318996"/>
                  <a:pt x="847725" y="321694"/>
                </a:cubicBezTo>
                <a:cubicBezTo>
                  <a:pt x="850423" y="324392"/>
                  <a:pt x="853464" y="327571"/>
                  <a:pt x="857250" y="328044"/>
                </a:cubicBezTo>
                <a:cubicBezTo>
                  <a:pt x="862823" y="328741"/>
                  <a:pt x="876430" y="323767"/>
                  <a:pt x="882650" y="321694"/>
                </a:cubicBezTo>
                <a:cubicBezTo>
                  <a:pt x="892713" y="306600"/>
                  <a:pt x="887793" y="315789"/>
                  <a:pt x="895350" y="293119"/>
                </a:cubicBezTo>
                <a:cubicBezTo>
                  <a:pt x="896408" y="289944"/>
                  <a:pt x="896158" y="285961"/>
                  <a:pt x="898525" y="283594"/>
                </a:cubicBezTo>
                <a:lnTo>
                  <a:pt x="908050" y="274069"/>
                </a:lnTo>
                <a:cubicBezTo>
                  <a:pt x="915153" y="252759"/>
                  <a:pt x="914400" y="257642"/>
                  <a:pt x="914400" y="220094"/>
                </a:cubicBezTo>
                <a:cubicBezTo>
                  <a:pt x="914400" y="211561"/>
                  <a:pt x="913013" y="203037"/>
                  <a:pt x="911225" y="194694"/>
                </a:cubicBezTo>
                <a:cubicBezTo>
                  <a:pt x="909823" y="188149"/>
                  <a:pt x="904875" y="175644"/>
                  <a:pt x="904875" y="175644"/>
                </a:cubicBezTo>
                <a:cubicBezTo>
                  <a:pt x="905933" y="166119"/>
                  <a:pt x="902554" y="154920"/>
                  <a:pt x="908050" y="147069"/>
                </a:cubicBezTo>
                <a:cubicBezTo>
                  <a:pt x="911742" y="141795"/>
                  <a:pt x="920816" y="145291"/>
                  <a:pt x="927100" y="143894"/>
                </a:cubicBezTo>
                <a:cubicBezTo>
                  <a:pt x="930367" y="143168"/>
                  <a:pt x="933407" y="141638"/>
                  <a:pt x="936625" y="140719"/>
                </a:cubicBezTo>
                <a:cubicBezTo>
                  <a:pt x="940821" y="139520"/>
                  <a:pt x="945092" y="138602"/>
                  <a:pt x="949325" y="137544"/>
                </a:cubicBezTo>
                <a:cubicBezTo>
                  <a:pt x="954617" y="138602"/>
                  <a:pt x="960515" y="138042"/>
                  <a:pt x="965200" y="140719"/>
                </a:cubicBezTo>
                <a:cubicBezTo>
                  <a:pt x="975252" y="146463"/>
                  <a:pt x="971891" y="166093"/>
                  <a:pt x="974725" y="172469"/>
                </a:cubicBezTo>
                <a:cubicBezTo>
                  <a:pt x="976275" y="175956"/>
                  <a:pt x="981075" y="176702"/>
                  <a:pt x="984250" y="178819"/>
                </a:cubicBezTo>
                <a:cubicBezTo>
                  <a:pt x="987425" y="176702"/>
                  <a:pt x="993329" y="176259"/>
                  <a:pt x="993775" y="172469"/>
                </a:cubicBezTo>
                <a:cubicBezTo>
                  <a:pt x="998404" y="133123"/>
                  <a:pt x="997493" y="135183"/>
                  <a:pt x="984250" y="115319"/>
                </a:cubicBezTo>
                <a:cubicBezTo>
                  <a:pt x="983192" y="111086"/>
                  <a:pt x="981931" y="106898"/>
                  <a:pt x="981075" y="102619"/>
                </a:cubicBezTo>
                <a:cubicBezTo>
                  <a:pt x="979812" y="96306"/>
                  <a:pt x="979461" y="89814"/>
                  <a:pt x="977900" y="83569"/>
                </a:cubicBezTo>
                <a:cubicBezTo>
                  <a:pt x="976277" y="77075"/>
                  <a:pt x="973667" y="70869"/>
                  <a:pt x="971550" y="64519"/>
                </a:cubicBezTo>
                <a:cubicBezTo>
                  <a:pt x="970492" y="61344"/>
                  <a:pt x="971550" y="56052"/>
                  <a:pt x="968375" y="54994"/>
                </a:cubicBezTo>
                <a:lnTo>
                  <a:pt x="958850" y="51819"/>
                </a:lnTo>
                <a:cubicBezTo>
                  <a:pt x="955675" y="53936"/>
                  <a:pt x="952023" y="55471"/>
                  <a:pt x="949325" y="58169"/>
                </a:cubicBezTo>
                <a:cubicBezTo>
                  <a:pt x="946627" y="60867"/>
                  <a:pt x="945418" y="64763"/>
                  <a:pt x="942975" y="67694"/>
                </a:cubicBezTo>
                <a:cubicBezTo>
                  <a:pt x="940100" y="71143"/>
                  <a:pt x="936625" y="74044"/>
                  <a:pt x="933450" y="77219"/>
                </a:cubicBezTo>
                <a:cubicBezTo>
                  <a:pt x="932392" y="80394"/>
                  <a:pt x="933522" y="85932"/>
                  <a:pt x="930275" y="86744"/>
                </a:cubicBezTo>
                <a:cubicBezTo>
                  <a:pt x="926573" y="87669"/>
                  <a:pt x="921733" y="84081"/>
                  <a:pt x="920750" y="80394"/>
                </a:cubicBezTo>
                <a:cubicBezTo>
                  <a:pt x="920195" y="78314"/>
                  <a:pt x="923456" y="24714"/>
                  <a:pt x="904875" y="20069"/>
                </a:cubicBezTo>
                <a:lnTo>
                  <a:pt x="892175" y="16894"/>
                </a:lnTo>
                <a:cubicBezTo>
                  <a:pt x="887942" y="17952"/>
                  <a:pt x="883735" y="19122"/>
                  <a:pt x="879475" y="20069"/>
                </a:cubicBezTo>
                <a:cubicBezTo>
                  <a:pt x="874207" y="21240"/>
                  <a:pt x="868806" y="21824"/>
                  <a:pt x="863600" y="23244"/>
                </a:cubicBezTo>
                <a:cubicBezTo>
                  <a:pt x="857142" y="25005"/>
                  <a:pt x="844550" y="29594"/>
                  <a:pt x="844550" y="29594"/>
                </a:cubicBezTo>
                <a:cubicBezTo>
                  <a:pt x="832908" y="28536"/>
                  <a:pt x="821172" y="28242"/>
                  <a:pt x="809625" y="26419"/>
                </a:cubicBezTo>
                <a:cubicBezTo>
                  <a:pt x="796018" y="24270"/>
                  <a:pt x="786737" y="20906"/>
                  <a:pt x="774700" y="16894"/>
                </a:cubicBezTo>
                <a:cubicBezTo>
                  <a:pt x="771525" y="13719"/>
                  <a:pt x="768624" y="10244"/>
                  <a:pt x="765175" y="7369"/>
                </a:cubicBezTo>
                <a:cubicBezTo>
                  <a:pt x="750081" y="-5209"/>
                  <a:pt x="750301" y="1554"/>
                  <a:pt x="723900" y="4194"/>
                </a:cubicBezTo>
                <a:cubicBezTo>
                  <a:pt x="720725" y="5252"/>
                  <a:pt x="717160" y="5513"/>
                  <a:pt x="714375" y="7369"/>
                </a:cubicBezTo>
                <a:cubicBezTo>
                  <a:pt x="710639" y="9860"/>
                  <a:pt x="708299" y="14019"/>
                  <a:pt x="704850" y="16894"/>
                </a:cubicBezTo>
                <a:cubicBezTo>
                  <a:pt x="701919" y="19337"/>
                  <a:pt x="698500" y="21127"/>
                  <a:pt x="695325" y="23244"/>
                </a:cubicBezTo>
                <a:cubicBezTo>
                  <a:pt x="693208" y="26419"/>
                  <a:pt x="690279" y="29183"/>
                  <a:pt x="688975" y="32769"/>
                </a:cubicBezTo>
                <a:cubicBezTo>
                  <a:pt x="683550" y="47689"/>
                  <a:pt x="683431" y="62908"/>
                  <a:pt x="676275" y="77219"/>
                </a:cubicBezTo>
                <a:cubicBezTo>
                  <a:pt x="675455" y="78860"/>
                  <a:pt x="666716" y="97649"/>
                  <a:pt x="663575" y="99444"/>
                </a:cubicBezTo>
                <a:cubicBezTo>
                  <a:pt x="658890" y="102121"/>
                  <a:pt x="652906" y="101199"/>
                  <a:pt x="647700" y="102619"/>
                </a:cubicBezTo>
                <a:cubicBezTo>
                  <a:pt x="641242" y="104380"/>
                  <a:pt x="635000" y="106852"/>
                  <a:pt x="628650" y="108969"/>
                </a:cubicBezTo>
                <a:cubicBezTo>
                  <a:pt x="625475" y="110027"/>
                  <a:pt x="621910" y="110288"/>
                  <a:pt x="619125" y="112144"/>
                </a:cubicBezTo>
                <a:cubicBezTo>
                  <a:pt x="615950" y="114261"/>
                  <a:pt x="612531" y="116051"/>
                  <a:pt x="609600" y="118494"/>
                </a:cubicBezTo>
                <a:cubicBezTo>
                  <a:pt x="604322" y="122892"/>
                  <a:pt x="596663" y="130933"/>
                  <a:pt x="593725" y="137544"/>
                </a:cubicBezTo>
                <a:cubicBezTo>
                  <a:pt x="591007" y="143661"/>
                  <a:pt x="587375" y="156594"/>
                  <a:pt x="587375" y="156594"/>
                </a:cubicBezTo>
                <a:cubicBezTo>
                  <a:pt x="590550" y="159769"/>
                  <a:pt x="595666" y="161802"/>
                  <a:pt x="596900" y="166119"/>
                </a:cubicBezTo>
                <a:cubicBezTo>
                  <a:pt x="598099" y="170315"/>
                  <a:pt x="595890" y="175030"/>
                  <a:pt x="593725" y="178819"/>
                </a:cubicBezTo>
                <a:cubicBezTo>
                  <a:pt x="589964" y="185401"/>
                  <a:pt x="580744" y="190648"/>
                  <a:pt x="574675" y="194694"/>
                </a:cubicBezTo>
                <a:cubicBezTo>
                  <a:pt x="565629" y="192885"/>
                  <a:pt x="555815" y="193017"/>
                  <a:pt x="549275" y="185169"/>
                </a:cubicBezTo>
                <a:cubicBezTo>
                  <a:pt x="545594" y="180752"/>
                  <a:pt x="541476" y="168986"/>
                  <a:pt x="539750" y="162944"/>
                </a:cubicBezTo>
                <a:cubicBezTo>
                  <a:pt x="538551" y="158748"/>
                  <a:pt x="538107" y="154330"/>
                  <a:pt x="536575" y="150244"/>
                </a:cubicBezTo>
                <a:cubicBezTo>
                  <a:pt x="534913" y="145812"/>
                  <a:pt x="532089" y="141894"/>
                  <a:pt x="530225" y="137544"/>
                </a:cubicBezTo>
                <a:cubicBezTo>
                  <a:pt x="520166" y="114073"/>
                  <a:pt x="539101" y="146096"/>
                  <a:pt x="514350" y="108969"/>
                </a:cubicBezTo>
                <a:cubicBezTo>
                  <a:pt x="512233" y="105794"/>
                  <a:pt x="511175" y="101561"/>
                  <a:pt x="508000" y="99444"/>
                </a:cubicBezTo>
                <a:lnTo>
                  <a:pt x="498475" y="93094"/>
                </a:lnTo>
                <a:cubicBezTo>
                  <a:pt x="480483" y="94152"/>
                  <a:pt x="461012" y="89045"/>
                  <a:pt x="444500" y="96269"/>
                </a:cubicBezTo>
                <a:cubicBezTo>
                  <a:pt x="438602" y="98849"/>
                  <a:pt x="446114" y="109074"/>
                  <a:pt x="447675" y="115319"/>
                </a:cubicBezTo>
                <a:cubicBezTo>
                  <a:pt x="452209" y="133455"/>
                  <a:pt x="452035" y="131384"/>
                  <a:pt x="460375" y="143894"/>
                </a:cubicBezTo>
                <a:cubicBezTo>
                  <a:pt x="459317" y="151302"/>
                  <a:pt x="461991" y="160370"/>
                  <a:pt x="457200" y="166119"/>
                </a:cubicBezTo>
                <a:cubicBezTo>
                  <a:pt x="453539" y="170512"/>
                  <a:pt x="436989" y="157937"/>
                  <a:pt x="434975" y="156594"/>
                </a:cubicBezTo>
                <a:cubicBezTo>
                  <a:pt x="432858" y="153419"/>
                  <a:pt x="430332" y="150482"/>
                  <a:pt x="428625" y="147069"/>
                </a:cubicBezTo>
                <a:cubicBezTo>
                  <a:pt x="427128" y="144076"/>
                  <a:pt x="427817" y="139911"/>
                  <a:pt x="425450" y="137544"/>
                </a:cubicBezTo>
                <a:cubicBezTo>
                  <a:pt x="423083" y="135177"/>
                  <a:pt x="419100" y="135427"/>
                  <a:pt x="415925" y="134369"/>
                </a:cubicBezTo>
                <a:cubicBezTo>
                  <a:pt x="397246" y="106351"/>
                  <a:pt x="425895" y="151134"/>
                  <a:pt x="403225" y="105794"/>
                </a:cubicBezTo>
                <a:cubicBezTo>
                  <a:pt x="391475" y="82294"/>
                  <a:pt x="403440" y="102877"/>
                  <a:pt x="387350" y="83569"/>
                </a:cubicBezTo>
                <a:cubicBezTo>
                  <a:pt x="377695" y="71983"/>
                  <a:pt x="384656" y="74771"/>
                  <a:pt x="371475" y="64519"/>
                </a:cubicBezTo>
                <a:cubicBezTo>
                  <a:pt x="365451" y="59834"/>
                  <a:pt x="359998" y="52766"/>
                  <a:pt x="352425" y="51819"/>
                </a:cubicBezTo>
                <a:cubicBezTo>
                  <a:pt x="322695" y="48103"/>
                  <a:pt x="335303" y="50713"/>
                  <a:pt x="314325" y="45469"/>
                </a:cubicBezTo>
                <a:cubicBezTo>
                  <a:pt x="307368" y="35033"/>
                  <a:pt x="308086" y="37921"/>
                  <a:pt x="304800" y="26419"/>
                </a:cubicBezTo>
                <a:cubicBezTo>
                  <a:pt x="303601" y="22223"/>
                  <a:pt x="304046" y="17350"/>
                  <a:pt x="301625" y="13719"/>
                </a:cubicBezTo>
                <a:cubicBezTo>
                  <a:pt x="299508" y="10544"/>
                  <a:pt x="295275" y="9486"/>
                  <a:pt x="292100" y="7369"/>
                </a:cubicBezTo>
                <a:cubicBezTo>
                  <a:pt x="286808" y="8427"/>
                  <a:pt x="280910" y="7867"/>
                  <a:pt x="276225" y="10544"/>
                </a:cubicBezTo>
                <a:cubicBezTo>
                  <a:pt x="271156" y="13440"/>
                  <a:pt x="268330" y="24705"/>
                  <a:pt x="266700" y="29594"/>
                </a:cubicBezTo>
                <a:cubicBezTo>
                  <a:pt x="265642" y="41236"/>
                  <a:pt x="265556" y="53007"/>
                  <a:pt x="263525" y="64519"/>
                </a:cubicBezTo>
                <a:cubicBezTo>
                  <a:pt x="262362" y="71111"/>
                  <a:pt x="258488" y="77005"/>
                  <a:pt x="257175" y="83569"/>
                </a:cubicBezTo>
                <a:cubicBezTo>
                  <a:pt x="253252" y="103186"/>
                  <a:pt x="256993" y="94954"/>
                  <a:pt x="247650" y="108969"/>
                </a:cubicBezTo>
                <a:cubicBezTo>
                  <a:pt x="243417" y="107911"/>
                  <a:pt x="238581" y="108215"/>
                  <a:pt x="234950" y="105794"/>
                </a:cubicBezTo>
                <a:cubicBezTo>
                  <a:pt x="231775" y="103677"/>
                  <a:pt x="231043" y="99200"/>
                  <a:pt x="228600" y="96269"/>
                </a:cubicBezTo>
                <a:cubicBezTo>
                  <a:pt x="225725" y="92820"/>
                  <a:pt x="222250" y="89919"/>
                  <a:pt x="219075" y="86744"/>
                </a:cubicBezTo>
                <a:cubicBezTo>
                  <a:pt x="214842" y="87802"/>
                  <a:pt x="209782" y="87193"/>
                  <a:pt x="206375" y="89919"/>
                </a:cubicBezTo>
                <a:cubicBezTo>
                  <a:pt x="203762" y="92010"/>
                  <a:pt x="203926" y="96177"/>
                  <a:pt x="203200" y="99444"/>
                </a:cubicBezTo>
                <a:cubicBezTo>
                  <a:pt x="201803" y="105728"/>
                  <a:pt x="201586" y="112249"/>
                  <a:pt x="200025" y="118494"/>
                </a:cubicBezTo>
                <a:cubicBezTo>
                  <a:pt x="198402" y="124988"/>
                  <a:pt x="193675" y="137544"/>
                  <a:pt x="193675" y="137544"/>
                </a:cubicBezTo>
                <a:cubicBezTo>
                  <a:pt x="194733" y="141777"/>
                  <a:pt x="195318" y="146158"/>
                  <a:pt x="196850" y="150244"/>
                </a:cubicBezTo>
                <a:cubicBezTo>
                  <a:pt x="198512" y="154676"/>
                  <a:pt x="201336" y="158594"/>
                  <a:pt x="203200" y="162944"/>
                </a:cubicBezTo>
                <a:cubicBezTo>
                  <a:pt x="204518" y="166020"/>
                  <a:pt x="205317" y="169294"/>
                  <a:pt x="206375" y="172469"/>
                </a:cubicBezTo>
                <a:cubicBezTo>
                  <a:pt x="204168" y="194534"/>
                  <a:pt x="205204" y="199655"/>
                  <a:pt x="200025" y="216919"/>
                </a:cubicBezTo>
                <a:cubicBezTo>
                  <a:pt x="198102" y="223330"/>
                  <a:pt x="197388" y="230400"/>
                  <a:pt x="193675" y="235969"/>
                </a:cubicBezTo>
                <a:cubicBezTo>
                  <a:pt x="189442" y="242319"/>
                  <a:pt x="187325" y="250786"/>
                  <a:pt x="180975" y="255019"/>
                </a:cubicBezTo>
                <a:cubicBezTo>
                  <a:pt x="177800" y="257136"/>
                  <a:pt x="174381" y="258926"/>
                  <a:pt x="171450" y="261369"/>
                </a:cubicBezTo>
                <a:cubicBezTo>
                  <a:pt x="147004" y="281741"/>
                  <a:pt x="176049" y="261478"/>
                  <a:pt x="152400" y="277244"/>
                </a:cubicBezTo>
                <a:cubicBezTo>
                  <a:pt x="137583" y="299469"/>
                  <a:pt x="146050" y="292061"/>
                  <a:pt x="130175" y="302644"/>
                </a:cubicBezTo>
                <a:cubicBezTo>
                  <a:pt x="121708" y="301586"/>
                  <a:pt x="113170" y="300995"/>
                  <a:pt x="104775" y="299469"/>
                </a:cubicBezTo>
                <a:cubicBezTo>
                  <a:pt x="101482" y="298870"/>
                  <a:pt x="97863" y="298385"/>
                  <a:pt x="95250" y="296294"/>
                </a:cubicBezTo>
                <a:cubicBezTo>
                  <a:pt x="91784" y="293521"/>
                  <a:pt x="83773" y="276922"/>
                  <a:pt x="82550" y="274069"/>
                </a:cubicBezTo>
                <a:cubicBezTo>
                  <a:pt x="81232" y="270993"/>
                  <a:pt x="82433" y="265903"/>
                  <a:pt x="79375" y="264544"/>
                </a:cubicBezTo>
                <a:cubicBezTo>
                  <a:pt x="71578" y="261079"/>
                  <a:pt x="62442" y="262427"/>
                  <a:pt x="53975" y="261369"/>
                </a:cubicBezTo>
                <a:cubicBezTo>
                  <a:pt x="52917" y="258194"/>
                  <a:pt x="52425" y="254770"/>
                  <a:pt x="50800" y="251844"/>
                </a:cubicBezTo>
                <a:cubicBezTo>
                  <a:pt x="47094" y="245173"/>
                  <a:pt x="40513" y="240034"/>
                  <a:pt x="38100" y="232794"/>
                </a:cubicBezTo>
                <a:cubicBezTo>
                  <a:pt x="30370" y="209604"/>
                  <a:pt x="33373" y="220238"/>
                  <a:pt x="28575" y="201044"/>
                </a:cubicBezTo>
                <a:cubicBezTo>
                  <a:pt x="27517" y="183052"/>
                  <a:pt x="29310" y="164663"/>
                  <a:pt x="25400" y="147069"/>
                </a:cubicBezTo>
                <a:cubicBezTo>
                  <a:pt x="24674" y="143802"/>
                  <a:pt x="19050" y="142836"/>
                  <a:pt x="15875" y="143894"/>
                </a:cubicBezTo>
                <a:cubicBezTo>
                  <a:pt x="8152" y="146468"/>
                  <a:pt x="2931" y="160257"/>
                  <a:pt x="0" y="166119"/>
                </a:cubicBezTo>
                <a:cubicBezTo>
                  <a:pt x="1058" y="176702"/>
                  <a:pt x="783" y="187505"/>
                  <a:pt x="3175" y="197869"/>
                </a:cubicBezTo>
                <a:cubicBezTo>
                  <a:pt x="4724" y="204580"/>
                  <a:pt x="13268" y="211266"/>
                  <a:pt x="19050" y="213744"/>
                </a:cubicBezTo>
                <a:cubicBezTo>
                  <a:pt x="23061" y="215463"/>
                  <a:pt x="27554" y="215720"/>
                  <a:pt x="31750" y="216919"/>
                </a:cubicBezTo>
                <a:cubicBezTo>
                  <a:pt x="34968" y="217838"/>
                  <a:pt x="38100" y="219036"/>
                  <a:pt x="41275" y="220094"/>
                </a:cubicBezTo>
                <a:cubicBezTo>
                  <a:pt x="40217" y="228561"/>
                  <a:pt x="39503" y="237078"/>
                  <a:pt x="38100" y="245494"/>
                </a:cubicBezTo>
                <a:cubicBezTo>
                  <a:pt x="36771" y="253467"/>
                  <a:pt x="34266" y="260170"/>
                  <a:pt x="31750" y="267719"/>
                </a:cubicBezTo>
                <a:cubicBezTo>
                  <a:pt x="32808" y="275127"/>
                  <a:pt x="33457" y="282606"/>
                  <a:pt x="34925" y="289944"/>
                </a:cubicBezTo>
                <a:cubicBezTo>
                  <a:pt x="35581" y="293226"/>
                  <a:pt x="37501" y="296176"/>
                  <a:pt x="38100" y="299469"/>
                </a:cubicBezTo>
                <a:cubicBezTo>
                  <a:pt x="39976" y="309788"/>
                  <a:pt x="39249" y="323992"/>
                  <a:pt x="44450" y="334394"/>
                </a:cubicBezTo>
                <a:cubicBezTo>
                  <a:pt x="46157" y="337807"/>
                  <a:pt x="47928" y="341406"/>
                  <a:pt x="50800" y="343919"/>
                </a:cubicBezTo>
                <a:cubicBezTo>
                  <a:pt x="56543" y="348945"/>
                  <a:pt x="69850" y="356619"/>
                  <a:pt x="69850" y="356619"/>
                </a:cubicBezTo>
                <a:cubicBezTo>
                  <a:pt x="73919" y="355602"/>
                  <a:pt x="87520" y="352546"/>
                  <a:pt x="92075" y="350269"/>
                </a:cubicBezTo>
                <a:cubicBezTo>
                  <a:pt x="95488" y="348562"/>
                  <a:pt x="98187" y="345626"/>
                  <a:pt x="101600" y="343919"/>
                </a:cubicBezTo>
                <a:cubicBezTo>
                  <a:pt x="104593" y="342422"/>
                  <a:pt x="108132" y="342241"/>
                  <a:pt x="111125" y="340744"/>
                </a:cubicBezTo>
                <a:cubicBezTo>
                  <a:pt x="114538" y="339037"/>
                  <a:pt x="117237" y="336101"/>
                  <a:pt x="120650" y="334394"/>
                </a:cubicBezTo>
                <a:cubicBezTo>
                  <a:pt x="125985" y="331726"/>
                  <a:pt x="137789" y="329570"/>
                  <a:pt x="142875" y="328044"/>
                </a:cubicBezTo>
                <a:cubicBezTo>
                  <a:pt x="149286" y="326121"/>
                  <a:pt x="155431" y="323317"/>
                  <a:pt x="161925" y="321694"/>
                </a:cubicBezTo>
                <a:cubicBezTo>
                  <a:pt x="166158" y="320636"/>
                  <a:pt x="170445" y="319773"/>
                  <a:pt x="174625" y="318519"/>
                </a:cubicBezTo>
                <a:cubicBezTo>
                  <a:pt x="213274" y="306924"/>
                  <a:pt x="177103" y="316312"/>
                  <a:pt x="206375" y="308994"/>
                </a:cubicBezTo>
                <a:cubicBezTo>
                  <a:pt x="219075" y="310052"/>
                  <a:pt x="231904" y="310074"/>
                  <a:pt x="244475" y="312169"/>
                </a:cubicBezTo>
                <a:cubicBezTo>
                  <a:pt x="254858" y="313900"/>
                  <a:pt x="264960" y="318128"/>
                  <a:pt x="273050" y="324869"/>
                </a:cubicBezTo>
                <a:cubicBezTo>
                  <a:pt x="276499" y="327744"/>
                  <a:pt x="279400" y="331219"/>
                  <a:pt x="282575" y="334394"/>
                </a:cubicBezTo>
                <a:cubicBezTo>
                  <a:pt x="279188" y="364874"/>
                  <a:pt x="277495" y="361064"/>
                  <a:pt x="282575" y="391544"/>
                </a:cubicBezTo>
                <a:cubicBezTo>
                  <a:pt x="283125" y="394845"/>
                  <a:pt x="284253" y="398076"/>
                  <a:pt x="285750" y="401069"/>
                </a:cubicBezTo>
                <a:cubicBezTo>
                  <a:pt x="287457" y="404482"/>
                  <a:pt x="290550" y="407107"/>
                  <a:pt x="292100" y="410594"/>
                </a:cubicBezTo>
                <a:cubicBezTo>
                  <a:pt x="294818" y="416711"/>
                  <a:pt x="298450" y="429644"/>
                  <a:pt x="298450" y="429644"/>
                </a:cubicBezTo>
                <a:cubicBezTo>
                  <a:pt x="297392" y="432819"/>
                  <a:pt x="297888" y="437078"/>
                  <a:pt x="295275" y="439169"/>
                </a:cubicBezTo>
                <a:cubicBezTo>
                  <a:pt x="291868" y="441895"/>
                  <a:pt x="286771" y="441145"/>
                  <a:pt x="282575" y="442344"/>
                </a:cubicBezTo>
                <a:cubicBezTo>
                  <a:pt x="258259" y="449292"/>
                  <a:pt x="288572" y="440737"/>
                  <a:pt x="263525" y="451869"/>
                </a:cubicBezTo>
                <a:cubicBezTo>
                  <a:pt x="257408" y="454587"/>
                  <a:pt x="244475" y="458219"/>
                  <a:pt x="244475" y="458219"/>
                </a:cubicBezTo>
                <a:cubicBezTo>
                  <a:pt x="240242" y="457161"/>
                  <a:pt x="235678" y="456995"/>
                  <a:pt x="231775" y="455044"/>
                </a:cubicBezTo>
                <a:cubicBezTo>
                  <a:pt x="224949" y="451631"/>
                  <a:pt x="212725" y="442344"/>
                  <a:pt x="212725" y="442344"/>
                </a:cubicBezTo>
                <a:lnTo>
                  <a:pt x="184150" y="451869"/>
                </a:lnTo>
                <a:lnTo>
                  <a:pt x="174625" y="455044"/>
                </a:lnTo>
                <a:cubicBezTo>
                  <a:pt x="159808" y="432819"/>
                  <a:pt x="168275" y="440227"/>
                  <a:pt x="152400" y="429644"/>
                </a:cubicBezTo>
                <a:cubicBezTo>
                  <a:pt x="149225" y="430702"/>
                  <a:pt x="145488" y="430728"/>
                  <a:pt x="142875" y="432819"/>
                </a:cubicBezTo>
                <a:cubicBezTo>
                  <a:pt x="133513" y="440309"/>
                  <a:pt x="136362" y="453904"/>
                  <a:pt x="127000" y="461394"/>
                </a:cubicBezTo>
                <a:cubicBezTo>
                  <a:pt x="124387" y="463485"/>
                  <a:pt x="120650" y="463511"/>
                  <a:pt x="117475" y="464569"/>
                </a:cubicBezTo>
                <a:cubicBezTo>
                  <a:pt x="82442" y="457562"/>
                  <a:pt x="115494" y="468064"/>
                  <a:pt x="95250" y="451869"/>
                </a:cubicBezTo>
                <a:cubicBezTo>
                  <a:pt x="92637" y="449778"/>
                  <a:pt x="88718" y="450191"/>
                  <a:pt x="85725" y="448694"/>
                </a:cubicBezTo>
                <a:cubicBezTo>
                  <a:pt x="63403" y="437533"/>
                  <a:pt x="92517" y="445063"/>
                  <a:pt x="57150" y="439169"/>
                </a:cubicBezTo>
                <a:lnTo>
                  <a:pt x="22225" y="429644"/>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5" name="Freeform 434">
            <a:extLst>
              <a:ext uri="{FF2B5EF4-FFF2-40B4-BE49-F238E27FC236}">
                <a16:creationId xmlns:a16="http://schemas.microsoft.com/office/drawing/2014/main" id="{18C76A4E-0FBE-14FC-6EF1-1D056C2157FA}"/>
              </a:ext>
            </a:extLst>
          </p:cNvPr>
          <p:cNvSpPr/>
          <p:nvPr/>
        </p:nvSpPr>
        <p:spPr bwMode="gray">
          <a:xfrm>
            <a:off x="4822825" y="2976563"/>
            <a:ext cx="593725" cy="460375"/>
          </a:xfrm>
          <a:custGeom>
            <a:avLst/>
            <a:gdLst>
              <a:gd name="connsiteX0" fmla="*/ 123825 w 594287"/>
              <a:gd name="connsiteY0" fmla="*/ 444500 h 460375"/>
              <a:gd name="connsiteX1" fmla="*/ 123825 w 594287"/>
              <a:gd name="connsiteY1" fmla="*/ 444500 h 460375"/>
              <a:gd name="connsiteX2" fmla="*/ 73025 w 594287"/>
              <a:gd name="connsiteY2" fmla="*/ 298450 h 460375"/>
              <a:gd name="connsiteX3" fmla="*/ 60325 w 594287"/>
              <a:gd name="connsiteY3" fmla="*/ 292100 h 460375"/>
              <a:gd name="connsiteX4" fmla="*/ 0 w 594287"/>
              <a:gd name="connsiteY4" fmla="*/ 250825 h 460375"/>
              <a:gd name="connsiteX5" fmla="*/ 19050 w 594287"/>
              <a:gd name="connsiteY5" fmla="*/ 123825 h 460375"/>
              <a:gd name="connsiteX6" fmla="*/ 25400 w 594287"/>
              <a:gd name="connsiteY6" fmla="*/ 114300 h 460375"/>
              <a:gd name="connsiteX7" fmla="*/ 38100 w 594287"/>
              <a:gd name="connsiteY7" fmla="*/ 85725 h 460375"/>
              <a:gd name="connsiteX8" fmla="*/ 41275 w 594287"/>
              <a:gd name="connsiteY8" fmla="*/ 38100 h 460375"/>
              <a:gd name="connsiteX9" fmla="*/ 53975 w 594287"/>
              <a:gd name="connsiteY9" fmla="*/ 9525 h 460375"/>
              <a:gd name="connsiteX10" fmla="*/ 69850 w 594287"/>
              <a:gd name="connsiteY10" fmla="*/ 22225 h 460375"/>
              <a:gd name="connsiteX11" fmla="*/ 73025 w 594287"/>
              <a:gd name="connsiteY11" fmla="*/ 31750 h 460375"/>
              <a:gd name="connsiteX12" fmla="*/ 82550 w 594287"/>
              <a:gd name="connsiteY12" fmla="*/ 34925 h 460375"/>
              <a:gd name="connsiteX13" fmla="*/ 104775 w 594287"/>
              <a:gd name="connsiteY13" fmla="*/ 31750 h 460375"/>
              <a:gd name="connsiteX14" fmla="*/ 111125 w 594287"/>
              <a:gd name="connsiteY14" fmla="*/ 22225 h 460375"/>
              <a:gd name="connsiteX15" fmla="*/ 130175 w 594287"/>
              <a:gd name="connsiteY15" fmla="*/ 9525 h 460375"/>
              <a:gd name="connsiteX16" fmla="*/ 149225 w 594287"/>
              <a:gd name="connsiteY16" fmla="*/ 0 h 460375"/>
              <a:gd name="connsiteX17" fmla="*/ 161925 w 594287"/>
              <a:gd name="connsiteY17" fmla="*/ 3175 h 460375"/>
              <a:gd name="connsiteX18" fmla="*/ 168275 w 594287"/>
              <a:gd name="connsiteY18" fmla="*/ 12700 h 460375"/>
              <a:gd name="connsiteX19" fmla="*/ 187325 w 594287"/>
              <a:gd name="connsiteY19" fmla="*/ 25400 h 460375"/>
              <a:gd name="connsiteX20" fmla="*/ 196850 w 594287"/>
              <a:gd name="connsiteY20" fmla="*/ 28575 h 460375"/>
              <a:gd name="connsiteX21" fmla="*/ 215900 w 594287"/>
              <a:gd name="connsiteY21" fmla="*/ 31750 h 460375"/>
              <a:gd name="connsiteX22" fmla="*/ 228600 w 594287"/>
              <a:gd name="connsiteY22" fmla="*/ 34925 h 460375"/>
              <a:gd name="connsiteX23" fmla="*/ 241300 w 594287"/>
              <a:gd name="connsiteY23" fmla="*/ 50800 h 460375"/>
              <a:gd name="connsiteX24" fmla="*/ 247650 w 594287"/>
              <a:gd name="connsiteY24" fmla="*/ 60325 h 460375"/>
              <a:gd name="connsiteX25" fmla="*/ 254000 w 594287"/>
              <a:gd name="connsiteY25" fmla="*/ 79375 h 460375"/>
              <a:gd name="connsiteX26" fmla="*/ 257175 w 594287"/>
              <a:gd name="connsiteY26" fmla="*/ 111125 h 460375"/>
              <a:gd name="connsiteX27" fmla="*/ 260350 w 594287"/>
              <a:gd name="connsiteY27" fmla="*/ 136525 h 460375"/>
              <a:gd name="connsiteX28" fmla="*/ 263525 w 594287"/>
              <a:gd name="connsiteY28" fmla="*/ 209550 h 460375"/>
              <a:gd name="connsiteX29" fmla="*/ 269875 w 594287"/>
              <a:gd name="connsiteY29" fmla="*/ 219075 h 460375"/>
              <a:gd name="connsiteX30" fmla="*/ 285750 w 594287"/>
              <a:gd name="connsiteY30" fmla="*/ 254000 h 460375"/>
              <a:gd name="connsiteX31" fmla="*/ 295275 w 594287"/>
              <a:gd name="connsiteY31" fmla="*/ 266700 h 460375"/>
              <a:gd name="connsiteX32" fmla="*/ 301625 w 594287"/>
              <a:gd name="connsiteY32" fmla="*/ 276225 h 460375"/>
              <a:gd name="connsiteX33" fmla="*/ 330200 w 594287"/>
              <a:gd name="connsiteY33" fmla="*/ 301625 h 460375"/>
              <a:gd name="connsiteX34" fmla="*/ 346075 w 594287"/>
              <a:gd name="connsiteY34" fmla="*/ 298450 h 460375"/>
              <a:gd name="connsiteX35" fmla="*/ 365125 w 594287"/>
              <a:gd name="connsiteY35" fmla="*/ 292100 h 460375"/>
              <a:gd name="connsiteX36" fmla="*/ 396875 w 594287"/>
              <a:gd name="connsiteY36" fmla="*/ 285750 h 460375"/>
              <a:gd name="connsiteX37" fmla="*/ 406400 w 594287"/>
              <a:gd name="connsiteY37" fmla="*/ 282575 h 460375"/>
              <a:gd name="connsiteX38" fmla="*/ 415925 w 594287"/>
              <a:gd name="connsiteY38" fmla="*/ 276225 h 460375"/>
              <a:gd name="connsiteX39" fmla="*/ 419100 w 594287"/>
              <a:gd name="connsiteY39" fmla="*/ 260350 h 460375"/>
              <a:gd name="connsiteX40" fmla="*/ 422275 w 594287"/>
              <a:gd name="connsiteY40" fmla="*/ 231775 h 460375"/>
              <a:gd name="connsiteX41" fmla="*/ 444500 w 594287"/>
              <a:gd name="connsiteY41" fmla="*/ 219075 h 460375"/>
              <a:gd name="connsiteX42" fmla="*/ 476250 w 594287"/>
              <a:gd name="connsiteY42" fmla="*/ 206375 h 460375"/>
              <a:gd name="connsiteX43" fmla="*/ 485775 w 594287"/>
              <a:gd name="connsiteY43" fmla="*/ 203200 h 460375"/>
              <a:gd name="connsiteX44" fmla="*/ 495300 w 594287"/>
              <a:gd name="connsiteY44" fmla="*/ 196850 h 460375"/>
              <a:gd name="connsiteX45" fmla="*/ 511175 w 594287"/>
              <a:gd name="connsiteY45" fmla="*/ 174625 h 460375"/>
              <a:gd name="connsiteX46" fmla="*/ 520700 w 594287"/>
              <a:gd name="connsiteY46" fmla="*/ 149225 h 460375"/>
              <a:gd name="connsiteX47" fmla="*/ 527050 w 594287"/>
              <a:gd name="connsiteY47" fmla="*/ 136525 h 460375"/>
              <a:gd name="connsiteX48" fmla="*/ 530225 w 594287"/>
              <a:gd name="connsiteY48" fmla="*/ 120650 h 460375"/>
              <a:gd name="connsiteX49" fmla="*/ 523875 w 594287"/>
              <a:gd name="connsiteY49" fmla="*/ 88900 h 460375"/>
              <a:gd name="connsiteX50" fmla="*/ 536575 w 594287"/>
              <a:gd name="connsiteY50" fmla="*/ 85725 h 460375"/>
              <a:gd name="connsiteX51" fmla="*/ 587375 w 594287"/>
              <a:gd name="connsiteY51" fmla="*/ 92075 h 460375"/>
              <a:gd name="connsiteX52" fmla="*/ 593725 w 594287"/>
              <a:gd name="connsiteY52" fmla="*/ 168275 h 460375"/>
              <a:gd name="connsiteX53" fmla="*/ 590550 w 594287"/>
              <a:gd name="connsiteY53" fmla="*/ 215900 h 460375"/>
              <a:gd name="connsiteX54" fmla="*/ 584200 w 594287"/>
              <a:gd name="connsiteY54" fmla="*/ 228600 h 460375"/>
              <a:gd name="connsiteX55" fmla="*/ 581025 w 594287"/>
              <a:gd name="connsiteY55" fmla="*/ 238125 h 460375"/>
              <a:gd name="connsiteX56" fmla="*/ 574675 w 594287"/>
              <a:gd name="connsiteY56" fmla="*/ 247650 h 460375"/>
              <a:gd name="connsiteX57" fmla="*/ 568325 w 594287"/>
              <a:gd name="connsiteY57" fmla="*/ 260350 h 460375"/>
              <a:gd name="connsiteX58" fmla="*/ 552450 w 594287"/>
              <a:gd name="connsiteY58" fmla="*/ 279400 h 460375"/>
              <a:gd name="connsiteX59" fmla="*/ 546100 w 594287"/>
              <a:gd name="connsiteY59" fmla="*/ 288925 h 460375"/>
              <a:gd name="connsiteX60" fmla="*/ 536575 w 594287"/>
              <a:gd name="connsiteY60" fmla="*/ 301625 h 460375"/>
              <a:gd name="connsiteX61" fmla="*/ 523875 w 594287"/>
              <a:gd name="connsiteY61" fmla="*/ 320675 h 460375"/>
              <a:gd name="connsiteX62" fmla="*/ 517525 w 594287"/>
              <a:gd name="connsiteY62" fmla="*/ 330200 h 460375"/>
              <a:gd name="connsiteX63" fmla="*/ 508000 w 594287"/>
              <a:gd name="connsiteY63" fmla="*/ 361950 h 460375"/>
              <a:gd name="connsiteX64" fmla="*/ 498475 w 594287"/>
              <a:gd name="connsiteY64" fmla="*/ 368300 h 460375"/>
              <a:gd name="connsiteX65" fmla="*/ 479425 w 594287"/>
              <a:gd name="connsiteY65" fmla="*/ 365125 h 460375"/>
              <a:gd name="connsiteX66" fmla="*/ 469900 w 594287"/>
              <a:gd name="connsiteY66" fmla="*/ 361950 h 460375"/>
              <a:gd name="connsiteX67" fmla="*/ 460375 w 594287"/>
              <a:gd name="connsiteY67" fmla="*/ 342900 h 460375"/>
              <a:gd name="connsiteX68" fmla="*/ 447675 w 594287"/>
              <a:gd name="connsiteY68" fmla="*/ 339725 h 460375"/>
              <a:gd name="connsiteX69" fmla="*/ 438150 w 594287"/>
              <a:gd name="connsiteY69" fmla="*/ 336550 h 460375"/>
              <a:gd name="connsiteX70" fmla="*/ 412750 w 594287"/>
              <a:gd name="connsiteY70" fmla="*/ 339725 h 460375"/>
              <a:gd name="connsiteX71" fmla="*/ 393700 w 594287"/>
              <a:gd name="connsiteY71" fmla="*/ 355600 h 460375"/>
              <a:gd name="connsiteX72" fmla="*/ 387350 w 594287"/>
              <a:gd name="connsiteY72" fmla="*/ 374650 h 460375"/>
              <a:gd name="connsiteX73" fmla="*/ 374650 w 594287"/>
              <a:gd name="connsiteY73" fmla="*/ 390525 h 460375"/>
              <a:gd name="connsiteX74" fmla="*/ 365125 w 594287"/>
              <a:gd name="connsiteY74" fmla="*/ 393700 h 460375"/>
              <a:gd name="connsiteX75" fmla="*/ 355600 w 594287"/>
              <a:gd name="connsiteY75" fmla="*/ 390525 h 460375"/>
              <a:gd name="connsiteX76" fmla="*/ 346075 w 594287"/>
              <a:gd name="connsiteY76" fmla="*/ 384175 h 460375"/>
              <a:gd name="connsiteX77" fmla="*/ 333375 w 594287"/>
              <a:gd name="connsiteY77" fmla="*/ 387350 h 460375"/>
              <a:gd name="connsiteX78" fmla="*/ 323850 w 594287"/>
              <a:gd name="connsiteY78" fmla="*/ 415925 h 460375"/>
              <a:gd name="connsiteX79" fmla="*/ 304800 w 594287"/>
              <a:gd name="connsiteY79" fmla="*/ 428625 h 460375"/>
              <a:gd name="connsiteX80" fmla="*/ 295275 w 594287"/>
              <a:gd name="connsiteY80" fmla="*/ 434975 h 460375"/>
              <a:gd name="connsiteX81" fmla="*/ 292100 w 594287"/>
              <a:gd name="connsiteY81" fmla="*/ 444500 h 460375"/>
              <a:gd name="connsiteX82" fmla="*/ 273050 w 594287"/>
              <a:gd name="connsiteY82" fmla="*/ 450850 h 460375"/>
              <a:gd name="connsiteX83" fmla="*/ 263525 w 594287"/>
              <a:gd name="connsiteY83" fmla="*/ 454025 h 460375"/>
              <a:gd name="connsiteX84" fmla="*/ 254000 w 594287"/>
              <a:gd name="connsiteY84" fmla="*/ 457200 h 460375"/>
              <a:gd name="connsiteX85" fmla="*/ 234950 w 594287"/>
              <a:gd name="connsiteY85" fmla="*/ 460375 h 460375"/>
              <a:gd name="connsiteX86" fmla="*/ 228600 w 594287"/>
              <a:gd name="connsiteY86" fmla="*/ 450850 h 460375"/>
              <a:gd name="connsiteX87" fmla="*/ 225425 w 594287"/>
              <a:gd name="connsiteY87" fmla="*/ 441325 h 460375"/>
              <a:gd name="connsiteX88" fmla="*/ 215900 w 594287"/>
              <a:gd name="connsiteY88" fmla="*/ 438150 h 460375"/>
              <a:gd name="connsiteX89" fmla="*/ 196850 w 594287"/>
              <a:gd name="connsiteY89" fmla="*/ 444500 h 460375"/>
              <a:gd name="connsiteX90" fmla="*/ 165100 w 594287"/>
              <a:gd name="connsiteY90" fmla="*/ 450850 h 460375"/>
              <a:gd name="connsiteX91" fmla="*/ 146050 w 594287"/>
              <a:gd name="connsiteY91" fmla="*/ 457200 h 460375"/>
              <a:gd name="connsiteX92" fmla="*/ 123825 w 594287"/>
              <a:gd name="connsiteY92" fmla="*/ 450850 h 460375"/>
              <a:gd name="connsiteX93" fmla="*/ 123825 w 594287"/>
              <a:gd name="connsiteY93" fmla="*/ 444500 h 4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94287" h="460375">
                <a:moveTo>
                  <a:pt x="123825" y="444500"/>
                </a:moveTo>
                <a:lnTo>
                  <a:pt x="123825" y="444500"/>
                </a:lnTo>
                <a:cubicBezTo>
                  <a:pt x="106892" y="395817"/>
                  <a:pt x="92850" y="346029"/>
                  <a:pt x="73025" y="298450"/>
                </a:cubicBezTo>
                <a:cubicBezTo>
                  <a:pt x="71205" y="294081"/>
                  <a:pt x="64289" y="294685"/>
                  <a:pt x="60325" y="292100"/>
                </a:cubicBezTo>
                <a:cubicBezTo>
                  <a:pt x="39917" y="278790"/>
                  <a:pt x="20108" y="264583"/>
                  <a:pt x="0" y="250825"/>
                </a:cubicBezTo>
                <a:cubicBezTo>
                  <a:pt x="6661" y="190875"/>
                  <a:pt x="-3634" y="163521"/>
                  <a:pt x="19050" y="123825"/>
                </a:cubicBezTo>
                <a:cubicBezTo>
                  <a:pt x="20943" y="120512"/>
                  <a:pt x="23850" y="117787"/>
                  <a:pt x="25400" y="114300"/>
                </a:cubicBezTo>
                <a:cubicBezTo>
                  <a:pt x="40513" y="80295"/>
                  <a:pt x="23729" y="107281"/>
                  <a:pt x="38100" y="85725"/>
                </a:cubicBezTo>
                <a:cubicBezTo>
                  <a:pt x="39158" y="69850"/>
                  <a:pt x="38915" y="53834"/>
                  <a:pt x="41275" y="38100"/>
                </a:cubicBezTo>
                <a:cubicBezTo>
                  <a:pt x="42144" y="32309"/>
                  <a:pt x="51088" y="15299"/>
                  <a:pt x="53975" y="9525"/>
                </a:cubicBezTo>
                <a:cubicBezTo>
                  <a:pt x="64961" y="13187"/>
                  <a:pt x="64105" y="10736"/>
                  <a:pt x="69850" y="22225"/>
                </a:cubicBezTo>
                <a:cubicBezTo>
                  <a:pt x="71347" y="25218"/>
                  <a:pt x="70658" y="29383"/>
                  <a:pt x="73025" y="31750"/>
                </a:cubicBezTo>
                <a:cubicBezTo>
                  <a:pt x="75392" y="34117"/>
                  <a:pt x="79375" y="33867"/>
                  <a:pt x="82550" y="34925"/>
                </a:cubicBezTo>
                <a:cubicBezTo>
                  <a:pt x="89958" y="33867"/>
                  <a:pt x="97936" y="34789"/>
                  <a:pt x="104775" y="31750"/>
                </a:cubicBezTo>
                <a:cubicBezTo>
                  <a:pt x="108262" y="30200"/>
                  <a:pt x="108253" y="24738"/>
                  <a:pt x="111125" y="22225"/>
                </a:cubicBezTo>
                <a:cubicBezTo>
                  <a:pt x="116868" y="17199"/>
                  <a:pt x="123825" y="13758"/>
                  <a:pt x="130175" y="9525"/>
                </a:cubicBezTo>
                <a:cubicBezTo>
                  <a:pt x="142485" y="1319"/>
                  <a:pt x="136080" y="4382"/>
                  <a:pt x="149225" y="0"/>
                </a:cubicBezTo>
                <a:cubicBezTo>
                  <a:pt x="153458" y="1058"/>
                  <a:pt x="158294" y="754"/>
                  <a:pt x="161925" y="3175"/>
                </a:cubicBezTo>
                <a:cubicBezTo>
                  <a:pt x="165100" y="5292"/>
                  <a:pt x="165403" y="10187"/>
                  <a:pt x="168275" y="12700"/>
                </a:cubicBezTo>
                <a:cubicBezTo>
                  <a:pt x="174018" y="17726"/>
                  <a:pt x="180085" y="22987"/>
                  <a:pt x="187325" y="25400"/>
                </a:cubicBezTo>
                <a:cubicBezTo>
                  <a:pt x="190500" y="26458"/>
                  <a:pt x="193583" y="27849"/>
                  <a:pt x="196850" y="28575"/>
                </a:cubicBezTo>
                <a:cubicBezTo>
                  <a:pt x="203134" y="29972"/>
                  <a:pt x="209587" y="30487"/>
                  <a:pt x="215900" y="31750"/>
                </a:cubicBezTo>
                <a:cubicBezTo>
                  <a:pt x="220179" y="32606"/>
                  <a:pt x="224367" y="33867"/>
                  <a:pt x="228600" y="34925"/>
                </a:cubicBezTo>
                <a:cubicBezTo>
                  <a:pt x="244657" y="45629"/>
                  <a:pt x="233632" y="35464"/>
                  <a:pt x="241300" y="50800"/>
                </a:cubicBezTo>
                <a:cubicBezTo>
                  <a:pt x="243007" y="54213"/>
                  <a:pt x="246100" y="56838"/>
                  <a:pt x="247650" y="60325"/>
                </a:cubicBezTo>
                <a:cubicBezTo>
                  <a:pt x="250368" y="66442"/>
                  <a:pt x="254000" y="79375"/>
                  <a:pt x="254000" y="79375"/>
                </a:cubicBezTo>
                <a:cubicBezTo>
                  <a:pt x="255058" y="89958"/>
                  <a:pt x="256000" y="100554"/>
                  <a:pt x="257175" y="111125"/>
                </a:cubicBezTo>
                <a:cubicBezTo>
                  <a:pt x="258117" y="119605"/>
                  <a:pt x="259801" y="128010"/>
                  <a:pt x="260350" y="136525"/>
                </a:cubicBezTo>
                <a:cubicBezTo>
                  <a:pt x="261919" y="160839"/>
                  <a:pt x="260732" y="185346"/>
                  <a:pt x="263525" y="209550"/>
                </a:cubicBezTo>
                <a:cubicBezTo>
                  <a:pt x="263962" y="213341"/>
                  <a:pt x="268168" y="215662"/>
                  <a:pt x="269875" y="219075"/>
                </a:cubicBezTo>
                <a:cubicBezTo>
                  <a:pt x="280277" y="239879"/>
                  <a:pt x="259580" y="219106"/>
                  <a:pt x="285750" y="254000"/>
                </a:cubicBezTo>
                <a:cubicBezTo>
                  <a:pt x="288925" y="258233"/>
                  <a:pt x="292199" y="262394"/>
                  <a:pt x="295275" y="266700"/>
                </a:cubicBezTo>
                <a:cubicBezTo>
                  <a:pt x="297493" y="269805"/>
                  <a:pt x="299090" y="273373"/>
                  <a:pt x="301625" y="276225"/>
                </a:cubicBezTo>
                <a:cubicBezTo>
                  <a:pt x="317442" y="294019"/>
                  <a:pt x="315723" y="291974"/>
                  <a:pt x="330200" y="301625"/>
                </a:cubicBezTo>
                <a:cubicBezTo>
                  <a:pt x="335492" y="300567"/>
                  <a:pt x="340869" y="299870"/>
                  <a:pt x="346075" y="298450"/>
                </a:cubicBezTo>
                <a:cubicBezTo>
                  <a:pt x="352533" y="296689"/>
                  <a:pt x="358523" y="293200"/>
                  <a:pt x="365125" y="292100"/>
                </a:cubicBezTo>
                <a:cubicBezTo>
                  <a:pt x="380094" y="289605"/>
                  <a:pt x="383613" y="289539"/>
                  <a:pt x="396875" y="285750"/>
                </a:cubicBezTo>
                <a:cubicBezTo>
                  <a:pt x="400093" y="284831"/>
                  <a:pt x="403407" y="284072"/>
                  <a:pt x="406400" y="282575"/>
                </a:cubicBezTo>
                <a:cubicBezTo>
                  <a:pt x="409813" y="280868"/>
                  <a:pt x="412750" y="278342"/>
                  <a:pt x="415925" y="276225"/>
                </a:cubicBezTo>
                <a:cubicBezTo>
                  <a:pt x="416983" y="270933"/>
                  <a:pt x="418337" y="265692"/>
                  <a:pt x="419100" y="260350"/>
                </a:cubicBezTo>
                <a:cubicBezTo>
                  <a:pt x="420455" y="250863"/>
                  <a:pt x="418589" y="240621"/>
                  <a:pt x="422275" y="231775"/>
                </a:cubicBezTo>
                <a:cubicBezTo>
                  <a:pt x="425648" y="223680"/>
                  <a:pt x="437547" y="221749"/>
                  <a:pt x="444500" y="219075"/>
                </a:cubicBezTo>
                <a:cubicBezTo>
                  <a:pt x="455139" y="214983"/>
                  <a:pt x="465436" y="209980"/>
                  <a:pt x="476250" y="206375"/>
                </a:cubicBezTo>
                <a:cubicBezTo>
                  <a:pt x="479425" y="205317"/>
                  <a:pt x="482782" y="204697"/>
                  <a:pt x="485775" y="203200"/>
                </a:cubicBezTo>
                <a:cubicBezTo>
                  <a:pt x="489188" y="201493"/>
                  <a:pt x="492602" y="199548"/>
                  <a:pt x="495300" y="196850"/>
                </a:cubicBezTo>
                <a:cubicBezTo>
                  <a:pt x="496738" y="195412"/>
                  <a:pt x="509372" y="178231"/>
                  <a:pt x="511175" y="174625"/>
                </a:cubicBezTo>
                <a:cubicBezTo>
                  <a:pt x="524331" y="148314"/>
                  <a:pt x="512456" y="168460"/>
                  <a:pt x="520700" y="149225"/>
                </a:cubicBezTo>
                <a:cubicBezTo>
                  <a:pt x="522564" y="144875"/>
                  <a:pt x="524933" y="140758"/>
                  <a:pt x="527050" y="136525"/>
                </a:cubicBezTo>
                <a:cubicBezTo>
                  <a:pt x="528108" y="131233"/>
                  <a:pt x="530225" y="126046"/>
                  <a:pt x="530225" y="120650"/>
                </a:cubicBezTo>
                <a:cubicBezTo>
                  <a:pt x="530225" y="112865"/>
                  <a:pt x="525973" y="97292"/>
                  <a:pt x="523875" y="88900"/>
                </a:cubicBezTo>
                <a:cubicBezTo>
                  <a:pt x="528108" y="87842"/>
                  <a:pt x="532211" y="85725"/>
                  <a:pt x="536575" y="85725"/>
                </a:cubicBezTo>
                <a:cubicBezTo>
                  <a:pt x="570892" y="85725"/>
                  <a:pt x="567256" y="85369"/>
                  <a:pt x="587375" y="92075"/>
                </a:cubicBezTo>
                <a:cubicBezTo>
                  <a:pt x="597085" y="121204"/>
                  <a:pt x="593725" y="108260"/>
                  <a:pt x="593725" y="168275"/>
                </a:cubicBezTo>
                <a:cubicBezTo>
                  <a:pt x="593725" y="184185"/>
                  <a:pt x="593031" y="200184"/>
                  <a:pt x="590550" y="215900"/>
                </a:cubicBezTo>
                <a:cubicBezTo>
                  <a:pt x="589812" y="220575"/>
                  <a:pt x="586064" y="224250"/>
                  <a:pt x="584200" y="228600"/>
                </a:cubicBezTo>
                <a:cubicBezTo>
                  <a:pt x="582882" y="231676"/>
                  <a:pt x="582522" y="235132"/>
                  <a:pt x="581025" y="238125"/>
                </a:cubicBezTo>
                <a:cubicBezTo>
                  <a:pt x="579318" y="241538"/>
                  <a:pt x="576568" y="244337"/>
                  <a:pt x="574675" y="247650"/>
                </a:cubicBezTo>
                <a:cubicBezTo>
                  <a:pt x="572327" y="251759"/>
                  <a:pt x="570673" y="256241"/>
                  <a:pt x="568325" y="260350"/>
                </a:cubicBezTo>
                <a:cubicBezTo>
                  <a:pt x="559725" y="275399"/>
                  <a:pt x="564389" y="265073"/>
                  <a:pt x="552450" y="279400"/>
                </a:cubicBezTo>
                <a:cubicBezTo>
                  <a:pt x="550007" y="282331"/>
                  <a:pt x="548318" y="285820"/>
                  <a:pt x="546100" y="288925"/>
                </a:cubicBezTo>
                <a:cubicBezTo>
                  <a:pt x="543024" y="293231"/>
                  <a:pt x="539610" y="297290"/>
                  <a:pt x="536575" y="301625"/>
                </a:cubicBezTo>
                <a:cubicBezTo>
                  <a:pt x="532198" y="307877"/>
                  <a:pt x="528108" y="314325"/>
                  <a:pt x="523875" y="320675"/>
                </a:cubicBezTo>
                <a:lnTo>
                  <a:pt x="517525" y="330200"/>
                </a:lnTo>
                <a:cubicBezTo>
                  <a:pt x="516254" y="335284"/>
                  <a:pt x="510319" y="360404"/>
                  <a:pt x="508000" y="361950"/>
                </a:cubicBezTo>
                <a:lnTo>
                  <a:pt x="498475" y="368300"/>
                </a:lnTo>
                <a:cubicBezTo>
                  <a:pt x="492125" y="367242"/>
                  <a:pt x="485709" y="366522"/>
                  <a:pt x="479425" y="365125"/>
                </a:cubicBezTo>
                <a:cubicBezTo>
                  <a:pt x="476158" y="364399"/>
                  <a:pt x="472267" y="364317"/>
                  <a:pt x="469900" y="361950"/>
                </a:cubicBezTo>
                <a:cubicBezTo>
                  <a:pt x="457222" y="349272"/>
                  <a:pt x="478041" y="354677"/>
                  <a:pt x="460375" y="342900"/>
                </a:cubicBezTo>
                <a:cubicBezTo>
                  <a:pt x="456744" y="340479"/>
                  <a:pt x="451871" y="340924"/>
                  <a:pt x="447675" y="339725"/>
                </a:cubicBezTo>
                <a:cubicBezTo>
                  <a:pt x="444457" y="338806"/>
                  <a:pt x="441325" y="337608"/>
                  <a:pt x="438150" y="336550"/>
                </a:cubicBezTo>
                <a:cubicBezTo>
                  <a:pt x="429683" y="337608"/>
                  <a:pt x="420982" y="337480"/>
                  <a:pt x="412750" y="339725"/>
                </a:cubicBezTo>
                <a:cubicBezTo>
                  <a:pt x="406672" y="341383"/>
                  <a:pt x="397471" y="351829"/>
                  <a:pt x="393700" y="355600"/>
                </a:cubicBezTo>
                <a:lnTo>
                  <a:pt x="387350" y="374650"/>
                </a:lnTo>
                <a:cubicBezTo>
                  <a:pt x="383688" y="385636"/>
                  <a:pt x="386139" y="384780"/>
                  <a:pt x="374650" y="390525"/>
                </a:cubicBezTo>
                <a:cubicBezTo>
                  <a:pt x="371657" y="392022"/>
                  <a:pt x="368300" y="392642"/>
                  <a:pt x="365125" y="393700"/>
                </a:cubicBezTo>
                <a:cubicBezTo>
                  <a:pt x="361950" y="392642"/>
                  <a:pt x="358593" y="392022"/>
                  <a:pt x="355600" y="390525"/>
                </a:cubicBezTo>
                <a:cubicBezTo>
                  <a:pt x="352187" y="388818"/>
                  <a:pt x="349853" y="384715"/>
                  <a:pt x="346075" y="384175"/>
                </a:cubicBezTo>
                <a:cubicBezTo>
                  <a:pt x="341755" y="383558"/>
                  <a:pt x="337608" y="386292"/>
                  <a:pt x="333375" y="387350"/>
                </a:cubicBezTo>
                <a:cubicBezTo>
                  <a:pt x="331614" y="397917"/>
                  <a:pt x="332561" y="408303"/>
                  <a:pt x="323850" y="415925"/>
                </a:cubicBezTo>
                <a:cubicBezTo>
                  <a:pt x="318107" y="420951"/>
                  <a:pt x="311150" y="424392"/>
                  <a:pt x="304800" y="428625"/>
                </a:cubicBezTo>
                <a:lnTo>
                  <a:pt x="295275" y="434975"/>
                </a:lnTo>
                <a:cubicBezTo>
                  <a:pt x="294217" y="438150"/>
                  <a:pt x="294823" y="442555"/>
                  <a:pt x="292100" y="444500"/>
                </a:cubicBezTo>
                <a:cubicBezTo>
                  <a:pt x="286653" y="448391"/>
                  <a:pt x="279400" y="448733"/>
                  <a:pt x="273050" y="450850"/>
                </a:cubicBezTo>
                <a:lnTo>
                  <a:pt x="263525" y="454025"/>
                </a:lnTo>
                <a:cubicBezTo>
                  <a:pt x="260350" y="455083"/>
                  <a:pt x="257301" y="456650"/>
                  <a:pt x="254000" y="457200"/>
                </a:cubicBezTo>
                <a:lnTo>
                  <a:pt x="234950" y="460375"/>
                </a:lnTo>
                <a:cubicBezTo>
                  <a:pt x="232833" y="457200"/>
                  <a:pt x="230307" y="454263"/>
                  <a:pt x="228600" y="450850"/>
                </a:cubicBezTo>
                <a:cubicBezTo>
                  <a:pt x="227103" y="447857"/>
                  <a:pt x="227792" y="443692"/>
                  <a:pt x="225425" y="441325"/>
                </a:cubicBezTo>
                <a:cubicBezTo>
                  <a:pt x="223058" y="438958"/>
                  <a:pt x="219075" y="439208"/>
                  <a:pt x="215900" y="438150"/>
                </a:cubicBezTo>
                <a:cubicBezTo>
                  <a:pt x="209550" y="440267"/>
                  <a:pt x="203414" y="443187"/>
                  <a:pt x="196850" y="444500"/>
                </a:cubicBezTo>
                <a:cubicBezTo>
                  <a:pt x="186267" y="446617"/>
                  <a:pt x="175339" y="447437"/>
                  <a:pt x="165100" y="450850"/>
                </a:cubicBezTo>
                <a:lnTo>
                  <a:pt x="146050" y="457200"/>
                </a:lnTo>
                <a:cubicBezTo>
                  <a:pt x="141981" y="456183"/>
                  <a:pt x="128380" y="453127"/>
                  <a:pt x="123825" y="450850"/>
                </a:cubicBezTo>
                <a:cubicBezTo>
                  <a:pt x="122486" y="450181"/>
                  <a:pt x="123825" y="445558"/>
                  <a:pt x="123825" y="4445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 name="Freeform 435">
            <a:extLst>
              <a:ext uri="{FF2B5EF4-FFF2-40B4-BE49-F238E27FC236}">
                <a16:creationId xmlns:a16="http://schemas.microsoft.com/office/drawing/2014/main" id="{A30285D0-71A2-A2CF-0006-A2025B3CE76E}"/>
              </a:ext>
            </a:extLst>
          </p:cNvPr>
          <p:cNvSpPr/>
          <p:nvPr/>
        </p:nvSpPr>
        <p:spPr bwMode="gray">
          <a:xfrm>
            <a:off x="2530476" y="3198813"/>
            <a:ext cx="142875" cy="107950"/>
          </a:xfrm>
          <a:custGeom>
            <a:avLst/>
            <a:gdLst>
              <a:gd name="connsiteX0" fmla="*/ 92075 w 143274"/>
              <a:gd name="connsiteY0" fmla="*/ 82550 h 108045"/>
              <a:gd name="connsiteX1" fmla="*/ 92075 w 143274"/>
              <a:gd name="connsiteY1" fmla="*/ 82550 h 108045"/>
              <a:gd name="connsiteX2" fmla="*/ 111125 w 143274"/>
              <a:gd name="connsiteY2" fmla="*/ 12700 h 108045"/>
              <a:gd name="connsiteX3" fmla="*/ 101600 w 143274"/>
              <a:gd name="connsiteY3" fmla="*/ 6350 h 108045"/>
              <a:gd name="connsiteX4" fmla="*/ 76200 w 143274"/>
              <a:gd name="connsiteY4" fmla="*/ 15875 h 108045"/>
              <a:gd name="connsiteX5" fmla="*/ 73025 w 143274"/>
              <a:gd name="connsiteY5" fmla="*/ 25400 h 108045"/>
              <a:gd name="connsiteX6" fmla="*/ 53975 w 143274"/>
              <a:gd name="connsiteY6" fmla="*/ 31750 h 108045"/>
              <a:gd name="connsiteX7" fmla="*/ 47625 w 143274"/>
              <a:gd name="connsiteY7" fmla="*/ 12700 h 108045"/>
              <a:gd name="connsiteX8" fmla="*/ 44450 w 143274"/>
              <a:gd name="connsiteY8" fmla="*/ 3175 h 108045"/>
              <a:gd name="connsiteX9" fmla="*/ 34925 w 143274"/>
              <a:gd name="connsiteY9" fmla="*/ 0 h 108045"/>
              <a:gd name="connsiteX10" fmla="*/ 25400 w 143274"/>
              <a:gd name="connsiteY10" fmla="*/ 3175 h 108045"/>
              <a:gd name="connsiteX11" fmla="*/ 3175 w 143274"/>
              <a:gd name="connsiteY11" fmla="*/ 6350 h 108045"/>
              <a:gd name="connsiteX12" fmla="*/ 0 w 143274"/>
              <a:gd name="connsiteY12" fmla="*/ 15875 h 108045"/>
              <a:gd name="connsiteX13" fmla="*/ 3175 w 143274"/>
              <a:gd name="connsiteY13" fmla="*/ 41275 h 108045"/>
              <a:gd name="connsiteX14" fmla="*/ 6350 w 143274"/>
              <a:gd name="connsiteY14" fmla="*/ 50800 h 108045"/>
              <a:gd name="connsiteX15" fmla="*/ 0 w 143274"/>
              <a:gd name="connsiteY15" fmla="*/ 60325 h 108045"/>
              <a:gd name="connsiteX16" fmla="*/ 9525 w 143274"/>
              <a:gd name="connsiteY16" fmla="*/ 98425 h 108045"/>
              <a:gd name="connsiteX17" fmla="*/ 19050 w 143274"/>
              <a:gd name="connsiteY17" fmla="*/ 104775 h 108045"/>
              <a:gd name="connsiteX18" fmla="*/ 63500 w 143274"/>
              <a:gd name="connsiteY18" fmla="*/ 101600 h 108045"/>
              <a:gd name="connsiteX19" fmla="*/ 73025 w 143274"/>
              <a:gd name="connsiteY19" fmla="*/ 107950 h 108045"/>
              <a:gd name="connsiteX20" fmla="*/ 88900 w 143274"/>
              <a:gd name="connsiteY20" fmla="*/ 104775 h 108045"/>
              <a:gd name="connsiteX21" fmla="*/ 114300 w 143274"/>
              <a:gd name="connsiteY21" fmla="*/ 101600 h 108045"/>
              <a:gd name="connsiteX22" fmla="*/ 127000 w 143274"/>
              <a:gd name="connsiteY22" fmla="*/ 82550 h 108045"/>
              <a:gd name="connsiteX23" fmla="*/ 142875 w 143274"/>
              <a:gd name="connsiteY23" fmla="*/ 63500 h 108045"/>
              <a:gd name="connsiteX24" fmla="*/ 139700 w 143274"/>
              <a:gd name="connsiteY24" fmla="*/ 34925 h 108045"/>
              <a:gd name="connsiteX25" fmla="*/ 117475 w 143274"/>
              <a:gd name="connsiteY25" fmla="*/ 47625 h 108045"/>
              <a:gd name="connsiteX26" fmla="*/ 114300 w 143274"/>
              <a:gd name="connsiteY26" fmla="*/ 69850 h 108045"/>
              <a:gd name="connsiteX27" fmla="*/ 95250 w 143274"/>
              <a:gd name="connsiteY27" fmla="*/ 76200 h 108045"/>
              <a:gd name="connsiteX28" fmla="*/ 92075 w 143274"/>
              <a:gd name="connsiteY28" fmla="*/ 82550 h 10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3274" h="108045">
                <a:moveTo>
                  <a:pt x="92075" y="82550"/>
                </a:moveTo>
                <a:lnTo>
                  <a:pt x="92075" y="82550"/>
                </a:lnTo>
                <a:cubicBezTo>
                  <a:pt x="92491" y="81480"/>
                  <a:pt x="124251" y="32389"/>
                  <a:pt x="111125" y="12700"/>
                </a:cubicBezTo>
                <a:cubicBezTo>
                  <a:pt x="109008" y="9525"/>
                  <a:pt x="104775" y="8467"/>
                  <a:pt x="101600" y="6350"/>
                </a:cubicBezTo>
                <a:cubicBezTo>
                  <a:pt x="92995" y="8071"/>
                  <a:pt x="82429" y="8089"/>
                  <a:pt x="76200" y="15875"/>
                </a:cubicBezTo>
                <a:cubicBezTo>
                  <a:pt x="74109" y="18488"/>
                  <a:pt x="75748" y="23455"/>
                  <a:pt x="73025" y="25400"/>
                </a:cubicBezTo>
                <a:cubicBezTo>
                  <a:pt x="67578" y="29291"/>
                  <a:pt x="53975" y="31750"/>
                  <a:pt x="53975" y="31750"/>
                </a:cubicBezTo>
                <a:lnTo>
                  <a:pt x="47625" y="12700"/>
                </a:lnTo>
                <a:cubicBezTo>
                  <a:pt x="46567" y="9525"/>
                  <a:pt x="47625" y="4233"/>
                  <a:pt x="44450" y="3175"/>
                </a:cubicBezTo>
                <a:lnTo>
                  <a:pt x="34925" y="0"/>
                </a:lnTo>
                <a:cubicBezTo>
                  <a:pt x="31750" y="1058"/>
                  <a:pt x="28682" y="2519"/>
                  <a:pt x="25400" y="3175"/>
                </a:cubicBezTo>
                <a:cubicBezTo>
                  <a:pt x="18062" y="4643"/>
                  <a:pt x="9868" y="3003"/>
                  <a:pt x="3175" y="6350"/>
                </a:cubicBezTo>
                <a:cubicBezTo>
                  <a:pt x="182" y="7847"/>
                  <a:pt x="1058" y="12700"/>
                  <a:pt x="0" y="15875"/>
                </a:cubicBezTo>
                <a:cubicBezTo>
                  <a:pt x="1058" y="24342"/>
                  <a:pt x="1649" y="32880"/>
                  <a:pt x="3175" y="41275"/>
                </a:cubicBezTo>
                <a:cubicBezTo>
                  <a:pt x="3774" y="44568"/>
                  <a:pt x="6900" y="47499"/>
                  <a:pt x="6350" y="50800"/>
                </a:cubicBezTo>
                <a:cubicBezTo>
                  <a:pt x="5723" y="54564"/>
                  <a:pt x="2117" y="57150"/>
                  <a:pt x="0" y="60325"/>
                </a:cubicBezTo>
                <a:cubicBezTo>
                  <a:pt x="1765" y="76212"/>
                  <a:pt x="-1412" y="87488"/>
                  <a:pt x="9525" y="98425"/>
                </a:cubicBezTo>
                <a:cubicBezTo>
                  <a:pt x="12223" y="101123"/>
                  <a:pt x="15875" y="102658"/>
                  <a:pt x="19050" y="104775"/>
                </a:cubicBezTo>
                <a:cubicBezTo>
                  <a:pt x="33867" y="103717"/>
                  <a:pt x="48671" y="100728"/>
                  <a:pt x="63500" y="101600"/>
                </a:cubicBezTo>
                <a:cubicBezTo>
                  <a:pt x="67309" y="101824"/>
                  <a:pt x="69239" y="107477"/>
                  <a:pt x="73025" y="107950"/>
                </a:cubicBezTo>
                <a:cubicBezTo>
                  <a:pt x="78380" y="108619"/>
                  <a:pt x="83566" y="105596"/>
                  <a:pt x="88900" y="104775"/>
                </a:cubicBezTo>
                <a:cubicBezTo>
                  <a:pt x="97333" y="103478"/>
                  <a:pt x="105833" y="102658"/>
                  <a:pt x="114300" y="101600"/>
                </a:cubicBezTo>
                <a:cubicBezTo>
                  <a:pt x="131042" y="90439"/>
                  <a:pt x="118799" y="101686"/>
                  <a:pt x="127000" y="82550"/>
                </a:cubicBezTo>
                <a:cubicBezTo>
                  <a:pt x="130315" y="74814"/>
                  <a:pt x="137154" y="69221"/>
                  <a:pt x="142875" y="63500"/>
                </a:cubicBezTo>
                <a:cubicBezTo>
                  <a:pt x="141817" y="53975"/>
                  <a:pt x="146011" y="42137"/>
                  <a:pt x="139700" y="34925"/>
                </a:cubicBezTo>
                <a:cubicBezTo>
                  <a:pt x="124414" y="17455"/>
                  <a:pt x="119013" y="43012"/>
                  <a:pt x="117475" y="47625"/>
                </a:cubicBezTo>
                <a:cubicBezTo>
                  <a:pt x="116417" y="55033"/>
                  <a:pt x="118894" y="63943"/>
                  <a:pt x="114300" y="69850"/>
                </a:cubicBezTo>
                <a:cubicBezTo>
                  <a:pt x="110191" y="75134"/>
                  <a:pt x="95250" y="76200"/>
                  <a:pt x="95250" y="76200"/>
                </a:cubicBezTo>
                <a:lnTo>
                  <a:pt x="92075" y="82550"/>
                </a:ln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7" name="Freeform 436">
            <a:extLst>
              <a:ext uri="{FF2B5EF4-FFF2-40B4-BE49-F238E27FC236}">
                <a16:creationId xmlns:a16="http://schemas.microsoft.com/office/drawing/2014/main" id="{16BBB10B-ADA1-A8B8-23E1-6AF209FAE1FA}"/>
              </a:ext>
            </a:extLst>
          </p:cNvPr>
          <p:cNvSpPr/>
          <p:nvPr/>
        </p:nvSpPr>
        <p:spPr bwMode="gray">
          <a:xfrm>
            <a:off x="4086225" y="3579813"/>
            <a:ext cx="241300" cy="292100"/>
          </a:xfrm>
          <a:custGeom>
            <a:avLst/>
            <a:gdLst>
              <a:gd name="connsiteX0" fmla="*/ 121029 w 241679"/>
              <a:gd name="connsiteY0" fmla="*/ 254000 h 292100"/>
              <a:gd name="connsiteX1" fmla="*/ 121029 w 241679"/>
              <a:gd name="connsiteY1" fmla="*/ 254000 h 292100"/>
              <a:gd name="connsiteX2" fmla="*/ 25779 w 241679"/>
              <a:gd name="connsiteY2" fmla="*/ 196850 h 292100"/>
              <a:gd name="connsiteX3" fmla="*/ 379 w 241679"/>
              <a:gd name="connsiteY3" fmla="*/ 187325 h 292100"/>
              <a:gd name="connsiteX4" fmla="*/ 70229 w 241679"/>
              <a:gd name="connsiteY4" fmla="*/ 88900 h 292100"/>
              <a:gd name="connsiteX5" fmla="*/ 92454 w 241679"/>
              <a:gd name="connsiteY5" fmla="*/ 79375 h 292100"/>
              <a:gd name="connsiteX6" fmla="*/ 136904 w 241679"/>
              <a:gd name="connsiteY6" fmla="*/ 69850 h 292100"/>
              <a:gd name="connsiteX7" fmla="*/ 140079 w 241679"/>
              <a:gd name="connsiteY7" fmla="*/ 60325 h 292100"/>
              <a:gd name="connsiteX8" fmla="*/ 143254 w 241679"/>
              <a:gd name="connsiteY8" fmla="*/ 47625 h 292100"/>
              <a:gd name="connsiteX9" fmla="*/ 152779 w 241679"/>
              <a:gd name="connsiteY9" fmla="*/ 28575 h 292100"/>
              <a:gd name="connsiteX10" fmla="*/ 162304 w 241679"/>
              <a:gd name="connsiteY10" fmla="*/ 6350 h 292100"/>
              <a:gd name="connsiteX11" fmla="*/ 175004 w 241679"/>
              <a:gd name="connsiteY11" fmla="*/ 3175 h 292100"/>
              <a:gd name="connsiteX12" fmla="*/ 184529 w 241679"/>
              <a:gd name="connsiteY12" fmla="*/ 0 h 292100"/>
              <a:gd name="connsiteX13" fmla="*/ 187704 w 241679"/>
              <a:gd name="connsiteY13" fmla="*/ 9525 h 292100"/>
              <a:gd name="connsiteX14" fmla="*/ 184529 w 241679"/>
              <a:gd name="connsiteY14" fmla="*/ 19050 h 292100"/>
              <a:gd name="connsiteX15" fmla="*/ 175004 w 241679"/>
              <a:gd name="connsiteY15" fmla="*/ 44450 h 292100"/>
              <a:gd name="connsiteX16" fmla="*/ 168654 w 241679"/>
              <a:gd name="connsiteY16" fmla="*/ 63500 h 292100"/>
              <a:gd name="connsiteX17" fmla="*/ 178179 w 241679"/>
              <a:gd name="connsiteY17" fmla="*/ 130175 h 292100"/>
              <a:gd name="connsiteX18" fmla="*/ 184529 w 241679"/>
              <a:gd name="connsiteY18" fmla="*/ 155575 h 292100"/>
              <a:gd name="connsiteX19" fmla="*/ 194054 w 241679"/>
              <a:gd name="connsiteY19" fmla="*/ 161925 h 292100"/>
              <a:gd name="connsiteX20" fmla="*/ 228979 w 241679"/>
              <a:gd name="connsiteY20" fmla="*/ 165100 h 292100"/>
              <a:gd name="connsiteX21" fmla="*/ 238504 w 241679"/>
              <a:gd name="connsiteY21" fmla="*/ 171450 h 292100"/>
              <a:gd name="connsiteX22" fmla="*/ 241679 w 241679"/>
              <a:gd name="connsiteY22" fmla="*/ 180975 h 292100"/>
              <a:gd name="connsiteX23" fmla="*/ 238504 w 241679"/>
              <a:gd name="connsiteY23" fmla="*/ 212725 h 292100"/>
              <a:gd name="connsiteX24" fmla="*/ 232154 w 241679"/>
              <a:gd name="connsiteY24" fmla="*/ 228600 h 292100"/>
              <a:gd name="connsiteX25" fmla="*/ 228979 w 241679"/>
              <a:gd name="connsiteY25" fmla="*/ 238125 h 292100"/>
              <a:gd name="connsiteX26" fmla="*/ 232154 w 241679"/>
              <a:gd name="connsiteY26" fmla="*/ 285750 h 292100"/>
              <a:gd name="connsiteX27" fmla="*/ 222629 w 241679"/>
              <a:gd name="connsiteY27" fmla="*/ 292100 h 292100"/>
              <a:gd name="connsiteX28" fmla="*/ 213104 w 241679"/>
              <a:gd name="connsiteY28" fmla="*/ 285750 h 292100"/>
              <a:gd name="connsiteX29" fmla="*/ 203579 w 241679"/>
              <a:gd name="connsiteY29" fmla="*/ 263525 h 292100"/>
              <a:gd name="connsiteX30" fmla="*/ 197229 w 241679"/>
              <a:gd name="connsiteY30" fmla="*/ 238125 h 292100"/>
              <a:gd name="connsiteX31" fmla="*/ 184529 w 241679"/>
              <a:gd name="connsiteY31" fmla="*/ 219075 h 292100"/>
              <a:gd name="connsiteX32" fmla="*/ 168654 w 241679"/>
              <a:gd name="connsiteY32" fmla="*/ 206375 h 292100"/>
              <a:gd name="connsiteX33" fmla="*/ 159129 w 241679"/>
              <a:gd name="connsiteY33" fmla="*/ 209550 h 292100"/>
              <a:gd name="connsiteX34" fmla="*/ 149604 w 241679"/>
              <a:gd name="connsiteY34" fmla="*/ 238125 h 292100"/>
              <a:gd name="connsiteX35" fmla="*/ 143254 w 241679"/>
              <a:gd name="connsiteY35" fmla="*/ 247650 h 292100"/>
              <a:gd name="connsiteX36" fmla="*/ 114679 w 241679"/>
              <a:gd name="connsiteY36" fmla="*/ 269875 h 292100"/>
              <a:gd name="connsiteX37" fmla="*/ 101979 w 241679"/>
              <a:gd name="connsiteY37" fmla="*/ 266700 h 292100"/>
              <a:gd name="connsiteX38" fmla="*/ 121029 w 241679"/>
              <a:gd name="connsiteY38" fmla="*/ 2540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1679" h="292100">
                <a:moveTo>
                  <a:pt x="121029" y="254000"/>
                </a:moveTo>
                <a:lnTo>
                  <a:pt x="121029" y="254000"/>
                </a:lnTo>
                <a:cubicBezTo>
                  <a:pt x="89279" y="234950"/>
                  <a:pt x="58186" y="214759"/>
                  <a:pt x="25779" y="196850"/>
                </a:cubicBezTo>
                <a:cubicBezTo>
                  <a:pt x="17865" y="192476"/>
                  <a:pt x="-3064" y="195686"/>
                  <a:pt x="379" y="187325"/>
                </a:cubicBezTo>
                <a:cubicBezTo>
                  <a:pt x="15697" y="150125"/>
                  <a:pt x="45935" y="120967"/>
                  <a:pt x="70229" y="88900"/>
                </a:cubicBezTo>
                <a:cubicBezTo>
                  <a:pt x="75661" y="81729"/>
                  <a:pt x="84884" y="81646"/>
                  <a:pt x="92454" y="79375"/>
                </a:cubicBezTo>
                <a:cubicBezTo>
                  <a:pt x="124769" y="69680"/>
                  <a:pt x="98271" y="74679"/>
                  <a:pt x="136904" y="69850"/>
                </a:cubicBezTo>
                <a:cubicBezTo>
                  <a:pt x="137962" y="66675"/>
                  <a:pt x="139160" y="63543"/>
                  <a:pt x="140079" y="60325"/>
                </a:cubicBezTo>
                <a:cubicBezTo>
                  <a:pt x="141278" y="56129"/>
                  <a:pt x="141535" y="51636"/>
                  <a:pt x="143254" y="47625"/>
                </a:cubicBezTo>
                <a:cubicBezTo>
                  <a:pt x="155181" y="19795"/>
                  <a:pt x="145134" y="55332"/>
                  <a:pt x="152779" y="28575"/>
                </a:cubicBezTo>
                <a:cubicBezTo>
                  <a:pt x="154653" y="22015"/>
                  <a:pt x="155480" y="10899"/>
                  <a:pt x="162304" y="6350"/>
                </a:cubicBezTo>
                <a:cubicBezTo>
                  <a:pt x="165935" y="3929"/>
                  <a:pt x="170808" y="4374"/>
                  <a:pt x="175004" y="3175"/>
                </a:cubicBezTo>
                <a:cubicBezTo>
                  <a:pt x="178222" y="2256"/>
                  <a:pt x="181354" y="1058"/>
                  <a:pt x="184529" y="0"/>
                </a:cubicBezTo>
                <a:cubicBezTo>
                  <a:pt x="185587" y="3175"/>
                  <a:pt x="187704" y="6178"/>
                  <a:pt x="187704" y="9525"/>
                </a:cubicBezTo>
                <a:cubicBezTo>
                  <a:pt x="187704" y="12872"/>
                  <a:pt x="185448" y="15832"/>
                  <a:pt x="184529" y="19050"/>
                </a:cubicBezTo>
                <a:cubicBezTo>
                  <a:pt x="174218" y="55139"/>
                  <a:pt x="189801" y="7458"/>
                  <a:pt x="175004" y="44450"/>
                </a:cubicBezTo>
                <a:cubicBezTo>
                  <a:pt x="172518" y="50665"/>
                  <a:pt x="168654" y="63500"/>
                  <a:pt x="168654" y="63500"/>
                </a:cubicBezTo>
                <a:cubicBezTo>
                  <a:pt x="172806" y="109174"/>
                  <a:pt x="169536" y="86962"/>
                  <a:pt x="178179" y="130175"/>
                </a:cubicBezTo>
                <a:cubicBezTo>
                  <a:pt x="178337" y="130966"/>
                  <a:pt x="181926" y="152321"/>
                  <a:pt x="184529" y="155575"/>
                </a:cubicBezTo>
                <a:cubicBezTo>
                  <a:pt x="186913" y="158555"/>
                  <a:pt x="190323" y="161125"/>
                  <a:pt x="194054" y="161925"/>
                </a:cubicBezTo>
                <a:cubicBezTo>
                  <a:pt x="205484" y="164374"/>
                  <a:pt x="217337" y="164042"/>
                  <a:pt x="228979" y="165100"/>
                </a:cubicBezTo>
                <a:cubicBezTo>
                  <a:pt x="232154" y="167217"/>
                  <a:pt x="236120" y="168470"/>
                  <a:pt x="238504" y="171450"/>
                </a:cubicBezTo>
                <a:cubicBezTo>
                  <a:pt x="240595" y="174063"/>
                  <a:pt x="241679" y="177628"/>
                  <a:pt x="241679" y="180975"/>
                </a:cubicBezTo>
                <a:cubicBezTo>
                  <a:pt x="241679" y="191611"/>
                  <a:pt x="240590" y="202295"/>
                  <a:pt x="238504" y="212725"/>
                </a:cubicBezTo>
                <a:cubicBezTo>
                  <a:pt x="237386" y="218314"/>
                  <a:pt x="234155" y="223264"/>
                  <a:pt x="232154" y="228600"/>
                </a:cubicBezTo>
                <a:cubicBezTo>
                  <a:pt x="230979" y="231734"/>
                  <a:pt x="230037" y="234950"/>
                  <a:pt x="228979" y="238125"/>
                </a:cubicBezTo>
                <a:cubicBezTo>
                  <a:pt x="230037" y="254000"/>
                  <a:pt x="234013" y="269949"/>
                  <a:pt x="232154" y="285750"/>
                </a:cubicBezTo>
                <a:cubicBezTo>
                  <a:pt x="231708" y="289540"/>
                  <a:pt x="226445" y="292100"/>
                  <a:pt x="222629" y="292100"/>
                </a:cubicBezTo>
                <a:cubicBezTo>
                  <a:pt x="218813" y="292100"/>
                  <a:pt x="216279" y="287867"/>
                  <a:pt x="213104" y="285750"/>
                </a:cubicBezTo>
                <a:cubicBezTo>
                  <a:pt x="207900" y="275342"/>
                  <a:pt x="206382" y="273803"/>
                  <a:pt x="203579" y="263525"/>
                </a:cubicBezTo>
                <a:cubicBezTo>
                  <a:pt x="201283" y="255105"/>
                  <a:pt x="202070" y="245387"/>
                  <a:pt x="197229" y="238125"/>
                </a:cubicBezTo>
                <a:lnTo>
                  <a:pt x="184529" y="219075"/>
                </a:lnTo>
                <a:cubicBezTo>
                  <a:pt x="176323" y="206765"/>
                  <a:pt x="181799" y="210757"/>
                  <a:pt x="168654" y="206375"/>
                </a:cubicBezTo>
                <a:cubicBezTo>
                  <a:pt x="165479" y="207433"/>
                  <a:pt x="161742" y="207459"/>
                  <a:pt x="159129" y="209550"/>
                </a:cubicBezTo>
                <a:cubicBezTo>
                  <a:pt x="149291" y="217420"/>
                  <a:pt x="153266" y="227139"/>
                  <a:pt x="149604" y="238125"/>
                </a:cubicBezTo>
                <a:cubicBezTo>
                  <a:pt x="148397" y="241745"/>
                  <a:pt x="145789" y="244798"/>
                  <a:pt x="143254" y="247650"/>
                </a:cubicBezTo>
                <a:cubicBezTo>
                  <a:pt x="125219" y="267939"/>
                  <a:pt x="131463" y="264280"/>
                  <a:pt x="114679" y="269875"/>
                </a:cubicBezTo>
                <a:cubicBezTo>
                  <a:pt x="110446" y="268817"/>
                  <a:pt x="105386" y="269426"/>
                  <a:pt x="101979" y="266700"/>
                </a:cubicBezTo>
                <a:cubicBezTo>
                  <a:pt x="96796" y="262554"/>
                  <a:pt x="117854" y="256117"/>
                  <a:pt x="121029" y="2540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8" name="Freeform 437">
            <a:extLst>
              <a:ext uri="{FF2B5EF4-FFF2-40B4-BE49-F238E27FC236}">
                <a16:creationId xmlns:a16="http://schemas.microsoft.com/office/drawing/2014/main" id="{93652670-DAF6-5CCD-FF6D-D93592DB7B33}"/>
              </a:ext>
            </a:extLst>
          </p:cNvPr>
          <p:cNvSpPr/>
          <p:nvPr/>
        </p:nvSpPr>
        <p:spPr bwMode="gray">
          <a:xfrm>
            <a:off x="4530725" y="3544888"/>
            <a:ext cx="53975" cy="146050"/>
          </a:xfrm>
          <a:custGeom>
            <a:avLst/>
            <a:gdLst>
              <a:gd name="connsiteX0" fmla="*/ 22497 w 53975"/>
              <a:gd name="connsiteY0" fmla="*/ 145748 h 145748"/>
              <a:gd name="connsiteX1" fmla="*/ 22497 w 53975"/>
              <a:gd name="connsiteY1" fmla="*/ 145748 h 145748"/>
              <a:gd name="connsiteX2" fmla="*/ 51072 w 53975"/>
              <a:gd name="connsiteY2" fmla="*/ 98123 h 145748"/>
              <a:gd name="connsiteX3" fmla="*/ 22497 w 53975"/>
              <a:gd name="connsiteY3" fmla="*/ 18748 h 145748"/>
              <a:gd name="connsiteX4" fmla="*/ 19322 w 53975"/>
              <a:gd name="connsiteY4" fmla="*/ 31448 h 145748"/>
              <a:gd name="connsiteX5" fmla="*/ 12972 w 53975"/>
              <a:gd name="connsiteY5" fmla="*/ 60023 h 145748"/>
              <a:gd name="connsiteX6" fmla="*/ 3447 w 53975"/>
              <a:gd name="connsiteY6" fmla="*/ 79073 h 145748"/>
              <a:gd name="connsiteX7" fmla="*/ 3447 w 53975"/>
              <a:gd name="connsiteY7" fmla="*/ 142573 h 145748"/>
              <a:gd name="connsiteX8" fmla="*/ 12972 w 53975"/>
              <a:gd name="connsiteY8" fmla="*/ 139398 h 145748"/>
              <a:gd name="connsiteX9" fmla="*/ 22497 w 53975"/>
              <a:gd name="connsiteY9" fmla="*/ 145748 h 14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75" h="145748">
                <a:moveTo>
                  <a:pt x="22497" y="145748"/>
                </a:moveTo>
                <a:lnTo>
                  <a:pt x="22497" y="145748"/>
                </a:lnTo>
                <a:cubicBezTo>
                  <a:pt x="32022" y="129873"/>
                  <a:pt x="49784" y="116591"/>
                  <a:pt x="51072" y="98123"/>
                </a:cubicBezTo>
                <a:cubicBezTo>
                  <a:pt x="59568" y="-23654"/>
                  <a:pt x="49231" y="-7986"/>
                  <a:pt x="22497" y="18748"/>
                </a:cubicBezTo>
                <a:cubicBezTo>
                  <a:pt x="21439" y="22981"/>
                  <a:pt x="20178" y="27169"/>
                  <a:pt x="19322" y="31448"/>
                </a:cubicBezTo>
                <a:cubicBezTo>
                  <a:pt x="17696" y="39578"/>
                  <a:pt x="17091" y="51784"/>
                  <a:pt x="12972" y="60023"/>
                </a:cubicBezTo>
                <a:cubicBezTo>
                  <a:pt x="662" y="84642"/>
                  <a:pt x="11427" y="55132"/>
                  <a:pt x="3447" y="79073"/>
                </a:cubicBezTo>
                <a:cubicBezTo>
                  <a:pt x="1892" y="94624"/>
                  <a:pt x="-3465" y="127022"/>
                  <a:pt x="3447" y="142573"/>
                </a:cubicBezTo>
                <a:cubicBezTo>
                  <a:pt x="4806" y="145631"/>
                  <a:pt x="9979" y="140895"/>
                  <a:pt x="12972" y="139398"/>
                </a:cubicBezTo>
                <a:cubicBezTo>
                  <a:pt x="23189" y="134290"/>
                  <a:pt x="20909" y="144690"/>
                  <a:pt x="22497" y="145748"/>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9" name="Freeform 438">
            <a:extLst>
              <a:ext uri="{FF2B5EF4-FFF2-40B4-BE49-F238E27FC236}">
                <a16:creationId xmlns:a16="http://schemas.microsoft.com/office/drawing/2014/main" id="{65F89AD6-8476-89CC-3F71-4178B04F2292}"/>
              </a:ext>
            </a:extLst>
          </p:cNvPr>
          <p:cNvSpPr/>
          <p:nvPr/>
        </p:nvSpPr>
        <p:spPr bwMode="gray">
          <a:xfrm>
            <a:off x="4660900" y="3557588"/>
            <a:ext cx="139700" cy="247650"/>
          </a:xfrm>
          <a:custGeom>
            <a:avLst/>
            <a:gdLst>
              <a:gd name="connsiteX0" fmla="*/ 104942 w 139867"/>
              <a:gd name="connsiteY0" fmla="*/ 241300 h 247843"/>
              <a:gd name="connsiteX1" fmla="*/ 104942 w 139867"/>
              <a:gd name="connsiteY1" fmla="*/ 241300 h 247843"/>
              <a:gd name="connsiteX2" fmla="*/ 12867 w 139867"/>
              <a:gd name="connsiteY2" fmla="*/ 165100 h 247843"/>
              <a:gd name="connsiteX3" fmla="*/ 167 w 139867"/>
              <a:gd name="connsiteY3" fmla="*/ 152400 h 247843"/>
              <a:gd name="connsiteX4" fmla="*/ 35092 w 139867"/>
              <a:gd name="connsiteY4" fmla="*/ 82550 h 247843"/>
              <a:gd name="connsiteX5" fmla="*/ 41442 w 139867"/>
              <a:gd name="connsiteY5" fmla="*/ 41275 h 247843"/>
              <a:gd name="connsiteX6" fmla="*/ 44617 w 139867"/>
              <a:gd name="connsiteY6" fmla="*/ 25400 h 247843"/>
              <a:gd name="connsiteX7" fmla="*/ 50967 w 139867"/>
              <a:gd name="connsiteY7" fmla="*/ 6350 h 247843"/>
              <a:gd name="connsiteX8" fmla="*/ 60492 w 139867"/>
              <a:gd name="connsiteY8" fmla="*/ 0 h 247843"/>
              <a:gd name="connsiteX9" fmla="*/ 76367 w 139867"/>
              <a:gd name="connsiteY9" fmla="*/ 19050 h 247843"/>
              <a:gd name="connsiteX10" fmla="*/ 95417 w 139867"/>
              <a:gd name="connsiteY10" fmla="*/ 34925 h 247843"/>
              <a:gd name="connsiteX11" fmla="*/ 98592 w 139867"/>
              <a:gd name="connsiteY11" fmla="*/ 44450 h 247843"/>
              <a:gd name="connsiteX12" fmla="*/ 101767 w 139867"/>
              <a:gd name="connsiteY12" fmla="*/ 60325 h 247843"/>
              <a:gd name="connsiteX13" fmla="*/ 114467 w 139867"/>
              <a:gd name="connsiteY13" fmla="*/ 82550 h 247843"/>
              <a:gd name="connsiteX14" fmla="*/ 123992 w 139867"/>
              <a:gd name="connsiteY14" fmla="*/ 101600 h 247843"/>
              <a:gd name="connsiteX15" fmla="*/ 127167 w 139867"/>
              <a:gd name="connsiteY15" fmla="*/ 123825 h 247843"/>
              <a:gd name="connsiteX16" fmla="*/ 130342 w 139867"/>
              <a:gd name="connsiteY16" fmla="*/ 139700 h 247843"/>
              <a:gd name="connsiteX17" fmla="*/ 139867 w 139867"/>
              <a:gd name="connsiteY17" fmla="*/ 200025 h 247843"/>
              <a:gd name="connsiteX18" fmla="*/ 136692 w 139867"/>
              <a:gd name="connsiteY18" fmla="*/ 244475 h 247843"/>
              <a:gd name="connsiteX19" fmla="*/ 127167 w 139867"/>
              <a:gd name="connsiteY19" fmla="*/ 247650 h 247843"/>
              <a:gd name="connsiteX20" fmla="*/ 117642 w 139867"/>
              <a:gd name="connsiteY20" fmla="*/ 241300 h 247843"/>
              <a:gd name="connsiteX21" fmla="*/ 108117 w 139867"/>
              <a:gd name="connsiteY21" fmla="*/ 238125 h 247843"/>
              <a:gd name="connsiteX22" fmla="*/ 104942 w 139867"/>
              <a:gd name="connsiteY22" fmla="*/ 241300 h 24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867" h="247843">
                <a:moveTo>
                  <a:pt x="104942" y="241300"/>
                </a:moveTo>
                <a:lnTo>
                  <a:pt x="104942" y="241300"/>
                </a:lnTo>
                <a:cubicBezTo>
                  <a:pt x="74250" y="215900"/>
                  <a:pt x="43245" y="190875"/>
                  <a:pt x="12867" y="165100"/>
                </a:cubicBezTo>
                <a:cubicBezTo>
                  <a:pt x="8302" y="161227"/>
                  <a:pt x="-1389" y="158181"/>
                  <a:pt x="167" y="152400"/>
                </a:cubicBezTo>
                <a:cubicBezTo>
                  <a:pt x="6935" y="127264"/>
                  <a:pt x="23450" y="105833"/>
                  <a:pt x="35092" y="82550"/>
                </a:cubicBezTo>
                <a:cubicBezTo>
                  <a:pt x="40091" y="37560"/>
                  <a:pt x="35332" y="68772"/>
                  <a:pt x="41442" y="41275"/>
                </a:cubicBezTo>
                <a:cubicBezTo>
                  <a:pt x="42613" y="36007"/>
                  <a:pt x="43197" y="30606"/>
                  <a:pt x="44617" y="25400"/>
                </a:cubicBezTo>
                <a:cubicBezTo>
                  <a:pt x="46378" y="18942"/>
                  <a:pt x="45398" y="10063"/>
                  <a:pt x="50967" y="6350"/>
                </a:cubicBezTo>
                <a:lnTo>
                  <a:pt x="60492" y="0"/>
                </a:lnTo>
                <a:cubicBezTo>
                  <a:pt x="66736" y="9366"/>
                  <a:pt x="67200" y="11410"/>
                  <a:pt x="76367" y="19050"/>
                </a:cubicBezTo>
                <a:cubicBezTo>
                  <a:pt x="102889" y="41152"/>
                  <a:pt x="67590" y="7098"/>
                  <a:pt x="95417" y="34925"/>
                </a:cubicBezTo>
                <a:cubicBezTo>
                  <a:pt x="96475" y="38100"/>
                  <a:pt x="97780" y="41203"/>
                  <a:pt x="98592" y="44450"/>
                </a:cubicBezTo>
                <a:cubicBezTo>
                  <a:pt x="99901" y="49685"/>
                  <a:pt x="100060" y="55205"/>
                  <a:pt x="101767" y="60325"/>
                </a:cubicBezTo>
                <a:cubicBezTo>
                  <a:pt x="107333" y="77024"/>
                  <a:pt x="107499" y="68615"/>
                  <a:pt x="114467" y="82550"/>
                </a:cubicBezTo>
                <a:cubicBezTo>
                  <a:pt x="127612" y="108840"/>
                  <a:pt x="105794" y="74303"/>
                  <a:pt x="123992" y="101600"/>
                </a:cubicBezTo>
                <a:cubicBezTo>
                  <a:pt x="125050" y="109008"/>
                  <a:pt x="125937" y="116443"/>
                  <a:pt x="127167" y="123825"/>
                </a:cubicBezTo>
                <a:cubicBezTo>
                  <a:pt x="128054" y="129148"/>
                  <a:pt x="129500" y="134370"/>
                  <a:pt x="130342" y="139700"/>
                </a:cubicBezTo>
                <a:cubicBezTo>
                  <a:pt x="141012" y="207275"/>
                  <a:pt x="132474" y="163062"/>
                  <a:pt x="139867" y="200025"/>
                </a:cubicBezTo>
                <a:cubicBezTo>
                  <a:pt x="138809" y="214842"/>
                  <a:pt x="140519" y="230122"/>
                  <a:pt x="136692" y="244475"/>
                </a:cubicBezTo>
                <a:cubicBezTo>
                  <a:pt x="135830" y="247709"/>
                  <a:pt x="130468" y="248200"/>
                  <a:pt x="127167" y="247650"/>
                </a:cubicBezTo>
                <a:cubicBezTo>
                  <a:pt x="123403" y="247023"/>
                  <a:pt x="121055" y="243007"/>
                  <a:pt x="117642" y="241300"/>
                </a:cubicBezTo>
                <a:cubicBezTo>
                  <a:pt x="114649" y="239803"/>
                  <a:pt x="111292" y="239183"/>
                  <a:pt x="108117" y="238125"/>
                </a:cubicBezTo>
                <a:cubicBezTo>
                  <a:pt x="99419" y="225078"/>
                  <a:pt x="105471" y="240771"/>
                  <a:pt x="104942" y="2413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0" name="Freeform 439">
            <a:extLst>
              <a:ext uri="{FF2B5EF4-FFF2-40B4-BE49-F238E27FC236}">
                <a16:creationId xmlns:a16="http://schemas.microsoft.com/office/drawing/2014/main" id="{F04BFCE0-FD1A-44A7-4D34-F861B5ADCA2C}"/>
              </a:ext>
            </a:extLst>
          </p:cNvPr>
          <p:cNvSpPr/>
          <p:nvPr/>
        </p:nvSpPr>
        <p:spPr bwMode="gray">
          <a:xfrm>
            <a:off x="4098925" y="3954463"/>
            <a:ext cx="196850" cy="161925"/>
          </a:xfrm>
          <a:custGeom>
            <a:avLst/>
            <a:gdLst>
              <a:gd name="connsiteX0" fmla="*/ 127019 w 196869"/>
              <a:gd name="connsiteY0" fmla="*/ 104775 h 161925"/>
              <a:gd name="connsiteX1" fmla="*/ 127019 w 196869"/>
              <a:gd name="connsiteY1" fmla="*/ 104775 h 161925"/>
              <a:gd name="connsiteX2" fmla="*/ 98444 w 196869"/>
              <a:gd name="connsiteY2" fmla="*/ 85725 h 161925"/>
              <a:gd name="connsiteX3" fmla="*/ 57169 w 196869"/>
              <a:gd name="connsiteY3" fmla="*/ 111125 h 161925"/>
              <a:gd name="connsiteX4" fmla="*/ 50819 w 196869"/>
              <a:gd name="connsiteY4" fmla="*/ 101600 h 161925"/>
              <a:gd name="connsiteX5" fmla="*/ 41294 w 196869"/>
              <a:gd name="connsiteY5" fmla="*/ 73025 h 161925"/>
              <a:gd name="connsiteX6" fmla="*/ 22244 w 196869"/>
              <a:gd name="connsiteY6" fmla="*/ 82550 h 161925"/>
              <a:gd name="connsiteX7" fmla="*/ 12719 w 196869"/>
              <a:gd name="connsiteY7" fmla="*/ 79375 h 161925"/>
              <a:gd name="connsiteX8" fmla="*/ 9544 w 196869"/>
              <a:gd name="connsiteY8" fmla="*/ 66675 h 161925"/>
              <a:gd name="connsiteX9" fmla="*/ 3194 w 196869"/>
              <a:gd name="connsiteY9" fmla="*/ 47625 h 161925"/>
              <a:gd name="connsiteX10" fmla="*/ 19 w 196869"/>
              <a:gd name="connsiteY10" fmla="*/ 31750 h 161925"/>
              <a:gd name="connsiteX11" fmla="*/ 12719 w 196869"/>
              <a:gd name="connsiteY11" fmla="*/ 0 h 161925"/>
              <a:gd name="connsiteX12" fmla="*/ 25419 w 196869"/>
              <a:gd name="connsiteY12" fmla="*/ 3175 h 161925"/>
              <a:gd name="connsiteX13" fmla="*/ 34944 w 196869"/>
              <a:gd name="connsiteY13" fmla="*/ 9525 h 161925"/>
              <a:gd name="connsiteX14" fmla="*/ 57169 w 196869"/>
              <a:gd name="connsiteY14" fmla="*/ 25400 h 161925"/>
              <a:gd name="connsiteX15" fmla="*/ 82569 w 196869"/>
              <a:gd name="connsiteY15" fmla="*/ 31750 h 161925"/>
              <a:gd name="connsiteX16" fmla="*/ 111144 w 196869"/>
              <a:gd name="connsiteY16" fmla="*/ 28575 h 161925"/>
              <a:gd name="connsiteX17" fmla="*/ 130194 w 196869"/>
              <a:gd name="connsiteY17" fmla="*/ 15875 h 161925"/>
              <a:gd name="connsiteX18" fmla="*/ 139719 w 196869"/>
              <a:gd name="connsiteY18" fmla="*/ 9525 h 161925"/>
              <a:gd name="connsiteX19" fmla="*/ 158769 w 196869"/>
              <a:gd name="connsiteY19" fmla="*/ 12700 h 161925"/>
              <a:gd name="connsiteX20" fmla="*/ 180994 w 196869"/>
              <a:gd name="connsiteY20" fmla="*/ 38100 h 161925"/>
              <a:gd name="connsiteX21" fmla="*/ 190519 w 196869"/>
              <a:gd name="connsiteY21" fmla="*/ 57150 h 161925"/>
              <a:gd name="connsiteX22" fmla="*/ 171469 w 196869"/>
              <a:gd name="connsiteY22" fmla="*/ 63500 h 161925"/>
              <a:gd name="connsiteX23" fmla="*/ 161944 w 196869"/>
              <a:gd name="connsiteY23" fmla="*/ 66675 h 161925"/>
              <a:gd name="connsiteX24" fmla="*/ 158769 w 196869"/>
              <a:gd name="connsiteY24" fmla="*/ 76200 h 161925"/>
              <a:gd name="connsiteX25" fmla="*/ 168294 w 196869"/>
              <a:gd name="connsiteY25" fmla="*/ 107950 h 161925"/>
              <a:gd name="connsiteX26" fmla="*/ 177819 w 196869"/>
              <a:gd name="connsiteY26" fmla="*/ 127000 h 161925"/>
              <a:gd name="connsiteX27" fmla="*/ 187344 w 196869"/>
              <a:gd name="connsiteY27" fmla="*/ 133350 h 161925"/>
              <a:gd name="connsiteX28" fmla="*/ 196869 w 196869"/>
              <a:gd name="connsiteY28" fmla="*/ 152400 h 161925"/>
              <a:gd name="connsiteX29" fmla="*/ 193694 w 196869"/>
              <a:gd name="connsiteY29" fmla="*/ 161925 h 161925"/>
              <a:gd name="connsiteX30" fmla="*/ 171469 w 196869"/>
              <a:gd name="connsiteY30" fmla="*/ 158750 h 161925"/>
              <a:gd name="connsiteX31" fmla="*/ 165119 w 196869"/>
              <a:gd name="connsiteY31" fmla="*/ 149225 h 161925"/>
              <a:gd name="connsiteX32" fmla="*/ 155594 w 196869"/>
              <a:gd name="connsiteY32" fmla="*/ 130175 h 161925"/>
              <a:gd name="connsiteX33" fmla="*/ 146069 w 196869"/>
              <a:gd name="connsiteY33" fmla="*/ 123825 h 161925"/>
              <a:gd name="connsiteX34" fmla="*/ 136544 w 196869"/>
              <a:gd name="connsiteY34" fmla="*/ 114300 h 161925"/>
              <a:gd name="connsiteX35" fmla="*/ 127019 w 196869"/>
              <a:gd name="connsiteY35" fmla="*/ 10477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6869" h="161925">
                <a:moveTo>
                  <a:pt x="127019" y="104775"/>
                </a:moveTo>
                <a:lnTo>
                  <a:pt x="127019" y="104775"/>
                </a:lnTo>
                <a:cubicBezTo>
                  <a:pt x="117494" y="98425"/>
                  <a:pt x="109845" y="84689"/>
                  <a:pt x="98444" y="85725"/>
                </a:cubicBezTo>
                <a:cubicBezTo>
                  <a:pt x="82356" y="87188"/>
                  <a:pt x="72495" y="106016"/>
                  <a:pt x="57169" y="111125"/>
                </a:cubicBezTo>
                <a:cubicBezTo>
                  <a:pt x="53549" y="112332"/>
                  <a:pt x="52287" y="105122"/>
                  <a:pt x="50819" y="101600"/>
                </a:cubicBezTo>
                <a:cubicBezTo>
                  <a:pt x="46957" y="92332"/>
                  <a:pt x="44469" y="82550"/>
                  <a:pt x="41294" y="73025"/>
                </a:cubicBezTo>
                <a:cubicBezTo>
                  <a:pt x="36478" y="76236"/>
                  <a:pt x="28817" y="82550"/>
                  <a:pt x="22244" y="82550"/>
                </a:cubicBezTo>
                <a:cubicBezTo>
                  <a:pt x="18897" y="82550"/>
                  <a:pt x="15894" y="80433"/>
                  <a:pt x="12719" y="79375"/>
                </a:cubicBezTo>
                <a:cubicBezTo>
                  <a:pt x="11661" y="75142"/>
                  <a:pt x="10798" y="70855"/>
                  <a:pt x="9544" y="66675"/>
                </a:cubicBezTo>
                <a:cubicBezTo>
                  <a:pt x="7621" y="60264"/>
                  <a:pt x="4507" y="54189"/>
                  <a:pt x="3194" y="47625"/>
                </a:cubicBezTo>
                <a:lnTo>
                  <a:pt x="19" y="31750"/>
                </a:lnTo>
                <a:cubicBezTo>
                  <a:pt x="1589" y="17619"/>
                  <a:pt x="-5208" y="0"/>
                  <a:pt x="12719" y="0"/>
                </a:cubicBezTo>
                <a:cubicBezTo>
                  <a:pt x="17083" y="0"/>
                  <a:pt x="21186" y="2117"/>
                  <a:pt x="25419" y="3175"/>
                </a:cubicBezTo>
                <a:cubicBezTo>
                  <a:pt x="28594" y="5292"/>
                  <a:pt x="32013" y="7082"/>
                  <a:pt x="34944" y="9525"/>
                </a:cubicBezTo>
                <a:cubicBezTo>
                  <a:pt x="46820" y="19422"/>
                  <a:pt x="41502" y="20178"/>
                  <a:pt x="57169" y="25400"/>
                </a:cubicBezTo>
                <a:cubicBezTo>
                  <a:pt x="65448" y="28160"/>
                  <a:pt x="82569" y="31750"/>
                  <a:pt x="82569" y="31750"/>
                </a:cubicBezTo>
                <a:cubicBezTo>
                  <a:pt x="92094" y="30692"/>
                  <a:pt x="102052" y="31606"/>
                  <a:pt x="111144" y="28575"/>
                </a:cubicBezTo>
                <a:cubicBezTo>
                  <a:pt x="118384" y="26162"/>
                  <a:pt x="123844" y="20108"/>
                  <a:pt x="130194" y="15875"/>
                </a:cubicBezTo>
                <a:lnTo>
                  <a:pt x="139719" y="9525"/>
                </a:lnTo>
                <a:cubicBezTo>
                  <a:pt x="146069" y="10583"/>
                  <a:pt x="152662" y="10664"/>
                  <a:pt x="158769" y="12700"/>
                </a:cubicBezTo>
                <a:cubicBezTo>
                  <a:pt x="170108" y="16480"/>
                  <a:pt x="175249" y="29482"/>
                  <a:pt x="180994" y="38100"/>
                </a:cubicBezTo>
                <a:cubicBezTo>
                  <a:pt x="189200" y="50410"/>
                  <a:pt x="186137" y="44005"/>
                  <a:pt x="190519" y="57150"/>
                </a:cubicBezTo>
                <a:lnTo>
                  <a:pt x="171469" y="63500"/>
                </a:lnTo>
                <a:lnTo>
                  <a:pt x="161944" y="66675"/>
                </a:lnTo>
                <a:cubicBezTo>
                  <a:pt x="160886" y="69850"/>
                  <a:pt x="158769" y="72853"/>
                  <a:pt x="158769" y="76200"/>
                </a:cubicBezTo>
                <a:cubicBezTo>
                  <a:pt x="158769" y="80998"/>
                  <a:pt x="167925" y="106842"/>
                  <a:pt x="168294" y="107950"/>
                </a:cubicBezTo>
                <a:cubicBezTo>
                  <a:pt x="170876" y="115697"/>
                  <a:pt x="171664" y="120845"/>
                  <a:pt x="177819" y="127000"/>
                </a:cubicBezTo>
                <a:cubicBezTo>
                  <a:pt x="180517" y="129698"/>
                  <a:pt x="184169" y="131233"/>
                  <a:pt x="187344" y="133350"/>
                </a:cubicBezTo>
                <a:cubicBezTo>
                  <a:pt x="190555" y="138166"/>
                  <a:pt x="196869" y="145827"/>
                  <a:pt x="196869" y="152400"/>
                </a:cubicBezTo>
                <a:cubicBezTo>
                  <a:pt x="196869" y="155747"/>
                  <a:pt x="194752" y="158750"/>
                  <a:pt x="193694" y="161925"/>
                </a:cubicBezTo>
                <a:cubicBezTo>
                  <a:pt x="186286" y="160867"/>
                  <a:pt x="178308" y="161789"/>
                  <a:pt x="171469" y="158750"/>
                </a:cubicBezTo>
                <a:cubicBezTo>
                  <a:pt x="167982" y="157200"/>
                  <a:pt x="166826" y="152638"/>
                  <a:pt x="165119" y="149225"/>
                </a:cubicBezTo>
                <a:cubicBezTo>
                  <a:pt x="159954" y="138896"/>
                  <a:pt x="164693" y="139274"/>
                  <a:pt x="155594" y="130175"/>
                </a:cubicBezTo>
                <a:cubicBezTo>
                  <a:pt x="152896" y="127477"/>
                  <a:pt x="149000" y="126268"/>
                  <a:pt x="146069" y="123825"/>
                </a:cubicBezTo>
                <a:cubicBezTo>
                  <a:pt x="142620" y="120950"/>
                  <a:pt x="140280" y="116791"/>
                  <a:pt x="136544" y="114300"/>
                </a:cubicBezTo>
                <a:cubicBezTo>
                  <a:pt x="111814" y="97814"/>
                  <a:pt x="128606" y="106362"/>
                  <a:pt x="127019" y="104775"/>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1" name="Freeform 440">
            <a:extLst>
              <a:ext uri="{FF2B5EF4-FFF2-40B4-BE49-F238E27FC236}">
                <a16:creationId xmlns:a16="http://schemas.microsoft.com/office/drawing/2014/main" id="{B36CFB60-E9AD-20C2-C875-565DB032EAE8}"/>
              </a:ext>
            </a:extLst>
          </p:cNvPr>
          <p:cNvSpPr/>
          <p:nvPr/>
        </p:nvSpPr>
        <p:spPr bwMode="gray">
          <a:xfrm>
            <a:off x="4502151" y="3817938"/>
            <a:ext cx="79375" cy="187325"/>
          </a:xfrm>
          <a:custGeom>
            <a:avLst/>
            <a:gdLst>
              <a:gd name="connsiteX0" fmla="*/ 66979 w 79898"/>
              <a:gd name="connsiteY0" fmla="*/ 187325 h 187325"/>
              <a:gd name="connsiteX1" fmla="*/ 66979 w 79898"/>
              <a:gd name="connsiteY1" fmla="*/ 187325 h 187325"/>
              <a:gd name="connsiteX2" fmla="*/ 3479 w 79898"/>
              <a:gd name="connsiteY2" fmla="*/ 120650 h 187325"/>
              <a:gd name="connsiteX3" fmla="*/ 304 w 79898"/>
              <a:gd name="connsiteY3" fmla="*/ 107950 h 187325"/>
              <a:gd name="connsiteX4" fmla="*/ 22529 w 79898"/>
              <a:gd name="connsiteY4" fmla="*/ 34925 h 187325"/>
              <a:gd name="connsiteX5" fmla="*/ 25704 w 79898"/>
              <a:gd name="connsiteY5" fmla="*/ 22225 h 187325"/>
              <a:gd name="connsiteX6" fmla="*/ 47929 w 79898"/>
              <a:gd name="connsiteY6" fmla="*/ 0 h 187325"/>
              <a:gd name="connsiteX7" fmla="*/ 57454 w 79898"/>
              <a:gd name="connsiteY7" fmla="*/ 3175 h 187325"/>
              <a:gd name="connsiteX8" fmla="*/ 63804 w 79898"/>
              <a:gd name="connsiteY8" fmla="*/ 28575 h 187325"/>
              <a:gd name="connsiteX9" fmla="*/ 73329 w 79898"/>
              <a:gd name="connsiteY9" fmla="*/ 34925 h 187325"/>
              <a:gd name="connsiteX10" fmla="*/ 79679 w 79898"/>
              <a:gd name="connsiteY10" fmla="*/ 44450 h 187325"/>
              <a:gd name="connsiteX11" fmla="*/ 76504 w 79898"/>
              <a:gd name="connsiteY11" fmla="*/ 63500 h 187325"/>
              <a:gd name="connsiteX12" fmla="*/ 57454 w 79898"/>
              <a:gd name="connsiteY12" fmla="*/ 73025 h 187325"/>
              <a:gd name="connsiteX13" fmla="*/ 66979 w 79898"/>
              <a:gd name="connsiteY13" fmla="*/ 79375 h 187325"/>
              <a:gd name="connsiteX14" fmla="*/ 73329 w 79898"/>
              <a:gd name="connsiteY14" fmla="*/ 88900 h 187325"/>
              <a:gd name="connsiteX15" fmla="*/ 60629 w 79898"/>
              <a:gd name="connsiteY15" fmla="*/ 107950 h 187325"/>
              <a:gd name="connsiteX16" fmla="*/ 51104 w 79898"/>
              <a:gd name="connsiteY16" fmla="*/ 117475 h 187325"/>
              <a:gd name="connsiteX17" fmla="*/ 44754 w 79898"/>
              <a:gd name="connsiteY17" fmla="*/ 130175 h 187325"/>
              <a:gd name="connsiteX18" fmla="*/ 35229 w 79898"/>
              <a:gd name="connsiteY18" fmla="*/ 149225 h 187325"/>
              <a:gd name="connsiteX19" fmla="*/ 38404 w 79898"/>
              <a:gd name="connsiteY19" fmla="*/ 158750 h 187325"/>
              <a:gd name="connsiteX20" fmla="*/ 66979 w 79898"/>
              <a:gd name="connsiteY20" fmla="*/ 187325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898" h="187325">
                <a:moveTo>
                  <a:pt x="66979" y="187325"/>
                </a:moveTo>
                <a:lnTo>
                  <a:pt x="66979" y="187325"/>
                </a:lnTo>
                <a:cubicBezTo>
                  <a:pt x="45812" y="165100"/>
                  <a:pt x="23220" y="144151"/>
                  <a:pt x="3479" y="120650"/>
                </a:cubicBezTo>
                <a:cubicBezTo>
                  <a:pt x="672" y="117309"/>
                  <a:pt x="-643" y="112210"/>
                  <a:pt x="304" y="107950"/>
                </a:cubicBezTo>
                <a:cubicBezTo>
                  <a:pt x="5824" y="83112"/>
                  <a:pt x="15301" y="59321"/>
                  <a:pt x="22529" y="34925"/>
                </a:cubicBezTo>
                <a:cubicBezTo>
                  <a:pt x="23769" y="30741"/>
                  <a:pt x="23137" y="25754"/>
                  <a:pt x="25704" y="22225"/>
                </a:cubicBezTo>
                <a:cubicBezTo>
                  <a:pt x="31866" y="13752"/>
                  <a:pt x="47929" y="0"/>
                  <a:pt x="47929" y="0"/>
                </a:cubicBezTo>
                <a:cubicBezTo>
                  <a:pt x="51104" y="1058"/>
                  <a:pt x="55598" y="390"/>
                  <a:pt x="57454" y="3175"/>
                </a:cubicBezTo>
                <a:cubicBezTo>
                  <a:pt x="59826" y="6733"/>
                  <a:pt x="59828" y="23605"/>
                  <a:pt x="63804" y="28575"/>
                </a:cubicBezTo>
                <a:cubicBezTo>
                  <a:pt x="66188" y="31555"/>
                  <a:pt x="70154" y="32808"/>
                  <a:pt x="73329" y="34925"/>
                </a:cubicBezTo>
                <a:cubicBezTo>
                  <a:pt x="75446" y="38100"/>
                  <a:pt x="79258" y="40657"/>
                  <a:pt x="79679" y="44450"/>
                </a:cubicBezTo>
                <a:cubicBezTo>
                  <a:pt x="80390" y="50848"/>
                  <a:pt x="79383" y="57742"/>
                  <a:pt x="76504" y="63500"/>
                </a:cubicBezTo>
                <a:cubicBezTo>
                  <a:pt x="74042" y="68424"/>
                  <a:pt x="61962" y="71522"/>
                  <a:pt x="57454" y="73025"/>
                </a:cubicBezTo>
                <a:cubicBezTo>
                  <a:pt x="60629" y="75142"/>
                  <a:pt x="64281" y="76677"/>
                  <a:pt x="66979" y="79375"/>
                </a:cubicBezTo>
                <a:cubicBezTo>
                  <a:pt x="69677" y="82073"/>
                  <a:pt x="72789" y="85122"/>
                  <a:pt x="73329" y="88900"/>
                </a:cubicBezTo>
                <a:cubicBezTo>
                  <a:pt x="75307" y="102744"/>
                  <a:pt x="68470" y="101416"/>
                  <a:pt x="60629" y="107950"/>
                </a:cubicBezTo>
                <a:cubicBezTo>
                  <a:pt x="57180" y="110825"/>
                  <a:pt x="53714" y="113821"/>
                  <a:pt x="51104" y="117475"/>
                </a:cubicBezTo>
                <a:cubicBezTo>
                  <a:pt x="48353" y="121326"/>
                  <a:pt x="47102" y="126066"/>
                  <a:pt x="44754" y="130175"/>
                </a:cubicBezTo>
                <a:cubicBezTo>
                  <a:pt x="34906" y="147409"/>
                  <a:pt x="41050" y="131761"/>
                  <a:pt x="35229" y="149225"/>
                </a:cubicBezTo>
                <a:cubicBezTo>
                  <a:pt x="36287" y="152400"/>
                  <a:pt x="35791" y="156659"/>
                  <a:pt x="38404" y="158750"/>
                </a:cubicBezTo>
                <a:cubicBezTo>
                  <a:pt x="52131" y="169731"/>
                  <a:pt x="62217" y="182563"/>
                  <a:pt x="66979" y="1873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2" name="Freeform 441">
            <a:extLst>
              <a:ext uri="{FF2B5EF4-FFF2-40B4-BE49-F238E27FC236}">
                <a16:creationId xmlns:a16="http://schemas.microsoft.com/office/drawing/2014/main" id="{FBFD3F6A-AF0A-AB51-2B08-C91DCF52C781}"/>
              </a:ext>
            </a:extLst>
          </p:cNvPr>
          <p:cNvSpPr/>
          <p:nvPr/>
        </p:nvSpPr>
        <p:spPr bwMode="gray">
          <a:xfrm>
            <a:off x="4805363" y="3773488"/>
            <a:ext cx="157163" cy="190500"/>
          </a:xfrm>
          <a:custGeom>
            <a:avLst/>
            <a:gdLst>
              <a:gd name="connsiteX0" fmla="*/ 134320 w 156545"/>
              <a:gd name="connsiteY0" fmla="*/ 0 h 190780"/>
              <a:gd name="connsiteX1" fmla="*/ 134320 w 156545"/>
              <a:gd name="connsiteY1" fmla="*/ 0 h 190780"/>
              <a:gd name="connsiteX2" fmla="*/ 48595 w 156545"/>
              <a:gd name="connsiteY2" fmla="*/ 136525 h 190780"/>
              <a:gd name="connsiteX3" fmla="*/ 39070 w 156545"/>
              <a:gd name="connsiteY3" fmla="*/ 142875 h 190780"/>
              <a:gd name="connsiteX4" fmla="*/ 32720 w 156545"/>
              <a:gd name="connsiteY4" fmla="*/ 152400 h 190780"/>
              <a:gd name="connsiteX5" fmla="*/ 26370 w 156545"/>
              <a:gd name="connsiteY5" fmla="*/ 171450 h 190780"/>
              <a:gd name="connsiteX6" fmla="*/ 7320 w 156545"/>
              <a:gd name="connsiteY6" fmla="*/ 180975 h 190780"/>
              <a:gd name="connsiteX7" fmla="*/ 970 w 156545"/>
              <a:gd name="connsiteY7" fmla="*/ 190500 h 190780"/>
              <a:gd name="connsiteX8" fmla="*/ 20020 w 156545"/>
              <a:gd name="connsiteY8" fmla="*/ 184150 h 190780"/>
              <a:gd name="connsiteX9" fmla="*/ 39070 w 156545"/>
              <a:gd name="connsiteY9" fmla="*/ 174625 h 190780"/>
              <a:gd name="connsiteX10" fmla="*/ 58120 w 156545"/>
              <a:gd name="connsiteY10" fmla="*/ 168275 h 190780"/>
              <a:gd name="connsiteX11" fmla="*/ 67645 w 156545"/>
              <a:gd name="connsiteY11" fmla="*/ 174625 h 190780"/>
              <a:gd name="connsiteX12" fmla="*/ 86695 w 156545"/>
              <a:gd name="connsiteY12" fmla="*/ 165100 h 190780"/>
              <a:gd name="connsiteX13" fmla="*/ 89870 w 156545"/>
              <a:gd name="connsiteY13" fmla="*/ 155575 h 190780"/>
              <a:gd name="connsiteX14" fmla="*/ 102570 w 156545"/>
              <a:gd name="connsiteY14" fmla="*/ 136525 h 190780"/>
              <a:gd name="connsiteX15" fmla="*/ 115270 w 156545"/>
              <a:gd name="connsiteY15" fmla="*/ 117475 h 190780"/>
              <a:gd name="connsiteX16" fmla="*/ 118445 w 156545"/>
              <a:gd name="connsiteY16" fmla="*/ 107950 h 190780"/>
              <a:gd name="connsiteX17" fmla="*/ 124795 w 156545"/>
              <a:gd name="connsiteY17" fmla="*/ 98425 h 190780"/>
              <a:gd name="connsiteX18" fmla="*/ 121620 w 156545"/>
              <a:gd name="connsiteY18" fmla="*/ 53975 h 190780"/>
              <a:gd name="connsiteX19" fmla="*/ 124795 w 156545"/>
              <a:gd name="connsiteY19" fmla="*/ 44450 h 190780"/>
              <a:gd name="connsiteX20" fmla="*/ 147020 w 156545"/>
              <a:gd name="connsiteY20" fmla="*/ 41275 h 190780"/>
              <a:gd name="connsiteX21" fmla="*/ 156545 w 156545"/>
              <a:gd name="connsiteY21" fmla="*/ 38100 h 190780"/>
              <a:gd name="connsiteX22" fmla="*/ 153370 w 156545"/>
              <a:gd name="connsiteY22" fmla="*/ 12700 h 190780"/>
              <a:gd name="connsiteX23" fmla="*/ 143845 w 156545"/>
              <a:gd name="connsiteY23" fmla="*/ 9525 h 190780"/>
              <a:gd name="connsiteX24" fmla="*/ 124795 w 156545"/>
              <a:gd name="connsiteY24" fmla="*/ 19050 h 190780"/>
              <a:gd name="connsiteX25" fmla="*/ 134320 w 156545"/>
              <a:gd name="connsiteY25" fmla="*/ 0 h 19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6545" h="190780">
                <a:moveTo>
                  <a:pt x="134320" y="0"/>
                </a:moveTo>
                <a:lnTo>
                  <a:pt x="134320" y="0"/>
                </a:lnTo>
                <a:cubicBezTo>
                  <a:pt x="105745" y="45508"/>
                  <a:pt x="78402" y="91814"/>
                  <a:pt x="48595" y="136525"/>
                </a:cubicBezTo>
                <a:cubicBezTo>
                  <a:pt x="46478" y="139700"/>
                  <a:pt x="41768" y="140177"/>
                  <a:pt x="39070" y="142875"/>
                </a:cubicBezTo>
                <a:cubicBezTo>
                  <a:pt x="36372" y="145573"/>
                  <a:pt x="34270" y="148913"/>
                  <a:pt x="32720" y="152400"/>
                </a:cubicBezTo>
                <a:cubicBezTo>
                  <a:pt x="30002" y="158517"/>
                  <a:pt x="31939" y="167737"/>
                  <a:pt x="26370" y="171450"/>
                </a:cubicBezTo>
                <a:cubicBezTo>
                  <a:pt x="14060" y="179656"/>
                  <a:pt x="20465" y="176593"/>
                  <a:pt x="7320" y="180975"/>
                </a:cubicBezTo>
                <a:cubicBezTo>
                  <a:pt x="5203" y="184150"/>
                  <a:pt x="-2732" y="189575"/>
                  <a:pt x="970" y="190500"/>
                </a:cubicBezTo>
                <a:cubicBezTo>
                  <a:pt x="7464" y="192123"/>
                  <a:pt x="13670" y="186267"/>
                  <a:pt x="20020" y="184150"/>
                </a:cubicBezTo>
                <a:cubicBezTo>
                  <a:pt x="54758" y="172571"/>
                  <a:pt x="2141" y="191038"/>
                  <a:pt x="39070" y="174625"/>
                </a:cubicBezTo>
                <a:cubicBezTo>
                  <a:pt x="45187" y="171907"/>
                  <a:pt x="58120" y="168275"/>
                  <a:pt x="58120" y="168275"/>
                </a:cubicBezTo>
                <a:cubicBezTo>
                  <a:pt x="61295" y="170392"/>
                  <a:pt x="63881" y="173998"/>
                  <a:pt x="67645" y="174625"/>
                </a:cubicBezTo>
                <a:cubicBezTo>
                  <a:pt x="72903" y="175501"/>
                  <a:pt x="83378" y="167311"/>
                  <a:pt x="86695" y="165100"/>
                </a:cubicBezTo>
                <a:cubicBezTo>
                  <a:pt x="87753" y="161925"/>
                  <a:pt x="88245" y="158501"/>
                  <a:pt x="89870" y="155575"/>
                </a:cubicBezTo>
                <a:cubicBezTo>
                  <a:pt x="93576" y="148904"/>
                  <a:pt x="100157" y="143765"/>
                  <a:pt x="102570" y="136525"/>
                </a:cubicBezTo>
                <a:cubicBezTo>
                  <a:pt x="107165" y="122740"/>
                  <a:pt x="103378" y="129367"/>
                  <a:pt x="115270" y="117475"/>
                </a:cubicBezTo>
                <a:cubicBezTo>
                  <a:pt x="116328" y="114300"/>
                  <a:pt x="116948" y="110943"/>
                  <a:pt x="118445" y="107950"/>
                </a:cubicBezTo>
                <a:cubicBezTo>
                  <a:pt x="120152" y="104537"/>
                  <a:pt x="124571" y="102234"/>
                  <a:pt x="124795" y="98425"/>
                </a:cubicBezTo>
                <a:cubicBezTo>
                  <a:pt x="125667" y="83596"/>
                  <a:pt x="122678" y="68792"/>
                  <a:pt x="121620" y="53975"/>
                </a:cubicBezTo>
                <a:cubicBezTo>
                  <a:pt x="122678" y="50800"/>
                  <a:pt x="121802" y="45947"/>
                  <a:pt x="124795" y="44450"/>
                </a:cubicBezTo>
                <a:cubicBezTo>
                  <a:pt x="131488" y="41103"/>
                  <a:pt x="139682" y="42743"/>
                  <a:pt x="147020" y="41275"/>
                </a:cubicBezTo>
                <a:cubicBezTo>
                  <a:pt x="150302" y="40619"/>
                  <a:pt x="153370" y="39158"/>
                  <a:pt x="156545" y="38100"/>
                </a:cubicBezTo>
                <a:cubicBezTo>
                  <a:pt x="155487" y="29633"/>
                  <a:pt x="156835" y="20497"/>
                  <a:pt x="153370" y="12700"/>
                </a:cubicBezTo>
                <a:cubicBezTo>
                  <a:pt x="152011" y="9642"/>
                  <a:pt x="147192" y="9525"/>
                  <a:pt x="143845" y="9525"/>
                </a:cubicBezTo>
                <a:cubicBezTo>
                  <a:pt x="135865" y="9525"/>
                  <a:pt x="131216" y="15839"/>
                  <a:pt x="124795" y="19050"/>
                </a:cubicBezTo>
                <a:cubicBezTo>
                  <a:pt x="123848" y="19523"/>
                  <a:pt x="132733" y="3175"/>
                  <a:pt x="13432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3" name="Freeform 442">
            <a:extLst>
              <a:ext uri="{FF2B5EF4-FFF2-40B4-BE49-F238E27FC236}">
                <a16:creationId xmlns:a16="http://schemas.microsoft.com/office/drawing/2014/main" id="{0C7EA487-0715-528F-AE59-EF69B576B252}"/>
              </a:ext>
            </a:extLst>
          </p:cNvPr>
          <p:cNvSpPr/>
          <p:nvPr/>
        </p:nvSpPr>
        <p:spPr bwMode="gray">
          <a:xfrm>
            <a:off x="4129088" y="4005262"/>
            <a:ext cx="80963" cy="58738"/>
          </a:xfrm>
          <a:custGeom>
            <a:avLst/>
            <a:gdLst>
              <a:gd name="connsiteX0" fmla="*/ 37135 w 81621"/>
              <a:gd name="connsiteY0" fmla="*/ 0 h 58049"/>
              <a:gd name="connsiteX1" fmla="*/ 37135 w 81621"/>
              <a:gd name="connsiteY1" fmla="*/ 0 h 58049"/>
              <a:gd name="connsiteX2" fmla="*/ 27610 w 81621"/>
              <a:gd name="connsiteY2" fmla="*/ 34925 h 58049"/>
              <a:gd name="connsiteX3" fmla="*/ 65710 w 81621"/>
              <a:gd name="connsiteY3" fmla="*/ 25400 h 58049"/>
              <a:gd name="connsiteX4" fmla="*/ 72060 w 81621"/>
              <a:gd name="connsiteY4" fmla="*/ 15875 h 58049"/>
              <a:gd name="connsiteX5" fmla="*/ 72060 w 81621"/>
              <a:gd name="connsiteY5" fmla="*/ 6350 h 58049"/>
              <a:gd name="connsiteX6" fmla="*/ 53010 w 81621"/>
              <a:gd name="connsiteY6" fmla="*/ 9525 h 58049"/>
              <a:gd name="connsiteX7" fmla="*/ 43485 w 81621"/>
              <a:gd name="connsiteY7" fmla="*/ 12700 h 58049"/>
              <a:gd name="connsiteX8" fmla="*/ 37135 w 81621"/>
              <a:gd name="connsiteY8" fmla="*/ 0 h 5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21" h="58049">
                <a:moveTo>
                  <a:pt x="37135" y="0"/>
                </a:moveTo>
                <a:lnTo>
                  <a:pt x="37135" y="0"/>
                </a:lnTo>
                <a:cubicBezTo>
                  <a:pt x="33960" y="11642"/>
                  <a:pt x="33006" y="24132"/>
                  <a:pt x="27610" y="34925"/>
                </a:cubicBezTo>
                <a:cubicBezTo>
                  <a:pt x="17248" y="55649"/>
                  <a:pt x="-47043" y="78460"/>
                  <a:pt x="65710" y="25400"/>
                </a:cubicBezTo>
                <a:cubicBezTo>
                  <a:pt x="67827" y="22225"/>
                  <a:pt x="69362" y="18573"/>
                  <a:pt x="72060" y="15875"/>
                </a:cubicBezTo>
                <a:cubicBezTo>
                  <a:pt x="81292" y="6643"/>
                  <a:pt x="87904" y="11631"/>
                  <a:pt x="72060" y="6350"/>
                </a:cubicBezTo>
                <a:cubicBezTo>
                  <a:pt x="65710" y="7408"/>
                  <a:pt x="59294" y="8128"/>
                  <a:pt x="53010" y="9525"/>
                </a:cubicBezTo>
                <a:cubicBezTo>
                  <a:pt x="49743" y="10251"/>
                  <a:pt x="46786" y="13250"/>
                  <a:pt x="43485" y="12700"/>
                </a:cubicBezTo>
                <a:cubicBezTo>
                  <a:pt x="39177" y="11982"/>
                  <a:pt x="38193" y="2117"/>
                  <a:pt x="37135"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4" name="Freeform 443">
            <a:extLst>
              <a:ext uri="{FF2B5EF4-FFF2-40B4-BE49-F238E27FC236}">
                <a16:creationId xmlns:a16="http://schemas.microsoft.com/office/drawing/2014/main" id="{6BC2A37E-8D2D-CE22-A253-D30FE8EBA549}"/>
              </a:ext>
            </a:extLst>
          </p:cNvPr>
          <p:cNvSpPr/>
          <p:nvPr/>
        </p:nvSpPr>
        <p:spPr bwMode="gray">
          <a:xfrm>
            <a:off x="4470401" y="4443413"/>
            <a:ext cx="104775" cy="107950"/>
          </a:xfrm>
          <a:custGeom>
            <a:avLst/>
            <a:gdLst>
              <a:gd name="connsiteX0" fmla="*/ 76200 w 105500"/>
              <a:gd name="connsiteY0" fmla="*/ 0 h 107950"/>
              <a:gd name="connsiteX1" fmla="*/ 76200 w 105500"/>
              <a:gd name="connsiteY1" fmla="*/ 0 h 107950"/>
              <a:gd name="connsiteX2" fmla="*/ 101600 w 105500"/>
              <a:gd name="connsiteY2" fmla="*/ 66675 h 107950"/>
              <a:gd name="connsiteX3" fmla="*/ 104775 w 105500"/>
              <a:gd name="connsiteY3" fmla="*/ 76200 h 107950"/>
              <a:gd name="connsiteX4" fmla="*/ 57150 w 105500"/>
              <a:gd name="connsiteY4" fmla="*/ 107950 h 107950"/>
              <a:gd name="connsiteX5" fmla="*/ 3175 w 105500"/>
              <a:gd name="connsiteY5" fmla="*/ 60325 h 107950"/>
              <a:gd name="connsiteX6" fmla="*/ 0 w 105500"/>
              <a:gd name="connsiteY6" fmla="*/ 50800 h 107950"/>
              <a:gd name="connsiteX7" fmla="*/ 19050 w 105500"/>
              <a:gd name="connsiteY7" fmla="*/ 44450 h 107950"/>
              <a:gd name="connsiteX8" fmla="*/ 28575 w 105500"/>
              <a:gd name="connsiteY8" fmla="*/ 34925 h 107950"/>
              <a:gd name="connsiteX9" fmla="*/ 47625 w 105500"/>
              <a:gd name="connsiteY9" fmla="*/ 19050 h 107950"/>
              <a:gd name="connsiteX10" fmla="*/ 50800 w 105500"/>
              <a:gd name="connsiteY10" fmla="*/ 9525 h 107950"/>
              <a:gd name="connsiteX11" fmla="*/ 76200 w 105500"/>
              <a:gd name="connsiteY11"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500" h="107950">
                <a:moveTo>
                  <a:pt x="76200" y="0"/>
                </a:moveTo>
                <a:lnTo>
                  <a:pt x="76200" y="0"/>
                </a:lnTo>
                <a:cubicBezTo>
                  <a:pt x="84667" y="22225"/>
                  <a:pt x="93249" y="44406"/>
                  <a:pt x="101600" y="66675"/>
                </a:cubicBezTo>
                <a:cubicBezTo>
                  <a:pt x="102775" y="69809"/>
                  <a:pt x="107227" y="73923"/>
                  <a:pt x="104775" y="76200"/>
                </a:cubicBezTo>
                <a:cubicBezTo>
                  <a:pt x="90794" y="89183"/>
                  <a:pt x="73025" y="97367"/>
                  <a:pt x="57150" y="107950"/>
                </a:cubicBezTo>
                <a:cubicBezTo>
                  <a:pt x="-11739" y="103644"/>
                  <a:pt x="10416" y="121877"/>
                  <a:pt x="3175" y="60325"/>
                </a:cubicBezTo>
                <a:cubicBezTo>
                  <a:pt x="2784" y="57001"/>
                  <a:pt x="1058" y="53975"/>
                  <a:pt x="0" y="50800"/>
                </a:cubicBezTo>
                <a:cubicBezTo>
                  <a:pt x="6350" y="48683"/>
                  <a:pt x="14317" y="49183"/>
                  <a:pt x="19050" y="44450"/>
                </a:cubicBezTo>
                <a:cubicBezTo>
                  <a:pt x="22225" y="41275"/>
                  <a:pt x="25126" y="37800"/>
                  <a:pt x="28575" y="34925"/>
                </a:cubicBezTo>
                <a:cubicBezTo>
                  <a:pt x="55097" y="12823"/>
                  <a:pt x="19798" y="46877"/>
                  <a:pt x="47625" y="19050"/>
                </a:cubicBezTo>
                <a:cubicBezTo>
                  <a:pt x="48683" y="15875"/>
                  <a:pt x="48709" y="12138"/>
                  <a:pt x="50800" y="9525"/>
                </a:cubicBezTo>
                <a:cubicBezTo>
                  <a:pt x="61206" y="-3482"/>
                  <a:pt x="71967" y="1587"/>
                  <a:pt x="7620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5" name="Freeform 444">
            <a:extLst>
              <a:ext uri="{FF2B5EF4-FFF2-40B4-BE49-F238E27FC236}">
                <a16:creationId xmlns:a16="http://schemas.microsoft.com/office/drawing/2014/main" id="{782130F0-F88D-4162-4402-0CCCF692887F}"/>
              </a:ext>
            </a:extLst>
          </p:cNvPr>
          <p:cNvSpPr/>
          <p:nvPr/>
        </p:nvSpPr>
        <p:spPr bwMode="gray">
          <a:xfrm>
            <a:off x="4327525" y="4237039"/>
            <a:ext cx="120650" cy="142875"/>
          </a:xfrm>
          <a:custGeom>
            <a:avLst/>
            <a:gdLst>
              <a:gd name="connsiteX0" fmla="*/ 67310 w 121285"/>
              <a:gd name="connsiteY0" fmla="*/ 0 h 143112"/>
              <a:gd name="connsiteX1" fmla="*/ 67310 w 121285"/>
              <a:gd name="connsiteY1" fmla="*/ 0 h 143112"/>
              <a:gd name="connsiteX2" fmla="*/ 19685 w 121285"/>
              <a:gd name="connsiteY2" fmla="*/ 66675 h 143112"/>
              <a:gd name="connsiteX3" fmla="*/ 635 w 121285"/>
              <a:gd name="connsiteY3" fmla="*/ 63500 h 143112"/>
              <a:gd name="connsiteX4" fmla="*/ 73660 w 121285"/>
              <a:gd name="connsiteY4" fmla="*/ 127000 h 143112"/>
              <a:gd name="connsiteX5" fmla="*/ 76835 w 121285"/>
              <a:gd name="connsiteY5" fmla="*/ 142875 h 143112"/>
              <a:gd name="connsiteX6" fmla="*/ 95885 w 121285"/>
              <a:gd name="connsiteY6" fmla="*/ 117475 h 143112"/>
              <a:gd name="connsiteX7" fmla="*/ 118110 w 121285"/>
              <a:gd name="connsiteY7" fmla="*/ 101600 h 143112"/>
              <a:gd name="connsiteX8" fmla="*/ 121285 w 121285"/>
              <a:gd name="connsiteY8" fmla="*/ 92075 h 143112"/>
              <a:gd name="connsiteX9" fmla="*/ 118110 w 121285"/>
              <a:gd name="connsiteY9" fmla="*/ 73025 h 143112"/>
              <a:gd name="connsiteX10" fmla="*/ 105410 w 121285"/>
              <a:gd name="connsiteY10" fmla="*/ 50800 h 143112"/>
              <a:gd name="connsiteX11" fmla="*/ 102235 w 121285"/>
              <a:gd name="connsiteY11" fmla="*/ 41275 h 143112"/>
              <a:gd name="connsiteX12" fmla="*/ 105410 w 121285"/>
              <a:gd name="connsiteY12" fmla="*/ 25400 h 143112"/>
              <a:gd name="connsiteX13" fmla="*/ 114935 w 121285"/>
              <a:gd name="connsiteY13" fmla="*/ 19050 h 143112"/>
              <a:gd name="connsiteX14" fmla="*/ 95885 w 121285"/>
              <a:gd name="connsiteY14" fmla="*/ 9525 h 143112"/>
              <a:gd name="connsiteX15" fmla="*/ 67310 w 121285"/>
              <a:gd name="connsiteY15" fmla="*/ 0 h 14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285" h="143112">
                <a:moveTo>
                  <a:pt x="67310" y="0"/>
                </a:moveTo>
                <a:lnTo>
                  <a:pt x="67310" y="0"/>
                </a:lnTo>
                <a:cubicBezTo>
                  <a:pt x="51435" y="22225"/>
                  <a:pt x="39463" y="47839"/>
                  <a:pt x="19685" y="66675"/>
                </a:cubicBezTo>
                <a:cubicBezTo>
                  <a:pt x="15023" y="71115"/>
                  <a:pt x="-3658" y="58702"/>
                  <a:pt x="635" y="63500"/>
                </a:cubicBezTo>
                <a:cubicBezTo>
                  <a:pt x="22144" y="87540"/>
                  <a:pt x="49318" y="105833"/>
                  <a:pt x="73660" y="127000"/>
                </a:cubicBezTo>
                <a:cubicBezTo>
                  <a:pt x="74718" y="132292"/>
                  <a:pt x="71875" y="145001"/>
                  <a:pt x="76835" y="142875"/>
                </a:cubicBezTo>
                <a:cubicBezTo>
                  <a:pt x="86563" y="138706"/>
                  <a:pt x="87418" y="123825"/>
                  <a:pt x="95885" y="117475"/>
                </a:cubicBezTo>
                <a:cubicBezTo>
                  <a:pt x="111638" y="105660"/>
                  <a:pt x="104182" y="110885"/>
                  <a:pt x="118110" y="101600"/>
                </a:cubicBezTo>
                <a:cubicBezTo>
                  <a:pt x="119168" y="98425"/>
                  <a:pt x="121285" y="95422"/>
                  <a:pt x="121285" y="92075"/>
                </a:cubicBezTo>
                <a:cubicBezTo>
                  <a:pt x="121285" y="85637"/>
                  <a:pt x="119960" y="79191"/>
                  <a:pt x="118110" y="73025"/>
                </a:cubicBezTo>
                <a:cubicBezTo>
                  <a:pt x="113935" y="59109"/>
                  <a:pt x="111256" y="62492"/>
                  <a:pt x="105410" y="50800"/>
                </a:cubicBezTo>
                <a:cubicBezTo>
                  <a:pt x="103913" y="47807"/>
                  <a:pt x="103293" y="44450"/>
                  <a:pt x="102235" y="41275"/>
                </a:cubicBezTo>
                <a:cubicBezTo>
                  <a:pt x="103293" y="35983"/>
                  <a:pt x="102733" y="30085"/>
                  <a:pt x="105410" y="25400"/>
                </a:cubicBezTo>
                <a:cubicBezTo>
                  <a:pt x="107303" y="22087"/>
                  <a:pt x="114935" y="22866"/>
                  <a:pt x="114935" y="19050"/>
                </a:cubicBezTo>
                <a:cubicBezTo>
                  <a:pt x="114935" y="15648"/>
                  <a:pt x="98234" y="9693"/>
                  <a:pt x="95885" y="9525"/>
                </a:cubicBezTo>
                <a:cubicBezTo>
                  <a:pt x="84273" y="8696"/>
                  <a:pt x="72072" y="1587"/>
                  <a:pt x="6731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6" name="Freeform 445">
            <a:extLst>
              <a:ext uri="{FF2B5EF4-FFF2-40B4-BE49-F238E27FC236}">
                <a16:creationId xmlns:a16="http://schemas.microsoft.com/office/drawing/2014/main" id="{2BD36191-F6EE-1CDC-0DE3-C0C3CCDD9879}"/>
              </a:ext>
            </a:extLst>
          </p:cNvPr>
          <p:cNvSpPr/>
          <p:nvPr/>
        </p:nvSpPr>
        <p:spPr bwMode="gray">
          <a:xfrm>
            <a:off x="4362450" y="4249738"/>
            <a:ext cx="82550" cy="111125"/>
          </a:xfrm>
          <a:custGeom>
            <a:avLst/>
            <a:gdLst>
              <a:gd name="connsiteX0" fmla="*/ 48013 w 82938"/>
              <a:gd name="connsiteY0" fmla="*/ 0 h 111125"/>
              <a:gd name="connsiteX1" fmla="*/ 48013 w 82938"/>
              <a:gd name="connsiteY1" fmla="*/ 0 h 111125"/>
              <a:gd name="connsiteX2" fmla="*/ 19438 w 82938"/>
              <a:gd name="connsiteY2" fmla="*/ 79375 h 111125"/>
              <a:gd name="connsiteX3" fmla="*/ 388 w 82938"/>
              <a:gd name="connsiteY3" fmla="*/ 88900 h 111125"/>
              <a:gd name="connsiteX4" fmla="*/ 9913 w 82938"/>
              <a:gd name="connsiteY4" fmla="*/ 111125 h 111125"/>
              <a:gd name="connsiteX5" fmla="*/ 25788 w 82938"/>
              <a:gd name="connsiteY5" fmla="*/ 107950 h 111125"/>
              <a:gd name="connsiteX6" fmla="*/ 35313 w 82938"/>
              <a:gd name="connsiteY6" fmla="*/ 101600 h 111125"/>
              <a:gd name="connsiteX7" fmla="*/ 48013 w 82938"/>
              <a:gd name="connsiteY7" fmla="*/ 98425 h 111125"/>
              <a:gd name="connsiteX8" fmla="*/ 54363 w 82938"/>
              <a:gd name="connsiteY8" fmla="*/ 85725 h 111125"/>
              <a:gd name="connsiteX9" fmla="*/ 57538 w 82938"/>
              <a:gd name="connsiteY9" fmla="*/ 73025 h 111125"/>
              <a:gd name="connsiteX10" fmla="*/ 73413 w 82938"/>
              <a:gd name="connsiteY10" fmla="*/ 53975 h 111125"/>
              <a:gd name="connsiteX11" fmla="*/ 82938 w 82938"/>
              <a:gd name="connsiteY11" fmla="*/ 47625 h 111125"/>
              <a:gd name="connsiteX12" fmla="*/ 79763 w 82938"/>
              <a:gd name="connsiteY12" fmla="*/ 38100 h 111125"/>
              <a:gd name="connsiteX13" fmla="*/ 70238 w 82938"/>
              <a:gd name="connsiteY13" fmla="*/ 31750 h 111125"/>
              <a:gd name="connsiteX14" fmla="*/ 60713 w 82938"/>
              <a:gd name="connsiteY14" fmla="*/ 22225 h 111125"/>
              <a:gd name="connsiteX15" fmla="*/ 44838 w 82938"/>
              <a:gd name="connsiteY15" fmla="*/ 3175 h 111125"/>
              <a:gd name="connsiteX16" fmla="*/ 48013 w 82938"/>
              <a:gd name="connsiteY16" fmla="*/ 0 h 11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938" h="111125">
                <a:moveTo>
                  <a:pt x="48013" y="0"/>
                </a:moveTo>
                <a:lnTo>
                  <a:pt x="48013" y="0"/>
                </a:lnTo>
                <a:cubicBezTo>
                  <a:pt x="38488" y="26458"/>
                  <a:pt x="32717" y="54587"/>
                  <a:pt x="19438" y="79375"/>
                </a:cubicBezTo>
                <a:cubicBezTo>
                  <a:pt x="16085" y="85633"/>
                  <a:pt x="2428" y="82100"/>
                  <a:pt x="388" y="88900"/>
                </a:cubicBezTo>
                <a:cubicBezTo>
                  <a:pt x="-1928" y="96620"/>
                  <a:pt x="6738" y="103717"/>
                  <a:pt x="9913" y="111125"/>
                </a:cubicBezTo>
                <a:cubicBezTo>
                  <a:pt x="15205" y="110067"/>
                  <a:pt x="20735" y="109845"/>
                  <a:pt x="25788" y="107950"/>
                </a:cubicBezTo>
                <a:cubicBezTo>
                  <a:pt x="29361" y="106610"/>
                  <a:pt x="31806" y="103103"/>
                  <a:pt x="35313" y="101600"/>
                </a:cubicBezTo>
                <a:cubicBezTo>
                  <a:pt x="39324" y="99881"/>
                  <a:pt x="43780" y="99483"/>
                  <a:pt x="48013" y="98425"/>
                </a:cubicBezTo>
                <a:cubicBezTo>
                  <a:pt x="50130" y="94192"/>
                  <a:pt x="52701" y="90157"/>
                  <a:pt x="54363" y="85725"/>
                </a:cubicBezTo>
                <a:cubicBezTo>
                  <a:pt x="55895" y="81639"/>
                  <a:pt x="55819" y="77036"/>
                  <a:pt x="57538" y="73025"/>
                </a:cubicBezTo>
                <a:cubicBezTo>
                  <a:pt x="60313" y="66550"/>
                  <a:pt x="68327" y="58213"/>
                  <a:pt x="73413" y="53975"/>
                </a:cubicBezTo>
                <a:cubicBezTo>
                  <a:pt x="76344" y="51532"/>
                  <a:pt x="79763" y="49742"/>
                  <a:pt x="82938" y="47625"/>
                </a:cubicBezTo>
                <a:cubicBezTo>
                  <a:pt x="81880" y="44450"/>
                  <a:pt x="81854" y="40713"/>
                  <a:pt x="79763" y="38100"/>
                </a:cubicBezTo>
                <a:cubicBezTo>
                  <a:pt x="77379" y="35120"/>
                  <a:pt x="73169" y="34193"/>
                  <a:pt x="70238" y="31750"/>
                </a:cubicBezTo>
                <a:cubicBezTo>
                  <a:pt x="66789" y="28875"/>
                  <a:pt x="63888" y="25400"/>
                  <a:pt x="60713" y="22225"/>
                </a:cubicBezTo>
                <a:cubicBezTo>
                  <a:pt x="54594" y="6928"/>
                  <a:pt x="58904" y="5988"/>
                  <a:pt x="44838" y="3175"/>
                </a:cubicBezTo>
                <a:cubicBezTo>
                  <a:pt x="42762" y="2760"/>
                  <a:pt x="47484" y="529"/>
                  <a:pt x="48013"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7" name="Freeform 446">
            <a:extLst>
              <a:ext uri="{FF2B5EF4-FFF2-40B4-BE49-F238E27FC236}">
                <a16:creationId xmlns:a16="http://schemas.microsoft.com/office/drawing/2014/main" id="{C016A0F7-FC03-2C25-90A6-AEE8DCD5DC25}"/>
              </a:ext>
            </a:extLst>
          </p:cNvPr>
          <p:cNvSpPr/>
          <p:nvPr/>
        </p:nvSpPr>
        <p:spPr bwMode="gray">
          <a:xfrm>
            <a:off x="4956175" y="4722813"/>
            <a:ext cx="114300" cy="149225"/>
          </a:xfrm>
          <a:custGeom>
            <a:avLst/>
            <a:gdLst>
              <a:gd name="connsiteX0" fmla="*/ 3193 w 114318"/>
              <a:gd name="connsiteY0" fmla="*/ 0 h 149225"/>
              <a:gd name="connsiteX1" fmla="*/ 3193 w 114318"/>
              <a:gd name="connsiteY1" fmla="*/ 0 h 149225"/>
              <a:gd name="connsiteX2" fmla="*/ 18 w 114318"/>
              <a:gd name="connsiteY2" fmla="*/ 92075 h 149225"/>
              <a:gd name="connsiteX3" fmla="*/ 3193 w 114318"/>
              <a:gd name="connsiteY3" fmla="*/ 104775 h 149225"/>
              <a:gd name="connsiteX4" fmla="*/ 85743 w 114318"/>
              <a:gd name="connsiteY4" fmla="*/ 149225 h 149225"/>
              <a:gd name="connsiteX5" fmla="*/ 111143 w 114318"/>
              <a:gd name="connsiteY5" fmla="*/ 139700 h 149225"/>
              <a:gd name="connsiteX6" fmla="*/ 114318 w 114318"/>
              <a:gd name="connsiteY6" fmla="*/ 130175 h 149225"/>
              <a:gd name="connsiteX7" fmla="*/ 111143 w 114318"/>
              <a:gd name="connsiteY7" fmla="*/ 120650 h 149225"/>
              <a:gd name="connsiteX8" fmla="*/ 101618 w 114318"/>
              <a:gd name="connsiteY8" fmla="*/ 117475 h 149225"/>
              <a:gd name="connsiteX9" fmla="*/ 79393 w 114318"/>
              <a:gd name="connsiteY9" fmla="*/ 111125 h 149225"/>
              <a:gd name="connsiteX10" fmla="*/ 76218 w 114318"/>
              <a:gd name="connsiteY10" fmla="*/ 101600 h 149225"/>
              <a:gd name="connsiteX11" fmla="*/ 63518 w 114318"/>
              <a:gd name="connsiteY11" fmla="*/ 82550 h 149225"/>
              <a:gd name="connsiteX12" fmla="*/ 53993 w 114318"/>
              <a:gd name="connsiteY12" fmla="*/ 63500 h 149225"/>
              <a:gd name="connsiteX13" fmla="*/ 34943 w 114318"/>
              <a:gd name="connsiteY13" fmla="*/ 57150 h 149225"/>
              <a:gd name="connsiteX14" fmla="*/ 28593 w 114318"/>
              <a:gd name="connsiteY14" fmla="*/ 44450 h 149225"/>
              <a:gd name="connsiteX15" fmla="*/ 22243 w 114318"/>
              <a:gd name="connsiteY15" fmla="*/ 25400 h 149225"/>
              <a:gd name="connsiteX16" fmla="*/ 12718 w 114318"/>
              <a:gd name="connsiteY16" fmla="*/ 6350 h 149225"/>
              <a:gd name="connsiteX17" fmla="*/ 3193 w 114318"/>
              <a:gd name="connsiteY17" fmla="*/ 12700 h 149225"/>
              <a:gd name="connsiteX18" fmla="*/ 3193 w 114318"/>
              <a:gd name="connsiteY18" fmla="*/ 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318" h="149225">
                <a:moveTo>
                  <a:pt x="3193" y="0"/>
                </a:moveTo>
                <a:lnTo>
                  <a:pt x="3193" y="0"/>
                </a:lnTo>
                <a:cubicBezTo>
                  <a:pt x="2135" y="30692"/>
                  <a:pt x="18" y="61365"/>
                  <a:pt x="18" y="92075"/>
                </a:cubicBezTo>
                <a:cubicBezTo>
                  <a:pt x="18" y="96439"/>
                  <a:pt x="-438" y="102354"/>
                  <a:pt x="3193" y="104775"/>
                </a:cubicBezTo>
                <a:cubicBezTo>
                  <a:pt x="29196" y="122111"/>
                  <a:pt x="58226" y="134408"/>
                  <a:pt x="85743" y="149225"/>
                </a:cubicBezTo>
                <a:cubicBezTo>
                  <a:pt x="94348" y="147504"/>
                  <a:pt x="104914" y="147486"/>
                  <a:pt x="111143" y="139700"/>
                </a:cubicBezTo>
                <a:cubicBezTo>
                  <a:pt x="113234" y="137087"/>
                  <a:pt x="113260" y="133350"/>
                  <a:pt x="114318" y="130175"/>
                </a:cubicBezTo>
                <a:cubicBezTo>
                  <a:pt x="113260" y="127000"/>
                  <a:pt x="113510" y="123017"/>
                  <a:pt x="111143" y="120650"/>
                </a:cubicBezTo>
                <a:cubicBezTo>
                  <a:pt x="108776" y="118283"/>
                  <a:pt x="104836" y="118394"/>
                  <a:pt x="101618" y="117475"/>
                </a:cubicBezTo>
                <a:cubicBezTo>
                  <a:pt x="73711" y="109502"/>
                  <a:pt x="102231" y="118738"/>
                  <a:pt x="79393" y="111125"/>
                </a:cubicBezTo>
                <a:cubicBezTo>
                  <a:pt x="78335" y="107950"/>
                  <a:pt x="77843" y="104526"/>
                  <a:pt x="76218" y="101600"/>
                </a:cubicBezTo>
                <a:cubicBezTo>
                  <a:pt x="72512" y="94929"/>
                  <a:pt x="65931" y="89790"/>
                  <a:pt x="63518" y="82550"/>
                </a:cubicBezTo>
                <a:cubicBezTo>
                  <a:pt x="61788" y="77360"/>
                  <a:pt x="59176" y="66739"/>
                  <a:pt x="53993" y="63500"/>
                </a:cubicBezTo>
                <a:cubicBezTo>
                  <a:pt x="48317" y="59952"/>
                  <a:pt x="34943" y="57150"/>
                  <a:pt x="34943" y="57150"/>
                </a:cubicBezTo>
                <a:cubicBezTo>
                  <a:pt x="32826" y="52917"/>
                  <a:pt x="30351" y="48844"/>
                  <a:pt x="28593" y="44450"/>
                </a:cubicBezTo>
                <a:cubicBezTo>
                  <a:pt x="26107" y="38235"/>
                  <a:pt x="25956" y="30969"/>
                  <a:pt x="22243" y="25400"/>
                </a:cubicBezTo>
                <a:cubicBezTo>
                  <a:pt x="14037" y="13090"/>
                  <a:pt x="17100" y="19495"/>
                  <a:pt x="12718" y="6350"/>
                </a:cubicBezTo>
                <a:cubicBezTo>
                  <a:pt x="9543" y="8467"/>
                  <a:pt x="6124" y="10257"/>
                  <a:pt x="3193" y="12700"/>
                </a:cubicBezTo>
                <a:cubicBezTo>
                  <a:pt x="-256" y="15575"/>
                  <a:pt x="3193" y="2117"/>
                  <a:pt x="3193"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8" name="Freeform 447">
            <a:extLst>
              <a:ext uri="{FF2B5EF4-FFF2-40B4-BE49-F238E27FC236}">
                <a16:creationId xmlns:a16="http://schemas.microsoft.com/office/drawing/2014/main" id="{2EC5CE91-3C6D-5775-B1CE-8A1CDE3E4319}"/>
              </a:ext>
            </a:extLst>
          </p:cNvPr>
          <p:cNvSpPr/>
          <p:nvPr/>
        </p:nvSpPr>
        <p:spPr bwMode="gray">
          <a:xfrm>
            <a:off x="4906962" y="5062538"/>
            <a:ext cx="88900" cy="39688"/>
          </a:xfrm>
          <a:custGeom>
            <a:avLst/>
            <a:gdLst>
              <a:gd name="connsiteX0" fmla="*/ 58255 w 87843"/>
              <a:gd name="connsiteY0" fmla="*/ 0 h 38934"/>
              <a:gd name="connsiteX1" fmla="*/ 58255 w 87843"/>
              <a:gd name="connsiteY1" fmla="*/ 0 h 38934"/>
              <a:gd name="connsiteX2" fmla="*/ 1105 w 87843"/>
              <a:gd name="connsiteY2" fmla="*/ 25400 h 38934"/>
              <a:gd name="connsiteX3" fmla="*/ 10630 w 87843"/>
              <a:gd name="connsiteY3" fmla="*/ 38100 h 38934"/>
              <a:gd name="connsiteX4" fmla="*/ 77305 w 87843"/>
              <a:gd name="connsiteY4" fmla="*/ 34925 h 38934"/>
              <a:gd name="connsiteX5" fmla="*/ 86830 w 87843"/>
              <a:gd name="connsiteY5" fmla="*/ 28575 h 38934"/>
              <a:gd name="connsiteX6" fmla="*/ 74130 w 87843"/>
              <a:gd name="connsiteY6" fmla="*/ 12700 h 38934"/>
              <a:gd name="connsiteX7" fmla="*/ 58255 w 87843"/>
              <a:gd name="connsiteY7" fmla="*/ 9525 h 38934"/>
              <a:gd name="connsiteX8" fmla="*/ 58255 w 87843"/>
              <a:gd name="connsiteY8" fmla="*/ 0 h 3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43" h="38934">
                <a:moveTo>
                  <a:pt x="58255" y="0"/>
                </a:moveTo>
                <a:lnTo>
                  <a:pt x="58255" y="0"/>
                </a:lnTo>
                <a:cubicBezTo>
                  <a:pt x="39205" y="8467"/>
                  <a:pt x="17384" y="12377"/>
                  <a:pt x="1105" y="25400"/>
                </a:cubicBezTo>
                <a:cubicBezTo>
                  <a:pt x="-3027" y="28706"/>
                  <a:pt x="5379" y="37444"/>
                  <a:pt x="10630" y="38100"/>
                </a:cubicBezTo>
                <a:cubicBezTo>
                  <a:pt x="32708" y="40860"/>
                  <a:pt x="55080" y="35983"/>
                  <a:pt x="77305" y="34925"/>
                </a:cubicBezTo>
                <a:cubicBezTo>
                  <a:pt x="80480" y="32808"/>
                  <a:pt x="85623" y="32195"/>
                  <a:pt x="86830" y="28575"/>
                </a:cubicBezTo>
                <a:cubicBezTo>
                  <a:pt x="90973" y="16145"/>
                  <a:pt x="81559" y="14557"/>
                  <a:pt x="74130" y="12700"/>
                </a:cubicBezTo>
                <a:cubicBezTo>
                  <a:pt x="68895" y="11391"/>
                  <a:pt x="63547" y="10583"/>
                  <a:pt x="58255" y="9525"/>
                </a:cubicBezTo>
                <a:lnTo>
                  <a:pt x="58255"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9" name="Freeform 448">
            <a:extLst>
              <a:ext uri="{FF2B5EF4-FFF2-40B4-BE49-F238E27FC236}">
                <a16:creationId xmlns:a16="http://schemas.microsoft.com/office/drawing/2014/main" id="{382999CB-9E0D-4929-E05B-1350CE97599C}"/>
              </a:ext>
            </a:extLst>
          </p:cNvPr>
          <p:cNvSpPr/>
          <p:nvPr/>
        </p:nvSpPr>
        <p:spPr bwMode="gray">
          <a:xfrm>
            <a:off x="4470400" y="4456113"/>
            <a:ext cx="69850" cy="90488"/>
          </a:xfrm>
          <a:custGeom>
            <a:avLst/>
            <a:gdLst>
              <a:gd name="connsiteX0" fmla="*/ 53975 w 69228"/>
              <a:gd name="connsiteY0" fmla="*/ 0 h 89960"/>
              <a:gd name="connsiteX1" fmla="*/ 53975 w 69228"/>
              <a:gd name="connsiteY1" fmla="*/ 0 h 89960"/>
              <a:gd name="connsiteX2" fmla="*/ 66675 w 69228"/>
              <a:gd name="connsiteY2" fmla="*/ 53975 h 89960"/>
              <a:gd name="connsiteX3" fmla="*/ 0 w 69228"/>
              <a:gd name="connsiteY3" fmla="*/ 69850 h 89960"/>
              <a:gd name="connsiteX4" fmla="*/ 3175 w 69228"/>
              <a:gd name="connsiteY4" fmla="*/ 41275 h 89960"/>
              <a:gd name="connsiteX5" fmla="*/ 6350 w 69228"/>
              <a:gd name="connsiteY5" fmla="*/ 31750 h 89960"/>
              <a:gd name="connsiteX6" fmla="*/ 34925 w 69228"/>
              <a:gd name="connsiteY6" fmla="*/ 19050 h 89960"/>
              <a:gd name="connsiteX7" fmla="*/ 53975 w 69228"/>
              <a:gd name="connsiteY7" fmla="*/ 0 h 8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28" h="89960">
                <a:moveTo>
                  <a:pt x="53975" y="0"/>
                </a:moveTo>
                <a:lnTo>
                  <a:pt x="53975" y="0"/>
                </a:lnTo>
                <a:cubicBezTo>
                  <a:pt x="58208" y="17992"/>
                  <a:pt x="75706" y="37848"/>
                  <a:pt x="66675" y="53975"/>
                </a:cubicBezTo>
                <a:cubicBezTo>
                  <a:pt x="34914" y="110691"/>
                  <a:pt x="17914" y="87764"/>
                  <a:pt x="0" y="69850"/>
                </a:cubicBezTo>
                <a:cubicBezTo>
                  <a:pt x="1058" y="60325"/>
                  <a:pt x="1599" y="50728"/>
                  <a:pt x="3175" y="41275"/>
                </a:cubicBezTo>
                <a:cubicBezTo>
                  <a:pt x="3725" y="37974"/>
                  <a:pt x="4259" y="34363"/>
                  <a:pt x="6350" y="31750"/>
                </a:cubicBezTo>
                <a:cubicBezTo>
                  <a:pt x="11562" y="25235"/>
                  <a:pt x="29589" y="20384"/>
                  <a:pt x="34925" y="19050"/>
                </a:cubicBezTo>
                <a:cubicBezTo>
                  <a:pt x="49077" y="15512"/>
                  <a:pt x="50800" y="3175"/>
                  <a:pt x="53975"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0" name="Freeform 449">
            <a:extLst>
              <a:ext uri="{FF2B5EF4-FFF2-40B4-BE49-F238E27FC236}">
                <a16:creationId xmlns:a16="http://schemas.microsoft.com/office/drawing/2014/main" id="{A92F64BA-2686-C6C8-05F6-ED8D304397EC}"/>
              </a:ext>
            </a:extLst>
          </p:cNvPr>
          <p:cNvSpPr/>
          <p:nvPr/>
        </p:nvSpPr>
        <p:spPr bwMode="gray">
          <a:xfrm>
            <a:off x="4270375" y="4430713"/>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Freeform 450">
            <a:extLst>
              <a:ext uri="{FF2B5EF4-FFF2-40B4-BE49-F238E27FC236}">
                <a16:creationId xmlns:a16="http://schemas.microsoft.com/office/drawing/2014/main" id="{5AB4EAE9-7736-3FBE-70B9-45B62B488336}"/>
              </a:ext>
            </a:extLst>
          </p:cNvPr>
          <p:cNvSpPr/>
          <p:nvPr/>
        </p:nvSpPr>
        <p:spPr bwMode="gray">
          <a:xfrm rot="10270992">
            <a:off x="4365625" y="455295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2" name="Freeform 451">
            <a:extLst>
              <a:ext uri="{FF2B5EF4-FFF2-40B4-BE49-F238E27FC236}">
                <a16:creationId xmlns:a16="http://schemas.microsoft.com/office/drawing/2014/main" id="{FA7FC9FD-4DD8-D5D1-EA15-3FC22CDA9000}"/>
              </a:ext>
            </a:extLst>
          </p:cNvPr>
          <p:cNvSpPr/>
          <p:nvPr/>
        </p:nvSpPr>
        <p:spPr bwMode="gray">
          <a:xfrm rot="973624">
            <a:off x="5387975" y="505460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3" name="Freeform 452">
            <a:extLst>
              <a:ext uri="{FF2B5EF4-FFF2-40B4-BE49-F238E27FC236}">
                <a16:creationId xmlns:a16="http://schemas.microsoft.com/office/drawing/2014/main" id="{7A637308-AE2B-85B2-18C5-56DFC045A8FC}"/>
              </a:ext>
            </a:extLst>
          </p:cNvPr>
          <p:cNvSpPr/>
          <p:nvPr/>
        </p:nvSpPr>
        <p:spPr bwMode="gray">
          <a:xfrm rot="973624">
            <a:off x="4854575" y="4578350"/>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4" name="Freeform 453">
            <a:extLst>
              <a:ext uri="{FF2B5EF4-FFF2-40B4-BE49-F238E27FC236}">
                <a16:creationId xmlns:a16="http://schemas.microsoft.com/office/drawing/2014/main" id="{7A31CDA8-E291-636E-A891-37E9D748A4A3}"/>
              </a:ext>
            </a:extLst>
          </p:cNvPr>
          <p:cNvSpPr/>
          <p:nvPr/>
        </p:nvSpPr>
        <p:spPr bwMode="gray">
          <a:xfrm rot="973624">
            <a:off x="4929188" y="4549775"/>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5" name="Freeform 454">
            <a:extLst>
              <a:ext uri="{FF2B5EF4-FFF2-40B4-BE49-F238E27FC236}">
                <a16:creationId xmlns:a16="http://schemas.microsoft.com/office/drawing/2014/main" id="{023795DC-F62F-87BC-A859-A657E10689CB}"/>
              </a:ext>
            </a:extLst>
          </p:cNvPr>
          <p:cNvSpPr/>
          <p:nvPr/>
        </p:nvSpPr>
        <p:spPr bwMode="gray">
          <a:xfrm>
            <a:off x="4878388" y="3048000"/>
            <a:ext cx="138113" cy="252413"/>
          </a:xfrm>
          <a:custGeom>
            <a:avLst/>
            <a:gdLst>
              <a:gd name="connsiteX0" fmla="*/ 44367 w 139157"/>
              <a:gd name="connsiteY0" fmla="*/ 0 h 252248"/>
              <a:gd name="connsiteX1" fmla="*/ 44367 w 139157"/>
              <a:gd name="connsiteY1" fmla="*/ 0 h 252248"/>
              <a:gd name="connsiteX2" fmla="*/ 223 w 139157"/>
              <a:gd name="connsiteY2" fmla="*/ 151349 h 252248"/>
              <a:gd name="connsiteX3" fmla="*/ 19142 w 139157"/>
              <a:gd name="connsiteY3" fmla="*/ 201799 h 252248"/>
              <a:gd name="connsiteX4" fmla="*/ 25448 w 139157"/>
              <a:gd name="connsiteY4" fmla="*/ 220717 h 252248"/>
              <a:gd name="connsiteX5" fmla="*/ 69591 w 139157"/>
              <a:gd name="connsiteY5" fmla="*/ 252248 h 252248"/>
              <a:gd name="connsiteX6" fmla="*/ 88510 w 139157"/>
              <a:gd name="connsiteY6" fmla="*/ 208105 h 252248"/>
              <a:gd name="connsiteX7" fmla="*/ 94816 w 139157"/>
              <a:gd name="connsiteY7" fmla="*/ 163962 h 252248"/>
              <a:gd name="connsiteX8" fmla="*/ 132653 w 139157"/>
              <a:gd name="connsiteY8" fmla="*/ 151349 h 252248"/>
              <a:gd name="connsiteX9" fmla="*/ 138960 w 139157"/>
              <a:gd name="connsiteY9" fmla="*/ 132431 h 252248"/>
              <a:gd name="connsiteX10" fmla="*/ 126347 w 139157"/>
              <a:gd name="connsiteY10" fmla="*/ 119818 h 252248"/>
              <a:gd name="connsiteX11" fmla="*/ 88510 w 139157"/>
              <a:gd name="connsiteY11" fmla="*/ 100900 h 252248"/>
              <a:gd name="connsiteX12" fmla="*/ 69591 w 139157"/>
              <a:gd name="connsiteY12" fmla="*/ 88287 h 252248"/>
              <a:gd name="connsiteX13" fmla="*/ 63285 w 139157"/>
              <a:gd name="connsiteY13" fmla="*/ 25225 h 252248"/>
              <a:gd name="connsiteX14" fmla="*/ 44367 w 139157"/>
              <a:gd name="connsiteY14"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157" h="252248">
                <a:moveTo>
                  <a:pt x="44367" y="0"/>
                </a:moveTo>
                <a:lnTo>
                  <a:pt x="44367" y="0"/>
                </a:lnTo>
                <a:cubicBezTo>
                  <a:pt x="29652" y="50450"/>
                  <a:pt x="6741" y="99203"/>
                  <a:pt x="223" y="151349"/>
                </a:cubicBezTo>
                <a:cubicBezTo>
                  <a:pt x="-2005" y="169171"/>
                  <a:pt x="13004" y="184920"/>
                  <a:pt x="19142" y="201799"/>
                </a:cubicBezTo>
                <a:cubicBezTo>
                  <a:pt x="21414" y="208046"/>
                  <a:pt x="21584" y="215308"/>
                  <a:pt x="25448" y="220717"/>
                </a:cubicBezTo>
                <a:cubicBezTo>
                  <a:pt x="44151" y="246902"/>
                  <a:pt x="45665" y="244273"/>
                  <a:pt x="69591" y="252248"/>
                </a:cubicBezTo>
                <a:cubicBezTo>
                  <a:pt x="88954" y="232886"/>
                  <a:pt x="82532" y="243972"/>
                  <a:pt x="88510" y="208105"/>
                </a:cubicBezTo>
                <a:cubicBezTo>
                  <a:pt x="90954" y="193444"/>
                  <a:pt x="85691" y="175695"/>
                  <a:pt x="94816" y="163962"/>
                </a:cubicBezTo>
                <a:cubicBezTo>
                  <a:pt x="102978" y="153468"/>
                  <a:pt x="132653" y="151349"/>
                  <a:pt x="132653" y="151349"/>
                </a:cubicBezTo>
                <a:cubicBezTo>
                  <a:pt x="134755" y="145043"/>
                  <a:pt x="140264" y="138949"/>
                  <a:pt x="138960" y="132431"/>
                </a:cubicBezTo>
                <a:cubicBezTo>
                  <a:pt x="137794" y="126601"/>
                  <a:pt x="130990" y="123532"/>
                  <a:pt x="126347" y="119818"/>
                </a:cubicBezTo>
                <a:cubicBezTo>
                  <a:pt x="108883" y="105847"/>
                  <a:pt x="108492" y="107560"/>
                  <a:pt x="88510" y="100900"/>
                </a:cubicBezTo>
                <a:cubicBezTo>
                  <a:pt x="82204" y="96696"/>
                  <a:pt x="71988" y="95477"/>
                  <a:pt x="69591" y="88287"/>
                </a:cubicBezTo>
                <a:cubicBezTo>
                  <a:pt x="62911" y="68246"/>
                  <a:pt x="76255" y="41901"/>
                  <a:pt x="63285" y="25225"/>
                </a:cubicBezTo>
                <a:cubicBezTo>
                  <a:pt x="55435" y="15132"/>
                  <a:pt x="47520" y="4204"/>
                  <a:pt x="44367"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6" name="Freeform 455">
            <a:extLst>
              <a:ext uri="{FF2B5EF4-FFF2-40B4-BE49-F238E27FC236}">
                <a16:creationId xmlns:a16="http://schemas.microsoft.com/office/drawing/2014/main" id="{4B6FAE34-9933-957C-4E1C-1A392593CE82}"/>
              </a:ext>
            </a:extLst>
          </p:cNvPr>
          <p:cNvSpPr/>
          <p:nvPr/>
        </p:nvSpPr>
        <p:spPr bwMode="gray">
          <a:xfrm>
            <a:off x="4953000" y="3300413"/>
            <a:ext cx="254000" cy="131763"/>
          </a:xfrm>
          <a:custGeom>
            <a:avLst/>
            <a:gdLst>
              <a:gd name="connsiteX0" fmla="*/ 0 w 254041"/>
              <a:gd name="connsiteY0" fmla="*/ 56953 h 132875"/>
              <a:gd name="connsiteX1" fmla="*/ 0 w 254041"/>
              <a:gd name="connsiteY1" fmla="*/ 56953 h 132875"/>
              <a:gd name="connsiteX2" fmla="*/ 63062 w 254041"/>
              <a:gd name="connsiteY2" fmla="*/ 126322 h 132875"/>
              <a:gd name="connsiteX3" fmla="*/ 182880 w 254041"/>
              <a:gd name="connsiteY3" fmla="*/ 107403 h 132875"/>
              <a:gd name="connsiteX4" fmla="*/ 189186 w 254041"/>
              <a:gd name="connsiteY4" fmla="*/ 82178 h 132875"/>
              <a:gd name="connsiteX5" fmla="*/ 220717 w 254041"/>
              <a:gd name="connsiteY5" fmla="*/ 50647 h 132875"/>
              <a:gd name="connsiteX6" fmla="*/ 252248 w 254041"/>
              <a:gd name="connsiteY6" fmla="*/ 56953 h 132875"/>
              <a:gd name="connsiteX7" fmla="*/ 239635 w 254041"/>
              <a:gd name="connsiteY7" fmla="*/ 38035 h 132875"/>
              <a:gd name="connsiteX8" fmla="*/ 182880 w 254041"/>
              <a:gd name="connsiteY8" fmla="*/ 31729 h 132875"/>
              <a:gd name="connsiteX9" fmla="*/ 163961 w 254041"/>
              <a:gd name="connsiteY9" fmla="*/ 197 h 132875"/>
              <a:gd name="connsiteX10" fmla="*/ 145042 w 254041"/>
              <a:gd name="connsiteY10" fmla="*/ 6504 h 132875"/>
              <a:gd name="connsiteX11" fmla="*/ 126124 w 254041"/>
              <a:gd name="connsiteY11" fmla="*/ 31729 h 132875"/>
              <a:gd name="connsiteX12" fmla="*/ 94593 w 254041"/>
              <a:gd name="connsiteY12" fmla="*/ 88484 h 132875"/>
              <a:gd name="connsiteX13" fmla="*/ 75674 w 254041"/>
              <a:gd name="connsiteY13" fmla="*/ 94791 h 132875"/>
              <a:gd name="connsiteX14" fmla="*/ 50449 w 254041"/>
              <a:gd name="connsiteY14" fmla="*/ 56953 h 132875"/>
              <a:gd name="connsiteX15" fmla="*/ 37837 w 254041"/>
              <a:gd name="connsiteY15" fmla="*/ 31729 h 132875"/>
              <a:gd name="connsiteX16" fmla="*/ 18918 w 254041"/>
              <a:gd name="connsiteY16" fmla="*/ 63260 h 132875"/>
              <a:gd name="connsiteX17" fmla="*/ 0 w 254041"/>
              <a:gd name="connsiteY17" fmla="*/ 56953 h 13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041" h="132875">
                <a:moveTo>
                  <a:pt x="0" y="56953"/>
                </a:moveTo>
                <a:lnTo>
                  <a:pt x="0" y="56953"/>
                </a:lnTo>
                <a:cubicBezTo>
                  <a:pt x="21021" y="80076"/>
                  <a:pt x="38660" y="106800"/>
                  <a:pt x="63062" y="126322"/>
                </a:cubicBezTo>
                <a:cubicBezTo>
                  <a:pt x="90594" y="148348"/>
                  <a:pt x="181406" y="107824"/>
                  <a:pt x="182880" y="107403"/>
                </a:cubicBezTo>
                <a:cubicBezTo>
                  <a:pt x="184982" y="98995"/>
                  <a:pt x="184378" y="89389"/>
                  <a:pt x="189186" y="82178"/>
                </a:cubicBezTo>
                <a:cubicBezTo>
                  <a:pt x="197431" y="69810"/>
                  <a:pt x="220717" y="50647"/>
                  <a:pt x="220717" y="50647"/>
                </a:cubicBezTo>
                <a:cubicBezTo>
                  <a:pt x="231227" y="52749"/>
                  <a:pt x="243330" y="62899"/>
                  <a:pt x="252248" y="56953"/>
                </a:cubicBezTo>
                <a:cubicBezTo>
                  <a:pt x="258554" y="52749"/>
                  <a:pt x="246758" y="40625"/>
                  <a:pt x="239635" y="38035"/>
                </a:cubicBezTo>
                <a:cubicBezTo>
                  <a:pt x="221746" y="31530"/>
                  <a:pt x="201798" y="33831"/>
                  <a:pt x="182880" y="31729"/>
                </a:cubicBezTo>
                <a:cubicBezTo>
                  <a:pt x="180224" y="23762"/>
                  <a:pt x="176326" y="2670"/>
                  <a:pt x="163961" y="197"/>
                </a:cubicBezTo>
                <a:cubicBezTo>
                  <a:pt x="157443" y="-1107"/>
                  <a:pt x="151348" y="4402"/>
                  <a:pt x="145042" y="6504"/>
                </a:cubicBezTo>
                <a:cubicBezTo>
                  <a:pt x="138736" y="14912"/>
                  <a:pt x="130824" y="22328"/>
                  <a:pt x="126124" y="31729"/>
                </a:cubicBezTo>
                <a:cubicBezTo>
                  <a:pt x="109671" y="64634"/>
                  <a:pt x="123595" y="69149"/>
                  <a:pt x="94593" y="88484"/>
                </a:cubicBezTo>
                <a:cubicBezTo>
                  <a:pt x="89062" y="92171"/>
                  <a:pt x="81980" y="92689"/>
                  <a:pt x="75674" y="94791"/>
                </a:cubicBezTo>
                <a:cubicBezTo>
                  <a:pt x="64299" y="83416"/>
                  <a:pt x="50449" y="75207"/>
                  <a:pt x="50449" y="56953"/>
                </a:cubicBezTo>
                <a:cubicBezTo>
                  <a:pt x="50449" y="11549"/>
                  <a:pt x="71805" y="-2241"/>
                  <a:pt x="37837" y="31729"/>
                </a:cubicBezTo>
                <a:cubicBezTo>
                  <a:pt x="35181" y="39697"/>
                  <a:pt x="31285" y="60787"/>
                  <a:pt x="18918" y="63260"/>
                </a:cubicBezTo>
                <a:cubicBezTo>
                  <a:pt x="12400" y="64564"/>
                  <a:pt x="3153" y="58004"/>
                  <a:pt x="0" y="56953"/>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7" name="Freeform 456">
            <a:extLst>
              <a:ext uri="{FF2B5EF4-FFF2-40B4-BE49-F238E27FC236}">
                <a16:creationId xmlns:a16="http://schemas.microsoft.com/office/drawing/2014/main" id="{CAF3305E-1031-1B24-973D-73854D87886F}"/>
              </a:ext>
            </a:extLst>
          </p:cNvPr>
          <p:cNvSpPr/>
          <p:nvPr/>
        </p:nvSpPr>
        <p:spPr bwMode="gray">
          <a:xfrm>
            <a:off x="5319714" y="3249614"/>
            <a:ext cx="42863" cy="73025"/>
          </a:xfrm>
          <a:custGeom>
            <a:avLst/>
            <a:gdLst>
              <a:gd name="connsiteX0" fmla="*/ 19189 w 43410"/>
              <a:gd name="connsiteY0" fmla="*/ 12644 h 73342"/>
              <a:gd name="connsiteX1" fmla="*/ 19189 w 43410"/>
              <a:gd name="connsiteY1" fmla="*/ 12644 h 73342"/>
              <a:gd name="connsiteX2" fmla="*/ 271 w 43410"/>
              <a:gd name="connsiteY2" fmla="*/ 69400 h 73342"/>
              <a:gd name="connsiteX3" fmla="*/ 25495 w 43410"/>
              <a:gd name="connsiteY3" fmla="*/ 63094 h 73342"/>
              <a:gd name="connsiteX4" fmla="*/ 271 w 43410"/>
              <a:gd name="connsiteY4" fmla="*/ 6338 h 73342"/>
              <a:gd name="connsiteX5" fmla="*/ 19189 w 43410"/>
              <a:gd name="connsiteY5" fmla="*/ 12644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10" h="73342">
                <a:moveTo>
                  <a:pt x="19189" y="12644"/>
                </a:moveTo>
                <a:lnTo>
                  <a:pt x="19189" y="12644"/>
                </a:lnTo>
                <a:cubicBezTo>
                  <a:pt x="12883" y="31563"/>
                  <a:pt x="-2202" y="49612"/>
                  <a:pt x="271" y="69400"/>
                </a:cubicBezTo>
                <a:cubicBezTo>
                  <a:pt x="1346" y="78000"/>
                  <a:pt x="21909" y="70984"/>
                  <a:pt x="25495" y="63094"/>
                </a:cubicBezTo>
                <a:cubicBezTo>
                  <a:pt x="61621" y="-16384"/>
                  <a:pt x="37929" y="-1193"/>
                  <a:pt x="271" y="6338"/>
                </a:cubicBezTo>
                <a:lnTo>
                  <a:pt x="19189" y="12644"/>
                </a:ln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8" name="Freeform 457">
            <a:extLst>
              <a:ext uri="{FF2B5EF4-FFF2-40B4-BE49-F238E27FC236}">
                <a16:creationId xmlns:a16="http://schemas.microsoft.com/office/drawing/2014/main" id="{37F3A3B3-E251-B8C4-EB9A-24B1132A3F2F}"/>
              </a:ext>
            </a:extLst>
          </p:cNvPr>
          <p:cNvSpPr/>
          <p:nvPr/>
        </p:nvSpPr>
        <p:spPr bwMode="gray">
          <a:xfrm>
            <a:off x="3068638" y="2473325"/>
            <a:ext cx="150813" cy="247650"/>
          </a:xfrm>
          <a:custGeom>
            <a:avLst/>
            <a:gdLst>
              <a:gd name="connsiteX0" fmla="*/ 25479 w 152237"/>
              <a:gd name="connsiteY0" fmla="*/ 37838 h 247584"/>
              <a:gd name="connsiteX1" fmla="*/ 25479 w 152237"/>
              <a:gd name="connsiteY1" fmla="*/ 37838 h 247584"/>
              <a:gd name="connsiteX2" fmla="*/ 31785 w 152237"/>
              <a:gd name="connsiteY2" fmla="*/ 245942 h 247584"/>
              <a:gd name="connsiteX3" fmla="*/ 38091 w 152237"/>
              <a:gd name="connsiteY3" fmla="*/ 220718 h 247584"/>
              <a:gd name="connsiteX4" fmla="*/ 50703 w 152237"/>
              <a:gd name="connsiteY4" fmla="*/ 208105 h 247584"/>
              <a:gd name="connsiteX5" fmla="*/ 63316 w 152237"/>
              <a:gd name="connsiteY5" fmla="*/ 182880 h 247584"/>
              <a:gd name="connsiteX6" fmla="*/ 69622 w 152237"/>
              <a:gd name="connsiteY6" fmla="*/ 163962 h 247584"/>
              <a:gd name="connsiteX7" fmla="*/ 88541 w 152237"/>
              <a:gd name="connsiteY7" fmla="*/ 157656 h 247584"/>
              <a:gd name="connsiteX8" fmla="*/ 113765 w 152237"/>
              <a:gd name="connsiteY8" fmla="*/ 208105 h 247584"/>
              <a:gd name="connsiteX9" fmla="*/ 132684 w 152237"/>
              <a:gd name="connsiteY9" fmla="*/ 201799 h 247584"/>
              <a:gd name="connsiteX10" fmla="*/ 151603 w 152237"/>
              <a:gd name="connsiteY10" fmla="*/ 182880 h 247584"/>
              <a:gd name="connsiteX11" fmla="*/ 145296 w 152237"/>
              <a:gd name="connsiteY11" fmla="*/ 157656 h 247584"/>
              <a:gd name="connsiteX12" fmla="*/ 113765 w 152237"/>
              <a:gd name="connsiteY12" fmla="*/ 132431 h 247584"/>
              <a:gd name="connsiteX13" fmla="*/ 120072 w 152237"/>
              <a:gd name="connsiteY13" fmla="*/ 69369 h 247584"/>
              <a:gd name="connsiteX14" fmla="*/ 138990 w 152237"/>
              <a:gd name="connsiteY14" fmla="*/ 56756 h 247584"/>
              <a:gd name="connsiteX15" fmla="*/ 151603 w 152237"/>
              <a:gd name="connsiteY15" fmla="*/ 44144 h 247584"/>
              <a:gd name="connsiteX16" fmla="*/ 145296 w 152237"/>
              <a:gd name="connsiteY16" fmla="*/ 25225 h 247584"/>
              <a:gd name="connsiteX17" fmla="*/ 126378 w 152237"/>
              <a:gd name="connsiteY17" fmla="*/ 12613 h 247584"/>
              <a:gd name="connsiteX18" fmla="*/ 113765 w 152237"/>
              <a:gd name="connsiteY18" fmla="*/ 0 h 247584"/>
              <a:gd name="connsiteX19" fmla="*/ 75928 w 152237"/>
              <a:gd name="connsiteY19" fmla="*/ 6307 h 247584"/>
              <a:gd name="connsiteX20" fmla="*/ 57010 w 152237"/>
              <a:gd name="connsiteY20" fmla="*/ 18919 h 247584"/>
              <a:gd name="connsiteX21" fmla="*/ 31785 w 152237"/>
              <a:gd name="connsiteY21" fmla="*/ 44144 h 247584"/>
              <a:gd name="connsiteX22" fmla="*/ 254 w 152237"/>
              <a:gd name="connsiteY22" fmla="*/ 63062 h 247584"/>
              <a:gd name="connsiteX23" fmla="*/ 25479 w 152237"/>
              <a:gd name="connsiteY23" fmla="*/ 37838 h 24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37" h="247584">
                <a:moveTo>
                  <a:pt x="25479" y="37838"/>
                </a:moveTo>
                <a:lnTo>
                  <a:pt x="25479" y="37838"/>
                </a:lnTo>
                <a:cubicBezTo>
                  <a:pt x="-1873" y="138127"/>
                  <a:pt x="-5444" y="111918"/>
                  <a:pt x="31785" y="245942"/>
                </a:cubicBezTo>
                <a:cubicBezTo>
                  <a:pt x="34105" y="254293"/>
                  <a:pt x="34215" y="228470"/>
                  <a:pt x="38091" y="220718"/>
                </a:cubicBezTo>
                <a:cubicBezTo>
                  <a:pt x="40750" y="215400"/>
                  <a:pt x="47405" y="213052"/>
                  <a:pt x="50703" y="208105"/>
                </a:cubicBezTo>
                <a:cubicBezTo>
                  <a:pt x="55918" y="200283"/>
                  <a:pt x="59613" y="191521"/>
                  <a:pt x="63316" y="182880"/>
                </a:cubicBezTo>
                <a:cubicBezTo>
                  <a:pt x="65934" y="176770"/>
                  <a:pt x="64922" y="168662"/>
                  <a:pt x="69622" y="163962"/>
                </a:cubicBezTo>
                <a:cubicBezTo>
                  <a:pt x="74323" y="159262"/>
                  <a:pt x="82235" y="159758"/>
                  <a:pt x="88541" y="157656"/>
                </a:cubicBezTo>
                <a:cubicBezTo>
                  <a:pt x="92271" y="183768"/>
                  <a:pt x="82318" y="208105"/>
                  <a:pt x="113765" y="208105"/>
                </a:cubicBezTo>
                <a:cubicBezTo>
                  <a:pt x="120412" y="208105"/>
                  <a:pt x="126378" y="203901"/>
                  <a:pt x="132684" y="201799"/>
                </a:cubicBezTo>
                <a:cubicBezTo>
                  <a:pt x="138990" y="195493"/>
                  <a:pt x="149153" y="191455"/>
                  <a:pt x="151603" y="182880"/>
                </a:cubicBezTo>
                <a:cubicBezTo>
                  <a:pt x="153984" y="174547"/>
                  <a:pt x="149172" y="165408"/>
                  <a:pt x="145296" y="157656"/>
                </a:cubicBezTo>
                <a:cubicBezTo>
                  <a:pt x="140802" y="148668"/>
                  <a:pt x="120452" y="136889"/>
                  <a:pt x="113765" y="132431"/>
                </a:cubicBezTo>
                <a:cubicBezTo>
                  <a:pt x="115867" y="111410"/>
                  <a:pt x="113392" y="89410"/>
                  <a:pt x="120072" y="69369"/>
                </a:cubicBezTo>
                <a:cubicBezTo>
                  <a:pt x="122469" y="62179"/>
                  <a:pt x="133072" y="61491"/>
                  <a:pt x="138990" y="56756"/>
                </a:cubicBezTo>
                <a:cubicBezTo>
                  <a:pt x="143633" y="53042"/>
                  <a:pt x="147399" y="48348"/>
                  <a:pt x="151603" y="44144"/>
                </a:cubicBezTo>
                <a:cubicBezTo>
                  <a:pt x="149501" y="37838"/>
                  <a:pt x="149449" y="30416"/>
                  <a:pt x="145296" y="25225"/>
                </a:cubicBezTo>
                <a:cubicBezTo>
                  <a:pt x="140561" y="19307"/>
                  <a:pt x="132296" y="17348"/>
                  <a:pt x="126378" y="12613"/>
                </a:cubicBezTo>
                <a:cubicBezTo>
                  <a:pt x="121735" y="8899"/>
                  <a:pt x="117969" y="4204"/>
                  <a:pt x="113765" y="0"/>
                </a:cubicBezTo>
                <a:cubicBezTo>
                  <a:pt x="101153" y="2102"/>
                  <a:pt x="88058" y="2263"/>
                  <a:pt x="75928" y="6307"/>
                </a:cubicBezTo>
                <a:cubicBezTo>
                  <a:pt x="68738" y="8704"/>
                  <a:pt x="62764" y="13987"/>
                  <a:pt x="57010" y="18919"/>
                </a:cubicBezTo>
                <a:cubicBezTo>
                  <a:pt x="47982" y="26658"/>
                  <a:pt x="40193" y="35736"/>
                  <a:pt x="31785" y="44144"/>
                </a:cubicBezTo>
                <a:cubicBezTo>
                  <a:pt x="21795" y="54134"/>
                  <a:pt x="16625" y="63062"/>
                  <a:pt x="254" y="63062"/>
                </a:cubicBezTo>
                <a:cubicBezTo>
                  <a:pt x="-2719" y="63062"/>
                  <a:pt x="21275" y="42042"/>
                  <a:pt x="25479" y="37838"/>
                </a:cubicBezTo>
                <a:close/>
              </a:path>
            </a:pathLst>
          </a:custGeom>
          <a:solidFill>
            <a:srgbClr val="FBBC7A">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9" name="Freeform 458">
            <a:extLst>
              <a:ext uri="{FF2B5EF4-FFF2-40B4-BE49-F238E27FC236}">
                <a16:creationId xmlns:a16="http://schemas.microsoft.com/office/drawing/2014/main" id="{648C68E9-A9D0-AE1D-59BD-063C2B6C2ADC}"/>
              </a:ext>
            </a:extLst>
          </p:cNvPr>
          <p:cNvSpPr/>
          <p:nvPr/>
        </p:nvSpPr>
        <p:spPr bwMode="gray">
          <a:xfrm>
            <a:off x="3054350" y="2498725"/>
            <a:ext cx="173038" cy="157163"/>
          </a:xfrm>
          <a:custGeom>
            <a:avLst/>
            <a:gdLst>
              <a:gd name="connsiteX0" fmla="*/ 64393 w 173755"/>
              <a:gd name="connsiteY0" fmla="*/ 25225 h 157655"/>
              <a:gd name="connsiteX1" fmla="*/ 64393 w 173755"/>
              <a:gd name="connsiteY1" fmla="*/ 25225 h 157655"/>
              <a:gd name="connsiteX2" fmla="*/ 1331 w 173755"/>
              <a:gd name="connsiteY2" fmla="*/ 44144 h 157655"/>
              <a:gd name="connsiteX3" fmla="*/ 32862 w 173755"/>
              <a:gd name="connsiteY3" fmla="*/ 81981 h 157655"/>
              <a:gd name="connsiteX4" fmla="*/ 77006 w 173755"/>
              <a:gd name="connsiteY4" fmla="*/ 151349 h 157655"/>
              <a:gd name="connsiteX5" fmla="*/ 58087 w 173755"/>
              <a:gd name="connsiteY5" fmla="*/ 157655 h 157655"/>
              <a:gd name="connsiteX6" fmla="*/ 95924 w 173755"/>
              <a:gd name="connsiteY6" fmla="*/ 151349 h 157655"/>
              <a:gd name="connsiteX7" fmla="*/ 108537 w 173755"/>
              <a:gd name="connsiteY7" fmla="*/ 138737 h 157655"/>
              <a:gd name="connsiteX8" fmla="*/ 121149 w 173755"/>
              <a:gd name="connsiteY8" fmla="*/ 100900 h 157655"/>
              <a:gd name="connsiteX9" fmla="*/ 127455 w 173755"/>
              <a:gd name="connsiteY9" fmla="*/ 81981 h 157655"/>
              <a:gd name="connsiteX10" fmla="*/ 114843 w 173755"/>
              <a:gd name="connsiteY10" fmla="*/ 69368 h 157655"/>
              <a:gd name="connsiteX11" fmla="*/ 152680 w 173755"/>
              <a:gd name="connsiteY11" fmla="*/ 44144 h 157655"/>
              <a:gd name="connsiteX12" fmla="*/ 171599 w 173755"/>
              <a:gd name="connsiteY12" fmla="*/ 31531 h 157655"/>
              <a:gd name="connsiteX13" fmla="*/ 146374 w 173755"/>
              <a:gd name="connsiteY13" fmla="*/ 0 h 157655"/>
              <a:gd name="connsiteX14" fmla="*/ 102231 w 173755"/>
              <a:gd name="connsiteY14" fmla="*/ 6306 h 157655"/>
              <a:gd name="connsiteX15" fmla="*/ 89618 w 173755"/>
              <a:gd name="connsiteY15" fmla="*/ 25225 h 157655"/>
              <a:gd name="connsiteX16" fmla="*/ 45475 w 173755"/>
              <a:gd name="connsiteY16" fmla="*/ 44144 h 157655"/>
              <a:gd name="connsiteX17" fmla="*/ 64393 w 173755"/>
              <a:gd name="connsiteY17" fmla="*/ 25225 h 15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3755" h="157655">
                <a:moveTo>
                  <a:pt x="64393" y="25225"/>
                </a:moveTo>
                <a:lnTo>
                  <a:pt x="64393" y="25225"/>
                </a:lnTo>
                <a:cubicBezTo>
                  <a:pt x="43372" y="31531"/>
                  <a:pt x="11989" y="24960"/>
                  <a:pt x="1331" y="44144"/>
                </a:cubicBezTo>
                <a:cubicBezTo>
                  <a:pt x="-6642" y="58496"/>
                  <a:pt x="23394" y="68568"/>
                  <a:pt x="32862" y="81981"/>
                </a:cubicBezTo>
                <a:cubicBezTo>
                  <a:pt x="48668" y="104372"/>
                  <a:pt x="62291" y="128226"/>
                  <a:pt x="77006" y="151349"/>
                </a:cubicBezTo>
                <a:cubicBezTo>
                  <a:pt x="70700" y="153451"/>
                  <a:pt x="51440" y="157655"/>
                  <a:pt x="58087" y="157655"/>
                </a:cubicBezTo>
                <a:cubicBezTo>
                  <a:pt x="70873" y="157655"/>
                  <a:pt x="83952" y="155838"/>
                  <a:pt x="95924" y="151349"/>
                </a:cubicBezTo>
                <a:cubicBezTo>
                  <a:pt x="101491" y="149261"/>
                  <a:pt x="104333" y="142941"/>
                  <a:pt x="108537" y="138737"/>
                </a:cubicBezTo>
                <a:lnTo>
                  <a:pt x="121149" y="100900"/>
                </a:lnTo>
                <a:lnTo>
                  <a:pt x="127455" y="81981"/>
                </a:lnTo>
                <a:cubicBezTo>
                  <a:pt x="123251" y="77777"/>
                  <a:pt x="113677" y="75198"/>
                  <a:pt x="114843" y="69368"/>
                </a:cubicBezTo>
                <a:cubicBezTo>
                  <a:pt x="118217" y="52498"/>
                  <a:pt x="140391" y="48240"/>
                  <a:pt x="152680" y="44144"/>
                </a:cubicBezTo>
                <a:cubicBezTo>
                  <a:pt x="158986" y="39940"/>
                  <a:pt x="169202" y="38721"/>
                  <a:pt x="171599" y="31531"/>
                </a:cubicBezTo>
                <a:cubicBezTo>
                  <a:pt x="180310" y="5400"/>
                  <a:pt x="160761" y="4796"/>
                  <a:pt x="146374" y="0"/>
                </a:cubicBezTo>
                <a:cubicBezTo>
                  <a:pt x="131660" y="2102"/>
                  <a:pt x="115814" y="269"/>
                  <a:pt x="102231" y="6306"/>
                </a:cubicBezTo>
                <a:cubicBezTo>
                  <a:pt x="95305" y="9384"/>
                  <a:pt x="94977" y="19866"/>
                  <a:pt x="89618" y="25225"/>
                </a:cubicBezTo>
                <a:cubicBezTo>
                  <a:pt x="75102" y="39741"/>
                  <a:pt x="64771" y="39319"/>
                  <a:pt x="45475" y="44144"/>
                </a:cubicBezTo>
                <a:lnTo>
                  <a:pt x="64393" y="25225"/>
                </a:lnTo>
                <a:close/>
              </a:path>
            </a:pathLst>
          </a:custGeom>
          <a:solidFill>
            <a:srgbClr val="FA677B">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0" name="Freeform 459">
            <a:extLst>
              <a:ext uri="{FF2B5EF4-FFF2-40B4-BE49-F238E27FC236}">
                <a16:creationId xmlns:a16="http://schemas.microsoft.com/office/drawing/2014/main" id="{0AC09D4F-5BC0-A93E-3736-70361D8D6E06}"/>
              </a:ext>
            </a:extLst>
          </p:cNvPr>
          <p:cNvSpPr/>
          <p:nvPr/>
        </p:nvSpPr>
        <p:spPr bwMode="gray">
          <a:xfrm>
            <a:off x="5322887" y="3249613"/>
            <a:ext cx="57150" cy="63500"/>
          </a:xfrm>
          <a:custGeom>
            <a:avLst/>
            <a:gdLst>
              <a:gd name="connsiteX0" fmla="*/ 21640 w 56995"/>
              <a:gd name="connsiteY0" fmla="*/ 0 h 64236"/>
              <a:gd name="connsiteX1" fmla="*/ 21640 w 56995"/>
              <a:gd name="connsiteY1" fmla="*/ 0 h 64236"/>
              <a:gd name="connsiteX2" fmla="*/ 2722 w 56995"/>
              <a:gd name="connsiteY2" fmla="*/ 56756 h 64236"/>
              <a:gd name="connsiteX3" fmla="*/ 53171 w 56995"/>
              <a:gd name="connsiteY3" fmla="*/ 50449 h 64236"/>
              <a:gd name="connsiteX4" fmla="*/ 46865 w 56995"/>
              <a:gd name="connsiteY4" fmla="*/ 12612 h 64236"/>
              <a:gd name="connsiteX5" fmla="*/ 27947 w 56995"/>
              <a:gd name="connsiteY5" fmla="*/ 6306 h 64236"/>
              <a:gd name="connsiteX6" fmla="*/ 21640 w 56995"/>
              <a:gd name="connsiteY6" fmla="*/ 0 h 6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95" h="64236">
                <a:moveTo>
                  <a:pt x="21640" y="0"/>
                </a:moveTo>
                <a:lnTo>
                  <a:pt x="21640" y="0"/>
                </a:lnTo>
                <a:cubicBezTo>
                  <a:pt x="15334" y="18919"/>
                  <a:pt x="-7847" y="39845"/>
                  <a:pt x="2722" y="56756"/>
                </a:cubicBezTo>
                <a:cubicBezTo>
                  <a:pt x="11704" y="71127"/>
                  <a:pt x="41188" y="62433"/>
                  <a:pt x="53171" y="50449"/>
                </a:cubicBezTo>
                <a:cubicBezTo>
                  <a:pt x="62212" y="41408"/>
                  <a:pt x="53209" y="23714"/>
                  <a:pt x="46865" y="12612"/>
                </a:cubicBezTo>
                <a:cubicBezTo>
                  <a:pt x="43567" y="6841"/>
                  <a:pt x="34253" y="8408"/>
                  <a:pt x="27947" y="6306"/>
                </a:cubicBezTo>
                <a:cubicBezTo>
                  <a:pt x="7034" y="13277"/>
                  <a:pt x="22691" y="1051"/>
                  <a:pt x="21640"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1" name="Rectangle 460">
            <a:extLst>
              <a:ext uri="{FF2B5EF4-FFF2-40B4-BE49-F238E27FC236}">
                <a16:creationId xmlns:a16="http://schemas.microsoft.com/office/drawing/2014/main" id="{976723BD-0D09-1096-9D8C-DD5DDE43931F}"/>
              </a:ext>
            </a:extLst>
          </p:cNvPr>
          <p:cNvSpPr/>
          <p:nvPr/>
        </p:nvSpPr>
        <p:spPr bwMode="gray">
          <a:xfrm>
            <a:off x="169863" y="4279900"/>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United States: 3,400 GW</a:t>
            </a:r>
          </a:p>
        </p:txBody>
      </p:sp>
      <p:sp>
        <p:nvSpPr>
          <p:cNvPr id="462" name="Rectangle 461">
            <a:extLst>
              <a:ext uri="{FF2B5EF4-FFF2-40B4-BE49-F238E27FC236}">
                <a16:creationId xmlns:a16="http://schemas.microsoft.com/office/drawing/2014/main" id="{34B6F680-4C6D-B9D6-8535-4739A7D0350A}"/>
              </a:ext>
            </a:extLst>
          </p:cNvPr>
          <p:cNvSpPr/>
          <p:nvPr/>
        </p:nvSpPr>
        <p:spPr bwMode="gray">
          <a:xfrm>
            <a:off x="4876800" y="4005264"/>
            <a:ext cx="825500" cy="15557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China: 300 GW </a:t>
            </a:r>
          </a:p>
        </p:txBody>
      </p:sp>
      <p:sp>
        <p:nvSpPr>
          <p:cNvPr id="463" name="Rectangle 462">
            <a:extLst>
              <a:ext uri="{FF2B5EF4-FFF2-40B4-BE49-F238E27FC236}">
                <a16:creationId xmlns:a16="http://schemas.microsoft.com/office/drawing/2014/main" id="{D53E90CD-7F8C-F63E-2F94-EEB9073E1E3E}"/>
              </a:ext>
            </a:extLst>
          </p:cNvPr>
          <p:cNvSpPr/>
          <p:nvPr/>
        </p:nvSpPr>
        <p:spPr bwMode="gray">
          <a:xfrm>
            <a:off x="3651250" y="4760913"/>
            <a:ext cx="733425"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India: 80 GW </a:t>
            </a:r>
          </a:p>
        </p:txBody>
      </p:sp>
      <p:sp>
        <p:nvSpPr>
          <p:cNvPr id="464" name="Rectangle 463">
            <a:extLst>
              <a:ext uri="{FF2B5EF4-FFF2-40B4-BE49-F238E27FC236}">
                <a16:creationId xmlns:a16="http://schemas.microsoft.com/office/drawing/2014/main" id="{5E40295F-1B09-87BB-774F-AA9986044AAE}"/>
              </a:ext>
            </a:extLst>
          </p:cNvPr>
          <p:cNvSpPr/>
          <p:nvPr/>
        </p:nvSpPr>
        <p:spPr bwMode="gray">
          <a:xfrm>
            <a:off x="4849813" y="4283075"/>
            <a:ext cx="865188" cy="28892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Southeast Asia: 64 GW </a:t>
            </a:r>
          </a:p>
        </p:txBody>
      </p:sp>
      <p:sp>
        <p:nvSpPr>
          <p:cNvPr id="465" name="Rectangle 464">
            <a:extLst>
              <a:ext uri="{FF2B5EF4-FFF2-40B4-BE49-F238E27FC236}">
                <a16:creationId xmlns:a16="http://schemas.microsoft.com/office/drawing/2014/main" id="{AF626505-FDB9-DD93-7590-FE1F4D76AB04}"/>
              </a:ext>
            </a:extLst>
          </p:cNvPr>
          <p:cNvSpPr/>
          <p:nvPr/>
        </p:nvSpPr>
        <p:spPr bwMode="gray">
          <a:xfrm>
            <a:off x="1954213" y="3800475"/>
            <a:ext cx="731838"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Europe: 50 GW </a:t>
            </a:r>
          </a:p>
        </p:txBody>
      </p:sp>
      <p:cxnSp>
        <p:nvCxnSpPr>
          <p:cNvPr id="466" name="Elbow Connector 465">
            <a:extLst>
              <a:ext uri="{FF2B5EF4-FFF2-40B4-BE49-F238E27FC236}">
                <a16:creationId xmlns:a16="http://schemas.microsoft.com/office/drawing/2014/main" id="{093B58F2-2597-6AD3-06D2-B03D339F5202}"/>
              </a:ext>
            </a:extLst>
          </p:cNvPr>
          <p:cNvCxnSpPr>
            <a:cxnSpLocks/>
            <a:stCxn id="469" idx="3"/>
            <a:endCxn id="462" idx="1"/>
          </p:cNvCxnSpPr>
          <p:nvPr/>
        </p:nvCxnSpPr>
        <p:spPr bwMode="gray">
          <a:xfrm rot="16200000" flipH="1">
            <a:off x="4647807" y="3854059"/>
            <a:ext cx="51194" cy="40679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7" name="Elbow Connector 466">
            <a:extLst>
              <a:ext uri="{FF2B5EF4-FFF2-40B4-BE49-F238E27FC236}">
                <a16:creationId xmlns:a16="http://schemas.microsoft.com/office/drawing/2014/main" id="{8435C878-3542-86E4-F0EF-83BD5DFE0863}"/>
              </a:ext>
            </a:extLst>
          </p:cNvPr>
          <p:cNvCxnSpPr>
            <a:cxnSpLocks/>
            <a:stCxn id="468" idx="0"/>
            <a:endCxn id="463" idx="0"/>
          </p:cNvCxnSpPr>
          <p:nvPr/>
        </p:nvCxnSpPr>
        <p:spPr bwMode="gray">
          <a:xfrm rot="16200000" flipH="1">
            <a:off x="3730228" y="4473178"/>
            <a:ext cx="547688" cy="277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68" name="Oval 467">
            <a:extLst>
              <a:ext uri="{FF2B5EF4-FFF2-40B4-BE49-F238E27FC236}">
                <a16:creationId xmlns:a16="http://schemas.microsoft.com/office/drawing/2014/main" id="{E05CF2D5-73D7-1A2E-3E43-9533291768A1}"/>
              </a:ext>
            </a:extLst>
          </p:cNvPr>
          <p:cNvSpPr/>
          <p:nvPr/>
        </p:nvSpPr>
        <p:spPr bwMode="gray">
          <a:xfrm flipV="1">
            <a:off x="3967162" y="4167187"/>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9" name="Oval 468">
            <a:extLst>
              <a:ext uri="{FF2B5EF4-FFF2-40B4-BE49-F238E27FC236}">
                <a16:creationId xmlns:a16="http://schemas.microsoft.com/office/drawing/2014/main" id="{59AF46B4-BF20-8EE6-790C-1965B27E47D5}"/>
              </a:ext>
            </a:extLst>
          </p:cNvPr>
          <p:cNvSpPr/>
          <p:nvPr/>
        </p:nvSpPr>
        <p:spPr bwMode="gray">
          <a:xfrm flipH="1">
            <a:off x="4430712" y="3992562"/>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70" name="Oval 469">
            <a:extLst>
              <a:ext uri="{FF2B5EF4-FFF2-40B4-BE49-F238E27FC236}">
                <a16:creationId xmlns:a16="http://schemas.microsoft.com/office/drawing/2014/main" id="{34F2E39E-F2B2-3336-D062-350FFE5B201B}"/>
              </a:ext>
            </a:extLst>
          </p:cNvPr>
          <p:cNvSpPr/>
          <p:nvPr/>
        </p:nvSpPr>
        <p:spPr bwMode="gray">
          <a:xfrm flipH="1">
            <a:off x="1360488" y="3856038"/>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71" name="Elbow Connector 470">
            <a:extLst>
              <a:ext uri="{FF2B5EF4-FFF2-40B4-BE49-F238E27FC236}">
                <a16:creationId xmlns:a16="http://schemas.microsoft.com/office/drawing/2014/main" id="{EDC5C4DC-B068-47DA-80AA-ECBA19616409}"/>
              </a:ext>
            </a:extLst>
          </p:cNvPr>
          <p:cNvCxnSpPr>
            <a:stCxn id="470" idx="7"/>
            <a:endCxn id="461" idx="0"/>
          </p:cNvCxnSpPr>
          <p:nvPr/>
        </p:nvCxnSpPr>
        <p:spPr bwMode="gray">
          <a:xfrm rot="16200000" flipH="1" flipV="1">
            <a:off x="844943" y="3757613"/>
            <a:ext cx="417120" cy="627454"/>
          </a:xfrm>
          <a:prstGeom prst="bentConnector3">
            <a:avLst>
              <a:gd name="adj1" fmla="val -5642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72" name="Rectangle 471">
            <a:extLst>
              <a:ext uri="{FF2B5EF4-FFF2-40B4-BE49-F238E27FC236}">
                <a16:creationId xmlns:a16="http://schemas.microsoft.com/office/drawing/2014/main" id="{5828A419-9364-5363-C1AD-B1F3D4F68A8D}"/>
              </a:ext>
            </a:extLst>
          </p:cNvPr>
          <p:cNvSpPr/>
          <p:nvPr/>
        </p:nvSpPr>
        <p:spPr bwMode="gray">
          <a:xfrm>
            <a:off x="246263" y="5734628"/>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Project InnerSpace</a:t>
            </a:r>
          </a:p>
        </p:txBody>
      </p:sp>
      <p:sp>
        <p:nvSpPr>
          <p:cNvPr id="473" name="Rectangle 472">
            <a:extLst>
              <a:ext uri="{FF2B5EF4-FFF2-40B4-BE49-F238E27FC236}">
                <a16:creationId xmlns:a16="http://schemas.microsoft.com/office/drawing/2014/main" id="{5EAD642F-451E-7969-43B1-F60A0F7EA399}"/>
              </a:ext>
            </a:extLst>
          </p:cNvPr>
          <p:cNvSpPr/>
          <p:nvPr/>
        </p:nvSpPr>
        <p:spPr bwMode="gray">
          <a:xfrm>
            <a:off x="252412" y="5933643"/>
            <a:ext cx="1135063" cy="180976"/>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IEA</a:t>
            </a:r>
          </a:p>
        </p:txBody>
      </p:sp>
      <p:sp>
        <p:nvSpPr>
          <p:cNvPr id="474" name="Rectangular Callout 473">
            <a:extLst>
              <a:ext uri="{FF2B5EF4-FFF2-40B4-BE49-F238E27FC236}">
                <a16:creationId xmlns:a16="http://schemas.microsoft.com/office/drawing/2014/main" id="{0EDE72DB-EF7E-7902-393D-EFE652F2F0FA}"/>
              </a:ext>
            </a:extLst>
          </p:cNvPr>
          <p:cNvSpPr/>
          <p:nvPr/>
        </p:nvSpPr>
        <p:spPr bwMode="gray">
          <a:xfrm>
            <a:off x="1982169" y="5592755"/>
            <a:ext cx="4305919" cy="693322"/>
          </a:xfrm>
          <a:prstGeom prst="wedgeRectCallout">
            <a:avLst>
              <a:gd name="adj1" fmla="val -62887"/>
              <a:gd name="adj2" fmla="val -959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Global next-gen geothermal projections vary. </a:t>
            </a:r>
            <a:r>
              <a:rPr kumimoji="0" lang="en-US" sz="800" b="1" i="0" u="none" strike="noStrike" kern="1200" cap="none" spc="0" normalizeH="0" baseline="0" noProof="0" dirty="0">
                <a:ln>
                  <a:noFill/>
                </a:ln>
                <a:solidFill>
                  <a:srgbClr val="000000"/>
                </a:solidFill>
                <a:effectLst/>
                <a:uLnTx/>
                <a:uFillTx/>
                <a:latin typeface="Arial"/>
                <a:ea typeface="+mn-ea"/>
                <a:cs typeface="+mn-cs"/>
              </a:rPr>
              <a:t>Project InnerSpace’s projections likely reflect greater accuracy of global geothermal potential, driven by superior subsurface data collection. IEA estimates are deliberately conservative, focusing on what is deployable under today’s policy, cost, and financing condition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5" name="Rectangle 474">
            <a:extLst>
              <a:ext uri="{FF2B5EF4-FFF2-40B4-BE49-F238E27FC236}">
                <a16:creationId xmlns:a16="http://schemas.microsoft.com/office/drawing/2014/main" id="{7BD9D32E-3A6C-8EFD-B7B0-E99A376E059E}"/>
              </a:ext>
            </a:extLst>
          </p:cNvPr>
          <p:cNvSpPr/>
          <p:nvPr/>
        </p:nvSpPr>
        <p:spPr bwMode="gray">
          <a:xfrm>
            <a:off x="188914" y="4478338"/>
            <a:ext cx="1109661" cy="153987"/>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United States: 200 GW </a:t>
            </a:r>
          </a:p>
        </p:txBody>
      </p:sp>
    </p:spTree>
    <p:extLst>
      <p:ext uri="{BB962C8B-B14F-4D97-AF65-F5344CB8AC3E}">
        <p14:creationId xmlns:p14="http://schemas.microsoft.com/office/powerpoint/2010/main" val="1268803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76EE1BE-82F8-7C0F-4A26-6CDD9B1C274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10" name="think-cell data - do not delete" hidden="1">
                        <a:extLst>
                          <a:ext uri="{FF2B5EF4-FFF2-40B4-BE49-F238E27FC236}">
                            <a16:creationId xmlns:a16="http://schemas.microsoft.com/office/drawing/2014/main" id="{276EE1BE-82F8-7C0F-4A26-6CDD9B1C2746}"/>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FA4271A-1E26-BA7A-E693-256EC69B89AF}"/>
              </a:ext>
            </a:extLst>
          </p:cNvPr>
          <p:cNvSpPr>
            <a:spLocks noGrp="1"/>
          </p:cNvSpPr>
          <p:nvPr>
            <p:ph type="title"/>
          </p:nvPr>
        </p:nvSpPr>
        <p:spPr/>
        <p:txBody>
          <a:bodyPr vert="horz" rIns="91440"/>
          <a:lstStyle/>
          <a:p>
            <a:r>
              <a:rPr lang="en-US" dirty="0"/>
              <a:t>Geothermal power offers clean baseload capacity to replace retiring coal plants and prevent overreliance on </a:t>
            </a:r>
            <a:r>
              <a:rPr lang="en-US" dirty="0" err="1"/>
              <a:t>peaker</a:t>
            </a:r>
            <a:r>
              <a:rPr lang="en-US" dirty="0"/>
              <a:t> plants</a:t>
            </a:r>
          </a:p>
        </p:txBody>
      </p:sp>
      <p:sp>
        <p:nvSpPr>
          <p:cNvPr id="6" name="Footer Placeholder 5">
            <a:extLst>
              <a:ext uri="{FF2B5EF4-FFF2-40B4-BE49-F238E27FC236}">
                <a16:creationId xmlns:a16="http://schemas.microsoft.com/office/drawing/2014/main" id="{52BE27AE-6CF7-09B4-2138-BDA3495B9348}"/>
              </a:ext>
            </a:extLst>
          </p:cNvPr>
          <p:cNvSpPr>
            <a:spLocks noGrp="1"/>
          </p:cNvSpPr>
          <p:nvPr>
            <p:ph type="ftr" sz="quarter" idx="3"/>
          </p:nvPr>
        </p:nvSpPr>
        <p:spPr/>
        <p: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Cumulative Investment for Next-Generation Geothermal 2025-2050</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The Duck Pond</a:t>
            </a:r>
            <a:r>
              <a:rPr kumimoji="0" lang="en-US" sz="800" b="0" i="0" u="none" strike="noStrike" kern="1200" cap="none" spc="0" normalizeH="0" baseline="0" noProof="0" dirty="0">
                <a:ln>
                  <a:noFill/>
                </a:ln>
                <a:solidFill>
                  <a:srgbClr val="000000"/>
                </a:solidFill>
                <a:effectLst/>
                <a:uLnTx/>
                <a:uFillTx/>
                <a:latin typeface="Arial"/>
                <a:ea typeface="+mn-ea"/>
                <a:cs typeface="+mn-cs"/>
              </a:rPr>
              <a:t> (Power-</a:t>
            </a:r>
            <a:r>
              <a:rPr kumimoji="0" lang="en-US" sz="800" b="0" i="0" u="none" strike="noStrike" kern="1200" cap="none" spc="0" normalizeH="0" baseline="0" noProof="0" dirty="0" err="1">
                <a:ln>
                  <a:noFill/>
                </a:ln>
                <a:solidFill>
                  <a:srgbClr val="000000"/>
                </a:solidFill>
                <a:effectLst/>
                <a:uLnTx/>
                <a:uFillTx/>
                <a:latin typeface="Arial"/>
                <a:ea typeface="+mn-ea"/>
                <a:cs typeface="+mn-cs"/>
              </a:rPr>
              <a:t>Eng.com</a:t>
            </a:r>
            <a:r>
              <a:rPr kumimoji="0" lang="en-US" sz="800" b="0" i="0" u="none" strike="noStrike" kern="1200" cap="none" spc="0" normalizeH="0" baseline="0" noProof="0" dirty="0">
                <a:ln>
                  <a:noFill/>
                </a:ln>
                <a:solidFill>
                  <a:srgbClr val="000000"/>
                </a:solidFill>
                <a:effectLst/>
                <a:uLnTx/>
                <a:uFillTx/>
                <a:latin typeface="Arial"/>
                <a:ea typeface="+mn-ea"/>
                <a:cs typeface="+mn-cs"/>
              </a:rPr>
              <a:t>, 2016);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Baseload Power</a:t>
            </a:r>
            <a:r>
              <a:rPr kumimoji="0" lang="en-US" sz="800" b="0" i="0" u="none" strike="noStrike" kern="1200" cap="none" spc="0" normalizeH="0" baseline="0" noProof="0" dirty="0">
                <a:ln>
                  <a:noFill/>
                </a:ln>
                <a:solidFill>
                  <a:srgbClr val="000000"/>
                </a:solidFill>
                <a:effectLst/>
                <a:uLnTx/>
                <a:uFillTx/>
                <a:latin typeface="Arial"/>
                <a:ea typeface="+mn-ea"/>
                <a:cs typeface="+mn-cs"/>
              </a:rPr>
              <a:t> (Energy Educ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2025 Global Energy Perspective</a:t>
            </a:r>
            <a:r>
              <a:rPr kumimoji="0" lang="en-US" sz="800" b="0" i="0" u="none" strike="noStrike" kern="1200" cap="none" spc="0" normalizeH="0" baseline="0" noProof="0" dirty="0">
                <a:ln>
                  <a:noFill/>
                </a:ln>
                <a:solidFill>
                  <a:srgbClr val="000000"/>
                </a:solidFill>
                <a:effectLst/>
                <a:uLnTx/>
                <a:uFillTx/>
                <a:latin typeface="Arial"/>
                <a:ea typeface="+mn-ea"/>
                <a:cs typeface="+mn-cs"/>
              </a:rPr>
              <a:t> (McKinsey, 2025).</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31"/>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3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Text Placeholder 6">
            <a:extLst>
              <a:ext uri="{FF2B5EF4-FFF2-40B4-BE49-F238E27FC236}">
                <a16:creationId xmlns:a16="http://schemas.microsoft.com/office/drawing/2014/main" id="{9957516D-53A2-B646-FD48-043EE12949B9}"/>
              </a:ext>
            </a:extLst>
          </p:cNvPr>
          <p:cNvSpPr>
            <a:spLocks noGrp="1"/>
          </p:cNvSpPr>
          <p:nvPr>
            <p:ph type="body" sz="quarter" idx="13"/>
          </p:nvPr>
        </p:nvSpPr>
        <p:spPr/>
        <p:txBody>
          <a:bodyPr/>
          <a:lstStyle/>
          <a:p>
            <a:r>
              <a:rPr lang="en-US" dirty="0">
                <a:solidFill>
                  <a:srgbClr val="000000"/>
                </a:solidFill>
              </a:rPr>
              <a:t>Loss of baseload power leads to overreliance on </a:t>
            </a:r>
            <a:r>
              <a:rPr lang="en-US" dirty="0" err="1">
                <a:solidFill>
                  <a:srgbClr val="000000"/>
                </a:solidFill>
              </a:rPr>
              <a:t>peaker</a:t>
            </a:r>
            <a:r>
              <a:rPr lang="en-US" dirty="0">
                <a:solidFill>
                  <a:srgbClr val="000000"/>
                </a:solidFill>
              </a:rPr>
              <a:t> plants and can drive up costs for consumers</a:t>
            </a:r>
          </a:p>
        </p:txBody>
      </p:sp>
      <p:sp>
        <p:nvSpPr>
          <p:cNvPr id="8" name="Text Placeholder 7">
            <a:extLst>
              <a:ext uri="{FF2B5EF4-FFF2-40B4-BE49-F238E27FC236}">
                <a16:creationId xmlns:a16="http://schemas.microsoft.com/office/drawing/2014/main" id="{15A54ECB-40ED-CB33-F288-E934CA926C57}"/>
              </a:ext>
            </a:extLst>
          </p:cNvPr>
          <p:cNvSpPr>
            <a:spLocks noGrp="1"/>
          </p:cNvSpPr>
          <p:nvPr>
            <p:ph type="body" sz="quarter" idx="16"/>
          </p:nvPr>
        </p:nvSpPr>
        <p:spPr/>
        <p:txBody>
          <a:bodyPr/>
          <a:lstStyle/>
          <a:p>
            <a:r>
              <a:rPr lang="en-US" dirty="0">
                <a:solidFill>
                  <a:srgbClr val="000000"/>
                </a:solidFill>
              </a:rPr>
              <a:t>Heavy dependence on intermittent renewables without baseload capacity threatens grid reliability</a:t>
            </a:r>
          </a:p>
        </p:txBody>
      </p:sp>
      <p:sp>
        <p:nvSpPr>
          <p:cNvPr id="9" name="Text Placeholder 1">
            <a:extLst>
              <a:ext uri="{FF2B5EF4-FFF2-40B4-BE49-F238E27FC236}">
                <a16:creationId xmlns:a16="http://schemas.microsoft.com/office/drawing/2014/main" id="{43EC83F0-FD98-FE88-15F8-59EB87FE0058}"/>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sp>
        <p:nvSpPr>
          <p:cNvPr id="11" name="Rectangular Callout 10">
            <a:extLst>
              <a:ext uri="{FF2B5EF4-FFF2-40B4-BE49-F238E27FC236}">
                <a16:creationId xmlns:a16="http://schemas.microsoft.com/office/drawing/2014/main" id="{49BF60D9-F151-8061-350B-966D69EFE49D}"/>
              </a:ext>
            </a:extLst>
          </p:cNvPr>
          <p:cNvSpPr/>
          <p:nvPr/>
        </p:nvSpPr>
        <p:spPr bwMode="gray">
          <a:xfrm>
            <a:off x="6453307" y="5489797"/>
            <a:ext cx="1928694" cy="451362"/>
          </a:xfrm>
          <a:prstGeom prst="wedgeRectCallout">
            <a:avLst>
              <a:gd name="adj1" fmla="val -24679"/>
              <a:gd name="adj2" fmla="val -6843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Fossil energy will plateau despite energy demand increasing.</a:t>
            </a:r>
          </a:p>
        </p:txBody>
      </p:sp>
      <p:sp>
        <p:nvSpPr>
          <p:cNvPr id="12" name="Rectangular Callout 11">
            <a:extLst>
              <a:ext uri="{FF2B5EF4-FFF2-40B4-BE49-F238E27FC236}">
                <a16:creationId xmlns:a16="http://schemas.microsoft.com/office/drawing/2014/main" id="{31F18B04-5F73-6559-67E8-5D82E27B8D98}"/>
              </a:ext>
            </a:extLst>
          </p:cNvPr>
          <p:cNvSpPr/>
          <p:nvPr/>
        </p:nvSpPr>
        <p:spPr bwMode="gray">
          <a:xfrm>
            <a:off x="9132887" y="5484812"/>
            <a:ext cx="2597151" cy="574455"/>
          </a:xfrm>
          <a:prstGeom prst="wedgeRectCallout">
            <a:avLst>
              <a:gd name="adj1" fmla="val 17842"/>
              <a:gd name="adj2" fmla="val -73062"/>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Grids that are overreliant on wind and solar (intermittent energy) without baseload capacity risk rolling blackouts during periods of low renewable generation.</a:t>
            </a:r>
          </a:p>
        </p:txBody>
      </p:sp>
      <p:sp>
        <p:nvSpPr>
          <p:cNvPr id="13" name="btfpColumnHeaderBoxText223027">
            <a:extLst>
              <a:ext uri="{FF2B5EF4-FFF2-40B4-BE49-F238E27FC236}">
                <a16:creationId xmlns:a16="http://schemas.microsoft.com/office/drawing/2014/main" id="{E84B2216-7F91-E029-0C15-E7BE64978B0B}"/>
              </a:ext>
            </a:extLst>
          </p:cNvPr>
          <p:cNvSpPr txBox="1"/>
          <p:nvPr/>
        </p:nvSpPr>
        <p:spPr bwMode="gray">
          <a:xfrm rot="16200000">
            <a:off x="5169700" y="3362769"/>
            <a:ext cx="1554705" cy="211275"/>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Cost of generation ($) </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btfpColumnHeaderBoxText223027">
            <a:extLst>
              <a:ext uri="{FF2B5EF4-FFF2-40B4-BE49-F238E27FC236}">
                <a16:creationId xmlns:a16="http://schemas.microsoft.com/office/drawing/2014/main" id="{2297651A-5F42-01AC-97A0-BF408046E7B9}"/>
              </a:ext>
            </a:extLst>
          </p:cNvPr>
          <p:cNvSpPr txBox="1"/>
          <p:nvPr/>
        </p:nvSpPr>
        <p:spPr bwMode="gray">
          <a:xfrm>
            <a:off x="329184" y="2072541"/>
            <a:ext cx="3989628" cy="226664"/>
          </a:xfrm>
          <a:prstGeom prst="rect">
            <a:avLst/>
          </a:prstGeom>
          <a:solidFill>
            <a:schemeClr val="bg1"/>
          </a:solid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Hourly net load (year average) in California</a:t>
            </a:r>
          </a:p>
        </p:txBody>
      </p:sp>
      <p:sp>
        <p:nvSpPr>
          <p:cNvPr id="15" name="btfpColumnHeaderBoxText223027">
            <a:extLst>
              <a:ext uri="{FF2B5EF4-FFF2-40B4-BE49-F238E27FC236}">
                <a16:creationId xmlns:a16="http://schemas.microsoft.com/office/drawing/2014/main" id="{C56EAC2D-1E62-5CC8-EDE9-940A20FCFB1F}"/>
              </a:ext>
            </a:extLst>
          </p:cNvPr>
          <p:cNvSpPr txBox="1"/>
          <p:nvPr/>
        </p:nvSpPr>
        <p:spPr bwMode="gray">
          <a:xfrm>
            <a:off x="6197599" y="2077886"/>
            <a:ext cx="5659439" cy="22666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Global final energy consumption for Continued Momentum scenario, by fuel, </a:t>
            </a:r>
            <a:r>
              <a:rPr kumimoji="0" lang="en-US" sz="1000" b="0" i="1" u="none" strike="noStrike" kern="1200" cap="none" spc="0" normalizeH="0" baseline="0" noProof="0" dirty="0">
                <a:ln>
                  <a:noFill/>
                </a:ln>
                <a:solidFill>
                  <a:srgbClr val="000000"/>
                </a:solidFill>
                <a:effectLst/>
                <a:uLnTx/>
                <a:uFillTx/>
                <a:latin typeface="Arial"/>
                <a:ea typeface="+mn-ea"/>
                <a:cs typeface="+mn-cs"/>
              </a:rPr>
              <a:t>millions of terajoules</a:t>
            </a:r>
          </a:p>
        </p:txBody>
      </p:sp>
      <p:sp>
        <p:nvSpPr>
          <p:cNvPr id="16" name="Right Arrow 15">
            <a:extLst>
              <a:ext uri="{FF2B5EF4-FFF2-40B4-BE49-F238E27FC236}">
                <a16:creationId xmlns:a16="http://schemas.microsoft.com/office/drawing/2014/main" id="{BFDDF221-32E2-1586-FA1D-152095205272}"/>
              </a:ext>
            </a:extLst>
          </p:cNvPr>
          <p:cNvSpPr/>
          <p:nvPr/>
        </p:nvSpPr>
        <p:spPr bwMode="gray">
          <a:xfrm rot="16200000">
            <a:off x="4403665" y="3548665"/>
            <a:ext cx="2658567" cy="159628"/>
          </a:xfrm>
          <a:prstGeom prst="rightArrow">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1DEB8AF-478C-41A1-FF13-EBB49DA09302}"/>
              </a:ext>
            </a:extLst>
          </p:cNvPr>
          <p:cNvSpPr/>
          <p:nvPr/>
        </p:nvSpPr>
        <p:spPr bwMode="gray">
          <a:xfrm>
            <a:off x="774700" y="5215977"/>
            <a:ext cx="4762500" cy="2232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What is baseload?</a:t>
            </a:r>
          </a:p>
        </p:txBody>
      </p:sp>
      <p:grpSp>
        <p:nvGrpSpPr>
          <p:cNvPr id="18" name="Group 17">
            <a:extLst>
              <a:ext uri="{FF2B5EF4-FFF2-40B4-BE49-F238E27FC236}">
                <a16:creationId xmlns:a16="http://schemas.microsoft.com/office/drawing/2014/main" id="{32C50070-0050-1975-D020-EA9355026F06}"/>
              </a:ext>
            </a:extLst>
          </p:cNvPr>
          <p:cNvGrpSpPr/>
          <p:nvPr/>
        </p:nvGrpSpPr>
        <p:grpSpPr>
          <a:xfrm>
            <a:off x="170577" y="2309732"/>
            <a:ext cx="5365082" cy="2768795"/>
            <a:chOff x="504583" y="1182752"/>
            <a:chExt cx="9337914" cy="5349210"/>
          </a:xfrm>
        </p:grpSpPr>
        <p:sp>
          <p:nvSpPr>
            <p:cNvPr id="19" name="Rectangle 18">
              <a:extLst>
                <a:ext uri="{FF2B5EF4-FFF2-40B4-BE49-F238E27FC236}">
                  <a16:creationId xmlns:a16="http://schemas.microsoft.com/office/drawing/2014/main" id="{EE5997B5-A2C5-CAB5-7624-A6271ABA28FA}"/>
                </a:ext>
              </a:extLst>
            </p:cNvPr>
            <p:cNvSpPr/>
            <p:nvPr/>
          </p:nvSpPr>
          <p:spPr bwMode="gray">
            <a:xfrm>
              <a:off x="1650998" y="5295405"/>
              <a:ext cx="8191499" cy="8991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7708D91-7063-F084-EE3E-1B56535783C3}"/>
                </a:ext>
              </a:extLst>
            </p:cNvPr>
            <p:cNvSpPr/>
            <p:nvPr/>
          </p:nvSpPr>
          <p:spPr bwMode="gray">
            <a:xfrm>
              <a:off x="1625599" y="1342974"/>
              <a:ext cx="8203690" cy="1251317"/>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DC210C4-C319-D7F5-7029-7EC0D2E8A7BB}"/>
                </a:ext>
              </a:extLst>
            </p:cNvPr>
            <p:cNvSpPr/>
            <p:nvPr/>
          </p:nvSpPr>
          <p:spPr bwMode="gray">
            <a:xfrm>
              <a:off x="1637791" y="2594291"/>
              <a:ext cx="8191498" cy="2686346"/>
            </a:xfrm>
            <a:prstGeom prst="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21">
              <a:extLst>
                <a:ext uri="{FF2B5EF4-FFF2-40B4-BE49-F238E27FC236}">
                  <a16:creationId xmlns:a16="http://schemas.microsoft.com/office/drawing/2014/main" id="{A963A237-9EC0-9044-7223-D787B07F0B9E}"/>
                </a:ext>
              </a:extLst>
            </p:cNvPr>
            <p:cNvSpPr/>
            <p:nvPr/>
          </p:nvSpPr>
          <p:spPr bwMode="gray">
            <a:xfrm>
              <a:off x="1778000" y="2310290"/>
              <a:ext cx="7848600" cy="1121959"/>
            </a:xfrm>
            <a:custGeom>
              <a:avLst/>
              <a:gdLst>
                <a:gd name="connsiteX0" fmla="*/ 0 w 7848600"/>
                <a:gd name="connsiteY0" fmla="*/ 661510 h 1121959"/>
                <a:gd name="connsiteX1" fmla="*/ 393700 w 7848600"/>
                <a:gd name="connsiteY1" fmla="*/ 928210 h 1121959"/>
                <a:gd name="connsiteX2" fmla="*/ 1016000 w 7848600"/>
                <a:gd name="connsiteY2" fmla="*/ 1118710 h 1121959"/>
                <a:gd name="connsiteX3" fmla="*/ 1676400 w 7848600"/>
                <a:gd name="connsiteY3" fmla="*/ 1042510 h 1121959"/>
                <a:gd name="connsiteX4" fmla="*/ 2235200 w 7848600"/>
                <a:gd name="connsiteY4" fmla="*/ 966310 h 1121959"/>
                <a:gd name="connsiteX5" fmla="*/ 2374900 w 7848600"/>
                <a:gd name="connsiteY5" fmla="*/ 940910 h 1121959"/>
                <a:gd name="connsiteX6" fmla="*/ 3048000 w 7848600"/>
                <a:gd name="connsiteY6" fmla="*/ 458310 h 1121959"/>
                <a:gd name="connsiteX7" fmla="*/ 3454400 w 7848600"/>
                <a:gd name="connsiteY7" fmla="*/ 369410 h 1121959"/>
                <a:gd name="connsiteX8" fmla="*/ 3733800 w 7848600"/>
                <a:gd name="connsiteY8" fmla="*/ 369410 h 1121959"/>
                <a:gd name="connsiteX9" fmla="*/ 4483100 w 7848600"/>
                <a:gd name="connsiteY9" fmla="*/ 572610 h 1121959"/>
                <a:gd name="connsiteX10" fmla="*/ 4991100 w 7848600"/>
                <a:gd name="connsiteY10" fmla="*/ 737710 h 1121959"/>
                <a:gd name="connsiteX11" fmla="*/ 5219700 w 7848600"/>
                <a:gd name="connsiteY11" fmla="*/ 788510 h 1121959"/>
                <a:gd name="connsiteX12" fmla="*/ 5613400 w 7848600"/>
                <a:gd name="connsiteY12" fmla="*/ 737710 h 1121959"/>
                <a:gd name="connsiteX13" fmla="*/ 6108700 w 7848600"/>
                <a:gd name="connsiteY13" fmla="*/ 547210 h 1121959"/>
                <a:gd name="connsiteX14" fmla="*/ 6438900 w 7848600"/>
                <a:gd name="connsiteY14" fmla="*/ 191610 h 1121959"/>
                <a:gd name="connsiteX15" fmla="*/ 6604000 w 7848600"/>
                <a:gd name="connsiteY15" fmla="*/ 90010 h 1121959"/>
                <a:gd name="connsiteX16" fmla="*/ 6845300 w 7848600"/>
                <a:gd name="connsiteY16" fmla="*/ 1110 h 1121959"/>
                <a:gd name="connsiteX17" fmla="*/ 7188200 w 7848600"/>
                <a:gd name="connsiteY17" fmla="*/ 153510 h 1121959"/>
                <a:gd name="connsiteX18" fmla="*/ 7848600 w 7848600"/>
                <a:gd name="connsiteY18" fmla="*/ 813910 h 11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8600" h="1121959">
                  <a:moveTo>
                    <a:pt x="0" y="661510"/>
                  </a:moveTo>
                  <a:cubicBezTo>
                    <a:pt x="112183" y="756760"/>
                    <a:pt x="224367" y="852010"/>
                    <a:pt x="393700" y="928210"/>
                  </a:cubicBezTo>
                  <a:cubicBezTo>
                    <a:pt x="563033" y="1004410"/>
                    <a:pt x="802217" y="1099660"/>
                    <a:pt x="1016000" y="1118710"/>
                  </a:cubicBezTo>
                  <a:cubicBezTo>
                    <a:pt x="1229783" y="1137760"/>
                    <a:pt x="1473200" y="1067910"/>
                    <a:pt x="1676400" y="1042510"/>
                  </a:cubicBezTo>
                  <a:cubicBezTo>
                    <a:pt x="1879600" y="1017110"/>
                    <a:pt x="2118783" y="983243"/>
                    <a:pt x="2235200" y="966310"/>
                  </a:cubicBezTo>
                  <a:cubicBezTo>
                    <a:pt x="2351617" y="949377"/>
                    <a:pt x="2239433" y="1025577"/>
                    <a:pt x="2374900" y="940910"/>
                  </a:cubicBezTo>
                  <a:cubicBezTo>
                    <a:pt x="2510367" y="856243"/>
                    <a:pt x="2868083" y="553560"/>
                    <a:pt x="3048000" y="458310"/>
                  </a:cubicBezTo>
                  <a:cubicBezTo>
                    <a:pt x="3227917" y="363060"/>
                    <a:pt x="3340100" y="384227"/>
                    <a:pt x="3454400" y="369410"/>
                  </a:cubicBezTo>
                  <a:cubicBezTo>
                    <a:pt x="3568700" y="354593"/>
                    <a:pt x="3562350" y="335543"/>
                    <a:pt x="3733800" y="369410"/>
                  </a:cubicBezTo>
                  <a:cubicBezTo>
                    <a:pt x="3905250" y="403277"/>
                    <a:pt x="4273550" y="511227"/>
                    <a:pt x="4483100" y="572610"/>
                  </a:cubicBezTo>
                  <a:cubicBezTo>
                    <a:pt x="4692650" y="633993"/>
                    <a:pt x="4868333" y="701727"/>
                    <a:pt x="4991100" y="737710"/>
                  </a:cubicBezTo>
                  <a:cubicBezTo>
                    <a:pt x="5113867" y="773693"/>
                    <a:pt x="5115983" y="788510"/>
                    <a:pt x="5219700" y="788510"/>
                  </a:cubicBezTo>
                  <a:cubicBezTo>
                    <a:pt x="5323417" y="788510"/>
                    <a:pt x="5465233" y="777927"/>
                    <a:pt x="5613400" y="737710"/>
                  </a:cubicBezTo>
                  <a:cubicBezTo>
                    <a:pt x="5761567" y="697493"/>
                    <a:pt x="5971117" y="638227"/>
                    <a:pt x="6108700" y="547210"/>
                  </a:cubicBezTo>
                  <a:cubicBezTo>
                    <a:pt x="6246283" y="456193"/>
                    <a:pt x="6356350" y="267810"/>
                    <a:pt x="6438900" y="191610"/>
                  </a:cubicBezTo>
                  <a:cubicBezTo>
                    <a:pt x="6521450" y="115410"/>
                    <a:pt x="6536267" y="121760"/>
                    <a:pt x="6604000" y="90010"/>
                  </a:cubicBezTo>
                  <a:cubicBezTo>
                    <a:pt x="6671733" y="58260"/>
                    <a:pt x="6747933" y="-9473"/>
                    <a:pt x="6845300" y="1110"/>
                  </a:cubicBezTo>
                  <a:cubicBezTo>
                    <a:pt x="6942667" y="11693"/>
                    <a:pt x="7020983" y="18043"/>
                    <a:pt x="7188200" y="153510"/>
                  </a:cubicBezTo>
                  <a:cubicBezTo>
                    <a:pt x="7355417" y="288977"/>
                    <a:pt x="7602008" y="551443"/>
                    <a:pt x="7848600" y="813910"/>
                  </a:cubicBezTo>
                </a:path>
              </a:pathLst>
            </a:custGeom>
            <a:ln/>
          </p:spPr>
          <p:style>
            <a:lnRef idx="3">
              <a:schemeClr val="accent4"/>
            </a:lnRef>
            <a:fillRef idx="0">
              <a:schemeClr val="accent4"/>
            </a:fillRef>
            <a:effectRef idx="2">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22">
              <a:extLst>
                <a:ext uri="{FF2B5EF4-FFF2-40B4-BE49-F238E27FC236}">
                  <a16:creationId xmlns:a16="http://schemas.microsoft.com/office/drawing/2014/main" id="{543B1876-6051-F182-1141-978BF57DF1F0}"/>
                </a:ext>
              </a:extLst>
            </p:cNvPr>
            <p:cNvSpPr/>
            <p:nvPr/>
          </p:nvSpPr>
          <p:spPr bwMode="gray">
            <a:xfrm>
              <a:off x="1752600" y="1943082"/>
              <a:ext cx="7874000" cy="1574430"/>
            </a:xfrm>
            <a:custGeom>
              <a:avLst/>
              <a:gdLst>
                <a:gd name="connsiteX0" fmla="*/ 0 w 7874000"/>
                <a:gd name="connsiteY0" fmla="*/ 1092218 h 1574430"/>
                <a:gd name="connsiteX1" fmla="*/ 596900 w 7874000"/>
                <a:gd name="connsiteY1" fmla="*/ 1397018 h 1574430"/>
                <a:gd name="connsiteX2" fmla="*/ 838200 w 7874000"/>
                <a:gd name="connsiteY2" fmla="*/ 1473218 h 1574430"/>
                <a:gd name="connsiteX3" fmla="*/ 1092200 w 7874000"/>
                <a:gd name="connsiteY3" fmla="*/ 1536718 h 1574430"/>
                <a:gd name="connsiteX4" fmla="*/ 1384300 w 7874000"/>
                <a:gd name="connsiteY4" fmla="*/ 1485918 h 1574430"/>
                <a:gd name="connsiteX5" fmla="*/ 1917700 w 7874000"/>
                <a:gd name="connsiteY5" fmla="*/ 1435118 h 1574430"/>
                <a:gd name="connsiteX6" fmla="*/ 2413000 w 7874000"/>
                <a:gd name="connsiteY6" fmla="*/ 1371618 h 1574430"/>
                <a:gd name="connsiteX7" fmla="*/ 2463800 w 7874000"/>
                <a:gd name="connsiteY7" fmla="*/ 1308118 h 1574430"/>
                <a:gd name="connsiteX8" fmla="*/ 2590800 w 7874000"/>
                <a:gd name="connsiteY8" fmla="*/ 1358918 h 1574430"/>
                <a:gd name="connsiteX9" fmla="*/ 2755900 w 7874000"/>
                <a:gd name="connsiteY9" fmla="*/ 1231918 h 1574430"/>
                <a:gd name="connsiteX10" fmla="*/ 3340100 w 7874000"/>
                <a:gd name="connsiteY10" fmla="*/ 1358918 h 1574430"/>
                <a:gd name="connsiteX11" fmla="*/ 4470400 w 7874000"/>
                <a:gd name="connsiteY11" fmla="*/ 1562118 h 1574430"/>
                <a:gd name="connsiteX12" fmla="*/ 5448300 w 7874000"/>
                <a:gd name="connsiteY12" fmla="*/ 1524018 h 1574430"/>
                <a:gd name="connsiteX13" fmla="*/ 5842000 w 7874000"/>
                <a:gd name="connsiteY13" fmla="*/ 1295418 h 1574430"/>
                <a:gd name="connsiteX14" fmla="*/ 6146800 w 7874000"/>
                <a:gd name="connsiteY14" fmla="*/ 939818 h 1574430"/>
                <a:gd name="connsiteX15" fmla="*/ 6388100 w 7874000"/>
                <a:gd name="connsiteY15" fmla="*/ 444518 h 1574430"/>
                <a:gd name="connsiteX16" fmla="*/ 6565900 w 7874000"/>
                <a:gd name="connsiteY16" fmla="*/ 254018 h 1574430"/>
                <a:gd name="connsiteX17" fmla="*/ 6845300 w 7874000"/>
                <a:gd name="connsiteY17" fmla="*/ 18 h 1574430"/>
                <a:gd name="connsiteX18" fmla="*/ 7226300 w 7874000"/>
                <a:gd name="connsiteY18" fmla="*/ 266718 h 1574430"/>
                <a:gd name="connsiteX19" fmla="*/ 7518400 w 7874000"/>
                <a:gd name="connsiteY19" fmla="*/ 571518 h 1574430"/>
                <a:gd name="connsiteX20" fmla="*/ 7734300 w 7874000"/>
                <a:gd name="connsiteY20" fmla="*/ 863618 h 1574430"/>
                <a:gd name="connsiteX21" fmla="*/ 7874000 w 7874000"/>
                <a:gd name="connsiteY21" fmla="*/ 1028718 h 157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74000" h="1574430">
                  <a:moveTo>
                    <a:pt x="0" y="1092218"/>
                  </a:moveTo>
                  <a:cubicBezTo>
                    <a:pt x="228600" y="1212868"/>
                    <a:pt x="457200" y="1333518"/>
                    <a:pt x="596900" y="1397018"/>
                  </a:cubicBezTo>
                  <a:cubicBezTo>
                    <a:pt x="736600" y="1460518"/>
                    <a:pt x="755650" y="1449935"/>
                    <a:pt x="838200" y="1473218"/>
                  </a:cubicBezTo>
                  <a:cubicBezTo>
                    <a:pt x="920750" y="1496501"/>
                    <a:pt x="1001183" y="1534601"/>
                    <a:pt x="1092200" y="1536718"/>
                  </a:cubicBezTo>
                  <a:cubicBezTo>
                    <a:pt x="1183217" y="1538835"/>
                    <a:pt x="1246717" y="1502851"/>
                    <a:pt x="1384300" y="1485918"/>
                  </a:cubicBezTo>
                  <a:cubicBezTo>
                    <a:pt x="1521883" y="1468985"/>
                    <a:pt x="1746250" y="1454168"/>
                    <a:pt x="1917700" y="1435118"/>
                  </a:cubicBezTo>
                  <a:cubicBezTo>
                    <a:pt x="2089150" y="1416068"/>
                    <a:pt x="2321983" y="1392785"/>
                    <a:pt x="2413000" y="1371618"/>
                  </a:cubicBezTo>
                  <a:cubicBezTo>
                    <a:pt x="2504017" y="1350451"/>
                    <a:pt x="2434167" y="1310235"/>
                    <a:pt x="2463800" y="1308118"/>
                  </a:cubicBezTo>
                  <a:cubicBezTo>
                    <a:pt x="2493433" y="1306001"/>
                    <a:pt x="2542117" y="1371618"/>
                    <a:pt x="2590800" y="1358918"/>
                  </a:cubicBezTo>
                  <a:cubicBezTo>
                    <a:pt x="2639483" y="1346218"/>
                    <a:pt x="2631017" y="1231918"/>
                    <a:pt x="2755900" y="1231918"/>
                  </a:cubicBezTo>
                  <a:cubicBezTo>
                    <a:pt x="2880783" y="1231918"/>
                    <a:pt x="3054350" y="1303885"/>
                    <a:pt x="3340100" y="1358918"/>
                  </a:cubicBezTo>
                  <a:cubicBezTo>
                    <a:pt x="3625850" y="1413951"/>
                    <a:pt x="4119033" y="1534601"/>
                    <a:pt x="4470400" y="1562118"/>
                  </a:cubicBezTo>
                  <a:cubicBezTo>
                    <a:pt x="4821767" y="1589635"/>
                    <a:pt x="5219700" y="1568468"/>
                    <a:pt x="5448300" y="1524018"/>
                  </a:cubicBezTo>
                  <a:cubicBezTo>
                    <a:pt x="5676900" y="1479568"/>
                    <a:pt x="5725583" y="1392785"/>
                    <a:pt x="5842000" y="1295418"/>
                  </a:cubicBezTo>
                  <a:cubicBezTo>
                    <a:pt x="5958417" y="1198051"/>
                    <a:pt x="6055783" y="1081635"/>
                    <a:pt x="6146800" y="939818"/>
                  </a:cubicBezTo>
                  <a:cubicBezTo>
                    <a:pt x="6237817" y="798001"/>
                    <a:pt x="6318250" y="558818"/>
                    <a:pt x="6388100" y="444518"/>
                  </a:cubicBezTo>
                  <a:cubicBezTo>
                    <a:pt x="6457950" y="330218"/>
                    <a:pt x="6489700" y="328101"/>
                    <a:pt x="6565900" y="254018"/>
                  </a:cubicBezTo>
                  <a:cubicBezTo>
                    <a:pt x="6642100" y="179935"/>
                    <a:pt x="6735233" y="-2099"/>
                    <a:pt x="6845300" y="18"/>
                  </a:cubicBezTo>
                  <a:cubicBezTo>
                    <a:pt x="6955367" y="2135"/>
                    <a:pt x="7114117" y="171468"/>
                    <a:pt x="7226300" y="266718"/>
                  </a:cubicBezTo>
                  <a:cubicBezTo>
                    <a:pt x="7338483" y="361968"/>
                    <a:pt x="7433733" y="472035"/>
                    <a:pt x="7518400" y="571518"/>
                  </a:cubicBezTo>
                  <a:cubicBezTo>
                    <a:pt x="7603067" y="671001"/>
                    <a:pt x="7675033" y="787418"/>
                    <a:pt x="7734300" y="863618"/>
                  </a:cubicBezTo>
                  <a:cubicBezTo>
                    <a:pt x="7793567" y="939818"/>
                    <a:pt x="7833783" y="984268"/>
                    <a:pt x="7874000" y="1028718"/>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23">
              <a:extLst>
                <a:ext uri="{FF2B5EF4-FFF2-40B4-BE49-F238E27FC236}">
                  <a16:creationId xmlns:a16="http://schemas.microsoft.com/office/drawing/2014/main" id="{CB031A17-43A0-1EF0-2D70-64B5ECD37751}"/>
                </a:ext>
              </a:extLst>
            </p:cNvPr>
            <p:cNvSpPr/>
            <p:nvPr/>
          </p:nvSpPr>
          <p:spPr bwMode="gray">
            <a:xfrm>
              <a:off x="1765300" y="1866869"/>
              <a:ext cx="7848600" cy="2089045"/>
            </a:xfrm>
            <a:custGeom>
              <a:avLst/>
              <a:gdLst>
                <a:gd name="connsiteX0" fmla="*/ 0 w 7848600"/>
                <a:gd name="connsiteY0" fmla="*/ 1244631 h 2089045"/>
                <a:gd name="connsiteX1" fmla="*/ 381000 w 7848600"/>
                <a:gd name="connsiteY1" fmla="*/ 1435131 h 2089045"/>
                <a:gd name="connsiteX2" fmla="*/ 508000 w 7848600"/>
                <a:gd name="connsiteY2" fmla="*/ 1511331 h 2089045"/>
                <a:gd name="connsiteX3" fmla="*/ 698500 w 7848600"/>
                <a:gd name="connsiteY3" fmla="*/ 1612931 h 2089045"/>
                <a:gd name="connsiteX4" fmla="*/ 990600 w 7848600"/>
                <a:gd name="connsiteY4" fmla="*/ 1676431 h 2089045"/>
                <a:gd name="connsiteX5" fmla="*/ 1409700 w 7848600"/>
                <a:gd name="connsiteY5" fmla="*/ 1612931 h 2089045"/>
                <a:gd name="connsiteX6" fmla="*/ 1930400 w 7848600"/>
                <a:gd name="connsiteY6" fmla="*/ 1574831 h 2089045"/>
                <a:gd name="connsiteX7" fmla="*/ 2387600 w 7848600"/>
                <a:gd name="connsiteY7" fmla="*/ 1524031 h 2089045"/>
                <a:gd name="connsiteX8" fmla="*/ 2654300 w 7848600"/>
                <a:gd name="connsiteY8" fmla="*/ 1447831 h 2089045"/>
                <a:gd name="connsiteX9" fmla="*/ 2743200 w 7848600"/>
                <a:gd name="connsiteY9" fmla="*/ 1422431 h 2089045"/>
                <a:gd name="connsiteX10" fmla="*/ 3289300 w 7848600"/>
                <a:gd name="connsiteY10" fmla="*/ 1689131 h 2089045"/>
                <a:gd name="connsiteX11" fmla="*/ 3886200 w 7848600"/>
                <a:gd name="connsiteY11" fmla="*/ 1955831 h 2089045"/>
                <a:gd name="connsiteX12" fmla="*/ 4432300 w 7848600"/>
                <a:gd name="connsiteY12" fmla="*/ 2070131 h 2089045"/>
                <a:gd name="connsiteX13" fmla="*/ 4927600 w 7848600"/>
                <a:gd name="connsiteY13" fmla="*/ 2082831 h 2089045"/>
                <a:gd name="connsiteX14" fmla="*/ 5422900 w 7848600"/>
                <a:gd name="connsiteY14" fmla="*/ 2006631 h 2089045"/>
                <a:gd name="connsiteX15" fmla="*/ 5765800 w 7848600"/>
                <a:gd name="connsiteY15" fmla="*/ 1765331 h 2089045"/>
                <a:gd name="connsiteX16" fmla="*/ 6007100 w 7848600"/>
                <a:gd name="connsiteY16" fmla="*/ 1397031 h 2089045"/>
                <a:gd name="connsiteX17" fmla="*/ 6223000 w 7848600"/>
                <a:gd name="connsiteY17" fmla="*/ 965231 h 2089045"/>
                <a:gd name="connsiteX18" fmla="*/ 6413500 w 7848600"/>
                <a:gd name="connsiteY18" fmla="*/ 546131 h 2089045"/>
                <a:gd name="connsiteX19" fmla="*/ 6565900 w 7848600"/>
                <a:gd name="connsiteY19" fmla="*/ 190531 h 2089045"/>
                <a:gd name="connsiteX20" fmla="*/ 6845300 w 7848600"/>
                <a:gd name="connsiteY20" fmla="*/ 31 h 2089045"/>
                <a:gd name="connsiteX21" fmla="*/ 7099300 w 7848600"/>
                <a:gd name="connsiteY21" fmla="*/ 177831 h 2089045"/>
                <a:gd name="connsiteX22" fmla="*/ 7353300 w 7848600"/>
                <a:gd name="connsiteY22" fmla="*/ 457231 h 2089045"/>
                <a:gd name="connsiteX23" fmla="*/ 7848600 w 7848600"/>
                <a:gd name="connsiteY23" fmla="*/ 1028731 h 208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8600" h="2089045">
                  <a:moveTo>
                    <a:pt x="0" y="1244631"/>
                  </a:moveTo>
                  <a:lnTo>
                    <a:pt x="381000" y="1435131"/>
                  </a:lnTo>
                  <a:cubicBezTo>
                    <a:pt x="465667" y="1479581"/>
                    <a:pt x="455083" y="1481698"/>
                    <a:pt x="508000" y="1511331"/>
                  </a:cubicBezTo>
                  <a:cubicBezTo>
                    <a:pt x="560917" y="1540964"/>
                    <a:pt x="618067" y="1585414"/>
                    <a:pt x="698500" y="1612931"/>
                  </a:cubicBezTo>
                  <a:cubicBezTo>
                    <a:pt x="778933" y="1640448"/>
                    <a:pt x="872067" y="1676431"/>
                    <a:pt x="990600" y="1676431"/>
                  </a:cubicBezTo>
                  <a:cubicBezTo>
                    <a:pt x="1109133" y="1676431"/>
                    <a:pt x="1253067" y="1629864"/>
                    <a:pt x="1409700" y="1612931"/>
                  </a:cubicBezTo>
                  <a:cubicBezTo>
                    <a:pt x="1566333" y="1595998"/>
                    <a:pt x="1767417" y="1589648"/>
                    <a:pt x="1930400" y="1574831"/>
                  </a:cubicBezTo>
                  <a:cubicBezTo>
                    <a:pt x="2093383" y="1560014"/>
                    <a:pt x="2266950" y="1545198"/>
                    <a:pt x="2387600" y="1524031"/>
                  </a:cubicBezTo>
                  <a:cubicBezTo>
                    <a:pt x="2508250" y="1502864"/>
                    <a:pt x="2654300" y="1447831"/>
                    <a:pt x="2654300" y="1447831"/>
                  </a:cubicBezTo>
                  <a:cubicBezTo>
                    <a:pt x="2713567" y="1430898"/>
                    <a:pt x="2637367" y="1382214"/>
                    <a:pt x="2743200" y="1422431"/>
                  </a:cubicBezTo>
                  <a:cubicBezTo>
                    <a:pt x="2849033" y="1462648"/>
                    <a:pt x="3098800" y="1600231"/>
                    <a:pt x="3289300" y="1689131"/>
                  </a:cubicBezTo>
                  <a:cubicBezTo>
                    <a:pt x="3479800" y="1778031"/>
                    <a:pt x="3695700" y="1892331"/>
                    <a:pt x="3886200" y="1955831"/>
                  </a:cubicBezTo>
                  <a:cubicBezTo>
                    <a:pt x="4076700" y="2019331"/>
                    <a:pt x="4258733" y="2048964"/>
                    <a:pt x="4432300" y="2070131"/>
                  </a:cubicBezTo>
                  <a:cubicBezTo>
                    <a:pt x="4605867" y="2091298"/>
                    <a:pt x="4762500" y="2093414"/>
                    <a:pt x="4927600" y="2082831"/>
                  </a:cubicBezTo>
                  <a:cubicBezTo>
                    <a:pt x="5092700" y="2072248"/>
                    <a:pt x="5283200" y="2059548"/>
                    <a:pt x="5422900" y="2006631"/>
                  </a:cubicBezTo>
                  <a:cubicBezTo>
                    <a:pt x="5562600" y="1953714"/>
                    <a:pt x="5668433" y="1866931"/>
                    <a:pt x="5765800" y="1765331"/>
                  </a:cubicBezTo>
                  <a:cubicBezTo>
                    <a:pt x="5863167" y="1663731"/>
                    <a:pt x="5930900" y="1530381"/>
                    <a:pt x="6007100" y="1397031"/>
                  </a:cubicBezTo>
                  <a:cubicBezTo>
                    <a:pt x="6083300" y="1263681"/>
                    <a:pt x="6155267" y="1107048"/>
                    <a:pt x="6223000" y="965231"/>
                  </a:cubicBezTo>
                  <a:cubicBezTo>
                    <a:pt x="6290733" y="823414"/>
                    <a:pt x="6356350" y="675248"/>
                    <a:pt x="6413500" y="546131"/>
                  </a:cubicBezTo>
                  <a:cubicBezTo>
                    <a:pt x="6470650" y="417014"/>
                    <a:pt x="6493933" y="281548"/>
                    <a:pt x="6565900" y="190531"/>
                  </a:cubicBezTo>
                  <a:cubicBezTo>
                    <a:pt x="6637867" y="99514"/>
                    <a:pt x="6756400" y="2148"/>
                    <a:pt x="6845300" y="31"/>
                  </a:cubicBezTo>
                  <a:cubicBezTo>
                    <a:pt x="6934200" y="-2086"/>
                    <a:pt x="7014633" y="101631"/>
                    <a:pt x="7099300" y="177831"/>
                  </a:cubicBezTo>
                  <a:cubicBezTo>
                    <a:pt x="7183967" y="254031"/>
                    <a:pt x="7228417" y="315414"/>
                    <a:pt x="7353300" y="457231"/>
                  </a:cubicBezTo>
                  <a:cubicBezTo>
                    <a:pt x="7478183" y="599048"/>
                    <a:pt x="7663391" y="813889"/>
                    <a:pt x="7848600" y="1028731"/>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24">
              <a:extLst>
                <a:ext uri="{FF2B5EF4-FFF2-40B4-BE49-F238E27FC236}">
                  <a16:creationId xmlns:a16="http://schemas.microsoft.com/office/drawing/2014/main" id="{A8CBA67C-311B-5974-9B07-7A16EFADBBEF}"/>
                </a:ext>
              </a:extLst>
            </p:cNvPr>
            <p:cNvSpPr/>
            <p:nvPr/>
          </p:nvSpPr>
          <p:spPr bwMode="gray">
            <a:xfrm>
              <a:off x="1790700" y="1849818"/>
              <a:ext cx="7848600" cy="2313913"/>
            </a:xfrm>
            <a:custGeom>
              <a:avLst/>
              <a:gdLst>
                <a:gd name="connsiteX0" fmla="*/ 0 w 7848600"/>
                <a:gd name="connsiteY0" fmla="*/ 1299782 h 2313913"/>
                <a:gd name="connsiteX1" fmla="*/ 393700 w 7848600"/>
                <a:gd name="connsiteY1" fmla="*/ 1515682 h 2313913"/>
                <a:gd name="connsiteX2" fmla="*/ 749300 w 7848600"/>
                <a:gd name="connsiteY2" fmla="*/ 1668082 h 2313913"/>
                <a:gd name="connsiteX3" fmla="*/ 1092200 w 7848600"/>
                <a:gd name="connsiteY3" fmla="*/ 1693482 h 2313913"/>
                <a:gd name="connsiteX4" fmla="*/ 1765300 w 7848600"/>
                <a:gd name="connsiteY4" fmla="*/ 1591882 h 2313913"/>
                <a:gd name="connsiteX5" fmla="*/ 2552700 w 7848600"/>
                <a:gd name="connsiteY5" fmla="*/ 1502982 h 2313913"/>
                <a:gd name="connsiteX6" fmla="*/ 2755900 w 7848600"/>
                <a:gd name="connsiteY6" fmla="*/ 1490282 h 2313913"/>
                <a:gd name="connsiteX7" fmla="*/ 3302000 w 7848600"/>
                <a:gd name="connsiteY7" fmla="*/ 1896682 h 2313913"/>
                <a:gd name="connsiteX8" fmla="*/ 3848100 w 7848600"/>
                <a:gd name="connsiteY8" fmla="*/ 2150682 h 2313913"/>
                <a:gd name="connsiteX9" fmla="*/ 4419600 w 7848600"/>
                <a:gd name="connsiteY9" fmla="*/ 2303082 h 2313913"/>
                <a:gd name="connsiteX10" fmla="*/ 5105400 w 7848600"/>
                <a:gd name="connsiteY10" fmla="*/ 2277682 h 2313913"/>
                <a:gd name="connsiteX11" fmla="*/ 5651500 w 7848600"/>
                <a:gd name="connsiteY11" fmla="*/ 2087182 h 2313913"/>
                <a:gd name="connsiteX12" fmla="*/ 5867400 w 7848600"/>
                <a:gd name="connsiteY12" fmla="*/ 1668082 h 2313913"/>
                <a:gd name="connsiteX13" fmla="*/ 6096000 w 7848600"/>
                <a:gd name="connsiteY13" fmla="*/ 1223582 h 2313913"/>
                <a:gd name="connsiteX14" fmla="*/ 6299200 w 7848600"/>
                <a:gd name="connsiteY14" fmla="*/ 779082 h 2313913"/>
                <a:gd name="connsiteX15" fmla="*/ 6489700 w 7848600"/>
                <a:gd name="connsiteY15" fmla="*/ 271082 h 2313913"/>
                <a:gd name="connsiteX16" fmla="*/ 6692900 w 7848600"/>
                <a:gd name="connsiteY16" fmla="*/ 42482 h 2313913"/>
                <a:gd name="connsiteX17" fmla="*/ 6883400 w 7848600"/>
                <a:gd name="connsiteY17" fmla="*/ 17082 h 2313913"/>
                <a:gd name="connsiteX18" fmla="*/ 7099300 w 7848600"/>
                <a:gd name="connsiteY18" fmla="*/ 232982 h 2313913"/>
                <a:gd name="connsiteX19" fmla="*/ 7454900 w 7848600"/>
                <a:gd name="connsiteY19" fmla="*/ 563182 h 2313913"/>
                <a:gd name="connsiteX20" fmla="*/ 7658100 w 7848600"/>
                <a:gd name="connsiteY20" fmla="*/ 829882 h 2313913"/>
                <a:gd name="connsiteX21" fmla="*/ 7848600 w 7848600"/>
                <a:gd name="connsiteY21" fmla="*/ 1045782 h 23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48600" h="2313913">
                  <a:moveTo>
                    <a:pt x="0" y="1299782"/>
                  </a:moveTo>
                  <a:cubicBezTo>
                    <a:pt x="134408" y="1377040"/>
                    <a:pt x="268817" y="1454299"/>
                    <a:pt x="393700" y="1515682"/>
                  </a:cubicBezTo>
                  <a:cubicBezTo>
                    <a:pt x="518583" y="1577065"/>
                    <a:pt x="632883" y="1638449"/>
                    <a:pt x="749300" y="1668082"/>
                  </a:cubicBezTo>
                  <a:cubicBezTo>
                    <a:pt x="865717" y="1697715"/>
                    <a:pt x="922867" y="1706182"/>
                    <a:pt x="1092200" y="1693482"/>
                  </a:cubicBezTo>
                  <a:cubicBezTo>
                    <a:pt x="1261533" y="1680782"/>
                    <a:pt x="1521883" y="1623632"/>
                    <a:pt x="1765300" y="1591882"/>
                  </a:cubicBezTo>
                  <a:cubicBezTo>
                    <a:pt x="2008717" y="1560132"/>
                    <a:pt x="2387600" y="1519915"/>
                    <a:pt x="2552700" y="1502982"/>
                  </a:cubicBezTo>
                  <a:cubicBezTo>
                    <a:pt x="2717800" y="1486049"/>
                    <a:pt x="2631017" y="1424665"/>
                    <a:pt x="2755900" y="1490282"/>
                  </a:cubicBezTo>
                  <a:cubicBezTo>
                    <a:pt x="2880783" y="1555899"/>
                    <a:pt x="3119967" y="1786615"/>
                    <a:pt x="3302000" y="1896682"/>
                  </a:cubicBezTo>
                  <a:cubicBezTo>
                    <a:pt x="3484033" y="2006749"/>
                    <a:pt x="3661834" y="2082949"/>
                    <a:pt x="3848100" y="2150682"/>
                  </a:cubicBezTo>
                  <a:cubicBezTo>
                    <a:pt x="4034366" y="2218415"/>
                    <a:pt x="4210050" y="2281915"/>
                    <a:pt x="4419600" y="2303082"/>
                  </a:cubicBezTo>
                  <a:cubicBezTo>
                    <a:pt x="4629150" y="2324249"/>
                    <a:pt x="4900083" y="2313665"/>
                    <a:pt x="5105400" y="2277682"/>
                  </a:cubicBezTo>
                  <a:cubicBezTo>
                    <a:pt x="5310717" y="2241699"/>
                    <a:pt x="5524500" y="2188782"/>
                    <a:pt x="5651500" y="2087182"/>
                  </a:cubicBezTo>
                  <a:cubicBezTo>
                    <a:pt x="5778500" y="1985582"/>
                    <a:pt x="5867400" y="1668082"/>
                    <a:pt x="5867400" y="1668082"/>
                  </a:cubicBezTo>
                  <a:cubicBezTo>
                    <a:pt x="5941483" y="1524149"/>
                    <a:pt x="6024033" y="1371749"/>
                    <a:pt x="6096000" y="1223582"/>
                  </a:cubicBezTo>
                  <a:cubicBezTo>
                    <a:pt x="6167967" y="1075415"/>
                    <a:pt x="6233583" y="937832"/>
                    <a:pt x="6299200" y="779082"/>
                  </a:cubicBezTo>
                  <a:cubicBezTo>
                    <a:pt x="6364817" y="620332"/>
                    <a:pt x="6424083" y="393849"/>
                    <a:pt x="6489700" y="271082"/>
                  </a:cubicBezTo>
                  <a:cubicBezTo>
                    <a:pt x="6555317" y="148315"/>
                    <a:pt x="6627283" y="84815"/>
                    <a:pt x="6692900" y="42482"/>
                  </a:cubicBezTo>
                  <a:cubicBezTo>
                    <a:pt x="6758517" y="149"/>
                    <a:pt x="6815667" y="-14668"/>
                    <a:pt x="6883400" y="17082"/>
                  </a:cubicBezTo>
                  <a:cubicBezTo>
                    <a:pt x="6951133" y="48832"/>
                    <a:pt x="7004050" y="141965"/>
                    <a:pt x="7099300" y="232982"/>
                  </a:cubicBezTo>
                  <a:cubicBezTo>
                    <a:pt x="7194550" y="323999"/>
                    <a:pt x="7361767" y="463699"/>
                    <a:pt x="7454900" y="563182"/>
                  </a:cubicBezTo>
                  <a:cubicBezTo>
                    <a:pt x="7548033" y="662665"/>
                    <a:pt x="7592483" y="749449"/>
                    <a:pt x="7658100" y="829882"/>
                  </a:cubicBezTo>
                  <a:cubicBezTo>
                    <a:pt x="7723717" y="910315"/>
                    <a:pt x="7786158" y="978048"/>
                    <a:pt x="7848600" y="1045782"/>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25">
              <a:extLst>
                <a:ext uri="{FF2B5EF4-FFF2-40B4-BE49-F238E27FC236}">
                  <a16:creationId xmlns:a16="http://schemas.microsoft.com/office/drawing/2014/main" id="{742A84F1-C9F6-A424-6468-CC591EFC4B39}"/>
                </a:ext>
              </a:extLst>
            </p:cNvPr>
            <p:cNvSpPr/>
            <p:nvPr/>
          </p:nvSpPr>
          <p:spPr bwMode="gray">
            <a:xfrm>
              <a:off x="1752600" y="1931411"/>
              <a:ext cx="7886700" cy="2424739"/>
            </a:xfrm>
            <a:custGeom>
              <a:avLst/>
              <a:gdLst>
                <a:gd name="connsiteX0" fmla="*/ 0 w 7886700"/>
                <a:gd name="connsiteY0" fmla="*/ 1230889 h 2424739"/>
                <a:gd name="connsiteX1" fmla="*/ 533400 w 7886700"/>
                <a:gd name="connsiteY1" fmla="*/ 1510289 h 2424739"/>
                <a:gd name="connsiteX2" fmla="*/ 927100 w 7886700"/>
                <a:gd name="connsiteY2" fmla="*/ 1649989 h 2424739"/>
                <a:gd name="connsiteX3" fmla="*/ 1206500 w 7886700"/>
                <a:gd name="connsiteY3" fmla="*/ 1586489 h 2424739"/>
                <a:gd name="connsiteX4" fmla="*/ 2044700 w 7886700"/>
                <a:gd name="connsiteY4" fmla="*/ 1548389 h 2424739"/>
                <a:gd name="connsiteX5" fmla="*/ 2616200 w 7886700"/>
                <a:gd name="connsiteY5" fmla="*/ 1395989 h 2424739"/>
                <a:gd name="connsiteX6" fmla="*/ 2946400 w 7886700"/>
                <a:gd name="connsiteY6" fmla="*/ 1522989 h 2424739"/>
                <a:gd name="connsiteX7" fmla="*/ 3429000 w 7886700"/>
                <a:gd name="connsiteY7" fmla="*/ 1992889 h 2424739"/>
                <a:gd name="connsiteX8" fmla="*/ 3873500 w 7886700"/>
                <a:gd name="connsiteY8" fmla="*/ 2196089 h 2424739"/>
                <a:gd name="connsiteX9" fmla="*/ 4152900 w 7886700"/>
                <a:gd name="connsiteY9" fmla="*/ 2348489 h 2424739"/>
                <a:gd name="connsiteX10" fmla="*/ 4787900 w 7886700"/>
                <a:gd name="connsiteY10" fmla="*/ 2424689 h 2424739"/>
                <a:gd name="connsiteX11" fmla="*/ 5168900 w 7886700"/>
                <a:gd name="connsiteY11" fmla="*/ 2361189 h 2424739"/>
                <a:gd name="connsiteX12" fmla="*/ 5448300 w 7886700"/>
                <a:gd name="connsiteY12" fmla="*/ 2310389 h 2424739"/>
                <a:gd name="connsiteX13" fmla="*/ 5626100 w 7886700"/>
                <a:gd name="connsiteY13" fmla="*/ 2170689 h 2424739"/>
                <a:gd name="connsiteX14" fmla="*/ 5842000 w 7886700"/>
                <a:gd name="connsiteY14" fmla="*/ 1929389 h 2424739"/>
                <a:gd name="connsiteX15" fmla="*/ 5930900 w 7886700"/>
                <a:gd name="connsiteY15" fmla="*/ 1726189 h 2424739"/>
                <a:gd name="connsiteX16" fmla="*/ 6057900 w 7886700"/>
                <a:gd name="connsiteY16" fmla="*/ 1459489 h 2424739"/>
                <a:gd name="connsiteX17" fmla="*/ 6159500 w 7886700"/>
                <a:gd name="connsiteY17" fmla="*/ 1180089 h 2424739"/>
                <a:gd name="connsiteX18" fmla="*/ 6299200 w 7886700"/>
                <a:gd name="connsiteY18" fmla="*/ 799089 h 2424739"/>
                <a:gd name="connsiteX19" fmla="*/ 6426200 w 7886700"/>
                <a:gd name="connsiteY19" fmla="*/ 405389 h 2424739"/>
                <a:gd name="connsiteX20" fmla="*/ 6527800 w 7886700"/>
                <a:gd name="connsiteY20" fmla="*/ 176789 h 2424739"/>
                <a:gd name="connsiteX21" fmla="*/ 6705600 w 7886700"/>
                <a:gd name="connsiteY21" fmla="*/ 24389 h 2424739"/>
                <a:gd name="connsiteX22" fmla="*/ 6921500 w 7886700"/>
                <a:gd name="connsiteY22" fmla="*/ 11689 h 2424739"/>
                <a:gd name="connsiteX23" fmla="*/ 7175500 w 7886700"/>
                <a:gd name="connsiteY23" fmla="*/ 138689 h 2424739"/>
                <a:gd name="connsiteX24" fmla="*/ 7391400 w 7886700"/>
                <a:gd name="connsiteY24" fmla="*/ 329189 h 2424739"/>
                <a:gd name="connsiteX25" fmla="*/ 7594600 w 7886700"/>
                <a:gd name="connsiteY25" fmla="*/ 608589 h 2424739"/>
                <a:gd name="connsiteX26" fmla="*/ 7785100 w 7886700"/>
                <a:gd name="connsiteY26" fmla="*/ 811789 h 2424739"/>
                <a:gd name="connsiteX27" fmla="*/ 7886700 w 7886700"/>
                <a:gd name="connsiteY27" fmla="*/ 964189 h 24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86700" h="2424739">
                  <a:moveTo>
                    <a:pt x="0" y="1230889"/>
                  </a:moveTo>
                  <a:cubicBezTo>
                    <a:pt x="189441" y="1335664"/>
                    <a:pt x="378883" y="1440439"/>
                    <a:pt x="533400" y="1510289"/>
                  </a:cubicBezTo>
                  <a:cubicBezTo>
                    <a:pt x="687917" y="1580139"/>
                    <a:pt x="814917" y="1637289"/>
                    <a:pt x="927100" y="1649989"/>
                  </a:cubicBezTo>
                  <a:cubicBezTo>
                    <a:pt x="1039283" y="1662689"/>
                    <a:pt x="1020233" y="1603422"/>
                    <a:pt x="1206500" y="1586489"/>
                  </a:cubicBezTo>
                  <a:cubicBezTo>
                    <a:pt x="1392767" y="1569556"/>
                    <a:pt x="1809750" y="1580139"/>
                    <a:pt x="2044700" y="1548389"/>
                  </a:cubicBezTo>
                  <a:cubicBezTo>
                    <a:pt x="2279650" y="1516639"/>
                    <a:pt x="2465917" y="1400222"/>
                    <a:pt x="2616200" y="1395989"/>
                  </a:cubicBezTo>
                  <a:cubicBezTo>
                    <a:pt x="2766483" y="1391756"/>
                    <a:pt x="2810933" y="1423506"/>
                    <a:pt x="2946400" y="1522989"/>
                  </a:cubicBezTo>
                  <a:cubicBezTo>
                    <a:pt x="3081867" y="1622472"/>
                    <a:pt x="3274483" y="1880706"/>
                    <a:pt x="3429000" y="1992889"/>
                  </a:cubicBezTo>
                  <a:cubicBezTo>
                    <a:pt x="3583517" y="2105072"/>
                    <a:pt x="3752850" y="2136822"/>
                    <a:pt x="3873500" y="2196089"/>
                  </a:cubicBezTo>
                  <a:cubicBezTo>
                    <a:pt x="3994150" y="2255356"/>
                    <a:pt x="4000500" y="2310389"/>
                    <a:pt x="4152900" y="2348489"/>
                  </a:cubicBezTo>
                  <a:cubicBezTo>
                    <a:pt x="4305300" y="2386589"/>
                    <a:pt x="4618567" y="2422572"/>
                    <a:pt x="4787900" y="2424689"/>
                  </a:cubicBezTo>
                  <a:cubicBezTo>
                    <a:pt x="4957233" y="2426806"/>
                    <a:pt x="5168900" y="2361189"/>
                    <a:pt x="5168900" y="2361189"/>
                  </a:cubicBezTo>
                  <a:cubicBezTo>
                    <a:pt x="5278966" y="2342139"/>
                    <a:pt x="5372100" y="2342139"/>
                    <a:pt x="5448300" y="2310389"/>
                  </a:cubicBezTo>
                  <a:cubicBezTo>
                    <a:pt x="5524500" y="2278639"/>
                    <a:pt x="5560483" y="2234189"/>
                    <a:pt x="5626100" y="2170689"/>
                  </a:cubicBezTo>
                  <a:cubicBezTo>
                    <a:pt x="5691717" y="2107189"/>
                    <a:pt x="5791200" y="2003472"/>
                    <a:pt x="5842000" y="1929389"/>
                  </a:cubicBezTo>
                  <a:cubicBezTo>
                    <a:pt x="5892800" y="1855306"/>
                    <a:pt x="5894917" y="1804506"/>
                    <a:pt x="5930900" y="1726189"/>
                  </a:cubicBezTo>
                  <a:cubicBezTo>
                    <a:pt x="5966883" y="1647872"/>
                    <a:pt x="6019800" y="1550506"/>
                    <a:pt x="6057900" y="1459489"/>
                  </a:cubicBezTo>
                  <a:cubicBezTo>
                    <a:pt x="6096000" y="1368472"/>
                    <a:pt x="6159500" y="1180089"/>
                    <a:pt x="6159500" y="1180089"/>
                  </a:cubicBezTo>
                  <a:cubicBezTo>
                    <a:pt x="6199717" y="1070022"/>
                    <a:pt x="6254750" y="928206"/>
                    <a:pt x="6299200" y="799089"/>
                  </a:cubicBezTo>
                  <a:cubicBezTo>
                    <a:pt x="6343650" y="669972"/>
                    <a:pt x="6388100" y="509106"/>
                    <a:pt x="6426200" y="405389"/>
                  </a:cubicBezTo>
                  <a:cubicBezTo>
                    <a:pt x="6464300" y="301672"/>
                    <a:pt x="6481233" y="240289"/>
                    <a:pt x="6527800" y="176789"/>
                  </a:cubicBezTo>
                  <a:cubicBezTo>
                    <a:pt x="6574367" y="113289"/>
                    <a:pt x="6639983" y="51906"/>
                    <a:pt x="6705600" y="24389"/>
                  </a:cubicBezTo>
                  <a:cubicBezTo>
                    <a:pt x="6771217" y="-3128"/>
                    <a:pt x="6843183" y="-7361"/>
                    <a:pt x="6921500" y="11689"/>
                  </a:cubicBezTo>
                  <a:cubicBezTo>
                    <a:pt x="6999817" y="30739"/>
                    <a:pt x="7097183" y="85772"/>
                    <a:pt x="7175500" y="138689"/>
                  </a:cubicBezTo>
                  <a:cubicBezTo>
                    <a:pt x="7253817" y="191606"/>
                    <a:pt x="7321550" y="250872"/>
                    <a:pt x="7391400" y="329189"/>
                  </a:cubicBezTo>
                  <a:cubicBezTo>
                    <a:pt x="7461250" y="407506"/>
                    <a:pt x="7528983" y="528156"/>
                    <a:pt x="7594600" y="608589"/>
                  </a:cubicBezTo>
                  <a:cubicBezTo>
                    <a:pt x="7660217" y="689022"/>
                    <a:pt x="7736417" y="752522"/>
                    <a:pt x="7785100" y="811789"/>
                  </a:cubicBezTo>
                  <a:cubicBezTo>
                    <a:pt x="7833783" y="871056"/>
                    <a:pt x="7860241" y="917622"/>
                    <a:pt x="7886700" y="964189"/>
                  </a:cubicBezTo>
                </a:path>
              </a:pathLst>
            </a:custGeom>
            <a:ln/>
          </p:spPr>
          <p:style>
            <a:lnRef idx="3">
              <a:schemeClr val="accent2"/>
            </a:lnRef>
            <a:fillRef idx="0">
              <a:schemeClr val="accent2"/>
            </a:fillRef>
            <a:effectRef idx="2">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26">
              <a:extLst>
                <a:ext uri="{FF2B5EF4-FFF2-40B4-BE49-F238E27FC236}">
                  <a16:creationId xmlns:a16="http://schemas.microsoft.com/office/drawing/2014/main" id="{79A2E408-D4DE-45A2-90C4-5C5409C8AF0B}"/>
                </a:ext>
              </a:extLst>
            </p:cNvPr>
            <p:cNvSpPr/>
            <p:nvPr/>
          </p:nvSpPr>
          <p:spPr bwMode="gray">
            <a:xfrm>
              <a:off x="1803400" y="1811290"/>
              <a:ext cx="7831666" cy="2773410"/>
            </a:xfrm>
            <a:custGeom>
              <a:avLst/>
              <a:gdLst>
                <a:gd name="connsiteX0" fmla="*/ 0 w 7831666"/>
                <a:gd name="connsiteY0" fmla="*/ 1376410 h 2773410"/>
                <a:gd name="connsiteX1" fmla="*/ 546100 w 7831666"/>
                <a:gd name="connsiteY1" fmla="*/ 1668510 h 2773410"/>
                <a:gd name="connsiteX2" fmla="*/ 1016000 w 7831666"/>
                <a:gd name="connsiteY2" fmla="*/ 1744710 h 2773410"/>
                <a:gd name="connsiteX3" fmla="*/ 1435100 w 7831666"/>
                <a:gd name="connsiteY3" fmla="*/ 1719310 h 2773410"/>
                <a:gd name="connsiteX4" fmla="*/ 2197100 w 7831666"/>
                <a:gd name="connsiteY4" fmla="*/ 1605010 h 2773410"/>
                <a:gd name="connsiteX5" fmla="*/ 2540000 w 7831666"/>
                <a:gd name="connsiteY5" fmla="*/ 1541510 h 2773410"/>
                <a:gd name="connsiteX6" fmla="*/ 2946400 w 7831666"/>
                <a:gd name="connsiteY6" fmla="*/ 1732010 h 2773410"/>
                <a:gd name="connsiteX7" fmla="*/ 3149600 w 7831666"/>
                <a:gd name="connsiteY7" fmla="*/ 2036810 h 2773410"/>
                <a:gd name="connsiteX8" fmla="*/ 3352800 w 7831666"/>
                <a:gd name="connsiteY8" fmla="*/ 2227310 h 2773410"/>
                <a:gd name="connsiteX9" fmla="*/ 3556000 w 7831666"/>
                <a:gd name="connsiteY9" fmla="*/ 2417810 h 2773410"/>
                <a:gd name="connsiteX10" fmla="*/ 3835400 w 7831666"/>
                <a:gd name="connsiteY10" fmla="*/ 2557510 h 2773410"/>
                <a:gd name="connsiteX11" fmla="*/ 4114800 w 7831666"/>
                <a:gd name="connsiteY11" fmla="*/ 2684510 h 2773410"/>
                <a:gd name="connsiteX12" fmla="*/ 4711700 w 7831666"/>
                <a:gd name="connsiteY12" fmla="*/ 2773410 h 2773410"/>
                <a:gd name="connsiteX13" fmla="*/ 5105400 w 7831666"/>
                <a:gd name="connsiteY13" fmla="*/ 2684510 h 2773410"/>
                <a:gd name="connsiteX14" fmla="*/ 5422900 w 7831666"/>
                <a:gd name="connsiteY14" fmla="*/ 2595610 h 2773410"/>
                <a:gd name="connsiteX15" fmla="*/ 5740400 w 7831666"/>
                <a:gd name="connsiteY15" fmla="*/ 2240010 h 2773410"/>
                <a:gd name="connsiteX16" fmla="*/ 5854700 w 7831666"/>
                <a:gd name="connsiteY16" fmla="*/ 1998710 h 2773410"/>
                <a:gd name="connsiteX17" fmla="*/ 5969000 w 7831666"/>
                <a:gd name="connsiteY17" fmla="*/ 1643110 h 2773410"/>
                <a:gd name="connsiteX18" fmla="*/ 6159500 w 7831666"/>
                <a:gd name="connsiteY18" fmla="*/ 1173210 h 2773410"/>
                <a:gd name="connsiteX19" fmla="*/ 6413500 w 7831666"/>
                <a:gd name="connsiteY19" fmla="*/ 474710 h 2773410"/>
                <a:gd name="connsiteX20" fmla="*/ 6629400 w 7831666"/>
                <a:gd name="connsiteY20" fmla="*/ 208010 h 2773410"/>
                <a:gd name="connsiteX21" fmla="*/ 6832600 w 7831666"/>
                <a:gd name="connsiteY21" fmla="*/ 4810 h 2773410"/>
                <a:gd name="connsiteX22" fmla="*/ 7035800 w 7831666"/>
                <a:gd name="connsiteY22" fmla="*/ 81010 h 2773410"/>
                <a:gd name="connsiteX23" fmla="*/ 7213600 w 7831666"/>
                <a:gd name="connsiteY23" fmla="*/ 271510 h 2773410"/>
                <a:gd name="connsiteX24" fmla="*/ 7747000 w 7831666"/>
                <a:gd name="connsiteY24" fmla="*/ 868410 h 2773410"/>
                <a:gd name="connsiteX25" fmla="*/ 7823200 w 7831666"/>
                <a:gd name="connsiteY25" fmla="*/ 970010 h 27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31666" h="2773410">
                  <a:moveTo>
                    <a:pt x="0" y="1376410"/>
                  </a:moveTo>
                  <a:cubicBezTo>
                    <a:pt x="188383" y="1491768"/>
                    <a:pt x="376767" y="1607127"/>
                    <a:pt x="546100" y="1668510"/>
                  </a:cubicBezTo>
                  <a:cubicBezTo>
                    <a:pt x="715433" y="1729893"/>
                    <a:pt x="867833" y="1736243"/>
                    <a:pt x="1016000" y="1744710"/>
                  </a:cubicBezTo>
                  <a:cubicBezTo>
                    <a:pt x="1164167" y="1753177"/>
                    <a:pt x="1238250" y="1742593"/>
                    <a:pt x="1435100" y="1719310"/>
                  </a:cubicBezTo>
                  <a:cubicBezTo>
                    <a:pt x="1631950" y="1696027"/>
                    <a:pt x="2012950" y="1634643"/>
                    <a:pt x="2197100" y="1605010"/>
                  </a:cubicBezTo>
                  <a:cubicBezTo>
                    <a:pt x="2381250" y="1575377"/>
                    <a:pt x="2415117" y="1520343"/>
                    <a:pt x="2540000" y="1541510"/>
                  </a:cubicBezTo>
                  <a:cubicBezTo>
                    <a:pt x="2664883" y="1562677"/>
                    <a:pt x="2844800" y="1649460"/>
                    <a:pt x="2946400" y="1732010"/>
                  </a:cubicBezTo>
                  <a:cubicBezTo>
                    <a:pt x="3048000" y="1814560"/>
                    <a:pt x="3081867" y="1954260"/>
                    <a:pt x="3149600" y="2036810"/>
                  </a:cubicBezTo>
                  <a:cubicBezTo>
                    <a:pt x="3217333" y="2119360"/>
                    <a:pt x="3352800" y="2227310"/>
                    <a:pt x="3352800" y="2227310"/>
                  </a:cubicBezTo>
                  <a:cubicBezTo>
                    <a:pt x="3420533" y="2290810"/>
                    <a:pt x="3475567" y="2362777"/>
                    <a:pt x="3556000" y="2417810"/>
                  </a:cubicBezTo>
                  <a:cubicBezTo>
                    <a:pt x="3636433" y="2472843"/>
                    <a:pt x="3742267" y="2513060"/>
                    <a:pt x="3835400" y="2557510"/>
                  </a:cubicBezTo>
                  <a:cubicBezTo>
                    <a:pt x="3928533" y="2601960"/>
                    <a:pt x="3968750" y="2648527"/>
                    <a:pt x="4114800" y="2684510"/>
                  </a:cubicBezTo>
                  <a:cubicBezTo>
                    <a:pt x="4260850" y="2720493"/>
                    <a:pt x="4546600" y="2773410"/>
                    <a:pt x="4711700" y="2773410"/>
                  </a:cubicBezTo>
                  <a:cubicBezTo>
                    <a:pt x="4876800" y="2773410"/>
                    <a:pt x="4986867" y="2714143"/>
                    <a:pt x="5105400" y="2684510"/>
                  </a:cubicBezTo>
                  <a:cubicBezTo>
                    <a:pt x="5223933" y="2654877"/>
                    <a:pt x="5317067" y="2669693"/>
                    <a:pt x="5422900" y="2595610"/>
                  </a:cubicBezTo>
                  <a:cubicBezTo>
                    <a:pt x="5528733" y="2521527"/>
                    <a:pt x="5668433" y="2339493"/>
                    <a:pt x="5740400" y="2240010"/>
                  </a:cubicBezTo>
                  <a:cubicBezTo>
                    <a:pt x="5812367" y="2140527"/>
                    <a:pt x="5816600" y="2098193"/>
                    <a:pt x="5854700" y="1998710"/>
                  </a:cubicBezTo>
                  <a:cubicBezTo>
                    <a:pt x="5892800" y="1899227"/>
                    <a:pt x="5918200" y="1780693"/>
                    <a:pt x="5969000" y="1643110"/>
                  </a:cubicBezTo>
                  <a:cubicBezTo>
                    <a:pt x="6019800" y="1505527"/>
                    <a:pt x="6085417" y="1367943"/>
                    <a:pt x="6159500" y="1173210"/>
                  </a:cubicBezTo>
                  <a:cubicBezTo>
                    <a:pt x="6233583" y="978477"/>
                    <a:pt x="6335183" y="635577"/>
                    <a:pt x="6413500" y="474710"/>
                  </a:cubicBezTo>
                  <a:cubicBezTo>
                    <a:pt x="6491817" y="313843"/>
                    <a:pt x="6559550" y="286327"/>
                    <a:pt x="6629400" y="208010"/>
                  </a:cubicBezTo>
                  <a:cubicBezTo>
                    <a:pt x="6699250" y="129693"/>
                    <a:pt x="6764867" y="25977"/>
                    <a:pt x="6832600" y="4810"/>
                  </a:cubicBezTo>
                  <a:cubicBezTo>
                    <a:pt x="6900333" y="-16357"/>
                    <a:pt x="6972300" y="36560"/>
                    <a:pt x="7035800" y="81010"/>
                  </a:cubicBezTo>
                  <a:cubicBezTo>
                    <a:pt x="7099300" y="125460"/>
                    <a:pt x="7095067" y="140277"/>
                    <a:pt x="7213600" y="271510"/>
                  </a:cubicBezTo>
                  <a:cubicBezTo>
                    <a:pt x="7332133" y="402743"/>
                    <a:pt x="7645400" y="751993"/>
                    <a:pt x="7747000" y="868410"/>
                  </a:cubicBezTo>
                  <a:cubicBezTo>
                    <a:pt x="7848600" y="984827"/>
                    <a:pt x="7835900" y="977418"/>
                    <a:pt x="7823200" y="97001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7">
              <a:extLst>
                <a:ext uri="{FF2B5EF4-FFF2-40B4-BE49-F238E27FC236}">
                  <a16:creationId xmlns:a16="http://schemas.microsoft.com/office/drawing/2014/main" id="{37DA056D-F6F6-418F-4993-3CDC21E77BDC}"/>
                </a:ext>
              </a:extLst>
            </p:cNvPr>
            <p:cNvSpPr/>
            <p:nvPr/>
          </p:nvSpPr>
          <p:spPr bwMode="gray">
            <a:xfrm>
              <a:off x="1752600" y="1735426"/>
              <a:ext cx="7899400" cy="3117904"/>
            </a:xfrm>
            <a:custGeom>
              <a:avLst/>
              <a:gdLst>
                <a:gd name="connsiteX0" fmla="*/ 0 w 7899400"/>
                <a:gd name="connsiteY0" fmla="*/ 1401474 h 3117904"/>
                <a:gd name="connsiteX1" fmla="*/ 495300 w 7899400"/>
                <a:gd name="connsiteY1" fmla="*/ 1680874 h 3117904"/>
                <a:gd name="connsiteX2" fmla="*/ 812800 w 7899400"/>
                <a:gd name="connsiteY2" fmla="*/ 1795174 h 3117904"/>
                <a:gd name="connsiteX3" fmla="*/ 1320800 w 7899400"/>
                <a:gd name="connsiteY3" fmla="*/ 1820574 h 3117904"/>
                <a:gd name="connsiteX4" fmla="*/ 2032000 w 7899400"/>
                <a:gd name="connsiteY4" fmla="*/ 1769774 h 3117904"/>
                <a:gd name="connsiteX5" fmla="*/ 2438400 w 7899400"/>
                <a:gd name="connsiteY5" fmla="*/ 1668174 h 3117904"/>
                <a:gd name="connsiteX6" fmla="*/ 2806700 w 7899400"/>
                <a:gd name="connsiteY6" fmla="*/ 1655474 h 3117904"/>
                <a:gd name="connsiteX7" fmla="*/ 3136900 w 7899400"/>
                <a:gd name="connsiteY7" fmla="*/ 2176174 h 3117904"/>
                <a:gd name="connsiteX8" fmla="*/ 3505200 w 7899400"/>
                <a:gd name="connsiteY8" fmla="*/ 2595274 h 3117904"/>
                <a:gd name="connsiteX9" fmla="*/ 3860800 w 7899400"/>
                <a:gd name="connsiteY9" fmla="*/ 2900074 h 3117904"/>
                <a:gd name="connsiteX10" fmla="*/ 4330700 w 7899400"/>
                <a:gd name="connsiteY10" fmla="*/ 3077874 h 3117904"/>
                <a:gd name="connsiteX11" fmla="*/ 4724400 w 7899400"/>
                <a:gd name="connsiteY11" fmla="*/ 3115974 h 3117904"/>
                <a:gd name="connsiteX12" fmla="*/ 5130800 w 7899400"/>
                <a:gd name="connsiteY12" fmla="*/ 3039774 h 3117904"/>
                <a:gd name="connsiteX13" fmla="*/ 5486400 w 7899400"/>
                <a:gd name="connsiteY13" fmla="*/ 2874674 h 3117904"/>
                <a:gd name="connsiteX14" fmla="*/ 5778500 w 7899400"/>
                <a:gd name="connsiteY14" fmla="*/ 2544474 h 3117904"/>
                <a:gd name="connsiteX15" fmla="*/ 5994400 w 7899400"/>
                <a:gd name="connsiteY15" fmla="*/ 2074574 h 3117904"/>
                <a:gd name="connsiteX16" fmla="*/ 6108700 w 7899400"/>
                <a:gd name="connsiteY16" fmla="*/ 1642774 h 3117904"/>
                <a:gd name="connsiteX17" fmla="*/ 6261100 w 7899400"/>
                <a:gd name="connsiteY17" fmla="*/ 1185574 h 3117904"/>
                <a:gd name="connsiteX18" fmla="*/ 6375400 w 7899400"/>
                <a:gd name="connsiteY18" fmla="*/ 817274 h 3117904"/>
                <a:gd name="connsiteX19" fmla="*/ 6540500 w 7899400"/>
                <a:gd name="connsiteY19" fmla="*/ 398174 h 3117904"/>
                <a:gd name="connsiteX20" fmla="*/ 6756400 w 7899400"/>
                <a:gd name="connsiteY20" fmla="*/ 118774 h 3117904"/>
                <a:gd name="connsiteX21" fmla="*/ 6858000 w 7899400"/>
                <a:gd name="connsiteY21" fmla="*/ 4474 h 3117904"/>
                <a:gd name="connsiteX22" fmla="*/ 7277100 w 7899400"/>
                <a:gd name="connsiteY22" fmla="*/ 258474 h 3117904"/>
                <a:gd name="connsiteX23" fmla="*/ 7581900 w 7899400"/>
                <a:gd name="connsiteY23" fmla="*/ 550574 h 3117904"/>
                <a:gd name="connsiteX24" fmla="*/ 7810500 w 7899400"/>
                <a:gd name="connsiteY24" fmla="*/ 855374 h 3117904"/>
                <a:gd name="connsiteX25" fmla="*/ 7899400 w 7899400"/>
                <a:gd name="connsiteY25" fmla="*/ 982374 h 3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99400" h="3117904">
                  <a:moveTo>
                    <a:pt x="0" y="1401474"/>
                  </a:moveTo>
                  <a:cubicBezTo>
                    <a:pt x="179916" y="1508365"/>
                    <a:pt x="359833" y="1615257"/>
                    <a:pt x="495300" y="1680874"/>
                  </a:cubicBezTo>
                  <a:cubicBezTo>
                    <a:pt x="630767" y="1746491"/>
                    <a:pt x="675217" y="1771891"/>
                    <a:pt x="812800" y="1795174"/>
                  </a:cubicBezTo>
                  <a:cubicBezTo>
                    <a:pt x="950383" y="1818457"/>
                    <a:pt x="1117600" y="1824807"/>
                    <a:pt x="1320800" y="1820574"/>
                  </a:cubicBezTo>
                  <a:cubicBezTo>
                    <a:pt x="1524000" y="1816341"/>
                    <a:pt x="1845733" y="1795174"/>
                    <a:pt x="2032000" y="1769774"/>
                  </a:cubicBezTo>
                  <a:cubicBezTo>
                    <a:pt x="2218267" y="1744374"/>
                    <a:pt x="2309283" y="1687224"/>
                    <a:pt x="2438400" y="1668174"/>
                  </a:cubicBezTo>
                  <a:cubicBezTo>
                    <a:pt x="2567517" y="1649124"/>
                    <a:pt x="2690283" y="1570807"/>
                    <a:pt x="2806700" y="1655474"/>
                  </a:cubicBezTo>
                  <a:cubicBezTo>
                    <a:pt x="2923117" y="1740141"/>
                    <a:pt x="3020483" y="2019541"/>
                    <a:pt x="3136900" y="2176174"/>
                  </a:cubicBezTo>
                  <a:cubicBezTo>
                    <a:pt x="3253317" y="2332807"/>
                    <a:pt x="3384550" y="2474624"/>
                    <a:pt x="3505200" y="2595274"/>
                  </a:cubicBezTo>
                  <a:cubicBezTo>
                    <a:pt x="3625850" y="2715924"/>
                    <a:pt x="3723217" y="2819641"/>
                    <a:pt x="3860800" y="2900074"/>
                  </a:cubicBezTo>
                  <a:cubicBezTo>
                    <a:pt x="3998383" y="2980507"/>
                    <a:pt x="4186767" y="3041891"/>
                    <a:pt x="4330700" y="3077874"/>
                  </a:cubicBezTo>
                  <a:cubicBezTo>
                    <a:pt x="4474633" y="3113857"/>
                    <a:pt x="4591050" y="3122324"/>
                    <a:pt x="4724400" y="3115974"/>
                  </a:cubicBezTo>
                  <a:cubicBezTo>
                    <a:pt x="4857750" y="3109624"/>
                    <a:pt x="5003800" y="3079991"/>
                    <a:pt x="5130800" y="3039774"/>
                  </a:cubicBezTo>
                  <a:cubicBezTo>
                    <a:pt x="5257800" y="2999557"/>
                    <a:pt x="5378450" y="2957224"/>
                    <a:pt x="5486400" y="2874674"/>
                  </a:cubicBezTo>
                  <a:cubicBezTo>
                    <a:pt x="5594350" y="2792124"/>
                    <a:pt x="5693833" y="2677824"/>
                    <a:pt x="5778500" y="2544474"/>
                  </a:cubicBezTo>
                  <a:cubicBezTo>
                    <a:pt x="5863167" y="2411124"/>
                    <a:pt x="5939367" y="2224857"/>
                    <a:pt x="5994400" y="2074574"/>
                  </a:cubicBezTo>
                  <a:cubicBezTo>
                    <a:pt x="6049433" y="1924291"/>
                    <a:pt x="6064250" y="1790941"/>
                    <a:pt x="6108700" y="1642774"/>
                  </a:cubicBezTo>
                  <a:cubicBezTo>
                    <a:pt x="6153150" y="1494607"/>
                    <a:pt x="6216650" y="1323157"/>
                    <a:pt x="6261100" y="1185574"/>
                  </a:cubicBezTo>
                  <a:cubicBezTo>
                    <a:pt x="6305550" y="1047991"/>
                    <a:pt x="6328833" y="948507"/>
                    <a:pt x="6375400" y="817274"/>
                  </a:cubicBezTo>
                  <a:cubicBezTo>
                    <a:pt x="6421967" y="686041"/>
                    <a:pt x="6477000" y="514591"/>
                    <a:pt x="6540500" y="398174"/>
                  </a:cubicBezTo>
                  <a:cubicBezTo>
                    <a:pt x="6604000" y="281757"/>
                    <a:pt x="6703483" y="184391"/>
                    <a:pt x="6756400" y="118774"/>
                  </a:cubicBezTo>
                  <a:cubicBezTo>
                    <a:pt x="6809317" y="53157"/>
                    <a:pt x="6771217" y="-18809"/>
                    <a:pt x="6858000" y="4474"/>
                  </a:cubicBezTo>
                  <a:cubicBezTo>
                    <a:pt x="6944783" y="27757"/>
                    <a:pt x="7156450" y="167457"/>
                    <a:pt x="7277100" y="258474"/>
                  </a:cubicBezTo>
                  <a:cubicBezTo>
                    <a:pt x="7397750" y="349491"/>
                    <a:pt x="7493000" y="451091"/>
                    <a:pt x="7581900" y="550574"/>
                  </a:cubicBezTo>
                  <a:cubicBezTo>
                    <a:pt x="7670800" y="650057"/>
                    <a:pt x="7757583" y="783407"/>
                    <a:pt x="7810500" y="855374"/>
                  </a:cubicBezTo>
                  <a:cubicBezTo>
                    <a:pt x="7863417" y="927341"/>
                    <a:pt x="7881408" y="954857"/>
                    <a:pt x="7899400" y="982374"/>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8">
              <a:extLst>
                <a:ext uri="{FF2B5EF4-FFF2-40B4-BE49-F238E27FC236}">
                  <a16:creationId xmlns:a16="http://schemas.microsoft.com/office/drawing/2014/main" id="{DE236BEA-E188-C27F-7062-3B88475D47A2}"/>
                </a:ext>
              </a:extLst>
            </p:cNvPr>
            <p:cNvSpPr/>
            <p:nvPr/>
          </p:nvSpPr>
          <p:spPr bwMode="gray">
            <a:xfrm>
              <a:off x="1752600" y="1638122"/>
              <a:ext cx="7899400" cy="3404751"/>
            </a:xfrm>
            <a:custGeom>
              <a:avLst/>
              <a:gdLst>
                <a:gd name="connsiteX0" fmla="*/ 0 w 7899400"/>
                <a:gd name="connsiteY0" fmla="*/ 1524178 h 3404751"/>
                <a:gd name="connsiteX1" fmla="*/ 241300 w 7899400"/>
                <a:gd name="connsiteY1" fmla="*/ 1701978 h 3404751"/>
                <a:gd name="connsiteX2" fmla="*/ 596900 w 7899400"/>
                <a:gd name="connsiteY2" fmla="*/ 1867078 h 3404751"/>
                <a:gd name="connsiteX3" fmla="*/ 952500 w 7899400"/>
                <a:gd name="connsiteY3" fmla="*/ 1943278 h 3404751"/>
                <a:gd name="connsiteX4" fmla="*/ 1320800 w 7899400"/>
                <a:gd name="connsiteY4" fmla="*/ 1905178 h 3404751"/>
                <a:gd name="connsiteX5" fmla="*/ 2184400 w 7899400"/>
                <a:gd name="connsiteY5" fmla="*/ 1790878 h 3404751"/>
                <a:gd name="connsiteX6" fmla="*/ 2514600 w 7899400"/>
                <a:gd name="connsiteY6" fmla="*/ 1765478 h 3404751"/>
                <a:gd name="connsiteX7" fmla="*/ 2667000 w 7899400"/>
                <a:gd name="connsiteY7" fmla="*/ 1752778 h 3404751"/>
                <a:gd name="connsiteX8" fmla="*/ 2946400 w 7899400"/>
                <a:gd name="connsiteY8" fmla="*/ 2032178 h 3404751"/>
                <a:gd name="connsiteX9" fmla="*/ 3340100 w 7899400"/>
                <a:gd name="connsiteY9" fmla="*/ 2654478 h 3404751"/>
                <a:gd name="connsiteX10" fmla="*/ 3810000 w 7899400"/>
                <a:gd name="connsiteY10" fmla="*/ 3086278 h 3404751"/>
                <a:gd name="connsiteX11" fmla="*/ 4292600 w 7899400"/>
                <a:gd name="connsiteY11" fmla="*/ 3365678 h 3404751"/>
                <a:gd name="connsiteX12" fmla="*/ 4635500 w 7899400"/>
                <a:gd name="connsiteY12" fmla="*/ 3403778 h 3404751"/>
                <a:gd name="connsiteX13" fmla="*/ 4927600 w 7899400"/>
                <a:gd name="connsiteY13" fmla="*/ 3378378 h 3404751"/>
                <a:gd name="connsiteX14" fmla="*/ 5270500 w 7899400"/>
                <a:gd name="connsiteY14" fmla="*/ 3264078 h 3404751"/>
                <a:gd name="connsiteX15" fmla="*/ 5499100 w 7899400"/>
                <a:gd name="connsiteY15" fmla="*/ 3060878 h 3404751"/>
                <a:gd name="connsiteX16" fmla="*/ 5689600 w 7899400"/>
                <a:gd name="connsiteY16" fmla="*/ 2844978 h 3404751"/>
                <a:gd name="connsiteX17" fmla="*/ 5842000 w 7899400"/>
                <a:gd name="connsiteY17" fmla="*/ 2629078 h 3404751"/>
                <a:gd name="connsiteX18" fmla="*/ 5930900 w 7899400"/>
                <a:gd name="connsiteY18" fmla="*/ 2349678 h 3404751"/>
                <a:gd name="connsiteX19" fmla="*/ 6096000 w 7899400"/>
                <a:gd name="connsiteY19" fmla="*/ 1892478 h 3404751"/>
                <a:gd name="connsiteX20" fmla="*/ 6223000 w 7899400"/>
                <a:gd name="connsiteY20" fmla="*/ 1422578 h 3404751"/>
                <a:gd name="connsiteX21" fmla="*/ 6362700 w 7899400"/>
                <a:gd name="connsiteY21" fmla="*/ 927278 h 3404751"/>
                <a:gd name="connsiteX22" fmla="*/ 6477000 w 7899400"/>
                <a:gd name="connsiteY22" fmla="*/ 558978 h 3404751"/>
                <a:gd name="connsiteX23" fmla="*/ 6565900 w 7899400"/>
                <a:gd name="connsiteY23" fmla="*/ 343078 h 3404751"/>
                <a:gd name="connsiteX24" fmla="*/ 6667500 w 7899400"/>
                <a:gd name="connsiteY24" fmla="*/ 216078 h 3404751"/>
                <a:gd name="connsiteX25" fmla="*/ 6845300 w 7899400"/>
                <a:gd name="connsiteY25" fmla="*/ 178 h 3404751"/>
                <a:gd name="connsiteX26" fmla="*/ 7226300 w 7899400"/>
                <a:gd name="connsiteY26" fmla="*/ 254178 h 3404751"/>
                <a:gd name="connsiteX27" fmla="*/ 7454900 w 7899400"/>
                <a:gd name="connsiteY27" fmla="*/ 482778 h 3404751"/>
                <a:gd name="connsiteX28" fmla="*/ 7899400 w 7899400"/>
                <a:gd name="connsiteY28" fmla="*/ 1016178 h 340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99400" h="3404751">
                  <a:moveTo>
                    <a:pt x="0" y="1524178"/>
                  </a:moveTo>
                  <a:cubicBezTo>
                    <a:pt x="70908" y="1584503"/>
                    <a:pt x="141817" y="1644828"/>
                    <a:pt x="241300" y="1701978"/>
                  </a:cubicBezTo>
                  <a:cubicBezTo>
                    <a:pt x="340783" y="1759128"/>
                    <a:pt x="478367" y="1826861"/>
                    <a:pt x="596900" y="1867078"/>
                  </a:cubicBezTo>
                  <a:cubicBezTo>
                    <a:pt x="715433" y="1907295"/>
                    <a:pt x="831850" y="1936928"/>
                    <a:pt x="952500" y="1943278"/>
                  </a:cubicBezTo>
                  <a:cubicBezTo>
                    <a:pt x="1073150" y="1949628"/>
                    <a:pt x="1320800" y="1905178"/>
                    <a:pt x="1320800" y="1905178"/>
                  </a:cubicBezTo>
                  <a:lnTo>
                    <a:pt x="2184400" y="1790878"/>
                  </a:lnTo>
                  <a:cubicBezTo>
                    <a:pt x="2383367" y="1767595"/>
                    <a:pt x="2514600" y="1765478"/>
                    <a:pt x="2514600" y="1765478"/>
                  </a:cubicBezTo>
                  <a:cubicBezTo>
                    <a:pt x="2595033" y="1759128"/>
                    <a:pt x="2595033" y="1708328"/>
                    <a:pt x="2667000" y="1752778"/>
                  </a:cubicBezTo>
                  <a:cubicBezTo>
                    <a:pt x="2738967" y="1797228"/>
                    <a:pt x="2834217" y="1881895"/>
                    <a:pt x="2946400" y="2032178"/>
                  </a:cubicBezTo>
                  <a:cubicBezTo>
                    <a:pt x="3058583" y="2182461"/>
                    <a:pt x="3196167" y="2478795"/>
                    <a:pt x="3340100" y="2654478"/>
                  </a:cubicBezTo>
                  <a:cubicBezTo>
                    <a:pt x="3484033" y="2830161"/>
                    <a:pt x="3651250" y="2967745"/>
                    <a:pt x="3810000" y="3086278"/>
                  </a:cubicBezTo>
                  <a:cubicBezTo>
                    <a:pt x="3968750" y="3204811"/>
                    <a:pt x="4155017" y="3312761"/>
                    <a:pt x="4292600" y="3365678"/>
                  </a:cubicBezTo>
                  <a:cubicBezTo>
                    <a:pt x="4430183" y="3418595"/>
                    <a:pt x="4529667" y="3401661"/>
                    <a:pt x="4635500" y="3403778"/>
                  </a:cubicBezTo>
                  <a:cubicBezTo>
                    <a:pt x="4741333" y="3405895"/>
                    <a:pt x="4821767" y="3401661"/>
                    <a:pt x="4927600" y="3378378"/>
                  </a:cubicBezTo>
                  <a:cubicBezTo>
                    <a:pt x="5033433" y="3355095"/>
                    <a:pt x="5175250" y="3316995"/>
                    <a:pt x="5270500" y="3264078"/>
                  </a:cubicBezTo>
                  <a:cubicBezTo>
                    <a:pt x="5365750" y="3211161"/>
                    <a:pt x="5429250" y="3130728"/>
                    <a:pt x="5499100" y="3060878"/>
                  </a:cubicBezTo>
                  <a:cubicBezTo>
                    <a:pt x="5568950" y="2991028"/>
                    <a:pt x="5632450" y="2916945"/>
                    <a:pt x="5689600" y="2844978"/>
                  </a:cubicBezTo>
                  <a:cubicBezTo>
                    <a:pt x="5746750" y="2773011"/>
                    <a:pt x="5801783" y="2711628"/>
                    <a:pt x="5842000" y="2629078"/>
                  </a:cubicBezTo>
                  <a:cubicBezTo>
                    <a:pt x="5882217" y="2546528"/>
                    <a:pt x="5888567" y="2472445"/>
                    <a:pt x="5930900" y="2349678"/>
                  </a:cubicBezTo>
                  <a:cubicBezTo>
                    <a:pt x="5973233" y="2226911"/>
                    <a:pt x="6047317" y="2046995"/>
                    <a:pt x="6096000" y="1892478"/>
                  </a:cubicBezTo>
                  <a:cubicBezTo>
                    <a:pt x="6144683" y="1737961"/>
                    <a:pt x="6178550" y="1583445"/>
                    <a:pt x="6223000" y="1422578"/>
                  </a:cubicBezTo>
                  <a:cubicBezTo>
                    <a:pt x="6267450" y="1261711"/>
                    <a:pt x="6320367" y="1071211"/>
                    <a:pt x="6362700" y="927278"/>
                  </a:cubicBezTo>
                  <a:cubicBezTo>
                    <a:pt x="6405033" y="783345"/>
                    <a:pt x="6443133" y="656345"/>
                    <a:pt x="6477000" y="558978"/>
                  </a:cubicBezTo>
                  <a:cubicBezTo>
                    <a:pt x="6510867" y="461611"/>
                    <a:pt x="6534150" y="400228"/>
                    <a:pt x="6565900" y="343078"/>
                  </a:cubicBezTo>
                  <a:cubicBezTo>
                    <a:pt x="6597650" y="285928"/>
                    <a:pt x="6620933" y="273228"/>
                    <a:pt x="6667500" y="216078"/>
                  </a:cubicBezTo>
                  <a:cubicBezTo>
                    <a:pt x="6714067" y="158928"/>
                    <a:pt x="6752167" y="-6172"/>
                    <a:pt x="6845300" y="178"/>
                  </a:cubicBezTo>
                  <a:cubicBezTo>
                    <a:pt x="6938433" y="6528"/>
                    <a:pt x="7124700" y="173745"/>
                    <a:pt x="7226300" y="254178"/>
                  </a:cubicBezTo>
                  <a:cubicBezTo>
                    <a:pt x="7327900" y="334611"/>
                    <a:pt x="7342717" y="355778"/>
                    <a:pt x="7454900" y="482778"/>
                  </a:cubicBezTo>
                  <a:cubicBezTo>
                    <a:pt x="7567083" y="609778"/>
                    <a:pt x="7842250" y="927278"/>
                    <a:pt x="7899400" y="1016178"/>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Straight Connector 29">
              <a:extLst>
                <a:ext uri="{FF2B5EF4-FFF2-40B4-BE49-F238E27FC236}">
                  <a16:creationId xmlns:a16="http://schemas.microsoft.com/office/drawing/2014/main" id="{DA101B9A-D6D5-4DD4-8E2B-DE994A3E8291}"/>
                </a:ext>
              </a:extLst>
            </p:cNvPr>
            <p:cNvCxnSpPr>
              <a:cxnSpLocks/>
            </p:cNvCxnSpPr>
            <p:nvPr/>
          </p:nvCxnSpPr>
          <p:spPr bwMode="gray">
            <a:xfrm>
              <a:off x="1625600" y="1308100"/>
              <a:ext cx="0" cy="48864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62FE593-ADAC-8B7A-9F4A-56E7F374B918}"/>
                </a:ext>
              </a:extLst>
            </p:cNvPr>
            <p:cNvCxnSpPr>
              <a:cxnSpLocks/>
            </p:cNvCxnSpPr>
            <p:nvPr/>
          </p:nvCxnSpPr>
          <p:spPr bwMode="gray">
            <a:xfrm>
              <a:off x="1625600" y="6194586"/>
              <a:ext cx="81915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4D1693B-C009-D4D6-CBBE-09BC37603173}"/>
                </a:ext>
              </a:extLst>
            </p:cNvPr>
            <p:cNvSpPr/>
            <p:nvPr/>
          </p:nvSpPr>
          <p:spPr bwMode="gray">
            <a:xfrm>
              <a:off x="752014" y="1182752"/>
              <a:ext cx="746587" cy="2387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8,000</a:t>
              </a:r>
            </a:p>
          </p:txBody>
        </p:sp>
        <p:sp>
          <p:nvSpPr>
            <p:cNvPr id="33" name="Rectangle 32">
              <a:extLst>
                <a:ext uri="{FF2B5EF4-FFF2-40B4-BE49-F238E27FC236}">
                  <a16:creationId xmlns:a16="http://schemas.microsoft.com/office/drawing/2014/main" id="{EE2F293F-6887-FEBB-F7A8-CF2AE3D4DDB5}"/>
                </a:ext>
              </a:extLst>
            </p:cNvPr>
            <p:cNvSpPr/>
            <p:nvPr/>
          </p:nvSpPr>
          <p:spPr bwMode="gray">
            <a:xfrm>
              <a:off x="752014" y="1627221"/>
              <a:ext cx="746587" cy="2636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6,000</a:t>
              </a:r>
            </a:p>
          </p:txBody>
        </p:sp>
        <p:sp>
          <p:nvSpPr>
            <p:cNvPr id="34" name="Rectangle 33">
              <a:extLst>
                <a:ext uri="{FF2B5EF4-FFF2-40B4-BE49-F238E27FC236}">
                  <a16:creationId xmlns:a16="http://schemas.microsoft.com/office/drawing/2014/main" id="{F720DAEA-B948-A52F-2EE9-7E6BDA3F17FC}"/>
                </a:ext>
              </a:extLst>
            </p:cNvPr>
            <p:cNvSpPr/>
            <p:nvPr/>
          </p:nvSpPr>
          <p:spPr bwMode="gray">
            <a:xfrm>
              <a:off x="780638" y="2071689"/>
              <a:ext cx="717962" cy="288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4,000</a:t>
              </a:r>
            </a:p>
          </p:txBody>
        </p:sp>
        <p:sp>
          <p:nvSpPr>
            <p:cNvPr id="35" name="Rectangle 34">
              <a:extLst>
                <a:ext uri="{FF2B5EF4-FFF2-40B4-BE49-F238E27FC236}">
                  <a16:creationId xmlns:a16="http://schemas.microsoft.com/office/drawing/2014/main" id="{CB19B5B6-31DF-CED5-9521-EB323F132A36}"/>
                </a:ext>
              </a:extLst>
            </p:cNvPr>
            <p:cNvSpPr/>
            <p:nvPr/>
          </p:nvSpPr>
          <p:spPr bwMode="gray">
            <a:xfrm>
              <a:off x="752014" y="2526303"/>
              <a:ext cx="759287" cy="2109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2,000</a:t>
              </a:r>
            </a:p>
          </p:txBody>
        </p:sp>
        <p:sp>
          <p:nvSpPr>
            <p:cNvPr id="36" name="Rectangle 35">
              <a:extLst>
                <a:ext uri="{FF2B5EF4-FFF2-40B4-BE49-F238E27FC236}">
                  <a16:creationId xmlns:a16="http://schemas.microsoft.com/office/drawing/2014/main" id="{EFFF403F-7420-28C8-2274-A723D84AAE31}"/>
                </a:ext>
              </a:extLst>
            </p:cNvPr>
            <p:cNvSpPr/>
            <p:nvPr/>
          </p:nvSpPr>
          <p:spPr bwMode="gray">
            <a:xfrm>
              <a:off x="780638" y="3043099"/>
              <a:ext cx="730663" cy="3470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000</a:t>
              </a:r>
            </a:p>
          </p:txBody>
        </p:sp>
        <p:sp>
          <p:nvSpPr>
            <p:cNvPr id="37" name="Rectangle 36">
              <a:extLst>
                <a:ext uri="{FF2B5EF4-FFF2-40B4-BE49-F238E27FC236}">
                  <a16:creationId xmlns:a16="http://schemas.microsoft.com/office/drawing/2014/main" id="{B3374F3B-F4AF-1E6E-0E81-6C6E69B9FF2C}"/>
                </a:ext>
              </a:extLst>
            </p:cNvPr>
            <p:cNvSpPr/>
            <p:nvPr/>
          </p:nvSpPr>
          <p:spPr bwMode="gray">
            <a:xfrm>
              <a:off x="780638" y="3510408"/>
              <a:ext cx="743363" cy="3009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8,000</a:t>
              </a:r>
            </a:p>
          </p:txBody>
        </p:sp>
        <p:sp>
          <p:nvSpPr>
            <p:cNvPr id="38" name="Rectangle 37">
              <a:extLst>
                <a:ext uri="{FF2B5EF4-FFF2-40B4-BE49-F238E27FC236}">
                  <a16:creationId xmlns:a16="http://schemas.microsoft.com/office/drawing/2014/main" id="{3CA13951-958F-31A3-7398-6B90DEA72F99}"/>
                </a:ext>
              </a:extLst>
            </p:cNvPr>
            <p:cNvSpPr/>
            <p:nvPr/>
          </p:nvSpPr>
          <p:spPr bwMode="gray">
            <a:xfrm>
              <a:off x="780638" y="3977723"/>
              <a:ext cx="743363" cy="232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6,000</a:t>
              </a:r>
            </a:p>
          </p:txBody>
        </p:sp>
        <p:sp>
          <p:nvSpPr>
            <p:cNvPr id="39" name="Rectangle 38">
              <a:extLst>
                <a:ext uri="{FF2B5EF4-FFF2-40B4-BE49-F238E27FC236}">
                  <a16:creationId xmlns:a16="http://schemas.microsoft.com/office/drawing/2014/main" id="{14AD11A5-AA7F-FA7F-2F0D-A880ACE7F976}"/>
                </a:ext>
              </a:extLst>
            </p:cNvPr>
            <p:cNvSpPr/>
            <p:nvPr/>
          </p:nvSpPr>
          <p:spPr bwMode="gray">
            <a:xfrm>
              <a:off x="780638" y="4464875"/>
              <a:ext cx="743363" cy="253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4,000</a:t>
              </a:r>
            </a:p>
          </p:txBody>
        </p:sp>
        <p:sp>
          <p:nvSpPr>
            <p:cNvPr id="40" name="Rectangle 39">
              <a:extLst>
                <a:ext uri="{FF2B5EF4-FFF2-40B4-BE49-F238E27FC236}">
                  <a16:creationId xmlns:a16="http://schemas.microsoft.com/office/drawing/2014/main" id="{20F080F7-EEC7-19FB-0699-5A69896FC189}"/>
                </a:ext>
              </a:extLst>
            </p:cNvPr>
            <p:cNvSpPr/>
            <p:nvPr/>
          </p:nvSpPr>
          <p:spPr bwMode="gray">
            <a:xfrm>
              <a:off x="780638" y="4904134"/>
              <a:ext cx="743363" cy="1917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000</a:t>
              </a:r>
            </a:p>
          </p:txBody>
        </p:sp>
        <p:sp>
          <p:nvSpPr>
            <p:cNvPr id="41" name="Rectangle 40">
              <a:extLst>
                <a:ext uri="{FF2B5EF4-FFF2-40B4-BE49-F238E27FC236}">
                  <a16:creationId xmlns:a16="http://schemas.microsoft.com/office/drawing/2014/main" id="{B39F8FA1-DC72-0C6C-7983-08E34BDD810C}"/>
                </a:ext>
              </a:extLst>
            </p:cNvPr>
            <p:cNvSpPr/>
            <p:nvPr/>
          </p:nvSpPr>
          <p:spPr bwMode="gray">
            <a:xfrm>
              <a:off x="780638" y="5370757"/>
              <a:ext cx="743363" cy="2132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0,000</a:t>
              </a:r>
            </a:p>
          </p:txBody>
        </p:sp>
        <p:sp>
          <p:nvSpPr>
            <p:cNvPr id="42" name="Rectangle 41">
              <a:extLst>
                <a:ext uri="{FF2B5EF4-FFF2-40B4-BE49-F238E27FC236}">
                  <a16:creationId xmlns:a16="http://schemas.microsoft.com/office/drawing/2014/main" id="{0D2A3945-D8F2-D606-AB6A-8AB790EC7156}"/>
                </a:ext>
              </a:extLst>
            </p:cNvPr>
            <p:cNvSpPr/>
            <p:nvPr/>
          </p:nvSpPr>
          <p:spPr bwMode="gray">
            <a:xfrm>
              <a:off x="1066800" y="605474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0</a:t>
              </a:r>
            </a:p>
          </p:txBody>
        </p:sp>
        <p:sp>
          <p:nvSpPr>
            <p:cNvPr id="43" name="Rectangle 42">
              <a:extLst>
                <a:ext uri="{FF2B5EF4-FFF2-40B4-BE49-F238E27FC236}">
                  <a16:creationId xmlns:a16="http://schemas.microsoft.com/office/drawing/2014/main" id="{09E899D1-CBCE-1507-FBDD-DEEDD15EB5A9}"/>
                </a:ext>
              </a:extLst>
            </p:cNvPr>
            <p:cNvSpPr/>
            <p:nvPr/>
          </p:nvSpPr>
          <p:spPr bwMode="gray">
            <a:xfrm>
              <a:off x="16383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am</a:t>
              </a:r>
            </a:p>
          </p:txBody>
        </p:sp>
        <p:sp>
          <p:nvSpPr>
            <p:cNvPr id="44" name="Rectangle 43">
              <a:extLst>
                <a:ext uri="{FF2B5EF4-FFF2-40B4-BE49-F238E27FC236}">
                  <a16:creationId xmlns:a16="http://schemas.microsoft.com/office/drawing/2014/main" id="{17ACA2B6-7C8D-7988-FE5D-E6282CCEC3B6}"/>
                </a:ext>
              </a:extLst>
            </p:cNvPr>
            <p:cNvSpPr/>
            <p:nvPr/>
          </p:nvSpPr>
          <p:spPr bwMode="gray">
            <a:xfrm>
              <a:off x="2565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3am</a:t>
              </a:r>
            </a:p>
          </p:txBody>
        </p:sp>
        <p:sp>
          <p:nvSpPr>
            <p:cNvPr id="45" name="Rectangle 44">
              <a:extLst>
                <a:ext uri="{FF2B5EF4-FFF2-40B4-BE49-F238E27FC236}">
                  <a16:creationId xmlns:a16="http://schemas.microsoft.com/office/drawing/2014/main" id="{717F9C56-1610-632F-17B1-4498C428F26F}"/>
                </a:ext>
              </a:extLst>
            </p:cNvPr>
            <p:cNvSpPr/>
            <p:nvPr/>
          </p:nvSpPr>
          <p:spPr bwMode="gray">
            <a:xfrm>
              <a:off x="35814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6am</a:t>
              </a:r>
            </a:p>
          </p:txBody>
        </p:sp>
        <p:sp>
          <p:nvSpPr>
            <p:cNvPr id="46" name="Rectangle 45">
              <a:extLst>
                <a:ext uri="{FF2B5EF4-FFF2-40B4-BE49-F238E27FC236}">
                  <a16:creationId xmlns:a16="http://schemas.microsoft.com/office/drawing/2014/main" id="{DD26D431-3B1F-F74A-BDB6-E2C2EE9C8189}"/>
                </a:ext>
              </a:extLst>
            </p:cNvPr>
            <p:cNvSpPr/>
            <p:nvPr/>
          </p:nvSpPr>
          <p:spPr bwMode="gray">
            <a:xfrm>
              <a:off x="4597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9am</a:t>
              </a:r>
            </a:p>
          </p:txBody>
        </p:sp>
        <p:sp>
          <p:nvSpPr>
            <p:cNvPr id="47" name="Rectangle 46">
              <a:extLst>
                <a:ext uri="{FF2B5EF4-FFF2-40B4-BE49-F238E27FC236}">
                  <a16:creationId xmlns:a16="http://schemas.microsoft.com/office/drawing/2014/main" id="{BA383765-027E-C2A3-3D40-5099E4F193A2}"/>
                </a:ext>
              </a:extLst>
            </p:cNvPr>
            <p:cNvSpPr/>
            <p:nvPr/>
          </p:nvSpPr>
          <p:spPr bwMode="gray">
            <a:xfrm>
              <a:off x="5651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am</a:t>
              </a:r>
            </a:p>
          </p:txBody>
        </p:sp>
        <p:sp>
          <p:nvSpPr>
            <p:cNvPr id="48" name="Rectangle 47">
              <a:extLst>
                <a:ext uri="{FF2B5EF4-FFF2-40B4-BE49-F238E27FC236}">
                  <a16:creationId xmlns:a16="http://schemas.microsoft.com/office/drawing/2014/main" id="{57E00CDD-44B8-3278-718A-876AFD3BFCD9}"/>
                </a:ext>
              </a:extLst>
            </p:cNvPr>
            <p:cNvSpPr/>
            <p:nvPr/>
          </p:nvSpPr>
          <p:spPr bwMode="gray">
            <a:xfrm>
              <a:off x="6667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3pm</a:t>
              </a:r>
            </a:p>
          </p:txBody>
        </p:sp>
        <p:sp>
          <p:nvSpPr>
            <p:cNvPr id="49" name="Rectangle 48">
              <a:extLst>
                <a:ext uri="{FF2B5EF4-FFF2-40B4-BE49-F238E27FC236}">
                  <a16:creationId xmlns:a16="http://schemas.microsoft.com/office/drawing/2014/main" id="{6E2D10A6-1AF7-8E47-568E-2F496B49C0EF}"/>
                </a:ext>
              </a:extLst>
            </p:cNvPr>
            <p:cNvSpPr/>
            <p:nvPr/>
          </p:nvSpPr>
          <p:spPr bwMode="gray">
            <a:xfrm>
              <a:off x="7721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6pm</a:t>
              </a:r>
            </a:p>
          </p:txBody>
        </p:sp>
        <p:sp>
          <p:nvSpPr>
            <p:cNvPr id="50" name="Rectangle 49">
              <a:extLst>
                <a:ext uri="{FF2B5EF4-FFF2-40B4-BE49-F238E27FC236}">
                  <a16:creationId xmlns:a16="http://schemas.microsoft.com/office/drawing/2014/main" id="{E59E4326-3084-29A7-F10B-CA7E45F14EAB}"/>
                </a:ext>
              </a:extLst>
            </p:cNvPr>
            <p:cNvSpPr/>
            <p:nvPr/>
          </p:nvSpPr>
          <p:spPr bwMode="gray">
            <a:xfrm>
              <a:off x="8737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9pm</a:t>
              </a:r>
            </a:p>
          </p:txBody>
        </p:sp>
        <p:sp>
          <p:nvSpPr>
            <p:cNvPr id="51" name="Rectangle 50">
              <a:extLst>
                <a:ext uri="{FF2B5EF4-FFF2-40B4-BE49-F238E27FC236}">
                  <a16:creationId xmlns:a16="http://schemas.microsoft.com/office/drawing/2014/main" id="{49D66F47-6828-10AE-9104-04297BE54E72}"/>
                </a:ext>
              </a:extLst>
            </p:cNvPr>
            <p:cNvSpPr/>
            <p:nvPr/>
          </p:nvSpPr>
          <p:spPr bwMode="gray">
            <a:xfrm>
              <a:off x="6108700" y="5049315"/>
              <a:ext cx="558800" cy="239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20</a:t>
              </a:r>
            </a:p>
          </p:txBody>
        </p:sp>
        <p:sp>
          <p:nvSpPr>
            <p:cNvPr id="52" name="Rectangle 51">
              <a:extLst>
                <a:ext uri="{FF2B5EF4-FFF2-40B4-BE49-F238E27FC236}">
                  <a16:creationId xmlns:a16="http://schemas.microsoft.com/office/drawing/2014/main" id="{258D3968-7746-7C30-BC79-D7241CAF7347}"/>
                </a:ext>
              </a:extLst>
            </p:cNvPr>
            <p:cNvSpPr/>
            <p:nvPr/>
          </p:nvSpPr>
          <p:spPr bwMode="gray">
            <a:xfrm>
              <a:off x="4883150" y="460353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8</a:t>
              </a:r>
            </a:p>
          </p:txBody>
        </p:sp>
        <p:sp>
          <p:nvSpPr>
            <p:cNvPr id="53" name="Rectangle 52">
              <a:extLst>
                <a:ext uri="{FF2B5EF4-FFF2-40B4-BE49-F238E27FC236}">
                  <a16:creationId xmlns:a16="http://schemas.microsoft.com/office/drawing/2014/main" id="{E5F88397-0E1A-20F6-3194-21E750B4FC7B}"/>
                </a:ext>
              </a:extLst>
            </p:cNvPr>
            <p:cNvSpPr/>
            <p:nvPr/>
          </p:nvSpPr>
          <p:spPr bwMode="gray">
            <a:xfrm>
              <a:off x="4978400" y="483035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9</a:t>
              </a:r>
            </a:p>
          </p:txBody>
        </p:sp>
        <p:sp>
          <p:nvSpPr>
            <p:cNvPr id="54" name="Rectangle 53">
              <a:extLst>
                <a:ext uri="{FF2B5EF4-FFF2-40B4-BE49-F238E27FC236}">
                  <a16:creationId xmlns:a16="http://schemas.microsoft.com/office/drawing/2014/main" id="{42E895C8-C214-ED6D-38A1-10B8C88AB95E}"/>
                </a:ext>
              </a:extLst>
            </p:cNvPr>
            <p:cNvSpPr/>
            <p:nvPr/>
          </p:nvSpPr>
          <p:spPr bwMode="gray">
            <a:xfrm>
              <a:off x="6199652" y="4545297"/>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7</a:t>
              </a:r>
            </a:p>
          </p:txBody>
        </p:sp>
        <p:sp>
          <p:nvSpPr>
            <p:cNvPr id="55" name="Rectangle 54">
              <a:extLst>
                <a:ext uri="{FF2B5EF4-FFF2-40B4-BE49-F238E27FC236}">
                  <a16:creationId xmlns:a16="http://schemas.microsoft.com/office/drawing/2014/main" id="{8AF0D1CE-0A92-05E5-25A6-E5525537F36E}"/>
                </a:ext>
              </a:extLst>
            </p:cNvPr>
            <p:cNvSpPr/>
            <p:nvPr/>
          </p:nvSpPr>
          <p:spPr bwMode="gray">
            <a:xfrm>
              <a:off x="6247890" y="430068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6</a:t>
              </a:r>
            </a:p>
          </p:txBody>
        </p:sp>
        <p:sp>
          <p:nvSpPr>
            <p:cNvPr id="56" name="Rectangle 55">
              <a:extLst>
                <a:ext uri="{FF2B5EF4-FFF2-40B4-BE49-F238E27FC236}">
                  <a16:creationId xmlns:a16="http://schemas.microsoft.com/office/drawing/2014/main" id="{449987C1-95D5-0C95-BF85-5846AD5D9F74}"/>
                </a:ext>
              </a:extLst>
            </p:cNvPr>
            <p:cNvSpPr/>
            <p:nvPr/>
          </p:nvSpPr>
          <p:spPr bwMode="gray">
            <a:xfrm>
              <a:off x="6242137" y="4104615"/>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5</a:t>
              </a:r>
            </a:p>
          </p:txBody>
        </p:sp>
        <p:sp>
          <p:nvSpPr>
            <p:cNvPr id="57" name="Rectangle 56">
              <a:extLst>
                <a:ext uri="{FF2B5EF4-FFF2-40B4-BE49-F238E27FC236}">
                  <a16:creationId xmlns:a16="http://schemas.microsoft.com/office/drawing/2014/main" id="{2EA060D7-EFD0-1F2B-284B-EB5837B65DD8}"/>
                </a:ext>
              </a:extLst>
            </p:cNvPr>
            <p:cNvSpPr/>
            <p:nvPr/>
          </p:nvSpPr>
          <p:spPr bwMode="gray">
            <a:xfrm>
              <a:off x="6247890" y="3915642"/>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4</a:t>
              </a:r>
            </a:p>
          </p:txBody>
        </p:sp>
        <p:sp>
          <p:nvSpPr>
            <p:cNvPr id="58" name="Rectangle 57">
              <a:extLst>
                <a:ext uri="{FF2B5EF4-FFF2-40B4-BE49-F238E27FC236}">
                  <a16:creationId xmlns:a16="http://schemas.microsoft.com/office/drawing/2014/main" id="{EFCB5BA1-E611-4A17-96A9-13D35080E34A}"/>
                </a:ext>
              </a:extLst>
            </p:cNvPr>
            <p:cNvSpPr/>
            <p:nvPr/>
          </p:nvSpPr>
          <p:spPr bwMode="gray">
            <a:xfrm>
              <a:off x="6242137" y="348507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3</a:t>
              </a:r>
            </a:p>
          </p:txBody>
        </p:sp>
        <p:sp>
          <p:nvSpPr>
            <p:cNvPr id="59" name="Rectangle 58">
              <a:extLst>
                <a:ext uri="{FF2B5EF4-FFF2-40B4-BE49-F238E27FC236}">
                  <a16:creationId xmlns:a16="http://schemas.microsoft.com/office/drawing/2014/main" id="{AFC10F59-3348-E851-7086-4B6E54C371A8}"/>
                </a:ext>
              </a:extLst>
            </p:cNvPr>
            <p:cNvSpPr/>
            <p:nvPr/>
          </p:nvSpPr>
          <p:spPr bwMode="gray">
            <a:xfrm>
              <a:off x="6143624" y="2971057"/>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2</a:t>
              </a:r>
            </a:p>
          </p:txBody>
        </p:sp>
        <p:sp>
          <p:nvSpPr>
            <p:cNvPr id="60" name="Rectangle 59">
              <a:extLst>
                <a:ext uri="{FF2B5EF4-FFF2-40B4-BE49-F238E27FC236}">
                  <a16:creationId xmlns:a16="http://schemas.microsoft.com/office/drawing/2014/main" id="{DA8465E0-54D8-D8B5-22DE-0715E41BBA5E}"/>
                </a:ext>
              </a:extLst>
            </p:cNvPr>
            <p:cNvSpPr/>
            <p:nvPr/>
          </p:nvSpPr>
          <p:spPr bwMode="gray">
            <a:xfrm>
              <a:off x="8518523" y="3454895"/>
              <a:ext cx="1247776" cy="2474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Increased </a:t>
              </a:r>
              <a:br>
                <a:rPr kumimoji="0" lang="en-US" sz="700" b="0" i="0" u="none" strike="noStrike" kern="1200" cap="none" spc="0" normalizeH="0" baseline="0" noProof="0" dirty="0">
                  <a:ln>
                    <a:noFill/>
                  </a:ln>
                  <a:solidFill>
                    <a:srgbClr val="000000"/>
                  </a:solidFill>
                  <a:effectLst/>
                  <a:uLnTx/>
                  <a:uFillTx/>
                  <a:latin typeface="Arial"/>
                  <a:ea typeface="+mn-ea"/>
                  <a:cs typeface="+mn-cs"/>
                </a:rPr>
              </a:br>
              <a:r>
                <a:rPr kumimoji="0" lang="en-US" sz="700" b="0" i="0" u="none" strike="noStrike" kern="1200" cap="none" spc="0" normalizeH="0" baseline="0" noProof="0" dirty="0">
                  <a:ln>
                    <a:noFill/>
                  </a:ln>
                  <a:solidFill>
                    <a:srgbClr val="000000"/>
                  </a:solidFill>
                  <a:effectLst/>
                  <a:uLnTx/>
                  <a:uFillTx/>
                  <a:latin typeface="Arial"/>
                  <a:ea typeface="+mn-ea"/>
                  <a:cs typeface="+mn-cs"/>
                </a:rPr>
                <a:t>ramp</a:t>
              </a:r>
            </a:p>
          </p:txBody>
        </p:sp>
        <p:sp>
          <p:nvSpPr>
            <p:cNvPr id="61" name="Left Brace 60">
              <a:extLst>
                <a:ext uri="{FF2B5EF4-FFF2-40B4-BE49-F238E27FC236}">
                  <a16:creationId xmlns:a16="http://schemas.microsoft.com/office/drawing/2014/main" id="{69D6BC5E-D909-0A9C-4F67-FA0736CC06EE}"/>
                </a:ext>
              </a:extLst>
            </p:cNvPr>
            <p:cNvSpPr/>
            <p:nvPr/>
          </p:nvSpPr>
          <p:spPr bwMode="gray">
            <a:xfrm rot="10920000">
              <a:off x="8613709" y="1623423"/>
              <a:ext cx="100420" cy="3644098"/>
            </a:xfrm>
            <a:prstGeom prst="leftBrac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8A06344D-AF07-936D-EB28-B971EB23929F}"/>
                </a:ext>
              </a:extLst>
            </p:cNvPr>
            <p:cNvSpPr/>
            <p:nvPr/>
          </p:nvSpPr>
          <p:spPr bwMode="gray">
            <a:xfrm>
              <a:off x="2184400" y="4268076"/>
              <a:ext cx="2044700" cy="2624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Potential overgeneration</a:t>
              </a:r>
            </a:p>
          </p:txBody>
        </p:sp>
        <p:sp>
          <p:nvSpPr>
            <p:cNvPr id="63" name="Rectangle 62">
              <a:extLst>
                <a:ext uri="{FF2B5EF4-FFF2-40B4-BE49-F238E27FC236}">
                  <a16:creationId xmlns:a16="http://schemas.microsoft.com/office/drawing/2014/main" id="{D415473E-54F0-A1FC-E6D7-99C703A29D0D}"/>
                </a:ext>
              </a:extLst>
            </p:cNvPr>
            <p:cNvSpPr/>
            <p:nvPr/>
          </p:nvSpPr>
          <p:spPr bwMode="gray">
            <a:xfrm rot="16200000">
              <a:off x="4411" y="3425134"/>
              <a:ext cx="1247776" cy="2474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Megawatts</a:t>
              </a:r>
            </a:p>
          </p:txBody>
        </p:sp>
        <p:sp>
          <p:nvSpPr>
            <p:cNvPr id="64" name="btfpColumnHeaderBoxText223027">
              <a:extLst>
                <a:ext uri="{FF2B5EF4-FFF2-40B4-BE49-F238E27FC236}">
                  <a16:creationId xmlns:a16="http://schemas.microsoft.com/office/drawing/2014/main" id="{F9C2A926-B813-2734-41D0-0B2D9FA33C4E}"/>
                </a:ext>
              </a:extLst>
            </p:cNvPr>
            <p:cNvSpPr txBox="1"/>
            <p:nvPr/>
          </p:nvSpPr>
          <p:spPr bwMode="gray">
            <a:xfrm>
              <a:off x="1636803" y="5241219"/>
              <a:ext cx="880050" cy="348715"/>
            </a:xfrm>
            <a:prstGeom prst="rect">
              <a:avLst/>
            </a:prstGeom>
            <a:solidFill>
              <a:schemeClr val="accent1"/>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Baseload</a:t>
              </a:r>
            </a:p>
          </p:txBody>
        </p:sp>
        <p:sp>
          <p:nvSpPr>
            <p:cNvPr id="65" name="btfpColumnHeaderBoxText223027">
              <a:extLst>
                <a:ext uri="{FF2B5EF4-FFF2-40B4-BE49-F238E27FC236}">
                  <a16:creationId xmlns:a16="http://schemas.microsoft.com/office/drawing/2014/main" id="{C444D00A-8797-D468-A492-EA0A1B763820}"/>
                </a:ext>
              </a:extLst>
            </p:cNvPr>
            <p:cNvSpPr txBox="1"/>
            <p:nvPr/>
          </p:nvSpPr>
          <p:spPr bwMode="gray">
            <a:xfrm>
              <a:off x="1636803" y="2563940"/>
              <a:ext cx="915559" cy="348715"/>
            </a:xfrm>
            <a:prstGeom prst="rect">
              <a:avLst/>
            </a:prstGeom>
            <a:solidFill>
              <a:schemeClr val="accent6"/>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Mid-load</a:t>
              </a:r>
            </a:p>
          </p:txBody>
        </p:sp>
        <p:sp>
          <p:nvSpPr>
            <p:cNvPr id="66" name="btfpColumnHeaderBoxText223027">
              <a:extLst>
                <a:ext uri="{FF2B5EF4-FFF2-40B4-BE49-F238E27FC236}">
                  <a16:creationId xmlns:a16="http://schemas.microsoft.com/office/drawing/2014/main" id="{39893571-B41D-234B-7961-5A761118C09E}"/>
                </a:ext>
              </a:extLst>
            </p:cNvPr>
            <p:cNvSpPr txBox="1"/>
            <p:nvPr/>
          </p:nvSpPr>
          <p:spPr bwMode="gray">
            <a:xfrm>
              <a:off x="1625601" y="1254115"/>
              <a:ext cx="939787" cy="348715"/>
            </a:xfrm>
            <a:prstGeom prst="rect">
              <a:avLst/>
            </a:prstGeom>
            <a:solidFill>
              <a:schemeClr val="accent5"/>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Peak load</a:t>
              </a:r>
            </a:p>
          </p:txBody>
        </p:sp>
        <p:cxnSp>
          <p:nvCxnSpPr>
            <p:cNvPr id="67" name="Straight Connector 66">
              <a:extLst>
                <a:ext uri="{FF2B5EF4-FFF2-40B4-BE49-F238E27FC236}">
                  <a16:creationId xmlns:a16="http://schemas.microsoft.com/office/drawing/2014/main" id="{2F5FCC65-DE0E-4877-4DAA-0772A5789D14}"/>
                </a:ext>
              </a:extLst>
            </p:cNvPr>
            <p:cNvCxnSpPr>
              <a:cxnSpLocks/>
              <a:stCxn id="52" idx="0"/>
            </p:cNvCxnSpPr>
            <p:nvPr/>
          </p:nvCxnSpPr>
          <p:spPr bwMode="gray">
            <a:xfrm flipV="1">
              <a:off x="5162550" y="4464876"/>
              <a:ext cx="248899" cy="138658"/>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cxnSp>
          <p:nvCxnSpPr>
            <p:cNvPr id="68" name="Straight Connector 67">
              <a:extLst>
                <a:ext uri="{FF2B5EF4-FFF2-40B4-BE49-F238E27FC236}">
                  <a16:creationId xmlns:a16="http://schemas.microsoft.com/office/drawing/2014/main" id="{C22E774B-230F-339C-A6C9-1AF9C6B796B5}"/>
                </a:ext>
              </a:extLst>
            </p:cNvPr>
            <p:cNvCxnSpPr>
              <a:cxnSpLocks/>
            </p:cNvCxnSpPr>
            <p:nvPr/>
          </p:nvCxnSpPr>
          <p:spPr bwMode="gray">
            <a:xfrm flipV="1">
              <a:off x="5261372" y="4634253"/>
              <a:ext cx="341623" cy="244813"/>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grpSp>
      <p:grpSp>
        <p:nvGrpSpPr>
          <p:cNvPr id="69" name="Group 68">
            <a:extLst>
              <a:ext uri="{FF2B5EF4-FFF2-40B4-BE49-F238E27FC236}">
                <a16:creationId xmlns:a16="http://schemas.microsoft.com/office/drawing/2014/main" id="{23A6623C-11B2-6055-24E2-C28F01483A14}"/>
              </a:ext>
            </a:extLst>
          </p:cNvPr>
          <p:cNvGrpSpPr/>
          <p:nvPr/>
        </p:nvGrpSpPr>
        <p:grpSpPr>
          <a:xfrm>
            <a:off x="548907" y="5830810"/>
            <a:ext cx="1775091" cy="462330"/>
            <a:chOff x="6809294" y="5733878"/>
            <a:chExt cx="1763215" cy="462330"/>
          </a:xfrm>
        </p:grpSpPr>
        <p:grpSp>
          <p:nvGrpSpPr>
            <p:cNvPr id="70" name="Group 69">
              <a:extLst>
                <a:ext uri="{FF2B5EF4-FFF2-40B4-BE49-F238E27FC236}">
                  <a16:creationId xmlns:a16="http://schemas.microsoft.com/office/drawing/2014/main" id="{3067E774-5CDA-F9AB-55BC-688633F9CF46}"/>
                </a:ext>
              </a:extLst>
            </p:cNvPr>
            <p:cNvGrpSpPr/>
            <p:nvPr/>
          </p:nvGrpSpPr>
          <p:grpSpPr>
            <a:xfrm>
              <a:off x="7029497" y="5733878"/>
              <a:ext cx="1314577" cy="304870"/>
              <a:chOff x="2416623" y="5058297"/>
              <a:chExt cx="1609832" cy="360363"/>
            </a:xfrm>
          </p:grpSpPr>
          <p:pic>
            <p:nvPicPr>
              <p:cNvPr id="74" name="Graphic 73" descr="Raw Materials with solid fill">
                <a:extLst>
                  <a:ext uri="{FF2B5EF4-FFF2-40B4-BE49-F238E27FC236}">
                    <a16:creationId xmlns:a16="http://schemas.microsoft.com/office/drawing/2014/main" id="{ED6F4968-1E98-EADE-D2B3-8AD24AA7692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416623" y="5077347"/>
                <a:ext cx="322263" cy="322263"/>
              </a:xfrm>
              <a:prstGeom prst="rect">
                <a:avLst/>
              </a:prstGeom>
            </p:spPr>
          </p:pic>
          <p:pic>
            <p:nvPicPr>
              <p:cNvPr id="75" name="Graphic 74" descr="Fire with solid fill">
                <a:extLst>
                  <a:ext uri="{FF2B5EF4-FFF2-40B4-BE49-F238E27FC236}">
                    <a16:creationId xmlns:a16="http://schemas.microsoft.com/office/drawing/2014/main" id="{1CA83890-6051-2ABA-8BFC-6D0D4FAF558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022322" y="5077347"/>
                <a:ext cx="322263" cy="322263"/>
              </a:xfrm>
              <a:prstGeom prst="rect">
                <a:avLst/>
              </a:prstGeom>
            </p:spPr>
          </p:pic>
          <p:pic>
            <p:nvPicPr>
              <p:cNvPr id="76" name="Graphic 75" descr="Radioactive with solid fill">
                <a:extLst>
                  <a:ext uri="{FF2B5EF4-FFF2-40B4-BE49-F238E27FC236}">
                    <a16:creationId xmlns:a16="http://schemas.microsoft.com/office/drawing/2014/main" id="{4EB39EF1-8A16-5979-6B02-86C923DB93F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flipH="1">
                <a:off x="3628022" y="5058297"/>
                <a:ext cx="398433" cy="360363"/>
              </a:xfrm>
              <a:prstGeom prst="rect">
                <a:avLst/>
              </a:prstGeom>
            </p:spPr>
          </p:pic>
        </p:grpSp>
        <p:sp>
          <p:nvSpPr>
            <p:cNvPr id="71" name="btfpColumnHeaderBoxText223027">
              <a:extLst>
                <a:ext uri="{FF2B5EF4-FFF2-40B4-BE49-F238E27FC236}">
                  <a16:creationId xmlns:a16="http://schemas.microsoft.com/office/drawing/2014/main" id="{5E0E4AB3-CA7D-D89B-B465-6DA633F120C9}"/>
                </a:ext>
              </a:extLst>
            </p:cNvPr>
            <p:cNvSpPr txBox="1"/>
            <p:nvPr/>
          </p:nvSpPr>
          <p:spPr bwMode="gray">
            <a:xfrm>
              <a:off x="6809294" y="5981435"/>
              <a:ext cx="728204"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Coal</a:t>
              </a:r>
            </a:p>
          </p:txBody>
        </p:sp>
        <p:sp>
          <p:nvSpPr>
            <p:cNvPr id="72" name="btfpColumnHeaderBoxText223027">
              <a:extLst>
                <a:ext uri="{FF2B5EF4-FFF2-40B4-BE49-F238E27FC236}">
                  <a16:creationId xmlns:a16="http://schemas.microsoft.com/office/drawing/2014/main" id="{4EA0E3BE-E2FA-9227-6A3B-29F8899E8186}"/>
                </a:ext>
              </a:extLst>
            </p:cNvPr>
            <p:cNvSpPr txBox="1"/>
            <p:nvPr/>
          </p:nvSpPr>
          <p:spPr bwMode="gray">
            <a:xfrm>
              <a:off x="7262860" y="5993891"/>
              <a:ext cx="810080"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N. gas</a:t>
              </a:r>
            </a:p>
          </p:txBody>
        </p:sp>
        <p:sp>
          <p:nvSpPr>
            <p:cNvPr id="73" name="btfpColumnHeaderBoxText223027">
              <a:extLst>
                <a:ext uri="{FF2B5EF4-FFF2-40B4-BE49-F238E27FC236}">
                  <a16:creationId xmlns:a16="http://schemas.microsoft.com/office/drawing/2014/main" id="{6FBB1F15-0D56-A756-A807-87686751D4EE}"/>
                </a:ext>
              </a:extLst>
            </p:cNvPr>
            <p:cNvSpPr txBox="1"/>
            <p:nvPr/>
          </p:nvSpPr>
          <p:spPr bwMode="gray">
            <a:xfrm>
              <a:off x="7762429" y="6000322"/>
              <a:ext cx="810080"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Nuclear</a:t>
              </a:r>
            </a:p>
          </p:txBody>
        </p:sp>
      </p:grpSp>
      <p:sp>
        <p:nvSpPr>
          <p:cNvPr id="77" name="Rectangle 76">
            <a:extLst>
              <a:ext uri="{FF2B5EF4-FFF2-40B4-BE49-F238E27FC236}">
                <a16:creationId xmlns:a16="http://schemas.microsoft.com/office/drawing/2014/main" id="{9776AD26-1B8C-7453-9F7C-578130B6E5D8}"/>
              </a:ext>
            </a:extLst>
          </p:cNvPr>
          <p:cNvSpPr/>
          <p:nvPr/>
        </p:nvSpPr>
        <p:spPr bwMode="gray">
          <a:xfrm>
            <a:off x="3281752" y="5778238"/>
            <a:ext cx="2371382" cy="3807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he most common sources of baseload power, chosen for their </a:t>
            </a:r>
            <a:r>
              <a:rPr kumimoji="0" lang="en-US" sz="1000" b="1" i="0" u="none" strike="noStrike" kern="1200" cap="none" spc="0" normalizeH="0" baseline="0" noProof="0" dirty="0">
                <a:ln>
                  <a:noFill/>
                </a:ln>
                <a:solidFill>
                  <a:srgbClr val="000000"/>
                </a:solidFill>
                <a:effectLst/>
                <a:uLnTx/>
                <a:uFillTx/>
                <a:latin typeface="Arial"/>
                <a:ea typeface="+mn-ea"/>
                <a:cs typeface="+mn-cs"/>
              </a:rPr>
              <a:t>low LCOE</a:t>
            </a:r>
            <a:r>
              <a:rPr kumimoji="0" lang="en-US" sz="1000" b="0" i="0" u="none" strike="noStrike" kern="1200" cap="none" spc="0" normalizeH="0" baseline="0" noProof="0" dirty="0">
                <a:ln>
                  <a:noFill/>
                </a:ln>
                <a:solidFill>
                  <a:srgbClr val="000000"/>
                </a:solidFill>
                <a:effectLst/>
                <a:uLnTx/>
                <a:uFillTx/>
                <a:latin typeface="Arial"/>
                <a:ea typeface="+mn-ea"/>
                <a:cs typeface="+mn-cs"/>
              </a:rPr>
              <a:t>. Gas can be used but has higher OpEx.</a:t>
            </a:r>
          </a:p>
        </p:txBody>
      </p:sp>
      <p:sp>
        <p:nvSpPr>
          <p:cNvPr id="78" name="Right Arrow 77">
            <a:extLst>
              <a:ext uri="{FF2B5EF4-FFF2-40B4-BE49-F238E27FC236}">
                <a16:creationId xmlns:a16="http://schemas.microsoft.com/office/drawing/2014/main" id="{102ED1E9-5ED3-8A78-4061-966F42AB932F}"/>
              </a:ext>
            </a:extLst>
          </p:cNvPr>
          <p:cNvSpPr/>
          <p:nvPr/>
        </p:nvSpPr>
        <p:spPr bwMode="gray">
          <a:xfrm>
            <a:off x="2323998" y="5941159"/>
            <a:ext cx="792360" cy="21702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1CD78556-2915-8587-874D-23673555E725}"/>
              </a:ext>
            </a:extLst>
          </p:cNvPr>
          <p:cNvSpPr/>
          <p:nvPr/>
        </p:nvSpPr>
        <p:spPr bwMode="gray">
          <a:xfrm>
            <a:off x="774700" y="5409303"/>
            <a:ext cx="5264149" cy="5239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Baseload</a:t>
            </a:r>
            <a:r>
              <a:rPr kumimoji="0" 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sz="1000" b="1" i="0" u="none" strike="noStrike" kern="1200" cap="none" spc="0" normalizeH="0" baseline="0" noProof="0" dirty="0">
                <a:ln>
                  <a:noFill/>
                </a:ln>
                <a:solidFill>
                  <a:srgbClr val="000000"/>
                </a:solidFill>
                <a:effectLst/>
                <a:uLnTx/>
                <a:uFillTx/>
                <a:latin typeface="Arial"/>
                <a:ea typeface="+mn-ea"/>
                <a:cs typeface="+mn-cs"/>
              </a:rPr>
              <a:t>power</a:t>
            </a:r>
            <a:r>
              <a:rPr kumimoji="0" lang="en-US" sz="1000" b="0" i="0" u="none" strike="noStrike" kern="1200" cap="none" spc="0" normalizeH="0" baseline="0" noProof="0" dirty="0">
                <a:ln>
                  <a:noFill/>
                </a:ln>
                <a:solidFill>
                  <a:srgbClr val="000000"/>
                </a:solidFill>
                <a:effectLst/>
                <a:uLnTx/>
                <a:uFillTx/>
                <a:latin typeface="Arial"/>
                <a:ea typeface="+mn-ea"/>
                <a:cs typeface="+mn-cs"/>
              </a:rPr>
              <a:t> is the </a:t>
            </a:r>
            <a:r>
              <a:rPr kumimoji="0" lang="en-US" sz="1000" b="1" i="0" u="none" strike="noStrike" kern="1200" cap="none" spc="0" normalizeH="0" baseline="0" noProof="0" dirty="0">
                <a:ln>
                  <a:noFill/>
                </a:ln>
                <a:solidFill>
                  <a:srgbClr val="000000"/>
                </a:solidFill>
                <a:effectLst/>
                <a:uLnTx/>
                <a:uFillTx/>
                <a:latin typeface="Arial"/>
                <a:ea typeface="+mn-ea"/>
                <a:cs typeface="+mn-cs"/>
              </a:rPr>
              <a:t>minimum amount of electricity </a:t>
            </a:r>
            <a:r>
              <a:rPr kumimoji="0" lang="en-US" sz="1000" b="0" i="0" u="none" strike="noStrike" kern="1200" cap="none" spc="0" normalizeH="0" baseline="0" noProof="0" dirty="0">
                <a:ln>
                  <a:noFill/>
                </a:ln>
                <a:solidFill>
                  <a:srgbClr val="000000"/>
                </a:solidFill>
                <a:effectLst/>
                <a:uLnTx/>
                <a:uFillTx/>
                <a:latin typeface="Arial"/>
                <a:ea typeface="+mn-ea"/>
                <a:cs typeface="+mn-cs"/>
              </a:rPr>
              <a:t>the electrical grid needs at any given time. Runs </a:t>
            </a:r>
            <a:r>
              <a:rPr kumimoji="0" lang="en-US" sz="1000" b="1" i="0" u="none" strike="noStrike" kern="1200" cap="none" spc="0" normalizeH="0" baseline="0" noProof="0" dirty="0">
                <a:ln>
                  <a:noFill/>
                </a:ln>
                <a:solidFill>
                  <a:srgbClr val="000000"/>
                </a:solidFill>
                <a:effectLst/>
                <a:uLnTx/>
                <a:uFillTx/>
                <a:latin typeface="Arial"/>
                <a:ea typeface="+mn-ea"/>
                <a:cs typeface="+mn-cs"/>
              </a:rPr>
              <a:t>continuously</a:t>
            </a:r>
            <a:r>
              <a:rPr kumimoji="0" lang="en-US" sz="1000" b="0" i="0" u="none" strike="noStrike" kern="1200" cap="none" spc="0" normalizeH="0" baseline="0" noProof="0" dirty="0">
                <a:ln>
                  <a:noFill/>
                </a:ln>
                <a:solidFill>
                  <a:srgbClr val="000000"/>
                </a:solidFill>
                <a:effectLst/>
                <a:uLnTx/>
                <a:uFillTx/>
                <a:latin typeface="Arial"/>
                <a:ea typeface="+mn-ea"/>
                <a:cs typeface="+mn-cs"/>
              </a:rPr>
              <a:t> at a </a:t>
            </a:r>
            <a:r>
              <a:rPr kumimoji="0" lang="en-US" sz="1000" b="1" i="0" u="none" strike="noStrike" kern="1200" cap="none" spc="0" normalizeH="0" baseline="0" noProof="0" dirty="0">
                <a:ln>
                  <a:noFill/>
                </a:ln>
                <a:solidFill>
                  <a:srgbClr val="000000"/>
                </a:solidFill>
                <a:effectLst/>
                <a:uLnTx/>
                <a:uFillTx/>
                <a:latin typeface="Arial"/>
                <a:ea typeface="+mn-ea"/>
                <a:cs typeface="+mn-cs"/>
              </a:rPr>
              <a:t>steady output</a:t>
            </a:r>
            <a:r>
              <a:rPr kumimoji="0" lang="en-US" sz="1000" b="0" i="0" u="none" strike="noStrike" kern="1200" cap="none" spc="0" normalizeH="0" baseline="0" noProof="0" dirty="0">
                <a:ln>
                  <a:noFill/>
                </a:ln>
                <a:solidFill>
                  <a:srgbClr val="000000"/>
                </a:solidFill>
                <a:effectLst/>
                <a:uLnTx/>
                <a:uFillTx/>
                <a:latin typeface="Arial"/>
                <a:ea typeface="+mn-ea"/>
                <a:cs typeface="+mn-cs"/>
              </a:rPr>
              <a:t>.</a:t>
            </a: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03" name="Chart 102">
            <a:extLst>
              <a:ext uri="{FF2B5EF4-FFF2-40B4-BE49-F238E27FC236}">
                <a16:creationId xmlns:a16="http://schemas.microsoft.com/office/drawing/2014/main" id="{54E445CE-0D01-D579-DE88-8EBFA7628C94}"/>
              </a:ext>
            </a:extLst>
          </p:cNvPr>
          <p:cNvGraphicFramePr/>
          <p:nvPr>
            <p:custDataLst>
              <p:tags r:id="rId2"/>
            </p:custDataLst>
          </p:nvPr>
        </p:nvGraphicFramePr>
        <p:xfrm>
          <a:off x="6521450" y="2357438"/>
          <a:ext cx="4195763" cy="2803525"/>
        </p:xfrm>
        <a:graphic>
          <a:graphicData uri="http://schemas.openxmlformats.org/drawingml/2006/chart">
            <c:chart xmlns:c="http://schemas.openxmlformats.org/drawingml/2006/chart" xmlns:r="http://schemas.openxmlformats.org/officeDocument/2006/relationships" r:id="rId39"/>
          </a:graphicData>
        </a:graphic>
      </p:graphicFrame>
      <p:sp>
        <p:nvSpPr>
          <p:cNvPr id="84" name="Text Placeholder 10">
            <a:extLst>
              <a:ext uri="{FF2B5EF4-FFF2-40B4-BE49-F238E27FC236}">
                <a16:creationId xmlns:a16="http://schemas.microsoft.com/office/drawing/2014/main" id="{C3669C04-9AAD-BED1-74C7-29A7093EB334}"/>
              </a:ext>
            </a:extLst>
          </p:cNvPr>
          <p:cNvSpPr txBox="1">
            <a:spLocks/>
          </p:cNvSpPr>
          <p:nvPr>
            <p:custDataLst>
              <p:tags r:id="rId3"/>
            </p:custDataLst>
          </p:nvPr>
        </p:nvSpPr>
        <p:spPr bwMode="auto">
          <a:xfrm>
            <a:off x="68167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6B2EBB8-911D-4FBF-ADE9-1D8FE66294FD}"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Text Placeholder 10">
            <a:extLst>
              <a:ext uri="{FF2B5EF4-FFF2-40B4-BE49-F238E27FC236}">
                <a16:creationId xmlns:a16="http://schemas.microsoft.com/office/drawing/2014/main" id="{666C5690-E257-6DFE-EDB2-8A5D5D21988F}"/>
              </a:ext>
            </a:extLst>
          </p:cNvPr>
          <p:cNvSpPr txBox="1">
            <a:spLocks/>
          </p:cNvSpPr>
          <p:nvPr>
            <p:custDataLst>
              <p:tags r:id="rId4"/>
            </p:custDataLst>
          </p:nvPr>
        </p:nvSpPr>
        <p:spPr bwMode="auto">
          <a:xfrm>
            <a:off x="742950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691AF9-1F9A-47D4-8AB9-9EEB6F768819}"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Text Placeholder 10">
            <a:extLst>
              <a:ext uri="{FF2B5EF4-FFF2-40B4-BE49-F238E27FC236}">
                <a16:creationId xmlns:a16="http://schemas.microsoft.com/office/drawing/2014/main" id="{A09D6EB3-A75C-AEDD-3D44-3B48BC120584}"/>
              </a:ext>
            </a:extLst>
          </p:cNvPr>
          <p:cNvSpPr txBox="1">
            <a:spLocks/>
          </p:cNvSpPr>
          <p:nvPr>
            <p:custDataLst>
              <p:tags r:id="rId5"/>
            </p:custDataLst>
          </p:nvPr>
        </p:nvSpPr>
        <p:spPr bwMode="auto">
          <a:xfrm>
            <a:off x="8040688"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7738A1-C2DF-4029-97C3-ADD3887B09C6}"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90F84344-A5F6-FB22-5C34-163F63966CE7}"/>
              </a:ext>
            </a:extLst>
          </p:cNvPr>
          <p:cNvSpPr txBox="1">
            <a:spLocks/>
          </p:cNvSpPr>
          <p:nvPr>
            <p:custDataLst>
              <p:tags r:id="rId6"/>
            </p:custDataLst>
          </p:nvPr>
        </p:nvSpPr>
        <p:spPr bwMode="auto">
          <a:xfrm>
            <a:off x="865346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DACF3B-10A9-489F-BE08-BB4D69C476B1}"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4D1D4281-6635-859A-F61B-190005645ACC}"/>
              </a:ext>
            </a:extLst>
          </p:cNvPr>
          <p:cNvSpPr txBox="1">
            <a:spLocks/>
          </p:cNvSpPr>
          <p:nvPr>
            <p:custDataLst>
              <p:tags r:id="rId7"/>
            </p:custDataLst>
          </p:nvPr>
        </p:nvSpPr>
        <p:spPr bwMode="auto">
          <a:xfrm>
            <a:off x="926465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B92029-2313-40BE-9514-B1A7B0896C2F}"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F4B12A83-01EE-1C69-EDED-0B4CECD65200}"/>
              </a:ext>
            </a:extLst>
          </p:cNvPr>
          <p:cNvSpPr txBox="1">
            <a:spLocks/>
          </p:cNvSpPr>
          <p:nvPr>
            <p:custDataLst>
              <p:tags r:id="rId8"/>
            </p:custDataLst>
          </p:nvPr>
        </p:nvSpPr>
        <p:spPr bwMode="auto">
          <a:xfrm>
            <a:off x="98774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96E19D-3F46-44DA-A6BA-2AD23441ADCD}"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5AE1F801-0A29-DA9F-8B61-4510DD4F79AE}"/>
              </a:ext>
            </a:extLst>
          </p:cNvPr>
          <p:cNvSpPr txBox="1">
            <a:spLocks/>
          </p:cNvSpPr>
          <p:nvPr>
            <p:custDataLst>
              <p:tags r:id="rId9"/>
            </p:custDataLst>
          </p:nvPr>
        </p:nvSpPr>
        <p:spPr bwMode="auto">
          <a:xfrm>
            <a:off x="1048861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C5ADB1-2254-4FB4-9308-E7D6D70B122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25566C1E-A29E-61AF-ECBB-EC72DB0190CC}"/>
              </a:ext>
            </a:extLst>
          </p:cNvPr>
          <p:cNvSpPr/>
          <p:nvPr>
            <p:custDataLst>
              <p:tags r:id="rId10"/>
            </p:custDataLst>
          </p:nvPr>
        </p:nvSpPr>
        <p:spPr bwMode="auto">
          <a:xfrm>
            <a:off x="10831513" y="2763838"/>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4835A9B1-5385-E814-F646-17CD1089B8B4}"/>
              </a:ext>
            </a:extLst>
          </p:cNvPr>
          <p:cNvSpPr/>
          <p:nvPr>
            <p:custDataLst>
              <p:tags r:id="rId11"/>
            </p:custDataLst>
          </p:nvPr>
        </p:nvSpPr>
        <p:spPr bwMode="auto">
          <a:xfrm>
            <a:off x="10831513" y="2967038"/>
            <a:ext cx="179388" cy="133350"/>
          </a:xfrm>
          <a:prstGeom prst="rect">
            <a:avLst/>
          </a:prstGeom>
          <a:solidFill>
            <a:srgbClr val="0C79C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5C745507-87AD-73FE-D6C8-12FA6A9E0442}"/>
              </a:ext>
            </a:extLst>
          </p:cNvPr>
          <p:cNvSpPr/>
          <p:nvPr>
            <p:custDataLst>
              <p:tags r:id="rId12"/>
            </p:custDataLst>
          </p:nvPr>
        </p:nvSpPr>
        <p:spPr bwMode="auto">
          <a:xfrm>
            <a:off x="10831513" y="3170238"/>
            <a:ext cx="179388" cy="133350"/>
          </a:xfrm>
          <a:prstGeom prst="rect">
            <a:avLst/>
          </a:prstGeom>
          <a:solidFill>
            <a:srgbClr val="14918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6EC1326C-F406-C4DB-CD29-B960956A6C4B}"/>
              </a:ext>
            </a:extLst>
          </p:cNvPr>
          <p:cNvSpPr/>
          <p:nvPr>
            <p:custDataLst>
              <p:tags r:id="rId13"/>
            </p:custDataLst>
          </p:nvPr>
        </p:nvSpPr>
        <p:spPr bwMode="auto">
          <a:xfrm>
            <a:off x="10831513" y="3373438"/>
            <a:ext cx="179388" cy="133350"/>
          </a:xfrm>
          <a:prstGeom prst="rect">
            <a:avLst/>
          </a:prstGeom>
          <a:solidFill>
            <a:srgbClr val="004FD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7B2B0C4A-50A8-9629-6772-9DFBDAE63258}"/>
              </a:ext>
            </a:extLst>
          </p:cNvPr>
          <p:cNvSpPr/>
          <p:nvPr>
            <p:custDataLst>
              <p:tags r:id="rId14"/>
            </p:custDataLst>
          </p:nvPr>
        </p:nvSpPr>
        <p:spPr bwMode="auto">
          <a:xfrm>
            <a:off x="10831513" y="3576638"/>
            <a:ext cx="179388" cy="133350"/>
          </a:xfrm>
          <a:prstGeom prst="rect">
            <a:avLst/>
          </a:prstGeom>
          <a:solidFill>
            <a:srgbClr val="1ED9C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9C9C4779-EB0E-0483-0848-9B97E6EF8504}"/>
              </a:ext>
            </a:extLst>
          </p:cNvPr>
          <p:cNvSpPr/>
          <p:nvPr>
            <p:custDataLst>
              <p:tags r:id="rId15"/>
            </p:custDataLst>
          </p:nvPr>
        </p:nvSpPr>
        <p:spPr bwMode="auto">
          <a:xfrm>
            <a:off x="10831513" y="3779838"/>
            <a:ext cx="179388" cy="133350"/>
          </a:xfrm>
          <a:prstGeom prst="rect">
            <a:avLst/>
          </a:prstGeom>
          <a:solidFill>
            <a:srgbClr val="13AA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0AA45796-7A8D-BA41-A6E9-ECD30FB44F0A}"/>
              </a:ext>
            </a:extLst>
          </p:cNvPr>
          <p:cNvSpPr/>
          <p:nvPr>
            <p:custDataLst>
              <p:tags r:id="rId16"/>
            </p:custDataLst>
          </p:nvPr>
        </p:nvSpPr>
        <p:spPr bwMode="auto">
          <a:xfrm>
            <a:off x="10831513" y="3983038"/>
            <a:ext cx="179388" cy="133350"/>
          </a:xfrm>
          <a:prstGeom prst="rect">
            <a:avLst/>
          </a:prstGeom>
          <a:solidFill>
            <a:srgbClr val="091D7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Text Placeholder 10">
            <a:extLst>
              <a:ext uri="{FF2B5EF4-FFF2-40B4-BE49-F238E27FC236}">
                <a16:creationId xmlns:a16="http://schemas.microsoft.com/office/drawing/2014/main" id="{34DF6DBF-4CC7-5F6C-C116-B6AB0D719C1C}"/>
              </a:ext>
            </a:extLst>
          </p:cNvPr>
          <p:cNvSpPr txBox="1">
            <a:spLocks/>
          </p:cNvSpPr>
          <p:nvPr>
            <p:custDataLst>
              <p:tags r:id="rId17"/>
            </p:custDataLst>
          </p:nvPr>
        </p:nvSpPr>
        <p:spPr bwMode="auto">
          <a:xfrm>
            <a:off x="11061700" y="27590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A84E33-F971-4B2A-B751-68E918CF62E9}" type="datetime'''''''''''''''''''''''''''''''''O''''''''''''''the''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5132C34B-C0DC-E2AB-B766-E885D3EF26D2}"/>
              </a:ext>
            </a:extLst>
          </p:cNvPr>
          <p:cNvSpPr txBox="1">
            <a:spLocks/>
          </p:cNvSpPr>
          <p:nvPr>
            <p:custDataLst>
              <p:tags r:id="rId18"/>
            </p:custDataLst>
          </p:nvPr>
        </p:nvSpPr>
        <p:spPr bwMode="auto">
          <a:xfrm>
            <a:off x="11061700" y="2962275"/>
            <a:ext cx="514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C21AD6-DD4A-4F37-8AEC-5718D8466EB5}" type="datetime'E''''l''''''ec''''t''r''i''''''''ct''''''''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lectrict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ABC3C392-EAE3-BCCB-3F4B-1CCC7DD8F991}"/>
              </a:ext>
            </a:extLst>
          </p:cNvPr>
          <p:cNvSpPr txBox="1">
            <a:spLocks/>
          </p:cNvSpPr>
          <p:nvPr>
            <p:custDataLst>
              <p:tags r:id="rId19"/>
            </p:custDataLst>
          </p:nvPr>
        </p:nvSpPr>
        <p:spPr bwMode="auto">
          <a:xfrm>
            <a:off x="11061700" y="3165475"/>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3A1FD-ED88-43BB-8753-D86BB03CF053}" type="datetime'Hy''''''''d''r''''''''''''''o''''''''g''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Text Placeholder 10">
            <a:extLst>
              <a:ext uri="{FF2B5EF4-FFF2-40B4-BE49-F238E27FC236}">
                <a16:creationId xmlns:a16="http://schemas.microsoft.com/office/drawing/2014/main" id="{8C92CFEE-9238-D626-8BFE-7E60E5BB25A0}"/>
              </a:ext>
            </a:extLst>
          </p:cNvPr>
          <p:cNvSpPr txBox="1">
            <a:spLocks/>
          </p:cNvSpPr>
          <p:nvPr>
            <p:custDataLst>
              <p:tags r:id="rId20"/>
            </p:custDataLst>
          </p:nvPr>
        </p:nvSpPr>
        <p:spPr bwMode="auto">
          <a:xfrm>
            <a:off x="11061700" y="3368675"/>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726DA9-5A36-4A08-AD85-F9A5041C61BE}" type="datetime'''''''''''''B''''''''''i''''o''''e''ner''g''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ioenerg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Text Placeholder 10">
            <a:extLst>
              <a:ext uri="{FF2B5EF4-FFF2-40B4-BE49-F238E27FC236}">
                <a16:creationId xmlns:a16="http://schemas.microsoft.com/office/drawing/2014/main" id="{6B0C4432-2CC4-850C-1D95-2D51CD9F9664}"/>
              </a:ext>
            </a:extLst>
          </p:cNvPr>
          <p:cNvSpPr txBox="1">
            <a:spLocks/>
          </p:cNvSpPr>
          <p:nvPr>
            <p:custDataLst>
              <p:tags r:id="rId21"/>
            </p:custDataLst>
          </p:nvPr>
        </p:nvSpPr>
        <p:spPr bwMode="auto">
          <a:xfrm>
            <a:off x="11061700" y="3571875"/>
            <a:ext cx="646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Natural ga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Text Placeholder 10">
            <a:extLst>
              <a:ext uri="{FF2B5EF4-FFF2-40B4-BE49-F238E27FC236}">
                <a16:creationId xmlns:a16="http://schemas.microsoft.com/office/drawing/2014/main" id="{7FA24526-3C6B-399B-AF27-F9F576AC1FB9}"/>
              </a:ext>
            </a:extLst>
          </p:cNvPr>
          <p:cNvSpPr txBox="1">
            <a:spLocks/>
          </p:cNvSpPr>
          <p:nvPr>
            <p:custDataLst>
              <p:tags r:id="rId22"/>
            </p:custDataLst>
          </p:nvPr>
        </p:nvSpPr>
        <p:spPr bwMode="auto">
          <a:xfrm>
            <a:off x="11061700" y="3775075"/>
            <a:ext cx="19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B6159E-3899-4404-B125-00A59DF51C5D}" type="datetime'''O''''''''''i''''l'''''''''''''''''''''' '''''''''">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il </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176AC78B-76F2-54B9-65F9-2EF18703481A}"/>
              </a:ext>
            </a:extLst>
          </p:cNvPr>
          <p:cNvSpPr txBox="1">
            <a:spLocks/>
          </p:cNvSpPr>
          <p:nvPr>
            <p:custDataLst>
              <p:tags r:id="rId23"/>
            </p:custDataLst>
          </p:nvPr>
        </p:nvSpPr>
        <p:spPr bwMode="auto">
          <a:xfrm>
            <a:off x="11061700" y="39782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40938AD-352E-45D5-9616-9A3A62A0F0DC}" type="datetime'''''''''''''''''''''''''''''''''''''''''''''''Co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29982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7FC9B5-1CE6-CBE7-AA3E-F40A53ADC5B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F7FC9B5-1CE6-CBE7-AA3E-F40A53ADC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E866CF7-830A-9194-284C-0ED7F984D995}"/>
              </a:ext>
            </a:extLst>
          </p:cNvPr>
          <p:cNvSpPr>
            <a:spLocks noGrp="1"/>
          </p:cNvSpPr>
          <p:nvPr>
            <p:ph type="body" sz="quarter" idx="13"/>
          </p:nvPr>
        </p:nvSpPr>
        <p:spPr/>
        <p:txBody>
          <a:bodyPr/>
          <a:lstStyle/>
          <a:p>
            <a:r>
              <a:rPr lang="en-US" dirty="0"/>
              <a:t>Barriers to geothermal achieving global, dispatchable, and cost-competitive clean power</a:t>
            </a:r>
          </a:p>
        </p:txBody>
      </p:sp>
      <p:sp>
        <p:nvSpPr>
          <p:cNvPr id="3" name="Title 2">
            <a:extLst>
              <a:ext uri="{FF2B5EF4-FFF2-40B4-BE49-F238E27FC236}">
                <a16:creationId xmlns:a16="http://schemas.microsoft.com/office/drawing/2014/main" id="{558F1296-ACF2-CF11-4B49-57BA5FC35E17}"/>
              </a:ext>
            </a:extLst>
          </p:cNvPr>
          <p:cNvSpPr>
            <a:spLocks noGrp="1"/>
          </p:cNvSpPr>
          <p:nvPr>
            <p:ph type="title"/>
          </p:nvPr>
        </p:nvSpPr>
        <p:spPr/>
        <p:txBody>
          <a:bodyPr vert="horz" rIns="91440"/>
          <a:lstStyle/>
          <a:p>
            <a:r>
              <a:rPr lang="en-US" dirty="0"/>
              <a:t>Key barriers limiting geothermal deployment include exploration risks, drilling technology limits, and heat flow variability</a:t>
            </a:r>
          </a:p>
        </p:txBody>
      </p:sp>
      <p:sp>
        <p:nvSpPr>
          <p:cNvPr id="5" name="Footer Placeholder 4">
            <a:extLst>
              <a:ext uri="{FF2B5EF4-FFF2-40B4-BE49-F238E27FC236}">
                <a16:creationId xmlns:a16="http://schemas.microsoft.com/office/drawing/2014/main" id="{6025967F-43FD-3AEE-C851-38CBC412CF6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5"/>
              </a:rPr>
              <a:t>Enhanced Geothermal Shot Analysis for the Geothermal Technologies Office</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NREL, 2023); </a:t>
            </a:r>
            <a:r>
              <a:rPr kumimoji="0" lang="en-US" sz="800" b="0" i="0" u="none" strike="noStrike" kern="1200" cap="none" spc="0" normalizeH="0" baseline="0" noProof="0" dirty="0">
                <a:ln>
                  <a:noFill/>
                </a:ln>
                <a:solidFill>
                  <a:srgbClr val="45647B"/>
                </a:solidFill>
                <a:effectLst/>
                <a:uLnTx/>
                <a:uFillTx/>
                <a:latin typeface="Arial"/>
                <a:ea typeface="+mn-ea"/>
                <a:cs typeface="+mn-cs"/>
                <a:hlinkClick r:id="rId6">
                  <a:extLst>
                    <a:ext uri="{A12FA001-AC4F-418D-AE19-62706E023703}">
                      <ahyp:hlinkClr xmlns:ahyp="http://schemas.microsoft.com/office/drawing/2018/hyperlinkcolor" val="tx"/>
                    </a:ext>
                  </a:extLst>
                </a:hlinkClick>
              </a:rPr>
              <a:t>What Are the Challenges in Developing Enhanced Geothermal Systems (EGS)? Observations from 64 EGS Sit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Worldgeothermal.org</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1">
            <a:extLst>
              <a:ext uri="{FF2B5EF4-FFF2-40B4-BE49-F238E27FC236}">
                <a16:creationId xmlns:a16="http://schemas.microsoft.com/office/drawing/2014/main" id="{8FE3AAEF-46B8-CC4E-075B-9318669E57BF}"/>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graphicFrame>
        <p:nvGraphicFramePr>
          <p:cNvPr id="8" name="Table 7">
            <a:extLst>
              <a:ext uri="{FF2B5EF4-FFF2-40B4-BE49-F238E27FC236}">
                <a16:creationId xmlns:a16="http://schemas.microsoft.com/office/drawing/2014/main" id="{EEDD28DA-FB87-C085-0246-06E2A891668B}"/>
              </a:ext>
            </a:extLst>
          </p:cNvPr>
          <p:cNvGraphicFramePr>
            <a:graphicFrameLocks noGrp="1"/>
          </p:cNvGraphicFramePr>
          <p:nvPr/>
        </p:nvGraphicFramePr>
        <p:xfrm>
          <a:off x="532086" y="2189247"/>
          <a:ext cx="11351058" cy="4028440"/>
        </p:xfrm>
        <a:graphic>
          <a:graphicData uri="http://schemas.openxmlformats.org/drawingml/2006/table">
            <a:tbl>
              <a:tblPr firstRow="1" bandRow="1">
                <a:tableStyleId>{2D5ABB26-0587-4C30-8999-92F81FD0307C}</a:tableStyleId>
              </a:tblPr>
              <a:tblGrid>
                <a:gridCol w="2250483">
                  <a:extLst>
                    <a:ext uri="{9D8B030D-6E8A-4147-A177-3AD203B41FA5}">
                      <a16:colId xmlns:a16="http://schemas.microsoft.com/office/drawing/2014/main" val="4009596784"/>
                    </a:ext>
                  </a:extLst>
                </a:gridCol>
                <a:gridCol w="2959536">
                  <a:extLst>
                    <a:ext uri="{9D8B030D-6E8A-4147-A177-3AD203B41FA5}">
                      <a16:colId xmlns:a16="http://schemas.microsoft.com/office/drawing/2014/main" val="3328713258"/>
                    </a:ext>
                  </a:extLst>
                </a:gridCol>
                <a:gridCol w="2996531">
                  <a:extLst>
                    <a:ext uri="{9D8B030D-6E8A-4147-A177-3AD203B41FA5}">
                      <a16:colId xmlns:a16="http://schemas.microsoft.com/office/drawing/2014/main" val="4127101932"/>
                    </a:ext>
                  </a:extLst>
                </a:gridCol>
                <a:gridCol w="3144508">
                  <a:extLst>
                    <a:ext uri="{9D8B030D-6E8A-4147-A177-3AD203B41FA5}">
                      <a16:colId xmlns:a16="http://schemas.microsoft.com/office/drawing/2014/main" val="1148563905"/>
                    </a:ext>
                  </a:extLst>
                </a:gridCol>
              </a:tblGrid>
              <a:tr h="370840">
                <a:tc>
                  <a:txBody>
                    <a:bodyPr/>
                    <a:lstStyle/>
                    <a:p>
                      <a:pPr algn="ctr">
                        <a:spcBef>
                          <a:spcPts val="0"/>
                        </a:spcBef>
                        <a:buNone/>
                      </a:pPr>
                      <a:r>
                        <a:rPr lang="en-US" sz="1200" b="1" dirty="0">
                          <a:solidFill>
                            <a:schemeClr val="bg1"/>
                          </a:solidFill>
                        </a:rPr>
                        <a:t>Barrier</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Description</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Impact on Deployment</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Emerging Solutions </a:t>
                      </a:r>
                      <a:endParaRPr lang="en-US" sz="1200" dirty="0">
                        <a:solidFill>
                          <a:schemeClr val="bg1"/>
                        </a:solidFill>
                      </a:endParaRPr>
                    </a:p>
                  </a:txBody>
                  <a:tcPr anchor="ctr">
                    <a:solidFill>
                      <a:schemeClr val="accent1"/>
                    </a:solidFill>
                  </a:tcPr>
                </a:tc>
                <a:extLst>
                  <a:ext uri="{0D108BD9-81ED-4DB2-BD59-A6C34878D82A}">
                    <a16:rowId xmlns:a16="http://schemas.microsoft.com/office/drawing/2014/main" val="2059305833"/>
                  </a:ext>
                </a:extLst>
              </a:tr>
              <a:tr h="457200">
                <a:tc>
                  <a:txBody>
                    <a:bodyPr/>
                    <a:lstStyle/>
                    <a:p>
                      <a:pPr algn="l">
                        <a:spcBef>
                          <a:spcPts val="0"/>
                        </a:spcBef>
                        <a:buNone/>
                      </a:pPr>
                      <a:r>
                        <a:rPr lang="en-US" sz="1050" b="1" dirty="0">
                          <a:solidFill>
                            <a:schemeClr val="tx1"/>
                          </a:solidFill>
                        </a:rPr>
                        <a:t>Exploration Risk &amp; Cost</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High upfront cost for resource</a:t>
                      </a:r>
                      <a:r>
                        <a:rPr lang="en-US" sz="1050" baseline="0" dirty="0">
                          <a:solidFill>
                            <a:schemeClr val="tx1"/>
                          </a:solidFill>
                        </a:rPr>
                        <a:t> </a:t>
                      </a:r>
                      <a:r>
                        <a:rPr lang="en-US" sz="1050" dirty="0">
                          <a:solidFill>
                            <a:schemeClr val="tx1"/>
                          </a:solidFill>
                        </a:rPr>
                        <a:t>identification; drilling success</a:t>
                      </a:r>
                      <a:r>
                        <a:rPr lang="en-US" sz="1050" baseline="0" dirty="0">
                          <a:solidFill>
                            <a:schemeClr val="tx1"/>
                          </a:solidFill>
                        </a:rPr>
                        <a:t> </a:t>
                      </a:r>
                      <a:r>
                        <a:rPr lang="en-US" sz="1050" dirty="0">
                          <a:solidFill>
                            <a:schemeClr val="tx1"/>
                          </a:solidFill>
                        </a:rPr>
                        <a:t>uncertain</a:t>
                      </a:r>
                    </a:p>
                  </a:txBody>
                  <a:tcPr anchor="ctr">
                    <a:solidFill>
                      <a:schemeClr val="bg1">
                        <a:lumMod val="85000"/>
                      </a:schemeClr>
                    </a:solidFill>
                  </a:tcPr>
                </a:tc>
                <a:tc>
                  <a:txBody>
                    <a:bodyPr/>
                    <a:lstStyle/>
                    <a:p>
                      <a:pPr algn="l">
                        <a:spcBef>
                          <a:spcPts val="0"/>
                        </a:spcBef>
                        <a:buNone/>
                      </a:pPr>
                      <a:r>
                        <a:rPr lang="en-US" sz="1050" dirty="0">
                          <a:solidFill>
                            <a:schemeClr val="tx1"/>
                          </a:solidFill>
                        </a:rPr>
                        <a:t>Major cost bottleneck; limits</a:t>
                      </a:r>
                      <a:r>
                        <a:rPr lang="en-US" sz="1050" baseline="0" dirty="0">
                          <a:solidFill>
                            <a:schemeClr val="tx1"/>
                          </a:solidFill>
                        </a:rPr>
                        <a:t> </a:t>
                      </a:r>
                      <a:r>
                        <a:rPr lang="en-US" sz="1050" dirty="0">
                          <a:solidFill>
                            <a:schemeClr val="tx1"/>
                          </a:solidFill>
                        </a:rPr>
                        <a:t>financing</a:t>
                      </a:r>
                    </a:p>
                  </a:txBody>
                  <a:tcPr anchor="ctr">
                    <a:solidFill>
                      <a:schemeClr val="bg1">
                        <a:lumMod val="85000"/>
                      </a:schemeClr>
                    </a:solidFill>
                  </a:tcPr>
                </a:tc>
                <a:tc>
                  <a:txBody>
                    <a:bodyPr/>
                    <a:lstStyle/>
                    <a:p>
                      <a:pPr algn="l">
                        <a:spcBef>
                          <a:spcPts val="0"/>
                        </a:spcBef>
                        <a:buNone/>
                      </a:pPr>
                      <a:r>
                        <a:rPr lang="en-US" sz="1050" dirty="0">
                          <a:solidFill>
                            <a:schemeClr val="tx1"/>
                          </a:solidFill>
                        </a:rPr>
                        <a:t>AI/geophysical modeling, remote</a:t>
                      </a:r>
                      <a:r>
                        <a:rPr lang="en-US" sz="1050" baseline="0" dirty="0">
                          <a:solidFill>
                            <a:schemeClr val="tx1"/>
                          </a:solidFill>
                        </a:rPr>
                        <a:t> </a:t>
                      </a:r>
                      <a:r>
                        <a:rPr lang="en-US" sz="1050" dirty="0">
                          <a:solidFill>
                            <a:schemeClr val="tx1"/>
                          </a:solidFill>
                        </a:rPr>
                        <a:t>sensing, cheaper slim-hole drilling</a:t>
                      </a:r>
                    </a:p>
                  </a:txBody>
                  <a:tcPr anchor="ctr">
                    <a:solidFill>
                      <a:schemeClr val="bg1">
                        <a:lumMod val="85000"/>
                      </a:schemeClr>
                    </a:solidFill>
                  </a:tcPr>
                </a:tc>
                <a:extLst>
                  <a:ext uri="{0D108BD9-81ED-4DB2-BD59-A6C34878D82A}">
                    <a16:rowId xmlns:a16="http://schemas.microsoft.com/office/drawing/2014/main" val="1147645504"/>
                  </a:ext>
                </a:extLst>
              </a:tr>
              <a:tr h="457200">
                <a:tc>
                  <a:txBody>
                    <a:bodyPr/>
                    <a:lstStyle/>
                    <a:p>
                      <a:pPr algn="l">
                        <a:spcBef>
                          <a:spcPts val="0"/>
                        </a:spcBef>
                        <a:buNone/>
                      </a:pPr>
                      <a:r>
                        <a:rPr lang="en-US" sz="1050" b="1" dirty="0">
                          <a:solidFill>
                            <a:schemeClr val="tx1"/>
                          </a:solidFill>
                        </a:rPr>
                        <a:t>Drilling Technology Limits</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onventional rigs struggle with</a:t>
                      </a:r>
                      <a:r>
                        <a:rPr lang="en-US" sz="1050" baseline="0" dirty="0">
                          <a:solidFill>
                            <a:schemeClr val="tx1"/>
                          </a:solidFill>
                        </a:rPr>
                        <a:t> </a:t>
                      </a:r>
                      <a:r>
                        <a:rPr lang="en-US" sz="1050" dirty="0">
                          <a:solidFill>
                            <a:schemeClr val="tx1"/>
                          </a:solidFill>
                        </a:rPr>
                        <a:t>deep/hard rock, high heat, and</a:t>
                      </a:r>
                      <a:r>
                        <a:rPr lang="en-US" sz="1050" baseline="0" dirty="0">
                          <a:solidFill>
                            <a:schemeClr val="tx1"/>
                          </a:solidFill>
                        </a:rPr>
                        <a:t> </a:t>
                      </a:r>
                      <a:r>
                        <a:rPr lang="en-US" sz="1050" dirty="0">
                          <a:solidFill>
                            <a:schemeClr val="tx1"/>
                          </a:solidFill>
                        </a:rPr>
                        <a:t>corrosive fluids</a:t>
                      </a:r>
                    </a:p>
                  </a:txBody>
                  <a:tcPr anchor="ctr">
                    <a:solidFill>
                      <a:schemeClr val="bg1">
                        <a:lumMod val="85000"/>
                      </a:schemeClr>
                    </a:solidFill>
                  </a:tcPr>
                </a:tc>
                <a:tc>
                  <a:txBody>
                    <a:bodyPr/>
                    <a:lstStyle/>
                    <a:p>
                      <a:pPr algn="l">
                        <a:spcBef>
                          <a:spcPts val="0"/>
                        </a:spcBef>
                        <a:buNone/>
                      </a:pPr>
                      <a:r>
                        <a:rPr lang="en-US" sz="1050" dirty="0">
                          <a:solidFill>
                            <a:schemeClr val="tx1"/>
                          </a:solidFill>
                        </a:rPr>
                        <a:t>Limits depth/temperature access</a:t>
                      </a:r>
                      <a:r>
                        <a:rPr lang="en-US" sz="1050" baseline="0" dirty="0">
                          <a:solidFill>
                            <a:schemeClr val="tx1"/>
                          </a:solidFill>
                        </a:rPr>
                        <a:t> </a:t>
                      </a:r>
                      <a:r>
                        <a:rPr lang="en-US" sz="1050" dirty="0">
                          <a:solidFill>
                            <a:schemeClr val="tx1"/>
                          </a:solidFill>
                        </a:rPr>
                        <a:t>→ limits energy yield</a:t>
                      </a:r>
                    </a:p>
                  </a:txBody>
                  <a:tcPr anchor="ctr">
                    <a:solidFill>
                      <a:schemeClr val="bg1">
                        <a:lumMod val="85000"/>
                      </a:schemeClr>
                    </a:solidFill>
                  </a:tcPr>
                </a:tc>
                <a:tc>
                  <a:txBody>
                    <a:bodyPr/>
                    <a:lstStyle/>
                    <a:p>
                      <a:pPr algn="l">
                        <a:spcBef>
                          <a:spcPts val="0"/>
                        </a:spcBef>
                        <a:buNone/>
                      </a:pPr>
                      <a:r>
                        <a:rPr lang="en-US" sz="1050" dirty="0">
                          <a:solidFill>
                            <a:schemeClr val="tx1"/>
                          </a:solidFill>
                        </a:rPr>
                        <a:t>Advanced drilling (plasma, millimeter</a:t>
                      </a:r>
                      <a:r>
                        <a:rPr lang="en-US" sz="1050" baseline="0" dirty="0">
                          <a:solidFill>
                            <a:schemeClr val="tx1"/>
                          </a:solidFill>
                        </a:rPr>
                        <a:t> </a:t>
                      </a:r>
                      <a:r>
                        <a:rPr lang="en-US" sz="1050" dirty="0">
                          <a:solidFill>
                            <a:schemeClr val="tx1"/>
                          </a:solidFill>
                        </a:rPr>
                        <a:t>wave, laser), O&amp;G transfer tech</a:t>
                      </a:r>
                    </a:p>
                  </a:txBody>
                  <a:tcPr anchor="ctr">
                    <a:solidFill>
                      <a:schemeClr val="bg1">
                        <a:lumMod val="85000"/>
                      </a:schemeClr>
                    </a:solidFill>
                  </a:tcPr>
                </a:tc>
                <a:extLst>
                  <a:ext uri="{0D108BD9-81ED-4DB2-BD59-A6C34878D82A}">
                    <a16:rowId xmlns:a16="http://schemas.microsoft.com/office/drawing/2014/main" val="3144349315"/>
                  </a:ext>
                </a:extLst>
              </a:tr>
              <a:tr h="457200">
                <a:tc>
                  <a:txBody>
                    <a:bodyPr/>
                    <a:lstStyle/>
                    <a:p>
                      <a:pPr algn="l">
                        <a:spcBef>
                          <a:spcPts val="0"/>
                        </a:spcBef>
                        <a:buNone/>
                      </a:pPr>
                      <a:r>
                        <a:rPr lang="en-US" sz="1050" b="1" dirty="0">
                          <a:solidFill>
                            <a:schemeClr val="tx1"/>
                          </a:solidFill>
                        </a:rPr>
                        <a:t>Reservoir Stimulation &amp;</a:t>
                      </a:r>
                      <a:r>
                        <a:rPr lang="en-US" sz="1050" b="1" baseline="0" dirty="0">
                          <a:solidFill>
                            <a:schemeClr val="tx1"/>
                          </a:solidFill>
                        </a:rPr>
                        <a:t> </a:t>
                      </a:r>
                      <a:r>
                        <a:rPr lang="en-US" sz="1050" b="1" dirty="0">
                          <a:solidFill>
                            <a:schemeClr val="tx1"/>
                          </a:solidFill>
                        </a:rPr>
                        <a:t>Permeability</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reating or maintaining fluid</a:t>
                      </a:r>
                      <a:r>
                        <a:rPr lang="en-US" sz="1050" baseline="0" dirty="0">
                          <a:solidFill>
                            <a:schemeClr val="tx1"/>
                          </a:solidFill>
                        </a:rPr>
                        <a:t> p</a:t>
                      </a:r>
                      <a:r>
                        <a:rPr lang="en-US" sz="1050" dirty="0">
                          <a:solidFill>
                            <a:schemeClr val="tx1"/>
                          </a:solidFill>
                        </a:rPr>
                        <a:t>athways</a:t>
                      </a:r>
                      <a:r>
                        <a:rPr lang="en-US" sz="1050" baseline="0" dirty="0">
                          <a:solidFill>
                            <a:schemeClr val="tx1"/>
                          </a:solidFill>
                        </a:rPr>
                        <a:t> </a:t>
                      </a:r>
                      <a:r>
                        <a:rPr lang="en-US" sz="1050" dirty="0">
                          <a:solidFill>
                            <a:schemeClr val="tx1"/>
                          </a:solidFill>
                        </a:rPr>
                        <a:t>in hot dry rock is challenging</a:t>
                      </a:r>
                    </a:p>
                  </a:txBody>
                  <a:tcPr anchor="ctr">
                    <a:solidFill>
                      <a:schemeClr val="bg1">
                        <a:lumMod val="85000"/>
                      </a:schemeClr>
                    </a:solidFill>
                  </a:tcPr>
                </a:tc>
                <a:tc>
                  <a:txBody>
                    <a:bodyPr/>
                    <a:lstStyle/>
                    <a:p>
                      <a:pPr algn="l">
                        <a:spcBef>
                          <a:spcPts val="0"/>
                        </a:spcBef>
                        <a:buNone/>
                      </a:pPr>
                      <a:r>
                        <a:rPr lang="en-US" sz="1050" dirty="0">
                          <a:solidFill>
                            <a:schemeClr val="tx1"/>
                          </a:solidFill>
                        </a:rPr>
                        <a:t>Determines long-term</a:t>
                      </a:r>
                      <a:r>
                        <a:rPr lang="en-US" sz="1050" baseline="0" dirty="0">
                          <a:solidFill>
                            <a:schemeClr val="tx1"/>
                          </a:solidFill>
                        </a:rPr>
                        <a:t> </a:t>
                      </a:r>
                      <a:r>
                        <a:rPr lang="en-US" sz="1050" dirty="0">
                          <a:solidFill>
                            <a:schemeClr val="tx1"/>
                          </a:solidFill>
                        </a:rPr>
                        <a:t>productivity; EGS sites often fail</a:t>
                      </a:r>
                      <a:r>
                        <a:rPr lang="en-US" sz="1050" baseline="0" dirty="0">
                          <a:solidFill>
                            <a:schemeClr val="tx1"/>
                          </a:solidFill>
                        </a:rPr>
                        <a:t> </a:t>
                      </a:r>
                      <a:r>
                        <a:rPr lang="en-US" sz="1050" dirty="0">
                          <a:solidFill>
                            <a:schemeClr val="tx1"/>
                          </a:solidFill>
                        </a:rPr>
                        <a:t>after testing</a:t>
                      </a:r>
                    </a:p>
                  </a:txBody>
                  <a:tcPr anchor="ctr">
                    <a:solidFill>
                      <a:schemeClr val="bg1">
                        <a:lumMod val="85000"/>
                      </a:schemeClr>
                    </a:solidFill>
                  </a:tcPr>
                </a:tc>
                <a:tc>
                  <a:txBody>
                    <a:bodyPr/>
                    <a:lstStyle/>
                    <a:p>
                      <a:pPr algn="l">
                        <a:spcBef>
                          <a:spcPts val="0"/>
                        </a:spcBef>
                        <a:buNone/>
                      </a:pPr>
                      <a:r>
                        <a:rPr lang="en-US" sz="1050" dirty="0">
                          <a:solidFill>
                            <a:schemeClr val="tx1"/>
                          </a:solidFill>
                        </a:rPr>
                        <a:t>Hydraulic shearing, closed-loop</a:t>
                      </a:r>
                      <a:r>
                        <a:rPr lang="en-US" sz="1050" baseline="0" dirty="0">
                          <a:solidFill>
                            <a:schemeClr val="tx1"/>
                          </a:solidFill>
                        </a:rPr>
                        <a:t> </a:t>
                      </a:r>
                      <a:r>
                        <a:rPr lang="en-US" sz="1050" dirty="0">
                          <a:solidFill>
                            <a:schemeClr val="tx1"/>
                          </a:solidFill>
                        </a:rPr>
                        <a:t>systems, supercritical fluid modeling</a:t>
                      </a:r>
                    </a:p>
                  </a:txBody>
                  <a:tcPr anchor="ctr">
                    <a:solidFill>
                      <a:schemeClr val="bg1">
                        <a:lumMod val="85000"/>
                      </a:schemeClr>
                    </a:solidFill>
                  </a:tcPr>
                </a:tc>
                <a:extLst>
                  <a:ext uri="{0D108BD9-81ED-4DB2-BD59-A6C34878D82A}">
                    <a16:rowId xmlns:a16="http://schemas.microsoft.com/office/drawing/2014/main" val="3104843134"/>
                  </a:ext>
                </a:extLst>
              </a:tr>
              <a:tr h="457200">
                <a:tc>
                  <a:txBody>
                    <a:bodyPr/>
                    <a:lstStyle/>
                    <a:p>
                      <a:pPr algn="l">
                        <a:spcBef>
                          <a:spcPts val="0"/>
                        </a:spcBef>
                        <a:buNone/>
                      </a:pPr>
                      <a:r>
                        <a:rPr lang="en-US" sz="1050" b="1" dirty="0">
                          <a:solidFill>
                            <a:schemeClr val="tx1"/>
                          </a:solidFill>
                        </a:rPr>
                        <a:t>Materials &amp; Corrosion</a:t>
                      </a:r>
                      <a:r>
                        <a:rPr lang="en-US" sz="1050" b="1" baseline="0" dirty="0">
                          <a:solidFill>
                            <a:schemeClr val="tx1"/>
                          </a:solidFill>
                        </a:rPr>
                        <a:t> </a:t>
                      </a:r>
                      <a:r>
                        <a:rPr lang="en-US" sz="1050" b="1" dirty="0">
                          <a:solidFill>
                            <a:schemeClr val="tx1"/>
                          </a:solidFill>
                        </a:rPr>
                        <a:t>Resistance</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Equipment degradation in harsh</a:t>
                      </a:r>
                      <a:r>
                        <a:rPr lang="en-US" sz="1050" baseline="0" dirty="0">
                          <a:solidFill>
                            <a:schemeClr val="tx1"/>
                          </a:solidFill>
                        </a:rPr>
                        <a:t> </a:t>
                      </a:r>
                      <a:r>
                        <a:rPr lang="en-US" sz="1050" dirty="0">
                          <a:solidFill>
                            <a:schemeClr val="tx1"/>
                          </a:solidFill>
                        </a:rPr>
                        <a:t>conditions (heat, pressure,</a:t>
                      </a:r>
                      <a:r>
                        <a:rPr lang="en-US" sz="1050" baseline="0" dirty="0">
                          <a:solidFill>
                            <a:schemeClr val="tx1"/>
                          </a:solidFill>
                        </a:rPr>
                        <a:t> </a:t>
                      </a:r>
                      <a:r>
                        <a:rPr lang="en-US" sz="1050" dirty="0">
                          <a:solidFill>
                            <a:schemeClr val="tx1"/>
                          </a:solidFill>
                        </a:rPr>
                        <a:t>minerals)</a:t>
                      </a:r>
                    </a:p>
                  </a:txBody>
                  <a:tcPr anchor="ctr">
                    <a:solidFill>
                      <a:schemeClr val="bg1">
                        <a:lumMod val="85000"/>
                      </a:schemeClr>
                    </a:solidFill>
                  </a:tcPr>
                </a:tc>
                <a:tc>
                  <a:txBody>
                    <a:bodyPr/>
                    <a:lstStyle/>
                    <a:p>
                      <a:pPr algn="l">
                        <a:spcBef>
                          <a:spcPts val="0"/>
                        </a:spcBef>
                        <a:buNone/>
                      </a:pPr>
                      <a:r>
                        <a:rPr lang="en-US" sz="1050" dirty="0">
                          <a:solidFill>
                            <a:schemeClr val="tx1"/>
                          </a:solidFill>
                        </a:rPr>
                        <a:t>Raises O&amp;M costs and reduces</a:t>
                      </a:r>
                      <a:r>
                        <a:rPr lang="en-US" sz="1050" baseline="0" dirty="0">
                          <a:solidFill>
                            <a:schemeClr val="tx1"/>
                          </a:solidFill>
                        </a:rPr>
                        <a:t> </a:t>
                      </a:r>
                      <a:r>
                        <a:rPr lang="en-US" sz="1050" dirty="0">
                          <a:solidFill>
                            <a:schemeClr val="tx1"/>
                          </a:solidFill>
                        </a:rPr>
                        <a:t>lifetime of wells</a:t>
                      </a:r>
                    </a:p>
                  </a:txBody>
                  <a:tcPr anchor="ctr">
                    <a:solidFill>
                      <a:schemeClr val="bg1">
                        <a:lumMod val="85000"/>
                      </a:schemeClr>
                    </a:solidFill>
                  </a:tcPr>
                </a:tc>
                <a:tc>
                  <a:txBody>
                    <a:bodyPr/>
                    <a:lstStyle/>
                    <a:p>
                      <a:pPr algn="l">
                        <a:spcBef>
                          <a:spcPts val="0"/>
                        </a:spcBef>
                        <a:buNone/>
                      </a:pPr>
                      <a:r>
                        <a:rPr lang="en-US" sz="1050" dirty="0">
                          <a:solidFill>
                            <a:schemeClr val="tx1"/>
                          </a:solidFill>
                        </a:rPr>
                        <a:t>High-temp alloys, ceramics, coatings</a:t>
                      </a:r>
                    </a:p>
                  </a:txBody>
                  <a:tcPr anchor="ctr">
                    <a:solidFill>
                      <a:schemeClr val="bg1">
                        <a:lumMod val="85000"/>
                      </a:schemeClr>
                    </a:solidFill>
                  </a:tcPr>
                </a:tc>
                <a:extLst>
                  <a:ext uri="{0D108BD9-81ED-4DB2-BD59-A6C34878D82A}">
                    <a16:rowId xmlns:a16="http://schemas.microsoft.com/office/drawing/2014/main" val="3096069605"/>
                  </a:ext>
                </a:extLst>
              </a:tr>
              <a:tr h="457200">
                <a:tc>
                  <a:txBody>
                    <a:bodyPr/>
                    <a:lstStyle/>
                    <a:p>
                      <a:pPr algn="l">
                        <a:spcBef>
                          <a:spcPts val="0"/>
                        </a:spcBef>
                        <a:buNone/>
                      </a:pPr>
                      <a:r>
                        <a:rPr lang="en-US" sz="1050" b="1" dirty="0">
                          <a:solidFill>
                            <a:schemeClr val="tx1"/>
                          </a:solidFill>
                        </a:rPr>
                        <a:t>Power Conversion</a:t>
                      </a:r>
                      <a:r>
                        <a:rPr lang="en-US" sz="1050" b="1" baseline="0" dirty="0">
                          <a:solidFill>
                            <a:schemeClr val="tx1"/>
                          </a:solidFill>
                        </a:rPr>
                        <a:t> </a:t>
                      </a:r>
                      <a:r>
                        <a:rPr lang="en-US" sz="1050" b="1" dirty="0">
                          <a:solidFill>
                            <a:schemeClr val="tx1"/>
                          </a:solidFill>
                        </a:rPr>
                        <a:t>Efficiency</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Efficiency drops at lower</a:t>
                      </a:r>
                      <a:r>
                        <a:rPr lang="en-US" sz="1050" baseline="0" dirty="0">
                          <a:solidFill>
                            <a:schemeClr val="tx1"/>
                          </a:solidFill>
                        </a:rPr>
                        <a:t> </a:t>
                      </a:r>
                      <a:r>
                        <a:rPr lang="en-US" sz="1050" dirty="0">
                          <a:solidFill>
                            <a:schemeClr val="tx1"/>
                          </a:solidFill>
                        </a:rPr>
                        <a:t>temperatures; limited by</a:t>
                      </a:r>
                      <a:r>
                        <a:rPr lang="en-US" sz="1050" baseline="0" dirty="0">
                          <a:solidFill>
                            <a:schemeClr val="tx1"/>
                          </a:solidFill>
                        </a:rPr>
                        <a:t> </a:t>
                      </a:r>
                      <a:r>
                        <a:rPr lang="en-US" sz="1050" dirty="0">
                          <a:solidFill>
                            <a:schemeClr val="tx1"/>
                          </a:solidFill>
                        </a:rPr>
                        <a:t>thermodynamic cycles</a:t>
                      </a:r>
                    </a:p>
                  </a:txBody>
                  <a:tcPr anchor="ctr">
                    <a:solidFill>
                      <a:schemeClr val="bg1">
                        <a:lumMod val="95000"/>
                      </a:schemeClr>
                    </a:solidFill>
                  </a:tcPr>
                </a:tc>
                <a:tc>
                  <a:txBody>
                    <a:bodyPr/>
                    <a:lstStyle/>
                    <a:p>
                      <a:pPr algn="l">
                        <a:spcBef>
                          <a:spcPts val="0"/>
                        </a:spcBef>
                        <a:buNone/>
                      </a:pPr>
                      <a:r>
                        <a:rPr lang="en-US" sz="1050" dirty="0">
                          <a:solidFill>
                            <a:schemeClr val="tx1"/>
                          </a:solidFill>
                        </a:rPr>
                        <a:t>Restricts viable sites; reduces</a:t>
                      </a:r>
                      <a:r>
                        <a:rPr lang="en-US" sz="1050" baseline="0" dirty="0">
                          <a:solidFill>
                            <a:schemeClr val="tx1"/>
                          </a:solidFill>
                        </a:rPr>
                        <a:t> </a:t>
                      </a:r>
                      <a:r>
                        <a:rPr lang="en-US" sz="1050" dirty="0">
                          <a:solidFill>
                            <a:schemeClr val="tx1"/>
                          </a:solidFill>
                        </a:rPr>
                        <a:t>energy output</a:t>
                      </a:r>
                    </a:p>
                  </a:txBody>
                  <a:tcPr anchor="ctr">
                    <a:solidFill>
                      <a:schemeClr val="bg1">
                        <a:lumMod val="95000"/>
                      </a:schemeClr>
                    </a:solidFill>
                  </a:tcPr>
                </a:tc>
                <a:tc>
                  <a:txBody>
                    <a:bodyPr/>
                    <a:lstStyle/>
                    <a:p>
                      <a:pPr algn="l">
                        <a:spcBef>
                          <a:spcPts val="0"/>
                        </a:spcBef>
                        <a:buNone/>
                      </a:pPr>
                      <a:r>
                        <a:rPr lang="en-US" sz="1050" dirty="0">
                          <a:solidFill>
                            <a:schemeClr val="tx1"/>
                          </a:solidFill>
                        </a:rPr>
                        <a:t>Supercritical CO₂ cycles, binary cycle</a:t>
                      </a:r>
                      <a:r>
                        <a:rPr lang="en-US" sz="1050" baseline="0" dirty="0">
                          <a:solidFill>
                            <a:schemeClr val="tx1"/>
                          </a:solidFill>
                        </a:rPr>
                        <a:t> </a:t>
                      </a:r>
                      <a:r>
                        <a:rPr lang="en-US" sz="1050" dirty="0">
                          <a:solidFill>
                            <a:schemeClr val="tx1"/>
                          </a:solidFill>
                        </a:rPr>
                        <a:t>optimization</a:t>
                      </a:r>
                    </a:p>
                  </a:txBody>
                  <a:tcPr anchor="ctr">
                    <a:solidFill>
                      <a:schemeClr val="bg1">
                        <a:lumMod val="95000"/>
                      </a:schemeClr>
                    </a:solidFill>
                  </a:tcPr>
                </a:tc>
                <a:extLst>
                  <a:ext uri="{0D108BD9-81ED-4DB2-BD59-A6C34878D82A}">
                    <a16:rowId xmlns:a16="http://schemas.microsoft.com/office/drawing/2014/main" val="726485935"/>
                  </a:ext>
                </a:extLst>
              </a:tr>
              <a:tr h="457200">
                <a:tc>
                  <a:txBody>
                    <a:bodyPr/>
                    <a:lstStyle/>
                    <a:p>
                      <a:pPr algn="l">
                        <a:spcBef>
                          <a:spcPts val="0"/>
                        </a:spcBef>
                        <a:buNone/>
                      </a:pPr>
                      <a:r>
                        <a:rPr lang="en-US" sz="1050" b="1" dirty="0">
                          <a:solidFill>
                            <a:schemeClr val="tx1"/>
                          </a:solidFill>
                        </a:rPr>
                        <a:t>Monitoring &amp; Reservoir</a:t>
                      </a:r>
                      <a:r>
                        <a:rPr lang="en-US" sz="1050" b="1" baseline="0" dirty="0">
                          <a:solidFill>
                            <a:schemeClr val="tx1"/>
                          </a:solidFill>
                        </a:rPr>
                        <a:t> </a:t>
                      </a:r>
                      <a:r>
                        <a:rPr lang="en-US" sz="1050" b="1" dirty="0">
                          <a:solidFill>
                            <a:schemeClr val="tx1"/>
                          </a:solidFill>
                        </a:rPr>
                        <a:t>Management</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Hard to track subsurface dynamics</a:t>
                      </a:r>
                      <a:r>
                        <a:rPr lang="en-US" sz="1050" baseline="0" dirty="0">
                          <a:solidFill>
                            <a:schemeClr val="tx1"/>
                          </a:solidFill>
                        </a:rPr>
                        <a:t> a</a:t>
                      </a:r>
                      <a:r>
                        <a:rPr lang="en-US" sz="1050" dirty="0">
                          <a:solidFill>
                            <a:schemeClr val="tx1"/>
                          </a:solidFill>
                        </a:rPr>
                        <a:t>nd avoid induced seismicity</a:t>
                      </a:r>
                    </a:p>
                  </a:txBody>
                  <a:tcPr anchor="ctr">
                    <a:solidFill>
                      <a:schemeClr val="bg1">
                        <a:lumMod val="95000"/>
                      </a:schemeClr>
                    </a:solidFill>
                  </a:tcPr>
                </a:tc>
                <a:tc>
                  <a:txBody>
                    <a:bodyPr/>
                    <a:lstStyle/>
                    <a:p>
                      <a:pPr algn="l">
                        <a:spcBef>
                          <a:spcPts val="0"/>
                        </a:spcBef>
                        <a:buNone/>
                      </a:pPr>
                      <a:r>
                        <a:rPr lang="en-US" sz="1050" dirty="0">
                          <a:solidFill>
                            <a:schemeClr val="tx1"/>
                          </a:solidFill>
                        </a:rPr>
                        <a:t>Safety/regulatory constraints;</a:t>
                      </a:r>
                      <a:r>
                        <a:rPr lang="en-US" sz="1050" baseline="0" dirty="0">
                          <a:solidFill>
                            <a:schemeClr val="tx1"/>
                          </a:solidFill>
                        </a:rPr>
                        <a:t> </a:t>
                      </a:r>
                      <a:r>
                        <a:rPr lang="en-US" sz="1050" dirty="0">
                          <a:solidFill>
                            <a:schemeClr val="tx1"/>
                          </a:solidFill>
                        </a:rPr>
                        <a:t>performance loss over time</a:t>
                      </a:r>
                    </a:p>
                  </a:txBody>
                  <a:tcPr anchor="ctr">
                    <a:solidFill>
                      <a:schemeClr val="bg1">
                        <a:lumMod val="95000"/>
                      </a:schemeClr>
                    </a:solidFill>
                  </a:tcPr>
                </a:tc>
                <a:tc>
                  <a:txBody>
                    <a:bodyPr/>
                    <a:lstStyle/>
                    <a:p>
                      <a:pPr algn="l">
                        <a:spcBef>
                          <a:spcPts val="0"/>
                        </a:spcBef>
                        <a:buNone/>
                      </a:pPr>
                      <a:r>
                        <a:rPr lang="en-US" sz="1050" dirty="0">
                          <a:solidFill>
                            <a:schemeClr val="tx1"/>
                          </a:solidFill>
                        </a:rPr>
                        <a:t>Fiber-optic sensing, real-time data</a:t>
                      </a:r>
                      <a:r>
                        <a:rPr lang="en-US" sz="1050" baseline="0" dirty="0">
                          <a:solidFill>
                            <a:schemeClr val="tx1"/>
                          </a:solidFill>
                        </a:rPr>
                        <a:t> </a:t>
                      </a:r>
                      <a:r>
                        <a:rPr lang="en-US" sz="1050" dirty="0">
                          <a:solidFill>
                            <a:schemeClr val="tx1"/>
                          </a:solidFill>
                        </a:rPr>
                        <a:t>analytics, seismic monitoring</a:t>
                      </a:r>
                    </a:p>
                  </a:txBody>
                  <a:tcPr anchor="ctr">
                    <a:solidFill>
                      <a:schemeClr val="bg1">
                        <a:lumMod val="95000"/>
                      </a:schemeClr>
                    </a:solidFill>
                  </a:tcPr>
                </a:tc>
                <a:extLst>
                  <a:ext uri="{0D108BD9-81ED-4DB2-BD59-A6C34878D82A}">
                    <a16:rowId xmlns:a16="http://schemas.microsoft.com/office/drawing/2014/main" val="3046630701"/>
                  </a:ext>
                </a:extLst>
              </a:tr>
              <a:tr h="457200">
                <a:tc>
                  <a:txBody>
                    <a:bodyPr/>
                    <a:lstStyle/>
                    <a:p>
                      <a:pPr algn="l">
                        <a:spcBef>
                          <a:spcPts val="0"/>
                        </a:spcBef>
                        <a:buNone/>
                      </a:pPr>
                      <a:r>
                        <a:rPr lang="en-US" sz="1050" b="1" dirty="0">
                          <a:solidFill>
                            <a:schemeClr val="tx1"/>
                          </a:solidFill>
                        </a:rPr>
                        <a:t>Transmission &amp;</a:t>
                      </a:r>
                      <a:r>
                        <a:rPr lang="en-US" sz="1050" b="1" baseline="0" dirty="0">
                          <a:solidFill>
                            <a:schemeClr val="tx1"/>
                          </a:solidFill>
                        </a:rPr>
                        <a:t> </a:t>
                      </a:r>
                      <a:r>
                        <a:rPr lang="en-US" sz="1050" b="1" dirty="0">
                          <a:solidFill>
                            <a:schemeClr val="tx1"/>
                          </a:solidFill>
                        </a:rPr>
                        <a:t>Integration</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Geothermal sites often remote; grid</a:t>
                      </a:r>
                      <a:r>
                        <a:rPr lang="en-US" sz="1050" baseline="0" dirty="0">
                          <a:solidFill>
                            <a:schemeClr val="tx1"/>
                          </a:solidFill>
                        </a:rPr>
                        <a:t> c</a:t>
                      </a:r>
                      <a:r>
                        <a:rPr lang="en-US" sz="1050" dirty="0">
                          <a:solidFill>
                            <a:schemeClr val="tx1"/>
                          </a:solidFill>
                        </a:rPr>
                        <a:t>onnection costs high</a:t>
                      </a:r>
                    </a:p>
                  </a:txBody>
                  <a:tcPr anchor="ctr">
                    <a:solidFill>
                      <a:schemeClr val="bg1">
                        <a:lumMod val="95000"/>
                      </a:schemeClr>
                    </a:solidFill>
                  </a:tcPr>
                </a:tc>
                <a:tc>
                  <a:txBody>
                    <a:bodyPr/>
                    <a:lstStyle/>
                    <a:p>
                      <a:pPr algn="l">
                        <a:spcBef>
                          <a:spcPts val="0"/>
                        </a:spcBef>
                        <a:buNone/>
                      </a:pPr>
                      <a:r>
                        <a:rPr lang="en-US" sz="1050" dirty="0">
                          <a:solidFill>
                            <a:schemeClr val="tx1"/>
                          </a:solidFill>
                        </a:rPr>
                        <a:t>Slows scalability and investment</a:t>
                      </a:r>
                      <a:r>
                        <a:rPr lang="en-US" sz="1050" baseline="0" dirty="0">
                          <a:solidFill>
                            <a:schemeClr val="tx1"/>
                          </a:solidFill>
                        </a:rPr>
                        <a:t> </a:t>
                      </a:r>
                      <a:r>
                        <a:rPr lang="en-US" sz="1050" dirty="0">
                          <a:solidFill>
                            <a:schemeClr val="tx1"/>
                          </a:solidFill>
                        </a:rPr>
                        <a:t>interest</a:t>
                      </a:r>
                    </a:p>
                  </a:txBody>
                  <a:tcPr anchor="ctr">
                    <a:solidFill>
                      <a:schemeClr val="bg1">
                        <a:lumMod val="95000"/>
                      </a:schemeClr>
                    </a:solidFill>
                  </a:tcPr>
                </a:tc>
                <a:tc>
                  <a:txBody>
                    <a:bodyPr/>
                    <a:lstStyle/>
                    <a:p>
                      <a:pPr algn="l">
                        <a:spcBef>
                          <a:spcPts val="0"/>
                        </a:spcBef>
                        <a:buNone/>
                      </a:pPr>
                      <a:r>
                        <a:rPr lang="en-US" sz="1050" dirty="0">
                          <a:solidFill>
                            <a:schemeClr val="tx1"/>
                          </a:solidFill>
                        </a:rPr>
                        <a:t>Colocation with industrial heat users,</a:t>
                      </a:r>
                      <a:r>
                        <a:rPr lang="en-US" sz="1050" baseline="0" dirty="0">
                          <a:solidFill>
                            <a:schemeClr val="tx1"/>
                          </a:solidFill>
                        </a:rPr>
                        <a:t> </a:t>
                      </a:r>
                      <a:r>
                        <a:rPr lang="en-US" sz="1050" dirty="0">
                          <a:solidFill>
                            <a:schemeClr val="tx1"/>
                          </a:solidFill>
                        </a:rPr>
                        <a:t>modular systems</a:t>
                      </a:r>
                    </a:p>
                  </a:txBody>
                  <a:tcPr anchor="ctr">
                    <a:solidFill>
                      <a:schemeClr val="bg1">
                        <a:lumMod val="95000"/>
                      </a:schemeClr>
                    </a:solidFill>
                  </a:tcPr>
                </a:tc>
                <a:extLst>
                  <a:ext uri="{0D108BD9-81ED-4DB2-BD59-A6C34878D82A}">
                    <a16:rowId xmlns:a16="http://schemas.microsoft.com/office/drawing/2014/main" val="1332787229"/>
                  </a:ext>
                </a:extLst>
              </a:tr>
              <a:tr h="457200">
                <a:tc>
                  <a:txBody>
                    <a:bodyPr/>
                    <a:lstStyle/>
                    <a:p>
                      <a:pPr algn="l">
                        <a:spcBef>
                          <a:spcPts val="0"/>
                        </a:spcBef>
                        <a:buNone/>
                      </a:pPr>
                      <a:r>
                        <a:rPr lang="en-US" sz="1050" b="1" dirty="0">
                          <a:solidFill>
                            <a:schemeClr val="tx1"/>
                          </a:solidFill>
                        </a:rPr>
                        <a:t>Public &amp; Regulatory</a:t>
                      </a:r>
                      <a:r>
                        <a:rPr lang="en-US" sz="1050" b="1" baseline="0" dirty="0">
                          <a:solidFill>
                            <a:schemeClr val="tx1"/>
                          </a:solidFill>
                        </a:rPr>
                        <a:t> </a:t>
                      </a:r>
                      <a:r>
                        <a:rPr lang="en-US" sz="1050" b="1" dirty="0">
                          <a:solidFill>
                            <a:schemeClr val="tx1"/>
                          </a:solidFill>
                        </a:rPr>
                        <a:t>Challenges</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Concerns about seismicity,</a:t>
                      </a:r>
                      <a:r>
                        <a:rPr lang="en-US" sz="1050" baseline="0" dirty="0">
                          <a:solidFill>
                            <a:schemeClr val="tx1"/>
                          </a:solidFill>
                        </a:rPr>
                        <a:t> p</a:t>
                      </a:r>
                      <a:r>
                        <a:rPr lang="en-US" sz="1050" dirty="0">
                          <a:solidFill>
                            <a:schemeClr val="tx1"/>
                          </a:solidFill>
                        </a:rPr>
                        <a:t>ermitting delays</a:t>
                      </a:r>
                    </a:p>
                  </a:txBody>
                  <a:tcPr anchor="ctr">
                    <a:solidFill>
                      <a:schemeClr val="bg1">
                        <a:lumMod val="95000"/>
                      </a:schemeClr>
                    </a:solidFill>
                  </a:tcPr>
                </a:tc>
                <a:tc>
                  <a:txBody>
                    <a:bodyPr/>
                    <a:lstStyle/>
                    <a:p>
                      <a:pPr algn="l">
                        <a:spcBef>
                          <a:spcPts val="0"/>
                        </a:spcBef>
                        <a:buNone/>
                      </a:pPr>
                      <a:r>
                        <a:rPr lang="en-US" sz="1050" dirty="0">
                          <a:solidFill>
                            <a:schemeClr val="tx1"/>
                          </a:solidFill>
                        </a:rPr>
                        <a:t>Adds time and uncertainty to</a:t>
                      </a:r>
                      <a:r>
                        <a:rPr lang="en-US" sz="1050" baseline="0" dirty="0">
                          <a:solidFill>
                            <a:schemeClr val="tx1"/>
                          </a:solidFill>
                        </a:rPr>
                        <a:t> p</a:t>
                      </a:r>
                      <a:r>
                        <a:rPr lang="en-US" sz="1050" dirty="0">
                          <a:solidFill>
                            <a:schemeClr val="tx1"/>
                          </a:solidFill>
                        </a:rPr>
                        <a:t>rojects</a:t>
                      </a:r>
                    </a:p>
                  </a:txBody>
                  <a:tcPr anchor="ctr">
                    <a:solidFill>
                      <a:schemeClr val="bg1">
                        <a:lumMod val="95000"/>
                      </a:schemeClr>
                    </a:solidFill>
                  </a:tcPr>
                </a:tc>
                <a:tc>
                  <a:txBody>
                    <a:bodyPr/>
                    <a:lstStyle/>
                    <a:p>
                      <a:pPr algn="l">
                        <a:spcBef>
                          <a:spcPts val="0"/>
                        </a:spcBef>
                        <a:buNone/>
                      </a:pPr>
                      <a:r>
                        <a:rPr lang="en-US" sz="1050" dirty="0">
                          <a:solidFill>
                            <a:schemeClr val="tx1"/>
                          </a:solidFill>
                        </a:rPr>
                        <a:t>Streamlined EGS permitting</a:t>
                      </a:r>
                      <a:r>
                        <a:rPr lang="en-US" sz="1050" baseline="0" dirty="0">
                          <a:solidFill>
                            <a:schemeClr val="tx1"/>
                          </a:solidFill>
                        </a:rPr>
                        <a:t> </a:t>
                      </a:r>
                      <a:r>
                        <a:rPr lang="en-US" sz="1050" dirty="0">
                          <a:solidFill>
                            <a:schemeClr val="tx1"/>
                          </a:solidFill>
                        </a:rPr>
                        <a:t>frameworks</a:t>
                      </a:r>
                    </a:p>
                  </a:txBody>
                  <a:tcPr anchor="ctr">
                    <a:solidFill>
                      <a:schemeClr val="bg1">
                        <a:lumMod val="95000"/>
                      </a:schemeClr>
                    </a:solidFill>
                  </a:tcPr>
                </a:tc>
                <a:extLst>
                  <a:ext uri="{0D108BD9-81ED-4DB2-BD59-A6C34878D82A}">
                    <a16:rowId xmlns:a16="http://schemas.microsoft.com/office/drawing/2014/main" val="3581701001"/>
                  </a:ext>
                </a:extLst>
              </a:tr>
            </a:tbl>
          </a:graphicData>
        </a:graphic>
      </p:graphicFrame>
      <p:sp>
        <p:nvSpPr>
          <p:cNvPr id="9" name="Rectangle 8">
            <a:extLst>
              <a:ext uri="{FF2B5EF4-FFF2-40B4-BE49-F238E27FC236}">
                <a16:creationId xmlns:a16="http://schemas.microsoft.com/office/drawing/2014/main" id="{96846C91-1275-B7BF-4CE3-93E978D237F8}"/>
              </a:ext>
            </a:extLst>
          </p:cNvPr>
          <p:cNvSpPr/>
          <p:nvPr/>
        </p:nvSpPr>
        <p:spPr bwMode="gray">
          <a:xfrm rot="16200000">
            <a:off x="5195202" y="-2294778"/>
            <a:ext cx="1810989" cy="11564895"/>
          </a:xfrm>
          <a:prstGeom prst="rect">
            <a:avLst/>
          </a:prstGeom>
          <a:noFill/>
          <a:ln w="28575">
            <a:solidFill>
              <a:schemeClr val="accent2">
                <a:lumMod val="90000"/>
                <a:lumOff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230">
                    <a:lumMod val="90000"/>
                    <a:lumOff val="10000"/>
                  </a:srgbClr>
                </a:solidFill>
                <a:effectLst/>
                <a:uLnTx/>
                <a:uFillTx/>
                <a:latin typeface="Arial"/>
                <a:ea typeface="+mn-ea"/>
                <a:cs typeface="+mn-cs"/>
              </a:rPr>
              <a:t>Major Barriers</a:t>
            </a:r>
          </a:p>
        </p:txBody>
      </p:sp>
    </p:spTree>
    <p:extLst>
      <p:ext uri="{BB962C8B-B14F-4D97-AF65-F5344CB8AC3E}">
        <p14:creationId xmlns:p14="http://schemas.microsoft.com/office/powerpoint/2010/main" val="2779835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AD03FE-B05D-3C31-F75A-75B8E33DC7F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05AD03FE-B05D-3C31-F75A-75B8E33DC7F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876F8A0-7E96-A71D-19E0-599A2DAE2325}"/>
              </a:ext>
            </a:extLst>
          </p:cNvPr>
          <p:cNvSpPr>
            <a:spLocks noGrp="1"/>
          </p:cNvSpPr>
          <p:nvPr>
            <p:ph type="title"/>
          </p:nvPr>
        </p:nvSpPr>
        <p:spPr/>
        <p:txBody>
          <a:bodyPr vert="horz" rIns="91440"/>
          <a:lstStyle/>
          <a:p>
            <a:r>
              <a:rPr lang="en-US" dirty="0">
                <a:ea typeface="+mj-lt"/>
                <a:cs typeface="+mj-lt"/>
              </a:rPr>
              <a:t>Exploratory drilling carries the highest project development risk, which can be reduced through advanced subsurface modeling</a:t>
            </a:r>
            <a:endParaRPr lang="en-US" dirty="0"/>
          </a:p>
        </p:txBody>
      </p:sp>
      <p:sp>
        <p:nvSpPr>
          <p:cNvPr id="6" name="Footer Placeholder 5">
            <a:extLst>
              <a:ext uri="{FF2B5EF4-FFF2-40B4-BE49-F238E27FC236}">
                <a16:creationId xmlns:a16="http://schemas.microsoft.com/office/drawing/2014/main" id="{2334EEB3-6DCF-AF8E-527D-93E961F5FE6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Financing structures and regulatory hurdles may also affect project risk profiles during initi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The Heat Beneath Our Feet</a:t>
            </a:r>
            <a:r>
              <a:rPr kumimoji="0" lang="en-US" sz="800" b="0" i="0" u="none" strike="noStrike" kern="1200" cap="none" spc="0" normalizeH="0" baseline="0" noProof="0" dirty="0">
                <a:ln>
                  <a:noFill/>
                </a:ln>
                <a:solidFill>
                  <a:srgbClr val="000000"/>
                </a:solidFill>
                <a:effectLst/>
                <a:uLnTx/>
                <a:uFillTx/>
                <a:latin typeface="Arial"/>
                <a:ea typeface="+mn-ea"/>
                <a:cs typeface="+mn-cs"/>
              </a:rPr>
              <a:t> (Sightline CTVC, 2022);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Annual Energy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EIA, 2022);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A New Kind of Energy Company</a:t>
            </a:r>
            <a:r>
              <a:rPr kumimoji="0" lang="en-US" sz="800" b="0" i="0" u="none" strike="noStrike" kern="1200" cap="none" spc="0" normalizeH="0" baseline="0" noProof="0" dirty="0">
                <a:ln>
                  <a:noFill/>
                </a:ln>
                <a:solidFill>
                  <a:srgbClr val="000000"/>
                </a:solidFill>
                <a:effectLst/>
                <a:uLnTx/>
                <a:uFillTx/>
                <a:latin typeface="Arial"/>
                <a:ea typeface="+mn-ea"/>
                <a:cs typeface="+mn-cs"/>
              </a:rPr>
              <a:t> (Zanskar,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Zanskar raises $30M</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hinkGeo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9"/>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Text Placeholder 6">
            <a:extLst>
              <a:ext uri="{FF2B5EF4-FFF2-40B4-BE49-F238E27FC236}">
                <a16:creationId xmlns:a16="http://schemas.microsoft.com/office/drawing/2014/main" id="{18CB13BE-A956-A1A3-6C21-857953C67EAA}"/>
              </a:ext>
            </a:extLst>
          </p:cNvPr>
          <p:cNvSpPr>
            <a:spLocks noGrp="1"/>
          </p:cNvSpPr>
          <p:nvPr>
            <p:ph type="body" sz="quarter" idx="13"/>
          </p:nvPr>
        </p:nvSpPr>
        <p:spPr/>
        <p:txBody>
          <a:bodyPr/>
          <a:lstStyle/>
          <a:p>
            <a:r>
              <a:rPr lang="en-US" sz="1400" dirty="0"/>
              <a:t>High drilling costs and geological uncertainty make exploration the riskiest phase of geothermal development</a:t>
            </a:r>
            <a:endParaRPr lang="en-US" sz="1400" dirty="0">
              <a:cs typeface="Arial"/>
            </a:endParaRPr>
          </a:p>
        </p:txBody>
      </p:sp>
      <p:sp>
        <p:nvSpPr>
          <p:cNvPr id="8" name="Text Placeholder 7">
            <a:extLst>
              <a:ext uri="{FF2B5EF4-FFF2-40B4-BE49-F238E27FC236}">
                <a16:creationId xmlns:a16="http://schemas.microsoft.com/office/drawing/2014/main" id="{77E891A8-8B8C-D5EC-20ED-30E7C9D61C90}"/>
              </a:ext>
            </a:extLst>
          </p:cNvPr>
          <p:cNvSpPr>
            <a:spLocks noGrp="1"/>
          </p:cNvSpPr>
          <p:nvPr>
            <p:ph type="body" sz="quarter" idx="16"/>
          </p:nvPr>
        </p:nvSpPr>
        <p:spPr/>
        <p:txBody>
          <a:bodyPr/>
          <a:lstStyle/>
          <a:p>
            <a:r>
              <a:rPr lang="en-US" sz="1400" dirty="0"/>
              <a:t>Inaccurate subsurface modeling can mischaracterize resources, resulting in failed wells and losses exceeding $10M per site</a:t>
            </a:r>
            <a:endParaRPr lang="en-US" sz="1400" dirty="0">
              <a:cs typeface="Arial"/>
            </a:endParaRPr>
          </a:p>
        </p:txBody>
      </p:sp>
      <p:sp>
        <p:nvSpPr>
          <p:cNvPr id="10" name="Text Placeholder 1">
            <a:extLst>
              <a:ext uri="{FF2B5EF4-FFF2-40B4-BE49-F238E27FC236}">
                <a16:creationId xmlns:a16="http://schemas.microsoft.com/office/drawing/2014/main" id="{3AC034FB-0ED1-9249-4A0C-7A745FC43720}"/>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eothermal Opportunity</a:t>
            </a:r>
          </a:p>
        </p:txBody>
      </p:sp>
      <p:sp>
        <p:nvSpPr>
          <p:cNvPr id="12" name="Rectangle 11">
            <a:extLst>
              <a:ext uri="{FF2B5EF4-FFF2-40B4-BE49-F238E27FC236}">
                <a16:creationId xmlns:a16="http://schemas.microsoft.com/office/drawing/2014/main" id="{1E7EBDF3-02B1-773B-7F8D-9AC2065F98F5}"/>
              </a:ext>
            </a:extLst>
          </p:cNvPr>
          <p:cNvSpPr/>
          <p:nvPr/>
        </p:nvSpPr>
        <p:spPr bwMode="gray">
          <a:xfrm>
            <a:off x="6197600" y="4453565"/>
            <a:ext cx="5696758" cy="4976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I-enabled companies are helping de-risk exploration by providing solutions for accurate subsurface reconnaissance and dril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a:t>
            </a:r>
          </a:p>
        </p:txBody>
      </p:sp>
      <p:sp>
        <p:nvSpPr>
          <p:cNvPr id="13" name="Rectangle 12">
            <a:extLst>
              <a:ext uri="{FF2B5EF4-FFF2-40B4-BE49-F238E27FC236}">
                <a16:creationId xmlns:a16="http://schemas.microsoft.com/office/drawing/2014/main" id="{E77E2174-5EB7-4E4F-2ABC-8BD3F40A61F1}"/>
              </a:ext>
            </a:extLst>
          </p:cNvPr>
          <p:cNvSpPr/>
          <p:nvPr/>
        </p:nvSpPr>
        <p:spPr bwMode="gray">
          <a:xfrm rot="16200000">
            <a:off x="4093336" y="3758243"/>
            <a:ext cx="2358632" cy="1708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Cumulative  Cost</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4" name="Diagram 13">
            <a:extLst>
              <a:ext uri="{FF2B5EF4-FFF2-40B4-BE49-F238E27FC236}">
                <a16:creationId xmlns:a16="http://schemas.microsoft.com/office/drawing/2014/main" id="{A5D79424-CE73-FABA-3F10-89B08EE5059C}"/>
              </a:ext>
            </a:extLst>
          </p:cNvPr>
          <p:cNvGraphicFramePr/>
          <p:nvPr/>
        </p:nvGraphicFramePr>
        <p:xfrm>
          <a:off x="521150" y="5645663"/>
          <a:ext cx="4806642" cy="39214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5" name="Group 14">
            <a:extLst>
              <a:ext uri="{FF2B5EF4-FFF2-40B4-BE49-F238E27FC236}">
                <a16:creationId xmlns:a16="http://schemas.microsoft.com/office/drawing/2014/main" id="{775A9053-EAAA-63E0-A1F3-09F54B444135}"/>
              </a:ext>
            </a:extLst>
          </p:cNvPr>
          <p:cNvGrpSpPr/>
          <p:nvPr/>
        </p:nvGrpSpPr>
        <p:grpSpPr>
          <a:xfrm>
            <a:off x="324001" y="2236651"/>
            <a:ext cx="5645212" cy="3804361"/>
            <a:chOff x="729125" y="1405223"/>
            <a:chExt cx="6704756" cy="4089999"/>
          </a:xfrm>
        </p:grpSpPr>
        <p:sp>
          <p:nvSpPr>
            <p:cNvPr id="16" name="Rectangle 15">
              <a:extLst>
                <a:ext uri="{FF2B5EF4-FFF2-40B4-BE49-F238E27FC236}">
                  <a16:creationId xmlns:a16="http://schemas.microsoft.com/office/drawing/2014/main" id="{F561AC69-BC06-10EA-A2E2-73EF9A879CED}"/>
                </a:ext>
              </a:extLst>
            </p:cNvPr>
            <p:cNvSpPr/>
            <p:nvPr/>
          </p:nvSpPr>
          <p:spPr bwMode="gray">
            <a:xfrm rot="16200000">
              <a:off x="484963" y="4672657"/>
              <a:ext cx="714408" cy="21476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Stag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0A09F444-173C-D15B-D432-3C52CE55E960}"/>
                </a:ext>
              </a:extLst>
            </p:cNvPr>
            <p:cNvSpPr/>
            <p:nvPr/>
          </p:nvSpPr>
          <p:spPr bwMode="gray">
            <a:xfrm rot="16200000">
              <a:off x="-429836" y="3043234"/>
              <a:ext cx="2550419" cy="23249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Risk Level</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F446542-E20B-65E7-7E88-7C8DB1E20DD1}"/>
                </a:ext>
              </a:extLst>
            </p:cNvPr>
            <p:cNvSpPr/>
            <p:nvPr/>
          </p:nvSpPr>
          <p:spPr bwMode="gray">
            <a:xfrm>
              <a:off x="974602" y="4528026"/>
              <a:ext cx="1187759" cy="47282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D0227C"/>
                  </a:solidFill>
                  <a:effectLst/>
                  <a:uLnTx/>
                  <a:uFillTx/>
                  <a:latin typeface="Arial"/>
                  <a:ea typeface="+mn-ea"/>
                  <a:cs typeface="Arial"/>
                </a:rPr>
                <a:t>Surface Reconnaissance     $1M-2M</a:t>
              </a:r>
            </a:p>
          </p:txBody>
        </p:sp>
        <p:sp>
          <p:nvSpPr>
            <p:cNvPr id="19" name="Rectangle 18">
              <a:extLst>
                <a:ext uri="{FF2B5EF4-FFF2-40B4-BE49-F238E27FC236}">
                  <a16:creationId xmlns:a16="http://schemas.microsoft.com/office/drawing/2014/main" id="{98B3B446-C76E-BAF6-A212-A8FD45547D19}"/>
                </a:ext>
              </a:extLst>
            </p:cNvPr>
            <p:cNvSpPr/>
            <p:nvPr/>
          </p:nvSpPr>
          <p:spPr bwMode="gray">
            <a:xfrm>
              <a:off x="2097065" y="4528025"/>
              <a:ext cx="1020165" cy="47260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D0227C"/>
                  </a:solidFill>
                  <a:effectLst/>
                  <a:uLnTx/>
                  <a:uFillTx/>
                  <a:latin typeface="Arial"/>
                  <a:ea typeface="+mn-ea"/>
                  <a:cs typeface="Arial"/>
                </a:rPr>
                <a:t>Exploratory Drill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D0227C"/>
                  </a:solidFill>
                  <a:effectLst/>
                  <a:uLnTx/>
                  <a:uFillTx/>
                  <a:latin typeface="Arial"/>
                  <a:ea typeface="+mn-ea"/>
                  <a:cs typeface="Arial"/>
                </a:rPr>
                <a:t>$20M-$30M</a:t>
              </a:r>
            </a:p>
          </p:txBody>
        </p:sp>
        <p:sp>
          <p:nvSpPr>
            <p:cNvPr id="20" name="Rectangle 19">
              <a:extLst>
                <a:ext uri="{FF2B5EF4-FFF2-40B4-BE49-F238E27FC236}">
                  <a16:creationId xmlns:a16="http://schemas.microsoft.com/office/drawing/2014/main" id="{9A1D5BEA-B648-9C20-C45B-35A368E5436F}"/>
                </a:ext>
              </a:extLst>
            </p:cNvPr>
            <p:cNvSpPr/>
            <p:nvPr/>
          </p:nvSpPr>
          <p:spPr bwMode="gray">
            <a:xfrm>
              <a:off x="3117231" y="4537551"/>
              <a:ext cx="1461430"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9BDB"/>
                  </a:solidFill>
                  <a:effectLst/>
                  <a:uLnTx/>
                  <a:uFillTx/>
                  <a:latin typeface="Arial"/>
                  <a:ea typeface="+mn-ea"/>
                  <a:cs typeface="Arial"/>
                </a:rPr>
                <a:t>Production Drill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9BDB"/>
                  </a:solidFill>
                  <a:effectLst/>
                  <a:uLnTx/>
                  <a:uFillTx/>
                  <a:latin typeface="Arial"/>
                  <a:ea typeface="+mn-ea"/>
                  <a:cs typeface="Arial"/>
                </a:rPr>
                <a:t>$20M-$120M</a:t>
              </a:r>
            </a:p>
          </p:txBody>
        </p:sp>
        <p:sp>
          <p:nvSpPr>
            <p:cNvPr id="21" name="Rectangle 20">
              <a:extLst>
                <a:ext uri="{FF2B5EF4-FFF2-40B4-BE49-F238E27FC236}">
                  <a16:creationId xmlns:a16="http://schemas.microsoft.com/office/drawing/2014/main" id="{6A6D5676-FECC-4111-EC63-27AA0458A602}"/>
                </a:ext>
              </a:extLst>
            </p:cNvPr>
            <p:cNvSpPr/>
            <p:nvPr/>
          </p:nvSpPr>
          <p:spPr bwMode="gray">
            <a:xfrm>
              <a:off x="4581524" y="4537551"/>
              <a:ext cx="1197329"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9BDB"/>
                  </a:solidFill>
                  <a:effectLst/>
                  <a:uLnTx/>
                  <a:uFillTx/>
                  <a:latin typeface="Arial"/>
                  <a:ea typeface="+mn-ea"/>
                  <a:cs typeface="Arial"/>
                </a:rPr>
                <a:t>SAGS Power Pl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9BDB"/>
                  </a:solidFill>
                  <a:effectLst/>
                  <a:uLnTx/>
                  <a:uFillTx/>
                  <a:latin typeface="Arial"/>
                  <a:ea typeface="+mn-ea"/>
                  <a:cs typeface="Arial"/>
                </a:rPr>
                <a:t>$20M-$200M</a:t>
              </a:r>
            </a:p>
          </p:txBody>
        </p:sp>
        <p:sp>
          <p:nvSpPr>
            <p:cNvPr id="22" name="Rectangle 21">
              <a:extLst>
                <a:ext uri="{FF2B5EF4-FFF2-40B4-BE49-F238E27FC236}">
                  <a16:creationId xmlns:a16="http://schemas.microsoft.com/office/drawing/2014/main" id="{0551A430-6D83-19AC-91C6-B1FA080A3B10}"/>
                </a:ext>
              </a:extLst>
            </p:cNvPr>
            <p:cNvSpPr/>
            <p:nvPr/>
          </p:nvSpPr>
          <p:spPr bwMode="gray">
            <a:xfrm>
              <a:off x="5781673" y="4537551"/>
              <a:ext cx="933229" cy="46493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9BDB"/>
                  </a:solidFill>
                  <a:effectLst/>
                  <a:uLnTx/>
                  <a:uFillTx/>
                  <a:latin typeface="Arial"/>
                  <a:ea typeface="+mn-ea"/>
                  <a:cs typeface="Arial"/>
                </a:rPr>
                <a:t>Operations and Maintenance</a:t>
              </a:r>
              <a:r>
                <a:rPr kumimoji="0" lang="en-US" sz="700" b="0" i="0" u="none" strike="noStrike" kern="1200" cap="none" spc="0" normalizeH="0" baseline="0" noProof="0" dirty="0">
                  <a:ln>
                    <a:noFill/>
                  </a:ln>
                  <a:solidFill>
                    <a:srgbClr val="009BDB"/>
                  </a:solidFill>
                  <a:effectLst/>
                  <a:uLnTx/>
                  <a:uFillTx/>
                  <a:latin typeface="Arial"/>
                  <a:ea typeface="+mn-ea"/>
                  <a:cs typeface="Arial"/>
                </a:rPr>
                <a:t> </a:t>
              </a:r>
            </a:p>
          </p:txBody>
        </p:sp>
        <p:sp>
          <p:nvSpPr>
            <p:cNvPr id="23" name="Arrow: Pentagon 600">
              <a:extLst>
                <a:ext uri="{FF2B5EF4-FFF2-40B4-BE49-F238E27FC236}">
                  <a16:creationId xmlns:a16="http://schemas.microsoft.com/office/drawing/2014/main" id="{D4BCC4FE-2924-EFB6-47CF-68B80A7A0398}"/>
                </a:ext>
              </a:extLst>
            </p:cNvPr>
            <p:cNvSpPr/>
            <p:nvPr/>
          </p:nvSpPr>
          <p:spPr bwMode="gray">
            <a:xfrm>
              <a:off x="960120" y="1405223"/>
              <a:ext cx="2157111" cy="459804"/>
            </a:xfrm>
            <a:prstGeom prst="homePlate">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0227C"/>
                  </a:solidFill>
                  <a:effectLst/>
                  <a:uLnTx/>
                  <a:uFillTx/>
                  <a:latin typeface="Arial"/>
                  <a:ea typeface="+mn-ea"/>
                  <a:cs typeface="Arial"/>
                </a:rPr>
                <a:t>Upstream Resource Development</a:t>
              </a:r>
            </a:p>
          </p:txBody>
        </p:sp>
        <p:sp>
          <p:nvSpPr>
            <p:cNvPr id="24" name="Arrow: Pentagon 602">
              <a:extLst>
                <a:ext uri="{FF2B5EF4-FFF2-40B4-BE49-F238E27FC236}">
                  <a16:creationId xmlns:a16="http://schemas.microsoft.com/office/drawing/2014/main" id="{C26028DA-B773-3E89-80A9-7CB1D089419A}"/>
                </a:ext>
              </a:extLst>
            </p:cNvPr>
            <p:cNvSpPr/>
            <p:nvPr/>
          </p:nvSpPr>
          <p:spPr bwMode="gray">
            <a:xfrm>
              <a:off x="3117232" y="1405223"/>
              <a:ext cx="3664570" cy="459804"/>
            </a:xfrm>
            <a:prstGeom prst="homePlate">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9BDB"/>
                  </a:solidFill>
                  <a:effectLst/>
                  <a:uLnTx/>
                  <a:uFillTx/>
                  <a:latin typeface="Arial"/>
                  <a:ea typeface="+mn-ea"/>
                  <a:cs typeface="Arial"/>
                </a:rPr>
                <a:t>Downstream Plant Construction and Operations</a:t>
              </a:r>
              <a:endParaRPr kumimoji="0" lang="en-US" sz="900" b="1" i="0" u="none" strike="noStrike" kern="1200" cap="none" spc="0" normalizeH="0" baseline="0" noProof="0" dirty="0">
                <a:ln>
                  <a:noFill/>
                </a:ln>
                <a:solidFill>
                  <a:srgbClr val="009BDB"/>
                </a:solidFill>
                <a:effectLst/>
                <a:uLnTx/>
                <a:uFillTx/>
                <a:latin typeface="Arial"/>
                <a:ea typeface="+mn-ea"/>
                <a:cs typeface="+mn-cs"/>
              </a:endParaRPr>
            </a:p>
          </p:txBody>
        </p:sp>
        <p:sp>
          <p:nvSpPr>
            <p:cNvPr id="25" name="Freeform 24">
              <a:extLst>
                <a:ext uri="{FF2B5EF4-FFF2-40B4-BE49-F238E27FC236}">
                  <a16:creationId xmlns:a16="http://schemas.microsoft.com/office/drawing/2014/main" id="{CB82C8F9-2A2E-33E3-1A82-4803E1E85EE1}"/>
                </a:ext>
              </a:extLst>
            </p:cNvPr>
            <p:cNvSpPr/>
            <p:nvPr/>
          </p:nvSpPr>
          <p:spPr bwMode="gray">
            <a:xfrm>
              <a:off x="960120" y="1900105"/>
              <a:ext cx="5754783" cy="2549975"/>
            </a:xfrm>
            <a:custGeom>
              <a:avLst/>
              <a:gdLst>
                <a:gd name="connsiteX0" fmla="*/ 7620 w 5768340"/>
                <a:gd name="connsiteY0" fmla="*/ 0 h 2400300"/>
                <a:gd name="connsiteX1" fmla="*/ 487680 w 5768340"/>
                <a:gd name="connsiteY1" fmla="*/ 15240 h 2400300"/>
                <a:gd name="connsiteX2" fmla="*/ 990600 w 5768340"/>
                <a:gd name="connsiteY2" fmla="*/ 83820 h 2400300"/>
                <a:gd name="connsiteX3" fmla="*/ 1356360 w 5768340"/>
                <a:gd name="connsiteY3" fmla="*/ 167640 h 2400300"/>
                <a:gd name="connsiteX4" fmla="*/ 1684020 w 5768340"/>
                <a:gd name="connsiteY4" fmla="*/ 175260 h 2400300"/>
                <a:gd name="connsiteX5" fmla="*/ 1866900 w 5768340"/>
                <a:gd name="connsiteY5" fmla="*/ 190500 h 2400300"/>
                <a:gd name="connsiteX6" fmla="*/ 1912620 w 5768340"/>
                <a:gd name="connsiteY6" fmla="*/ 373380 h 2400300"/>
                <a:gd name="connsiteX7" fmla="*/ 1950720 w 5768340"/>
                <a:gd name="connsiteY7" fmla="*/ 800100 h 2400300"/>
                <a:gd name="connsiteX8" fmla="*/ 2019300 w 5768340"/>
                <a:gd name="connsiteY8" fmla="*/ 1082040 h 2400300"/>
                <a:gd name="connsiteX9" fmla="*/ 2026920 w 5768340"/>
                <a:gd name="connsiteY9" fmla="*/ 1135380 h 2400300"/>
                <a:gd name="connsiteX10" fmla="*/ 2148840 w 5768340"/>
                <a:gd name="connsiteY10" fmla="*/ 1211580 h 2400300"/>
                <a:gd name="connsiteX11" fmla="*/ 3238500 w 5768340"/>
                <a:gd name="connsiteY11" fmla="*/ 1203960 h 2400300"/>
                <a:gd name="connsiteX12" fmla="*/ 3352800 w 5768340"/>
                <a:gd name="connsiteY12" fmla="*/ 1318260 h 2400300"/>
                <a:gd name="connsiteX13" fmla="*/ 3512820 w 5768340"/>
                <a:gd name="connsiteY13" fmla="*/ 1440180 h 2400300"/>
                <a:gd name="connsiteX14" fmla="*/ 3741420 w 5768340"/>
                <a:gd name="connsiteY14" fmla="*/ 1630680 h 2400300"/>
                <a:gd name="connsiteX15" fmla="*/ 4008120 w 5768340"/>
                <a:gd name="connsiteY15" fmla="*/ 1813560 h 2400300"/>
                <a:gd name="connsiteX16" fmla="*/ 4335780 w 5768340"/>
                <a:gd name="connsiteY16" fmla="*/ 1965960 h 2400300"/>
                <a:gd name="connsiteX17" fmla="*/ 4663440 w 5768340"/>
                <a:gd name="connsiteY17" fmla="*/ 2095500 h 2400300"/>
                <a:gd name="connsiteX18" fmla="*/ 5036820 w 5768340"/>
                <a:gd name="connsiteY18" fmla="*/ 2217420 h 2400300"/>
                <a:gd name="connsiteX19" fmla="*/ 5349240 w 5768340"/>
                <a:gd name="connsiteY19" fmla="*/ 2286000 h 2400300"/>
                <a:gd name="connsiteX20" fmla="*/ 5768340 w 5768340"/>
                <a:gd name="connsiteY20" fmla="*/ 2293620 h 2400300"/>
                <a:gd name="connsiteX21" fmla="*/ 5768340 w 5768340"/>
                <a:gd name="connsiteY21" fmla="*/ 2400300 h 2400300"/>
                <a:gd name="connsiteX22" fmla="*/ 0 w 5768340"/>
                <a:gd name="connsiteY22" fmla="*/ 2392680 h 2400300"/>
                <a:gd name="connsiteX23" fmla="*/ 7620 w 5768340"/>
                <a:gd name="connsiteY23"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68340" h="2400300">
                  <a:moveTo>
                    <a:pt x="7620" y="0"/>
                  </a:moveTo>
                  <a:lnTo>
                    <a:pt x="487680" y="15240"/>
                  </a:lnTo>
                  <a:lnTo>
                    <a:pt x="990600" y="83820"/>
                  </a:lnTo>
                  <a:lnTo>
                    <a:pt x="1356360" y="167640"/>
                  </a:lnTo>
                  <a:lnTo>
                    <a:pt x="1684020" y="175260"/>
                  </a:lnTo>
                  <a:lnTo>
                    <a:pt x="1866900" y="190500"/>
                  </a:lnTo>
                  <a:lnTo>
                    <a:pt x="1912620" y="373380"/>
                  </a:lnTo>
                  <a:lnTo>
                    <a:pt x="1950720" y="800100"/>
                  </a:lnTo>
                  <a:lnTo>
                    <a:pt x="2019300" y="1082040"/>
                  </a:lnTo>
                  <a:lnTo>
                    <a:pt x="2026920" y="1135380"/>
                  </a:lnTo>
                  <a:lnTo>
                    <a:pt x="2148840" y="1211580"/>
                  </a:lnTo>
                  <a:lnTo>
                    <a:pt x="3238500" y="1203960"/>
                  </a:lnTo>
                  <a:lnTo>
                    <a:pt x="3352800" y="1318260"/>
                  </a:lnTo>
                  <a:lnTo>
                    <a:pt x="3512820" y="1440180"/>
                  </a:lnTo>
                  <a:lnTo>
                    <a:pt x="3741420" y="1630680"/>
                  </a:lnTo>
                  <a:lnTo>
                    <a:pt x="4008120" y="1813560"/>
                  </a:lnTo>
                  <a:lnTo>
                    <a:pt x="4335780" y="1965960"/>
                  </a:lnTo>
                  <a:lnTo>
                    <a:pt x="4663440" y="2095500"/>
                  </a:lnTo>
                  <a:lnTo>
                    <a:pt x="5036820" y="2217420"/>
                  </a:lnTo>
                  <a:lnTo>
                    <a:pt x="5349240" y="2286000"/>
                  </a:lnTo>
                  <a:lnTo>
                    <a:pt x="5768340" y="2293620"/>
                  </a:lnTo>
                  <a:lnTo>
                    <a:pt x="5768340" y="2400300"/>
                  </a:lnTo>
                  <a:lnTo>
                    <a:pt x="0" y="2392680"/>
                  </a:lnTo>
                  <a:lnTo>
                    <a:pt x="7620" y="0"/>
                  </a:lnTo>
                  <a:close/>
                </a:path>
              </a:pathLst>
            </a:custGeom>
            <a:gradFill flip="none" rotWithShape="1">
              <a:gsLst>
                <a:gs pos="0">
                  <a:srgbClr val="FFC000"/>
                </a:gs>
                <a:gs pos="22000">
                  <a:schemeClr val="accent5"/>
                </a:gs>
                <a:gs pos="48000">
                  <a:srgbClr val="FFC000"/>
                </a:gs>
                <a:gs pos="100000">
                  <a:schemeClr val="accent6"/>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 name="Straight Arrow Connector 25">
              <a:extLst>
                <a:ext uri="{FF2B5EF4-FFF2-40B4-BE49-F238E27FC236}">
                  <a16:creationId xmlns:a16="http://schemas.microsoft.com/office/drawing/2014/main" id="{037282C7-7B05-7B05-66AF-ADB5295BD10F}"/>
                </a:ext>
              </a:extLst>
            </p:cNvPr>
            <p:cNvCxnSpPr>
              <a:cxnSpLocks/>
            </p:cNvCxnSpPr>
            <p:nvPr/>
          </p:nvCxnSpPr>
          <p:spPr bwMode="gray">
            <a:xfrm flipV="1">
              <a:off x="6753178" y="1781169"/>
              <a:ext cx="0" cy="268874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596527F-17B7-6504-232C-849D6A8EA247}"/>
                </a:ext>
              </a:extLst>
            </p:cNvPr>
            <p:cNvSpPr/>
            <p:nvPr/>
          </p:nvSpPr>
          <p:spPr bwMode="gray">
            <a:xfrm flipH="1">
              <a:off x="6764019" y="1776112"/>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100%</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96F0C9-466C-CFCC-8AC8-7FB9C5DC42F2}"/>
                </a:ext>
              </a:extLst>
            </p:cNvPr>
            <p:cNvSpPr/>
            <p:nvPr/>
          </p:nvSpPr>
          <p:spPr bwMode="gray">
            <a:xfrm flipH="1">
              <a:off x="6772527" y="2821245"/>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50%</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6161A63C-F58A-3CF1-4C63-C239BB7B860C}"/>
                </a:ext>
              </a:extLst>
            </p:cNvPr>
            <p:cNvSpPr/>
            <p:nvPr/>
          </p:nvSpPr>
          <p:spPr bwMode="gray">
            <a:xfrm flipH="1">
              <a:off x="6788710" y="4198755"/>
              <a:ext cx="645171" cy="228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0%</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CF4B3221-B026-63EC-2D3B-0DB1F1E16271}"/>
                </a:ext>
              </a:extLst>
            </p:cNvPr>
            <p:cNvSpPr/>
            <p:nvPr/>
          </p:nvSpPr>
          <p:spPr bwMode="gray">
            <a:xfrm rot="16200000">
              <a:off x="601304" y="5136403"/>
              <a:ext cx="492741" cy="22489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a:rPr>
                <a:t>Tim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1" name="Rectangle 30">
            <a:extLst>
              <a:ext uri="{FF2B5EF4-FFF2-40B4-BE49-F238E27FC236}">
                <a16:creationId xmlns:a16="http://schemas.microsoft.com/office/drawing/2014/main" id="{8B8C0746-29BA-9F1F-9652-B7B4DDE1BBFE}"/>
              </a:ext>
            </a:extLst>
          </p:cNvPr>
          <p:cNvSpPr/>
          <p:nvPr/>
        </p:nvSpPr>
        <p:spPr bwMode="gray">
          <a:xfrm>
            <a:off x="6231807" y="2388206"/>
            <a:ext cx="5620742" cy="513967"/>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bsurface temperature, permeability, and fluids can be confirmed only through drilling; surface surveys and models provide limited accuracy, making exploratory wells costly and high risk.</a:t>
            </a:r>
          </a:p>
        </p:txBody>
      </p:sp>
      <p:sp>
        <p:nvSpPr>
          <p:cNvPr id="32" name="Rectangle 31">
            <a:extLst>
              <a:ext uri="{FF2B5EF4-FFF2-40B4-BE49-F238E27FC236}">
                <a16:creationId xmlns:a16="http://schemas.microsoft.com/office/drawing/2014/main" id="{EC642402-74A0-F4A6-E5E1-B01FDB32DA05}"/>
              </a:ext>
            </a:extLst>
          </p:cNvPr>
          <p:cNvSpPr/>
          <p:nvPr/>
        </p:nvSpPr>
        <p:spPr bwMode="gray">
          <a:xfrm>
            <a:off x="6231627" y="3217699"/>
            <a:ext cx="5615500" cy="469738"/>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naccurate measurements of reservoir pressure can reduce recoverable power; length of estimated drilling time may ward off willingness for upfront investment in exploratory stages.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Rectangular Callout 32">
            <a:extLst>
              <a:ext uri="{FF2B5EF4-FFF2-40B4-BE49-F238E27FC236}">
                <a16:creationId xmlns:a16="http://schemas.microsoft.com/office/drawing/2014/main" id="{F931201A-D206-D35A-F723-A11C65E5A8F2}"/>
              </a:ext>
            </a:extLst>
          </p:cNvPr>
          <p:cNvSpPr/>
          <p:nvPr/>
        </p:nvSpPr>
        <p:spPr bwMode="gray">
          <a:xfrm>
            <a:off x="6231657" y="3843239"/>
            <a:ext cx="5616421" cy="527876"/>
          </a:xfrm>
          <a:prstGeom prst="wedgeRectCallout">
            <a:avLst>
              <a:gd name="adj1" fmla="val -58779"/>
              <a:gd name="adj2" fmla="val 38871"/>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Geothermal project finance has initial high risk: Tens of millions of dollars are spent upfront on drilling with no guarantee of a viable resource. This uncertainty makes traditional financing challenging, often requiring government support, insurance, or hybrid financing to secure bankability.</a:t>
            </a:r>
          </a:p>
        </p:txBody>
      </p:sp>
      <p:cxnSp>
        <p:nvCxnSpPr>
          <p:cNvPr id="34" name="Straight Connector 33">
            <a:extLst>
              <a:ext uri="{FF2B5EF4-FFF2-40B4-BE49-F238E27FC236}">
                <a16:creationId xmlns:a16="http://schemas.microsoft.com/office/drawing/2014/main" id="{DE10F4DF-F831-D5DB-97BD-C27FD3023E0D}"/>
              </a:ext>
            </a:extLst>
          </p:cNvPr>
          <p:cNvCxnSpPr>
            <a:cxnSpLocks/>
          </p:cNvCxnSpPr>
          <p:nvPr/>
        </p:nvCxnSpPr>
        <p:spPr bwMode="gray">
          <a:xfrm>
            <a:off x="6195901" y="4928433"/>
            <a:ext cx="564736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5" name="Picture 34" descr="A black text on a white background&#10;&#10;AI-generated content may be incorrect.">
            <a:extLst>
              <a:ext uri="{FF2B5EF4-FFF2-40B4-BE49-F238E27FC236}">
                <a16:creationId xmlns:a16="http://schemas.microsoft.com/office/drawing/2014/main" id="{18CAC6B6-8F67-03A8-1119-E72A0432F7CD}"/>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236109" y="5419572"/>
            <a:ext cx="868135" cy="239180"/>
          </a:xfrm>
          <a:prstGeom prst="rect">
            <a:avLst/>
          </a:prstGeom>
        </p:spPr>
      </p:pic>
      <p:sp>
        <p:nvSpPr>
          <p:cNvPr id="36" name="Rectangle 35">
            <a:extLst>
              <a:ext uri="{FF2B5EF4-FFF2-40B4-BE49-F238E27FC236}">
                <a16:creationId xmlns:a16="http://schemas.microsoft.com/office/drawing/2014/main" id="{FDCCA562-40B8-55E0-4D13-EFBF36C2C9BA}"/>
              </a:ext>
            </a:extLst>
          </p:cNvPr>
          <p:cNvSpPr/>
          <p:nvPr/>
        </p:nvSpPr>
        <p:spPr bwMode="gray">
          <a:xfrm>
            <a:off x="7779647" y="5258835"/>
            <a:ext cx="4077392" cy="497637"/>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Applied </a:t>
            </a:r>
            <a:r>
              <a:rPr kumimoji="0" lang="en-US" sz="1000" b="1" i="0" u="none" strike="noStrike" kern="1200" cap="none" spc="0" normalizeH="0" baseline="0" noProof="0" dirty="0">
                <a:ln>
                  <a:noFill/>
                </a:ln>
                <a:solidFill>
                  <a:srgbClr val="000000"/>
                </a:solidFill>
                <a:effectLst/>
                <a:uLnTx/>
                <a:uFillTx/>
                <a:latin typeface="Arial"/>
                <a:ea typeface="+mn-ea"/>
                <a:cs typeface="+mn-cs"/>
              </a:rPr>
              <a:t>AI geosensing to discover new reservoirs </a:t>
            </a:r>
            <a:r>
              <a:rPr kumimoji="0" lang="en-US" sz="1000" b="0" i="0" u="none" strike="noStrike" kern="1200" cap="none" spc="0" normalizeH="0" baseline="0" noProof="0" dirty="0">
                <a:ln>
                  <a:noFill/>
                </a:ln>
                <a:solidFill>
                  <a:srgbClr val="000000"/>
                </a:solidFill>
                <a:effectLst/>
                <a:uLnTx/>
                <a:uFillTx/>
                <a:latin typeface="Arial"/>
                <a:ea typeface="+mn-ea"/>
                <a:cs typeface="+mn-cs"/>
              </a:rPr>
              <a:t>around the underperforming Lightning Dock geothermal facility, which now ranks among the most productive in the U.S.</a:t>
            </a:r>
          </a:p>
        </p:txBody>
      </p:sp>
      <p:sp>
        <p:nvSpPr>
          <p:cNvPr id="37" name="Right Arrow 36">
            <a:extLst>
              <a:ext uri="{FF2B5EF4-FFF2-40B4-BE49-F238E27FC236}">
                <a16:creationId xmlns:a16="http://schemas.microsoft.com/office/drawing/2014/main" id="{11159D2B-4D7C-2C94-9287-7D7440AA100B}"/>
              </a:ext>
            </a:extLst>
          </p:cNvPr>
          <p:cNvSpPr/>
          <p:nvPr/>
        </p:nvSpPr>
        <p:spPr bwMode="gray">
          <a:xfrm>
            <a:off x="7128335" y="5450306"/>
            <a:ext cx="628761" cy="153659"/>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E2688668-4D06-CA6A-4DBA-139E503F49D5}"/>
              </a:ext>
            </a:extLst>
          </p:cNvPr>
          <p:cNvSpPr/>
          <p:nvPr/>
        </p:nvSpPr>
        <p:spPr bwMode="gray">
          <a:xfrm>
            <a:off x="516905" y="2236651"/>
            <a:ext cx="1793721" cy="4029137"/>
          </a:xfrm>
          <a:prstGeom prst="rect">
            <a:avLst/>
          </a:prstGeom>
          <a:noFill/>
          <a:ln w="952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0227C"/>
                </a:solidFill>
                <a:effectLst/>
                <a:uLnTx/>
                <a:uFillTx/>
                <a:latin typeface="Arial"/>
                <a:ea typeface="+mn-ea"/>
                <a:cs typeface="+mn-cs"/>
              </a:rPr>
              <a:t>Focus</a:t>
            </a:r>
            <a:r>
              <a:rPr kumimoji="0" lang="en-US" sz="1200" b="1" i="0" u="none" strike="noStrike" kern="1200" cap="none" spc="0" normalizeH="0" baseline="0" noProof="0" dirty="0">
                <a:ln>
                  <a:noFill/>
                </a:ln>
                <a:solidFill>
                  <a:srgbClr val="D0227C"/>
                </a:solidFill>
                <a:effectLst/>
                <a:uLnTx/>
                <a:uFillTx/>
                <a:latin typeface="Arial"/>
                <a:ea typeface="+mn-ea"/>
                <a:cs typeface="+mn-cs"/>
              </a:rPr>
              <a:t> </a:t>
            </a:r>
          </a:p>
        </p:txBody>
      </p:sp>
      <p:sp>
        <p:nvSpPr>
          <p:cNvPr id="39" name="Rectangle 38">
            <a:extLst>
              <a:ext uri="{FF2B5EF4-FFF2-40B4-BE49-F238E27FC236}">
                <a16:creationId xmlns:a16="http://schemas.microsoft.com/office/drawing/2014/main" id="{9546ECBC-9B40-6FBD-EC32-18606BA1EFA1}"/>
              </a:ext>
            </a:extLst>
          </p:cNvPr>
          <p:cNvSpPr/>
          <p:nvPr/>
        </p:nvSpPr>
        <p:spPr bwMode="gray">
          <a:xfrm>
            <a:off x="6220272" y="2220846"/>
            <a:ext cx="5642263" cy="22002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mn-cs"/>
              </a:rPr>
              <a:t>Resource Risk</a:t>
            </a:r>
          </a:p>
        </p:txBody>
      </p:sp>
      <p:sp>
        <p:nvSpPr>
          <p:cNvPr id="40" name="Rectangle 39">
            <a:extLst>
              <a:ext uri="{FF2B5EF4-FFF2-40B4-BE49-F238E27FC236}">
                <a16:creationId xmlns:a16="http://schemas.microsoft.com/office/drawing/2014/main" id="{3380E02B-8172-5A0D-5E5D-591A0FC0CC2A}"/>
              </a:ext>
            </a:extLst>
          </p:cNvPr>
          <p:cNvSpPr/>
          <p:nvPr/>
        </p:nvSpPr>
        <p:spPr bwMode="gray">
          <a:xfrm>
            <a:off x="6220272" y="3051966"/>
            <a:ext cx="5642263" cy="2194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mn-cs"/>
              </a:rPr>
              <a:t>Operational Risk</a:t>
            </a:r>
          </a:p>
        </p:txBody>
      </p:sp>
      <p:cxnSp>
        <p:nvCxnSpPr>
          <p:cNvPr id="41" name="Straight Arrow Connector 40">
            <a:extLst>
              <a:ext uri="{FF2B5EF4-FFF2-40B4-BE49-F238E27FC236}">
                <a16:creationId xmlns:a16="http://schemas.microsoft.com/office/drawing/2014/main" id="{01C11CA2-6323-465C-BAAE-6DB34E75B838}"/>
              </a:ext>
            </a:extLst>
          </p:cNvPr>
          <p:cNvCxnSpPr>
            <a:cxnSpLocks/>
          </p:cNvCxnSpPr>
          <p:nvPr/>
        </p:nvCxnSpPr>
        <p:spPr bwMode="gray">
          <a:xfrm flipV="1">
            <a:off x="612280" y="4925972"/>
            <a:ext cx="976546" cy="10724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80ABD0D-4B6E-18F6-8672-4C7799531007}"/>
              </a:ext>
            </a:extLst>
          </p:cNvPr>
          <p:cNvCxnSpPr>
            <a:cxnSpLocks/>
          </p:cNvCxnSpPr>
          <p:nvPr/>
        </p:nvCxnSpPr>
        <p:spPr bwMode="gray">
          <a:xfrm flipV="1">
            <a:off x="1553083" y="4734414"/>
            <a:ext cx="500496" cy="191558"/>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A3A355D-F00F-E893-1E03-4BF2023A251F}"/>
              </a:ext>
            </a:extLst>
          </p:cNvPr>
          <p:cNvCxnSpPr>
            <a:cxnSpLocks/>
          </p:cNvCxnSpPr>
          <p:nvPr/>
        </p:nvCxnSpPr>
        <p:spPr bwMode="gray">
          <a:xfrm flipV="1">
            <a:off x="2053579" y="4569087"/>
            <a:ext cx="699955" cy="16938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FF2C2FE-B007-8CFF-17DA-94E4B7AA0879}"/>
              </a:ext>
            </a:extLst>
          </p:cNvPr>
          <p:cNvCxnSpPr>
            <a:cxnSpLocks/>
          </p:cNvCxnSpPr>
          <p:nvPr/>
        </p:nvCxnSpPr>
        <p:spPr bwMode="gray">
          <a:xfrm flipV="1">
            <a:off x="2753534" y="3128096"/>
            <a:ext cx="1238317" cy="144099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0D89F7E-7DB0-5FB2-6B5A-E6A7E1AE55BC}"/>
              </a:ext>
            </a:extLst>
          </p:cNvPr>
          <p:cNvCxnSpPr>
            <a:cxnSpLocks/>
          </p:cNvCxnSpPr>
          <p:nvPr/>
        </p:nvCxnSpPr>
        <p:spPr bwMode="gray">
          <a:xfrm flipV="1">
            <a:off x="3991851" y="2992272"/>
            <a:ext cx="812186" cy="13582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353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C94F46D-DC57-9213-5146-364A2A805EC7}"/>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7" imgW="7772400" imgH="10058400" progId="TCLayout.ActiveDocument.1">
                  <p:embed/>
                </p:oleObj>
              </mc:Choice>
              <mc:Fallback>
                <p:oleObj name="think-cell Slide" r:id="rId57" imgW="7772400" imgH="10058400" progId="TCLayout.ActiveDocument.1">
                  <p:embed/>
                  <p:pic>
                    <p:nvPicPr>
                      <p:cNvPr id="6" name="think-cell data - do not delete" hidden="1">
                        <a:extLst>
                          <a:ext uri="{FF2B5EF4-FFF2-40B4-BE49-F238E27FC236}">
                            <a16:creationId xmlns:a16="http://schemas.microsoft.com/office/drawing/2014/main" id="{BC94F46D-DC57-9213-5146-364A2A805EC7}"/>
                          </a:ext>
                        </a:extLst>
                      </p:cNvPr>
                      <p:cNvPicPr/>
                      <p:nvPr/>
                    </p:nvPicPr>
                    <p:blipFill>
                      <a:blip r:embed="rId5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800FA91-EE2B-41F3-069C-FF41A0B330F2}"/>
              </a:ext>
            </a:extLst>
          </p:cNvPr>
          <p:cNvSpPr>
            <a:spLocks noGrp="1"/>
          </p:cNvSpPr>
          <p:nvPr>
            <p:ph type="title"/>
          </p:nvPr>
        </p:nvSpPr>
        <p:spPr/>
        <p:txBody>
          <a:bodyPr vert="horz" rIns="91440"/>
          <a:lstStyle/>
          <a:p>
            <a:r>
              <a:rPr lang="en-AU" dirty="0"/>
              <a:t>Technological, policy, and financial synergies with the oil &amp; gas industry can drive down geothermal costs and scale deployment</a:t>
            </a:r>
            <a:endParaRPr lang="en-US" dirty="0"/>
          </a:p>
        </p:txBody>
      </p:sp>
      <p:sp>
        <p:nvSpPr>
          <p:cNvPr id="4" name="Footer Placeholder 3">
            <a:extLst>
              <a:ext uri="{FF2B5EF4-FFF2-40B4-BE49-F238E27FC236}">
                <a16:creationId xmlns:a16="http://schemas.microsoft.com/office/drawing/2014/main" id="{D22F7CD7-6F26-BBC8-A8BA-7F2C91DEEDF2}"/>
              </a:ext>
            </a:extLst>
          </p:cNvPr>
          <p:cNvSpPr>
            <a:spLocks noGrp="1"/>
          </p:cNvSpPr>
          <p:nvPr>
            <p:ph type="ftr" sz="quarter" idx="3"/>
          </p:nvPr>
        </p:nvSpPr>
        <p:spPr>
          <a:xfrm>
            <a:off x="334962" y="6309707"/>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ompetency levels based on SPE competency matr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Geothermal Energy: Unveiling the Socioeconomic Benefits </a:t>
            </a:r>
            <a:r>
              <a:rPr kumimoji="0" lang="en-US" sz="800" b="0" i="0" u="none" strike="noStrike" kern="1200" cap="none" spc="0" normalizeH="0" baseline="0" noProof="0" dirty="0">
                <a:ln>
                  <a:noFill/>
                </a:ln>
                <a:solidFill>
                  <a:srgbClr val="000000"/>
                </a:solidFill>
                <a:effectLst/>
                <a:uLnTx/>
                <a:uFillTx/>
                <a:latin typeface="Arial"/>
                <a:ea typeface="+mn-ea"/>
                <a:cs typeface="+mn-cs"/>
              </a:rPr>
              <a:t>(ESMAP,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Earth Energy – Human Ingenuity</a:t>
            </a:r>
            <a:r>
              <a:rPr kumimoji="0" lang="en-US" sz="800" b="0" i="0" u="none" strike="noStrike" kern="1200" cap="none" spc="0" normalizeH="0" baseline="0" noProof="0" dirty="0">
                <a:ln>
                  <a:noFill/>
                </a:ln>
                <a:solidFill>
                  <a:srgbClr val="000000"/>
                </a:solidFill>
                <a:effectLst/>
                <a:uLnTx/>
                <a:uFillTx/>
                <a:latin typeface="Arial"/>
                <a:ea typeface="+mn-ea"/>
                <a:cs typeface="+mn-cs"/>
              </a:rPr>
              <a:t> (GEODE, n.d.).</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Zacharia Thurston, Pia Doris Morrow, Isabel Hoyos, and </a:t>
            </a:r>
            <a:r>
              <a:rPr lang="en-US" dirty="0">
                <a:solidFill>
                  <a:srgbClr val="000000">
                    <a:tint val="82000"/>
                  </a:srgbClr>
                </a:solidFill>
                <a:hlinkClick r:id="rId62"/>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6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5" name="Text Placeholder 1">
            <a:extLst>
              <a:ext uri="{FF2B5EF4-FFF2-40B4-BE49-F238E27FC236}">
                <a16:creationId xmlns:a16="http://schemas.microsoft.com/office/drawing/2014/main" id="{EB6DCAE0-6BE6-06B2-33B8-3E590E1CF8B6}"/>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eothermal Opportunity</a:t>
            </a:r>
          </a:p>
        </p:txBody>
      </p:sp>
      <p:graphicFrame>
        <p:nvGraphicFramePr>
          <p:cNvPr id="107" name="Table 106">
            <a:extLst>
              <a:ext uri="{FF2B5EF4-FFF2-40B4-BE49-F238E27FC236}">
                <a16:creationId xmlns:a16="http://schemas.microsoft.com/office/drawing/2014/main" id="{A69948D8-CB26-3061-A025-82D7F5966902}"/>
              </a:ext>
            </a:extLst>
          </p:cNvPr>
          <p:cNvGraphicFramePr>
            <a:graphicFrameLocks noGrp="1"/>
          </p:cNvGraphicFramePr>
          <p:nvPr/>
        </p:nvGraphicFramePr>
        <p:xfrm>
          <a:off x="325438" y="1452103"/>
          <a:ext cx="11473542" cy="4814220"/>
        </p:xfrm>
        <a:graphic>
          <a:graphicData uri="http://schemas.openxmlformats.org/drawingml/2006/table">
            <a:tbl>
              <a:tblPr firstRow="1" bandRow="1">
                <a:tableStyleId>{5C22544A-7EE6-4342-B048-85BDC9FD1C3A}</a:tableStyleId>
              </a:tblPr>
              <a:tblGrid>
                <a:gridCol w="3824514">
                  <a:extLst>
                    <a:ext uri="{9D8B030D-6E8A-4147-A177-3AD203B41FA5}">
                      <a16:colId xmlns:a16="http://schemas.microsoft.com/office/drawing/2014/main" val="288734937"/>
                    </a:ext>
                  </a:extLst>
                </a:gridCol>
                <a:gridCol w="3824514">
                  <a:extLst>
                    <a:ext uri="{9D8B030D-6E8A-4147-A177-3AD203B41FA5}">
                      <a16:colId xmlns:a16="http://schemas.microsoft.com/office/drawing/2014/main" val="3930988450"/>
                    </a:ext>
                  </a:extLst>
                </a:gridCol>
                <a:gridCol w="3824514">
                  <a:extLst>
                    <a:ext uri="{9D8B030D-6E8A-4147-A177-3AD203B41FA5}">
                      <a16:colId xmlns:a16="http://schemas.microsoft.com/office/drawing/2014/main" val="1992376517"/>
                    </a:ext>
                  </a:extLst>
                </a:gridCol>
              </a:tblGrid>
              <a:tr h="4814220">
                <a:tc>
                  <a:txBody>
                    <a:bodyPr/>
                    <a:lstStyle/>
                    <a:p>
                      <a:pPr marL="0" indent="0">
                        <a:buNone/>
                      </a:pPr>
                      <a:endParaRPr lang="en-US" sz="1050" dirty="0"/>
                    </a:p>
                  </a:txBody>
                  <a:tcPr>
                    <a:solidFill>
                      <a:srgbClr val="D2F2FF"/>
                    </a:solidFill>
                  </a:tcPr>
                </a:tc>
                <a:tc>
                  <a:txBody>
                    <a:bodyPr/>
                    <a:lstStyle/>
                    <a:p>
                      <a:pPr marL="0" indent="0">
                        <a:buNone/>
                      </a:pPr>
                      <a:endParaRPr lang="en-US" sz="1050" dirty="0"/>
                    </a:p>
                  </a:txBody>
                  <a:tcPr>
                    <a:solidFill>
                      <a:srgbClr val="E6DEF4"/>
                    </a:solidFill>
                  </a:tcPr>
                </a:tc>
                <a:tc>
                  <a:txBody>
                    <a:bodyPr/>
                    <a:lstStyle/>
                    <a:p>
                      <a:pPr marL="0" indent="0">
                        <a:buNone/>
                      </a:pPr>
                      <a:endParaRPr lang="en-US" sz="1050" dirty="0"/>
                    </a:p>
                  </a:txBody>
                  <a:tcPr>
                    <a:solidFill>
                      <a:srgbClr val="D2F1EF"/>
                    </a:solidFill>
                  </a:tcPr>
                </a:tc>
                <a:extLst>
                  <a:ext uri="{0D108BD9-81ED-4DB2-BD59-A6C34878D82A}">
                    <a16:rowId xmlns:a16="http://schemas.microsoft.com/office/drawing/2014/main" val="3633029360"/>
                  </a:ext>
                </a:extLst>
              </a:tr>
            </a:tbl>
          </a:graphicData>
        </a:graphic>
      </p:graphicFrame>
      <p:grpSp>
        <p:nvGrpSpPr>
          <p:cNvPr id="108" name="Group 107">
            <a:extLst>
              <a:ext uri="{FF2B5EF4-FFF2-40B4-BE49-F238E27FC236}">
                <a16:creationId xmlns:a16="http://schemas.microsoft.com/office/drawing/2014/main" id="{15C6570C-0168-2EF1-0AE3-A53DEEAF75E3}"/>
              </a:ext>
            </a:extLst>
          </p:cNvPr>
          <p:cNvGrpSpPr/>
          <p:nvPr/>
        </p:nvGrpSpPr>
        <p:grpSpPr>
          <a:xfrm>
            <a:off x="479425" y="1455357"/>
            <a:ext cx="3569876" cy="295112"/>
            <a:chOff x="530683" y="1616758"/>
            <a:chExt cx="3569876" cy="295112"/>
          </a:xfrm>
        </p:grpSpPr>
        <p:cxnSp>
          <p:nvCxnSpPr>
            <p:cNvPr id="109" name="btfpColumnHeaderBoxLine223027">
              <a:extLst>
                <a:ext uri="{FF2B5EF4-FFF2-40B4-BE49-F238E27FC236}">
                  <a16:creationId xmlns:a16="http://schemas.microsoft.com/office/drawing/2014/main" id="{53BEDD2E-E3A0-9211-6B79-086E19226AD2}"/>
                </a:ext>
              </a:extLst>
            </p:cNvPr>
            <p:cNvCxnSpPr>
              <a:cxnSpLocks/>
            </p:cNvCxnSpPr>
            <p:nvPr/>
          </p:nvCxnSpPr>
          <p:spPr bwMode="gray">
            <a:xfrm>
              <a:off x="530683"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 name="btfpColumnHeaderBoxText223027">
              <a:extLst>
                <a:ext uri="{FF2B5EF4-FFF2-40B4-BE49-F238E27FC236}">
                  <a16:creationId xmlns:a16="http://schemas.microsoft.com/office/drawing/2014/main" id="{E7EE0ACA-9DBA-CBE2-F1D0-E950C3104EB8}"/>
                </a:ext>
              </a:extLst>
            </p:cNvPr>
            <p:cNvSpPr txBox="1"/>
            <p:nvPr/>
          </p:nvSpPr>
          <p:spPr bwMode="gray">
            <a:xfrm>
              <a:off x="530683" y="1616758"/>
              <a:ext cx="3569876"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echnological synergies</a:t>
              </a:r>
            </a:p>
          </p:txBody>
        </p:sp>
      </p:grpSp>
      <p:grpSp>
        <p:nvGrpSpPr>
          <p:cNvPr id="111" name="Group 110">
            <a:extLst>
              <a:ext uri="{FF2B5EF4-FFF2-40B4-BE49-F238E27FC236}">
                <a16:creationId xmlns:a16="http://schemas.microsoft.com/office/drawing/2014/main" id="{B606D412-37E9-76F7-EA58-6B6C1F4DA45B}"/>
              </a:ext>
            </a:extLst>
          </p:cNvPr>
          <p:cNvGrpSpPr/>
          <p:nvPr/>
        </p:nvGrpSpPr>
        <p:grpSpPr>
          <a:xfrm>
            <a:off x="4330700" y="1455357"/>
            <a:ext cx="3569876" cy="295112"/>
            <a:chOff x="4411303" y="1616758"/>
            <a:chExt cx="3569876" cy="295112"/>
          </a:xfrm>
        </p:grpSpPr>
        <p:sp>
          <p:nvSpPr>
            <p:cNvPr id="112" name="btfpColumnHeaderBoxText223027">
              <a:extLst>
                <a:ext uri="{FF2B5EF4-FFF2-40B4-BE49-F238E27FC236}">
                  <a16:creationId xmlns:a16="http://schemas.microsoft.com/office/drawing/2014/main" id="{01B19B87-BD9A-D8CD-7DFF-274DB3AD701D}"/>
                </a:ext>
              </a:extLst>
            </p:cNvPr>
            <p:cNvSpPr txBox="1"/>
            <p:nvPr/>
          </p:nvSpPr>
          <p:spPr bwMode="gray">
            <a:xfrm>
              <a:off x="4411303" y="1616758"/>
              <a:ext cx="3569876"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licy priorities</a:t>
              </a:r>
            </a:p>
          </p:txBody>
        </p:sp>
        <p:cxnSp>
          <p:nvCxnSpPr>
            <p:cNvPr id="113" name="btfpColumnHeaderBoxLine223027">
              <a:extLst>
                <a:ext uri="{FF2B5EF4-FFF2-40B4-BE49-F238E27FC236}">
                  <a16:creationId xmlns:a16="http://schemas.microsoft.com/office/drawing/2014/main" id="{C244FF76-FFC5-BDDC-9609-18D7619BBD97}"/>
                </a:ext>
              </a:extLst>
            </p:cNvPr>
            <p:cNvCxnSpPr>
              <a:cxnSpLocks/>
            </p:cNvCxnSpPr>
            <p:nvPr/>
          </p:nvCxnSpPr>
          <p:spPr bwMode="gray">
            <a:xfrm>
              <a:off x="4411303"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030E11FA-E4D3-8420-054F-6BE863894FD0}"/>
              </a:ext>
            </a:extLst>
          </p:cNvPr>
          <p:cNvGrpSpPr/>
          <p:nvPr/>
        </p:nvGrpSpPr>
        <p:grpSpPr>
          <a:xfrm>
            <a:off x="8134350" y="1471046"/>
            <a:ext cx="3580947" cy="288219"/>
            <a:chOff x="8034564" y="1649569"/>
            <a:chExt cx="3580947" cy="288219"/>
          </a:xfrm>
        </p:grpSpPr>
        <p:sp>
          <p:nvSpPr>
            <p:cNvPr id="115" name="btfpColumnHeaderBoxText223027">
              <a:extLst>
                <a:ext uri="{FF2B5EF4-FFF2-40B4-BE49-F238E27FC236}">
                  <a16:creationId xmlns:a16="http://schemas.microsoft.com/office/drawing/2014/main" id="{9FA09089-25E7-7F0C-B565-43380941E556}"/>
                </a:ext>
              </a:extLst>
            </p:cNvPr>
            <p:cNvSpPr txBox="1"/>
            <p:nvPr/>
          </p:nvSpPr>
          <p:spPr bwMode="gray">
            <a:xfrm>
              <a:off x="8045635" y="1649569"/>
              <a:ext cx="3569876"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trends for successful synergy</a:t>
              </a:r>
            </a:p>
          </p:txBody>
        </p:sp>
        <p:cxnSp>
          <p:nvCxnSpPr>
            <p:cNvPr id="116" name="btfpColumnHeaderBoxLine223027">
              <a:extLst>
                <a:ext uri="{FF2B5EF4-FFF2-40B4-BE49-F238E27FC236}">
                  <a16:creationId xmlns:a16="http://schemas.microsoft.com/office/drawing/2014/main" id="{2E55FC93-AF1E-9069-EE37-4707C4A444F1}"/>
                </a:ext>
              </a:extLst>
            </p:cNvPr>
            <p:cNvCxnSpPr>
              <a:cxnSpLocks/>
            </p:cNvCxnSpPr>
            <p:nvPr/>
          </p:nvCxnSpPr>
          <p:spPr bwMode="gray">
            <a:xfrm>
              <a:off x="8034564" y="1931535"/>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20" name="Straight Connector 119">
            <a:extLst>
              <a:ext uri="{FF2B5EF4-FFF2-40B4-BE49-F238E27FC236}">
                <a16:creationId xmlns:a16="http://schemas.microsoft.com/office/drawing/2014/main" id="{6A7EB7D3-F8AA-9E1B-1B0E-12BFD445C600}"/>
              </a:ext>
            </a:extLst>
          </p:cNvPr>
          <p:cNvCxnSpPr/>
          <p:nvPr>
            <p:custDataLst>
              <p:tags r:id="rId2"/>
            </p:custDataLst>
          </p:nvPr>
        </p:nvCxnSpPr>
        <p:spPr bwMode="gray">
          <a:xfrm>
            <a:off x="656748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5652EBEB-25DF-19A0-ED04-9E13C743BBA6}"/>
              </a:ext>
            </a:extLst>
          </p:cNvPr>
          <p:cNvCxnSpPr/>
          <p:nvPr>
            <p:custDataLst>
              <p:tags r:id="rId3"/>
            </p:custDataLst>
          </p:nvPr>
        </p:nvCxnSpPr>
        <p:spPr bwMode="gray">
          <a:xfrm>
            <a:off x="7556500"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2A859649-DE74-E370-09AD-1C8098488355}"/>
              </a:ext>
            </a:extLst>
          </p:cNvPr>
          <p:cNvCxnSpPr/>
          <p:nvPr>
            <p:custDataLst>
              <p:tags r:id="rId4"/>
            </p:custDataLst>
          </p:nvPr>
        </p:nvCxnSpPr>
        <p:spPr bwMode="gray">
          <a:xfrm>
            <a:off x="5827713"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1B7687D9-C2C6-5BEF-14F7-DAFFB04D6296}"/>
              </a:ext>
            </a:extLst>
          </p:cNvPr>
          <p:cNvCxnSpPr/>
          <p:nvPr>
            <p:custDataLst>
              <p:tags r:id="rId5"/>
            </p:custDataLst>
          </p:nvPr>
        </p:nvCxnSpPr>
        <p:spPr bwMode="gray">
          <a:xfrm>
            <a:off x="7308850"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52A89B2D-E6B2-E063-0DE2-FDAF5A61493E}"/>
              </a:ext>
            </a:extLst>
          </p:cNvPr>
          <p:cNvCxnSpPr/>
          <p:nvPr>
            <p:custDataLst>
              <p:tags r:id="rId6"/>
            </p:custDataLst>
          </p:nvPr>
        </p:nvCxnSpPr>
        <p:spPr bwMode="gray">
          <a:xfrm>
            <a:off x="6073775"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8CF6E9FE-93B3-C1BF-947C-44451F9C65EE}"/>
              </a:ext>
            </a:extLst>
          </p:cNvPr>
          <p:cNvCxnSpPr/>
          <p:nvPr>
            <p:custDataLst>
              <p:tags r:id="rId7"/>
            </p:custDataLst>
          </p:nvPr>
        </p:nvCxnSpPr>
        <p:spPr bwMode="gray">
          <a:xfrm>
            <a:off x="706278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E92CCAA4-D581-A348-4687-77C982E5AA89}"/>
              </a:ext>
            </a:extLst>
          </p:cNvPr>
          <p:cNvCxnSpPr/>
          <p:nvPr>
            <p:custDataLst>
              <p:tags r:id="rId8"/>
            </p:custDataLst>
          </p:nvPr>
        </p:nvCxnSpPr>
        <p:spPr bwMode="gray">
          <a:xfrm>
            <a:off x="6321425"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6650845B-0A28-08CC-C1D3-5A2332DE8952}"/>
              </a:ext>
            </a:extLst>
          </p:cNvPr>
          <p:cNvCxnSpPr/>
          <p:nvPr>
            <p:custDataLst>
              <p:tags r:id="rId9"/>
            </p:custDataLst>
          </p:nvPr>
        </p:nvCxnSpPr>
        <p:spPr bwMode="gray">
          <a:xfrm>
            <a:off x="6815138" y="2392363"/>
            <a:ext cx="0" cy="175260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15" name="Chart 214">
            <a:extLst>
              <a:ext uri="{FF2B5EF4-FFF2-40B4-BE49-F238E27FC236}">
                <a16:creationId xmlns:a16="http://schemas.microsoft.com/office/drawing/2014/main" id="{E0486C30-B663-B70D-F5BF-FF3D328583C1}"/>
              </a:ext>
            </a:extLst>
          </p:cNvPr>
          <p:cNvGraphicFramePr/>
          <p:nvPr>
            <p:custDataLst>
              <p:tags r:id="rId10"/>
            </p:custDataLst>
          </p:nvPr>
        </p:nvGraphicFramePr>
        <p:xfrm>
          <a:off x="5497513" y="2309813"/>
          <a:ext cx="2141537" cy="1917700"/>
        </p:xfrm>
        <a:graphic>
          <a:graphicData uri="http://schemas.openxmlformats.org/drawingml/2006/chart">
            <c:chart xmlns:c="http://schemas.openxmlformats.org/drawingml/2006/chart" xmlns:r="http://schemas.openxmlformats.org/officeDocument/2006/relationships" r:id="rId64"/>
          </a:graphicData>
        </a:graphic>
      </p:graphicFrame>
      <p:sp>
        <p:nvSpPr>
          <p:cNvPr id="131" name="Text Placeholder 10">
            <a:extLst>
              <a:ext uri="{FF2B5EF4-FFF2-40B4-BE49-F238E27FC236}">
                <a16:creationId xmlns:a16="http://schemas.microsoft.com/office/drawing/2014/main" id="{3846EB7E-87B9-B1B7-375E-5EFDE186C9B4}"/>
              </a:ext>
            </a:extLst>
          </p:cNvPr>
          <p:cNvSpPr txBox="1">
            <a:spLocks/>
          </p:cNvSpPr>
          <p:nvPr>
            <p:custDataLst>
              <p:tags r:id="rId11"/>
            </p:custDataLst>
          </p:nvPr>
        </p:nvSpPr>
        <p:spPr bwMode="gray">
          <a:xfrm>
            <a:off x="678021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75A888-175F-4873-BD4D-9EEE6A82D071}"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Text Placeholder 10">
            <a:extLst>
              <a:ext uri="{FF2B5EF4-FFF2-40B4-BE49-F238E27FC236}">
                <a16:creationId xmlns:a16="http://schemas.microsoft.com/office/drawing/2014/main" id="{63E32832-953A-4D0C-315B-AAF38553F6BE}"/>
              </a:ext>
            </a:extLst>
          </p:cNvPr>
          <p:cNvSpPr txBox="1">
            <a:spLocks/>
          </p:cNvSpPr>
          <p:nvPr>
            <p:custDataLst>
              <p:tags r:id="rId12"/>
            </p:custDataLst>
          </p:nvPr>
        </p:nvSpPr>
        <p:spPr bwMode="gray">
          <a:xfrm>
            <a:off x="653256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82D409A-039B-4969-9296-648B4FACD752}"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Text Placeholder 10">
            <a:extLst>
              <a:ext uri="{FF2B5EF4-FFF2-40B4-BE49-F238E27FC236}">
                <a16:creationId xmlns:a16="http://schemas.microsoft.com/office/drawing/2014/main" id="{0881E669-1785-4375-BCC5-9CB75BAB54FF}"/>
              </a:ext>
            </a:extLst>
          </p:cNvPr>
          <p:cNvSpPr txBox="1">
            <a:spLocks/>
          </p:cNvSpPr>
          <p:nvPr>
            <p:custDataLst>
              <p:tags r:id="rId13"/>
            </p:custDataLst>
          </p:nvPr>
        </p:nvSpPr>
        <p:spPr bwMode="gray">
          <a:xfrm>
            <a:off x="7027863"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62FF68-E470-4C7F-8B13-D296FA65573E}" type="datetime'''''''''''''''''''''''''''''''''''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Text Placeholder 10">
            <a:extLst>
              <a:ext uri="{FF2B5EF4-FFF2-40B4-BE49-F238E27FC236}">
                <a16:creationId xmlns:a16="http://schemas.microsoft.com/office/drawing/2014/main" id="{0640172F-181A-1D71-D680-40691673DBA6}"/>
              </a:ext>
            </a:extLst>
          </p:cNvPr>
          <p:cNvSpPr txBox="1">
            <a:spLocks/>
          </p:cNvSpPr>
          <p:nvPr>
            <p:custDataLst>
              <p:tags r:id="rId14"/>
            </p:custDataLst>
          </p:nvPr>
        </p:nvSpPr>
        <p:spPr bwMode="gray">
          <a:xfrm>
            <a:off x="6286500"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71DDA9-5713-448F-84F2-F884DF63C4CD}"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Text Placeholder 10">
            <a:extLst>
              <a:ext uri="{FF2B5EF4-FFF2-40B4-BE49-F238E27FC236}">
                <a16:creationId xmlns:a16="http://schemas.microsoft.com/office/drawing/2014/main" id="{6F86F22F-50EF-B7A8-266F-F7BE3EE351FA}"/>
              </a:ext>
            </a:extLst>
          </p:cNvPr>
          <p:cNvSpPr txBox="1">
            <a:spLocks/>
          </p:cNvSpPr>
          <p:nvPr>
            <p:custDataLst>
              <p:tags r:id="rId15"/>
            </p:custDataLst>
          </p:nvPr>
        </p:nvSpPr>
        <p:spPr bwMode="gray">
          <a:xfrm>
            <a:off x="7273925"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F43E56-5ABB-4457-AF94-A760861D3FA1}" type="datetime'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Text Placeholder 10">
            <a:extLst>
              <a:ext uri="{FF2B5EF4-FFF2-40B4-BE49-F238E27FC236}">
                <a16:creationId xmlns:a16="http://schemas.microsoft.com/office/drawing/2014/main" id="{F416170A-CF37-0797-A971-4745C29F7BB1}"/>
              </a:ext>
            </a:extLst>
          </p:cNvPr>
          <p:cNvSpPr txBox="1">
            <a:spLocks/>
          </p:cNvSpPr>
          <p:nvPr>
            <p:custDataLst>
              <p:tags r:id="rId16"/>
            </p:custDataLst>
          </p:nvPr>
        </p:nvSpPr>
        <p:spPr bwMode="gray">
          <a:xfrm>
            <a:off x="6038850"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5B66C2-41C7-42A3-A193-B36613BFDE40}"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Text Placeholder 10">
            <a:extLst>
              <a:ext uri="{FF2B5EF4-FFF2-40B4-BE49-F238E27FC236}">
                <a16:creationId xmlns:a16="http://schemas.microsoft.com/office/drawing/2014/main" id="{1277FDC6-A619-A459-EC14-F6E74FFD8A3C}"/>
              </a:ext>
            </a:extLst>
          </p:cNvPr>
          <p:cNvSpPr txBox="1">
            <a:spLocks/>
          </p:cNvSpPr>
          <p:nvPr>
            <p:custDataLst>
              <p:tags r:id="rId17"/>
            </p:custDataLst>
          </p:nvPr>
        </p:nvSpPr>
        <p:spPr bwMode="gray">
          <a:xfrm>
            <a:off x="7521575"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D98C91-08D3-4D0C-B23F-835B1483FECD}" type="datetime'''''''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Text Placeholder 10">
            <a:extLst>
              <a:ext uri="{FF2B5EF4-FFF2-40B4-BE49-F238E27FC236}">
                <a16:creationId xmlns:a16="http://schemas.microsoft.com/office/drawing/2014/main" id="{C493FBA3-EA20-A567-1E00-F7CE0201DEB4}"/>
              </a:ext>
            </a:extLst>
          </p:cNvPr>
          <p:cNvSpPr txBox="1">
            <a:spLocks/>
          </p:cNvSpPr>
          <p:nvPr>
            <p:custDataLst>
              <p:tags r:id="rId18"/>
            </p:custDataLst>
          </p:nvPr>
        </p:nvSpPr>
        <p:spPr bwMode="gray">
          <a:xfrm>
            <a:off x="5792788"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74BC9B-424E-428F-A276-83C992BE1590}"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D0C08E65-89EF-A476-2F12-DA5DE25CCCFD}"/>
              </a:ext>
            </a:extLst>
          </p:cNvPr>
          <p:cNvSpPr txBox="1">
            <a:spLocks/>
          </p:cNvSpPr>
          <p:nvPr>
            <p:custDataLst>
              <p:tags r:id="rId19"/>
            </p:custDataLst>
          </p:nvPr>
        </p:nvSpPr>
        <p:spPr bwMode="gray">
          <a:xfrm>
            <a:off x="5545138" y="4187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769658-86EA-4B8A-BA25-54E56148B0E3}"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30F7D30-6702-78D4-C09C-55103730AED7}"/>
              </a:ext>
            </a:extLst>
          </p:cNvPr>
          <p:cNvSpPr txBox="1">
            <a:spLocks/>
          </p:cNvSpPr>
          <p:nvPr>
            <p:custDataLst>
              <p:tags r:id="rId20"/>
            </p:custDataLst>
          </p:nvPr>
        </p:nvSpPr>
        <p:spPr bwMode="auto">
          <a:xfrm>
            <a:off x="4827588" y="2462213"/>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91F289-EFCE-4227-A662-7003E50BFDA0}" type="datetime'''''''''''''''Ge''o''''''''''sc''i''e''n''''''''c''''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oscience</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Text Placeholder 10">
            <a:extLst>
              <a:ext uri="{FF2B5EF4-FFF2-40B4-BE49-F238E27FC236}">
                <a16:creationId xmlns:a16="http://schemas.microsoft.com/office/drawing/2014/main" id="{A0AF3860-B6B7-BE88-C999-4BC2A16F0352}"/>
              </a:ext>
            </a:extLst>
          </p:cNvPr>
          <p:cNvSpPr txBox="1">
            <a:spLocks/>
          </p:cNvSpPr>
          <p:nvPr>
            <p:custDataLst>
              <p:tags r:id="rId21"/>
            </p:custDataLst>
          </p:nvPr>
        </p:nvSpPr>
        <p:spPr bwMode="auto">
          <a:xfrm>
            <a:off x="4622800" y="2754313"/>
            <a:ext cx="871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Well production</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Text Placeholder 10">
            <a:extLst>
              <a:ext uri="{FF2B5EF4-FFF2-40B4-BE49-F238E27FC236}">
                <a16:creationId xmlns:a16="http://schemas.microsoft.com/office/drawing/2014/main" id="{5A3BE564-9C4E-9876-B465-92CA6FF895CE}"/>
              </a:ext>
            </a:extLst>
          </p:cNvPr>
          <p:cNvSpPr txBox="1">
            <a:spLocks/>
          </p:cNvSpPr>
          <p:nvPr>
            <p:custDataLst>
              <p:tags r:id="rId22"/>
            </p:custDataLst>
          </p:nvPr>
        </p:nvSpPr>
        <p:spPr bwMode="auto">
          <a:xfrm>
            <a:off x="4314825" y="3046413"/>
            <a:ext cx="1179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Formation evaluation</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Text Placeholder 10">
            <a:extLst>
              <a:ext uri="{FF2B5EF4-FFF2-40B4-BE49-F238E27FC236}">
                <a16:creationId xmlns:a16="http://schemas.microsoft.com/office/drawing/2014/main" id="{26C03C95-97DC-BC6C-45AE-6D7AC12EEBB6}"/>
              </a:ext>
            </a:extLst>
          </p:cNvPr>
          <p:cNvSpPr txBox="1">
            <a:spLocks/>
          </p:cNvSpPr>
          <p:nvPr>
            <p:custDataLst>
              <p:tags r:id="rId23"/>
            </p:custDataLst>
          </p:nvPr>
        </p:nvSpPr>
        <p:spPr bwMode="auto">
          <a:xfrm>
            <a:off x="4291013" y="3338513"/>
            <a:ext cx="1203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Drilling competenci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Text Placeholder 10">
            <a:extLst>
              <a:ext uri="{FF2B5EF4-FFF2-40B4-BE49-F238E27FC236}">
                <a16:creationId xmlns:a16="http://schemas.microsoft.com/office/drawing/2014/main" id="{A95075F7-8089-961F-67C2-2F15F910423B}"/>
              </a:ext>
            </a:extLst>
          </p:cNvPr>
          <p:cNvSpPr txBox="1">
            <a:spLocks/>
          </p:cNvSpPr>
          <p:nvPr>
            <p:custDataLst>
              <p:tags r:id="rId24"/>
            </p:custDataLst>
          </p:nvPr>
        </p:nvSpPr>
        <p:spPr bwMode="auto">
          <a:xfrm>
            <a:off x="4435475" y="3630613"/>
            <a:ext cx="1058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urface production</a:t>
            </a:r>
          </a:p>
        </p:txBody>
      </p:sp>
      <p:sp>
        <p:nvSpPr>
          <p:cNvPr id="140" name="Text Placeholder 10">
            <a:extLst>
              <a:ext uri="{FF2B5EF4-FFF2-40B4-BE49-F238E27FC236}">
                <a16:creationId xmlns:a16="http://schemas.microsoft.com/office/drawing/2014/main" id="{C931C633-23EE-4D58-D9AB-62AE19AF8D52}"/>
              </a:ext>
            </a:extLst>
          </p:cNvPr>
          <p:cNvSpPr txBox="1">
            <a:spLocks/>
          </p:cNvSpPr>
          <p:nvPr>
            <p:custDataLst>
              <p:tags r:id="rId25"/>
            </p:custDataLst>
          </p:nvPr>
        </p:nvSpPr>
        <p:spPr bwMode="auto">
          <a:xfrm>
            <a:off x="4257675" y="3922713"/>
            <a:ext cx="1236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Reservoir engineering</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61D964EA-2A66-1807-5C89-F11DFD2E80CB}"/>
              </a:ext>
            </a:extLst>
          </p:cNvPr>
          <p:cNvSpPr/>
          <p:nvPr>
            <p:custDataLst>
              <p:tags r:id="rId26"/>
            </p:custDataLst>
          </p:nvPr>
        </p:nvSpPr>
        <p:spPr bwMode="auto">
          <a:xfrm>
            <a:off x="4330700" y="2101850"/>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5F8A7240-89A5-3766-5608-F33EC9D94C6F}"/>
              </a:ext>
            </a:extLst>
          </p:cNvPr>
          <p:cNvSpPr/>
          <p:nvPr>
            <p:custDataLst>
              <p:tags r:id="rId27"/>
            </p:custDataLst>
          </p:nvPr>
        </p:nvSpPr>
        <p:spPr bwMode="auto">
          <a:xfrm>
            <a:off x="5700713" y="2101850"/>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Text Placeholder 10">
            <a:extLst>
              <a:ext uri="{FF2B5EF4-FFF2-40B4-BE49-F238E27FC236}">
                <a16:creationId xmlns:a16="http://schemas.microsoft.com/office/drawing/2014/main" id="{36E6BCE1-B1FE-2F5F-DF37-C4AD936B8D17}"/>
              </a:ext>
            </a:extLst>
          </p:cNvPr>
          <p:cNvSpPr txBox="1">
            <a:spLocks/>
          </p:cNvSpPr>
          <p:nvPr>
            <p:custDataLst>
              <p:tags r:id="rId28"/>
            </p:custDataLst>
          </p:nvPr>
        </p:nvSpPr>
        <p:spPr bwMode="auto">
          <a:xfrm>
            <a:off x="4560888" y="2097088"/>
            <a:ext cx="1038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Oil &amp; gas engineer</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FF13F617-B105-9291-C4E0-C8503DDCA284}"/>
              </a:ext>
            </a:extLst>
          </p:cNvPr>
          <p:cNvSpPr txBox="1">
            <a:spLocks/>
          </p:cNvSpPr>
          <p:nvPr>
            <p:custDataLst>
              <p:tags r:id="rId29"/>
            </p:custDataLst>
          </p:nvPr>
        </p:nvSpPr>
        <p:spPr bwMode="auto">
          <a:xfrm>
            <a:off x="5930900" y="2097088"/>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Geothermal engineer</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btfpColumnHeaderBoxText223027">
            <a:extLst>
              <a:ext uri="{FF2B5EF4-FFF2-40B4-BE49-F238E27FC236}">
                <a16:creationId xmlns:a16="http://schemas.microsoft.com/office/drawing/2014/main" id="{81D1B78C-3869-4C04-9691-272AE9003046}"/>
              </a:ext>
            </a:extLst>
          </p:cNvPr>
          <p:cNvSpPr txBox="1"/>
          <p:nvPr/>
        </p:nvSpPr>
        <p:spPr bwMode="gray">
          <a:xfrm>
            <a:off x="4330700" y="1806575"/>
            <a:ext cx="3381375" cy="234950"/>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Geothermal and O&amp;G engineering skillset overlap*</a:t>
            </a:r>
          </a:p>
        </p:txBody>
      </p:sp>
      <p:cxnSp>
        <p:nvCxnSpPr>
          <p:cNvPr id="146" name="Straight Connector 145">
            <a:extLst>
              <a:ext uri="{FF2B5EF4-FFF2-40B4-BE49-F238E27FC236}">
                <a16:creationId xmlns:a16="http://schemas.microsoft.com/office/drawing/2014/main" id="{1E7DE81A-6319-D568-2E37-4BAA377F9880}"/>
              </a:ext>
            </a:extLst>
          </p:cNvPr>
          <p:cNvCxnSpPr>
            <a:cxnSpLocks/>
          </p:cNvCxnSpPr>
          <p:nvPr/>
        </p:nvCxnSpPr>
        <p:spPr bwMode="gray">
          <a:xfrm>
            <a:off x="4330700" y="2043113"/>
            <a:ext cx="32639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7" name="btfpColumnHeaderBoxText223027">
            <a:extLst>
              <a:ext uri="{FF2B5EF4-FFF2-40B4-BE49-F238E27FC236}">
                <a16:creationId xmlns:a16="http://schemas.microsoft.com/office/drawing/2014/main" id="{148B91CC-DBC0-2CE0-2505-8CA4464023E5}"/>
              </a:ext>
            </a:extLst>
          </p:cNvPr>
          <p:cNvSpPr txBox="1"/>
          <p:nvPr/>
        </p:nvSpPr>
        <p:spPr bwMode="gray">
          <a:xfrm>
            <a:off x="5984875" y="4415288"/>
            <a:ext cx="1828800" cy="233363"/>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Competency level</a:t>
            </a:r>
          </a:p>
        </p:txBody>
      </p:sp>
      <p:grpSp>
        <p:nvGrpSpPr>
          <p:cNvPr id="148" name="Group 147">
            <a:extLst>
              <a:ext uri="{FF2B5EF4-FFF2-40B4-BE49-F238E27FC236}">
                <a16:creationId xmlns:a16="http://schemas.microsoft.com/office/drawing/2014/main" id="{A9DCA39E-4557-6776-F69C-35623C1109AE}"/>
              </a:ext>
            </a:extLst>
          </p:cNvPr>
          <p:cNvGrpSpPr/>
          <p:nvPr/>
        </p:nvGrpSpPr>
        <p:grpSpPr>
          <a:xfrm>
            <a:off x="431800" y="2174406"/>
            <a:ext cx="3692369" cy="857696"/>
            <a:chOff x="478745" y="1951435"/>
            <a:chExt cx="3692369" cy="857696"/>
          </a:xfrm>
        </p:grpSpPr>
        <p:sp>
          <p:nvSpPr>
            <p:cNvPr id="149" name="Rounded Rectangle 148">
              <a:extLst>
                <a:ext uri="{FF2B5EF4-FFF2-40B4-BE49-F238E27FC236}">
                  <a16:creationId xmlns:a16="http://schemas.microsoft.com/office/drawing/2014/main" id="{FAEEDC26-21FB-F815-4440-ED8DC3607151}"/>
                </a:ext>
              </a:extLst>
            </p:cNvPr>
            <p:cNvSpPr/>
            <p:nvPr/>
          </p:nvSpPr>
          <p:spPr bwMode="gray">
            <a:xfrm>
              <a:off x="878809" y="1951435"/>
              <a:ext cx="3292305" cy="857696"/>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ubsurface exploration and drill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il and gas data on hydrocarbon reserves and well logs can cut geothermal exploration costs and improve success rates.</a:t>
              </a:r>
            </a:p>
          </p:txBody>
        </p:sp>
        <p:sp>
          <p:nvSpPr>
            <p:cNvPr id="150" name="Oval 149">
              <a:extLst>
                <a:ext uri="{FF2B5EF4-FFF2-40B4-BE49-F238E27FC236}">
                  <a16:creationId xmlns:a16="http://schemas.microsoft.com/office/drawing/2014/main" id="{82D77A56-65D7-2DF5-075F-C93B3565A660}"/>
                </a:ext>
              </a:extLst>
            </p:cNvPr>
            <p:cNvSpPr/>
            <p:nvPr/>
          </p:nvSpPr>
          <p:spPr bwMode="gray">
            <a:xfrm>
              <a:off x="478745" y="1990511"/>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1" name="Graphic 150" descr="Badge 1 with solid fill">
              <a:extLst>
                <a:ext uri="{FF2B5EF4-FFF2-40B4-BE49-F238E27FC236}">
                  <a16:creationId xmlns:a16="http://schemas.microsoft.com/office/drawing/2014/main" id="{4EB1865C-C4FC-B8A5-52F1-3ECD659F0C47}"/>
                </a:ext>
              </a:extLst>
            </p:cNvPr>
            <p:cNvPicPr>
              <a:picLocks noChangeAspect="1"/>
            </p:cNvPicPr>
            <p:nvPr/>
          </p:nvPicPr>
          <p:blipFill>
            <a:blip r:embed="rId65">
              <a:extLst>
                <a:ext uri="{96DAC541-7B7A-43D3-8B79-37D633B846F1}">
                  <asvg:svgBlip xmlns:asvg="http://schemas.microsoft.com/office/drawing/2016/SVG/main" r:embed="rId66"/>
                </a:ext>
              </a:extLst>
            </a:blip>
            <a:srcRect/>
            <a:stretch/>
          </p:blipFill>
          <p:spPr>
            <a:xfrm>
              <a:off x="547325" y="2058029"/>
              <a:ext cx="228600" cy="228600"/>
            </a:xfrm>
            <a:prstGeom prst="rect">
              <a:avLst/>
            </a:prstGeom>
          </p:spPr>
        </p:pic>
      </p:grpSp>
      <p:grpSp>
        <p:nvGrpSpPr>
          <p:cNvPr id="152" name="Group 151">
            <a:extLst>
              <a:ext uri="{FF2B5EF4-FFF2-40B4-BE49-F238E27FC236}">
                <a16:creationId xmlns:a16="http://schemas.microsoft.com/office/drawing/2014/main" id="{8EEA4474-4C07-CAF4-439E-F8FEDE7953A8}"/>
              </a:ext>
            </a:extLst>
          </p:cNvPr>
          <p:cNvGrpSpPr/>
          <p:nvPr/>
        </p:nvGrpSpPr>
        <p:grpSpPr>
          <a:xfrm>
            <a:off x="412750" y="3341242"/>
            <a:ext cx="3707493" cy="857696"/>
            <a:chOff x="478745" y="2955520"/>
            <a:chExt cx="3707493" cy="857696"/>
          </a:xfrm>
        </p:grpSpPr>
        <p:sp>
          <p:nvSpPr>
            <p:cNvPr id="153" name="Rounded Rectangle 152">
              <a:extLst>
                <a:ext uri="{FF2B5EF4-FFF2-40B4-BE49-F238E27FC236}">
                  <a16:creationId xmlns:a16="http://schemas.microsoft.com/office/drawing/2014/main" id="{08B78AB7-DEA7-5170-63A5-A996AD2290DF}"/>
                </a:ext>
              </a:extLst>
            </p:cNvPr>
            <p:cNvSpPr/>
            <p:nvPr/>
          </p:nvSpPr>
          <p:spPr bwMode="gray">
            <a:xfrm>
              <a:off x="893933" y="2955520"/>
              <a:ext cx="3292305" cy="857696"/>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Well completion and management</a:t>
              </a: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imulation and zonal isolation techniques from O&amp;G enhance reservoir longevity and reinjection efficiency.</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Oval 153">
              <a:extLst>
                <a:ext uri="{FF2B5EF4-FFF2-40B4-BE49-F238E27FC236}">
                  <a16:creationId xmlns:a16="http://schemas.microsoft.com/office/drawing/2014/main" id="{F135D206-B3B1-2E1B-2CDA-44A885E698E4}"/>
                </a:ext>
              </a:extLst>
            </p:cNvPr>
            <p:cNvSpPr/>
            <p:nvPr/>
          </p:nvSpPr>
          <p:spPr bwMode="gray">
            <a:xfrm>
              <a:off x="478745" y="3063552"/>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5" name="Graphic 154" descr="Badge with solid fill">
              <a:extLst>
                <a:ext uri="{FF2B5EF4-FFF2-40B4-BE49-F238E27FC236}">
                  <a16:creationId xmlns:a16="http://schemas.microsoft.com/office/drawing/2014/main" id="{A57B0B76-6B96-F6F3-848E-7A53C183D1DD}"/>
                </a:ext>
              </a:extLst>
            </p:cNvPr>
            <p:cNvPicPr>
              <a:picLocks noChangeAspect="1"/>
            </p:cNvPicPr>
            <p:nvPr/>
          </p:nvPicPr>
          <p:blipFill>
            <a:blip r:embed="rId67">
              <a:extLst>
                <a:ext uri="{96DAC541-7B7A-43D3-8B79-37D633B846F1}">
                  <asvg:svgBlip xmlns:asvg="http://schemas.microsoft.com/office/drawing/2016/SVG/main" r:embed="rId68"/>
                </a:ext>
              </a:extLst>
            </a:blip>
            <a:srcRect/>
            <a:stretch/>
          </p:blipFill>
          <p:spPr>
            <a:xfrm>
              <a:off x="547325" y="3131070"/>
              <a:ext cx="228600" cy="228600"/>
            </a:xfrm>
            <a:prstGeom prst="rect">
              <a:avLst/>
            </a:prstGeom>
          </p:spPr>
        </p:pic>
      </p:grpSp>
      <p:grpSp>
        <p:nvGrpSpPr>
          <p:cNvPr id="156" name="Group 155">
            <a:extLst>
              <a:ext uri="{FF2B5EF4-FFF2-40B4-BE49-F238E27FC236}">
                <a16:creationId xmlns:a16="http://schemas.microsoft.com/office/drawing/2014/main" id="{7554CFD0-9BDF-1C67-E876-88F233D03107}"/>
              </a:ext>
            </a:extLst>
          </p:cNvPr>
          <p:cNvGrpSpPr/>
          <p:nvPr/>
        </p:nvGrpSpPr>
        <p:grpSpPr>
          <a:xfrm>
            <a:off x="392113" y="4610345"/>
            <a:ext cx="3707163" cy="1036603"/>
            <a:chOff x="442174" y="4610345"/>
            <a:chExt cx="3707163" cy="1036603"/>
          </a:xfrm>
        </p:grpSpPr>
        <p:sp>
          <p:nvSpPr>
            <p:cNvPr id="157" name="Rounded Rectangle 156">
              <a:extLst>
                <a:ext uri="{FF2B5EF4-FFF2-40B4-BE49-F238E27FC236}">
                  <a16:creationId xmlns:a16="http://schemas.microsoft.com/office/drawing/2014/main" id="{BBC5F69E-7530-7400-5C0E-EF7F4FCE6FC8}"/>
                </a:ext>
              </a:extLst>
            </p:cNvPr>
            <p:cNvSpPr/>
            <p:nvPr/>
          </p:nvSpPr>
          <p:spPr bwMode="gray">
            <a:xfrm>
              <a:off x="857032" y="4610345"/>
              <a:ext cx="3292305" cy="1036603"/>
            </a:xfrm>
            <a:prstGeom prst="roundRect">
              <a:avLst>
                <a:gd name="adj" fmla="val 7065"/>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ata and digital innov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O&amp;G’s digital twins and real-time monitoring tools improve geothermal reservoir modeling and predictive maintenance.</a:t>
              </a:r>
            </a:p>
          </p:txBody>
        </p:sp>
        <p:sp>
          <p:nvSpPr>
            <p:cNvPr id="158" name="Oval 157">
              <a:extLst>
                <a:ext uri="{FF2B5EF4-FFF2-40B4-BE49-F238E27FC236}">
                  <a16:creationId xmlns:a16="http://schemas.microsoft.com/office/drawing/2014/main" id="{56BA127A-34C2-6E42-FFC3-403AD4887FC8}"/>
                </a:ext>
              </a:extLst>
            </p:cNvPr>
            <p:cNvSpPr/>
            <p:nvPr/>
          </p:nvSpPr>
          <p:spPr bwMode="gray">
            <a:xfrm>
              <a:off x="442174" y="4678925"/>
              <a:ext cx="365760" cy="36576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59" name="btfpColumnHeaderBoxText223027">
            <a:extLst>
              <a:ext uri="{FF2B5EF4-FFF2-40B4-BE49-F238E27FC236}">
                <a16:creationId xmlns:a16="http://schemas.microsoft.com/office/drawing/2014/main" id="{F6D997F6-423E-5D72-F75C-CC8C6AA4E2DF}"/>
              </a:ext>
            </a:extLst>
          </p:cNvPr>
          <p:cNvSpPr txBox="1"/>
          <p:nvPr/>
        </p:nvSpPr>
        <p:spPr bwMode="gray">
          <a:xfrm>
            <a:off x="4330700" y="5073260"/>
            <a:ext cx="3381375" cy="234950"/>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ountries leading the workforce transition</a:t>
            </a:r>
          </a:p>
        </p:txBody>
      </p:sp>
      <p:graphicFrame>
        <p:nvGraphicFramePr>
          <p:cNvPr id="216" name="Chart 215">
            <a:extLst>
              <a:ext uri="{FF2B5EF4-FFF2-40B4-BE49-F238E27FC236}">
                <a16:creationId xmlns:a16="http://schemas.microsoft.com/office/drawing/2014/main" id="{5694175D-06B1-FDB3-221D-7E63C0C5E409}"/>
              </a:ext>
            </a:extLst>
          </p:cNvPr>
          <p:cNvGraphicFramePr/>
          <p:nvPr>
            <p:custDataLst>
              <p:tags r:id="rId30"/>
            </p:custDataLst>
          </p:nvPr>
        </p:nvGraphicFramePr>
        <p:xfrm>
          <a:off x="8080375" y="3952875"/>
          <a:ext cx="1200150" cy="1130300"/>
        </p:xfrm>
        <a:graphic>
          <a:graphicData uri="http://schemas.openxmlformats.org/drawingml/2006/chart">
            <c:chart xmlns:c="http://schemas.openxmlformats.org/drawingml/2006/chart" xmlns:r="http://schemas.openxmlformats.org/officeDocument/2006/relationships" r:id="rId69"/>
          </a:graphicData>
        </a:graphic>
      </p:graphicFrame>
      <p:sp>
        <p:nvSpPr>
          <p:cNvPr id="161" name="Text Placeholder 10">
            <a:extLst>
              <a:ext uri="{FF2B5EF4-FFF2-40B4-BE49-F238E27FC236}">
                <a16:creationId xmlns:a16="http://schemas.microsoft.com/office/drawing/2014/main" id="{F32E454D-D63B-485B-D639-860748CBB6D6}"/>
              </a:ext>
            </a:extLst>
          </p:cNvPr>
          <p:cNvSpPr txBox="1">
            <a:spLocks/>
          </p:cNvSpPr>
          <p:nvPr>
            <p:custDataLst>
              <p:tags r:id="rId31"/>
            </p:custDataLst>
          </p:nvPr>
        </p:nvSpPr>
        <p:spPr bwMode="gray">
          <a:xfrm>
            <a:off x="8664575" y="4122738"/>
            <a:ext cx="28733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F5BB64-DA26-45E5-A2C3-C8811878FF3B}"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62" name="Text Placeholder 10">
            <a:extLst>
              <a:ext uri="{FF2B5EF4-FFF2-40B4-BE49-F238E27FC236}">
                <a16:creationId xmlns:a16="http://schemas.microsoft.com/office/drawing/2014/main" id="{B8CE774E-7085-3A39-C8CE-6DE014DD4E5F}"/>
              </a:ext>
            </a:extLst>
          </p:cNvPr>
          <p:cNvSpPr txBox="1">
            <a:spLocks/>
          </p:cNvSpPr>
          <p:nvPr>
            <p:custDataLst>
              <p:tags r:id="rId32"/>
            </p:custDataLst>
          </p:nvPr>
        </p:nvSpPr>
        <p:spPr bwMode="gray">
          <a:xfrm>
            <a:off x="8842375" y="4551363"/>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E09901-CA0E-40C2-AE53-5927AB203C53}" type="datetime'''''''''''''''3''''''''''''''''''''''''''''''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7%</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63" name="Text Placeholder 10">
            <a:extLst>
              <a:ext uri="{FF2B5EF4-FFF2-40B4-BE49-F238E27FC236}">
                <a16:creationId xmlns:a16="http://schemas.microsoft.com/office/drawing/2014/main" id="{FEF9084F-906D-E0B6-1125-1B3DCEF2EAC7}"/>
              </a:ext>
            </a:extLst>
          </p:cNvPr>
          <p:cNvSpPr txBox="1">
            <a:spLocks/>
          </p:cNvSpPr>
          <p:nvPr>
            <p:custDataLst>
              <p:tags r:id="rId33"/>
            </p:custDataLst>
          </p:nvPr>
        </p:nvSpPr>
        <p:spPr bwMode="gray">
          <a:xfrm>
            <a:off x="8439150" y="4778375"/>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26C1E6-7F39-483D-BAB4-32A108A59696}" type="datetime'''''1''''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64" name="Text Placeholder 10">
            <a:extLst>
              <a:ext uri="{FF2B5EF4-FFF2-40B4-BE49-F238E27FC236}">
                <a16:creationId xmlns:a16="http://schemas.microsoft.com/office/drawing/2014/main" id="{8D3BCD85-9C17-0F4A-7982-5AF14D32CCCE}"/>
              </a:ext>
            </a:extLst>
          </p:cNvPr>
          <p:cNvSpPr txBox="1">
            <a:spLocks/>
          </p:cNvSpPr>
          <p:nvPr>
            <p:custDataLst>
              <p:tags r:id="rId34"/>
            </p:custDataLst>
          </p:nvPr>
        </p:nvSpPr>
        <p:spPr bwMode="gray">
          <a:xfrm>
            <a:off x="8228013" y="4341813"/>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6EDD34D-EC27-4495-808A-8EE96DE3B307}" type="datetime'''''''''''''4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Rectangle 164">
            <a:extLst>
              <a:ext uri="{FF2B5EF4-FFF2-40B4-BE49-F238E27FC236}">
                <a16:creationId xmlns:a16="http://schemas.microsoft.com/office/drawing/2014/main" id="{245859B1-2FAB-9DF0-C736-34AFCE1D9891}"/>
              </a:ext>
            </a:extLst>
          </p:cNvPr>
          <p:cNvSpPr/>
          <p:nvPr>
            <p:custDataLst>
              <p:tags r:id="rId35"/>
            </p:custDataLst>
          </p:nvPr>
        </p:nvSpPr>
        <p:spPr bwMode="auto">
          <a:xfrm>
            <a:off x="8334375" y="5132388"/>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Rectangle 165">
            <a:extLst>
              <a:ext uri="{FF2B5EF4-FFF2-40B4-BE49-F238E27FC236}">
                <a16:creationId xmlns:a16="http://schemas.microsoft.com/office/drawing/2014/main" id="{D9529FBB-6AF8-A1CF-8ED3-4BBC504E6A2D}"/>
              </a:ext>
            </a:extLst>
          </p:cNvPr>
          <p:cNvSpPr/>
          <p:nvPr>
            <p:custDataLst>
              <p:tags r:id="rId36"/>
            </p:custDataLst>
          </p:nvPr>
        </p:nvSpPr>
        <p:spPr bwMode="auto">
          <a:xfrm>
            <a:off x="8334375" y="530542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117D25FB-012A-12A1-0E49-D14960F39CCB}"/>
              </a:ext>
            </a:extLst>
          </p:cNvPr>
          <p:cNvSpPr/>
          <p:nvPr>
            <p:custDataLst>
              <p:tags r:id="rId37"/>
            </p:custDataLst>
          </p:nvPr>
        </p:nvSpPr>
        <p:spPr bwMode="auto">
          <a:xfrm>
            <a:off x="10206038" y="5132388"/>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Rectangle 167">
            <a:extLst>
              <a:ext uri="{FF2B5EF4-FFF2-40B4-BE49-F238E27FC236}">
                <a16:creationId xmlns:a16="http://schemas.microsoft.com/office/drawing/2014/main" id="{B7E8000B-3D41-5649-B4EE-84DC609EA6E7}"/>
              </a:ext>
            </a:extLst>
          </p:cNvPr>
          <p:cNvSpPr/>
          <p:nvPr>
            <p:custDataLst>
              <p:tags r:id="rId38"/>
            </p:custDataLst>
          </p:nvPr>
        </p:nvSpPr>
        <p:spPr bwMode="auto">
          <a:xfrm>
            <a:off x="10206038" y="5305425"/>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1AAD1DB4-9609-FB3F-360C-17E13B0EFA39}"/>
              </a:ext>
            </a:extLst>
          </p:cNvPr>
          <p:cNvSpPr txBox="1">
            <a:spLocks/>
          </p:cNvSpPr>
          <p:nvPr>
            <p:custDataLst>
              <p:tags r:id="rId39"/>
            </p:custDataLst>
          </p:nvPr>
        </p:nvSpPr>
        <p:spPr bwMode="auto">
          <a:xfrm>
            <a:off x="8528050" y="5127625"/>
            <a:ext cx="157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65D53A6-F3D3-4578-95AF-015BE10B404E}" type="datetime'''E''val''ua''tion,'' p''la''''nning'', m''''a''nagem''en''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valuation, planning, managemen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0" name="Text Placeholder 10">
            <a:extLst>
              <a:ext uri="{FF2B5EF4-FFF2-40B4-BE49-F238E27FC236}">
                <a16:creationId xmlns:a16="http://schemas.microsoft.com/office/drawing/2014/main" id="{AA0648FD-ABF1-6D8B-AF62-20CC4A533672}"/>
              </a:ext>
            </a:extLst>
          </p:cNvPr>
          <p:cNvSpPr txBox="1">
            <a:spLocks/>
          </p:cNvSpPr>
          <p:nvPr>
            <p:custDataLst>
              <p:tags r:id="rId40"/>
            </p:custDataLst>
          </p:nvPr>
        </p:nvSpPr>
        <p:spPr bwMode="auto">
          <a:xfrm>
            <a:off x="8528050" y="5300663"/>
            <a:ext cx="1236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34F8E4-8FE1-4DC1-A87B-E9342F5556D1}" type="datetime'''''N''o''n''-tr''an''''sfer''rab''le'' expe''r''''t''''''is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on-transferrable expertise</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2C2D38E6-451C-5370-52F2-86A949015A6D}"/>
              </a:ext>
            </a:extLst>
          </p:cNvPr>
          <p:cNvSpPr txBox="1">
            <a:spLocks/>
          </p:cNvSpPr>
          <p:nvPr>
            <p:custDataLst>
              <p:tags r:id="rId41"/>
            </p:custDataLst>
          </p:nvPr>
        </p:nvSpPr>
        <p:spPr bwMode="auto">
          <a:xfrm>
            <a:off x="10399713" y="5127625"/>
            <a:ext cx="742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516365-7EB2-434F-882E-E42E1FCE18E0}" type="datetime'S''''''u''''r''''''fac''''e'' f''a''c''''i''''liti''e''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urface facilitie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Text Placeholder 10">
            <a:extLst>
              <a:ext uri="{FF2B5EF4-FFF2-40B4-BE49-F238E27FC236}">
                <a16:creationId xmlns:a16="http://schemas.microsoft.com/office/drawing/2014/main" id="{34BB24E5-1FEC-9C24-F2D8-5B40A7DE709C}"/>
              </a:ext>
            </a:extLst>
          </p:cNvPr>
          <p:cNvSpPr txBox="1">
            <a:spLocks/>
          </p:cNvSpPr>
          <p:nvPr>
            <p:custDataLst>
              <p:tags r:id="rId42"/>
            </p:custDataLst>
          </p:nvPr>
        </p:nvSpPr>
        <p:spPr bwMode="auto">
          <a:xfrm>
            <a:off x="10399713" y="5300663"/>
            <a:ext cx="928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03CE5B-C958-471D-97DD-3D4C6C0A71A7}" type="datetime'D''ri''''''l''l''''''i''''ng'' ''''&amp; ''c''om''p''''leti''''o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rilling &amp; completion</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17" name="Chart 216">
            <a:extLst>
              <a:ext uri="{FF2B5EF4-FFF2-40B4-BE49-F238E27FC236}">
                <a16:creationId xmlns:a16="http://schemas.microsoft.com/office/drawing/2014/main" id="{ACB274F7-4CAA-DAB1-7E82-91096B7AEAF8}"/>
              </a:ext>
            </a:extLst>
          </p:cNvPr>
          <p:cNvGraphicFramePr/>
          <p:nvPr>
            <p:custDataLst>
              <p:tags r:id="rId43"/>
            </p:custDataLst>
          </p:nvPr>
        </p:nvGraphicFramePr>
        <p:xfrm>
          <a:off x="9318625" y="3962400"/>
          <a:ext cx="1200150" cy="1130300"/>
        </p:xfrm>
        <a:graphic>
          <a:graphicData uri="http://schemas.openxmlformats.org/drawingml/2006/chart">
            <c:chart xmlns:c="http://schemas.openxmlformats.org/drawingml/2006/chart" xmlns:r="http://schemas.openxmlformats.org/officeDocument/2006/relationships" r:id="rId70"/>
          </a:graphicData>
        </a:graphic>
      </p:graphicFrame>
      <p:sp>
        <p:nvSpPr>
          <p:cNvPr id="174" name="Text Placeholder 10">
            <a:extLst>
              <a:ext uri="{FF2B5EF4-FFF2-40B4-BE49-F238E27FC236}">
                <a16:creationId xmlns:a16="http://schemas.microsoft.com/office/drawing/2014/main" id="{BEE50119-11F7-4ADF-14FF-8D7436ED485F}"/>
              </a:ext>
            </a:extLst>
          </p:cNvPr>
          <p:cNvSpPr txBox="1">
            <a:spLocks/>
          </p:cNvSpPr>
          <p:nvPr>
            <p:custDataLst>
              <p:tags r:id="rId44"/>
            </p:custDataLst>
          </p:nvPr>
        </p:nvSpPr>
        <p:spPr bwMode="gray">
          <a:xfrm>
            <a:off x="9902825" y="4132263"/>
            <a:ext cx="28733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398C50-4067-4768-B913-6F34A31F8957}"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75" name="Text Placeholder 10">
            <a:extLst>
              <a:ext uri="{FF2B5EF4-FFF2-40B4-BE49-F238E27FC236}">
                <a16:creationId xmlns:a16="http://schemas.microsoft.com/office/drawing/2014/main" id="{13EC5713-47FC-9869-0896-A22EBF2DA27C}"/>
              </a:ext>
            </a:extLst>
          </p:cNvPr>
          <p:cNvSpPr txBox="1">
            <a:spLocks/>
          </p:cNvSpPr>
          <p:nvPr>
            <p:custDataLst>
              <p:tags r:id="rId45"/>
            </p:custDataLst>
          </p:nvPr>
        </p:nvSpPr>
        <p:spPr bwMode="gray">
          <a:xfrm>
            <a:off x="10109200" y="4430713"/>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3A68A9F-55E7-46B0-84F7-1C1F83B8F29C}" type="datetime'2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EFAC7D16-DD2C-9A0A-CCC9-D611FAA20E21}"/>
              </a:ext>
            </a:extLst>
          </p:cNvPr>
          <p:cNvSpPr txBox="1">
            <a:spLocks/>
          </p:cNvSpPr>
          <p:nvPr>
            <p:custDataLst>
              <p:tags r:id="rId46"/>
            </p:custDataLst>
          </p:nvPr>
        </p:nvSpPr>
        <p:spPr bwMode="gray">
          <a:xfrm>
            <a:off x="10026650" y="472916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69DE55-57BA-43F1-B61D-48D062E2BE73}"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60781213-0E46-6836-6627-42BAB9C32FBD}"/>
              </a:ext>
            </a:extLst>
          </p:cNvPr>
          <p:cNvSpPr txBox="1">
            <a:spLocks/>
          </p:cNvSpPr>
          <p:nvPr>
            <p:custDataLst>
              <p:tags r:id="rId47"/>
            </p:custDataLst>
          </p:nvPr>
        </p:nvSpPr>
        <p:spPr bwMode="gray">
          <a:xfrm>
            <a:off x="9455150" y="4522788"/>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6C1F2D-BE09-4E85-88BB-C42952E4385C}" type="datetime'5''''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7%</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4EC91E70-B6BE-9C3C-FD0A-62B21AF1D83E}"/>
              </a:ext>
            </a:extLst>
          </p:cNvPr>
          <p:cNvGraphicFramePr/>
          <p:nvPr>
            <p:custDataLst>
              <p:tags r:id="rId48"/>
            </p:custDataLst>
          </p:nvPr>
        </p:nvGraphicFramePr>
        <p:xfrm>
          <a:off x="10556875" y="3962400"/>
          <a:ext cx="1200150" cy="1130300"/>
        </p:xfrm>
        <a:graphic>
          <a:graphicData uri="http://schemas.openxmlformats.org/drawingml/2006/chart">
            <c:chart xmlns:c="http://schemas.openxmlformats.org/drawingml/2006/chart" xmlns:r="http://schemas.openxmlformats.org/officeDocument/2006/relationships" r:id="rId71"/>
          </a:graphicData>
        </a:graphic>
      </p:graphicFrame>
      <p:sp>
        <p:nvSpPr>
          <p:cNvPr id="179" name="Text Placeholder 10">
            <a:extLst>
              <a:ext uri="{FF2B5EF4-FFF2-40B4-BE49-F238E27FC236}">
                <a16:creationId xmlns:a16="http://schemas.microsoft.com/office/drawing/2014/main" id="{6F837E4B-065D-34AD-B325-8DB2635110F9}"/>
              </a:ext>
            </a:extLst>
          </p:cNvPr>
          <p:cNvSpPr txBox="1">
            <a:spLocks/>
          </p:cNvSpPr>
          <p:nvPr>
            <p:custDataLst>
              <p:tags r:id="rId49"/>
            </p:custDataLst>
          </p:nvPr>
        </p:nvSpPr>
        <p:spPr bwMode="gray">
          <a:xfrm>
            <a:off x="11118850" y="408622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BE4D73-285D-4572-848A-6353640BB1B1}" type="datetime'''''''''''''''''''''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80" name="Text Placeholder 10">
            <a:extLst>
              <a:ext uri="{FF2B5EF4-FFF2-40B4-BE49-F238E27FC236}">
                <a16:creationId xmlns:a16="http://schemas.microsoft.com/office/drawing/2014/main" id="{3B185E2B-2643-1A35-8BBD-63777C5F88CF}"/>
              </a:ext>
            </a:extLst>
          </p:cNvPr>
          <p:cNvSpPr txBox="1">
            <a:spLocks/>
          </p:cNvSpPr>
          <p:nvPr>
            <p:custDataLst>
              <p:tags r:id="rId50"/>
            </p:custDataLst>
          </p:nvPr>
        </p:nvSpPr>
        <p:spPr bwMode="gray">
          <a:xfrm>
            <a:off x="11274425" y="4262438"/>
            <a:ext cx="28733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3E92A48-63DD-441D-AFC6-949F176331FC}" type="datetime'''''''''''''''''''''''''''''1''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81" name="Text Placeholder 10">
            <a:extLst>
              <a:ext uri="{FF2B5EF4-FFF2-40B4-BE49-F238E27FC236}">
                <a16:creationId xmlns:a16="http://schemas.microsoft.com/office/drawing/2014/main" id="{73EC0119-842C-856D-68B1-0BE342C97D34}"/>
              </a:ext>
            </a:extLst>
          </p:cNvPr>
          <p:cNvSpPr txBox="1">
            <a:spLocks/>
          </p:cNvSpPr>
          <p:nvPr>
            <p:custDataLst>
              <p:tags r:id="rId51"/>
            </p:custDataLst>
          </p:nvPr>
        </p:nvSpPr>
        <p:spPr bwMode="gray">
          <a:xfrm>
            <a:off x="11326813" y="4541838"/>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4012F8-AAF2-45F2-8D46-BD035F7CF89C}" type="datetime'''''1''''''''''''''''''''''''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82" name="Text Placeholder 10">
            <a:extLst>
              <a:ext uri="{FF2B5EF4-FFF2-40B4-BE49-F238E27FC236}">
                <a16:creationId xmlns:a16="http://schemas.microsoft.com/office/drawing/2014/main" id="{9D8C1382-0B76-C924-496B-A57C3B494D25}"/>
              </a:ext>
            </a:extLst>
          </p:cNvPr>
          <p:cNvSpPr txBox="1">
            <a:spLocks/>
          </p:cNvSpPr>
          <p:nvPr>
            <p:custDataLst>
              <p:tags r:id="rId52"/>
            </p:custDataLst>
          </p:nvPr>
        </p:nvSpPr>
        <p:spPr bwMode="gray">
          <a:xfrm>
            <a:off x="10725150" y="4597400"/>
            <a:ext cx="28733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94BAF9-CDFB-4738-BD5F-DE5E2CACF845}" type="datetime'''''''''6''''''''''''''5''''''''''''%'''">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5%</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3" name="Group 182">
            <a:extLst>
              <a:ext uri="{FF2B5EF4-FFF2-40B4-BE49-F238E27FC236}">
                <a16:creationId xmlns:a16="http://schemas.microsoft.com/office/drawing/2014/main" id="{24426D6D-1508-4914-D77B-DF82A87388FC}"/>
              </a:ext>
            </a:extLst>
          </p:cNvPr>
          <p:cNvGrpSpPr/>
          <p:nvPr/>
        </p:nvGrpSpPr>
        <p:grpSpPr>
          <a:xfrm>
            <a:off x="8128000" y="3294063"/>
            <a:ext cx="3568700" cy="381000"/>
            <a:chOff x="8082869" y="1548440"/>
            <a:chExt cx="3569876" cy="380552"/>
          </a:xfrm>
        </p:grpSpPr>
        <p:sp>
          <p:nvSpPr>
            <p:cNvPr id="184" name="btfpColumnHeaderBoxText223027">
              <a:extLst>
                <a:ext uri="{FF2B5EF4-FFF2-40B4-BE49-F238E27FC236}">
                  <a16:creationId xmlns:a16="http://schemas.microsoft.com/office/drawing/2014/main" id="{BE256DA5-013D-D2FA-CFB0-6FE065A18522}"/>
                </a:ext>
              </a:extLst>
            </p:cNvPr>
            <p:cNvSpPr txBox="1"/>
            <p:nvPr/>
          </p:nvSpPr>
          <p:spPr bwMode="gray">
            <a:xfrm>
              <a:off x="8082869" y="1548440"/>
              <a:ext cx="3569876" cy="38055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Share of geothermal technology investments that overlap with the O&amp;G industry</a:t>
              </a:r>
            </a:p>
          </p:txBody>
        </p:sp>
        <p:cxnSp>
          <p:nvCxnSpPr>
            <p:cNvPr id="185" name="btfpColumnHeaderBoxLine223027">
              <a:extLst>
                <a:ext uri="{FF2B5EF4-FFF2-40B4-BE49-F238E27FC236}">
                  <a16:creationId xmlns:a16="http://schemas.microsoft.com/office/drawing/2014/main" id="{1B3E6368-EAA7-2FF0-427D-1557B573DD19}"/>
                </a:ext>
              </a:extLst>
            </p:cNvPr>
            <p:cNvCxnSpPr>
              <a:cxnSpLocks/>
            </p:cNvCxnSpPr>
            <p:nvPr/>
          </p:nvCxnSpPr>
          <p:spPr bwMode="gray">
            <a:xfrm>
              <a:off x="8082869" y="1911870"/>
              <a:ext cx="3528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6" name="btfpColumnHeaderBoxText223027">
            <a:extLst>
              <a:ext uri="{FF2B5EF4-FFF2-40B4-BE49-F238E27FC236}">
                <a16:creationId xmlns:a16="http://schemas.microsoft.com/office/drawing/2014/main" id="{535B9AD5-C3E8-A3B6-2C4D-3BB247EF7366}"/>
              </a:ext>
            </a:extLst>
          </p:cNvPr>
          <p:cNvSpPr txBox="1"/>
          <p:nvPr>
            <p:custDataLst>
              <p:tags r:id="rId53"/>
            </p:custDataLst>
          </p:nvPr>
        </p:nvSpPr>
        <p:spPr bwMode="gray">
          <a:xfrm>
            <a:off x="8223250" y="3748088"/>
            <a:ext cx="914400" cy="2270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Conventional</a:t>
            </a:r>
          </a:p>
        </p:txBody>
      </p:sp>
      <p:sp>
        <p:nvSpPr>
          <p:cNvPr id="187" name="btfpColumnHeaderBoxText223027">
            <a:extLst>
              <a:ext uri="{FF2B5EF4-FFF2-40B4-BE49-F238E27FC236}">
                <a16:creationId xmlns:a16="http://schemas.microsoft.com/office/drawing/2014/main" id="{6E1F991C-8BA0-07BA-EB8B-630BF786126F}"/>
              </a:ext>
            </a:extLst>
          </p:cNvPr>
          <p:cNvSpPr txBox="1"/>
          <p:nvPr>
            <p:custDataLst>
              <p:tags r:id="rId54"/>
            </p:custDataLst>
          </p:nvPr>
        </p:nvSpPr>
        <p:spPr bwMode="gray">
          <a:xfrm>
            <a:off x="9461500" y="3748088"/>
            <a:ext cx="914400" cy="227013"/>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EGS</a:t>
            </a:r>
          </a:p>
        </p:txBody>
      </p:sp>
      <p:sp>
        <p:nvSpPr>
          <p:cNvPr id="188" name="btfpColumnHeaderBoxText223027">
            <a:extLst>
              <a:ext uri="{FF2B5EF4-FFF2-40B4-BE49-F238E27FC236}">
                <a16:creationId xmlns:a16="http://schemas.microsoft.com/office/drawing/2014/main" id="{3E778E38-0B1E-E140-BEDA-B255A5822A9D}"/>
              </a:ext>
            </a:extLst>
          </p:cNvPr>
          <p:cNvSpPr txBox="1"/>
          <p:nvPr>
            <p:custDataLst>
              <p:tags r:id="rId55"/>
            </p:custDataLst>
          </p:nvPr>
        </p:nvSpPr>
        <p:spPr bwMode="gray">
          <a:xfrm>
            <a:off x="10699750" y="3740150"/>
            <a:ext cx="914400" cy="234950"/>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AGS</a:t>
            </a:r>
          </a:p>
        </p:txBody>
      </p:sp>
      <p:sp>
        <p:nvSpPr>
          <p:cNvPr id="189" name="Rectangle 188">
            <a:extLst>
              <a:ext uri="{FF2B5EF4-FFF2-40B4-BE49-F238E27FC236}">
                <a16:creationId xmlns:a16="http://schemas.microsoft.com/office/drawing/2014/main" id="{C9EFFE4A-0960-1B51-73EB-954CF88B739E}"/>
              </a:ext>
            </a:extLst>
          </p:cNvPr>
          <p:cNvSpPr/>
          <p:nvPr/>
        </p:nvSpPr>
        <p:spPr bwMode="gray">
          <a:xfrm>
            <a:off x="8120063" y="1850605"/>
            <a:ext cx="737265" cy="2920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0%</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Rectangle 189">
            <a:extLst>
              <a:ext uri="{FF2B5EF4-FFF2-40B4-BE49-F238E27FC236}">
                <a16:creationId xmlns:a16="http://schemas.microsoft.com/office/drawing/2014/main" id="{25520747-E50E-5093-4B88-5307EF3171E9}"/>
              </a:ext>
            </a:extLst>
          </p:cNvPr>
          <p:cNvSpPr/>
          <p:nvPr/>
        </p:nvSpPr>
        <p:spPr bwMode="gray">
          <a:xfrm>
            <a:off x="7986713" y="2342111"/>
            <a:ext cx="100584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30%</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Rectangle 190">
            <a:extLst>
              <a:ext uri="{FF2B5EF4-FFF2-40B4-BE49-F238E27FC236}">
                <a16:creationId xmlns:a16="http://schemas.microsoft.com/office/drawing/2014/main" id="{B3CDD912-844E-8E8E-65C0-5C31621477B1}"/>
              </a:ext>
            </a:extLst>
          </p:cNvPr>
          <p:cNvSpPr/>
          <p:nvPr/>
        </p:nvSpPr>
        <p:spPr bwMode="gray">
          <a:xfrm>
            <a:off x="8169275" y="2828500"/>
            <a:ext cx="6400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30%</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92" name="Picture 9" descr="Turkey - Wikipedia">
            <a:extLst>
              <a:ext uri="{FF2B5EF4-FFF2-40B4-BE49-F238E27FC236}">
                <a16:creationId xmlns:a16="http://schemas.microsoft.com/office/drawing/2014/main" id="{4F904FCA-09D1-E9E5-67C9-2E51A003F742}"/>
              </a:ext>
            </a:extLst>
          </p:cNvPr>
          <p:cNvPicPr>
            <a:picLocks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4291013" y="5961523"/>
            <a:ext cx="320040" cy="182880"/>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ular Callout 658">
            <a:extLst>
              <a:ext uri="{FF2B5EF4-FFF2-40B4-BE49-F238E27FC236}">
                <a16:creationId xmlns:a16="http://schemas.microsoft.com/office/drawing/2014/main" id="{487A83AB-6B9B-4911-DC89-18C88833B83F}"/>
              </a:ext>
            </a:extLst>
          </p:cNvPr>
          <p:cNvSpPr/>
          <p:nvPr/>
        </p:nvSpPr>
        <p:spPr bwMode="gray">
          <a:xfrm>
            <a:off x="4273550" y="4358885"/>
            <a:ext cx="1920240" cy="502920"/>
          </a:xfrm>
          <a:prstGeom prst="wedgeRectCallout">
            <a:avLst>
              <a:gd name="adj1" fmla="val -7273"/>
              <a:gd name="adj2" fmla="val -7665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ross-sector skill transfer can unlock faster workforce deployment and lower technical risk.</a:t>
            </a:r>
          </a:p>
        </p:txBody>
      </p:sp>
      <p:sp>
        <p:nvSpPr>
          <p:cNvPr id="194" name="btfpColumnHeaderBoxText223027">
            <a:extLst>
              <a:ext uri="{FF2B5EF4-FFF2-40B4-BE49-F238E27FC236}">
                <a16:creationId xmlns:a16="http://schemas.microsoft.com/office/drawing/2014/main" id="{79A1ADA8-9FBB-A73C-557F-1BE74FB10B39}"/>
              </a:ext>
            </a:extLst>
          </p:cNvPr>
          <p:cNvSpPr txBox="1"/>
          <p:nvPr/>
        </p:nvSpPr>
        <p:spPr bwMode="gray">
          <a:xfrm>
            <a:off x="4652963" y="5405066"/>
            <a:ext cx="3291840" cy="68832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U.S.: DOE GeoVision + GEODE Consortiu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celand: Integrated geothermal-O&amp;G training pipelin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ürkiye: EGS demonstration from hydrocarbon basins</a:t>
            </a:r>
          </a:p>
        </p:txBody>
      </p:sp>
      <p:pic>
        <p:nvPicPr>
          <p:cNvPr id="195" name="Picture 194" descr="A flag with stars and stripes&#10;&#10;AI-generated content may be incorrect.">
            <a:extLst>
              <a:ext uri="{FF2B5EF4-FFF2-40B4-BE49-F238E27FC236}">
                <a16:creationId xmlns:a16="http://schemas.microsoft.com/office/drawing/2014/main" id="{C83DEBC5-B42B-B12A-DB28-2803989621A7}"/>
              </a:ext>
            </a:extLst>
          </p:cNvPr>
          <p:cNvPicPr>
            <a:picLocks/>
          </p:cNvPicPr>
          <p:nvPr/>
        </p:nvPicPr>
        <p:blipFill>
          <a:blip r:embed="rId73" cstate="screen">
            <a:extLst>
              <a:ext uri="{28A0092B-C50C-407E-A947-70E740481C1C}">
                <a14:useLocalDpi xmlns:a14="http://schemas.microsoft.com/office/drawing/2010/main"/>
              </a:ext>
              <a:ext uri="{837473B0-CC2E-450A-ABE3-18F120FF3D39}">
                <a1611:picAttrSrcUrl xmlns:a1611="http://schemas.microsoft.com/office/drawing/2016/11/main" r:id="rId74"/>
              </a:ext>
            </a:extLst>
          </a:blip>
          <a:stretch>
            <a:fillRect/>
          </a:stretch>
        </p:blipFill>
        <p:spPr>
          <a:xfrm>
            <a:off x="4276725" y="5429789"/>
            <a:ext cx="320040" cy="182880"/>
          </a:xfrm>
          <a:prstGeom prst="rect">
            <a:avLst/>
          </a:prstGeom>
        </p:spPr>
      </p:pic>
      <p:pic>
        <p:nvPicPr>
          <p:cNvPr id="196" name="Picture 195">
            <a:extLst>
              <a:ext uri="{FF2B5EF4-FFF2-40B4-BE49-F238E27FC236}">
                <a16:creationId xmlns:a16="http://schemas.microsoft.com/office/drawing/2014/main" id="{3CBCA48B-6DD9-C3F2-2D99-C90EFCEB3745}"/>
              </a:ext>
            </a:extLst>
          </p:cNvPr>
          <p:cNvPicPr>
            <a:picLocks/>
          </p:cNvPicPr>
          <p:nvPr/>
        </p:nvPicPr>
        <p:blipFill>
          <a:blip r:embed="rId75" cstate="screen">
            <a:extLst>
              <a:ext uri="{28A0092B-C50C-407E-A947-70E740481C1C}">
                <a14:useLocalDpi xmlns:a14="http://schemas.microsoft.com/office/drawing/2010/main"/>
              </a:ext>
              <a:ext uri="{837473B0-CC2E-450A-ABE3-18F120FF3D39}">
                <a1611:picAttrSrcUrl xmlns:a1611="http://schemas.microsoft.com/office/drawing/2016/11/main" r:id="rId76"/>
              </a:ext>
            </a:extLst>
          </a:blip>
          <a:srcRect/>
          <a:stretch/>
        </p:blipFill>
        <p:spPr>
          <a:xfrm>
            <a:off x="4302125" y="5680790"/>
            <a:ext cx="320040" cy="182880"/>
          </a:xfrm>
          <a:prstGeom prst="rect">
            <a:avLst/>
          </a:prstGeom>
        </p:spPr>
      </p:pic>
      <p:sp>
        <p:nvSpPr>
          <p:cNvPr id="197" name="Rectangle 196">
            <a:extLst>
              <a:ext uri="{FF2B5EF4-FFF2-40B4-BE49-F238E27FC236}">
                <a16:creationId xmlns:a16="http://schemas.microsoft.com/office/drawing/2014/main" id="{1013C731-2639-4D88-1BEF-AF00D7EDE6CA}"/>
              </a:ext>
            </a:extLst>
          </p:cNvPr>
          <p:cNvSpPr/>
          <p:nvPr/>
        </p:nvSpPr>
        <p:spPr bwMode="gray">
          <a:xfrm>
            <a:off x="8953500" y="2828500"/>
            <a:ext cx="313503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amp;D and learning-by-doing acceleration</a:t>
            </a:r>
          </a:p>
        </p:txBody>
      </p:sp>
      <p:sp>
        <p:nvSpPr>
          <p:cNvPr id="198" name="Rectangle 197">
            <a:extLst>
              <a:ext uri="{FF2B5EF4-FFF2-40B4-BE49-F238E27FC236}">
                <a16:creationId xmlns:a16="http://schemas.microsoft.com/office/drawing/2014/main" id="{7540B381-3145-9D56-F15C-05F4A182396E}"/>
              </a:ext>
            </a:extLst>
          </p:cNvPr>
          <p:cNvSpPr/>
          <p:nvPr/>
        </p:nvSpPr>
        <p:spPr bwMode="gray">
          <a:xfrm>
            <a:off x="8953500" y="1850606"/>
            <a:ext cx="283464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eduction in exploration risk and resources mapping </a:t>
            </a:r>
          </a:p>
        </p:txBody>
      </p:sp>
      <p:sp>
        <p:nvSpPr>
          <p:cNvPr id="199" name="Rectangle 198">
            <a:extLst>
              <a:ext uri="{FF2B5EF4-FFF2-40B4-BE49-F238E27FC236}">
                <a16:creationId xmlns:a16="http://schemas.microsoft.com/office/drawing/2014/main" id="{8CA69298-4A7D-E860-630C-44BE627C4F25}"/>
              </a:ext>
            </a:extLst>
          </p:cNvPr>
          <p:cNvSpPr/>
          <p:nvPr/>
        </p:nvSpPr>
        <p:spPr bwMode="gray">
          <a:xfrm>
            <a:off x="8953500" y="2342111"/>
            <a:ext cx="2743200" cy="61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rilling and completion efficiency gains via O&amp;G rigs and methods</a:t>
            </a:r>
          </a:p>
        </p:txBody>
      </p:sp>
      <p:sp>
        <p:nvSpPr>
          <p:cNvPr id="200" name="Rectangular Callout 658">
            <a:extLst>
              <a:ext uri="{FF2B5EF4-FFF2-40B4-BE49-F238E27FC236}">
                <a16:creationId xmlns:a16="http://schemas.microsoft.com/office/drawing/2014/main" id="{3FFFE1FC-E8C9-8EB8-5ACA-C29E46777E79}"/>
              </a:ext>
            </a:extLst>
          </p:cNvPr>
          <p:cNvSpPr/>
          <p:nvPr/>
        </p:nvSpPr>
        <p:spPr bwMode="gray">
          <a:xfrm>
            <a:off x="8223251" y="5546901"/>
            <a:ext cx="3533774" cy="636809"/>
          </a:xfrm>
          <a:prstGeom prst="wedgeRectCallout">
            <a:avLst>
              <a:gd name="adj1" fmla="val -7273"/>
              <a:gd name="adj2" fmla="val -7665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Enhanced geothermal systems (EGS) exhibit the highest transferable expertise (~70%), while advanced geothermal systems (AGS) retains greater reliance on O&amp;G drilling and surface integration.</a:t>
            </a:r>
          </a:p>
        </p:txBody>
      </p:sp>
      <p:sp>
        <p:nvSpPr>
          <p:cNvPr id="201" name="Oval 200">
            <a:extLst>
              <a:ext uri="{FF2B5EF4-FFF2-40B4-BE49-F238E27FC236}">
                <a16:creationId xmlns:a16="http://schemas.microsoft.com/office/drawing/2014/main" id="{1B092D17-01D1-B6EB-EE96-3A3699815F5A}"/>
              </a:ext>
            </a:extLst>
          </p:cNvPr>
          <p:cNvSpPr/>
          <p:nvPr/>
        </p:nvSpPr>
        <p:spPr bwMode="gray">
          <a:xfrm>
            <a:off x="487363" y="4770210"/>
            <a:ext cx="174931" cy="18319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9BDB"/>
                </a:solidFill>
                <a:effectLst/>
                <a:uLnTx/>
                <a:uFillTx/>
                <a:latin typeface="Arial"/>
                <a:ea typeface="+mn-ea"/>
                <a:cs typeface="+mn-cs"/>
              </a:rPr>
              <a:t>3</a:t>
            </a:r>
          </a:p>
        </p:txBody>
      </p:sp>
    </p:spTree>
    <p:extLst>
      <p:ext uri="{BB962C8B-B14F-4D97-AF65-F5344CB8AC3E}">
        <p14:creationId xmlns:p14="http://schemas.microsoft.com/office/powerpoint/2010/main" val="3249938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DA7193-E8A7-A2D8-6EC2-798882B2330A}"/>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DA7193-E8A7-A2D8-6EC2-798882B233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518AF3A-A016-A3A4-7352-F1B2184528D6}"/>
              </a:ext>
            </a:extLst>
          </p:cNvPr>
          <p:cNvSpPr>
            <a:spLocks noGrp="1"/>
          </p:cNvSpPr>
          <p:nvPr>
            <p:ph type="title"/>
          </p:nvPr>
        </p:nvSpPr>
        <p:spPr/>
        <p:txBody>
          <a:bodyPr vert="horz" rIns="91440"/>
          <a:lstStyle/>
          <a:p>
            <a:r>
              <a:rPr lang="en-US" dirty="0"/>
              <a:t>Underground thermal energy storage offers greater capacity potential than battery alternatives and natural gas</a:t>
            </a:r>
          </a:p>
        </p:txBody>
      </p:sp>
      <p:sp>
        <p:nvSpPr>
          <p:cNvPr id="4" name="Footer Placeholder 3">
            <a:extLst>
              <a:ext uri="{FF2B5EF4-FFF2-40B4-BE49-F238E27FC236}">
                <a16:creationId xmlns:a16="http://schemas.microsoft.com/office/drawing/2014/main" id="{4BD1C602-5E83-BDD5-5623-691CF112009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5"/>
              </a:rPr>
              <a:t>Reducing Data Center Peak Cooling Demand and Energy Costs With Underground Thermal Energy Storage</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tanford, 2025);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6"/>
              </a:rPr>
              <a:t>Reducing Data Center Peak Cooling Demand and Energy Costs With Underground Thermal Energy Storage</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NREL, 2025).</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and </a:t>
            </a:r>
            <a:r>
              <a:rPr lang="en-US" dirty="0">
                <a:solidFill>
                  <a:srgbClr val="000000">
                    <a:tint val="82000"/>
                  </a:srgbClr>
                </a:solidFill>
                <a:hlinkClick r:id="rId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1">
            <a:extLst>
              <a:ext uri="{FF2B5EF4-FFF2-40B4-BE49-F238E27FC236}">
                <a16:creationId xmlns:a16="http://schemas.microsoft.com/office/drawing/2014/main" id="{F3636DC9-3A42-9BED-9BF2-7787B295DF77}"/>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eothermal Opportunity</a:t>
            </a:r>
          </a:p>
        </p:txBody>
      </p:sp>
      <p:sp>
        <p:nvSpPr>
          <p:cNvPr id="7" name="Rectangle 6">
            <a:extLst>
              <a:ext uri="{FF2B5EF4-FFF2-40B4-BE49-F238E27FC236}">
                <a16:creationId xmlns:a16="http://schemas.microsoft.com/office/drawing/2014/main" id="{25FB95B4-C236-70BD-40D1-F1B9BF3BD65D}"/>
              </a:ext>
            </a:extLst>
          </p:cNvPr>
          <p:cNvSpPr/>
          <p:nvPr/>
        </p:nvSpPr>
        <p:spPr bwMode="gray">
          <a:xfrm>
            <a:off x="5624574" y="1549759"/>
            <a:ext cx="6567426" cy="4441559"/>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046BB261-084B-6211-9744-C79D5BEC5CAF}"/>
              </a:ext>
            </a:extLst>
          </p:cNvPr>
          <p:cNvGrpSpPr/>
          <p:nvPr/>
        </p:nvGrpSpPr>
        <p:grpSpPr>
          <a:xfrm>
            <a:off x="26260" y="1438844"/>
            <a:ext cx="5512112" cy="4670620"/>
            <a:chOff x="-56273" y="1439705"/>
            <a:chExt cx="7881612" cy="4591766"/>
          </a:xfrm>
        </p:grpSpPr>
        <p:sp>
          <p:nvSpPr>
            <p:cNvPr id="9" name="Oval 8">
              <a:extLst>
                <a:ext uri="{FF2B5EF4-FFF2-40B4-BE49-F238E27FC236}">
                  <a16:creationId xmlns:a16="http://schemas.microsoft.com/office/drawing/2014/main" id="{79C82683-E820-30D1-92DD-BFDB84B526C9}"/>
                </a:ext>
              </a:extLst>
            </p:cNvPr>
            <p:cNvSpPr/>
            <p:nvPr/>
          </p:nvSpPr>
          <p:spPr bwMode="gray">
            <a:xfrm>
              <a:off x="4072394" y="1955561"/>
              <a:ext cx="2683736" cy="1210888"/>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Natural Gas</a:t>
              </a:r>
            </a:p>
          </p:txBody>
        </p:sp>
        <p:sp>
          <p:nvSpPr>
            <p:cNvPr id="10" name="Oval 9">
              <a:extLst>
                <a:ext uri="{FF2B5EF4-FFF2-40B4-BE49-F238E27FC236}">
                  <a16:creationId xmlns:a16="http://schemas.microsoft.com/office/drawing/2014/main" id="{A95902E3-3D12-DFF9-A2AE-65E4E0755804}"/>
                </a:ext>
              </a:extLst>
            </p:cNvPr>
            <p:cNvSpPr/>
            <p:nvPr/>
          </p:nvSpPr>
          <p:spPr bwMode="gray">
            <a:xfrm>
              <a:off x="1272274" y="3868932"/>
              <a:ext cx="3045224" cy="1600455"/>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olid Batteries</a:t>
              </a:r>
            </a:p>
          </p:txBody>
        </p:sp>
        <p:cxnSp>
          <p:nvCxnSpPr>
            <p:cNvPr id="11" name="Straight Arrow Connector 10">
              <a:extLst>
                <a:ext uri="{FF2B5EF4-FFF2-40B4-BE49-F238E27FC236}">
                  <a16:creationId xmlns:a16="http://schemas.microsoft.com/office/drawing/2014/main" id="{172B3ABF-6888-890C-2A0B-3552EADDB645}"/>
                </a:ext>
              </a:extLst>
            </p:cNvPr>
            <p:cNvCxnSpPr>
              <a:cxnSpLocks/>
            </p:cNvCxnSpPr>
            <p:nvPr/>
          </p:nvCxnSpPr>
          <p:spPr bwMode="gray">
            <a:xfrm flipV="1">
              <a:off x="733238" y="1525523"/>
              <a:ext cx="13063" cy="409376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140D8560-1995-512B-4A7B-99AD996987EE}"/>
                </a:ext>
              </a:extLst>
            </p:cNvPr>
            <p:cNvCxnSpPr>
              <a:cxnSpLocks/>
            </p:cNvCxnSpPr>
            <p:nvPr/>
          </p:nvCxnSpPr>
          <p:spPr bwMode="gray">
            <a:xfrm>
              <a:off x="733238" y="5619287"/>
              <a:ext cx="7092101"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00C5772-612C-CAD4-B9A6-C435DE7BBABE}"/>
                </a:ext>
              </a:extLst>
            </p:cNvPr>
            <p:cNvSpPr/>
            <p:nvPr/>
          </p:nvSpPr>
          <p:spPr bwMode="gray">
            <a:xfrm>
              <a:off x="-56273" y="5364768"/>
              <a:ext cx="782327" cy="1193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Minutes</a:t>
              </a:r>
            </a:p>
          </p:txBody>
        </p:sp>
        <p:sp>
          <p:nvSpPr>
            <p:cNvPr id="14" name="Rectangle 13">
              <a:extLst>
                <a:ext uri="{FF2B5EF4-FFF2-40B4-BE49-F238E27FC236}">
                  <a16:creationId xmlns:a16="http://schemas.microsoft.com/office/drawing/2014/main" id="{33A30870-FE38-9105-427C-38F14B12B6C1}"/>
                </a:ext>
              </a:extLst>
            </p:cNvPr>
            <p:cNvSpPr/>
            <p:nvPr/>
          </p:nvSpPr>
          <p:spPr bwMode="gray">
            <a:xfrm>
              <a:off x="52665" y="4646817"/>
              <a:ext cx="666206" cy="142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Hours</a:t>
              </a:r>
            </a:p>
          </p:txBody>
        </p:sp>
        <p:sp>
          <p:nvSpPr>
            <p:cNvPr id="15" name="Rectangle 14">
              <a:extLst>
                <a:ext uri="{FF2B5EF4-FFF2-40B4-BE49-F238E27FC236}">
                  <a16:creationId xmlns:a16="http://schemas.microsoft.com/office/drawing/2014/main" id="{3BAD4B60-B3E8-1873-3AD7-21C8F86EB6D0}"/>
                </a:ext>
              </a:extLst>
            </p:cNvPr>
            <p:cNvSpPr/>
            <p:nvPr/>
          </p:nvSpPr>
          <p:spPr bwMode="gray">
            <a:xfrm>
              <a:off x="52665" y="3943348"/>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Days</a:t>
              </a:r>
            </a:p>
          </p:txBody>
        </p:sp>
        <p:sp>
          <p:nvSpPr>
            <p:cNvPr id="16" name="Rectangle 15">
              <a:extLst>
                <a:ext uri="{FF2B5EF4-FFF2-40B4-BE49-F238E27FC236}">
                  <a16:creationId xmlns:a16="http://schemas.microsoft.com/office/drawing/2014/main" id="{A157E229-CD55-C0ED-4754-13C84FA422C6}"/>
                </a:ext>
              </a:extLst>
            </p:cNvPr>
            <p:cNvSpPr/>
            <p:nvPr/>
          </p:nvSpPr>
          <p:spPr bwMode="gray">
            <a:xfrm>
              <a:off x="62267" y="3097204"/>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Weeks</a:t>
              </a:r>
            </a:p>
          </p:txBody>
        </p:sp>
        <p:sp>
          <p:nvSpPr>
            <p:cNvPr id="17" name="Rectangle 16">
              <a:extLst>
                <a:ext uri="{FF2B5EF4-FFF2-40B4-BE49-F238E27FC236}">
                  <a16:creationId xmlns:a16="http://schemas.microsoft.com/office/drawing/2014/main" id="{D388B013-9D03-E09F-74C7-B8E941B9B077}"/>
                </a:ext>
              </a:extLst>
            </p:cNvPr>
            <p:cNvSpPr/>
            <p:nvPr/>
          </p:nvSpPr>
          <p:spPr bwMode="gray">
            <a:xfrm>
              <a:off x="67032" y="2484670"/>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Months</a:t>
              </a:r>
            </a:p>
          </p:txBody>
        </p:sp>
        <p:sp>
          <p:nvSpPr>
            <p:cNvPr id="18" name="Rectangle 17">
              <a:extLst>
                <a:ext uri="{FF2B5EF4-FFF2-40B4-BE49-F238E27FC236}">
                  <a16:creationId xmlns:a16="http://schemas.microsoft.com/office/drawing/2014/main" id="{5514166D-850D-98B2-1A46-ED8BB3271249}"/>
                </a:ext>
              </a:extLst>
            </p:cNvPr>
            <p:cNvSpPr/>
            <p:nvPr/>
          </p:nvSpPr>
          <p:spPr bwMode="gray">
            <a:xfrm>
              <a:off x="67032" y="1751168"/>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Years</a:t>
              </a:r>
            </a:p>
          </p:txBody>
        </p:sp>
        <p:sp>
          <p:nvSpPr>
            <p:cNvPr id="19" name="Rectangle 18">
              <a:extLst>
                <a:ext uri="{FF2B5EF4-FFF2-40B4-BE49-F238E27FC236}">
                  <a16:creationId xmlns:a16="http://schemas.microsoft.com/office/drawing/2014/main" id="{DB73CB24-151B-4DFF-FC05-FDFAAF97D0DD}"/>
                </a:ext>
              </a:extLst>
            </p:cNvPr>
            <p:cNvSpPr/>
            <p:nvPr/>
          </p:nvSpPr>
          <p:spPr bwMode="gray">
            <a:xfrm>
              <a:off x="1715593" y="5861685"/>
              <a:ext cx="4994366" cy="1697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Typical Energy Storage Capacity</a:t>
              </a:r>
            </a:p>
          </p:txBody>
        </p:sp>
        <p:sp>
          <p:nvSpPr>
            <p:cNvPr id="20" name="Rectangle 19">
              <a:extLst>
                <a:ext uri="{FF2B5EF4-FFF2-40B4-BE49-F238E27FC236}">
                  <a16:creationId xmlns:a16="http://schemas.microsoft.com/office/drawing/2014/main" id="{7D90DC90-23B7-284E-6627-D06412C40592}"/>
                </a:ext>
              </a:extLst>
            </p:cNvPr>
            <p:cNvSpPr/>
            <p:nvPr/>
          </p:nvSpPr>
          <p:spPr bwMode="gray">
            <a:xfrm>
              <a:off x="733236" y="5669002"/>
              <a:ext cx="829075" cy="1244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 BTU</a:t>
              </a:r>
            </a:p>
          </p:txBody>
        </p:sp>
        <p:sp>
          <p:nvSpPr>
            <p:cNvPr id="21" name="Rectangle 20">
              <a:extLst>
                <a:ext uri="{FF2B5EF4-FFF2-40B4-BE49-F238E27FC236}">
                  <a16:creationId xmlns:a16="http://schemas.microsoft.com/office/drawing/2014/main" id="{45C64638-ABE1-CBFE-4448-7138DB067143}"/>
                </a:ext>
              </a:extLst>
            </p:cNvPr>
            <p:cNvSpPr/>
            <p:nvPr/>
          </p:nvSpPr>
          <p:spPr bwMode="gray">
            <a:xfrm>
              <a:off x="2018056" y="5650237"/>
              <a:ext cx="1010465" cy="130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4 BTU</a:t>
              </a:r>
            </a:p>
          </p:txBody>
        </p:sp>
        <p:sp>
          <p:nvSpPr>
            <p:cNvPr id="22" name="Rectangle 21">
              <a:extLst>
                <a:ext uri="{FF2B5EF4-FFF2-40B4-BE49-F238E27FC236}">
                  <a16:creationId xmlns:a16="http://schemas.microsoft.com/office/drawing/2014/main" id="{F4664A62-A24A-F884-3B23-E77B7524926B}"/>
                </a:ext>
              </a:extLst>
            </p:cNvPr>
            <p:cNvSpPr/>
            <p:nvPr/>
          </p:nvSpPr>
          <p:spPr bwMode="gray">
            <a:xfrm>
              <a:off x="3760735" y="5669001"/>
              <a:ext cx="975834" cy="1697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7 BTU</a:t>
              </a:r>
            </a:p>
          </p:txBody>
        </p:sp>
        <p:sp>
          <p:nvSpPr>
            <p:cNvPr id="23" name="Rectangle 22">
              <a:extLst>
                <a:ext uri="{FF2B5EF4-FFF2-40B4-BE49-F238E27FC236}">
                  <a16:creationId xmlns:a16="http://schemas.microsoft.com/office/drawing/2014/main" id="{B715C048-B692-2D06-26B3-BB0C73362CFA}"/>
                </a:ext>
              </a:extLst>
            </p:cNvPr>
            <p:cNvSpPr/>
            <p:nvPr/>
          </p:nvSpPr>
          <p:spPr bwMode="gray">
            <a:xfrm>
              <a:off x="5206403" y="5693631"/>
              <a:ext cx="1099137" cy="1098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10 BTU</a:t>
              </a:r>
            </a:p>
          </p:txBody>
        </p:sp>
        <p:sp>
          <p:nvSpPr>
            <p:cNvPr id="24" name="Rectangle 23">
              <a:extLst>
                <a:ext uri="{FF2B5EF4-FFF2-40B4-BE49-F238E27FC236}">
                  <a16:creationId xmlns:a16="http://schemas.microsoft.com/office/drawing/2014/main" id="{CBB4B648-EB69-0BE6-5307-64B8AE36D07E}"/>
                </a:ext>
              </a:extLst>
            </p:cNvPr>
            <p:cNvSpPr/>
            <p:nvPr/>
          </p:nvSpPr>
          <p:spPr bwMode="gray">
            <a:xfrm>
              <a:off x="6511413" y="5669000"/>
              <a:ext cx="1057240" cy="16977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13 BTU</a:t>
              </a:r>
            </a:p>
          </p:txBody>
        </p:sp>
        <p:cxnSp>
          <p:nvCxnSpPr>
            <p:cNvPr id="25" name="Straight Arrow Connector 24">
              <a:extLst>
                <a:ext uri="{FF2B5EF4-FFF2-40B4-BE49-F238E27FC236}">
                  <a16:creationId xmlns:a16="http://schemas.microsoft.com/office/drawing/2014/main" id="{16756677-151E-B1BA-7FC8-5A06AC42B086}"/>
                </a:ext>
              </a:extLst>
            </p:cNvPr>
            <p:cNvCxnSpPr>
              <a:cxnSpLocks/>
            </p:cNvCxnSpPr>
            <p:nvPr/>
          </p:nvCxnSpPr>
          <p:spPr bwMode="gray">
            <a:xfrm flipV="1">
              <a:off x="753484" y="1640022"/>
              <a:ext cx="6985424" cy="920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4C09818-C708-6A70-5314-A47F33E0CFE6}"/>
                </a:ext>
              </a:extLst>
            </p:cNvPr>
            <p:cNvSpPr/>
            <p:nvPr/>
          </p:nvSpPr>
          <p:spPr bwMode="gray">
            <a:xfrm>
              <a:off x="787741" y="1468703"/>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Wh</a:t>
              </a:r>
            </a:p>
          </p:txBody>
        </p:sp>
        <p:sp>
          <p:nvSpPr>
            <p:cNvPr id="27" name="Rectangle 26">
              <a:extLst>
                <a:ext uri="{FF2B5EF4-FFF2-40B4-BE49-F238E27FC236}">
                  <a16:creationId xmlns:a16="http://schemas.microsoft.com/office/drawing/2014/main" id="{636CDBEC-CCEE-1714-4698-5812961C8996}"/>
                </a:ext>
              </a:extLst>
            </p:cNvPr>
            <p:cNvSpPr/>
            <p:nvPr/>
          </p:nvSpPr>
          <p:spPr bwMode="gray">
            <a:xfrm>
              <a:off x="2376098" y="1439705"/>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KWh</a:t>
              </a:r>
            </a:p>
          </p:txBody>
        </p:sp>
        <p:sp>
          <p:nvSpPr>
            <p:cNvPr id="28" name="Rectangle 27">
              <a:extLst>
                <a:ext uri="{FF2B5EF4-FFF2-40B4-BE49-F238E27FC236}">
                  <a16:creationId xmlns:a16="http://schemas.microsoft.com/office/drawing/2014/main" id="{F4BF1D27-6044-B7D6-5D05-9E71F1CC3E39}"/>
                </a:ext>
              </a:extLst>
            </p:cNvPr>
            <p:cNvSpPr/>
            <p:nvPr/>
          </p:nvSpPr>
          <p:spPr bwMode="gray">
            <a:xfrm>
              <a:off x="3900670" y="1444809"/>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MWh</a:t>
              </a:r>
            </a:p>
          </p:txBody>
        </p:sp>
        <p:sp>
          <p:nvSpPr>
            <p:cNvPr id="29" name="Rectangle 28">
              <a:extLst>
                <a:ext uri="{FF2B5EF4-FFF2-40B4-BE49-F238E27FC236}">
                  <a16:creationId xmlns:a16="http://schemas.microsoft.com/office/drawing/2014/main" id="{21F35BB6-EAB3-07AF-7CDF-8385A652E39C}"/>
                </a:ext>
              </a:extLst>
            </p:cNvPr>
            <p:cNvSpPr/>
            <p:nvPr/>
          </p:nvSpPr>
          <p:spPr bwMode="gray">
            <a:xfrm>
              <a:off x="5500949" y="1456974"/>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GWh</a:t>
              </a:r>
            </a:p>
          </p:txBody>
        </p:sp>
        <p:sp>
          <p:nvSpPr>
            <p:cNvPr id="30" name="Rectangle 29">
              <a:extLst>
                <a:ext uri="{FF2B5EF4-FFF2-40B4-BE49-F238E27FC236}">
                  <a16:creationId xmlns:a16="http://schemas.microsoft.com/office/drawing/2014/main" id="{4503A212-71A5-88C8-73FC-A313B6FB7279}"/>
                </a:ext>
              </a:extLst>
            </p:cNvPr>
            <p:cNvSpPr/>
            <p:nvPr/>
          </p:nvSpPr>
          <p:spPr bwMode="gray">
            <a:xfrm>
              <a:off x="7025521" y="1464045"/>
              <a:ext cx="666206" cy="130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Wh</a:t>
              </a:r>
            </a:p>
          </p:txBody>
        </p:sp>
        <p:sp>
          <p:nvSpPr>
            <p:cNvPr id="31" name="Oval 30">
              <a:extLst>
                <a:ext uri="{FF2B5EF4-FFF2-40B4-BE49-F238E27FC236}">
                  <a16:creationId xmlns:a16="http://schemas.microsoft.com/office/drawing/2014/main" id="{71054B32-C881-38DB-041A-4773C21523E8}"/>
                </a:ext>
              </a:extLst>
            </p:cNvPr>
            <p:cNvSpPr/>
            <p:nvPr/>
          </p:nvSpPr>
          <p:spPr bwMode="gray">
            <a:xfrm>
              <a:off x="831673" y="5059691"/>
              <a:ext cx="1767840" cy="52864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uper-Capacitor</a:t>
              </a:r>
            </a:p>
          </p:txBody>
        </p:sp>
        <p:sp>
          <p:nvSpPr>
            <p:cNvPr id="32" name="Oval 31">
              <a:extLst>
                <a:ext uri="{FF2B5EF4-FFF2-40B4-BE49-F238E27FC236}">
                  <a16:creationId xmlns:a16="http://schemas.microsoft.com/office/drawing/2014/main" id="{B70D1301-8434-92B8-59B8-97EC6C5197CF}"/>
                </a:ext>
              </a:extLst>
            </p:cNvPr>
            <p:cNvSpPr/>
            <p:nvPr/>
          </p:nvSpPr>
          <p:spPr bwMode="gray">
            <a:xfrm>
              <a:off x="2073153" y="4756609"/>
              <a:ext cx="1767840" cy="71435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ly Wheel</a:t>
              </a:r>
            </a:p>
          </p:txBody>
        </p:sp>
        <p:sp>
          <p:nvSpPr>
            <p:cNvPr id="33" name="Oval 32">
              <a:extLst>
                <a:ext uri="{FF2B5EF4-FFF2-40B4-BE49-F238E27FC236}">
                  <a16:creationId xmlns:a16="http://schemas.microsoft.com/office/drawing/2014/main" id="{D8F6F901-DFDE-337E-753A-D4DEC8442292}"/>
                </a:ext>
              </a:extLst>
            </p:cNvPr>
            <p:cNvSpPr/>
            <p:nvPr/>
          </p:nvSpPr>
          <p:spPr bwMode="gray">
            <a:xfrm>
              <a:off x="3373879" y="3690956"/>
              <a:ext cx="1630574" cy="640731"/>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Gravity</a:t>
              </a:r>
            </a:p>
          </p:txBody>
        </p:sp>
        <p:sp>
          <p:nvSpPr>
            <p:cNvPr id="34" name="Oval 33">
              <a:extLst>
                <a:ext uri="{FF2B5EF4-FFF2-40B4-BE49-F238E27FC236}">
                  <a16:creationId xmlns:a16="http://schemas.microsoft.com/office/drawing/2014/main" id="{4C5E8092-D7EA-6C15-66DC-6142F7A030FB}"/>
                </a:ext>
              </a:extLst>
            </p:cNvPr>
            <p:cNvSpPr/>
            <p:nvPr/>
          </p:nvSpPr>
          <p:spPr bwMode="gray">
            <a:xfrm>
              <a:off x="2309520" y="3282988"/>
              <a:ext cx="2185451" cy="640731"/>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low Battery</a:t>
              </a:r>
            </a:p>
          </p:txBody>
        </p:sp>
        <p:sp>
          <p:nvSpPr>
            <p:cNvPr id="35" name="Oval 34">
              <a:extLst>
                <a:ext uri="{FF2B5EF4-FFF2-40B4-BE49-F238E27FC236}">
                  <a16:creationId xmlns:a16="http://schemas.microsoft.com/office/drawing/2014/main" id="{D3A26D98-C251-AEB6-8ADF-B4BE751A492A}"/>
                </a:ext>
              </a:extLst>
            </p:cNvPr>
            <p:cNvSpPr/>
            <p:nvPr/>
          </p:nvSpPr>
          <p:spPr bwMode="gray">
            <a:xfrm>
              <a:off x="2357359" y="2364471"/>
              <a:ext cx="3276169" cy="972904"/>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Hydrogen</a:t>
              </a:r>
            </a:p>
          </p:txBody>
        </p:sp>
        <p:sp>
          <p:nvSpPr>
            <p:cNvPr id="36" name="Oval 35">
              <a:extLst>
                <a:ext uri="{FF2B5EF4-FFF2-40B4-BE49-F238E27FC236}">
                  <a16:creationId xmlns:a16="http://schemas.microsoft.com/office/drawing/2014/main" id="{94341909-B98F-AC63-8B28-A3438E1B7F46}"/>
                </a:ext>
              </a:extLst>
            </p:cNvPr>
            <p:cNvSpPr/>
            <p:nvPr/>
          </p:nvSpPr>
          <p:spPr bwMode="gray">
            <a:xfrm>
              <a:off x="5395869" y="2937357"/>
              <a:ext cx="1848718" cy="833746"/>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amped Hydroelectric</a:t>
              </a:r>
            </a:p>
          </p:txBody>
        </p:sp>
        <p:sp>
          <p:nvSpPr>
            <p:cNvPr id="37" name="Oval 36">
              <a:extLst>
                <a:ext uri="{FF2B5EF4-FFF2-40B4-BE49-F238E27FC236}">
                  <a16:creationId xmlns:a16="http://schemas.microsoft.com/office/drawing/2014/main" id="{5F00AAEA-DA68-A95D-7977-D69A377E9BBD}"/>
                </a:ext>
              </a:extLst>
            </p:cNvPr>
            <p:cNvSpPr/>
            <p:nvPr/>
          </p:nvSpPr>
          <p:spPr bwMode="gray">
            <a:xfrm>
              <a:off x="4176226" y="3197401"/>
              <a:ext cx="1848718" cy="1049477"/>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Compressed Air</a:t>
              </a:r>
            </a:p>
          </p:txBody>
        </p:sp>
        <p:sp>
          <p:nvSpPr>
            <p:cNvPr id="38" name="Rectangle 37">
              <a:extLst>
                <a:ext uri="{FF2B5EF4-FFF2-40B4-BE49-F238E27FC236}">
                  <a16:creationId xmlns:a16="http://schemas.microsoft.com/office/drawing/2014/main" id="{10930FFA-EACE-447B-901D-94530EA2D439}"/>
                </a:ext>
              </a:extLst>
            </p:cNvPr>
            <p:cNvSpPr/>
            <p:nvPr/>
          </p:nvSpPr>
          <p:spPr bwMode="gray">
            <a:xfrm>
              <a:off x="831673" y="1816482"/>
              <a:ext cx="344945" cy="187130"/>
            </a:xfrm>
            <a:prstGeom prst="rect">
              <a:avLst/>
            </a:prstGeom>
            <a:solidFill>
              <a:srgbClr val="F5BBD9"/>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D74A8159-2936-E916-4ECC-D3C970E47AAF}"/>
                </a:ext>
              </a:extLst>
            </p:cNvPr>
            <p:cNvSpPr/>
            <p:nvPr/>
          </p:nvSpPr>
          <p:spPr bwMode="gray">
            <a:xfrm>
              <a:off x="831673" y="2053326"/>
              <a:ext cx="344945" cy="187130"/>
            </a:xfrm>
            <a:prstGeom prst="rect">
              <a:avLst/>
            </a:prstGeom>
            <a:solidFill>
              <a:srgbClr val="D5A0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92851DC1-577C-1DC1-8029-16D02A026177}"/>
                </a:ext>
              </a:extLst>
            </p:cNvPr>
            <p:cNvSpPr/>
            <p:nvPr/>
          </p:nvSpPr>
          <p:spPr bwMode="gray">
            <a:xfrm>
              <a:off x="831673" y="2295212"/>
              <a:ext cx="344945" cy="187130"/>
            </a:xfrm>
            <a:prstGeom prst="rect">
              <a:avLst/>
            </a:prstGeom>
            <a:solidFill>
              <a:srgbClr val="95CE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CC4ECC0F-1DEA-2006-D49F-811F64535E17}"/>
                </a:ext>
              </a:extLst>
            </p:cNvPr>
            <p:cNvSpPr/>
            <p:nvPr/>
          </p:nvSpPr>
          <p:spPr bwMode="gray">
            <a:xfrm>
              <a:off x="1233124" y="1823840"/>
              <a:ext cx="2607869"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Underground thermal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energy storage (UTES)</a:t>
              </a:r>
            </a:p>
          </p:txBody>
        </p:sp>
        <p:sp>
          <p:nvSpPr>
            <p:cNvPr id="42" name="Rectangle 41">
              <a:extLst>
                <a:ext uri="{FF2B5EF4-FFF2-40B4-BE49-F238E27FC236}">
                  <a16:creationId xmlns:a16="http://schemas.microsoft.com/office/drawing/2014/main" id="{22076BFF-9C3D-63E1-8377-8886F9760AC3}"/>
                </a:ext>
              </a:extLst>
            </p:cNvPr>
            <p:cNvSpPr/>
            <p:nvPr/>
          </p:nvSpPr>
          <p:spPr bwMode="gray">
            <a:xfrm>
              <a:off x="1240942" y="2062143"/>
              <a:ext cx="2119876"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Geologic storage method</a:t>
              </a:r>
            </a:p>
          </p:txBody>
        </p:sp>
        <p:sp>
          <p:nvSpPr>
            <p:cNvPr id="43" name="Rectangle 42">
              <a:extLst>
                <a:ext uri="{FF2B5EF4-FFF2-40B4-BE49-F238E27FC236}">
                  <a16:creationId xmlns:a16="http://schemas.microsoft.com/office/drawing/2014/main" id="{A08679B5-38D8-A455-464C-0A9DA0E5212F}"/>
                </a:ext>
              </a:extLst>
            </p:cNvPr>
            <p:cNvSpPr/>
            <p:nvPr/>
          </p:nvSpPr>
          <p:spPr bwMode="gray">
            <a:xfrm>
              <a:off x="1224457" y="2308701"/>
              <a:ext cx="1657350" cy="161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n-geologic storage method</a:t>
              </a:r>
            </a:p>
          </p:txBody>
        </p:sp>
        <p:sp>
          <p:nvSpPr>
            <p:cNvPr id="44" name="Oval 43">
              <a:extLst>
                <a:ext uri="{FF2B5EF4-FFF2-40B4-BE49-F238E27FC236}">
                  <a16:creationId xmlns:a16="http://schemas.microsoft.com/office/drawing/2014/main" id="{E5B6BCFE-8FB4-BCB2-D7DF-BAE230296CA0}"/>
                </a:ext>
              </a:extLst>
            </p:cNvPr>
            <p:cNvSpPr/>
            <p:nvPr/>
          </p:nvSpPr>
          <p:spPr bwMode="gray">
            <a:xfrm>
              <a:off x="3312124" y="1816482"/>
              <a:ext cx="4256529" cy="1576663"/>
            </a:xfrm>
            <a:prstGeom prst="ellipse">
              <a:avLst/>
            </a:prstGeom>
            <a:solidFill>
              <a:schemeClr val="accent5">
                <a:lumMod val="60000"/>
                <a:lumOff val="40000"/>
                <a:alpha val="50000"/>
              </a:schemeClr>
            </a:solidFill>
            <a:ln w="28575">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UTES</a:t>
              </a:r>
            </a:p>
          </p:txBody>
        </p:sp>
      </p:grpSp>
      <p:grpSp>
        <p:nvGrpSpPr>
          <p:cNvPr id="45" name="Group 44">
            <a:extLst>
              <a:ext uri="{FF2B5EF4-FFF2-40B4-BE49-F238E27FC236}">
                <a16:creationId xmlns:a16="http://schemas.microsoft.com/office/drawing/2014/main" id="{52FFBCB5-5233-74A3-22FE-C337A7BFBDA6}"/>
              </a:ext>
            </a:extLst>
          </p:cNvPr>
          <p:cNvGrpSpPr/>
          <p:nvPr/>
        </p:nvGrpSpPr>
        <p:grpSpPr>
          <a:xfrm>
            <a:off x="8860640" y="1668477"/>
            <a:ext cx="3297412" cy="1679708"/>
            <a:chOff x="8651565" y="1668651"/>
            <a:chExt cx="3297412" cy="1679708"/>
          </a:xfrm>
        </p:grpSpPr>
        <p:pic>
          <p:nvPicPr>
            <p:cNvPr id="46" name="Graphic 45" descr="City with solid fill">
              <a:extLst>
                <a:ext uri="{FF2B5EF4-FFF2-40B4-BE49-F238E27FC236}">
                  <a16:creationId xmlns:a16="http://schemas.microsoft.com/office/drawing/2014/main" id="{0FA4FAFE-9F04-CCB3-1815-A64D9005AA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34642" y="1668651"/>
              <a:ext cx="865470" cy="865470"/>
            </a:xfrm>
            <a:prstGeom prst="rect">
              <a:avLst/>
            </a:prstGeom>
          </p:spPr>
        </p:pic>
        <p:sp>
          <p:nvSpPr>
            <p:cNvPr id="47" name="Trapezoid 46">
              <a:extLst>
                <a:ext uri="{FF2B5EF4-FFF2-40B4-BE49-F238E27FC236}">
                  <a16:creationId xmlns:a16="http://schemas.microsoft.com/office/drawing/2014/main" id="{2EB0B121-276C-229C-2CB6-BE7327289858}"/>
                </a:ext>
              </a:extLst>
            </p:cNvPr>
            <p:cNvSpPr/>
            <p:nvPr/>
          </p:nvSpPr>
          <p:spPr bwMode="gray">
            <a:xfrm>
              <a:off x="9398223" y="2664750"/>
              <a:ext cx="1848718" cy="130629"/>
            </a:xfrm>
            <a:prstGeom prst="trapezoid">
              <a:avLst/>
            </a:prstGeom>
            <a:solidFill>
              <a:schemeClr val="accent2">
                <a:lumMod val="10000"/>
                <a:lumOff val="9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rapezoid 47">
              <a:extLst>
                <a:ext uri="{FF2B5EF4-FFF2-40B4-BE49-F238E27FC236}">
                  <a16:creationId xmlns:a16="http://schemas.microsoft.com/office/drawing/2014/main" id="{2315D94C-4A58-38C7-B271-EF99D4BBB903}"/>
                </a:ext>
              </a:extLst>
            </p:cNvPr>
            <p:cNvSpPr/>
            <p:nvPr/>
          </p:nvSpPr>
          <p:spPr bwMode="gray">
            <a:xfrm>
              <a:off x="9398223" y="2795379"/>
              <a:ext cx="1848718" cy="130629"/>
            </a:xfrm>
            <a:prstGeom prst="trapezoid">
              <a:avLst/>
            </a:prstGeom>
            <a:solidFill>
              <a:schemeClr val="accent1">
                <a:lumMod val="40000"/>
                <a:lumOff val="6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Trapezoid 48">
              <a:extLst>
                <a:ext uri="{FF2B5EF4-FFF2-40B4-BE49-F238E27FC236}">
                  <a16:creationId xmlns:a16="http://schemas.microsoft.com/office/drawing/2014/main" id="{DBE80710-5E13-902B-0ED7-6A068C8E8235}"/>
                </a:ext>
              </a:extLst>
            </p:cNvPr>
            <p:cNvSpPr/>
            <p:nvPr/>
          </p:nvSpPr>
          <p:spPr bwMode="gray">
            <a:xfrm>
              <a:off x="9398223" y="2925374"/>
              <a:ext cx="1848718" cy="130629"/>
            </a:xfrm>
            <a:prstGeom prst="trapezoid">
              <a:avLst/>
            </a:prstGeom>
            <a:solidFill>
              <a:schemeClr val="accent1">
                <a:lumMod val="60000"/>
                <a:lumOff val="4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Trapezoid 49">
              <a:extLst>
                <a:ext uri="{FF2B5EF4-FFF2-40B4-BE49-F238E27FC236}">
                  <a16:creationId xmlns:a16="http://schemas.microsoft.com/office/drawing/2014/main" id="{7C498586-28F2-4A02-5E6A-EE3F928DA395}"/>
                </a:ext>
              </a:extLst>
            </p:cNvPr>
            <p:cNvSpPr/>
            <p:nvPr/>
          </p:nvSpPr>
          <p:spPr bwMode="gray">
            <a:xfrm>
              <a:off x="9398223" y="3056003"/>
              <a:ext cx="1848718" cy="130629"/>
            </a:xfrm>
            <a:prstGeom prst="trapezoid">
              <a:avLst/>
            </a:prstGeom>
            <a:solidFill>
              <a:schemeClr val="accent1">
                <a:lumMod val="75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1" name="Elbow Connector 50">
              <a:extLst>
                <a:ext uri="{FF2B5EF4-FFF2-40B4-BE49-F238E27FC236}">
                  <a16:creationId xmlns:a16="http://schemas.microsoft.com/office/drawing/2014/main" id="{D32A3468-5749-B571-2602-90864C89AE16}"/>
                </a:ext>
              </a:extLst>
            </p:cNvPr>
            <p:cNvCxnSpPr>
              <a:cxnSpLocks/>
              <a:stCxn id="50" idx="3"/>
              <a:endCxn id="46" idx="3"/>
            </p:cNvCxnSpPr>
            <p:nvPr/>
          </p:nvCxnSpPr>
          <p:spPr bwMode="gray">
            <a:xfrm flipH="1" flipV="1">
              <a:off x="10700112" y="2101386"/>
              <a:ext cx="530500" cy="1019932"/>
            </a:xfrm>
            <a:prstGeom prst="bentConnector3">
              <a:avLst>
                <a:gd name="adj1" fmla="val -46169"/>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227B15ED-0887-0F7B-DDA0-59AC60A253F7}"/>
                </a:ext>
              </a:extLst>
            </p:cNvPr>
            <p:cNvCxnSpPr>
              <a:cxnSpLocks/>
              <a:stCxn id="46" idx="1"/>
              <a:endCxn id="50" idx="1"/>
            </p:cNvCxnSpPr>
            <p:nvPr/>
          </p:nvCxnSpPr>
          <p:spPr bwMode="gray">
            <a:xfrm rot="10800000" flipV="1">
              <a:off x="9414552" y="2101386"/>
              <a:ext cx="420090" cy="1019932"/>
            </a:xfrm>
            <a:prstGeom prst="bentConnector3">
              <a:avLst>
                <a:gd name="adj1" fmla="val 158304"/>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A09DC9E-3D32-2284-BDF8-563474FACFA0}"/>
                </a:ext>
              </a:extLst>
            </p:cNvPr>
            <p:cNvSpPr/>
            <p:nvPr/>
          </p:nvSpPr>
          <p:spPr bwMode="gray">
            <a:xfrm>
              <a:off x="10968547" y="2388122"/>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upply Cold </a:t>
              </a:r>
            </a:p>
          </p:txBody>
        </p:sp>
        <p:sp>
          <p:nvSpPr>
            <p:cNvPr id="54" name="Rectangle 53">
              <a:extLst>
                <a:ext uri="{FF2B5EF4-FFF2-40B4-BE49-F238E27FC236}">
                  <a16:creationId xmlns:a16="http://schemas.microsoft.com/office/drawing/2014/main" id="{BD23F543-A6B3-894B-E9D3-974033628D21}"/>
                </a:ext>
              </a:extLst>
            </p:cNvPr>
            <p:cNvSpPr/>
            <p:nvPr/>
          </p:nvSpPr>
          <p:spPr bwMode="gray">
            <a:xfrm>
              <a:off x="8651565" y="2327679"/>
              <a:ext cx="980430" cy="3154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tore Excess Cold</a:t>
              </a:r>
            </a:p>
          </p:txBody>
        </p:sp>
        <p:sp>
          <p:nvSpPr>
            <p:cNvPr id="55" name="Rectangle 54">
              <a:extLst>
                <a:ext uri="{FF2B5EF4-FFF2-40B4-BE49-F238E27FC236}">
                  <a16:creationId xmlns:a16="http://schemas.microsoft.com/office/drawing/2014/main" id="{F42F2BE8-FB52-A83E-9EAD-9FA2C13B3251}"/>
                </a:ext>
              </a:extLst>
            </p:cNvPr>
            <p:cNvSpPr/>
            <p:nvPr/>
          </p:nvSpPr>
          <p:spPr bwMode="gray">
            <a:xfrm>
              <a:off x="9581487" y="2519596"/>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ntegrated Cooling Loop </a:t>
              </a:r>
            </a:p>
          </p:txBody>
        </p:sp>
        <p:sp>
          <p:nvSpPr>
            <p:cNvPr id="56" name="Rectangle 55">
              <a:extLst>
                <a:ext uri="{FF2B5EF4-FFF2-40B4-BE49-F238E27FC236}">
                  <a16:creationId xmlns:a16="http://schemas.microsoft.com/office/drawing/2014/main" id="{2A87D94E-5FA0-83B0-7AD4-53B1E6560995}"/>
                </a:ext>
              </a:extLst>
            </p:cNvPr>
            <p:cNvSpPr/>
            <p:nvPr/>
          </p:nvSpPr>
          <p:spPr bwMode="gray">
            <a:xfrm>
              <a:off x="9608756" y="3186275"/>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Cold Underground UTES</a:t>
              </a:r>
            </a:p>
          </p:txBody>
        </p:sp>
      </p:grpSp>
      <p:grpSp>
        <p:nvGrpSpPr>
          <p:cNvPr id="57" name="Group 56">
            <a:extLst>
              <a:ext uri="{FF2B5EF4-FFF2-40B4-BE49-F238E27FC236}">
                <a16:creationId xmlns:a16="http://schemas.microsoft.com/office/drawing/2014/main" id="{266035D1-B18D-1653-C0F9-304061092BF5}"/>
              </a:ext>
            </a:extLst>
          </p:cNvPr>
          <p:cNvGrpSpPr/>
          <p:nvPr/>
        </p:nvGrpSpPr>
        <p:grpSpPr>
          <a:xfrm>
            <a:off x="8850804" y="3280845"/>
            <a:ext cx="3010996" cy="1743670"/>
            <a:chOff x="8762911" y="4145046"/>
            <a:chExt cx="3010996" cy="1743670"/>
          </a:xfrm>
        </p:grpSpPr>
        <p:cxnSp>
          <p:nvCxnSpPr>
            <p:cNvPr id="58" name="Straight Arrow Connector 57">
              <a:extLst>
                <a:ext uri="{FF2B5EF4-FFF2-40B4-BE49-F238E27FC236}">
                  <a16:creationId xmlns:a16="http://schemas.microsoft.com/office/drawing/2014/main" id="{6AC30BCB-D36C-9CB6-4DD7-02038AA3729C}"/>
                </a:ext>
              </a:extLst>
            </p:cNvPr>
            <p:cNvCxnSpPr>
              <a:cxnSpLocks/>
            </p:cNvCxnSpPr>
            <p:nvPr/>
          </p:nvCxnSpPr>
          <p:spPr bwMode="gray">
            <a:xfrm flipV="1">
              <a:off x="9034757" y="4253948"/>
              <a:ext cx="0" cy="134234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9464D5E-8850-D644-AF7B-9C8954F7BB17}"/>
                </a:ext>
              </a:extLst>
            </p:cNvPr>
            <p:cNvCxnSpPr>
              <a:cxnSpLocks/>
            </p:cNvCxnSpPr>
            <p:nvPr/>
          </p:nvCxnSpPr>
          <p:spPr bwMode="gray">
            <a:xfrm>
              <a:off x="9034757" y="5612088"/>
              <a:ext cx="2585514"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A5DD362-4A3B-D0C3-4E26-B49E7FE2F3EE}"/>
                </a:ext>
              </a:extLst>
            </p:cNvPr>
            <p:cNvSpPr/>
            <p:nvPr/>
          </p:nvSpPr>
          <p:spPr bwMode="gray">
            <a:xfrm rot="16200000">
              <a:off x="8102857" y="4805100"/>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Electrical Cooling Load</a:t>
              </a:r>
            </a:p>
          </p:txBody>
        </p:sp>
        <p:sp>
          <p:nvSpPr>
            <p:cNvPr id="61" name="Rectangle 60">
              <a:extLst>
                <a:ext uri="{FF2B5EF4-FFF2-40B4-BE49-F238E27FC236}">
                  <a16:creationId xmlns:a16="http://schemas.microsoft.com/office/drawing/2014/main" id="{CEA9869B-0130-2834-1203-5C5B3651F3F8}"/>
                </a:ext>
              </a:extLst>
            </p:cNvPr>
            <p:cNvSpPr/>
            <p:nvPr/>
          </p:nvSpPr>
          <p:spPr bwMode="gray">
            <a:xfrm>
              <a:off x="9034757" y="5723502"/>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Winter</a:t>
              </a:r>
            </a:p>
          </p:txBody>
        </p:sp>
        <p:sp>
          <p:nvSpPr>
            <p:cNvPr id="62" name="Rectangle 61">
              <a:extLst>
                <a:ext uri="{FF2B5EF4-FFF2-40B4-BE49-F238E27FC236}">
                  <a16:creationId xmlns:a16="http://schemas.microsoft.com/office/drawing/2014/main" id="{0A255B0A-0E66-D161-17C9-0E0DB4534254}"/>
                </a:ext>
              </a:extLst>
            </p:cNvPr>
            <p:cNvSpPr/>
            <p:nvPr/>
          </p:nvSpPr>
          <p:spPr bwMode="gray">
            <a:xfrm>
              <a:off x="11112617" y="575808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Winter</a:t>
              </a:r>
            </a:p>
          </p:txBody>
        </p:sp>
        <p:sp>
          <p:nvSpPr>
            <p:cNvPr id="63" name="Rectangle 62">
              <a:extLst>
                <a:ext uri="{FF2B5EF4-FFF2-40B4-BE49-F238E27FC236}">
                  <a16:creationId xmlns:a16="http://schemas.microsoft.com/office/drawing/2014/main" id="{2A7DF380-EBC5-CBD5-CA85-AA15F63C2A41}"/>
                </a:ext>
              </a:extLst>
            </p:cNvPr>
            <p:cNvSpPr/>
            <p:nvPr/>
          </p:nvSpPr>
          <p:spPr bwMode="gray">
            <a:xfrm>
              <a:off x="10150507" y="573900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mmer</a:t>
              </a:r>
            </a:p>
          </p:txBody>
        </p:sp>
        <p:sp>
          <p:nvSpPr>
            <p:cNvPr id="64" name="Freeform 63">
              <a:extLst>
                <a:ext uri="{FF2B5EF4-FFF2-40B4-BE49-F238E27FC236}">
                  <a16:creationId xmlns:a16="http://schemas.microsoft.com/office/drawing/2014/main" id="{23545B34-83D5-8758-DBDC-8FB1CCD14863}"/>
                </a:ext>
              </a:extLst>
            </p:cNvPr>
            <p:cNvSpPr/>
            <p:nvPr/>
          </p:nvSpPr>
          <p:spPr bwMode="gray">
            <a:xfrm>
              <a:off x="9445245" y="5039258"/>
              <a:ext cx="1918177" cy="453762"/>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64">
              <a:extLst>
                <a:ext uri="{FF2B5EF4-FFF2-40B4-BE49-F238E27FC236}">
                  <a16:creationId xmlns:a16="http://schemas.microsoft.com/office/drawing/2014/main" id="{35C95809-39DE-78A5-2322-9E503A55AA13}"/>
                </a:ext>
              </a:extLst>
            </p:cNvPr>
            <p:cNvSpPr/>
            <p:nvPr/>
          </p:nvSpPr>
          <p:spPr bwMode="gray">
            <a:xfrm flipV="1">
              <a:off x="9445244" y="4762250"/>
              <a:ext cx="1918177" cy="427098"/>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6" name="Straight Connector 65">
              <a:extLst>
                <a:ext uri="{FF2B5EF4-FFF2-40B4-BE49-F238E27FC236}">
                  <a16:creationId xmlns:a16="http://schemas.microsoft.com/office/drawing/2014/main" id="{C78B0A90-C96E-2AEA-F2E2-07920C69AE3C}"/>
                </a:ext>
              </a:extLst>
            </p:cNvPr>
            <p:cNvCxnSpPr>
              <a:cxnSpLocks/>
              <a:stCxn id="64" idx="0"/>
            </p:cNvCxnSpPr>
            <p:nvPr/>
          </p:nvCxnSpPr>
          <p:spPr bwMode="gray">
            <a:xfrm flipH="1">
              <a:off x="9034756" y="5046133"/>
              <a:ext cx="410489"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2C48A6DB-9424-CDA4-C8AB-00DD0D5880E7}"/>
                </a:ext>
              </a:extLst>
            </p:cNvPr>
            <p:cNvCxnSpPr>
              <a:cxnSpLocks/>
            </p:cNvCxnSpPr>
            <p:nvPr/>
          </p:nvCxnSpPr>
          <p:spPr bwMode="gray">
            <a:xfrm flipH="1">
              <a:off x="11363419" y="5046133"/>
              <a:ext cx="410488"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30D8F899-006E-E4F9-8A63-433BC4BCBB0E}"/>
                </a:ext>
              </a:extLst>
            </p:cNvPr>
            <p:cNvCxnSpPr>
              <a:cxnSpLocks/>
            </p:cNvCxnSpPr>
            <p:nvPr/>
          </p:nvCxnSpPr>
          <p:spPr bwMode="gray">
            <a:xfrm flipH="1">
              <a:off x="11363419" y="5189348"/>
              <a:ext cx="410488" cy="0"/>
            </a:xfrm>
            <a:prstGeom prst="line">
              <a:avLst/>
            </a:prstGeom>
            <a:ln>
              <a:tailEnd type="none" w="med" len="lg"/>
            </a:ln>
          </p:spPr>
          <p:style>
            <a:lnRef idx="2">
              <a:schemeClr val="dk1"/>
            </a:lnRef>
            <a:fillRef idx="0">
              <a:schemeClr val="dk1"/>
            </a:fillRef>
            <a:effectRef idx="1">
              <a:schemeClr val="dk1"/>
            </a:effectRef>
            <a:fontRef idx="minor">
              <a:schemeClr val="tx1"/>
            </a:fontRef>
          </p:style>
        </p:cxnSp>
        <p:cxnSp>
          <p:nvCxnSpPr>
            <p:cNvPr id="69" name="Straight Connector 68">
              <a:extLst>
                <a:ext uri="{FF2B5EF4-FFF2-40B4-BE49-F238E27FC236}">
                  <a16:creationId xmlns:a16="http://schemas.microsoft.com/office/drawing/2014/main" id="{BCF6C501-3314-BA68-EC0E-CFA6846A7101}"/>
                </a:ext>
              </a:extLst>
            </p:cNvPr>
            <p:cNvCxnSpPr>
              <a:cxnSpLocks/>
              <a:stCxn id="65" idx="0"/>
            </p:cNvCxnSpPr>
            <p:nvPr/>
          </p:nvCxnSpPr>
          <p:spPr bwMode="gray">
            <a:xfrm flipH="1">
              <a:off x="9034757" y="5182877"/>
              <a:ext cx="410487" cy="6471"/>
            </a:xfrm>
            <a:prstGeom prst="line">
              <a:avLst/>
            </a:prstGeom>
            <a:ln>
              <a:tailEnd type="none" w="med" len="lg"/>
            </a:ln>
          </p:spPr>
          <p:style>
            <a:lnRef idx="2">
              <a:schemeClr val="dk1"/>
            </a:lnRef>
            <a:fillRef idx="0">
              <a:schemeClr val="dk1"/>
            </a:fillRef>
            <a:effectRef idx="1">
              <a:schemeClr val="dk1"/>
            </a:effectRef>
            <a:fontRef idx="minor">
              <a:schemeClr val="tx1"/>
            </a:fontRef>
          </p:style>
        </p:cxnSp>
        <p:sp>
          <p:nvSpPr>
            <p:cNvPr id="70" name="Rectangle 69">
              <a:extLst>
                <a:ext uri="{FF2B5EF4-FFF2-40B4-BE49-F238E27FC236}">
                  <a16:creationId xmlns:a16="http://schemas.microsoft.com/office/drawing/2014/main" id="{21EB8B59-3A1B-EBA8-60F8-614B0D9CDB86}"/>
                </a:ext>
              </a:extLst>
            </p:cNvPr>
            <p:cNvSpPr/>
            <p:nvPr/>
          </p:nvSpPr>
          <p:spPr bwMode="gray">
            <a:xfrm>
              <a:off x="9879629" y="533196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9BDB"/>
                  </a:solidFill>
                  <a:effectLst/>
                  <a:uLnTx/>
                  <a:uFillTx/>
                  <a:latin typeface="Arial"/>
                  <a:ea typeface="+mn-ea"/>
                  <a:cs typeface="+mn-cs"/>
                </a:rPr>
                <a:t>With Cold UTES</a:t>
              </a:r>
            </a:p>
          </p:txBody>
        </p:sp>
        <p:sp>
          <p:nvSpPr>
            <p:cNvPr id="71" name="Rectangle 70">
              <a:extLst>
                <a:ext uri="{FF2B5EF4-FFF2-40B4-BE49-F238E27FC236}">
                  <a16:creationId xmlns:a16="http://schemas.microsoft.com/office/drawing/2014/main" id="{ED24F3B2-9A6C-037E-9825-91AB3A0A0ED6}"/>
                </a:ext>
              </a:extLst>
            </p:cNvPr>
            <p:cNvSpPr/>
            <p:nvPr/>
          </p:nvSpPr>
          <p:spPr bwMode="gray">
            <a:xfrm>
              <a:off x="9839274" y="480338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tandard</a:t>
              </a:r>
            </a:p>
          </p:txBody>
        </p:sp>
      </p:grpSp>
      <p:pic>
        <p:nvPicPr>
          <p:cNvPr id="72" name="Graphic 71" descr="Electric Tower with solid fill">
            <a:extLst>
              <a:ext uri="{FF2B5EF4-FFF2-40B4-BE49-F238E27FC236}">
                <a16:creationId xmlns:a16="http://schemas.microsoft.com/office/drawing/2014/main" id="{11AAD12A-ECEC-B0E1-3E90-4DE506DC79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41331" y="1781957"/>
            <a:ext cx="398533" cy="398533"/>
          </a:xfrm>
          <a:prstGeom prst="rect">
            <a:avLst/>
          </a:prstGeom>
        </p:spPr>
      </p:pic>
      <p:cxnSp>
        <p:nvCxnSpPr>
          <p:cNvPr id="73" name="Elbow Connector 72">
            <a:extLst>
              <a:ext uri="{FF2B5EF4-FFF2-40B4-BE49-F238E27FC236}">
                <a16:creationId xmlns:a16="http://schemas.microsoft.com/office/drawing/2014/main" id="{8A36FFCE-60DA-D04D-F8E9-6160656B1555}"/>
              </a:ext>
            </a:extLst>
          </p:cNvPr>
          <p:cNvCxnSpPr>
            <a:cxnSpLocks/>
            <a:stCxn id="81" idx="3"/>
            <a:endCxn id="75" idx="2"/>
          </p:cNvCxnSpPr>
          <p:nvPr/>
        </p:nvCxnSpPr>
        <p:spPr bwMode="gray">
          <a:xfrm flipH="1" flipV="1">
            <a:off x="6918131" y="2224914"/>
            <a:ext cx="1332969" cy="880363"/>
          </a:xfrm>
          <a:prstGeom prst="bentConnector4">
            <a:avLst>
              <a:gd name="adj1" fmla="val -17150"/>
              <a:gd name="adj2" fmla="val 7485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DA543085-A400-0299-B499-7456AB9EEEDE}"/>
              </a:ext>
            </a:extLst>
          </p:cNvPr>
          <p:cNvSpPr/>
          <p:nvPr/>
        </p:nvSpPr>
        <p:spPr bwMode="gray">
          <a:xfrm>
            <a:off x="6658627" y="2110726"/>
            <a:ext cx="519009" cy="1055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34CAE05-7364-35AA-44B0-3F54AE911FD6}"/>
              </a:ext>
            </a:extLst>
          </p:cNvPr>
          <p:cNvSpPr/>
          <p:nvPr/>
        </p:nvSpPr>
        <p:spPr bwMode="gray">
          <a:xfrm>
            <a:off x="6427916" y="2094285"/>
            <a:ext cx="980430"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6" name="Group 75">
            <a:extLst>
              <a:ext uri="{FF2B5EF4-FFF2-40B4-BE49-F238E27FC236}">
                <a16:creationId xmlns:a16="http://schemas.microsoft.com/office/drawing/2014/main" id="{AE58715B-3B30-B94E-21C8-878E7E76A64A}"/>
              </a:ext>
            </a:extLst>
          </p:cNvPr>
          <p:cNvGrpSpPr/>
          <p:nvPr/>
        </p:nvGrpSpPr>
        <p:grpSpPr>
          <a:xfrm>
            <a:off x="5664655" y="1637240"/>
            <a:ext cx="3237962" cy="1695078"/>
            <a:chOff x="8644167" y="1653281"/>
            <a:chExt cx="3237962" cy="1695078"/>
          </a:xfrm>
        </p:grpSpPr>
        <p:pic>
          <p:nvPicPr>
            <p:cNvPr id="77" name="Graphic 76" descr="City with solid fill">
              <a:extLst>
                <a:ext uri="{FF2B5EF4-FFF2-40B4-BE49-F238E27FC236}">
                  <a16:creationId xmlns:a16="http://schemas.microsoft.com/office/drawing/2014/main" id="{BE224CA8-4CA2-2227-F478-0946E56FD2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60573" y="1653281"/>
              <a:ext cx="680615" cy="680615"/>
            </a:xfrm>
            <a:prstGeom prst="rect">
              <a:avLst/>
            </a:prstGeom>
          </p:spPr>
        </p:pic>
        <p:sp>
          <p:nvSpPr>
            <p:cNvPr id="78" name="Trapezoid 77">
              <a:extLst>
                <a:ext uri="{FF2B5EF4-FFF2-40B4-BE49-F238E27FC236}">
                  <a16:creationId xmlns:a16="http://schemas.microsoft.com/office/drawing/2014/main" id="{023C7B81-220D-E595-52D1-EA85F1573BB3}"/>
                </a:ext>
              </a:extLst>
            </p:cNvPr>
            <p:cNvSpPr/>
            <p:nvPr/>
          </p:nvSpPr>
          <p:spPr bwMode="gray">
            <a:xfrm>
              <a:off x="9398223" y="2664750"/>
              <a:ext cx="1848718" cy="130629"/>
            </a:xfrm>
            <a:prstGeom prst="trapezoid">
              <a:avLst/>
            </a:prstGeom>
            <a:solidFill>
              <a:schemeClr val="accent5">
                <a:lumMod val="20000"/>
                <a:lumOff val="8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Trapezoid 78">
              <a:extLst>
                <a:ext uri="{FF2B5EF4-FFF2-40B4-BE49-F238E27FC236}">
                  <a16:creationId xmlns:a16="http://schemas.microsoft.com/office/drawing/2014/main" id="{CD8CEE37-59AB-9CE6-E4C2-D2488B2A3F3D}"/>
                </a:ext>
              </a:extLst>
            </p:cNvPr>
            <p:cNvSpPr/>
            <p:nvPr/>
          </p:nvSpPr>
          <p:spPr bwMode="gray">
            <a:xfrm>
              <a:off x="9398223" y="2795379"/>
              <a:ext cx="1848718" cy="130629"/>
            </a:xfrm>
            <a:prstGeom prst="trapezoid">
              <a:avLst/>
            </a:prstGeom>
            <a:solidFill>
              <a:schemeClr val="accent5">
                <a:lumMod val="60000"/>
                <a:lumOff val="4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Trapezoid 79">
              <a:extLst>
                <a:ext uri="{FF2B5EF4-FFF2-40B4-BE49-F238E27FC236}">
                  <a16:creationId xmlns:a16="http://schemas.microsoft.com/office/drawing/2014/main" id="{60E5DD65-358A-2EFA-4E11-18A23228BAC3}"/>
                </a:ext>
              </a:extLst>
            </p:cNvPr>
            <p:cNvSpPr/>
            <p:nvPr/>
          </p:nvSpPr>
          <p:spPr bwMode="gray">
            <a:xfrm>
              <a:off x="9398223" y="2925374"/>
              <a:ext cx="1848718" cy="130629"/>
            </a:xfrm>
            <a:prstGeom prst="trapezoid">
              <a:avLst/>
            </a:prstGeom>
            <a:solidFill>
              <a:schemeClr val="accent5">
                <a:lumMod val="75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Trapezoid 80">
              <a:extLst>
                <a:ext uri="{FF2B5EF4-FFF2-40B4-BE49-F238E27FC236}">
                  <a16:creationId xmlns:a16="http://schemas.microsoft.com/office/drawing/2014/main" id="{92E83857-7E76-3FF0-7278-75092FC89B10}"/>
                </a:ext>
              </a:extLst>
            </p:cNvPr>
            <p:cNvSpPr/>
            <p:nvPr/>
          </p:nvSpPr>
          <p:spPr bwMode="gray">
            <a:xfrm>
              <a:off x="9398223" y="3056003"/>
              <a:ext cx="1848718" cy="130629"/>
            </a:xfrm>
            <a:prstGeom prst="trapezoid">
              <a:avLst/>
            </a:prstGeom>
            <a:solidFill>
              <a:schemeClr val="accent5">
                <a:lumMod val="50000"/>
              </a:schemeClr>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2" name="Elbow Connector 81">
              <a:extLst>
                <a:ext uri="{FF2B5EF4-FFF2-40B4-BE49-F238E27FC236}">
                  <a16:creationId xmlns:a16="http://schemas.microsoft.com/office/drawing/2014/main" id="{960D0F32-0E8E-3A70-62A8-4A79B371FF52}"/>
                </a:ext>
              </a:extLst>
            </p:cNvPr>
            <p:cNvCxnSpPr>
              <a:cxnSpLocks/>
              <a:stCxn id="81" idx="3"/>
              <a:endCxn id="72" idx="3"/>
            </p:cNvCxnSpPr>
            <p:nvPr/>
          </p:nvCxnSpPr>
          <p:spPr bwMode="gray">
            <a:xfrm flipH="1" flipV="1">
              <a:off x="11019376" y="1997265"/>
              <a:ext cx="211236" cy="1124053"/>
            </a:xfrm>
            <a:prstGeom prst="bentConnector3">
              <a:avLst>
                <a:gd name="adj1" fmla="val -11595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a:extLst>
                <a:ext uri="{FF2B5EF4-FFF2-40B4-BE49-F238E27FC236}">
                  <a16:creationId xmlns:a16="http://schemas.microsoft.com/office/drawing/2014/main" id="{A5661F4A-0821-658C-FE10-383BED03AC07}"/>
                </a:ext>
              </a:extLst>
            </p:cNvPr>
            <p:cNvCxnSpPr>
              <a:cxnSpLocks/>
              <a:stCxn id="77" idx="1"/>
              <a:endCxn id="81" idx="1"/>
            </p:cNvCxnSpPr>
            <p:nvPr/>
          </p:nvCxnSpPr>
          <p:spPr bwMode="gray">
            <a:xfrm rot="10800000" flipV="1">
              <a:off x="9414553" y="1993588"/>
              <a:ext cx="146021" cy="1127729"/>
            </a:xfrm>
            <a:prstGeom prst="bentConnector3">
              <a:avLst>
                <a:gd name="adj1" fmla="val 267735"/>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A729094-1CCC-8E56-8CC6-A137D1A19D0F}"/>
                </a:ext>
              </a:extLst>
            </p:cNvPr>
            <p:cNvSpPr/>
            <p:nvPr/>
          </p:nvSpPr>
          <p:spPr bwMode="gray">
            <a:xfrm>
              <a:off x="10901699" y="2388424"/>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upply Heat </a:t>
              </a:r>
            </a:p>
          </p:txBody>
        </p:sp>
        <p:sp>
          <p:nvSpPr>
            <p:cNvPr id="85" name="Rectangle 84">
              <a:extLst>
                <a:ext uri="{FF2B5EF4-FFF2-40B4-BE49-F238E27FC236}">
                  <a16:creationId xmlns:a16="http://schemas.microsoft.com/office/drawing/2014/main" id="{6102F05A-3016-F578-1E4B-5FBC30064B93}"/>
                </a:ext>
              </a:extLst>
            </p:cNvPr>
            <p:cNvSpPr/>
            <p:nvPr/>
          </p:nvSpPr>
          <p:spPr bwMode="gray">
            <a:xfrm>
              <a:off x="8644167" y="2379504"/>
              <a:ext cx="980430" cy="27701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tore Excess Heat</a:t>
              </a:r>
            </a:p>
          </p:txBody>
        </p:sp>
        <p:sp>
          <p:nvSpPr>
            <p:cNvPr id="86" name="Rectangle 85">
              <a:extLst>
                <a:ext uri="{FF2B5EF4-FFF2-40B4-BE49-F238E27FC236}">
                  <a16:creationId xmlns:a16="http://schemas.microsoft.com/office/drawing/2014/main" id="{51F976F3-468E-15E8-B964-72F6ECD0B8DE}"/>
                </a:ext>
              </a:extLst>
            </p:cNvPr>
            <p:cNvSpPr/>
            <p:nvPr/>
          </p:nvSpPr>
          <p:spPr bwMode="gray">
            <a:xfrm>
              <a:off x="9581487" y="2519596"/>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ntegrated Heating Loop </a:t>
              </a:r>
            </a:p>
          </p:txBody>
        </p:sp>
        <p:sp>
          <p:nvSpPr>
            <p:cNvPr id="87" name="Rectangle 86">
              <a:extLst>
                <a:ext uri="{FF2B5EF4-FFF2-40B4-BE49-F238E27FC236}">
                  <a16:creationId xmlns:a16="http://schemas.microsoft.com/office/drawing/2014/main" id="{85A0153D-96E4-86F4-A48D-BB50A2E3BB9E}"/>
                </a:ext>
              </a:extLst>
            </p:cNvPr>
            <p:cNvSpPr/>
            <p:nvPr/>
          </p:nvSpPr>
          <p:spPr bwMode="gray">
            <a:xfrm>
              <a:off x="9608756" y="3186275"/>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Hot Underground UTES</a:t>
              </a:r>
            </a:p>
          </p:txBody>
        </p:sp>
      </p:grpSp>
      <p:cxnSp>
        <p:nvCxnSpPr>
          <p:cNvPr id="88" name="Elbow Connector 87">
            <a:extLst>
              <a:ext uri="{FF2B5EF4-FFF2-40B4-BE49-F238E27FC236}">
                <a16:creationId xmlns:a16="http://schemas.microsoft.com/office/drawing/2014/main" id="{3D021BCC-5CC3-48DF-4707-E22C8B3B68E7}"/>
              </a:ext>
            </a:extLst>
          </p:cNvPr>
          <p:cNvCxnSpPr>
            <a:cxnSpLocks/>
            <a:endCxn id="77" idx="3"/>
          </p:cNvCxnSpPr>
          <p:nvPr/>
        </p:nvCxnSpPr>
        <p:spPr bwMode="gray">
          <a:xfrm rot="10800000">
            <a:off x="7261677" y="1977549"/>
            <a:ext cx="379655" cy="1"/>
          </a:xfrm>
          <a:prstGeom prst="bentConnector3">
            <a:avLst>
              <a:gd name="adj1" fmla="val 5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FA58FA8-5F4C-2A70-C1C2-57EB4A974F7C}"/>
              </a:ext>
            </a:extLst>
          </p:cNvPr>
          <p:cNvSpPr/>
          <p:nvPr/>
        </p:nvSpPr>
        <p:spPr bwMode="gray">
          <a:xfrm>
            <a:off x="7350382" y="1656950"/>
            <a:ext cx="980430" cy="13062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roduce Power</a:t>
            </a:r>
          </a:p>
        </p:txBody>
      </p:sp>
      <p:grpSp>
        <p:nvGrpSpPr>
          <p:cNvPr id="90" name="Group 89">
            <a:extLst>
              <a:ext uri="{FF2B5EF4-FFF2-40B4-BE49-F238E27FC236}">
                <a16:creationId xmlns:a16="http://schemas.microsoft.com/office/drawing/2014/main" id="{88460DF5-1D95-75A3-370F-9AC1DD84F137}"/>
              </a:ext>
            </a:extLst>
          </p:cNvPr>
          <p:cNvGrpSpPr/>
          <p:nvPr/>
        </p:nvGrpSpPr>
        <p:grpSpPr>
          <a:xfrm>
            <a:off x="5792778" y="3263328"/>
            <a:ext cx="3010996" cy="1743670"/>
            <a:chOff x="8762911" y="4145046"/>
            <a:chExt cx="3010996" cy="1743670"/>
          </a:xfrm>
        </p:grpSpPr>
        <p:cxnSp>
          <p:nvCxnSpPr>
            <p:cNvPr id="91" name="Straight Arrow Connector 90">
              <a:extLst>
                <a:ext uri="{FF2B5EF4-FFF2-40B4-BE49-F238E27FC236}">
                  <a16:creationId xmlns:a16="http://schemas.microsoft.com/office/drawing/2014/main" id="{D9C1E3D1-A6E2-949B-2DCA-1DE96C1BEED2}"/>
                </a:ext>
              </a:extLst>
            </p:cNvPr>
            <p:cNvCxnSpPr>
              <a:cxnSpLocks/>
            </p:cNvCxnSpPr>
            <p:nvPr/>
          </p:nvCxnSpPr>
          <p:spPr bwMode="gray">
            <a:xfrm flipV="1">
              <a:off x="9034757" y="4253948"/>
              <a:ext cx="0" cy="134234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02F0F529-27E4-F756-7092-FA26200AE0BF}"/>
                </a:ext>
              </a:extLst>
            </p:cNvPr>
            <p:cNvCxnSpPr>
              <a:cxnSpLocks/>
            </p:cNvCxnSpPr>
            <p:nvPr/>
          </p:nvCxnSpPr>
          <p:spPr bwMode="gray">
            <a:xfrm>
              <a:off x="9034757" y="5612088"/>
              <a:ext cx="2585514"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AE65235-A296-64EC-EF71-CA7BD79BF5D5}"/>
                </a:ext>
              </a:extLst>
            </p:cNvPr>
            <p:cNvSpPr/>
            <p:nvPr/>
          </p:nvSpPr>
          <p:spPr bwMode="gray">
            <a:xfrm rot="16200000">
              <a:off x="8102857" y="4805100"/>
              <a:ext cx="1482192" cy="162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Electrical Heating Load</a:t>
              </a:r>
            </a:p>
          </p:txBody>
        </p:sp>
        <p:sp>
          <p:nvSpPr>
            <p:cNvPr id="94" name="Rectangle 93">
              <a:extLst>
                <a:ext uri="{FF2B5EF4-FFF2-40B4-BE49-F238E27FC236}">
                  <a16:creationId xmlns:a16="http://schemas.microsoft.com/office/drawing/2014/main" id="{2270C749-954D-CEFB-F7DE-13D008E215CC}"/>
                </a:ext>
              </a:extLst>
            </p:cNvPr>
            <p:cNvSpPr/>
            <p:nvPr/>
          </p:nvSpPr>
          <p:spPr bwMode="gray">
            <a:xfrm>
              <a:off x="9034757" y="5723502"/>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mmer</a:t>
              </a:r>
            </a:p>
          </p:txBody>
        </p:sp>
        <p:sp>
          <p:nvSpPr>
            <p:cNvPr id="95" name="Rectangle 94">
              <a:extLst>
                <a:ext uri="{FF2B5EF4-FFF2-40B4-BE49-F238E27FC236}">
                  <a16:creationId xmlns:a16="http://schemas.microsoft.com/office/drawing/2014/main" id="{BF1DB8E1-94E5-5F22-D575-A8C5686DCE7A}"/>
                </a:ext>
              </a:extLst>
            </p:cNvPr>
            <p:cNvSpPr/>
            <p:nvPr/>
          </p:nvSpPr>
          <p:spPr bwMode="gray">
            <a:xfrm>
              <a:off x="11112617" y="575808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mmer</a:t>
              </a:r>
            </a:p>
          </p:txBody>
        </p:sp>
        <p:sp>
          <p:nvSpPr>
            <p:cNvPr id="96" name="Rectangle 95">
              <a:extLst>
                <a:ext uri="{FF2B5EF4-FFF2-40B4-BE49-F238E27FC236}">
                  <a16:creationId xmlns:a16="http://schemas.microsoft.com/office/drawing/2014/main" id="{35591566-7BC1-1FC3-0B88-CBCE8C227A91}"/>
                </a:ext>
              </a:extLst>
            </p:cNvPr>
            <p:cNvSpPr/>
            <p:nvPr/>
          </p:nvSpPr>
          <p:spPr bwMode="gray">
            <a:xfrm>
              <a:off x="10150507" y="5739007"/>
              <a:ext cx="507654" cy="1306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Winter</a:t>
              </a:r>
            </a:p>
          </p:txBody>
        </p:sp>
        <p:sp>
          <p:nvSpPr>
            <p:cNvPr id="97" name="Freeform 96">
              <a:extLst>
                <a:ext uri="{FF2B5EF4-FFF2-40B4-BE49-F238E27FC236}">
                  <a16:creationId xmlns:a16="http://schemas.microsoft.com/office/drawing/2014/main" id="{0BD2C730-3BC3-1C3F-3EB0-07DEE5AEE1FA}"/>
                </a:ext>
              </a:extLst>
            </p:cNvPr>
            <p:cNvSpPr/>
            <p:nvPr/>
          </p:nvSpPr>
          <p:spPr bwMode="gray">
            <a:xfrm>
              <a:off x="9445245" y="5039258"/>
              <a:ext cx="1918177" cy="453762"/>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97">
              <a:extLst>
                <a:ext uri="{FF2B5EF4-FFF2-40B4-BE49-F238E27FC236}">
                  <a16:creationId xmlns:a16="http://schemas.microsoft.com/office/drawing/2014/main" id="{A2D589BE-34A4-BCDA-4990-AE29A6A1194A}"/>
                </a:ext>
              </a:extLst>
            </p:cNvPr>
            <p:cNvSpPr/>
            <p:nvPr/>
          </p:nvSpPr>
          <p:spPr bwMode="gray">
            <a:xfrm flipV="1">
              <a:off x="9445244" y="4762250"/>
              <a:ext cx="1918177" cy="427098"/>
            </a:xfrm>
            <a:custGeom>
              <a:avLst/>
              <a:gdLst>
                <a:gd name="connsiteX0" fmla="*/ 0 w 2557570"/>
                <a:gd name="connsiteY0" fmla="*/ 6875 h 453762"/>
                <a:gd name="connsiteX1" fmla="*/ 797522 w 2557570"/>
                <a:gd name="connsiteY1" fmla="*/ 453762 h 453762"/>
                <a:gd name="connsiteX2" fmla="*/ 1766924 w 2557570"/>
                <a:gd name="connsiteY2" fmla="*/ 453762 h 453762"/>
                <a:gd name="connsiteX3" fmla="*/ 2557570 w 2557570"/>
                <a:gd name="connsiteY3" fmla="*/ 0 h 453762"/>
              </a:gdLst>
              <a:ahLst/>
              <a:cxnLst>
                <a:cxn ang="0">
                  <a:pos x="connsiteX0" y="connsiteY0"/>
                </a:cxn>
                <a:cxn ang="0">
                  <a:pos x="connsiteX1" y="connsiteY1"/>
                </a:cxn>
                <a:cxn ang="0">
                  <a:pos x="connsiteX2" y="connsiteY2"/>
                </a:cxn>
                <a:cxn ang="0">
                  <a:pos x="connsiteX3" y="connsiteY3"/>
                </a:cxn>
              </a:cxnLst>
              <a:rect l="l" t="t" r="r" b="b"/>
              <a:pathLst>
                <a:path w="2557570" h="453762">
                  <a:moveTo>
                    <a:pt x="0" y="6875"/>
                  </a:moveTo>
                  <a:lnTo>
                    <a:pt x="797522" y="453762"/>
                  </a:lnTo>
                  <a:lnTo>
                    <a:pt x="1766924" y="453762"/>
                  </a:lnTo>
                  <a:lnTo>
                    <a:pt x="2557570" y="0"/>
                  </a:lnTo>
                </a:path>
              </a:pathLst>
            </a:custGeom>
            <a:ln/>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9" name="Straight Connector 98">
              <a:extLst>
                <a:ext uri="{FF2B5EF4-FFF2-40B4-BE49-F238E27FC236}">
                  <a16:creationId xmlns:a16="http://schemas.microsoft.com/office/drawing/2014/main" id="{3CCC2EA0-1E0B-2300-40B3-8D203DEDCD4D}"/>
                </a:ext>
              </a:extLst>
            </p:cNvPr>
            <p:cNvCxnSpPr>
              <a:cxnSpLocks/>
              <a:stCxn id="97" idx="0"/>
            </p:cNvCxnSpPr>
            <p:nvPr/>
          </p:nvCxnSpPr>
          <p:spPr bwMode="gray">
            <a:xfrm flipH="1">
              <a:off x="9034756" y="5046133"/>
              <a:ext cx="410489" cy="0"/>
            </a:xfrm>
            <a:prstGeom prst="line">
              <a:avLst/>
            </a:prstGeom>
            <a:ln>
              <a:solidFill>
                <a:schemeClr val="accent5"/>
              </a:solidFill>
              <a:tailEnd type="none" w="med" len="lg"/>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EBAFDD52-B2C3-6528-697B-8367AE49A118}"/>
                </a:ext>
              </a:extLst>
            </p:cNvPr>
            <p:cNvCxnSpPr>
              <a:cxnSpLocks/>
            </p:cNvCxnSpPr>
            <p:nvPr/>
          </p:nvCxnSpPr>
          <p:spPr bwMode="gray">
            <a:xfrm flipH="1">
              <a:off x="11363419" y="5046133"/>
              <a:ext cx="410488" cy="0"/>
            </a:xfrm>
            <a:prstGeom prst="line">
              <a:avLst/>
            </a:prstGeom>
            <a:ln>
              <a:solidFill>
                <a:schemeClr val="accent5"/>
              </a:solidFill>
              <a:tailEnd type="none" w="med" len="lg"/>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79AA23BF-AAE0-0490-A93B-2182E94E8B0B}"/>
                </a:ext>
              </a:extLst>
            </p:cNvPr>
            <p:cNvCxnSpPr>
              <a:cxnSpLocks/>
            </p:cNvCxnSpPr>
            <p:nvPr/>
          </p:nvCxnSpPr>
          <p:spPr bwMode="gray">
            <a:xfrm flipH="1">
              <a:off x="11363419" y="5189348"/>
              <a:ext cx="410488" cy="0"/>
            </a:xfrm>
            <a:prstGeom prst="line">
              <a:avLst/>
            </a:prstGeom>
            <a:ln>
              <a:tailEnd type="none" w="med" len="lg"/>
            </a:ln>
          </p:spPr>
          <p:style>
            <a:lnRef idx="2">
              <a:schemeClr val="dk1"/>
            </a:lnRef>
            <a:fillRef idx="0">
              <a:schemeClr val="dk1"/>
            </a:fillRef>
            <a:effectRef idx="1">
              <a:schemeClr val="dk1"/>
            </a:effectRef>
            <a:fontRef idx="minor">
              <a:schemeClr val="tx1"/>
            </a:fontRef>
          </p:style>
        </p:cxnSp>
        <p:cxnSp>
          <p:nvCxnSpPr>
            <p:cNvPr id="102" name="Straight Connector 101">
              <a:extLst>
                <a:ext uri="{FF2B5EF4-FFF2-40B4-BE49-F238E27FC236}">
                  <a16:creationId xmlns:a16="http://schemas.microsoft.com/office/drawing/2014/main" id="{C65D6AF6-9432-BE2A-EE90-CEA8359F9F47}"/>
                </a:ext>
              </a:extLst>
            </p:cNvPr>
            <p:cNvCxnSpPr>
              <a:cxnSpLocks/>
              <a:stCxn id="98" idx="0"/>
            </p:cNvCxnSpPr>
            <p:nvPr/>
          </p:nvCxnSpPr>
          <p:spPr bwMode="gray">
            <a:xfrm flipH="1">
              <a:off x="9034757" y="5182877"/>
              <a:ext cx="410487" cy="6471"/>
            </a:xfrm>
            <a:prstGeom prst="line">
              <a:avLst/>
            </a:prstGeom>
            <a:ln>
              <a:tailEnd type="none" w="med" len="lg"/>
            </a:ln>
          </p:spPr>
          <p:style>
            <a:lnRef idx="2">
              <a:schemeClr val="dk1"/>
            </a:lnRef>
            <a:fillRef idx="0">
              <a:schemeClr val="dk1"/>
            </a:fillRef>
            <a:effectRef idx="1">
              <a:schemeClr val="dk1"/>
            </a:effectRef>
            <a:fontRef idx="minor">
              <a:schemeClr val="tx1"/>
            </a:fontRef>
          </p:style>
        </p:cxnSp>
        <p:sp>
          <p:nvSpPr>
            <p:cNvPr id="103" name="Rectangle 102">
              <a:extLst>
                <a:ext uri="{FF2B5EF4-FFF2-40B4-BE49-F238E27FC236}">
                  <a16:creationId xmlns:a16="http://schemas.microsoft.com/office/drawing/2014/main" id="{5365D87D-AB6F-8BE0-AE67-BB90D07115FB}"/>
                </a:ext>
              </a:extLst>
            </p:cNvPr>
            <p:cNvSpPr/>
            <p:nvPr/>
          </p:nvSpPr>
          <p:spPr bwMode="gray">
            <a:xfrm>
              <a:off x="9879629" y="533196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D0227C"/>
                  </a:solidFill>
                  <a:effectLst/>
                  <a:uLnTx/>
                  <a:uFillTx/>
                  <a:latin typeface="Arial"/>
                  <a:ea typeface="+mn-ea"/>
                  <a:cs typeface="+mn-cs"/>
                </a:rPr>
                <a:t>With Hot UTES</a:t>
              </a:r>
            </a:p>
          </p:txBody>
        </p:sp>
        <p:sp>
          <p:nvSpPr>
            <p:cNvPr id="104" name="Rectangle 103">
              <a:extLst>
                <a:ext uri="{FF2B5EF4-FFF2-40B4-BE49-F238E27FC236}">
                  <a16:creationId xmlns:a16="http://schemas.microsoft.com/office/drawing/2014/main" id="{CBE0A9AC-D885-E9AD-79EF-82580A65256C}"/>
                </a:ext>
              </a:extLst>
            </p:cNvPr>
            <p:cNvSpPr/>
            <p:nvPr/>
          </p:nvSpPr>
          <p:spPr bwMode="gray">
            <a:xfrm>
              <a:off x="9839274" y="4803385"/>
              <a:ext cx="1049405" cy="8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tandard</a:t>
              </a:r>
            </a:p>
          </p:txBody>
        </p:sp>
      </p:grpSp>
      <p:sp>
        <p:nvSpPr>
          <p:cNvPr id="105" name="Rectangular Callout 104">
            <a:extLst>
              <a:ext uri="{FF2B5EF4-FFF2-40B4-BE49-F238E27FC236}">
                <a16:creationId xmlns:a16="http://schemas.microsoft.com/office/drawing/2014/main" id="{B3FE6E1D-5FDE-6D0F-B8A7-1CCCDA002B56}"/>
              </a:ext>
            </a:extLst>
          </p:cNvPr>
          <p:cNvSpPr/>
          <p:nvPr/>
        </p:nvSpPr>
        <p:spPr bwMode="gray">
          <a:xfrm>
            <a:off x="6096000" y="5223381"/>
            <a:ext cx="5765800" cy="488488"/>
          </a:xfrm>
          <a:prstGeom prst="wedgeRectCallout">
            <a:avLst>
              <a:gd name="adj1" fmla="val -19146"/>
              <a:gd name="adj2" fmla="val -38161"/>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Both systems can coexist regardless of season due to the earth’s insulating properties, but storage of excess heat and cold will be more likely during the summer and winter, respectively (i.e., lakes in the summer vs. winter).</a:t>
            </a:r>
          </a:p>
        </p:txBody>
      </p:sp>
    </p:spTree>
    <p:extLst>
      <p:ext uri="{BB962C8B-B14F-4D97-AF65-F5344CB8AC3E}">
        <p14:creationId xmlns:p14="http://schemas.microsoft.com/office/powerpoint/2010/main" val="288641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4B79EF-A45E-D06B-E4EC-C0B934C6784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5C4B79EF-A45E-D06B-E4EC-C0B934C6784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CDB863-2901-1F0A-480C-4F6F850C97C0}"/>
              </a:ext>
            </a:extLst>
          </p:cNvPr>
          <p:cNvSpPr>
            <a:spLocks noGrp="1"/>
          </p:cNvSpPr>
          <p:nvPr>
            <p:ph type="title"/>
          </p:nvPr>
        </p:nvSpPr>
        <p:spPr/>
        <p:txBody>
          <a:bodyPr vert="horz" rIns="91440"/>
          <a:lstStyle/>
          <a:p>
            <a:r>
              <a:rPr lang="en-US" dirty="0"/>
              <a:t>Geothermal Power Technology</a:t>
            </a:r>
          </a:p>
        </p:txBody>
      </p:sp>
    </p:spTree>
    <p:extLst>
      <p:ext uri="{BB962C8B-B14F-4D97-AF65-F5344CB8AC3E}">
        <p14:creationId xmlns:p14="http://schemas.microsoft.com/office/powerpoint/2010/main" val="3547726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7B41C-1695-FE60-F5E2-823E170EFBA4}"/>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147B41C-1695-FE60-F5E2-823E170EF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2B73F5-A3A6-1106-A32A-644B0DDE5BF5}"/>
              </a:ext>
            </a:extLst>
          </p:cNvPr>
          <p:cNvSpPr>
            <a:spLocks noGrp="1"/>
          </p:cNvSpPr>
          <p:nvPr>
            <p:ph type="title"/>
          </p:nvPr>
        </p:nvSpPr>
        <p:spPr/>
        <p:txBody>
          <a:bodyPr vert="horz" rIns="91440"/>
          <a:lstStyle/>
          <a:p>
            <a:r>
              <a:rPr lang="en-US" dirty="0"/>
              <a:t>Geothermal Opportunity</a:t>
            </a:r>
          </a:p>
        </p:txBody>
      </p:sp>
    </p:spTree>
    <p:extLst>
      <p:ext uri="{BB962C8B-B14F-4D97-AF65-F5344CB8AC3E}">
        <p14:creationId xmlns:p14="http://schemas.microsoft.com/office/powerpoint/2010/main" val="2201544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large pipes in a factory&#10;&#10;AI-generated content may be incorrect.">
            <a:extLst>
              <a:ext uri="{FF2B5EF4-FFF2-40B4-BE49-F238E27FC236}">
                <a16:creationId xmlns:a16="http://schemas.microsoft.com/office/drawing/2014/main" id="{4702C3A3-ABCA-BA88-49F4-CBCCA981DE09}"/>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a:extLst>
              <a:ext uri="{FF2B5EF4-FFF2-40B4-BE49-F238E27FC236}">
                <a16:creationId xmlns:a16="http://schemas.microsoft.com/office/drawing/2014/main" id="{804A3B90-5B0F-3D13-40FF-F21D1DFCEBE5}"/>
              </a:ext>
            </a:extLst>
          </p:cNvPr>
          <p:cNvSpPr>
            <a:spLocks noGrp="1"/>
          </p:cNvSpPr>
          <p:nvPr>
            <p:ph type="body" sz="quarter" idx="13"/>
          </p:nvPr>
        </p:nvSpPr>
        <p:spPr/>
        <p:txBody>
          <a:bodyPr/>
          <a:lstStyle/>
          <a:p>
            <a:pPr marL="0" indent="0">
              <a:buNone/>
            </a:pPr>
            <a:r>
              <a:rPr lang="en-US" sz="1200" dirty="0"/>
              <a:t>Traditional </a:t>
            </a:r>
            <a:r>
              <a:rPr lang="en-US" sz="1200" b="1" dirty="0"/>
              <a:t>hydrothermal geothermal</a:t>
            </a:r>
            <a:r>
              <a:rPr lang="en-US" sz="1200" dirty="0"/>
              <a:t> taps naturally occurring hot water and steam reservoirs near the surface. These mature systems provide </a:t>
            </a:r>
            <a:r>
              <a:rPr lang="en-US" sz="1200" b="1" dirty="0"/>
              <a:t>reliable, low-cost baseload power</a:t>
            </a:r>
            <a:r>
              <a:rPr lang="en-US" sz="1200" dirty="0"/>
              <a:t> but are geographically limited to areas with accessible heat and permeability.</a:t>
            </a:r>
          </a:p>
          <a:p>
            <a:pPr marL="0" indent="0">
              <a:buNone/>
            </a:pPr>
            <a:endParaRPr lang="en-US" sz="1200" dirty="0"/>
          </a:p>
          <a:p>
            <a:pPr marL="0" indent="0">
              <a:buNone/>
            </a:pPr>
            <a:r>
              <a:rPr lang="en-US" sz="1200" b="1" dirty="0" err="1"/>
              <a:t>Petrothermal</a:t>
            </a:r>
            <a:r>
              <a:rPr lang="en-US" sz="1200" b="1" dirty="0"/>
              <a:t> (enhanced or engineered geothermal systems)</a:t>
            </a:r>
            <a:r>
              <a:rPr lang="en-US" sz="1200" dirty="0"/>
              <a:t> use advanced drilling and stimulation to access </a:t>
            </a:r>
            <a:r>
              <a:rPr lang="en-US" sz="1200" b="1" dirty="0"/>
              <a:t>dry, hot rock at greater depths</a:t>
            </a:r>
            <a:r>
              <a:rPr lang="en-US" sz="1200" dirty="0"/>
              <a:t>, creating artificial reservoirs where none existed. This breakthrough could unlock geothermal potential worldwide, independent of surface resource availability, making geothermal energy a truly global rather than niche solution.</a:t>
            </a:r>
          </a:p>
          <a:p>
            <a:pPr marL="0" indent="0">
              <a:buNone/>
            </a:pPr>
            <a:endParaRPr lang="en-US" sz="1200" dirty="0"/>
          </a:p>
          <a:p>
            <a:pPr marL="0" indent="0">
              <a:buNone/>
            </a:pPr>
            <a:r>
              <a:rPr lang="en-US" sz="1200" dirty="0"/>
              <a:t>At extreme depths and temperatures (&gt;400°C), </a:t>
            </a:r>
            <a:r>
              <a:rPr lang="en-US" sz="1200" b="1" dirty="0"/>
              <a:t>superhot rock systems</a:t>
            </a:r>
            <a:r>
              <a:rPr lang="en-US" sz="1200" dirty="0"/>
              <a:t> could generate </a:t>
            </a:r>
            <a:r>
              <a:rPr lang="en-US" sz="1200" b="1" dirty="0"/>
              <a:t>5 to 10 times more energy per well</a:t>
            </a:r>
            <a:r>
              <a:rPr lang="en-US" sz="1200" dirty="0"/>
              <a:t> than conventional geothermal. These projects promise </a:t>
            </a:r>
            <a:r>
              <a:rPr lang="en-US" sz="1200" b="1" dirty="0"/>
              <a:t>ultraefficient, zero-emission power</a:t>
            </a:r>
            <a:r>
              <a:rPr lang="en-US" sz="1200" dirty="0"/>
              <a:t>, though they remain in early demonstration phases.</a:t>
            </a:r>
          </a:p>
          <a:p>
            <a:pPr marL="0" indent="0">
              <a:buNone/>
            </a:pPr>
            <a:endParaRPr lang="en-US" sz="1200" dirty="0"/>
          </a:p>
          <a:p>
            <a:pPr marL="0" indent="0">
              <a:buNone/>
            </a:pPr>
            <a:r>
              <a:rPr lang="en-US" sz="1200" dirty="0"/>
              <a:t>Modern drilling techniques — some borrowed from the </a:t>
            </a:r>
            <a:r>
              <a:rPr lang="en-US" sz="1200" b="1" dirty="0"/>
              <a:t>oil and gas industry </a:t>
            </a:r>
            <a:r>
              <a:rPr lang="en-US" sz="1200" dirty="0"/>
              <a:t>— include </a:t>
            </a:r>
            <a:r>
              <a:rPr lang="en-US" sz="1200" b="1" dirty="0"/>
              <a:t>directional drilling, hydraulic fracturing, and plasma or millimeter-wave drilling</a:t>
            </a:r>
            <a:r>
              <a:rPr lang="en-US" sz="1200" dirty="0"/>
              <a:t>. These techniques are driving </a:t>
            </a:r>
            <a:r>
              <a:rPr lang="en-US" sz="1200" b="1" dirty="0"/>
              <a:t>cost reductions and deeper resource access</a:t>
            </a:r>
            <a:r>
              <a:rPr lang="en-US" sz="1200" dirty="0"/>
              <a:t>, expanding </a:t>
            </a:r>
            <a:r>
              <a:rPr lang="en-US" sz="1200" dirty="0" err="1"/>
              <a:t>geothermal’s</a:t>
            </a:r>
            <a:r>
              <a:rPr lang="en-US" sz="1200" dirty="0"/>
              <a:t> viable footprint.</a:t>
            </a:r>
          </a:p>
          <a:p>
            <a:pPr marL="0" indent="0">
              <a:buNone/>
            </a:pPr>
            <a:endParaRPr lang="en-US" sz="1200" dirty="0"/>
          </a:p>
          <a:p>
            <a:pPr marL="0" indent="0">
              <a:buNone/>
            </a:pPr>
            <a:r>
              <a:rPr lang="en-US" sz="1200" dirty="0"/>
              <a:t>Geothermal brines are rich in </a:t>
            </a:r>
            <a:r>
              <a:rPr lang="en-US" sz="1200" b="1" dirty="0"/>
              <a:t>critical minerals</a:t>
            </a:r>
            <a:r>
              <a:rPr lang="en-US" sz="1200" dirty="0"/>
              <a:t> such as </a:t>
            </a:r>
            <a:r>
              <a:rPr lang="en-US" sz="1200" b="1" dirty="0"/>
              <a:t>lithium, manganese, and zinc</a:t>
            </a:r>
            <a:r>
              <a:rPr lang="en-US" sz="1200" dirty="0"/>
              <a:t>, enabling </a:t>
            </a:r>
            <a:r>
              <a:rPr lang="en-US" sz="1200" b="1" dirty="0"/>
              <a:t>co-production of clean energy and essential materials</a:t>
            </a:r>
            <a:r>
              <a:rPr lang="en-US" sz="1200" dirty="0"/>
              <a:t> for batteries and energy storage. This overlap strengthens </a:t>
            </a:r>
            <a:r>
              <a:rPr lang="en-US" sz="1200" dirty="0" err="1"/>
              <a:t>geothermal’s</a:t>
            </a:r>
            <a:r>
              <a:rPr lang="en-US" sz="1200" dirty="0"/>
              <a:t> strategic value across the </a:t>
            </a:r>
            <a:r>
              <a:rPr lang="en-US" sz="1200" b="1" dirty="0"/>
              <a:t>energy transition supply chain</a:t>
            </a:r>
            <a:r>
              <a:rPr lang="en-US" sz="1200" dirty="0"/>
              <a:t>.</a:t>
            </a:r>
          </a:p>
          <a:p>
            <a:pPr marL="0" indent="0">
              <a:buNone/>
            </a:pPr>
            <a:endParaRPr lang="en-US" sz="1200" dirty="0"/>
          </a:p>
          <a:p>
            <a:pPr marL="0" indent="0">
              <a:buNone/>
            </a:pPr>
            <a:r>
              <a:rPr lang="en-US" sz="1200" dirty="0"/>
              <a:t>Artificial intelligence and machine learning are transforming exploration by </a:t>
            </a:r>
            <a:r>
              <a:rPr lang="en-US" sz="1200" b="1" dirty="0"/>
              <a:t>analyzing geophysical data, seismic imaging, and well logs</a:t>
            </a:r>
            <a:r>
              <a:rPr lang="en-US" sz="1200" dirty="0"/>
              <a:t> to identify optimal drilling zones, predict subsurface conditions, and reduce exploration risk and cost.</a:t>
            </a:r>
          </a:p>
          <a:p>
            <a:pPr marL="0" indent="0">
              <a:buNone/>
            </a:pPr>
            <a:endParaRPr lang="en-US" sz="1200" dirty="0"/>
          </a:p>
          <a:p>
            <a:pPr marL="0" indent="0">
              <a:buNone/>
            </a:pPr>
            <a:r>
              <a:rPr lang="en-US" sz="1200" b="1" dirty="0"/>
              <a:t>Nuclear and geothermal</a:t>
            </a:r>
            <a:r>
              <a:rPr lang="en-US" sz="1200" dirty="0"/>
              <a:t> are the only </a:t>
            </a:r>
            <a:r>
              <a:rPr lang="en-US" sz="1200" b="1" dirty="0"/>
              <a:t>scalable, zero-carbon baseload technologies</a:t>
            </a:r>
            <a:r>
              <a:rPr lang="en-US" sz="1200" dirty="0"/>
              <a:t> capable of providing continuous power independent of weather, season, or geography. Nuclear fusion innovation has found cross-sector use cases in drilling applications aiming to induce capabilities to melt granite and basalt.</a:t>
            </a:r>
          </a:p>
        </p:txBody>
      </p:sp>
      <p:sp>
        <p:nvSpPr>
          <p:cNvPr id="5" name="Content Placeholder 4">
            <a:extLst>
              <a:ext uri="{FF2B5EF4-FFF2-40B4-BE49-F238E27FC236}">
                <a16:creationId xmlns:a16="http://schemas.microsoft.com/office/drawing/2014/main" id="{26D7BB20-BD7F-A26A-61CC-EECB53EF02AF}"/>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Technology</a:t>
            </a:r>
          </a:p>
        </p:txBody>
      </p:sp>
      <p:sp>
        <p:nvSpPr>
          <p:cNvPr id="8" name="Footer Placeholder 4">
            <a:extLst>
              <a:ext uri="{FF2B5EF4-FFF2-40B4-BE49-F238E27FC236}">
                <a16:creationId xmlns:a16="http://schemas.microsoft.com/office/drawing/2014/main" id="{C6EBB06F-1D22-1A35-AFEC-B50FFAFD78B2}"/>
              </a:ext>
            </a:extLst>
          </p:cNvPr>
          <p:cNvSpPr>
            <a:spLocks noGrp="1"/>
          </p:cNvSpPr>
          <p:nvPr>
            <p:ph type="ftr" sz="quarter" idx="3"/>
          </p:nvPr>
        </p:nvSpPr>
        <p:spPr>
          <a:xfrm>
            <a:off x="334962" y="6435873"/>
            <a:ext cx="9147241" cy="216706"/>
          </a:xfrm>
        </p:spPr>
        <p:txBody>
          <a:bodyPr/>
          <a:lstStyle/>
          <a:p>
            <a:pPr marL="0" indent="0">
              <a:buNone/>
            </a:pPr>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cxnSp>
        <p:nvCxnSpPr>
          <p:cNvPr id="9" name="Straight Connector 8">
            <a:extLst>
              <a:ext uri="{FF2B5EF4-FFF2-40B4-BE49-F238E27FC236}">
                <a16:creationId xmlns:a16="http://schemas.microsoft.com/office/drawing/2014/main" id="{FD4D9055-83A7-C9A6-2E36-FA996B453B9E}"/>
              </a:ext>
            </a:extLst>
          </p:cNvPr>
          <p:cNvCxnSpPr>
            <a:cxnSpLocks/>
          </p:cNvCxnSpPr>
          <p:nvPr/>
        </p:nvCxnSpPr>
        <p:spPr bwMode="gray">
          <a:xfrm>
            <a:off x="4186443" y="529960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53FFB2-09BA-5E84-8AB9-1AF5639F1D80}"/>
              </a:ext>
            </a:extLst>
          </p:cNvPr>
          <p:cNvCxnSpPr>
            <a:cxnSpLocks/>
          </p:cNvCxnSpPr>
          <p:nvPr/>
        </p:nvCxnSpPr>
        <p:spPr bwMode="gray">
          <a:xfrm>
            <a:off x="4186443" y="309953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B39748-3E1E-3CE9-A17A-E6E87301A66C}"/>
              </a:ext>
            </a:extLst>
          </p:cNvPr>
          <p:cNvCxnSpPr>
            <a:cxnSpLocks/>
          </p:cNvCxnSpPr>
          <p:nvPr/>
        </p:nvCxnSpPr>
        <p:spPr bwMode="gray">
          <a:xfrm>
            <a:off x="4186443" y="384196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00CB716-FF5C-8E07-3F64-23DDBAC4EC5D}"/>
              </a:ext>
            </a:extLst>
          </p:cNvPr>
          <p:cNvCxnSpPr>
            <a:cxnSpLocks/>
          </p:cNvCxnSpPr>
          <p:nvPr/>
        </p:nvCxnSpPr>
        <p:spPr bwMode="gray">
          <a:xfrm>
            <a:off x="4186443" y="45779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707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D1D499-35F9-5892-CD17-FE59ED9149F3}"/>
              </a:ext>
            </a:extLst>
          </p:cNvPr>
          <p:cNvGraphicFramePr>
            <a:graphicFrameLocks/>
          </p:cNvGraphicFramePr>
          <p:nvPr>
            <p:custDataLst>
              <p:tags r:id="rId1"/>
            </p:custDataLst>
            <p:extLst>
              <p:ext uri="{D42A27DB-BD31-4B8C-83A1-F6EECF244321}">
                <p14:modId xmlns:p14="http://schemas.microsoft.com/office/powerpoint/2010/main" val="736514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13E83AB-CE91-52C3-12E5-BCC29D267347}"/>
              </a:ext>
            </a:extLst>
          </p:cNvPr>
          <p:cNvSpPr>
            <a:spLocks noGrp="1"/>
          </p:cNvSpPr>
          <p:nvPr>
            <p:ph type="body" sz="quarter" idx="15"/>
          </p:nvPr>
        </p:nvSpPr>
        <p:spPr/>
        <p:txBody>
          <a:bodyPr/>
          <a:lstStyle/>
          <a:p>
            <a:r>
              <a:rPr lang="en-US" dirty="0">
                <a:solidFill>
                  <a:schemeClr val="bg1"/>
                </a:solidFill>
              </a:rPr>
              <a:t>Technology</a:t>
            </a:r>
          </a:p>
        </p:txBody>
      </p:sp>
      <p:sp>
        <p:nvSpPr>
          <p:cNvPr id="3" name="Title 2">
            <a:extLst>
              <a:ext uri="{FF2B5EF4-FFF2-40B4-BE49-F238E27FC236}">
                <a16:creationId xmlns:a16="http://schemas.microsoft.com/office/drawing/2014/main" id="{EA439E75-A126-10CF-928C-7A53FD9CE3B0}"/>
              </a:ext>
            </a:extLst>
          </p:cNvPr>
          <p:cNvSpPr>
            <a:spLocks noGrp="1"/>
          </p:cNvSpPr>
          <p:nvPr>
            <p:ph type="title"/>
          </p:nvPr>
        </p:nvSpPr>
        <p:spPr/>
        <p:txBody>
          <a:bodyPr vert="horz" rIns="91440"/>
          <a:lstStyle/>
          <a:p>
            <a:r>
              <a:rPr lang="en-US" dirty="0"/>
              <a:t>Conventional hydrothermal systems tap natural reservoirs; next-generation technologies reach broader heat resources</a:t>
            </a:r>
          </a:p>
        </p:txBody>
      </p:sp>
      <p:sp>
        <p:nvSpPr>
          <p:cNvPr id="5" name="Footer Placeholder 4">
            <a:extLst>
              <a:ext uri="{FF2B5EF4-FFF2-40B4-BE49-F238E27FC236}">
                <a16:creationId xmlns:a16="http://schemas.microsoft.com/office/drawing/2014/main" id="{6EB53577-A3EC-CB2F-5F79-1C00C0042372}"/>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Exploring geothermal energy-based systems: Review from basics to smart systems</a:t>
            </a:r>
            <a:r>
              <a:rPr lang="en-US" dirty="0">
                <a:solidFill>
                  <a:srgbClr val="000000"/>
                </a:solidFill>
              </a:rPr>
              <a:t> </a:t>
            </a:r>
            <a:r>
              <a:rPr lang="en-US" dirty="0">
                <a:solidFill>
                  <a:srgbClr val="000000"/>
                </a:solidFill>
                <a:hlinkClick r:id="rId6"/>
              </a:rPr>
              <a:t>(</a:t>
            </a:r>
            <a:r>
              <a:rPr lang="en-US" dirty="0">
                <a:solidFill>
                  <a:srgbClr val="000000"/>
                </a:solidFill>
              </a:rPr>
              <a:t>Renewable and Sustainable Energy Reviews, 2025).</a:t>
            </a:r>
          </a:p>
          <a:p>
            <a:pPr marL="0" indent="0">
              <a:spcBef>
                <a:spcPts val="0"/>
              </a:spcBef>
              <a:buNone/>
            </a:pPr>
            <a:r>
              <a:rPr lang="en-US" dirty="0">
                <a:solidFill>
                  <a:srgbClr val="000000"/>
                </a:solidFill>
              </a:rPr>
              <a:t>Credit: Sevgi Helin </a:t>
            </a:r>
            <a:r>
              <a:rPr lang="en-US" dirty="0" err="1">
                <a:solidFill>
                  <a:srgbClr val="000000"/>
                </a:solidFill>
              </a:rPr>
              <a:t>Tilkicioglu</a:t>
            </a:r>
            <a:r>
              <a:rPr lang="en-US" dirty="0">
                <a:solidFill>
                  <a:srgbClr val="000000"/>
                </a:solidFill>
              </a:rPr>
              <a:t>, Isabel Hoyos, </a:t>
            </a:r>
            <a:r>
              <a:rPr lang="en-US" dirty="0" err="1">
                <a:solidFill>
                  <a:srgbClr val="000000"/>
                </a:solidFill>
              </a:rPr>
              <a:t>Hyae</a:t>
            </a:r>
            <a:r>
              <a:rPr lang="en-US" dirty="0">
                <a:solidFill>
                  <a:srgbClr val="000000"/>
                </a:solidFill>
              </a:rPr>
              <a:t> Ryung Kim,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marL="0" indent="0">
              <a:spcBef>
                <a:spcPts val="0"/>
              </a:spcBef>
              <a:buNone/>
            </a:pPr>
            <a:endParaRPr lang="en-US" i="1" dirty="0"/>
          </a:p>
        </p:txBody>
      </p:sp>
      <p:sp>
        <p:nvSpPr>
          <p:cNvPr id="7" name="TextBox 6">
            <a:extLst>
              <a:ext uri="{FF2B5EF4-FFF2-40B4-BE49-F238E27FC236}">
                <a16:creationId xmlns:a16="http://schemas.microsoft.com/office/drawing/2014/main" id="{04356BEC-6970-2E46-895E-3B0F613D1010}"/>
              </a:ext>
            </a:extLst>
          </p:cNvPr>
          <p:cNvSpPr txBox="1"/>
          <p:nvPr/>
        </p:nvSpPr>
        <p:spPr bwMode="gray">
          <a:xfrm>
            <a:off x="6299047" y="1446904"/>
            <a:ext cx="5428281" cy="503590"/>
          </a:xfrm>
          <a:prstGeom prst="rect">
            <a:avLst/>
          </a:prstGeom>
          <a:noFill/>
        </p:spPr>
        <p:txBody>
          <a:bodyPr wrap="square" lIns="36000" tIns="36000" rIns="36000" bIns="36000" rtlCol="0">
            <a:spAutoFit/>
          </a:bodyPr>
          <a:lstStyle/>
          <a:p>
            <a:pPr marL="0" indent="0">
              <a:buNone/>
            </a:pPr>
            <a:r>
              <a:rPr lang="en-US" sz="1400" b="1" dirty="0">
                <a:latin typeface="Arial" panose="020B0604020202020204" pitchFamily="34" charset="0"/>
                <a:cs typeface="Arial" panose="020B0604020202020204" pitchFamily="34" charset="0"/>
              </a:rPr>
              <a:t>The three most important criteria to generate geothermal power are heat, fluid requirement, and permeability</a:t>
            </a:r>
          </a:p>
        </p:txBody>
      </p:sp>
      <p:pic>
        <p:nvPicPr>
          <p:cNvPr id="8" name="Graphic 7" descr="High temperature outline">
            <a:extLst>
              <a:ext uri="{FF2B5EF4-FFF2-40B4-BE49-F238E27FC236}">
                <a16:creationId xmlns:a16="http://schemas.microsoft.com/office/drawing/2014/main" id="{01C9240C-77F7-9DB2-4C53-9099F5FD1F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73966" y="2895200"/>
            <a:ext cx="509725" cy="509725"/>
          </a:xfrm>
          <a:prstGeom prst="rect">
            <a:avLst/>
          </a:prstGeom>
        </p:spPr>
      </p:pic>
      <p:sp>
        <p:nvSpPr>
          <p:cNvPr id="9" name="TextBox 8">
            <a:extLst>
              <a:ext uri="{FF2B5EF4-FFF2-40B4-BE49-F238E27FC236}">
                <a16:creationId xmlns:a16="http://schemas.microsoft.com/office/drawing/2014/main" id="{67B992D5-6106-5A46-7422-D6D0BAA87D47}"/>
              </a:ext>
            </a:extLst>
          </p:cNvPr>
          <p:cNvSpPr txBox="1"/>
          <p:nvPr/>
        </p:nvSpPr>
        <p:spPr bwMode="gray">
          <a:xfrm>
            <a:off x="6926504" y="2836712"/>
            <a:ext cx="775944" cy="626701"/>
          </a:xfrm>
          <a:prstGeom prst="rect">
            <a:avLst/>
          </a:prstGeom>
          <a:noFill/>
        </p:spPr>
        <p:txBody>
          <a:bodyPr wrap="square" lIns="36000" tIns="36000" rIns="36000" bIns="36000" rtlCol="0">
            <a:spAutoFit/>
          </a:bodyPr>
          <a:lstStyle/>
          <a:p>
            <a:pPr marL="0" indent="0">
              <a:buNone/>
            </a:pPr>
            <a:r>
              <a:rPr lang="en-US" sz="1200" b="1" dirty="0">
                <a:latin typeface="Arial" panose="020B0604020202020204" pitchFamily="34" charset="0"/>
                <a:cs typeface="Arial" panose="020B0604020202020204" pitchFamily="34" charset="0"/>
              </a:rPr>
              <a:t>Heat </a:t>
            </a:r>
            <a:r>
              <a:rPr lang="en-US" sz="1200" dirty="0">
                <a:latin typeface="Arial" panose="020B0604020202020204" pitchFamily="34" charset="0"/>
                <a:cs typeface="Arial" panose="020B0604020202020204" pitchFamily="34" charset="0"/>
              </a:rPr>
              <a:t>(varies by depth)</a:t>
            </a:r>
          </a:p>
        </p:txBody>
      </p:sp>
      <p:pic>
        <p:nvPicPr>
          <p:cNvPr id="10" name="Graphic 9" descr="Water outline">
            <a:extLst>
              <a:ext uri="{FF2B5EF4-FFF2-40B4-BE49-F238E27FC236}">
                <a16:creationId xmlns:a16="http://schemas.microsoft.com/office/drawing/2014/main" id="{51234776-E6C7-83EA-5053-C943BBF817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73966" y="3806753"/>
            <a:ext cx="509725" cy="509725"/>
          </a:xfrm>
          <a:prstGeom prst="rect">
            <a:avLst/>
          </a:prstGeom>
        </p:spPr>
      </p:pic>
      <p:sp>
        <p:nvSpPr>
          <p:cNvPr id="11" name="TextBox 10">
            <a:extLst>
              <a:ext uri="{FF2B5EF4-FFF2-40B4-BE49-F238E27FC236}">
                <a16:creationId xmlns:a16="http://schemas.microsoft.com/office/drawing/2014/main" id="{799F2B75-8DB1-A9F5-C630-1878FEDBC086}"/>
              </a:ext>
            </a:extLst>
          </p:cNvPr>
          <p:cNvSpPr txBox="1"/>
          <p:nvPr/>
        </p:nvSpPr>
        <p:spPr bwMode="gray">
          <a:xfrm>
            <a:off x="6971192" y="3934162"/>
            <a:ext cx="509725" cy="257369"/>
          </a:xfrm>
          <a:prstGeom prst="rect">
            <a:avLst/>
          </a:prstGeom>
          <a:noFill/>
        </p:spPr>
        <p:txBody>
          <a:bodyPr wrap="square" lIns="36000" tIns="36000" rIns="36000" bIns="36000" rtlCol="0">
            <a:spAutoFit/>
          </a:bodyPr>
          <a:lstStyle/>
          <a:p>
            <a:pPr marL="0" indent="0">
              <a:buNone/>
            </a:pPr>
            <a:r>
              <a:rPr lang="en-US" sz="1200" b="1" dirty="0">
                <a:latin typeface="Arial" panose="020B0604020202020204" pitchFamily="34" charset="0"/>
                <a:cs typeface="Arial" panose="020B0604020202020204" pitchFamily="34" charset="0"/>
              </a:rPr>
              <a:t>Fluid</a:t>
            </a:r>
          </a:p>
        </p:txBody>
      </p:sp>
      <p:pic>
        <p:nvPicPr>
          <p:cNvPr id="12" name="Graphic 11" descr="Stacked Rocks outline">
            <a:extLst>
              <a:ext uri="{FF2B5EF4-FFF2-40B4-BE49-F238E27FC236}">
                <a16:creationId xmlns:a16="http://schemas.microsoft.com/office/drawing/2014/main" id="{9CF85560-761B-3242-E6B0-B10A8148D70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73966" y="4659818"/>
            <a:ext cx="509725" cy="509725"/>
          </a:xfrm>
          <a:prstGeom prst="rect">
            <a:avLst/>
          </a:prstGeom>
        </p:spPr>
      </p:pic>
      <p:sp>
        <p:nvSpPr>
          <p:cNvPr id="13" name="TextBox 12">
            <a:extLst>
              <a:ext uri="{FF2B5EF4-FFF2-40B4-BE49-F238E27FC236}">
                <a16:creationId xmlns:a16="http://schemas.microsoft.com/office/drawing/2014/main" id="{3A65240D-381A-FE2C-F81B-092276B1A28C}"/>
              </a:ext>
            </a:extLst>
          </p:cNvPr>
          <p:cNvSpPr txBox="1"/>
          <p:nvPr/>
        </p:nvSpPr>
        <p:spPr bwMode="gray">
          <a:xfrm>
            <a:off x="6968869" y="4829001"/>
            <a:ext cx="1107557" cy="257369"/>
          </a:xfrm>
          <a:prstGeom prst="rect">
            <a:avLst/>
          </a:prstGeom>
          <a:noFill/>
        </p:spPr>
        <p:txBody>
          <a:bodyPr wrap="square" lIns="36000" tIns="36000" rIns="36000" bIns="36000" rtlCol="0">
            <a:spAutoFit/>
          </a:bodyPr>
          <a:lstStyle/>
          <a:p>
            <a:pPr marL="0" indent="0">
              <a:buNone/>
            </a:pPr>
            <a:r>
              <a:rPr lang="en-US" sz="1200" b="1" dirty="0">
                <a:latin typeface="Arial" panose="020B0604020202020204" pitchFamily="34" charset="0"/>
                <a:cs typeface="Arial" panose="020B0604020202020204" pitchFamily="34" charset="0"/>
              </a:rPr>
              <a:t>Permeability</a:t>
            </a:r>
          </a:p>
        </p:txBody>
      </p:sp>
      <p:sp>
        <p:nvSpPr>
          <p:cNvPr id="14" name="TextBox 13">
            <a:extLst>
              <a:ext uri="{FF2B5EF4-FFF2-40B4-BE49-F238E27FC236}">
                <a16:creationId xmlns:a16="http://schemas.microsoft.com/office/drawing/2014/main" id="{99BA85D6-60AC-2CA2-4E1A-C0598BE8F1CE}"/>
              </a:ext>
            </a:extLst>
          </p:cNvPr>
          <p:cNvSpPr txBox="1"/>
          <p:nvPr/>
        </p:nvSpPr>
        <p:spPr bwMode="gray">
          <a:xfrm>
            <a:off x="8233751" y="2050089"/>
            <a:ext cx="1386083" cy="503590"/>
          </a:xfrm>
          <a:prstGeom prst="rect">
            <a:avLst/>
          </a:prstGeom>
          <a:noFill/>
        </p:spPr>
        <p:txBody>
          <a:bodyPr wrap="square" lIns="36000" tIns="36000" rIns="36000" bIns="36000" rtlCol="0">
            <a:spAutoFit/>
          </a:bodyPr>
          <a:lstStyle/>
          <a:p>
            <a:pPr marL="0" indent="0">
              <a:buNone/>
            </a:pPr>
            <a:r>
              <a:rPr lang="en-US" sz="1400" b="1" dirty="0">
                <a:latin typeface="Arial" panose="020B0604020202020204" pitchFamily="34" charset="0"/>
                <a:cs typeface="Arial" panose="020B0604020202020204" pitchFamily="34" charset="0"/>
              </a:rPr>
              <a:t>Conventional/</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hydrothermal</a:t>
            </a:r>
          </a:p>
        </p:txBody>
      </p:sp>
      <p:sp>
        <p:nvSpPr>
          <p:cNvPr id="15" name="TextBox 14">
            <a:extLst>
              <a:ext uri="{FF2B5EF4-FFF2-40B4-BE49-F238E27FC236}">
                <a16:creationId xmlns:a16="http://schemas.microsoft.com/office/drawing/2014/main" id="{84B4EAD2-6814-3E88-1761-9722CB8A4DA6}"/>
              </a:ext>
            </a:extLst>
          </p:cNvPr>
          <p:cNvSpPr txBox="1"/>
          <p:nvPr/>
        </p:nvSpPr>
        <p:spPr bwMode="gray">
          <a:xfrm>
            <a:off x="9750152" y="2050089"/>
            <a:ext cx="2140800" cy="503590"/>
          </a:xfrm>
          <a:prstGeom prst="rect">
            <a:avLst/>
          </a:prstGeom>
          <a:noFill/>
        </p:spPr>
        <p:txBody>
          <a:bodyPr wrap="square" lIns="36000" tIns="36000" rIns="36000" bIns="36000" rtlCol="0">
            <a:spAutoFit/>
          </a:bodyPr>
          <a:lstStyle/>
          <a:p>
            <a:pPr marL="0" indent="0">
              <a:buNone/>
            </a:pPr>
            <a:r>
              <a:rPr lang="en-US" sz="1400" b="1" dirty="0">
                <a:latin typeface="Arial" panose="020B0604020202020204" pitchFamily="34" charset="0"/>
                <a:cs typeface="Arial" panose="020B0604020202020204" pitchFamily="34" charset="0"/>
              </a:rPr>
              <a:t>Next-generation/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frontier technologies </a:t>
            </a:r>
          </a:p>
        </p:txBody>
      </p:sp>
      <p:cxnSp>
        <p:nvCxnSpPr>
          <p:cNvPr id="16" name="Straight Connector 15">
            <a:extLst>
              <a:ext uri="{FF2B5EF4-FFF2-40B4-BE49-F238E27FC236}">
                <a16:creationId xmlns:a16="http://schemas.microsoft.com/office/drawing/2014/main" id="{2D4B55EF-766F-6358-D4BE-39AE107FD427}"/>
              </a:ext>
            </a:extLst>
          </p:cNvPr>
          <p:cNvCxnSpPr/>
          <p:nvPr/>
        </p:nvCxnSpPr>
        <p:spPr bwMode="gray">
          <a:xfrm>
            <a:off x="6405865" y="2665042"/>
            <a:ext cx="5212080"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9491D2B-907C-8B56-3064-5DD9957694F5}"/>
              </a:ext>
            </a:extLst>
          </p:cNvPr>
          <p:cNvCxnSpPr/>
          <p:nvPr/>
        </p:nvCxnSpPr>
        <p:spPr bwMode="gray">
          <a:xfrm>
            <a:off x="6405865" y="3635083"/>
            <a:ext cx="5212080"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465BDB2-BABB-47F7-FC96-7C13B6E56A8E}"/>
              </a:ext>
            </a:extLst>
          </p:cNvPr>
          <p:cNvCxnSpPr/>
          <p:nvPr/>
        </p:nvCxnSpPr>
        <p:spPr bwMode="gray">
          <a:xfrm>
            <a:off x="6405865" y="4488148"/>
            <a:ext cx="5212080"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F00E152-1C16-86CC-42F6-4A971D3DE683}"/>
              </a:ext>
            </a:extLst>
          </p:cNvPr>
          <p:cNvSpPr txBox="1"/>
          <p:nvPr/>
        </p:nvSpPr>
        <p:spPr bwMode="gray">
          <a:xfrm>
            <a:off x="8233751" y="3137780"/>
            <a:ext cx="798864" cy="257369"/>
          </a:xfrm>
          <a:prstGeom prst="rect">
            <a:avLst/>
          </a:prstGeom>
          <a:noFill/>
        </p:spPr>
        <p:txBody>
          <a:bodyPr wrap="none" lIns="36000" tIns="36000" rIns="36000" bIns="36000" rtlCol="0">
            <a:spAutoFit/>
          </a:bodyPr>
          <a:lstStyle/>
          <a:p>
            <a:pPr marL="0" indent="0">
              <a:buNone/>
            </a:pPr>
            <a:r>
              <a:rPr lang="en-US" sz="1200" dirty="0"/>
              <a:t>0.1-4.5 km</a:t>
            </a:r>
          </a:p>
        </p:txBody>
      </p:sp>
      <p:sp>
        <p:nvSpPr>
          <p:cNvPr id="20" name="TextBox 19">
            <a:extLst>
              <a:ext uri="{FF2B5EF4-FFF2-40B4-BE49-F238E27FC236}">
                <a16:creationId xmlns:a16="http://schemas.microsoft.com/office/drawing/2014/main" id="{85778259-DE4D-8A3A-8C47-A3D293DF699E}"/>
              </a:ext>
            </a:extLst>
          </p:cNvPr>
          <p:cNvSpPr txBox="1"/>
          <p:nvPr/>
        </p:nvSpPr>
        <p:spPr bwMode="gray">
          <a:xfrm>
            <a:off x="9750152" y="3137780"/>
            <a:ext cx="627342" cy="257369"/>
          </a:xfrm>
          <a:prstGeom prst="rect">
            <a:avLst/>
          </a:prstGeom>
          <a:noFill/>
        </p:spPr>
        <p:txBody>
          <a:bodyPr wrap="none" lIns="36000" tIns="36000" rIns="36000" bIns="36000" rtlCol="0">
            <a:spAutoFit/>
          </a:bodyPr>
          <a:lstStyle/>
          <a:p>
            <a:pPr marL="0" indent="0">
              <a:buNone/>
            </a:pPr>
            <a:r>
              <a:rPr lang="en-US" sz="1200" dirty="0"/>
              <a:t>2-10 km</a:t>
            </a:r>
          </a:p>
        </p:txBody>
      </p:sp>
      <p:sp>
        <p:nvSpPr>
          <p:cNvPr id="21" name="TextBox 20">
            <a:extLst>
              <a:ext uri="{FF2B5EF4-FFF2-40B4-BE49-F238E27FC236}">
                <a16:creationId xmlns:a16="http://schemas.microsoft.com/office/drawing/2014/main" id="{C8221FCD-784B-1A39-B175-2A702164DDBF}"/>
              </a:ext>
            </a:extLst>
          </p:cNvPr>
          <p:cNvSpPr txBox="1"/>
          <p:nvPr/>
        </p:nvSpPr>
        <p:spPr bwMode="gray">
          <a:xfrm>
            <a:off x="8233751" y="3934162"/>
            <a:ext cx="693066" cy="257369"/>
          </a:xfrm>
          <a:prstGeom prst="rect">
            <a:avLst/>
          </a:prstGeom>
          <a:noFill/>
        </p:spPr>
        <p:txBody>
          <a:bodyPr wrap="none" lIns="36000" tIns="36000" rIns="36000" bIns="36000" rtlCol="0">
            <a:spAutoFit/>
          </a:bodyPr>
          <a:lstStyle/>
          <a:p>
            <a:pPr marL="0" indent="0">
              <a:buNone/>
            </a:pPr>
            <a:r>
              <a:rPr lang="en-US" sz="1200" dirty="0"/>
              <a:t>Required</a:t>
            </a:r>
          </a:p>
        </p:txBody>
      </p:sp>
      <p:sp>
        <p:nvSpPr>
          <p:cNvPr id="22" name="TextBox 21">
            <a:extLst>
              <a:ext uri="{FF2B5EF4-FFF2-40B4-BE49-F238E27FC236}">
                <a16:creationId xmlns:a16="http://schemas.microsoft.com/office/drawing/2014/main" id="{056B9EF2-B1F4-108E-DB8B-E11F4A7BF6FC}"/>
              </a:ext>
            </a:extLst>
          </p:cNvPr>
          <p:cNvSpPr txBox="1"/>
          <p:nvPr/>
        </p:nvSpPr>
        <p:spPr bwMode="gray">
          <a:xfrm>
            <a:off x="8233751" y="4829001"/>
            <a:ext cx="693066" cy="257369"/>
          </a:xfrm>
          <a:prstGeom prst="rect">
            <a:avLst/>
          </a:prstGeom>
          <a:noFill/>
        </p:spPr>
        <p:txBody>
          <a:bodyPr wrap="none" lIns="36000" tIns="36000" rIns="36000" bIns="36000" rtlCol="0">
            <a:spAutoFit/>
          </a:bodyPr>
          <a:lstStyle/>
          <a:p>
            <a:pPr marL="0" indent="0">
              <a:buNone/>
            </a:pPr>
            <a:r>
              <a:rPr lang="en-US" sz="1200" dirty="0"/>
              <a:t>Required</a:t>
            </a:r>
          </a:p>
        </p:txBody>
      </p:sp>
      <p:sp>
        <p:nvSpPr>
          <p:cNvPr id="23" name="TextBox 22">
            <a:extLst>
              <a:ext uri="{FF2B5EF4-FFF2-40B4-BE49-F238E27FC236}">
                <a16:creationId xmlns:a16="http://schemas.microsoft.com/office/drawing/2014/main" id="{9DD77A37-077D-ACBE-B3D7-0C8981C55782}"/>
              </a:ext>
            </a:extLst>
          </p:cNvPr>
          <p:cNvSpPr txBox="1"/>
          <p:nvPr/>
        </p:nvSpPr>
        <p:spPr bwMode="gray">
          <a:xfrm>
            <a:off x="9750152" y="2793613"/>
            <a:ext cx="632152" cy="257369"/>
          </a:xfrm>
          <a:prstGeom prst="rect">
            <a:avLst/>
          </a:prstGeom>
          <a:noFill/>
        </p:spPr>
        <p:txBody>
          <a:bodyPr wrap="none" lIns="36000" tIns="36000" rIns="36000" bIns="36000" rtlCol="0">
            <a:spAutoFit/>
          </a:bodyPr>
          <a:lstStyle/>
          <a:p>
            <a:pPr marL="0" indent="0">
              <a:buNone/>
            </a:pPr>
            <a:r>
              <a:rPr lang="en-US" sz="1200" dirty="0"/>
              <a:t>&gt;200°C </a:t>
            </a:r>
          </a:p>
        </p:txBody>
      </p:sp>
      <p:sp>
        <p:nvSpPr>
          <p:cNvPr id="24" name="TextBox 23">
            <a:extLst>
              <a:ext uri="{FF2B5EF4-FFF2-40B4-BE49-F238E27FC236}">
                <a16:creationId xmlns:a16="http://schemas.microsoft.com/office/drawing/2014/main" id="{D1778E99-AC9D-9D76-590B-284AFF941F46}"/>
              </a:ext>
            </a:extLst>
          </p:cNvPr>
          <p:cNvSpPr txBox="1"/>
          <p:nvPr/>
        </p:nvSpPr>
        <p:spPr bwMode="gray">
          <a:xfrm>
            <a:off x="8233751" y="2793613"/>
            <a:ext cx="896647" cy="257369"/>
          </a:xfrm>
          <a:prstGeom prst="rect">
            <a:avLst/>
          </a:prstGeom>
          <a:noFill/>
        </p:spPr>
        <p:txBody>
          <a:bodyPr wrap="none" lIns="36000" tIns="36000" rIns="36000" bIns="36000" rtlCol="0">
            <a:spAutoFit/>
          </a:bodyPr>
          <a:lstStyle/>
          <a:p>
            <a:pPr marL="0" indent="0">
              <a:buNone/>
            </a:pPr>
            <a:r>
              <a:rPr lang="en-US" sz="1200" dirty="0"/>
              <a:t>85-180°C+  </a:t>
            </a:r>
          </a:p>
        </p:txBody>
      </p:sp>
      <p:sp>
        <p:nvSpPr>
          <p:cNvPr id="25" name="TextBox 24">
            <a:extLst>
              <a:ext uri="{FF2B5EF4-FFF2-40B4-BE49-F238E27FC236}">
                <a16:creationId xmlns:a16="http://schemas.microsoft.com/office/drawing/2014/main" id="{16E7FC48-D029-0FCE-5EBD-B42A4CE5BE38}"/>
              </a:ext>
            </a:extLst>
          </p:cNvPr>
          <p:cNvSpPr txBox="1"/>
          <p:nvPr/>
        </p:nvSpPr>
        <p:spPr bwMode="gray">
          <a:xfrm>
            <a:off x="9750152" y="3934162"/>
            <a:ext cx="2058824" cy="442035"/>
          </a:xfrm>
          <a:prstGeom prst="rect">
            <a:avLst/>
          </a:prstGeom>
          <a:noFill/>
        </p:spPr>
        <p:txBody>
          <a:bodyPr wrap="none" lIns="36000" tIns="36000" rIns="36000" bIns="36000" rtlCol="0">
            <a:spAutoFit/>
          </a:bodyPr>
          <a:lstStyle/>
          <a:p>
            <a:pPr marL="0" indent="0">
              <a:buNone/>
            </a:pPr>
            <a:r>
              <a:rPr lang="en-US" sz="1200" dirty="0"/>
              <a:t>Can be injected or circulated </a:t>
            </a:r>
            <a:br>
              <a:rPr lang="en-US" sz="1200" dirty="0"/>
            </a:br>
            <a:r>
              <a:rPr lang="en-US" sz="1200" dirty="0"/>
              <a:t>in closed loop </a:t>
            </a:r>
          </a:p>
        </p:txBody>
      </p:sp>
      <p:sp>
        <p:nvSpPr>
          <p:cNvPr id="26" name="TextBox 25">
            <a:extLst>
              <a:ext uri="{FF2B5EF4-FFF2-40B4-BE49-F238E27FC236}">
                <a16:creationId xmlns:a16="http://schemas.microsoft.com/office/drawing/2014/main" id="{313C4390-6F0A-A775-B893-3E101E81FCEF}"/>
              </a:ext>
            </a:extLst>
          </p:cNvPr>
          <p:cNvSpPr txBox="1"/>
          <p:nvPr/>
        </p:nvSpPr>
        <p:spPr bwMode="gray">
          <a:xfrm>
            <a:off x="9761727" y="4829001"/>
            <a:ext cx="1675706" cy="442035"/>
          </a:xfrm>
          <a:prstGeom prst="rect">
            <a:avLst/>
          </a:prstGeom>
          <a:noFill/>
        </p:spPr>
        <p:txBody>
          <a:bodyPr wrap="none" lIns="36000" tIns="36000" rIns="36000" bIns="36000" rtlCol="0">
            <a:spAutoFit/>
          </a:bodyPr>
          <a:lstStyle/>
          <a:p>
            <a:pPr marL="0" indent="0">
              <a:buNone/>
            </a:pPr>
            <a:r>
              <a:rPr lang="en-US" sz="1200" dirty="0"/>
              <a:t>Created via stimulation </a:t>
            </a:r>
            <a:br>
              <a:rPr lang="en-US" sz="1200" dirty="0"/>
            </a:br>
            <a:r>
              <a:rPr lang="en-US" sz="1200" dirty="0"/>
              <a:t>or closed loop</a:t>
            </a:r>
          </a:p>
        </p:txBody>
      </p:sp>
      <p:cxnSp>
        <p:nvCxnSpPr>
          <p:cNvPr id="27" name="Straight Connector 26">
            <a:extLst>
              <a:ext uri="{FF2B5EF4-FFF2-40B4-BE49-F238E27FC236}">
                <a16:creationId xmlns:a16="http://schemas.microsoft.com/office/drawing/2014/main" id="{F248D25A-32FA-308F-ACE8-89842CEE5278}"/>
              </a:ext>
            </a:extLst>
          </p:cNvPr>
          <p:cNvCxnSpPr>
            <a:cxnSpLocks/>
          </p:cNvCxnSpPr>
          <p:nvPr/>
        </p:nvCxnSpPr>
        <p:spPr bwMode="gray">
          <a:xfrm>
            <a:off x="6251440" y="1952166"/>
            <a:ext cx="54864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C467112-05F5-5D7C-B3C9-A30DEE5EC1C8}"/>
              </a:ext>
            </a:extLst>
          </p:cNvPr>
          <p:cNvSpPr txBox="1"/>
          <p:nvPr/>
        </p:nvSpPr>
        <p:spPr bwMode="gray">
          <a:xfrm>
            <a:off x="303269" y="1534819"/>
            <a:ext cx="5476435" cy="309639"/>
          </a:xfrm>
          <a:prstGeom prst="rect">
            <a:avLst/>
          </a:prstGeom>
          <a:solidFill>
            <a:schemeClr val="bg2"/>
          </a:solidFill>
          <a:ln w="28575">
            <a:noFill/>
            <a:prstDash val="solid"/>
          </a:ln>
        </p:spPr>
        <p:txBody>
          <a:bodyPr wrap="square" lIns="36000" tIns="36000" rIns="36000" bIns="36000" rtlCol="0" anchor="t">
            <a:noAutofit/>
          </a:bodyPr>
          <a:lstStyle>
            <a:defPPr>
              <a:defRPr lang="en-US"/>
            </a:defPPr>
            <a:lvl1pPr marL="0" indent="0">
              <a:spcBef>
                <a:spcPts val="0"/>
              </a:spcBef>
              <a:buNone/>
              <a:defRPr sz="1400" b="1">
                <a:solidFill>
                  <a:schemeClr val="bg1"/>
                </a:solidFill>
              </a:defRPr>
            </a:lvl1pPr>
          </a:lstStyle>
          <a:p>
            <a:pPr algn="ctr"/>
            <a:r>
              <a:rPr lang="en-US" dirty="0">
                <a:cs typeface="Arial"/>
              </a:rPr>
              <a:t>Key pathways for harnessing geothermal for power</a:t>
            </a:r>
          </a:p>
        </p:txBody>
      </p:sp>
      <p:cxnSp>
        <p:nvCxnSpPr>
          <p:cNvPr id="29" name="Elbow Connector 28">
            <a:extLst>
              <a:ext uri="{FF2B5EF4-FFF2-40B4-BE49-F238E27FC236}">
                <a16:creationId xmlns:a16="http://schemas.microsoft.com/office/drawing/2014/main" id="{1F19FFC8-4666-238C-442A-CF1E8CFB7E94}"/>
              </a:ext>
            </a:extLst>
          </p:cNvPr>
          <p:cNvCxnSpPr>
            <a:cxnSpLocks/>
          </p:cNvCxnSpPr>
          <p:nvPr/>
        </p:nvCxnSpPr>
        <p:spPr bwMode="gray">
          <a:xfrm rot="10800000" flipH="1" flipV="1">
            <a:off x="3244613" y="2578265"/>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97A1E48F-E194-D937-EC23-4BC5D5EF7BA0}"/>
              </a:ext>
            </a:extLst>
          </p:cNvPr>
          <p:cNvCxnSpPr/>
          <p:nvPr/>
        </p:nvCxnSpPr>
        <p:spPr bwMode="gray">
          <a:xfrm rot="10800000" flipH="1" flipV="1">
            <a:off x="3244613" y="2578266"/>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CC5BBA19-C355-DF09-F2D4-1342470A621B}"/>
              </a:ext>
            </a:extLst>
          </p:cNvPr>
          <p:cNvCxnSpPr>
            <a:cxnSpLocks/>
          </p:cNvCxnSpPr>
          <p:nvPr/>
        </p:nvCxnSpPr>
        <p:spPr bwMode="gray">
          <a:xfrm rot="16200000" flipH="1">
            <a:off x="336048" y="5073375"/>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BCD6C174-6AAB-1008-782D-28B36F136682}"/>
              </a:ext>
            </a:extLst>
          </p:cNvPr>
          <p:cNvCxnSpPr>
            <a:cxnSpLocks/>
          </p:cNvCxnSpPr>
          <p:nvPr/>
        </p:nvCxnSpPr>
        <p:spPr bwMode="gray">
          <a:xfrm rot="16200000" flipH="1">
            <a:off x="336048" y="5486075"/>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012265A2-A189-586F-5A0E-1484F18A08FE}"/>
              </a:ext>
            </a:extLst>
          </p:cNvPr>
          <p:cNvCxnSpPr>
            <a:cxnSpLocks/>
          </p:cNvCxnSpPr>
          <p:nvPr/>
        </p:nvCxnSpPr>
        <p:spPr bwMode="gray">
          <a:xfrm rot="16200000" flipH="1">
            <a:off x="336048" y="3495459"/>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9374650F-41D6-93CA-03DF-CC8F7BA4929C}"/>
              </a:ext>
            </a:extLst>
          </p:cNvPr>
          <p:cNvCxnSpPr>
            <a:cxnSpLocks/>
          </p:cNvCxnSpPr>
          <p:nvPr/>
        </p:nvCxnSpPr>
        <p:spPr bwMode="gray">
          <a:xfrm rot="16200000" flipH="1">
            <a:off x="336048" y="3904533"/>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B18D0578-0C18-E4BA-8954-467E7023AD76}"/>
              </a:ext>
            </a:extLst>
          </p:cNvPr>
          <p:cNvCxnSpPr>
            <a:cxnSpLocks/>
          </p:cNvCxnSpPr>
          <p:nvPr/>
        </p:nvCxnSpPr>
        <p:spPr bwMode="gray">
          <a:xfrm rot="16200000" flipH="1">
            <a:off x="336048" y="4317233"/>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77086A3B-BEE6-70E7-D59A-85AE038F3F60}"/>
              </a:ext>
            </a:extLst>
          </p:cNvPr>
          <p:cNvCxnSpPr>
            <a:cxnSpLocks/>
            <a:endCxn id="42" idx="1"/>
          </p:cNvCxnSpPr>
          <p:nvPr/>
        </p:nvCxnSpPr>
        <p:spPr bwMode="gray">
          <a:xfrm rot="16200000" flipH="1">
            <a:off x="-457925" y="4126958"/>
            <a:ext cx="1646398" cy="105706"/>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0272C2E-CA06-FE3D-B59A-FC3805066F88}"/>
              </a:ext>
            </a:extLst>
          </p:cNvPr>
          <p:cNvSpPr txBox="1"/>
          <p:nvPr/>
        </p:nvSpPr>
        <p:spPr bwMode="gray">
          <a:xfrm>
            <a:off x="418127" y="2792087"/>
            <a:ext cx="2429386" cy="374904"/>
          </a:xfrm>
          <a:prstGeom prst="rect">
            <a:avLst/>
          </a:prstGeom>
          <a:solidFill>
            <a:schemeClr val="accent5">
              <a:lumMod val="60000"/>
              <a:lumOff val="40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Conventional/hydrothermal</a:t>
            </a:r>
            <a:endParaRPr lang="en-US" sz="1000" b="1" dirty="0">
              <a:solidFill>
                <a:schemeClr val="bg1"/>
              </a:solidFill>
              <a:cs typeface="Arial"/>
            </a:endParaRPr>
          </a:p>
        </p:txBody>
      </p:sp>
      <p:sp>
        <p:nvSpPr>
          <p:cNvPr id="38" name="TextBox 37">
            <a:extLst>
              <a:ext uri="{FF2B5EF4-FFF2-40B4-BE49-F238E27FC236}">
                <a16:creationId xmlns:a16="http://schemas.microsoft.com/office/drawing/2014/main" id="{D5833E97-0E64-212A-1FB7-33AE079B31AC}"/>
              </a:ext>
            </a:extLst>
          </p:cNvPr>
          <p:cNvSpPr txBox="1"/>
          <p:nvPr/>
        </p:nvSpPr>
        <p:spPr bwMode="gray">
          <a:xfrm>
            <a:off x="646023" y="3603186"/>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dvanced geothermal/</a:t>
            </a:r>
            <a:br>
              <a:rPr lang="en-US" sz="1000" dirty="0"/>
            </a:br>
            <a:r>
              <a:rPr lang="en-US" sz="1000" dirty="0"/>
              <a:t>closed-loop systems </a:t>
            </a:r>
          </a:p>
        </p:txBody>
      </p:sp>
      <p:sp>
        <p:nvSpPr>
          <p:cNvPr id="39" name="TextBox 38">
            <a:extLst>
              <a:ext uri="{FF2B5EF4-FFF2-40B4-BE49-F238E27FC236}">
                <a16:creationId xmlns:a16="http://schemas.microsoft.com/office/drawing/2014/main" id="{E977FE3F-1E05-46A7-C1A2-D40DDDC4449E}"/>
              </a:ext>
            </a:extLst>
          </p:cNvPr>
          <p:cNvSpPr txBox="1"/>
          <p:nvPr/>
        </p:nvSpPr>
        <p:spPr bwMode="gray">
          <a:xfrm>
            <a:off x="646023" y="4007310"/>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Enhanced geothermal systems</a:t>
            </a:r>
          </a:p>
        </p:txBody>
      </p:sp>
      <p:sp>
        <p:nvSpPr>
          <p:cNvPr id="40" name="TextBox 39">
            <a:extLst>
              <a:ext uri="{FF2B5EF4-FFF2-40B4-BE49-F238E27FC236}">
                <a16:creationId xmlns:a16="http://schemas.microsoft.com/office/drawing/2014/main" id="{B9614FB4-39D1-7459-5272-EA1933ACC4E1}"/>
              </a:ext>
            </a:extLst>
          </p:cNvPr>
          <p:cNvSpPr txBox="1"/>
          <p:nvPr/>
        </p:nvSpPr>
        <p:spPr bwMode="gray">
          <a:xfrm>
            <a:off x="418127" y="3199062"/>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Next-generation technologies</a:t>
            </a:r>
          </a:p>
        </p:txBody>
      </p:sp>
      <p:sp>
        <p:nvSpPr>
          <p:cNvPr id="41" name="TextBox 40">
            <a:extLst>
              <a:ext uri="{FF2B5EF4-FFF2-40B4-BE49-F238E27FC236}">
                <a16:creationId xmlns:a16="http://schemas.microsoft.com/office/drawing/2014/main" id="{2F44F0D0-E1DC-0B07-53E9-062106E44CDA}"/>
              </a:ext>
            </a:extLst>
          </p:cNvPr>
          <p:cNvSpPr txBox="1"/>
          <p:nvPr/>
        </p:nvSpPr>
        <p:spPr bwMode="gray">
          <a:xfrm>
            <a:off x="646023" y="5219682"/>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Superhot rock </a:t>
            </a:r>
          </a:p>
        </p:txBody>
      </p:sp>
      <p:sp>
        <p:nvSpPr>
          <p:cNvPr id="42" name="TextBox 41">
            <a:extLst>
              <a:ext uri="{FF2B5EF4-FFF2-40B4-BE49-F238E27FC236}">
                <a16:creationId xmlns:a16="http://schemas.microsoft.com/office/drawing/2014/main" id="{B58415CB-4425-5286-225C-EEA373500AD9}"/>
              </a:ext>
            </a:extLst>
          </p:cNvPr>
          <p:cNvSpPr txBox="1"/>
          <p:nvPr/>
        </p:nvSpPr>
        <p:spPr bwMode="gray">
          <a:xfrm>
            <a:off x="418127" y="4815558"/>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Frontier technologies</a:t>
            </a:r>
          </a:p>
        </p:txBody>
      </p:sp>
      <p:sp>
        <p:nvSpPr>
          <p:cNvPr id="43" name="TextBox 42">
            <a:extLst>
              <a:ext uri="{FF2B5EF4-FFF2-40B4-BE49-F238E27FC236}">
                <a16:creationId xmlns:a16="http://schemas.microsoft.com/office/drawing/2014/main" id="{12241A7B-5BA9-AE95-3033-AABF5B552B98}"/>
              </a:ext>
            </a:extLst>
          </p:cNvPr>
          <p:cNvSpPr txBox="1"/>
          <p:nvPr/>
        </p:nvSpPr>
        <p:spPr bwMode="gray">
          <a:xfrm>
            <a:off x="646023" y="4411434"/>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Geopressured systems</a:t>
            </a:r>
          </a:p>
        </p:txBody>
      </p:sp>
      <p:sp>
        <p:nvSpPr>
          <p:cNvPr id="44" name="TextBox 43">
            <a:extLst>
              <a:ext uri="{FF2B5EF4-FFF2-40B4-BE49-F238E27FC236}">
                <a16:creationId xmlns:a16="http://schemas.microsoft.com/office/drawing/2014/main" id="{184C460D-D27A-2FE8-1EA7-2C0ED7E820A0}"/>
              </a:ext>
            </a:extLst>
          </p:cNvPr>
          <p:cNvSpPr txBox="1"/>
          <p:nvPr/>
        </p:nvSpPr>
        <p:spPr bwMode="gray">
          <a:xfrm>
            <a:off x="305481" y="2390814"/>
            <a:ext cx="2542032" cy="374904"/>
          </a:xfrm>
          <a:prstGeom prst="rect">
            <a:avLst/>
          </a:prstGeom>
          <a:solidFill>
            <a:schemeClr val="accent5"/>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Generation</a:t>
            </a:r>
          </a:p>
        </p:txBody>
      </p:sp>
      <p:sp>
        <p:nvSpPr>
          <p:cNvPr id="45" name="TextBox 44">
            <a:extLst>
              <a:ext uri="{FF2B5EF4-FFF2-40B4-BE49-F238E27FC236}">
                <a16:creationId xmlns:a16="http://schemas.microsoft.com/office/drawing/2014/main" id="{93C9A416-71FD-9327-5B0A-7EB9E81495BA}"/>
              </a:ext>
            </a:extLst>
          </p:cNvPr>
          <p:cNvSpPr txBox="1"/>
          <p:nvPr/>
        </p:nvSpPr>
        <p:spPr bwMode="gray">
          <a:xfrm>
            <a:off x="3237672" y="2390814"/>
            <a:ext cx="2542032" cy="374904"/>
          </a:xfrm>
          <a:prstGeom prst="rect">
            <a:avLst/>
          </a:prstGeom>
          <a:solidFill>
            <a:schemeClr val="accent6"/>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46" name="TextBox 45">
            <a:extLst>
              <a:ext uri="{FF2B5EF4-FFF2-40B4-BE49-F238E27FC236}">
                <a16:creationId xmlns:a16="http://schemas.microsoft.com/office/drawing/2014/main" id="{F03F5117-382F-7017-A085-808E1213CB10}"/>
              </a:ext>
            </a:extLst>
          </p:cNvPr>
          <p:cNvSpPr txBox="1"/>
          <p:nvPr/>
        </p:nvSpPr>
        <p:spPr bwMode="gray">
          <a:xfrm>
            <a:off x="646023" y="5623805"/>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agma-based geothermal</a:t>
            </a:r>
          </a:p>
        </p:txBody>
      </p:sp>
      <p:sp>
        <p:nvSpPr>
          <p:cNvPr id="47" name="TextBox 46">
            <a:extLst>
              <a:ext uri="{FF2B5EF4-FFF2-40B4-BE49-F238E27FC236}">
                <a16:creationId xmlns:a16="http://schemas.microsoft.com/office/drawing/2014/main" id="{059B090D-B561-A726-A464-68097864FB44}"/>
              </a:ext>
            </a:extLst>
          </p:cNvPr>
          <p:cNvSpPr txBox="1"/>
          <p:nvPr/>
        </p:nvSpPr>
        <p:spPr bwMode="gray">
          <a:xfrm>
            <a:off x="3349698" y="2792087"/>
            <a:ext cx="2428875" cy="374650"/>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High-temperature geothermal energy storage</a:t>
            </a:r>
          </a:p>
        </p:txBody>
      </p:sp>
      <p:sp>
        <p:nvSpPr>
          <p:cNvPr id="48" name="TextBox 47">
            <a:extLst>
              <a:ext uri="{FF2B5EF4-FFF2-40B4-BE49-F238E27FC236}">
                <a16:creationId xmlns:a16="http://schemas.microsoft.com/office/drawing/2014/main" id="{68C3ED41-C10E-D418-A317-EB90B5731B63}"/>
              </a:ext>
            </a:extLst>
          </p:cNvPr>
          <p:cNvSpPr txBox="1"/>
          <p:nvPr/>
        </p:nvSpPr>
        <p:spPr bwMode="gray">
          <a:xfrm>
            <a:off x="3346460" y="3199062"/>
            <a:ext cx="2429386" cy="368104"/>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Geomechanical energy storage</a:t>
            </a:r>
          </a:p>
        </p:txBody>
      </p:sp>
      <p:cxnSp>
        <p:nvCxnSpPr>
          <p:cNvPr id="49" name="Elbow Connector 48">
            <a:extLst>
              <a:ext uri="{FF2B5EF4-FFF2-40B4-BE49-F238E27FC236}">
                <a16:creationId xmlns:a16="http://schemas.microsoft.com/office/drawing/2014/main" id="{B585F687-98CB-1D74-CA74-4E5377641084}"/>
              </a:ext>
            </a:extLst>
          </p:cNvPr>
          <p:cNvCxnSpPr>
            <a:cxnSpLocks/>
          </p:cNvCxnSpPr>
          <p:nvPr/>
        </p:nvCxnSpPr>
        <p:spPr bwMode="gray">
          <a:xfrm rot="16200000" flipH="1">
            <a:off x="161672" y="2724916"/>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A0366602-8E1B-E239-2E49-33670E76503C}"/>
              </a:ext>
            </a:extLst>
          </p:cNvPr>
          <p:cNvCxnSpPr>
            <a:cxnSpLocks/>
          </p:cNvCxnSpPr>
          <p:nvPr/>
        </p:nvCxnSpPr>
        <p:spPr bwMode="gray">
          <a:xfrm rot="16200000" flipH="1">
            <a:off x="161672" y="3120332"/>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EFCBAAC9-62CD-E7C0-9288-BE7A4C09B26C}"/>
              </a:ext>
            </a:extLst>
          </p:cNvPr>
          <p:cNvCxnSpPr>
            <a:cxnSpLocks/>
            <a:stCxn id="44" idx="0"/>
            <a:endCxn id="28" idx="2"/>
          </p:cNvCxnSpPr>
          <p:nvPr/>
        </p:nvCxnSpPr>
        <p:spPr bwMode="gray">
          <a:xfrm rot="5400000" flipH="1" flipV="1">
            <a:off x="2035814" y="1385141"/>
            <a:ext cx="546356" cy="1464990"/>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EDEBB368-895D-F9A3-14E6-293F9A41FB63}"/>
              </a:ext>
            </a:extLst>
          </p:cNvPr>
          <p:cNvCxnSpPr>
            <a:cxnSpLocks/>
            <a:stCxn id="28" idx="2"/>
            <a:endCxn id="45" idx="0"/>
          </p:cNvCxnSpPr>
          <p:nvPr/>
        </p:nvCxnSpPr>
        <p:spPr bwMode="gray">
          <a:xfrm rot="16200000" flipH="1">
            <a:off x="3501909" y="1384035"/>
            <a:ext cx="546356" cy="1467201"/>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7EBAAE-7973-9A5E-BD64-554CF52A2929}"/>
              </a:ext>
            </a:extLst>
          </p:cNvPr>
          <p:cNvSpPr/>
          <p:nvPr/>
        </p:nvSpPr>
        <p:spPr bwMode="gray">
          <a:xfrm flipV="1">
            <a:off x="315703" y="1901299"/>
            <a:ext cx="164872" cy="139411"/>
          </a:xfrm>
          <a:prstGeom prst="rect">
            <a:avLst/>
          </a:prstGeom>
          <a:noFill/>
          <a:ln w="12700">
            <a:solidFill>
              <a:schemeClr val="tx1">
                <a:lumMod val="95000"/>
                <a:lumOff val="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dirty="0">
              <a:solidFill>
                <a:schemeClr val="tx1"/>
              </a:solidFill>
            </a:endParaRPr>
          </a:p>
        </p:txBody>
      </p:sp>
      <p:sp>
        <p:nvSpPr>
          <p:cNvPr id="54" name="TextBox 53">
            <a:extLst>
              <a:ext uri="{FF2B5EF4-FFF2-40B4-BE49-F238E27FC236}">
                <a16:creationId xmlns:a16="http://schemas.microsoft.com/office/drawing/2014/main" id="{D71ECDC5-FE59-D5D4-0587-69F644A809F5}"/>
              </a:ext>
            </a:extLst>
          </p:cNvPr>
          <p:cNvSpPr txBox="1"/>
          <p:nvPr/>
        </p:nvSpPr>
        <p:spPr bwMode="gray">
          <a:xfrm>
            <a:off x="480575" y="1879180"/>
            <a:ext cx="816496" cy="226591"/>
          </a:xfrm>
          <a:prstGeom prst="rect">
            <a:avLst/>
          </a:prstGeom>
          <a:noFill/>
        </p:spPr>
        <p:txBody>
          <a:bodyPr wrap="none" lIns="36000" tIns="36000" rIns="36000" bIns="36000" rtlCol="0">
            <a:spAutoFit/>
          </a:bodyPr>
          <a:lstStyle/>
          <a:p>
            <a:pPr marL="0" indent="0">
              <a:buNone/>
            </a:pPr>
            <a:r>
              <a:rPr lang="en-US" sz="1000" dirty="0"/>
              <a:t>Detailed next</a:t>
            </a:r>
          </a:p>
        </p:txBody>
      </p:sp>
      <p:sp>
        <p:nvSpPr>
          <p:cNvPr id="55" name="Rectangle 54">
            <a:extLst>
              <a:ext uri="{FF2B5EF4-FFF2-40B4-BE49-F238E27FC236}">
                <a16:creationId xmlns:a16="http://schemas.microsoft.com/office/drawing/2014/main" id="{7A7E139F-BCC6-651C-BD6D-7941DB638905}"/>
              </a:ext>
            </a:extLst>
          </p:cNvPr>
          <p:cNvSpPr/>
          <p:nvPr/>
        </p:nvSpPr>
        <p:spPr bwMode="gray">
          <a:xfrm>
            <a:off x="591985" y="3582543"/>
            <a:ext cx="2302634" cy="797157"/>
          </a:xfrm>
          <a:prstGeom prst="rect">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A5799156-0ADB-A302-B68A-62756C3DDA44}"/>
              </a:ext>
            </a:extLst>
          </p:cNvPr>
          <p:cNvSpPr/>
          <p:nvPr/>
        </p:nvSpPr>
        <p:spPr bwMode="gray">
          <a:xfrm>
            <a:off x="591985" y="5190463"/>
            <a:ext cx="2298341" cy="424588"/>
          </a:xfrm>
          <a:prstGeom prst="rect">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dirty="0">
              <a:solidFill>
                <a:schemeClr val="tx1"/>
              </a:solidFill>
            </a:endParaRPr>
          </a:p>
        </p:txBody>
      </p:sp>
      <p:sp>
        <p:nvSpPr>
          <p:cNvPr id="57" name="Rectangle 56">
            <a:extLst>
              <a:ext uri="{FF2B5EF4-FFF2-40B4-BE49-F238E27FC236}">
                <a16:creationId xmlns:a16="http://schemas.microsoft.com/office/drawing/2014/main" id="{8B4964A7-EF22-022D-2A39-C448DFFD896C}"/>
              </a:ext>
            </a:extLst>
          </p:cNvPr>
          <p:cNvSpPr/>
          <p:nvPr/>
        </p:nvSpPr>
        <p:spPr bwMode="gray">
          <a:xfrm>
            <a:off x="389104" y="2773701"/>
            <a:ext cx="2501222" cy="401274"/>
          </a:xfrm>
          <a:prstGeom prst="rect">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Rectangle 57">
            <a:extLst>
              <a:ext uri="{FF2B5EF4-FFF2-40B4-BE49-F238E27FC236}">
                <a16:creationId xmlns:a16="http://schemas.microsoft.com/office/drawing/2014/main" id="{F3E824B8-4CB9-BD40-83DC-D1A31C56268D}"/>
              </a:ext>
            </a:extLst>
          </p:cNvPr>
          <p:cNvSpPr/>
          <p:nvPr/>
        </p:nvSpPr>
        <p:spPr bwMode="gray">
          <a:xfrm>
            <a:off x="3192900" y="2325874"/>
            <a:ext cx="2671320" cy="1309206"/>
          </a:xfrm>
          <a:prstGeom prst="rect">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859115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61BA02-0860-33F2-8314-76EF9607A348}"/>
              </a:ext>
            </a:extLst>
          </p:cNvPr>
          <p:cNvGraphicFramePr>
            <a:graphicFrameLocks/>
          </p:cNvGraphicFramePr>
          <p:nvPr>
            <p:custDataLst>
              <p:tags r:id="rId1"/>
            </p:custDataLst>
            <p:extLst>
              <p:ext uri="{D42A27DB-BD31-4B8C-83A1-F6EECF244321}">
                <p14:modId xmlns:p14="http://schemas.microsoft.com/office/powerpoint/2010/main" val="19354982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144CCF6-43E5-507F-0667-D2C40FE8B793}"/>
              </a:ext>
            </a:extLst>
          </p:cNvPr>
          <p:cNvSpPr>
            <a:spLocks noGrp="1"/>
          </p:cNvSpPr>
          <p:nvPr>
            <p:ph type="title"/>
          </p:nvPr>
        </p:nvSpPr>
        <p:spPr/>
        <p:txBody>
          <a:bodyPr vert="horz" rIns="91440"/>
          <a:lstStyle/>
          <a:p>
            <a:r>
              <a:rPr lang="en-US" dirty="0">
                <a:cs typeface="Arial"/>
              </a:rPr>
              <a:t>Next-generation geothermal technologies advance scalability, while conventional geothermal remains the most cost effective</a:t>
            </a:r>
            <a:endParaRPr lang="en-US" dirty="0"/>
          </a:p>
        </p:txBody>
      </p:sp>
      <p:sp>
        <p:nvSpPr>
          <p:cNvPr id="4" name="Footer Placeholder 3">
            <a:extLst>
              <a:ext uri="{FF2B5EF4-FFF2-40B4-BE49-F238E27FC236}">
                <a16:creationId xmlns:a16="http://schemas.microsoft.com/office/drawing/2014/main" id="{689C7C1F-0D22-B65F-DDF5-608634D16888}"/>
              </a:ext>
            </a:extLst>
          </p:cNvPr>
          <p:cNvSpPr>
            <a:spLocks noGrp="1"/>
          </p:cNvSpPr>
          <p:nvPr>
            <p:ph type="ftr" sz="quarter" idx="3"/>
          </p:nvPr>
        </p:nvSpPr>
        <p:spPr>
          <a:xfrm>
            <a:off x="334962" y="6320682"/>
            <a:ext cx="9147241" cy="216706"/>
          </a:xfrm>
        </p:spPr>
        <p:txBody>
          <a:bodyPr/>
          <a:lstStyle/>
          <a:p>
            <a:pPr marL="0" indent="0">
              <a:spcBef>
                <a:spcPts val="0"/>
              </a:spcBef>
              <a:buNone/>
            </a:pPr>
            <a:r>
              <a:rPr lang="en-US" dirty="0">
                <a:solidFill>
                  <a:srgbClr val="000000"/>
                </a:solidFill>
              </a:rPr>
              <a:t>Sources: </a:t>
            </a:r>
            <a:r>
              <a:rPr lang="en-US" dirty="0">
                <a:solidFill>
                  <a:srgbClr val="000000"/>
                </a:solidFill>
                <a:hlinkClick r:id="rId5"/>
              </a:rPr>
              <a:t>Global Geothermal Market</a:t>
            </a:r>
            <a:r>
              <a:rPr lang="en-US" i="1" dirty="0">
                <a:solidFill>
                  <a:srgbClr val="000000"/>
                </a:solidFill>
              </a:rPr>
              <a:t> </a:t>
            </a:r>
            <a:r>
              <a:rPr lang="en-US" dirty="0">
                <a:solidFill>
                  <a:srgbClr val="000000"/>
                </a:solidFill>
              </a:rPr>
              <a:t>(IRENA, 2023</a:t>
            </a:r>
            <a:r>
              <a:rPr lang="en-US" i="1" dirty="0">
                <a:solidFill>
                  <a:srgbClr val="000000"/>
                </a:solidFill>
              </a:rPr>
              <a:t>); </a:t>
            </a:r>
            <a:r>
              <a:rPr lang="en-US" dirty="0">
                <a:solidFill>
                  <a:srgbClr val="000000"/>
                </a:solidFill>
                <a:hlinkClick r:id="rId6"/>
              </a:rPr>
              <a:t>The Future of Geothermal Energy</a:t>
            </a:r>
            <a:r>
              <a:rPr lang="en-US" dirty="0">
                <a:solidFill>
                  <a:srgbClr val="000000"/>
                </a:solidFill>
              </a:rPr>
              <a:t> (IEA, 2024)</a:t>
            </a:r>
            <a:r>
              <a:rPr lang="en-US" i="1" dirty="0">
                <a:solidFill>
                  <a:srgbClr val="000000"/>
                </a:solidFill>
              </a:rPr>
              <a:t>; </a:t>
            </a:r>
            <a:r>
              <a:rPr lang="en-US" dirty="0">
                <a:solidFill>
                  <a:srgbClr val="000000"/>
                </a:solidFill>
                <a:hlinkClick r:id="rId7"/>
              </a:rPr>
              <a:t>Barriers to Next-Gen Geothermal</a:t>
            </a:r>
            <a:r>
              <a:rPr lang="en-US" dirty="0">
                <a:solidFill>
                  <a:srgbClr val="000000"/>
                </a:solidFill>
              </a:rPr>
              <a:t> (IFP, 2023); </a:t>
            </a:r>
            <a:r>
              <a:rPr lang="en-US" dirty="0">
                <a:solidFill>
                  <a:srgbClr val="141313"/>
                </a:solidFill>
                <a:hlinkClick r:id="rId8"/>
              </a:rPr>
              <a:t>Next-Generation Geothermal Can Help Unlock 100% Clean Power</a:t>
            </a:r>
            <a:r>
              <a:rPr lang="en-US" dirty="0">
                <a:solidFill>
                  <a:srgbClr val="141313"/>
                </a:solidFill>
              </a:rPr>
              <a:t> </a:t>
            </a:r>
            <a:r>
              <a:rPr lang="en-US" dirty="0">
                <a:solidFill>
                  <a:srgbClr val="000000"/>
                </a:solidFill>
              </a:rPr>
              <a:t>(NREL, 2024); </a:t>
            </a:r>
            <a:r>
              <a:rPr lang="en-US" dirty="0">
                <a:solidFill>
                  <a:srgbClr val="000000"/>
                </a:solidFill>
                <a:hlinkClick r:id="rId9"/>
              </a:rPr>
              <a:t>Next-Generation Geothermal: Considerations and Opportunities</a:t>
            </a:r>
            <a:r>
              <a:rPr lang="en-US" dirty="0">
                <a:solidFill>
                  <a:srgbClr val="000000"/>
                </a:solidFill>
              </a:rPr>
              <a:t> (WRI, 2024); </a:t>
            </a:r>
            <a:r>
              <a:rPr lang="en-US" dirty="0">
                <a:solidFill>
                  <a:srgbClr val="000000"/>
                </a:solidFill>
                <a:latin typeface="Arial" panose="020B0604020202020204" pitchFamily="34" charset="0"/>
                <a:cs typeface="Arial" panose="020B0604020202020204" pitchFamily="34" charset="0"/>
                <a:hlinkClick r:id="rId10"/>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latin typeface="Arial" panose="020B0604020202020204" pitchFamily="34" charset="0"/>
                <a:cs typeface="Arial" panose="020B0604020202020204" pitchFamily="34" charset="0"/>
              </a:rPr>
              <a:t>.</a:t>
            </a:r>
            <a:endParaRPr lang="en-US" dirty="0">
              <a:solidFill>
                <a:srgbClr val="000000"/>
              </a:solidFill>
            </a:endParaRPr>
          </a:p>
          <a:p>
            <a:pPr marL="0" indent="0">
              <a:spcBef>
                <a:spcPts val="0"/>
              </a:spcBef>
              <a:buNone/>
            </a:pPr>
            <a:r>
              <a:rPr lang="en-US" dirty="0">
                <a:solidFill>
                  <a:srgbClr val="000000"/>
                </a:solidFill>
              </a:rPr>
              <a:t>Credit: Una </a:t>
            </a:r>
            <a:r>
              <a:rPr lang="en-US" dirty="0" err="1">
                <a:solidFill>
                  <a:srgbClr val="000000"/>
                </a:solidFill>
              </a:rPr>
              <a:t>Oljaca</a:t>
            </a:r>
            <a:r>
              <a:rPr lang="en-US" dirty="0">
                <a:solidFill>
                  <a:srgbClr val="000000"/>
                </a:solidFill>
              </a:rPr>
              <a:t>, Isabel Hoyos, and </a:t>
            </a:r>
            <a:r>
              <a:rPr lang="en-US" dirty="0">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marL="0" indent="0">
              <a:spcBef>
                <a:spcPts val="0"/>
              </a:spcBef>
              <a:buNone/>
            </a:pPr>
            <a:endParaRPr lang="en-US" i="1" dirty="0"/>
          </a:p>
        </p:txBody>
      </p:sp>
      <p:sp>
        <p:nvSpPr>
          <p:cNvPr id="6" name="Text Placeholder 1">
            <a:extLst>
              <a:ext uri="{FF2B5EF4-FFF2-40B4-BE49-F238E27FC236}">
                <a16:creationId xmlns:a16="http://schemas.microsoft.com/office/drawing/2014/main" id="{62D95C7A-FA14-2C1D-85FA-7AD20077352D}"/>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bg1"/>
                </a:solidFill>
              </a:rPr>
              <a:t>Technology</a:t>
            </a:r>
            <a:endParaRPr lang="en-US" sz="1600" b="1" dirty="0">
              <a:solidFill>
                <a:schemeClr val="bg1"/>
              </a:solidFill>
            </a:endParaRPr>
          </a:p>
        </p:txBody>
      </p:sp>
      <p:graphicFrame>
        <p:nvGraphicFramePr>
          <p:cNvPr id="7" name="Table 6">
            <a:extLst>
              <a:ext uri="{FF2B5EF4-FFF2-40B4-BE49-F238E27FC236}">
                <a16:creationId xmlns:a16="http://schemas.microsoft.com/office/drawing/2014/main" id="{87CCEE54-0334-8DF6-A482-3DAAA3B91E1F}"/>
              </a:ext>
            </a:extLst>
          </p:cNvPr>
          <p:cNvGraphicFramePr>
            <a:graphicFrameLocks noGrp="1"/>
          </p:cNvGraphicFramePr>
          <p:nvPr>
            <p:extLst>
              <p:ext uri="{D42A27DB-BD31-4B8C-83A1-F6EECF244321}">
                <p14:modId xmlns:p14="http://schemas.microsoft.com/office/powerpoint/2010/main" val="2450437416"/>
              </p:ext>
            </p:extLst>
          </p:nvPr>
        </p:nvGraphicFramePr>
        <p:xfrm>
          <a:off x="334962" y="1583286"/>
          <a:ext cx="11522075" cy="4687078"/>
        </p:xfrm>
        <a:graphic>
          <a:graphicData uri="http://schemas.openxmlformats.org/drawingml/2006/table">
            <a:tbl>
              <a:tblPr firstRow="1" bandRow="1">
                <a:tableStyleId>{2D5ABB26-0587-4C30-8999-92F81FD0307C}</a:tableStyleId>
              </a:tblPr>
              <a:tblGrid>
                <a:gridCol w="1175271">
                  <a:extLst>
                    <a:ext uri="{9D8B030D-6E8A-4147-A177-3AD203B41FA5}">
                      <a16:colId xmlns:a16="http://schemas.microsoft.com/office/drawing/2014/main" val="1209005246"/>
                    </a:ext>
                  </a:extLst>
                </a:gridCol>
                <a:gridCol w="2586701">
                  <a:extLst>
                    <a:ext uri="{9D8B030D-6E8A-4147-A177-3AD203B41FA5}">
                      <a16:colId xmlns:a16="http://schemas.microsoft.com/office/drawing/2014/main" val="1110654787"/>
                    </a:ext>
                  </a:extLst>
                </a:gridCol>
                <a:gridCol w="2586701">
                  <a:extLst>
                    <a:ext uri="{9D8B030D-6E8A-4147-A177-3AD203B41FA5}">
                      <a16:colId xmlns:a16="http://schemas.microsoft.com/office/drawing/2014/main" val="3599612213"/>
                    </a:ext>
                  </a:extLst>
                </a:gridCol>
                <a:gridCol w="2586701">
                  <a:extLst>
                    <a:ext uri="{9D8B030D-6E8A-4147-A177-3AD203B41FA5}">
                      <a16:colId xmlns:a16="http://schemas.microsoft.com/office/drawing/2014/main" val="1548612260"/>
                    </a:ext>
                  </a:extLst>
                </a:gridCol>
                <a:gridCol w="2586701">
                  <a:extLst>
                    <a:ext uri="{9D8B030D-6E8A-4147-A177-3AD203B41FA5}">
                      <a16:colId xmlns:a16="http://schemas.microsoft.com/office/drawing/2014/main" val="1085159325"/>
                    </a:ext>
                  </a:extLst>
                </a:gridCol>
              </a:tblGrid>
              <a:tr h="477659">
                <a:tc>
                  <a:txBody>
                    <a:bodyPr/>
                    <a:lstStyle/>
                    <a:p>
                      <a:pPr marL="0" indent="0">
                        <a:buNone/>
                      </a:pPr>
                      <a:r>
                        <a:rPr lang="en-US" sz="1050" b="1" dirty="0">
                          <a:solidFill>
                            <a:schemeClr val="tx1"/>
                          </a:solidFill>
                        </a:rPr>
                        <a:t> </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Conventional (Hydrothermal)</a:t>
                      </a:r>
                    </a:p>
                  </a:txBody>
                  <a:tcPr anchor="ctr">
                    <a:lnR w="6350" cap="flat" cmpd="sng" algn="ctr">
                      <a:solidFill>
                        <a:schemeClr val="bg1"/>
                      </a:solidFill>
                      <a:prstDash val="solid"/>
                      <a:round/>
                      <a:headEnd type="none" w="med" len="med"/>
                      <a:tailEnd type="none" w="med" len="med"/>
                    </a:lnR>
                    <a:solidFill>
                      <a:schemeClr val="accent5"/>
                    </a:solidFill>
                  </a:tcPr>
                </a:tc>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Next-Genera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5"/>
                    </a:solidFill>
                  </a:tcP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Frontier</a:t>
                      </a:r>
                    </a:p>
                  </a:txBody>
                  <a:tcPr anchor="ctr">
                    <a:lnL w="6350" cap="flat" cmpd="sng" algn="ctr">
                      <a:solidFill>
                        <a:schemeClr val="bg1"/>
                      </a:solidFill>
                      <a:prstDash val="solid"/>
                      <a:round/>
                      <a:headEnd type="none" w="med" len="med"/>
                      <a:tailEnd type="none" w="med" len="med"/>
                    </a:lnL>
                    <a:solidFill>
                      <a:schemeClr val="accent5"/>
                    </a:solidFill>
                  </a:tcPr>
                </a:tc>
                <a:extLst>
                  <a:ext uri="{0D108BD9-81ED-4DB2-BD59-A6C34878D82A}">
                    <a16:rowId xmlns:a16="http://schemas.microsoft.com/office/drawing/2014/main" val="1912434023"/>
                  </a:ext>
                </a:extLst>
              </a:tr>
              <a:tr h="440411">
                <a:tc>
                  <a:txBody>
                    <a:bodyPr/>
                    <a:lstStyle/>
                    <a:p>
                      <a:pPr marL="0" indent="0">
                        <a:buNone/>
                      </a:pPr>
                      <a:endParaRPr lang="en-US" sz="1050" b="1" dirty="0">
                        <a:solidFill>
                          <a:schemeClr val="tx1"/>
                        </a:solidFill>
                      </a:endParaRPr>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Dry Steam, Flash Steam, Binary Cycle</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a:buNone/>
                      </a:pPr>
                      <a:r>
                        <a:rPr lang="en-US" sz="1000" b="1" dirty="0"/>
                        <a:t>Enhanced Geothermal Systems (EG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a:buNone/>
                      </a:pPr>
                      <a:r>
                        <a:rPr lang="en-US" sz="1000" b="1" dirty="0"/>
                        <a:t>Closed-Loop Geothermal Systems (CLG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a:buNone/>
                      </a:pPr>
                      <a:r>
                        <a:rPr lang="en-US" sz="1000" b="1" dirty="0"/>
                        <a:t>Superhot Rock Geotherm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93161297"/>
                  </a:ext>
                </a:extLst>
              </a:tr>
              <a:tr h="786732">
                <a:tc>
                  <a:txBody>
                    <a:bodyPr/>
                    <a:lstStyle/>
                    <a:p>
                      <a:pPr marL="0" indent="0">
                        <a:buNone/>
                      </a:pPr>
                      <a:r>
                        <a:rPr lang="en-US" sz="105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900"/>
                        </a:spcBef>
                        <a:spcAft>
                          <a:spcPts val="0"/>
                        </a:spcAft>
                        <a:buClrTx/>
                        <a:buSz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Naturally occurring geothermal reservoirs are accessed, with hot water circulating in permeable rock. Open fluid circulation through the system.</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dirty="0"/>
                        <a:t>Engineered reservoirs are created via hydraulic, chemical, or thermal stimulation of rock to increase permeability</a:t>
                      </a:r>
                      <a:r>
                        <a:rPr lang="en-US" sz="1000" b="1" dirty="0">
                          <a:solidFill>
                            <a:schemeClr val="tx1"/>
                          </a:solidFill>
                        </a:rPr>
                        <a:t> </a:t>
                      </a:r>
                      <a:r>
                        <a:rPr lang="en-US" sz="1000" b="0" dirty="0">
                          <a:solidFill>
                            <a:schemeClr val="tx1"/>
                          </a:solidFill>
                        </a:rPr>
                        <a:t>and enable open fluid circulation.</a:t>
                      </a: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dirty="0"/>
                        <a:t>Hot rock is accessed via wellbores in </a:t>
                      </a:r>
                      <a:br>
                        <a:rPr lang="en-US" sz="1000" dirty="0"/>
                      </a:br>
                      <a:r>
                        <a:rPr lang="en-US" sz="1000" dirty="0"/>
                        <a:t>a closed-circuit system</a:t>
                      </a:r>
                      <a:r>
                        <a:rPr lang="en-US" sz="1000" b="0" dirty="0">
                          <a:solidFill>
                            <a:schemeClr val="tx1"/>
                          </a:solidFill>
                        </a:rPr>
                        <a:t>. Working fluid </a:t>
                      </a:r>
                      <a:br>
                        <a:rPr lang="en-US" sz="1000" b="0" dirty="0">
                          <a:solidFill>
                            <a:schemeClr val="tx1"/>
                          </a:solidFill>
                        </a:rPr>
                      </a:br>
                      <a:r>
                        <a:rPr lang="en-US" sz="1000" b="0" dirty="0">
                          <a:solidFill>
                            <a:schemeClr val="tx1"/>
                          </a:solidFill>
                        </a:rPr>
                        <a:t>is used to extract heat via conductive </a:t>
                      </a:r>
                      <a:br>
                        <a:rPr lang="en-US" sz="1000" b="0" dirty="0">
                          <a:solidFill>
                            <a:schemeClr val="tx1"/>
                          </a:solidFill>
                        </a:rPr>
                      </a:br>
                      <a:r>
                        <a:rPr lang="en-US" sz="1000" b="0" dirty="0">
                          <a:solidFill>
                            <a:schemeClr val="tx1"/>
                          </a:solidFill>
                        </a:rPr>
                        <a:t>heat transfer.</a:t>
                      </a: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u="none" strike="noStrike" kern="1200" dirty="0">
                          <a:solidFill>
                            <a:schemeClr val="tx1"/>
                          </a:solidFill>
                          <a:effectLst/>
                          <a:latin typeface="+mn-lt"/>
                          <a:ea typeface="+mn-ea"/>
                          <a:cs typeface="+mn-cs"/>
                        </a:rPr>
                        <a:t>Superhot rock resources (&gt;400°C) at great depth are accessed. Water is circulated through natural or engineered fractures to produce supercritical fluid for power gener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1720535"/>
                  </a:ext>
                </a:extLst>
              </a:tr>
              <a:tr h="688927">
                <a:tc>
                  <a:txBody>
                    <a:bodyPr/>
                    <a:lstStyle/>
                    <a:p>
                      <a:pPr marL="0" indent="0">
                        <a:buNone/>
                      </a:pPr>
                      <a:r>
                        <a:rPr lang="en-US" sz="1050" b="1" dirty="0"/>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Well-developed, niche technology for power generation and heating &amp; cooling.</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dirty="0"/>
                        <a:t>Synergies with oil &amp; gas technology have improved flow rates and flow consistency; greater geographic reac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dirty="0"/>
                        <a:t>Minimal environmental impact, lowest water use, potential for use in unproductive conventional geothermal wells and abandoned oil &amp; gas wells</a:t>
                      </a:r>
                      <a:r>
                        <a:rPr lang="en-US" sz="1000" dirty="0">
                          <a:solidFill>
                            <a:schemeClr val="tx1"/>
                          </a:solidFill>
                        </a:rPr>
                        <a:t>.</a:t>
                      </a: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b="0" i="0" u="none" strike="noStrike" kern="1200" dirty="0">
                          <a:solidFill>
                            <a:schemeClr val="tx1"/>
                          </a:solidFill>
                          <a:effectLst/>
                          <a:latin typeface="+mn-lt"/>
                          <a:ea typeface="+mn-ea"/>
                          <a:cs typeface="+mn-cs"/>
                        </a:rPr>
                        <a:t>Highest energy density among geothermal technologies; location independent.</a:t>
                      </a: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5383279"/>
                  </a:ext>
                </a:extLst>
              </a:tr>
              <a:tr h="505756">
                <a:tc>
                  <a:txBody>
                    <a:bodyPr/>
                    <a:lstStyle/>
                    <a:p>
                      <a:pPr marL="0" indent="0">
                        <a:buNone/>
                      </a:pPr>
                      <a:r>
                        <a:rPr lang="en-US" sz="1050" b="1" dirty="0"/>
                        <a:t>Barri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dirty="0"/>
                        <a:t>Geographical constraints, geological uncertainty regarding reservoir productivity.</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t>Concerns over induced seismicity, water use, and water contamin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dirty="0"/>
                        <a:t>Engineering challenges including maintaining heat flow rates and reducing drilling cost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dirty="0"/>
                        <a:t>Requires long development time and high cost; extreme drilling challenges and equipment limitation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7815052"/>
                  </a:ext>
                </a:extLst>
              </a:tr>
              <a:tr h="231805">
                <a:tc>
                  <a:txBody>
                    <a:bodyPr/>
                    <a:lstStyle/>
                    <a:p>
                      <a:pPr marL="0" indent="0">
                        <a:buNone/>
                      </a:pPr>
                      <a:r>
                        <a:rPr lang="en-US" sz="1050" b="1" dirty="0"/>
                        <a:t>Depth</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dirty="0"/>
                        <a:t>50-300 met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t>2,000-4,000 met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solidFill>
                            <a:schemeClr val="tx1"/>
                          </a:solidFill>
                        </a:rPr>
                        <a:t>Typically, below 5,000 met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solidFill>
                            <a:schemeClr val="tx1"/>
                          </a:solidFill>
                        </a:rPr>
                        <a:t>5,000-15,00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313410"/>
                  </a:ext>
                </a:extLst>
              </a:tr>
              <a:tr h="379317">
                <a:tc>
                  <a:txBody>
                    <a:bodyPr/>
                    <a:lstStyle/>
                    <a:p>
                      <a:pPr marL="0" indent="0">
                        <a:buNone/>
                      </a:pPr>
                      <a:r>
                        <a:rPr lang="en-US" sz="1050" b="1" dirty="0"/>
                        <a:t>Location Suitabilit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traction limited by natural reservoir dependenc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t>Flexible sit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solidFill>
                            <a:schemeClr val="tx1"/>
                          </a:solidFill>
                        </a:rPr>
                        <a:t>Flexible sit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spcBef>
                          <a:spcPts val="600"/>
                        </a:spcBef>
                        <a:buNone/>
                      </a:pPr>
                      <a:r>
                        <a:rPr lang="en-US" sz="1000" dirty="0">
                          <a:solidFill>
                            <a:schemeClr val="tx1"/>
                          </a:solidFill>
                        </a:rPr>
                        <a:t>Flexible sit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9426727"/>
                  </a:ext>
                </a:extLst>
              </a:tr>
              <a:tr h="413807">
                <a:tc>
                  <a:txBody>
                    <a:bodyPr/>
                    <a:lstStyle/>
                    <a:p>
                      <a:pPr marL="0" indent="0">
                        <a:buNone/>
                      </a:pPr>
                      <a:r>
                        <a:rPr lang="en-US" sz="1050" b="1" dirty="0"/>
                        <a:t>Scalability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dirty="0">
                          <a:solidFill>
                            <a:schemeClr val="tx1"/>
                          </a:solidFill>
                        </a:rPr>
                        <a:t>Limited due to geographic constraint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None/>
                      </a:pPr>
                      <a:r>
                        <a:rPr lang="en-US" sz="1000" dirty="0"/>
                        <a:t>Highest commercial readiness among next-generation geothermal technologies. </a:t>
                      </a:r>
                      <a:endParaRPr lang="en-US" sz="1000" b="0"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None/>
                      </a:pPr>
                      <a:r>
                        <a:rPr lang="en-US" sz="1000" b="0" dirty="0">
                          <a:solidFill>
                            <a:schemeClr val="tx1"/>
                          </a:solidFill>
                        </a:rPr>
                        <a:t>Dependent on technological advancements and cost reduc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dirty="0">
                          <a:solidFill>
                            <a:schemeClr val="tx1"/>
                          </a:solidFill>
                        </a:rPr>
                        <a:t>Lowest technological readiness.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1238842"/>
                  </a:ext>
                </a:extLst>
              </a:tr>
              <a:tr h="526663">
                <a:tc>
                  <a:txBody>
                    <a:bodyPr/>
                    <a:lstStyle/>
                    <a:p>
                      <a:pPr marL="0" indent="0">
                        <a:buNone/>
                      </a:pPr>
                      <a:r>
                        <a:rPr lang="en-US" sz="1050" b="1" dirty="0"/>
                        <a:t>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dirty="0">
                          <a:solidFill>
                            <a:schemeClr val="tx1"/>
                          </a:solidFill>
                        </a:rPr>
                        <a:t>New plants commissioned in 2021 demonstrated an LCOE of $0.068 </a:t>
                      </a:r>
                      <a:br>
                        <a:rPr lang="en-US" sz="1000" dirty="0">
                          <a:solidFill>
                            <a:schemeClr val="tx1"/>
                          </a:solidFill>
                        </a:rPr>
                      </a:br>
                      <a:r>
                        <a:rPr lang="en-US" sz="1000" dirty="0">
                          <a:solidFill>
                            <a:schemeClr val="tx1"/>
                          </a:solidFill>
                        </a:rPr>
                        <a:t>per kWh</a:t>
                      </a:r>
                      <a:r>
                        <a:rPr lang="en-US" sz="1000" b="0" dirty="0">
                          <a:solidFill>
                            <a:schemeClr val="tx1"/>
                          </a:solidFill>
                        </a:rPr>
                        <a:t>.</a:t>
                      </a:r>
                      <a:endParaRPr lang="en-US" sz="10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None/>
                      </a:pPr>
                      <a:r>
                        <a:rPr lang="en-US" sz="1000" dirty="0"/>
                        <a:t>Current cost ~$0.225 per kWh; U.S. DOE target for LCOE of $0.045 per MWh by 2035.</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None/>
                      </a:pPr>
                      <a:r>
                        <a:rPr lang="en-US" sz="1000" b="0" dirty="0">
                          <a:solidFill>
                            <a:schemeClr val="tx1"/>
                          </a:solidFill>
                        </a:rPr>
                        <a:t>Current cost ~$0.293 per kWh, with potential cost reductions to $0.08 to </a:t>
                      </a:r>
                      <a:br>
                        <a:rPr lang="en-US" sz="1000" b="0" dirty="0">
                          <a:solidFill>
                            <a:schemeClr val="tx1"/>
                          </a:solidFill>
                        </a:rPr>
                      </a:br>
                      <a:r>
                        <a:rPr lang="en-US" sz="1000" b="0" dirty="0">
                          <a:solidFill>
                            <a:schemeClr val="tx1"/>
                          </a:solidFill>
                        </a:rPr>
                        <a:t>$0.09 per MWh by 2035.</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None/>
                      </a:pPr>
                      <a:r>
                        <a:rPr lang="en-US" sz="1000" b="0" dirty="0">
                          <a:solidFill>
                            <a:schemeClr val="tx1"/>
                          </a:solidFill>
                        </a:rPr>
                        <a:t>Not commercial yet (not producing power, in research ph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7055664"/>
                  </a:ext>
                </a:extLst>
              </a:tr>
            </a:tbl>
          </a:graphicData>
        </a:graphic>
      </p:graphicFrame>
    </p:spTree>
    <p:extLst>
      <p:ext uri="{BB962C8B-B14F-4D97-AF65-F5344CB8AC3E}">
        <p14:creationId xmlns:p14="http://schemas.microsoft.com/office/powerpoint/2010/main" val="777068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CBEF27-B352-3817-293D-D8917C71D97A}"/>
              </a:ext>
            </a:extLst>
          </p:cNvPr>
          <p:cNvGraphicFramePr>
            <a:graphicFrameLocks/>
          </p:cNvGraphicFramePr>
          <p:nvPr>
            <p:custDataLst>
              <p:tags r:id="rId1"/>
            </p:custDataLst>
            <p:extLst>
              <p:ext uri="{D42A27DB-BD31-4B8C-83A1-F6EECF244321}">
                <p14:modId xmlns:p14="http://schemas.microsoft.com/office/powerpoint/2010/main" val="25468412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260BA3-CD67-5788-269E-F81AC0240C3D}"/>
              </a:ext>
            </a:extLst>
          </p:cNvPr>
          <p:cNvSpPr>
            <a:spLocks noGrp="1"/>
          </p:cNvSpPr>
          <p:nvPr>
            <p:ph type="title"/>
          </p:nvPr>
        </p:nvSpPr>
        <p:spPr/>
        <p:txBody>
          <a:bodyPr vert="horz" rIns="91440"/>
          <a:lstStyle/>
          <a:p>
            <a:r>
              <a:rPr lang="en-US" sz="2600" dirty="0"/>
              <a:t>Next-generation geothermal technologies are reaching the brink of commercialization, presenting an opportunity for strategic investment</a:t>
            </a:r>
          </a:p>
        </p:txBody>
      </p:sp>
      <p:sp>
        <p:nvSpPr>
          <p:cNvPr id="4" name="Footer Placeholder 3">
            <a:extLst>
              <a:ext uri="{FF2B5EF4-FFF2-40B4-BE49-F238E27FC236}">
                <a16:creationId xmlns:a16="http://schemas.microsoft.com/office/drawing/2014/main" id="{0282ABE0-218F-CF3E-58E3-8F6F5BD66C6E}"/>
              </a:ext>
            </a:extLst>
          </p:cNvPr>
          <p:cNvSpPr>
            <a:spLocks noGrp="1"/>
          </p:cNvSpPr>
          <p:nvPr>
            <p:ph type="ftr" sz="quarter" idx="3"/>
          </p:nvPr>
        </p:nvSpPr>
        <p:spPr>
          <a:xfrm>
            <a:off x="334962" y="6166302"/>
            <a:ext cx="9147241" cy="216706"/>
          </a:xfrm>
        </p:spPr>
        <p:txBody>
          <a:bodyPr/>
          <a:lstStyle/>
          <a:p>
            <a:pPr>
              <a:defRPr/>
            </a:pPr>
            <a:r>
              <a:rPr lang="en-US" dirty="0">
                <a:solidFill>
                  <a:srgbClr val="000000"/>
                </a:solidFill>
              </a:rPr>
              <a:t>Sources: </a:t>
            </a:r>
            <a:r>
              <a:rPr lang="en-US" dirty="0">
                <a:solidFill>
                  <a:srgbClr val="000000"/>
                </a:solidFill>
                <a:hlinkClick r:id="rId5"/>
              </a:rPr>
              <a:t>Geothermal Energy, Turning up the Heat</a:t>
            </a:r>
            <a:r>
              <a:rPr lang="en-US" dirty="0">
                <a:solidFill>
                  <a:srgbClr val="000000"/>
                </a:solidFill>
              </a:rPr>
              <a:t> (Kearny Foresight, 2023); </a:t>
            </a:r>
            <a:r>
              <a:rPr lang="en-US" dirty="0">
                <a:latin typeface="Arial" panose="020B0604020202020204" pitchFamily="34" charset="0"/>
                <a:cs typeface="Arial" panose="020B0604020202020204" pitchFamily="34" charset="0"/>
                <a:hlinkClick r:id="rId6"/>
              </a:rPr>
              <a:t>$10M to drill into science of one of worlds hottest </a:t>
            </a:r>
            <a:r>
              <a:rPr lang="en-US" dirty="0">
                <a:solidFill>
                  <a:schemeClr val="tx1"/>
                </a:solidFill>
                <a:latin typeface="Arial" panose="020B0604020202020204" pitchFamily="34" charset="0"/>
                <a:cs typeface="Arial" panose="020B0604020202020204" pitchFamily="34" charset="0"/>
              </a:rPr>
              <a:t>(Newsroom, 2025)</a:t>
            </a:r>
            <a:r>
              <a:rPr lang="en-US" dirty="0">
                <a:solidFill>
                  <a:srgbClr val="000000"/>
                </a:solidFill>
              </a:rPr>
              <a:t>; </a:t>
            </a:r>
            <a:r>
              <a:rPr lang="en-US" dirty="0">
                <a:solidFill>
                  <a:srgbClr val="000000"/>
                </a:solidFill>
                <a:hlinkClick r:id="rId7"/>
              </a:rPr>
              <a:t>Hephae energy raises $4M for high-t drilling technology</a:t>
            </a:r>
            <a:r>
              <a:rPr lang="en-US" dirty="0">
                <a:solidFill>
                  <a:srgbClr val="000000"/>
                </a:solidFill>
              </a:rPr>
              <a:t> (</a:t>
            </a:r>
            <a:r>
              <a:rPr lang="en-US" dirty="0" err="1">
                <a:solidFill>
                  <a:srgbClr val="000000"/>
                </a:solidFill>
              </a:rPr>
              <a:t>ThinkGeoEnergy</a:t>
            </a:r>
            <a:r>
              <a:rPr lang="en-US" dirty="0">
                <a:solidFill>
                  <a:srgbClr val="000000"/>
                </a:solidFill>
              </a:rPr>
              <a:t>, 2024); </a:t>
            </a:r>
            <a:r>
              <a:rPr lang="en-US" dirty="0">
                <a:solidFill>
                  <a:srgbClr val="000000"/>
                </a:solidFill>
                <a:hlinkClick r:id="rId8"/>
              </a:rPr>
              <a:t>California geothermal lithium project secures $1.36B direct loan</a:t>
            </a:r>
            <a:r>
              <a:rPr lang="en-US" dirty="0">
                <a:solidFill>
                  <a:srgbClr val="000000"/>
                </a:solidFill>
              </a:rPr>
              <a:t> (</a:t>
            </a:r>
            <a:r>
              <a:rPr lang="en-US" dirty="0" err="1">
                <a:solidFill>
                  <a:srgbClr val="000000"/>
                </a:solidFill>
              </a:rPr>
              <a:t>ThinkGeoEnergy</a:t>
            </a:r>
            <a:r>
              <a:rPr lang="en-US" dirty="0">
                <a:solidFill>
                  <a:srgbClr val="000000"/>
                </a:solidFill>
              </a:rPr>
              <a:t>, 2025); </a:t>
            </a:r>
            <a:r>
              <a:rPr lang="en-US" dirty="0">
                <a:solidFill>
                  <a:srgbClr val="000000"/>
                </a:solidFill>
                <a:hlinkClick r:id="rId9"/>
              </a:rPr>
              <a:t>The Hottest Energy in Tech</a:t>
            </a:r>
            <a:r>
              <a:rPr lang="en-US" dirty="0">
                <a:solidFill>
                  <a:srgbClr val="000000"/>
                </a:solidFill>
              </a:rPr>
              <a:t> (Baseload Capital, 2025), </a:t>
            </a:r>
            <a:r>
              <a:rPr lang="en-US" dirty="0">
                <a:solidFill>
                  <a:srgbClr val="000000"/>
                </a:solidFill>
                <a:hlinkClick r:id="rId10"/>
              </a:rPr>
              <a:t>Biden-Harris administration invests $60M</a:t>
            </a:r>
            <a:r>
              <a:rPr lang="en-US" dirty="0">
                <a:solidFill>
                  <a:srgbClr val="000000"/>
                </a:solidFill>
              </a:rPr>
              <a:t> (Climate Program Portal, 2024); </a:t>
            </a:r>
            <a:r>
              <a:rPr lang="en-US" dirty="0">
                <a:solidFill>
                  <a:srgbClr val="000000"/>
                </a:solidFill>
                <a:hlinkClick r:id="rId11"/>
              </a:rPr>
              <a:t>DOE announces $44M in EGS Funding</a:t>
            </a:r>
            <a:r>
              <a:rPr lang="en-US" dirty="0">
                <a:solidFill>
                  <a:srgbClr val="000000"/>
                </a:solidFill>
              </a:rPr>
              <a:t> (Utah FORGE, 2023); </a:t>
            </a:r>
            <a:r>
              <a:rPr lang="en-US" dirty="0">
                <a:solidFill>
                  <a:srgbClr val="000000"/>
                </a:solidFill>
                <a:hlinkClick r:id="rId12"/>
              </a:rPr>
              <a:t>Is geothermal energy ready to make its mark in the US power mix?</a:t>
            </a:r>
            <a:r>
              <a:rPr lang="en-US" dirty="0">
                <a:solidFill>
                  <a:srgbClr val="000000"/>
                </a:solidFill>
              </a:rPr>
              <a:t> (McKinsey, 2025), </a:t>
            </a:r>
            <a:r>
              <a:rPr lang="en-US" dirty="0">
                <a:solidFill>
                  <a:srgbClr val="000000"/>
                </a:solidFill>
                <a:hlinkClick r:id="rId13"/>
              </a:rPr>
              <a:t>DOE Announces $14.,2 M for EGS</a:t>
            </a:r>
            <a:r>
              <a:rPr lang="en-US" dirty="0">
                <a:solidFill>
                  <a:srgbClr val="000000"/>
                </a:solidFill>
              </a:rPr>
              <a:t> (DOE, 2024); </a:t>
            </a:r>
            <a:r>
              <a:rPr lang="en-US" dirty="0">
                <a:solidFill>
                  <a:srgbClr val="000000"/>
                </a:solidFill>
                <a:hlinkClick r:id="rId14"/>
              </a:rPr>
              <a:t>DOE to invest up to $165M to advance geothermal energy deployment</a:t>
            </a:r>
            <a:r>
              <a:rPr lang="en-US" dirty="0">
                <a:solidFill>
                  <a:srgbClr val="000000"/>
                </a:solidFill>
              </a:rPr>
              <a:t> (DOE, 2022).</a:t>
            </a:r>
          </a:p>
          <a:p>
            <a:pPr>
              <a:defRPr/>
            </a:pPr>
            <a:r>
              <a:rPr lang="en-US" dirty="0">
                <a:solidFill>
                  <a:srgbClr val="000000"/>
                </a:solidFill>
              </a:rPr>
              <a:t>Credit: Zacharia Thurston, and </a:t>
            </a:r>
            <a:r>
              <a:rPr lang="en-US" dirty="0">
                <a:hlinkClick r:id="rId15"/>
              </a:rPr>
              <a:t>Gernot Wagner.</a:t>
            </a:r>
            <a:r>
              <a:rPr lang="en-US" dirty="0">
                <a:solidFill>
                  <a:srgbClr val="000000"/>
                </a:solidFill>
              </a:rPr>
              <a:t> </a:t>
            </a:r>
            <a:r>
              <a:rPr lang="en-US" dirty="0">
                <a:hlinkClick r:id="rId1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61C7EC5A-391A-7B80-243B-B508888C6C3E}"/>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bg1"/>
                </a:solidFill>
              </a:rPr>
              <a:t>Technology</a:t>
            </a:r>
            <a:endParaRPr lang="en-US" sz="1600" b="1" dirty="0">
              <a:solidFill>
                <a:schemeClr val="bg1"/>
              </a:solidFill>
            </a:endParaRPr>
          </a:p>
        </p:txBody>
      </p:sp>
      <p:sp>
        <p:nvSpPr>
          <p:cNvPr id="7" name="Rectangle 6">
            <a:extLst>
              <a:ext uri="{FF2B5EF4-FFF2-40B4-BE49-F238E27FC236}">
                <a16:creationId xmlns:a16="http://schemas.microsoft.com/office/drawing/2014/main" id="{BF8EB9A2-EBD0-71A5-EB2E-00D30D4C1E36}"/>
              </a:ext>
            </a:extLst>
          </p:cNvPr>
          <p:cNvSpPr/>
          <p:nvPr/>
        </p:nvSpPr>
        <p:spPr bwMode="gray">
          <a:xfrm>
            <a:off x="3755938" y="1532316"/>
            <a:ext cx="1114603" cy="4402244"/>
          </a:xfrm>
          <a:prstGeom prst="rect">
            <a:avLst/>
          </a:prstGeom>
          <a:solidFill>
            <a:schemeClr val="bg2">
              <a:lumMod val="20000"/>
              <a:lumOff val="80000"/>
            </a:schemeClr>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b="1" dirty="0">
                <a:solidFill>
                  <a:schemeClr val="tx1"/>
                </a:solidFill>
              </a:rPr>
              <a:t>Opportunity for next-gen strategic investment </a:t>
            </a:r>
          </a:p>
        </p:txBody>
      </p:sp>
      <p:cxnSp>
        <p:nvCxnSpPr>
          <p:cNvPr id="8" name="Straight Arrow Connector 7">
            <a:extLst>
              <a:ext uri="{FF2B5EF4-FFF2-40B4-BE49-F238E27FC236}">
                <a16:creationId xmlns:a16="http://schemas.microsoft.com/office/drawing/2014/main" id="{9575F653-DD60-58B8-B39F-F265B3014DD8}"/>
              </a:ext>
            </a:extLst>
          </p:cNvPr>
          <p:cNvCxnSpPr>
            <a:cxnSpLocks/>
          </p:cNvCxnSpPr>
          <p:nvPr/>
        </p:nvCxnSpPr>
        <p:spPr bwMode="gray">
          <a:xfrm flipV="1">
            <a:off x="639173" y="1419067"/>
            <a:ext cx="0" cy="452739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9BF076D-B4C4-F8E0-11A8-25F8EEE8CC5D}"/>
              </a:ext>
            </a:extLst>
          </p:cNvPr>
          <p:cNvCxnSpPr>
            <a:cxnSpLocks/>
          </p:cNvCxnSpPr>
          <p:nvPr/>
        </p:nvCxnSpPr>
        <p:spPr bwMode="gray">
          <a:xfrm>
            <a:off x="639173" y="5946462"/>
            <a:ext cx="6322741"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3CD1AE7-435F-D971-E434-8E1ACB40FF4D}"/>
              </a:ext>
            </a:extLst>
          </p:cNvPr>
          <p:cNvSpPr/>
          <p:nvPr/>
        </p:nvSpPr>
        <p:spPr bwMode="gray">
          <a:xfrm>
            <a:off x="1307636" y="5954484"/>
            <a:ext cx="1055023" cy="189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Bench scale</a:t>
            </a:r>
          </a:p>
        </p:txBody>
      </p:sp>
      <p:sp>
        <p:nvSpPr>
          <p:cNvPr id="11" name="Rectangle 10">
            <a:extLst>
              <a:ext uri="{FF2B5EF4-FFF2-40B4-BE49-F238E27FC236}">
                <a16:creationId xmlns:a16="http://schemas.microsoft.com/office/drawing/2014/main" id="{1DE8BC3C-CA56-F719-D02C-6A6F2BABE5F9}"/>
              </a:ext>
            </a:extLst>
          </p:cNvPr>
          <p:cNvSpPr/>
          <p:nvPr/>
        </p:nvSpPr>
        <p:spPr bwMode="gray">
          <a:xfrm>
            <a:off x="430010" y="5944522"/>
            <a:ext cx="1055023" cy="189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Lab work</a:t>
            </a:r>
          </a:p>
        </p:txBody>
      </p:sp>
      <p:sp>
        <p:nvSpPr>
          <p:cNvPr id="12" name="Rectangle 11">
            <a:extLst>
              <a:ext uri="{FF2B5EF4-FFF2-40B4-BE49-F238E27FC236}">
                <a16:creationId xmlns:a16="http://schemas.microsoft.com/office/drawing/2014/main" id="{273463AB-F63F-DA74-B948-FF97A8AE4BC6}"/>
              </a:ext>
            </a:extLst>
          </p:cNvPr>
          <p:cNvSpPr/>
          <p:nvPr/>
        </p:nvSpPr>
        <p:spPr bwMode="gray">
          <a:xfrm>
            <a:off x="2388439" y="5938563"/>
            <a:ext cx="1055023" cy="189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Pilot scale</a:t>
            </a:r>
          </a:p>
        </p:txBody>
      </p:sp>
      <p:sp>
        <p:nvSpPr>
          <p:cNvPr id="13" name="Rectangle 12">
            <a:extLst>
              <a:ext uri="{FF2B5EF4-FFF2-40B4-BE49-F238E27FC236}">
                <a16:creationId xmlns:a16="http://schemas.microsoft.com/office/drawing/2014/main" id="{E43A7844-4B92-FAB2-8320-79D830F3E080}"/>
              </a:ext>
            </a:extLst>
          </p:cNvPr>
          <p:cNvSpPr/>
          <p:nvPr/>
        </p:nvSpPr>
        <p:spPr bwMode="gray">
          <a:xfrm>
            <a:off x="3628742" y="5961494"/>
            <a:ext cx="1399478" cy="189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Commercially scaled</a:t>
            </a:r>
          </a:p>
        </p:txBody>
      </p:sp>
      <p:sp>
        <p:nvSpPr>
          <p:cNvPr id="14" name="Rectangle 13">
            <a:extLst>
              <a:ext uri="{FF2B5EF4-FFF2-40B4-BE49-F238E27FC236}">
                <a16:creationId xmlns:a16="http://schemas.microsoft.com/office/drawing/2014/main" id="{8DD36601-4F9D-9070-A3A3-6139274C9A36}"/>
              </a:ext>
            </a:extLst>
          </p:cNvPr>
          <p:cNvSpPr/>
          <p:nvPr/>
        </p:nvSpPr>
        <p:spPr bwMode="gray">
          <a:xfrm>
            <a:off x="5130389" y="5950619"/>
            <a:ext cx="1399478" cy="189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Deployed</a:t>
            </a:r>
          </a:p>
        </p:txBody>
      </p:sp>
      <p:sp>
        <p:nvSpPr>
          <p:cNvPr id="15" name="Rectangle 14">
            <a:extLst>
              <a:ext uri="{FF2B5EF4-FFF2-40B4-BE49-F238E27FC236}">
                <a16:creationId xmlns:a16="http://schemas.microsoft.com/office/drawing/2014/main" id="{B3BFFAD6-97A3-CB5C-8154-E5F6B9B4E47A}"/>
              </a:ext>
            </a:extLst>
          </p:cNvPr>
          <p:cNvSpPr/>
          <p:nvPr/>
        </p:nvSpPr>
        <p:spPr bwMode="gray">
          <a:xfrm rot="16200000">
            <a:off x="-998300" y="3385250"/>
            <a:ext cx="2713151" cy="1867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Capital requirement x technology risk</a:t>
            </a:r>
          </a:p>
        </p:txBody>
      </p:sp>
      <p:sp>
        <p:nvSpPr>
          <p:cNvPr id="16" name="Freeform 15">
            <a:extLst>
              <a:ext uri="{FF2B5EF4-FFF2-40B4-BE49-F238E27FC236}">
                <a16:creationId xmlns:a16="http://schemas.microsoft.com/office/drawing/2014/main" id="{5DEAA6BC-DD05-3559-593A-95C36A53103B}"/>
              </a:ext>
            </a:extLst>
          </p:cNvPr>
          <p:cNvSpPr/>
          <p:nvPr/>
        </p:nvSpPr>
        <p:spPr bwMode="gray">
          <a:xfrm>
            <a:off x="634198" y="2071175"/>
            <a:ext cx="6243484" cy="3863385"/>
          </a:xfrm>
          <a:custGeom>
            <a:avLst/>
            <a:gdLst>
              <a:gd name="connsiteX0" fmla="*/ 0 w 6243484"/>
              <a:gd name="connsiteY0" fmla="*/ 3863385 h 3863385"/>
              <a:gd name="connsiteX1" fmla="*/ 245806 w 6243484"/>
              <a:gd name="connsiteY1" fmla="*/ 3243952 h 3863385"/>
              <a:gd name="connsiteX2" fmla="*/ 884903 w 6243484"/>
              <a:gd name="connsiteY2" fmla="*/ 2191901 h 3863385"/>
              <a:gd name="connsiteX3" fmla="*/ 1484671 w 6243484"/>
              <a:gd name="connsiteY3" fmla="*/ 962868 h 3863385"/>
              <a:gd name="connsiteX4" fmla="*/ 1887793 w 6243484"/>
              <a:gd name="connsiteY4" fmla="*/ 215617 h 3863385"/>
              <a:gd name="connsiteX5" fmla="*/ 2408903 w 6243484"/>
              <a:gd name="connsiteY5" fmla="*/ 9139 h 3863385"/>
              <a:gd name="connsiteX6" fmla="*/ 2743200 w 6243484"/>
              <a:gd name="connsiteY6" fmla="*/ 146791 h 3863385"/>
              <a:gd name="connsiteX7" fmla="*/ 3608438 w 6243484"/>
              <a:gd name="connsiteY7" fmla="*/ 1080856 h 3863385"/>
              <a:gd name="connsiteX8" fmla="*/ 4326193 w 6243484"/>
              <a:gd name="connsiteY8" fmla="*/ 2172236 h 3863385"/>
              <a:gd name="connsiteX9" fmla="*/ 5506064 w 6243484"/>
              <a:gd name="connsiteY9" fmla="*/ 2850662 h 3863385"/>
              <a:gd name="connsiteX10" fmla="*/ 6243484 w 6243484"/>
              <a:gd name="connsiteY10" fmla="*/ 2958817 h 386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3484" h="3863385">
                <a:moveTo>
                  <a:pt x="0" y="3863385"/>
                </a:moveTo>
                <a:cubicBezTo>
                  <a:pt x="49161" y="3692959"/>
                  <a:pt x="98322" y="3522533"/>
                  <a:pt x="245806" y="3243952"/>
                </a:cubicBezTo>
                <a:cubicBezTo>
                  <a:pt x="393290" y="2965371"/>
                  <a:pt x="678426" y="2572082"/>
                  <a:pt x="884903" y="2191901"/>
                </a:cubicBezTo>
                <a:cubicBezTo>
                  <a:pt x="1091381" y="1811720"/>
                  <a:pt x="1317523" y="1292249"/>
                  <a:pt x="1484671" y="962868"/>
                </a:cubicBezTo>
                <a:cubicBezTo>
                  <a:pt x="1651819" y="633487"/>
                  <a:pt x="1733754" y="374572"/>
                  <a:pt x="1887793" y="215617"/>
                </a:cubicBezTo>
                <a:cubicBezTo>
                  <a:pt x="2041832" y="56662"/>
                  <a:pt x="2266335" y="20610"/>
                  <a:pt x="2408903" y="9139"/>
                </a:cubicBezTo>
                <a:cubicBezTo>
                  <a:pt x="2551471" y="-2332"/>
                  <a:pt x="2543278" y="-31829"/>
                  <a:pt x="2743200" y="146791"/>
                </a:cubicBezTo>
                <a:cubicBezTo>
                  <a:pt x="2943123" y="325410"/>
                  <a:pt x="3344606" y="743282"/>
                  <a:pt x="3608438" y="1080856"/>
                </a:cubicBezTo>
                <a:cubicBezTo>
                  <a:pt x="3872270" y="1418430"/>
                  <a:pt x="4009922" y="1877268"/>
                  <a:pt x="4326193" y="2172236"/>
                </a:cubicBezTo>
                <a:cubicBezTo>
                  <a:pt x="4642464" y="2467204"/>
                  <a:pt x="5186516" y="2719565"/>
                  <a:pt x="5506064" y="2850662"/>
                </a:cubicBezTo>
                <a:cubicBezTo>
                  <a:pt x="5825612" y="2981759"/>
                  <a:pt x="6034548" y="2970288"/>
                  <a:pt x="6243484" y="2958817"/>
                </a:cubicBezTo>
              </a:path>
            </a:pathLst>
          </a:cu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76618B84-370F-C2C7-D488-C44FAA8E4586}"/>
              </a:ext>
            </a:extLst>
          </p:cNvPr>
          <p:cNvSpPr txBox="1"/>
          <p:nvPr/>
        </p:nvSpPr>
        <p:spPr bwMode="gray">
          <a:xfrm>
            <a:off x="649683" y="4810837"/>
            <a:ext cx="914400" cy="318924"/>
          </a:xfrm>
          <a:prstGeom prst="rect">
            <a:avLst/>
          </a:prstGeom>
          <a:solidFill>
            <a:schemeClr val="accent4">
              <a:lumMod val="20000"/>
              <a:lumOff val="80000"/>
            </a:schemeClr>
          </a:solidFill>
        </p:spPr>
        <p:txBody>
          <a:bodyPr wrap="square" lIns="36000" tIns="36000" rIns="36000" bIns="36000" rtlCol="0">
            <a:spAutoFit/>
          </a:bodyPr>
          <a:lstStyle/>
          <a:p>
            <a:pPr marL="0" indent="0" algn="ctr">
              <a:buNone/>
            </a:pPr>
            <a:r>
              <a:rPr lang="en-US" sz="800" dirty="0"/>
              <a:t>High-Temp Alloys &amp; Nano Drilling</a:t>
            </a:r>
          </a:p>
        </p:txBody>
      </p:sp>
      <p:sp>
        <p:nvSpPr>
          <p:cNvPr id="18" name="TextBox 17">
            <a:extLst>
              <a:ext uri="{FF2B5EF4-FFF2-40B4-BE49-F238E27FC236}">
                <a16:creationId xmlns:a16="http://schemas.microsoft.com/office/drawing/2014/main" id="{C84F8C93-FD9D-56B6-3E3E-547C75989F38}"/>
              </a:ext>
            </a:extLst>
          </p:cNvPr>
          <p:cNvSpPr txBox="1"/>
          <p:nvPr/>
        </p:nvSpPr>
        <p:spPr bwMode="gray">
          <a:xfrm>
            <a:off x="1672156" y="2820161"/>
            <a:ext cx="914400" cy="318924"/>
          </a:xfrm>
          <a:prstGeom prst="rect">
            <a:avLst/>
          </a:prstGeom>
          <a:solidFill>
            <a:schemeClr val="accent6">
              <a:lumMod val="20000"/>
              <a:lumOff val="80000"/>
            </a:schemeClr>
          </a:solidFill>
        </p:spPr>
        <p:txBody>
          <a:bodyPr wrap="square" lIns="36000" tIns="36000" rIns="36000" bIns="36000" rtlCol="0">
            <a:spAutoFit/>
          </a:bodyPr>
          <a:lstStyle/>
          <a:p>
            <a:pPr marL="0" indent="0" algn="ctr">
              <a:buNone/>
            </a:pPr>
            <a:r>
              <a:rPr lang="en-US" sz="800" dirty="0"/>
              <a:t>AI-enabled exploration</a:t>
            </a:r>
          </a:p>
        </p:txBody>
      </p:sp>
      <p:sp>
        <p:nvSpPr>
          <p:cNvPr id="19" name="TextBox 18">
            <a:extLst>
              <a:ext uri="{FF2B5EF4-FFF2-40B4-BE49-F238E27FC236}">
                <a16:creationId xmlns:a16="http://schemas.microsoft.com/office/drawing/2014/main" id="{1F092DCF-A172-26B3-1AA5-6E568EF138FF}"/>
              </a:ext>
            </a:extLst>
          </p:cNvPr>
          <p:cNvSpPr txBox="1"/>
          <p:nvPr/>
        </p:nvSpPr>
        <p:spPr bwMode="gray">
          <a:xfrm>
            <a:off x="1160669" y="4057051"/>
            <a:ext cx="914400" cy="318924"/>
          </a:xfrm>
          <a:prstGeom prst="rect">
            <a:avLst/>
          </a:prstGeom>
          <a:solidFill>
            <a:schemeClr val="accent3">
              <a:lumMod val="20000"/>
              <a:lumOff val="80000"/>
            </a:schemeClr>
          </a:solidFill>
        </p:spPr>
        <p:txBody>
          <a:bodyPr wrap="square" lIns="36000" tIns="36000" rIns="36000" bIns="36000" rtlCol="0">
            <a:spAutoFit/>
          </a:bodyPr>
          <a:lstStyle/>
          <a:p>
            <a:pPr marL="0" indent="0" algn="ctr">
              <a:buNone/>
            </a:pPr>
            <a:r>
              <a:rPr lang="en-US" sz="800" dirty="0"/>
              <a:t>Critical Mineral Recovery</a:t>
            </a:r>
          </a:p>
        </p:txBody>
      </p:sp>
      <p:sp>
        <p:nvSpPr>
          <p:cNvPr id="20" name="TextBox 19">
            <a:extLst>
              <a:ext uri="{FF2B5EF4-FFF2-40B4-BE49-F238E27FC236}">
                <a16:creationId xmlns:a16="http://schemas.microsoft.com/office/drawing/2014/main" id="{921679A9-1546-E6F3-0ED6-5A821EB3EB21}"/>
              </a:ext>
            </a:extLst>
          </p:cNvPr>
          <p:cNvSpPr txBox="1"/>
          <p:nvPr/>
        </p:nvSpPr>
        <p:spPr bwMode="gray">
          <a:xfrm>
            <a:off x="2883564" y="2014042"/>
            <a:ext cx="548640" cy="195814"/>
          </a:xfrm>
          <a:prstGeom prst="rect">
            <a:avLst/>
          </a:prstGeom>
          <a:solidFill>
            <a:schemeClr val="accent1">
              <a:lumMod val="20000"/>
              <a:lumOff val="80000"/>
            </a:schemeClr>
          </a:solidFill>
        </p:spPr>
        <p:txBody>
          <a:bodyPr wrap="square" lIns="36000" tIns="36000" rIns="36000" bIns="36000" rtlCol="0">
            <a:spAutoFit/>
          </a:bodyPr>
          <a:lstStyle/>
          <a:p>
            <a:pPr marL="0" indent="0" algn="ctr">
              <a:buNone/>
            </a:pPr>
            <a:r>
              <a:rPr lang="en-US" sz="800" dirty="0"/>
              <a:t>EGS</a:t>
            </a:r>
          </a:p>
        </p:txBody>
      </p:sp>
      <p:sp>
        <p:nvSpPr>
          <p:cNvPr id="21" name="Rectangle 20">
            <a:extLst>
              <a:ext uri="{FF2B5EF4-FFF2-40B4-BE49-F238E27FC236}">
                <a16:creationId xmlns:a16="http://schemas.microsoft.com/office/drawing/2014/main" id="{83AF8C23-6FBE-1A2A-D376-84C14191C1ED}"/>
              </a:ext>
            </a:extLst>
          </p:cNvPr>
          <p:cNvSpPr/>
          <p:nvPr/>
        </p:nvSpPr>
        <p:spPr bwMode="gray">
          <a:xfrm flipV="1">
            <a:off x="675260" y="5581622"/>
            <a:ext cx="242136" cy="17527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TextBox 21">
            <a:extLst>
              <a:ext uri="{FF2B5EF4-FFF2-40B4-BE49-F238E27FC236}">
                <a16:creationId xmlns:a16="http://schemas.microsoft.com/office/drawing/2014/main" id="{8FE569F2-B814-0D94-8E16-AF521EC6F79D}"/>
              </a:ext>
            </a:extLst>
          </p:cNvPr>
          <p:cNvSpPr txBox="1"/>
          <p:nvPr/>
        </p:nvSpPr>
        <p:spPr bwMode="gray">
          <a:xfrm>
            <a:off x="358275" y="5497915"/>
            <a:ext cx="914400" cy="318924"/>
          </a:xfrm>
          <a:prstGeom prst="rect">
            <a:avLst/>
          </a:prstGeom>
          <a:solidFill>
            <a:schemeClr val="accent5">
              <a:lumMod val="20000"/>
              <a:lumOff val="80000"/>
            </a:schemeClr>
          </a:solidFill>
        </p:spPr>
        <p:txBody>
          <a:bodyPr wrap="square" lIns="36000" tIns="36000" rIns="36000" bIns="36000" rtlCol="0">
            <a:spAutoFit/>
          </a:bodyPr>
          <a:lstStyle/>
          <a:p>
            <a:pPr marL="0" indent="0" algn="ctr">
              <a:buNone/>
            </a:pPr>
            <a:r>
              <a:rPr lang="en-US" sz="800" dirty="0"/>
              <a:t>Super Critical Conditions</a:t>
            </a:r>
          </a:p>
        </p:txBody>
      </p:sp>
      <p:sp>
        <p:nvSpPr>
          <p:cNvPr id="23" name="TextBox 22">
            <a:extLst>
              <a:ext uri="{FF2B5EF4-FFF2-40B4-BE49-F238E27FC236}">
                <a16:creationId xmlns:a16="http://schemas.microsoft.com/office/drawing/2014/main" id="{5753039E-494F-D49E-15CD-A5FFEE8B5B0F}"/>
              </a:ext>
            </a:extLst>
          </p:cNvPr>
          <p:cNvSpPr txBox="1"/>
          <p:nvPr/>
        </p:nvSpPr>
        <p:spPr bwMode="gray">
          <a:xfrm>
            <a:off x="2156004" y="2249854"/>
            <a:ext cx="759500" cy="195814"/>
          </a:xfrm>
          <a:prstGeom prst="rect">
            <a:avLst/>
          </a:prstGeom>
          <a:solidFill>
            <a:schemeClr val="accent1">
              <a:lumMod val="20000"/>
              <a:lumOff val="80000"/>
            </a:schemeClr>
          </a:solidFill>
        </p:spPr>
        <p:txBody>
          <a:bodyPr wrap="square" lIns="36000" tIns="36000" rIns="36000" bIns="36000" rtlCol="0">
            <a:spAutoFit/>
          </a:bodyPr>
          <a:lstStyle/>
          <a:p>
            <a:pPr marL="0" indent="0" algn="ctr">
              <a:buNone/>
            </a:pPr>
            <a:r>
              <a:rPr lang="en-US" sz="800" dirty="0"/>
              <a:t>Closed-loop</a:t>
            </a:r>
          </a:p>
        </p:txBody>
      </p:sp>
      <p:graphicFrame>
        <p:nvGraphicFramePr>
          <p:cNvPr id="24" name="Table 23">
            <a:extLst>
              <a:ext uri="{FF2B5EF4-FFF2-40B4-BE49-F238E27FC236}">
                <a16:creationId xmlns:a16="http://schemas.microsoft.com/office/drawing/2014/main" id="{53AA4AB6-7432-5E81-2F78-71A947676313}"/>
              </a:ext>
            </a:extLst>
          </p:cNvPr>
          <p:cNvGraphicFramePr>
            <a:graphicFrameLocks noGrp="1"/>
          </p:cNvGraphicFramePr>
          <p:nvPr>
            <p:extLst>
              <p:ext uri="{D42A27DB-BD31-4B8C-83A1-F6EECF244321}">
                <p14:modId xmlns:p14="http://schemas.microsoft.com/office/powerpoint/2010/main" val="99924356"/>
              </p:ext>
            </p:extLst>
          </p:nvPr>
        </p:nvGraphicFramePr>
        <p:xfrm>
          <a:off x="7220075" y="2177436"/>
          <a:ext cx="4668800" cy="3790867"/>
        </p:xfrm>
        <a:graphic>
          <a:graphicData uri="http://schemas.openxmlformats.org/drawingml/2006/table">
            <a:tbl>
              <a:tblPr firstRow="1" bandRow="1">
                <a:tableStyleId>{2D5ABB26-0587-4C30-8999-92F81FD0307C}</a:tableStyleId>
              </a:tblPr>
              <a:tblGrid>
                <a:gridCol w="1145276">
                  <a:extLst>
                    <a:ext uri="{9D8B030D-6E8A-4147-A177-3AD203B41FA5}">
                      <a16:colId xmlns:a16="http://schemas.microsoft.com/office/drawing/2014/main" val="2129747751"/>
                    </a:ext>
                  </a:extLst>
                </a:gridCol>
                <a:gridCol w="1482619">
                  <a:extLst>
                    <a:ext uri="{9D8B030D-6E8A-4147-A177-3AD203B41FA5}">
                      <a16:colId xmlns:a16="http://schemas.microsoft.com/office/drawing/2014/main" val="3516509164"/>
                    </a:ext>
                  </a:extLst>
                </a:gridCol>
                <a:gridCol w="2040905">
                  <a:extLst>
                    <a:ext uri="{9D8B030D-6E8A-4147-A177-3AD203B41FA5}">
                      <a16:colId xmlns:a16="http://schemas.microsoft.com/office/drawing/2014/main" val="2400563600"/>
                    </a:ext>
                  </a:extLst>
                </a:gridCol>
              </a:tblGrid>
              <a:tr h="344572">
                <a:tc>
                  <a:txBody>
                    <a:bodyPr/>
                    <a:lstStyle/>
                    <a:p>
                      <a:pPr>
                        <a:spcBef>
                          <a:spcPts val="0"/>
                        </a:spcBef>
                        <a:buNone/>
                      </a:pPr>
                      <a:r>
                        <a:rPr lang="en-US" sz="1000" b="1" dirty="0"/>
                        <a:t>Technology</a:t>
                      </a:r>
                      <a:endParaRPr lang="en-US" sz="1000" b="1" dirty="0">
                        <a:solidFill>
                          <a:schemeClr val="tx1"/>
                        </a:solidFill>
                      </a:endParaRPr>
                    </a:p>
                  </a:txBody>
                  <a:tcPr anchor="ctr">
                    <a:lnB w="12700" cap="flat" cmpd="sng" algn="ctr">
                      <a:solidFill>
                        <a:schemeClr val="tx1"/>
                      </a:solidFill>
                      <a:prstDash val="solid"/>
                      <a:round/>
                      <a:headEnd type="none" w="med" len="med"/>
                      <a:tailEnd type="none" w="med" len="med"/>
                    </a:lnB>
                  </a:tcPr>
                </a:tc>
                <a:tc>
                  <a:txBody>
                    <a:bodyPr/>
                    <a:lstStyle/>
                    <a:p>
                      <a:pPr>
                        <a:spcBef>
                          <a:spcPts val="0"/>
                        </a:spcBef>
                        <a:buNone/>
                      </a:pPr>
                      <a:r>
                        <a:rPr lang="en-US" sz="1000" b="1" dirty="0"/>
                        <a:t>Funding</a:t>
                      </a:r>
                      <a:endParaRPr lang="en-US" sz="1000" b="1" dirty="0">
                        <a:solidFill>
                          <a:schemeClr val="tx1"/>
                        </a:solidFill>
                      </a:endParaRPr>
                    </a:p>
                  </a:txBody>
                  <a:tcPr anchor="ctr">
                    <a:lnB w="12700" cap="flat" cmpd="sng" algn="ctr">
                      <a:solidFill>
                        <a:schemeClr val="tx1"/>
                      </a:solidFill>
                      <a:prstDash val="solid"/>
                      <a:round/>
                      <a:headEnd type="none" w="med" len="med"/>
                      <a:tailEnd type="none" w="med" len="med"/>
                    </a:lnB>
                  </a:tcPr>
                </a:tc>
                <a:tc>
                  <a:txBody>
                    <a:bodyPr/>
                    <a:lstStyle/>
                    <a:p>
                      <a:pPr>
                        <a:spcBef>
                          <a:spcPts val="0"/>
                        </a:spcBef>
                        <a:buNone/>
                      </a:pPr>
                      <a:r>
                        <a:rPr lang="en-US" sz="1000" b="1" dirty="0"/>
                        <a:t>Key Barriers</a:t>
                      </a:r>
                      <a:endParaRPr lang="en-US" sz="1000" b="1" dirty="0">
                        <a:solidFill>
                          <a:schemeClr val="tx1"/>
                        </a:solidFill>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4343822"/>
                  </a:ext>
                </a:extLst>
              </a:tr>
              <a:tr h="520738">
                <a:tc>
                  <a:txBody>
                    <a:bodyPr/>
                    <a:lstStyle/>
                    <a:p>
                      <a:pPr>
                        <a:spcBef>
                          <a:spcPts val="0"/>
                        </a:spcBef>
                        <a:buNone/>
                      </a:pPr>
                      <a:r>
                        <a:rPr lang="en-US" sz="1000" b="1" dirty="0"/>
                        <a:t>Super</a:t>
                      </a:r>
                      <a:r>
                        <a:rPr lang="en-US" sz="1000" b="1" baseline="0" dirty="0"/>
                        <a:t>-C</a:t>
                      </a:r>
                      <a:r>
                        <a:rPr lang="en-US" sz="1000" b="1" dirty="0"/>
                        <a:t>ritical</a:t>
                      </a:r>
                    </a:p>
                    <a:p>
                      <a:pPr>
                        <a:spcBef>
                          <a:spcPts val="0"/>
                        </a:spcBef>
                        <a:buNone/>
                      </a:pPr>
                      <a:r>
                        <a:rPr lang="en-US" sz="1000" b="1" dirty="0"/>
                        <a:t>Conditions</a:t>
                      </a:r>
                      <a:endParaRPr lang="en-US" sz="1000" b="1" dirty="0">
                        <a:solidFill>
                          <a:schemeClr val="bg1"/>
                        </a:solidFill>
                      </a:endParaRPr>
                    </a:p>
                  </a:txBody>
                  <a:tcPr anchor="ct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spcBef>
                          <a:spcPts val="0"/>
                        </a:spcBef>
                        <a:buNone/>
                      </a:pPr>
                      <a:r>
                        <a:rPr lang="en-US" sz="1000" dirty="0"/>
                        <a:t>$82M+ – NZ</a:t>
                      </a:r>
                    </a:p>
                    <a:p>
                      <a:pPr>
                        <a:spcBef>
                          <a:spcPts val="0"/>
                        </a:spcBef>
                        <a:buNone/>
                      </a:pPr>
                      <a:r>
                        <a:rPr lang="en-US" sz="1000" dirty="0"/>
                        <a:t>Regional</a:t>
                      </a:r>
                    </a:p>
                    <a:p>
                      <a:pPr>
                        <a:spcBef>
                          <a:spcPts val="0"/>
                        </a:spcBef>
                        <a:buNone/>
                      </a:pPr>
                      <a:r>
                        <a:rPr lang="en-US" sz="1000" dirty="0"/>
                        <a:t>Infrastructure Fund</a:t>
                      </a:r>
                      <a:endParaRPr lang="en-US" sz="1000" dirty="0">
                        <a:solidFill>
                          <a:schemeClr val="bg1"/>
                        </a:solidFill>
                      </a:endParaRPr>
                    </a:p>
                  </a:txBody>
                  <a:tcPr anchor="ct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spcBef>
                          <a:spcPts val="0"/>
                        </a:spcBef>
                        <a:buNone/>
                      </a:pPr>
                      <a:r>
                        <a:rPr lang="en-US" sz="1000" dirty="0"/>
                        <a:t>Extreme T/P drilling; material</a:t>
                      </a:r>
                    </a:p>
                    <a:p>
                      <a:pPr>
                        <a:spcBef>
                          <a:spcPts val="0"/>
                        </a:spcBef>
                        <a:buNone/>
                      </a:pPr>
                      <a:r>
                        <a:rPr lang="en-US" sz="1000" dirty="0"/>
                        <a:t>durability; limited demos; high</a:t>
                      </a:r>
                    </a:p>
                    <a:p>
                      <a:pPr>
                        <a:spcBef>
                          <a:spcPts val="0"/>
                        </a:spcBef>
                        <a:buNone/>
                      </a:pPr>
                      <a:r>
                        <a:rPr lang="en-US" sz="1000" dirty="0"/>
                        <a:t>CapEx.</a:t>
                      </a:r>
                      <a:endParaRPr lang="en-US" sz="1000" dirty="0">
                        <a:solidFill>
                          <a:schemeClr val="bg1"/>
                        </a:solidFill>
                      </a:endParaRPr>
                    </a:p>
                  </a:txBody>
                  <a:tcPr anchor="ctr">
                    <a:lnT w="12700" cap="flat" cmpd="sng" algn="ctr">
                      <a:solidFill>
                        <a:schemeClr val="tx1"/>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4243918089"/>
                  </a:ext>
                </a:extLst>
              </a:tr>
              <a:tr h="520738">
                <a:tc>
                  <a:txBody>
                    <a:bodyPr/>
                    <a:lstStyle/>
                    <a:p>
                      <a:pPr marL="0">
                        <a:spcBef>
                          <a:spcPts val="0"/>
                        </a:spcBef>
                        <a:buNone/>
                      </a:pPr>
                      <a:r>
                        <a:rPr lang="en-US" sz="1000" b="1" dirty="0"/>
                        <a:t>High-Temp Alloys and</a:t>
                      </a:r>
                    </a:p>
                    <a:p>
                      <a:pPr marL="0">
                        <a:spcBef>
                          <a:spcPts val="0"/>
                        </a:spcBef>
                        <a:buNone/>
                      </a:pPr>
                      <a:r>
                        <a:rPr lang="en-US" sz="1000" b="1" dirty="0"/>
                        <a:t>Nano Drilling</a:t>
                      </a:r>
                      <a:endParaRPr lang="en-US" sz="1000" b="1" dirty="0">
                        <a:solidFill>
                          <a:schemeClr val="bg1"/>
                        </a:solidFill>
                      </a:endParaRPr>
                    </a:p>
                  </a:txBody>
                  <a:tcPr anchor="ctr">
                    <a:solidFill>
                      <a:schemeClr val="accent4">
                        <a:lumMod val="20000"/>
                        <a:lumOff val="80000"/>
                      </a:schemeClr>
                    </a:solidFill>
                  </a:tcPr>
                </a:tc>
                <a:tc>
                  <a:txBody>
                    <a:bodyPr/>
                    <a:lstStyle/>
                    <a:p>
                      <a:pPr>
                        <a:spcBef>
                          <a:spcPts val="0"/>
                        </a:spcBef>
                        <a:buNone/>
                      </a:pPr>
                      <a:r>
                        <a:rPr lang="en-US" sz="1000" dirty="0"/>
                        <a:t>$4M+ – DOE FOAs,</a:t>
                      </a:r>
                    </a:p>
                    <a:p>
                      <a:pPr>
                        <a:spcBef>
                          <a:spcPts val="0"/>
                        </a:spcBef>
                        <a:buNone/>
                      </a:pPr>
                      <a:r>
                        <a:rPr lang="en-US" sz="1000" dirty="0"/>
                        <a:t>VC pilots (e.g.,</a:t>
                      </a:r>
                    </a:p>
                    <a:p>
                      <a:pPr>
                        <a:spcBef>
                          <a:spcPts val="0"/>
                        </a:spcBef>
                        <a:buNone/>
                      </a:pPr>
                      <a:r>
                        <a:rPr lang="en-US" sz="1000" dirty="0"/>
                        <a:t>Hephae $4M)</a:t>
                      </a:r>
                      <a:endParaRPr lang="en-US" sz="1000" dirty="0">
                        <a:solidFill>
                          <a:schemeClr val="bg1"/>
                        </a:solidFill>
                      </a:endParaRPr>
                    </a:p>
                  </a:txBody>
                  <a:tcPr anchor="ctr">
                    <a:solidFill>
                      <a:schemeClr val="accent4">
                        <a:lumMod val="20000"/>
                        <a:lumOff val="80000"/>
                      </a:schemeClr>
                    </a:solidFill>
                  </a:tcPr>
                </a:tc>
                <a:tc>
                  <a:txBody>
                    <a:bodyPr/>
                    <a:lstStyle/>
                    <a:p>
                      <a:pPr>
                        <a:spcBef>
                          <a:spcPts val="0"/>
                        </a:spcBef>
                        <a:buNone/>
                      </a:pPr>
                      <a:r>
                        <a:rPr lang="en-US" sz="1000" dirty="0"/>
                        <a:t>Costly R&amp;D/testing; limited alloy</a:t>
                      </a:r>
                    </a:p>
                    <a:p>
                      <a:pPr>
                        <a:spcBef>
                          <a:spcPts val="0"/>
                        </a:spcBef>
                        <a:buNone/>
                      </a:pPr>
                      <a:r>
                        <a:rPr lang="en-US" sz="1000" dirty="0"/>
                        <a:t>supply chain; expensive field</a:t>
                      </a:r>
                    </a:p>
                    <a:p>
                      <a:pPr>
                        <a:spcBef>
                          <a:spcPts val="0"/>
                        </a:spcBef>
                        <a:buNone/>
                      </a:pPr>
                      <a:r>
                        <a:rPr lang="en-US" sz="1000" dirty="0"/>
                        <a:t>trials.</a:t>
                      </a:r>
                      <a:endParaRPr lang="en-US" sz="1000" dirty="0">
                        <a:solidFill>
                          <a:schemeClr val="bg1"/>
                        </a:solidFill>
                      </a:endParaRPr>
                    </a:p>
                  </a:txBody>
                  <a:tcPr anchor="ctr">
                    <a:solidFill>
                      <a:schemeClr val="accent4">
                        <a:lumMod val="20000"/>
                        <a:lumOff val="80000"/>
                      </a:schemeClr>
                    </a:solidFill>
                  </a:tcPr>
                </a:tc>
                <a:extLst>
                  <a:ext uri="{0D108BD9-81ED-4DB2-BD59-A6C34878D82A}">
                    <a16:rowId xmlns:a16="http://schemas.microsoft.com/office/drawing/2014/main" val="4084326459"/>
                  </a:ext>
                </a:extLst>
              </a:tr>
              <a:tr h="520738">
                <a:tc>
                  <a:txBody>
                    <a:bodyPr/>
                    <a:lstStyle/>
                    <a:p>
                      <a:pPr marL="0">
                        <a:spcBef>
                          <a:spcPts val="0"/>
                        </a:spcBef>
                        <a:buNone/>
                      </a:pPr>
                      <a:r>
                        <a:rPr lang="en-US" sz="1000" b="1" dirty="0"/>
                        <a:t>Critical</a:t>
                      </a:r>
                    </a:p>
                    <a:p>
                      <a:pPr marL="0">
                        <a:spcBef>
                          <a:spcPts val="0"/>
                        </a:spcBef>
                        <a:buNone/>
                      </a:pPr>
                      <a:r>
                        <a:rPr lang="en-US" sz="1000" b="1" dirty="0"/>
                        <a:t>Mineral Recovery</a:t>
                      </a:r>
                      <a:endParaRPr lang="en-US" sz="1000" b="1" dirty="0">
                        <a:solidFill>
                          <a:schemeClr val="bg1"/>
                        </a:solidFill>
                      </a:endParaRPr>
                    </a:p>
                  </a:txBody>
                  <a:tcPr anchor="ctr">
                    <a:solidFill>
                      <a:schemeClr val="accent3">
                        <a:lumMod val="20000"/>
                        <a:lumOff val="80000"/>
                      </a:schemeClr>
                    </a:solidFill>
                  </a:tcPr>
                </a:tc>
                <a:tc>
                  <a:txBody>
                    <a:bodyPr/>
                    <a:lstStyle/>
                    <a:p>
                      <a:pPr>
                        <a:spcBef>
                          <a:spcPts val="0"/>
                        </a:spcBef>
                        <a:buNone/>
                      </a:pPr>
                      <a:r>
                        <a:rPr lang="en-US" sz="1000" dirty="0"/>
                        <a:t>$1.63B+ – CA</a:t>
                      </a:r>
                    </a:p>
                    <a:p>
                      <a:pPr>
                        <a:spcBef>
                          <a:spcPts val="0"/>
                        </a:spcBef>
                        <a:buNone/>
                      </a:pPr>
                      <a:r>
                        <a:rPr lang="en-US" sz="1000" dirty="0"/>
                        <a:t>geothermal lithium</a:t>
                      </a:r>
                    </a:p>
                    <a:p>
                      <a:pPr>
                        <a:spcBef>
                          <a:spcPts val="0"/>
                        </a:spcBef>
                        <a:buNone/>
                      </a:pPr>
                      <a:r>
                        <a:rPr lang="en-US" sz="1000" dirty="0"/>
                        <a:t>(e.g., ATLiS)</a:t>
                      </a:r>
                      <a:endParaRPr lang="en-US" sz="1000" dirty="0">
                        <a:solidFill>
                          <a:schemeClr val="bg1"/>
                        </a:solidFill>
                      </a:endParaRPr>
                    </a:p>
                  </a:txBody>
                  <a:tcPr anchor="ctr">
                    <a:solidFill>
                      <a:schemeClr val="accent3">
                        <a:lumMod val="20000"/>
                        <a:lumOff val="80000"/>
                      </a:schemeClr>
                    </a:solidFill>
                  </a:tcPr>
                </a:tc>
                <a:tc>
                  <a:txBody>
                    <a:bodyPr/>
                    <a:lstStyle/>
                    <a:p>
                      <a:pPr>
                        <a:spcBef>
                          <a:spcPts val="0"/>
                        </a:spcBef>
                        <a:buNone/>
                      </a:pPr>
                      <a:r>
                        <a:rPr lang="en-US" sz="1000" dirty="0"/>
                        <a:t>Scale-up challenges; brine</a:t>
                      </a:r>
                    </a:p>
                    <a:p>
                      <a:pPr>
                        <a:spcBef>
                          <a:spcPts val="0"/>
                        </a:spcBef>
                        <a:buNone/>
                      </a:pPr>
                      <a:r>
                        <a:rPr lang="en-US" sz="1000" dirty="0"/>
                        <a:t>management; permitting; price</a:t>
                      </a:r>
                    </a:p>
                    <a:p>
                      <a:pPr>
                        <a:spcBef>
                          <a:spcPts val="0"/>
                        </a:spcBef>
                        <a:buNone/>
                      </a:pPr>
                      <a:r>
                        <a:rPr lang="en-US" sz="1000" dirty="0"/>
                        <a:t>volatility.</a:t>
                      </a:r>
                      <a:endParaRPr lang="en-US" sz="1000" dirty="0">
                        <a:solidFill>
                          <a:schemeClr val="bg1"/>
                        </a:solidFill>
                      </a:endParaRPr>
                    </a:p>
                  </a:txBody>
                  <a:tcPr anchor="ctr">
                    <a:solidFill>
                      <a:schemeClr val="accent3">
                        <a:lumMod val="20000"/>
                        <a:lumOff val="80000"/>
                      </a:schemeClr>
                    </a:solidFill>
                  </a:tcPr>
                </a:tc>
                <a:extLst>
                  <a:ext uri="{0D108BD9-81ED-4DB2-BD59-A6C34878D82A}">
                    <a16:rowId xmlns:a16="http://schemas.microsoft.com/office/drawing/2014/main" val="3509044474"/>
                  </a:ext>
                </a:extLst>
              </a:tr>
              <a:tr h="665387">
                <a:tc>
                  <a:txBody>
                    <a:bodyPr/>
                    <a:lstStyle/>
                    <a:p>
                      <a:pPr marL="0">
                        <a:spcBef>
                          <a:spcPts val="0"/>
                        </a:spcBef>
                        <a:buNone/>
                      </a:pPr>
                      <a:r>
                        <a:rPr lang="en-US" sz="1000" b="1" dirty="0"/>
                        <a:t>AI-Enabled</a:t>
                      </a:r>
                      <a:r>
                        <a:rPr lang="en-US" sz="1000" b="1" baseline="0" dirty="0"/>
                        <a:t> </a:t>
                      </a:r>
                      <a:r>
                        <a:rPr lang="en-US" sz="1000" b="1" dirty="0"/>
                        <a:t>Exploration</a:t>
                      </a:r>
                      <a:endParaRPr lang="en-US" sz="1000" b="1" dirty="0">
                        <a:solidFill>
                          <a:schemeClr val="bg1"/>
                        </a:solidFill>
                      </a:endParaRPr>
                    </a:p>
                  </a:txBody>
                  <a:tcPr anchor="ctr">
                    <a:solidFill>
                      <a:schemeClr val="accent6">
                        <a:lumMod val="20000"/>
                        <a:lumOff val="80000"/>
                      </a:schemeClr>
                    </a:solidFill>
                  </a:tcPr>
                </a:tc>
                <a:tc>
                  <a:txBody>
                    <a:bodyPr/>
                    <a:lstStyle/>
                    <a:p>
                      <a:pPr>
                        <a:spcBef>
                          <a:spcPts val="0"/>
                        </a:spcBef>
                        <a:buNone/>
                      </a:pPr>
                      <a:r>
                        <a:rPr lang="en-US" sz="1000" dirty="0"/>
                        <a:t>$200M-$1.2B+ – VC,</a:t>
                      </a:r>
                    </a:p>
                    <a:p>
                      <a:pPr>
                        <a:spcBef>
                          <a:spcPts val="0"/>
                        </a:spcBef>
                        <a:buNone/>
                      </a:pPr>
                      <a:r>
                        <a:rPr lang="en-US" sz="1000" dirty="0"/>
                        <a:t>corporate, grants</a:t>
                      </a:r>
                    </a:p>
                    <a:p>
                      <a:pPr>
                        <a:spcBef>
                          <a:spcPts val="0"/>
                        </a:spcBef>
                        <a:buNone/>
                      </a:pPr>
                      <a:r>
                        <a:rPr lang="en-US" sz="1000" dirty="0"/>
                        <a:t>(Zanskar ~$40M;</a:t>
                      </a:r>
                    </a:p>
                    <a:p>
                      <a:pPr>
                        <a:spcBef>
                          <a:spcPts val="0"/>
                        </a:spcBef>
                        <a:buNone/>
                      </a:pPr>
                      <a:r>
                        <a:rPr lang="en-US" sz="1000" dirty="0"/>
                        <a:t>Microsoft &amp; G42 $1B)</a:t>
                      </a:r>
                      <a:endParaRPr lang="en-US" sz="1000" dirty="0">
                        <a:solidFill>
                          <a:schemeClr val="bg1"/>
                        </a:solidFill>
                      </a:endParaRPr>
                    </a:p>
                  </a:txBody>
                  <a:tcPr anchor="ctr">
                    <a:solidFill>
                      <a:schemeClr val="accent6">
                        <a:lumMod val="20000"/>
                        <a:lumOff val="80000"/>
                      </a:schemeClr>
                    </a:solidFill>
                  </a:tcPr>
                </a:tc>
                <a:tc>
                  <a:txBody>
                    <a:bodyPr/>
                    <a:lstStyle/>
                    <a:p>
                      <a:pPr>
                        <a:spcBef>
                          <a:spcPts val="0"/>
                        </a:spcBef>
                        <a:buNone/>
                      </a:pPr>
                      <a:r>
                        <a:rPr lang="en-US" sz="1000" dirty="0"/>
                        <a:t>Sparse data; limited field</a:t>
                      </a:r>
                    </a:p>
                    <a:p>
                      <a:pPr>
                        <a:spcBef>
                          <a:spcPts val="0"/>
                        </a:spcBef>
                        <a:buNone/>
                      </a:pPr>
                      <a:r>
                        <a:rPr lang="en-US" sz="1000" dirty="0"/>
                        <a:t>validation; physics-ML</a:t>
                      </a:r>
                    </a:p>
                    <a:p>
                      <a:pPr>
                        <a:spcBef>
                          <a:spcPts val="0"/>
                        </a:spcBef>
                        <a:buNone/>
                      </a:pPr>
                      <a:r>
                        <a:rPr lang="en-US" sz="1000" dirty="0"/>
                        <a:t>integration; regulatory trust.</a:t>
                      </a:r>
                      <a:endParaRPr lang="en-US" sz="1000" dirty="0">
                        <a:solidFill>
                          <a:schemeClr val="bg1"/>
                        </a:solidFill>
                      </a:endParaRPr>
                    </a:p>
                  </a:txBody>
                  <a:tcPr anchor="ctr">
                    <a:solidFill>
                      <a:schemeClr val="accent6">
                        <a:lumMod val="20000"/>
                        <a:lumOff val="80000"/>
                      </a:schemeClr>
                    </a:solidFill>
                  </a:tcPr>
                </a:tc>
                <a:extLst>
                  <a:ext uri="{0D108BD9-81ED-4DB2-BD59-A6C34878D82A}">
                    <a16:rowId xmlns:a16="http://schemas.microsoft.com/office/drawing/2014/main" val="3077126283"/>
                  </a:ext>
                </a:extLst>
              </a:tr>
              <a:tr h="1099335">
                <a:tc>
                  <a:txBody>
                    <a:bodyPr/>
                    <a:lstStyle/>
                    <a:p>
                      <a:pPr marL="0">
                        <a:spcBef>
                          <a:spcPts val="0"/>
                        </a:spcBef>
                        <a:buNone/>
                      </a:pPr>
                      <a:r>
                        <a:rPr lang="en-US" sz="1000" b="1" dirty="0"/>
                        <a:t>EGS Closed-Loop</a:t>
                      </a:r>
                      <a:endParaRPr lang="en-US" sz="1000" b="1" dirty="0">
                        <a:solidFill>
                          <a:schemeClr val="bg1"/>
                        </a:solidFill>
                      </a:endParaRPr>
                    </a:p>
                  </a:txBody>
                  <a:tcPr anchor="ctr">
                    <a:solidFill>
                      <a:schemeClr val="accent1">
                        <a:lumMod val="20000"/>
                        <a:lumOff val="80000"/>
                      </a:schemeClr>
                    </a:solidFill>
                  </a:tcPr>
                </a:tc>
                <a:tc>
                  <a:txBody>
                    <a:bodyPr/>
                    <a:lstStyle/>
                    <a:p>
                      <a:pPr>
                        <a:spcBef>
                          <a:spcPts val="0"/>
                        </a:spcBef>
                        <a:buNone/>
                      </a:pPr>
                      <a:r>
                        <a:rPr lang="en-US" sz="1000" dirty="0"/>
                        <a:t>$900M+ private (5</a:t>
                      </a:r>
                    </a:p>
                    <a:p>
                      <a:pPr>
                        <a:spcBef>
                          <a:spcPts val="0"/>
                        </a:spcBef>
                        <a:buNone/>
                      </a:pPr>
                      <a:r>
                        <a:rPr lang="en-US" sz="1000" dirty="0"/>
                        <a:t>years); DOE: $165M</a:t>
                      </a:r>
                    </a:p>
                    <a:p>
                      <a:pPr>
                        <a:spcBef>
                          <a:spcPts val="0"/>
                        </a:spcBef>
                        <a:buNone/>
                      </a:pPr>
                      <a:r>
                        <a:rPr lang="en-US" sz="1000" dirty="0"/>
                        <a:t>(2022), $44M</a:t>
                      </a:r>
                    </a:p>
                    <a:p>
                      <a:pPr>
                        <a:spcBef>
                          <a:spcPts val="0"/>
                        </a:spcBef>
                        <a:buNone/>
                      </a:pPr>
                      <a:r>
                        <a:rPr lang="en-US" sz="1000" dirty="0"/>
                        <a:t>(FORGE 2023);</a:t>
                      </a:r>
                    </a:p>
                    <a:p>
                      <a:pPr>
                        <a:spcBef>
                          <a:spcPts val="0"/>
                        </a:spcBef>
                        <a:buNone/>
                      </a:pPr>
                      <a:r>
                        <a:rPr lang="en-US" sz="1000" dirty="0"/>
                        <a:t>$14.2M (2024), $60M</a:t>
                      </a:r>
                    </a:p>
                    <a:p>
                      <a:pPr>
                        <a:spcBef>
                          <a:spcPts val="0"/>
                        </a:spcBef>
                        <a:buNone/>
                      </a:pPr>
                      <a:r>
                        <a:rPr lang="en-US" sz="1000" dirty="0"/>
                        <a:t>(2024)</a:t>
                      </a:r>
                      <a:endParaRPr lang="en-US" sz="1000" dirty="0">
                        <a:solidFill>
                          <a:schemeClr val="bg1"/>
                        </a:solidFill>
                      </a:endParaRPr>
                    </a:p>
                  </a:txBody>
                  <a:tcPr anchor="ctr">
                    <a:solidFill>
                      <a:schemeClr val="accent1">
                        <a:lumMod val="20000"/>
                        <a:lumOff val="80000"/>
                      </a:schemeClr>
                    </a:solidFill>
                  </a:tcPr>
                </a:tc>
                <a:tc>
                  <a:txBody>
                    <a:bodyPr/>
                    <a:lstStyle/>
                    <a:p>
                      <a:pPr>
                        <a:spcBef>
                          <a:spcPts val="0"/>
                        </a:spcBef>
                        <a:buNone/>
                      </a:pPr>
                      <a:r>
                        <a:rPr lang="en-US" sz="1000" b="1" dirty="0"/>
                        <a:t>EGS:</a:t>
                      </a:r>
                      <a:r>
                        <a:rPr lang="en-US" sz="1000" dirty="0"/>
                        <a:t> Seismicity; stimulation</a:t>
                      </a:r>
                    </a:p>
                    <a:p>
                      <a:pPr>
                        <a:spcBef>
                          <a:spcPts val="0"/>
                        </a:spcBef>
                        <a:buNone/>
                      </a:pPr>
                      <a:r>
                        <a:rPr lang="en-US" sz="1000" dirty="0"/>
                        <a:t>efficiency; well integrity;</a:t>
                      </a:r>
                    </a:p>
                    <a:p>
                      <a:pPr>
                        <a:spcBef>
                          <a:spcPts val="0"/>
                        </a:spcBef>
                        <a:buNone/>
                      </a:pPr>
                      <a:r>
                        <a:rPr lang="en-US" sz="1000" dirty="0"/>
                        <a:t>financing.</a:t>
                      </a:r>
                    </a:p>
                    <a:p>
                      <a:pPr marL="0">
                        <a:spcBef>
                          <a:spcPts val="0"/>
                        </a:spcBef>
                        <a:buNone/>
                      </a:pPr>
                      <a:r>
                        <a:rPr lang="en-US" sz="1000" b="1" dirty="0"/>
                        <a:t>Closed-loop:</a:t>
                      </a:r>
                      <a:r>
                        <a:rPr lang="en-US" sz="1000" dirty="0"/>
                        <a:t> Technology</a:t>
                      </a:r>
                      <a:r>
                        <a:rPr lang="en-US" sz="1000" baseline="0" dirty="0"/>
                        <a:t> </a:t>
                      </a:r>
                      <a:r>
                        <a:rPr lang="en-US" sz="1000" dirty="0"/>
                        <a:t>validation;</a:t>
                      </a:r>
                      <a:r>
                        <a:rPr lang="en-US" sz="1000" baseline="0" dirty="0"/>
                        <a:t> </a:t>
                      </a:r>
                      <a:r>
                        <a:rPr lang="en-US" sz="1000" dirty="0"/>
                        <a:t>sustained heat output; drilling</a:t>
                      </a:r>
                      <a:r>
                        <a:rPr lang="en-US" sz="1000" baseline="0" dirty="0"/>
                        <a:t> </a:t>
                      </a:r>
                      <a:r>
                        <a:rPr lang="en-US" sz="1000" dirty="0"/>
                        <a:t>cost; permitting. </a:t>
                      </a:r>
                      <a:endParaRPr lang="en-US" sz="1000" dirty="0">
                        <a:solidFill>
                          <a:schemeClr val="bg1"/>
                        </a:solidFill>
                      </a:endParaRPr>
                    </a:p>
                  </a:txBody>
                  <a:tcPr anchor="ctr">
                    <a:solidFill>
                      <a:schemeClr val="accent1">
                        <a:lumMod val="20000"/>
                        <a:lumOff val="80000"/>
                      </a:schemeClr>
                    </a:solidFill>
                  </a:tcPr>
                </a:tc>
                <a:extLst>
                  <a:ext uri="{0D108BD9-81ED-4DB2-BD59-A6C34878D82A}">
                    <a16:rowId xmlns:a16="http://schemas.microsoft.com/office/drawing/2014/main" val="1323761083"/>
                  </a:ext>
                </a:extLst>
              </a:tr>
            </a:tbl>
          </a:graphicData>
        </a:graphic>
      </p:graphicFrame>
      <p:sp>
        <p:nvSpPr>
          <p:cNvPr id="25" name="TextBox 24">
            <a:extLst>
              <a:ext uri="{FF2B5EF4-FFF2-40B4-BE49-F238E27FC236}">
                <a16:creationId xmlns:a16="http://schemas.microsoft.com/office/drawing/2014/main" id="{8BD7A74E-A4CD-9BBA-5E21-D79A02CB573F}"/>
              </a:ext>
            </a:extLst>
          </p:cNvPr>
          <p:cNvSpPr txBox="1"/>
          <p:nvPr/>
        </p:nvSpPr>
        <p:spPr bwMode="gray">
          <a:xfrm>
            <a:off x="6144538" y="4884899"/>
            <a:ext cx="914400" cy="318924"/>
          </a:xfrm>
          <a:prstGeom prst="rect">
            <a:avLst/>
          </a:prstGeom>
          <a:solidFill>
            <a:schemeClr val="bg1"/>
          </a:solidFill>
          <a:ln>
            <a:solidFill>
              <a:schemeClr val="bg2"/>
            </a:solidFill>
          </a:ln>
        </p:spPr>
        <p:txBody>
          <a:bodyPr wrap="square" lIns="36000" tIns="36000" rIns="36000" bIns="36000" rtlCol="0">
            <a:spAutoFit/>
          </a:bodyPr>
          <a:lstStyle/>
          <a:p>
            <a:pPr marL="0" indent="0" algn="ctr">
              <a:buNone/>
            </a:pPr>
            <a:r>
              <a:rPr lang="en-US" sz="800" dirty="0"/>
              <a:t>Geothermal Heating/Cooling</a:t>
            </a:r>
          </a:p>
        </p:txBody>
      </p:sp>
      <p:sp>
        <p:nvSpPr>
          <p:cNvPr id="26" name="TextBox 25">
            <a:extLst>
              <a:ext uri="{FF2B5EF4-FFF2-40B4-BE49-F238E27FC236}">
                <a16:creationId xmlns:a16="http://schemas.microsoft.com/office/drawing/2014/main" id="{3FB17AEF-26BA-4C4D-DB48-A3B8F753FCF9}"/>
              </a:ext>
            </a:extLst>
          </p:cNvPr>
          <p:cNvSpPr txBox="1"/>
          <p:nvPr/>
        </p:nvSpPr>
        <p:spPr bwMode="gray">
          <a:xfrm>
            <a:off x="5194259" y="4540599"/>
            <a:ext cx="1296114" cy="318924"/>
          </a:xfrm>
          <a:prstGeom prst="rect">
            <a:avLst/>
          </a:prstGeom>
          <a:solidFill>
            <a:schemeClr val="bg1"/>
          </a:solidFill>
          <a:ln>
            <a:solidFill>
              <a:schemeClr val="bg2"/>
            </a:solidFill>
          </a:ln>
        </p:spPr>
        <p:txBody>
          <a:bodyPr wrap="square" lIns="36000" tIns="36000" rIns="36000" bIns="36000" rtlCol="0">
            <a:spAutoFit/>
          </a:bodyPr>
          <a:lstStyle/>
          <a:p>
            <a:pPr marL="0" indent="0" algn="ctr">
              <a:buNone/>
            </a:pPr>
            <a:r>
              <a:rPr lang="en-US" sz="800" dirty="0"/>
              <a:t>Binary, Combined, Flash Steam, Dry Steam</a:t>
            </a:r>
          </a:p>
        </p:txBody>
      </p:sp>
      <p:cxnSp>
        <p:nvCxnSpPr>
          <p:cNvPr id="27" name="Straight Connector 26">
            <a:extLst>
              <a:ext uri="{FF2B5EF4-FFF2-40B4-BE49-F238E27FC236}">
                <a16:creationId xmlns:a16="http://schemas.microsoft.com/office/drawing/2014/main" id="{D5607F0F-4CB0-FCF8-A768-D75D84F1B590}"/>
              </a:ext>
            </a:extLst>
          </p:cNvPr>
          <p:cNvCxnSpPr>
            <a:cxnSpLocks/>
          </p:cNvCxnSpPr>
          <p:nvPr/>
        </p:nvCxnSpPr>
        <p:spPr bwMode="gray">
          <a:xfrm>
            <a:off x="7220075" y="2177436"/>
            <a:ext cx="46688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624FA12-8F25-F9BE-316E-242E87854223}"/>
              </a:ext>
            </a:extLst>
          </p:cNvPr>
          <p:cNvSpPr txBox="1"/>
          <p:nvPr/>
        </p:nvSpPr>
        <p:spPr bwMode="gray">
          <a:xfrm>
            <a:off x="7220075" y="1706266"/>
            <a:ext cx="4668796" cy="503590"/>
          </a:xfrm>
          <a:prstGeom prst="rect">
            <a:avLst/>
          </a:prstGeom>
          <a:noFill/>
          <a:ln>
            <a:noFill/>
          </a:ln>
        </p:spPr>
        <p:txBody>
          <a:bodyPr wrap="square" lIns="36000" tIns="36000" rIns="36000" bIns="36000" rtlCol="0">
            <a:spAutoFit/>
          </a:bodyPr>
          <a:lstStyle/>
          <a:p>
            <a:pPr marL="0" indent="0">
              <a:buNone/>
            </a:pPr>
            <a:r>
              <a:rPr lang="en-US" sz="1400" b="1" dirty="0"/>
              <a:t>Innovation in geothermal power is scaling quickly, attracting a large volume of diverse investments </a:t>
            </a:r>
          </a:p>
        </p:txBody>
      </p:sp>
      <p:sp>
        <p:nvSpPr>
          <p:cNvPr id="29" name="Rectangle 28">
            <a:extLst>
              <a:ext uri="{FF2B5EF4-FFF2-40B4-BE49-F238E27FC236}">
                <a16:creationId xmlns:a16="http://schemas.microsoft.com/office/drawing/2014/main" id="{B18293EF-A3AA-67E3-299A-16490609DA3C}"/>
              </a:ext>
            </a:extLst>
          </p:cNvPr>
          <p:cNvSpPr/>
          <p:nvPr/>
        </p:nvSpPr>
        <p:spPr bwMode="gray">
          <a:xfrm>
            <a:off x="730040" y="1373908"/>
            <a:ext cx="2079761" cy="2681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i="1" dirty="0">
                <a:solidFill>
                  <a:schemeClr val="bg2">
                    <a:lumMod val="60000"/>
                    <a:lumOff val="40000"/>
                  </a:schemeClr>
                </a:solidFill>
              </a:rPr>
              <a:t>*Graph is illustrative, reflecting general trends</a:t>
            </a:r>
          </a:p>
        </p:txBody>
      </p:sp>
    </p:spTree>
    <p:extLst>
      <p:ext uri="{BB962C8B-B14F-4D97-AF65-F5344CB8AC3E}">
        <p14:creationId xmlns:p14="http://schemas.microsoft.com/office/powerpoint/2010/main" val="1096686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C5D8E2-9558-E087-8965-87C5BD5B30D5}"/>
              </a:ext>
            </a:extLst>
          </p:cNvPr>
          <p:cNvGraphicFramePr>
            <a:graphicFrameLocks/>
          </p:cNvGraphicFramePr>
          <p:nvPr>
            <p:custDataLst>
              <p:tags r:id="rId1"/>
            </p:custDataLst>
            <p:extLst>
              <p:ext uri="{D42A27DB-BD31-4B8C-83A1-F6EECF244321}">
                <p14:modId xmlns:p14="http://schemas.microsoft.com/office/powerpoint/2010/main" val="40160902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6" imgW="7772400" imgH="10058400" progId="TCLayout.ActiveDocument.1">
                  <p:embed/>
                </p:oleObj>
              </mc:Choice>
              <mc:Fallback>
                <p:oleObj name="think-cell Slide" r:id="rId36" imgW="7772400" imgH="10058400" progId="TCLayout.ActiveDocument.1">
                  <p:embed/>
                  <p:pic>
                    <p:nvPicPr>
                      <p:cNvPr id="0" name=""/>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0AEA439-78A0-4EEF-0A11-1DEB6B1614CA}"/>
              </a:ext>
            </a:extLst>
          </p:cNvPr>
          <p:cNvSpPr>
            <a:spLocks noGrp="1"/>
          </p:cNvSpPr>
          <p:nvPr>
            <p:ph type="body" sz="quarter" idx="14"/>
          </p:nvPr>
        </p:nvSpPr>
        <p:spPr/>
        <p:txBody>
          <a:bodyPr/>
          <a:lstStyle/>
          <a:p>
            <a:pPr marL="0" indent="0">
              <a:buNone/>
            </a:pPr>
            <a:r>
              <a:rPr lang="en-US" b="1" dirty="0"/>
              <a:t>Observations</a:t>
            </a:r>
          </a:p>
          <a:p>
            <a:r>
              <a:rPr lang="en-US" sz="1050" dirty="0"/>
              <a:t>Nearly all commercial geothermal power plants today are hydrothermal.</a:t>
            </a:r>
          </a:p>
          <a:p>
            <a:r>
              <a:rPr lang="en-US" sz="1050" dirty="0"/>
              <a:t>Hydrothermal systems are mature and commercially proven, but they are location constrained, typically requiring shallow, naturally occurring reservoirs near tectonic plate boundaries.</a:t>
            </a:r>
          </a:p>
          <a:p>
            <a:r>
              <a:rPr lang="en-US" sz="1050" dirty="0"/>
              <a:t>Conventional hydrothermal capacity grew rapidly between 2015 and 2020, but expansion has slowed in recent years, potentially due to these geographic limitations.</a:t>
            </a:r>
          </a:p>
          <a:p>
            <a:r>
              <a:rPr lang="en-US" sz="1050" dirty="0"/>
              <a:t>Countries like Indonesia, Türkiye, and Kenya have recorded the fastest growth because they still possess large untapped resources. However, early leaders such as the United States and the Philippines have seen slower expansion in recent years as their most accessible fields are already developed.</a:t>
            </a:r>
          </a:p>
          <a:p>
            <a:endParaRPr lang="en-US" sz="1050" dirty="0"/>
          </a:p>
        </p:txBody>
      </p:sp>
      <p:sp>
        <p:nvSpPr>
          <p:cNvPr id="3" name="Title 2">
            <a:extLst>
              <a:ext uri="{FF2B5EF4-FFF2-40B4-BE49-F238E27FC236}">
                <a16:creationId xmlns:a16="http://schemas.microsoft.com/office/drawing/2014/main" id="{778A006F-24DC-9B50-C696-544679468A88}"/>
              </a:ext>
            </a:extLst>
          </p:cNvPr>
          <p:cNvSpPr>
            <a:spLocks noGrp="1"/>
          </p:cNvSpPr>
          <p:nvPr>
            <p:ph type="title"/>
          </p:nvPr>
        </p:nvSpPr>
        <p:spPr/>
        <p:txBody>
          <a:bodyPr vert="horz" rIns="91440"/>
          <a:lstStyle/>
          <a:p>
            <a:r>
              <a:rPr lang="en-US" dirty="0"/>
              <a:t>Conventional geothermal capacity has nearly doubled since 2000, reaching ~15 GW; growth has slowed in the past five years</a:t>
            </a:r>
          </a:p>
        </p:txBody>
      </p:sp>
      <p:sp>
        <p:nvSpPr>
          <p:cNvPr id="4" name="Footer Placeholder 3">
            <a:extLst>
              <a:ext uri="{FF2B5EF4-FFF2-40B4-BE49-F238E27FC236}">
                <a16:creationId xmlns:a16="http://schemas.microsoft.com/office/drawing/2014/main" id="{ACB916BE-A1E0-A44A-58F8-2122C6EF5BF5}"/>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8"/>
              </a:rPr>
              <a:t>Installed geothermal energy capacity</a:t>
            </a:r>
            <a:r>
              <a:rPr lang="en-US" dirty="0">
                <a:solidFill>
                  <a:srgbClr val="000000"/>
                </a:solidFill>
              </a:rPr>
              <a:t> (Our World in Data, 2024).</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39"/>
              </a:rPr>
              <a:t>Gernot Wagner.</a:t>
            </a:r>
            <a:r>
              <a:rPr lang="en-US" dirty="0">
                <a:solidFill>
                  <a:srgbClr val="000000"/>
                </a:solidFill>
              </a:rPr>
              <a:t> </a:t>
            </a:r>
            <a:r>
              <a:rPr lang="en-US" dirty="0">
                <a:hlinkClick r:id="rId4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4">
            <a:extLst>
              <a:ext uri="{FF2B5EF4-FFF2-40B4-BE49-F238E27FC236}">
                <a16:creationId xmlns:a16="http://schemas.microsoft.com/office/drawing/2014/main" id="{DDFE34B2-9731-52F8-D0C2-1AF4076C696F}"/>
              </a:ext>
            </a:extLst>
          </p:cNvPr>
          <p:cNvSpPr>
            <a:spLocks noGrp="1"/>
          </p:cNvSpPr>
          <p:nvPr>
            <p:ph type="body" sz="quarter" idx="13"/>
          </p:nvPr>
        </p:nvSpPr>
        <p:spPr/>
        <p:txBody>
          <a:bodyPr/>
          <a:lstStyle/>
          <a:p>
            <a:r>
              <a:rPr lang="en-US" dirty="0"/>
              <a:t>Global geothermal power installed capacity by country, </a:t>
            </a:r>
            <a:r>
              <a:rPr lang="en-US" i="1" dirty="0"/>
              <a:t>GW</a:t>
            </a:r>
            <a:endParaRPr lang="en-US" dirty="0"/>
          </a:p>
        </p:txBody>
      </p:sp>
      <p:sp>
        <p:nvSpPr>
          <p:cNvPr id="7" name="Text Placeholder 1">
            <a:extLst>
              <a:ext uri="{FF2B5EF4-FFF2-40B4-BE49-F238E27FC236}">
                <a16:creationId xmlns:a16="http://schemas.microsoft.com/office/drawing/2014/main" id="{9D8F9050-B219-22F4-E554-623EAB552F4D}"/>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graphicFrame>
        <p:nvGraphicFramePr>
          <p:cNvPr id="61" name="Chart 60">
            <a:extLst>
              <a:ext uri="{FF2B5EF4-FFF2-40B4-BE49-F238E27FC236}">
                <a16:creationId xmlns:a16="http://schemas.microsoft.com/office/drawing/2014/main" id="{3172D175-2539-445C-1961-8E8FEFBCD391}"/>
              </a:ext>
            </a:extLst>
          </p:cNvPr>
          <p:cNvGraphicFramePr/>
          <p:nvPr>
            <p:custDataLst>
              <p:tags r:id="rId2"/>
            </p:custDataLst>
            <p:extLst>
              <p:ext uri="{D42A27DB-BD31-4B8C-83A1-F6EECF244321}">
                <p14:modId xmlns:p14="http://schemas.microsoft.com/office/powerpoint/2010/main" val="2810926139"/>
              </p:ext>
            </p:extLst>
          </p:nvPr>
        </p:nvGraphicFramePr>
        <p:xfrm>
          <a:off x="341313" y="2225675"/>
          <a:ext cx="7204075" cy="3778250"/>
        </p:xfrm>
        <a:graphic>
          <a:graphicData uri="http://schemas.openxmlformats.org/drawingml/2006/chart">
            <c:chart xmlns:c="http://schemas.openxmlformats.org/drawingml/2006/chart" xmlns:r="http://schemas.openxmlformats.org/officeDocument/2006/relationships" r:id="rId41"/>
          </a:graphicData>
        </a:graphic>
      </p:graphicFrame>
      <p:sp>
        <p:nvSpPr>
          <p:cNvPr id="11" name="Text Placeholder 10">
            <a:extLst>
              <a:ext uri="{FF2B5EF4-FFF2-40B4-BE49-F238E27FC236}">
                <a16:creationId xmlns:a16="http://schemas.microsoft.com/office/drawing/2014/main" id="{8796FE79-A48A-E47C-FD4E-BEDF800C1CBC}"/>
              </a:ext>
            </a:extLst>
          </p:cNvPr>
          <p:cNvSpPr txBox="1">
            <a:spLocks/>
          </p:cNvSpPr>
          <p:nvPr>
            <p:custDataLst>
              <p:tags r:id="rId3"/>
            </p:custDataLst>
          </p:nvPr>
        </p:nvSpPr>
        <p:spPr bwMode="gray">
          <a:xfrm>
            <a:off x="328613" y="547052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9E97390-604D-4B34-BAA1-E7F91FCF003E}" type="datetime'''''0''''''''''''''''''''''''''.0'''''''''''''''''">
              <a:rPr lang="en-US" altLang="en-US" sz="1200" smtClean="0"/>
              <a:pPr marL="0" indent="0" algn="r">
                <a:spcBef>
                  <a:spcPct val="0"/>
                </a:spcBef>
                <a:spcAft>
                  <a:spcPct val="0"/>
                </a:spcAft>
                <a:buNone/>
              </a:pPr>
              <a:t>0.0</a:t>
            </a:fld>
            <a:endParaRPr lang="en-US" sz="1200" dirty="0"/>
          </a:p>
        </p:txBody>
      </p:sp>
      <p:sp>
        <p:nvSpPr>
          <p:cNvPr id="12" name="Text Placeholder 10">
            <a:extLst>
              <a:ext uri="{FF2B5EF4-FFF2-40B4-BE49-F238E27FC236}">
                <a16:creationId xmlns:a16="http://schemas.microsoft.com/office/drawing/2014/main" id="{2E76192A-B280-7B2D-0B49-FD860411E7AC}"/>
              </a:ext>
            </a:extLst>
          </p:cNvPr>
          <p:cNvSpPr txBox="1">
            <a:spLocks/>
          </p:cNvSpPr>
          <p:nvPr>
            <p:custDataLst>
              <p:tags r:id="rId4"/>
            </p:custDataLst>
          </p:nvPr>
        </p:nvSpPr>
        <p:spPr bwMode="gray">
          <a:xfrm>
            <a:off x="328613" y="477361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6FE811-CFD5-4E2B-A52A-B314E0048218}" type="datetime'''''''''''''0''''''''''''''''''.''''''''''''''''''''''''''''6'">
              <a:rPr lang="en-US" altLang="en-US" sz="1200" smtClean="0"/>
              <a:pPr marL="0" indent="0" algn="r">
                <a:spcBef>
                  <a:spcPct val="0"/>
                </a:spcBef>
                <a:spcAft>
                  <a:spcPct val="0"/>
                </a:spcAft>
                <a:buNone/>
              </a:pPr>
              <a:t>0.6</a:t>
            </a:fld>
            <a:endParaRPr lang="en-US" sz="1200" dirty="0"/>
          </a:p>
        </p:txBody>
      </p:sp>
      <p:sp>
        <p:nvSpPr>
          <p:cNvPr id="13" name="Text Placeholder 10">
            <a:extLst>
              <a:ext uri="{FF2B5EF4-FFF2-40B4-BE49-F238E27FC236}">
                <a16:creationId xmlns:a16="http://schemas.microsoft.com/office/drawing/2014/main" id="{F67689DB-1A8B-B40F-67F5-B7C7DA41C000}"/>
              </a:ext>
            </a:extLst>
          </p:cNvPr>
          <p:cNvSpPr txBox="1">
            <a:spLocks/>
          </p:cNvSpPr>
          <p:nvPr>
            <p:custDataLst>
              <p:tags r:id="rId5"/>
            </p:custDataLst>
          </p:nvPr>
        </p:nvSpPr>
        <p:spPr bwMode="gray">
          <a:xfrm>
            <a:off x="328613" y="45418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152966-8681-478C-936A-8810946ED586}" type="datetime'''''''''''0''''.''''''''''''''8'''''''''''''">
              <a:rPr lang="en-US" altLang="en-US" sz="1200" smtClean="0"/>
              <a:pPr marL="0" indent="0" algn="r">
                <a:spcBef>
                  <a:spcPct val="0"/>
                </a:spcBef>
                <a:spcAft>
                  <a:spcPct val="0"/>
                </a:spcAft>
                <a:buNone/>
              </a:pPr>
              <a:t>0.8</a:t>
            </a:fld>
            <a:endParaRPr lang="en-US" sz="1200" dirty="0"/>
          </a:p>
        </p:txBody>
      </p:sp>
      <p:sp>
        <p:nvSpPr>
          <p:cNvPr id="14" name="Text Placeholder 10">
            <a:extLst>
              <a:ext uri="{FF2B5EF4-FFF2-40B4-BE49-F238E27FC236}">
                <a16:creationId xmlns:a16="http://schemas.microsoft.com/office/drawing/2014/main" id="{EEB2355C-72D5-903F-F67A-A77A2837EC43}"/>
              </a:ext>
            </a:extLst>
          </p:cNvPr>
          <p:cNvSpPr txBox="1">
            <a:spLocks/>
          </p:cNvSpPr>
          <p:nvPr>
            <p:custDataLst>
              <p:tags r:id="rId6"/>
            </p:custDataLst>
          </p:nvPr>
        </p:nvSpPr>
        <p:spPr bwMode="gray">
          <a:xfrm>
            <a:off x="328613" y="430847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8C01E0-26ED-44FA-A4E1-2F18D8BF27B0}" type="datetime'''''''''''''''''''''1''''''''''''''.''''0'''''''">
              <a:rPr lang="en-US" altLang="en-US" sz="1200" smtClean="0"/>
              <a:pPr marL="0" indent="0" algn="r">
                <a:spcBef>
                  <a:spcPct val="0"/>
                </a:spcBef>
                <a:spcAft>
                  <a:spcPct val="0"/>
                </a:spcAft>
                <a:buNone/>
              </a:pPr>
              <a:t>1.0</a:t>
            </a:fld>
            <a:endParaRPr lang="en-US" sz="1200" dirty="0"/>
          </a:p>
        </p:txBody>
      </p:sp>
      <p:sp>
        <p:nvSpPr>
          <p:cNvPr id="15" name="Text Placeholder 10">
            <a:extLst>
              <a:ext uri="{FF2B5EF4-FFF2-40B4-BE49-F238E27FC236}">
                <a16:creationId xmlns:a16="http://schemas.microsoft.com/office/drawing/2014/main" id="{0946BA26-21E4-E833-A864-1BFD154690DF}"/>
              </a:ext>
            </a:extLst>
          </p:cNvPr>
          <p:cNvSpPr txBox="1">
            <a:spLocks/>
          </p:cNvSpPr>
          <p:nvPr>
            <p:custDataLst>
              <p:tags r:id="rId7"/>
            </p:custDataLst>
          </p:nvPr>
        </p:nvSpPr>
        <p:spPr bwMode="gray">
          <a:xfrm>
            <a:off x="328613" y="407670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2F5BDA-CAF4-4853-8518-743AA88F92D0}" type="datetime'1''''''''''''.''''''''2'''''''''''''''''">
              <a:rPr lang="en-US" altLang="en-US" sz="1200" smtClean="0"/>
              <a:pPr marL="0" indent="0" algn="r">
                <a:spcBef>
                  <a:spcPct val="0"/>
                </a:spcBef>
                <a:spcAft>
                  <a:spcPct val="0"/>
                </a:spcAft>
                <a:buNone/>
              </a:pPr>
              <a:t>1.2</a:t>
            </a:fld>
            <a:endParaRPr lang="en-US" sz="1200" dirty="0"/>
          </a:p>
        </p:txBody>
      </p:sp>
      <p:sp>
        <p:nvSpPr>
          <p:cNvPr id="16" name="Text Placeholder 10">
            <a:extLst>
              <a:ext uri="{FF2B5EF4-FFF2-40B4-BE49-F238E27FC236}">
                <a16:creationId xmlns:a16="http://schemas.microsoft.com/office/drawing/2014/main" id="{831F57D5-0346-8F29-FD25-83A8BD0FF0FF}"/>
              </a:ext>
            </a:extLst>
          </p:cNvPr>
          <p:cNvSpPr txBox="1">
            <a:spLocks/>
          </p:cNvSpPr>
          <p:nvPr>
            <p:custDataLst>
              <p:tags r:id="rId8"/>
            </p:custDataLst>
          </p:nvPr>
        </p:nvSpPr>
        <p:spPr bwMode="gray">
          <a:xfrm>
            <a:off x="328613" y="384492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F189FFF-1066-4BEF-8BFA-3098736891D9}" type="datetime'''1''''''''.''''''''''''''''''''4'''''''''''''''''''''">
              <a:rPr lang="en-US" altLang="en-US" sz="1200" smtClean="0"/>
              <a:pPr marL="0" indent="0" algn="r">
                <a:spcBef>
                  <a:spcPct val="0"/>
                </a:spcBef>
                <a:spcAft>
                  <a:spcPct val="0"/>
                </a:spcAft>
                <a:buNone/>
              </a:pPr>
              <a:t>1.4</a:t>
            </a:fld>
            <a:endParaRPr lang="en-US" sz="1200" dirty="0"/>
          </a:p>
        </p:txBody>
      </p:sp>
      <p:sp>
        <p:nvSpPr>
          <p:cNvPr id="17" name="Text Placeholder 10">
            <a:extLst>
              <a:ext uri="{FF2B5EF4-FFF2-40B4-BE49-F238E27FC236}">
                <a16:creationId xmlns:a16="http://schemas.microsoft.com/office/drawing/2014/main" id="{4CAED896-BB7D-8A3A-5CF7-5B5B4A7671A3}"/>
              </a:ext>
            </a:extLst>
          </p:cNvPr>
          <p:cNvSpPr txBox="1">
            <a:spLocks/>
          </p:cNvSpPr>
          <p:nvPr>
            <p:custDataLst>
              <p:tags r:id="rId9"/>
            </p:custDataLst>
          </p:nvPr>
        </p:nvSpPr>
        <p:spPr bwMode="gray">
          <a:xfrm>
            <a:off x="328613" y="36115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ECF313-BEC6-4A20-9F07-EFB8CC5A2C6B}" type="datetime'''1''''''''.''''''''''''''''''''''''''''''''''6'''''''''">
              <a:rPr lang="en-US" altLang="en-US" sz="1200" smtClean="0"/>
              <a:pPr marL="0" indent="0" algn="r">
                <a:spcBef>
                  <a:spcPct val="0"/>
                </a:spcBef>
                <a:spcAft>
                  <a:spcPct val="0"/>
                </a:spcAft>
                <a:buNone/>
              </a:pPr>
              <a:t>1.6</a:t>
            </a:fld>
            <a:endParaRPr lang="en-US" sz="1200" dirty="0"/>
          </a:p>
        </p:txBody>
      </p:sp>
      <p:sp>
        <p:nvSpPr>
          <p:cNvPr id="18" name="Text Placeholder 10">
            <a:extLst>
              <a:ext uri="{FF2B5EF4-FFF2-40B4-BE49-F238E27FC236}">
                <a16:creationId xmlns:a16="http://schemas.microsoft.com/office/drawing/2014/main" id="{1A2B9055-4C62-628A-F1E7-8BA441FDB7C3}"/>
              </a:ext>
            </a:extLst>
          </p:cNvPr>
          <p:cNvSpPr txBox="1">
            <a:spLocks/>
          </p:cNvSpPr>
          <p:nvPr>
            <p:custDataLst>
              <p:tags r:id="rId10"/>
            </p:custDataLst>
          </p:nvPr>
        </p:nvSpPr>
        <p:spPr bwMode="gray">
          <a:xfrm>
            <a:off x="328613" y="337978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7849EF-1A19-43AC-A381-61E14E9BF202}" type="datetime'''''''''''''''''''''''''''1''''''''.8'''''''''''''''''''''''''">
              <a:rPr lang="en-US" altLang="en-US" sz="1200" smtClean="0"/>
              <a:pPr marL="0" indent="0" algn="r">
                <a:spcBef>
                  <a:spcPct val="0"/>
                </a:spcBef>
                <a:spcAft>
                  <a:spcPct val="0"/>
                </a:spcAft>
                <a:buNone/>
              </a:pPr>
              <a:t>1.8</a:t>
            </a:fld>
            <a:endParaRPr lang="en-US" sz="1200" dirty="0"/>
          </a:p>
        </p:txBody>
      </p:sp>
      <p:sp>
        <p:nvSpPr>
          <p:cNvPr id="19" name="Text Placeholder 10">
            <a:extLst>
              <a:ext uri="{FF2B5EF4-FFF2-40B4-BE49-F238E27FC236}">
                <a16:creationId xmlns:a16="http://schemas.microsoft.com/office/drawing/2014/main" id="{CB1E6914-340F-9115-BA34-CFED3C62B17C}"/>
              </a:ext>
            </a:extLst>
          </p:cNvPr>
          <p:cNvSpPr txBox="1">
            <a:spLocks/>
          </p:cNvSpPr>
          <p:nvPr>
            <p:custDataLst>
              <p:tags r:id="rId11"/>
            </p:custDataLst>
          </p:nvPr>
        </p:nvSpPr>
        <p:spPr bwMode="gray">
          <a:xfrm>
            <a:off x="328613" y="314642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95216E5-6CC1-4FB7-9B53-5AEE0459E132}" type="datetime'''''''2''.''''''''''''''''''''''''0'''''''''''">
              <a:rPr lang="en-US" altLang="en-US" sz="1200" smtClean="0"/>
              <a:pPr marL="0" indent="0" algn="r">
                <a:spcBef>
                  <a:spcPct val="0"/>
                </a:spcBef>
                <a:spcAft>
                  <a:spcPct val="0"/>
                </a:spcAft>
                <a:buNone/>
              </a:pPr>
              <a:t>2.0</a:t>
            </a:fld>
            <a:endParaRPr lang="en-US" sz="1200" dirty="0"/>
          </a:p>
        </p:txBody>
      </p:sp>
      <p:sp>
        <p:nvSpPr>
          <p:cNvPr id="20" name="Text Placeholder 10">
            <a:extLst>
              <a:ext uri="{FF2B5EF4-FFF2-40B4-BE49-F238E27FC236}">
                <a16:creationId xmlns:a16="http://schemas.microsoft.com/office/drawing/2014/main" id="{188D8F9E-4D6B-146C-020F-3C436CFB96AF}"/>
              </a:ext>
            </a:extLst>
          </p:cNvPr>
          <p:cNvSpPr txBox="1">
            <a:spLocks/>
          </p:cNvSpPr>
          <p:nvPr>
            <p:custDataLst>
              <p:tags r:id="rId12"/>
            </p:custDataLst>
          </p:nvPr>
        </p:nvSpPr>
        <p:spPr bwMode="gray">
          <a:xfrm>
            <a:off x="328613" y="291465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3DE42A0-3E56-468A-9A68-5097C93886E9}" type="datetime'''''2''''''''''''''''.''''''2'''''''''''''''''''''">
              <a:rPr lang="en-US" altLang="en-US" sz="1200" smtClean="0"/>
              <a:pPr marL="0" indent="0" algn="r">
                <a:spcBef>
                  <a:spcPct val="0"/>
                </a:spcBef>
                <a:spcAft>
                  <a:spcPct val="0"/>
                </a:spcAft>
                <a:buNone/>
              </a:pPr>
              <a:t>2.2</a:t>
            </a:fld>
            <a:endParaRPr lang="en-US" sz="1200" dirty="0"/>
          </a:p>
        </p:txBody>
      </p:sp>
      <p:sp>
        <p:nvSpPr>
          <p:cNvPr id="21" name="Text Placeholder 10">
            <a:extLst>
              <a:ext uri="{FF2B5EF4-FFF2-40B4-BE49-F238E27FC236}">
                <a16:creationId xmlns:a16="http://schemas.microsoft.com/office/drawing/2014/main" id="{E21B4B88-8CAD-0C47-1BF9-12CD70CEC606}"/>
              </a:ext>
            </a:extLst>
          </p:cNvPr>
          <p:cNvSpPr txBox="1">
            <a:spLocks/>
          </p:cNvSpPr>
          <p:nvPr>
            <p:custDataLst>
              <p:tags r:id="rId13"/>
            </p:custDataLst>
          </p:nvPr>
        </p:nvSpPr>
        <p:spPr bwMode="gray">
          <a:xfrm>
            <a:off x="328613" y="268287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1D2FA43-2A08-4238-A5DD-B07718B7F262}" type="datetime'''''''''''''''''''''''''''''''''''''''2''''''.''''''''''''''4'">
              <a:rPr lang="en-US" altLang="en-US" sz="1200" smtClean="0"/>
              <a:pPr marL="0" indent="0" algn="r">
                <a:spcBef>
                  <a:spcPct val="0"/>
                </a:spcBef>
                <a:spcAft>
                  <a:spcPct val="0"/>
                </a:spcAft>
                <a:buNone/>
              </a:pPr>
              <a:t>2.4</a:t>
            </a:fld>
            <a:endParaRPr lang="en-US" sz="1200" dirty="0"/>
          </a:p>
        </p:txBody>
      </p:sp>
      <p:sp>
        <p:nvSpPr>
          <p:cNvPr id="22" name="Text Placeholder 10">
            <a:extLst>
              <a:ext uri="{FF2B5EF4-FFF2-40B4-BE49-F238E27FC236}">
                <a16:creationId xmlns:a16="http://schemas.microsoft.com/office/drawing/2014/main" id="{CD8B6E31-1B0E-A390-EDFC-EBE517A653E7}"/>
              </a:ext>
            </a:extLst>
          </p:cNvPr>
          <p:cNvSpPr txBox="1">
            <a:spLocks/>
          </p:cNvSpPr>
          <p:nvPr>
            <p:custDataLst>
              <p:tags r:id="rId14"/>
            </p:custDataLst>
          </p:nvPr>
        </p:nvSpPr>
        <p:spPr bwMode="gray">
          <a:xfrm>
            <a:off x="328613" y="244951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9149DD-5619-4497-A3F3-B822D7A94370}" type="datetime'''''''''''''''''''''2.''6'''''''''''''''''''''">
              <a:rPr lang="en-US" altLang="en-US" sz="1200" smtClean="0"/>
              <a:pPr marL="0" indent="0" algn="r">
                <a:spcBef>
                  <a:spcPct val="0"/>
                </a:spcBef>
                <a:spcAft>
                  <a:spcPct val="0"/>
                </a:spcAft>
                <a:buNone/>
              </a:pPr>
              <a:t>2.6</a:t>
            </a:fld>
            <a:endParaRPr lang="en-US" sz="1200" dirty="0"/>
          </a:p>
        </p:txBody>
      </p:sp>
      <p:sp>
        <p:nvSpPr>
          <p:cNvPr id="23" name="Text Placeholder 10">
            <a:extLst>
              <a:ext uri="{FF2B5EF4-FFF2-40B4-BE49-F238E27FC236}">
                <a16:creationId xmlns:a16="http://schemas.microsoft.com/office/drawing/2014/main" id="{3B2ED598-5531-DABA-E05C-EE0021437FA7}"/>
              </a:ext>
            </a:extLst>
          </p:cNvPr>
          <p:cNvSpPr txBox="1">
            <a:spLocks/>
          </p:cNvSpPr>
          <p:nvPr>
            <p:custDataLst>
              <p:tags r:id="rId15"/>
            </p:custDataLst>
          </p:nvPr>
        </p:nvSpPr>
        <p:spPr bwMode="gray">
          <a:xfrm>
            <a:off x="328613" y="22177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DABFB2-BE6B-40DC-912C-98DC0E30E564}" type="datetime'''''''''''''2''''.''8'''''''''''''''''''''''''''''''''''''">
              <a:rPr lang="en-US" altLang="en-US" sz="1200" smtClean="0"/>
              <a:pPr marL="0" indent="0" algn="r">
                <a:spcBef>
                  <a:spcPct val="0"/>
                </a:spcBef>
                <a:spcAft>
                  <a:spcPct val="0"/>
                </a:spcAft>
                <a:buNone/>
              </a:pPr>
              <a:t>2.8</a:t>
            </a:fld>
            <a:endParaRPr lang="en-US" sz="1200" dirty="0"/>
          </a:p>
        </p:txBody>
      </p:sp>
      <p:sp>
        <p:nvSpPr>
          <p:cNvPr id="24" name="Text Placeholder 10">
            <a:extLst>
              <a:ext uri="{FF2B5EF4-FFF2-40B4-BE49-F238E27FC236}">
                <a16:creationId xmlns:a16="http://schemas.microsoft.com/office/drawing/2014/main" id="{7E5260E3-0739-88C5-FD19-CAEE75206581}"/>
              </a:ext>
            </a:extLst>
          </p:cNvPr>
          <p:cNvSpPr txBox="1">
            <a:spLocks/>
          </p:cNvSpPr>
          <p:nvPr>
            <p:custDataLst>
              <p:tags r:id="rId16"/>
            </p:custDataLst>
          </p:nvPr>
        </p:nvSpPr>
        <p:spPr bwMode="gray">
          <a:xfrm>
            <a:off x="328613" y="523875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6F398D-9C63-4820-8291-BEE5C50D471C}" type="datetime'''''''''''''''''''0''''''''''''''''''''''.''''''''''2'''''''''">
              <a:rPr lang="en-US" altLang="en-US" sz="1200" smtClean="0"/>
              <a:pPr marL="0" indent="0" algn="r">
                <a:spcBef>
                  <a:spcPct val="0"/>
                </a:spcBef>
                <a:spcAft>
                  <a:spcPct val="0"/>
                </a:spcAft>
                <a:buNone/>
              </a:pPr>
              <a:t>0.2</a:t>
            </a:fld>
            <a:endParaRPr lang="en-US" sz="1200" dirty="0"/>
          </a:p>
        </p:txBody>
      </p:sp>
      <p:sp>
        <p:nvSpPr>
          <p:cNvPr id="25" name="Text Placeholder 10">
            <a:extLst>
              <a:ext uri="{FF2B5EF4-FFF2-40B4-BE49-F238E27FC236}">
                <a16:creationId xmlns:a16="http://schemas.microsoft.com/office/drawing/2014/main" id="{F7D0154D-0B3E-FC8B-B531-0A5B92EE7381}"/>
              </a:ext>
            </a:extLst>
          </p:cNvPr>
          <p:cNvSpPr txBox="1">
            <a:spLocks/>
          </p:cNvSpPr>
          <p:nvPr>
            <p:custDataLst>
              <p:tags r:id="rId17"/>
            </p:custDataLst>
          </p:nvPr>
        </p:nvSpPr>
        <p:spPr bwMode="gray">
          <a:xfrm>
            <a:off x="328613" y="500538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EE26EC-84E3-4918-A71E-5E2DEB798FCC}" type="datetime'''''''''''0''''''''''''''''.''''4'''''''''''''''''''''''">
              <a:rPr lang="en-US" altLang="en-US" sz="1200" smtClean="0"/>
              <a:pPr marL="0" indent="0" algn="r">
                <a:spcBef>
                  <a:spcPct val="0"/>
                </a:spcBef>
                <a:spcAft>
                  <a:spcPct val="0"/>
                </a:spcAft>
                <a:buNone/>
              </a:pPr>
              <a:t>0.4</a:t>
            </a:fld>
            <a:endParaRPr lang="en-US" sz="1200" dirty="0"/>
          </a:p>
        </p:txBody>
      </p:sp>
      <p:cxnSp>
        <p:nvCxnSpPr>
          <p:cNvPr id="26" name="Straight Connector 25">
            <a:extLst>
              <a:ext uri="{FF2B5EF4-FFF2-40B4-BE49-F238E27FC236}">
                <a16:creationId xmlns:a16="http://schemas.microsoft.com/office/drawing/2014/main" id="{A97BC311-02A1-76D7-8381-FE176D987800}"/>
              </a:ext>
            </a:extLst>
          </p:cNvPr>
          <p:cNvCxnSpPr/>
          <p:nvPr>
            <p:custDataLst>
              <p:tags r:id="rId18"/>
            </p:custDataLst>
          </p:nvPr>
        </p:nvCxnSpPr>
        <p:spPr bwMode="auto">
          <a:xfrm flipH="1">
            <a:off x="7232650" y="3789363"/>
            <a:ext cx="58738" cy="2905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660DE768-7FF8-A22B-BC1E-14B45C905EAE}"/>
              </a:ext>
            </a:extLst>
          </p:cNvPr>
          <p:cNvCxnSpPr/>
          <p:nvPr>
            <p:custDataLst>
              <p:tags r:id="rId19"/>
            </p:custDataLst>
          </p:nvPr>
        </p:nvCxnSpPr>
        <p:spPr bwMode="auto">
          <a:xfrm flipH="1">
            <a:off x="7232650" y="4022725"/>
            <a:ext cx="58738" cy="2603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4665B0A0-5B4D-2FFE-3693-71A138C1EB6F}"/>
              </a:ext>
            </a:extLst>
          </p:cNvPr>
          <p:cNvCxnSpPr>
            <a:cxnSpLocks/>
          </p:cNvCxnSpPr>
          <p:nvPr>
            <p:custDataLst>
              <p:tags r:id="rId20"/>
            </p:custDataLst>
          </p:nvPr>
        </p:nvCxnSpPr>
        <p:spPr bwMode="auto">
          <a:xfrm flipH="1" flipV="1">
            <a:off x="7232650" y="2495550"/>
            <a:ext cx="58738" cy="1365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8F42A3CA-B4FA-3F65-5CE8-41273ADC15BD}"/>
              </a:ext>
            </a:extLst>
          </p:cNvPr>
          <p:cNvCxnSpPr>
            <a:cxnSpLocks/>
          </p:cNvCxnSpPr>
          <p:nvPr>
            <p:custDataLst>
              <p:tags r:id="rId21"/>
            </p:custDataLst>
          </p:nvPr>
        </p:nvCxnSpPr>
        <p:spPr bwMode="auto">
          <a:xfrm flipH="1" flipV="1">
            <a:off x="7232650" y="4992688"/>
            <a:ext cx="58738" cy="1968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827BF232-A50D-A4DC-E78C-FDDEF9E60DA5}"/>
              </a:ext>
            </a:extLst>
          </p:cNvPr>
          <p:cNvCxnSpPr/>
          <p:nvPr>
            <p:custDataLst>
              <p:tags r:id="rId22"/>
            </p:custDataLst>
          </p:nvPr>
        </p:nvCxnSpPr>
        <p:spPr bwMode="auto">
          <a:xfrm flipH="1">
            <a:off x="7232650" y="4256088"/>
            <a:ext cx="58738" cy="1444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10905BC-0CD8-1C05-F0CD-FABC592249CC}"/>
              </a:ext>
            </a:extLst>
          </p:cNvPr>
          <p:cNvCxnSpPr>
            <a:cxnSpLocks/>
          </p:cNvCxnSpPr>
          <p:nvPr>
            <p:custDataLst>
              <p:tags r:id="rId23"/>
            </p:custDataLst>
          </p:nvPr>
        </p:nvCxnSpPr>
        <p:spPr bwMode="auto">
          <a:xfrm flipH="1" flipV="1">
            <a:off x="7232650" y="4664075"/>
            <a:ext cx="58738" cy="292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2" name="Text Placeholder 10">
            <a:extLst>
              <a:ext uri="{FF2B5EF4-FFF2-40B4-BE49-F238E27FC236}">
                <a16:creationId xmlns:a16="http://schemas.microsoft.com/office/drawing/2014/main" id="{141EDF60-B78C-1322-FD3B-1A694581E6EF}"/>
              </a:ext>
            </a:extLst>
          </p:cNvPr>
          <p:cNvSpPr txBox="1">
            <a:spLocks/>
          </p:cNvSpPr>
          <p:nvPr>
            <p:custDataLst>
              <p:tags r:id="rId24"/>
            </p:custDataLst>
          </p:nvPr>
        </p:nvSpPr>
        <p:spPr bwMode="auto">
          <a:xfrm>
            <a:off x="7316788" y="2541588"/>
            <a:ext cx="657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F3506D-2EB1-4AF6-B3AA-5D3EF58D6192}" type="datetime'''''In''''''''''''d''''o''''n''''''''''''e''''''''''si''''a'''">
              <a:rPr lang="en-US" altLang="en-US" sz="1200" smtClean="0"/>
              <a:pPr/>
              <a:t>Indonesia</a:t>
            </a:fld>
            <a:endParaRPr lang="en-US" sz="1200" dirty="0"/>
          </a:p>
        </p:txBody>
      </p:sp>
      <p:sp>
        <p:nvSpPr>
          <p:cNvPr id="33" name="Text Placeholder 10">
            <a:extLst>
              <a:ext uri="{FF2B5EF4-FFF2-40B4-BE49-F238E27FC236}">
                <a16:creationId xmlns:a16="http://schemas.microsoft.com/office/drawing/2014/main" id="{1BE69602-034D-E6ED-49C9-171A0ED88964}"/>
              </a:ext>
            </a:extLst>
          </p:cNvPr>
          <p:cNvSpPr txBox="1">
            <a:spLocks/>
          </p:cNvSpPr>
          <p:nvPr>
            <p:custDataLst>
              <p:tags r:id="rId25"/>
            </p:custDataLst>
          </p:nvPr>
        </p:nvSpPr>
        <p:spPr bwMode="auto">
          <a:xfrm>
            <a:off x="7316788" y="4865688"/>
            <a:ext cx="279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0E81439-04DD-4A5F-806D-D192E6DE9EDF}" type="datetime'''''''''''''I''t''''''''''''''a''''l''''y'''''''">
              <a:rPr lang="en-US" altLang="en-US" sz="1200" smtClean="0"/>
              <a:pPr/>
              <a:t>Italy</a:t>
            </a:fld>
            <a:endParaRPr lang="en-US" sz="1200" dirty="0"/>
          </a:p>
        </p:txBody>
      </p:sp>
      <p:sp>
        <p:nvSpPr>
          <p:cNvPr id="34" name="Text Placeholder 10">
            <a:extLst>
              <a:ext uri="{FF2B5EF4-FFF2-40B4-BE49-F238E27FC236}">
                <a16:creationId xmlns:a16="http://schemas.microsoft.com/office/drawing/2014/main" id="{E633EC13-4065-5A77-F6FC-0590A6B8932C}"/>
              </a:ext>
            </a:extLst>
          </p:cNvPr>
          <p:cNvSpPr txBox="1">
            <a:spLocks/>
          </p:cNvSpPr>
          <p:nvPr>
            <p:custDataLst>
              <p:tags r:id="rId26"/>
            </p:custDataLst>
          </p:nvPr>
        </p:nvSpPr>
        <p:spPr bwMode="auto">
          <a:xfrm>
            <a:off x="7316788" y="3698875"/>
            <a:ext cx="893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E848B4F-700A-4809-8CAA-531275B13A8C}" type="datetime'''Ne''''''w'' Z''e''''''''''''''''''ala''''''''''n''''''d'">
              <a:rPr lang="en-US" altLang="en-US" sz="1200" smtClean="0"/>
              <a:pPr/>
              <a:t>New Zealand</a:t>
            </a:fld>
            <a:endParaRPr lang="en-US" sz="1200" dirty="0"/>
          </a:p>
        </p:txBody>
      </p:sp>
      <p:sp>
        <p:nvSpPr>
          <p:cNvPr id="35" name="Text Placeholder 10">
            <a:extLst>
              <a:ext uri="{FF2B5EF4-FFF2-40B4-BE49-F238E27FC236}">
                <a16:creationId xmlns:a16="http://schemas.microsoft.com/office/drawing/2014/main" id="{A65B0B05-9E8A-9F6E-FA84-BED8D832E801}"/>
              </a:ext>
            </a:extLst>
          </p:cNvPr>
          <p:cNvSpPr txBox="1">
            <a:spLocks/>
          </p:cNvSpPr>
          <p:nvPr>
            <p:custDataLst>
              <p:tags r:id="rId27"/>
            </p:custDataLst>
          </p:nvPr>
        </p:nvSpPr>
        <p:spPr bwMode="auto">
          <a:xfrm>
            <a:off x="7316788" y="3455988"/>
            <a:ext cx="458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943E3B-BCFC-4904-A459-1D17144373A1}" type="datetime'''''''''T''''''''''''''''''''''ur''''''''ke''''''''y'''''''''">
              <a:rPr lang="en-US" altLang="en-US" sz="1200" smtClean="0"/>
              <a:pPr/>
              <a:t>Turkey</a:t>
            </a:fld>
            <a:endParaRPr lang="en-US" sz="1200" dirty="0"/>
          </a:p>
        </p:txBody>
      </p:sp>
      <p:sp>
        <p:nvSpPr>
          <p:cNvPr id="36" name="Text Placeholder 10">
            <a:extLst>
              <a:ext uri="{FF2B5EF4-FFF2-40B4-BE49-F238E27FC236}">
                <a16:creationId xmlns:a16="http://schemas.microsoft.com/office/drawing/2014/main" id="{5D1609F3-428A-D98A-5889-9EC754A999B8}"/>
              </a:ext>
            </a:extLst>
          </p:cNvPr>
          <p:cNvSpPr txBox="1">
            <a:spLocks/>
          </p:cNvSpPr>
          <p:nvPr>
            <p:custDataLst>
              <p:tags r:id="rId28"/>
            </p:custDataLst>
          </p:nvPr>
        </p:nvSpPr>
        <p:spPr bwMode="auto">
          <a:xfrm>
            <a:off x="7316788" y="4632325"/>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2C29B4-4129-4E39-8FAC-F98FCE9F9E8B}" type="datetime'''''''''Ic''e''''l''''''''''''''a''''''''n''''''''''''''d'''">
              <a:rPr lang="en-US" altLang="en-US" sz="1200" smtClean="0"/>
              <a:pPr/>
              <a:t>Iceland</a:t>
            </a:fld>
            <a:endParaRPr lang="en-US" sz="1200" dirty="0"/>
          </a:p>
        </p:txBody>
      </p:sp>
      <p:sp>
        <p:nvSpPr>
          <p:cNvPr id="37" name="Text Placeholder 10">
            <a:extLst>
              <a:ext uri="{FF2B5EF4-FFF2-40B4-BE49-F238E27FC236}">
                <a16:creationId xmlns:a16="http://schemas.microsoft.com/office/drawing/2014/main" id="{59DD8BA4-B8E7-8597-3BCF-15B76A7130DC}"/>
              </a:ext>
            </a:extLst>
          </p:cNvPr>
          <p:cNvSpPr txBox="1">
            <a:spLocks/>
          </p:cNvSpPr>
          <p:nvPr>
            <p:custDataLst>
              <p:tags r:id="rId29"/>
            </p:custDataLst>
          </p:nvPr>
        </p:nvSpPr>
        <p:spPr bwMode="auto">
          <a:xfrm>
            <a:off x="7316788" y="5099050"/>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8A2D2E-2BDC-4A4E-8B75-0A2B325EC904}" type="datetime'''''''''''''''''J''''a''''''p''''''''a''''''''''''n'">
              <a:rPr lang="en-US" altLang="en-US" sz="1200" smtClean="0"/>
              <a:pPr/>
              <a:t>Japan</a:t>
            </a:fld>
            <a:endParaRPr lang="en-US" sz="1200" dirty="0"/>
          </a:p>
        </p:txBody>
      </p:sp>
      <p:sp>
        <p:nvSpPr>
          <p:cNvPr id="38" name="Text Placeholder 10">
            <a:extLst>
              <a:ext uri="{FF2B5EF4-FFF2-40B4-BE49-F238E27FC236}">
                <a16:creationId xmlns:a16="http://schemas.microsoft.com/office/drawing/2014/main" id="{4A6C79E6-13A5-8B91-8873-8D36A3BD6434}"/>
              </a:ext>
            </a:extLst>
          </p:cNvPr>
          <p:cNvSpPr txBox="1">
            <a:spLocks/>
          </p:cNvSpPr>
          <p:nvPr>
            <p:custDataLst>
              <p:tags r:id="rId30"/>
            </p:custDataLst>
          </p:nvPr>
        </p:nvSpPr>
        <p:spPr bwMode="auto">
          <a:xfrm>
            <a:off x="7316788" y="4165600"/>
            <a:ext cx="481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1047A2A-D36A-4078-B6ED-3D332957F55D}" type="datetime'''''''''''''M''''''''''''''e''''''''x''''i''''''''c''o'''">
              <a:rPr lang="en-US" altLang="en-US" sz="1200" smtClean="0"/>
              <a:pPr/>
              <a:t>Mexico</a:t>
            </a:fld>
            <a:endParaRPr lang="en-US" sz="1200" dirty="0"/>
          </a:p>
        </p:txBody>
      </p:sp>
      <p:sp>
        <p:nvSpPr>
          <p:cNvPr id="39" name="Text Placeholder 10">
            <a:extLst>
              <a:ext uri="{FF2B5EF4-FFF2-40B4-BE49-F238E27FC236}">
                <a16:creationId xmlns:a16="http://schemas.microsoft.com/office/drawing/2014/main" id="{9F225E9F-DDEA-0497-35F3-21A71F5F7F99}"/>
              </a:ext>
            </a:extLst>
          </p:cNvPr>
          <p:cNvSpPr txBox="1">
            <a:spLocks/>
          </p:cNvSpPr>
          <p:nvPr>
            <p:custDataLst>
              <p:tags r:id="rId31"/>
            </p:custDataLst>
          </p:nvPr>
        </p:nvSpPr>
        <p:spPr bwMode="auto">
          <a:xfrm>
            <a:off x="7316788" y="4398963"/>
            <a:ext cx="430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D6425E1-99DB-4BC7-8DB3-D392A99AC8E0}" type="datetime'''''''''''''''K''''''''''''''''''''enya'''''''">
              <a:rPr lang="en-US" altLang="en-US" sz="1200" smtClean="0"/>
              <a:pPr/>
              <a:t>Kenya</a:t>
            </a:fld>
            <a:endParaRPr lang="en-US" sz="1200" dirty="0"/>
          </a:p>
        </p:txBody>
      </p:sp>
      <p:sp>
        <p:nvSpPr>
          <p:cNvPr id="40" name="Text Placeholder 10">
            <a:extLst>
              <a:ext uri="{FF2B5EF4-FFF2-40B4-BE49-F238E27FC236}">
                <a16:creationId xmlns:a16="http://schemas.microsoft.com/office/drawing/2014/main" id="{46D59982-7A50-4973-BCFE-CA1F7C5BFEA4}"/>
              </a:ext>
            </a:extLst>
          </p:cNvPr>
          <p:cNvSpPr txBox="1">
            <a:spLocks/>
          </p:cNvSpPr>
          <p:nvPr>
            <p:custDataLst>
              <p:tags r:id="rId32"/>
            </p:custDataLst>
          </p:nvPr>
        </p:nvSpPr>
        <p:spPr bwMode="auto">
          <a:xfrm>
            <a:off x="7316788" y="39322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94B3B7-6184-4709-B5A8-FB0585019E28}" type="datetime'''O''''''''''''th''''''''''''''''''''''e''r'''''''">
              <a:rPr lang="en-US" altLang="en-US" sz="1200" smtClean="0"/>
              <a:pPr/>
              <a:t>Other</a:t>
            </a:fld>
            <a:endParaRPr lang="en-US" sz="1200" dirty="0"/>
          </a:p>
        </p:txBody>
      </p:sp>
      <p:sp>
        <p:nvSpPr>
          <p:cNvPr id="41" name="Text Placeholder 10">
            <a:extLst>
              <a:ext uri="{FF2B5EF4-FFF2-40B4-BE49-F238E27FC236}">
                <a16:creationId xmlns:a16="http://schemas.microsoft.com/office/drawing/2014/main" id="{70015012-D41D-5D6F-DA59-5928345E045F}"/>
              </a:ext>
            </a:extLst>
          </p:cNvPr>
          <p:cNvSpPr txBox="1">
            <a:spLocks/>
          </p:cNvSpPr>
          <p:nvPr>
            <p:custDataLst>
              <p:tags r:id="rId33"/>
            </p:custDataLst>
          </p:nvPr>
        </p:nvSpPr>
        <p:spPr bwMode="auto">
          <a:xfrm>
            <a:off x="7316788" y="2308225"/>
            <a:ext cx="912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BD3F20-AB02-4F45-BC13-E21E55291A72}" type="datetime'''U''''nite''''d'' S''t''''''a''''te''''''''''''''s'''''''">
              <a:rPr lang="en-US" altLang="en-US" sz="1200" smtClean="0"/>
              <a:pPr/>
              <a:t>United States</a:t>
            </a:fld>
            <a:endParaRPr lang="en-US" sz="1200" dirty="0"/>
          </a:p>
        </p:txBody>
      </p:sp>
      <p:sp>
        <p:nvSpPr>
          <p:cNvPr id="42" name="Text Placeholder 10">
            <a:extLst>
              <a:ext uri="{FF2B5EF4-FFF2-40B4-BE49-F238E27FC236}">
                <a16:creationId xmlns:a16="http://schemas.microsoft.com/office/drawing/2014/main" id="{72AF4773-70FE-7002-5D3E-818DA01B337B}"/>
              </a:ext>
            </a:extLst>
          </p:cNvPr>
          <p:cNvSpPr txBox="1">
            <a:spLocks/>
          </p:cNvSpPr>
          <p:nvPr>
            <p:custDataLst>
              <p:tags r:id="rId34"/>
            </p:custDataLst>
          </p:nvPr>
        </p:nvSpPr>
        <p:spPr bwMode="auto">
          <a:xfrm>
            <a:off x="7316788" y="3203575"/>
            <a:ext cx="731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3F4AD4F-D655-4171-A379-E837A123787E}" type="datetime'''P''h''''i''''''li''''p''''''''p''''''''''''in''''e''s'''">
              <a:rPr lang="en-US" altLang="en-US" sz="1200" smtClean="0"/>
              <a:pPr/>
              <a:t>Philippines</a:t>
            </a:fld>
            <a:endParaRPr lang="en-US" sz="1200" dirty="0"/>
          </a:p>
        </p:txBody>
      </p:sp>
      <p:sp>
        <p:nvSpPr>
          <p:cNvPr id="43" name="Rectangle 42">
            <a:extLst>
              <a:ext uri="{FF2B5EF4-FFF2-40B4-BE49-F238E27FC236}">
                <a16:creationId xmlns:a16="http://schemas.microsoft.com/office/drawing/2014/main" id="{EFFD7206-349B-E3B4-1DF9-12E2713DEC2C}"/>
              </a:ext>
            </a:extLst>
          </p:cNvPr>
          <p:cNvSpPr/>
          <p:nvPr/>
        </p:nvSpPr>
        <p:spPr bwMode="gray">
          <a:xfrm>
            <a:off x="7188074" y="2272506"/>
            <a:ext cx="1097280" cy="212725"/>
          </a:xfrm>
          <a:prstGeom prst="rect">
            <a:avLst/>
          </a:prstGeom>
          <a:noFill/>
          <a:ln w="19050">
            <a:solidFill>
              <a:srgbClr val="2D36B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551FFA55-004F-822F-2894-04BDDC54455D}"/>
              </a:ext>
            </a:extLst>
          </p:cNvPr>
          <p:cNvSpPr/>
          <p:nvPr/>
        </p:nvSpPr>
        <p:spPr bwMode="gray">
          <a:xfrm>
            <a:off x="7198361" y="2545290"/>
            <a:ext cx="1097280" cy="212725"/>
          </a:xfrm>
          <a:prstGeom prst="rect">
            <a:avLst/>
          </a:prstGeom>
          <a:noFill/>
          <a:ln w="19050">
            <a:solidFill>
              <a:srgbClr val="6ACD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DDA4E572-01E3-AB9E-A40E-F7CF7DE4D0E7}"/>
              </a:ext>
            </a:extLst>
          </p:cNvPr>
          <p:cNvSpPr/>
          <p:nvPr/>
        </p:nvSpPr>
        <p:spPr bwMode="gray">
          <a:xfrm>
            <a:off x="7198361" y="3177526"/>
            <a:ext cx="1097280" cy="212725"/>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118C12D2-4BBE-7EFB-5291-6A87E5479052}"/>
              </a:ext>
            </a:extLst>
          </p:cNvPr>
          <p:cNvSpPr/>
          <p:nvPr/>
        </p:nvSpPr>
        <p:spPr bwMode="gray">
          <a:xfrm>
            <a:off x="7198361" y="3447411"/>
            <a:ext cx="1097280" cy="212725"/>
          </a:xfrm>
          <a:prstGeom prst="rect">
            <a:avLst/>
          </a:prstGeom>
          <a:noFill/>
          <a:ln w="19050">
            <a:solidFill>
              <a:srgbClr val="009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Rectangle 46">
            <a:extLst>
              <a:ext uri="{FF2B5EF4-FFF2-40B4-BE49-F238E27FC236}">
                <a16:creationId xmlns:a16="http://schemas.microsoft.com/office/drawing/2014/main" id="{9CA414B7-0F22-58DD-E75E-49FAEBC9C2CE}"/>
              </a:ext>
            </a:extLst>
          </p:cNvPr>
          <p:cNvSpPr/>
          <p:nvPr/>
        </p:nvSpPr>
        <p:spPr bwMode="gray">
          <a:xfrm>
            <a:off x="7198361" y="4627274"/>
            <a:ext cx="1097280" cy="212725"/>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rgbClr val="FF8200"/>
              </a:solidFill>
            </a:endParaRPr>
          </a:p>
        </p:txBody>
      </p:sp>
      <p:sp>
        <p:nvSpPr>
          <p:cNvPr id="48" name="Rectangle 47">
            <a:extLst>
              <a:ext uri="{FF2B5EF4-FFF2-40B4-BE49-F238E27FC236}">
                <a16:creationId xmlns:a16="http://schemas.microsoft.com/office/drawing/2014/main" id="{58E8F714-21FB-B51B-FF89-DE9B39E8235D}"/>
              </a:ext>
            </a:extLst>
          </p:cNvPr>
          <p:cNvSpPr/>
          <p:nvPr/>
        </p:nvSpPr>
        <p:spPr bwMode="gray">
          <a:xfrm>
            <a:off x="7198361" y="4390231"/>
            <a:ext cx="1097280" cy="212725"/>
          </a:xfrm>
          <a:prstGeom prst="rect">
            <a:avLst/>
          </a:prstGeom>
          <a:noFill/>
          <a:ln w="19050">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rgbClr val="FF8200"/>
              </a:solidFill>
            </a:endParaRPr>
          </a:p>
        </p:txBody>
      </p:sp>
      <p:sp>
        <p:nvSpPr>
          <p:cNvPr id="49" name="Oval 48">
            <a:extLst>
              <a:ext uri="{FF2B5EF4-FFF2-40B4-BE49-F238E27FC236}">
                <a16:creationId xmlns:a16="http://schemas.microsoft.com/office/drawing/2014/main" id="{A731C0B3-B78C-495A-7423-078586AC80C1}"/>
              </a:ext>
            </a:extLst>
          </p:cNvPr>
          <p:cNvSpPr/>
          <p:nvPr/>
        </p:nvSpPr>
        <p:spPr bwMode="gray">
          <a:xfrm>
            <a:off x="663339" y="5881442"/>
            <a:ext cx="577585" cy="2881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0.2</a:t>
            </a:r>
          </a:p>
        </p:txBody>
      </p:sp>
      <p:sp>
        <p:nvSpPr>
          <p:cNvPr id="50" name="Oval 49">
            <a:extLst>
              <a:ext uri="{FF2B5EF4-FFF2-40B4-BE49-F238E27FC236}">
                <a16:creationId xmlns:a16="http://schemas.microsoft.com/office/drawing/2014/main" id="{D3A2F67E-4B34-8F3B-7D38-E5F72C960AD4}"/>
              </a:ext>
            </a:extLst>
          </p:cNvPr>
          <p:cNvSpPr/>
          <p:nvPr/>
        </p:nvSpPr>
        <p:spPr bwMode="gray">
          <a:xfrm>
            <a:off x="2248615" y="5881442"/>
            <a:ext cx="577585" cy="2881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2.7</a:t>
            </a:r>
          </a:p>
        </p:txBody>
      </p:sp>
      <p:sp>
        <p:nvSpPr>
          <p:cNvPr id="51" name="Oval 50">
            <a:extLst>
              <a:ext uri="{FF2B5EF4-FFF2-40B4-BE49-F238E27FC236}">
                <a16:creationId xmlns:a16="http://schemas.microsoft.com/office/drawing/2014/main" id="{2E7DC557-0F15-D2F3-4C26-E449420C78AF}"/>
              </a:ext>
            </a:extLst>
          </p:cNvPr>
          <p:cNvSpPr/>
          <p:nvPr/>
        </p:nvSpPr>
        <p:spPr bwMode="gray">
          <a:xfrm>
            <a:off x="3781631" y="5881442"/>
            <a:ext cx="577585" cy="2881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2.5</a:t>
            </a:r>
          </a:p>
        </p:txBody>
      </p:sp>
      <p:sp>
        <p:nvSpPr>
          <p:cNvPr id="52" name="Oval 51">
            <a:extLst>
              <a:ext uri="{FF2B5EF4-FFF2-40B4-BE49-F238E27FC236}">
                <a16:creationId xmlns:a16="http://schemas.microsoft.com/office/drawing/2014/main" id="{F96CD592-3AA6-CDE7-48A9-66B1E5E76F3A}"/>
              </a:ext>
            </a:extLst>
          </p:cNvPr>
          <p:cNvSpPr/>
          <p:nvPr/>
        </p:nvSpPr>
        <p:spPr bwMode="gray">
          <a:xfrm>
            <a:off x="5112403" y="5881442"/>
            <a:ext cx="577585" cy="2881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3.1</a:t>
            </a:r>
          </a:p>
        </p:txBody>
      </p:sp>
      <p:sp>
        <p:nvSpPr>
          <p:cNvPr id="53" name="Oval 52">
            <a:extLst>
              <a:ext uri="{FF2B5EF4-FFF2-40B4-BE49-F238E27FC236}">
                <a16:creationId xmlns:a16="http://schemas.microsoft.com/office/drawing/2014/main" id="{A16EFF61-FFE5-AAE7-F526-9930158B8E26}"/>
              </a:ext>
            </a:extLst>
          </p:cNvPr>
          <p:cNvSpPr/>
          <p:nvPr/>
        </p:nvSpPr>
        <p:spPr bwMode="gray">
          <a:xfrm>
            <a:off x="6582838" y="5881442"/>
            <a:ext cx="577585" cy="2881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1.7</a:t>
            </a:r>
          </a:p>
        </p:txBody>
      </p:sp>
      <p:sp>
        <p:nvSpPr>
          <p:cNvPr id="54" name="TextBox 53">
            <a:extLst>
              <a:ext uri="{FF2B5EF4-FFF2-40B4-BE49-F238E27FC236}">
                <a16:creationId xmlns:a16="http://schemas.microsoft.com/office/drawing/2014/main" id="{2594A399-ADDD-A39B-B8FF-6101DF9E27A3}"/>
              </a:ext>
            </a:extLst>
          </p:cNvPr>
          <p:cNvSpPr txBox="1"/>
          <p:nvPr/>
        </p:nvSpPr>
        <p:spPr bwMode="gray">
          <a:xfrm>
            <a:off x="61934" y="5904524"/>
            <a:ext cx="471851" cy="241980"/>
          </a:xfrm>
          <a:prstGeom prst="rect">
            <a:avLst/>
          </a:prstGeom>
          <a:noFill/>
        </p:spPr>
        <p:txBody>
          <a:bodyPr wrap="none" lIns="36000" tIns="36000" rIns="36000" bIns="36000" rtlCol="0">
            <a:spAutoFit/>
          </a:bodyPr>
          <a:lstStyle/>
          <a:p>
            <a:pPr marL="0" indent="0">
              <a:buNone/>
            </a:pPr>
            <a:r>
              <a:rPr lang="en-US" sz="1100" b="1" dirty="0"/>
              <a:t>World</a:t>
            </a:r>
          </a:p>
        </p:txBody>
      </p:sp>
      <p:sp>
        <p:nvSpPr>
          <p:cNvPr id="55" name="Oval 54">
            <a:extLst>
              <a:ext uri="{FF2B5EF4-FFF2-40B4-BE49-F238E27FC236}">
                <a16:creationId xmlns:a16="http://schemas.microsoft.com/office/drawing/2014/main" id="{9AD61C75-E343-9245-2408-E4DD1F303779}"/>
              </a:ext>
            </a:extLst>
          </p:cNvPr>
          <p:cNvSpPr/>
          <p:nvPr/>
        </p:nvSpPr>
        <p:spPr bwMode="gray">
          <a:xfrm>
            <a:off x="7958771" y="5950690"/>
            <a:ext cx="429765" cy="19581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dirty="0">
                <a:solidFill>
                  <a:schemeClr val="bg1"/>
                </a:solidFill>
              </a:rPr>
              <a:t>xx</a:t>
            </a:r>
          </a:p>
        </p:txBody>
      </p:sp>
      <p:sp>
        <p:nvSpPr>
          <p:cNvPr id="56" name="TextBox 55">
            <a:extLst>
              <a:ext uri="{FF2B5EF4-FFF2-40B4-BE49-F238E27FC236}">
                <a16:creationId xmlns:a16="http://schemas.microsoft.com/office/drawing/2014/main" id="{C39FB033-87DD-12D0-69F0-51D326E60DB2}"/>
              </a:ext>
            </a:extLst>
          </p:cNvPr>
          <p:cNvSpPr txBox="1"/>
          <p:nvPr/>
        </p:nvSpPr>
        <p:spPr bwMode="gray">
          <a:xfrm>
            <a:off x="8388536" y="5950690"/>
            <a:ext cx="887029" cy="195814"/>
          </a:xfrm>
          <a:prstGeom prst="rect">
            <a:avLst/>
          </a:prstGeom>
          <a:noFill/>
        </p:spPr>
        <p:txBody>
          <a:bodyPr wrap="none" lIns="36000" tIns="36000" rIns="36000" bIns="36000" rtlCol="0">
            <a:spAutoFit/>
          </a:bodyPr>
          <a:lstStyle/>
          <a:p>
            <a:pPr marL="0" indent="0">
              <a:buNone/>
            </a:pPr>
            <a:r>
              <a:rPr lang="en-US" sz="800" dirty="0"/>
              <a:t>5-year % change</a:t>
            </a:r>
            <a:endParaRPr lang="en-US" sz="800" i="1" dirty="0"/>
          </a:p>
        </p:txBody>
      </p:sp>
      <p:sp>
        <p:nvSpPr>
          <p:cNvPr id="57" name="TextBox 56">
            <a:extLst>
              <a:ext uri="{FF2B5EF4-FFF2-40B4-BE49-F238E27FC236}">
                <a16:creationId xmlns:a16="http://schemas.microsoft.com/office/drawing/2014/main" id="{378431EC-F2AB-83FE-82FD-FB42F17FECFD}"/>
              </a:ext>
            </a:extLst>
          </p:cNvPr>
          <p:cNvSpPr txBox="1"/>
          <p:nvPr/>
        </p:nvSpPr>
        <p:spPr bwMode="gray">
          <a:xfrm>
            <a:off x="7372350" y="5688281"/>
            <a:ext cx="72768" cy="318924"/>
          </a:xfrm>
          <a:prstGeom prst="rect">
            <a:avLst/>
          </a:prstGeom>
          <a:noFill/>
        </p:spPr>
        <p:txBody>
          <a:bodyPr wrap="none" lIns="36000" tIns="36000" rIns="36000" bIns="36000" rtlCol="0">
            <a:spAutoFit/>
          </a:bodyPr>
          <a:lstStyle/>
          <a:p>
            <a:pPr marL="0" indent="0">
              <a:buNone/>
            </a:pPr>
            <a:endParaRPr lang="en-US" sz="1600" dirty="0"/>
          </a:p>
        </p:txBody>
      </p:sp>
    </p:spTree>
    <p:extLst>
      <p:ext uri="{BB962C8B-B14F-4D97-AF65-F5344CB8AC3E}">
        <p14:creationId xmlns:p14="http://schemas.microsoft.com/office/powerpoint/2010/main" val="4180430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08F8E3-505D-F4F9-E3EA-EDBC14B8BC0F}"/>
              </a:ext>
            </a:extLst>
          </p:cNvPr>
          <p:cNvGraphicFramePr>
            <a:graphicFrameLocks/>
          </p:cNvGraphicFramePr>
          <p:nvPr>
            <p:custDataLst>
              <p:tags r:id="rId1"/>
            </p:custDataLst>
            <p:extLst>
              <p:ext uri="{D42A27DB-BD31-4B8C-83A1-F6EECF244321}">
                <p14:modId xmlns:p14="http://schemas.microsoft.com/office/powerpoint/2010/main" val="73087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8CF2E0-9EB8-798E-1509-468B452CFCD7}"/>
              </a:ext>
            </a:extLst>
          </p:cNvPr>
          <p:cNvSpPr>
            <a:spLocks noGrp="1"/>
          </p:cNvSpPr>
          <p:nvPr>
            <p:ph type="title"/>
          </p:nvPr>
        </p:nvSpPr>
        <p:spPr/>
        <p:txBody>
          <a:bodyPr vert="horz" rIns="91440"/>
          <a:lstStyle/>
          <a:p>
            <a:r>
              <a:rPr lang="en-US" dirty="0"/>
              <a:t>Conventional geothermal energy can utilize all three power plant design methods, each suited to different temperature ranges</a:t>
            </a:r>
          </a:p>
        </p:txBody>
      </p:sp>
      <p:sp>
        <p:nvSpPr>
          <p:cNvPr id="4" name="Footer Placeholder 3">
            <a:extLst>
              <a:ext uri="{FF2B5EF4-FFF2-40B4-BE49-F238E27FC236}">
                <a16:creationId xmlns:a16="http://schemas.microsoft.com/office/drawing/2014/main" id="{3762D9F6-1453-8BEA-5B9C-F58EEC4EA566}"/>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Technology Baseline</a:t>
            </a:r>
            <a:r>
              <a:rPr lang="en-US" dirty="0">
                <a:solidFill>
                  <a:srgbClr val="000000"/>
                </a:solidFill>
              </a:rPr>
              <a:t> (NREL, 2025); </a:t>
            </a:r>
            <a:r>
              <a:rPr lang="en-US" dirty="0">
                <a:solidFill>
                  <a:srgbClr val="000000"/>
                </a:solidFill>
                <a:hlinkClick r:id="rId6"/>
              </a:rPr>
              <a:t>Exploring geothermal energy-based systems: Review from basics to smart systems</a:t>
            </a:r>
            <a:r>
              <a:rPr lang="en-US" dirty="0">
                <a:solidFill>
                  <a:srgbClr val="000000"/>
                </a:solidFill>
              </a:rPr>
              <a:t> (Renewable and Sustainable Energy Reviews, 2025).</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7" name="TextBox 6">
            <a:extLst>
              <a:ext uri="{FF2B5EF4-FFF2-40B4-BE49-F238E27FC236}">
                <a16:creationId xmlns:a16="http://schemas.microsoft.com/office/drawing/2014/main" id="{E381968D-5981-701B-CEC5-CB5A78F5AEAC}"/>
              </a:ext>
            </a:extLst>
          </p:cNvPr>
          <p:cNvSpPr txBox="1"/>
          <p:nvPr/>
        </p:nvSpPr>
        <p:spPr bwMode="gray">
          <a:xfrm>
            <a:off x="330200" y="3159686"/>
            <a:ext cx="1951848" cy="241980"/>
          </a:xfrm>
          <a:prstGeom prst="rect">
            <a:avLst/>
          </a:prstGeom>
          <a:noFill/>
        </p:spPr>
        <p:txBody>
          <a:bodyPr wrap="square" lIns="36000" tIns="36000" rIns="36000" bIns="36000" rtlCol="0">
            <a:spAutoFit/>
          </a:bodyPr>
          <a:lstStyle/>
          <a:p>
            <a:pPr marL="0" indent="0">
              <a:buNone/>
            </a:pPr>
            <a:r>
              <a:rPr lang="en-US" sz="1100" b="1" dirty="0"/>
              <a:t>Global capacity</a:t>
            </a:r>
            <a:r>
              <a:rPr lang="en-US" sz="1100" dirty="0"/>
              <a:t>,</a:t>
            </a:r>
            <a:r>
              <a:rPr lang="en-US" sz="1100" b="1" dirty="0"/>
              <a:t> </a:t>
            </a:r>
            <a:r>
              <a:rPr lang="en-US" sz="1100" dirty="0"/>
              <a:t>%</a:t>
            </a:r>
            <a:endParaRPr lang="en-US" sz="1100" b="1" dirty="0"/>
          </a:p>
        </p:txBody>
      </p:sp>
      <p:sp>
        <p:nvSpPr>
          <p:cNvPr id="8" name="TextBox 7">
            <a:extLst>
              <a:ext uri="{FF2B5EF4-FFF2-40B4-BE49-F238E27FC236}">
                <a16:creationId xmlns:a16="http://schemas.microsoft.com/office/drawing/2014/main" id="{240A6757-A15D-73AE-F768-EFFA620E4E10}"/>
              </a:ext>
            </a:extLst>
          </p:cNvPr>
          <p:cNvSpPr txBox="1"/>
          <p:nvPr/>
        </p:nvSpPr>
        <p:spPr bwMode="gray">
          <a:xfrm>
            <a:off x="330200" y="5623129"/>
            <a:ext cx="1961782" cy="411257"/>
          </a:xfrm>
          <a:prstGeom prst="rect">
            <a:avLst/>
          </a:prstGeom>
          <a:noFill/>
        </p:spPr>
        <p:txBody>
          <a:bodyPr wrap="square" lIns="36000" tIns="36000" rIns="36000" bIns="36000" rtlCol="0">
            <a:spAutoFit/>
          </a:bodyPr>
          <a:lstStyle/>
          <a:p>
            <a:pPr marL="0" indent="0">
              <a:buNone/>
            </a:pPr>
            <a:r>
              <a:rPr lang="en-US" sz="1100" b="1" dirty="0"/>
              <a:t>LCOE</a:t>
            </a:r>
            <a:r>
              <a:rPr lang="en-US" sz="1100" dirty="0"/>
              <a:t>, $US/MWh</a:t>
            </a:r>
            <a:br>
              <a:rPr lang="en-US" sz="1100" dirty="0"/>
            </a:br>
            <a:r>
              <a:rPr lang="en-US" sz="1100" i="1" dirty="0"/>
              <a:t>(Conservative estimate, 2030)</a:t>
            </a:r>
          </a:p>
        </p:txBody>
      </p:sp>
      <p:sp>
        <p:nvSpPr>
          <p:cNvPr id="9" name="Oval 8">
            <a:extLst>
              <a:ext uri="{FF2B5EF4-FFF2-40B4-BE49-F238E27FC236}">
                <a16:creationId xmlns:a16="http://schemas.microsoft.com/office/drawing/2014/main" id="{558E3F13-C009-57EC-8163-B9C4E96B9ECA}"/>
              </a:ext>
            </a:extLst>
          </p:cNvPr>
          <p:cNvSpPr/>
          <p:nvPr/>
        </p:nvSpPr>
        <p:spPr bwMode="gray">
          <a:xfrm>
            <a:off x="2666753" y="570090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TBU</a:t>
            </a:r>
          </a:p>
        </p:txBody>
      </p:sp>
      <p:sp>
        <p:nvSpPr>
          <p:cNvPr id="10" name="Oval 9">
            <a:extLst>
              <a:ext uri="{FF2B5EF4-FFF2-40B4-BE49-F238E27FC236}">
                <a16:creationId xmlns:a16="http://schemas.microsoft.com/office/drawing/2014/main" id="{7FEE0415-33CF-AD2C-2E28-3A0483F084AF}"/>
              </a:ext>
            </a:extLst>
          </p:cNvPr>
          <p:cNvSpPr/>
          <p:nvPr/>
        </p:nvSpPr>
        <p:spPr bwMode="gray">
          <a:xfrm>
            <a:off x="6431581" y="5715168"/>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56</a:t>
            </a:r>
          </a:p>
        </p:txBody>
      </p:sp>
      <p:sp>
        <p:nvSpPr>
          <p:cNvPr id="11" name="Oval 10">
            <a:extLst>
              <a:ext uri="{FF2B5EF4-FFF2-40B4-BE49-F238E27FC236}">
                <a16:creationId xmlns:a16="http://schemas.microsoft.com/office/drawing/2014/main" id="{733D2099-D755-86E6-B801-10B5DCC41104}"/>
              </a:ext>
            </a:extLst>
          </p:cNvPr>
          <p:cNvSpPr/>
          <p:nvPr/>
        </p:nvSpPr>
        <p:spPr bwMode="gray">
          <a:xfrm>
            <a:off x="9980884" y="570090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84</a:t>
            </a:r>
          </a:p>
        </p:txBody>
      </p:sp>
      <p:sp>
        <p:nvSpPr>
          <p:cNvPr id="12" name="TextBox 11">
            <a:extLst>
              <a:ext uri="{FF2B5EF4-FFF2-40B4-BE49-F238E27FC236}">
                <a16:creationId xmlns:a16="http://schemas.microsoft.com/office/drawing/2014/main" id="{B2FA9860-2F26-552E-1884-E26DA760A5F9}"/>
              </a:ext>
            </a:extLst>
          </p:cNvPr>
          <p:cNvSpPr txBox="1"/>
          <p:nvPr/>
        </p:nvSpPr>
        <p:spPr bwMode="gray">
          <a:xfrm>
            <a:off x="330200" y="5300732"/>
            <a:ext cx="1395097" cy="241980"/>
          </a:xfrm>
          <a:prstGeom prst="rect">
            <a:avLst/>
          </a:prstGeom>
          <a:noFill/>
        </p:spPr>
        <p:txBody>
          <a:bodyPr wrap="square" lIns="36000" tIns="36000" rIns="36000" bIns="36000" rtlCol="0">
            <a:spAutoFit/>
          </a:bodyPr>
          <a:lstStyle/>
          <a:p>
            <a:pPr marL="0" indent="0">
              <a:buNone/>
            </a:pPr>
            <a:r>
              <a:rPr lang="en-US" sz="1100" b="1" dirty="0"/>
              <a:t>Efficiency</a:t>
            </a:r>
            <a:r>
              <a:rPr lang="en-US" sz="1100" dirty="0"/>
              <a:t>, %</a:t>
            </a:r>
          </a:p>
        </p:txBody>
      </p:sp>
      <p:sp>
        <p:nvSpPr>
          <p:cNvPr id="13" name="Oval 12">
            <a:extLst>
              <a:ext uri="{FF2B5EF4-FFF2-40B4-BE49-F238E27FC236}">
                <a16:creationId xmlns:a16="http://schemas.microsoft.com/office/drawing/2014/main" id="{F4967384-3201-0D2B-8D13-F106950C4D72}"/>
              </a:ext>
            </a:extLst>
          </p:cNvPr>
          <p:cNvSpPr/>
          <p:nvPr/>
        </p:nvSpPr>
        <p:spPr bwMode="gray">
          <a:xfrm>
            <a:off x="2666753"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0-30</a:t>
            </a:r>
          </a:p>
        </p:txBody>
      </p:sp>
      <p:sp>
        <p:nvSpPr>
          <p:cNvPr id="14" name="Oval 13">
            <a:extLst>
              <a:ext uri="{FF2B5EF4-FFF2-40B4-BE49-F238E27FC236}">
                <a16:creationId xmlns:a16="http://schemas.microsoft.com/office/drawing/2014/main" id="{E206A8AE-5BEC-D09A-119C-81356C4711E0}"/>
              </a:ext>
            </a:extLst>
          </p:cNvPr>
          <p:cNvSpPr/>
          <p:nvPr/>
        </p:nvSpPr>
        <p:spPr bwMode="gray">
          <a:xfrm>
            <a:off x="5729022"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5-35</a:t>
            </a:r>
          </a:p>
        </p:txBody>
      </p:sp>
      <p:sp>
        <p:nvSpPr>
          <p:cNvPr id="15" name="Oval 14">
            <a:extLst>
              <a:ext uri="{FF2B5EF4-FFF2-40B4-BE49-F238E27FC236}">
                <a16:creationId xmlns:a16="http://schemas.microsoft.com/office/drawing/2014/main" id="{8981B7F8-4527-A3D1-7EC5-AE93BC4BD200}"/>
              </a:ext>
            </a:extLst>
          </p:cNvPr>
          <p:cNvSpPr/>
          <p:nvPr/>
        </p:nvSpPr>
        <p:spPr bwMode="gray">
          <a:xfrm>
            <a:off x="9980884"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0-20</a:t>
            </a:r>
          </a:p>
        </p:txBody>
      </p:sp>
      <p:sp>
        <p:nvSpPr>
          <p:cNvPr id="16" name="Oval 15">
            <a:extLst>
              <a:ext uri="{FF2B5EF4-FFF2-40B4-BE49-F238E27FC236}">
                <a16:creationId xmlns:a16="http://schemas.microsoft.com/office/drawing/2014/main" id="{14B986B3-EDB0-CF5A-E844-A4E59583B419}"/>
              </a:ext>
            </a:extLst>
          </p:cNvPr>
          <p:cNvSpPr/>
          <p:nvPr/>
        </p:nvSpPr>
        <p:spPr bwMode="gray">
          <a:xfrm>
            <a:off x="7107836"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30-40</a:t>
            </a:r>
          </a:p>
        </p:txBody>
      </p:sp>
      <p:sp>
        <p:nvSpPr>
          <p:cNvPr id="17" name="TextBox 16">
            <a:extLst>
              <a:ext uri="{FF2B5EF4-FFF2-40B4-BE49-F238E27FC236}">
                <a16:creationId xmlns:a16="http://schemas.microsoft.com/office/drawing/2014/main" id="{3C994764-D8E3-C24F-F7A2-183C93943338}"/>
              </a:ext>
            </a:extLst>
          </p:cNvPr>
          <p:cNvSpPr txBox="1"/>
          <p:nvPr/>
        </p:nvSpPr>
        <p:spPr bwMode="gray">
          <a:xfrm>
            <a:off x="330200" y="4858981"/>
            <a:ext cx="1857985" cy="241980"/>
          </a:xfrm>
          <a:prstGeom prst="rect">
            <a:avLst/>
          </a:prstGeom>
          <a:noFill/>
        </p:spPr>
        <p:txBody>
          <a:bodyPr wrap="square" lIns="36000" tIns="36000" rIns="36000" bIns="36000" rtlCol="0">
            <a:spAutoFit/>
          </a:bodyPr>
          <a:lstStyle/>
          <a:p>
            <a:pPr marL="0" indent="0">
              <a:buNone/>
            </a:pPr>
            <a:r>
              <a:rPr lang="en-US" sz="1100" b="1" dirty="0"/>
              <a:t>Temperature range</a:t>
            </a:r>
            <a:r>
              <a:rPr lang="en-US" sz="1100" dirty="0"/>
              <a:t>,</a:t>
            </a:r>
            <a:r>
              <a:rPr lang="en-US" sz="1100" b="1" dirty="0"/>
              <a:t> </a:t>
            </a:r>
            <a:r>
              <a:rPr lang="en-US" sz="1100" dirty="0"/>
              <a:t>°C</a:t>
            </a:r>
            <a:r>
              <a:rPr lang="en-US" sz="1100" b="1" dirty="0"/>
              <a:t> </a:t>
            </a:r>
          </a:p>
        </p:txBody>
      </p:sp>
      <p:sp>
        <p:nvSpPr>
          <p:cNvPr id="18" name="Oval 17">
            <a:extLst>
              <a:ext uri="{FF2B5EF4-FFF2-40B4-BE49-F238E27FC236}">
                <a16:creationId xmlns:a16="http://schemas.microsoft.com/office/drawing/2014/main" id="{F9A8B3B6-4DAA-941B-9DF8-DFAF617429E9}"/>
              </a:ext>
            </a:extLst>
          </p:cNvPr>
          <p:cNvSpPr/>
          <p:nvPr/>
        </p:nvSpPr>
        <p:spPr bwMode="gray">
          <a:xfrm>
            <a:off x="2666753"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80+</a:t>
            </a:r>
          </a:p>
        </p:txBody>
      </p:sp>
      <p:sp>
        <p:nvSpPr>
          <p:cNvPr id="19" name="Oval 18">
            <a:extLst>
              <a:ext uri="{FF2B5EF4-FFF2-40B4-BE49-F238E27FC236}">
                <a16:creationId xmlns:a16="http://schemas.microsoft.com/office/drawing/2014/main" id="{9D4A295F-F64F-2667-C8BA-0B439342DCAE}"/>
              </a:ext>
            </a:extLst>
          </p:cNvPr>
          <p:cNvSpPr/>
          <p:nvPr/>
        </p:nvSpPr>
        <p:spPr bwMode="gray">
          <a:xfrm>
            <a:off x="5729022"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50-200</a:t>
            </a:r>
          </a:p>
        </p:txBody>
      </p:sp>
      <p:sp>
        <p:nvSpPr>
          <p:cNvPr id="20" name="Oval 19">
            <a:extLst>
              <a:ext uri="{FF2B5EF4-FFF2-40B4-BE49-F238E27FC236}">
                <a16:creationId xmlns:a16="http://schemas.microsoft.com/office/drawing/2014/main" id="{E859EEFB-83BC-756D-FB5D-6825B8B678DA}"/>
              </a:ext>
            </a:extLst>
          </p:cNvPr>
          <p:cNvSpPr/>
          <p:nvPr/>
        </p:nvSpPr>
        <p:spPr bwMode="gray">
          <a:xfrm>
            <a:off x="9980884"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85-170</a:t>
            </a:r>
          </a:p>
        </p:txBody>
      </p:sp>
      <p:sp>
        <p:nvSpPr>
          <p:cNvPr id="21" name="Oval 20">
            <a:extLst>
              <a:ext uri="{FF2B5EF4-FFF2-40B4-BE49-F238E27FC236}">
                <a16:creationId xmlns:a16="http://schemas.microsoft.com/office/drawing/2014/main" id="{F0B70F99-F995-BED6-4F2B-9D8A9A8842FA}"/>
              </a:ext>
            </a:extLst>
          </p:cNvPr>
          <p:cNvSpPr/>
          <p:nvPr/>
        </p:nvSpPr>
        <p:spPr bwMode="gray">
          <a:xfrm>
            <a:off x="7107836"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80-220</a:t>
            </a:r>
          </a:p>
        </p:txBody>
      </p:sp>
      <p:cxnSp>
        <p:nvCxnSpPr>
          <p:cNvPr id="22" name="Straight Connector 21">
            <a:extLst>
              <a:ext uri="{FF2B5EF4-FFF2-40B4-BE49-F238E27FC236}">
                <a16:creationId xmlns:a16="http://schemas.microsoft.com/office/drawing/2014/main" id="{2CA40305-2958-C17C-F245-D65E0E708413}"/>
              </a:ext>
            </a:extLst>
          </p:cNvPr>
          <p:cNvCxnSpPr>
            <a:cxnSpLocks/>
          </p:cNvCxnSpPr>
          <p:nvPr/>
        </p:nvCxnSpPr>
        <p:spPr bwMode="gray">
          <a:xfrm>
            <a:off x="330200" y="4807933"/>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4CC54B3-9DD3-0F66-5356-C47321CA4C6A}"/>
              </a:ext>
            </a:extLst>
          </p:cNvPr>
          <p:cNvCxnSpPr>
            <a:cxnSpLocks/>
          </p:cNvCxnSpPr>
          <p:nvPr/>
        </p:nvCxnSpPr>
        <p:spPr bwMode="gray">
          <a:xfrm>
            <a:off x="330200" y="5260556"/>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34113A9-28B3-38F9-C991-3C1F3B3A77CD}"/>
              </a:ext>
            </a:extLst>
          </p:cNvPr>
          <p:cNvCxnSpPr>
            <a:cxnSpLocks/>
          </p:cNvCxnSpPr>
          <p:nvPr/>
        </p:nvCxnSpPr>
        <p:spPr bwMode="gray">
          <a:xfrm>
            <a:off x="330200" y="5645232"/>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38EECF1-FD70-007E-3402-761522F6C0B0}"/>
              </a:ext>
            </a:extLst>
          </p:cNvPr>
          <p:cNvCxnSpPr>
            <a:cxnSpLocks/>
          </p:cNvCxnSpPr>
          <p:nvPr/>
        </p:nvCxnSpPr>
        <p:spPr bwMode="gray">
          <a:xfrm>
            <a:off x="330200" y="3543214"/>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BC56EE4-5CFE-CF65-B7EB-D8C1545CB6AB}"/>
              </a:ext>
            </a:extLst>
          </p:cNvPr>
          <p:cNvSpPr txBox="1"/>
          <p:nvPr/>
        </p:nvSpPr>
        <p:spPr bwMode="gray">
          <a:xfrm>
            <a:off x="330200" y="3593136"/>
            <a:ext cx="1587818" cy="411257"/>
          </a:xfrm>
          <a:prstGeom prst="rect">
            <a:avLst/>
          </a:prstGeom>
          <a:noFill/>
        </p:spPr>
        <p:txBody>
          <a:bodyPr wrap="square" lIns="36000" tIns="36000" rIns="36000" bIns="36000" rtlCol="0">
            <a:spAutoFit/>
          </a:bodyPr>
          <a:lstStyle/>
          <a:p>
            <a:pPr marL="0" indent="0">
              <a:buNone/>
            </a:pPr>
            <a:r>
              <a:rPr lang="en-US" sz="1100" b="1" dirty="0"/>
              <a:t>Advantages/</a:t>
            </a:r>
            <a:br>
              <a:rPr lang="en-US" sz="1100" b="1" dirty="0"/>
            </a:br>
            <a:r>
              <a:rPr lang="en-US" sz="1100" b="1" dirty="0"/>
              <a:t>disadvantages</a:t>
            </a:r>
          </a:p>
        </p:txBody>
      </p:sp>
      <p:grpSp>
        <p:nvGrpSpPr>
          <p:cNvPr id="27" name="Group 26">
            <a:extLst>
              <a:ext uri="{FF2B5EF4-FFF2-40B4-BE49-F238E27FC236}">
                <a16:creationId xmlns:a16="http://schemas.microsoft.com/office/drawing/2014/main" id="{5320940F-488F-914B-F410-9A1E3DA3A3CD}"/>
              </a:ext>
            </a:extLst>
          </p:cNvPr>
          <p:cNvGrpSpPr/>
          <p:nvPr/>
        </p:nvGrpSpPr>
        <p:grpSpPr>
          <a:xfrm>
            <a:off x="2126159" y="3586968"/>
            <a:ext cx="2206437" cy="1107131"/>
            <a:chOff x="1481927" y="3214938"/>
            <a:chExt cx="2620206" cy="1314749"/>
          </a:xfrm>
        </p:grpSpPr>
        <p:grpSp>
          <p:nvGrpSpPr>
            <p:cNvPr id="28" name="Group 27">
              <a:extLst>
                <a:ext uri="{FF2B5EF4-FFF2-40B4-BE49-F238E27FC236}">
                  <a16:creationId xmlns:a16="http://schemas.microsoft.com/office/drawing/2014/main" id="{22B2F4E6-2E8F-05E1-8FDE-80E726997FD3}"/>
                </a:ext>
              </a:extLst>
            </p:cNvPr>
            <p:cNvGrpSpPr/>
            <p:nvPr/>
          </p:nvGrpSpPr>
          <p:grpSpPr>
            <a:xfrm>
              <a:off x="1481927" y="3214938"/>
              <a:ext cx="2620206" cy="287358"/>
              <a:chOff x="1484971" y="3214938"/>
              <a:chExt cx="2620206" cy="287358"/>
            </a:xfrm>
          </p:grpSpPr>
          <p:pic>
            <p:nvPicPr>
              <p:cNvPr id="42" name="Graphic 41" descr="Badge Follow with solid fill">
                <a:extLst>
                  <a:ext uri="{FF2B5EF4-FFF2-40B4-BE49-F238E27FC236}">
                    <a16:creationId xmlns:a16="http://schemas.microsoft.com/office/drawing/2014/main" id="{0D7FFF7D-7F5C-731D-3311-C00E9886A9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43" name="TextBox 42">
                <a:extLst>
                  <a:ext uri="{FF2B5EF4-FFF2-40B4-BE49-F238E27FC236}">
                    <a16:creationId xmlns:a16="http://schemas.microsoft.com/office/drawing/2014/main" id="{0F3A0A0D-5DA1-ED0F-A461-C7D7CE4B7E6D}"/>
                  </a:ext>
                </a:extLst>
              </p:cNvPr>
              <p:cNvSpPr txBox="1"/>
              <p:nvPr/>
            </p:nvSpPr>
            <p:spPr bwMode="gray">
              <a:xfrm>
                <a:off x="1740217" y="3214938"/>
                <a:ext cx="2364960" cy="287358"/>
              </a:xfrm>
              <a:prstGeom prst="rect">
                <a:avLst/>
              </a:prstGeom>
              <a:noFill/>
            </p:spPr>
            <p:txBody>
              <a:bodyPr wrap="none" lIns="36000" tIns="36000" rIns="36000" bIns="36000" rtlCol="0">
                <a:spAutoFit/>
              </a:bodyPr>
              <a:lstStyle/>
              <a:p>
                <a:pPr marL="0" indent="0">
                  <a:buNone/>
                </a:pPr>
                <a:r>
                  <a:rPr lang="en-US" sz="1100" dirty="0"/>
                  <a:t>Proven and mature technology</a:t>
                </a:r>
              </a:p>
            </p:txBody>
          </p:sp>
        </p:grpSp>
        <p:grpSp>
          <p:nvGrpSpPr>
            <p:cNvPr id="29" name="Group 28">
              <a:extLst>
                <a:ext uri="{FF2B5EF4-FFF2-40B4-BE49-F238E27FC236}">
                  <a16:creationId xmlns:a16="http://schemas.microsoft.com/office/drawing/2014/main" id="{19DCF907-E9EF-99EB-15B8-EE04A101B183}"/>
                </a:ext>
              </a:extLst>
            </p:cNvPr>
            <p:cNvGrpSpPr/>
            <p:nvPr/>
          </p:nvGrpSpPr>
          <p:grpSpPr>
            <a:xfrm>
              <a:off x="1481927" y="3483130"/>
              <a:ext cx="2228788" cy="1046557"/>
              <a:chOff x="1481927" y="3483130"/>
              <a:chExt cx="2228788" cy="1046557"/>
            </a:xfrm>
          </p:grpSpPr>
          <p:grpSp>
            <p:nvGrpSpPr>
              <p:cNvPr id="30" name="Group 29">
                <a:extLst>
                  <a:ext uri="{FF2B5EF4-FFF2-40B4-BE49-F238E27FC236}">
                    <a16:creationId xmlns:a16="http://schemas.microsoft.com/office/drawing/2014/main" id="{15490C71-0671-4AB0-4C24-A1801F4725C3}"/>
                  </a:ext>
                </a:extLst>
              </p:cNvPr>
              <p:cNvGrpSpPr/>
              <p:nvPr/>
            </p:nvGrpSpPr>
            <p:grpSpPr>
              <a:xfrm>
                <a:off x="1481927" y="3483130"/>
                <a:ext cx="1767169" cy="241980"/>
                <a:chOff x="1484971" y="3614359"/>
                <a:chExt cx="1767169" cy="241980"/>
              </a:xfrm>
            </p:grpSpPr>
            <p:pic>
              <p:nvPicPr>
                <p:cNvPr id="40" name="Graphic 39" descr="Badge Follow with solid fill">
                  <a:extLst>
                    <a:ext uri="{FF2B5EF4-FFF2-40B4-BE49-F238E27FC236}">
                      <a16:creationId xmlns:a16="http://schemas.microsoft.com/office/drawing/2014/main" id="{65640287-74C5-FF76-A433-28DCA5E7D0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41" name="TextBox 40">
                  <a:extLst>
                    <a:ext uri="{FF2B5EF4-FFF2-40B4-BE49-F238E27FC236}">
                      <a16:creationId xmlns:a16="http://schemas.microsoft.com/office/drawing/2014/main" id="{50BA6BFA-BD91-672D-EFAC-E10128B781FD}"/>
                    </a:ext>
                  </a:extLst>
                </p:cNvPr>
                <p:cNvSpPr txBox="1"/>
                <p:nvPr/>
              </p:nvSpPr>
              <p:spPr bwMode="gray">
                <a:xfrm>
                  <a:off x="1744749" y="3614359"/>
                  <a:ext cx="1507391" cy="241980"/>
                </a:xfrm>
                <a:prstGeom prst="rect">
                  <a:avLst/>
                </a:prstGeom>
                <a:noFill/>
              </p:spPr>
              <p:txBody>
                <a:bodyPr wrap="none" lIns="36000" tIns="36000" rIns="36000" bIns="36000" rtlCol="0">
                  <a:spAutoFit/>
                </a:bodyPr>
                <a:lstStyle/>
                <a:p>
                  <a:pPr marL="0" indent="0">
                    <a:buNone/>
                  </a:pPr>
                  <a:r>
                    <a:rPr lang="en-US" sz="1100" dirty="0"/>
                    <a:t>Lower plant complexity</a:t>
                  </a:r>
                </a:p>
              </p:txBody>
            </p:sp>
          </p:grpSp>
          <p:grpSp>
            <p:nvGrpSpPr>
              <p:cNvPr id="31" name="Group 30">
                <a:extLst>
                  <a:ext uri="{FF2B5EF4-FFF2-40B4-BE49-F238E27FC236}">
                    <a16:creationId xmlns:a16="http://schemas.microsoft.com/office/drawing/2014/main" id="{D7A35FC9-F6C7-44F2-CBB4-52890D0D0E5C}"/>
                  </a:ext>
                </a:extLst>
              </p:cNvPr>
              <p:cNvGrpSpPr/>
              <p:nvPr/>
            </p:nvGrpSpPr>
            <p:grpSpPr>
              <a:xfrm>
                <a:off x="1481927" y="3751322"/>
                <a:ext cx="2228788" cy="287358"/>
                <a:chOff x="1484971" y="3912958"/>
                <a:chExt cx="2228788" cy="287358"/>
              </a:xfrm>
            </p:grpSpPr>
            <p:pic>
              <p:nvPicPr>
                <p:cNvPr id="38" name="Graphic 37" descr="Badge Unfollow outline">
                  <a:extLst>
                    <a:ext uri="{FF2B5EF4-FFF2-40B4-BE49-F238E27FC236}">
                      <a16:creationId xmlns:a16="http://schemas.microsoft.com/office/drawing/2014/main" id="{5B0F317B-2AD2-B036-141C-9E48B04D15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39" name="TextBox 38">
                  <a:extLst>
                    <a:ext uri="{FF2B5EF4-FFF2-40B4-BE49-F238E27FC236}">
                      <a16:creationId xmlns:a16="http://schemas.microsoft.com/office/drawing/2014/main" id="{B445D22E-DD29-5F47-9D16-EAEC554346CF}"/>
                    </a:ext>
                  </a:extLst>
                </p:cNvPr>
                <p:cNvSpPr txBox="1"/>
                <p:nvPr/>
              </p:nvSpPr>
              <p:spPr bwMode="gray">
                <a:xfrm>
                  <a:off x="1744749" y="3912958"/>
                  <a:ext cx="1969010" cy="287358"/>
                </a:xfrm>
                <a:prstGeom prst="rect">
                  <a:avLst/>
                </a:prstGeom>
                <a:noFill/>
              </p:spPr>
              <p:txBody>
                <a:bodyPr wrap="none" lIns="36000" tIns="36000" rIns="36000" bIns="36000" rtlCol="0">
                  <a:spAutoFit/>
                </a:bodyPr>
                <a:lstStyle/>
                <a:p>
                  <a:pPr marL="0" indent="0">
                    <a:buNone/>
                  </a:pPr>
                  <a:r>
                    <a:rPr lang="en-US" sz="1100" dirty="0"/>
                    <a:t>Rare resource availability</a:t>
                  </a:r>
                </a:p>
              </p:txBody>
            </p:sp>
          </p:grpSp>
          <p:grpSp>
            <p:nvGrpSpPr>
              <p:cNvPr id="32" name="Group 31">
                <a:extLst>
                  <a:ext uri="{FF2B5EF4-FFF2-40B4-BE49-F238E27FC236}">
                    <a16:creationId xmlns:a16="http://schemas.microsoft.com/office/drawing/2014/main" id="{48E8E67F-C5B9-CF38-D586-51B53455B2A2}"/>
                  </a:ext>
                </a:extLst>
              </p:cNvPr>
              <p:cNvGrpSpPr/>
              <p:nvPr/>
            </p:nvGrpSpPr>
            <p:grpSpPr>
              <a:xfrm>
                <a:off x="1481927" y="4019514"/>
                <a:ext cx="2097438" cy="287358"/>
                <a:chOff x="1484971" y="4167294"/>
                <a:chExt cx="2097438" cy="287358"/>
              </a:xfrm>
            </p:grpSpPr>
            <p:pic>
              <p:nvPicPr>
                <p:cNvPr id="36" name="Graphic 35" descr="Badge Unfollow outline">
                  <a:extLst>
                    <a:ext uri="{FF2B5EF4-FFF2-40B4-BE49-F238E27FC236}">
                      <a16:creationId xmlns:a16="http://schemas.microsoft.com/office/drawing/2014/main" id="{B75C4DDA-4E76-762E-E9C8-96C2DC5FEB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37" name="TextBox 36">
                  <a:extLst>
                    <a:ext uri="{FF2B5EF4-FFF2-40B4-BE49-F238E27FC236}">
                      <a16:creationId xmlns:a16="http://schemas.microsoft.com/office/drawing/2014/main" id="{6F936524-2983-4E2B-7ED0-B7E28B843201}"/>
                    </a:ext>
                  </a:extLst>
                </p:cNvPr>
                <p:cNvSpPr txBox="1"/>
                <p:nvPr/>
              </p:nvSpPr>
              <p:spPr bwMode="gray">
                <a:xfrm>
                  <a:off x="1744749" y="4167294"/>
                  <a:ext cx="1837660" cy="287358"/>
                </a:xfrm>
                <a:prstGeom prst="rect">
                  <a:avLst/>
                </a:prstGeom>
                <a:noFill/>
              </p:spPr>
              <p:txBody>
                <a:bodyPr wrap="none" lIns="36000" tIns="36000" rIns="36000" bIns="36000" rtlCol="0">
                  <a:spAutoFit/>
                </a:bodyPr>
                <a:lstStyle/>
                <a:p>
                  <a:pPr marL="0" indent="0">
                    <a:buNone/>
                  </a:pPr>
                  <a:r>
                    <a:rPr lang="en-US" sz="1100" dirty="0"/>
                    <a:t>Resource depletion risk</a:t>
                  </a:r>
                </a:p>
              </p:txBody>
            </p:sp>
          </p:grpSp>
          <p:grpSp>
            <p:nvGrpSpPr>
              <p:cNvPr id="33" name="Group 32">
                <a:extLst>
                  <a:ext uri="{FF2B5EF4-FFF2-40B4-BE49-F238E27FC236}">
                    <a16:creationId xmlns:a16="http://schemas.microsoft.com/office/drawing/2014/main" id="{B670D7F1-B345-583C-AB75-6A71E2035804}"/>
                  </a:ext>
                </a:extLst>
              </p:cNvPr>
              <p:cNvGrpSpPr/>
              <p:nvPr/>
            </p:nvGrpSpPr>
            <p:grpSpPr>
              <a:xfrm>
                <a:off x="1481927" y="4287707"/>
                <a:ext cx="1549161" cy="241980"/>
                <a:chOff x="1484971" y="4397408"/>
                <a:chExt cx="1549161" cy="241980"/>
              </a:xfrm>
            </p:grpSpPr>
            <p:pic>
              <p:nvPicPr>
                <p:cNvPr id="34" name="Graphic 33" descr="Badge Unfollow outline">
                  <a:extLst>
                    <a:ext uri="{FF2B5EF4-FFF2-40B4-BE49-F238E27FC236}">
                      <a16:creationId xmlns:a16="http://schemas.microsoft.com/office/drawing/2014/main" id="{969ADAAB-68B1-EDE3-FFF9-F0DB9CB4E1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35" name="TextBox 34">
                  <a:extLst>
                    <a:ext uri="{FF2B5EF4-FFF2-40B4-BE49-F238E27FC236}">
                      <a16:creationId xmlns:a16="http://schemas.microsoft.com/office/drawing/2014/main" id="{ACE3114E-13B3-3A3A-5E8C-ABFCE4CC1849}"/>
                    </a:ext>
                  </a:extLst>
                </p:cNvPr>
                <p:cNvSpPr txBox="1"/>
                <p:nvPr/>
              </p:nvSpPr>
              <p:spPr bwMode="gray">
                <a:xfrm>
                  <a:off x="1744749" y="4397408"/>
                  <a:ext cx="1289383" cy="241980"/>
                </a:xfrm>
                <a:prstGeom prst="rect">
                  <a:avLst/>
                </a:prstGeom>
                <a:noFill/>
              </p:spPr>
              <p:txBody>
                <a:bodyPr wrap="none" lIns="36000" tIns="36000" rIns="36000" bIns="36000" rtlCol="0">
                  <a:spAutoFit/>
                </a:bodyPr>
                <a:lstStyle/>
                <a:p>
                  <a:pPr marL="0" indent="0">
                    <a:buNone/>
                  </a:pPr>
                  <a:r>
                    <a:rPr lang="en-US" sz="1100" dirty="0"/>
                    <a:t>Potential emissions</a:t>
                  </a:r>
                </a:p>
              </p:txBody>
            </p:sp>
          </p:grpSp>
        </p:grpSp>
      </p:grpSp>
      <p:grpSp>
        <p:nvGrpSpPr>
          <p:cNvPr id="44" name="Group 43">
            <a:extLst>
              <a:ext uri="{FF2B5EF4-FFF2-40B4-BE49-F238E27FC236}">
                <a16:creationId xmlns:a16="http://schemas.microsoft.com/office/drawing/2014/main" id="{366B503E-9316-4B14-3DED-480986656E9D}"/>
              </a:ext>
            </a:extLst>
          </p:cNvPr>
          <p:cNvGrpSpPr/>
          <p:nvPr/>
        </p:nvGrpSpPr>
        <p:grpSpPr>
          <a:xfrm>
            <a:off x="5645898" y="3586968"/>
            <a:ext cx="2242310" cy="1145343"/>
            <a:chOff x="1481927" y="3214938"/>
            <a:chExt cx="2662806" cy="1360127"/>
          </a:xfrm>
        </p:grpSpPr>
        <p:grpSp>
          <p:nvGrpSpPr>
            <p:cNvPr id="45" name="Group 44">
              <a:extLst>
                <a:ext uri="{FF2B5EF4-FFF2-40B4-BE49-F238E27FC236}">
                  <a16:creationId xmlns:a16="http://schemas.microsoft.com/office/drawing/2014/main" id="{3255BD8B-35E7-3951-4D68-5892550DFC00}"/>
                </a:ext>
              </a:extLst>
            </p:cNvPr>
            <p:cNvGrpSpPr/>
            <p:nvPr/>
          </p:nvGrpSpPr>
          <p:grpSpPr>
            <a:xfrm>
              <a:off x="1481927" y="3214938"/>
              <a:ext cx="2247095" cy="287358"/>
              <a:chOff x="1484971" y="3214938"/>
              <a:chExt cx="2247095" cy="287358"/>
            </a:xfrm>
          </p:grpSpPr>
          <p:pic>
            <p:nvPicPr>
              <p:cNvPr id="59" name="Graphic 58" descr="Badge Follow with solid fill">
                <a:extLst>
                  <a:ext uri="{FF2B5EF4-FFF2-40B4-BE49-F238E27FC236}">
                    <a16:creationId xmlns:a16="http://schemas.microsoft.com/office/drawing/2014/main" id="{60C9861A-3B85-839C-4B81-B8B4FF4747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60" name="TextBox 59">
                <a:extLst>
                  <a:ext uri="{FF2B5EF4-FFF2-40B4-BE49-F238E27FC236}">
                    <a16:creationId xmlns:a16="http://schemas.microsoft.com/office/drawing/2014/main" id="{DD1EED7C-DFD6-643A-44FC-88FBB67DC016}"/>
                  </a:ext>
                </a:extLst>
              </p:cNvPr>
              <p:cNvSpPr txBox="1"/>
              <p:nvPr/>
            </p:nvSpPr>
            <p:spPr bwMode="gray">
              <a:xfrm>
                <a:off x="1740214" y="3214938"/>
                <a:ext cx="1991852" cy="287358"/>
              </a:xfrm>
              <a:prstGeom prst="rect">
                <a:avLst/>
              </a:prstGeom>
              <a:noFill/>
            </p:spPr>
            <p:txBody>
              <a:bodyPr wrap="none" lIns="36000" tIns="36000" rIns="36000" bIns="36000" rtlCol="0">
                <a:spAutoFit/>
              </a:bodyPr>
              <a:lstStyle/>
              <a:p>
                <a:pPr marL="0" indent="0">
                  <a:buNone/>
                </a:pPr>
                <a:r>
                  <a:rPr lang="en-US" sz="1100" dirty="0"/>
                  <a:t>Most common technology</a:t>
                </a:r>
              </a:p>
            </p:txBody>
          </p:sp>
        </p:grpSp>
        <p:grpSp>
          <p:nvGrpSpPr>
            <p:cNvPr id="46" name="Group 45">
              <a:extLst>
                <a:ext uri="{FF2B5EF4-FFF2-40B4-BE49-F238E27FC236}">
                  <a16:creationId xmlns:a16="http://schemas.microsoft.com/office/drawing/2014/main" id="{5BB30AF5-D84E-A6F8-8A0E-D14BA44FE6AF}"/>
                </a:ext>
              </a:extLst>
            </p:cNvPr>
            <p:cNvGrpSpPr/>
            <p:nvPr/>
          </p:nvGrpSpPr>
          <p:grpSpPr>
            <a:xfrm>
              <a:off x="1481927" y="3483130"/>
              <a:ext cx="2662806" cy="1091935"/>
              <a:chOff x="1481927" y="3483130"/>
              <a:chExt cx="2662806" cy="1091935"/>
            </a:xfrm>
          </p:grpSpPr>
          <p:grpSp>
            <p:nvGrpSpPr>
              <p:cNvPr id="47" name="Group 46">
                <a:extLst>
                  <a:ext uri="{FF2B5EF4-FFF2-40B4-BE49-F238E27FC236}">
                    <a16:creationId xmlns:a16="http://schemas.microsoft.com/office/drawing/2014/main" id="{883238E3-9FCD-62D1-FFE8-FAC60A6E78C4}"/>
                  </a:ext>
                </a:extLst>
              </p:cNvPr>
              <p:cNvGrpSpPr/>
              <p:nvPr/>
            </p:nvGrpSpPr>
            <p:grpSpPr>
              <a:xfrm>
                <a:off x="1481927" y="3483130"/>
                <a:ext cx="1436884" cy="287358"/>
                <a:chOff x="1484971" y="3614359"/>
                <a:chExt cx="1436884" cy="287358"/>
              </a:xfrm>
            </p:grpSpPr>
            <p:pic>
              <p:nvPicPr>
                <p:cNvPr id="57" name="Graphic 56" descr="Badge Follow with solid fill">
                  <a:extLst>
                    <a:ext uri="{FF2B5EF4-FFF2-40B4-BE49-F238E27FC236}">
                      <a16:creationId xmlns:a16="http://schemas.microsoft.com/office/drawing/2014/main" id="{7C99F1FA-31EF-DCEF-68D0-D90E82D237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58" name="TextBox 57">
                  <a:extLst>
                    <a:ext uri="{FF2B5EF4-FFF2-40B4-BE49-F238E27FC236}">
                      <a16:creationId xmlns:a16="http://schemas.microsoft.com/office/drawing/2014/main" id="{58A2FAA0-5807-FCB9-694D-4BE727DB9E8E}"/>
                    </a:ext>
                  </a:extLst>
                </p:cNvPr>
                <p:cNvSpPr txBox="1"/>
                <p:nvPr/>
              </p:nvSpPr>
              <p:spPr bwMode="gray">
                <a:xfrm>
                  <a:off x="1744749" y="3614359"/>
                  <a:ext cx="1177106" cy="287358"/>
                </a:xfrm>
                <a:prstGeom prst="rect">
                  <a:avLst/>
                </a:prstGeom>
                <a:noFill/>
              </p:spPr>
              <p:txBody>
                <a:bodyPr wrap="none" lIns="36000" tIns="36000" rIns="36000" bIns="36000" rtlCol="0">
                  <a:spAutoFit/>
                </a:bodyPr>
                <a:lstStyle/>
                <a:p>
                  <a:pPr marL="0" indent="0">
                    <a:buNone/>
                  </a:pPr>
                  <a:r>
                    <a:rPr lang="en-US" sz="1100" dirty="0"/>
                    <a:t>High efficiency</a:t>
                  </a:r>
                </a:p>
              </p:txBody>
            </p:sp>
          </p:grpSp>
          <p:grpSp>
            <p:nvGrpSpPr>
              <p:cNvPr id="48" name="Group 47">
                <a:extLst>
                  <a:ext uri="{FF2B5EF4-FFF2-40B4-BE49-F238E27FC236}">
                    <a16:creationId xmlns:a16="http://schemas.microsoft.com/office/drawing/2014/main" id="{1BD9C7D7-0336-2C9E-81BC-7D6718F7F494}"/>
                  </a:ext>
                </a:extLst>
              </p:cNvPr>
              <p:cNvGrpSpPr/>
              <p:nvPr/>
            </p:nvGrpSpPr>
            <p:grpSpPr>
              <a:xfrm>
                <a:off x="1481927" y="3751322"/>
                <a:ext cx="2577148" cy="287358"/>
                <a:chOff x="1484971" y="3912958"/>
                <a:chExt cx="2577148" cy="287358"/>
              </a:xfrm>
            </p:grpSpPr>
            <p:pic>
              <p:nvPicPr>
                <p:cNvPr id="55" name="Graphic 54" descr="Badge Unfollow outline">
                  <a:extLst>
                    <a:ext uri="{FF2B5EF4-FFF2-40B4-BE49-F238E27FC236}">
                      <a16:creationId xmlns:a16="http://schemas.microsoft.com/office/drawing/2014/main" id="{63F5A7CC-7257-140D-FD51-3F43DB204F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56" name="TextBox 55">
                  <a:extLst>
                    <a:ext uri="{FF2B5EF4-FFF2-40B4-BE49-F238E27FC236}">
                      <a16:creationId xmlns:a16="http://schemas.microsoft.com/office/drawing/2014/main" id="{A6A69A1E-8847-67C3-8088-306E5575F0BE}"/>
                    </a:ext>
                  </a:extLst>
                </p:cNvPr>
                <p:cNvSpPr txBox="1"/>
                <p:nvPr/>
              </p:nvSpPr>
              <p:spPr bwMode="gray">
                <a:xfrm>
                  <a:off x="1744750" y="3912958"/>
                  <a:ext cx="2317369" cy="287358"/>
                </a:xfrm>
                <a:prstGeom prst="rect">
                  <a:avLst/>
                </a:prstGeom>
                <a:noFill/>
              </p:spPr>
              <p:txBody>
                <a:bodyPr wrap="none" lIns="36000" tIns="36000" rIns="36000" bIns="36000" rtlCol="0">
                  <a:spAutoFit/>
                </a:bodyPr>
                <a:lstStyle/>
                <a:p>
                  <a:pPr marL="0" indent="0">
                    <a:buNone/>
                  </a:pPr>
                  <a:r>
                    <a:rPr lang="en-US" sz="1100" dirty="0"/>
                    <a:t>High temperature requirement</a:t>
                  </a:r>
                </a:p>
              </p:txBody>
            </p:sp>
          </p:grpSp>
          <p:grpSp>
            <p:nvGrpSpPr>
              <p:cNvPr id="49" name="Group 48">
                <a:extLst>
                  <a:ext uri="{FF2B5EF4-FFF2-40B4-BE49-F238E27FC236}">
                    <a16:creationId xmlns:a16="http://schemas.microsoft.com/office/drawing/2014/main" id="{17647D08-7461-0642-61CB-5C5B7527BAB4}"/>
                  </a:ext>
                </a:extLst>
              </p:cNvPr>
              <p:cNvGrpSpPr/>
              <p:nvPr/>
            </p:nvGrpSpPr>
            <p:grpSpPr>
              <a:xfrm>
                <a:off x="1481927" y="4019514"/>
                <a:ext cx="2525750" cy="287358"/>
                <a:chOff x="1484971" y="4167294"/>
                <a:chExt cx="2525750" cy="287358"/>
              </a:xfrm>
            </p:grpSpPr>
            <p:pic>
              <p:nvPicPr>
                <p:cNvPr id="53" name="Graphic 52" descr="Badge Unfollow outline">
                  <a:extLst>
                    <a:ext uri="{FF2B5EF4-FFF2-40B4-BE49-F238E27FC236}">
                      <a16:creationId xmlns:a16="http://schemas.microsoft.com/office/drawing/2014/main" id="{CDB7C8CC-E528-EA06-52C8-202FEE2F5DF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54" name="TextBox 53">
                  <a:extLst>
                    <a:ext uri="{FF2B5EF4-FFF2-40B4-BE49-F238E27FC236}">
                      <a16:creationId xmlns:a16="http://schemas.microsoft.com/office/drawing/2014/main" id="{50DC95AA-D2DE-CD6E-1E6D-8E3E71A5061B}"/>
                    </a:ext>
                  </a:extLst>
                </p:cNvPr>
                <p:cNvSpPr txBox="1"/>
                <p:nvPr/>
              </p:nvSpPr>
              <p:spPr bwMode="gray">
                <a:xfrm>
                  <a:off x="1744749" y="4167294"/>
                  <a:ext cx="2265972" cy="287358"/>
                </a:xfrm>
                <a:prstGeom prst="rect">
                  <a:avLst/>
                </a:prstGeom>
                <a:noFill/>
              </p:spPr>
              <p:txBody>
                <a:bodyPr wrap="none" lIns="36000" tIns="36000" rIns="36000" bIns="36000" rtlCol="0">
                  <a:spAutoFit/>
                </a:bodyPr>
                <a:lstStyle/>
                <a:p>
                  <a:pPr marL="0" indent="0">
                    <a:buNone/>
                  </a:pPr>
                  <a:r>
                    <a:rPr lang="en-US" sz="1100" dirty="0"/>
                    <a:t>Mineral scaling and corrosion</a:t>
                  </a:r>
                </a:p>
              </p:txBody>
            </p:sp>
          </p:grpSp>
          <p:grpSp>
            <p:nvGrpSpPr>
              <p:cNvPr id="50" name="Group 49">
                <a:extLst>
                  <a:ext uri="{FF2B5EF4-FFF2-40B4-BE49-F238E27FC236}">
                    <a16:creationId xmlns:a16="http://schemas.microsoft.com/office/drawing/2014/main" id="{A89328D8-E7EF-0E70-95D3-F7C2F226305B}"/>
                  </a:ext>
                </a:extLst>
              </p:cNvPr>
              <p:cNvGrpSpPr/>
              <p:nvPr/>
            </p:nvGrpSpPr>
            <p:grpSpPr>
              <a:xfrm>
                <a:off x="1481927" y="4287707"/>
                <a:ext cx="2662806" cy="287358"/>
                <a:chOff x="1484971" y="4397408"/>
                <a:chExt cx="2662806" cy="287358"/>
              </a:xfrm>
            </p:grpSpPr>
            <p:pic>
              <p:nvPicPr>
                <p:cNvPr id="51" name="Graphic 50" descr="Badge Unfollow outline">
                  <a:extLst>
                    <a:ext uri="{FF2B5EF4-FFF2-40B4-BE49-F238E27FC236}">
                      <a16:creationId xmlns:a16="http://schemas.microsoft.com/office/drawing/2014/main" id="{78104E0C-98D9-9237-862A-B259E3ABCB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52" name="TextBox 51">
                  <a:extLst>
                    <a:ext uri="{FF2B5EF4-FFF2-40B4-BE49-F238E27FC236}">
                      <a16:creationId xmlns:a16="http://schemas.microsoft.com/office/drawing/2014/main" id="{12DECC33-EBA1-2A17-1CCC-BDC9D83507B8}"/>
                    </a:ext>
                  </a:extLst>
                </p:cNvPr>
                <p:cNvSpPr txBox="1"/>
                <p:nvPr/>
              </p:nvSpPr>
              <p:spPr bwMode="gray">
                <a:xfrm>
                  <a:off x="1744746" y="4397408"/>
                  <a:ext cx="2403031" cy="287358"/>
                </a:xfrm>
                <a:prstGeom prst="rect">
                  <a:avLst/>
                </a:prstGeom>
                <a:noFill/>
              </p:spPr>
              <p:txBody>
                <a:bodyPr wrap="none" lIns="36000" tIns="36000" rIns="36000" bIns="36000" rtlCol="0">
                  <a:spAutoFit/>
                </a:bodyPr>
                <a:lstStyle/>
                <a:p>
                  <a:pPr marL="0" indent="0">
                    <a:buNone/>
                  </a:pPr>
                  <a:r>
                    <a:rPr lang="en-US" sz="1100" dirty="0"/>
                    <a:t>Water management challenges</a:t>
                  </a:r>
                </a:p>
              </p:txBody>
            </p:sp>
          </p:grpSp>
        </p:grpSp>
      </p:grpSp>
      <p:grpSp>
        <p:nvGrpSpPr>
          <p:cNvPr id="61" name="Group 60">
            <a:extLst>
              <a:ext uri="{FF2B5EF4-FFF2-40B4-BE49-F238E27FC236}">
                <a16:creationId xmlns:a16="http://schemas.microsoft.com/office/drawing/2014/main" id="{2D218604-A796-2926-E97A-77C885BD0B37}"/>
              </a:ext>
            </a:extLst>
          </p:cNvPr>
          <p:cNvGrpSpPr/>
          <p:nvPr/>
        </p:nvGrpSpPr>
        <p:grpSpPr>
          <a:xfrm>
            <a:off x="9149354" y="3586968"/>
            <a:ext cx="2265273" cy="1145343"/>
            <a:chOff x="1481927" y="3214938"/>
            <a:chExt cx="2690080" cy="1360127"/>
          </a:xfrm>
        </p:grpSpPr>
        <p:grpSp>
          <p:nvGrpSpPr>
            <p:cNvPr id="62" name="Group 61">
              <a:extLst>
                <a:ext uri="{FF2B5EF4-FFF2-40B4-BE49-F238E27FC236}">
                  <a16:creationId xmlns:a16="http://schemas.microsoft.com/office/drawing/2014/main" id="{8724206B-239B-9A3B-71FB-2DBDACC2E6F4}"/>
                </a:ext>
              </a:extLst>
            </p:cNvPr>
            <p:cNvGrpSpPr/>
            <p:nvPr/>
          </p:nvGrpSpPr>
          <p:grpSpPr>
            <a:xfrm>
              <a:off x="1481927" y="3214938"/>
              <a:ext cx="2690080" cy="287358"/>
              <a:chOff x="1484971" y="3214938"/>
              <a:chExt cx="2690080" cy="287358"/>
            </a:xfrm>
          </p:grpSpPr>
          <p:pic>
            <p:nvPicPr>
              <p:cNvPr id="76" name="Graphic 75" descr="Badge Follow with solid fill">
                <a:extLst>
                  <a:ext uri="{FF2B5EF4-FFF2-40B4-BE49-F238E27FC236}">
                    <a16:creationId xmlns:a16="http://schemas.microsoft.com/office/drawing/2014/main" id="{3B58843D-DAE7-8F20-905A-08D2CFE2C0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77" name="TextBox 76">
                <a:extLst>
                  <a:ext uri="{FF2B5EF4-FFF2-40B4-BE49-F238E27FC236}">
                    <a16:creationId xmlns:a16="http://schemas.microsoft.com/office/drawing/2014/main" id="{E902E1DD-695D-1A2E-7241-B0F361F1A9AD}"/>
                  </a:ext>
                </a:extLst>
              </p:cNvPr>
              <p:cNvSpPr txBox="1"/>
              <p:nvPr/>
            </p:nvSpPr>
            <p:spPr bwMode="gray">
              <a:xfrm>
                <a:off x="1747269" y="3214938"/>
                <a:ext cx="2427782" cy="287358"/>
              </a:xfrm>
              <a:prstGeom prst="rect">
                <a:avLst/>
              </a:prstGeom>
              <a:noFill/>
            </p:spPr>
            <p:txBody>
              <a:bodyPr wrap="none" lIns="36000" tIns="36000" rIns="36000" bIns="36000" rtlCol="0">
                <a:spAutoFit/>
              </a:bodyPr>
              <a:lstStyle/>
              <a:p>
                <a:pPr marL="0" indent="0">
                  <a:buNone/>
                </a:pPr>
                <a:r>
                  <a:rPr lang="en-US" sz="1100" dirty="0"/>
                  <a:t>Lower temperature requirement</a:t>
                </a:r>
              </a:p>
            </p:txBody>
          </p:sp>
        </p:grpSp>
        <p:grpSp>
          <p:nvGrpSpPr>
            <p:cNvPr id="63" name="Group 62">
              <a:extLst>
                <a:ext uri="{FF2B5EF4-FFF2-40B4-BE49-F238E27FC236}">
                  <a16:creationId xmlns:a16="http://schemas.microsoft.com/office/drawing/2014/main" id="{FF6EB9E7-91A0-DBC2-0C18-EE8154D5154C}"/>
                </a:ext>
              </a:extLst>
            </p:cNvPr>
            <p:cNvGrpSpPr/>
            <p:nvPr/>
          </p:nvGrpSpPr>
          <p:grpSpPr>
            <a:xfrm>
              <a:off x="1481927" y="3483130"/>
              <a:ext cx="2181197" cy="1091935"/>
              <a:chOff x="1481927" y="3483130"/>
              <a:chExt cx="2181197" cy="1091935"/>
            </a:xfrm>
          </p:grpSpPr>
          <p:grpSp>
            <p:nvGrpSpPr>
              <p:cNvPr id="64" name="Group 63">
                <a:extLst>
                  <a:ext uri="{FF2B5EF4-FFF2-40B4-BE49-F238E27FC236}">
                    <a16:creationId xmlns:a16="http://schemas.microsoft.com/office/drawing/2014/main" id="{626767D4-1C2E-45D2-916C-DC4B211E977B}"/>
                  </a:ext>
                </a:extLst>
              </p:cNvPr>
              <p:cNvGrpSpPr/>
              <p:nvPr/>
            </p:nvGrpSpPr>
            <p:grpSpPr>
              <a:xfrm>
                <a:off x="1481927" y="3483130"/>
                <a:ext cx="2051755" cy="287358"/>
                <a:chOff x="1484971" y="3614359"/>
                <a:chExt cx="2051755" cy="287358"/>
              </a:xfrm>
            </p:grpSpPr>
            <p:pic>
              <p:nvPicPr>
                <p:cNvPr id="74" name="Graphic 73" descr="Badge Follow with solid fill">
                  <a:extLst>
                    <a:ext uri="{FF2B5EF4-FFF2-40B4-BE49-F238E27FC236}">
                      <a16:creationId xmlns:a16="http://schemas.microsoft.com/office/drawing/2014/main" id="{2D09F04B-1A60-1E8F-2E8E-AC73650885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75" name="TextBox 74">
                  <a:extLst>
                    <a:ext uri="{FF2B5EF4-FFF2-40B4-BE49-F238E27FC236}">
                      <a16:creationId xmlns:a16="http://schemas.microsoft.com/office/drawing/2014/main" id="{8170CEA7-77DE-122D-83A8-061A2A214524}"/>
                    </a:ext>
                  </a:extLst>
                </p:cNvPr>
                <p:cNvSpPr txBox="1"/>
                <p:nvPr/>
              </p:nvSpPr>
              <p:spPr bwMode="gray">
                <a:xfrm>
                  <a:off x="1744750" y="3614359"/>
                  <a:ext cx="1791976" cy="287358"/>
                </a:xfrm>
                <a:prstGeom prst="rect">
                  <a:avLst/>
                </a:prstGeom>
                <a:noFill/>
              </p:spPr>
              <p:txBody>
                <a:bodyPr wrap="none" lIns="36000" tIns="36000" rIns="36000" bIns="36000" rtlCol="0">
                  <a:spAutoFit/>
                </a:bodyPr>
                <a:lstStyle/>
                <a:p>
                  <a:pPr marL="0" indent="0">
                    <a:buNone/>
                  </a:pPr>
                  <a:r>
                    <a:rPr lang="en-US" sz="1100" dirty="0"/>
                    <a:t>Closed secondary loop</a:t>
                  </a:r>
                </a:p>
              </p:txBody>
            </p:sp>
          </p:grpSp>
          <p:grpSp>
            <p:nvGrpSpPr>
              <p:cNvPr id="65" name="Group 64">
                <a:extLst>
                  <a:ext uri="{FF2B5EF4-FFF2-40B4-BE49-F238E27FC236}">
                    <a16:creationId xmlns:a16="http://schemas.microsoft.com/office/drawing/2014/main" id="{85D55B0B-F735-9C59-7CA8-A4CD949FA5FD}"/>
                  </a:ext>
                </a:extLst>
              </p:cNvPr>
              <p:cNvGrpSpPr/>
              <p:nvPr/>
            </p:nvGrpSpPr>
            <p:grpSpPr>
              <a:xfrm>
                <a:off x="1481927" y="3751322"/>
                <a:ext cx="1547296" cy="287358"/>
                <a:chOff x="1484971" y="3912958"/>
                <a:chExt cx="1547296" cy="287358"/>
              </a:xfrm>
            </p:grpSpPr>
            <p:pic>
              <p:nvPicPr>
                <p:cNvPr id="72" name="Graphic 71" descr="Badge Unfollow outline">
                  <a:extLst>
                    <a:ext uri="{FF2B5EF4-FFF2-40B4-BE49-F238E27FC236}">
                      <a16:creationId xmlns:a16="http://schemas.microsoft.com/office/drawing/2014/main" id="{87EA15DA-7662-85A3-F347-8425D00C73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73" name="TextBox 72">
                  <a:extLst>
                    <a:ext uri="{FF2B5EF4-FFF2-40B4-BE49-F238E27FC236}">
                      <a16:creationId xmlns:a16="http://schemas.microsoft.com/office/drawing/2014/main" id="{25E09FC5-2B27-03BE-CA90-D5E9864964D4}"/>
                    </a:ext>
                  </a:extLst>
                </p:cNvPr>
                <p:cNvSpPr txBox="1"/>
                <p:nvPr/>
              </p:nvSpPr>
              <p:spPr bwMode="gray">
                <a:xfrm>
                  <a:off x="1744749" y="3912958"/>
                  <a:ext cx="1287518" cy="287358"/>
                </a:xfrm>
                <a:prstGeom prst="rect">
                  <a:avLst/>
                </a:prstGeom>
                <a:noFill/>
              </p:spPr>
              <p:txBody>
                <a:bodyPr wrap="none" lIns="36000" tIns="36000" rIns="36000" bIns="36000" rtlCol="0">
                  <a:spAutoFit/>
                </a:bodyPr>
                <a:lstStyle/>
                <a:p>
                  <a:pPr marL="0" indent="0">
                    <a:buNone/>
                  </a:pPr>
                  <a:r>
                    <a:rPr lang="en-US" sz="1100" dirty="0"/>
                    <a:t>Lower efficiency</a:t>
                  </a:r>
                </a:p>
              </p:txBody>
            </p:sp>
          </p:grpSp>
          <p:grpSp>
            <p:nvGrpSpPr>
              <p:cNvPr id="66" name="Group 65">
                <a:extLst>
                  <a:ext uri="{FF2B5EF4-FFF2-40B4-BE49-F238E27FC236}">
                    <a16:creationId xmlns:a16="http://schemas.microsoft.com/office/drawing/2014/main" id="{954FD60E-CD51-3BBA-9E1F-27B37A1ECC2B}"/>
                  </a:ext>
                </a:extLst>
              </p:cNvPr>
              <p:cNvGrpSpPr/>
              <p:nvPr/>
            </p:nvGrpSpPr>
            <p:grpSpPr>
              <a:xfrm>
                <a:off x="1481927" y="4019514"/>
                <a:ext cx="2181197" cy="287358"/>
                <a:chOff x="1484971" y="4167294"/>
                <a:chExt cx="2181197" cy="287358"/>
              </a:xfrm>
            </p:grpSpPr>
            <p:pic>
              <p:nvPicPr>
                <p:cNvPr id="70" name="Graphic 69" descr="Badge Unfollow outline">
                  <a:extLst>
                    <a:ext uri="{FF2B5EF4-FFF2-40B4-BE49-F238E27FC236}">
                      <a16:creationId xmlns:a16="http://schemas.microsoft.com/office/drawing/2014/main" id="{287FB057-CD04-AEAA-559E-4DFA84A4BC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71" name="TextBox 70">
                  <a:extLst>
                    <a:ext uri="{FF2B5EF4-FFF2-40B4-BE49-F238E27FC236}">
                      <a16:creationId xmlns:a16="http://schemas.microsoft.com/office/drawing/2014/main" id="{A344BDC2-6A78-9D4A-9D16-7AA8CCD37ACF}"/>
                    </a:ext>
                  </a:extLst>
                </p:cNvPr>
                <p:cNvSpPr txBox="1"/>
                <p:nvPr/>
              </p:nvSpPr>
              <p:spPr bwMode="gray">
                <a:xfrm>
                  <a:off x="1744747" y="4167294"/>
                  <a:ext cx="1921421" cy="287358"/>
                </a:xfrm>
                <a:prstGeom prst="rect">
                  <a:avLst/>
                </a:prstGeom>
                <a:noFill/>
              </p:spPr>
              <p:txBody>
                <a:bodyPr wrap="none" lIns="36000" tIns="36000" rIns="36000" bIns="36000" rtlCol="0">
                  <a:spAutoFit/>
                </a:bodyPr>
                <a:lstStyle/>
                <a:p>
                  <a:pPr marL="0" indent="0">
                    <a:buNone/>
                  </a:pPr>
                  <a:r>
                    <a:rPr lang="en-US" sz="1100" dirty="0"/>
                    <a:t>Higher CapEx and OpEx</a:t>
                  </a:r>
                </a:p>
              </p:txBody>
            </p:sp>
          </p:grpSp>
          <p:grpSp>
            <p:nvGrpSpPr>
              <p:cNvPr id="67" name="Group 66">
                <a:extLst>
                  <a:ext uri="{FF2B5EF4-FFF2-40B4-BE49-F238E27FC236}">
                    <a16:creationId xmlns:a16="http://schemas.microsoft.com/office/drawing/2014/main" id="{23A82C0E-D37C-C5D2-06BA-C77A7B67AB1D}"/>
                  </a:ext>
                </a:extLst>
              </p:cNvPr>
              <p:cNvGrpSpPr/>
              <p:nvPr/>
            </p:nvGrpSpPr>
            <p:grpSpPr>
              <a:xfrm>
                <a:off x="1481927" y="4287707"/>
                <a:ext cx="1891848" cy="287358"/>
                <a:chOff x="1484971" y="4397408"/>
                <a:chExt cx="1891848" cy="287358"/>
              </a:xfrm>
            </p:grpSpPr>
            <p:pic>
              <p:nvPicPr>
                <p:cNvPr id="68" name="Graphic 67" descr="Badge Unfollow outline">
                  <a:extLst>
                    <a:ext uri="{FF2B5EF4-FFF2-40B4-BE49-F238E27FC236}">
                      <a16:creationId xmlns:a16="http://schemas.microsoft.com/office/drawing/2014/main" id="{7CB52825-4A15-47F0-F7FC-B1EE6E24C8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69" name="TextBox 68">
                  <a:extLst>
                    <a:ext uri="{FF2B5EF4-FFF2-40B4-BE49-F238E27FC236}">
                      <a16:creationId xmlns:a16="http://schemas.microsoft.com/office/drawing/2014/main" id="{6B1A160A-986D-9E42-508A-09254F495604}"/>
                    </a:ext>
                  </a:extLst>
                </p:cNvPr>
                <p:cNvSpPr txBox="1"/>
                <p:nvPr/>
              </p:nvSpPr>
              <p:spPr bwMode="gray">
                <a:xfrm>
                  <a:off x="1744747" y="4397408"/>
                  <a:ext cx="1632072" cy="287358"/>
                </a:xfrm>
                <a:prstGeom prst="rect">
                  <a:avLst/>
                </a:prstGeom>
                <a:noFill/>
              </p:spPr>
              <p:txBody>
                <a:bodyPr wrap="none" lIns="36000" tIns="36000" rIns="36000" bIns="36000" rtlCol="0">
                  <a:spAutoFit/>
                </a:bodyPr>
                <a:lstStyle/>
                <a:p>
                  <a:pPr marL="0" indent="0">
                    <a:buNone/>
                  </a:pPr>
                  <a:r>
                    <a:rPr lang="en-US" sz="1100" dirty="0"/>
                    <a:t>Secondary fluid risks</a:t>
                  </a:r>
                </a:p>
              </p:txBody>
            </p:sp>
          </p:grpSp>
        </p:grpSp>
      </p:grpSp>
      <p:sp>
        <p:nvSpPr>
          <p:cNvPr id="78" name="Oval 77">
            <a:extLst>
              <a:ext uri="{FF2B5EF4-FFF2-40B4-BE49-F238E27FC236}">
                <a16:creationId xmlns:a16="http://schemas.microsoft.com/office/drawing/2014/main" id="{6B70323A-B653-A79D-9087-D4AB342FEF35}"/>
              </a:ext>
            </a:extLst>
          </p:cNvPr>
          <p:cNvSpPr/>
          <p:nvPr/>
        </p:nvSpPr>
        <p:spPr bwMode="gray">
          <a:xfrm>
            <a:off x="2666753" y="3226593"/>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3%</a:t>
            </a:r>
          </a:p>
        </p:txBody>
      </p:sp>
      <p:sp>
        <p:nvSpPr>
          <p:cNvPr id="79" name="Oval 78">
            <a:extLst>
              <a:ext uri="{FF2B5EF4-FFF2-40B4-BE49-F238E27FC236}">
                <a16:creationId xmlns:a16="http://schemas.microsoft.com/office/drawing/2014/main" id="{003E695D-4449-14C1-324F-8449CB9CFF53}"/>
              </a:ext>
            </a:extLst>
          </p:cNvPr>
          <p:cNvSpPr/>
          <p:nvPr/>
        </p:nvSpPr>
        <p:spPr bwMode="gray">
          <a:xfrm>
            <a:off x="9980884" y="3226593"/>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4%</a:t>
            </a:r>
          </a:p>
        </p:txBody>
      </p:sp>
      <p:sp>
        <p:nvSpPr>
          <p:cNvPr id="80" name="TextBox 79">
            <a:extLst>
              <a:ext uri="{FF2B5EF4-FFF2-40B4-BE49-F238E27FC236}">
                <a16:creationId xmlns:a16="http://schemas.microsoft.com/office/drawing/2014/main" id="{0A86C7A5-89F9-9AE5-9992-95A6CB821B1F}"/>
              </a:ext>
            </a:extLst>
          </p:cNvPr>
          <p:cNvSpPr txBox="1"/>
          <p:nvPr/>
        </p:nvSpPr>
        <p:spPr bwMode="gray">
          <a:xfrm>
            <a:off x="5908660" y="1588419"/>
            <a:ext cx="1979548" cy="529122"/>
          </a:xfrm>
          <a:prstGeom prst="rect">
            <a:avLst/>
          </a:prstGeom>
          <a:solidFill>
            <a:schemeClr val="accent1"/>
          </a:solidFill>
          <a:ln w="28575">
            <a:noFill/>
            <a:prstDash val="dash"/>
          </a:ln>
        </p:spPr>
        <p:txBody>
          <a:bodyPr wrap="square" lIns="91440" tIns="91440" rIns="91440" bIns="91440" rtlCol="0" anchor="ctr">
            <a:noAutofit/>
          </a:bodyPr>
          <a:lstStyle/>
          <a:p>
            <a:pPr marL="0" indent="0" algn="ctr">
              <a:spcAft>
                <a:spcPts val="600"/>
              </a:spcAft>
              <a:buNone/>
            </a:pPr>
            <a:r>
              <a:rPr lang="en-US" sz="1400" b="1" dirty="0">
                <a:solidFill>
                  <a:schemeClr val="bg1"/>
                </a:solidFill>
              </a:rPr>
              <a:t>Hydrothermal (conventional)</a:t>
            </a:r>
          </a:p>
        </p:txBody>
      </p:sp>
      <p:cxnSp>
        <p:nvCxnSpPr>
          <p:cNvPr id="81" name="Elbow Connector 80">
            <a:extLst>
              <a:ext uri="{FF2B5EF4-FFF2-40B4-BE49-F238E27FC236}">
                <a16:creationId xmlns:a16="http://schemas.microsoft.com/office/drawing/2014/main" id="{8EAD0B39-0097-4283-22A6-BD93DF2F341C}"/>
              </a:ext>
            </a:extLst>
          </p:cNvPr>
          <p:cNvCxnSpPr>
            <a:cxnSpLocks/>
            <a:stCxn id="80" idx="2"/>
            <a:endCxn id="84" idx="0"/>
          </p:cNvCxnSpPr>
          <p:nvPr/>
        </p:nvCxnSpPr>
        <p:spPr bwMode="gray">
          <a:xfrm rot="5400000">
            <a:off x="4982995" y="528714"/>
            <a:ext cx="326612" cy="3504266"/>
          </a:xfrm>
          <a:prstGeom prst="bentConnector3">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2" name="Elbow Connector 81">
            <a:extLst>
              <a:ext uri="{FF2B5EF4-FFF2-40B4-BE49-F238E27FC236}">
                <a16:creationId xmlns:a16="http://schemas.microsoft.com/office/drawing/2014/main" id="{DE62E829-AEF7-561C-4207-2B046A3B3E55}"/>
              </a:ext>
            </a:extLst>
          </p:cNvPr>
          <p:cNvCxnSpPr>
            <a:cxnSpLocks/>
            <a:stCxn id="80" idx="2"/>
            <a:endCxn id="88" idx="0"/>
          </p:cNvCxnSpPr>
          <p:nvPr/>
        </p:nvCxnSpPr>
        <p:spPr bwMode="gray">
          <a:xfrm rot="16200000" flipH="1">
            <a:off x="8488117" y="527858"/>
            <a:ext cx="324901" cy="3504266"/>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F7A5237-B30C-0596-3146-CB50813955B9}"/>
              </a:ext>
            </a:extLst>
          </p:cNvPr>
          <p:cNvCxnSpPr>
            <a:cxnSpLocks/>
            <a:stCxn id="80" idx="2"/>
            <a:endCxn id="86" idx="0"/>
          </p:cNvCxnSpPr>
          <p:nvPr/>
        </p:nvCxnSpPr>
        <p:spPr bwMode="gray">
          <a:xfrm>
            <a:off x="6898434" y="2117541"/>
            <a:ext cx="0" cy="324901"/>
          </a:xfrm>
          <a:prstGeom prst="line">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A145B3C0-5F9B-5408-70BD-E3A00E9D85AF}"/>
              </a:ext>
            </a:extLst>
          </p:cNvPr>
          <p:cNvSpPr txBox="1"/>
          <p:nvPr/>
        </p:nvSpPr>
        <p:spPr bwMode="gray">
          <a:xfrm>
            <a:off x="2140822" y="2444153"/>
            <a:ext cx="2506691" cy="538729"/>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Dry steam power plants</a:t>
            </a:r>
          </a:p>
        </p:txBody>
      </p:sp>
      <p:sp>
        <p:nvSpPr>
          <p:cNvPr id="85" name="Oval 84">
            <a:extLst>
              <a:ext uri="{FF2B5EF4-FFF2-40B4-BE49-F238E27FC236}">
                <a16:creationId xmlns:a16="http://schemas.microsoft.com/office/drawing/2014/main" id="{DCED199F-10BA-6D5C-E8A5-0FC764781191}"/>
              </a:ext>
            </a:extLst>
          </p:cNvPr>
          <p:cNvSpPr/>
          <p:nvPr/>
        </p:nvSpPr>
        <p:spPr bwMode="gray">
          <a:xfrm>
            <a:off x="1951301" y="2347512"/>
            <a:ext cx="374904" cy="37490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A</a:t>
            </a:r>
          </a:p>
        </p:txBody>
      </p:sp>
      <p:sp>
        <p:nvSpPr>
          <p:cNvPr id="86" name="TextBox 85">
            <a:extLst>
              <a:ext uri="{FF2B5EF4-FFF2-40B4-BE49-F238E27FC236}">
                <a16:creationId xmlns:a16="http://schemas.microsoft.com/office/drawing/2014/main" id="{66EB7DEE-7D6E-9B4B-B13E-0233C9D14F38}"/>
              </a:ext>
            </a:extLst>
          </p:cNvPr>
          <p:cNvSpPr txBox="1"/>
          <p:nvPr/>
        </p:nvSpPr>
        <p:spPr bwMode="gray">
          <a:xfrm>
            <a:off x="5646095" y="2442442"/>
            <a:ext cx="2504678" cy="542150"/>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Flash steam power plants</a:t>
            </a:r>
          </a:p>
        </p:txBody>
      </p:sp>
      <p:sp>
        <p:nvSpPr>
          <p:cNvPr id="87" name="Oval 86">
            <a:extLst>
              <a:ext uri="{FF2B5EF4-FFF2-40B4-BE49-F238E27FC236}">
                <a16:creationId xmlns:a16="http://schemas.microsoft.com/office/drawing/2014/main" id="{5EE49EAD-9128-89B4-0981-535BF84631ED}"/>
              </a:ext>
            </a:extLst>
          </p:cNvPr>
          <p:cNvSpPr/>
          <p:nvPr/>
        </p:nvSpPr>
        <p:spPr bwMode="gray">
          <a:xfrm>
            <a:off x="5403784" y="2347400"/>
            <a:ext cx="374904" cy="37767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B</a:t>
            </a:r>
          </a:p>
        </p:txBody>
      </p:sp>
      <p:sp>
        <p:nvSpPr>
          <p:cNvPr id="88" name="TextBox 87">
            <a:extLst>
              <a:ext uri="{FF2B5EF4-FFF2-40B4-BE49-F238E27FC236}">
                <a16:creationId xmlns:a16="http://schemas.microsoft.com/office/drawing/2014/main" id="{06E370CE-DCB7-AF05-F24A-FDFB046B6302}"/>
              </a:ext>
            </a:extLst>
          </p:cNvPr>
          <p:cNvSpPr txBox="1"/>
          <p:nvPr/>
        </p:nvSpPr>
        <p:spPr bwMode="gray">
          <a:xfrm>
            <a:off x="9149354" y="2442442"/>
            <a:ext cx="2506691" cy="542150"/>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Binary cycle power plants</a:t>
            </a:r>
          </a:p>
        </p:txBody>
      </p:sp>
      <p:sp>
        <p:nvSpPr>
          <p:cNvPr id="89" name="Oval 88">
            <a:extLst>
              <a:ext uri="{FF2B5EF4-FFF2-40B4-BE49-F238E27FC236}">
                <a16:creationId xmlns:a16="http://schemas.microsoft.com/office/drawing/2014/main" id="{37E417AA-A302-AB84-DA54-DF1660CDA06B}"/>
              </a:ext>
            </a:extLst>
          </p:cNvPr>
          <p:cNvSpPr/>
          <p:nvPr/>
        </p:nvSpPr>
        <p:spPr bwMode="gray">
          <a:xfrm>
            <a:off x="8905670" y="2309272"/>
            <a:ext cx="374904" cy="37767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C</a:t>
            </a:r>
          </a:p>
        </p:txBody>
      </p:sp>
      <p:sp>
        <p:nvSpPr>
          <p:cNvPr id="90" name="Oval 89">
            <a:extLst>
              <a:ext uri="{FF2B5EF4-FFF2-40B4-BE49-F238E27FC236}">
                <a16:creationId xmlns:a16="http://schemas.microsoft.com/office/drawing/2014/main" id="{80131805-CD8C-5C2A-6D86-68554D2CEECC}"/>
              </a:ext>
            </a:extLst>
          </p:cNvPr>
          <p:cNvSpPr/>
          <p:nvPr/>
        </p:nvSpPr>
        <p:spPr bwMode="gray">
          <a:xfrm>
            <a:off x="7041679" y="3226593"/>
            <a:ext cx="1001933" cy="29398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9%</a:t>
            </a:r>
          </a:p>
        </p:txBody>
      </p:sp>
      <p:sp>
        <p:nvSpPr>
          <p:cNvPr id="91" name="Rounded Rectangle 90">
            <a:extLst>
              <a:ext uri="{FF2B5EF4-FFF2-40B4-BE49-F238E27FC236}">
                <a16:creationId xmlns:a16="http://schemas.microsoft.com/office/drawing/2014/main" id="{62635177-33BE-DA27-7174-089CF124C901}"/>
              </a:ext>
            </a:extLst>
          </p:cNvPr>
          <p:cNvSpPr/>
          <p:nvPr/>
        </p:nvSpPr>
        <p:spPr bwMode="gray">
          <a:xfrm>
            <a:off x="6958752" y="3031887"/>
            <a:ext cx="1146758" cy="19216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tx1"/>
                </a:solidFill>
              </a:rPr>
              <a:t>Double flash</a:t>
            </a:r>
          </a:p>
        </p:txBody>
      </p:sp>
      <p:sp>
        <p:nvSpPr>
          <p:cNvPr id="92" name="Oval 91">
            <a:extLst>
              <a:ext uri="{FF2B5EF4-FFF2-40B4-BE49-F238E27FC236}">
                <a16:creationId xmlns:a16="http://schemas.microsoft.com/office/drawing/2014/main" id="{E8209A8F-28A4-946A-D4B7-0759C9CBF9C7}"/>
              </a:ext>
            </a:extLst>
          </p:cNvPr>
          <p:cNvSpPr/>
          <p:nvPr/>
        </p:nvSpPr>
        <p:spPr bwMode="gray">
          <a:xfrm>
            <a:off x="5701958" y="3226593"/>
            <a:ext cx="1001933" cy="29398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42%</a:t>
            </a:r>
          </a:p>
        </p:txBody>
      </p:sp>
      <p:sp>
        <p:nvSpPr>
          <p:cNvPr id="93" name="Rounded Rectangle 92">
            <a:extLst>
              <a:ext uri="{FF2B5EF4-FFF2-40B4-BE49-F238E27FC236}">
                <a16:creationId xmlns:a16="http://schemas.microsoft.com/office/drawing/2014/main" id="{072D4528-9DC9-E421-CDED-8330919A2AA9}"/>
              </a:ext>
            </a:extLst>
          </p:cNvPr>
          <p:cNvSpPr/>
          <p:nvPr/>
        </p:nvSpPr>
        <p:spPr bwMode="gray">
          <a:xfrm>
            <a:off x="5645898" y="3031887"/>
            <a:ext cx="1143000" cy="17757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tx1"/>
                </a:solidFill>
              </a:rPr>
              <a:t>Single flash</a:t>
            </a:r>
          </a:p>
        </p:txBody>
      </p:sp>
      <p:sp>
        <p:nvSpPr>
          <p:cNvPr id="94" name="TextBox 93">
            <a:extLst>
              <a:ext uri="{FF2B5EF4-FFF2-40B4-BE49-F238E27FC236}">
                <a16:creationId xmlns:a16="http://schemas.microsoft.com/office/drawing/2014/main" id="{8CC66826-3FBD-4D2C-EED8-0A0A944AE650}"/>
              </a:ext>
            </a:extLst>
          </p:cNvPr>
          <p:cNvSpPr txBox="1"/>
          <p:nvPr/>
        </p:nvSpPr>
        <p:spPr bwMode="gray">
          <a:xfrm>
            <a:off x="8971005" y="2866768"/>
            <a:ext cx="72768" cy="318924"/>
          </a:xfrm>
          <a:prstGeom prst="rect">
            <a:avLst/>
          </a:prstGeom>
          <a:noFill/>
        </p:spPr>
        <p:txBody>
          <a:bodyPr wrap="none" lIns="36000" tIns="36000" rIns="36000" bIns="36000" rtlCol="0">
            <a:spAutoFit/>
          </a:bodyPr>
          <a:lstStyle/>
          <a:p>
            <a:pPr marL="0" indent="0">
              <a:buNone/>
            </a:pPr>
            <a:endParaRPr lang="en-US" sz="1600" dirty="0"/>
          </a:p>
        </p:txBody>
      </p:sp>
      <p:sp>
        <p:nvSpPr>
          <p:cNvPr id="95" name="Text Placeholder 1">
            <a:extLst>
              <a:ext uri="{FF2B5EF4-FFF2-40B4-BE49-F238E27FC236}">
                <a16:creationId xmlns:a16="http://schemas.microsoft.com/office/drawing/2014/main" id="{4375934D-6A0D-71FB-2319-F43593EFC8CE}"/>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Tree>
    <p:extLst>
      <p:ext uri="{BB962C8B-B14F-4D97-AF65-F5344CB8AC3E}">
        <p14:creationId xmlns:p14="http://schemas.microsoft.com/office/powerpoint/2010/main" val="2601456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DDCB567-B3EA-1C09-AEA9-95510A33ECE8}"/>
              </a:ext>
            </a:extLst>
          </p:cNvPr>
          <p:cNvGraphicFramePr>
            <a:graphicFrameLocks/>
          </p:cNvGraphicFramePr>
          <p:nvPr>
            <p:custDataLst>
              <p:tags r:id="rId1"/>
            </p:custDataLst>
            <p:extLst>
              <p:ext uri="{D42A27DB-BD31-4B8C-83A1-F6EECF244321}">
                <p14:modId xmlns:p14="http://schemas.microsoft.com/office/powerpoint/2010/main" val="397689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6484BC7-01BD-B075-F214-F33D1F0CE273}"/>
              </a:ext>
            </a:extLst>
          </p:cNvPr>
          <p:cNvSpPr>
            <a:spLocks noGrp="1"/>
          </p:cNvSpPr>
          <p:nvPr>
            <p:ph type="title"/>
          </p:nvPr>
        </p:nvSpPr>
        <p:spPr/>
        <p:txBody>
          <a:bodyPr vert="horz" rIns="91440"/>
          <a:lstStyle/>
          <a:p>
            <a:r>
              <a:rPr lang="en-US" dirty="0"/>
              <a:t>Deep-dive on technology: Direct dry steam (1/3) </a:t>
            </a:r>
          </a:p>
        </p:txBody>
      </p:sp>
      <p:sp>
        <p:nvSpPr>
          <p:cNvPr id="4" name="Footer Placeholder 3">
            <a:extLst>
              <a:ext uri="{FF2B5EF4-FFF2-40B4-BE49-F238E27FC236}">
                <a16:creationId xmlns:a16="http://schemas.microsoft.com/office/drawing/2014/main" id="{D0677456-F93F-FF5C-B81D-CA1DDFB2B3B3}"/>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lobal Geothermal Market and Technology Assessment</a:t>
            </a:r>
            <a:r>
              <a:rPr lang="en-US" dirty="0">
                <a:solidFill>
                  <a:srgbClr val="000000"/>
                </a:solidFill>
              </a:rPr>
              <a:t> (IRENA, 2023); </a:t>
            </a:r>
            <a:r>
              <a:rPr lang="en-US" dirty="0">
                <a:solidFill>
                  <a:srgbClr val="000000"/>
                </a:solidFill>
                <a:hlinkClick r:id="rId6"/>
              </a:rPr>
              <a:t>Exploring geothermal energy-based systems: Review from basics to smart systems</a:t>
            </a:r>
            <a:r>
              <a:rPr lang="en-US" dirty="0">
                <a:solidFill>
                  <a:srgbClr val="000000"/>
                </a:solidFill>
              </a:rPr>
              <a:t> </a:t>
            </a:r>
            <a:r>
              <a:rPr lang="en-US" dirty="0">
                <a:solidFill>
                  <a:srgbClr val="000000"/>
                </a:solidFill>
                <a:hlinkClick r:id="rId6"/>
              </a:rPr>
              <a:t>(</a:t>
            </a:r>
            <a:r>
              <a:rPr lang="en-US" dirty="0">
                <a:solidFill>
                  <a:srgbClr val="000000"/>
                </a:solidFill>
              </a:rPr>
              <a:t>Renewable and Sustainable Energy Reviews, 2025); </a:t>
            </a:r>
            <a:r>
              <a:rPr lang="en-US" dirty="0">
                <a:solidFill>
                  <a:srgbClr val="000000"/>
                </a:solidFill>
                <a:hlinkClick r:id="rId7"/>
              </a:rPr>
              <a:t>Geothermal technology: Trends and potential role in a sustainable future</a:t>
            </a:r>
            <a:r>
              <a:rPr lang="en-US" dirty="0">
                <a:solidFill>
                  <a:srgbClr val="000000"/>
                </a:solidFill>
              </a:rPr>
              <a:t> (Applied Energy, 2019).</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99A1B30A-B577-0A33-CB8C-1D562582303F}"/>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
        <p:nvSpPr>
          <p:cNvPr id="8" name="Oval 7">
            <a:extLst>
              <a:ext uri="{FF2B5EF4-FFF2-40B4-BE49-F238E27FC236}">
                <a16:creationId xmlns:a16="http://schemas.microsoft.com/office/drawing/2014/main" id="{90605059-8B73-4BFB-E1EA-9E8E5459E9C3}"/>
              </a:ext>
            </a:extLst>
          </p:cNvPr>
          <p:cNvSpPr>
            <a:spLocks noChangeAspect="1"/>
          </p:cNvSpPr>
          <p:nvPr/>
        </p:nvSpPr>
        <p:spPr bwMode="gray">
          <a:xfrm>
            <a:off x="54230" y="558865"/>
            <a:ext cx="274320" cy="274320"/>
          </a:xfrm>
          <a:prstGeom prst="ellipse">
            <a:avLst/>
          </a:prstGeom>
          <a:solidFill>
            <a:srgbClr val="009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7F4C9AB3-32EC-4B0F-3D66-5D07DE7F2873}"/>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solidFill>
                  <a:schemeClr val="bg1"/>
                </a:solidFill>
              </a:rPr>
              <a:t>A</a:t>
            </a:r>
          </a:p>
        </p:txBody>
      </p:sp>
      <p:sp>
        <p:nvSpPr>
          <p:cNvPr id="11" name="Rounded Rectangle 10">
            <a:extLst>
              <a:ext uri="{FF2B5EF4-FFF2-40B4-BE49-F238E27FC236}">
                <a16:creationId xmlns:a16="http://schemas.microsoft.com/office/drawing/2014/main" id="{F10E60BF-1033-2141-0D86-3756C5103391}"/>
              </a:ext>
            </a:extLst>
          </p:cNvPr>
          <p:cNvSpPr/>
          <p:nvPr/>
        </p:nvSpPr>
        <p:spPr bwMode="gray">
          <a:xfrm>
            <a:off x="8105486" y="3989975"/>
            <a:ext cx="3756314" cy="2307953"/>
          </a:xfrm>
          <a:prstGeom prst="roundRect">
            <a:avLst>
              <a:gd name="adj" fmla="val 459"/>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ounded Rectangle 11">
            <a:extLst>
              <a:ext uri="{FF2B5EF4-FFF2-40B4-BE49-F238E27FC236}">
                <a16:creationId xmlns:a16="http://schemas.microsoft.com/office/drawing/2014/main" id="{BB6C8B6D-5286-5A89-E9E3-CBDE41BFC5ED}"/>
              </a:ext>
            </a:extLst>
          </p:cNvPr>
          <p:cNvSpPr/>
          <p:nvPr/>
        </p:nvSpPr>
        <p:spPr bwMode="gray">
          <a:xfrm>
            <a:off x="4184996" y="1594632"/>
            <a:ext cx="3756314" cy="4703297"/>
          </a:xfrm>
          <a:prstGeom prst="roundRect">
            <a:avLst>
              <a:gd name="adj" fmla="val 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TextBox 12">
            <a:extLst>
              <a:ext uri="{FF2B5EF4-FFF2-40B4-BE49-F238E27FC236}">
                <a16:creationId xmlns:a16="http://schemas.microsoft.com/office/drawing/2014/main" id="{9760B8CF-8E56-4BA5-02FE-58C94A3CD0CD}"/>
              </a:ext>
            </a:extLst>
          </p:cNvPr>
          <p:cNvSpPr txBox="1"/>
          <p:nvPr/>
        </p:nvSpPr>
        <p:spPr bwMode="gray">
          <a:xfrm>
            <a:off x="4866884" y="1745756"/>
            <a:ext cx="669020" cy="257369"/>
          </a:xfrm>
          <a:prstGeom prst="rect">
            <a:avLst/>
          </a:prstGeom>
          <a:noFill/>
        </p:spPr>
        <p:txBody>
          <a:bodyPr wrap="none" lIns="36000" tIns="36000" rIns="36000" bIns="36000" rtlCol="0">
            <a:spAutoFit/>
          </a:bodyPr>
          <a:lstStyle/>
          <a:p>
            <a:pPr marL="0" indent="0">
              <a:buNone/>
            </a:pPr>
            <a:r>
              <a:rPr lang="en-US" sz="1200" b="1" dirty="0"/>
              <a:t>Process</a:t>
            </a:r>
            <a:endParaRPr lang="en-US" sz="1200" dirty="0"/>
          </a:p>
        </p:txBody>
      </p:sp>
      <p:cxnSp>
        <p:nvCxnSpPr>
          <p:cNvPr id="14" name="Straight Connector 13">
            <a:extLst>
              <a:ext uri="{FF2B5EF4-FFF2-40B4-BE49-F238E27FC236}">
                <a16:creationId xmlns:a16="http://schemas.microsoft.com/office/drawing/2014/main" id="{69B4032E-0E00-1D96-F3CD-FDC67E7540F9}"/>
              </a:ext>
            </a:extLst>
          </p:cNvPr>
          <p:cNvCxnSpPr>
            <a:cxnSpLocks/>
          </p:cNvCxnSpPr>
          <p:nvPr/>
        </p:nvCxnSpPr>
        <p:spPr bwMode="gray">
          <a:xfrm>
            <a:off x="4502744" y="2042636"/>
            <a:ext cx="29816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F37BCF9F-18AB-63D0-EB2F-D4CC6C1AA6F0}"/>
              </a:ext>
            </a:extLst>
          </p:cNvPr>
          <p:cNvSpPr/>
          <p:nvPr/>
        </p:nvSpPr>
        <p:spPr bwMode="gray">
          <a:xfrm>
            <a:off x="8105486" y="1594633"/>
            <a:ext cx="3756314" cy="2206816"/>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TextBox 15">
            <a:extLst>
              <a:ext uri="{FF2B5EF4-FFF2-40B4-BE49-F238E27FC236}">
                <a16:creationId xmlns:a16="http://schemas.microsoft.com/office/drawing/2014/main" id="{196C40EA-727C-1097-F94B-03F23DEB8520}"/>
              </a:ext>
            </a:extLst>
          </p:cNvPr>
          <p:cNvSpPr txBox="1"/>
          <p:nvPr/>
        </p:nvSpPr>
        <p:spPr bwMode="gray">
          <a:xfrm>
            <a:off x="8692729" y="1753429"/>
            <a:ext cx="943134"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Advantages</a:t>
            </a:r>
            <a:endParaRPr lang="en-US" sz="1200" dirty="0"/>
          </a:p>
        </p:txBody>
      </p:sp>
      <p:sp>
        <p:nvSpPr>
          <p:cNvPr id="17" name="TextBox 16">
            <a:extLst>
              <a:ext uri="{FF2B5EF4-FFF2-40B4-BE49-F238E27FC236}">
                <a16:creationId xmlns:a16="http://schemas.microsoft.com/office/drawing/2014/main" id="{58A5FB1D-61B1-A977-C4DB-29717F525EDE}"/>
              </a:ext>
            </a:extLst>
          </p:cNvPr>
          <p:cNvSpPr txBox="1"/>
          <p:nvPr/>
        </p:nvSpPr>
        <p:spPr bwMode="gray">
          <a:xfrm>
            <a:off x="8701548" y="4114163"/>
            <a:ext cx="1156333"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Disadvantages</a:t>
            </a:r>
            <a:endParaRPr lang="en-US" sz="1200" dirty="0"/>
          </a:p>
        </p:txBody>
      </p:sp>
      <p:cxnSp>
        <p:nvCxnSpPr>
          <p:cNvPr id="18" name="Straight Connector 17">
            <a:extLst>
              <a:ext uri="{FF2B5EF4-FFF2-40B4-BE49-F238E27FC236}">
                <a16:creationId xmlns:a16="http://schemas.microsoft.com/office/drawing/2014/main" id="{AEA2947A-780F-2E83-9735-17602518C089}"/>
              </a:ext>
            </a:extLst>
          </p:cNvPr>
          <p:cNvCxnSpPr>
            <a:cxnSpLocks/>
          </p:cNvCxnSpPr>
          <p:nvPr/>
        </p:nvCxnSpPr>
        <p:spPr bwMode="gray">
          <a:xfrm>
            <a:off x="8354401" y="443254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6DB3E0D9-8C7D-BDBA-5CA4-D64C15C22271}"/>
              </a:ext>
            </a:extLst>
          </p:cNvPr>
          <p:cNvGrpSpPr/>
          <p:nvPr/>
        </p:nvGrpSpPr>
        <p:grpSpPr>
          <a:xfrm>
            <a:off x="4395674" y="2223089"/>
            <a:ext cx="3255192" cy="749812"/>
            <a:chOff x="4395674" y="2223089"/>
            <a:chExt cx="3255192" cy="749812"/>
          </a:xfrm>
        </p:grpSpPr>
        <p:pic>
          <p:nvPicPr>
            <p:cNvPr id="20" name="Graphic 19" descr="Badge 1 with solid fill">
              <a:extLst>
                <a:ext uri="{FF2B5EF4-FFF2-40B4-BE49-F238E27FC236}">
                  <a16:creationId xmlns:a16="http://schemas.microsoft.com/office/drawing/2014/main" id="{0D70CAA1-55A8-51F3-BC10-2B2C295A2A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95674" y="2223089"/>
              <a:ext cx="245419" cy="245419"/>
            </a:xfrm>
            <a:prstGeom prst="rect">
              <a:avLst/>
            </a:prstGeom>
          </p:spPr>
        </p:pic>
        <p:sp>
          <p:nvSpPr>
            <p:cNvPr id="21" name="TextBox 20">
              <a:extLst>
                <a:ext uri="{FF2B5EF4-FFF2-40B4-BE49-F238E27FC236}">
                  <a16:creationId xmlns:a16="http://schemas.microsoft.com/office/drawing/2014/main" id="{7D652DA0-DFE7-22CD-5C9A-157ED6EE69A7}"/>
                </a:ext>
              </a:extLst>
            </p:cNvPr>
            <p:cNvSpPr txBox="1"/>
            <p:nvPr/>
          </p:nvSpPr>
          <p:spPr bwMode="gray">
            <a:xfrm>
              <a:off x="4723181" y="2223089"/>
              <a:ext cx="2927685" cy="749812"/>
            </a:xfrm>
            <a:prstGeom prst="rect">
              <a:avLst/>
            </a:prstGeom>
            <a:noFill/>
          </p:spPr>
          <p:txBody>
            <a:bodyPr wrap="square" lIns="36000" tIns="36000" rIns="36000" bIns="36000" rtlCol="0">
              <a:spAutoFit/>
            </a:bodyPr>
            <a:lstStyle/>
            <a:p>
              <a:pPr marL="0" indent="0">
                <a:buNone/>
              </a:pPr>
              <a:r>
                <a:rPr lang="en-US" sz="1100" dirty="0"/>
                <a:t>Hot steam is directly drawn from geothermal reservoirs, and unlike flash or binary plants, </a:t>
              </a:r>
              <a:r>
                <a:rPr lang="en-US" sz="1100" b="1" dirty="0"/>
                <a:t>steam is used as it is, without converting hot water first</a:t>
              </a:r>
              <a:r>
                <a:rPr lang="en-US" sz="1100" dirty="0"/>
                <a:t>.</a:t>
              </a:r>
            </a:p>
          </p:txBody>
        </p:sp>
      </p:grpSp>
      <p:grpSp>
        <p:nvGrpSpPr>
          <p:cNvPr id="22" name="Group 21">
            <a:extLst>
              <a:ext uri="{FF2B5EF4-FFF2-40B4-BE49-F238E27FC236}">
                <a16:creationId xmlns:a16="http://schemas.microsoft.com/office/drawing/2014/main" id="{32244AD2-ED25-D067-B2A6-BCD1ACEFD19D}"/>
              </a:ext>
            </a:extLst>
          </p:cNvPr>
          <p:cNvGrpSpPr/>
          <p:nvPr/>
        </p:nvGrpSpPr>
        <p:grpSpPr>
          <a:xfrm>
            <a:off x="4393556" y="3334219"/>
            <a:ext cx="3257310" cy="580534"/>
            <a:chOff x="4393556" y="3334218"/>
            <a:chExt cx="3257310" cy="580534"/>
          </a:xfrm>
        </p:grpSpPr>
        <p:sp>
          <p:nvSpPr>
            <p:cNvPr id="23" name="TextBox 22">
              <a:extLst>
                <a:ext uri="{FF2B5EF4-FFF2-40B4-BE49-F238E27FC236}">
                  <a16:creationId xmlns:a16="http://schemas.microsoft.com/office/drawing/2014/main" id="{8AC733D6-4A07-127B-30F1-A095E4773205}"/>
                </a:ext>
              </a:extLst>
            </p:cNvPr>
            <p:cNvSpPr txBox="1"/>
            <p:nvPr/>
          </p:nvSpPr>
          <p:spPr bwMode="gray">
            <a:xfrm>
              <a:off x="4723181" y="3334218"/>
              <a:ext cx="2927685" cy="580534"/>
            </a:xfrm>
            <a:prstGeom prst="rect">
              <a:avLst/>
            </a:prstGeom>
            <a:noFill/>
          </p:spPr>
          <p:txBody>
            <a:bodyPr wrap="square" lIns="36000" tIns="36000" rIns="36000" bIns="36000" rtlCol="0">
              <a:spAutoFit/>
            </a:bodyPr>
            <a:lstStyle/>
            <a:p>
              <a:pPr marL="0" indent="0">
                <a:buNone/>
              </a:pPr>
              <a:r>
                <a:rPr lang="en-US" sz="1100" dirty="0"/>
                <a:t>The steam flows into the turbine, and </a:t>
              </a:r>
              <a:r>
                <a:rPr lang="en-US" sz="1100" b="1" dirty="0"/>
                <a:t>as the turbine spins, it drives the generator</a:t>
              </a:r>
              <a:r>
                <a:rPr lang="en-US" sz="1100" dirty="0"/>
                <a:t> to produce electricity. </a:t>
              </a:r>
            </a:p>
          </p:txBody>
        </p:sp>
        <p:pic>
          <p:nvPicPr>
            <p:cNvPr id="24" name="Graphic 23" descr="Badge with solid fill">
              <a:extLst>
                <a:ext uri="{FF2B5EF4-FFF2-40B4-BE49-F238E27FC236}">
                  <a16:creationId xmlns:a16="http://schemas.microsoft.com/office/drawing/2014/main" id="{7644D6E8-8580-EE41-AAFB-8CCC60FD656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3556" y="3375663"/>
              <a:ext cx="246888" cy="246888"/>
            </a:xfrm>
            <a:prstGeom prst="rect">
              <a:avLst/>
            </a:prstGeom>
          </p:spPr>
        </p:pic>
      </p:grpSp>
      <p:grpSp>
        <p:nvGrpSpPr>
          <p:cNvPr id="25" name="Group 24">
            <a:extLst>
              <a:ext uri="{FF2B5EF4-FFF2-40B4-BE49-F238E27FC236}">
                <a16:creationId xmlns:a16="http://schemas.microsoft.com/office/drawing/2014/main" id="{7C6E5F01-DDA7-7C86-CCE2-75BF4C620E8C}"/>
              </a:ext>
            </a:extLst>
          </p:cNvPr>
          <p:cNvGrpSpPr/>
          <p:nvPr/>
        </p:nvGrpSpPr>
        <p:grpSpPr>
          <a:xfrm>
            <a:off x="4393556" y="5217921"/>
            <a:ext cx="3289941" cy="749812"/>
            <a:chOff x="4393556" y="5217921"/>
            <a:chExt cx="3289941" cy="749812"/>
          </a:xfrm>
        </p:grpSpPr>
        <p:sp>
          <p:nvSpPr>
            <p:cNvPr id="26" name="TextBox 25">
              <a:extLst>
                <a:ext uri="{FF2B5EF4-FFF2-40B4-BE49-F238E27FC236}">
                  <a16:creationId xmlns:a16="http://schemas.microsoft.com/office/drawing/2014/main" id="{5EDAFED0-2EF4-63B5-1F05-1C845FE9C1B5}"/>
                </a:ext>
              </a:extLst>
            </p:cNvPr>
            <p:cNvSpPr txBox="1"/>
            <p:nvPr/>
          </p:nvSpPr>
          <p:spPr bwMode="gray">
            <a:xfrm>
              <a:off x="4755812" y="5217921"/>
              <a:ext cx="2927685" cy="749812"/>
            </a:xfrm>
            <a:prstGeom prst="rect">
              <a:avLst/>
            </a:prstGeom>
            <a:noFill/>
          </p:spPr>
          <p:txBody>
            <a:bodyPr wrap="square" lIns="36000" tIns="36000" rIns="36000" bIns="36000" rtlCol="0">
              <a:spAutoFit/>
            </a:bodyPr>
            <a:lstStyle/>
            <a:p>
              <a:pPr marL="0" indent="0">
                <a:buNone/>
              </a:pPr>
              <a:r>
                <a:rPr lang="en-US" sz="1100" b="1" dirty="0"/>
                <a:t>The condensed water is pumped down through the reinjection </a:t>
              </a:r>
              <a:r>
                <a:rPr lang="en-US" sz="1100" dirty="0"/>
                <a:t>well, which returns the water to the underground reservoir to sustain the geothermal cycle. </a:t>
              </a:r>
            </a:p>
          </p:txBody>
        </p:sp>
        <p:pic>
          <p:nvPicPr>
            <p:cNvPr id="27" name="Graphic 26" descr="Badge 4 with solid fill">
              <a:extLst>
                <a:ext uri="{FF2B5EF4-FFF2-40B4-BE49-F238E27FC236}">
                  <a16:creationId xmlns:a16="http://schemas.microsoft.com/office/drawing/2014/main" id="{2D4E5630-DCD0-2A24-A8CB-E847EDED86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93556" y="5254168"/>
              <a:ext cx="246888" cy="246888"/>
            </a:xfrm>
            <a:prstGeom prst="rect">
              <a:avLst/>
            </a:prstGeom>
          </p:spPr>
        </p:pic>
      </p:grpSp>
      <p:sp>
        <p:nvSpPr>
          <p:cNvPr id="28" name="TextBox 27">
            <a:extLst>
              <a:ext uri="{FF2B5EF4-FFF2-40B4-BE49-F238E27FC236}">
                <a16:creationId xmlns:a16="http://schemas.microsoft.com/office/drawing/2014/main" id="{2326645A-0747-3887-07CF-A37A82773F96}"/>
              </a:ext>
            </a:extLst>
          </p:cNvPr>
          <p:cNvSpPr txBox="1"/>
          <p:nvPr/>
        </p:nvSpPr>
        <p:spPr bwMode="gray">
          <a:xfrm>
            <a:off x="4723181" y="4276071"/>
            <a:ext cx="2927685" cy="580534"/>
          </a:xfrm>
          <a:prstGeom prst="rect">
            <a:avLst/>
          </a:prstGeom>
          <a:noFill/>
        </p:spPr>
        <p:txBody>
          <a:bodyPr wrap="square" lIns="36000" tIns="36000" rIns="36000" bIns="36000" rtlCol="0">
            <a:spAutoFit/>
          </a:bodyPr>
          <a:lstStyle/>
          <a:p>
            <a:pPr marL="0" indent="0">
              <a:buNone/>
            </a:pPr>
            <a:r>
              <a:rPr lang="en-US" sz="1100" dirty="0"/>
              <a:t>After passing through the turbine, the </a:t>
            </a:r>
            <a:r>
              <a:rPr lang="en-US" sz="1100" b="1" dirty="0"/>
              <a:t>lower-energy steam is cooled in a condenser</a:t>
            </a:r>
            <a:r>
              <a:rPr lang="en-US" sz="1100" dirty="0"/>
              <a:t> and condenses back into water.</a:t>
            </a:r>
          </a:p>
        </p:txBody>
      </p:sp>
      <p:pic>
        <p:nvPicPr>
          <p:cNvPr id="29" name="Graphic 28" descr="Badge 3 with solid fill">
            <a:extLst>
              <a:ext uri="{FF2B5EF4-FFF2-40B4-BE49-F238E27FC236}">
                <a16:creationId xmlns:a16="http://schemas.microsoft.com/office/drawing/2014/main" id="{D381BDF3-8E9E-494D-814C-B8D862BEFB3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93556" y="4300806"/>
            <a:ext cx="246888" cy="246888"/>
          </a:xfrm>
          <a:prstGeom prst="rect">
            <a:avLst/>
          </a:prstGeom>
        </p:spPr>
      </p:pic>
      <p:sp>
        <p:nvSpPr>
          <p:cNvPr id="30" name="Rectangle 29">
            <a:extLst>
              <a:ext uri="{FF2B5EF4-FFF2-40B4-BE49-F238E27FC236}">
                <a16:creationId xmlns:a16="http://schemas.microsoft.com/office/drawing/2014/main" id="{2DDE964C-8934-A100-F085-E6272A72923F}"/>
              </a:ext>
            </a:extLst>
          </p:cNvPr>
          <p:cNvSpPr/>
          <p:nvPr/>
        </p:nvSpPr>
        <p:spPr bwMode="gray">
          <a:xfrm rot="5400000">
            <a:off x="2680129" y="2234869"/>
            <a:ext cx="1212874" cy="133270"/>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Bent Arrow 30">
            <a:extLst>
              <a:ext uri="{FF2B5EF4-FFF2-40B4-BE49-F238E27FC236}">
                <a16:creationId xmlns:a16="http://schemas.microsoft.com/office/drawing/2014/main" id="{FEB02BD1-1351-DD9C-1310-E6EFF5E6F4C4}"/>
              </a:ext>
            </a:extLst>
          </p:cNvPr>
          <p:cNvSpPr/>
          <p:nvPr/>
        </p:nvSpPr>
        <p:spPr bwMode="gray">
          <a:xfrm flipH="1">
            <a:off x="3195798" y="2612963"/>
            <a:ext cx="543688" cy="545730"/>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2" name="Straight Connector 31">
            <a:extLst>
              <a:ext uri="{FF2B5EF4-FFF2-40B4-BE49-F238E27FC236}">
                <a16:creationId xmlns:a16="http://schemas.microsoft.com/office/drawing/2014/main" id="{4BB5A350-E161-960B-1D1C-3EAC1886C5DA}"/>
              </a:ext>
            </a:extLst>
          </p:cNvPr>
          <p:cNvCxnSpPr>
            <a:cxnSpLocks/>
          </p:cNvCxnSpPr>
          <p:nvPr/>
        </p:nvCxnSpPr>
        <p:spPr bwMode="gray">
          <a:xfrm flipV="1">
            <a:off x="646723" y="3678475"/>
            <a:ext cx="3256612" cy="796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75B3F4-3697-826E-E097-908D073D2AEC}"/>
              </a:ext>
            </a:extLst>
          </p:cNvPr>
          <p:cNvCxnSpPr/>
          <p:nvPr/>
        </p:nvCxnSpPr>
        <p:spPr bwMode="gray">
          <a:xfrm>
            <a:off x="845636"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CAD8344-59D1-C0E6-66E2-775A4BF4B284}"/>
              </a:ext>
            </a:extLst>
          </p:cNvPr>
          <p:cNvCxnSpPr/>
          <p:nvPr/>
        </p:nvCxnSpPr>
        <p:spPr bwMode="gray">
          <a:xfrm>
            <a:off x="642492"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A0A133-21FF-14A2-E811-BDB67063314B}"/>
              </a:ext>
            </a:extLst>
          </p:cNvPr>
          <p:cNvCxnSpPr>
            <a:cxnSpLocks/>
          </p:cNvCxnSpPr>
          <p:nvPr/>
        </p:nvCxnSpPr>
        <p:spPr bwMode="gray">
          <a:xfrm>
            <a:off x="1048780"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B604BA8-8042-6E45-1DF5-E3AED3F645AF}"/>
              </a:ext>
            </a:extLst>
          </p:cNvPr>
          <p:cNvCxnSpPr>
            <a:cxnSpLocks/>
          </p:cNvCxnSpPr>
          <p:nvPr/>
        </p:nvCxnSpPr>
        <p:spPr bwMode="gray">
          <a:xfrm>
            <a:off x="1251925"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17E989-F895-42BA-8265-62E72A16319C}"/>
              </a:ext>
            </a:extLst>
          </p:cNvPr>
          <p:cNvCxnSpPr>
            <a:cxnSpLocks/>
          </p:cNvCxnSpPr>
          <p:nvPr/>
        </p:nvCxnSpPr>
        <p:spPr bwMode="gray">
          <a:xfrm>
            <a:off x="1455069"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4EE6E1-181C-FC9F-51DE-234B25C0DE29}"/>
              </a:ext>
            </a:extLst>
          </p:cNvPr>
          <p:cNvCxnSpPr>
            <a:cxnSpLocks/>
          </p:cNvCxnSpPr>
          <p:nvPr/>
        </p:nvCxnSpPr>
        <p:spPr bwMode="gray">
          <a:xfrm>
            <a:off x="1658213"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171F61F-2B7C-77F6-2C2D-AABA7A3194DC}"/>
              </a:ext>
            </a:extLst>
          </p:cNvPr>
          <p:cNvCxnSpPr>
            <a:cxnSpLocks/>
          </p:cNvCxnSpPr>
          <p:nvPr/>
        </p:nvCxnSpPr>
        <p:spPr bwMode="gray">
          <a:xfrm>
            <a:off x="1861357"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0994B0D-8E2C-0E71-DC64-99F35CAF5B1C}"/>
              </a:ext>
            </a:extLst>
          </p:cNvPr>
          <p:cNvCxnSpPr>
            <a:cxnSpLocks/>
          </p:cNvCxnSpPr>
          <p:nvPr/>
        </p:nvCxnSpPr>
        <p:spPr bwMode="gray">
          <a:xfrm>
            <a:off x="2064502"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5930F04-0F10-9B33-9A7C-3E89C3F7A9C4}"/>
              </a:ext>
            </a:extLst>
          </p:cNvPr>
          <p:cNvCxnSpPr>
            <a:cxnSpLocks/>
          </p:cNvCxnSpPr>
          <p:nvPr/>
        </p:nvCxnSpPr>
        <p:spPr bwMode="gray">
          <a:xfrm>
            <a:off x="2267646"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E13BCB1-4456-CBF2-7876-5103AF0B301C}"/>
              </a:ext>
            </a:extLst>
          </p:cNvPr>
          <p:cNvCxnSpPr>
            <a:cxnSpLocks/>
          </p:cNvCxnSpPr>
          <p:nvPr/>
        </p:nvCxnSpPr>
        <p:spPr bwMode="gray">
          <a:xfrm>
            <a:off x="2470790"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099DB7-BA67-5AB9-AEDA-61C707E81388}"/>
              </a:ext>
            </a:extLst>
          </p:cNvPr>
          <p:cNvCxnSpPr>
            <a:cxnSpLocks/>
          </p:cNvCxnSpPr>
          <p:nvPr/>
        </p:nvCxnSpPr>
        <p:spPr bwMode="gray">
          <a:xfrm>
            <a:off x="2673934"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82674F3-BF82-E8A8-B670-2913E571132F}"/>
              </a:ext>
            </a:extLst>
          </p:cNvPr>
          <p:cNvCxnSpPr>
            <a:cxnSpLocks/>
          </p:cNvCxnSpPr>
          <p:nvPr/>
        </p:nvCxnSpPr>
        <p:spPr bwMode="gray">
          <a:xfrm>
            <a:off x="2877079" y="3686442"/>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4081512-ACBA-2FD1-0DE3-C30CA802F1CE}"/>
              </a:ext>
            </a:extLst>
          </p:cNvPr>
          <p:cNvCxnSpPr>
            <a:cxnSpLocks/>
          </p:cNvCxnSpPr>
          <p:nvPr/>
        </p:nvCxnSpPr>
        <p:spPr bwMode="gray">
          <a:xfrm>
            <a:off x="3080223" y="3678475"/>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6D6BCAF-1D2C-ACCA-FB1A-03B5993A390F}"/>
              </a:ext>
            </a:extLst>
          </p:cNvPr>
          <p:cNvCxnSpPr>
            <a:cxnSpLocks/>
          </p:cNvCxnSpPr>
          <p:nvPr/>
        </p:nvCxnSpPr>
        <p:spPr bwMode="gray">
          <a:xfrm>
            <a:off x="3283367" y="3678475"/>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404E30-49D7-5FE3-06B9-ABA050C0FE65}"/>
              </a:ext>
            </a:extLst>
          </p:cNvPr>
          <p:cNvCxnSpPr>
            <a:cxnSpLocks/>
          </p:cNvCxnSpPr>
          <p:nvPr/>
        </p:nvCxnSpPr>
        <p:spPr bwMode="gray">
          <a:xfrm>
            <a:off x="3486511" y="3678475"/>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8C9DCFF-31AE-BAA6-F37F-58BF966FBBFB}"/>
              </a:ext>
            </a:extLst>
          </p:cNvPr>
          <p:cNvCxnSpPr>
            <a:cxnSpLocks/>
          </p:cNvCxnSpPr>
          <p:nvPr/>
        </p:nvCxnSpPr>
        <p:spPr bwMode="gray">
          <a:xfrm>
            <a:off x="3689656" y="3678475"/>
            <a:ext cx="191290" cy="1116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9" name="Triangle 48">
            <a:extLst>
              <a:ext uri="{FF2B5EF4-FFF2-40B4-BE49-F238E27FC236}">
                <a16:creationId xmlns:a16="http://schemas.microsoft.com/office/drawing/2014/main" id="{E17A47E1-1475-1650-1642-4A93FDEAC5AF}"/>
              </a:ext>
            </a:extLst>
          </p:cNvPr>
          <p:cNvSpPr/>
          <p:nvPr/>
        </p:nvSpPr>
        <p:spPr bwMode="gray">
          <a:xfrm>
            <a:off x="734123" y="3686442"/>
            <a:ext cx="248454" cy="163143"/>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Triangle 49">
            <a:extLst>
              <a:ext uri="{FF2B5EF4-FFF2-40B4-BE49-F238E27FC236}">
                <a16:creationId xmlns:a16="http://schemas.microsoft.com/office/drawing/2014/main" id="{BFBACB22-5572-F078-6F46-722E92CFA738}"/>
              </a:ext>
            </a:extLst>
          </p:cNvPr>
          <p:cNvSpPr/>
          <p:nvPr/>
        </p:nvSpPr>
        <p:spPr bwMode="gray">
          <a:xfrm>
            <a:off x="3554767" y="3686442"/>
            <a:ext cx="248454" cy="163143"/>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Triangle 50">
            <a:extLst>
              <a:ext uri="{FF2B5EF4-FFF2-40B4-BE49-F238E27FC236}">
                <a16:creationId xmlns:a16="http://schemas.microsoft.com/office/drawing/2014/main" id="{AABB8E91-48CA-DD7B-BE31-B77318DC39F7}"/>
              </a:ext>
            </a:extLst>
          </p:cNvPr>
          <p:cNvSpPr/>
          <p:nvPr/>
        </p:nvSpPr>
        <p:spPr bwMode="gray">
          <a:xfrm rot="10800000">
            <a:off x="734123" y="3523299"/>
            <a:ext cx="248454" cy="163143"/>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Triangle 51">
            <a:extLst>
              <a:ext uri="{FF2B5EF4-FFF2-40B4-BE49-F238E27FC236}">
                <a16:creationId xmlns:a16="http://schemas.microsoft.com/office/drawing/2014/main" id="{D1F1FB8D-5542-36E0-1BCA-73598C51701A}"/>
              </a:ext>
            </a:extLst>
          </p:cNvPr>
          <p:cNvSpPr/>
          <p:nvPr/>
        </p:nvSpPr>
        <p:spPr bwMode="gray">
          <a:xfrm rot="10800000">
            <a:off x="3554767" y="3523299"/>
            <a:ext cx="248454" cy="163143"/>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Rectangle 52">
            <a:extLst>
              <a:ext uri="{FF2B5EF4-FFF2-40B4-BE49-F238E27FC236}">
                <a16:creationId xmlns:a16="http://schemas.microsoft.com/office/drawing/2014/main" id="{C7032DBF-D3B5-C486-FC1D-5073D24A7CC5}"/>
              </a:ext>
            </a:extLst>
          </p:cNvPr>
          <p:cNvSpPr/>
          <p:nvPr/>
        </p:nvSpPr>
        <p:spPr bwMode="gray">
          <a:xfrm>
            <a:off x="791716" y="3857552"/>
            <a:ext cx="133267" cy="2192144"/>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Bent Arrow 53">
            <a:extLst>
              <a:ext uri="{FF2B5EF4-FFF2-40B4-BE49-F238E27FC236}">
                <a16:creationId xmlns:a16="http://schemas.microsoft.com/office/drawing/2014/main" id="{F1F0AFFC-25CB-E486-9BFE-1239C9A369A0}"/>
              </a:ext>
            </a:extLst>
          </p:cNvPr>
          <p:cNvSpPr/>
          <p:nvPr/>
        </p:nvSpPr>
        <p:spPr bwMode="gray">
          <a:xfrm>
            <a:off x="792799" y="2372075"/>
            <a:ext cx="527595" cy="1151224"/>
          </a:xfrm>
          <a:prstGeom prst="bentArrow">
            <a:avLst>
              <a:gd name="adj1" fmla="val 25000"/>
              <a:gd name="adj2" fmla="val 23273"/>
              <a:gd name="adj3" fmla="val 0"/>
              <a:gd name="adj4" fmla="val 85204"/>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Rectangle 54">
            <a:extLst>
              <a:ext uri="{FF2B5EF4-FFF2-40B4-BE49-F238E27FC236}">
                <a16:creationId xmlns:a16="http://schemas.microsoft.com/office/drawing/2014/main" id="{87150F4A-8341-082F-114B-B5EBF66D8394}"/>
              </a:ext>
            </a:extLst>
          </p:cNvPr>
          <p:cNvSpPr/>
          <p:nvPr/>
        </p:nvSpPr>
        <p:spPr bwMode="gray">
          <a:xfrm>
            <a:off x="1320394" y="2429388"/>
            <a:ext cx="1871421" cy="135889"/>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C452722C-5B01-4889-657F-260FF1D543B4}"/>
              </a:ext>
            </a:extLst>
          </p:cNvPr>
          <p:cNvSpPr/>
          <p:nvPr/>
        </p:nvSpPr>
        <p:spPr bwMode="gray">
          <a:xfrm>
            <a:off x="1916288" y="1959379"/>
            <a:ext cx="679007" cy="404727"/>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57" name="Rectangle 56">
            <a:extLst>
              <a:ext uri="{FF2B5EF4-FFF2-40B4-BE49-F238E27FC236}">
                <a16:creationId xmlns:a16="http://schemas.microsoft.com/office/drawing/2014/main" id="{C2F6C19F-5D37-2A0E-0C58-67204A150C11}"/>
              </a:ext>
            </a:extLst>
          </p:cNvPr>
          <p:cNvSpPr/>
          <p:nvPr/>
        </p:nvSpPr>
        <p:spPr bwMode="gray">
          <a:xfrm>
            <a:off x="1671466" y="1918971"/>
            <a:ext cx="1168652" cy="305362"/>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Generator</a:t>
            </a:r>
          </a:p>
        </p:txBody>
      </p:sp>
      <p:sp>
        <p:nvSpPr>
          <p:cNvPr id="58" name="Rectangle 57">
            <a:extLst>
              <a:ext uri="{FF2B5EF4-FFF2-40B4-BE49-F238E27FC236}">
                <a16:creationId xmlns:a16="http://schemas.microsoft.com/office/drawing/2014/main" id="{709AD31A-2074-CE82-F7D5-C155EC11BA06}"/>
              </a:ext>
            </a:extLst>
          </p:cNvPr>
          <p:cNvSpPr/>
          <p:nvPr/>
        </p:nvSpPr>
        <p:spPr bwMode="gray">
          <a:xfrm>
            <a:off x="1804526" y="2305157"/>
            <a:ext cx="962911" cy="305362"/>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urbine</a:t>
            </a:r>
          </a:p>
        </p:txBody>
      </p:sp>
      <p:sp>
        <p:nvSpPr>
          <p:cNvPr id="59" name="Rectangle 58">
            <a:extLst>
              <a:ext uri="{FF2B5EF4-FFF2-40B4-BE49-F238E27FC236}">
                <a16:creationId xmlns:a16="http://schemas.microsoft.com/office/drawing/2014/main" id="{FCC84ED3-870E-0461-74DD-1F8AA09358E1}"/>
              </a:ext>
            </a:extLst>
          </p:cNvPr>
          <p:cNvSpPr/>
          <p:nvPr/>
        </p:nvSpPr>
        <p:spPr bwMode="gray">
          <a:xfrm rot="16200000">
            <a:off x="2822366" y="2368431"/>
            <a:ext cx="920602" cy="229972"/>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ndenser</a:t>
            </a:r>
          </a:p>
        </p:txBody>
      </p:sp>
      <p:sp>
        <p:nvSpPr>
          <p:cNvPr id="60" name="Rectangle 59">
            <a:extLst>
              <a:ext uri="{FF2B5EF4-FFF2-40B4-BE49-F238E27FC236}">
                <a16:creationId xmlns:a16="http://schemas.microsoft.com/office/drawing/2014/main" id="{E7926037-61A7-E926-6244-D877A7FA29B6}"/>
              </a:ext>
            </a:extLst>
          </p:cNvPr>
          <p:cNvSpPr/>
          <p:nvPr/>
        </p:nvSpPr>
        <p:spPr bwMode="gray">
          <a:xfrm>
            <a:off x="3606221" y="3857552"/>
            <a:ext cx="133267" cy="21921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Rectangle 60">
            <a:extLst>
              <a:ext uri="{FF2B5EF4-FFF2-40B4-BE49-F238E27FC236}">
                <a16:creationId xmlns:a16="http://schemas.microsoft.com/office/drawing/2014/main" id="{253E15EB-0773-7DD8-70BD-166E47000284}"/>
              </a:ext>
            </a:extLst>
          </p:cNvPr>
          <p:cNvSpPr/>
          <p:nvPr/>
        </p:nvSpPr>
        <p:spPr bwMode="gray">
          <a:xfrm>
            <a:off x="3606222" y="2881632"/>
            <a:ext cx="133264" cy="6337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2" name="Graphic 61" descr="Electric Tower outline">
            <a:extLst>
              <a:ext uri="{FF2B5EF4-FFF2-40B4-BE49-F238E27FC236}">
                <a16:creationId xmlns:a16="http://schemas.microsoft.com/office/drawing/2014/main" id="{3799C2D5-3F69-D6EF-7C49-F89717DE3C2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66125" y="1773240"/>
            <a:ext cx="453105" cy="634173"/>
          </a:xfrm>
          <a:prstGeom prst="rect">
            <a:avLst/>
          </a:prstGeom>
        </p:spPr>
      </p:pic>
      <p:sp>
        <p:nvSpPr>
          <p:cNvPr id="63" name="Triangle 62">
            <a:extLst>
              <a:ext uri="{FF2B5EF4-FFF2-40B4-BE49-F238E27FC236}">
                <a16:creationId xmlns:a16="http://schemas.microsoft.com/office/drawing/2014/main" id="{7A02D2E3-3DC3-DBBE-98F6-D51F373DFAF2}"/>
              </a:ext>
            </a:extLst>
          </p:cNvPr>
          <p:cNvSpPr/>
          <p:nvPr/>
        </p:nvSpPr>
        <p:spPr bwMode="gray">
          <a:xfrm>
            <a:off x="1957002" y="1834702"/>
            <a:ext cx="140956" cy="92556"/>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Triangle 63">
            <a:extLst>
              <a:ext uri="{FF2B5EF4-FFF2-40B4-BE49-F238E27FC236}">
                <a16:creationId xmlns:a16="http://schemas.microsoft.com/office/drawing/2014/main" id="{B0436E93-00E7-1996-DD6B-6B4ACCA2602C}"/>
              </a:ext>
            </a:extLst>
          </p:cNvPr>
          <p:cNvSpPr/>
          <p:nvPr/>
        </p:nvSpPr>
        <p:spPr bwMode="gray">
          <a:xfrm>
            <a:off x="2338146" y="1834702"/>
            <a:ext cx="140956" cy="92556"/>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5" name="Straight Connector 64">
            <a:extLst>
              <a:ext uri="{FF2B5EF4-FFF2-40B4-BE49-F238E27FC236}">
                <a16:creationId xmlns:a16="http://schemas.microsoft.com/office/drawing/2014/main" id="{6683849A-4D1C-0C24-EC93-7907C8C4AC11}"/>
              </a:ext>
            </a:extLst>
          </p:cNvPr>
          <p:cNvCxnSpPr>
            <a:stCxn id="63" idx="0"/>
          </p:cNvCxnSpPr>
          <p:nvPr/>
        </p:nvCxnSpPr>
        <p:spPr bwMode="gray">
          <a:xfrm flipH="1" flipV="1">
            <a:off x="2027479" y="1590160"/>
            <a:ext cx="1" cy="24454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7D35991-B9CE-638D-CADB-44BD8D17B598}"/>
              </a:ext>
            </a:extLst>
          </p:cNvPr>
          <p:cNvCxnSpPr>
            <a:cxnSpLocks/>
          </p:cNvCxnSpPr>
          <p:nvPr/>
        </p:nvCxnSpPr>
        <p:spPr bwMode="gray">
          <a:xfrm flipV="1">
            <a:off x="2404221" y="1346399"/>
            <a:ext cx="0" cy="48830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F4F3C6F-3646-95AC-4163-D3B8966F4AC7}"/>
              </a:ext>
            </a:extLst>
          </p:cNvPr>
          <p:cNvCxnSpPr/>
          <p:nvPr/>
        </p:nvCxnSpPr>
        <p:spPr bwMode="gray">
          <a:xfrm flipV="1">
            <a:off x="366125" y="1590160"/>
            <a:ext cx="1661354" cy="63417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CD8288-2CF3-2810-D12F-5C11FE8F8582}"/>
              </a:ext>
            </a:extLst>
          </p:cNvPr>
          <p:cNvCxnSpPr>
            <a:cxnSpLocks/>
          </p:cNvCxnSpPr>
          <p:nvPr/>
        </p:nvCxnSpPr>
        <p:spPr bwMode="gray">
          <a:xfrm flipV="1">
            <a:off x="366125" y="1362217"/>
            <a:ext cx="2038096" cy="74911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AA9EA3B-18CE-BAA8-F167-DB6FB92474A9}"/>
              </a:ext>
            </a:extLst>
          </p:cNvPr>
          <p:cNvSpPr txBox="1"/>
          <p:nvPr/>
        </p:nvSpPr>
        <p:spPr bwMode="gray">
          <a:xfrm>
            <a:off x="911318" y="3303015"/>
            <a:ext cx="681213" cy="246012"/>
          </a:xfrm>
          <a:prstGeom prst="rect">
            <a:avLst/>
          </a:prstGeom>
          <a:noFill/>
        </p:spPr>
        <p:txBody>
          <a:bodyPr wrap="none" lIns="36000" tIns="36000" rIns="36000" bIns="36000" rtlCol="0">
            <a:spAutoFit/>
          </a:bodyPr>
          <a:lstStyle/>
          <a:p>
            <a:pPr marL="0" indent="0">
              <a:buNone/>
            </a:pPr>
            <a:r>
              <a:rPr lang="en-US" sz="1000" dirty="0"/>
              <a:t>Wellhead</a:t>
            </a:r>
          </a:p>
        </p:txBody>
      </p:sp>
      <p:sp>
        <p:nvSpPr>
          <p:cNvPr id="70" name="TextBox 69">
            <a:extLst>
              <a:ext uri="{FF2B5EF4-FFF2-40B4-BE49-F238E27FC236}">
                <a16:creationId xmlns:a16="http://schemas.microsoft.com/office/drawing/2014/main" id="{4708161C-6B0A-544A-6B44-56E9F2734A91}"/>
              </a:ext>
            </a:extLst>
          </p:cNvPr>
          <p:cNvSpPr txBox="1"/>
          <p:nvPr/>
        </p:nvSpPr>
        <p:spPr bwMode="gray">
          <a:xfrm>
            <a:off x="2923810" y="3303015"/>
            <a:ext cx="681213" cy="246012"/>
          </a:xfrm>
          <a:prstGeom prst="rect">
            <a:avLst/>
          </a:prstGeom>
          <a:noFill/>
        </p:spPr>
        <p:txBody>
          <a:bodyPr wrap="none" lIns="36000" tIns="36000" rIns="36000" bIns="36000" rtlCol="0">
            <a:spAutoFit/>
          </a:bodyPr>
          <a:lstStyle/>
          <a:p>
            <a:pPr marL="0" indent="0">
              <a:buNone/>
            </a:pPr>
            <a:r>
              <a:rPr lang="en-US" sz="1000" dirty="0"/>
              <a:t>Wellhead</a:t>
            </a:r>
          </a:p>
        </p:txBody>
      </p:sp>
      <p:sp>
        <p:nvSpPr>
          <p:cNvPr id="71" name="TextBox 70">
            <a:extLst>
              <a:ext uri="{FF2B5EF4-FFF2-40B4-BE49-F238E27FC236}">
                <a16:creationId xmlns:a16="http://schemas.microsoft.com/office/drawing/2014/main" id="{6BB430FF-A285-2F7E-EF0A-C15A0A16C4A3}"/>
              </a:ext>
            </a:extLst>
          </p:cNvPr>
          <p:cNvSpPr txBox="1"/>
          <p:nvPr/>
        </p:nvSpPr>
        <p:spPr bwMode="gray">
          <a:xfrm>
            <a:off x="1720218" y="3902979"/>
            <a:ext cx="1071144" cy="246012"/>
          </a:xfrm>
          <a:prstGeom prst="rect">
            <a:avLst/>
          </a:prstGeom>
          <a:noFill/>
        </p:spPr>
        <p:txBody>
          <a:bodyPr wrap="none" lIns="36000" tIns="36000" rIns="36000" bIns="36000" rtlCol="0">
            <a:spAutoFit/>
          </a:bodyPr>
          <a:lstStyle/>
          <a:p>
            <a:pPr marL="0" indent="0">
              <a:buNone/>
            </a:pPr>
            <a:r>
              <a:rPr lang="en-US" sz="1000" dirty="0"/>
              <a:t>Ground surface</a:t>
            </a:r>
          </a:p>
        </p:txBody>
      </p:sp>
      <p:sp>
        <p:nvSpPr>
          <p:cNvPr id="72" name="TextBox 71">
            <a:extLst>
              <a:ext uri="{FF2B5EF4-FFF2-40B4-BE49-F238E27FC236}">
                <a16:creationId xmlns:a16="http://schemas.microsoft.com/office/drawing/2014/main" id="{D9B3A893-B581-B9A8-9624-EEA3D28E51B2}"/>
              </a:ext>
            </a:extLst>
          </p:cNvPr>
          <p:cNvSpPr txBox="1"/>
          <p:nvPr/>
        </p:nvSpPr>
        <p:spPr bwMode="gray">
          <a:xfrm rot="16200000">
            <a:off x="3258213" y="4827755"/>
            <a:ext cx="1220453" cy="226591"/>
          </a:xfrm>
          <a:prstGeom prst="rect">
            <a:avLst/>
          </a:prstGeom>
          <a:noFill/>
        </p:spPr>
        <p:txBody>
          <a:bodyPr wrap="none" lIns="36000" tIns="36000" rIns="36000" bIns="36000" rtlCol="0">
            <a:spAutoFit/>
          </a:bodyPr>
          <a:lstStyle/>
          <a:p>
            <a:pPr marL="0" indent="0">
              <a:buNone/>
            </a:pPr>
            <a:r>
              <a:rPr lang="en-US" sz="1000" dirty="0"/>
              <a:t>Subsurface injection</a:t>
            </a:r>
          </a:p>
        </p:txBody>
      </p:sp>
      <p:sp>
        <p:nvSpPr>
          <p:cNvPr id="73" name="Up Arrow 72">
            <a:extLst>
              <a:ext uri="{FF2B5EF4-FFF2-40B4-BE49-F238E27FC236}">
                <a16:creationId xmlns:a16="http://schemas.microsoft.com/office/drawing/2014/main" id="{468D1916-0E03-8556-1B55-AEC906AF5D4D}"/>
              </a:ext>
            </a:extLst>
          </p:cNvPr>
          <p:cNvSpPr/>
          <p:nvPr/>
        </p:nvSpPr>
        <p:spPr bwMode="gray">
          <a:xfrm>
            <a:off x="831078" y="2909935"/>
            <a:ext cx="51487" cy="12583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4" name="Up Arrow 73">
            <a:extLst>
              <a:ext uri="{FF2B5EF4-FFF2-40B4-BE49-F238E27FC236}">
                <a16:creationId xmlns:a16="http://schemas.microsoft.com/office/drawing/2014/main" id="{D775A354-8203-C839-D2C1-FA938E32B016}"/>
              </a:ext>
            </a:extLst>
          </p:cNvPr>
          <p:cNvSpPr/>
          <p:nvPr/>
        </p:nvSpPr>
        <p:spPr bwMode="gray">
          <a:xfrm>
            <a:off x="831078" y="4465420"/>
            <a:ext cx="51487" cy="12583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Up Arrow 74">
            <a:extLst>
              <a:ext uri="{FF2B5EF4-FFF2-40B4-BE49-F238E27FC236}">
                <a16:creationId xmlns:a16="http://schemas.microsoft.com/office/drawing/2014/main" id="{AE4BA2D5-2BFB-C483-E8E9-2DCE35A69BF8}"/>
              </a:ext>
            </a:extLst>
          </p:cNvPr>
          <p:cNvSpPr/>
          <p:nvPr/>
        </p:nvSpPr>
        <p:spPr bwMode="gray">
          <a:xfrm rot="10800000">
            <a:off x="3645752" y="4465420"/>
            <a:ext cx="51487" cy="12583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Up Arrow 75">
            <a:extLst>
              <a:ext uri="{FF2B5EF4-FFF2-40B4-BE49-F238E27FC236}">
                <a16:creationId xmlns:a16="http://schemas.microsoft.com/office/drawing/2014/main" id="{EADF11A5-3D2F-FE97-B4CF-A333D554DA19}"/>
              </a:ext>
            </a:extLst>
          </p:cNvPr>
          <p:cNvSpPr/>
          <p:nvPr/>
        </p:nvSpPr>
        <p:spPr bwMode="gray">
          <a:xfrm rot="10800000">
            <a:off x="3651328" y="3074923"/>
            <a:ext cx="51487" cy="12583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7" name="Up Arrow 76">
            <a:extLst>
              <a:ext uri="{FF2B5EF4-FFF2-40B4-BE49-F238E27FC236}">
                <a16:creationId xmlns:a16="http://schemas.microsoft.com/office/drawing/2014/main" id="{3F7967FC-0682-D7A1-45C5-3473FB3FB200}"/>
              </a:ext>
            </a:extLst>
          </p:cNvPr>
          <p:cNvSpPr/>
          <p:nvPr/>
        </p:nvSpPr>
        <p:spPr bwMode="gray">
          <a:xfrm>
            <a:off x="3261650" y="1806578"/>
            <a:ext cx="51487" cy="12583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78" name="Group 77">
            <a:extLst>
              <a:ext uri="{FF2B5EF4-FFF2-40B4-BE49-F238E27FC236}">
                <a16:creationId xmlns:a16="http://schemas.microsoft.com/office/drawing/2014/main" id="{A39478AA-6A5F-EF9B-2B50-F2E63E12D405}"/>
              </a:ext>
            </a:extLst>
          </p:cNvPr>
          <p:cNvGrpSpPr/>
          <p:nvPr/>
        </p:nvGrpSpPr>
        <p:grpSpPr>
          <a:xfrm>
            <a:off x="964867" y="5658526"/>
            <a:ext cx="130524" cy="273010"/>
            <a:chOff x="972443" y="5691173"/>
            <a:chExt cx="115902" cy="251458"/>
          </a:xfrm>
        </p:grpSpPr>
        <p:sp>
          <p:nvSpPr>
            <p:cNvPr id="79" name="Up Arrow 78">
              <a:extLst>
                <a:ext uri="{FF2B5EF4-FFF2-40B4-BE49-F238E27FC236}">
                  <a16:creationId xmlns:a16="http://schemas.microsoft.com/office/drawing/2014/main" id="{CA8B5540-EBE0-9293-AB45-A95DB19C8D27}"/>
                </a:ext>
              </a:extLst>
            </p:cNvPr>
            <p:cNvSpPr/>
            <p:nvPr/>
          </p:nvSpPr>
          <p:spPr bwMode="gray">
            <a:xfrm rot="16200000">
              <a:off x="1007534" y="57589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Up Arrow 79">
              <a:extLst>
                <a:ext uri="{FF2B5EF4-FFF2-40B4-BE49-F238E27FC236}">
                  <a16:creationId xmlns:a16="http://schemas.microsoft.com/office/drawing/2014/main" id="{C5100FC1-6F41-5757-FEBF-863639DD8E26}"/>
                </a:ext>
              </a:extLst>
            </p:cNvPr>
            <p:cNvSpPr/>
            <p:nvPr/>
          </p:nvSpPr>
          <p:spPr bwMode="gray">
            <a:xfrm rot="14470877">
              <a:off x="1007534" y="56560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Up Arrow 80">
              <a:extLst>
                <a:ext uri="{FF2B5EF4-FFF2-40B4-BE49-F238E27FC236}">
                  <a16:creationId xmlns:a16="http://schemas.microsoft.com/office/drawing/2014/main" id="{01BBEF92-D8DA-B145-56F2-6FB8BC0194DC}"/>
                </a:ext>
              </a:extLst>
            </p:cNvPr>
            <p:cNvSpPr/>
            <p:nvPr/>
          </p:nvSpPr>
          <p:spPr bwMode="gray">
            <a:xfrm rot="18286233">
              <a:off x="1007535" y="58618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82" name="Group 81">
            <a:extLst>
              <a:ext uri="{FF2B5EF4-FFF2-40B4-BE49-F238E27FC236}">
                <a16:creationId xmlns:a16="http://schemas.microsoft.com/office/drawing/2014/main" id="{E3A303C8-52C0-C6BF-C79D-891402B68F80}"/>
              </a:ext>
            </a:extLst>
          </p:cNvPr>
          <p:cNvGrpSpPr/>
          <p:nvPr/>
        </p:nvGrpSpPr>
        <p:grpSpPr>
          <a:xfrm rot="10800000">
            <a:off x="603444" y="5658525"/>
            <a:ext cx="130524" cy="273010"/>
            <a:chOff x="1124843" y="5843573"/>
            <a:chExt cx="115902" cy="251458"/>
          </a:xfrm>
        </p:grpSpPr>
        <p:sp>
          <p:nvSpPr>
            <p:cNvPr id="83" name="Up Arrow 82">
              <a:extLst>
                <a:ext uri="{FF2B5EF4-FFF2-40B4-BE49-F238E27FC236}">
                  <a16:creationId xmlns:a16="http://schemas.microsoft.com/office/drawing/2014/main" id="{64E759B0-5611-708F-A263-7B2D0B882031}"/>
                </a:ext>
              </a:extLst>
            </p:cNvPr>
            <p:cNvSpPr/>
            <p:nvPr/>
          </p:nvSpPr>
          <p:spPr bwMode="gray">
            <a:xfrm rot="16200000">
              <a:off x="1159934" y="59113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Up Arrow 83">
              <a:extLst>
                <a:ext uri="{FF2B5EF4-FFF2-40B4-BE49-F238E27FC236}">
                  <a16:creationId xmlns:a16="http://schemas.microsoft.com/office/drawing/2014/main" id="{0C845235-1FF9-072D-A8C5-87B791EB9F90}"/>
                </a:ext>
              </a:extLst>
            </p:cNvPr>
            <p:cNvSpPr/>
            <p:nvPr/>
          </p:nvSpPr>
          <p:spPr bwMode="gray">
            <a:xfrm rot="14470877">
              <a:off x="1159934" y="58084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5" name="Up Arrow 84">
              <a:extLst>
                <a:ext uri="{FF2B5EF4-FFF2-40B4-BE49-F238E27FC236}">
                  <a16:creationId xmlns:a16="http://schemas.microsoft.com/office/drawing/2014/main" id="{CF8833BA-CFC3-00C5-05E5-E45CAD51FB57}"/>
                </a:ext>
              </a:extLst>
            </p:cNvPr>
            <p:cNvSpPr/>
            <p:nvPr/>
          </p:nvSpPr>
          <p:spPr bwMode="gray">
            <a:xfrm rot="18286233">
              <a:off x="1159935" y="60142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86" name="Up Arrow 85">
            <a:extLst>
              <a:ext uri="{FF2B5EF4-FFF2-40B4-BE49-F238E27FC236}">
                <a16:creationId xmlns:a16="http://schemas.microsoft.com/office/drawing/2014/main" id="{CFECC329-EC24-9A19-936B-4AE58C63A68A}"/>
              </a:ext>
            </a:extLst>
          </p:cNvPr>
          <p:cNvSpPr/>
          <p:nvPr/>
        </p:nvSpPr>
        <p:spPr bwMode="gray">
          <a:xfrm rot="16200000">
            <a:off x="3396430" y="5729768"/>
            <a:ext cx="49638" cy="130523"/>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Up Arrow 86">
            <a:extLst>
              <a:ext uri="{FF2B5EF4-FFF2-40B4-BE49-F238E27FC236}">
                <a16:creationId xmlns:a16="http://schemas.microsoft.com/office/drawing/2014/main" id="{A436F336-9B5F-1012-D794-B2A61FFDD3FF}"/>
              </a:ext>
            </a:extLst>
          </p:cNvPr>
          <p:cNvSpPr/>
          <p:nvPr/>
        </p:nvSpPr>
        <p:spPr bwMode="gray">
          <a:xfrm rot="5400000">
            <a:off x="3856126" y="5729767"/>
            <a:ext cx="49638" cy="130523"/>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88" name="Graphic 87" descr="Badge 1 with solid fill">
            <a:extLst>
              <a:ext uri="{FF2B5EF4-FFF2-40B4-BE49-F238E27FC236}">
                <a16:creationId xmlns:a16="http://schemas.microsoft.com/office/drawing/2014/main" id="{65E4C6DD-C1A6-F7AE-C06C-6BC13EF7DC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1976" y="5449677"/>
            <a:ext cx="190357" cy="183520"/>
          </a:xfrm>
          <a:prstGeom prst="rect">
            <a:avLst/>
          </a:prstGeom>
        </p:spPr>
      </p:pic>
      <p:pic>
        <p:nvPicPr>
          <p:cNvPr id="89" name="Graphic 88" descr="Badge with solid fill">
            <a:extLst>
              <a:ext uri="{FF2B5EF4-FFF2-40B4-BE49-F238E27FC236}">
                <a16:creationId xmlns:a16="http://schemas.microsoft.com/office/drawing/2014/main" id="{085ACFBD-58B7-8975-34EC-F50B6699D4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48532" y="2103058"/>
            <a:ext cx="195654" cy="188627"/>
          </a:xfrm>
          <a:prstGeom prst="rect">
            <a:avLst/>
          </a:prstGeom>
        </p:spPr>
      </p:pic>
      <p:pic>
        <p:nvPicPr>
          <p:cNvPr id="90" name="Graphic 89" descr="Badge 4 with solid fill">
            <a:extLst>
              <a:ext uri="{FF2B5EF4-FFF2-40B4-BE49-F238E27FC236}">
                <a16:creationId xmlns:a16="http://schemas.microsoft.com/office/drawing/2014/main" id="{C89B964A-C065-45DF-FAFD-5AFE6B7D161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31487" y="4023277"/>
            <a:ext cx="195654" cy="188627"/>
          </a:xfrm>
          <a:prstGeom prst="rect">
            <a:avLst/>
          </a:prstGeom>
        </p:spPr>
      </p:pic>
      <p:pic>
        <p:nvPicPr>
          <p:cNvPr id="91" name="Graphic 90" descr="Badge 3 with solid fill">
            <a:extLst>
              <a:ext uri="{FF2B5EF4-FFF2-40B4-BE49-F238E27FC236}">
                <a16:creationId xmlns:a16="http://schemas.microsoft.com/office/drawing/2014/main" id="{4CA58CE6-1CA4-5EFD-91C2-F5E112A6EF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75859" y="2904646"/>
            <a:ext cx="195654" cy="188627"/>
          </a:xfrm>
          <a:prstGeom prst="rect">
            <a:avLst/>
          </a:prstGeom>
        </p:spPr>
      </p:pic>
      <p:cxnSp>
        <p:nvCxnSpPr>
          <p:cNvPr id="92" name="Straight Connector 91">
            <a:extLst>
              <a:ext uri="{FF2B5EF4-FFF2-40B4-BE49-F238E27FC236}">
                <a16:creationId xmlns:a16="http://schemas.microsoft.com/office/drawing/2014/main" id="{148A6D64-54C0-2E86-7FAC-A1C6FEEA9353}"/>
              </a:ext>
            </a:extLst>
          </p:cNvPr>
          <p:cNvCxnSpPr>
            <a:cxnSpLocks/>
          </p:cNvCxnSpPr>
          <p:nvPr/>
        </p:nvCxnSpPr>
        <p:spPr bwMode="gray">
          <a:xfrm>
            <a:off x="4502744" y="3153560"/>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6B303A7-96F7-CA95-8327-56C9AF50883B}"/>
              </a:ext>
            </a:extLst>
          </p:cNvPr>
          <p:cNvCxnSpPr>
            <a:cxnSpLocks/>
          </p:cNvCxnSpPr>
          <p:nvPr/>
        </p:nvCxnSpPr>
        <p:spPr bwMode="gray">
          <a:xfrm>
            <a:off x="4502744" y="4095412"/>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A57CA59-091E-57E5-99AA-6ACB16268F6B}"/>
              </a:ext>
            </a:extLst>
          </p:cNvPr>
          <p:cNvCxnSpPr>
            <a:cxnSpLocks/>
          </p:cNvCxnSpPr>
          <p:nvPr/>
        </p:nvCxnSpPr>
        <p:spPr bwMode="gray">
          <a:xfrm>
            <a:off x="4502744" y="5037264"/>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B8DE79A-F4DE-D271-0DFF-AF2F41928549}"/>
              </a:ext>
            </a:extLst>
          </p:cNvPr>
          <p:cNvSpPr txBox="1"/>
          <p:nvPr/>
        </p:nvSpPr>
        <p:spPr bwMode="gray">
          <a:xfrm>
            <a:off x="8359448" y="2132629"/>
            <a:ext cx="3247533" cy="1072977"/>
          </a:xfrm>
          <a:prstGeom prst="rect">
            <a:avLst/>
          </a:prstGeom>
          <a:noFill/>
        </p:spPr>
        <p:txBody>
          <a:bodyPr wrap="square" lIns="36000" tIns="36000" rIns="36000" bIns="36000" rtlCol="0">
            <a:spAutoFit/>
          </a:bodyPr>
          <a:lstStyle/>
          <a:p>
            <a:r>
              <a:rPr lang="en-US" sz="1100" b="1" dirty="0"/>
              <a:t>Proven and mature technology </a:t>
            </a:r>
            <a:r>
              <a:rPr lang="en-US" sz="1100" dirty="0"/>
              <a:t>– first geothermal plants (e.g., the Geysers, California) use dry steam </a:t>
            </a:r>
          </a:p>
          <a:p>
            <a:r>
              <a:rPr lang="en-US" sz="1100" b="1" dirty="0"/>
              <a:t>Lower plant complexity </a:t>
            </a:r>
            <a:r>
              <a:rPr lang="en-US" sz="1100" dirty="0"/>
              <a:t>–</a:t>
            </a:r>
            <a:r>
              <a:rPr lang="en-US" sz="1100" b="1" dirty="0"/>
              <a:t> </a:t>
            </a:r>
            <a:r>
              <a:rPr lang="en-US" sz="1100" dirty="0"/>
              <a:t>simpler design compared to flash or binary cycle plants</a:t>
            </a:r>
          </a:p>
        </p:txBody>
      </p:sp>
      <p:sp>
        <p:nvSpPr>
          <p:cNvPr id="96" name="TextBox 95">
            <a:extLst>
              <a:ext uri="{FF2B5EF4-FFF2-40B4-BE49-F238E27FC236}">
                <a16:creationId xmlns:a16="http://schemas.microsoft.com/office/drawing/2014/main" id="{1167A509-1056-8FF9-0125-FE7942C8EEBB}"/>
              </a:ext>
            </a:extLst>
          </p:cNvPr>
          <p:cNvSpPr txBox="1"/>
          <p:nvPr/>
        </p:nvSpPr>
        <p:spPr bwMode="gray">
          <a:xfrm>
            <a:off x="8359448" y="4535137"/>
            <a:ext cx="3247533" cy="1565419"/>
          </a:xfrm>
          <a:prstGeom prst="rect">
            <a:avLst/>
          </a:prstGeom>
          <a:noFill/>
        </p:spPr>
        <p:txBody>
          <a:bodyPr wrap="square" lIns="36000" tIns="36000" rIns="36000" bIns="36000" rtlCol="0">
            <a:spAutoFit/>
          </a:bodyPr>
          <a:lstStyle/>
          <a:p>
            <a:r>
              <a:rPr lang="en-US" sz="1100" b="1" dirty="0"/>
              <a:t>Rare resource availability </a:t>
            </a:r>
            <a:r>
              <a:rPr lang="en-US" sz="1100" dirty="0"/>
              <a:t>– requires underground reservoirs of naturally occurring steam </a:t>
            </a:r>
          </a:p>
          <a:p>
            <a:r>
              <a:rPr lang="en-US" sz="1100" b="1" dirty="0"/>
              <a:t>Resource depletion risk </a:t>
            </a:r>
            <a:r>
              <a:rPr lang="en-US" sz="1100" dirty="0"/>
              <a:t>– steam fields may decline in pressure and output over time </a:t>
            </a:r>
          </a:p>
          <a:p>
            <a:r>
              <a:rPr lang="en-US" sz="1100" b="1" dirty="0"/>
              <a:t>Potential emissions </a:t>
            </a:r>
            <a:r>
              <a:rPr lang="en-US" sz="1100" dirty="0"/>
              <a:t>– some non-condensable gases (CO2, H2S) released with steam</a:t>
            </a:r>
          </a:p>
        </p:txBody>
      </p:sp>
      <p:pic>
        <p:nvPicPr>
          <p:cNvPr id="97" name="Graphic 96" descr="Badge Follow with solid fill">
            <a:extLst>
              <a:ext uri="{FF2B5EF4-FFF2-40B4-BE49-F238E27FC236}">
                <a16:creationId xmlns:a16="http://schemas.microsoft.com/office/drawing/2014/main" id="{5CCBF446-0DEB-01ED-04EA-02A46B79D16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350628" y="1703390"/>
            <a:ext cx="292608" cy="292608"/>
          </a:xfrm>
          <a:prstGeom prst="rect">
            <a:avLst/>
          </a:prstGeom>
        </p:spPr>
      </p:pic>
      <p:pic>
        <p:nvPicPr>
          <p:cNvPr id="98" name="Graphic 97" descr="Badge Unfollow with solid fill">
            <a:extLst>
              <a:ext uri="{FF2B5EF4-FFF2-40B4-BE49-F238E27FC236}">
                <a16:creationId xmlns:a16="http://schemas.microsoft.com/office/drawing/2014/main" id="{79B16EF8-DD51-F8BD-85C5-ABB1D4E58DA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354401" y="4066010"/>
            <a:ext cx="292608" cy="292608"/>
          </a:xfrm>
          <a:prstGeom prst="rect">
            <a:avLst/>
          </a:prstGeom>
        </p:spPr>
      </p:pic>
      <p:cxnSp>
        <p:nvCxnSpPr>
          <p:cNvPr id="99" name="Straight Connector 98">
            <a:extLst>
              <a:ext uri="{FF2B5EF4-FFF2-40B4-BE49-F238E27FC236}">
                <a16:creationId xmlns:a16="http://schemas.microsoft.com/office/drawing/2014/main" id="{714ACB8F-7831-DE80-D1A1-FD989A1A0581}"/>
              </a:ext>
            </a:extLst>
          </p:cNvPr>
          <p:cNvCxnSpPr>
            <a:cxnSpLocks/>
          </p:cNvCxnSpPr>
          <p:nvPr/>
        </p:nvCxnSpPr>
        <p:spPr bwMode="gray">
          <a:xfrm>
            <a:off x="8354401" y="204263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00" name="Graphic 99" descr="Single gear with solid fill">
            <a:extLst>
              <a:ext uri="{FF2B5EF4-FFF2-40B4-BE49-F238E27FC236}">
                <a16:creationId xmlns:a16="http://schemas.microsoft.com/office/drawing/2014/main" id="{354AB338-6DE8-5158-52EB-9055187F34C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2461" y="1691560"/>
            <a:ext cx="365760" cy="365760"/>
          </a:xfrm>
          <a:prstGeom prst="rect">
            <a:avLst/>
          </a:prstGeom>
        </p:spPr>
      </p:pic>
      <p:grpSp>
        <p:nvGrpSpPr>
          <p:cNvPr id="101" name="Group 100">
            <a:extLst>
              <a:ext uri="{FF2B5EF4-FFF2-40B4-BE49-F238E27FC236}">
                <a16:creationId xmlns:a16="http://schemas.microsoft.com/office/drawing/2014/main" id="{5B831188-4593-0845-8640-C6683CA0D23F}"/>
              </a:ext>
            </a:extLst>
          </p:cNvPr>
          <p:cNvGrpSpPr/>
          <p:nvPr/>
        </p:nvGrpSpPr>
        <p:grpSpPr>
          <a:xfrm>
            <a:off x="330200" y="1201000"/>
            <a:ext cx="947784" cy="352445"/>
            <a:chOff x="330200" y="1201000"/>
            <a:chExt cx="947784" cy="352445"/>
          </a:xfrm>
        </p:grpSpPr>
        <p:sp>
          <p:nvSpPr>
            <p:cNvPr id="102" name="Rectangle 101">
              <a:extLst>
                <a:ext uri="{FF2B5EF4-FFF2-40B4-BE49-F238E27FC236}">
                  <a16:creationId xmlns:a16="http://schemas.microsoft.com/office/drawing/2014/main" id="{3B4CF3D9-C79E-3F6D-7856-0CCDB88CF8CF}"/>
                </a:ext>
              </a:extLst>
            </p:cNvPr>
            <p:cNvSpPr/>
            <p:nvPr/>
          </p:nvSpPr>
          <p:spPr bwMode="gray">
            <a:xfrm>
              <a:off x="330200" y="1201000"/>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Rectangle 102">
              <a:extLst>
                <a:ext uri="{FF2B5EF4-FFF2-40B4-BE49-F238E27FC236}">
                  <a16:creationId xmlns:a16="http://schemas.microsoft.com/office/drawing/2014/main" id="{CBA33596-9F3C-2243-0DAA-C7E245B12912}"/>
                </a:ext>
              </a:extLst>
            </p:cNvPr>
            <p:cNvSpPr/>
            <p:nvPr/>
          </p:nvSpPr>
          <p:spPr bwMode="gray">
            <a:xfrm>
              <a:off x="332313" y="1396211"/>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TextBox 103">
              <a:extLst>
                <a:ext uri="{FF2B5EF4-FFF2-40B4-BE49-F238E27FC236}">
                  <a16:creationId xmlns:a16="http://schemas.microsoft.com/office/drawing/2014/main" id="{500F3FD2-D074-581A-BDD1-54B545F095CF}"/>
                </a:ext>
              </a:extLst>
            </p:cNvPr>
            <p:cNvSpPr txBox="1"/>
            <p:nvPr/>
          </p:nvSpPr>
          <p:spPr bwMode="gray">
            <a:xfrm>
              <a:off x="506418" y="1201000"/>
              <a:ext cx="771566" cy="15723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105" name="TextBox 104">
              <a:extLst>
                <a:ext uri="{FF2B5EF4-FFF2-40B4-BE49-F238E27FC236}">
                  <a16:creationId xmlns:a16="http://schemas.microsoft.com/office/drawing/2014/main" id="{1A3E3888-7E07-4F09-C6B3-DF8C5C530923}"/>
                </a:ext>
              </a:extLst>
            </p:cNvPr>
            <p:cNvSpPr txBox="1"/>
            <p:nvPr/>
          </p:nvSpPr>
          <p:spPr bwMode="gray">
            <a:xfrm>
              <a:off x="504540" y="1396211"/>
              <a:ext cx="747385" cy="157234"/>
            </a:xfrm>
            <a:prstGeom prst="rect">
              <a:avLst/>
            </a:prstGeom>
            <a:noFill/>
          </p:spPr>
          <p:txBody>
            <a:bodyPr wrap="none" lIns="36000" tIns="36000" rIns="36000" bIns="36000" rtlCol="0">
              <a:spAutoFit/>
            </a:bodyPr>
            <a:lstStyle/>
            <a:p>
              <a:pPr marL="0" indent="0">
                <a:buNone/>
              </a:pPr>
              <a:r>
                <a:rPr lang="en-US" sz="800" dirty="0"/>
                <a:t>Geothermal water</a:t>
              </a:r>
            </a:p>
          </p:txBody>
        </p:sp>
      </p:grpSp>
    </p:spTree>
    <p:extLst>
      <p:ext uri="{BB962C8B-B14F-4D97-AF65-F5344CB8AC3E}">
        <p14:creationId xmlns:p14="http://schemas.microsoft.com/office/powerpoint/2010/main" val="35662068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38E14-99C1-03F7-D870-8F4130248A2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6F8D87C-952C-7861-D214-F839BD5DD72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DDCB567-B3EA-1C09-AEA9-95510A33EC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FC0DF7-2EB3-57B2-6383-85D4451BB3AD}"/>
              </a:ext>
            </a:extLst>
          </p:cNvPr>
          <p:cNvSpPr>
            <a:spLocks noGrp="1"/>
          </p:cNvSpPr>
          <p:nvPr>
            <p:ph type="title"/>
          </p:nvPr>
        </p:nvSpPr>
        <p:spPr/>
        <p:txBody>
          <a:bodyPr vert="horz" rIns="91440"/>
          <a:lstStyle/>
          <a:p>
            <a:r>
              <a:rPr lang="en-US" dirty="0"/>
              <a:t>Deep-dive on technology: Single/double flash cycle (2/3)</a:t>
            </a:r>
          </a:p>
        </p:txBody>
      </p:sp>
      <p:sp>
        <p:nvSpPr>
          <p:cNvPr id="4" name="Footer Placeholder 3">
            <a:extLst>
              <a:ext uri="{FF2B5EF4-FFF2-40B4-BE49-F238E27FC236}">
                <a16:creationId xmlns:a16="http://schemas.microsoft.com/office/drawing/2014/main" id="{18434185-E8CA-6EE0-0994-4F451859D6FF}"/>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lobal Geothermal Market and Technology Assessment</a:t>
            </a:r>
            <a:r>
              <a:rPr lang="en-US" dirty="0">
                <a:solidFill>
                  <a:srgbClr val="000000"/>
                </a:solidFill>
              </a:rPr>
              <a:t> (IRENA, 2023); </a:t>
            </a:r>
            <a:r>
              <a:rPr lang="en-US" dirty="0">
                <a:solidFill>
                  <a:srgbClr val="000000"/>
                </a:solidFill>
                <a:hlinkClick r:id="rId6"/>
              </a:rPr>
              <a:t>Exploring geothermal energy-based systems: Review from basics to smart systems</a:t>
            </a:r>
            <a:r>
              <a:rPr lang="en-US" dirty="0">
                <a:solidFill>
                  <a:srgbClr val="000000"/>
                </a:solidFill>
              </a:rPr>
              <a:t> </a:t>
            </a:r>
            <a:r>
              <a:rPr lang="en-US" dirty="0">
                <a:solidFill>
                  <a:srgbClr val="000000"/>
                </a:solidFill>
                <a:hlinkClick r:id="rId6"/>
              </a:rPr>
              <a:t>(</a:t>
            </a:r>
            <a:r>
              <a:rPr lang="en-US" dirty="0">
                <a:solidFill>
                  <a:srgbClr val="000000"/>
                </a:solidFill>
              </a:rPr>
              <a:t>Renewable and Sustainable Energy Reviews, 2025); </a:t>
            </a:r>
            <a:r>
              <a:rPr lang="en-US" dirty="0">
                <a:solidFill>
                  <a:srgbClr val="000000"/>
                </a:solidFill>
                <a:hlinkClick r:id="rId7"/>
              </a:rPr>
              <a:t>Geothermal technology: Trends and potential role in a sustainable future</a:t>
            </a:r>
            <a:r>
              <a:rPr lang="en-US" dirty="0">
                <a:solidFill>
                  <a:srgbClr val="000000"/>
                </a:solidFill>
              </a:rPr>
              <a:t> (Applied Energy, 2019).</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66408AFB-843A-9444-D699-53CB3390E47C}"/>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
        <p:nvSpPr>
          <p:cNvPr id="8" name="Oval 7">
            <a:extLst>
              <a:ext uri="{FF2B5EF4-FFF2-40B4-BE49-F238E27FC236}">
                <a16:creationId xmlns:a16="http://schemas.microsoft.com/office/drawing/2014/main" id="{CD120692-C4A4-C196-DEB0-E9F4B204C0E9}"/>
              </a:ext>
            </a:extLst>
          </p:cNvPr>
          <p:cNvSpPr>
            <a:spLocks noChangeAspect="1"/>
          </p:cNvSpPr>
          <p:nvPr/>
        </p:nvSpPr>
        <p:spPr bwMode="gray">
          <a:xfrm>
            <a:off x="54230" y="558865"/>
            <a:ext cx="274320" cy="274320"/>
          </a:xfrm>
          <a:prstGeom prst="ellipse">
            <a:avLst/>
          </a:prstGeom>
          <a:solidFill>
            <a:srgbClr val="009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25978D6D-EADD-BDB5-F549-5C41094C64A8}"/>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solidFill>
                  <a:schemeClr val="bg1"/>
                </a:solidFill>
              </a:rPr>
              <a:t>B</a:t>
            </a:r>
          </a:p>
        </p:txBody>
      </p:sp>
      <p:sp>
        <p:nvSpPr>
          <p:cNvPr id="2" name="Rounded Rectangle 1">
            <a:extLst>
              <a:ext uri="{FF2B5EF4-FFF2-40B4-BE49-F238E27FC236}">
                <a16:creationId xmlns:a16="http://schemas.microsoft.com/office/drawing/2014/main" id="{C566063E-556D-43DC-E16F-0CF4F3420670}"/>
              </a:ext>
            </a:extLst>
          </p:cNvPr>
          <p:cNvSpPr/>
          <p:nvPr/>
        </p:nvSpPr>
        <p:spPr bwMode="gray">
          <a:xfrm>
            <a:off x="4184996" y="1594632"/>
            <a:ext cx="3756314" cy="4703297"/>
          </a:xfrm>
          <a:prstGeom prst="roundRect">
            <a:avLst>
              <a:gd name="adj" fmla="val 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 name="Graphic 5" descr="Badge 1 with solid fill">
            <a:extLst>
              <a:ext uri="{FF2B5EF4-FFF2-40B4-BE49-F238E27FC236}">
                <a16:creationId xmlns:a16="http://schemas.microsoft.com/office/drawing/2014/main" id="{B3D3F8BE-9300-FAC0-7E64-EBBBC90A75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93556" y="2139129"/>
            <a:ext cx="245419" cy="245419"/>
          </a:xfrm>
          <a:prstGeom prst="rect">
            <a:avLst/>
          </a:prstGeom>
        </p:spPr>
      </p:pic>
      <p:sp>
        <p:nvSpPr>
          <p:cNvPr id="7" name="TextBox 6">
            <a:extLst>
              <a:ext uri="{FF2B5EF4-FFF2-40B4-BE49-F238E27FC236}">
                <a16:creationId xmlns:a16="http://schemas.microsoft.com/office/drawing/2014/main" id="{9D985626-01B6-6882-1EE0-A2C5ABAA1FCB}"/>
              </a:ext>
            </a:extLst>
          </p:cNvPr>
          <p:cNvSpPr txBox="1"/>
          <p:nvPr/>
        </p:nvSpPr>
        <p:spPr bwMode="gray">
          <a:xfrm>
            <a:off x="4723181" y="2139129"/>
            <a:ext cx="2927685" cy="580534"/>
          </a:xfrm>
          <a:prstGeom prst="rect">
            <a:avLst/>
          </a:prstGeom>
          <a:noFill/>
        </p:spPr>
        <p:txBody>
          <a:bodyPr wrap="square" lIns="36000" tIns="36000" rIns="36000" bIns="36000" rtlCol="0">
            <a:spAutoFit/>
          </a:bodyPr>
          <a:lstStyle/>
          <a:p>
            <a:pPr marL="0" indent="0">
              <a:buNone/>
            </a:pPr>
            <a:r>
              <a:rPr lang="en-US" sz="1100" dirty="0"/>
              <a:t>Very hot geothermal fluid is pumped up from deep underground, and </a:t>
            </a:r>
            <a:r>
              <a:rPr lang="en-US" sz="1100" b="1" dirty="0"/>
              <a:t>unlike dry steam, it is mostly pressurized hot water </a:t>
            </a:r>
            <a:r>
              <a:rPr lang="en-US" sz="1100" dirty="0"/>
              <a:t>(&gt;180°C).</a:t>
            </a:r>
            <a:endParaRPr lang="en-US" sz="1100" b="1" dirty="0"/>
          </a:p>
        </p:txBody>
      </p:sp>
      <p:sp>
        <p:nvSpPr>
          <p:cNvPr id="106" name="TextBox 105">
            <a:extLst>
              <a:ext uri="{FF2B5EF4-FFF2-40B4-BE49-F238E27FC236}">
                <a16:creationId xmlns:a16="http://schemas.microsoft.com/office/drawing/2014/main" id="{A61C98FC-6085-5712-3951-61F45CD3F9D3}"/>
              </a:ext>
            </a:extLst>
          </p:cNvPr>
          <p:cNvSpPr txBox="1"/>
          <p:nvPr/>
        </p:nvSpPr>
        <p:spPr bwMode="gray">
          <a:xfrm>
            <a:off x="4723181" y="3043769"/>
            <a:ext cx="2927685" cy="749812"/>
          </a:xfrm>
          <a:prstGeom prst="rect">
            <a:avLst/>
          </a:prstGeom>
          <a:noFill/>
        </p:spPr>
        <p:txBody>
          <a:bodyPr wrap="square" lIns="36000" tIns="36000" rIns="36000" bIns="36000" rtlCol="0">
            <a:spAutoFit/>
          </a:bodyPr>
          <a:lstStyle/>
          <a:p>
            <a:pPr marL="0" indent="0">
              <a:buNone/>
            </a:pPr>
            <a:r>
              <a:rPr lang="en-US" sz="1100" dirty="0"/>
              <a:t>The fluid enters a separator and, as the pressure drops, </a:t>
            </a:r>
            <a:r>
              <a:rPr lang="en-US" sz="1100" b="1" dirty="0"/>
              <a:t>part of the hot water flashes (vaporizes) instantly into steam; the remaining stays as water</a:t>
            </a:r>
            <a:r>
              <a:rPr lang="en-US" sz="1100" dirty="0"/>
              <a:t>.</a:t>
            </a:r>
          </a:p>
        </p:txBody>
      </p:sp>
      <p:pic>
        <p:nvPicPr>
          <p:cNvPr id="107" name="Graphic 106" descr="Badge with solid fill">
            <a:extLst>
              <a:ext uri="{FF2B5EF4-FFF2-40B4-BE49-F238E27FC236}">
                <a16:creationId xmlns:a16="http://schemas.microsoft.com/office/drawing/2014/main" id="{FAB5F68D-3E79-C621-8C1C-E3440897D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3556" y="3085214"/>
            <a:ext cx="246888" cy="246888"/>
          </a:xfrm>
          <a:prstGeom prst="rect">
            <a:avLst/>
          </a:prstGeom>
        </p:spPr>
      </p:pic>
      <p:sp>
        <p:nvSpPr>
          <p:cNvPr id="108" name="TextBox 107">
            <a:extLst>
              <a:ext uri="{FF2B5EF4-FFF2-40B4-BE49-F238E27FC236}">
                <a16:creationId xmlns:a16="http://schemas.microsoft.com/office/drawing/2014/main" id="{83DA45CA-95F1-7932-6AD6-83143EF71FA7}"/>
              </a:ext>
            </a:extLst>
          </p:cNvPr>
          <p:cNvSpPr txBox="1"/>
          <p:nvPr/>
        </p:nvSpPr>
        <p:spPr bwMode="gray">
          <a:xfrm>
            <a:off x="4723181" y="3948409"/>
            <a:ext cx="2927685" cy="580534"/>
          </a:xfrm>
          <a:prstGeom prst="rect">
            <a:avLst/>
          </a:prstGeom>
          <a:noFill/>
        </p:spPr>
        <p:txBody>
          <a:bodyPr wrap="square" lIns="36000" tIns="36000" rIns="36000" bIns="36000" rtlCol="0">
            <a:spAutoFit/>
          </a:bodyPr>
          <a:lstStyle/>
          <a:p>
            <a:pPr marL="0" indent="0">
              <a:buNone/>
            </a:pPr>
            <a:r>
              <a:rPr lang="en-US" sz="1100" dirty="0"/>
              <a:t>The steam flows into the turbine, and </a:t>
            </a:r>
            <a:r>
              <a:rPr lang="en-US" sz="1100" b="1" dirty="0"/>
              <a:t>as the turbine spins, it drives the generator</a:t>
            </a:r>
            <a:r>
              <a:rPr lang="en-US" sz="1100" dirty="0"/>
              <a:t> to produce electricity. </a:t>
            </a:r>
          </a:p>
        </p:txBody>
      </p:sp>
      <p:pic>
        <p:nvPicPr>
          <p:cNvPr id="109" name="Graphic 108" descr="Badge 3 with solid fill">
            <a:extLst>
              <a:ext uri="{FF2B5EF4-FFF2-40B4-BE49-F238E27FC236}">
                <a16:creationId xmlns:a16="http://schemas.microsoft.com/office/drawing/2014/main" id="{66D8EE70-4C52-AE1E-0196-C68F5E59A5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93556" y="3973144"/>
            <a:ext cx="246888" cy="246888"/>
          </a:xfrm>
          <a:prstGeom prst="rect">
            <a:avLst/>
          </a:prstGeom>
        </p:spPr>
      </p:pic>
      <p:cxnSp>
        <p:nvCxnSpPr>
          <p:cNvPr id="110" name="Straight Connector 109">
            <a:extLst>
              <a:ext uri="{FF2B5EF4-FFF2-40B4-BE49-F238E27FC236}">
                <a16:creationId xmlns:a16="http://schemas.microsoft.com/office/drawing/2014/main" id="{25F05629-E20B-7772-50BE-8878BECD1F46}"/>
              </a:ext>
            </a:extLst>
          </p:cNvPr>
          <p:cNvCxnSpPr>
            <a:cxnSpLocks/>
          </p:cNvCxnSpPr>
          <p:nvPr/>
        </p:nvCxnSpPr>
        <p:spPr bwMode="gray">
          <a:xfrm>
            <a:off x="4502744" y="2966355"/>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EA93223-BD6D-3EA3-3A95-73A806D673D9}"/>
              </a:ext>
            </a:extLst>
          </p:cNvPr>
          <p:cNvCxnSpPr>
            <a:cxnSpLocks/>
          </p:cNvCxnSpPr>
          <p:nvPr/>
        </p:nvCxnSpPr>
        <p:spPr bwMode="gray">
          <a:xfrm>
            <a:off x="4502744" y="3870995"/>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953FD08-F51F-56F2-09D5-B3A59EA9C647}"/>
              </a:ext>
            </a:extLst>
          </p:cNvPr>
          <p:cNvCxnSpPr>
            <a:cxnSpLocks/>
          </p:cNvCxnSpPr>
          <p:nvPr/>
        </p:nvCxnSpPr>
        <p:spPr bwMode="gray">
          <a:xfrm>
            <a:off x="4502744" y="5341719"/>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18C4C7E-DCA1-E056-1BAA-C9C62328A481}"/>
              </a:ext>
            </a:extLst>
          </p:cNvPr>
          <p:cNvSpPr/>
          <p:nvPr/>
        </p:nvSpPr>
        <p:spPr bwMode="gray">
          <a:xfrm>
            <a:off x="1116441" y="3059028"/>
            <a:ext cx="2472213" cy="14455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Bent Arrow 113">
            <a:extLst>
              <a:ext uri="{FF2B5EF4-FFF2-40B4-BE49-F238E27FC236}">
                <a16:creationId xmlns:a16="http://schemas.microsoft.com/office/drawing/2014/main" id="{E5CA51FD-2BD0-5C0C-FC81-323D89421AB1}"/>
              </a:ext>
            </a:extLst>
          </p:cNvPr>
          <p:cNvSpPr/>
          <p:nvPr/>
        </p:nvSpPr>
        <p:spPr bwMode="gray">
          <a:xfrm>
            <a:off x="1039780" y="2268343"/>
            <a:ext cx="617387" cy="765194"/>
          </a:xfrm>
          <a:prstGeom prst="bentArrow">
            <a:avLst>
              <a:gd name="adj1" fmla="val 25000"/>
              <a:gd name="adj2" fmla="val 23273"/>
              <a:gd name="adj3" fmla="val 0"/>
              <a:gd name="adj4" fmla="val 25149"/>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5" name="Rectangle 114">
            <a:extLst>
              <a:ext uri="{FF2B5EF4-FFF2-40B4-BE49-F238E27FC236}">
                <a16:creationId xmlns:a16="http://schemas.microsoft.com/office/drawing/2014/main" id="{CF98265C-E41D-1624-B36D-2CEB99DF5592}"/>
              </a:ext>
            </a:extLst>
          </p:cNvPr>
          <p:cNvSpPr/>
          <p:nvPr/>
        </p:nvSpPr>
        <p:spPr bwMode="gray">
          <a:xfrm rot="5400000">
            <a:off x="2632138" y="2149672"/>
            <a:ext cx="1244975" cy="13568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6" name="Bent Arrow 115">
            <a:extLst>
              <a:ext uri="{FF2B5EF4-FFF2-40B4-BE49-F238E27FC236}">
                <a16:creationId xmlns:a16="http://schemas.microsoft.com/office/drawing/2014/main" id="{D330788F-D649-EC25-93F0-83AEE45556B5}"/>
              </a:ext>
            </a:extLst>
          </p:cNvPr>
          <p:cNvSpPr/>
          <p:nvPr/>
        </p:nvSpPr>
        <p:spPr bwMode="gray">
          <a:xfrm flipH="1">
            <a:off x="3162215" y="2537215"/>
            <a:ext cx="553527" cy="560174"/>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7" name="Straight Connector 116">
            <a:extLst>
              <a:ext uri="{FF2B5EF4-FFF2-40B4-BE49-F238E27FC236}">
                <a16:creationId xmlns:a16="http://schemas.microsoft.com/office/drawing/2014/main" id="{1AA0200F-02BA-EC54-9871-ED44597659F3}"/>
              </a:ext>
            </a:extLst>
          </p:cNvPr>
          <p:cNvCxnSpPr>
            <a:cxnSpLocks/>
          </p:cNvCxnSpPr>
          <p:nvPr/>
        </p:nvCxnSpPr>
        <p:spPr bwMode="gray">
          <a:xfrm flipV="1">
            <a:off x="567006" y="3630929"/>
            <a:ext cx="3315551" cy="817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7792B46-0077-3798-5753-A8F6E6260646}"/>
              </a:ext>
            </a:extLst>
          </p:cNvPr>
          <p:cNvCxnSpPr/>
          <p:nvPr/>
        </p:nvCxnSpPr>
        <p:spPr bwMode="gray">
          <a:xfrm>
            <a:off x="769520"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2CB1777-E4FB-9FFE-B44A-C9087336D663}"/>
              </a:ext>
            </a:extLst>
          </p:cNvPr>
          <p:cNvCxnSpPr/>
          <p:nvPr/>
        </p:nvCxnSpPr>
        <p:spPr bwMode="gray">
          <a:xfrm>
            <a:off x="562699"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8ED25EE6-1651-5905-90D9-8DA3C2F041CD}"/>
              </a:ext>
            </a:extLst>
          </p:cNvPr>
          <p:cNvCxnSpPr>
            <a:cxnSpLocks/>
          </p:cNvCxnSpPr>
          <p:nvPr/>
        </p:nvCxnSpPr>
        <p:spPr bwMode="gray">
          <a:xfrm>
            <a:off x="976340"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936D79E-C5D3-3377-7309-D8EC941F39D2}"/>
              </a:ext>
            </a:extLst>
          </p:cNvPr>
          <p:cNvCxnSpPr>
            <a:cxnSpLocks/>
          </p:cNvCxnSpPr>
          <p:nvPr/>
        </p:nvCxnSpPr>
        <p:spPr bwMode="gray">
          <a:xfrm>
            <a:off x="1183161"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D3B1CC-E123-D0B5-1B13-CE45344D885E}"/>
              </a:ext>
            </a:extLst>
          </p:cNvPr>
          <p:cNvCxnSpPr>
            <a:cxnSpLocks/>
          </p:cNvCxnSpPr>
          <p:nvPr/>
        </p:nvCxnSpPr>
        <p:spPr bwMode="gray">
          <a:xfrm>
            <a:off x="1389982"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C580113-D254-1533-6CF6-280BBFDB2D3D}"/>
              </a:ext>
            </a:extLst>
          </p:cNvPr>
          <p:cNvCxnSpPr>
            <a:cxnSpLocks/>
          </p:cNvCxnSpPr>
          <p:nvPr/>
        </p:nvCxnSpPr>
        <p:spPr bwMode="gray">
          <a:xfrm>
            <a:off x="1596803"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F6EC0EE4-477A-0007-8BA6-A8634E1F4AA5}"/>
              </a:ext>
            </a:extLst>
          </p:cNvPr>
          <p:cNvCxnSpPr>
            <a:cxnSpLocks/>
          </p:cNvCxnSpPr>
          <p:nvPr/>
        </p:nvCxnSpPr>
        <p:spPr bwMode="gray">
          <a:xfrm>
            <a:off x="1803624"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08D675A-CCB3-498E-ACA2-68C77250A46A}"/>
              </a:ext>
            </a:extLst>
          </p:cNvPr>
          <p:cNvCxnSpPr>
            <a:cxnSpLocks/>
          </p:cNvCxnSpPr>
          <p:nvPr/>
        </p:nvCxnSpPr>
        <p:spPr bwMode="gray">
          <a:xfrm>
            <a:off x="2010444"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78E5D57-BE18-47ED-9269-408949DB1A28}"/>
              </a:ext>
            </a:extLst>
          </p:cNvPr>
          <p:cNvCxnSpPr>
            <a:cxnSpLocks/>
          </p:cNvCxnSpPr>
          <p:nvPr/>
        </p:nvCxnSpPr>
        <p:spPr bwMode="gray">
          <a:xfrm>
            <a:off x="2217265"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BA58C59-BDD8-0F86-B4B5-DE64C549E71D}"/>
              </a:ext>
            </a:extLst>
          </p:cNvPr>
          <p:cNvCxnSpPr>
            <a:cxnSpLocks/>
          </p:cNvCxnSpPr>
          <p:nvPr/>
        </p:nvCxnSpPr>
        <p:spPr bwMode="gray">
          <a:xfrm>
            <a:off x="2424086"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D2C9000-65E6-4F3E-EB1A-394C33DBAA0A}"/>
              </a:ext>
            </a:extLst>
          </p:cNvPr>
          <p:cNvCxnSpPr>
            <a:cxnSpLocks/>
          </p:cNvCxnSpPr>
          <p:nvPr/>
        </p:nvCxnSpPr>
        <p:spPr bwMode="gray">
          <a:xfrm>
            <a:off x="2630907"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759B352-A84F-F884-F4C6-001AD1AA9E0C}"/>
              </a:ext>
            </a:extLst>
          </p:cNvPr>
          <p:cNvCxnSpPr>
            <a:cxnSpLocks/>
          </p:cNvCxnSpPr>
          <p:nvPr/>
        </p:nvCxnSpPr>
        <p:spPr bwMode="gray">
          <a:xfrm>
            <a:off x="2837728"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D70AE19-5FF1-BDF4-5131-B47DFCA7B330}"/>
              </a:ext>
            </a:extLst>
          </p:cNvPr>
          <p:cNvCxnSpPr>
            <a:cxnSpLocks/>
          </p:cNvCxnSpPr>
          <p:nvPr/>
        </p:nvCxnSpPr>
        <p:spPr bwMode="gray">
          <a:xfrm>
            <a:off x="3044548"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29F7C32-D920-A2FC-433A-B47A447C5FF3}"/>
              </a:ext>
            </a:extLst>
          </p:cNvPr>
          <p:cNvCxnSpPr>
            <a:cxnSpLocks/>
          </p:cNvCxnSpPr>
          <p:nvPr/>
        </p:nvCxnSpPr>
        <p:spPr bwMode="gray">
          <a:xfrm>
            <a:off x="3251369"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812F0AA-1E39-5487-1F62-A3F46C451F9C}"/>
              </a:ext>
            </a:extLst>
          </p:cNvPr>
          <p:cNvCxnSpPr>
            <a:cxnSpLocks/>
          </p:cNvCxnSpPr>
          <p:nvPr/>
        </p:nvCxnSpPr>
        <p:spPr bwMode="gray">
          <a:xfrm>
            <a:off x="3458190"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588B5AC-F67B-344E-D7DF-AE443CE7F7FA}"/>
              </a:ext>
            </a:extLst>
          </p:cNvPr>
          <p:cNvCxnSpPr>
            <a:cxnSpLocks/>
          </p:cNvCxnSpPr>
          <p:nvPr/>
        </p:nvCxnSpPr>
        <p:spPr bwMode="gray">
          <a:xfrm>
            <a:off x="3665011"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4" name="Triangle 133">
            <a:extLst>
              <a:ext uri="{FF2B5EF4-FFF2-40B4-BE49-F238E27FC236}">
                <a16:creationId xmlns:a16="http://schemas.microsoft.com/office/drawing/2014/main" id="{E9A76395-D08A-4A40-846D-B737FEE5CD22}"/>
              </a:ext>
            </a:extLst>
          </p:cNvPr>
          <p:cNvSpPr/>
          <p:nvPr/>
        </p:nvSpPr>
        <p:spPr bwMode="gray">
          <a:xfrm>
            <a:off x="655988" y="3639107"/>
            <a:ext cx="252951" cy="16746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5" name="Triangle 134">
            <a:extLst>
              <a:ext uri="{FF2B5EF4-FFF2-40B4-BE49-F238E27FC236}">
                <a16:creationId xmlns:a16="http://schemas.microsoft.com/office/drawing/2014/main" id="{C6248C80-9E91-C594-9F87-BFF938302802}"/>
              </a:ext>
            </a:extLst>
          </p:cNvPr>
          <p:cNvSpPr/>
          <p:nvPr/>
        </p:nvSpPr>
        <p:spPr bwMode="gray">
          <a:xfrm>
            <a:off x="3527680" y="3639107"/>
            <a:ext cx="252951" cy="16746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6" name="Triangle 135">
            <a:extLst>
              <a:ext uri="{FF2B5EF4-FFF2-40B4-BE49-F238E27FC236}">
                <a16:creationId xmlns:a16="http://schemas.microsoft.com/office/drawing/2014/main" id="{F3669309-0270-CA00-697F-5855958782E9}"/>
              </a:ext>
            </a:extLst>
          </p:cNvPr>
          <p:cNvSpPr/>
          <p:nvPr/>
        </p:nvSpPr>
        <p:spPr bwMode="gray">
          <a:xfrm rot="10800000">
            <a:off x="655988" y="3471646"/>
            <a:ext cx="252951" cy="16746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7" name="Triangle 136">
            <a:extLst>
              <a:ext uri="{FF2B5EF4-FFF2-40B4-BE49-F238E27FC236}">
                <a16:creationId xmlns:a16="http://schemas.microsoft.com/office/drawing/2014/main" id="{860C079F-FADB-84FC-6786-7D72BA885157}"/>
              </a:ext>
            </a:extLst>
          </p:cNvPr>
          <p:cNvSpPr/>
          <p:nvPr/>
        </p:nvSpPr>
        <p:spPr bwMode="gray">
          <a:xfrm rot="10800000">
            <a:off x="3527680" y="3471646"/>
            <a:ext cx="252951" cy="16746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8" name="Rectangle 137">
            <a:extLst>
              <a:ext uri="{FF2B5EF4-FFF2-40B4-BE49-F238E27FC236}">
                <a16:creationId xmlns:a16="http://schemas.microsoft.com/office/drawing/2014/main" id="{3C2663DE-3D58-D2E5-3766-24D1415CA318}"/>
              </a:ext>
            </a:extLst>
          </p:cNvPr>
          <p:cNvSpPr/>
          <p:nvPr/>
        </p:nvSpPr>
        <p:spPr bwMode="gray">
          <a:xfrm>
            <a:off x="714623" y="3814745"/>
            <a:ext cx="135679" cy="225016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9" name="Bent Arrow 138">
            <a:extLst>
              <a:ext uri="{FF2B5EF4-FFF2-40B4-BE49-F238E27FC236}">
                <a16:creationId xmlns:a16="http://schemas.microsoft.com/office/drawing/2014/main" id="{3BFBA4F8-A83B-99BE-D5BF-7EAB9184B165}"/>
              </a:ext>
            </a:extLst>
          </p:cNvPr>
          <p:cNvSpPr/>
          <p:nvPr/>
        </p:nvSpPr>
        <p:spPr bwMode="gray">
          <a:xfrm>
            <a:off x="715726" y="2733137"/>
            <a:ext cx="537143" cy="738508"/>
          </a:xfrm>
          <a:prstGeom prst="bentArrow">
            <a:avLst>
              <a:gd name="adj1" fmla="val 25000"/>
              <a:gd name="adj2" fmla="val 23273"/>
              <a:gd name="adj3" fmla="val 0"/>
              <a:gd name="adj4" fmla="val 25149"/>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0" name="Rectangle 139">
            <a:extLst>
              <a:ext uri="{FF2B5EF4-FFF2-40B4-BE49-F238E27FC236}">
                <a16:creationId xmlns:a16="http://schemas.microsoft.com/office/drawing/2014/main" id="{5DE62767-4E33-0746-0530-FB5DFD8F9B3D}"/>
              </a:ext>
            </a:extLst>
          </p:cNvPr>
          <p:cNvSpPr/>
          <p:nvPr/>
        </p:nvSpPr>
        <p:spPr bwMode="gray">
          <a:xfrm>
            <a:off x="1247184" y="2336732"/>
            <a:ext cx="1905290" cy="13652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1" name="Rectangle 140">
            <a:extLst>
              <a:ext uri="{FF2B5EF4-FFF2-40B4-BE49-F238E27FC236}">
                <a16:creationId xmlns:a16="http://schemas.microsoft.com/office/drawing/2014/main" id="{165801FE-5628-3016-9C73-71BF0134AA17}"/>
              </a:ext>
            </a:extLst>
          </p:cNvPr>
          <p:cNvSpPr/>
          <p:nvPr/>
        </p:nvSpPr>
        <p:spPr bwMode="gray">
          <a:xfrm>
            <a:off x="1859548" y="1866333"/>
            <a:ext cx="691296" cy="415439"/>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142" name="Rectangle 141">
            <a:extLst>
              <a:ext uri="{FF2B5EF4-FFF2-40B4-BE49-F238E27FC236}">
                <a16:creationId xmlns:a16="http://schemas.microsoft.com/office/drawing/2014/main" id="{6D24424C-AA1C-BE1E-B486-61904DCFB083}"/>
              </a:ext>
            </a:extLst>
          </p:cNvPr>
          <p:cNvSpPr/>
          <p:nvPr/>
        </p:nvSpPr>
        <p:spPr bwMode="gray">
          <a:xfrm>
            <a:off x="1610295" y="1824856"/>
            <a:ext cx="1189803" cy="313444"/>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Generator</a:t>
            </a:r>
          </a:p>
        </p:txBody>
      </p:sp>
      <p:sp>
        <p:nvSpPr>
          <p:cNvPr id="143" name="Rectangle 142">
            <a:extLst>
              <a:ext uri="{FF2B5EF4-FFF2-40B4-BE49-F238E27FC236}">
                <a16:creationId xmlns:a16="http://schemas.microsoft.com/office/drawing/2014/main" id="{B342FC08-FE8C-723C-FF3D-1938D711D850}"/>
              </a:ext>
            </a:extLst>
          </p:cNvPr>
          <p:cNvSpPr/>
          <p:nvPr/>
        </p:nvSpPr>
        <p:spPr bwMode="gray">
          <a:xfrm>
            <a:off x="1745763" y="2221261"/>
            <a:ext cx="980338" cy="350489"/>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urbine</a:t>
            </a:r>
          </a:p>
        </p:txBody>
      </p:sp>
      <p:sp>
        <p:nvSpPr>
          <p:cNvPr id="144" name="Rectangle 143">
            <a:extLst>
              <a:ext uri="{FF2B5EF4-FFF2-40B4-BE49-F238E27FC236}">
                <a16:creationId xmlns:a16="http://schemas.microsoft.com/office/drawing/2014/main" id="{6641F145-53E2-5A37-67E6-F079353E6B2F}"/>
              </a:ext>
            </a:extLst>
          </p:cNvPr>
          <p:cNvSpPr/>
          <p:nvPr/>
        </p:nvSpPr>
        <p:spPr bwMode="gray">
          <a:xfrm rot="16200000">
            <a:off x="2778173" y="2287174"/>
            <a:ext cx="944968" cy="234134"/>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ndenser</a:t>
            </a:r>
          </a:p>
        </p:txBody>
      </p:sp>
      <p:sp>
        <p:nvSpPr>
          <p:cNvPr id="145" name="Rectangle 144">
            <a:extLst>
              <a:ext uri="{FF2B5EF4-FFF2-40B4-BE49-F238E27FC236}">
                <a16:creationId xmlns:a16="http://schemas.microsoft.com/office/drawing/2014/main" id="{84072D35-F127-CF2A-CB08-64893CF4F2CA}"/>
              </a:ext>
            </a:extLst>
          </p:cNvPr>
          <p:cNvSpPr/>
          <p:nvPr/>
        </p:nvSpPr>
        <p:spPr bwMode="gray">
          <a:xfrm>
            <a:off x="3580066" y="3814745"/>
            <a:ext cx="135679" cy="22501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6" name="Rectangle 145">
            <a:extLst>
              <a:ext uri="{FF2B5EF4-FFF2-40B4-BE49-F238E27FC236}">
                <a16:creationId xmlns:a16="http://schemas.microsoft.com/office/drawing/2014/main" id="{D4533313-9B2A-0031-18F1-4E1DBF83350F}"/>
              </a:ext>
            </a:extLst>
          </p:cNvPr>
          <p:cNvSpPr/>
          <p:nvPr/>
        </p:nvSpPr>
        <p:spPr bwMode="gray">
          <a:xfrm>
            <a:off x="3580067" y="2812996"/>
            <a:ext cx="135676" cy="65047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47" name="Graphic 146" descr="Electric Tower outline">
            <a:extLst>
              <a:ext uri="{FF2B5EF4-FFF2-40B4-BE49-F238E27FC236}">
                <a16:creationId xmlns:a16="http://schemas.microsoft.com/office/drawing/2014/main" id="{5FD382AB-215C-F1A2-50A8-519840B1595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81330" y="1675267"/>
            <a:ext cx="461306" cy="650958"/>
          </a:xfrm>
          <a:prstGeom prst="rect">
            <a:avLst/>
          </a:prstGeom>
        </p:spPr>
      </p:pic>
      <p:sp>
        <p:nvSpPr>
          <p:cNvPr id="148" name="Triangle 147">
            <a:extLst>
              <a:ext uri="{FF2B5EF4-FFF2-40B4-BE49-F238E27FC236}">
                <a16:creationId xmlns:a16="http://schemas.microsoft.com/office/drawing/2014/main" id="{3DD43626-F74D-8BB7-A866-3E413CAECB7C}"/>
              </a:ext>
            </a:extLst>
          </p:cNvPr>
          <p:cNvSpPr/>
          <p:nvPr/>
        </p:nvSpPr>
        <p:spPr bwMode="gray">
          <a:xfrm>
            <a:off x="1900999" y="1738356"/>
            <a:ext cx="143507" cy="95005"/>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9" name="Triangle 148">
            <a:extLst>
              <a:ext uri="{FF2B5EF4-FFF2-40B4-BE49-F238E27FC236}">
                <a16:creationId xmlns:a16="http://schemas.microsoft.com/office/drawing/2014/main" id="{17C4CD83-0DF7-C80D-6522-200A7927D17F}"/>
              </a:ext>
            </a:extLst>
          </p:cNvPr>
          <p:cNvSpPr/>
          <p:nvPr/>
        </p:nvSpPr>
        <p:spPr bwMode="gray">
          <a:xfrm>
            <a:off x="2289041" y="1738356"/>
            <a:ext cx="143507" cy="95005"/>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50" name="Straight Connector 149">
            <a:extLst>
              <a:ext uri="{FF2B5EF4-FFF2-40B4-BE49-F238E27FC236}">
                <a16:creationId xmlns:a16="http://schemas.microsoft.com/office/drawing/2014/main" id="{09F099BB-6EDC-6198-AB53-885D0D54076F}"/>
              </a:ext>
            </a:extLst>
          </p:cNvPr>
          <p:cNvCxnSpPr>
            <a:stCxn id="148" idx="0"/>
          </p:cNvCxnSpPr>
          <p:nvPr/>
        </p:nvCxnSpPr>
        <p:spPr bwMode="gray">
          <a:xfrm flipH="1" flipV="1">
            <a:off x="1972752" y="1487342"/>
            <a:ext cx="1" cy="25101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BC15844-9840-90BA-166E-092E74F5510B}"/>
              </a:ext>
            </a:extLst>
          </p:cNvPr>
          <p:cNvCxnSpPr>
            <a:cxnSpLocks/>
          </p:cNvCxnSpPr>
          <p:nvPr/>
        </p:nvCxnSpPr>
        <p:spPr bwMode="gray">
          <a:xfrm flipV="1">
            <a:off x="2356312" y="1237129"/>
            <a:ext cx="0" cy="50122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8D5F14C-F073-B542-14C3-72E663563739}"/>
              </a:ext>
            </a:extLst>
          </p:cNvPr>
          <p:cNvCxnSpPr/>
          <p:nvPr/>
        </p:nvCxnSpPr>
        <p:spPr bwMode="gray">
          <a:xfrm flipV="1">
            <a:off x="281330" y="1487342"/>
            <a:ext cx="1691422" cy="65095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E095141-BF70-6E23-8B01-CD952723E80F}"/>
              </a:ext>
            </a:extLst>
          </p:cNvPr>
          <p:cNvCxnSpPr>
            <a:cxnSpLocks/>
          </p:cNvCxnSpPr>
          <p:nvPr/>
        </p:nvCxnSpPr>
        <p:spPr bwMode="gray">
          <a:xfrm flipV="1">
            <a:off x="281330" y="1253365"/>
            <a:ext cx="2074982" cy="76894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8712961C-020C-1CB4-4127-BEE2D3671D79}"/>
              </a:ext>
            </a:extLst>
          </p:cNvPr>
          <p:cNvSpPr txBox="1"/>
          <p:nvPr/>
        </p:nvSpPr>
        <p:spPr bwMode="gray">
          <a:xfrm>
            <a:off x="836390" y="3245531"/>
            <a:ext cx="693542" cy="252523"/>
          </a:xfrm>
          <a:prstGeom prst="rect">
            <a:avLst/>
          </a:prstGeom>
          <a:noFill/>
        </p:spPr>
        <p:txBody>
          <a:bodyPr wrap="none" lIns="36000" tIns="36000" rIns="36000" bIns="36000" rtlCol="0">
            <a:spAutoFit/>
          </a:bodyPr>
          <a:lstStyle/>
          <a:p>
            <a:pPr marL="0" indent="0">
              <a:buNone/>
            </a:pPr>
            <a:r>
              <a:rPr lang="en-US" sz="1000" dirty="0"/>
              <a:t>Wellhead</a:t>
            </a:r>
          </a:p>
        </p:txBody>
      </p:sp>
      <p:sp>
        <p:nvSpPr>
          <p:cNvPr id="155" name="TextBox 154">
            <a:extLst>
              <a:ext uri="{FF2B5EF4-FFF2-40B4-BE49-F238E27FC236}">
                <a16:creationId xmlns:a16="http://schemas.microsoft.com/office/drawing/2014/main" id="{3106E877-24E6-4424-9053-5F3DBB9473AD}"/>
              </a:ext>
            </a:extLst>
          </p:cNvPr>
          <p:cNvSpPr txBox="1"/>
          <p:nvPr/>
        </p:nvSpPr>
        <p:spPr bwMode="gray">
          <a:xfrm>
            <a:off x="2885304" y="3245531"/>
            <a:ext cx="693542" cy="252523"/>
          </a:xfrm>
          <a:prstGeom prst="rect">
            <a:avLst/>
          </a:prstGeom>
          <a:noFill/>
        </p:spPr>
        <p:txBody>
          <a:bodyPr wrap="none" lIns="36000" tIns="36000" rIns="36000" bIns="36000" rtlCol="0">
            <a:spAutoFit/>
          </a:bodyPr>
          <a:lstStyle/>
          <a:p>
            <a:pPr marL="0" indent="0">
              <a:buNone/>
            </a:pPr>
            <a:r>
              <a:rPr lang="en-US" sz="1000" dirty="0"/>
              <a:t>Wellhead</a:t>
            </a:r>
          </a:p>
        </p:txBody>
      </p:sp>
      <p:sp>
        <p:nvSpPr>
          <p:cNvPr id="156" name="TextBox 155">
            <a:extLst>
              <a:ext uri="{FF2B5EF4-FFF2-40B4-BE49-F238E27FC236}">
                <a16:creationId xmlns:a16="http://schemas.microsoft.com/office/drawing/2014/main" id="{70673872-5486-242B-E801-EB59B2283FF8}"/>
              </a:ext>
            </a:extLst>
          </p:cNvPr>
          <p:cNvSpPr txBox="1"/>
          <p:nvPr/>
        </p:nvSpPr>
        <p:spPr bwMode="gray">
          <a:xfrm>
            <a:off x="1659930" y="3861375"/>
            <a:ext cx="1090530" cy="252523"/>
          </a:xfrm>
          <a:prstGeom prst="rect">
            <a:avLst/>
          </a:prstGeom>
          <a:noFill/>
        </p:spPr>
        <p:txBody>
          <a:bodyPr wrap="none" lIns="36000" tIns="36000" rIns="36000" bIns="36000" rtlCol="0">
            <a:spAutoFit/>
          </a:bodyPr>
          <a:lstStyle/>
          <a:p>
            <a:pPr marL="0" indent="0">
              <a:buNone/>
            </a:pPr>
            <a:r>
              <a:rPr lang="en-US" sz="1000" dirty="0"/>
              <a:t>Ground surface</a:t>
            </a:r>
          </a:p>
        </p:txBody>
      </p:sp>
      <p:sp>
        <p:nvSpPr>
          <p:cNvPr id="157" name="TextBox 156">
            <a:extLst>
              <a:ext uri="{FF2B5EF4-FFF2-40B4-BE49-F238E27FC236}">
                <a16:creationId xmlns:a16="http://schemas.microsoft.com/office/drawing/2014/main" id="{5ED3BD56-2103-109A-D6E6-1B2CF68D6FEC}"/>
              </a:ext>
            </a:extLst>
          </p:cNvPr>
          <p:cNvSpPr txBox="1"/>
          <p:nvPr/>
        </p:nvSpPr>
        <p:spPr bwMode="gray">
          <a:xfrm rot="16200000">
            <a:off x="3236804" y="4813626"/>
            <a:ext cx="1220453" cy="226591"/>
          </a:xfrm>
          <a:prstGeom prst="rect">
            <a:avLst/>
          </a:prstGeom>
          <a:noFill/>
        </p:spPr>
        <p:txBody>
          <a:bodyPr wrap="none" lIns="36000" tIns="36000" rIns="36000" bIns="36000" rtlCol="0">
            <a:spAutoFit/>
          </a:bodyPr>
          <a:lstStyle/>
          <a:p>
            <a:pPr marL="0" indent="0">
              <a:buNone/>
            </a:pPr>
            <a:r>
              <a:rPr lang="en-US" sz="1000" dirty="0"/>
              <a:t>Subsurface injection</a:t>
            </a:r>
          </a:p>
        </p:txBody>
      </p:sp>
      <p:sp>
        <p:nvSpPr>
          <p:cNvPr id="158" name="Up Arrow 157">
            <a:extLst>
              <a:ext uri="{FF2B5EF4-FFF2-40B4-BE49-F238E27FC236}">
                <a16:creationId xmlns:a16="http://schemas.microsoft.com/office/drawing/2014/main" id="{FFD01ECB-B5CE-B9F6-BCA7-CB396C04B4AC}"/>
              </a:ext>
            </a:extLst>
          </p:cNvPr>
          <p:cNvSpPr/>
          <p:nvPr/>
        </p:nvSpPr>
        <p:spPr bwMode="gray">
          <a:xfrm>
            <a:off x="746944" y="3147413"/>
            <a:ext cx="52419" cy="12916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9" name="Up Arrow 158">
            <a:extLst>
              <a:ext uri="{FF2B5EF4-FFF2-40B4-BE49-F238E27FC236}">
                <a16:creationId xmlns:a16="http://schemas.microsoft.com/office/drawing/2014/main" id="{338E41B0-09DA-B26C-9A01-C416C432E0AD}"/>
              </a:ext>
            </a:extLst>
          </p:cNvPr>
          <p:cNvSpPr/>
          <p:nvPr/>
        </p:nvSpPr>
        <p:spPr bwMode="gray">
          <a:xfrm>
            <a:off x="754698" y="4438702"/>
            <a:ext cx="52419" cy="12916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0" name="Up Arrow 159">
            <a:extLst>
              <a:ext uri="{FF2B5EF4-FFF2-40B4-BE49-F238E27FC236}">
                <a16:creationId xmlns:a16="http://schemas.microsoft.com/office/drawing/2014/main" id="{5B65DBD9-56F1-BCC1-B4EA-5014FDF8A654}"/>
              </a:ext>
            </a:extLst>
          </p:cNvPr>
          <p:cNvSpPr/>
          <p:nvPr/>
        </p:nvSpPr>
        <p:spPr bwMode="gray">
          <a:xfrm rot="10800000">
            <a:off x="3620313" y="4438702"/>
            <a:ext cx="52419" cy="12916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1" name="Up Arrow 160">
            <a:extLst>
              <a:ext uri="{FF2B5EF4-FFF2-40B4-BE49-F238E27FC236}">
                <a16:creationId xmlns:a16="http://schemas.microsoft.com/office/drawing/2014/main" id="{C7E9378B-978A-2B64-DB48-55DD14257537}"/>
              </a:ext>
            </a:extLst>
          </p:cNvPr>
          <p:cNvSpPr/>
          <p:nvPr/>
        </p:nvSpPr>
        <p:spPr bwMode="gray">
          <a:xfrm rot="10800000">
            <a:off x="3625989" y="3011403"/>
            <a:ext cx="52419" cy="12916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2" name="Up Arrow 161">
            <a:extLst>
              <a:ext uri="{FF2B5EF4-FFF2-40B4-BE49-F238E27FC236}">
                <a16:creationId xmlns:a16="http://schemas.microsoft.com/office/drawing/2014/main" id="{5F2AC62A-D3B5-7CD4-79B9-6C8A9D3721F5}"/>
              </a:ext>
            </a:extLst>
          </p:cNvPr>
          <p:cNvSpPr/>
          <p:nvPr/>
        </p:nvSpPr>
        <p:spPr bwMode="gray">
          <a:xfrm>
            <a:off x="3229259" y="1709487"/>
            <a:ext cx="52419" cy="12916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63" name="Group 162">
            <a:extLst>
              <a:ext uri="{FF2B5EF4-FFF2-40B4-BE49-F238E27FC236}">
                <a16:creationId xmlns:a16="http://schemas.microsoft.com/office/drawing/2014/main" id="{469C2222-1025-D87A-448E-57ED624680EB}"/>
              </a:ext>
            </a:extLst>
          </p:cNvPr>
          <p:cNvGrpSpPr/>
          <p:nvPr/>
        </p:nvGrpSpPr>
        <p:grpSpPr>
          <a:xfrm>
            <a:off x="890908" y="5663386"/>
            <a:ext cx="132886" cy="280236"/>
            <a:chOff x="972443" y="5691173"/>
            <a:chExt cx="115902" cy="251458"/>
          </a:xfrm>
        </p:grpSpPr>
        <p:sp>
          <p:nvSpPr>
            <p:cNvPr id="164" name="Up Arrow 163">
              <a:extLst>
                <a:ext uri="{FF2B5EF4-FFF2-40B4-BE49-F238E27FC236}">
                  <a16:creationId xmlns:a16="http://schemas.microsoft.com/office/drawing/2014/main" id="{FFEF23BF-F4FB-2BFF-4916-87395ACF6519}"/>
                </a:ext>
              </a:extLst>
            </p:cNvPr>
            <p:cNvSpPr/>
            <p:nvPr/>
          </p:nvSpPr>
          <p:spPr bwMode="gray">
            <a:xfrm rot="16200000">
              <a:off x="1007534" y="57589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5" name="Up Arrow 164">
              <a:extLst>
                <a:ext uri="{FF2B5EF4-FFF2-40B4-BE49-F238E27FC236}">
                  <a16:creationId xmlns:a16="http://schemas.microsoft.com/office/drawing/2014/main" id="{7F8BB282-4FD8-F514-9D5C-C59D079AF163}"/>
                </a:ext>
              </a:extLst>
            </p:cNvPr>
            <p:cNvSpPr/>
            <p:nvPr/>
          </p:nvSpPr>
          <p:spPr bwMode="gray">
            <a:xfrm rot="14470877">
              <a:off x="1007534" y="56560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6" name="Up Arrow 165">
              <a:extLst>
                <a:ext uri="{FF2B5EF4-FFF2-40B4-BE49-F238E27FC236}">
                  <a16:creationId xmlns:a16="http://schemas.microsoft.com/office/drawing/2014/main" id="{DDE5D928-31B5-47AD-22E5-4FDF6B1EC735}"/>
                </a:ext>
              </a:extLst>
            </p:cNvPr>
            <p:cNvSpPr/>
            <p:nvPr/>
          </p:nvSpPr>
          <p:spPr bwMode="gray">
            <a:xfrm rot="18286233">
              <a:off x="1007535" y="58618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67" name="Group 166">
            <a:extLst>
              <a:ext uri="{FF2B5EF4-FFF2-40B4-BE49-F238E27FC236}">
                <a16:creationId xmlns:a16="http://schemas.microsoft.com/office/drawing/2014/main" id="{DB2C2F43-22BA-A5B6-EAB3-69F0A321B12F}"/>
              </a:ext>
            </a:extLst>
          </p:cNvPr>
          <p:cNvGrpSpPr/>
          <p:nvPr/>
        </p:nvGrpSpPr>
        <p:grpSpPr>
          <a:xfrm rot="10800000">
            <a:off x="522944" y="5663385"/>
            <a:ext cx="132886" cy="280236"/>
            <a:chOff x="1124843" y="5843573"/>
            <a:chExt cx="115902" cy="251458"/>
          </a:xfrm>
        </p:grpSpPr>
        <p:sp>
          <p:nvSpPr>
            <p:cNvPr id="168" name="Up Arrow 167">
              <a:extLst>
                <a:ext uri="{FF2B5EF4-FFF2-40B4-BE49-F238E27FC236}">
                  <a16:creationId xmlns:a16="http://schemas.microsoft.com/office/drawing/2014/main" id="{7EC26DAA-F5E7-803E-6A69-A467431CFBCA}"/>
                </a:ext>
              </a:extLst>
            </p:cNvPr>
            <p:cNvSpPr/>
            <p:nvPr/>
          </p:nvSpPr>
          <p:spPr bwMode="gray">
            <a:xfrm rot="16200000">
              <a:off x="1159934" y="59113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9" name="Up Arrow 168">
              <a:extLst>
                <a:ext uri="{FF2B5EF4-FFF2-40B4-BE49-F238E27FC236}">
                  <a16:creationId xmlns:a16="http://schemas.microsoft.com/office/drawing/2014/main" id="{2EC68857-73C6-B23E-D57D-A21E98F963E6}"/>
                </a:ext>
              </a:extLst>
            </p:cNvPr>
            <p:cNvSpPr/>
            <p:nvPr/>
          </p:nvSpPr>
          <p:spPr bwMode="gray">
            <a:xfrm rot="14470877">
              <a:off x="1159934" y="58084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0" name="Up Arrow 169">
              <a:extLst>
                <a:ext uri="{FF2B5EF4-FFF2-40B4-BE49-F238E27FC236}">
                  <a16:creationId xmlns:a16="http://schemas.microsoft.com/office/drawing/2014/main" id="{CBCEDD00-4D66-F9C9-E5CE-F12FAAC2E52D}"/>
                </a:ext>
              </a:extLst>
            </p:cNvPr>
            <p:cNvSpPr/>
            <p:nvPr/>
          </p:nvSpPr>
          <p:spPr bwMode="gray">
            <a:xfrm rot="18286233">
              <a:off x="1159935" y="60142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71" name="Up Arrow 170">
            <a:extLst>
              <a:ext uri="{FF2B5EF4-FFF2-40B4-BE49-F238E27FC236}">
                <a16:creationId xmlns:a16="http://schemas.microsoft.com/office/drawing/2014/main" id="{45FA03F8-1A2A-1354-8842-5B255E850DA7}"/>
              </a:ext>
            </a:extLst>
          </p:cNvPr>
          <p:cNvSpPr/>
          <p:nvPr/>
        </p:nvSpPr>
        <p:spPr bwMode="gray">
          <a:xfrm rot="16200000">
            <a:off x="3366271" y="5737060"/>
            <a:ext cx="5095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2" name="Up Arrow 171">
            <a:extLst>
              <a:ext uri="{FF2B5EF4-FFF2-40B4-BE49-F238E27FC236}">
                <a16:creationId xmlns:a16="http://schemas.microsoft.com/office/drawing/2014/main" id="{3759AD08-B9C2-4CFB-079E-4E0D7792D1F2}"/>
              </a:ext>
            </a:extLst>
          </p:cNvPr>
          <p:cNvSpPr/>
          <p:nvPr/>
        </p:nvSpPr>
        <p:spPr bwMode="gray">
          <a:xfrm rot="5400000">
            <a:off x="3834287" y="5737058"/>
            <a:ext cx="5095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3" name="Rectangle 172">
            <a:extLst>
              <a:ext uri="{FF2B5EF4-FFF2-40B4-BE49-F238E27FC236}">
                <a16:creationId xmlns:a16="http://schemas.microsoft.com/office/drawing/2014/main" id="{10E35953-B4B6-FE7E-70F8-62206F49275F}"/>
              </a:ext>
            </a:extLst>
          </p:cNvPr>
          <p:cNvSpPr/>
          <p:nvPr/>
        </p:nvSpPr>
        <p:spPr bwMode="gray">
          <a:xfrm rot="16200000">
            <a:off x="769102" y="2776041"/>
            <a:ext cx="725107" cy="242435"/>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Separator</a:t>
            </a:r>
          </a:p>
        </p:txBody>
      </p:sp>
      <p:sp>
        <p:nvSpPr>
          <p:cNvPr id="174" name="Up Arrow 173">
            <a:extLst>
              <a:ext uri="{FF2B5EF4-FFF2-40B4-BE49-F238E27FC236}">
                <a16:creationId xmlns:a16="http://schemas.microsoft.com/office/drawing/2014/main" id="{58773026-2984-F0A1-F6CB-78FF8CBDEE62}"/>
              </a:ext>
            </a:extLst>
          </p:cNvPr>
          <p:cNvSpPr/>
          <p:nvPr/>
        </p:nvSpPr>
        <p:spPr bwMode="gray">
          <a:xfrm rot="5400000">
            <a:off x="2268875" y="3056453"/>
            <a:ext cx="5095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5" name="Up Arrow 174">
            <a:extLst>
              <a:ext uri="{FF2B5EF4-FFF2-40B4-BE49-F238E27FC236}">
                <a16:creationId xmlns:a16="http://schemas.microsoft.com/office/drawing/2014/main" id="{0EF7CACC-41FE-48D4-3BA0-FBE79D528355}"/>
              </a:ext>
            </a:extLst>
          </p:cNvPr>
          <p:cNvSpPr/>
          <p:nvPr/>
        </p:nvSpPr>
        <p:spPr bwMode="gray">
          <a:xfrm rot="5400000">
            <a:off x="1418880" y="2357688"/>
            <a:ext cx="5095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6" name="Up Arrow 175">
            <a:extLst>
              <a:ext uri="{FF2B5EF4-FFF2-40B4-BE49-F238E27FC236}">
                <a16:creationId xmlns:a16="http://schemas.microsoft.com/office/drawing/2014/main" id="{9463EECF-2EDD-C850-7E41-834B5D5BA5B8}"/>
              </a:ext>
            </a:extLst>
          </p:cNvPr>
          <p:cNvSpPr/>
          <p:nvPr/>
        </p:nvSpPr>
        <p:spPr bwMode="gray">
          <a:xfrm rot="5400000">
            <a:off x="2896866" y="2344077"/>
            <a:ext cx="5095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7" name="Oval 176">
            <a:extLst>
              <a:ext uri="{FF2B5EF4-FFF2-40B4-BE49-F238E27FC236}">
                <a16:creationId xmlns:a16="http://schemas.microsoft.com/office/drawing/2014/main" id="{7C9A1471-E5A2-5C81-0F9E-6AF48D5863F3}"/>
              </a:ext>
            </a:extLst>
          </p:cNvPr>
          <p:cNvSpPr/>
          <p:nvPr/>
        </p:nvSpPr>
        <p:spPr bwMode="gray">
          <a:xfrm>
            <a:off x="932712" y="2801014"/>
            <a:ext cx="52419" cy="50951"/>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8" name="Oval 177">
            <a:extLst>
              <a:ext uri="{FF2B5EF4-FFF2-40B4-BE49-F238E27FC236}">
                <a16:creationId xmlns:a16="http://schemas.microsoft.com/office/drawing/2014/main" id="{BC1C15FE-F0A1-87E3-A23D-B3B5F967DF6E}"/>
              </a:ext>
            </a:extLst>
          </p:cNvPr>
          <p:cNvSpPr/>
          <p:nvPr/>
        </p:nvSpPr>
        <p:spPr bwMode="gray">
          <a:xfrm flipH="1" flipV="1">
            <a:off x="879293" y="2845747"/>
            <a:ext cx="52419" cy="50951"/>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9" name="Oval 178">
            <a:extLst>
              <a:ext uri="{FF2B5EF4-FFF2-40B4-BE49-F238E27FC236}">
                <a16:creationId xmlns:a16="http://schemas.microsoft.com/office/drawing/2014/main" id="{74E44287-98A3-C745-1674-206DF27378D0}"/>
              </a:ext>
            </a:extLst>
          </p:cNvPr>
          <p:cNvSpPr/>
          <p:nvPr/>
        </p:nvSpPr>
        <p:spPr bwMode="gray">
          <a:xfrm>
            <a:off x="946481" y="2854246"/>
            <a:ext cx="52419" cy="50951"/>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0" name="Oval 179">
            <a:extLst>
              <a:ext uri="{FF2B5EF4-FFF2-40B4-BE49-F238E27FC236}">
                <a16:creationId xmlns:a16="http://schemas.microsoft.com/office/drawing/2014/main" id="{DE0E0B8E-1B48-1C34-F9DF-8139366BD228}"/>
              </a:ext>
            </a:extLst>
          </p:cNvPr>
          <p:cNvSpPr/>
          <p:nvPr/>
        </p:nvSpPr>
        <p:spPr bwMode="gray">
          <a:xfrm flipV="1">
            <a:off x="850512" y="2803292"/>
            <a:ext cx="52419" cy="50951"/>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81" name="Graphic 180" descr="Badge 1 with solid fill">
            <a:extLst>
              <a:ext uri="{FF2B5EF4-FFF2-40B4-BE49-F238E27FC236}">
                <a16:creationId xmlns:a16="http://schemas.microsoft.com/office/drawing/2014/main" id="{B41BFB83-53D3-2688-3991-FCEBBD0810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2716" y="5449009"/>
            <a:ext cx="193802" cy="188377"/>
          </a:xfrm>
          <a:prstGeom prst="rect">
            <a:avLst/>
          </a:prstGeom>
        </p:spPr>
      </p:pic>
      <p:pic>
        <p:nvPicPr>
          <p:cNvPr id="182" name="Graphic 181" descr="Badge with solid fill">
            <a:extLst>
              <a:ext uri="{FF2B5EF4-FFF2-40B4-BE49-F238E27FC236}">
                <a16:creationId xmlns:a16="http://schemas.microsoft.com/office/drawing/2014/main" id="{3782D6E9-FB88-0891-D475-4A71A4A58E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95629" y="2552496"/>
            <a:ext cx="199195" cy="193619"/>
          </a:xfrm>
          <a:prstGeom prst="rect">
            <a:avLst/>
          </a:prstGeom>
        </p:spPr>
      </p:pic>
      <p:pic>
        <p:nvPicPr>
          <p:cNvPr id="183" name="Graphic 182" descr="Badge 4 with solid fill">
            <a:extLst>
              <a:ext uri="{FF2B5EF4-FFF2-40B4-BE49-F238E27FC236}">
                <a16:creationId xmlns:a16="http://schemas.microsoft.com/office/drawing/2014/main" id="{A7197B18-FB84-59C4-7C4E-83AC9123B8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77723" y="2766596"/>
            <a:ext cx="199195" cy="193619"/>
          </a:xfrm>
          <a:prstGeom prst="rect">
            <a:avLst/>
          </a:prstGeom>
        </p:spPr>
      </p:pic>
      <p:pic>
        <p:nvPicPr>
          <p:cNvPr id="184" name="Graphic 183" descr="Badge 3 with solid fill">
            <a:extLst>
              <a:ext uri="{FF2B5EF4-FFF2-40B4-BE49-F238E27FC236}">
                <a16:creationId xmlns:a16="http://schemas.microsoft.com/office/drawing/2014/main" id="{54353E82-B3B9-45A1-BE5A-920651D67F6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584669" y="2490920"/>
            <a:ext cx="199195" cy="193619"/>
          </a:xfrm>
          <a:prstGeom prst="rect">
            <a:avLst/>
          </a:prstGeom>
        </p:spPr>
      </p:pic>
      <p:pic>
        <p:nvPicPr>
          <p:cNvPr id="185" name="Graphic 184" descr="Badge 5 with solid fill">
            <a:extLst>
              <a:ext uri="{FF2B5EF4-FFF2-40B4-BE49-F238E27FC236}">
                <a16:creationId xmlns:a16="http://schemas.microsoft.com/office/drawing/2014/main" id="{D306ECAC-A5F3-CFD2-EACE-E5776E889F9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391746" y="3828587"/>
            <a:ext cx="199195" cy="193619"/>
          </a:xfrm>
          <a:prstGeom prst="rect">
            <a:avLst/>
          </a:prstGeom>
        </p:spPr>
      </p:pic>
      <p:pic>
        <p:nvPicPr>
          <p:cNvPr id="186" name="Graphic 185" descr="Badge 4 with solid fill">
            <a:extLst>
              <a:ext uri="{FF2B5EF4-FFF2-40B4-BE49-F238E27FC236}">
                <a16:creationId xmlns:a16="http://schemas.microsoft.com/office/drawing/2014/main" id="{4BEE495F-E97E-3F18-49FE-17D00E0FF4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393556" y="4683771"/>
            <a:ext cx="246888" cy="246888"/>
          </a:xfrm>
          <a:prstGeom prst="rect">
            <a:avLst/>
          </a:prstGeom>
        </p:spPr>
      </p:pic>
      <p:sp>
        <p:nvSpPr>
          <p:cNvPr id="187" name="TextBox 186">
            <a:extLst>
              <a:ext uri="{FF2B5EF4-FFF2-40B4-BE49-F238E27FC236}">
                <a16:creationId xmlns:a16="http://schemas.microsoft.com/office/drawing/2014/main" id="{9F060B86-E743-F9C1-DF35-395709DF9C9F}"/>
              </a:ext>
            </a:extLst>
          </p:cNvPr>
          <p:cNvSpPr txBox="1"/>
          <p:nvPr/>
        </p:nvSpPr>
        <p:spPr bwMode="gray">
          <a:xfrm>
            <a:off x="4723181" y="4683771"/>
            <a:ext cx="2927685" cy="580534"/>
          </a:xfrm>
          <a:prstGeom prst="rect">
            <a:avLst/>
          </a:prstGeom>
          <a:noFill/>
        </p:spPr>
        <p:txBody>
          <a:bodyPr wrap="square" lIns="36000" tIns="36000" rIns="36000" bIns="36000" rtlCol="0">
            <a:spAutoFit/>
          </a:bodyPr>
          <a:lstStyle/>
          <a:p>
            <a:pPr marL="0" indent="0">
              <a:buNone/>
            </a:pPr>
            <a:r>
              <a:rPr lang="en-US" sz="1100" dirty="0"/>
              <a:t>After passing through the turbine, the </a:t>
            </a:r>
            <a:r>
              <a:rPr lang="en-US" sz="1100" b="1" dirty="0"/>
              <a:t>lower-energy steam is cooled in a condenser</a:t>
            </a:r>
            <a:r>
              <a:rPr lang="en-US" sz="1100" dirty="0"/>
              <a:t> and condensed back into water.</a:t>
            </a:r>
          </a:p>
        </p:txBody>
      </p:sp>
      <p:sp>
        <p:nvSpPr>
          <p:cNvPr id="188" name="TextBox 187">
            <a:extLst>
              <a:ext uri="{FF2B5EF4-FFF2-40B4-BE49-F238E27FC236}">
                <a16:creationId xmlns:a16="http://schemas.microsoft.com/office/drawing/2014/main" id="{1654745D-23D3-9617-FB08-C89B3B697E54}"/>
              </a:ext>
            </a:extLst>
          </p:cNvPr>
          <p:cNvSpPr txBox="1"/>
          <p:nvPr/>
        </p:nvSpPr>
        <p:spPr bwMode="gray">
          <a:xfrm>
            <a:off x="4723181" y="5419133"/>
            <a:ext cx="2927685" cy="749812"/>
          </a:xfrm>
          <a:prstGeom prst="rect">
            <a:avLst/>
          </a:prstGeom>
          <a:noFill/>
        </p:spPr>
        <p:txBody>
          <a:bodyPr wrap="square" lIns="36000" tIns="36000" rIns="36000" bIns="36000" rtlCol="0">
            <a:spAutoFit/>
          </a:bodyPr>
          <a:lstStyle/>
          <a:p>
            <a:pPr marL="0" indent="0">
              <a:buNone/>
            </a:pPr>
            <a:r>
              <a:rPr lang="en-US" sz="1100" b="1" dirty="0"/>
              <a:t>The condensed water is pumped down through the reinjection </a:t>
            </a:r>
            <a:r>
              <a:rPr lang="en-US" sz="1100" dirty="0"/>
              <a:t>well, which returns the water to the underground reservoir to sustain the geothermal cycle. </a:t>
            </a:r>
          </a:p>
        </p:txBody>
      </p:sp>
      <p:pic>
        <p:nvPicPr>
          <p:cNvPr id="189" name="Graphic 188" descr="Badge 5 with solid fill">
            <a:extLst>
              <a:ext uri="{FF2B5EF4-FFF2-40B4-BE49-F238E27FC236}">
                <a16:creationId xmlns:a16="http://schemas.microsoft.com/office/drawing/2014/main" id="{AFEE6626-9D87-C2F1-9B9E-80FEBAEC065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93556" y="5427003"/>
            <a:ext cx="246888" cy="246888"/>
          </a:xfrm>
          <a:prstGeom prst="rect">
            <a:avLst/>
          </a:prstGeom>
        </p:spPr>
      </p:pic>
      <p:cxnSp>
        <p:nvCxnSpPr>
          <p:cNvPr id="190" name="Straight Connector 189">
            <a:extLst>
              <a:ext uri="{FF2B5EF4-FFF2-40B4-BE49-F238E27FC236}">
                <a16:creationId xmlns:a16="http://schemas.microsoft.com/office/drawing/2014/main" id="{ABA09A66-81E3-56DD-DB04-1C0A87976D34}"/>
              </a:ext>
            </a:extLst>
          </p:cNvPr>
          <p:cNvCxnSpPr>
            <a:cxnSpLocks/>
          </p:cNvCxnSpPr>
          <p:nvPr/>
        </p:nvCxnSpPr>
        <p:spPr bwMode="gray">
          <a:xfrm>
            <a:off x="4502744" y="4606357"/>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1" name="Rounded Rectangle 190">
            <a:extLst>
              <a:ext uri="{FF2B5EF4-FFF2-40B4-BE49-F238E27FC236}">
                <a16:creationId xmlns:a16="http://schemas.microsoft.com/office/drawing/2014/main" id="{124D2566-1F10-6930-076D-E5138B2A9A78}"/>
              </a:ext>
            </a:extLst>
          </p:cNvPr>
          <p:cNvSpPr/>
          <p:nvPr/>
        </p:nvSpPr>
        <p:spPr bwMode="gray">
          <a:xfrm>
            <a:off x="8105486" y="3989975"/>
            <a:ext cx="3756314" cy="2307953"/>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2" name="Rounded Rectangle 191">
            <a:extLst>
              <a:ext uri="{FF2B5EF4-FFF2-40B4-BE49-F238E27FC236}">
                <a16:creationId xmlns:a16="http://schemas.microsoft.com/office/drawing/2014/main" id="{50D8EDFF-EE60-EF45-43A4-0911E679C27E}"/>
              </a:ext>
            </a:extLst>
          </p:cNvPr>
          <p:cNvSpPr/>
          <p:nvPr/>
        </p:nvSpPr>
        <p:spPr bwMode="gray">
          <a:xfrm>
            <a:off x="8105486" y="1594633"/>
            <a:ext cx="3756314" cy="2206816"/>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3" name="TextBox 192">
            <a:extLst>
              <a:ext uri="{FF2B5EF4-FFF2-40B4-BE49-F238E27FC236}">
                <a16:creationId xmlns:a16="http://schemas.microsoft.com/office/drawing/2014/main" id="{A01AD191-FF4E-50DA-DE30-FB1A04EFCA48}"/>
              </a:ext>
            </a:extLst>
          </p:cNvPr>
          <p:cNvSpPr txBox="1"/>
          <p:nvPr/>
        </p:nvSpPr>
        <p:spPr bwMode="gray">
          <a:xfrm>
            <a:off x="8692729" y="1753429"/>
            <a:ext cx="943134"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Advantages</a:t>
            </a:r>
            <a:endParaRPr lang="en-US" sz="1200" dirty="0"/>
          </a:p>
        </p:txBody>
      </p:sp>
      <p:sp>
        <p:nvSpPr>
          <p:cNvPr id="194" name="TextBox 193">
            <a:extLst>
              <a:ext uri="{FF2B5EF4-FFF2-40B4-BE49-F238E27FC236}">
                <a16:creationId xmlns:a16="http://schemas.microsoft.com/office/drawing/2014/main" id="{DB351048-DB0C-1427-B3FD-5268F44D3CA1}"/>
              </a:ext>
            </a:extLst>
          </p:cNvPr>
          <p:cNvSpPr txBox="1"/>
          <p:nvPr/>
        </p:nvSpPr>
        <p:spPr bwMode="gray">
          <a:xfrm>
            <a:off x="8701548" y="4114163"/>
            <a:ext cx="1156333"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Disadvantages</a:t>
            </a:r>
            <a:endParaRPr lang="en-US" sz="1200" dirty="0"/>
          </a:p>
        </p:txBody>
      </p:sp>
      <p:cxnSp>
        <p:nvCxnSpPr>
          <p:cNvPr id="195" name="Straight Connector 194">
            <a:extLst>
              <a:ext uri="{FF2B5EF4-FFF2-40B4-BE49-F238E27FC236}">
                <a16:creationId xmlns:a16="http://schemas.microsoft.com/office/drawing/2014/main" id="{A1BC8F75-1C81-3D03-17DE-8F42ABD8FCB9}"/>
              </a:ext>
            </a:extLst>
          </p:cNvPr>
          <p:cNvCxnSpPr>
            <a:cxnSpLocks/>
          </p:cNvCxnSpPr>
          <p:nvPr/>
        </p:nvCxnSpPr>
        <p:spPr bwMode="gray">
          <a:xfrm>
            <a:off x="8354401" y="443254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6" name="TextBox 195">
            <a:extLst>
              <a:ext uri="{FF2B5EF4-FFF2-40B4-BE49-F238E27FC236}">
                <a16:creationId xmlns:a16="http://schemas.microsoft.com/office/drawing/2014/main" id="{C6E51F95-FF2F-88B0-815B-A89E778E699C}"/>
              </a:ext>
            </a:extLst>
          </p:cNvPr>
          <p:cNvSpPr txBox="1"/>
          <p:nvPr/>
        </p:nvSpPr>
        <p:spPr bwMode="gray">
          <a:xfrm>
            <a:off x="8359448" y="2132629"/>
            <a:ext cx="3247533" cy="1565419"/>
          </a:xfrm>
          <a:prstGeom prst="rect">
            <a:avLst/>
          </a:prstGeom>
          <a:noFill/>
        </p:spPr>
        <p:txBody>
          <a:bodyPr wrap="square" lIns="36000" tIns="36000" rIns="36000" bIns="36000" rtlCol="0">
            <a:spAutoFit/>
          </a:bodyPr>
          <a:lstStyle/>
          <a:p>
            <a:r>
              <a:rPr lang="en-US" sz="1100" b="1" dirty="0"/>
              <a:t>Most common geothermal technology </a:t>
            </a:r>
            <a:r>
              <a:rPr lang="en-US" sz="1100" dirty="0"/>
              <a:t>– proven at commercial scale worldwide</a:t>
            </a:r>
          </a:p>
          <a:p>
            <a:r>
              <a:rPr lang="en-US" sz="1100" b="1" dirty="0"/>
              <a:t>Higher resource availability </a:t>
            </a:r>
            <a:r>
              <a:rPr lang="en-US" sz="1100" dirty="0"/>
              <a:t>– can use hot water reservoirs, which are more common than dry steam</a:t>
            </a:r>
          </a:p>
          <a:p>
            <a:r>
              <a:rPr lang="en-US" sz="1100" b="1" dirty="0"/>
              <a:t>High efficiency </a:t>
            </a:r>
            <a:r>
              <a:rPr lang="en-US" sz="1100" dirty="0"/>
              <a:t>– suitable for high-temperature reservoirs (&gt;180°C)</a:t>
            </a:r>
          </a:p>
        </p:txBody>
      </p:sp>
      <p:sp>
        <p:nvSpPr>
          <p:cNvPr id="197" name="TextBox 196">
            <a:extLst>
              <a:ext uri="{FF2B5EF4-FFF2-40B4-BE49-F238E27FC236}">
                <a16:creationId xmlns:a16="http://schemas.microsoft.com/office/drawing/2014/main" id="{56590B6F-41D1-32D6-8247-3D1D6EAACA95}"/>
              </a:ext>
            </a:extLst>
          </p:cNvPr>
          <p:cNvSpPr txBox="1"/>
          <p:nvPr/>
        </p:nvSpPr>
        <p:spPr bwMode="gray">
          <a:xfrm>
            <a:off x="8359448" y="4535137"/>
            <a:ext cx="3247533" cy="1565419"/>
          </a:xfrm>
          <a:prstGeom prst="rect">
            <a:avLst/>
          </a:prstGeom>
          <a:noFill/>
        </p:spPr>
        <p:txBody>
          <a:bodyPr wrap="square" lIns="36000" tIns="36000" rIns="36000" bIns="36000" rtlCol="0">
            <a:spAutoFit/>
          </a:bodyPr>
          <a:lstStyle/>
          <a:p>
            <a:r>
              <a:rPr lang="en-US" sz="1100" b="1" dirty="0"/>
              <a:t>Requires very hot resources </a:t>
            </a:r>
            <a:r>
              <a:rPr lang="en-US" sz="1100" dirty="0"/>
              <a:t>– limited to areas with high-temperature reservoirs</a:t>
            </a:r>
          </a:p>
          <a:p>
            <a:r>
              <a:rPr lang="en-US" sz="1100" b="1" dirty="0"/>
              <a:t>Mineral scaling and corrosion </a:t>
            </a:r>
            <a:r>
              <a:rPr lang="en-US" sz="1100" dirty="0"/>
              <a:t>– dissolved minerals in hot water can clog or damage equipment</a:t>
            </a:r>
          </a:p>
          <a:p>
            <a:r>
              <a:rPr lang="en-US" sz="1100" b="1" dirty="0"/>
              <a:t>Water management challenges </a:t>
            </a:r>
            <a:r>
              <a:rPr lang="en-US" sz="1100" dirty="0"/>
              <a:t>– large volumes of brine need proper reinjection</a:t>
            </a:r>
          </a:p>
        </p:txBody>
      </p:sp>
      <p:pic>
        <p:nvPicPr>
          <p:cNvPr id="198" name="Graphic 197" descr="Badge Follow with solid fill">
            <a:extLst>
              <a:ext uri="{FF2B5EF4-FFF2-40B4-BE49-F238E27FC236}">
                <a16:creationId xmlns:a16="http://schemas.microsoft.com/office/drawing/2014/main" id="{C160F590-2AF9-1BAB-08E1-08B6138DE14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350628" y="1703390"/>
            <a:ext cx="292608" cy="292608"/>
          </a:xfrm>
          <a:prstGeom prst="rect">
            <a:avLst/>
          </a:prstGeom>
        </p:spPr>
      </p:pic>
      <p:pic>
        <p:nvPicPr>
          <p:cNvPr id="199" name="Graphic 198" descr="Badge Unfollow with solid fill">
            <a:extLst>
              <a:ext uri="{FF2B5EF4-FFF2-40B4-BE49-F238E27FC236}">
                <a16:creationId xmlns:a16="http://schemas.microsoft.com/office/drawing/2014/main" id="{8A343C06-67BC-91E2-5D92-43A2BD17124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354401" y="4066010"/>
            <a:ext cx="292608" cy="292608"/>
          </a:xfrm>
          <a:prstGeom prst="rect">
            <a:avLst/>
          </a:prstGeom>
        </p:spPr>
      </p:pic>
      <p:cxnSp>
        <p:nvCxnSpPr>
          <p:cNvPr id="200" name="Straight Connector 199">
            <a:extLst>
              <a:ext uri="{FF2B5EF4-FFF2-40B4-BE49-F238E27FC236}">
                <a16:creationId xmlns:a16="http://schemas.microsoft.com/office/drawing/2014/main" id="{D635649F-68D6-47DF-38B6-0022FBA70188}"/>
              </a:ext>
            </a:extLst>
          </p:cNvPr>
          <p:cNvCxnSpPr>
            <a:cxnSpLocks/>
          </p:cNvCxnSpPr>
          <p:nvPr/>
        </p:nvCxnSpPr>
        <p:spPr bwMode="gray">
          <a:xfrm>
            <a:off x="8354401" y="204263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AD04715E-AB0E-7AB9-65E1-4F09AC72E4F2}"/>
              </a:ext>
            </a:extLst>
          </p:cNvPr>
          <p:cNvGrpSpPr/>
          <p:nvPr/>
        </p:nvGrpSpPr>
        <p:grpSpPr>
          <a:xfrm>
            <a:off x="4462461" y="1691560"/>
            <a:ext cx="3021924" cy="370155"/>
            <a:chOff x="4462461" y="1691560"/>
            <a:chExt cx="3021924" cy="370155"/>
          </a:xfrm>
        </p:grpSpPr>
        <p:cxnSp>
          <p:nvCxnSpPr>
            <p:cNvPr id="202" name="Straight Connector 201">
              <a:extLst>
                <a:ext uri="{FF2B5EF4-FFF2-40B4-BE49-F238E27FC236}">
                  <a16:creationId xmlns:a16="http://schemas.microsoft.com/office/drawing/2014/main" id="{686E340C-71CC-0DA0-8105-9911C5018529}"/>
                </a:ext>
              </a:extLst>
            </p:cNvPr>
            <p:cNvCxnSpPr>
              <a:cxnSpLocks/>
            </p:cNvCxnSpPr>
            <p:nvPr/>
          </p:nvCxnSpPr>
          <p:spPr bwMode="gray">
            <a:xfrm>
              <a:off x="4502744" y="2061715"/>
              <a:ext cx="29816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4225B1A4-E43A-1476-7B72-052400B4B94E}"/>
                </a:ext>
              </a:extLst>
            </p:cNvPr>
            <p:cNvSpPr txBox="1"/>
            <p:nvPr/>
          </p:nvSpPr>
          <p:spPr bwMode="gray">
            <a:xfrm>
              <a:off x="4866884" y="1745756"/>
              <a:ext cx="669020" cy="257369"/>
            </a:xfrm>
            <a:prstGeom prst="rect">
              <a:avLst/>
            </a:prstGeom>
            <a:noFill/>
          </p:spPr>
          <p:txBody>
            <a:bodyPr wrap="none" lIns="36000" tIns="36000" rIns="36000" bIns="36000" rtlCol="0">
              <a:spAutoFit/>
            </a:bodyPr>
            <a:lstStyle/>
            <a:p>
              <a:pPr marL="0" indent="0">
                <a:buNone/>
              </a:pPr>
              <a:r>
                <a:rPr lang="en-US" sz="1200" b="1" dirty="0"/>
                <a:t>Process</a:t>
              </a:r>
              <a:endParaRPr lang="en-US" sz="1200" dirty="0"/>
            </a:p>
          </p:txBody>
        </p:sp>
        <p:pic>
          <p:nvPicPr>
            <p:cNvPr id="204" name="Graphic 203" descr="Single gear with solid fill">
              <a:extLst>
                <a:ext uri="{FF2B5EF4-FFF2-40B4-BE49-F238E27FC236}">
                  <a16:creationId xmlns:a16="http://schemas.microsoft.com/office/drawing/2014/main" id="{5F84FAD1-352F-EADC-57EF-9881D76FFEF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62461" y="1691560"/>
              <a:ext cx="365760" cy="365760"/>
            </a:xfrm>
            <a:prstGeom prst="rect">
              <a:avLst/>
            </a:prstGeom>
          </p:spPr>
        </p:pic>
      </p:grpSp>
      <p:grpSp>
        <p:nvGrpSpPr>
          <p:cNvPr id="209" name="Group 208">
            <a:extLst>
              <a:ext uri="{FF2B5EF4-FFF2-40B4-BE49-F238E27FC236}">
                <a16:creationId xmlns:a16="http://schemas.microsoft.com/office/drawing/2014/main" id="{94310B27-029A-D611-40C6-012F000CE573}"/>
              </a:ext>
            </a:extLst>
          </p:cNvPr>
          <p:cNvGrpSpPr/>
          <p:nvPr/>
        </p:nvGrpSpPr>
        <p:grpSpPr>
          <a:xfrm>
            <a:off x="330200" y="1201000"/>
            <a:ext cx="947784" cy="352445"/>
            <a:chOff x="330200" y="1201000"/>
            <a:chExt cx="947784" cy="352445"/>
          </a:xfrm>
        </p:grpSpPr>
        <p:sp>
          <p:nvSpPr>
            <p:cNvPr id="210" name="Rectangle 209">
              <a:extLst>
                <a:ext uri="{FF2B5EF4-FFF2-40B4-BE49-F238E27FC236}">
                  <a16:creationId xmlns:a16="http://schemas.microsoft.com/office/drawing/2014/main" id="{CA89CB4E-0EA6-0464-03CA-95EDEE0BA7C1}"/>
                </a:ext>
              </a:extLst>
            </p:cNvPr>
            <p:cNvSpPr/>
            <p:nvPr/>
          </p:nvSpPr>
          <p:spPr bwMode="gray">
            <a:xfrm>
              <a:off x="330200" y="1201000"/>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1" name="Rectangle 210">
              <a:extLst>
                <a:ext uri="{FF2B5EF4-FFF2-40B4-BE49-F238E27FC236}">
                  <a16:creationId xmlns:a16="http://schemas.microsoft.com/office/drawing/2014/main" id="{79AD3939-5DE2-6514-D3C1-9833A5C5163C}"/>
                </a:ext>
              </a:extLst>
            </p:cNvPr>
            <p:cNvSpPr/>
            <p:nvPr/>
          </p:nvSpPr>
          <p:spPr bwMode="gray">
            <a:xfrm>
              <a:off x="332313" y="1396211"/>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2" name="TextBox 211">
              <a:extLst>
                <a:ext uri="{FF2B5EF4-FFF2-40B4-BE49-F238E27FC236}">
                  <a16:creationId xmlns:a16="http://schemas.microsoft.com/office/drawing/2014/main" id="{67614F10-75AA-B3C0-E0FE-DC1AE83DDA36}"/>
                </a:ext>
              </a:extLst>
            </p:cNvPr>
            <p:cNvSpPr txBox="1"/>
            <p:nvPr/>
          </p:nvSpPr>
          <p:spPr bwMode="gray">
            <a:xfrm>
              <a:off x="506418" y="1201000"/>
              <a:ext cx="771566" cy="15723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213" name="TextBox 212">
              <a:extLst>
                <a:ext uri="{FF2B5EF4-FFF2-40B4-BE49-F238E27FC236}">
                  <a16:creationId xmlns:a16="http://schemas.microsoft.com/office/drawing/2014/main" id="{F6A0435D-7821-48C8-7025-599DDD7A9C74}"/>
                </a:ext>
              </a:extLst>
            </p:cNvPr>
            <p:cNvSpPr txBox="1"/>
            <p:nvPr/>
          </p:nvSpPr>
          <p:spPr bwMode="gray">
            <a:xfrm>
              <a:off x="504540" y="1396211"/>
              <a:ext cx="747385" cy="157234"/>
            </a:xfrm>
            <a:prstGeom prst="rect">
              <a:avLst/>
            </a:prstGeom>
            <a:noFill/>
          </p:spPr>
          <p:txBody>
            <a:bodyPr wrap="none" lIns="36000" tIns="36000" rIns="36000" bIns="36000" rtlCol="0">
              <a:spAutoFit/>
            </a:bodyPr>
            <a:lstStyle/>
            <a:p>
              <a:pPr marL="0" indent="0">
                <a:buNone/>
              </a:pPr>
              <a:r>
                <a:rPr lang="en-US" sz="800" dirty="0"/>
                <a:t>Geothermal water</a:t>
              </a:r>
            </a:p>
          </p:txBody>
        </p:sp>
      </p:grpSp>
      <p:sp>
        <p:nvSpPr>
          <p:cNvPr id="214" name="Rectangle 213">
            <a:extLst>
              <a:ext uri="{FF2B5EF4-FFF2-40B4-BE49-F238E27FC236}">
                <a16:creationId xmlns:a16="http://schemas.microsoft.com/office/drawing/2014/main" id="{E73F14E0-E31E-2EC7-BC49-0493568DAA2B}"/>
              </a:ext>
            </a:extLst>
          </p:cNvPr>
          <p:cNvSpPr/>
          <p:nvPr/>
        </p:nvSpPr>
        <p:spPr bwMode="gray">
          <a:xfrm>
            <a:off x="401344" y="1399544"/>
            <a:ext cx="71578" cy="13911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011264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2B1C6-40D2-3B3E-05AF-79FFB00CCB6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A63EFBC-F3A7-72A5-4EDC-940359900734}"/>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6F8D87C-952C-7861-D214-F839BD5DD7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B3A96AE-E0DF-C2C0-349D-B219654AE96A}"/>
              </a:ext>
            </a:extLst>
          </p:cNvPr>
          <p:cNvSpPr>
            <a:spLocks noGrp="1"/>
          </p:cNvSpPr>
          <p:nvPr>
            <p:ph type="title"/>
          </p:nvPr>
        </p:nvSpPr>
        <p:spPr/>
        <p:txBody>
          <a:bodyPr vert="horz" rIns="91440"/>
          <a:lstStyle/>
          <a:p>
            <a:r>
              <a:rPr lang="en-US" dirty="0"/>
              <a:t>Deep-dive on technology: Binary cycle (3/3)</a:t>
            </a:r>
          </a:p>
        </p:txBody>
      </p:sp>
      <p:sp>
        <p:nvSpPr>
          <p:cNvPr id="4" name="Footer Placeholder 3">
            <a:extLst>
              <a:ext uri="{FF2B5EF4-FFF2-40B4-BE49-F238E27FC236}">
                <a16:creationId xmlns:a16="http://schemas.microsoft.com/office/drawing/2014/main" id="{B05932E6-2F2A-2DF8-E1C7-4B4297AE0B29}"/>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Global Geothermal Market and Technology Assessment</a:t>
            </a:r>
            <a:r>
              <a:rPr lang="en-US" dirty="0">
                <a:solidFill>
                  <a:srgbClr val="000000"/>
                </a:solidFill>
              </a:rPr>
              <a:t> (IRENA, 2023); </a:t>
            </a:r>
            <a:r>
              <a:rPr lang="en-US" dirty="0">
                <a:solidFill>
                  <a:srgbClr val="000000"/>
                </a:solidFill>
                <a:hlinkClick r:id="rId6"/>
              </a:rPr>
              <a:t>Exploring geothermal energy-based systems: Review from basics to smart systems</a:t>
            </a:r>
            <a:r>
              <a:rPr lang="en-US" dirty="0">
                <a:solidFill>
                  <a:srgbClr val="000000"/>
                </a:solidFill>
              </a:rPr>
              <a:t> </a:t>
            </a:r>
            <a:r>
              <a:rPr lang="en-US" dirty="0">
                <a:solidFill>
                  <a:srgbClr val="000000"/>
                </a:solidFill>
                <a:hlinkClick r:id="rId6"/>
              </a:rPr>
              <a:t>(</a:t>
            </a:r>
            <a:r>
              <a:rPr lang="en-US" dirty="0">
                <a:solidFill>
                  <a:srgbClr val="000000"/>
                </a:solidFill>
              </a:rPr>
              <a:t>Renewable and Sustainable Energy Reviews, 2025); </a:t>
            </a:r>
            <a:r>
              <a:rPr lang="en-US" dirty="0">
                <a:solidFill>
                  <a:srgbClr val="000000"/>
                </a:solidFill>
                <a:hlinkClick r:id="rId7"/>
              </a:rPr>
              <a:t>Geothermal technology: Trends and potential role in a sustainable future</a:t>
            </a:r>
            <a:r>
              <a:rPr lang="en-US" dirty="0">
                <a:solidFill>
                  <a:srgbClr val="000000"/>
                </a:solidFill>
              </a:rPr>
              <a:t> (Applied Energy, 2019).</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4589A9B8-6DC0-3C0D-C60A-033C63FD0818}"/>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
        <p:nvSpPr>
          <p:cNvPr id="8" name="Oval 7">
            <a:extLst>
              <a:ext uri="{FF2B5EF4-FFF2-40B4-BE49-F238E27FC236}">
                <a16:creationId xmlns:a16="http://schemas.microsoft.com/office/drawing/2014/main" id="{5BC126E2-D9E6-9DCF-6BB9-B5FA98B2423F}"/>
              </a:ext>
            </a:extLst>
          </p:cNvPr>
          <p:cNvSpPr>
            <a:spLocks noChangeAspect="1"/>
          </p:cNvSpPr>
          <p:nvPr/>
        </p:nvSpPr>
        <p:spPr bwMode="gray">
          <a:xfrm>
            <a:off x="54230" y="558865"/>
            <a:ext cx="274320" cy="274320"/>
          </a:xfrm>
          <a:prstGeom prst="ellipse">
            <a:avLst/>
          </a:prstGeom>
          <a:solidFill>
            <a:srgbClr val="009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47C1D9C0-53C3-7D5C-F4C3-DD67F4EBC3D6}"/>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solidFill>
                  <a:schemeClr val="bg1"/>
                </a:solidFill>
              </a:rPr>
              <a:t>C</a:t>
            </a:r>
          </a:p>
        </p:txBody>
      </p:sp>
      <p:sp>
        <p:nvSpPr>
          <p:cNvPr id="11" name="Rounded Rectangle 10">
            <a:extLst>
              <a:ext uri="{FF2B5EF4-FFF2-40B4-BE49-F238E27FC236}">
                <a16:creationId xmlns:a16="http://schemas.microsoft.com/office/drawing/2014/main" id="{27C58517-431F-2F64-DCF0-ECE82AF26C46}"/>
              </a:ext>
            </a:extLst>
          </p:cNvPr>
          <p:cNvSpPr/>
          <p:nvPr/>
        </p:nvSpPr>
        <p:spPr bwMode="gray">
          <a:xfrm>
            <a:off x="4184996" y="1594632"/>
            <a:ext cx="3756314" cy="4703297"/>
          </a:xfrm>
          <a:prstGeom prst="roundRect">
            <a:avLst>
              <a:gd name="adj" fmla="val 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2" name="Graphic 11" descr="Badge 1 with solid fill">
            <a:extLst>
              <a:ext uri="{FF2B5EF4-FFF2-40B4-BE49-F238E27FC236}">
                <a16:creationId xmlns:a16="http://schemas.microsoft.com/office/drawing/2014/main" id="{73F784DF-CC69-8993-96E7-4367D133F4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93556" y="2139129"/>
            <a:ext cx="245419" cy="245419"/>
          </a:xfrm>
          <a:prstGeom prst="rect">
            <a:avLst/>
          </a:prstGeom>
        </p:spPr>
      </p:pic>
      <p:sp>
        <p:nvSpPr>
          <p:cNvPr id="13" name="TextBox 12">
            <a:extLst>
              <a:ext uri="{FF2B5EF4-FFF2-40B4-BE49-F238E27FC236}">
                <a16:creationId xmlns:a16="http://schemas.microsoft.com/office/drawing/2014/main" id="{6E3C8B7B-DC8C-3BF5-998B-FF0372F64694}"/>
              </a:ext>
            </a:extLst>
          </p:cNvPr>
          <p:cNvSpPr txBox="1"/>
          <p:nvPr/>
        </p:nvSpPr>
        <p:spPr bwMode="gray">
          <a:xfrm>
            <a:off x="4723181" y="2139129"/>
            <a:ext cx="2927685" cy="580534"/>
          </a:xfrm>
          <a:prstGeom prst="rect">
            <a:avLst/>
          </a:prstGeom>
          <a:noFill/>
        </p:spPr>
        <p:txBody>
          <a:bodyPr wrap="square" lIns="36000" tIns="36000" rIns="36000" bIns="36000" rtlCol="0">
            <a:spAutoFit/>
          </a:bodyPr>
          <a:lstStyle/>
          <a:p>
            <a:pPr marL="0" indent="0">
              <a:buNone/>
            </a:pPr>
            <a:r>
              <a:rPr lang="en-US" sz="1100" dirty="0"/>
              <a:t>Moderately hot geothermal fluid (usually </a:t>
            </a:r>
            <a:br>
              <a:rPr lang="en-US" sz="1100" dirty="0"/>
            </a:br>
            <a:r>
              <a:rPr lang="en-US" sz="1100" dirty="0"/>
              <a:t>100-180°C) is pumped from the underground reservoir.</a:t>
            </a:r>
            <a:endParaRPr lang="en-US" sz="1100" b="1" dirty="0"/>
          </a:p>
        </p:txBody>
      </p:sp>
      <p:sp>
        <p:nvSpPr>
          <p:cNvPr id="14" name="TextBox 13">
            <a:extLst>
              <a:ext uri="{FF2B5EF4-FFF2-40B4-BE49-F238E27FC236}">
                <a16:creationId xmlns:a16="http://schemas.microsoft.com/office/drawing/2014/main" id="{F669D890-9FAC-C9A0-654C-D3057B4E1B6C}"/>
              </a:ext>
            </a:extLst>
          </p:cNvPr>
          <p:cNvSpPr txBox="1"/>
          <p:nvPr/>
        </p:nvSpPr>
        <p:spPr bwMode="gray">
          <a:xfrm>
            <a:off x="4723181" y="3043769"/>
            <a:ext cx="2927685" cy="749812"/>
          </a:xfrm>
          <a:prstGeom prst="rect">
            <a:avLst/>
          </a:prstGeom>
          <a:noFill/>
        </p:spPr>
        <p:txBody>
          <a:bodyPr wrap="square" lIns="36000" tIns="36000" rIns="36000" bIns="36000" rtlCol="0">
            <a:spAutoFit/>
          </a:bodyPr>
          <a:lstStyle/>
          <a:p>
            <a:pPr marL="0" indent="0">
              <a:buNone/>
            </a:pPr>
            <a:r>
              <a:rPr lang="en-US" sz="1100" dirty="0"/>
              <a:t>The geothermal fluid enters a heat exchanger. </a:t>
            </a:r>
            <a:r>
              <a:rPr lang="en-US" sz="1100" b="1" dirty="0"/>
              <a:t>It transfers heat to a secondary working fluid </a:t>
            </a:r>
            <a:r>
              <a:rPr lang="en-US" sz="1100" dirty="0"/>
              <a:t>with a much lower boiling point (often an organic fluid like isobutane or pentane).</a:t>
            </a:r>
            <a:endParaRPr lang="en-US" sz="1100" b="1" dirty="0"/>
          </a:p>
        </p:txBody>
      </p:sp>
      <p:pic>
        <p:nvPicPr>
          <p:cNvPr id="15" name="Graphic 14" descr="Badge with solid fill">
            <a:extLst>
              <a:ext uri="{FF2B5EF4-FFF2-40B4-BE49-F238E27FC236}">
                <a16:creationId xmlns:a16="http://schemas.microsoft.com/office/drawing/2014/main" id="{E30CD2F1-F630-6BEF-B8C1-250CC63CCA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3556" y="3085214"/>
            <a:ext cx="246888" cy="246888"/>
          </a:xfrm>
          <a:prstGeom prst="rect">
            <a:avLst/>
          </a:prstGeom>
        </p:spPr>
      </p:pic>
      <p:sp>
        <p:nvSpPr>
          <p:cNvPr id="16" name="TextBox 15">
            <a:extLst>
              <a:ext uri="{FF2B5EF4-FFF2-40B4-BE49-F238E27FC236}">
                <a16:creationId xmlns:a16="http://schemas.microsoft.com/office/drawing/2014/main" id="{389DFC2C-E636-0607-138D-C9B11DAA3967}"/>
              </a:ext>
            </a:extLst>
          </p:cNvPr>
          <p:cNvSpPr txBox="1"/>
          <p:nvPr/>
        </p:nvSpPr>
        <p:spPr bwMode="gray">
          <a:xfrm>
            <a:off x="4723181" y="3870994"/>
            <a:ext cx="2927685" cy="749812"/>
          </a:xfrm>
          <a:prstGeom prst="rect">
            <a:avLst/>
          </a:prstGeom>
          <a:noFill/>
        </p:spPr>
        <p:txBody>
          <a:bodyPr wrap="square" lIns="36000" tIns="36000" rIns="36000" bIns="36000" rtlCol="0">
            <a:spAutoFit/>
          </a:bodyPr>
          <a:lstStyle/>
          <a:p>
            <a:pPr marL="0" indent="0">
              <a:buNone/>
            </a:pPr>
            <a:r>
              <a:rPr lang="en-US" sz="1100" b="1" dirty="0"/>
              <a:t>The secondary fluid absorbs the heat and vaporizes</a:t>
            </a:r>
            <a:r>
              <a:rPr lang="en-US" sz="1100" dirty="0"/>
              <a:t>. The vapor drives the turbine, which spins the generator to produce electricity.</a:t>
            </a:r>
          </a:p>
        </p:txBody>
      </p:sp>
      <p:pic>
        <p:nvPicPr>
          <p:cNvPr id="17" name="Graphic 16" descr="Badge 3 with solid fill">
            <a:extLst>
              <a:ext uri="{FF2B5EF4-FFF2-40B4-BE49-F238E27FC236}">
                <a16:creationId xmlns:a16="http://schemas.microsoft.com/office/drawing/2014/main" id="{6B07817F-0740-367B-04EB-CEA5CFBB43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93556" y="3973144"/>
            <a:ext cx="246888" cy="246888"/>
          </a:xfrm>
          <a:prstGeom prst="rect">
            <a:avLst/>
          </a:prstGeom>
        </p:spPr>
      </p:pic>
      <p:cxnSp>
        <p:nvCxnSpPr>
          <p:cNvPr id="18" name="Straight Connector 17">
            <a:extLst>
              <a:ext uri="{FF2B5EF4-FFF2-40B4-BE49-F238E27FC236}">
                <a16:creationId xmlns:a16="http://schemas.microsoft.com/office/drawing/2014/main" id="{9735D139-6A9D-CADF-3A30-DA89051F0687}"/>
              </a:ext>
            </a:extLst>
          </p:cNvPr>
          <p:cNvCxnSpPr>
            <a:cxnSpLocks/>
          </p:cNvCxnSpPr>
          <p:nvPr/>
        </p:nvCxnSpPr>
        <p:spPr bwMode="gray">
          <a:xfrm>
            <a:off x="4502744" y="2966355"/>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1AAF6A3-1686-A1AA-59FC-43BD4DE81C9A}"/>
              </a:ext>
            </a:extLst>
          </p:cNvPr>
          <p:cNvCxnSpPr>
            <a:cxnSpLocks/>
          </p:cNvCxnSpPr>
          <p:nvPr/>
        </p:nvCxnSpPr>
        <p:spPr bwMode="gray">
          <a:xfrm>
            <a:off x="4502744" y="3870995"/>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CD08A8-A1D6-F18B-10A2-A43886A99FDB}"/>
              </a:ext>
            </a:extLst>
          </p:cNvPr>
          <p:cNvCxnSpPr>
            <a:cxnSpLocks/>
          </p:cNvCxnSpPr>
          <p:nvPr/>
        </p:nvCxnSpPr>
        <p:spPr bwMode="gray">
          <a:xfrm>
            <a:off x="4502744" y="5341719"/>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1" name="Graphic 20" descr="Badge 4 with solid fill">
            <a:extLst>
              <a:ext uri="{FF2B5EF4-FFF2-40B4-BE49-F238E27FC236}">
                <a16:creationId xmlns:a16="http://schemas.microsoft.com/office/drawing/2014/main" id="{47C8DBE6-107D-F4D0-0002-B6B0914584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93556" y="4683771"/>
            <a:ext cx="246888" cy="246888"/>
          </a:xfrm>
          <a:prstGeom prst="rect">
            <a:avLst/>
          </a:prstGeom>
        </p:spPr>
      </p:pic>
      <p:sp>
        <p:nvSpPr>
          <p:cNvPr id="22" name="TextBox 21">
            <a:extLst>
              <a:ext uri="{FF2B5EF4-FFF2-40B4-BE49-F238E27FC236}">
                <a16:creationId xmlns:a16="http://schemas.microsoft.com/office/drawing/2014/main" id="{D0516A12-33F3-FBCC-32DB-AF187BBAC411}"/>
              </a:ext>
            </a:extLst>
          </p:cNvPr>
          <p:cNvSpPr txBox="1"/>
          <p:nvPr/>
        </p:nvSpPr>
        <p:spPr bwMode="gray">
          <a:xfrm>
            <a:off x="4723181" y="4683771"/>
            <a:ext cx="2927685" cy="580534"/>
          </a:xfrm>
          <a:prstGeom prst="rect">
            <a:avLst/>
          </a:prstGeom>
          <a:noFill/>
        </p:spPr>
        <p:txBody>
          <a:bodyPr wrap="square" lIns="36000" tIns="36000" rIns="36000" bIns="36000" rtlCol="0">
            <a:spAutoFit/>
          </a:bodyPr>
          <a:lstStyle/>
          <a:p>
            <a:pPr marL="0" indent="0">
              <a:buNone/>
            </a:pPr>
            <a:r>
              <a:rPr lang="en-US" sz="1100" dirty="0"/>
              <a:t>After passing through the turbine, the </a:t>
            </a:r>
            <a:r>
              <a:rPr lang="en-US" sz="1100" b="1" dirty="0"/>
              <a:t>secondary vapor is cooled in the condenser </a:t>
            </a:r>
            <a:r>
              <a:rPr lang="en-US" sz="1100" dirty="0"/>
              <a:t>and returns to liquid form.</a:t>
            </a:r>
          </a:p>
        </p:txBody>
      </p:sp>
      <p:sp>
        <p:nvSpPr>
          <p:cNvPr id="23" name="TextBox 22">
            <a:extLst>
              <a:ext uri="{FF2B5EF4-FFF2-40B4-BE49-F238E27FC236}">
                <a16:creationId xmlns:a16="http://schemas.microsoft.com/office/drawing/2014/main" id="{B2B20B62-859F-324B-6C27-E748117AFBF8}"/>
              </a:ext>
            </a:extLst>
          </p:cNvPr>
          <p:cNvSpPr txBox="1"/>
          <p:nvPr/>
        </p:nvSpPr>
        <p:spPr bwMode="gray">
          <a:xfrm>
            <a:off x="4723181" y="5419133"/>
            <a:ext cx="2927685" cy="411257"/>
          </a:xfrm>
          <a:prstGeom prst="rect">
            <a:avLst/>
          </a:prstGeom>
          <a:noFill/>
        </p:spPr>
        <p:txBody>
          <a:bodyPr wrap="square" lIns="36000" tIns="36000" rIns="36000" bIns="36000" rtlCol="0">
            <a:spAutoFit/>
          </a:bodyPr>
          <a:lstStyle/>
          <a:p>
            <a:pPr marL="0" indent="0">
              <a:buNone/>
            </a:pPr>
            <a:r>
              <a:rPr lang="en-US" sz="1100" dirty="0"/>
              <a:t>The </a:t>
            </a:r>
            <a:r>
              <a:rPr lang="en-US" sz="1100" b="1" dirty="0"/>
              <a:t>cooled geothermal fluid is returned to the reservoir </a:t>
            </a:r>
            <a:r>
              <a:rPr lang="en-US" sz="1100" dirty="0"/>
              <a:t>through a reinjection well.</a:t>
            </a:r>
          </a:p>
        </p:txBody>
      </p:sp>
      <p:pic>
        <p:nvPicPr>
          <p:cNvPr id="24" name="Graphic 23" descr="Badge 5 with solid fill">
            <a:extLst>
              <a:ext uri="{FF2B5EF4-FFF2-40B4-BE49-F238E27FC236}">
                <a16:creationId xmlns:a16="http://schemas.microsoft.com/office/drawing/2014/main" id="{C6698FE7-45C9-D7F7-7650-A97D6FB13A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393556" y="5427003"/>
            <a:ext cx="246888" cy="246888"/>
          </a:xfrm>
          <a:prstGeom prst="rect">
            <a:avLst/>
          </a:prstGeom>
        </p:spPr>
      </p:pic>
      <p:cxnSp>
        <p:nvCxnSpPr>
          <p:cNvPr id="25" name="Straight Connector 24">
            <a:extLst>
              <a:ext uri="{FF2B5EF4-FFF2-40B4-BE49-F238E27FC236}">
                <a16:creationId xmlns:a16="http://schemas.microsoft.com/office/drawing/2014/main" id="{21E2E048-AD3A-A5B4-FEC1-FC066E4B45D9}"/>
              </a:ext>
            </a:extLst>
          </p:cNvPr>
          <p:cNvCxnSpPr>
            <a:cxnSpLocks/>
          </p:cNvCxnSpPr>
          <p:nvPr/>
        </p:nvCxnSpPr>
        <p:spPr bwMode="gray">
          <a:xfrm>
            <a:off x="4502744" y="4606357"/>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Rounded Rectangle 25">
            <a:extLst>
              <a:ext uri="{FF2B5EF4-FFF2-40B4-BE49-F238E27FC236}">
                <a16:creationId xmlns:a16="http://schemas.microsoft.com/office/drawing/2014/main" id="{CB4D81EA-5293-E0D5-67B4-DC679EA80EC8}"/>
              </a:ext>
            </a:extLst>
          </p:cNvPr>
          <p:cNvSpPr/>
          <p:nvPr/>
        </p:nvSpPr>
        <p:spPr bwMode="gray">
          <a:xfrm>
            <a:off x="8105486" y="3989975"/>
            <a:ext cx="3756314" cy="2307953"/>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ounded Rectangle 26">
            <a:extLst>
              <a:ext uri="{FF2B5EF4-FFF2-40B4-BE49-F238E27FC236}">
                <a16:creationId xmlns:a16="http://schemas.microsoft.com/office/drawing/2014/main" id="{08DDBC0D-76EC-3D11-2111-DC568450D678}"/>
              </a:ext>
            </a:extLst>
          </p:cNvPr>
          <p:cNvSpPr/>
          <p:nvPr/>
        </p:nvSpPr>
        <p:spPr bwMode="gray">
          <a:xfrm>
            <a:off x="8105486" y="1594633"/>
            <a:ext cx="3756314" cy="2206816"/>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TextBox 27">
            <a:extLst>
              <a:ext uri="{FF2B5EF4-FFF2-40B4-BE49-F238E27FC236}">
                <a16:creationId xmlns:a16="http://schemas.microsoft.com/office/drawing/2014/main" id="{18603694-2852-FAD1-6834-371C0D4436CA}"/>
              </a:ext>
            </a:extLst>
          </p:cNvPr>
          <p:cNvSpPr txBox="1"/>
          <p:nvPr/>
        </p:nvSpPr>
        <p:spPr bwMode="gray">
          <a:xfrm>
            <a:off x="8692729" y="1753429"/>
            <a:ext cx="943134"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Advantages</a:t>
            </a:r>
            <a:endParaRPr lang="en-US" sz="1200" dirty="0"/>
          </a:p>
        </p:txBody>
      </p:sp>
      <p:sp>
        <p:nvSpPr>
          <p:cNvPr id="29" name="TextBox 28">
            <a:extLst>
              <a:ext uri="{FF2B5EF4-FFF2-40B4-BE49-F238E27FC236}">
                <a16:creationId xmlns:a16="http://schemas.microsoft.com/office/drawing/2014/main" id="{611C3A20-972A-6A36-D5D3-9DF29DB9BC73}"/>
              </a:ext>
            </a:extLst>
          </p:cNvPr>
          <p:cNvSpPr txBox="1"/>
          <p:nvPr/>
        </p:nvSpPr>
        <p:spPr bwMode="gray">
          <a:xfrm>
            <a:off x="8701548" y="4114163"/>
            <a:ext cx="1156333"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Disadvantages</a:t>
            </a:r>
            <a:endParaRPr lang="en-US" sz="1200" dirty="0"/>
          </a:p>
        </p:txBody>
      </p:sp>
      <p:cxnSp>
        <p:nvCxnSpPr>
          <p:cNvPr id="30" name="Straight Connector 29">
            <a:extLst>
              <a:ext uri="{FF2B5EF4-FFF2-40B4-BE49-F238E27FC236}">
                <a16:creationId xmlns:a16="http://schemas.microsoft.com/office/drawing/2014/main" id="{C838F21F-605B-C436-A87D-25DECDEEBFB4}"/>
              </a:ext>
            </a:extLst>
          </p:cNvPr>
          <p:cNvCxnSpPr>
            <a:cxnSpLocks/>
          </p:cNvCxnSpPr>
          <p:nvPr/>
        </p:nvCxnSpPr>
        <p:spPr bwMode="gray">
          <a:xfrm>
            <a:off x="8354401" y="443254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1" name="Graphic 30" descr="Badge Follow with solid fill">
            <a:extLst>
              <a:ext uri="{FF2B5EF4-FFF2-40B4-BE49-F238E27FC236}">
                <a16:creationId xmlns:a16="http://schemas.microsoft.com/office/drawing/2014/main" id="{410F74F5-2E4D-FA99-3201-25D6358A0E6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350628" y="1703390"/>
            <a:ext cx="292608" cy="292608"/>
          </a:xfrm>
          <a:prstGeom prst="rect">
            <a:avLst/>
          </a:prstGeom>
        </p:spPr>
      </p:pic>
      <p:pic>
        <p:nvPicPr>
          <p:cNvPr id="32" name="Graphic 31" descr="Badge Unfollow with solid fill">
            <a:extLst>
              <a:ext uri="{FF2B5EF4-FFF2-40B4-BE49-F238E27FC236}">
                <a16:creationId xmlns:a16="http://schemas.microsoft.com/office/drawing/2014/main" id="{79FCE381-0D71-4910-623B-2EB2E474CC7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354401" y="4066010"/>
            <a:ext cx="292608" cy="292608"/>
          </a:xfrm>
          <a:prstGeom prst="rect">
            <a:avLst/>
          </a:prstGeom>
        </p:spPr>
      </p:pic>
      <p:cxnSp>
        <p:nvCxnSpPr>
          <p:cNvPr id="33" name="Straight Connector 32">
            <a:extLst>
              <a:ext uri="{FF2B5EF4-FFF2-40B4-BE49-F238E27FC236}">
                <a16:creationId xmlns:a16="http://schemas.microsoft.com/office/drawing/2014/main" id="{C206BE19-FE88-7613-FF4E-E04FD43E7C1D}"/>
              </a:ext>
            </a:extLst>
          </p:cNvPr>
          <p:cNvCxnSpPr>
            <a:cxnSpLocks/>
          </p:cNvCxnSpPr>
          <p:nvPr/>
        </p:nvCxnSpPr>
        <p:spPr bwMode="gray">
          <a:xfrm>
            <a:off x="8354401" y="2042636"/>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A5B7EF-8264-2C19-DFD3-1E67177ABC26}"/>
              </a:ext>
            </a:extLst>
          </p:cNvPr>
          <p:cNvGrpSpPr/>
          <p:nvPr/>
        </p:nvGrpSpPr>
        <p:grpSpPr>
          <a:xfrm>
            <a:off x="4462461" y="1691560"/>
            <a:ext cx="3021924" cy="370155"/>
            <a:chOff x="4462461" y="1691560"/>
            <a:chExt cx="3021924" cy="370155"/>
          </a:xfrm>
        </p:grpSpPr>
        <p:cxnSp>
          <p:nvCxnSpPr>
            <p:cNvPr id="35" name="Straight Connector 34">
              <a:extLst>
                <a:ext uri="{FF2B5EF4-FFF2-40B4-BE49-F238E27FC236}">
                  <a16:creationId xmlns:a16="http://schemas.microsoft.com/office/drawing/2014/main" id="{68EE2F07-D88E-791A-D5AC-89354D07C5FE}"/>
                </a:ext>
              </a:extLst>
            </p:cNvPr>
            <p:cNvCxnSpPr>
              <a:cxnSpLocks/>
            </p:cNvCxnSpPr>
            <p:nvPr/>
          </p:nvCxnSpPr>
          <p:spPr bwMode="gray">
            <a:xfrm>
              <a:off x="4502744" y="2061715"/>
              <a:ext cx="29816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720B7AC-9B8B-755A-868B-DD5358BE335C}"/>
                </a:ext>
              </a:extLst>
            </p:cNvPr>
            <p:cNvSpPr txBox="1"/>
            <p:nvPr/>
          </p:nvSpPr>
          <p:spPr bwMode="gray">
            <a:xfrm>
              <a:off x="4866884" y="1745756"/>
              <a:ext cx="669020" cy="257369"/>
            </a:xfrm>
            <a:prstGeom prst="rect">
              <a:avLst/>
            </a:prstGeom>
            <a:noFill/>
          </p:spPr>
          <p:txBody>
            <a:bodyPr wrap="none" lIns="36000" tIns="36000" rIns="36000" bIns="36000" rtlCol="0">
              <a:spAutoFit/>
            </a:bodyPr>
            <a:lstStyle/>
            <a:p>
              <a:pPr marL="0" indent="0">
                <a:buNone/>
              </a:pPr>
              <a:r>
                <a:rPr lang="en-US" sz="1200" b="1" dirty="0"/>
                <a:t>Process</a:t>
              </a:r>
              <a:endParaRPr lang="en-US" sz="1200" dirty="0"/>
            </a:p>
          </p:txBody>
        </p:sp>
        <p:pic>
          <p:nvPicPr>
            <p:cNvPr id="37" name="Graphic 36" descr="Single gear with solid fill">
              <a:extLst>
                <a:ext uri="{FF2B5EF4-FFF2-40B4-BE49-F238E27FC236}">
                  <a16:creationId xmlns:a16="http://schemas.microsoft.com/office/drawing/2014/main" id="{C1A6F3DF-5CBC-926D-021A-90AEBE423D7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2461" y="1691560"/>
              <a:ext cx="365760" cy="365760"/>
            </a:xfrm>
            <a:prstGeom prst="rect">
              <a:avLst/>
            </a:prstGeom>
          </p:spPr>
        </p:pic>
      </p:grpSp>
      <p:grpSp>
        <p:nvGrpSpPr>
          <p:cNvPr id="38" name="Group 37">
            <a:extLst>
              <a:ext uri="{FF2B5EF4-FFF2-40B4-BE49-F238E27FC236}">
                <a16:creationId xmlns:a16="http://schemas.microsoft.com/office/drawing/2014/main" id="{1CBAF702-CBD6-BDAC-3D1F-721CED8C4976}"/>
              </a:ext>
            </a:extLst>
          </p:cNvPr>
          <p:cNvGrpSpPr/>
          <p:nvPr/>
        </p:nvGrpSpPr>
        <p:grpSpPr>
          <a:xfrm>
            <a:off x="584924" y="1406106"/>
            <a:ext cx="3382201" cy="4859045"/>
            <a:chOff x="542535" y="1192417"/>
            <a:chExt cx="3382201" cy="4859045"/>
          </a:xfrm>
        </p:grpSpPr>
        <p:sp>
          <p:nvSpPr>
            <p:cNvPr id="39" name="Rectangle 38">
              <a:extLst>
                <a:ext uri="{FF2B5EF4-FFF2-40B4-BE49-F238E27FC236}">
                  <a16:creationId xmlns:a16="http://schemas.microsoft.com/office/drawing/2014/main" id="{E2DA2272-E497-C908-38E3-B167344676B3}"/>
                </a:ext>
              </a:extLst>
            </p:cNvPr>
            <p:cNvSpPr/>
            <p:nvPr/>
          </p:nvSpPr>
          <p:spPr bwMode="gray">
            <a:xfrm>
              <a:off x="1703624" y="2830002"/>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873D0D20-5AC7-139F-0416-FFA4F26F3F8D}"/>
                </a:ext>
              </a:extLst>
            </p:cNvPr>
            <p:cNvSpPr/>
            <p:nvPr/>
          </p:nvSpPr>
          <p:spPr bwMode="gray">
            <a:xfrm>
              <a:off x="1179543" y="3010524"/>
              <a:ext cx="2382594" cy="1308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Bent Arrow 40">
              <a:extLst>
                <a:ext uri="{FF2B5EF4-FFF2-40B4-BE49-F238E27FC236}">
                  <a16:creationId xmlns:a16="http://schemas.microsoft.com/office/drawing/2014/main" id="{2F70B183-3740-AB82-C32A-63AA8D0A3ACA}"/>
                </a:ext>
              </a:extLst>
            </p:cNvPr>
            <p:cNvSpPr/>
            <p:nvPr/>
          </p:nvSpPr>
          <p:spPr bwMode="gray">
            <a:xfrm flipH="1">
              <a:off x="3163341" y="2934907"/>
              <a:ext cx="533462" cy="555415"/>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2" name="Straight Connector 41">
              <a:extLst>
                <a:ext uri="{FF2B5EF4-FFF2-40B4-BE49-F238E27FC236}">
                  <a16:creationId xmlns:a16="http://schemas.microsoft.com/office/drawing/2014/main" id="{A5F19680-E415-4617-0EB2-5577A4E08DED}"/>
                </a:ext>
              </a:extLst>
            </p:cNvPr>
            <p:cNvCxnSpPr>
              <a:cxnSpLocks/>
            </p:cNvCxnSpPr>
            <p:nvPr/>
          </p:nvCxnSpPr>
          <p:spPr bwMode="gray">
            <a:xfrm flipV="1">
              <a:off x="650319" y="3638160"/>
              <a:ext cx="3195361" cy="810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089A29F-80E7-3D39-14CC-79BACEDE5D8C}"/>
                </a:ext>
              </a:extLst>
            </p:cNvPr>
            <p:cNvCxnSpPr/>
            <p:nvPr/>
          </p:nvCxnSpPr>
          <p:spPr bwMode="gray">
            <a:xfrm>
              <a:off x="84549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7A69064-D2D0-CAAC-686B-BF143F99E106}"/>
                </a:ext>
              </a:extLst>
            </p:cNvPr>
            <p:cNvCxnSpPr/>
            <p:nvPr/>
          </p:nvCxnSpPr>
          <p:spPr bwMode="gray">
            <a:xfrm>
              <a:off x="646167"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E5DCCB5-917D-E24E-11E4-98E173790C35}"/>
                </a:ext>
              </a:extLst>
            </p:cNvPr>
            <p:cNvCxnSpPr>
              <a:cxnSpLocks/>
            </p:cNvCxnSpPr>
            <p:nvPr/>
          </p:nvCxnSpPr>
          <p:spPr bwMode="gray">
            <a:xfrm>
              <a:off x="1044814"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BEB192F-9B00-68D5-FBBF-0981B1215257}"/>
                </a:ext>
              </a:extLst>
            </p:cNvPr>
            <p:cNvCxnSpPr>
              <a:cxnSpLocks/>
            </p:cNvCxnSpPr>
            <p:nvPr/>
          </p:nvCxnSpPr>
          <p:spPr bwMode="gray">
            <a:xfrm>
              <a:off x="124413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A31DD37-B91C-C31C-B8A3-FC822AF6BA40}"/>
                </a:ext>
              </a:extLst>
            </p:cNvPr>
            <p:cNvCxnSpPr>
              <a:cxnSpLocks/>
            </p:cNvCxnSpPr>
            <p:nvPr/>
          </p:nvCxnSpPr>
          <p:spPr bwMode="gray">
            <a:xfrm>
              <a:off x="144346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A2A3E7B-D1E8-28DF-C396-1BDC3F1AF2B3}"/>
                </a:ext>
              </a:extLst>
            </p:cNvPr>
            <p:cNvCxnSpPr>
              <a:cxnSpLocks/>
            </p:cNvCxnSpPr>
            <p:nvPr/>
          </p:nvCxnSpPr>
          <p:spPr bwMode="gray">
            <a:xfrm>
              <a:off x="164278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23DB2B-6F95-B42C-01E8-E59B50C531F2}"/>
                </a:ext>
              </a:extLst>
            </p:cNvPr>
            <p:cNvCxnSpPr>
              <a:cxnSpLocks/>
            </p:cNvCxnSpPr>
            <p:nvPr/>
          </p:nvCxnSpPr>
          <p:spPr bwMode="gray">
            <a:xfrm>
              <a:off x="184210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C4FD31-EF0C-979C-D5CB-26D452AC4081}"/>
                </a:ext>
              </a:extLst>
            </p:cNvPr>
            <p:cNvCxnSpPr>
              <a:cxnSpLocks/>
            </p:cNvCxnSpPr>
            <p:nvPr/>
          </p:nvCxnSpPr>
          <p:spPr bwMode="gray">
            <a:xfrm>
              <a:off x="204143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82BB7D-8992-F235-63F1-C08EBD3D5692}"/>
                </a:ext>
              </a:extLst>
            </p:cNvPr>
            <p:cNvCxnSpPr>
              <a:cxnSpLocks/>
            </p:cNvCxnSpPr>
            <p:nvPr/>
          </p:nvCxnSpPr>
          <p:spPr bwMode="gray">
            <a:xfrm>
              <a:off x="224075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7DD3D57-0859-8E1E-FCC5-559B9D49B78E}"/>
                </a:ext>
              </a:extLst>
            </p:cNvPr>
            <p:cNvCxnSpPr>
              <a:cxnSpLocks/>
            </p:cNvCxnSpPr>
            <p:nvPr/>
          </p:nvCxnSpPr>
          <p:spPr bwMode="gray">
            <a:xfrm>
              <a:off x="244007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009D38-860F-99E2-C06F-C51A7F1EBEC5}"/>
                </a:ext>
              </a:extLst>
            </p:cNvPr>
            <p:cNvCxnSpPr>
              <a:cxnSpLocks/>
            </p:cNvCxnSpPr>
            <p:nvPr/>
          </p:nvCxnSpPr>
          <p:spPr bwMode="gray">
            <a:xfrm>
              <a:off x="2639402"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D056B9E-CB1A-E58C-F68A-E147EAA5E3FA}"/>
                </a:ext>
              </a:extLst>
            </p:cNvPr>
            <p:cNvCxnSpPr>
              <a:cxnSpLocks/>
            </p:cNvCxnSpPr>
            <p:nvPr/>
          </p:nvCxnSpPr>
          <p:spPr bwMode="gray">
            <a:xfrm>
              <a:off x="283872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26D098A-7CB9-CEA2-C016-30CD84E241F5}"/>
                </a:ext>
              </a:extLst>
            </p:cNvPr>
            <p:cNvCxnSpPr>
              <a:cxnSpLocks/>
            </p:cNvCxnSpPr>
            <p:nvPr/>
          </p:nvCxnSpPr>
          <p:spPr bwMode="gray">
            <a:xfrm>
              <a:off x="3038049"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B486DCF-2DF2-7103-4C20-F6AEE275CCB3}"/>
                </a:ext>
              </a:extLst>
            </p:cNvPr>
            <p:cNvCxnSpPr>
              <a:cxnSpLocks/>
            </p:cNvCxnSpPr>
            <p:nvPr/>
          </p:nvCxnSpPr>
          <p:spPr bwMode="gray">
            <a:xfrm>
              <a:off x="3237372"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EA811E1-EA11-7E27-5AD0-FF4E248F0B0F}"/>
                </a:ext>
              </a:extLst>
            </p:cNvPr>
            <p:cNvCxnSpPr>
              <a:cxnSpLocks/>
            </p:cNvCxnSpPr>
            <p:nvPr/>
          </p:nvCxnSpPr>
          <p:spPr bwMode="gray">
            <a:xfrm>
              <a:off x="3436695"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0B7DEE8-7AEA-1CB3-FBED-6D142A38882E}"/>
                </a:ext>
              </a:extLst>
            </p:cNvPr>
            <p:cNvCxnSpPr>
              <a:cxnSpLocks/>
            </p:cNvCxnSpPr>
            <p:nvPr/>
          </p:nvCxnSpPr>
          <p:spPr bwMode="gray">
            <a:xfrm>
              <a:off x="3636019"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9" name="Triangle 58">
              <a:extLst>
                <a:ext uri="{FF2B5EF4-FFF2-40B4-BE49-F238E27FC236}">
                  <a16:creationId xmlns:a16="http://schemas.microsoft.com/office/drawing/2014/main" id="{72A10618-01E7-8C42-4FCC-01FB9C058DF0}"/>
                </a:ext>
              </a:extLst>
            </p:cNvPr>
            <p:cNvSpPr/>
            <p:nvPr/>
          </p:nvSpPr>
          <p:spPr bwMode="gray">
            <a:xfrm>
              <a:off x="736075" y="3646268"/>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0" name="Triangle 59">
              <a:extLst>
                <a:ext uri="{FF2B5EF4-FFF2-40B4-BE49-F238E27FC236}">
                  <a16:creationId xmlns:a16="http://schemas.microsoft.com/office/drawing/2014/main" id="{40865B68-50D9-D5C7-F565-C93A8D08F9A6}"/>
                </a:ext>
              </a:extLst>
            </p:cNvPr>
            <p:cNvSpPr/>
            <p:nvPr/>
          </p:nvSpPr>
          <p:spPr bwMode="gray">
            <a:xfrm>
              <a:off x="3503667" y="3646268"/>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Triangle 60">
              <a:extLst>
                <a:ext uri="{FF2B5EF4-FFF2-40B4-BE49-F238E27FC236}">
                  <a16:creationId xmlns:a16="http://schemas.microsoft.com/office/drawing/2014/main" id="{0086882C-5E9A-BF95-69FB-E59054BF508F}"/>
                </a:ext>
              </a:extLst>
            </p:cNvPr>
            <p:cNvSpPr/>
            <p:nvPr/>
          </p:nvSpPr>
          <p:spPr bwMode="gray">
            <a:xfrm rot="10800000">
              <a:off x="736075" y="3480230"/>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2" name="Triangle 61">
              <a:extLst>
                <a:ext uri="{FF2B5EF4-FFF2-40B4-BE49-F238E27FC236}">
                  <a16:creationId xmlns:a16="http://schemas.microsoft.com/office/drawing/2014/main" id="{8B6DD60E-3D39-F18B-7E36-0D5D38D6731E}"/>
                </a:ext>
              </a:extLst>
            </p:cNvPr>
            <p:cNvSpPr/>
            <p:nvPr/>
          </p:nvSpPr>
          <p:spPr bwMode="gray">
            <a:xfrm rot="10800000">
              <a:off x="3503667" y="3480230"/>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3" name="Rectangle 62">
              <a:extLst>
                <a:ext uri="{FF2B5EF4-FFF2-40B4-BE49-F238E27FC236}">
                  <a16:creationId xmlns:a16="http://schemas.microsoft.com/office/drawing/2014/main" id="{55E4AE14-2A16-90DD-678D-AE0A60B0E1AD}"/>
                </a:ext>
              </a:extLst>
            </p:cNvPr>
            <p:cNvSpPr/>
            <p:nvPr/>
          </p:nvSpPr>
          <p:spPr bwMode="gray">
            <a:xfrm>
              <a:off x="792585" y="3820415"/>
              <a:ext cx="130761" cy="223104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Bent Arrow 63">
              <a:extLst>
                <a:ext uri="{FF2B5EF4-FFF2-40B4-BE49-F238E27FC236}">
                  <a16:creationId xmlns:a16="http://schemas.microsoft.com/office/drawing/2014/main" id="{1AB19E44-CF49-A3BE-797F-C3A695789F3C}"/>
                </a:ext>
              </a:extLst>
            </p:cNvPr>
            <p:cNvSpPr/>
            <p:nvPr/>
          </p:nvSpPr>
          <p:spPr bwMode="gray">
            <a:xfrm>
              <a:off x="793648" y="2924814"/>
              <a:ext cx="517672" cy="555415"/>
            </a:xfrm>
            <a:prstGeom prst="bentArrow">
              <a:avLst>
                <a:gd name="adj1" fmla="val 25000"/>
                <a:gd name="adj2" fmla="val 23273"/>
                <a:gd name="adj3" fmla="val 0"/>
                <a:gd name="adj4" fmla="val 16907"/>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5" name="Rectangle 64">
              <a:extLst>
                <a:ext uri="{FF2B5EF4-FFF2-40B4-BE49-F238E27FC236}">
                  <a16:creationId xmlns:a16="http://schemas.microsoft.com/office/drawing/2014/main" id="{FAE6A847-86B6-CED0-AE41-19111936B9F4}"/>
                </a:ext>
              </a:extLst>
            </p:cNvPr>
            <p:cNvSpPr/>
            <p:nvPr/>
          </p:nvSpPr>
          <p:spPr bwMode="gray">
            <a:xfrm>
              <a:off x="1703624" y="2366907"/>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Rectangle 65">
              <a:extLst>
                <a:ext uri="{FF2B5EF4-FFF2-40B4-BE49-F238E27FC236}">
                  <a16:creationId xmlns:a16="http://schemas.microsoft.com/office/drawing/2014/main" id="{79A081CC-1222-5446-AF3E-812B34471CA8}"/>
                </a:ext>
              </a:extLst>
            </p:cNvPr>
            <p:cNvSpPr/>
            <p:nvPr/>
          </p:nvSpPr>
          <p:spPr bwMode="gray">
            <a:xfrm>
              <a:off x="3554153" y="3820415"/>
              <a:ext cx="130761" cy="22310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Rectangle 66">
              <a:extLst>
                <a:ext uri="{FF2B5EF4-FFF2-40B4-BE49-F238E27FC236}">
                  <a16:creationId xmlns:a16="http://schemas.microsoft.com/office/drawing/2014/main" id="{205FED3B-6B22-1D5B-7926-C03322234905}"/>
                </a:ext>
              </a:extLst>
            </p:cNvPr>
            <p:cNvSpPr/>
            <p:nvPr/>
          </p:nvSpPr>
          <p:spPr bwMode="gray">
            <a:xfrm>
              <a:off x="2930457" y="2304004"/>
              <a:ext cx="666236" cy="41191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68" name="Rectangle 67">
              <a:extLst>
                <a:ext uri="{FF2B5EF4-FFF2-40B4-BE49-F238E27FC236}">
                  <a16:creationId xmlns:a16="http://schemas.microsoft.com/office/drawing/2014/main" id="{9D333C76-F38F-2031-38CE-E45AD9D20267}"/>
                </a:ext>
              </a:extLst>
            </p:cNvPr>
            <p:cNvSpPr/>
            <p:nvPr/>
          </p:nvSpPr>
          <p:spPr bwMode="gray">
            <a:xfrm>
              <a:off x="2820797" y="2655918"/>
              <a:ext cx="944800"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urbine</a:t>
              </a:r>
            </a:p>
          </p:txBody>
        </p:sp>
        <p:sp>
          <p:nvSpPr>
            <p:cNvPr id="69" name="Rectangle 68">
              <a:extLst>
                <a:ext uri="{FF2B5EF4-FFF2-40B4-BE49-F238E27FC236}">
                  <a16:creationId xmlns:a16="http://schemas.microsoft.com/office/drawing/2014/main" id="{93714C61-F1B3-239D-4352-E0A4E5F8522F}"/>
                </a:ext>
              </a:extLst>
            </p:cNvPr>
            <p:cNvSpPr/>
            <p:nvPr/>
          </p:nvSpPr>
          <p:spPr bwMode="gray">
            <a:xfrm>
              <a:off x="2690240" y="2262879"/>
              <a:ext cx="1146672"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Generator</a:t>
              </a:r>
            </a:p>
          </p:txBody>
        </p:sp>
        <p:pic>
          <p:nvPicPr>
            <p:cNvPr id="70" name="Graphic 69" descr="Electric Tower outline">
              <a:extLst>
                <a:ext uri="{FF2B5EF4-FFF2-40B4-BE49-F238E27FC236}">
                  <a16:creationId xmlns:a16="http://schemas.microsoft.com/office/drawing/2014/main" id="{ADF3D0FA-9878-E728-BD22-E960FFFB0D2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42535" y="1612257"/>
              <a:ext cx="444583" cy="645428"/>
            </a:xfrm>
            <a:prstGeom prst="rect">
              <a:avLst/>
            </a:prstGeom>
          </p:spPr>
        </p:pic>
        <p:sp>
          <p:nvSpPr>
            <p:cNvPr id="71" name="Triangle 70">
              <a:extLst>
                <a:ext uri="{FF2B5EF4-FFF2-40B4-BE49-F238E27FC236}">
                  <a16:creationId xmlns:a16="http://schemas.microsoft.com/office/drawing/2014/main" id="{0B59CE02-4967-EBD4-C725-DCE320056700}"/>
                </a:ext>
              </a:extLst>
            </p:cNvPr>
            <p:cNvSpPr/>
            <p:nvPr/>
          </p:nvSpPr>
          <p:spPr bwMode="gray">
            <a:xfrm>
              <a:off x="2970405" y="2177114"/>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2" name="Triangle 71">
              <a:extLst>
                <a:ext uri="{FF2B5EF4-FFF2-40B4-BE49-F238E27FC236}">
                  <a16:creationId xmlns:a16="http://schemas.microsoft.com/office/drawing/2014/main" id="{BBEAD80B-D3AC-C796-49F9-B7701BE44298}"/>
                </a:ext>
              </a:extLst>
            </p:cNvPr>
            <p:cNvSpPr/>
            <p:nvPr/>
          </p:nvSpPr>
          <p:spPr bwMode="gray">
            <a:xfrm>
              <a:off x="3344380" y="2177114"/>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73" name="Straight Connector 72">
              <a:extLst>
                <a:ext uri="{FF2B5EF4-FFF2-40B4-BE49-F238E27FC236}">
                  <a16:creationId xmlns:a16="http://schemas.microsoft.com/office/drawing/2014/main" id="{E49CAD46-1872-323D-889C-DE416DF18A18}"/>
                </a:ext>
              </a:extLst>
            </p:cNvPr>
            <p:cNvCxnSpPr>
              <a:cxnSpLocks/>
              <a:stCxn id="71" idx="0"/>
            </p:cNvCxnSpPr>
            <p:nvPr/>
          </p:nvCxnSpPr>
          <p:spPr bwMode="gray">
            <a:xfrm flipV="1">
              <a:off x="3039558" y="1437480"/>
              <a:ext cx="15416" cy="73963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67BF91F-BD4F-B370-1414-63C0979D0841}"/>
                </a:ext>
              </a:extLst>
            </p:cNvPr>
            <p:cNvCxnSpPr>
              <a:cxnSpLocks/>
            </p:cNvCxnSpPr>
            <p:nvPr/>
          </p:nvCxnSpPr>
          <p:spPr bwMode="gray">
            <a:xfrm flipH="1" flipV="1">
              <a:off x="3399556" y="1192417"/>
              <a:ext cx="9656" cy="98469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A714AE3-05FD-BCBD-69FB-16DDC971AB33}"/>
                </a:ext>
              </a:extLst>
            </p:cNvPr>
            <p:cNvCxnSpPr>
              <a:cxnSpLocks/>
            </p:cNvCxnSpPr>
            <p:nvPr/>
          </p:nvCxnSpPr>
          <p:spPr bwMode="gray">
            <a:xfrm flipV="1">
              <a:off x="700075" y="1192417"/>
              <a:ext cx="2700287" cy="70372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769B2EE2-6784-A093-03AC-A7BDCE91F855}"/>
                </a:ext>
              </a:extLst>
            </p:cNvPr>
            <p:cNvSpPr txBox="1"/>
            <p:nvPr/>
          </p:nvSpPr>
          <p:spPr bwMode="gray">
            <a:xfrm>
              <a:off x="909938" y="3256036"/>
              <a:ext cx="668400" cy="250378"/>
            </a:xfrm>
            <a:prstGeom prst="rect">
              <a:avLst/>
            </a:prstGeom>
            <a:noFill/>
          </p:spPr>
          <p:txBody>
            <a:bodyPr wrap="none" lIns="36000" tIns="36000" rIns="36000" bIns="36000" rtlCol="0">
              <a:spAutoFit/>
            </a:bodyPr>
            <a:lstStyle/>
            <a:p>
              <a:pPr marL="0" indent="0">
                <a:buNone/>
              </a:pPr>
              <a:r>
                <a:rPr lang="en-US" sz="1000" dirty="0"/>
                <a:t>Wellhead</a:t>
              </a:r>
            </a:p>
          </p:txBody>
        </p:sp>
        <p:sp>
          <p:nvSpPr>
            <p:cNvPr id="77" name="TextBox 76">
              <a:extLst>
                <a:ext uri="{FF2B5EF4-FFF2-40B4-BE49-F238E27FC236}">
                  <a16:creationId xmlns:a16="http://schemas.microsoft.com/office/drawing/2014/main" id="{03D383F8-CEF6-2593-7736-CB79DDB610D2}"/>
                </a:ext>
              </a:extLst>
            </p:cNvPr>
            <p:cNvSpPr txBox="1"/>
            <p:nvPr/>
          </p:nvSpPr>
          <p:spPr bwMode="gray">
            <a:xfrm>
              <a:off x="2884577" y="3256036"/>
              <a:ext cx="668400" cy="250378"/>
            </a:xfrm>
            <a:prstGeom prst="rect">
              <a:avLst/>
            </a:prstGeom>
            <a:noFill/>
          </p:spPr>
          <p:txBody>
            <a:bodyPr wrap="none" lIns="36000" tIns="36000" rIns="36000" bIns="36000" rtlCol="0">
              <a:spAutoFit/>
            </a:bodyPr>
            <a:lstStyle/>
            <a:p>
              <a:pPr marL="0" indent="0">
                <a:buNone/>
              </a:pPr>
              <a:r>
                <a:rPr lang="en-US" sz="1000" dirty="0"/>
                <a:t>Wellhead</a:t>
              </a:r>
            </a:p>
          </p:txBody>
        </p:sp>
        <p:sp>
          <p:nvSpPr>
            <p:cNvPr id="78" name="TextBox 77">
              <a:extLst>
                <a:ext uri="{FF2B5EF4-FFF2-40B4-BE49-F238E27FC236}">
                  <a16:creationId xmlns:a16="http://schemas.microsoft.com/office/drawing/2014/main" id="{AEBCD80B-9DF8-5C82-15A9-64B05E2981AD}"/>
                </a:ext>
              </a:extLst>
            </p:cNvPr>
            <p:cNvSpPr txBox="1"/>
            <p:nvPr/>
          </p:nvSpPr>
          <p:spPr bwMode="gray">
            <a:xfrm>
              <a:off x="1703624" y="3866648"/>
              <a:ext cx="1050997" cy="250378"/>
            </a:xfrm>
            <a:prstGeom prst="rect">
              <a:avLst/>
            </a:prstGeom>
            <a:noFill/>
          </p:spPr>
          <p:txBody>
            <a:bodyPr wrap="none" lIns="36000" tIns="36000" rIns="36000" bIns="36000" rtlCol="0">
              <a:spAutoFit/>
            </a:bodyPr>
            <a:lstStyle/>
            <a:p>
              <a:pPr marL="0" indent="0">
                <a:buNone/>
              </a:pPr>
              <a:r>
                <a:rPr lang="en-US" sz="1000" dirty="0"/>
                <a:t>Ground surface</a:t>
              </a:r>
            </a:p>
          </p:txBody>
        </p:sp>
        <p:sp>
          <p:nvSpPr>
            <p:cNvPr id="79" name="TextBox 78">
              <a:extLst>
                <a:ext uri="{FF2B5EF4-FFF2-40B4-BE49-F238E27FC236}">
                  <a16:creationId xmlns:a16="http://schemas.microsoft.com/office/drawing/2014/main" id="{AC714DFA-2345-3366-AC27-142B587DE34C}"/>
                </a:ext>
              </a:extLst>
            </p:cNvPr>
            <p:cNvSpPr txBox="1"/>
            <p:nvPr/>
          </p:nvSpPr>
          <p:spPr bwMode="gray">
            <a:xfrm rot="16200000">
              <a:off x="3201214" y="4809846"/>
              <a:ext cx="1220453" cy="226591"/>
            </a:xfrm>
            <a:prstGeom prst="rect">
              <a:avLst/>
            </a:prstGeom>
            <a:noFill/>
          </p:spPr>
          <p:txBody>
            <a:bodyPr wrap="none" lIns="36000" tIns="36000" rIns="36000" bIns="36000" rtlCol="0">
              <a:spAutoFit/>
            </a:bodyPr>
            <a:lstStyle/>
            <a:p>
              <a:pPr marL="0" indent="0">
                <a:buNone/>
              </a:pPr>
              <a:r>
                <a:rPr lang="en-US" sz="1000" dirty="0"/>
                <a:t>Subsurface injection</a:t>
              </a:r>
            </a:p>
          </p:txBody>
        </p:sp>
        <p:sp>
          <p:nvSpPr>
            <p:cNvPr id="80" name="Up Arrow 79">
              <a:extLst>
                <a:ext uri="{FF2B5EF4-FFF2-40B4-BE49-F238E27FC236}">
                  <a16:creationId xmlns:a16="http://schemas.microsoft.com/office/drawing/2014/main" id="{68CC1E22-DF96-E957-2D31-0F5F02CB7BB2}"/>
                </a:ext>
              </a:extLst>
            </p:cNvPr>
            <p:cNvSpPr/>
            <p:nvPr/>
          </p:nvSpPr>
          <p:spPr bwMode="gray">
            <a:xfrm>
              <a:off x="831207" y="3166454"/>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Up Arrow 80">
              <a:extLst>
                <a:ext uri="{FF2B5EF4-FFF2-40B4-BE49-F238E27FC236}">
                  <a16:creationId xmlns:a16="http://schemas.microsoft.com/office/drawing/2014/main" id="{CEDBA44A-F5C9-A191-5EF6-95281C34E814}"/>
                </a:ext>
              </a:extLst>
            </p:cNvPr>
            <p:cNvSpPr/>
            <p:nvPr/>
          </p:nvSpPr>
          <p:spPr bwMode="gray">
            <a:xfrm>
              <a:off x="831207" y="4732636"/>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Up Arrow 81">
              <a:extLst>
                <a:ext uri="{FF2B5EF4-FFF2-40B4-BE49-F238E27FC236}">
                  <a16:creationId xmlns:a16="http://schemas.microsoft.com/office/drawing/2014/main" id="{475CD992-41CF-F7D6-39B1-01BE0F307F58}"/>
                </a:ext>
              </a:extLst>
            </p:cNvPr>
            <p:cNvSpPr/>
            <p:nvPr/>
          </p:nvSpPr>
          <p:spPr bwMode="gray">
            <a:xfrm rot="10800000">
              <a:off x="3592941" y="4439070"/>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3" name="Up Arrow 82">
              <a:extLst>
                <a:ext uri="{FF2B5EF4-FFF2-40B4-BE49-F238E27FC236}">
                  <a16:creationId xmlns:a16="http://schemas.microsoft.com/office/drawing/2014/main" id="{7700BE53-8416-B80A-9127-BB49DDD38471}"/>
                </a:ext>
              </a:extLst>
            </p:cNvPr>
            <p:cNvSpPr/>
            <p:nvPr/>
          </p:nvSpPr>
          <p:spPr bwMode="gray">
            <a:xfrm rot="10800000">
              <a:off x="3600297" y="3178398"/>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84" name="Group 83">
              <a:extLst>
                <a:ext uri="{FF2B5EF4-FFF2-40B4-BE49-F238E27FC236}">
                  <a16:creationId xmlns:a16="http://schemas.microsoft.com/office/drawing/2014/main" id="{0D9FB11B-8685-D9C4-58CE-5B66E61A9D0D}"/>
                </a:ext>
              </a:extLst>
            </p:cNvPr>
            <p:cNvGrpSpPr/>
            <p:nvPr/>
          </p:nvGrpSpPr>
          <p:grpSpPr>
            <a:xfrm>
              <a:off x="962479" y="5653350"/>
              <a:ext cx="128069" cy="277855"/>
              <a:chOff x="972443" y="5691173"/>
              <a:chExt cx="115902" cy="251458"/>
            </a:xfrm>
          </p:grpSpPr>
          <p:sp>
            <p:nvSpPr>
              <p:cNvPr id="104" name="Up Arrow 103">
                <a:extLst>
                  <a:ext uri="{FF2B5EF4-FFF2-40B4-BE49-F238E27FC236}">
                    <a16:creationId xmlns:a16="http://schemas.microsoft.com/office/drawing/2014/main" id="{5922EAED-0A46-D4F4-502C-53BB1D92A85B}"/>
                  </a:ext>
                </a:extLst>
              </p:cNvPr>
              <p:cNvSpPr/>
              <p:nvPr/>
            </p:nvSpPr>
            <p:spPr bwMode="gray">
              <a:xfrm rot="16200000">
                <a:off x="1007534" y="57589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Up Arrow 104">
                <a:extLst>
                  <a:ext uri="{FF2B5EF4-FFF2-40B4-BE49-F238E27FC236}">
                    <a16:creationId xmlns:a16="http://schemas.microsoft.com/office/drawing/2014/main" id="{590EFAE6-3360-448A-235D-3FCD62124C1B}"/>
                  </a:ext>
                </a:extLst>
              </p:cNvPr>
              <p:cNvSpPr/>
              <p:nvPr/>
            </p:nvSpPr>
            <p:spPr bwMode="gray">
              <a:xfrm rot="14470877">
                <a:off x="1007534" y="56560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5" name="Up Arrow 214">
                <a:extLst>
                  <a:ext uri="{FF2B5EF4-FFF2-40B4-BE49-F238E27FC236}">
                    <a16:creationId xmlns:a16="http://schemas.microsoft.com/office/drawing/2014/main" id="{A46ACF6E-A4BC-3512-19E5-20283BB34A55}"/>
                  </a:ext>
                </a:extLst>
              </p:cNvPr>
              <p:cNvSpPr/>
              <p:nvPr/>
            </p:nvSpPr>
            <p:spPr bwMode="gray">
              <a:xfrm rot="18286233">
                <a:off x="1007535" y="58618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85" name="Group 84">
              <a:extLst>
                <a:ext uri="{FF2B5EF4-FFF2-40B4-BE49-F238E27FC236}">
                  <a16:creationId xmlns:a16="http://schemas.microsoft.com/office/drawing/2014/main" id="{A1CAD5D5-835D-04D1-7794-FBFE9E23A81D}"/>
                </a:ext>
              </a:extLst>
            </p:cNvPr>
            <p:cNvGrpSpPr/>
            <p:nvPr/>
          </p:nvGrpSpPr>
          <p:grpSpPr>
            <a:xfrm rot="10800000">
              <a:off x="607853" y="5653349"/>
              <a:ext cx="128069" cy="277855"/>
              <a:chOff x="1124843" y="5843573"/>
              <a:chExt cx="115902" cy="251458"/>
            </a:xfrm>
          </p:grpSpPr>
          <p:sp>
            <p:nvSpPr>
              <p:cNvPr id="101" name="Up Arrow 100">
                <a:extLst>
                  <a:ext uri="{FF2B5EF4-FFF2-40B4-BE49-F238E27FC236}">
                    <a16:creationId xmlns:a16="http://schemas.microsoft.com/office/drawing/2014/main" id="{50B4437A-844A-DC2C-2255-65BD9A48B8EE}"/>
                  </a:ext>
                </a:extLst>
              </p:cNvPr>
              <p:cNvSpPr/>
              <p:nvPr/>
            </p:nvSpPr>
            <p:spPr bwMode="gray">
              <a:xfrm rot="16200000">
                <a:off x="1159934" y="59113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2" name="Up Arrow 101">
                <a:extLst>
                  <a:ext uri="{FF2B5EF4-FFF2-40B4-BE49-F238E27FC236}">
                    <a16:creationId xmlns:a16="http://schemas.microsoft.com/office/drawing/2014/main" id="{1B6E5E99-A591-C032-A791-276A381DCAD6}"/>
                  </a:ext>
                </a:extLst>
              </p:cNvPr>
              <p:cNvSpPr/>
              <p:nvPr/>
            </p:nvSpPr>
            <p:spPr bwMode="gray">
              <a:xfrm rot="14470877">
                <a:off x="1159934" y="58084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Up Arrow 102">
                <a:extLst>
                  <a:ext uri="{FF2B5EF4-FFF2-40B4-BE49-F238E27FC236}">
                    <a16:creationId xmlns:a16="http://schemas.microsoft.com/office/drawing/2014/main" id="{E006585E-D9CB-7411-CFEC-0EE1F3B3EBEE}"/>
                  </a:ext>
                </a:extLst>
              </p:cNvPr>
              <p:cNvSpPr/>
              <p:nvPr/>
            </p:nvSpPr>
            <p:spPr bwMode="gray">
              <a:xfrm rot="18286233">
                <a:off x="1159935" y="60142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86" name="Up Arrow 85">
              <a:extLst>
                <a:ext uri="{FF2B5EF4-FFF2-40B4-BE49-F238E27FC236}">
                  <a16:creationId xmlns:a16="http://schemas.microsoft.com/office/drawing/2014/main" id="{6E7DE421-47CD-11B9-DFA4-7F5A4AB16A94}"/>
                </a:ext>
              </a:extLst>
            </p:cNvPr>
            <p:cNvSpPr/>
            <p:nvPr/>
          </p:nvSpPr>
          <p:spPr bwMode="gray">
            <a:xfrm rot="16200000">
              <a:off x="3347401" y="5728242"/>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Up Arrow 86">
              <a:extLst>
                <a:ext uri="{FF2B5EF4-FFF2-40B4-BE49-F238E27FC236}">
                  <a16:creationId xmlns:a16="http://schemas.microsoft.com/office/drawing/2014/main" id="{A20B77DC-FABA-BA9D-E34B-CE3EF464B8A2}"/>
                </a:ext>
              </a:extLst>
            </p:cNvPr>
            <p:cNvSpPr/>
            <p:nvPr/>
          </p:nvSpPr>
          <p:spPr bwMode="gray">
            <a:xfrm rot="5400000">
              <a:off x="3798452" y="5728241"/>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230BC305-8A9E-35B4-3E1C-2BB6CB1120D4}"/>
                </a:ext>
              </a:extLst>
            </p:cNvPr>
            <p:cNvSpPr/>
            <p:nvPr/>
          </p:nvSpPr>
          <p:spPr bwMode="gray">
            <a:xfrm>
              <a:off x="979856" y="2807742"/>
              <a:ext cx="944801" cy="379246"/>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Heat exchanger</a:t>
              </a:r>
            </a:p>
          </p:txBody>
        </p:sp>
        <p:cxnSp>
          <p:nvCxnSpPr>
            <p:cNvPr id="89" name="Straight Connector 88">
              <a:extLst>
                <a:ext uri="{FF2B5EF4-FFF2-40B4-BE49-F238E27FC236}">
                  <a16:creationId xmlns:a16="http://schemas.microsoft.com/office/drawing/2014/main" id="{6AB688BF-DB0B-E584-73DA-3FAFB051FFC8}"/>
                </a:ext>
              </a:extLst>
            </p:cNvPr>
            <p:cNvCxnSpPr>
              <a:cxnSpLocks/>
            </p:cNvCxnSpPr>
            <p:nvPr/>
          </p:nvCxnSpPr>
          <p:spPr bwMode="gray">
            <a:xfrm flipV="1">
              <a:off x="700075" y="1416778"/>
              <a:ext cx="2357606" cy="56833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0" name="Bent Arrow 89">
              <a:extLst>
                <a:ext uri="{FF2B5EF4-FFF2-40B4-BE49-F238E27FC236}">
                  <a16:creationId xmlns:a16="http://schemas.microsoft.com/office/drawing/2014/main" id="{352E1037-370C-822F-66B2-2BE834732AE9}"/>
                </a:ext>
              </a:extLst>
            </p:cNvPr>
            <p:cNvSpPr/>
            <p:nvPr/>
          </p:nvSpPr>
          <p:spPr bwMode="gray">
            <a:xfrm>
              <a:off x="1080850" y="1900979"/>
              <a:ext cx="608153" cy="906763"/>
            </a:xfrm>
            <a:prstGeom prst="bentArrow">
              <a:avLst>
                <a:gd name="adj1" fmla="val 25000"/>
                <a:gd name="adj2" fmla="val 23273"/>
                <a:gd name="adj3" fmla="val 0"/>
                <a:gd name="adj4" fmla="val 16907"/>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AABC110D-B5AD-F855-535C-8EE5691363C5}"/>
                </a:ext>
              </a:extLst>
            </p:cNvPr>
            <p:cNvSpPr/>
            <p:nvPr/>
          </p:nvSpPr>
          <p:spPr bwMode="gray">
            <a:xfrm rot="16200000">
              <a:off x="1320419" y="2123860"/>
              <a:ext cx="936939" cy="268455"/>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ndenser</a:t>
              </a:r>
            </a:p>
          </p:txBody>
        </p:sp>
        <p:sp>
          <p:nvSpPr>
            <p:cNvPr id="92" name="Up Arrow 91">
              <a:extLst>
                <a:ext uri="{FF2B5EF4-FFF2-40B4-BE49-F238E27FC236}">
                  <a16:creationId xmlns:a16="http://schemas.microsoft.com/office/drawing/2014/main" id="{14D7B66D-643B-2740-70F9-198B7223B809}"/>
                </a:ext>
              </a:extLst>
            </p:cNvPr>
            <p:cNvSpPr/>
            <p:nvPr/>
          </p:nvSpPr>
          <p:spPr bwMode="gray">
            <a:xfrm rot="5400000">
              <a:off x="2343790" y="2834230"/>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3" name="Up Arrow 92">
              <a:extLst>
                <a:ext uri="{FF2B5EF4-FFF2-40B4-BE49-F238E27FC236}">
                  <a16:creationId xmlns:a16="http://schemas.microsoft.com/office/drawing/2014/main" id="{C5BA4EEC-AAEB-228D-380A-1A3B0F15DA7B}"/>
                </a:ext>
              </a:extLst>
            </p:cNvPr>
            <p:cNvSpPr/>
            <p:nvPr/>
          </p:nvSpPr>
          <p:spPr bwMode="gray">
            <a:xfrm rot="16200000">
              <a:off x="2301594" y="2374888"/>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4" name="Up Arrow 93">
              <a:extLst>
                <a:ext uri="{FF2B5EF4-FFF2-40B4-BE49-F238E27FC236}">
                  <a16:creationId xmlns:a16="http://schemas.microsoft.com/office/drawing/2014/main" id="{F556FB3C-AF45-C7BC-3BB6-41EDD84ECB83}"/>
                </a:ext>
              </a:extLst>
            </p:cNvPr>
            <p:cNvSpPr/>
            <p:nvPr/>
          </p:nvSpPr>
          <p:spPr bwMode="gray">
            <a:xfrm rot="10800000">
              <a:off x="1118805" y="2353939"/>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5" name="Rectangle 94">
              <a:extLst>
                <a:ext uri="{FF2B5EF4-FFF2-40B4-BE49-F238E27FC236}">
                  <a16:creationId xmlns:a16="http://schemas.microsoft.com/office/drawing/2014/main" id="{EF88A980-5057-ADB7-8257-675044E00673}"/>
                </a:ext>
              </a:extLst>
            </p:cNvPr>
            <p:cNvSpPr/>
            <p:nvPr/>
          </p:nvSpPr>
          <p:spPr bwMode="gray">
            <a:xfrm rot="16200000">
              <a:off x="591967" y="4093263"/>
              <a:ext cx="507049" cy="256537"/>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Pump</a:t>
              </a:r>
            </a:p>
          </p:txBody>
        </p:sp>
        <p:pic>
          <p:nvPicPr>
            <p:cNvPr id="96" name="Graphic 95" descr="Badge 1 with solid fill">
              <a:extLst>
                <a:ext uri="{FF2B5EF4-FFF2-40B4-BE49-F238E27FC236}">
                  <a16:creationId xmlns:a16="http://schemas.microsoft.com/office/drawing/2014/main" id="{587D89E0-2BA5-C8B1-6016-91BA5A64BF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689" y="5409438"/>
              <a:ext cx="193802" cy="188377"/>
            </a:xfrm>
            <a:prstGeom prst="rect">
              <a:avLst/>
            </a:prstGeom>
          </p:spPr>
        </p:pic>
        <p:pic>
          <p:nvPicPr>
            <p:cNvPr id="97" name="Graphic 96" descr="Badge with solid fill">
              <a:extLst>
                <a:ext uri="{FF2B5EF4-FFF2-40B4-BE49-F238E27FC236}">
                  <a16:creationId xmlns:a16="http://schemas.microsoft.com/office/drawing/2014/main" id="{5A35DE03-BDA0-47A8-3C05-0D9955DC82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0258" y="2749871"/>
              <a:ext cx="199195" cy="193619"/>
            </a:xfrm>
            <a:prstGeom prst="rect">
              <a:avLst/>
            </a:prstGeom>
          </p:spPr>
        </p:pic>
        <p:pic>
          <p:nvPicPr>
            <p:cNvPr id="98" name="Graphic 97" descr="Badge 4 with solid fill">
              <a:extLst>
                <a:ext uri="{FF2B5EF4-FFF2-40B4-BE49-F238E27FC236}">
                  <a16:creationId xmlns:a16="http://schemas.microsoft.com/office/drawing/2014/main" id="{EB560C4B-11C4-9352-F6B8-B00518461A5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45546" y="1816729"/>
              <a:ext cx="199195" cy="193619"/>
            </a:xfrm>
            <a:prstGeom prst="rect">
              <a:avLst/>
            </a:prstGeom>
          </p:spPr>
        </p:pic>
        <p:pic>
          <p:nvPicPr>
            <p:cNvPr id="99" name="Graphic 98" descr="Badge 3 with solid fill">
              <a:extLst>
                <a:ext uri="{FF2B5EF4-FFF2-40B4-BE49-F238E27FC236}">
                  <a16:creationId xmlns:a16="http://schemas.microsoft.com/office/drawing/2014/main" id="{A58F6F91-DBC6-605F-9C44-89158CB13DC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13843" y="2733191"/>
              <a:ext cx="199195" cy="193619"/>
            </a:xfrm>
            <a:prstGeom prst="rect">
              <a:avLst/>
            </a:prstGeom>
          </p:spPr>
        </p:pic>
        <p:pic>
          <p:nvPicPr>
            <p:cNvPr id="100" name="Graphic 99" descr="Badge 5 with solid fill">
              <a:extLst>
                <a:ext uri="{FF2B5EF4-FFF2-40B4-BE49-F238E27FC236}">
                  <a16:creationId xmlns:a16="http://schemas.microsoft.com/office/drawing/2014/main" id="{B9B1DB1C-FDD5-0078-F251-E77B6FEFBB1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422478" y="5441711"/>
              <a:ext cx="199195" cy="193619"/>
            </a:xfrm>
            <a:prstGeom prst="rect">
              <a:avLst/>
            </a:prstGeom>
          </p:spPr>
        </p:pic>
      </p:grpSp>
      <p:sp>
        <p:nvSpPr>
          <p:cNvPr id="216" name="TextBox 215">
            <a:extLst>
              <a:ext uri="{FF2B5EF4-FFF2-40B4-BE49-F238E27FC236}">
                <a16:creationId xmlns:a16="http://schemas.microsoft.com/office/drawing/2014/main" id="{F535D1AF-827F-D0C6-0763-59DE728DAAD8}"/>
              </a:ext>
            </a:extLst>
          </p:cNvPr>
          <p:cNvSpPr txBox="1"/>
          <p:nvPr/>
        </p:nvSpPr>
        <p:spPr bwMode="gray">
          <a:xfrm>
            <a:off x="8340192" y="2112353"/>
            <a:ext cx="3241284" cy="923330"/>
          </a:xfrm>
          <a:prstGeom prst="rect">
            <a:avLst/>
          </a:prstGeom>
          <a:noFill/>
        </p:spPr>
        <p:txBody>
          <a:bodyPr wrap="square">
            <a:spAutoFit/>
          </a:bodyPr>
          <a:lstStyle/>
          <a:p>
            <a:r>
              <a:rPr lang="en-US" sz="1100" b="1" dirty="0"/>
              <a:t>Can use lower-temperature (100-180°C) resources </a:t>
            </a:r>
            <a:r>
              <a:rPr lang="en-US" sz="1100" dirty="0"/>
              <a:t>– much more widely available</a:t>
            </a:r>
          </a:p>
          <a:p>
            <a:r>
              <a:rPr lang="en-US" sz="1100" b="1" dirty="0"/>
              <a:t>Closed secondary loop </a:t>
            </a:r>
            <a:r>
              <a:rPr lang="en-US" sz="1100" dirty="0"/>
              <a:t>– no gases or steam released to atmosphere (very low emissions)</a:t>
            </a:r>
          </a:p>
        </p:txBody>
      </p:sp>
      <p:sp>
        <p:nvSpPr>
          <p:cNvPr id="217" name="TextBox 216">
            <a:extLst>
              <a:ext uri="{FF2B5EF4-FFF2-40B4-BE49-F238E27FC236}">
                <a16:creationId xmlns:a16="http://schemas.microsoft.com/office/drawing/2014/main" id="{11F27FDE-A01B-E935-3FCD-4E5C8A49106C}"/>
              </a:ext>
            </a:extLst>
          </p:cNvPr>
          <p:cNvSpPr txBox="1"/>
          <p:nvPr/>
        </p:nvSpPr>
        <p:spPr bwMode="gray">
          <a:xfrm>
            <a:off x="8340192" y="4510113"/>
            <a:ext cx="3241284" cy="1585049"/>
          </a:xfrm>
          <a:prstGeom prst="rect">
            <a:avLst/>
          </a:prstGeom>
          <a:noFill/>
        </p:spPr>
        <p:txBody>
          <a:bodyPr wrap="square">
            <a:spAutoFit/>
          </a:bodyPr>
          <a:lstStyle/>
          <a:p>
            <a:r>
              <a:rPr lang="en-US" sz="1100" b="1" dirty="0"/>
              <a:t>Lower efficiency </a:t>
            </a:r>
            <a:r>
              <a:rPr lang="en-US" sz="1100" dirty="0"/>
              <a:t>–</a:t>
            </a:r>
            <a:r>
              <a:rPr lang="en-US" sz="1100" b="1" dirty="0"/>
              <a:t> </a:t>
            </a:r>
            <a:r>
              <a:rPr lang="en-US" sz="1100" dirty="0"/>
              <a:t>compared to flash and dry steam (extra heat exchange step)</a:t>
            </a:r>
          </a:p>
          <a:p>
            <a:r>
              <a:rPr lang="en-US" sz="1100" b="1" dirty="0"/>
              <a:t>Higher CapEx and OpEx </a:t>
            </a:r>
            <a:r>
              <a:rPr lang="en-US" sz="1100" dirty="0"/>
              <a:t>–</a:t>
            </a:r>
            <a:r>
              <a:rPr lang="en-US" sz="1100" b="1" dirty="0"/>
              <a:t> </a:t>
            </a:r>
            <a:r>
              <a:rPr lang="en-US" sz="1100" dirty="0"/>
              <a:t>requires pumps, heat exchangers, and secondary working fluids</a:t>
            </a:r>
          </a:p>
          <a:p>
            <a:r>
              <a:rPr lang="en-US" sz="1100" b="1" dirty="0"/>
              <a:t>Secondary fluid risks </a:t>
            </a:r>
            <a:r>
              <a:rPr lang="en-US" sz="1100" dirty="0"/>
              <a:t>– organic fluids can be flammable or toxic if leaked</a:t>
            </a:r>
          </a:p>
        </p:txBody>
      </p:sp>
      <p:grpSp>
        <p:nvGrpSpPr>
          <p:cNvPr id="218" name="Group 217">
            <a:extLst>
              <a:ext uri="{FF2B5EF4-FFF2-40B4-BE49-F238E27FC236}">
                <a16:creationId xmlns:a16="http://schemas.microsoft.com/office/drawing/2014/main" id="{620D67BD-E427-B12B-0689-045084ABF67F}"/>
              </a:ext>
            </a:extLst>
          </p:cNvPr>
          <p:cNvGrpSpPr/>
          <p:nvPr/>
        </p:nvGrpSpPr>
        <p:grpSpPr>
          <a:xfrm>
            <a:off x="422001" y="1012204"/>
            <a:ext cx="2462772" cy="441909"/>
            <a:chOff x="9295880" y="980407"/>
            <a:chExt cx="2462772" cy="441909"/>
          </a:xfrm>
        </p:grpSpPr>
        <p:sp>
          <p:nvSpPr>
            <p:cNvPr id="219" name="Rectangle 218">
              <a:extLst>
                <a:ext uri="{FF2B5EF4-FFF2-40B4-BE49-F238E27FC236}">
                  <a16:creationId xmlns:a16="http://schemas.microsoft.com/office/drawing/2014/main" id="{32217EE8-E4CB-8821-ED07-BBD83DF29707}"/>
                </a:ext>
              </a:extLst>
            </p:cNvPr>
            <p:cNvSpPr/>
            <p:nvPr/>
          </p:nvSpPr>
          <p:spPr bwMode="gray">
            <a:xfrm>
              <a:off x="9295880" y="990578"/>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0" name="Rectangle 219">
              <a:extLst>
                <a:ext uri="{FF2B5EF4-FFF2-40B4-BE49-F238E27FC236}">
                  <a16:creationId xmlns:a16="http://schemas.microsoft.com/office/drawing/2014/main" id="{E7D6A1CE-3AD1-B989-18C2-8DB19169E96D}"/>
                </a:ext>
              </a:extLst>
            </p:cNvPr>
            <p:cNvSpPr/>
            <p:nvPr/>
          </p:nvSpPr>
          <p:spPr bwMode="gray">
            <a:xfrm>
              <a:off x="10582377" y="1015350"/>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1" name="TextBox 220">
              <a:extLst>
                <a:ext uri="{FF2B5EF4-FFF2-40B4-BE49-F238E27FC236}">
                  <a16:creationId xmlns:a16="http://schemas.microsoft.com/office/drawing/2014/main" id="{FE0904E8-888D-E81D-1DAB-AB01C2547DDA}"/>
                </a:ext>
              </a:extLst>
            </p:cNvPr>
            <p:cNvSpPr txBox="1"/>
            <p:nvPr/>
          </p:nvSpPr>
          <p:spPr bwMode="gray">
            <a:xfrm>
              <a:off x="9472098" y="980407"/>
              <a:ext cx="771566" cy="15723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222" name="TextBox 221">
              <a:extLst>
                <a:ext uri="{FF2B5EF4-FFF2-40B4-BE49-F238E27FC236}">
                  <a16:creationId xmlns:a16="http://schemas.microsoft.com/office/drawing/2014/main" id="{0FC2E5CA-5E97-2183-0030-D9F07475302D}"/>
                </a:ext>
              </a:extLst>
            </p:cNvPr>
            <p:cNvSpPr txBox="1"/>
            <p:nvPr/>
          </p:nvSpPr>
          <p:spPr bwMode="gray">
            <a:xfrm>
              <a:off x="10754604" y="995009"/>
              <a:ext cx="747385" cy="157234"/>
            </a:xfrm>
            <a:prstGeom prst="rect">
              <a:avLst/>
            </a:prstGeom>
            <a:noFill/>
          </p:spPr>
          <p:txBody>
            <a:bodyPr wrap="none" lIns="36000" tIns="36000" rIns="36000" bIns="36000" rtlCol="0">
              <a:spAutoFit/>
            </a:bodyPr>
            <a:lstStyle/>
            <a:p>
              <a:pPr marL="0" indent="0">
                <a:buNone/>
              </a:pPr>
              <a:r>
                <a:rPr lang="en-US" sz="800" dirty="0"/>
                <a:t>Geothermal water</a:t>
              </a:r>
            </a:p>
          </p:txBody>
        </p:sp>
        <p:sp>
          <p:nvSpPr>
            <p:cNvPr id="223" name="Rectangle 222">
              <a:extLst>
                <a:ext uri="{FF2B5EF4-FFF2-40B4-BE49-F238E27FC236}">
                  <a16:creationId xmlns:a16="http://schemas.microsoft.com/office/drawing/2014/main" id="{5B571C26-7200-CD98-11A0-01C138A1510F}"/>
                </a:ext>
              </a:extLst>
            </p:cNvPr>
            <p:cNvSpPr/>
            <p:nvPr/>
          </p:nvSpPr>
          <p:spPr bwMode="gray">
            <a:xfrm>
              <a:off x="9295880" y="1222071"/>
              <a:ext cx="142868" cy="136893"/>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4" name="Rectangle 223">
              <a:extLst>
                <a:ext uri="{FF2B5EF4-FFF2-40B4-BE49-F238E27FC236}">
                  <a16:creationId xmlns:a16="http://schemas.microsoft.com/office/drawing/2014/main" id="{E57D858D-B3F4-9B4E-99D5-EE9359FFBF84}"/>
                </a:ext>
              </a:extLst>
            </p:cNvPr>
            <p:cNvSpPr/>
            <p:nvPr/>
          </p:nvSpPr>
          <p:spPr bwMode="gray">
            <a:xfrm>
              <a:off x="10582377" y="1246843"/>
              <a:ext cx="142868" cy="13689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5" name="TextBox 224">
              <a:extLst>
                <a:ext uri="{FF2B5EF4-FFF2-40B4-BE49-F238E27FC236}">
                  <a16:creationId xmlns:a16="http://schemas.microsoft.com/office/drawing/2014/main" id="{4BC1CBB8-A93D-1A8B-2CEA-4BCE6565C45D}"/>
                </a:ext>
              </a:extLst>
            </p:cNvPr>
            <p:cNvSpPr txBox="1"/>
            <p:nvPr/>
          </p:nvSpPr>
          <p:spPr bwMode="gray">
            <a:xfrm>
              <a:off x="9472098" y="1211900"/>
              <a:ext cx="1055344" cy="195814"/>
            </a:xfrm>
            <a:prstGeom prst="rect">
              <a:avLst/>
            </a:prstGeom>
            <a:noFill/>
          </p:spPr>
          <p:txBody>
            <a:bodyPr wrap="none" lIns="36000" tIns="36000" rIns="36000" bIns="36000" rtlCol="0">
              <a:spAutoFit/>
            </a:bodyPr>
            <a:lstStyle/>
            <a:p>
              <a:pPr marL="0" indent="0">
                <a:buNone/>
              </a:pPr>
              <a:r>
                <a:rPr lang="en-US" sz="800" dirty="0"/>
                <a:t>Working fluid (vapor)</a:t>
              </a:r>
            </a:p>
          </p:txBody>
        </p:sp>
        <p:sp>
          <p:nvSpPr>
            <p:cNvPr id="226" name="TextBox 225">
              <a:extLst>
                <a:ext uri="{FF2B5EF4-FFF2-40B4-BE49-F238E27FC236}">
                  <a16:creationId xmlns:a16="http://schemas.microsoft.com/office/drawing/2014/main" id="{9946A0F1-F503-1BA6-7153-DB4D67C6F8BC}"/>
                </a:ext>
              </a:extLst>
            </p:cNvPr>
            <p:cNvSpPr txBox="1"/>
            <p:nvPr/>
          </p:nvSpPr>
          <p:spPr bwMode="gray">
            <a:xfrm>
              <a:off x="10754604" y="1226502"/>
              <a:ext cx="1004048" cy="195814"/>
            </a:xfrm>
            <a:prstGeom prst="rect">
              <a:avLst/>
            </a:prstGeom>
            <a:noFill/>
          </p:spPr>
          <p:txBody>
            <a:bodyPr wrap="none" lIns="36000" tIns="36000" rIns="36000" bIns="36000" rtlCol="0">
              <a:spAutoFit/>
            </a:bodyPr>
            <a:lstStyle/>
            <a:p>
              <a:pPr marL="0" indent="0">
                <a:buNone/>
              </a:pPr>
              <a:r>
                <a:rPr lang="en-US" sz="800" dirty="0"/>
                <a:t>Working fluid (liquid)</a:t>
              </a:r>
            </a:p>
          </p:txBody>
        </p:sp>
        <p:sp>
          <p:nvSpPr>
            <p:cNvPr id="227" name="Rectangle 226">
              <a:extLst>
                <a:ext uri="{FF2B5EF4-FFF2-40B4-BE49-F238E27FC236}">
                  <a16:creationId xmlns:a16="http://schemas.microsoft.com/office/drawing/2014/main" id="{8A09911D-642B-42EA-56F8-4E311360EAE2}"/>
                </a:ext>
              </a:extLst>
            </p:cNvPr>
            <p:cNvSpPr/>
            <p:nvPr/>
          </p:nvSpPr>
          <p:spPr bwMode="gray">
            <a:xfrm>
              <a:off x="10653572" y="1013408"/>
              <a:ext cx="71578" cy="13911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Tree>
    <p:extLst>
      <p:ext uri="{BB962C8B-B14F-4D97-AF65-F5344CB8AC3E}">
        <p14:creationId xmlns:p14="http://schemas.microsoft.com/office/powerpoint/2010/main" val="39161703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BF2F46C-B90A-C0DE-983B-952B9D5E683A}"/>
              </a:ext>
            </a:extLst>
          </p:cNvPr>
          <p:cNvGraphicFramePr>
            <a:graphicFrameLocks/>
          </p:cNvGraphicFramePr>
          <p:nvPr>
            <p:custDataLst>
              <p:tags r:id="rId1"/>
            </p:custDataLst>
            <p:extLst>
              <p:ext uri="{D42A27DB-BD31-4B8C-83A1-F6EECF244321}">
                <p14:modId xmlns:p14="http://schemas.microsoft.com/office/powerpoint/2010/main" val="4628809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0" name=""/>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69EEE5-43FE-C62D-CB30-E18803E47C34}"/>
              </a:ext>
            </a:extLst>
          </p:cNvPr>
          <p:cNvSpPr>
            <a:spLocks noGrp="1"/>
          </p:cNvSpPr>
          <p:nvPr>
            <p:ph type="title"/>
          </p:nvPr>
        </p:nvSpPr>
        <p:spPr/>
        <p:txBody>
          <a:bodyPr vert="horz" rIns="91440"/>
          <a:lstStyle/>
          <a:p>
            <a:r>
              <a:rPr lang="en-US" dirty="0"/>
              <a:t>Location dependence is main barrier for conventional geothermal deployment, followed by high upfront costs and low efficiency</a:t>
            </a:r>
          </a:p>
        </p:txBody>
      </p:sp>
      <p:sp>
        <p:nvSpPr>
          <p:cNvPr id="4" name="Footer Placeholder 3">
            <a:extLst>
              <a:ext uri="{FF2B5EF4-FFF2-40B4-BE49-F238E27FC236}">
                <a16:creationId xmlns:a16="http://schemas.microsoft.com/office/drawing/2014/main" id="{4AC37452-74ED-8586-2E88-C11C1C650D4E}"/>
              </a:ext>
            </a:extLst>
          </p:cNvPr>
          <p:cNvSpPr>
            <a:spLocks noGrp="1"/>
          </p:cNvSpPr>
          <p:nvPr>
            <p:ph type="ftr" sz="quarter" idx="3"/>
          </p:nvPr>
        </p:nvSpPr>
        <p:spPr>
          <a:xfrm>
            <a:off x="334962" y="6237557"/>
            <a:ext cx="9147241" cy="216706"/>
          </a:xfrm>
        </p:spPr>
        <p:txBody>
          <a:bodyPr/>
          <a:lstStyle/>
          <a:p>
            <a:pPr lvl="0">
              <a:spcBef>
                <a:spcPts val="1200"/>
              </a:spcBef>
              <a:defRPr/>
            </a:pPr>
            <a:r>
              <a:rPr lang="en-US" dirty="0">
                <a:solidFill>
                  <a:srgbClr val="000000"/>
                </a:solidFill>
              </a:rPr>
              <a:t>Sourc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Power plant efficiency since 1900</a:t>
            </a:r>
            <a:r>
              <a:rPr lang="en-US" dirty="0">
                <a:solidFill>
                  <a:srgbClr val="000000"/>
                </a:solidFill>
              </a:rPr>
              <a:t> (Boston University,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uccess of Geothermal Wells: A global study</a:t>
            </a:r>
            <a:r>
              <a:rPr kumimoji="0" lang="en-US" sz="800" b="0" i="0" u="none" strike="noStrike" kern="1200" cap="none" spc="0" normalizeH="0" baseline="0" noProof="0" dirty="0">
                <a:ln>
                  <a:noFill/>
                </a:ln>
                <a:solidFill>
                  <a:srgbClr val="000000"/>
                </a:solidFill>
                <a:effectLst/>
                <a:uLnTx/>
                <a:uFillTx/>
                <a:latin typeface="Arial"/>
                <a:ea typeface="+mn-ea"/>
                <a:cs typeface="+mn-cs"/>
              </a:rPr>
              <a:t> (IFC, 201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A review on geothermal wells: Well integrity issues</a:t>
            </a:r>
            <a:r>
              <a:rPr lang="en-US" dirty="0">
                <a:solidFill>
                  <a:srgbClr val="000000"/>
                </a:solidFill>
              </a:rPr>
              <a:t> (Journal of Cleaner Production, 2020</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evgi Hel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Tilkicioglu</a:t>
            </a:r>
            <a:r>
              <a:rPr kumimoji="0" lang="en-US" sz="800" b="0" i="0" u="none" strike="noStrike" kern="1200" cap="none" spc="0" normalizeH="0" baseline="0" noProof="0" dirty="0">
                <a:ln>
                  <a:noFill/>
                </a:ln>
                <a:solidFill>
                  <a:srgbClr val="000000"/>
                </a:solidFill>
                <a:effectLst/>
                <a:uLnTx/>
                <a:uFillTx/>
                <a:latin typeface="Arial"/>
                <a:ea typeface="+mn-ea"/>
                <a:cs typeface="+mn-cs"/>
              </a:rPr>
              <a:t>, Isabel Hoyos, and </a:t>
            </a:r>
            <a:r>
              <a:rPr lang="en-US" dirty="0">
                <a:hlinkClick r:id="rId17"/>
              </a:rPr>
              <a:t>Gernot Wagner.</a:t>
            </a:r>
            <a:r>
              <a:rPr lang="en-US" dirty="0">
                <a:solidFill>
                  <a:srgbClr val="000000"/>
                </a:solidFill>
              </a:rPr>
              <a:t> </a:t>
            </a:r>
            <a:r>
              <a:rPr lang="en-US" dirty="0">
                <a:hlinkClick r:id="rId1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1"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1">
            <a:extLst>
              <a:ext uri="{FF2B5EF4-FFF2-40B4-BE49-F238E27FC236}">
                <a16:creationId xmlns:a16="http://schemas.microsoft.com/office/drawing/2014/main" id="{DFEF39A9-A202-B74F-2540-B7F542E4D673}"/>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
        <p:nvSpPr>
          <p:cNvPr id="7" name="TextBox 6">
            <a:extLst>
              <a:ext uri="{FF2B5EF4-FFF2-40B4-BE49-F238E27FC236}">
                <a16:creationId xmlns:a16="http://schemas.microsoft.com/office/drawing/2014/main" id="{EF11155C-68EC-05BA-937D-C84636D42C33}"/>
              </a:ext>
            </a:extLst>
          </p:cNvPr>
          <p:cNvSpPr txBox="1"/>
          <p:nvPr/>
        </p:nvSpPr>
        <p:spPr bwMode="gray">
          <a:xfrm>
            <a:off x="627000" y="5454352"/>
            <a:ext cx="888192" cy="719034"/>
          </a:xfrm>
          <a:prstGeom prst="rect">
            <a:avLst/>
          </a:prstGeom>
          <a:noFill/>
        </p:spPr>
        <p:txBody>
          <a:bodyPr wrap="square" lIns="36000" tIns="36000" rIns="36000" bIns="36000" rtlCol="0">
            <a:spAutoFit/>
          </a:bodyPr>
          <a:lstStyle/>
          <a:p>
            <a:pPr marL="0" indent="0">
              <a:buNone/>
            </a:pPr>
            <a:r>
              <a:rPr lang="en-US" sz="1400" b="1" dirty="0">
                <a:solidFill>
                  <a:schemeClr val="bg1"/>
                </a:solidFill>
              </a:rPr>
              <a:t>Barriers to adoption</a:t>
            </a:r>
          </a:p>
        </p:txBody>
      </p:sp>
      <p:graphicFrame>
        <p:nvGraphicFramePr>
          <p:cNvPr id="8" name="Chart 7">
            <a:extLst>
              <a:ext uri="{FF2B5EF4-FFF2-40B4-BE49-F238E27FC236}">
                <a16:creationId xmlns:a16="http://schemas.microsoft.com/office/drawing/2014/main" id="{0DE23B59-6A32-67A9-A792-F60CF6B16EA5}"/>
              </a:ext>
            </a:extLst>
          </p:cNvPr>
          <p:cNvGraphicFramePr/>
          <p:nvPr>
            <p:custDataLst>
              <p:tags r:id="rId2"/>
            </p:custDataLst>
            <p:extLst>
              <p:ext uri="{D42A27DB-BD31-4B8C-83A1-F6EECF244321}">
                <p14:modId xmlns:p14="http://schemas.microsoft.com/office/powerpoint/2010/main" val="272634741"/>
              </p:ext>
            </p:extLst>
          </p:nvPr>
        </p:nvGraphicFramePr>
        <p:xfrm>
          <a:off x="9709150" y="2528888"/>
          <a:ext cx="1612900" cy="3617912"/>
        </p:xfrm>
        <a:graphic>
          <a:graphicData uri="http://schemas.openxmlformats.org/drawingml/2006/chart">
            <c:chart xmlns:c="http://schemas.openxmlformats.org/drawingml/2006/chart" xmlns:r="http://schemas.openxmlformats.org/officeDocument/2006/relationships" r:id="rId19"/>
          </a:graphicData>
        </a:graphic>
      </p:graphicFrame>
      <p:sp>
        <p:nvSpPr>
          <p:cNvPr id="9" name="Rectangle 8">
            <a:extLst>
              <a:ext uri="{FF2B5EF4-FFF2-40B4-BE49-F238E27FC236}">
                <a16:creationId xmlns:a16="http://schemas.microsoft.com/office/drawing/2014/main" id="{5032D0FF-BCD3-3594-7AD1-EE543F8971C0}"/>
              </a:ext>
            </a:extLst>
          </p:cNvPr>
          <p:cNvSpPr/>
          <p:nvPr>
            <p:custDataLst>
              <p:tags r:id="rId3"/>
            </p:custDataLst>
          </p:nvPr>
        </p:nvSpPr>
        <p:spPr bwMode="auto">
          <a:xfrm>
            <a:off x="10085388" y="5510213"/>
            <a:ext cx="879475" cy="293688"/>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Text Placeholder 10">
            <a:extLst>
              <a:ext uri="{FF2B5EF4-FFF2-40B4-BE49-F238E27FC236}">
                <a16:creationId xmlns:a16="http://schemas.microsoft.com/office/drawing/2014/main" id="{56C96D0E-E3D3-B39E-091F-9434AFA16565}"/>
              </a:ext>
            </a:extLst>
          </p:cNvPr>
          <p:cNvSpPr txBox="1">
            <a:spLocks/>
          </p:cNvSpPr>
          <p:nvPr>
            <p:custDataLst>
              <p:tags r:id="rId4"/>
            </p:custDataLst>
          </p:nvPr>
        </p:nvSpPr>
        <p:spPr bwMode="auto">
          <a:xfrm>
            <a:off x="8610600" y="2941638"/>
            <a:ext cx="646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F1B0ACC-CB24-4F00-924D-6801CB9E1924}" type="datetime'''N''''a''tu''ral ''''''''''''''g''''''''a''''''''s'''">
              <a:rPr lang="en-US" altLang="en-US" sz="1000" smtClean="0"/>
              <a:pPr/>
              <a:t>Natural gas</a:t>
            </a:fld>
            <a:endParaRPr lang="en-US" sz="1000" dirty="0"/>
          </a:p>
        </p:txBody>
      </p:sp>
      <p:sp>
        <p:nvSpPr>
          <p:cNvPr id="11" name="Text Placeholder 10">
            <a:extLst>
              <a:ext uri="{FF2B5EF4-FFF2-40B4-BE49-F238E27FC236}">
                <a16:creationId xmlns:a16="http://schemas.microsoft.com/office/drawing/2014/main" id="{BFBA216F-0020-4005-73EB-BEA96F76D2AB}"/>
              </a:ext>
            </a:extLst>
          </p:cNvPr>
          <p:cNvSpPr txBox="1">
            <a:spLocks/>
          </p:cNvSpPr>
          <p:nvPr>
            <p:custDataLst>
              <p:tags r:id="rId5"/>
            </p:custDataLst>
          </p:nvPr>
        </p:nvSpPr>
        <p:spPr bwMode="auto">
          <a:xfrm>
            <a:off x="8610600" y="3468688"/>
            <a:ext cx="1095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a:t>
            </a:r>
            <a:fld id="{DD97846C-E93C-48C9-BD69-C029E70A9B2B}" type="datetime'F''o''ss''il'''''''' ''''f''''''''u''e''l aver''''''a''ge'''''">
              <a:rPr lang="en-US" altLang="en-US" sz="1000" smtClean="0"/>
              <a:pPr/>
              <a:t>Fossil fuel average</a:t>
            </a:fld>
            <a:endParaRPr lang="en-US" sz="1000" dirty="0"/>
          </a:p>
        </p:txBody>
      </p:sp>
      <p:sp>
        <p:nvSpPr>
          <p:cNvPr id="12" name="Text Placeholder 10">
            <a:extLst>
              <a:ext uri="{FF2B5EF4-FFF2-40B4-BE49-F238E27FC236}">
                <a16:creationId xmlns:a16="http://schemas.microsoft.com/office/drawing/2014/main" id="{6C0039DA-29D3-DF25-3F5F-B6C2F12C19DE}"/>
              </a:ext>
            </a:extLst>
          </p:cNvPr>
          <p:cNvSpPr txBox="1">
            <a:spLocks/>
          </p:cNvSpPr>
          <p:nvPr>
            <p:custDataLst>
              <p:tags r:id="rId6"/>
            </p:custDataLst>
          </p:nvPr>
        </p:nvSpPr>
        <p:spPr bwMode="auto">
          <a:xfrm>
            <a:off x="8610600" y="399732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6187E1-379E-40DB-89C4-806CA7BA1439}" type="datetime'''N''u''''c''''''''''''''''l''''''''e''''a''''r'''''''''''''''">
              <a:rPr lang="en-US" altLang="en-US" sz="1000" smtClean="0"/>
              <a:pPr/>
              <a:t>Nuclear</a:t>
            </a:fld>
            <a:endParaRPr lang="en-US" sz="1000" dirty="0"/>
          </a:p>
        </p:txBody>
      </p:sp>
      <p:sp>
        <p:nvSpPr>
          <p:cNvPr id="13" name="Text Placeholder 10">
            <a:extLst>
              <a:ext uri="{FF2B5EF4-FFF2-40B4-BE49-F238E27FC236}">
                <a16:creationId xmlns:a16="http://schemas.microsoft.com/office/drawing/2014/main" id="{883D76D7-7DD7-9727-88D2-EF2343C491F2}"/>
              </a:ext>
            </a:extLst>
          </p:cNvPr>
          <p:cNvSpPr txBox="1">
            <a:spLocks/>
          </p:cNvSpPr>
          <p:nvPr>
            <p:custDataLst>
              <p:tags r:id="rId7"/>
            </p:custDataLst>
          </p:nvPr>
        </p:nvSpPr>
        <p:spPr bwMode="auto">
          <a:xfrm>
            <a:off x="8610600" y="45243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C9115B-FE31-4DD4-9760-843AA1679545}" type="datetime'''''''''''''''''''''''C''o''a''''''''''''l'''''''''''''''''''">
              <a:rPr lang="en-US" altLang="en-US" sz="1000" smtClean="0"/>
              <a:pPr/>
              <a:t>Coal</a:t>
            </a:fld>
            <a:endParaRPr lang="en-US" sz="1000" dirty="0"/>
          </a:p>
        </p:txBody>
      </p:sp>
      <p:sp>
        <p:nvSpPr>
          <p:cNvPr id="14" name="Text Placeholder 10">
            <a:extLst>
              <a:ext uri="{FF2B5EF4-FFF2-40B4-BE49-F238E27FC236}">
                <a16:creationId xmlns:a16="http://schemas.microsoft.com/office/drawing/2014/main" id="{B23487AE-EEF8-4D8B-F7E7-0F96F284A4DF}"/>
              </a:ext>
            </a:extLst>
          </p:cNvPr>
          <p:cNvSpPr txBox="1">
            <a:spLocks/>
          </p:cNvSpPr>
          <p:nvPr>
            <p:custDataLst>
              <p:tags r:id="rId8"/>
            </p:custDataLst>
          </p:nvPr>
        </p:nvSpPr>
        <p:spPr bwMode="auto">
          <a:xfrm>
            <a:off x="8610600" y="5053013"/>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F63AF0D-9B09-48B0-B594-5E5E0C068E44}" type="datetime'O''il'''''''''''''''''''''''''">
              <a:rPr lang="en-US" altLang="en-US" sz="1000" smtClean="0"/>
              <a:pPr/>
              <a:t>Oil</a:t>
            </a:fld>
            <a:endParaRPr lang="en-US" sz="1000" dirty="0"/>
          </a:p>
        </p:txBody>
      </p:sp>
      <p:sp>
        <p:nvSpPr>
          <p:cNvPr id="15" name="Text Placeholder 10">
            <a:extLst>
              <a:ext uri="{FF2B5EF4-FFF2-40B4-BE49-F238E27FC236}">
                <a16:creationId xmlns:a16="http://schemas.microsoft.com/office/drawing/2014/main" id="{51438571-C2A4-CB6C-059F-C756AC596941}"/>
              </a:ext>
            </a:extLst>
          </p:cNvPr>
          <p:cNvSpPr txBox="1">
            <a:spLocks/>
          </p:cNvSpPr>
          <p:nvPr>
            <p:custDataLst>
              <p:tags r:id="rId9"/>
            </p:custDataLst>
          </p:nvPr>
        </p:nvSpPr>
        <p:spPr bwMode="auto">
          <a:xfrm>
            <a:off x="8610600" y="5580063"/>
            <a:ext cx="760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DA3E2C3-CE94-4C0D-AB33-19E74050CE02}" type="datetime'''''''H''ydro''t''''''h''e''rm''a''''''''''''''l'">
              <a:rPr lang="en-US" altLang="en-US" sz="1000" smtClean="0"/>
              <a:pPr/>
              <a:t>Hydrothermal</a:t>
            </a:fld>
            <a:endParaRPr lang="en-US" sz="1000" dirty="0"/>
          </a:p>
        </p:txBody>
      </p:sp>
      <p:sp>
        <p:nvSpPr>
          <p:cNvPr id="16" name="Text Placeholder 10">
            <a:extLst>
              <a:ext uri="{FF2B5EF4-FFF2-40B4-BE49-F238E27FC236}">
                <a16:creationId xmlns:a16="http://schemas.microsoft.com/office/drawing/2014/main" id="{B842676B-5561-B1DD-5734-DBC3A8D2261E}"/>
              </a:ext>
            </a:extLst>
          </p:cNvPr>
          <p:cNvSpPr txBox="1">
            <a:spLocks/>
          </p:cNvSpPr>
          <p:nvPr>
            <p:custDataLst>
              <p:tags r:id="rId10"/>
            </p:custDataLst>
          </p:nvPr>
        </p:nvSpPr>
        <p:spPr bwMode="gray">
          <a:xfrm>
            <a:off x="10990263" y="5580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22A1CE-3CA3-4A87-8A53-21360F18F787}" type="datetime'''''''''4''''''''''''''''''0'''''''''''''''''''''''">
              <a:rPr lang="en-US" altLang="en-US" sz="1000" smtClean="0"/>
              <a:pPr/>
              <a:t>40</a:t>
            </a:fld>
            <a:endParaRPr lang="en-US" sz="1000" dirty="0"/>
          </a:p>
        </p:txBody>
      </p:sp>
      <p:pic>
        <p:nvPicPr>
          <p:cNvPr id="17" name="Graphic 16" descr="Badge 1 with solid fill">
            <a:extLst>
              <a:ext uri="{FF2B5EF4-FFF2-40B4-BE49-F238E27FC236}">
                <a16:creationId xmlns:a16="http://schemas.microsoft.com/office/drawing/2014/main" id="{E21F17B9-B598-E492-07F0-E9B940A9B8E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09737" y="1514837"/>
            <a:ext cx="329997" cy="329999"/>
          </a:xfrm>
          <a:prstGeom prst="rect">
            <a:avLst/>
          </a:prstGeom>
        </p:spPr>
      </p:pic>
      <p:sp>
        <p:nvSpPr>
          <p:cNvPr id="18" name="TextBox 17">
            <a:extLst>
              <a:ext uri="{FF2B5EF4-FFF2-40B4-BE49-F238E27FC236}">
                <a16:creationId xmlns:a16="http://schemas.microsoft.com/office/drawing/2014/main" id="{D0CA9841-C724-E943-8129-355B1756A15D}"/>
              </a:ext>
            </a:extLst>
          </p:cNvPr>
          <p:cNvSpPr txBox="1"/>
          <p:nvPr/>
        </p:nvSpPr>
        <p:spPr bwMode="gray">
          <a:xfrm>
            <a:off x="2063586" y="1558846"/>
            <a:ext cx="3139503" cy="241980"/>
          </a:xfrm>
          <a:prstGeom prst="rect">
            <a:avLst/>
          </a:prstGeom>
          <a:noFill/>
        </p:spPr>
        <p:txBody>
          <a:bodyPr wrap="square" lIns="36000" tIns="36000" rIns="36000" bIns="36000" rtlCol="0" anchor="t">
            <a:spAutoFit/>
          </a:bodyPr>
          <a:lstStyle/>
          <a:p>
            <a:pPr marL="0" indent="0">
              <a:buNone/>
            </a:pPr>
            <a:r>
              <a:rPr lang="en-US" sz="1100" b="1" dirty="0"/>
              <a:t>Location dependent</a:t>
            </a:r>
          </a:p>
        </p:txBody>
      </p:sp>
      <p:sp>
        <p:nvSpPr>
          <p:cNvPr id="19" name="TextBox 18">
            <a:extLst>
              <a:ext uri="{FF2B5EF4-FFF2-40B4-BE49-F238E27FC236}">
                <a16:creationId xmlns:a16="http://schemas.microsoft.com/office/drawing/2014/main" id="{BD391F0E-A539-A7AD-FB98-EF3327986AC7}"/>
              </a:ext>
            </a:extLst>
          </p:cNvPr>
          <p:cNvSpPr txBox="1"/>
          <p:nvPr/>
        </p:nvSpPr>
        <p:spPr bwMode="gray">
          <a:xfrm>
            <a:off x="1769563" y="2076163"/>
            <a:ext cx="3145338" cy="749812"/>
          </a:xfrm>
          <a:prstGeom prst="rect">
            <a:avLst/>
          </a:prstGeom>
          <a:noFill/>
        </p:spPr>
        <p:txBody>
          <a:bodyPr wrap="square" lIns="36000" tIns="36000" rIns="36000" bIns="36000" rtlCol="0">
            <a:spAutoFit/>
          </a:bodyPr>
          <a:lstStyle/>
          <a:p>
            <a:pPr marL="0" indent="0">
              <a:buNone/>
            </a:pPr>
            <a:r>
              <a:rPr lang="en-US" sz="1100" dirty="0"/>
              <a:t>Due to the requirements for heat, fluid, and permeability, hydrothermal resource cluster in specific locations, </a:t>
            </a:r>
            <a:r>
              <a:rPr lang="en-US" sz="1100" b="1" dirty="0"/>
              <a:t>especially along tectonic and volcanic belts</a:t>
            </a:r>
            <a:r>
              <a:rPr lang="en-US" sz="1100" b="1" i="1" dirty="0"/>
              <a:t>.</a:t>
            </a:r>
          </a:p>
        </p:txBody>
      </p:sp>
      <p:sp>
        <p:nvSpPr>
          <p:cNvPr id="20" name="TextBox 19">
            <a:extLst>
              <a:ext uri="{FF2B5EF4-FFF2-40B4-BE49-F238E27FC236}">
                <a16:creationId xmlns:a16="http://schemas.microsoft.com/office/drawing/2014/main" id="{03972015-E4E3-E803-8780-F970027878CB}"/>
              </a:ext>
            </a:extLst>
          </p:cNvPr>
          <p:cNvSpPr txBox="1"/>
          <p:nvPr/>
        </p:nvSpPr>
        <p:spPr bwMode="gray">
          <a:xfrm>
            <a:off x="1769563" y="5097163"/>
            <a:ext cx="3301645" cy="919089"/>
          </a:xfrm>
          <a:prstGeom prst="rect">
            <a:avLst/>
          </a:prstGeom>
          <a:noFill/>
        </p:spPr>
        <p:txBody>
          <a:bodyPr wrap="square" lIns="36000" tIns="36000" rIns="36000" bIns="36000" rtlCol="0">
            <a:spAutoFit/>
          </a:bodyPr>
          <a:lstStyle/>
          <a:p>
            <a:pPr marL="0" indent="0">
              <a:buNone/>
            </a:pPr>
            <a:r>
              <a:rPr lang="en-US" sz="1100" dirty="0"/>
              <a:t>For example, in the United States, hydrothermal resources are concentrated in the West, particularly in states such as Alaska, Arizona, California, Colorado, Hawaii, Idaho, Montana, Nevada, New Mexico, Oregon, Utah, Washington, and Wyoming.</a:t>
            </a:r>
          </a:p>
        </p:txBody>
      </p:sp>
      <p:sp>
        <p:nvSpPr>
          <p:cNvPr id="21" name="TextBox 20">
            <a:extLst>
              <a:ext uri="{FF2B5EF4-FFF2-40B4-BE49-F238E27FC236}">
                <a16:creationId xmlns:a16="http://schemas.microsoft.com/office/drawing/2014/main" id="{E6457A41-F5EC-12AB-AF01-BF7B4AE372FF}"/>
              </a:ext>
            </a:extLst>
          </p:cNvPr>
          <p:cNvSpPr txBox="1"/>
          <p:nvPr/>
        </p:nvSpPr>
        <p:spPr bwMode="gray">
          <a:xfrm>
            <a:off x="8552731" y="2084933"/>
            <a:ext cx="3318594" cy="411257"/>
          </a:xfrm>
          <a:prstGeom prst="rect">
            <a:avLst/>
          </a:prstGeom>
          <a:noFill/>
        </p:spPr>
        <p:txBody>
          <a:bodyPr wrap="square" lIns="36000" tIns="36000" rIns="36000" bIns="36000" rtlCol="0">
            <a:spAutoFit/>
          </a:bodyPr>
          <a:lstStyle/>
          <a:p>
            <a:pPr marL="0" indent="0">
              <a:buNone/>
            </a:pPr>
            <a:r>
              <a:rPr lang="en-US" sz="1100" i="1" dirty="0"/>
              <a:t>Thermal power plant efficiency in the United States, %, 2023 </a:t>
            </a:r>
          </a:p>
        </p:txBody>
      </p:sp>
      <p:sp>
        <p:nvSpPr>
          <p:cNvPr id="22" name="TextBox 21">
            <a:extLst>
              <a:ext uri="{FF2B5EF4-FFF2-40B4-BE49-F238E27FC236}">
                <a16:creationId xmlns:a16="http://schemas.microsoft.com/office/drawing/2014/main" id="{FCF7D3EC-418A-AAA1-036F-9E40B4E6CF10}"/>
              </a:ext>
            </a:extLst>
          </p:cNvPr>
          <p:cNvSpPr txBox="1"/>
          <p:nvPr/>
        </p:nvSpPr>
        <p:spPr bwMode="gray">
          <a:xfrm>
            <a:off x="8783328" y="1558846"/>
            <a:ext cx="3139524" cy="241980"/>
          </a:xfrm>
          <a:prstGeom prst="rect">
            <a:avLst/>
          </a:prstGeom>
          <a:noFill/>
        </p:spPr>
        <p:txBody>
          <a:bodyPr wrap="square" lIns="36000" tIns="36000" rIns="36000" bIns="36000" rtlCol="0" anchor="t">
            <a:spAutoFit/>
          </a:bodyPr>
          <a:lstStyle/>
          <a:p>
            <a:pPr marL="0" indent="0">
              <a:buNone/>
            </a:pPr>
            <a:r>
              <a:rPr lang="en-US" sz="1100" b="1" dirty="0"/>
              <a:t>Low efficiency considering heat content</a:t>
            </a:r>
          </a:p>
        </p:txBody>
      </p:sp>
      <p:pic>
        <p:nvPicPr>
          <p:cNvPr id="23" name="Graphic 22" descr="Badge with solid fill">
            <a:extLst>
              <a:ext uri="{FF2B5EF4-FFF2-40B4-BE49-F238E27FC236}">
                <a16:creationId xmlns:a16="http://schemas.microsoft.com/office/drawing/2014/main" id="{9F47D8CC-2180-D48B-EEED-D2F879931C8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226941" y="1515244"/>
            <a:ext cx="329184" cy="329184"/>
          </a:xfrm>
          <a:prstGeom prst="rect">
            <a:avLst/>
          </a:prstGeom>
        </p:spPr>
      </p:pic>
      <p:grpSp>
        <p:nvGrpSpPr>
          <p:cNvPr id="24" name="Group 23">
            <a:extLst>
              <a:ext uri="{FF2B5EF4-FFF2-40B4-BE49-F238E27FC236}">
                <a16:creationId xmlns:a16="http://schemas.microsoft.com/office/drawing/2014/main" id="{58F30726-D172-918A-A6AE-310F6CBCABFA}"/>
              </a:ext>
            </a:extLst>
          </p:cNvPr>
          <p:cNvGrpSpPr/>
          <p:nvPr/>
        </p:nvGrpSpPr>
        <p:grpSpPr>
          <a:xfrm>
            <a:off x="1818404" y="3014640"/>
            <a:ext cx="3006725" cy="1907297"/>
            <a:chOff x="5703343" y="1854097"/>
            <a:chExt cx="4665456" cy="2960540"/>
          </a:xfrm>
        </p:grpSpPr>
        <p:pic>
          <p:nvPicPr>
            <p:cNvPr id="25" name="Picture 24" descr="A map of the united states&#10;&#10;AI-generated content may be incorrect.">
              <a:extLst>
                <a:ext uri="{FF2B5EF4-FFF2-40B4-BE49-F238E27FC236}">
                  <a16:creationId xmlns:a16="http://schemas.microsoft.com/office/drawing/2014/main" id="{9AA7566A-65BF-7B1D-9909-B9B1DC7A560F}"/>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715776" y="1854097"/>
              <a:ext cx="4653023" cy="2793454"/>
            </a:xfrm>
            <a:prstGeom prst="rect">
              <a:avLst/>
            </a:prstGeom>
          </p:spPr>
        </p:pic>
        <p:sp>
          <p:nvSpPr>
            <p:cNvPr id="26" name="Rectangle 25">
              <a:extLst>
                <a:ext uri="{FF2B5EF4-FFF2-40B4-BE49-F238E27FC236}">
                  <a16:creationId xmlns:a16="http://schemas.microsoft.com/office/drawing/2014/main" id="{1FEB44DA-0F4F-8B26-856B-96DC202D0A08}"/>
                </a:ext>
              </a:extLst>
            </p:cNvPr>
            <p:cNvSpPr/>
            <p:nvPr/>
          </p:nvSpPr>
          <p:spPr bwMode="gray">
            <a:xfrm>
              <a:off x="5708072" y="4156937"/>
              <a:ext cx="1148463" cy="4909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555CB896-15FE-865F-D518-FD964E718D7B}"/>
                </a:ext>
              </a:extLst>
            </p:cNvPr>
            <p:cNvSpPr/>
            <p:nvPr/>
          </p:nvSpPr>
          <p:spPr bwMode="gray">
            <a:xfrm>
              <a:off x="5703343" y="4244683"/>
              <a:ext cx="1887113" cy="5699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Freeform 27">
              <a:extLst>
                <a:ext uri="{FF2B5EF4-FFF2-40B4-BE49-F238E27FC236}">
                  <a16:creationId xmlns:a16="http://schemas.microsoft.com/office/drawing/2014/main" id="{16149B84-E24E-A426-F4F9-2DBD00E98224}"/>
                </a:ext>
              </a:extLst>
            </p:cNvPr>
            <p:cNvSpPr>
              <a:spLocks/>
            </p:cNvSpPr>
            <p:nvPr/>
          </p:nvSpPr>
          <p:spPr bwMode="auto">
            <a:xfrm>
              <a:off x="6050029" y="1964993"/>
              <a:ext cx="565753" cy="395209"/>
            </a:xfrm>
            <a:custGeom>
              <a:avLst/>
              <a:gdLst>
                <a:gd name="T0" fmla="*/ 228 w 257"/>
                <a:gd name="T1" fmla="*/ 167 h 190"/>
                <a:gd name="T2" fmla="*/ 227 w 257"/>
                <a:gd name="T3" fmla="*/ 190 h 190"/>
                <a:gd name="T4" fmla="*/ 150 w 257"/>
                <a:gd name="T5" fmla="*/ 172 h 190"/>
                <a:gd name="T6" fmla="*/ 141 w 257"/>
                <a:gd name="T7" fmla="*/ 172 h 190"/>
                <a:gd name="T8" fmla="*/ 108 w 257"/>
                <a:gd name="T9" fmla="*/ 174 h 190"/>
                <a:gd name="T10" fmla="*/ 102 w 257"/>
                <a:gd name="T11" fmla="*/ 173 h 190"/>
                <a:gd name="T12" fmla="*/ 97 w 257"/>
                <a:gd name="T13" fmla="*/ 174 h 190"/>
                <a:gd name="T14" fmla="*/ 94 w 257"/>
                <a:gd name="T15" fmla="*/ 172 h 190"/>
                <a:gd name="T16" fmla="*/ 86 w 257"/>
                <a:gd name="T17" fmla="*/ 171 h 190"/>
                <a:gd name="T18" fmla="*/ 85 w 257"/>
                <a:gd name="T19" fmla="*/ 168 h 190"/>
                <a:gd name="T20" fmla="*/ 73 w 257"/>
                <a:gd name="T21" fmla="*/ 165 h 190"/>
                <a:gd name="T22" fmla="*/ 66 w 257"/>
                <a:gd name="T23" fmla="*/ 162 h 190"/>
                <a:gd name="T24" fmla="*/ 51 w 257"/>
                <a:gd name="T25" fmla="*/ 165 h 190"/>
                <a:gd name="T26" fmla="*/ 33 w 257"/>
                <a:gd name="T27" fmla="*/ 156 h 190"/>
                <a:gd name="T28" fmla="*/ 29 w 257"/>
                <a:gd name="T29" fmla="*/ 128 h 190"/>
                <a:gd name="T30" fmla="*/ 20 w 257"/>
                <a:gd name="T31" fmla="*/ 126 h 190"/>
                <a:gd name="T32" fmla="*/ 10 w 257"/>
                <a:gd name="T33" fmla="*/ 120 h 190"/>
                <a:gd name="T34" fmla="*/ 0 w 257"/>
                <a:gd name="T35" fmla="*/ 116 h 190"/>
                <a:gd name="T36" fmla="*/ 3 w 257"/>
                <a:gd name="T37" fmla="*/ 103 h 190"/>
                <a:gd name="T38" fmla="*/ 5 w 257"/>
                <a:gd name="T39" fmla="*/ 105 h 190"/>
                <a:gd name="T40" fmla="*/ 7 w 257"/>
                <a:gd name="T41" fmla="*/ 105 h 190"/>
                <a:gd name="T42" fmla="*/ 11 w 257"/>
                <a:gd name="T43" fmla="*/ 99 h 190"/>
                <a:gd name="T44" fmla="*/ 9 w 257"/>
                <a:gd name="T45" fmla="*/ 96 h 190"/>
                <a:gd name="T46" fmla="*/ 7 w 257"/>
                <a:gd name="T47" fmla="*/ 88 h 190"/>
                <a:gd name="T48" fmla="*/ 16 w 257"/>
                <a:gd name="T49" fmla="*/ 85 h 190"/>
                <a:gd name="T50" fmla="*/ 8 w 257"/>
                <a:gd name="T51" fmla="*/ 78 h 190"/>
                <a:gd name="T52" fmla="*/ 6 w 257"/>
                <a:gd name="T53" fmla="*/ 60 h 190"/>
                <a:gd name="T54" fmla="*/ 8 w 257"/>
                <a:gd name="T55" fmla="*/ 41 h 190"/>
                <a:gd name="T56" fmla="*/ 3 w 257"/>
                <a:gd name="T57" fmla="*/ 23 h 190"/>
                <a:gd name="T58" fmla="*/ 10 w 257"/>
                <a:gd name="T59" fmla="*/ 10 h 190"/>
                <a:gd name="T60" fmla="*/ 33 w 257"/>
                <a:gd name="T61" fmla="*/ 30 h 190"/>
                <a:gd name="T62" fmla="*/ 49 w 257"/>
                <a:gd name="T63" fmla="*/ 36 h 190"/>
                <a:gd name="T64" fmla="*/ 55 w 257"/>
                <a:gd name="T65" fmla="*/ 36 h 190"/>
                <a:gd name="T66" fmla="*/ 65 w 257"/>
                <a:gd name="T67" fmla="*/ 42 h 190"/>
                <a:gd name="T68" fmla="*/ 63 w 257"/>
                <a:gd name="T69" fmla="*/ 56 h 190"/>
                <a:gd name="T70" fmla="*/ 48 w 257"/>
                <a:gd name="T71" fmla="*/ 69 h 190"/>
                <a:gd name="T72" fmla="*/ 48 w 257"/>
                <a:gd name="T73" fmla="*/ 74 h 190"/>
                <a:gd name="T74" fmla="*/ 55 w 257"/>
                <a:gd name="T75" fmla="*/ 66 h 190"/>
                <a:gd name="T76" fmla="*/ 70 w 257"/>
                <a:gd name="T77" fmla="*/ 57 h 190"/>
                <a:gd name="T78" fmla="*/ 66 w 257"/>
                <a:gd name="T79" fmla="*/ 64 h 190"/>
                <a:gd name="T80" fmla="*/ 52 w 257"/>
                <a:gd name="T81" fmla="*/ 80 h 190"/>
                <a:gd name="T82" fmla="*/ 46 w 257"/>
                <a:gd name="T83" fmla="*/ 91 h 190"/>
                <a:gd name="T84" fmla="*/ 55 w 257"/>
                <a:gd name="T85" fmla="*/ 87 h 190"/>
                <a:gd name="T86" fmla="*/ 65 w 257"/>
                <a:gd name="T87" fmla="*/ 82 h 190"/>
                <a:gd name="T88" fmla="*/ 71 w 257"/>
                <a:gd name="T89" fmla="*/ 68 h 190"/>
                <a:gd name="T90" fmla="*/ 80 w 257"/>
                <a:gd name="T91" fmla="*/ 54 h 190"/>
                <a:gd name="T92" fmla="*/ 78 w 257"/>
                <a:gd name="T93" fmla="*/ 42 h 190"/>
                <a:gd name="T94" fmla="*/ 75 w 257"/>
                <a:gd name="T95" fmla="*/ 35 h 190"/>
                <a:gd name="T96" fmla="*/ 74 w 257"/>
                <a:gd name="T97" fmla="*/ 46 h 190"/>
                <a:gd name="T98" fmla="*/ 76 w 257"/>
                <a:gd name="T99" fmla="*/ 54 h 190"/>
                <a:gd name="T100" fmla="*/ 72 w 257"/>
                <a:gd name="T101" fmla="*/ 51 h 190"/>
                <a:gd name="T102" fmla="*/ 68 w 257"/>
                <a:gd name="T103" fmla="*/ 41 h 190"/>
                <a:gd name="T104" fmla="*/ 73 w 257"/>
                <a:gd name="T105" fmla="*/ 32 h 190"/>
                <a:gd name="T106" fmla="*/ 74 w 257"/>
                <a:gd name="T107" fmla="*/ 24 h 190"/>
                <a:gd name="T108" fmla="*/ 80 w 257"/>
                <a:gd name="T109" fmla="*/ 30 h 190"/>
                <a:gd name="T110" fmla="*/ 79 w 257"/>
                <a:gd name="T111" fmla="*/ 15 h 190"/>
                <a:gd name="T112" fmla="*/ 77 w 257"/>
                <a:gd name="T113" fmla="*/ 11 h 190"/>
                <a:gd name="T114" fmla="*/ 145 w 257"/>
                <a:gd name="T115" fmla="*/ 19 h 190"/>
                <a:gd name="T116" fmla="*/ 246 w 257"/>
                <a:gd name="T117" fmla="*/ 4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90">
                  <a:moveTo>
                    <a:pt x="257" y="47"/>
                  </a:moveTo>
                  <a:cubicBezTo>
                    <a:pt x="257" y="47"/>
                    <a:pt x="233" y="161"/>
                    <a:pt x="228" y="167"/>
                  </a:cubicBezTo>
                  <a:cubicBezTo>
                    <a:pt x="224" y="174"/>
                    <a:pt x="229" y="172"/>
                    <a:pt x="229" y="179"/>
                  </a:cubicBezTo>
                  <a:cubicBezTo>
                    <a:pt x="229" y="185"/>
                    <a:pt x="227" y="190"/>
                    <a:pt x="227" y="190"/>
                  </a:cubicBezTo>
                  <a:cubicBezTo>
                    <a:pt x="161" y="173"/>
                    <a:pt x="161" y="173"/>
                    <a:pt x="161" y="173"/>
                  </a:cubicBezTo>
                  <a:cubicBezTo>
                    <a:pt x="150" y="172"/>
                    <a:pt x="150" y="172"/>
                    <a:pt x="150" y="172"/>
                  </a:cubicBezTo>
                  <a:cubicBezTo>
                    <a:pt x="146" y="173"/>
                    <a:pt x="146" y="173"/>
                    <a:pt x="146" y="173"/>
                  </a:cubicBezTo>
                  <a:cubicBezTo>
                    <a:pt x="141" y="172"/>
                    <a:pt x="141" y="172"/>
                    <a:pt x="141" y="172"/>
                  </a:cubicBezTo>
                  <a:cubicBezTo>
                    <a:pt x="137" y="173"/>
                    <a:pt x="137" y="173"/>
                    <a:pt x="137" y="173"/>
                  </a:cubicBezTo>
                  <a:cubicBezTo>
                    <a:pt x="108" y="174"/>
                    <a:pt x="108" y="174"/>
                    <a:pt x="108" y="174"/>
                  </a:cubicBezTo>
                  <a:cubicBezTo>
                    <a:pt x="105" y="172"/>
                    <a:pt x="105" y="172"/>
                    <a:pt x="105" y="172"/>
                  </a:cubicBezTo>
                  <a:cubicBezTo>
                    <a:pt x="102" y="173"/>
                    <a:pt x="102" y="173"/>
                    <a:pt x="102" y="173"/>
                  </a:cubicBezTo>
                  <a:cubicBezTo>
                    <a:pt x="99" y="174"/>
                    <a:pt x="99" y="174"/>
                    <a:pt x="99" y="174"/>
                  </a:cubicBezTo>
                  <a:cubicBezTo>
                    <a:pt x="97" y="174"/>
                    <a:pt x="97" y="174"/>
                    <a:pt x="97" y="174"/>
                  </a:cubicBezTo>
                  <a:cubicBezTo>
                    <a:pt x="94" y="173"/>
                    <a:pt x="94" y="173"/>
                    <a:pt x="94" y="173"/>
                  </a:cubicBezTo>
                  <a:cubicBezTo>
                    <a:pt x="94" y="172"/>
                    <a:pt x="94" y="172"/>
                    <a:pt x="94" y="172"/>
                  </a:cubicBezTo>
                  <a:cubicBezTo>
                    <a:pt x="89" y="172"/>
                    <a:pt x="89" y="172"/>
                    <a:pt x="89" y="172"/>
                  </a:cubicBezTo>
                  <a:cubicBezTo>
                    <a:pt x="86" y="171"/>
                    <a:pt x="86" y="171"/>
                    <a:pt x="86" y="171"/>
                  </a:cubicBezTo>
                  <a:cubicBezTo>
                    <a:pt x="85" y="169"/>
                    <a:pt x="85" y="169"/>
                    <a:pt x="85" y="169"/>
                  </a:cubicBezTo>
                  <a:cubicBezTo>
                    <a:pt x="85" y="168"/>
                    <a:pt x="85" y="168"/>
                    <a:pt x="85" y="168"/>
                  </a:cubicBezTo>
                  <a:cubicBezTo>
                    <a:pt x="81" y="167"/>
                    <a:pt x="81" y="167"/>
                    <a:pt x="81" y="167"/>
                  </a:cubicBezTo>
                  <a:cubicBezTo>
                    <a:pt x="73" y="165"/>
                    <a:pt x="73" y="165"/>
                    <a:pt x="73" y="165"/>
                  </a:cubicBezTo>
                  <a:cubicBezTo>
                    <a:pt x="68" y="163"/>
                    <a:pt x="68" y="163"/>
                    <a:pt x="68" y="163"/>
                  </a:cubicBezTo>
                  <a:cubicBezTo>
                    <a:pt x="66" y="162"/>
                    <a:pt x="66" y="162"/>
                    <a:pt x="66" y="162"/>
                  </a:cubicBezTo>
                  <a:cubicBezTo>
                    <a:pt x="60" y="163"/>
                    <a:pt x="60" y="163"/>
                    <a:pt x="60" y="163"/>
                  </a:cubicBezTo>
                  <a:cubicBezTo>
                    <a:pt x="51" y="165"/>
                    <a:pt x="51" y="165"/>
                    <a:pt x="51" y="165"/>
                  </a:cubicBezTo>
                  <a:cubicBezTo>
                    <a:pt x="40" y="162"/>
                    <a:pt x="40" y="162"/>
                    <a:pt x="40" y="162"/>
                  </a:cubicBezTo>
                  <a:cubicBezTo>
                    <a:pt x="33" y="156"/>
                    <a:pt x="33" y="156"/>
                    <a:pt x="33" y="156"/>
                  </a:cubicBezTo>
                  <a:cubicBezTo>
                    <a:pt x="33" y="156"/>
                    <a:pt x="36" y="149"/>
                    <a:pt x="35" y="140"/>
                  </a:cubicBezTo>
                  <a:cubicBezTo>
                    <a:pt x="34" y="130"/>
                    <a:pt x="29" y="128"/>
                    <a:pt x="29" y="128"/>
                  </a:cubicBezTo>
                  <a:cubicBezTo>
                    <a:pt x="24" y="128"/>
                    <a:pt x="24" y="128"/>
                    <a:pt x="24" y="128"/>
                  </a:cubicBezTo>
                  <a:cubicBezTo>
                    <a:pt x="20" y="126"/>
                    <a:pt x="20" y="126"/>
                    <a:pt x="20" y="126"/>
                  </a:cubicBezTo>
                  <a:cubicBezTo>
                    <a:pt x="20" y="126"/>
                    <a:pt x="20" y="120"/>
                    <a:pt x="15" y="120"/>
                  </a:cubicBezTo>
                  <a:cubicBezTo>
                    <a:pt x="10" y="120"/>
                    <a:pt x="10" y="120"/>
                    <a:pt x="10" y="120"/>
                  </a:cubicBezTo>
                  <a:cubicBezTo>
                    <a:pt x="4" y="119"/>
                    <a:pt x="4" y="119"/>
                    <a:pt x="4" y="119"/>
                  </a:cubicBezTo>
                  <a:cubicBezTo>
                    <a:pt x="0" y="116"/>
                    <a:pt x="0" y="116"/>
                    <a:pt x="0" y="116"/>
                  </a:cubicBezTo>
                  <a:cubicBezTo>
                    <a:pt x="1" y="109"/>
                    <a:pt x="1" y="109"/>
                    <a:pt x="1" y="109"/>
                  </a:cubicBezTo>
                  <a:cubicBezTo>
                    <a:pt x="3" y="103"/>
                    <a:pt x="3" y="103"/>
                    <a:pt x="3" y="103"/>
                  </a:cubicBezTo>
                  <a:cubicBezTo>
                    <a:pt x="4" y="102"/>
                    <a:pt x="4" y="102"/>
                    <a:pt x="4" y="102"/>
                  </a:cubicBezTo>
                  <a:cubicBezTo>
                    <a:pt x="5" y="105"/>
                    <a:pt x="5" y="105"/>
                    <a:pt x="5" y="105"/>
                  </a:cubicBezTo>
                  <a:cubicBezTo>
                    <a:pt x="6" y="106"/>
                    <a:pt x="6" y="106"/>
                    <a:pt x="6" y="106"/>
                  </a:cubicBezTo>
                  <a:cubicBezTo>
                    <a:pt x="7" y="105"/>
                    <a:pt x="7" y="105"/>
                    <a:pt x="7" y="105"/>
                  </a:cubicBezTo>
                  <a:cubicBezTo>
                    <a:pt x="7" y="101"/>
                    <a:pt x="7" y="101"/>
                    <a:pt x="7" y="101"/>
                  </a:cubicBezTo>
                  <a:cubicBezTo>
                    <a:pt x="11" y="99"/>
                    <a:pt x="11" y="99"/>
                    <a:pt x="11" y="99"/>
                  </a:cubicBezTo>
                  <a:cubicBezTo>
                    <a:pt x="11" y="98"/>
                    <a:pt x="11" y="98"/>
                    <a:pt x="11" y="98"/>
                  </a:cubicBezTo>
                  <a:cubicBezTo>
                    <a:pt x="9" y="96"/>
                    <a:pt x="9" y="96"/>
                    <a:pt x="9" y="96"/>
                  </a:cubicBezTo>
                  <a:cubicBezTo>
                    <a:pt x="8" y="95"/>
                    <a:pt x="8" y="95"/>
                    <a:pt x="8" y="95"/>
                  </a:cubicBezTo>
                  <a:cubicBezTo>
                    <a:pt x="7" y="88"/>
                    <a:pt x="7" y="88"/>
                    <a:pt x="7" y="88"/>
                  </a:cubicBezTo>
                  <a:cubicBezTo>
                    <a:pt x="14" y="87"/>
                    <a:pt x="14" y="87"/>
                    <a:pt x="14" y="87"/>
                  </a:cubicBezTo>
                  <a:cubicBezTo>
                    <a:pt x="16" y="85"/>
                    <a:pt x="16" y="85"/>
                    <a:pt x="16" y="85"/>
                  </a:cubicBezTo>
                  <a:cubicBezTo>
                    <a:pt x="10" y="80"/>
                    <a:pt x="10" y="80"/>
                    <a:pt x="10" y="80"/>
                  </a:cubicBezTo>
                  <a:cubicBezTo>
                    <a:pt x="8" y="78"/>
                    <a:pt x="8" y="78"/>
                    <a:pt x="8" y="78"/>
                  </a:cubicBezTo>
                  <a:cubicBezTo>
                    <a:pt x="6" y="64"/>
                    <a:pt x="6" y="64"/>
                    <a:pt x="6" y="64"/>
                  </a:cubicBezTo>
                  <a:cubicBezTo>
                    <a:pt x="6" y="60"/>
                    <a:pt x="6" y="60"/>
                    <a:pt x="6" y="60"/>
                  </a:cubicBezTo>
                  <a:cubicBezTo>
                    <a:pt x="8" y="59"/>
                    <a:pt x="8" y="59"/>
                    <a:pt x="8" y="59"/>
                  </a:cubicBezTo>
                  <a:cubicBezTo>
                    <a:pt x="8" y="41"/>
                    <a:pt x="8" y="41"/>
                    <a:pt x="8" y="41"/>
                  </a:cubicBezTo>
                  <a:cubicBezTo>
                    <a:pt x="3" y="37"/>
                    <a:pt x="3" y="37"/>
                    <a:pt x="3" y="37"/>
                  </a:cubicBezTo>
                  <a:cubicBezTo>
                    <a:pt x="3" y="23"/>
                    <a:pt x="3" y="23"/>
                    <a:pt x="3" y="23"/>
                  </a:cubicBezTo>
                  <a:cubicBezTo>
                    <a:pt x="8" y="17"/>
                    <a:pt x="8" y="17"/>
                    <a:pt x="8" y="17"/>
                  </a:cubicBezTo>
                  <a:cubicBezTo>
                    <a:pt x="10" y="10"/>
                    <a:pt x="10" y="10"/>
                    <a:pt x="10" y="10"/>
                  </a:cubicBezTo>
                  <a:cubicBezTo>
                    <a:pt x="21" y="21"/>
                    <a:pt x="21" y="21"/>
                    <a:pt x="21" y="21"/>
                  </a:cubicBezTo>
                  <a:cubicBezTo>
                    <a:pt x="33" y="30"/>
                    <a:pt x="33" y="30"/>
                    <a:pt x="33" y="30"/>
                  </a:cubicBezTo>
                  <a:cubicBezTo>
                    <a:pt x="42" y="34"/>
                    <a:pt x="42" y="34"/>
                    <a:pt x="42" y="34"/>
                  </a:cubicBezTo>
                  <a:cubicBezTo>
                    <a:pt x="49" y="36"/>
                    <a:pt x="49" y="36"/>
                    <a:pt x="49" y="36"/>
                  </a:cubicBezTo>
                  <a:cubicBezTo>
                    <a:pt x="52" y="36"/>
                    <a:pt x="52" y="36"/>
                    <a:pt x="52" y="36"/>
                  </a:cubicBezTo>
                  <a:cubicBezTo>
                    <a:pt x="55" y="36"/>
                    <a:pt x="55" y="36"/>
                    <a:pt x="55" y="36"/>
                  </a:cubicBezTo>
                  <a:cubicBezTo>
                    <a:pt x="57" y="43"/>
                    <a:pt x="57" y="43"/>
                    <a:pt x="57" y="43"/>
                  </a:cubicBezTo>
                  <a:cubicBezTo>
                    <a:pt x="65" y="42"/>
                    <a:pt x="65" y="42"/>
                    <a:pt x="65" y="42"/>
                  </a:cubicBezTo>
                  <a:cubicBezTo>
                    <a:pt x="66" y="52"/>
                    <a:pt x="66" y="52"/>
                    <a:pt x="66" y="52"/>
                  </a:cubicBezTo>
                  <a:cubicBezTo>
                    <a:pt x="63" y="56"/>
                    <a:pt x="63" y="56"/>
                    <a:pt x="63" y="56"/>
                  </a:cubicBezTo>
                  <a:cubicBezTo>
                    <a:pt x="54" y="61"/>
                    <a:pt x="54" y="61"/>
                    <a:pt x="54" y="61"/>
                  </a:cubicBezTo>
                  <a:cubicBezTo>
                    <a:pt x="48" y="69"/>
                    <a:pt x="48" y="69"/>
                    <a:pt x="48" y="69"/>
                  </a:cubicBezTo>
                  <a:cubicBezTo>
                    <a:pt x="46" y="73"/>
                    <a:pt x="46" y="73"/>
                    <a:pt x="46" y="73"/>
                  </a:cubicBezTo>
                  <a:cubicBezTo>
                    <a:pt x="48" y="74"/>
                    <a:pt x="48" y="74"/>
                    <a:pt x="48" y="74"/>
                  </a:cubicBezTo>
                  <a:cubicBezTo>
                    <a:pt x="52" y="70"/>
                    <a:pt x="52" y="70"/>
                    <a:pt x="52" y="70"/>
                  </a:cubicBezTo>
                  <a:cubicBezTo>
                    <a:pt x="55" y="66"/>
                    <a:pt x="55" y="66"/>
                    <a:pt x="55" y="66"/>
                  </a:cubicBezTo>
                  <a:cubicBezTo>
                    <a:pt x="64" y="60"/>
                    <a:pt x="64" y="60"/>
                    <a:pt x="64" y="60"/>
                  </a:cubicBezTo>
                  <a:cubicBezTo>
                    <a:pt x="70" y="57"/>
                    <a:pt x="70" y="57"/>
                    <a:pt x="70" y="57"/>
                  </a:cubicBezTo>
                  <a:cubicBezTo>
                    <a:pt x="69" y="61"/>
                    <a:pt x="69" y="61"/>
                    <a:pt x="69" y="61"/>
                  </a:cubicBezTo>
                  <a:cubicBezTo>
                    <a:pt x="66" y="64"/>
                    <a:pt x="66" y="64"/>
                    <a:pt x="66" y="64"/>
                  </a:cubicBezTo>
                  <a:cubicBezTo>
                    <a:pt x="62" y="74"/>
                    <a:pt x="62" y="74"/>
                    <a:pt x="62" y="74"/>
                  </a:cubicBezTo>
                  <a:cubicBezTo>
                    <a:pt x="52" y="80"/>
                    <a:pt x="52" y="80"/>
                    <a:pt x="52" y="80"/>
                  </a:cubicBezTo>
                  <a:cubicBezTo>
                    <a:pt x="46" y="86"/>
                    <a:pt x="46" y="86"/>
                    <a:pt x="46" y="86"/>
                  </a:cubicBezTo>
                  <a:cubicBezTo>
                    <a:pt x="46" y="91"/>
                    <a:pt x="46" y="91"/>
                    <a:pt x="46" y="91"/>
                  </a:cubicBezTo>
                  <a:cubicBezTo>
                    <a:pt x="50" y="92"/>
                    <a:pt x="50" y="92"/>
                    <a:pt x="50" y="92"/>
                  </a:cubicBezTo>
                  <a:cubicBezTo>
                    <a:pt x="55" y="87"/>
                    <a:pt x="55" y="87"/>
                    <a:pt x="55" y="87"/>
                  </a:cubicBezTo>
                  <a:cubicBezTo>
                    <a:pt x="60" y="83"/>
                    <a:pt x="60" y="83"/>
                    <a:pt x="60" y="83"/>
                  </a:cubicBezTo>
                  <a:cubicBezTo>
                    <a:pt x="65" y="82"/>
                    <a:pt x="65" y="82"/>
                    <a:pt x="65" y="82"/>
                  </a:cubicBezTo>
                  <a:cubicBezTo>
                    <a:pt x="69" y="78"/>
                    <a:pt x="69" y="78"/>
                    <a:pt x="69" y="78"/>
                  </a:cubicBezTo>
                  <a:cubicBezTo>
                    <a:pt x="71" y="68"/>
                    <a:pt x="71" y="68"/>
                    <a:pt x="71" y="68"/>
                  </a:cubicBezTo>
                  <a:cubicBezTo>
                    <a:pt x="75" y="60"/>
                    <a:pt x="75" y="60"/>
                    <a:pt x="75" y="60"/>
                  </a:cubicBezTo>
                  <a:cubicBezTo>
                    <a:pt x="80" y="54"/>
                    <a:pt x="80" y="54"/>
                    <a:pt x="80" y="54"/>
                  </a:cubicBezTo>
                  <a:cubicBezTo>
                    <a:pt x="81" y="50"/>
                    <a:pt x="81" y="50"/>
                    <a:pt x="81" y="50"/>
                  </a:cubicBezTo>
                  <a:cubicBezTo>
                    <a:pt x="78" y="42"/>
                    <a:pt x="78" y="42"/>
                    <a:pt x="78" y="42"/>
                  </a:cubicBezTo>
                  <a:cubicBezTo>
                    <a:pt x="78" y="34"/>
                    <a:pt x="78" y="34"/>
                    <a:pt x="78" y="34"/>
                  </a:cubicBezTo>
                  <a:cubicBezTo>
                    <a:pt x="75" y="35"/>
                    <a:pt x="75" y="35"/>
                    <a:pt x="75" y="35"/>
                  </a:cubicBezTo>
                  <a:cubicBezTo>
                    <a:pt x="73" y="38"/>
                    <a:pt x="73" y="38"/>
                    <a:pt x="73" y="38"/>
                  </a:cubicBezTo>
                  <a:cubicBezTo>
                    <a:pt x="74" y="46"/>
                    <a:pt x="74" y="46"/>
                    <a:pt x="74" y="46"/>
                  </a:cubicBezTo>
                  <a:cubicBezTo>
                    <a:pt x="76" y="52"/>
                    <a:pt x="76" y="52"/>
                    <a:pt x="76" y="52"/>
                  </a:cubicBezTo>
                  <a:cubicBezTo>
                    <a:pt x="76" y="54"/>
                    <a:pt x="76" y="54"/>
                    <a:pt x="76" y="54"/>
                  </a:cubicBezTo>
                  <a:cubicBezTo>
                    <a:pt x="74" y="53"/>
                    <a:pt x="74" y="53"/>
                    <a:pt x="74" y="53"/>
                  </a:cubicBezTo>
                  <a:cubicBezTo>
                    <a:pt x="72" y="51"/>
                    <a:pt x="72" y="51"/>
                    <a:pt x="72" y="51"/>
                  </a:cubicBezTo>
                  <a:cubicBezTo>
                    <a:pt x="70" y="46"/>
                    <a:pt x="70" y="46"/>
                    <a:pt x="70" y="46"/>
                  </a:cubicBezTo>
                  <a:cubicBezTo>
                    <a:pt x="68" y="41"/>
                    <a:pt x="68" y="41"/>
                    <a:pt x="68" y="41"/>
                  </a:cubicBezTo>
                  <a:cubicBezTo>
                    <a:pt x="68" y="37"/>
                    <a:pt x="68" y="37"/>
                    <a:pt x="68" y="37"/>
                  </a:cubicBezTo>
                  <a:cubicBezTo>
                    <a:pt x="73" y="32"/>
                    <a:pt x="73" y="32"/>
                    <a:pt x="73" y="32"/>
                  </a:cubicBezTo>
                  <a:cubicBezTo>
                    <a:pt x="75" y="28"/>
                    <a:pt x="75" y="28"/>
                    <a:pt x="75" y="28"/>
                  </a:cubicBezTo>
                  <a:cubicBezTo>
                    <a:pt x="74" y="24"/>
                    <a:pt x="74" y="24"/>
                    <a:pt x="74" y="24"/>
                  </a:cubicBezTo>
                  <a:cubicBezTo>
                    <a:pt x="79" y="29"/>
                    <a:pt x="79" y="29"/>
                    <a:pt x="79" y="29"/>
                  </a:cubicBezTo>
                  <a:cubicBezTo>
                    <a:pt x="80" y="30"/>
                    <a:pt x="80" y="30"/>
                    <a:pt x="80" y="30"/>
                  </a:cubicBezTo>
                  <a:cubicBezTo>
                    <a:pt x="81" y="24"/>
                    <a:pt x="81" y="24"/>
                    <a:pt x="81" y="24"/>
                  </a:cubicBezTo>
                  <a:cubicBezTo>
                    <a:pt x="79" y="15"/>
                    <a:pt x="79" y="15"/>
                    <a:pt x="79" y="15"/>
                  </a:cubicBezTo>
                  <a:cubicBezTo>
                    <a:pt x="80" y="12"/>
                    <a:pt x="80" y="12"/>
                    <a:pt x="80" y="12"/>
                  </a:cubicBezTo>
                  <a:cubicBezTo>
                    <a:pt x="77" y="11"/>
                    <a:pt x="77" y="11"/>
                    <a:pt x="77" y="11"/>
                  </a:cubicBezTo>
                  <a:cubicBezTo>
                    <a:pt x="76" y="0"/>
                    <a:pt x="76" y="0"/>
                    <a:pt x="76" y="0"/>
                  </a:cubicBezTo>
                  <a:cubicBezTo>
                    <a:pt x="76" y="0"/>
                    <a:pt x="133" y="16"/>
                    <a:pt x="145" y="19"/>
                  </a:cubicBezTo>
                  <a:cubicBezTo>
                    <a:pt x="156" y="22"/>
                    <a:pt x="230" y="42"/>
                    <a:pt x="235" y="43"/>
                  </a:cubicBezTo>
                  <a:cubicBezTo>
                    <a:pt x="240" y="45"/>
                    <a:pt x="246" y="45"/>
                    <a:pt x="246" y="45"/>
                  </a:cubicBezTo>
                  <a:lnTo>
                    <a:pt x="257" y="47"/>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29" name="Freeform 28">
              <a:extLst>
                <a:ext uri="{FF2B5EF4-FFF2-40B4-BE49-F238E27FC236}">
                  <a16:creationId xmlns:a16="http://schemas.microsoft.com/office/drawing/2014/main" id="{D0B2884A-79F0-2E51-EC45-504727874A1A}"/>
                </a:ext>
              </a:extLst>
            </p:cNvPr>
            <p:cNvSpPr>
              <a:spLocks/>
            </p:cNvSpPr>
            <p:nvPr/>
          </p:nvSpPr>
          <p:spPr bwMode="auto">
            <a:xfrm>
              <a:off x="6894746" y="3356809"/>
              <a:ext cx="594431" cy="574400"/>
            </a:xfrm>
            <a:custGeom>
              <a:avLst/>
              <a:gdLst>
                <a:gd name="T0" fmla="*/ 34 w 228"/>
                <a:gd name="T1" fmla="*/ 0 h 234"/>
                <a:gd name="T2" fmla="*/ 228 w 228"/>
                <a:gd name="T3" fmla="*/ 23 h 234"/>
                <a:gd name="T4" fmla="*/ 227 w 228"/>
                <a:gd name="T5" fmla="*/ 44 h 234"/>
                <a:gd name="T6" fmla="*/ 224 w 228"/>
                <a:gd name="T7" fmla="*/ 44 h 234"/>
                <a:gd name="T8" fmla="*/ 210 w 228"/>
                <a:gd name="T9" fmla="*/ 226 h 234"/>
                <a:gd name="T10" fmla="*/ 91 w 228"/>
                <a:gd name="T11" fmla="*/ 215 h 234"/>
                <a:gd name="T12" fmla="*/ 90 w 228"/>
                <a:gd name="T13" fmla="*/ 224 h 234"/>
                <a:gd name="T14" fmla="*/ 32 w 228"/>
                <a:gd name="T15" fmla="*/ 218 h 234"/>
                <a:gd name="T16" fmla="*/ 29 w 228"/>
                <a:gd name="T17" fmla="*/ 234 h 234"/>
                <a:gd name="T18" fmla="*/ 0 w 228"/>
                <a:gd name="T19" fmla="*/ 230 h 234"/>
                <a:gd name="T20" fmla="*/ 34 w 228"/>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34">
                  <a:moveTo>
                    <a:pt x="34" y="0"/>
                  </a:moveTo>
                  <a:lnTo>
                    <a:pt x="228" y="23"/>
                  </a:lnTo>
                  <a:lnTo>
                    <a:pt x="227" y="44"/>
                  </a:lnTo>
                  <a:lnTo>
                    <a:pt x="224" y="44"/>
                  </a:lnTo>
                  <a:lnTo>
                    <a:pt x="210" y="226"/>
                  </a:lnTo>
                  <a:lnTo>
                    <a:pt x="91" y="215"/>
                  </a:lnTo>
                  <a:lnTo>
                    <a:pt x="90" y="224"/>
                  </a:lnTo>
                  <a:lnTo>
                    <a:pt x="32" y="218"/>
                  </a:lnTo>
                  <a:lnTo>
                    <a:pt x="29" y="234"/>
                  </a:lnTo>
                  <a:lnTo>
                    <a:pt x="0" y="230"/>
                  </a:lnTo>
                  <a:lnTo>
                    <a:pt x="34" y="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0" name="Freeform 29">
              <a:extLst>
                <a:ext uri="{FF2B5EF4-FFF2-40B4-BE49-F238E27FC236}">
                  <a16:creationId xmlns:a16="http://schemas.microsoft.com/office/drawing/2014/main" id="{F15D3A91-2FF5-0FF0-CBA8-DF42C3B0DF97}"/>
                </a:ext>
              </a:extLst>
            </p:cNvPr>
            <p:cNvSpPr>
              <a:spLocks/>
            </p:cNvSpPr>
            <p:nvPr/>
          </p:nvSpPr>
          <p:spPr bwMode="auto">
            <a:xfrm>
              <a:off x="7116352" y="3464817"/>
              <a:ext cx="1178434" cy="1094798"/>
            </a:xfrm>
            <a:custGeom>
              <a:avLst/>
              <a:gdLst>
                <a:gd name="T0" fmla="*/ 450 w 452"/>
                <a:gd name="T1" fmla="*/ 234 h 446"/>
                <a:gd name="T2" fmla="*/ 446 w 452"/>
                <a:gd name="T3" fmla="*/ 215 h 446"/>
                <a:gd name="T4" fmla="*/ 435 w 452"/>
                <a:gd name="T5" fmla="*/ 131 h 446"/>
                <a:gd name="T6" fmla="*/ 417 w 452"/>
                <a:gd name="T7" fmla="*/ 128 h 446"/>
                <a:gd name="T8" fmla="*/ 398 w 452"/>
                <a:gd name="T9" fmla="*/ 117 h 446"/>
                <a:gd name="T10" fmla="*/ 378 w 452"/>
                <a:gd name="T11" fmla="*/ 116 h 446"/>
                <a:gd name="T12" fmla="*/ 365 w 452"/>
                <a:gd name="T13" fmla="*/ 118 h 446"/>
                <a:gd name="T14" fmla="*/ 352 w 452"/>
                <a:gd name="T15" fmla="*/ 122 h 446"/>
                <a:gd name="T16" fmla="*/ 332 w 452"/>
                <a:gd name="T17" fmla="*/ 118 h 446"/>
                <a:gd name="T18" fmla="*/ 325 w 452"/>
                <a:gd name="T19" fmla="*/ 116 h 446"/>
                <a:gd name="T20" fmla="*/ 310 w 452"/>
                <a:gd name="T21" fmla="*/ 112 h 446"/>
                <a:gd name="T22" fmla="*/ 301 w 452"/>
                <a:gd name="T23" fmla="*/ 111 h 446"/>
                <a:gd name="T24" fmla="*/ 284 w 452"/>
                <a:gd name="T25" fmla="*/ 107 h 446"/>
                <a:gd name="T26" fmla="*/ 269 w 452"/>
                <a:gd name="T27" fmla="*/ 101 h 446"/>
                <a:gd name="T28" fmla="*/ 253 w 452"/>
                <a:gd name="T29" fmla="*/ 93 h 446"/>
                <a:gd name="T30" fmla="*/ 242 w 452"/>
                <a:gd name="T31" fmla="*/ 90 h 446"/>
                <a:gd name="T32" fmla="*/ 125 w 452"/>
                <a:gd name="T33" fmla="*/ 182 h 446"/>
                <a:gd name="T34" fmla="*/ 2 w 452"/>
                <a:gd name="T35" fmla="*/ 183 h 446"/>
                <a:gd name="T36" fmla="*/ 13 w 452"/>
                <a:gd name="T37" fmla="*/ 197 h 446"/>
                <a:gd name="T38" fmla="*/ 22 w 452"/>
                <a:gd name="T39" fmla="*/ 205 h 446"/>
                <a:gd name="T40" fmla="*/ 41 w 452"/>
                <a:gd name="T41" fmla="*/ 224 h 446"/>
                <a:gd name="T42" fmla="*/ 55 w 452"/>
                <a:gd name="T43" fmla="*/ 238 h 446"/>
                <a:gd name="T44" fmla="*/ 59 w 452"/>
                <a:gd name="T45" fmla="*/ 259 h 446"/>
                <a:gd name="T46" fmla="*/ 66 w 452"/>
                <a:gd name="T47" fmla="*/ 278 h 446"/>
                <a:gd name="T48" fmla="*/ 74 w 452"/>
                <a:gd name="T49" fmla="*/ 286 h 446"/>
                <a:gd name="T50" fmla="*/ 88 w 452"/>
                <a:gd name="T51" fmla="*/ 296 h 446"/>
                <a:gd name="T52" fmla="*/ 109 w 452"/>
                <a:gd name="T53" fmla="*/ 307 h 446"/>
                <a:gd name="T54" fmla="*/ 120 w 452"/>
                <a:gd name="T55" fmla="*/ 298 h 446"/>
                <a:gd name="T56" fmla="*/ 127 w 452"/>
                <a:gd name="T57" fmla="*/ 283 h 446"/>
                <a:gd name="T58" fmla="*/ 148 w 452"/>
                <a:gd name="T59" fmla="*/ 275 h 446"/>
                <a:gd name="T60" fmla="*/ 170 w 452"/>
                <a:gd name="T61" fmla="*/ 279 h 446"/>
                <a:gd name="T62" fmla="*/ 183 w 452"/>
                <a:gd name="T63" fmla="*/ 292 h 446"/>
                <a:gd name="T64" fmla="*/ 200 w 452"/>
                <a:gd name="T65" fmla="*/ 320 h 446"/>
                <a:gd name="T66" fmla="*/ 210 w 452"/>
                <a:gd name="T67" fmla="*/ 343 h 446"/>
                <a:gd name="T68" fmla="*/ 235 w 452"/>
                <a:gd name="T69" fmla="*/ 372 h 446"/>
                <a:gd name="T70" fmla="*/ 237 w 452"/>
                <a:gd name="T71" fmla="*/ 388 h 446"/>
                <a:gd name="T72" fmla="*/ 249 w 452"/>
                <a:gd name="T73" fmla="*/ 416 h 446"/>
                <a:gd name="T74" fmla="*/ 273 w 452"/>
                <a:gd name="T75" fmla="*/ 427 h 446"/>
                <a:gd name="T76" fmla="*/ 291 w 452"/>
                <a:gd name="T77" fmla="*/ 438 h 446"/>
                <a:gd name="T78" fmla="*/ 305 w 452"/>
                <a:gd name="T79" fmla="*/ 442 h 446"/>
                <a:gd name="T80" fmla="*/ 321 w 452"/>
                <a:gd name="T81" fmla="*/ 441 h 446"/>
                <a:gd name="T82" fmla="*/ 317 w 452"/>
                <a:gd name="T83" fmla="*/ 425 h 446"/>
                <a:gd name="T84" fmla="*/ 308 w 452"/>
                <a:gd name="T85" fmla="*/ 404 h 446"/>
                <a:gd name="T86" fmla="*/ 318 w 452"/>
                <a:gd name="T87" fmla="*/ 370 h 446"/>
                <a:gd name="T88" fmla="*/ 311 w 452"/>
                <a:gd name="T89" fmla="*/ 361 h 446"/>
                <a:gd name="T90" fmla="*/ 326 w 452"/>
                <a:gd name="T91" fmla="*/ 355 h 446"/>
                <a:gd name="T92" fmla="*/ 324 w 452"/>
                <a:gd name="T93" fmla="*/ 350 h 446"/>
                <a:gd name="T94" fmla="*/ 338 w 452"/>
                <a:gd name="T95" fmla="*/ 350 h 446"/>
                <a:gd name="T96" fmla="*/ 336 w 452"/>
                <a:gd name="T97" fmla="*/ 345 h 446"/>
                <a:gd name="T98" fmla="*/ 347 w 452"/>
                <a:gd name="T99" fmla="*/ 342 h 446"/>
                <a:gd name="T100" fmla="*/ 346 w 452"/>
                <a:gd name="T101" fmla="*/ 331 h 446"/>
                <a:gd name="T102" fmla="*/ 357 w 452"/>
                <a:gd name="T103" fmla="*/ 329 h 446"/>
                <a:gd name="T104" fmla="*/ 367 w 452"/>
                <a:gd name="T105" fmla="*/ 329 h 446"/>
                <a:gd name="T106" fmla="*/ 395 w 452"/>
                <a:gd name="T107" fmla="*/ 314 h 446"/>
                <a:gd name="T108" fmla="*/ 403 w 452"/>
                <a:gd name="T109" fmla="*/ 305 h 446"/>
                <a:gd name="T110" fmla="*/ 403 w 452"/>
                <a:gd name="T111" fmla="*/ 296 h 446"/>
                <a:gd name="T112" fmla="*/ 410 w 452"/>
                <a:gd name="T113" fmla="*/ 286 h 446"/>
                <a:gd name="T114" fmla="*/ 412 w 452"/>
                <a:gd name="T115" fmla="*/ 299 h 446"/>
                <a:gd name="T116" fmla="*/ 439 w 452"/>
                <a:gd name="T117" fmla="*/ 288 h 446"/>
                <a:gd name="T118" fmla="*/ 447 w 452"/>
                <a:gd name="T119" fmla="*/ 26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446">
                  <a:moveTo>
                    <a:pt x="446" y="253"/>
                  </a:moveTo>
                  <a:lnTo>
                    <a:pt x="448" y="245"/>
                  </a:lnTo>
                  <a:lnTo>
                    <a:pt x="452" y="240"/>
                  </a:lnTo>
                  <a:lnTo>
                    <a:pt x="450" y="234"/>
                  </a:lnTo>
                  <a:lnTo>
                    <a:pt x="448" y="226"/>
                  </a:lnTo>
                  <a:lnTo>
                    <a:pt x="447" y="223"/>
                  </a:lnTo>
                  <a:lnTo>
                    <a:pt x="447" y="217"/>
                  </a:lnTo>
                  <a:lnTo>
                    <a:pt x="446" y="215"/>
                  </a:lnTo>
                  <a:lnTo>
                    <a:pt x="442" y="206"/>
                  </a:lnTo>
                  <a:lnTo>
                    <a:pt x="442" y="204"/>
                  </a:lnTo>
                  <a:lnTo>
                    <a:pt x="435" y="198"/>
                  </a:lnTo>
                  <a:lnTo>
                    <a:pt x="435" y="131"/>
                  </a:lnTo>
                  <a:lnTo>
                    <a:pt x="425" y="130"/>
                  </a:lnTo>
                  <a:lnTo>
                    <a:pt x="423" y="132"/>
                  </a:lnTo>
                  <a:lnTo>
                    <a:pt x="420" y="131"/>
                  </a:lnTo>
                  <a:lnTo>
                    <a:pt x="417" y="128"/>
                  </a:lnTo>
                  <a:lnTo>
                    <a:pt x="413" y="126"/>
                  </a:lnTo>
                  <a:lnTo>
                    <a:pt x="408" y="126"/>
                  </a:lnTo>
                  <a:lnTo>
                    <a:pt x="402" y="122"/>
                  </a:lnTo>
                  <a:lnTo>
                    <a:pt x="398" y="117"/>
                  </a:lnTo>
                  <a:lnTo>
                    <a:pt x="393" y="116"/>
                  </a:lnTo>
                  <a:lnTo>
                    <a:pt x="385" y="118"/>
                  </a:lnTo>
                  <a:lnTo>
                    <a:pt x="383" y="117"/>
                  </a:lnTo>
                  <a:lnTo>
                    <a:pt x="378" y="116"/>
                  </a:lnTo>
                  <a:lnTo>
                    <a:pt x="374" y="119"/>
                  </a:lnTo>
                  <a:lnTo>
                    <a:pt x="372" y="120"/>
                  </a:lnTo>
                  <a:lnTo>
                    <a:pt x="369" y="118"/>
                  </a:lnTo>
                  <a:lnTo>
                    <a:pt x="365" y="118"/>
                  </a:lnTo>
                  <a:lnTo>
                    <a:pt x="363" y="121"/>
                  </a:lnTo>
                  <a:lnTo>
                    <a:pt x="358" y="124"/>
                  </a:lnTo>
                  <a:lnTo>
                    <a:pt x="354" y="125"/>
                  </a:lnTo>
                  <a:lnTo>
                    <a:pt x="352" y="122"/>
                  </a:lnTo>
                  <a:lnTo>
                    <a:pt x="349" y="119"/>
                  </a:lnTo>
                  <a:lnTo>
                    <a:pt x="341" y="120"/>
                  </a:lnTo>
                  <a:lnTo>
                    <a:pt x="336" y="117"/>
                  </a:lnTo>
                  <a:lnTo>
                    <a:pt x="332" y="118"/>
                  </a:lnTo>
                  <a:lnTo>
                    <a:pt x="330" y="122"/>
                  </a:lnTo>
                  <a:lnTo>
                    <a:pt x="328" y="123"/>
                  </a:lnTo>
                  <a:lnTo>
                    <a:pt x="327" y="118"/>
                  </a:lnTo>
                  <a:lnTo>
                    <a:pt x="325" y="116"/>
                  </a:lnTo>
                  <a:lnTo>
                    <a:pt x="319" y="120"/>
                  </a:lnTo>
                  <a:lnTo>
                    <a:pt x="318" y="116"/>
                  </a:lnTo>
                  <a:lnTo>
                    <a:pt x="312" y="112"/>
                  </a:lnTo>
                  <a:lnTo>
                    <a:pt x="310" y="112"/>
                  </a:lnTo>
                  <a:lnTo>
                    <a:pt x="308" y="115"/>
                  </a:lnTo>
                  <a:lnTo>
                    <a:pt x="305" y="117"/>
                  </a:lnTo>
                  <a:lnTo>
                    <a:pt x="302" y="116"/>
                  </a:lnTo>
                  <a:lnTo>
                    <a:pt x="301" y="111"/>
                  </a:lnTo>
                  <a:lnTo>
                    <a:pt x="298" y="111"/>
                  </a:lnTo>
                  <a:lnTo>
                    <a:pt x="295" y="105"/>
                  </a:lnTo>
                  <a:lnTo>
                    <a:pt x="287" y="105"/>
                  </a:lnTo>
                  <a:lnTo>
                    <a:pt x="284" y="107"/>
                  </a:lnTo>
                  <a:lnTo>
                    <a:pt x="281" y="104"/>
                  </a:lnTo>
                  <a:lnTo>
                    <a:pt x="280" y="104"/>
                  </a:lnTo>
                  <a:lnTo>
                    <a:pt x="275" y="105"/>
                  </a:lnTo>
                  <a:lnTo>
                    <a:pt x="269" y="101"/>
                  </a:lnTo>
                  <a:lnTo>
                    <a:pt x="261" y="101"/>
                  </a:lnTo>
                  <a:lnTo>
                    <a:pt x="259" y="94"/>
                  </a:lnTo>
                  <a:lnTo>
                    <a:pt x="255" y="92"/>
                  </a:lnTo>
                  <a:lnTo>
                    <a:pt x="253" y="93"/>
                  </a:lnTo>
                  <a:lnTo>
                    <a:pt x="250" y="92"/>
                  </a:lnTo>
                  <a:lnTo>
                    <a:pt x="247" y="93"/>
                  </a:lnTo>
                  <a:lnTo>
                    <a:pt x="244" y="93"/>
                  </a:lnTo>
                  <a:lnTo>
                    <a:pt x="242" y="90"/>
                  </a:lnTo>
                  <a:lnTo>
                    <a:pt x="235" y="83"/>
                  </a:lnTo>
                  <a:lnTo>
                    <a:pt x="239" y="6"/>
                  </a:lnTo>
                  <a:lnTo>
                    <a:pt x="139" y="0"/>
                  </a:lnTo>
                  <a:lnTo>
                    <a:pt x="125" y="182"/>
                  </a:lnTo>
                  <a:lnTo>
                    <a:pt x="6" y="171"/>
                  </a:lnTo>
                  <a:lnTo>
                    <a:pt x="5" y="180"/>
                  </a:lnTo>
                  <a:lnTo>
                    <a:pt x="0" y="180"/>
                  </a:lnTo>
                  <a:lnTo>
                    <a:pt x="2" y="183"/>
                  </a:lnTo>
                  <a:lnTo>
                    <a:pt x="7" y="186"/>
                  </a:lnTo>
                  <a:lnTo>
                    <a:pt x="10" y="190"/>
                  </a:lnTo>
                  <a:lnTo>
                    <a:pt x="11" y="193"/>
                  </a:lnTo>
                  <a:lnTo>
                    <a:pt x="13" y="197"/>
                  </a:lnTo>
                  <a:lnTo>
                    <a:pt x="15" y="198"/>
                  </a:lnTo>
                  <a:lnTo>
                    <a:pt x="18" y="200"/>
                  </a:lnTo>
                  <a:lnTo>
                    <a:pt x="21" y="202"/>
                  </a:lnTo>
                  <a:lnTo>
                    <a:pt x="22" y="205"/>
                  </a:lnTo>
                  <a:lnTo>
                    <a:pt x="26" y="210"/>
                  </a:lnTo>
                  <a:lnTo>
                    <a:pt x="30" y="213"/>
                  </a:lnTo>
                  <a:lnTo>
                    <a:pt x="38" y="224"/>
                  </a:lnTo>
                  <a:lnTo>
                    <a:pt x="41" y="224"/>
                  </a:lnTo>
                  <a:lnTo>
                    <a:pt x="44" y="227"/>
                  </a:lnTo>
                  <a:lnTo>
                    <a:pt x="48" y="230"/>
                  </a:lnTo>
                  <a:lnTo>
                    <a:pt x="53" y="234"/>
                  </a:lnTo>
                  <a:lnTo>
                    <a:pt x="55" y="238"/>
                  </a:lnTo>
                  <a:lnTo>
                    <a:pt x="55" y="245"/>
                  </a:lnTo>
                  <a:lnTo>
                    <a:pt x="59" y="251"/>
                  </a:lnTo>
                  <a:lnTo>
                    <a:pt x="60" y="255"/>
                  </a:lnTo>
                  <a:lnTo>
                    <a:pt x="59" y="259"/>
                  </a:lnTo>
                  <a:lnTo>
                    <a:pt x="59" y="264"/>
                  </a:lnTo>
                  <a:lnTo>
                    <a:pt x="60" y="270"/>
                  </a:lnTo>
                  <a:lnTo>
                    <a:pt x="65" y="275"/>
                  </a:lnTo>
                  <a:lnTo>
                    <a:pt x="66" y="278"/>
                  </a:lnTo>
                  <a:lnTo>
                    <a:pt x="67" y="279"/>
                  </a:lnTo>
                  <a:lnTo>
                    <a:pt x="69" y="281"/>
                  </a:lnTo>
                  <a:lnTo>
                    <a:pt x="71" y="283"/>
                  </a:lnTo>
                  <a:lnTo>
                    <a:pt x="74" y="286"/>
                  </a:lnTo>
                  <a:lnTo>
                    <a:pt x="78" y="289"/>
                  </a:lnTo>
                  <a:lnTo>
                    <a:pt x="81" y="292"/>
                  </a:lnTo>
                  <a:lnTo>
                    <a:pt x="84" y="293"/>
                  </a:lnTo>
                  <a:lnTo>
                    <a:pt x="88" y="296"/>
                  </a:lnTo>
                  <a:lnTo>
                    <a:pt x="94" y="299"/>
                  </a:lnTo>
                  <a:lnTo>
                    <a:pt x="101" y="304"/>
                  </a:lnTo>
                  <a:lnTo>
                    <a:pt x="104" y="305"/>
                  </a:lnTo>
                  <a:lnTo>
                    <a:pt x="109" y="307"/>
                  </a:lnTo>
                  <a:lnTo>
                    <a:pt x="113" y="307"/>
                  </a:lnTo>
                  <a:lnTo>
                    <a:pt x="115" y="303"/>
                  </a:lnTo>
                  <a:lnTo>
                    <a:pt x="118" y="300"/>
                  </a:lnTo>
                  <a:lnTo>
                    <a:pt x="120" y="298"/>
                  </a:lnTo>
                  <a:lnTo>
                    <a:pt x="123" y="297"/>
                  </a:lnTo>
                  <a:lnTo>
                    <a:pt x="123" y="292"/>
                  </a:lnTo>
                  <a:lnTo>
                    <a:pt x="125" y="288"/>
                  </a:lnTo>
                  <a:lnTo>
                    <a:pt x="127" y="283"/>
                  </a:lnTo>
                  <a:lnTo>
                    <a:pt x="132" y="277"/>
                  </a:lnTo>
                  <a:lnTo>
                    <a:pt x="139" y="276"/>
                  </a:lnTo>
                  <a:lnTo>
                    <a:pt x="143" y="275"/>
                  </a:lnTo>
                  <a:lnTo>
                    <a:pt x="148" y="275"/>
                  </a:lnTo>
                  <a:lnTo>
                    <a:pt x="153" y="277"/>
                  </a:lnTo>
                  <a:lnTo>
                    <a:pt x="159" y="278"/>
                  </a:lnTo>
                  <a:lnTo>
                    <a:pt x="162" y="278"/>
                  </a:lnTo>
                  <a:lnTo>
                    <a:pt x="170" y="279"/>
                  </a:lnTo>
                  <a:lnTo>
                    <a:pt x="173" y="281"/>
                  </a:lnTo>
                  <a:lnTo>
                    <a:pt x="176" y="287"/>
                  </a:lnTo>
                  <a:lnTo>
                    <a:pt x="178" y="287"/>
                  </a:lnTo>
                  <a:lnTo>
                    <a:pt x="183" y="292"/>
                  </a:lnTo>
                  <a:lnTo>
                    <a:pt x="187" y="294"/>
                  </a:lnTo>
                  <a:lnTo>
                    <a:pt x="190" y="300"/>
                  </a:lnTo>
                  <a:lnTo>
                    <a:pt x="196" y="308"/>
                  </a:lnTo>
                  <a:lnTo>
                    <a:pt x="200" y="320"/>
                  </a:lnTo>
                  <a:lnTo>
                    <a:pt x="203" y="324"/>
                  </a:lnTo>
                  <a:lnTo>
                    <a:pt x="207" y="332"/>
                  </a:lnTo>
                  <a:lnTo>
                    <a:pt x="207" y="335"/>
                  </a:lnTo>
                  <a:lnTo>
                    <a:pt x="210" y="343"/>
                  </a:lnTo>
                  <a:lnTo>
                    <a:pt x="218" y="350"/>
                  </a:lnTo>
                  <a:lnTo>
                    <a:pt x="220" y="358"/>
                  </a:lnTo>
                  <a:lnTo>
                    <a:pt x="230" y="370"/>
                  </a:lnTo>
                  <a:lnTo>
                    <a:pt x="235" y="372"/>
                  </a:lnTo>
                  <a:lnTo>
                    <a:pt x="234" y="381"/>
                  </a:lnTo>
                  <a:lnTo>
                    <a:pt x="232" y="383"/>
                  </a:lnTo>
                  <a:lnTo>
                    <a:pt x="234" y="385"/>
                  </a:lnTo>
                  <a:lnTo>
                    <a:pt x="237" y="388"/>
                  </a:lnTo>
                  <a:lnTo>
                    <a:pt x="237" y="394"/>
                  </a:lnTo>
                  <a:lnTo>
                    <a:pt x="243" y="405"/>
                  </a:lnTo>
                  <a:lnTo>
                    <a:pt x="246" y="411"/>
                  </a:lnTo>
                  <a:lnTo>
                    <a:pt x="249" y="416"/>
                  </a:lnTo>
                  <a:lnTo>
                    <a:pt x="251" y="421"/>
                  </a:lnTo>
                  <a:lnTo>
                    <a:pt x="259" y="422"/>
                  </a:lnTo>
                  <a:lnTo>
                    <a:pt x="264" y="427"/>
                  </a:lnTo>
                  <a:lnTo>
                    <a:pt x="273" y="427"/>
                  </a:lnTo>
                  <a:lnTo>
                    <a:pt x="280" y="434"/>
                  </a:lnTo>
                  <a:lnTo>
                    <a:pt x="284" y="434"/>
                  </a:lnTo>
                  <a:lnTo>
                    <a:pt x="286" y="437"/>
                  </a:lnTo>
                  <a:lnTo>
                    <a:pt x="291" y="438"/>
                  </a:lnTo>
                  <a:lnTo>
                    <a:pt x="292" y="436"/>
                  </a:lnTo>
                  <a:lnTo>
                    <a:pt x="302" y="438"/>
                  </a:lnTo>
                  <a:lnTo>
                    <a:pt x="302" y="439"/>
                  </a:lnTo>
                  <a:lnTo>
                    <a:pt x="305" y="442"/>
                  </a:lnTo>
                  <a:lnTo>
                    <a:pt x="310" y="446"/>
                  </a:lnTo>
                  <a:lnTo>
                    <a:pt x="313" y="444"/>
                  </a:lnTo>
                  <a:lnTo>
                    <a:pt x="314" y="442"/>
                  </a:lnTo>
                  <a:lnTo>
                    <a:pt x="321" y="441"/>
                  </a:lnTo>
                  <a:lnTo>
                    <a:pt x="319" y="436"/>
                  </a:lnTo>
                  <a:lnTo>
                    <a:pt x="319" y="433"/>
                  </a:lnTo>
                  <a:lnTo>
                    <a:pt x="318" y="429"/>
                  </a:lnTo>
                  <a:lnTo>
                    <a:pt x="317" y="425"/>
                  </a:lnTo>
                  <a:lnTo>
                    <a:pt x="314" y="423"/>
                  </a:lnTo>
                  <a:lnTo>
                    <a:pt x="312" y="417"/>
                  </a:lnTo>
                  <a:lnTo>
                    <a:pt x="311" y="411"/>
                  </a:lnTo>
                  <a:lnTo>
                    <a:pt x="308" y="404"/>
                  </a:lnTo>
                  <a:lnTo>
                    <a:pt x="308" y="398"/>
                  </a:lnTo>
                  <a:lnTo>
                    <a:pt x="311" y="389"/>
                  </a:lnTo>
                  <a:lnTo>
                    <a:pt x="314" y="380"/>
                  </a:lnTo>
                  <a:lnTo>
                    <a:pt x="318" y="370"/>
                  </a:lnTo>
                  <a:lnTo>
                    <a:pt x="317" y="368"/>
                  </a:lnTo>
                  <a:lnTo>
                    <a:pt x="314" y="366"/>
                  </a:lnTo>
                  <a:lnTo>
                    <a:pt x="311" y="363"/>
                  </a:lnTo>
                  <a:lnTo>
                    <a:pt x="311" y="361"/>
                  </a:lnTo>
                  <a:lnTo>
                    <a:pt x="313" y="362"/>
                  </a:lnTo>
                  <a:lnTo>
                    <a:pt x="322" y="361"/>
                  </a:lnTo>
                  <a:lnTo>
                    <a:pt x="323" y="361"/>
                  </a:lnTo>
                  <a:lnTo>
                    <a:pt x="326" y="355"/>
                  </a:lnTo>
                  <a:lnTo>
                    <a:pt x="323" y="355"/>
                  </a:lnTo>
                  <a:lnTo>
                    <a:pt x="322" y="353"/>
                  </a:lnTo>
                  <a:lnTo>
                    <a:pt x="322" y="351"/>
                  </a:lnTo>
                  <a:lnTo>
                    <a:pt x="324" y="350"/>
                  </a:lnTo>
                  <a:lnTo>
                    <a:pt x="328" y="350"/>
                  </a:lnTo>
                  <a:lnTo>
                    <a:pt x="333" y="350"/>
                  </a:lnTo>
                  <a:lnTo>
                    <a:pt x="335" y="351"/>
                  </a:lnTo>
                  <a:lnTo>
                    <a:pt x="338" y="350"/>
                  </a:lnTo>
                  <a:lnTo>
                    <a:pt x="343" y="346"/>
                  </a:lnTo>
                  <a:lnTo>
                    <a:pt x="341" y="346"/>
                  </a:lnTo>
                  <a:lnTo>
                    <a:pt x="337" y="349"/>
                  </a:lnTo>
                  <a:lnTo>
                    <a:pt x="336" y="345"/>
                  </a:lnTo>
                  <a:lnTo>
                    <a:pt x="338" y="339"/>
                  </a:lnTo>
                  <a:lnTo>
                    <a:pt x="340" y="341"/>
                  </a:lnTo>
                  <a:lnTo>
                    <a:pt x="342" y="342"/>
                  </a:lnTo>
                  <a:lnTo>
                    <a:pt x="347" y="342"/>
                  </a:lnTo>
                  <a:lnTo>
                    <a:pt x="349" y="340"/>
                  </a:lnTo>
                  <a:lnTo>
                    <a:pt x="348" y="336"/>
                  </a:lnTo>
                  <a:lnTo>
                    <a:pt x="345" y="332"/>
                  </a:lnTo>
                  <a:lnTo>
                    <a:pt x="346" y="331"/>
                  </a:lnTo>
                  <a:lnTo>
                    <a:pt x="349" y="331"/>
                  </a:lnTo>
                  <a:lnTo>
                    <a:pt x="352" y="329"/>
                  </a:lnTo>
                  <a:lnTo>
                    <a:pt x="354" y="331"/>
                  </a:lnTo>
                  <a:lnTo>
                    <a:pt x="357" y="329"/>
                  </a:lnTo>
                  <a:lnTo>
                    <a:pt x="358" y="331"/>
                  </a:lnTo>
                  <a:lnTo>
                    <a:pt x="361" y="333"/>
                  </a:lnTo>
                  <a:lnTo>
                    <a:pt x="364" y="331"/>
                  </a:lnTo>
                  <a:lnTo>
                    <a:pt x="367" y="329"/>
                  </a:lnTo>
                  <a:lnTo>
                    <a:pt x="374" y="327"/>
                  </a:lnTo>
                  <a:lnTo>
                    <a:pt x="381" y="326"/>
                  </a:lnTo>
                  <a:lnTo>
                    <a:pt x="392" y="320"/>
                  </a:lnTo>
                  <a:lnTo>
                    <a:pt x="395" y="314"/>
                  </a:lnTo>
                  <a:lnTo>
                    <a:pt x="396" y="309"/>
                  </a:lnTo>
                  <a:lnTo>
                    <a:pt x="399" y="307"/>
                  </a:lnTo>
                  <a:lnTo>
                    <a:pt x="402" y="306"/>
                  </a:lnTo>
                  <a:lnTo>
                    <a:pt x="403" y="305"/>
                  </a:lnTo>
                  <a:lnTo>
                    <a:pt x="406" y="303"/>
                  </a:lnTo>
                  <a:lnTo>
                    <a:pt x="405" y="300"/>
                  </a:lnTo>
                  <a:lnTo>
                    <a:pt x="404" y="297"/>
                  </a:lnTo>
                  <a:lnTo>
                    <a:pt x="403" y="296"/>
                  </a:lnTo>
                  <a:lnTo>
                    <a:pt x="402" y="294"/>
                  </a:lnTo>
                  <a:lnTo>
                    <a:pt x="403" y="291"/>
                  </a:lnTo>
                  <a:lnTo>
                    <a:pt x="407" y="288"/>
                  </a:lnTo>
                  <a:lnTo>
                    <a:pt x="410" y="286"/>
                  </a:lnTo>
                  <a:lnTo>
                    <a:pt x="412" y="286"/>
                  </a:lnTo>
                  <a:lnTo>
                    <a:pt x="412" y="289"/>
                  </a:lnTo>
                  <a:lnTo>
                    <a:pt x="412" y="293"/>
                  </a:lnTo>
                  <a:lnTo>
                    <a:pt x="412" y="299"/>
                  </a:lnTo>
                  <a:lnTo>
                    <a:pt x="413" y="300"/>
                  </a:lnTo>
                  <a:lnTo>
                    <a:pt x="419" y="295"/>
                  </a:lnTo>
                  <a:lnTo>
                    <a:pt x="424" y="294"/>
                  </a:lnTo>
                  <a:lnTo>
                    <a:pt x="439" y="288"/>
                  </a:lnTo>
                  <a:lnTo>
                    <a:pt x="441" y="287"/>
                  </a:lnTo>
                  <a:lnTo>
                    <a:pt x="444" y="282"/>
                  </a:lnTo>
                  <a:lnTo>
                    <a:pt x="447" y="272"/>
                  </a:lnTo>
                  <a:lnTo>
                    <a:pt x="447" y="268"/>
                  </a:lnTo>
                  <a:lnTo>
                    <a:pt x="444" y="261"/>
                  </a:lnTo>
                  <a:lnTo>
                    <a:pt x="446" y="256"/>
                  </a:lnTo>
                  <a:lnTo>
                    <a:pt x="446" y="253"/>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1" name="Freeform 30">
              <a:extLst>
                <a:ext uri="{FF2B5EF4-FFF2-40B4-BE49-F238E27FC236}">
                  <a16:creationId xmlns:a16="http://schemas.microsoft.com/office/drawing/2014/main" id="{F393E102-8194-BACD-200D-89DF0665335D}"/>
                </a:ext>
              </a:extLst>
            </p:cNvPr>
            <p:cNvSpPr>
              <a:spLocks/>
            </p:cNvSpPr>
            <p:nvPr/>
          </p:nvSpPr>
          <p:spPr bwMode="auto">
            <a:xfrm>
              <a:off x="6412421" y="3288077"/>
              <a:ext cx="570966" cy="633314"/>
            </a:xfrm>
            <a:custGeom>
              <a:avLst/>
              <a:gdLst>
                <a:gd name="T0" fmla="*/ 73 w 259"/>
                <a:gd name="T1" fmla="*/ 0 h 304"/>
                <a:gd name="T2" fmla="*/ 68 w 259"/>
                <a:gd name="T3" fmla="*/ 25 h 304"/>
                <a:gd name="T4" fmla="*/ 62 w 259"/>
                <a:gd name="T5" fmla="*/ 43 h 304"/>
                <a:gd name="T6" fmla="*/ 59 w 259"/>
                <a:gd name="T7" fmla="*/ 45 h 304"/>
                <a:gd name="T8" fmla="*/ 56 w 259"/>
                <a:gd name="T9" fmla="*/ 43 h 304"/>
                <a:gd name="T10" fmla="*/ 51 w 259"/>
                <a:gd name="T11" fmla="*/ 39 h 304"/>
                <a:gd name="T12" fmla="*/ 47 w 259"/>
                <a:gd name="T13" fmla="*/ 41 h 304"/>
                <a:gd name="T14" fmla="*/ 45 w 259"/>
                <a:gd name="T15" fmla="*/ 37 h 304"/>
                <a:gd name="T16" fmla="*/ 38 w 259"/>
                <a:gd name="T17" fmla="*/ 39 h 304"/>
                <a:gd name="T18" fmla="*/ 35 w 259"/>
                <a:gd name="T19" fmla="*/ 42 h 304"/>
                <a:gd name="T20" fmla="*/ 35 w 259"/>
                <a:gd name="T21" fmla="*/ 53 h 304"/>
                <a:gd name="T22" fmla="*/ 35 w 259"/>
                <a:gd name="T23" fmla="*/ 67 h 304"/>
                <a:gd name="T24" fmla="*/ 35 w 259"/>
                <a:gd name="T25" fmla="*/ 80 h 304"/>
                <a:gd name="T26" fmla="*/ 34 w 259"/>
                <a:gd name="T27" fmla="*/ 84 h 304"/>
                <a:gd name="T28" fmla="*/ 31 w 259"/>
                <a:gd name="T29" fmla="*/ 89 h 304"/>
                <a:gd name="T30" fmla="*/ 30 w 259"/>
                <a:gd name="T31" fmla="*/ 94 h 304"/>
                <a:gd name="T32" fmla="*/ 30 w 259"/>
                <a:gd name="T33" fmla="*/ 101 h 304"/>
                <a:gd name="T34" fmla="*/ 34 w 259"/>
                <a:gd name="T35" fmla="*/ 110 h 304"/>
                <a:gd name="T36" fmla="*/ 35 w 259"/>
                <a:gd name="T37" fmla="*/ 119 h 304"/>
                <a:gd name="T38" fmla="*/ 37 w 259"/>
                <a:gd name="T39" fmla="*/ 122 h 304"/>
                <a:gd name="T40" fmla="*/ 42 w 259"/>
                <a:gd name="T41" fmla="*/ 128 h 304"/>
                <a:gd name="T42" fmla="*/ 39 w 259"/>
                <a:gd name="T43" fmla="*/ 130 h 304"/>
                <a:gd name="T44" fmla="*/ 34 w 259"/>
                <a:gd name="T45" fmla="*/ 134 h 304"/>
                <a:gd name="T46" fmla="*/ 24 w 259"/>
                <a:gd name="T47" fmla="*/ 141 h 304"/>
                <a:gd name="T48" fmla="*/ 21 w 259"/>
                <a:gd name="T49" fmla="*/ 154 h 304"/>
                <a:gd name="T50" fmla="*/ 17 w 259"/>
                <a:gd name="T51" fmla="*/ 162 h 304"/>
                <a:gd name="T52" fmla="*/ 13 w 259"/>
                <a:gd name="T53" fmla="*/ 166 h 304"/>
                <a:gd name="T54" fmla="*/ 11 w 259"/>
                <a:gd name="T55" fmla="*/ 167 h 304"/>
                <a:gd name="T56" fmla="*/ 9 w 259"/>
                <a:gd name="T57" fmla="*/ 171 h 304"/>
                <a:gd name="T58" fmla="*/ 10 w 259"/>
                <a:gd name="T59" fmla="*/ 178 h 304"/>
                <a:gd name="T60" fmla="*/ 9 w 259"/>
                <a:gd name="T61" fmla="*/ 183 h 304"/>
                <a:gd name="T62" fmla="*/ 15 w 259"/>
                <a:gd name="T63" fmla="*/ 188 h 304"/>
                <a:gd name="T64" fmla="*/ 13 w 259"/>
                <a:gd name="T65" fmla="*/ 192 h 304"/>
                <a:gd name="T66" fmla="*/ 5 w 259"/>
                <a:gd name="T67" fmla="*/ 196 h 304"/>
                <a:gd name="T68" fmla="*/ 3 w 259"/>
                <a:gd name="T69" fmla="*/ 200 h 304"/>
                <a:gd name="T70" fmla="*/ 0 w 259"/>
                <a:gd name="T71" fmla="*/ 206 h 304"/>
                <a:gd name="T72" fmla="*/ 139 w 259"/>
                <a:gd name="T73" fmla="*/ 291 h 304"/>
                <a:gd name="T74" fmla="*/ 182 w 259"/>
                <a:gd name="T75" fmla="*/ 299 h 304"/>
                <a:gd name="T76" fmla="*/ 218 w 259"/>
                <a:gd name="T77" fmla="*/ 304 h 304"/>
                <a:gd name="T78" fmla="*/ 219 w 259"/>
                <a:gd name="T79" fmla="*/ 304 h 304"/>
                <a:gd name="T80" fmla="*/ 259 w 259"/>
                <a:gd name="T81" fmla="*/ 33 h 304"/>
                <a:gd name="T82" fmla="*/ 73 w 259"/>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9" h="304">
                  <a:moveTo>
                    <a:pt x="73" y="0"/>
                  </a:moveTo>
                  <a:cubicBezTo>
                    <a:pt x="73" y="0"/>
                    <a:pt x="69" y="19"/>
                    <a:pt x="68" y="25"/>
                  </a:cubicBezTo>
                  <a:cubicBezTo>
                    <a:pt x="66" y="29"/>
                    <a:pt x="62" y="43"/>
                    <a:pt x="62" y="43"/>
                  </a:cubicBezTo>
                  <a:cubicBezTo>
                    <a:pt x="59" y="45"/>
                    <a:pt x="59" y="45"/>
                    <a:pt x="59" y="45"/>
                  </a:cubicBezTo>
                  <a:cubicBezTo>
                    <a:pt x="56" y="43"/>
                    <a:pt x="56" y="43"/>
                    <a:pt x="56" y="43"/>
                  </a:cubicBezTo>
                  <a:cubicBezTo>
                    <a:pt x="51" y="39"/>
                    <a:pt x="51" y="39"/>
                    <a:pt x="51" y="39"/>
                  </a:cubicBezTo>
                  <a:cubicBezTo>
                    <a:pt x="47" y="41"/>
                    <a:pt x="47" y="41"/>
                    <a:pt x="47" y="41"/>
                  </a:cubicBezTo>
                  <a:cubicBezTo>
                    <a:pt x="45" y="37"/>
                    <a:pt x="45" y="37"/>
                    <a:pt x="45" y="37"/>
                  </a:cubicBezTo>
                  <a:cubicBezTo>
                    <a:pt x="38" y="39"/>
                    <a:pt x="38" y="39"/>
                    <a:pt x="38" y="39"/>
                  </a:cubicBezTo>
                  <a:cubicBezTo>
                    <a:pt x="35" y="42"/>
                    <a:pt x="35" y="42"/>
                    <a:pt x="35" y="42"/>
                  </a:cubicBezTo>
                  <a:cubicBezTo>
                    <a:pt x="35" y="53"/>
                    <a:pt x="35" y="53"/>
                    <a:pt x="35" y="53"/>
                  </a:cubicBezTo>
                  <a:cubicBezTo>
                    <a:pt x="35" y="67"/>
                    <a:pt x="35" y="67"/>
                    <a:pt x="35" y="67"/>
                  </a:cubicBezTo>
                  <a:cubicBezTo>
                    <a:pt x="35" y="80"/>
                    <a:pt x="35" y="80"/>
                    <a:pt x="35" y="80"/>
                  </a:cubicBezTo>
                  <a:cubicBezTo>
                    <a:pt x="34" y="84"/>
                    <a:pt x="34" y="84"/>
                    <a:pt x="34" y="84"/>
                  </a:cubicBezTo>
                  <a:cubicBezTo>
                    <a:pt x="31" y="89"/>
                    <a:pt x="31" y="89"/>
                    <a:pt x="31" y="89"/>
                  </a:cubicBezTo>
                  <a:cubicBezTo>
                    <a:pt x="30" y="94"/>
                    <a:pt x="30" y="94"/>
                    <a:pt x="30" y="94"/>
                  </a:cubicBezTo>
                  <a:cubicBezTo>
                    <a:pt x="30" y="101"/>
                    <a:pt x="30" y="101"/>
                    <a:pt x="30" y="101"/>
                  </a:cubicBezTo>
                  <a:cubicBezTo>
                    <a:pt x="34" y="110"/>
                    <a:pt x="34" y="110"/>
                    <a:pt x="34" y="110"/>
                  </a:cubicBezTo>
                  <a:cubicBezTo>
                    <a:pt x="35" y="119"/>
                    <a:pt x="35" y="119"/>
                    <a:pt x="35" y="119"/>
                  </a:cubicBezTo>
                  <a:cubicBezTo>
                    <a:pt x="37" y="122"/>
                    <a:pt x="37" y="122"/>
                    <a:pt x="37" y="122"/>
                  </a:cubicBezTo>
                  <a:cubicBezTo>
                    <a:pt x="42" y="128"/>
                    <a:pt x="42" y="128"/>
                    <a:pt x="42" y="128"/>
                  </a:cubicBezTo>
                  <a:cubicBezTo>
                    <a:pt x="39" y="130"/>
                    <a:pt x="39" y="130"/>
                    <a:pt x="39" y="130"/>
                  </a:cubicBezTo>
                  <a:cubicBezTo>
                    <a:pt x="34" y="134"/>
                    <a:pt x="34" y="134"/>
                    <a:pt x="34" y="134"/>
                  </a:cubicBezTo>
                  <a:cubicBezTo>
                    <a:pt x="24" y="141"/>
                    <a:pt x="24" y="141"/>
                    <a:pt x="24" y="141"/>
                  </a:cubicBezTo>
                  <a:cubicBezTo>
                    <a:pt x="21" y="154"/>
                    <a:pt x="21" y="154"/>
                    <a:pt x="21" y="154"/>
                  </a:cubicBezTo>
                  <a:cubicBezTo>
                    <a:pt x="17" y="162"/>
                    <a:pt x="17" y="162"/>
                    <a:pt x="17" y="162"/>
                  </a:cubicBezTo>
                  <a:cubicBezTo>
                    <a:pt x="13" y="166"/>
                    <a:pt x="13" y="166"/>
                    <a:pt x="13" y="166"/>
                  </a:cubicBezTo>
                  <a:cubicBezTo>
                    <a:pt x="11" y="167"/>
                    <a:pt x="11" y="167"/>
                    <a:pt x="11" y="167"/>
                  </a:cubicBezTo>
                  <a:cubicBezTo>
                    <a:pt x="9" y="171"/>
                    <a:pt x="9" y="171"/>
                    <a:pt x="9" y="171"/>
                  </a:cubicBezTo>
                  <a:cubicBezTo>
                    <a:pt x="10" y="178"/>
                    <a:pt x="10" y="178"/>
                    <a:pt x="10" y="178"/>
                  </a:cubicBezTo>
                  <a:cubicBezTo>
                    <a:pt x="9" y="183"/>
                    <a:pt x="9" y="183"/>
                    <a:pt x="9" y="183"/>
                  </a:cubicBezTo>
                  <a:cubicBezTo>
                    <a:pt x="15" y="188"/>
                    <a:pt x="15" y="188"/>
                    <a:pt x="15" y="188"/>
                  </a:cubicBezTo>
                  <a:cubicBezTo>
                    <a:pt x="13" y="192"/>
                    <a:pt x="13" y="192"/>
                    <a:pt x="13" y="192"/>
                  </a:cubicBezTo>
                  <a:cubicBezTo>
                    <a:pt x="5" y="196"/>
                    <a:pt x="5" y="196"/>
                    <a:pt x="5" y="196"/>
                  </a:cubicBezTo>
                  <a:cubicBezTo>
                    <a:pt x="3" y="200"/>
                    <a:pt x="3" y="200"/>
                    <a:pt x="3" y="200"/>
                  </a:cubicBezTo>
                  <a:cubicBezTo>
                    <a:pt x="0" y="206"/>
                    <a:pt x="0" y="206"/>
                    <a:pt x="0" y="206"/>
                  </a:cubicBezTo>
                  <a:cubicBezTo>
                    <a:pt x="139" y="291"/>
                    <a:pt x="139" y="291"/>
                    <a:pt x="139" y="291"/>
                  </a:cubicBezTo>
                  <a:cubicBezTo>
                    <a:pt x="182" y="299"/>
                    <a:pt x="182" y="299"/>
                    <a:pt x="182" y="299"/>
                  </a:cubicBezTo>
                  <a:cubicBezTo>
                    <a:pt x="218" y="304"/>
                    <a:pt x="218" y="304"/>
                    <a:pt x="218" y="304"/>
                  </a:cubicBezTo>
                  <a:cubicBezTo>
                    <a:pt x="219" y="304"/>
                    <a:pt x="219" y="304"/>
                    <a:pt x="219" y="304"/>
                  </a:cubicBezTo>
                  <a:cubicBezTo>
                    <a:pt x="259" y="33"/>
                    <a:pt x="259" y="33"/>
                    <a:pt x="259" y="33"/>
                  </a:cubicBezTo>
                  <a:lnTo>
                    <a:pt x="73" y="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2" name="Freeform 31">
              <a:extLst>
                <a:ext uri="{FF2B5EF4-FFF2-40B4-BE49-F238E27FC236}">
                  <a16:creationId xmlns:a16="http://schemas.microsoft.com/office/drawing/2014/main" id="{C901CD40-44C4-A1D2-B2BB-82E4A58DD2E0}"/>
                </a:ext>
              </a:extLst>
            </p:cNvPr>
            <p:cNvSpPr>
              <a:spLocks/>
            </p:cNvSpPr>
            <p:nvPr/>
          </p:nvSpPr>
          <p:spPr bwMode="auto">
            <a:xfrm>
              <a:off x="5833633" y="2605670"/>
              <a:ext cx="670038" cy="1092344"/>
            </a:xfrm>
            <a:custGeom>
              <a:avLst/>
              <a:gdLst>
                <a:gd name="T0" fmla="*/ 229 w 257"/>
                <a:gd name="T1" fmla="*/ 433 h 445"/>
                <a:gd name="T2" fmla="*/ 231 w 257"/>
                <a:gd name="T3" fmla="*/ 420 h 445"/>
                <a:gd name="T4" fmla="*/ 239 w 257"/>
                <a:gd name="T5" fmla="*/ 409 h 445"/>
                <a:gd name="T6" fmla="*/ 255 w 257"/>
                <a:gd name="T7" fmla="*/ 388 h 445"/>
                <a:gd name="T8" fmla="*/ 251 w 257"/>
                <a:gd name="T9" fmla="*/ 379 h 445"/>
                <a:gd name="T10" fmla="*/ 247 w 257"/>
                <a:gd name="T11" fmla="*/ 358 h 445"/>
                <a:gd name="T12" fmla="*/ 118 w 257"/>
                <a:gd name="T13" fmla="*/ 158 h 445"/>
                <a:gd name="T14" fmla="*/ 113 w 257"/>
                <a:gd name="T15" fmla="*/ 153 h 445"/>
                <a:gd name="T16" fmla="*/ 117 w 257"/>
                <a:gd name="T17" fmla="*/ 146 h 445"/>
                <a:gd name="T18" fmla="*/ 26 w 257"/>
                <a:gd name="T19" fmla="*/ 0 h 445"/>
                <a:gd name="T20" fmla="*/ 23 w 257"/>
                <a:gd name="T21" fmla="*/ 9 h 445"/>
                <a:gd name="T22" fmla="*/ 22 w 257"/>
                <a:gd name="T23" fmla="*/ 25 h 445"/>
                <a:gd name="T24" fmla="*/ 17 w 257"/>
                <a:gd name="T25" fmla="*/ 34 h 445"/>
                <a:gd name="T26" fmla="*/ 7 w 257"/>
                <a:gd name="T27" fmla="*/ 50 h 445"/>
                <a:gd name="T28" fmla="*/ 0 w 257"/>
                <a:gd name="T29" fmla="*/ 62 h 445"/>
                <a:gd name="T30" fmla="*/ 3 w 257"/>
                <a:gd name="T31" fmla="*/ 75 h 445"/>
                <a:gd name="T32" fmla="*/ 9 w 257"/>
                <a:gd name="T33" fmla="*/ 90 h 445"/>
                <a:gd name="T34" fmla="*/ 5 w 257"/>
                <a:gd name="T35" fmla="*/ 110 h 445"/>
                <a:gd name="T36" fmla="*/ 2 w 257"/>
                <a:gd name="T37" fmla="*/ 122 h 445"/>
                <a:gd name="T38" fmla="*/ 11 w 257"/>
                <a:gd name="T39" fmla="*/ 145 h 445"/>
                <a:gd name="T40" fmla="*/ 17 w 257"/>
                <a:gd name="T41" fmla="*/ 161 h 445"/>
                <a:gd name="T42" fmla="*/ 14 w 257"/>
                <a:gd name="T43" fmla="*/ 169 h 445"/>
                <a:gd name="T44" fmla="*/ 23 w 257"/>
                <a:gd name="T45" fmla="*/ 176 h 445"/>
                <a:gd name="T46" fmla="*/ 29 w 257"/>
                <a:gd name="T47" fmla="*/ 175 h 445"/>
                <a:gd name="T48" fmla="*/ 37 w 257"/>
                <a:gd name="T49" fmla="*/ 172 h 445"/>
                <a:gd name="T50" fmla="*/ 51 w 257"/>
                <a:gd name="T51" fmla="*/ 177 h 445"/>
                <a:gd name="T52" fmla="*/ 49 w 257"/>
                <a:gd name="T53" fmla="*/ 179 h 445"/>
                <a:gd name="T54" fmla="*/ 40 w 257"/>
                <a:gd name="T55" fmla="*/ 176 h 445"/>
                <a:gd name="T56" fmla="*/ 33 w 257"/>
                <a:gd name="T57" fmla="*/ 175 h 445"/>
                <a:gd name="T58" fmla="*/ 35 w 257"/>
                <a:gd name="T59" fmla="*/ 187 h 445"/>
                <a:gd name="T60" fmla="*/ 30 w 257"/>
                <a:gd name="T61" fmla="*/ 192 h 445"/>
                <a:gd name="T62" fmla="*/ 29 w 257"/>
                <a:gd name="T63" fmla="*/ 185 h 445"/>
                <a:gd name="T64" fmla="*/ 24 w 257"/>
                <a:gd name="T65" fmla="*/ 187 h 445"/>
                <a:gd name="T66" fmla="*/ 23 w 257"/>
                <a:gd name="T67" fmla="*/ 204 h 445"/>
                <a:gd name="T68" fmla="*/ 30 w 257"/>
                <a:gd name="T69" fmla="*/ 217 h 445"/>
                <a:gd name="T70" fmla="*/ 35 w 257"/>
                <a:gd name="T71" fmla="*/ 229 h 445"/>
                <a:gd name="T72" fmla="*/ 28 w 257"/>
                <a:gd name="T73" fmla="*/ 234 h 445"/>
                <a:gd name="T74" fmla="*/ 34 w 257"/>
                <a:gd name="T75" fmla="*/ 255 h 445"/>
                <a:gd name="T76" fmla="*/ 42 w 257"/>
                <a:gd name="T77" fmla="*/ 275 h 445"/>
                <a:gd name="T78" fmla="*/ 50 w 257"/>
                <a:gd name="T79" fmla="*/ 288 h 445"/>
                <a:gd name="T80" fmla="*/ 50 w 257"/>
                <a:gd name="T81" fmla="*/ 298 h 445"/>
                <a:gd name="T82" fmla="*/ 53 w 257"/>
                <a:gd name="T83" fmla="*/ 307 h 445"/>
                <a:gd name="T84" fmla="*/ 50 w 257"/>
                <a:gd name="T85" fmla="*/ 327 h 445"/>
                <a:gd name="T86" fmla="*/ 73 w 257"/>
                <a:gd name="T87" fmla="*/ 339 h 445"/>
                <a:gd name="T88" fmla="*/ 91 w 257"/>
                <a:gd name="T89" fmla="*/ 355 h 445"/>
                <a:gd name="T90" fmla="*/ 112 w 257"/>
                <a:gd name="T91" fmla="*/ 374 h 445"/>
                <a:gd name="T92" fmla="*/ 128 w 257"/>
                <a:gd name="T93" fmla="*/ 388 h 445"/>
                <a:gd name="T94" fmla="*/ 143 w 257"/>
                <a:gd name="T95" fmla="*/ 414 h 445"/>
                <a:gd name="T96" fmla="*/ 143 w 257"/>
                <a:gd name="T97" fmla="*/ 434 h 445"/>
                <a:gd name="T98" fmla="*/ 226 w 257"/>
                <a:gd name="T99" fmla="*/ 44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445">
                  <a:moveTo>
                    <a:pt x="233" y="441"/>
                  </a:moveTo>
                  <a:lnTo>
                    <a:pt x="234" y="438"/>
                  </a:lnTo>
                  <a:lnTo>
                    <a:pt x="229" y="433"/>
                  </a:lnTo>
                  <a:lnTo>
                    <a:pt x="230" y="429"/>
                  </a:lnTo>
                  <a:lnTo>
                    <a:pt x="229" y="423"/>
                  </a:lnTo>
                  <a:lnTo>
                    <a:pt x="231" y="420"/>
                  </a:lnTo>
                  <a:lnTo>
                    <a:pt x="233" y="419"/>
                  </a:lnTo>
                  <a:lnTo>
                    <a:pt x="236" y="416"/>
                  </a:lnTo>
                  <a:lnTo>
                    <a:pt x="239" y="409"/>
                  </a:lnTo>
                  <a:lnTo>
                    <a:pt x="242" y="398"/>
                  </a:lnTo>
                  <a:lnTo>
                    <a:pt x="250" y="392"/>
                  </a:lnTo>
                  <a:lnTo>
                    <a:pt x="255" y="388"/>
                  </a:lnTo>
                  <a:lnTo>
                    <a:pt x="257" y="387"/>
                  </a:lnTo>
                  <a:lnTo>
                    <a:pt x="253" y="382"/>
                  </a:lnTo>
                  <a:lnTo>
                    <a:pt x="251" y="379"/>
                  </a:lnTo>
                  <a:lnTo>
                    <a:pt x="250" y="372"/>
                  </a:lnTo>
                  <a:lnTo>
                    <a:pt x="247" y="364"/>
                  </a:lnTo>
                  <a:lnTo>
                    <a:pt x="247" y="358"/>
                  </a:lnTo>
                  <a:lnTo>
                    <a:pt x="248" y="354"/>
                  </a:lnTo>
                  <a:lnTo>
                    <a:pt x="248" y="353"/>
                  </a:lnTo>
                  <a:lnTo>
                    <a:pt x="118" y="158"/>
                  </a:lnTo>
                  <a:lnTo>
                    <a:pt x="115" y="156"/>
                  </a:lnTo>
                  <a:lnTo>
                    <a:pt x="114" y="155"/>
                  </a:lnTo>
                  <a:lnTo>
                    <a:pt x="113" y="153"/>
                  </a:lnTo>
                  <a:lnTo>
                    <a:pt x="112" y="150"/>
                  </a:lnTo>
                  <a:lnTo>
                    <a:pt x="113" y="147"/>
                  </a:lnTo>
                  <a:lnTo>
                    <a:pt x="117" y="146"/>
                  </a:lnTo>
                  <a:lnTo>
                    <a:pt x="119" y="145"/>
                  </a:lnTo>
                  <a:lnTo>
                    <a:pt x="148" y="35"/>
                  </a:lnTo>
                  <a:lnTo>
                    <a:pt x="26" y="0"/>
                  </a:lnTo>
                  <a:lnTo>
                    <a:pt x="25" y="4"/>
                  </a:lnTo>
                  <a:lnTo>
                    <a:pt x="23" y="5"/>
                  </a:lnTo>
                  <a:lnTo>
                    <a:pt x="23" y="9"/>
                  </a:lnTo>
                  <a:lnTo>
                    <a:pt x="23" y="12"/>
                  </a:lnTo>
                  <a:lnTo>
                    <a:pt x="23" y="21"/>
                  </a:lnTo>
                  <a:lnTo>
                    <a:pt x="22" y="25"/>
                  </a:lnTo>
                  <a:lnTo>
                    <a:pt x="19" y="30"/>
                  </a:lnTo>
                  <a:lnTo>
                    <a:pt x="17" y="33"/>
                  </a:lnTo>
                  <a:lnTo>
                    <a:pt x="17" y="34"/>
                  </a:lnTo>
                  <a:lnTo>
                    <a:pt x="17" y="40"/>
                  </a:lnTo>
                  <a:lnTo>
                    <a:pt x="13" y="45"/>
                  </a:lnTo>
                  <a:lnTo>
                    <a:pt x="7" y="50"/>
                  </a:lnTo>
                  <a:lnTo>
                    <a:pt x="2" y="55"/>
                  </a:lnTo>
                  <a:lnTo>
                    <a:pt x="1" y="57"/>
                  </a:lnTo>
                  <a:lnTo>
                    <a:pt x="0" y="62"/>
                  </a:lnTo>
                  <a:lnTo>
                    <a:pt x="0" y="66"/>
                  </a:lnTo>
                  <a:lnTo>
                    <a:pt x="1" y="71"/>
                  </a:lnTo>
                  <a:lnTo>
                    <a:pt x="3" y="75"/>
                  </a:lnTo>
                  <a:lnTo>
                    <a:pt x="7" y="81"/>
                  </a:lnTo>
                  <a:lnTo>
                    <a:pt x="8" y="85"/>
                  </a:lnTo>
                  <a:lnTo>
                    <a:pt x="9" y="90"/>
                  </a:lnTo>
                  <a:lnTo>
                    <a:pt x="9" y="98"/>
                  </a:lnTo>
                  <a:lnTo>
                    <a:pt x="6" y="104"/>
                  </a:lnTo>
                  <a:lnTo>
                    <a:pt x="5" y="110"/>
                  </a:lnTo>
                  <a:lnTo>
                    <a:pt x="5" y="117"/>
                  </a:lnTo>
                  <a:lnTo>
                    <a:pt x="4" y="120"/>
                  </a:lnTo>
                  <a:lnTo>
                    <a:pt x="2" y="122"/>
                  </a:lnTo>
                  <a:lnTo>
                    <a:pt x="3" y="126"/>
                  </a:lnTo>
                  <a:lnTo>
                    <a:pt x="7" y="133"/>
                  </a:lnTo>
                  <a:lnTo>
                    <a:pt x="11" y="145"/>
                  </a:lnTo>
                  <a:lnTo>
                    <a:pt x="15" y="153"/>
                  </a:lnTo>
                  <a:lnTo>
                    <a:pt x="17" y="156"/>
                  </a:lnTo>
                  <a:lnTo>
                    <a:pt x="17" y="161"/>
                  </a:lnTo>
                  <a:lnTo>
                    <a:pt x="16" y="164"/>
                  </a:lnTo>
                  <a:lnTo>
                    <a:pt x="14" y="166"/>
                  </a:lnTo>
                  <a:lnTo>
                    <a:pt x="14" y="169"/>
                  </a:lnTo>
                  <a:lnTo>
                    <a:pt x="18" y="169"/>
                  </a:lnTo>
                  <a:lnTo>
                    <a:pt x="20" y="172"/>
                  </a:lnTo>
                  <a:lnTo>
                    <a:pt x="23" y="176"/>
                  </a:lnTo>
                  <a:lnTo>
                    <a:pt x="24" y="178"/>
                  </a:lnTo>
                  <a:lnTo>
                    <a:pt x="27" y="179"/>
                  </a:lnTo>
                  <a:lnTo>
                    <a:pt x="29" y="175"/>
                  </a:lnTo>
                  <a:lnTo>
                    <a:pt x="29" y="170"/>
                  </a:lnTo>
                  <a:lnTo>
                    <a:pt x="34" y="169"/>
                  </a:lnTo>
                  <a:lnTo>
                    <a:pt x="37" y="172"/>
                  </a:lnTo>
                  <a:lnTo>
                    <a:pt x="44" y="172"/>
                  </a:lnTo>
                  <a:lnTo>
                    <a:pt x="48" y="176"/>
                  </a:lnTo>
                  <a:lnTo>
                    <a:pt x="51" y="177"/>
                  </a:lnTo>
                  <a:lnTo>
                    <a:pt x="53" y="178"/>
                  </a:lnTo>
                  <a:lnTo>
                    <a:pt x="51" y="180"/>
                  </a:lnTo>
                  <a:lnTo>
                    <a:pt x="49" y="179"/>
                  </a:lnTo>
                  <a:lnTo>
                    <a:pt x="45" y="177"/>
                  </a:lnTo>
                  <a:lnTo>
                    <a:pt x="44" y="177"/>
                  </a:lnTo>
                  <a:lnTo>
                    <a:pt x="40" y="176"/>
                  </a:lnTo>
                  <a:lnTo>
                    <a:pt x="38" y="175"/>
                  </a:lnTo>
                  <a:lnTo>
                    <a:pt x="35" y="174"/>
                  </a:lnTo>
                  <a:lnTo>
                    <a:pt x="33" y="175"/>
                  </a:lnTo>
                  <a:lnTo>
                    <a:pt x="33" y="177"/>
                  </a:lnTo>
                  <a:lnTo>
                    <a:pt x="33" y="184"/>
                  </a:lnTo>
                  <a:lnTo>
                    <a:pt x="35" y="187"/>
                  </a:lnTo>
                  <a:lnTo>
                    <a:pt x="34" y="194"/>
                  </a:lnTo>
                  <a:lnTo>
                    <a:pt x="33" y="194"/>
                  </a:lnTo>
                  <a:lnTo>
                    <a:pt x="30" y="192"/>
                  </a:lnTo>
                  <a:lnTo>
                    <a:pt x="29" y="190"/>
                  </a:lnTo>
                  <a:lnTo>
                    <a:pt x="29" y="186"/>
                  </a:lnTo>
                  <a:lnTo>
                    <a:pt x="29" y="185"/>
                  </a:lnTo>
                  <a:lnTo>
                    <a:pt x="28" y="184"/>
                  </a:lnTo>
                  <a:lnTo>
                    <a:pt x="25" y="183"/>
                  </a:lnTo>
                  <a:lnTo>
                    <a:pt x="24" y="187"/>
                  </a:lnTo>
                  <a:lnTo>
                    <a:pt x="23" y="189"/>
                  </a:lnTo>
                  <a:lnTo>
                    <a:pt x="23" y="195"/>
                  </a:lnTo>
                  <a:lnTo>
                    <a:pt x="23" y="204"/>
                  </a:lnTo>
                  <a:lnTo>
                    <a:pt x="23" y="209"/>
                  </a:lnTo>
                  <a:lnTo>
                    <a:pt x="26" y="214"/>
                  </a:lnTo>
                  <a:lnTo>
                    <a:pt x="30" y="217"/>
                  </a:lnTo>
                  <a:lnTo>
                    <a:pt x="34" y="220"/>
                  </a:lnTo>
                  <a:lnTo>
                    <a:pt x="35" y="225"/>
                  </a:lnTo>
                  <a:lnTo>
                    <a:pt x="35" y="229"/>
                  </a:lnTo>
                  <a:lnTo>
                    <a:pt x="34" y="233"/>
                  </a:lnTo>
                  <a:lnTo>
                    <a:pt x="31" y="234"/>
                  </a:lnTo>
                  <a:lnTo>
                    <a:pt x="28" y="234"/>
                  </a:lnTo>
                  <a:lnTo>
                    <a:pt x="28" y="244"/>
                  </a:lnTo>
                  <a:lnTo>
                    <a:pt x="29" y="247"/>
                  </a:lnTo>
                  <a:lnTo>
                    <a:pt x="34" y="255"/>
                  </a:lnTo>
                  <a:lnTo>
                    <a:pt x="35" y="261"/>
                  </a:lnTo>
                  <a:lnTo>
                    <a:pt x="40" y="268"/>
                  </a:lnTo>
                  <a:lnTo>
                    <a:pt x="42" y="275"/>
                  </a:lnTo>
                  <a:lnTo>
                    <a:pt x="45" y="280"/>
                  </a:lnTo>
                  <a:lnTo>
                    <a:pt x="48" y="287"/>
                  </a:lnTo>
                  <a:lnTo>
                    <a:pt x="50" y="288"/>
                  </a:lnTo>
                  <a:lnTo>
                    <a:pt x="50" y="293"/>
                  </a:lnTo>
                  <a:lnTo>
                    <a:pt x="50" y="296"/>
                  </a:lnTo>
                  <a:lnTo>
                    <a:pt x="50" y="298"/>
                  </a:lnTo>
                  <a:lnTo>
                    <a:pt x="52" y="300"/>
                  </a:lnTo>
                  <a:lnTo>
                    <a:pt x="53" y="303"/>
                  </a:lnTo>
                  <a:lnTo>
                    <a:pt x="53" y="307"/>
                  </a:lnTo>
                  <a:lnTo>
                    <a:pt x="52" y="316"/>
                  </a:lnTo>
                  <a:lnTo>
                    <a:pt x="51" y="322"/>
                  </a:lnTo>
                  <a:lnTo>
                    <a:pt x="50" y="327"/>
                  </a:lnTo>
                  <a:lnTo>
                    <a:pt x="59" y="332"/>
                  </a:lnTo>
                  <a:lnTo>
                    <a:pt x="67" y="335"/>
                  </a:lnTo>
                  <a:lnTo>
                    <a:pt x="73" y="339"/>
                  </a:lnTo>
                  <a:lnTo>
                    <a:pt x="82" y="342"/>
                  </a:lnTo>
                  <a:lnTo>
                    <a:pt x="85" y="345"/>
                  </a:lnTo>
                  <a:lnTo>
                    <a:pt x="91" y="355"/>
                  </a:lnTo>
                  <a:lnTo>
                    <a:pt x="99" y="362"/>
                  </a:lnTo>
                  <a:lnTo>
                    <a:pt x="111" y="365"/>
                  </a:lnTo>
                  <a:lnTo>
                    <a:pt x="112" y="374"/>
                  </a:lnTo>
                  <a:lnTo>
                    <a:pt x="114" y="378"/>
                  </a:lnTo>
                  <a:lnTo>
                    <a:pt x="121" y="380"/>
                  </a:lnTo>
                  <a:lnTo>
                    <a:pt x="128" y="388"/>
                  </a:lnTo>
                  <a:lnTo>
                    <a:pt x="136" y="400"/>
                  </a:lnTo>
                  <a:lnTo>
                    <a:pt x="140" y="405"/>
                  </a:lnTo>
                  <a:lnTo>
                    <a:pt x="143" y="414"/>
                  </a:lnTo>
                  <a:lnTo>
                    <a:pt x="140" y="422"/>
                  </a:lnTo>
                  <a:lnTo>
                    <a:pt x="140" y="427"/>
                  </a:lnTo>
                  <a:lnTo>
                    <a:pt x="143" y="434"/>
                  </a:lnTo>
                  <a:lnTo>
                    <a:pt x="147" y="435"/>
                  </a:lnTo>
                  <a:lnTo>
                    <a:pt x="225" y="445"/>
                  </a:lnTo>
                  <a:lnTo>
                    <a:pt x="226" y="444"/>
                  </a:lnTo>
                  <a:lnTo>
                    <a:pt x="233" y="441"/>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3" name="Freeform 32">
              <a:extLst>
                <a:ext uri="{FF2B5EF4-FFF2-40B4-BE49-F238E27FC236}">
                  <a16:creationId xmlns:a16="http://schemas.microsoft.com/office/drawing/2014/main" id="{C4E8AD0E-961F-507A-B229-74024BE364B2}"/>
                </a:ext>
              </a:extLst>
            </p:cNvPr>
            <p:cNvSpPr>
              <a:spLocks/>
            </p:cNvSpPr>
            <p:nvPr/>
          </p:nvSpPr>
          <p:spPr bwMode="auto">
            <a:xfrm>
              <a:off x="7478749" y="3413269"/>
              <a:ext cx="732610" cy="370662"/>
            </a:xfrm>
            <a:custGeom>
              <a:avLst/>
              <a:gdLst>
                <a:gd name="T0" fmla="*/ 0 w 332"/>
                <a:gd name="T1" fmla="*/ 25 h 178"/>
                <a:gd name="T2" fmla="*/ 0 w 332"/>
                <a:gd name="T3" fmla="*/ 28 h 178"/>
                <a:gd name="T4" fmla="*/ 0 w 332"/>
                <a:gd name="T5" fmla="*/ 25 h 178"/>
                <a:gd name="T6" fmla="*/ 118 w 332"/>
                <a:gd name="T7" fmla="*/ 32 h 178"/>
                <a:gd name="T8" fmla="*/ 113 w 332"/>
                <a:gd name="T9" fmla="*/ 123 h 178"/>
                <a:gd name="T10" fmla="*/ 121 w 332"/>
                <a:gd name="T11" fmla="*/ 131 h 178"/>
                <a:gd name="T12" fmla="*/ 124 w 332"/>
                <a:gd name="T13" fmla="*/ 134 h 178"/>
                <a:gd name="T14" fmla="*/ 127 w 332"/>
                <a:gd name="T15" fmla="*/ 134 h 178"/>
                <a:gd name="T16" fmla="*/ 131 w 332"/>
                <a:gd name="T17" fmla="*/ 133 h 178"/>
                <a:gd name="T18" fmla="*/ 134 w 332"/>
                <a:gd name="T19" fmla="*/ 134 h 178"/>
                <a:gd name="T20" fmla="*/ 137 w 332"/>
                <a:gd name="T21" fmla="*/ 133 h 178"/>
                <a:gd name="T22" fmla="*/ 141 w 332"/>
                <a:gd name="T23" fmla="*/ 135 h 178"/>
                <a:gd name="T24" fmla="*/ 144 w 332"/>
                <a:gd name="T25" fmla="*/ 144 h 178"/>
                <a:gd name="T26" fmla="*/ 153 w 332"/>
                <a:gd name="T27" fmla="*/ 144 h 178"/>
                <a:gd name="T28" fmla="*/ 160 w 332"/>
                <a:gd name="T29" fmla="*/ 148 h 178"/>
                <a:gd name="T30" fmla="*/ 166 w 332"/>
                <a:gd name="T31" fmla="*/ 147 h 178"/>
                <a:gd name="T32" fmla="*/ 167 w 332"/>
                <a:gd name="T33" fmla="*/ 147 h 178"/>
                <a:gd name="T34" fmla="*/ 171 w 332"/>
                <a:gd name="T35" fmla="*/ 151 h 178"/>
                <a:gd name="T36" fmla="*/ 175 w 332"/>
                <a:gd name="T37" fmla="*/ 148 h 178"/>
                <a:gd name="T38" fmla="*/ 184 w 332"/>
                <a:gd name="T39" fmla="*/ 149 h 178"/>
                <a:gd name="T40" fmla="*/ 188 w 332"/>
                <a:gd name="T41" fmla="*/ 156 h 178"/>
                <a:gd name="T42" fmla="*/ 191 w 332"/>
                <a:gd name="T43" fmla="*/ 156 h 178"/>
                <a:gd name="T44" fmla="*/ 192 w 332"/>
                <a:gd name="T45" fmla="*/ 162 h 178"/>
                <a:gd name="T46" fmla="*/ 196 w 332"/>
                <a:gd name="T47" fmla="*/ 163 h 178"/>
                <a:gd name="T48" fmla="*/ 200 w 332"/>
                <a:gd name="T49" fmla="*/ 160 h 178"/>
                <a:gd name="T50" fmla="*/ 202 w 332"/>
                <a:gd name="T51" fmla="*/ 157 h 178"/>
                <a:gd name="T52" fmla="*/ 204 w 332"/>
                <a:gd name="T53" fmla="*/ 157 h 178"/>
                <a:gd name="T54" fmla="*/ 211 w 332"/>
                <a:gd name="T55" fmla="*/ 162 h 178"/>
                <a:gd name="T56" fmla="*/ 213 w 332"/>
                <a:gd name="T57" fmla="*/ 166 h 178"/>
                <a:gd name="T58" fmla="*/ 220 w 332"/>
                <a:gd name="T59" fmla="*/ 162 h 178"/>
                <a:gd name="T60" fmla="*/ 222 w 332"/>
                <a:gd name="T61" fmla="*/ 164 h 178"/>
                <a:gd name="T62" fmla="*/ 223 w 332"/>
                <a:gd name="T63" fmla="*/ 170 h 178"/>
                <a:gd name="T64" fmla="*/ 225 w 332"/>
                <a:gd name="T65" fmla="*/ 169 h 178"/>
                <a:gd name="T66" fmla="*/ 228 w 332"/>
                <a:gd name="T67" fmla="*/ 164 h 178"/>
                <a:gd name="T68" fmla="*/ 233 w 332"/>
                <a:gd name="T69" fmla="*/ 163 h 178"/>
                <a:gd name="T70" fmla="*/ 239 w 332"/>
                <a:gd name="T71" fmla="*/ 166 h 178"/>
                <a:gd name="T72" fmla="*/ 248 w 332"/>
                <a:gd name="T73" fmla="*/ 165 h 178"/>
                <a:gd name="T74" fmla="*/ 252 w 332"/>
                <a:gd name="T75" fmla="*/ 169 h 178"/>
                <a:gd name="T76" fmla="*/ 254 w 332"/>
                <a:gd name="T77" fmla="*/ 172 h 178"/>
                <a:gd name="T78" fmla="*/ 259 w 332"/>
                <a:gd name="T79" fmla="*/ 171 h 178"/>
                <a:gd name="T80" fmla="*/ 264 w 332"/>
                <a:gd name="T81" fmla="*/ 167 h 178"/>
                <a:gd name="T82" fmla="*/ 267 w 332"/>
                <a:gd name="T83" fmla="*/ 164 h 178"/>
                <a:gd name="T84" fmla="*/ 271 w 332"/>
                <a:gd name="T85" fmla="*/ 164 h 178"/>
                <a:gd name="T86" fmla="*/ 275 w 332"/>
                <a:gd name="T87" fmla="*/ 166 h 178"/>
                <a:gd name="T88" fmla="*/ 278 w 332"/>
                <a:gd name="T89" fmla="*/ 165 h 178"/>
                <a:gd name="T90" fmla="*/ 282 w 332"/>
                <a:gd name="T91" fmla="*/ 162 h 178"/>
                <a:gd name="T92" fmla="*/ 288 w 332"/>
                <a:gd name="T93" fmla="*/ 163 h 178"/>
                <a:gd name="T94" fmla="*/ 291 w 332"/>
                <a:gd name="T95" fmla="*/ 164 h 178"/>
                <a:gd name="T96" fmla="*/ 300 w 332"/>
                <a:gd name="T97" fmla="*/ 161 h 178"/>
                <a:gd name="T98" fmla="*/ 306 w 332"/>
                <a:gd name="T99" fmla="*/ 163 h 178"/>
                <a:gd name="T100" fmla="*/ 311 w 332"/>
                <a:gd name="T101" fmla="*/ 168 h 178"/>
                <a:gd name="T102" fmla="*/ 318 w 332"/>
                <a:gd name="T103" fmla="*/ 173 h 178"/>
                <a:gd name="T104" fmla="*/ 324 w 332"/>
                <a:gd name="T105" fmla="*/ 173 h 178"/>
                <a:gd name="T106" fmla="*/ 328 w 332"/>
                <a:gd name="T107" fmla="*/ 176 h 178"/>
                <a:gd name="T108" fmla="*/ 331 w 332"/>
                <a:gd name="T109" fmla="*/ 178 h 178"/>
                <a:gd name="T110" fmla="*/ 332 w 332"/>
                <a:gd name="T111" fmla="*/ 88 h 178"/>
                <a:gd name="T112" fmla="*/ 324 w 332"/>
                <a:gd name="T113" fmla="*/ 37 h 178"/>
                <a:gd name="T114" fmla="*/ 324 w 332"/>
                <a:gd name="T115" fmla="*/ 12 h 178"/>
                <a:gd name="T116" fmla="*/ 175 w 332"/>
                <a:gd name="T117" fmla="*/ 9 h 178"/>
                <a:gd name="T118" fmla="*/ 4 w 332"/>
                <a:gd name="T119" fmla="*/ 0 h 178"/>
                <a:gd name="T120" fmla="*/ 3 w 332"/>
                <a:gd name="T121" fmla="*/ 25 h 178"/>
                <a:gd name="T122" fmla="*/ 0 w 332"/>
                <a:gd name="T123" fmla="*/ 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178">
                  <a:moveTo>
                    <a:pt x="0" y="25"/>
                  </a:moveTo>
                  <a:cubicBezTo>
                    <a:pt x="0" y="28"/>
                    <a:pt x="0" y="28"/>
                    <a:pt x="0" y="28"/>
                  </a:cubicBezTo>
                  <a:cubicBezTo>
                    <a:pt x="0" y="25"/>
                    <a:pt x="0" y="25"/>
                    <a:pt x="0" y="25"/>
                  </a:cubicBezTo>
                  <a:cubicBezTo>
                    <a:pt x="118" y="32"/>
                    <a:pt x="118" y="32"/>
                    <a:pt x="118" y="32"/>
                  </a:cubicBezTo>
                  <a:cubicBezTo>
                    <a:pt x="113" y="123"/>
                    <a:pt x="113" y="123"/>
                    <a:pt x="113" y="123"/>
                  </a:cubicBezTo>
                  <a:cubicBezTo>
                    <a:pt x="121" y="131"/>
                    <a:pt x="121" y="131"/>
                    <a:pt x="121" y="131"/>
                  </a:cubicBezTo>
                  <a:cubicBezTo>
                    <a:pt x="124" y="134"/>
                    <a:pt x="124" y="134"/>
                    <a:pt x="124" y="134"/>
                  </a:cubicBezTo>
                  <a:cubicBezTo>
                    <a:pt x="127" y="134"/>
                    <a:pt x="127" y="134"/>
                    <a:pt x="127" y="134"/>
                  </a:cubicBezTo>
                  <a:cubicBezTo>
                    <a:pt x="131" y="133"/>
                    <a:pt x="131" y="133"/>
                    <a:pt x="131" y="133"/>
                  </a:cubicBezTo>
                  <a:cubicBezTo>
                    <a:pt x="134" y="134"/>
                    <a:pt x="134" y="134"/>
                    <a:pt x="134" y="134"/>
                  </a:cubicBezTo>
                  <a:cubicBezTo>
                    <a:pt x="137" y="133"/>
                    <a:pt x="137" y="133"/>
                    <a:pt x="137" y="133"/>
                  </a:cubicBezTo>
                  <a:cubicBezTo>
                    <a:pt x="141" y="135"/>
                    <a:pt x="141" y="135"/>
                    <a:pt x="141" y="135"/>
                  </a:cubicBezTo>
                  <a:cubicBezTo>
                    <a:pt x="144" y="144"/>
                    <a:pt x="144" y="144"/>
                    <a:pt x="144" y="144"/>
                  </a:cubicBezTo>
                  <a:cubicBezTo>
                    <a:pt x="153" y="144"/>
                    <a:pt x="153" y="144"/>
                    <a:pt x="153" y="144"/>
                  </a:cubicBezTo>
                  <a:cubicBezTo>
                    <a:pt x="160" y="148"/>
                    <a:pt x="160" y="148"/>
                    <a:pt x="160" y="148"/>
                  </a:cubicBezTo>
                  <a:cubicBezTo>
                    <a:pt x="166" y="147"/>
                    <a:pt x="166" y="147"/>
                    <a:pt x="166" y="147"/>
                  </a:cubicBezTo>
                  <a:cubicBezTo>
                    <a:pt x="167" y="147"/>
                    <a:pt x="167" y="147"/>
                    <a:pt x="167" y="147"/>
                  </a:cubicBezTo>
                  <a:cubicBezTo>
                    <a:pt x="171" y="151"/>
                    <a:pt x="171" y="151"/>
                    <a:pt x="171" y="151"/>
                  </a:cubicBezTo>
                  <a:cubicBezTo>
                    <a:pt x="175" y="148"/>
                    <a:pt x="175" y="148"/>
                    <a:pt x="175" y="148"/>
                  </a:cubicBezTo>
                  <a:cubicBezTo>
                    <a:pt x="184" y="149"/>
                    <a:pt x="184" y="149"/>
                    <a:pt x="184" y="149"/>
                  </a:cubicBezTo>
                  <a:cubicBezTo>
                    <a:pt x="188" y="156"/>
                    <a:pt x="188" y="156"/>
                    <a:pt x="188" y="156"/>
                  </a:cubicBezTo>
                  <a:cubicBezTo>
                    <a:pt x="191" y="156"/>
                    <a:pt x="191" y="156"/>
                    <a:pt x="191" y="156"/>
                  </a:cubicBezTo>
                  <a:cubicBezTo>
                    <a:pt x="192" y="162"/>
                    <a:pt x="192" y="162"/>
                    <a:pt x="192" y="162"/>
                  </a:cubicBezTo>
                  <a:cubicBezTo>
                    <a:pt x="196" y="163"/>
                    <a:pt x="196" y="163"/>
                    <a:pt x="196" y="163"/>
                  </a:cubicBezTo>
                  <a:cubicBezTo>
                    <a:pt x="200" y="160"/>
                    <a:pt x="200" y="160"/>
                    <a:pt x="200" y="160"/>
                  </a:cubicBezTo>
                  <a:cubicBezTo>
                    <a:pt x="202" y="157"/>
                    <a:pt x="202" y="157"/>
                    <a:pt x="202" y="157"/>
                  </a:cubicBezTo>
                  <a:cubicBezTo>
                    <a:pt x="204" y="157"/>
                    <a:pt x="204" y="157"/>
                    <a:pt x="204" y="157"/>
                  </a:cubicBezTo>
                  <a:cubicBezTo>
                    <a:pt x="211" y="162"/>
                    <a:pt x="211" y="162"/>
                    <a:pt x="211" y="162"/>
                  </a:cubicBezTo>
                  <a:cubicBezTo>
                    <a:pt x="213" y="166"/>
                    <a:pt x="213" y="166"/>
                    <a:pt x="213" y="166"/>
                  </a:cubicBezTo>
                  <a:cubicBezTo>
                    <a:pt x="220" y="162"/>
                    <a:pt x="220" y="162"/>
                    <a:pt x="220" y="162"/>
                  </a:cubicBezTo>
                  <a:cubicBezTo>
                    <a:pt x="222" y="164"/>
                    <a:pt x="222" y="164"/>
                    <a:pt x="222" y="164"/>
                  </a:cubicBezTo>
                  <a:cubicBezTo>
                    <a:pt x="223" y="170"/>
                    <a:pt x="223" y="170"/>
                    <a:pt x="223" y="170"/>
                  </a:cubicBezTo>
                  <a:cubicBezTo>
                    <a:pt x="225" y="169"/>
                    <a:pt x="225" y="169"/>
                    <a:pt x="225" y="169"/>
                  </a:cubicBezTo>
                  <a:cubicBezTo>
                    <a:pt x="228" y="164"/>
                    <a:pt x="228" y="164"/>
                    <a:pt x="228" y="164"/>
                  </a:cubicBezTo>
                  <a:cubicBezTo>
                    <a:pt x="233" y="163"/>
                    <a:pt x="233" y="163"/>
                    <a:pt x="233" y="163"/>
                  </a:cubicBezTo>
                  <a:cubicBezTo>
                    <a:pt x="239" y="166"/>
                    <a:pt x="239" y="166"/>
                    <a:pt x="239" y="166"/>
                  </a:cubicBezTo>
                  <a:cubicBezTo>
                    <a:pt x="248" y="165"/>
                    <a:pt x="248" y="165"/>
                    <a:pt x="248" y="165"/>
                  </a:cubicBezTo>
                  <a:cubicBezTo>
                    <a:pt x="252" y="169"/>
                    <a:pt x="252" y="169"/>
                    <a:pt x="252" y="169"/>
                  </a:cubicBezTo>
                  <a:cubicBezTo>
                    <a:pt x="254" y="172"/>
                    <a:pt x="254" y="172"/>
                    <a:pt x="254" y="172"/>
                  </a:cubicBezTo>
                  <a:cubicBezTo>
                    <a:pt x="259" y="171"/>
                    <a:pt x="259" y="171"/>
                    <a:pt x="259" y="171"/>
                  </a:cubicBezTo>
                  <a:cubicBezTo>
                    <a:pt x="264" y="167"/>
                    <a:pt x="264" y="167"/>
                    <a:pt x="264" y="167"/>
                  </a:cubicBezTo>
                  <a:cubicBezTo>
                    <a:pt x="267" y="164"/>
                    <a:pt x="267" y="164"/>
                    <a:pt x="267" y="164"/>
                  </a:cubicBezTo>
                  <a:cubicBezTo>
                    <a:pt x="271" y="164"/>
                    <a:pt x="271" y="164"/>
                    <a:pt x="271" y="164"/>
                  </a:cubicBezTo>
                  <a:cubicBezTo>
                    <a:pt x="275" y="166"/>
                    <a:pt x="275" y="166"/>
                    <a:pt x="275" y="166"/>
                  </a:cubicBezTo>
                  <a:cubicBezTo>
                    <a:pt x="278" y="165"/>
                    <a:pt x="278" y="165"/>
                    <a:pt x="278" y="165"/>
                  </a:cubicBezTo>
                  <a:cubicBezTo>
                    <a:pt x="282" y="162"/>
                    <a:pt x="282" y="162"/>
                    <a:pt x="282" y="162"/>
                  </a:cubicBezTo>
                  <a:cubicBezTo>
                    <a:pt x="288" y="163"/>
                    <a:pt x="288" y="163"/>
                    <a:pt x="288" y="163"/>
                  </a:cubicBezTo>
                  <a:cubicBezTo>
                    <a:pt x="291" y="164"/>
                    <a:pt x="291" y="164"/>
                    <a:pt x="291" y="164"/>
                  </a:cubicBezTo>
                  <a:cubicBezTo>
                    <a:pt x="300" y="161"/>
                    <a:pt x="300" y="161"/>
                    <a:pt x="300" y="161"/>
                  </a:cubicBezTo>
                  <a:cubicBezTo>
                    <a:pt x="306" y="163"/>
                    <a:pt x="306" y="163"/>
                    <a:pt x="306" y="163"/>
                  </a:cubicBezTo>
                  <a:cubicBezTo>
                    <a:pt x="311" y="168"/>
                    <a:pt x="311" y="168"/>
                    <a:pt x="311" y="168"/>
                  </a:cubicBezTo>
                  <a:cubicBezTo>
                    <a:pt x="318" y="173"/>
                    <a:pt x="318" y="173"/>
                    <a:pt x="318" y="173"/>
                  </a:cubicBezTo>
                  <a:cubicBezTo>
                    <a:pt x="324" y="173"/>
                    <a:pt x="324" y="173"/>
                    <a:pt x="324" y="173"/>
                  </a:cubicBezTo>
                  <a:cubicBezTo>
                    <a:pt x="328" y="176"/>
                    <a:pt x="328" y="176"/>
                    <a:pt x="328" y="176"/>
                  </a:cubicBezTo>
                  <a:cubicBezTo>
                    <a:pt x="331" y="178"/>
                    <a:pt x="331" y="178"/>
                    <a:pt x="331" y="178"/>
                  </a:cubicBezTo>
                  <a:cubicBezTo>
                    <a:pt x="332" y="88"/>
                    <a:pt x="332" y="88"/>
                    <a:pt x="332" y="88"/>
                  </a:cubicBezTo>
                  <a:cubicBezTo>
                    <a:pt x="324" y="37"/>
                    <a:pt x="324" y="37"/>
                    <a:pt x="324" y="37"/>
                  </a:cubicBezTo>
                  <a:cubicBezTo>
                    <a:pt x="324" y="12"/>
                    <a:pt x="324" y="12"/>
                    <a:pt x="324" y="12"/>
                  </a:cubicBezTo>
                  <a:cubicBezTo>
                    <a:pt x="324" y="12"/>
                    <a:pt x="211" y="10"/>
                    <a:pt x="175" y="9"/>
                  </a:cubicBezTo>
                  <a:cubicBezTo>
                    <a:pt x="131" y="7"/>
                    <a:pt x="4" y="0"/>
                    <a:pt x="4" y="0"/>
                  </a:cubicBezTo>
                  <a:cubicBezTo>
                    <a:pt x="3" y="25"/>
                    <a:pt x="3" y="25"/>
                    <a:pt x="3" y="25"/>
                  </a:cubicBezTo>
                  <a:lnTo>
                    <a:pt x="0" y="25"/>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4" name="Freeform 33">
              <a:extLst>
                <a:ext uri="{FF2B5EF4-FFF2-40B4-BE49-F238E27FC236}">
                  <a16:creationId xmlns:a16="http://schemas.microsoft.com/office/drawing/2014/main" id="{3DDB5327-6924-B3B7-A9D3-A7F64296C401}"/>
                </a:ext>
              </a:extLst>
            </p:cNvPr>
            <p:cNvSpPr>
              <a:spLocks/>
            </p:cNvSpPr>
            <p:nvPr/>
          </p:nvSpPr>
          <p:spPr bwMode="auto">
            <a:xfrm>
              <a:off x="7572607" y="3113795"/>
              <a:ext cx="620502" cy="324022"/>
            </a:xfrm>
            <a:custGeom>
              <a:avLst/>
              <a:gdLst>
                <a:gd name="T0" fmla="*/ 282 w 282"/>
                <a:gd name="T1" fmla="*/ 156 h 156"/>
                <a:gd name="T2" fmla="*/ 282 w 282"/>
                <a:gd name="T3" fmla="*/ 52 h 156"/>
                <a:gd name="T4" fmla="*/ 276 w 282"/>
                <a:gd name="T5" fmla="*/ 49 h 156"/>
                <a:gd name="T6" fmla="*/ 273 w 282"/>
                <a:gd name="T7" fmla="*/ 47 h 156"/>
                <a:gd name="T8" fmla="*/ 271 w 282"/>
                <a:gd name="T9" fmla="*/ 41 h 156"/>
                <a:gd name="T10" fmla="*/ 265 w 282"/>
                <a:gd name="T11" fmla="*/ 35 h 156"/>
                <a:gd name="T12" fmla="*/ 268 w 282"/>
                <a:gd name="T13" fmla="*/ 30 h 156"/>
                <a:gd name="T14" fmla="*/ 271 w 282"/>
                <a:gd name="T15" fmla="*/ 24 h 156"/>
                <a:gd name="T16" fmla="*/ 271 w 282"/>
                <a:gd name="T17" fmla="*/ 19 h 156"/>
                <a:gd name="T18" fmla="*/ 269 w 282"/>
                <a:gd name="T19" fmla="*/ 19 h 156"/>
                <a:gd name="T20" fmla="*/ 260 w 282"/>
                <a:gd name="T21" fmla="*/ 19 h 156"/>
                <a:gd name="T22" fmla="*/ 258 w 282"/>
                <a:gd name="T23" fmla="*/ 15 h 156"/>
                <a:gd name="T24" fmla="*/ 254 w 282"/>
                <a:gd name="T25" fmla="*/ 9 h 156"/>
                <a:gd name="T26" fmla="*/ 165 w 282"/>
                <a:gd name="T27" fmla="*/ 6 h 156"/>
                <a:gd name="T28" fmla="*/ 10 w 282"/>
                <a:gd name="T29" fmla="*/ 0 h 156"/>
                <a:gd name="T30" fmla="*/ 0 w 282"/>
                <a:gd name="T31" fmla="*/ 146 h 156"/>
                <a:gd name="T32" fmla="*/ 133 w 282"/>
                <a:gd name="T33" fmla="*/ 153 h 156"/>
                <a:gd name="T34" fmla="*/ 282 w 282"/>
                <a:gd name="T3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156">
                  <a:moveTo>
                    <a:pt x="282" y="156"/>
                  </a:moveTo>
                  <a:cubicBezTo>
                    <a:pt x="282" y="52"/>
                    <a:pt x="282" y="52"/>
                    <a:pt x="282" y="52"/>
                  </a:cubicBezTo>
                  <a:cubicBezTo>
                    <a:pt x="276" y="49"/>
                    <a:pt x="276" y="49"/>
                    <a:pt x="276" y="49"/>
                  </a:cubicBezTo>
                  <a:cubicBezTo>
                    <a:pt x="273" y="47"/>
                    <a:pt x="273" y="47"/>
                    <a:pt x="273" y="47"/>
                  </a:cubicBezTo>
                  <a:cubicBezTo>
                    <a:pt x="271" y="41"/>
                    <a:pt x="271" y="41"/>
                    <a:pt x="271" y="41"/>
                  </a:cubicBezTo>
                  <a:cubicBezTo>
                    <a:pt x="265" y="35"/>
                    <a:pt x="265" y="35"/>
                    <a:pt x="265" y="35"/>
                  </a:cubicBezTo>
                  <a:cubicBezTo>
                    <a:pt x="268" y="30"/>
                    <a:pt x="268" y="30"/>
                    <a:pt x="268" y="30"/>
                  </a:cubicBezTo>
                  <a:cubicBezTo>
                    <a:pt x="271" y="24"/>
                    <a:pt x="271" y="24"/>
                    <a:pt x="271" y="24"/>
                  </a:cubicBezTo>
                  <a:cubicBezTo>
                    <a:pt x="271" y="19"/>
                    <a:pt x="271" y="19"/>
                    <a:pt x="271" y="19"/>
                  </a:cubicBezTo>
                  <a:cubicBezTo>
                    <a:pt x="269" y="19"/>
                    <a:pt x="269" y="19"/>
                    <a:pt x="269" y="19"/>
                  </a:cubicBezTo>
                  <a:cubicBezTo>
                    <a:pt x="260" y="19"/>
                    <a:pt x="260" y="19"/>
                    <a:pt x="260" y="19"/>
                  </a:cubicBezTo>
                  <a:cubicBezTo>
                    <a:pt x="258" y="15"/>
                    <a:pt x="258" y="15"/>
                    <a:pt x="258" y="15"/>
                  </a:cubicBezTo>
                  <a:cubicBezTo>
                    <a:pt x="254" y="9"/>
                    <a:pt x="254" y="9"/>
                    <a:pt x="254" y="9"/>
                  </a:cubicBezTo>
                  <a:cubicBezTo>
                    <a:pt x="254" y="9"/>
                    <a:pt x="187" y="7"/>
                    <a:pt x="165" y="6"/>
                  </a:cubicBezTo>
                  <a:cubicBezTo>
                    <a:pt x="126" y="5"/>
                    <a:pt x="10" y="0"/>
                    <a:pt x="10" y="0"/>
                  </a:cubicBezTo>
                  <a:cubicBezTo>
                    <a:pt x="0" y="146"/>
                    <a:pt x="0" y="146"/>
                    <a:pt x="0" y="146"/>
                  </a:cubicBezTo>
                  <a:cubicBezTo>
                    <a:pt x="41" y="148"/>
                    <a:pt x="104" y="151"/>
                    <a:pt x="133" y="153"/>
                  </a:cubicBezTo>
                  <a:cubicBezTo>
                    <a:pt x="169" y="154"/>
                    <a:pt x="282" y="156"/>
                    <a:pt x="282" y="156"/>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5" name="Freeform 34">
              <a:extLst>
                <a:ext uri="{FF2B5EF4-FFF2-40B4-BE49-F238E27FC236}">
                  <a16:creationId xmlns:a16="http://schemas.microsoft.com/office/drawing/2014/main" id="{ECAF25FC-66DC-9D1F-9485-57D3F3F55A3C}"/>
                </a:ext>
              </a:extLst>
            </p:cNvPr>
            <p:cNvSpPr>
              <a:spLocks/>
            </p:cNvSpPr>
            <p:nvPr/>
          </p:nvSpPr>
          <p:spPr bwMode="auto">
            <a:xfrm>
              <a:off x="7442249" y="2804502"/>
              <a:ext cx="690896" cy="328931"/>
            </a:xfrm>
            <a:custGeom>
              <a:avLst/>
              <a:gdLst>
                <a:gd name="T0" fmla="*/ 313 w 313"/>
                <a:gd name="T1" fmla="*/ 158 h 158"/>
                <a:gd name="T2" fmla="*/ 313 w 313"/>
                <a:gd name="T3" fmla="*/ 158 h 158"/>
                <a:gd name="T4" fmla="*/ 313 w 313"/>
                <a:gd name="T5" fmla="*/ 158 h 158"/>
                <a:gd name="T6" fmla="*/ 311 w 313"/>
                <a:gd name="T7" fmla="*/ 154 h 158"/>
                <a:gd name="T8" fmla="*/ 310 w 313"/>
                <a:gd name="T9" fmla="*/ 148 h 158"/>
                <a:gd name="T10" fmla="*/ 304 w 313"/>
                <a:gd name="T11" fmla="*/ 146 h 158"/>
                <a:gd name="T12" fmla="*/ 304 w 313"/>
                <a:gd name="T13" fmla="*/ 145 h 158"/>
                <a:gd name="T14" fmla="*/ 302 w 313"/>
                <a:gd name="T15" fmla="*/ 142 h 158"/>
                <a:gd name="T16" fmla="*/ 304 w 313"/>
                <a:gd name="T17" fmla="*/ 140 h 158"/>
                <a:gd name="T18" fmla="*/ 303 w 313"/>
                <a:gd name="T19" fmla="*/ 135 h 158"/>
                <a:gd name="T20" fmla="*/ 300 w 313"/>
                <a:gd name="T21" fmla="*/ 133 h 158"/>
                <a:gd name="T22" fmla="*/ 299 w 313"/>
                <a:gd name="T23" fmla="*/ 130 h 158"/>
                <a:gd name="T24" fmla="*/ 297 w 313"/>
                <a:gd name="T25" fmla="*/ 123 h 158"/>
                <a:gd name="T26" fmla="*/ 297 w 313"/>
                <a:gd name="T27" fmla="*/ 113 h 158"/>
                <a:gd name="T28" fmla="*/ 296 w 313"/>
                <a:gd name="T29" fmla="*/ 111 h 158"/>
                <a:gd name="T30" fmla="*/ 294 w 313"/>
                <a:gd name="T31" fmla="*/ 108 h 158"/>
                <a:gd name="T32" fmla="*/ 295 w 313"/>
                <a:gd name="T33" fmla="*/ 104 h 158"/>
                <a:gd name="T34" fmla="*/ 295 w 313"/>
                <a:gd name="T35" fmla="*/ 94 h 158"/>
                <a:gd name="T36" fmla="*/ 293 w 313"/>
                <a:gd name="T37" fmla="*/ 87 h 158"/>
                <a:gd name="T38" fmla="*/ 291 w 313"/>
                <a:gd name="T39" fmla="*/ 85 h 158"/>
                <a:gd name="T40" fmla="*/ 289 w 313"/>
                <a:gd name="T41" fmla="*/ 85 h 158"/>
                <a:gd name="T42" fmla="*/ 288 w 313"/>
                <a:gd name="T43" fmla="*/ 83 h 158"/>
                <a:gd name="T44" fmla="*/ 287 w 313"/>
                <a:gd name="T45" fmla="*/ 78 h 158"/>
                <a:gd name="T46" fmla="*/ 286 w 313"/>
                <a:gd name="T47" fmla="*/ 74 h 158"/>
                <a:gd name="T48" fmla="*/ 289 w 313"/>
                <a:gd name="T49" fmla="*/ 73 h 158"/>
                <a:gd name="T50" fmla="*/ 289 w 313"/>
                <a:gd name="T51" fmla="*/ 72 h 158"/>
                <a:gd name="T52" fmla="*/ 288 w 313"/>
                <a:gd name="T53" fmla="*/ 71 h 158"/>
                <a:gd name="T54" fmla="*/ 287 w 313"/>
                <a:gd name="T55" fmla="*/ 68 h 158"/>
                <a:gd name="T56" fmla="*/ 285 w 313"/>
                <a:gd name="T57" fmla="*/ 65 h 158"/>
                <a:gd name="T58" fmla="*/ 283 w 313"/>
                <a:gd name="T59" fmla="*/ 60 h 158"/>
                <a:gd name="T60" fmla="*/ 281 w 313"/>
                <a:gd name="T61" fmla="*/ 54 h 158"/>
                <a:gd name="T62" fmla="*/ 278 w 313"/>
                <a:gd name="T63" fmla="*/ 49 h 158"/>
                <a:gd name="T64" fmla="*/ 275 w 313"/>
                <a:gd name="T65" fmla="*/ 40 h 158"/>
                <a:gd name="T66" fmla="*/ 272 w 313"/>
                <a:gd name="T67" fmla="*/ 36 h 158"/>
                <a:gd name="T68" fmla="*/ 271 w 313"/>
                <a:gd name="T69" fmla="*/ 35 h 158"/>
                <a:gd name="T70" fmla="*/ 267 w 313"/>
                <a:gd name="T71" fmla="*/ 32 h 158"/>
                <a:gd name="T72" fmla="*/ 260 w 313"/>
                <a:gd name="T73" fmla="*/ 27 h 158"/>
                <a:gd name="T74" fmla="*/ 255 w 313"/>
                <a:gd name="T75" fmla="*/ 25 h 158"/>
                <a:gd name="T76" fmla="*/ 250 w 313"/>
                <a:gd name="T77" fmla="*/ 23 h 158"/>
                <a:gd name="T78" fmla="*/ 246 w 313"/>
                <a:gd name="T79" fmla="*/ 19 h 158"/>
                <a:gd name="T80" fmla="*/ 239 w 313"/>
                <a:gd name="T81" fmla="*/ 18 h 158"/>
                <a:gd name="T82" fmla="*/ 230 w 313"/>
                <a:gd name="T83" fmla="*/ 19 h 158"/>
                <a:gd name="T84" fmla="*/ 227 w 313"/>
                <a:gd name="T85" fmla="*/ 19 h 158"/>
                <a:gd name="T86" fmla="*/ 224 w 313"/>
                <a:gd name="T87" fmla="*/ 20 h 158"/>
                <a:gd name="T88" fmla="*/ 222 w 313"/>
                <a:gd name="T89" fmla="*/ 22 h 158"/>
                <a:gd name="T90" fmla="*/ 219 w 313"/>
                <a:gd name="T91" fmla="*/ 21 h 158"/>
                <a:gd name="T92" fmla="*/ 216 w 313"/>
                <a:gd name="T93" fmla="*/ 19 h 158"/>
                <a:gd name="T94" fmla="*/ 210 w 313"/>
                <a:gd name="T95" fmla="*/ 16 h 158"/>
                <a:gd name="T96" fmla="*/ 202 w 313"/>
                <a:gd name="T97" fmla="*/ 12 h 158"/>
                <a:gd name="T98" fmla="*/ 10 w 313"/>
                <a:gd name="T99" fmla="*/ 0 h 158"/>
                <a:gd name="T100" fmla="*/ 0 w 313"/>
                <a:gd name="T101" fmla="*/ 95 h 158"/>
                <a:gd name="T102" fmla="*/ 73 w 313"/>
                <a:gd name="T103" fmla="*/ 102 h 158"/>
                <a:gd name="T104" fmla="*/ 69 w 313"/>
                <a:gd name="T105" fmla="*/ 149 h 158"/>
                <a:gd name="T106" fmla="*/ 69 w 313"/>
                <a:gd name="T107" fmla="*/ 149 h 158"/>
                <a:gd name="T108" fmla="*/ 224 w 313"/>
                <a:gd name="T109" fmla="*/ 155 h 158"/>
                <a:gd name="T110" fmla="*/ 313 w 313"/>
                <a:gd name="T11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158">
                  <a:moveTo>
                    <a:pt x="313" y="158"/>
                  </a:moveTo>
                  <a:cubicBezTo>
                    <a:pt x="313" y="158"/>
                    <a:pt x="313" y="158"/>
                    <a:pt x="313" y="158"/>
                  </a:cubicBezTo>
                  <a:cubicBezTo>
                    <a:pt x="313" y="158"/>
                    <a:pt x="313" y="158"/>
                    <a:pt x="313" y="158"/>
                  </a:cubicBezTo>
                  <a:cubicBezTo>
                    <a:pt x="311" y="154"/>
                    <a:pt x="311" y="154"/>
                    <a:pt x="311" y="154"/>
                  </a:cubicBezTo>
                  <a:cubicBezTo>
                    <a:pt x="310" y="148"/>
                    <a:pt x="310" y="148"/>
                    <a:pt x="310" y="148"/>
                  </a:cubicBezTo>
                  <a:cubicBezTo>
                    <a:pt x="310" y="148"/>
                    <a:pt x="305" y="147"/>
                    <a:pt x="304" y="146"/>
                  </a:cubicBezTo>
                  <a:cubicBezTo>
                    <a:pt x="303" y="145"/>
                    <a:pt x="304" y="145"/>
                    <a:pt x="304" y="145"/>
                  </a:cubicBezTo>
                  <a:cubicBezTo>
                    <a:pt x="302" y="142"/>
                    <a:pt x="302" y="142"/>
                    <a:pt x="302" y="142"/>
                  </a:cubicBezTo>
                  <a:cubicBezTo>
                    <a:pt x="304" y="140"/>
                    <a:pt x="304" y="140"/>
                    <a:pt x="304" y="140"/>
                  </a:cubicBezTo>
                  <a:cubicBezTo>
                    <a:pt x="303" y="135"/>
                    <a:pt x="303" y="135"/>
                    <a:pt x="303" y="135"/>
                  </a:cubicBezTo>
                  <a:cubicBezTo>
                    <a:pt x="300" y="133"/>
                    <a:pt x="300" y="133"/>
                    <a:pt x="300" y="133"/>
                  </a:cubicBezTo>
                  <a:cubicBezTo>
                    <a:pt x="299" y="130"/>
                    <a:pt x="299" y="130"/>
                    <a:pt x="299" y="130"/>
                  </a:cubicBezTo>
                  <a:cubicBezTo>
                    <a:pt x="297" y="123"/>
                    <a:pt x="297" y="123"/>
                    <a:pt x="297" y="123"/>
                  </a:cubicBezTo>
                  <a:cubicBezTo>
                    <a:pt x="297" y="113"/>
                    <a:pt x="297" y="113"/>
                    <a:pt x="297" y="113"/>
                  </a:cubicBezTo>
                  <a:cubicBezTo>
                    <a:pt x="296" y="111"/>
                    <a:pt x="296" y="111"/>
                    <a:pt x="296" y="111"/>
                  </a:cubicBezTo>
                  <a:cubicBezTo>
                    <a:pt x="294" y="108"/>
                    <a:pt x="294" y="108"/>
                    <a:pt x="294" y="108"/>
                  </a:cubicBezTo>
                  <a:cubicBezTo>
                    <a:pt x="295" y="104"/>
                    <a:pt x="295" y="104"/>
                    <a:pt x="295" y="104"/>
                  </a:cubicBezTo>
                  <a:cubicBezTo>
                    <a:pt x="295" y="94"/>
                    <a:pt x="295" y="94"/>
                    <a:pt x="295" y="94"/>
                  </a:cubicBezTo>
                  <a:cubicBezTo>
                    <a:pt x="293" y="87"/>
                    <a:pt x="293" y="87"/>
                    <a:pt x="293" y="87"/>
                  </a:cubicBezTo>
                  <a:cubicBezTo>
                    <a:pt x="291" y="85"/>
                    <a:pt x="291" y="85"/>
                    <a:pt x="291" y="85"/>
                  </a:cubicBezTo>
                  <a:cubicBezTo>
                    <a:pt x="289" y="85"/>
                    <a:pt x="289" y="85"/>
                    <a:pt x="289" y="85"/>
                  </a:cubicBezTo>
                  <a:cubicBezTo>
                    <a:pt x="288" y="83"/>
                    <a:pt x="288" y="83"/>
                    <a:pt x="288" y="83"/>
                  </a:cubicBezTo>
                  <a:cubicBezTo>
                    <a:pt x="287" y="78"/>
                    <a:pt x="287" y="78"/>
                    <a:pt x="287" y="78"/>
                  </a:cubicBezTo>
                  <a:cubicBezTo>
                    <a:pt x="286" y="74"/>
                    <a:pt x="286" y="74"/>
                    <a:pt x="286" y="74"/>
                  </a:cubicBezTo>
                  <a:cubicBezTo>
                    <a:pt x="289" y="73"/>
                    <a:pt x="289" y="73"/>
                    <a:pt x="289" y="73"/>
                  </a:cubicBezTo>
                  <a:cubicBezTo>
                    <a:pt x="289" y="72"/>
                    <a:pt x="289" y="72"/>
                    <a:pt x="289" y="72"/>
                  </a:cubicBezTo>
                  <a:cubicBezTo>
                    <a:pt x="288" y="71"/>
                    <a:pt x="288" y="71"/>
                    <a:pt x="288" y="71"/>
                  </a:cubicBezTo>
                  <a:cubicBezTo>
                    <a:pt x="287" y="68"/>
                    <a:pt x="287" y="68"/>
                    <a:pt x="287" y="68"/>
                  </a:cubicBezTo>
                  <a:cubicBezTo>
                    <a:pt x="285" y="65"/>
                    <a:pt x="285" y="65"/>
                    <a:pt x="285" y="65"/>
                  </a:cubicBezTo>
                  <a:cubicBezTo>
                    <a:pt x="283" y="60"/>
                    <a:pt x="283" y="60"/>
                    <a:pt x="283" y="60"/>
                  </a:cubicBezTo>
                  <a:cubicBezTo>
                    <a:pt x="281" y="54"/>
                    <a:pt x="281" y="54"/>
                    <a:pt x="281" y="54"/>
                  </a:cubicBezTo>
                  <a:cubicBezTo>
                    <a:pt x="278" y="49"/>
                    <a:pt x="278" y="49"/>
                    <a:pt x="278" y="49"/>
                  </a:cubicBezTo>
                  <a:cubicBezTo>
                    <a:pt x="275" y="40"/>
                    <a:pt x="275" y="40"/>
                    <a:pt x="275" y="40"/>
                  </a:cubicBezTo>
                  <a:cubicBezTo>
                    <a:pt x="272" y="36"/>
                    <a:pt x="272" y="36"/>
                    <a:pt x="272" y="36"/>
                  </a:cubicBezTo>
                  <a:cubicBezTo>
                    <a:pt x="271" y="35"/>
                    <a:pt x="271" y="35"/>
                    <a:pt x="271" y="35"/>
                  </a:cubicBezTo>
                  <a:cubicBezTo>
                    <a:pt x="267" y="32"/>
                    <a:pt x="267" y="32"/>
                    <a:pt x="267" y="32"/>
                  </a:cubicBezTo>
                  <a:cubicBezTo>
                    <a:pt x="260" y="27"/>
                    <a:pt x="260" y="27"/>
                    <a:pt x="260" y="27"/>
                  </a:cubicBezTo>
                  <a:cubicBezTo>
                    <a:pt x="255" y="25"/>
                    <a:pt x="255" y="25"/>
                    <a:pt x="255" y="25"/>
                  </a:cubicBezTo>
                  <a:cubicBezTo>
                    <a:pt x="250" y="23"/>
                    <a:pt x="250" y="23"/>
                    <a:pt x="250" y="23"/>
                  </a:cubicBezTo>
                  <a:cubicBezTo>
                    <a:pt x="246" y="19"/>
                    <a:pt x="246" y="19"/>
                    <a:pt x="246" y="19"/>
                  </a:cubicBezTo>
                  <a:cubicBezTo>
                    <a:pt x="239" y="18"/>
                    <a:pt x="239" y="18"/>
                    <a:pt x="239" y="18"/>
                  </a:cubicBezTo>
                  <a:cubicBezTo>
                    <a:pt x="230" y="19"/>
                    <a:pt x="230" y="19"/>
                    <a:pt x="230" y="19"/>
                  </a:cubicBezTo>
                  <a:cubicBezTo>
                    <a:pt x="227" y="19"/>
                    <a:pt x="227" y="19"/>
                    <a:pt x="227" y="19"/>
                  </a:cubicBezTo>
                  <a:cubicBezTo>
                    <a:pt x="224" y="20"/>
                    <a:pt x="224" y="20"/>
                    <a:pt x="224" y="20"/>
                  </a:cubicBezTo>
                  <a:cubicBezTo>
                    <a:pt x="222" y="22"/>
                    <a:pt x="222" y="22"/>
                    <a:pt x="222" y="22"/>
                  </a:cubicBezTo>
                  <a:cubicBezTo>
                    <a:pt x="219" y="21"/>
                    <a:pt x="219" y="21"/>
                    <a:pt x="219" y="21"/>
                  </a:cubicBezTo>
                  <a:cubicBezTo>
                    <a:pt x="216" y="19"/>
                    <a:pt x="216" y="19"/>
                    <a:pt x="216" y="19"/>
                  </a:cubicBezTo>
                  <a:cubicBezTo>
                    <a:pt x="210" y="16"/>
                    <a:pt x="210" y="16"/>
                    <a:pt x="210" y="16"/>
                  </a:cubicBezTo>
                  <a:cubicBezTo>
                    <a:pt x="202" y="12"/>
                    <a:pt x="202" y="12"/>
                    <a:pt x="202" y="12"/>
                  </a:cubicBezTo>
                  <a:cubicBezTo>
                    <a:pt x="10" y="0"/>
                    <a:pt x="10" y="0"/>
                    <a:pt x="10" y="0"/>
                  </a:cubicBezTo>
                  <a:cubicBezTo>
                    <a:pt x="0" y="95"/>
                    <a:pt x="0" y="95"/>
                    <a:pt x="0" y="95"/>
                  </a:cubicBezTo>
                  <a:cubicBezTo>
                    <a:pt x="73" y="102"/>
                    <a:pt x="73" y="102"/>
                    <a:pt x="73" y="102"/>
                  </a:cubicBezTo>
                  <a:cubicBezTo>
                    <a:pt x="69" y="149"/>
                    <a:pt x="69" y="149"/>
                    <a:pt x="69" y="149"/>
                  </a:cubicBezTo>
                  <a:cubicBezTo>
                    <a:pt x="69" y="149"/>
                    <a:pt x="69" y="149"/>
                    <a:pt x="69" y="149"/>
                  </a:cubicBezTo>
                  <a:cubicBezTo>
                    <a:pt x="75" y="149"/>
                    <a:pt x="186" y="154"/>
                    <a:pt x="224" y="155"/>
                  </a:cubicBezTo>
                  <a:cubicBezTo>
                    <a:pt x="246" y="156"/>
                    <a:pt x="313" y="158"/>
                    <a:pt x="313" y="158"/>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6" name="Freeform 35">
              <a:extLst>
                <a:ext uri="{FF2B5EF4-FFF2-40B4-BE49-F238E27FC236}">
                  <a16:creationId xmlns:a16="http://schemas.microsoft.com/office/drawing/2014/main" id="{350A1B07-FDCF-EFD1-D526-B5249D64D875}"/>
                </a:ext>
              </a:extLst>
            </p:cNvPr>
            <p:cNvSpPr>
              <a:spLocks/>
            </p:cNvSpPr>
            <p:nvPr/>
          </p:nvSpPr>
          <p:spPr bwMode="auto">
            <a:xfrm>
              <a:off x="7463105" y="2509937"/>
              <a:ext cx="594431" cy="373116"/>
            </a:xfrm>
            <a:custGeom>
              <a:avLst/>
              <a:gdLst>
                <a:gd name="T0" fmla="*/ 200 w 269"/>
                <a:gd name="T1" fmla="*/ 158 h 180"/>
                <a:gd name="T2" fmla="*/ 206 w 269"/>
                <a:gd name="T3" fmla="*/ 161 h 180"/>
                <a:gd name="T4" fmla="*/ 209 w 269"/>
                <a:gd name="T5" fmla="*/ 163 h 180"/>
                <a:gd name="T6" fmla="*/ 212 w 269"/>
                <a:gd name="T7" fmla="*/ 164 h 180"/>
                <a:gd name="T8" fmla="*/ 214 w 269"/>
                <a:gd name="T9" fmla="*/ 162 h 180"/>
                <a:gd name="T10" fmla="*/ 217 w 269"/>
                <a:gd name="T11" fmla="*/ 161 h 180"/>
                <a:gd name="T12" fmla="*/ 220 w 269"/>
                <a:gd name="T13" fmla="*/ 161 h 180"/>
                <a:gd name="T14" fmla="*/ 229 w 269"/>
                <a:gd name="T15" fmla="*/ 160 h 180"/>
                <a:gd name="T16" fmla="*/ 236 w 269"/>
                <a:gd name="T17" fmla="*/ 161 h 180"/>
                <a:gd name="T18" fmla="*/ 240 w 269"/>
                <a:gd name="T19" fmla="*/ 165 h 180"/>
                <a:gd name="T20" fmla="*/ 245 w 269"/>
                <a:gd name="T21" fmla="*/ 167 h 180"/>
                <a:gd name="T22" fmla="*/ 250 w 269"/>
                <a:gd name="T23" fmla="*/ 169 h 180"/>
                <a:gd name="T24" fmla="*/ 257 w 269"/>
                <a:gd name="T25" fmla="*/ 174 h 180"/>
                <a:gd name="T26" fmla="*/ 261 w 269"/>
                <a:gd name="T27" fmla="*/ 177 h 180"/>
                <a:gd name="T28" fmla="*/ 262 w 269"/>
                <a:gd name="T29" fmla="*/ 178 h 180"/>
                <a:gd name="T30" fmla="*/ 263 w 269"/>
                <a:gd name="T31" fmla="*/ 180 h 180"/>
                <a:gd name="T32" fmla="*/ 263 w 269"/>
                <a:gd name="T33" fmla="*/ 180 h 180"/>
                <a:gd name="T34" fmla="*/ 263 w 269"/>
                <a:gd name="T35" fmla="*/ 177 h 180"/>
                <a:gd name="T36" fmla="*/ 263 w 269"/>
                <a:gd name="T37" fmla="*/ 173 h 180"/>
                <a:gd name="T38" fmla="*/ 259 w 269"/>
                <a:gd name="T39" fmla="*/ 170 h 180"/>
                <a:gd name="T40" fmla="*/ 259 w 269"/>
                <a:gd name="T41" fmla="*/ 167 h 180"/>
                <a:gd name="T42" fmla="*/ 260 w 269"/>
                <a:gd name="T43" fmla="*/ 164 h 180"/>
                <a:gd name="T44" fmla="*/ 263 w 269"/>
                <a:gd name="T45" fmla="*/ 163 h 180"/>
                <a:gd name="T46" fmla="*/ 263 w 269"/>
                <a:gd name="T47" fmla="*/ 156 h 180"/>
                <a:gd name="T48" fmla="*/ 264 w 269"/>
                <a:gd name="T49" fmla="*/ 153 h 180"/>
                <a:gd name="T50" fmla="*/ 266 w 269"/>
                <a:gd name="T51" fmla="*/ 152 h 180"/>
                <a:gd name="T52" fmla="*/ 266 w 269"/>
                <a:gd name="T53" fmla="*/ 148 h 180"/>
                <a:gd name="T54" fmla="*/ 264 w 269"/>
                <a:gd name="T55" fmla="*/ 143 h 180"/>
                <a:gd name="T56" fmla="*/ 262 w 269"/>
                <a:gd name="T57" fmla="*/ 142 h 180"/>
                <a:gd name="T58" fmla="*/ 263 w 269"/>
                <a:gd name="T59" fmla="*/ 137 h 180"/>
                <a:gd name="T60" fmla="*/ 263 w 269"/>
                <a:gd name="T61" fmla="*/ 134 h 180"/>
                <a:gd name="T62" fmla="*/ 266 w 269"/>
                <a:gd name="T63" fmla="*/ 134 h 180"/>
                <a:gd name="T64" fmla="*/ 269 w 269"/>
                <a:gd name="T65" fmla="*/ 47 h 180"/>
                <a:gd name="T66" fmla="*/ 266 w 269"/>
                <a:gd name="T67" fmla="*/ 44 h 180"/>
                <a:gd name="T68" fmla="*/ 264 w 269"/>
                <a:gd name="T69" fmla="*/ 41 h 180"/>
                <a:gd name="T70" fmla="*/ 259 w 269"/>
                <a:gd name="T71" fmla="*/ 39 h 180"/>
                <a:gd name="T72" fmla="*/ 258 w 269"/>
                <a:gd name="T73" fmla="*/ 36 h 180"/>
                <a:gd name="T74" fmla="*/ 255 w 269"/>
                <a:gd name="T75" fmla="*/ 33 h 180"/>
                <a:gd name="T76" fmla="*/ 254 w 269"/>
                <a:gd name="T77" fmla="*/ 31 h 180"/>
                <a:gd name="T78" fmla="*/ 254 w 269"/>
                <a:gd name="T79" fmla="*/ 29 h 180"/>
                <a:gd name="T80" fmla="*/ 254 w 269"/>
                <a:gd name="T81" fmla="*/ 27 h 180"/>
                <a:gd name="T82" fmla="*/ 257 w 269"/>
                <a:gd name="T83" fmla="*/ 24 h 180"/>
                <a:gd name="T84" fmla="*/ 260 w 269"/>
                <a:gd name="T85" fmla="*/ 21 h 180"/>
                <a:gd name="T86" fmla="*/ 264 w 269"/>
                <a:gd name="T87" fmla="*/ 17 h 180"/>
                <a:gd name="T88" fmla="*/ 263 w 269"/>
                <a:gd name="T89" fmla="*/ 15 h 180"/>
                <a:gd name="T90" fmla="*/ 263 w 269"/>
                <a:gd name="T91" fmla="*/ 14 h 180"/>
                <a:gd name="T92" fmla="*/ 136 w 269"/>
                <a:gd name="T93" fmla="*/ 8 h 180"/>
                <a:gd name="T94" fmla="*/ 14 w 269"/>
                <a:gd name="T95" fmla="*/ 0 h 180"/>
                <a:gd name="T96" fmla="*/ 0 w 269"/>
                <a:gd name="T97" fmla="*/ 142 h 180"/>
                <a:gd name="T98" fmla="*/ 192 w 269"/>
                <a:gd name="T99" fmla="*/ 154 h 180"/>
                <a:gd name="T100" fmla="*/ 200 w 269"/>
                <a:gd name="T101" fmla="*/ 15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180">
                  <a:moveTo>
                    <a:pt x="200" y="158"/>
                  </a:moveTo>
                  <a:cubicBezTo>
                    <a:pt x="206" y="161"/>
                    <a:pt x="206" y="161"/>
                    <a:pt x="206" y="161"/>
                  </a:cubicBezTo>
                  <a:cubicBezTo>
                    <a:pt x="209" y="163"/>
                    <a:pt x="209" y="163"/>
                    <a:pt x="209" y="163"/>
                  </a:cubicBezTo>
                  <a:cubicBezTo>
                    <a:pt x="212" y="164"/>
                    <a:pt x="212" y="164"/>
                    <a:pt x="212" y="164"/>
                  </a:cubicBezTo>
                  <a:cubicBezTo>
                    <a:pt x="214" y="162"/>
                    <a:pt x="214" y="162"/>
                    <a:pt x="214" y="162"/>
                  </a:cubicBezTo>
                  <a:cubicBezTo>
                    <a:pt x="217" y="161"/>
                    <a:pt x="217" y="161"/>
                    <a:pt x="217" y="161"/>
                  </a:cubicBezTo>
                  <a:cubicBezTo>
                    <a:pt x="220" y="161"/>
                    <a:pt x="220" y="161"/>
                    <a:pt x="220" y="161"/>
                  </a:cubicBezTo>
                  <a:cubicBezTo>
                    <a:pt x="229" y="160"/>
                    <a:pt x="229" y="160"/>
                    <a:pt x="229" y="160"/>
                  </a:cubicBezTo>
                  <a:cubicBezTo>
                    <a:pt x="236" y="161"/>
                    <a:pt x="236" y="161"/>
                    <a:pt x="236" y="161"/>
                  </a:cubicBezTo>
                  <a:cubicBezTo>
                    <a:pt x="240" y="165"/>
                    <a:pt x="240" y="165"/>
                    <a:pt x="240" y="165"/>
                  </a:cubicBezTo>
                  <a:cubicBezTo>
                    <a:pt x="245" y="167"/>
                    <a:pt x="245" y="167"/>
                    <a:pt x="245" y="167"/>
                  </a:cubicBezTo>
                  <a:cubicBezTo>
                    <a:pt x="250" y="169"/>
                    <a:pt x="250" y="169"/>
                    <a:pt x="250" y="169"/>
                  </a:cubicBezTo>
                  <a:cubicBezTo>
                    <a:pt x="257" y="174"/>
                    <a:pt x="257" y="174"/>
                    <a:pt x="257" y="174"/>
                  </a:cubicBezTo>
                  <a:cubicBezTo>
                    <a:pt x="261" y="177"/>
                    <a:pt x="261" y="177"/>
                    <a:pt x="261" y="177"/>
                  </a:cubicBezTo>
                  <a:cubicBezTo>
                    <a:pt x="262" y="178"/>
                    <a:pt x="262" y="178"/>
                    <a:pt x="262" y="178"/>
                  </a:cubicBezTo>
                  <a:cubicBezTo>
                    <a:pt x="263" y="180"/>
                    <a:pt x="263" y="180"/>
                    <a:pt x="263" y="180"/>
                  </a:cubicBezTo>
                  <a:cubicBezTo>
                    <a:pt x="263" y="180"/>
                    <a:pt x="263" y="180"/>
                    <a:pt x="263" y="180"/>
                  </a:cubicBezTo>
                  <a:cubicBezTo>
                    <a:pt x="263" y="177"/>
                    <a:pt x="263" y="177"/>
                    <a:pt x="263" y="177"/>
                  </a:cubicBezTo>
                  <a:cubicBezTo>
                    <a:pt x="263" y="173"/>
                    <a:pt x="263" y="173"/>
                    <a:pt x="263" y="173"/>
                  </a:cubicBezTo>
                  <a:cubicBezTo>
                    <a:pt x="259" y="170"/>
                    <a:pt x="259" y="170"/>
                    <a:pt x="259" y="170"/>
                  </a:cubicBezTo>
                  <a:cubicBezTo>
                    <a:pt x="259" y="167"/>
                    <a:pt x="259" y="167"/>
                    <a:pt x="259" y="167"/>
                  </a:cubicBezTo>
                  <a:cubicBezTo>
                    <a:pt x="260" y="164"/>
                    <a:pt x="260" y="164"/>
                    <a:pt x="260" y="164"/>
                  </a:cubicBezTo>
                  <a:cubicBezTo>
                    <a:pt x="263" y="163"/>
                    <a:pt x="263" y="163"/>
                    <a:pt x="263" y="163"/>
                  </a:cubicBezTo>
                  <a:cubicBezTo>
                    <a:pt x="263" y="156"/>
                    <a:pt x="263" y="156"/>
                    <a:pt x="263" y="156"/>
                  </a:cubicBezTo>
                  <a:cubicBezTo>
                    <a:pt x="264" y="153"/>
                    <a:pt x="264" y="153"/>
                    <a:pt x="264" y="153"/>
                  </a:cubicBezTo>
                  <a:cubicBezTo>
                    <a:pt x="266" y="152"/>
                    <a:pt x="266" y="152"/>
                    <a:pt x="266" y="152"/>
                  </a:cubicBezTo>
                  <a:cubicBezTo>
                    <a:pt x="266" y="148"/>
                    <a:pt x="266" y="148"/>
                    <a:pt x="266" y="148"/>
                  </a:cubicBezTo>
                  <a:cubicBezTo>
                    <a:pt x="264" y="143"/>
                    <a:pt x="264" y="143"/>
                    <a:pt x="264" y="143"/>
                  </a:cubicBezTo>
                  <a:cubicBezTo>
                    <a:pt x="262" y="142"/>
                    <a:pt x="262" y="142"/>
                    <a:pt x="262" y="142"/>
                  </a:cubicBezTo>
                  <a:cubicBezTo>
                    <a:pt x="263" y="137"/>
                    <a:pt x="263" y="137"/>
                    <a:pt x="263" y="137"/>
                  </a:cubicBezTo>
                  <a:cubicBezTo>
                    <a:pt x="263" y="134"/>
                    <a:pt x="263" y="134"/>
                    <a:pt x="263" y="134"/>
                  </a:cubicBezTo>
                  <a:cubicBezTo>
                    <a:pt x="266" y="134"/>
                    <a:pt x="266" y="134"/>
                    <a:pt x="266" y="134"/>
                  </a:cubicBezTo>
                  <a:cubicBezTo>
                    <a:pt x="269" y="47"/>
                    <a:pt x="269" y="47"/>
                    <a:pt x="269" y="47"/>
                  </a:cubicBezTo>
                  <a:cubicBezTo>
                    <a:pt x="266" y="44"/>
                    <a:pt x="266" y="44"/>
                    <a:pt x="266" y="44"/>
                  </a:cubicBezTo>
                  <a:cubicBezTo>
                    <a:pt x="264" y="41"/>
                    <a:pt x="264" y="41"/>
                    <a:pt x="264" y="41"/>
                  </a:cubicBezTo>
                  <a:cubicBezTo>
                    <a:pt x="259" y="39"/>
                    <a:pt x="259" y="39"/>
                    <a:pt x="259" y="39"/>
                  </a:cubicBezTo>
                  <a:cubicBezTo>
                    <a:pt x="258" y="36"/>
                    <a:pt x="258" y="36"/>
                    <a:pt x="258" y="36"/>
                  </a:cubicBezTo>
                  <a:cubicBezTo>
                    <a:pt x="255" y="33"/>
                    <a:pt x="255" y="33"/>
                    <a:pt x="255" y="33"/>
                  </a:cubicBezTo>
                  <a:cubicBezTo>
                    <a:pt x="254" y="31"/>
                    <a:pt x="254" y="31"/>
                    <a:pt x="254" y="31"/>
                  </a:cubicBezTo>
                  <a:cubicBezTo>
                    <a:pt x="254" y="29"/>
                    <a:pt x="254" y="29"/>
                    <a:pt x="254" y="29"/>
                  </a:cubicBezTo>
                  <a:cubicBezTo>
                    <a:pt x="254" y="27"/>
                    <a:pt x="254" y="27"/>
                    <a:pt x="254" y="27"/>
                  </a:cubicBezTo>
                  <a:cubicBezTo>
                    <a:pt x="257" y="24"/>
                    <a:pt x="257" y="24"/>
                    <a:pt x="257" y="24"/>
                  </a:cubicBezTo>
                  <a:cubicBezTo>
                    <a:pt x="260" y="21"/>
                    <a:pt x="260" y="21"/>
                    <a:pt x="260" y="21"/>
                  </a:cubicBezTo>
                  <a:cubicBezTo>
                    <a:pt x="264" y="17"/>
                    <a:pt x="264" y="17"/>
                    <a:pt x="264" y="17"/>
                  </a:cubicBezTo>
                  <a:cubicBezTo>
                    <a:pt x="263" y="15"/>
                    <a:pt x="263" y="15"/>
                    <a:pt x="263" y="15"/>
                  </a:cubicBezTo>
                  <a:cubicBezTo>
                    <a:pt x="263" y="14"/>
                    <a:pt x="263" y="14"/>
                    <a:pt x="263" y="14"/>
                  </a:cubicBezTo>
                  <a:cubicBezTo>
                    <a:pt x="263" y="14"/>
                    <a:pt x="167" y="10"/>
                    <a:pt x="136" y="8"/>
                  </a:cubicBezTo>
                  <a:cubicBezTo>
                    <a:pt x="105" y="6"/>
                    <a:pt x="14" y="0"/>
                    <a:pt x="14" y="0"/>
                  </a:cubicBezTo>
                  <a:cubicBezTo>
                    <a:pt x="0" y="142"/>
                    <a:pt x="0" y="142"/>
                    <a:pt x="0" y="142"/>
                  </a:cubicBezTo>
                  <a:cubicBezTo>
                    <a:pt x="192" y="154"/>
                    <a:pt x="192" y="154"/>
                    <a:pt x="192" y="154"/>
                  </a:cubicBezTo>
                  <a:lnTo>
                    <a:pt x="200" y="158"/>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7" name="Freeform 36">
              <a:extLst>
                <a:ext uri="{FF2B5EF4-FFF2-40B4-BE49-F238E27FC236}">
                  <a16:creationId xmlns:a16="http://schemas.microsoft.com/office/drawing/2014/main" id="{D983A98B-B514-6E36-95D1-242EB950E964}"/>
                </a:ext>
              </a:extLst>
            </p:cNvPr>
            <p:cNvSpPr>
              <a:spLocks/>
            </p:cNvSpPr>
            <p:nvPr/>
          </p:nvSpPr>
          <p:spPr bwMode="auto">
            <a:xfrm>
              <a:off x="6889532" y="2536938"/>
              <a:ext cx="597038" cy="463940"/>
            </a:xfrm>
            <a:custGeom>
              <a:avLst/>
              <a:gdLst>
                <a:gd name="T0" fmla="*/ 229 w 229"/>
                <a:gd name="T1" fmla="*/ 27 h 189"/>
                <a:gd name="T2" fmla="*/ 228 w 229"/>
                <a:gd name="T3" fmla="*/ 27 h 189"/>
                <a:gd name="T4" fmla="*/ 28 w 229"/>
                <a:gd name="T5" fmla="*/ 0 h 189"/>
                <a:gd name="T6" fmla="*/ 24 w 229"/>
                <a:gd name="T7" fmla="*/ 23 h 189"/>
                <a:gd name="T8" fmla="*/ 7 w 229"/>
                <a:gd name="T9" fmla="*/ 122 h 189"/>
                <a:gd name="T10" fmla="*/ 0 w 229"/>
                <a:gd name="T11" fmla="*/ 162 h 189"/>
                <a:gd name="T12" fmla="*/ 61 w 229"/>
                <a:gd name="T13" fmla="*/ 172 h 189"/>
                <a:gd name="T14" fmla="*/ 212 w 229"/>
                <a:gd name="T15" fmla="*/ 189 h 189"/>
                <a:gd name="T16" fmla="*/ 220 w 229"/>
                <a:gd name="T17" fmla="*/ 109 h 189"/>
                <a:gd name="T18" fmla="*/ 229 w 229"/>
                <a:gd name="T19"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9">
                  <a:moveTo>
                    <a:pt x="229" y="27"/>
                  </a:moveTo>
                  <a:lnTo>
                    <a:pt x="228" y="27"/>
                  </a:lnTo>
                  <a:lnTo>
                    <a:pt x="28" y="0"/>
                  </a:lnTo>
                  <a:lnTo>
                    <a:pt x="24" y="23"/>
                  </a:lnTo>
                  <a:lnTo>
                    <a:pt x="7" y="122"/>
                  </a:lnTo>
                  <a:lnTo>
                    <a:pt x="0" y="162"/>
                  </a:lnTo>
                  <a:lnTo>
                    <a:pt x="61" y="172"/>
                  </a:lnTo>
                  <a:lnTo>
                    <a:pt x="212" y="189"/>
                  </a:lnTo>
                  <a:lnTo>
                    <a:pt x="220" y="109"/>
                  </a:lnTo>
                  <a:lnTo>
                    <a:pt x="229" y="27"/>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8" name="Freeform 37">
              <a:extLst>
                <a:ext uri="{FF2B5EF4-FFF2-40B4-BE49-F238E27FC236}">
                  <a16:creationId xmlns:a16="http://schemas.microsoft.com/office/drawing/2014/main" id="{17832D32-4218-F9E6-CC9C-7F1FC39FF290}"/>
                </a:ext>
              </a:extLst>
            </p:cNvPr>
            <p:cNvSpPr>
              <a:spLocks/>
            </p:cNvSpPr>
            <p:nvPr/>
          </p:nvSpPr>
          <p:spPr bwMode="auto">
            <a:xfrm>
              <a:off x="7494392" y="2203098"/>
              <a:ext cx="555324" cy="336297"/>
            </a:xfrm>
            <a:custGeom>
              <a:avLst/>
              <a:gdLst>
                <a:gd name="T0" fmla="*/ 249 w 251"/>
                <a:gd name="T1" fmla="*/ 161 h 162"/>
                <a:gd name="T2" fmla="*/ 249 w 251"/>
                <a:gd name="T3" fmla="*/ 162 h 162"/>
                <a:gd name="T4" fmla="*/ 249 w 251"/>
                <a:gd name="T5" fmla="*/ 162 h 162"/>
                <a:gd name="T6" fmla="*/ 251 w 251"/>
                <a:gd name="T7" fmla="*/ 160 h 162"/>
                <a:gd name="T8" fmla="*/ 251 w 251"/>
                <a:gd name="T9" fmla="*/ 155 h 162"/>
                <a:gd name="T10" fmla="*/ 251 w 251"/>
                <a:gd name="T11" fmla="*/ 150 h 162"/>
                <a:gd name="T12" fmla="*/ 250 w 251"/>
                <a:gd name="T13" fmla="*/ 144 h 162"/>
                <a:gd name="T14" fmla="*/ 248 w 251"/>
                <a:gd name="T15" fmla="*/ 141 h 162"/>
                <a:gd name="T16" fmla="*/ 245 w 251"/>
                <a:gd name="T17" fmla="*/ 138 h 162"/>
                <a:gd name="T18" fmla="*/ 245 w 251"/>
                <a:gd name="T19" fmla="*/ 131 h 162"/>
                <a:gd name="T20" fmla="*/ 244 w 251"/>
                <a:gd name="T21" fmla="*/ 129 h 162"/>
                <a:gd name="T22" fmla="*/ 242 w 251"/>
                <a:gd name="T23" fmla="*/ 126 h 162"/>
                <a:gd name="T24" fmla="*/ 242 w 251"/>
                <a:gd name="T25" fmla="*/ 117 h 162"/>
                <a:gd name="T26" fmla="*/ 242 w 251"/>
                <a:gd name="T27" fmla="*/ 103 h 162"/>
                <a:gd name="T28" fmla="*/ 241 w 251"/>
                <a:gd name="T29" fmla="*/ 86 h 162"/>
                <a:gd name="T30" fmla="*/ 241 w 251"/>
                <a:gd name="T31" fmla="*/ 77 h 162"/>
                <a:gd name="T32" fmla="*/ 237 w 251"/>
                <a:gd name="T33" fmla="*/ 70 h 162"/>
                <a:gd name="T34" fmla="*/ 234 w 251"/>
                <a:gd name="T35" fmla="*/ 60 h 162"/>
                <a:gd name="T36" fmla="*/ 232 w 251"/>
                <a:gd name="T37" fmla="*/ 54 h 162"/>
                <a:gd name="T38" fmla="*/ 234 w 251"/>
                <a:gd name="T39" fmla="*/ 47 h 162"/>
                <a:gd name="T40" fmla="*/ 233 w 251"/>
                <a:gd name="T41" fmla="*/ 41 h 162"/>
                <a:gd name="T42" fmla="*/ 232 w 251"/>
                <a:gd name="T43" fmla="*/ 39 h 162"/>
                <a:gd name="T44" fmla="*/ 232 w 251"/>
                <a:gd name="T45" fmla="*/ 34 h 162"/>
                <a:gd name="T46" fmla="*/ 232 w 251"/>
                <a:gd name="T47" fmla="*/ 33 h 162"/>
                <a:gd name="T48" fmla="*/ 234 w 251"/>
                <a:gd name="T49" fmla="*/ 31 h 162"/>
                <a:gd name="T50" fmla="*/ 235 w 251"/>
                <a:gd name="T51" fmla="*/ 29 h 162"/>
                <a:gd name="T52" fmla="*/ 235 w 251"/>
                <a:gd name="T53" fmla="*/ 25 h 162"/>
                <a:gd name="T54" fmla="*/ 232 w 251"/>
                <a:gd name="T55" fmla="*/ 22 h 162"/>
                <a:gd name="T56" fmla="*/ 232 w 251"/>
                <a:gd name="T57" fmla="*/ 21 h 162"/>
                <a:gd name="T58" fmla="*/ 231 w 251"/>
                <a:gd name="T59" fmla="*/ 18 h 162"/>
                <a:gd name="T60" fmla="*/ 230 w 251"/>
                <a:gd name="T61" fmla="*/ 13 h 162"/>
                <a:gd name="T62" fmla="*/ 97 w 251"/>
                <a:gd name="T63" fmla="*/ 7 h 162"/>
                <a:gd name="T64" fmla="*/ 14 w 251"/>
                <a:gd name="T65" fmla="*/ 0 h 162"/>
                <a:gd name="T66" fmla="*/ 0 w 251"/>
                <a:gd name="T67" fmla="*/ 147 h 162"/>
                <a:gd name="T68" fmla="*/ 122 w 251"/>
                <a:gd name="T69" fmla="*/ 155 h 162"/>
                <a:gd name="T70" fmla="*/ 249 w 251"/>
                <a:gd name="T71"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62">
                  <a:moveTo>
                    <a:pt x="249" y="161"/>
                  </a:moveTo>
                  <a:cubicBezTo>
                    <a:pt x="249" y="162"/>
                    <a:pt x="249" y="162"/>
                    <a:pt x="249" y="162"/>
                  </a:cubicBezTo>
                  <a:cubicBezTo>
                    <a:pt x="249" y="162"/>
                    <a:pt x="249" y="162"/>
                    <a:pt x="249" y="162"/>
                  </a:cubicBezTo>
                  <a:cubicBezTo>
                    <a:pt x="251" y="160"/>
                    <a:pt x="251" y="160"/>
                    <a:pt x="251" y="160"/>
                  </a:cubicBezTo>
                  <a:cubicBezTo>
                    <a:pt x="251" y="155"/>
                    <a:pt x="251" y="155"/>
                    <a:pt x="251" y="155"/>
                  </a:cubicBezTo>
                  <a:cubicBezTo>
                    <a:pt x="251" y="150"/>
                    <a:pt x="251" y="150"/>
                    <a:pt x="251" y="150"/>
                  </a:cubicBezTo>
                  <a:cubicBezTo>
                    <a:pt x="250" y="144"/>
                    <a:pt x="250" y="144"/>
                    <a:pt x="250" y="144"/>
                  </a:cubicBezTo>
                  <a:cubicBezTo>
                    <a:pt x="248" y="141"/>
                    <a:pt x="248" y="141"/>
                    <a:pt x="248" y="141"/>
                  </a:cubicBezTo>
                  <a:cubicBezTo>
                    <a:pt x="245" y="138"/>
                    <a:pt x="245" y="138"/>
                    <a:pt x="245" y="138"/>
                  </a:cubicBezTo>
                  <a:cubicBezTo>
                    <a:pt x="245" y="131"/>
                    <a:pt x="245" y="131"/>
                    <a:pt x="245" y="131"/>
                  </a:cubicBezTo>
                  <a:cubicBezTo>
                    <a:pt x="244" y="129"/>
                    <a:pt x="244" y="129"/>
                    <a:pt x="244" y="129"/>
                  </a:cubicBezTo>
                  <a:cubicBezTo>
                    <a:pt x="242" y="126"/>
                    <a:pt x="242" y="126"/>
                    <a:pt x="242" y="126"/>
                  </a:cubicBezTo>
                  <a:cubicBezTo>
                    <a:pt x="242" y="117"/>
                    <a:pt x="242" y="117"/>
                    <a:pt x="242" y="117"/>
                  </a:cubicBezTo>
                  <a:cubicBezTo>
                    <a:pt x="242" y="103"/>
                    <a:pt x="242" y="103"/>
                    <a:pt x="242" y="103"/>
                  </a:cubicBezTo>
                  <a:cubicBezTo>
                    <a:pt x="241" y="86"/>
                    <a:pt x="241" y="86"/>
                    <a:pt x="241" y="86"/>
                  </a:cubicBezTo>
                  <a:cubicBezTo>
                    <a:pt x="241" y="77"/>
                    <a:pt x="241" y="77"/>
                    <a:pt x="241" y="77"/>
                  </a:cubicBezTo>
                  <a:cubicBezTo>
                    <a:pt x="237" y="70"/>
                    <a:pt x="237" y="70"/>
                    <a:pt x="237" y="70"/>
                  </a:cubicBezTo>
                  <a:cubicBezTo>
                    <a:pt x="234" y="60"/>
                    <a:pt x="234" y="60"/>
                    <a:pt x="234" y="60"/>
                  </a:cubicBezTo>
                  <a:cubicBezTo>
                    <a:pt x="232" y="54"/>
                    <a:pt x="232" y="54"/>
                    <a:pt x="232" y="54"/>
                  </a:cubicBezTo>
                  <a:cubicBezTo>
                    <a:pt x="234" y="47"/>
                    <a:pt x="234" y="47"/>
                    <a:pt x="234" y="47"/>
                  </a:cubicBezTo>
                  <a:cubicBezTo>
                    <a:pt x="233" y="41"/>
                    <a:pt x="233" y="41"/>
                    <a:pt x="233" y="41"/>
                  </a:cubicBezTo>
                  <a:cubicBezTo>
                    <a:pt x="232" y="39"/>
                    <a:pt x="232" y="39"/>
                    <a:pt x="232" y="39"/>
                  </a:cubicBezTo>
                  <a:cubicBezTo>
                    <a:pt x="232" y="34"/>
                    <a:pt x="232" y="34"/>
                    <a:pt x="232" y="34"/>
                  </a:cubicBezTo>
                  <a:cubicBezTo>
                    <a:pt x="232" y="33"/>
                    <a:pt x="232" y="33"/>
                    <a:pt x="232" y="33"/>
                  </a:cubicBezTo>
                  <a:cubicBezTo>
                    <a:pt x="234" y="31"/>
                    <a:pt x="234" y="31"/>
                    <a:pt x="234" y="31"/>
                  </a:cubicBezTo>
                  <a:cubicBezTo>
                    <a:pt x="235" y="29"/>
                    <a:pt x="235" y="29"/>
                    <a:pt x="235" y="29"/>
                  </a:cubicBezTo>
                  <a:cubicBezTo>
                    <a:pt x="235" y="25"/>
                    <a:pt x="235" y="25"/>
                    <a:pt x="235" y="25"/>
                  </a:cubicBezTo>
                  <a:cubicBezTo>
                    <a:pt x="232" y="22"/>
                    <a:pt x="232" y="22"/>
                    <a:pt x="232" y="22"/>
                  </a:cubicBezTo>
                  <a:cubicBezTo>
                    <a:pt x="232" y="21"/>
                    <a:pt x="232" y="21"/>
                    <a:pt x="232" y="21"/>
                  </a:cubicBezTo>
                  <a:cubicBezTo>
                    <a:pt x="231" y="18"/>
                    <a:pt x="231" y="18"/>
                    <a:pt x="231" y="18"/>
                  </a:cubicBezTo>
                  <a:cubicBezTo>
                    <a:pt x="230" y="13"/>
                    <a:pt x="230" y="13"/>
                    <a:pt x="230" y="13"/>
                  </a:cubicBezTo>
                  <a:cubicBezTo>
                    <a:pt x="230" y="13"/>
                    <a:pt x="130" y="9"/>
                    <a:pt x="97" y="7"/>
                  </a:cubicBezTo>
                  <a:cubicBezTo>
                    <a:pt x="76" y="6"/>
                    <a:pt x="14" y="0"/>
                    <a:pt x="14" y="0"/>
                  </a:cubicBezTo>
                  <a:cubicBezTo>
                    <a:pt x="0" y="147"/>
                    <a:pt x="0" y="147"/>
                    <a:pt x="0" y="147"/>
                  </a:cubicBezTo>
                  <a:cubicBezTo>
                    <a:pt x="0" y="147"/>
                    <a:pt x="91" y="153"/>
                    <a:pt x="122" y="155"/>
                  </a:cubicBezTo>
                  <a:cubicBezTo>
                    <a:pt x="153" y="157"/>
                    <a:pt x="249" y="161"/>
                    <a:pt x="249" y="161"/>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39" name="Freeform 38">
              <a:extLst>
                <a:ext uri="{FF2B5EF4-FFF2-40B4-BE49-F238E27FC236}">
                  <a16:creationId xmlns:a16="http://schemas.microsoft.com/office/drawing/2014/main" id="{1F2503C7-1038-4392-21C0-4942A494ACBE}"/>
                </a:ext>
              </a:extLst>
            </p:cNvPr>
            <p:cNvSpPr>
              <a:spLocks/>
            </p:cNvSpPr>
            <p:nvPr/>
          </p:nvSpPr>
          <p:spPr bwMode="auto">
            <a:xfrm>
              <a:off x="6983390" y="2959148"/>
              <a:ext cx="620502" cy="459030"/>
            </a:xfrm>
            <a:custGeom>
              <a:avLst/>
              <a:gdLst>
                <a:gd name="T0" fmla="*/ 267 w 281"/>
                <a:gd name="T1" fmla="*/ 221 h 221"/>
                <a:gd name="T2" fmla="*/ 277 w 281"/>
                <a:gd name="T3" fmla="*/ 75 h 221"/>
                <a:gd name="T4" fmla="*/ 277 w 281"/>
                <a:gd name="T5" fmla="*/ 75 h 221"/>
                <a:gd name="T6" fmla="*/ 277 w 281"/>
                <a:gd name="T7" fmla="*/ 75 h 221"/>
                <a:gd name="T8" fmla="*/ 281 w 281"/>
                <a:gd name="T9" fmla="*/ 28 h 221"/>
                <a:gd name="T10" fmla="*/ 208 w 281"/>
                <a:gd name="T11" fmla="*/ 21 h 221"/>
                <a:gd name="T12" fmla="*/ 30 w 281"/>
                <a:gd name="T13" fmla="*/ 0 h 221"/>
                <a:gd name="T14" fmla="*/ 0 w 281"/>
                <a:gd name="T15" fmla="*/ 192 h 221"/>
                <a:gd name="T16" fmla="*/ 229 w 281"/>
                <a:gd name="T17" fmla="*/ 219 h 221"/>
                <a:gd name="T18" fmla="*/ 267 w 281"/>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21">
                  <a:moveTo>
                    <a:pt x="267" y="221"/>
                  </a:moveTo>
                  <a:cubicBezTo>
                    <a:pt x="277" y="75"/>
                    <a:pt x="277" y="75"/>
                    <a:pt x="277" y="75"/>
                  </a:cubicBezTo>
                  <a:cubicBezTo>
                    <a:pt x="277" y="75"/>
                    <a:pt x="277" y="75"/>
                    <a:pt x="277" y="75"/>
                  </a:cubicBezTo>
                  <a:cubicBezTo>
                    <a:pt x="277" y="75"/>
                    <a:pt x="277" y="75"/>
                    <a:pt x="277" y="75"/>
                  </a:cubicBezTo>
                  <a:cubicBezTo>
                    <a:pt x="281" y="28"/>
                    <a:pt x="281" y="28"/>
                    <a:pt x="281" y="28"/>
                  </a:cubicBezTo>
                  <a:cubicBezTo>
                    <a:pt x="208" y="21"/>
                    <a:pt x="208" y="21"/>
                    <a:pt x="208" y="21"/>
                  </a:cubicBezTo>
                  <a:cubicBezTo>
                    <a:pt x="30" y="0"/>
                    <a:pt x="30" y="0"/>
                    <a:pt x="30" y="0"/>
                  </a:cubicBezTo>
                  <a:cubicBezTo>
                    <a:pt x="0" y="192"/>
                    <a:pt x="0" y="192"/>
                    <a:pt x="0" y="192"/>
                  </a:cubicBezTo>
                  <a:cubicBezTo>
                    <a:pt x="229" y="219"/>
                    <a:pt x="229" y="219"/>
                    <a:pt x="229" y="219"/>
                  </a:cubicBezTo>
                  <a:cubicBezTo>
                    <a:pt x="229" y="219"/>
                    <a:pt x="245" y="220"/>
                    <a:pt x="267" y="221"/>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0" name="Freeform 39">
              <a:extLst>
                <a:ext uri="{FF2B5EF4-FFF2-40B4-BE49-F238E27FC236}">
                  <a16:creationId xmlns:a16="http://schemas.microsoft.com/office/drawing/2014/main" id="{915B40BE-7784-0FC0-6E8C-BBBADE6E71E1}"/>
                </a:ext>
              </a:extLst>
            </p:cNvPr>
            <p:cNvSpPr>
              <a:spLocks/>
            </p:cNvSpPr>
            <p:nvPr/>
          </p:nvSpPr>
          <p:spPr bwMode="auto">
            <a:xfrm>
              <a:off x="6571459" y="2794682"/>
              <a:ext cx="477109" cy="562128"/>
            </a:xfrm>
            <a:custGeom>
              <a:avLst/>
              <a:gdLst>
                <a:gd name="T0" fmla="*/ 183 w 183"/>
                <a:gd name="T1" fmla="*/ 67 h 229"/>
                <a:gd name="T2" fmla="*/ 122 w 183"/>
                <a:gd name="T3" fmla="*/ 57 h 229"/>
                <a:gd name="T4" fmla="*/ 129 w 183"/>
                <a:gd name="T5" fmla="*/ 17 h 229"/>
                <a:gd name="T6" fmla="*/ 39 w 183"/>
                <a:gd name="T7" fmla="*/ 0 h 229"/>
                <a:gd name="T8" fmla="*/ 0 w 183"/>
                <a:gd name="T9" fmla="*/ 201 h 229"/>
                <a:gd name="T10" fmla="*/ 158 w 183"/>
                <a:gd name="T11" fmla="*/ 229 h 229"/>
                <a:gd name="T12" fmla="*/ 183 w 183"/>
                <a:gd name="T13" fmla="*/ 67 h 229"/>
              </a:gdLst>
              <a:ahLst/>
              <a:cxnLst>
                <a:cxn ang="0">
                  <a:pos x="T0" y="T1"/>
                </a:cxn>
                <a:cxn ang="0">
                  <a:pos x="T2" y="T3"/>
                </a:cxn>
                <a:cxn ang="0">
                  <a:pos x="T4" y="T5"/>
                </a:cxn>
                <a:cxn ang="0">
                  <a:pos x="T6" y="T7"/>
                </a:cxn>
                <a:cxn ang="0">
                  <a:pos x="T8" y="T9"/>
                </a:cxn>
                <a:cxn ang="0">
                  <a:pos x="T10" y="T11"/>
                </a:cxn>
                <a:cxn ang="0">
                  <a:pos x="T12" y="T13"/>
                </a:cxn>
              </a:cxnLst>
              <a:rect l="0" t="0" r="r" b="b"/>
              <a:pathLst>
                <a:path w="183" h="229">
                  <a:moveTo>
                    <a:pt x="183" y="67"/>
                  </a:moveTo>
                  <a:lnTo>
                    <a:pt x="122" y="57"/>
                  </a:lnTo>
                  <a:lnTo>
                    <a:pt x="129" y="17"/>
                  </a:lnTo>
                  <a:lnTo>
                    <a:pt x="39" y="0"/>
                  </a:lnTo>
                  <a:lnTo>
                    <a:pt x="0" y="201"/>
                  </a:lnTo>
                  <a:lnTo>
                    <a:pt x="158" y="229"/>
                  </a:lnTo>
                  <a:lnTo>
                    <a:pt x="183" y="67"/>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1" name="Freeform 40">
              <a:extLst>
                <a:ext uri="{FF2B5EF4-FFF2-40B4-BE49-F238E27FC236}">
                  <a16:creationId xmlns:a16="http://schemas.microsoft.com/office/drawing/2014/main" id="{244DBADB-A2D1-FACC-7D13-94FAFB9FF829}"/>
                </a:ext>
              </a:extLst>
            </p:cNvPr>
            <p:cNvSpPr>
              <a:spLocks/>
            </p:cNvSpPr>
            <p:nvPr/>
          </p:nvSpPr>
          <p:spPr bwMode="auto">
            <a:xfrm>
              <a:off x="6125635" y="2691586"/>
              <a:ext cx="547503" cy="780595"/>
            </a:xfrm>
            <a:custGeom>
              <a:avLst/>
              <a:gdLst>
                <a:gd name="T0" fmla="*/ 5 w 248"/>
                <a:gd name="T1" fmla="*/ 131 h 375"/>
                <a:gd name="T2" fmla="*/ 1 w 248"/>
                <a:gd name="T3" fmla="*/ 132 h 375"/>
                <a:gd name="T4" fmla="*/ 0 w 248"/>
                <a:gd name="T5" fmla="*/ 135 h 375"/>
                <a:gd name="T6" fmla="*/ 1 w 248"/>
                <a:gd name="T7" fmla="*/ 139 h 375"/>
                <a:gd name="T8" fmla="*/ 2 w 248"/>
                <a:gd name="T9" fmla="*/ 142 h 375"/>
                <a:gd name="T10" fmla="*/ 3 w 248"/>
                <a:gd name="T11" fmla="*/ 143 h 375"/>
                <a:gd name="T12" fmla="*/ 7 w 248"/>
                <a:gd name="T13" fmla="*/ 145 h 375"/>
                <a:gd name="T14" fmla="*/ 160 w 248"/>
                <a:gd name="T15" fmla="*/ 375 h 375"/>
                <a:gd name="T16" fmla="*/ 163 w 248"/>
                <a:gd name="T17" fmla="*/ 371 h 375"/>
                <a:gd name="T18" fmla="*/ 164 w 248"/>
                <a:gd name="T19" fmla="*/ 367 h 375"/>
                <a:gd name="T20" fmla="*/ 164 w 248"/>
                <a:gd name="T21" fmla="*/ 354 h 375"/>
                <a:gd name="T22" fmla="*/ 164 w 248"/>
                <a:gd name="T23" fmla="*/ 340 h 375"/>
                <a:gd name="T24" fmla="*/ 164 w 248"/>
                <a:gd name="T25" fmla="*/ 329 h 375"/>
                <a:gd name="T26" fmla="*/ 167 w 248"/>
                <a:gd name="T27" fmla="*/ 326 h 375"/>
                <a:gd name="T28" fmla="*/ 174 w 248"/>
                <a:gd name="T29" fmla="*/ 324 h 375"/>
                <a:gd name="T30" fmla="*/ 176 w 248"/>
                <a:gd name="T31" fmla="*/ 328 h 375"/>
                <a:gd name="T32" fmla="*/ 180 w 248"/>
                <a:gd name="T33" fmla="*/ 326 h 375"/>
                <a:gd name="T34" fmla="*/ 185 w 248"/>
                <a:gd name="T35" fmla="*/ 330 h 375"/>
                <a:gd name="T36" fmla="*/ 188 w 248"/>
                <a:gd name="T37" fmla="*/ 332 h 375"/>
                <a:gd name="T38" fmla="*/ 191 w 248"/>
                <a:gd name="T39" fmla="*/ 330 h 375"/>
                <a:gd name="T40" fmla="*/ 197 w 248"/>
                <a:gd name="T41" fmla="*/ 312 h 375"/>
                <a:gd name="T42" fmla="*/ 202 w 248"/>
                <a:gd name="T43" fmla="*/ 287 h 375"/>
                <a:gd name="T44" fmla="*/ 248 w 248"/>
                <a:gd name="T45" fmla="*/ 49 h 375"/>
                <a:gd name="T46" fmla="*/ 134 w 248"/>
                <a:gd name="T47" fmla="*/ 24 h 375"/>
                <a:gd name="T48" fmla="*/ 42 w 248"/>
                <a:gd name="T49" fmla="*/ 0 h 375"/>
                <a:gd name="T50" fmla="*/ 8 w 248"/>
                <a:gd name="T51" fmla="*/ 130 h 375"/>
                <a:gd name="T52" fmla="*/ 5 w 248"/>
                <a:gd name="T53" fmla="*/ 1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8" h="375">
                  <a:moveTo>
                    <a:pt x="5" y="131"/>
                  </a:moveTo>
                  <a:cubicBezTo>
                    <a:pt x="1" y="132"/>
                    <a:pt x="1" y="132"/>
                    <a:pt x="1" y="132"/>
                  </a:cubicBezTo>
                  <a:cubicBezTo>
                    <a:pt x="0" y="135"/>
                    <a:pt x="0" y="135"/>
                    <a:pt x="0" y="135"/>
                  </a:cubicBezTo>
                  <a:cubicBezTo>
                    <a:pt x="1" y="139"/>
                    <a:pt x="1" y="139"/>
                    <a:pt x="1" y="139"/>
                  </a:cubicBezTo>
                  <a:cubicBezTo>
                    <a:pt x="2" y="142"/>
                    <a:pt x="2" y="142"/>
                    <a:pt x="2" y="142"/>
                  </a:cubicBezTo>
                  <a:cubicBezTo>
                    <a:pt x="3" y="143"/>
                    <a:pt x="3" y="143"/>
                    <a:pt x="3" y="143"/>
                  </a:cubicBezTo>
                  <a:cubicBezTo>
                    <a:pt x="7" y="145"/>
                    <a:pt x="7" y="145"/>
                    <a:pt x="7" y="145"/>
                  </a:cubicBezTo>
                  <a:cubicBezTo>
                    <a:pt x="160" y="375"/>
                    <a:pt x="160" y="375"/>
                    <a:pt x="160" y="375"/>
                  </a:cubicBezTo>
                  <a:cubicBezTo>
                    <a:pt x="163" y="371"/>
                    <a:pt x="163" y="371"/>
                    <a:pt x="163" y="371"/>
                  </a:cubicBezTo>
                  <a:cubicBezTo>
                    <a:pt x="164" y="367"/>
                    <a:pt x="164" y="367"/>
                    <a:pt x="164" y="367"/>
                  </a:cubicBezTo>
                  <a:cubicBezTo>
                    <a:pt x="164" y="354"/>
                    <a:pt x="164" y="354"/>
                    <a:pt x="164" y="354"/>
                  </a:cubicBezTo>
                  <a:cubicBezTo>
                    <a:pt x="164" y="340"/>
                    <a:pt x="164" y="340"/>
                    <a:pt x="164" y="340"/>
                  </a:cubicBezTo>
                  <a:cubicBezTo>
                    <a:pt x="164" y="329"/>
                    <a:pt x="164" y="329"/>
                    <a:pt x="164" y="329"/>
                  </a:cubicBezTo>
                  <a:cubicBezTo>
                    <a:pt x="167" y="326"/>
                    <a:pt x="167" y="326"/>
                    <a:pt x="167" y="326"/>
                  </a:cubicBezTo>
                  <a:cubicBezTo>
                    <a:pt x="174" y="324"/>
                    <a:pt x="174" y="324"/>
                    <a:pt x="174" y="324"/>
                  </a:cubicBezTo>
                  <a:cubicBezTo>
                    <a:pt x="176" y="328"/>
                    <a:pt x="176" y="328"/>
                    <a:pt x="176" y="328"/>
                  </a:cubicBezTo>
                  <a:cubicBezTo>
                    <a:pt x="180" y="326"/>
                    <a:pt x="180" y="326"/>
                    <a:pt x="180" y="326"/>
                  </a:cubicBezTo>
                  <a:cubicBezTo>
                    <a:pt x="185" y="330"/>
                    <a:pt x="185" y="330"/>
                    <a:pt x="185" y="330"/>
                  </a:cubicBezTo>
                  <a:cubicBezTo>
                    <a:pt x="188" y="332"/>
                    <a:pt x="188" y="332"/>
                    <a:pt x="188" y="332"/>
                  </a:cubicBezTo>
                  <a:cubicBezTo>
                    <a:pt x="191" y="330"/>
                    <a:pt x="191" y="330"/>
                    <a:pt x="191" y="330"/>
                  </a:cubicBezTo>
                  <a:cubicBezTo>
                    <a:pt x="191" y="330"/>
                    <a:pt x="195" y="316"/>
                    <a:pt x="197" y="312"/>
                  </a:cubicBezTo>
                  <a:cubicBezTo>
                    <a:pt x="198" y="306"/>
                    <a:pt x="202" y="287"/>
                    <a:pt x="202" y="287"/>
                  </a:cubicBezTo>
                  <a:cubicBezTo>
                    <a:pt x="248" y="49"/>
                    <a:pt x="248" y="49"/>
                    <a:pt x="248" y="49"/>
                  </a:cubicBezTo>
                  <a:cubicBezTo>
                    <a:pt x="248" y="49"/>
                    <a:pt x="163" y="31"/>
                    <a:pt x="134" y="24"/>
                  </a:cubicBezTo>
                  <a:cubicBezTo>
                    <a:pt x="111" y="19"/>
                    <a:pt x="42" y="0"/>
                    <a:pt x="42" y="0"/>
                  </a:cubicBezTo>
                  <a:cubicBezTo>
                    <a:pt x="8" y="130"/>
                    <a:pt x="8" y="130"/>
                    <a:pt x="8" y="130"/>
                  </a:cubicBezTo>
                  <a:lnTo>
                    <a:pt x="5" y="131"/>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2" name="Freeform 41">
              <a:extLst>
                <a:ext uri="{FF2B5EF4-FFF2-40B4-BE49-F238E27FC236}">
                  <a16:creationId xmlns:a16="http://schemas.microsoft.com/office/drawing/2014/main" id="{43351C27-8FE2-16C2-26CA-37AB26617B1C}"/>
                </a:ext>
              </a:extLst>
            </p:cNvPr>
            <p:cNvSpPr>
              <a:spLocks/>
            </p:cNvSpPr>
            <p:nvPr/>
          </p:nvSpPr>
          <p:spPr bwMode="auto">
            <a:xfrm>
              <a:off x="5893599" y="2205554"/>
              <a:ext cx="680467" cy="542490"/>
            </a:xfrm>
            <a:custGeom>
              <a:avLst/>
              <a:gdLst>
                <a:gd name="T0" fmla="*/ 269 w 308"/>
                <a:gd name="T1" fmla="*/ 182 h 261"/>
                <a:gd name="T2" fmla="*/ 270 w 308"/>
                <a:gd name="T3" fmla="*/ 175 h 261"/>
                <a:gd name="T4" fmla="*/ 275 w 308"/>
                <a:gd name="T5" fmla="*/ 171 h 261"/>
                <a:gd name="T6" fmla="*/ 276 w 308"/>
                <a:gd name="T7" fmla="*/ 159 h 261"/>
                <a:gd name="T8" fmla="*/ 274 w 308"/>
                <a:gd name="T9" fmla="*/ 154 h 261"/>
                <a:gd name="T10" fmla="*/ 271 w 308"/>
                <a:gd name="T11" fmla="*/ 153 h 261"/>
                <a:gd name="T12" fmla="*/ 270 w 308"/>
                <a:gd name="T13" fmla="*/ 145 h 261"/>
                <a:gd name="T14" fmla="*/ 277 w 308"/>
                <a:gd name="T15" fmla="*/ 137 h 261"/>
                <a:gd name="T16" fmla="*/ 288 w 308"/>
                <a:gd name="T17" fmla="*/ 125 h 261"/>
                <a:gd name="T18" fmla="*/ 291 w 308"/>
                <a:gd name="T19" fmla="*/ 120 h 261"/>
                <a:gd name="T20" fmla="*/ 297 w 308"/>
                <a:gd name="T21" fmla="*/ 111 h 261"/>
                <a:gd name="T22" fmla="*/ 304 w 308"/>
                <a:gd name="T23" fmla="*/ 104 h 261"/>
                <a:gd name="T24" fmla="*/ 308 w 308"/>
                <a:gd name="T25" fmla="*/ 98 h 261"/>
                <a:gd name="T26" fmla="*/ 307 w 308"/>
                <a:gd name="T27" fmla="*/ 90 h 261"/>
                <a:gd name="T28" fmla="*/ 300 w 308"/>
                <a:gd name="T29" fmla="*/ 83 h 261"/>
                <a:gd name="T30" fmla="*/ 297 w 308"/>
                <a:gd name="T31" fmla="*/ 74 h 261"/>
                <a:gd name="T32" fmla="*/ 220 w 308"/>
                <a:gd name="T33" fmla="*/ 56 h 261"/>
                <a:gd name="T34" fmla="*/ 211 w 308"/>
                <a:gd name="T35" fmla="*/ 56 h 261"/>
                <a:gd name="T36" fmla="*/ 178 w 308"/>
                <a:gd name="T37" fmla="*/ 58 h 261"/>
                <a:gd name="T38" fmla="*/ 172 w 308"/>
                <a:gd name="T39" fmla="*/ 57 h 261"/>
                <a:gd name="T40" fmla="*/ 167 w 308"/>
                <a:gd name="T41" fmla="*/ 58 h 261"/>
                <a:gd name="T42" fmla="*/ 164 w 308"/>
                <a:gd name="T43" fmla="*/ 56 h 261"/>
                <a:gd name="T44" fmla="*/ 156 w 308"/>
                <a:gd name="T45" fmla="*/ 55 h 261"/>
                <a:gd name="T46" fmla="*/ 155 w 308"/>
                <a:gd name="T47" fmla="*/ 52 h 261"/>
                <a:gd name="T48" fmla="*/ 143 w 308"/>
                <a:gd name="T49" fmla="*/ 49 h 261"/>
                <a:gd name="T50" fmla="*/ 136 w 308"/>
                <a:gd name="T51" fmla="*/ 46 h 261"/>
                <a:gd name="T52" fmla="*/ 121 w 308"/>
                <a:gd name="T53" fmla="*/ 49 h 261"/>
                <a:gd name="T54" fmla="*/ 103 w 308"/>
                <a:gd name="T55" fmla="*/ 40 h 261"/>
                <a:gd name="T56" fmla="*/ 99 w 308"/>
                <a:gd name="T57" fmla="*/ 12 h 261"/>
                <a:gd name="T58" fmla="*/ 90 w 308"/>
                <a:gd name="T59" fmla="*/ 10 h 261"/>
                <a:gd name="T60" fmla="*/ 80 w 308"/>
                <a:gd name="T61" fmla="*/ 4 h 261"/>
                <a:gd name="T62" fmla="*/ 70 w 308"/>
                <a:gd name="T63" fmla="*/ 0 h 261"/>
                <a:gd name="T64" fmla="*/ 68 w 308"/>
                <a:gd name="T65" fmla="*/ 13 h 261"/>
                <a:gd name="T66" fmla="*/ 64 w 308"/>
                <a:gd name="T67" fmla="*/ 28 h 261"/>
                <a:gd name="T68" fmla="*/ 60 w 308"/>
                <a:gd name="T69" fmla="*/ 38 h 261"/>
                <a:gd name="T70" fmla="*/ 55 w 308"/>
                <a:gd name="T71" fmla="*/ 50 h 261"/>
                <a:gd name="T72" fmla="*/ 47 w 308"/>
                <a:gd name="T73" fmla="*/ 67 h 261"/>
                <a:gd name="T74" fmla="*/ 35 w 308"/>
                <a:gd name="T75" fmla="*/ 98 h 261"/>
                <a:gd name="T76" fmla="*/ 24 w 308"/>
                <a:gd name="T77" fmla="*/ 120 h 261"/>
                <a:gd name="T78" fmla="*/ 18 w 308"/>
                <a:gd name="T79" fmla="*/ 130 h 261"/>
                <a:gd name="T80" fmla="*/ 14 w 308"/>
                <a:gd name="T81" fmla="*/ 136 h 261"/>
                <a:gd name="T82" fmla="*/ 5 w 308"/>
                <a:gd name="T83" fmla="*/ 148 h 261"/>
                <a:gd name="T84" fmla="*/ 5 w 308"/>
                <a:gd name="T85" fmla="*/ 160 h 261"/>
                <a:gd name="T86" fmla="*/ 5 w 308"/>
                <a:gd name="T87" fmla="*/ 164 h 261"/>
                <a:gd name="T88" fmla="*/ 3 w 308"/>
                <a:gd name="T89" fmla="*/ 169 h 261"/>
                <a:gd name="T90" fmla="*/ 1 w 308"/>
                <a:gd name="T91" fmla="*/ 174 h 261"/>
                <a:gd name="T92" fmla="*/ 0 w 308"/>
                <a:gd name="T93" fmla="*/ 187 h 261"/>
                <a:gd name="T94" fmla="*/ 3 w 308"/>
                <a:gd name="T95" fmla="*/ 193 h 261"/>
                <a:gd name="T96" fmla="*/ 239 w 308"/>
                <a:gd name="T97" fmla="*/ 25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61">
                  <a:moveTo>
                    <a:pt x="251" y="261"/>
                  </a:moveTo>
                  <a:cubicBezTo>
                    <a:pt x="269" y="182"/>
                    <a:pt x="269" y="182"/>
                    <a:pt x="269" y="182"/>
                  </a:cubicBezTo>
                  <a:cubicBezTo>
                    <a:pt x="269" y="177"/>
                    <a:pt x="269" y="177"/>
                    <a:pt x="269" y="177"/>
                  </a:cubicBezTo>
                  <a:cubicBezTo>
                    <a:pt x="270" y="175"/>
                    <a:pt x="270" y="175"/>
                    <a:pt x="270" y="175"/>
                  </a:cubicBezTo>
                  <a:cubicBezTo>
                    <a:pt x="275" y="173"/>
                    <a:pt x="275" y="173"/>
                    <a:pt x="275" y="173"/>
                  </a:cubicBezTo>
                  <a:cubicBezTo>
                    <a:pt x="275" y="171"/>
                    <a:pt x="275" y="171"/>
                    <a:pt x="275" y="171"/>
                  </a:cubicBezTo>
                  <a:cubicBezTo>
                    <a:pt x="276" y="167"/>
                    <a:pt x="276" y="167"/>
                    <a:pt x="276" y="167"/>
                  </a:cubicBezTo>
                  <a:cubicBezTo>
                    <a:pt x="276" y="159"/>
                    <a:pt x="276" y="159"/>
                    <a:pt x="276" y="159"/>
                  </a:cubicBezTo>
                  <a:cubicBezTo>
                    <a:pt x="277" y="157"/>
                    <a:pt x="277" y="157"/>
                    <a:pt x="277" y="157"/>
                  </a:cubicBezTo>
                  <a:cubicBezTo>
                    <a:pt x="274" y="154"/>
                    <a:pt x="274" y="154"/>
                    <a:pt x="274" y="154"/>
                  </a:cubicBezTo>
                  <a:cubicBezTo>
                    <a:pt x="273" y="154"/>
                    <a:pt x="273" y="154"/>
                    <a:pt x="273" y="154"/>
                  </a:cubicBezTo>
                  <a:cubicBezTo>
                    <a:pt x="271" y="153"/>
                    <a:pt x="271" y="153"/>
                    <a:pt x="271" y="153"/>
                  </a:cubicBezTo>
                  <a:cubicBezTo>
                    <a:pt x="269" y="150"/>
                    <a:pt x="269" y="150"/>
                    <a:pt x="269" y="150"/>
                  </a:cubicBezTo>
                  <a:cubicBezTo>
                    <a:pt x="270" y="145"/>
                    <a:pt x="270" y="145"/>
                    <a:pt x="270" y="145"/>
                  </a:cubicBezTo>
                  <a:cubicBezTo>
                    <a:pt x="271" y="142"/>
                    <a:pt x="271" y="142"/>
                    <a:pt x="271" y="142"/>
                  </a:cubicBezTo>
                  <a:cubicBezTo>
                    <a:pt x="277" y="137"/>
                    <a:pt x="277" y="137"/>
                    <a:pt x="277" y="137"/>
                  </a:cubicBezTo>
                  <a:cubicBezTo>
                    <a:pt x="285" y="129"/>
                    <a:pt x="285" y="129"/>
                    <a:pt x="285" y="129"/>
                  </a:cubicBezTo>
                  <a:cubicBezTo>
                    <a:pt x="288" y="125"/>
                    <a:pt x="288" y="125"/>
                    <a:pt x="288" y="125"/>
                  </a:cubicBezTo>
                  <a:cubicBezTo>
                    <a:pt x="289" y="121"/>
                    <a:pt x="289" y="121"/>
                    <a:pt x="289" y="121"/>
                  </a:cubicBezTo>
                  <a:cubicBezTo>
                    <a:pt x="291" y="120"/>
                    <a:pt x="291" y="120"/>
                    <a:pt x="291" y="120"/>
                  </a:cubicBezTo>
                  <a:cubicBezTo>
                    <a:pt x="293" y="115"/>
                    <a:pt x="293" y="115"/>
                    <a:pt x="293" y="115"/>
                  </a:cubicBezTo>
                  <a:cubicBezTo>
                    <a:pt x="297" y="111"/>
                    <a:pt x="297" y="111"/>
                    <a:pt x="297" y="111"/>
                  </a:cubicBezTo>
                  <a:cubicBezTo>
                    <a:pt x="300" y="107"/>
                    <a:pt x="300" y="107"/>
                    <a:pt x="300" y="107"/>
                  </a:cubicBezTo>
                  <a:cubicBezTo>
                    <a:pt x="304" y="104"/>
                    <a:pt x="304" y="104"/>
                    <a:pt x="304" y="104"/>
                  </a:cubicBezTo>
                  <a:cubicBezTo>
                    <a:pt x="305" y="99"/>
                    <a:pt x="305" y="99"/>
                    <a:pt x="305" y="99"/>
                  </a:cubicBezTo>
                  <a:cubicBezTo>
                    <a:pt x="308" y="98"/>
                    <a:pt x="308" y="98"/>
                    <a:pt x="308" y="98"/>
                  </a:cubicBezTo>
                  <a:cubicBezTo>
                    <a:pt x="308" y="94"/>
                    <a:pt x="308" y="94"/>
                    <a:pt x="308" y="94"/>
                  </a:cubicBezTo>
                  <a:cubicBezTo>
                    <a:pt x="307" y="90"/>
                    <a:pt x="307" y="90"/>
                    <a:pt x="307" y="90"/>
                  </a:cubicBezTo>
                  <a:cubicBezTo>
                    <a:pt x="305" y="87"/>
                    <a:pt x="305" y="87"/>
                    <a:pt x="305" y="87"/>
                  </a:cubicBezTo>
                  <a:cubicBezTo>
                    <a:pt x="300" y="83"/>
                    <a:pt x="300" y="83"/>
                    <a:pt x="300" y="83"/>
                  </a:cubicBezTo>
                  <a:cubicBezTo>
                    <a:pt x="297" y="78"/>
                    <a:pt x="297" y="78"/>
                    <a:pt x="297" y="78"/>
                  </a:cubicBezTo>
                  <a:cubicBezTo>
                    <a:pt x="297" y="74"/>
                    <a:pt x="297" y="74"/>
                    <a:pt x="297" y="74"/>
                  </a:cubicBezTo>
                  <a:cubicBezTo>
                    <a:pt x="231" y="57"/>
                    <a:pt x="231" y="57"/>
                    <a:pt x="231" y="57"/>
                  </a:cubicBezTo>
                  <a:cubicBezTo>
                    <a:pt x="220" y="56"/>
                    <a:pt x="220" y="56"/>
                    <a:pt x="220" y="56"/>
                  </a:cubicBezTo>
                  <a:cubicBezTo>
                    <a:pt x="216" y="57"/>
                    <a:pt x="216" y="57"/>
                    <a:pt x="216" y="57"/>
                  </a:cubicBezTo>
                  <a:cubicBezTo>
                    <a:pt x="211" y="56"/>
                    <a:pt x="211" y="56"/>
                    <a:pt x="211" y="56"/>
                  </a:cubicBezTo>
                  <a:cubicBezTo>
                    <a:pt x="207" y="57"/>
                    <a:pt x="207" y="57"/>
                    <a:pt x="207" y="57"/>
                  </a:cubicBezTo>
                  <a:cubicBezTo>
                    <a:pt x="178" y="58"/>
                    <a:pt x="178" y="58"/>
                    <a:pt x="178" y="58"/>
                  </a:cubicBezTo>
                  <a:cubicBezTo>
                    <a:pt x="175" y="56"/>
                    <a:pt x="175" y="56"/>
                    <a:pt x="175" y="56"/>
                  </a:cubicBezTo>
                  <a:cubicBezTo>
                    <a:pt x="172" y="57"/>
                    <a:pt x="172" y="57"/>
                    <a:pt x="172" y="57"/>
                  </a:cubicBezTo>
                  <a:cubicBezTo>
                    <a:pt x="169" y="58"/>
                    <a:pt x="169" y="58"/>
                    <a:pt x="169" y="58"/>
                  </a:cubicBezTo>
                  <a:cubicBezTo>
                    <a:pt x="167" y="58"/>
                    <a:pt x="167" y="58"/>
                    <a:pt x="167" y="58"/>
                  </a:cubicBezTo>
                  <a:cubicBezTo>
                    <a:pt x="164" y="57"/>
                    <a:pt x="164" y="57"/>
                    <a:pt x="164" y="57"/>
                  </a:cubicBezTo>
                  <a:cubicBezTo>
                    <a:pt x="164" y="56"/>
                    <a:pt x="164" y="56"/>
                    <a:pt x="164" y="56"/>
                  </a:cubicBezTo>
                  <a:cubicBezTo>
                    <a:pt x="159" y="56"/>
                    <a:pt x="159" y="56"/>
                    <a:pt x="159" y="56"/>
                  </a:cubicBezTo>
                  <a:cubicBezTo>
                    <a:pt x="156" y="55"/>
                    <a:pt x="156" y="55"/>
                    <a:pt x="156" y="55"/>
                  </a:cubicBezTo>
                  <a:cubicBezTo>
                    <a:pt x="155" y="53"/>
                    <a:pt x="155" y="53"/>
                    <a:pt x="155" y="53"/>
                  </a:cubicBezTo>
                  <a:cubicBezTo>
                    <a:pt x="155" y="52"/>
                    <a:pt x="155" y="52"/>
                    <a:pt x="155" y="52"/>
                  </a:cubicBezTo>
                  <a:cubicBezTo>
                    <a:pt x="151" y="51"/>
                    <a:pt x="151" y="51"/>
                    <a:pt x="151" y="51"/>
                  </a:cubicBezTo>
                  <a:cubicBezTo>
                    <a:pt x="143" y="49"/>
                    <a:pt x="143" y="49"/>
                    <a:pt x="143" y="49"/>
                  </a:cubicBezTo>
                  <a:cubicBezTo>
                    <a:pt x="138" y="47"/>
                    <a:pt x="138" y="47"/>
                    <a:pt x="138" y="47"/>
                  </a:cubicBezTo>
                  <a:cubicBezTo>
                    <a:pt x="136" y="46"/>
                    <a:pt x="136" y="46"/>
                    <a:pt x="136" y="46"/>
                  </a:cubicBezTo>
                  <a:cubicBezTo>
                    <a:pt x="130" y="47"/>
                    <a:pt x="130" y="47"/>
                    <a:pt x="130" y="47"/>
                  </a:cubicBezTo>
                  <a:cubicBezTo>
                    <a:pt x="121" y="49"/>
                    <a:pt x="121" y="49"/>
                    <a:pt x="121" y="49"/>
                  </a:cubicBezTo>
                  <a:cubicBezTo>
                    <a:pt x="110" y="46"/>
                    <a:pt x="110" y="46"/>
                    <a:pt x="110" y="46"/>
                  </a:cubicBezTo>
                  <a:cubicBezTo>
                    <a:pt x="103" y="40"/>
                    <a:pt x="103" y="40"/>
                    <a:pt x="103" y="40"/>
                  </a:cubicBezTo>
                  <a:cubicBezTo>
                    <a:pt x="103" y="40"/>
                    <a:pt x="106" y="33"/>
                    <a:pt x="105" y="24"/>
                  </a:cubicBezTo>
                  <a:cubicBezTo>
                    <a:pt x="104" y="14"/>
                    <a:pt x="99" y="12"/>
                    <a:pt x="99" y="12"/>
                  </a:cubicBezTo>
                  <a:cubicBezTo>
                    <a:pt x="94" y="12"/>
                    <a:pt x="94" y="12"/>
                    <a:pt x="94" y="12"/>
                  </a:cubicBezTo>
                  <a:cubicBezTo>
                    <a:pt x="90" y="10"/>
                    <a:pt x="90" y="10"/>
                    <a:pt x="90" y="10"/>
                  </a:cubicBezTo>
                  <a:cubicBezTo>
                    <a:pt x="90" y="10"/>
                    <a:pt x="90" y="4"/>
                    <a:pt x="85" y="4"/>
                  </a:cubicBezTo>
                  <a:cubicBezTo>
                    <a:pt x="80" y="4"/>
                    <a:pt x="80" y="4"/>
                    <a:pt x="80" y="4"/>
                  </a:cubicBezTo>
                  <a:cubicBezTo>
                    <a:pt x="74" y="3"/>
                    <a:pt x="74" y="3"/>
                    <a:pt x="74" y="3"/>
                  </a:cubicBezTo>
                  <a:cubicBezTo>
                    <a:pt x="70" y="0"/>
                    <a:pt x="70" y="0"/>
                    <a:pt x="70" y="0"/>
                  </a:cubicBezTo>
                  <a:cubicBezTo>
                    <a:pt x="70" y="7"/>
                    <a:pt x="70" y="7"/>
                    <a:pt x="70" y="7"/>
                  </a:cubicBezTo>
                  <a:cubicBezTo>
                    <a:pt x="68" y="13"/>
                    <a:pt x="68" y="13"/>
                    <a:pt x="68" y="13"/>
                  </a:cubicBezTo>
                  <a:cubicBezTo>
                    <a:pt x="63" y="22"/>
                    <a:pt x="63" y="22"/>
                    <a:pt x="63" y="22"/>
                  </a:cubicBezTo>
                  <a:cubicBezTo>
                    <a:pt x="64" y="28"/>
                    <a:pt x="64" y="28"/>
                    <a:pt x="64" y="28"/>
                  </a:cubicBezTo>
                  <a:cubicBezTo>
                    <a:pt x="63" y="33"/>
                    <a:pt x="63" y="33"/>
                    <a:pt x="63" y="33"/>
                  </a:cubicBezTo>
                  <a:cubicBezTo>
                    <a:pt x="60" y="38"/>
                    <a:pt x="60" y="38"/>
                    <a:pt x="60" y="38"/>
                  </a:cubicBezTo>
                  <a:cubicBezTo>
                    <a:pt x="58" y="43"/>
                    <a:pt x="58" y="43"/>
                    <a:pt x="58" y="43"/>
                  </a:cubicBezTo>
                  <a:cubicBezTo>
                    <a:pt x="55" y="50"/>
                    <a:pt x="55" y="50"/>
                    <a:pt x="55" y="50"/>
                  </a:cubicBezTo>
                  <a:cubicBezTo>
                    <a:pt x="53" y="55"/>
                    <a:pt x="53" y="55"/>
                    <a:pt x="53" y="55"/>
                  </a:cubicBezTo>
                  <a:cubicBezTo>
                    <a:pt x="47" y="67"/>
                    <a:pt x="47" y="67"/>
                    <a:pt x="47" y="67"/>
                  </a:cubicBezTo>
                  <a:cubicBezTo>
                    <a:pt x="40" y="85"/>
                    <a:pt x="40" y="85"/>
                    <a:pt x="40" y="85"/>
                  </a:cubicBezTo>
                  <a:cubicBezTo>
                    <a:pt x="35" y="98"/>
                    <a:pt x="35" y="98"/>
                    <a:pt x="35" y="98"/>
                  </a:cubicBezTo>
                  <a:cubicBezTo>
                    <a:pt x="30" y="111"/>
                    <a:pt x="30" y="111"/>
                    <a:pt x="30" y="111"/>
                  </a:cubicBezTo>
                  <a:cubicBezTo>
                    <a:pt x="24" y="120"/>
                    <a:pt x="24" y="120"/>
                    <a:pt x="24" y="120"/>
                  </a:cubicBezTo>
                  <a:cubicBezTo>
                    <a:pt x="22" y="124"/>
                    <a:pt x="22" y="124"/>
                    <a:pt x="22" y="124"/>
                  </a:cubicBezTo>
                  <a:cubicBezTo>
                    <a:pt x="18" y="130"/>
                    <a:pt x="18" y="130"/>
                    <a:pt x="18" y="130"/>
                  </a:cubicBezTo>
                  <a:cubicBezTo>
                    <a:pt x="15" y="133"/>
                    <a:pt x="15" y="133"/>
                    <a:pt x="15" y="133"/>
                  </a:cubicBezTo>
                  <a:cubicBezTo>
                    <a:pt x="14" y="136"/>
                    <a:pt x="14" y="136"/>
                    <a:pt x="14" y="136"/>
                  </a:cubicBezTo>
                  <a:cubicBezTo>
                    <a:pt x="11" y="141"/>
                    <a:pt x="11" y="141"/>
                    <a:pt x="11" y="141"/>
                  </a:cubicBezTo>
                  <a:cubicBezTo>
                    <a:pt x="5" y="148"/>
                    <a:pt x="5" y="148"/>
                    <a:pt x="5" y="148"/>
                  </a:cubicBezTo>
                  <a:cubicBezTo>
                    <a:pt x="3" y="152"/>
                    <a:pt x="3" y="152"/>
                    <a:pt x="3" y="152"/>
                  </a:cubicBezTo>
                  <a:cubicBezTo>
                    <a:pt x="5" y="160"/>
                    <a:pt x="5" y="160"/>
                    <a:pt x="5" y="160"/>
                  </a:cubicBezTo>
                  <a:cubicBezTo>
                    <a:pt x="5" y="162"/>
                    <a:pt x="5" y="162"/>
                    <a:pt x="5" y="162"/>
                  </a:cubicBezTo>
                  <a:cubicBezTo>
                    <a:pt x="5" y="164"/>
                    <a:pt x="5" y="164"/>
                    <a:pt x="5" y="164"/>
                  </a:cubicBezTo>
                  <a:cubicBezTo>
                    <a:pt x="4" y="165"/>
                    <a:pt x="4" y="165"/>
                    <a:pt x="4" y="165"/>
                  </a:cubicBezTo>
                  <a:cubicBezTo>
                    <a:pt x="3" y="169"/>
                    <a:pt x="3" y="169"/>
                    <a:pt x="3" y="169"/>
                  </a:cubicBezTo>
                  <a:cubicBezTo>
                    <a:pt x="1" y="170"/>
                    <a:pt x="1" y="170"/>
                    <a:pt x="1" y="170"/>
                  </a:cubicBezTo>
                  <a:cubicBezTo>
                    <a:pt x="1" y="174"/>
                    <a:pt x="1" y="174"/>
                    <a:pt x="1" y="174"/>
                  </a:cubicBezTo>
                  <a:cubicBezTo>
                    <a:pt x="0" y="182"/>
                    <a:pt x="0" y="182"/>
                    <a:pt x="0" y="182"/>
                  </a:cubicBezTo>
                  <a:cubicBezTo>
                    <a:pt x="0" y="187"/>
                    <a:pt x="0" y="187"/>
                    <a:pt x="0" y="187"/>
                  </a:cubicBezTo>
                  <a:cubicBezTo>
                    <a:pt x="2" y="190"/>
                    <a:pt x="2" y="190"/>
                    <a:pt x="2" y="190"/>
                  </a:cubicBezTo>
                  <a:cubicBezTo>
                    <a:pt x="3" y="193"/>
                    <a:pt x="3" y="193"/>
                    <a:pt x="3" y="193"/>
                  </a:cubicBezTo>
                  <a:cubicBezTo>
                    <a:pt x="147" y="234"/>
                    <a:pt x="147" y="234"/>
                    <a:pt x="147" y="234"/>
                  </a:cubicBezTo>
                  <a:cubicBezTo>
                    <a:pt x="147" y="234"/>
                    <a:pt x="216" y="253"/>
                    <a:pt x="239" y="258"/>
                  </a:cubicBezTo>
                  <a:cubicBezTo>
                    <a:pt x="242" y="259"/>
                    <a:pt x="246" y="260"/>
                    <a:pt x="251" y="261"/>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3" name="Freeform 42">
              <a:extLst>
                <a:ext uri="{FF2B5EF4-FFF2-40B4-BE49-F238E27FC236}">
                  <a16:creationId xmlns:a16="http://schemas.microsoft.com/office/drawing/2014/main" id="{76BBAAA7-0FB5-0AF0-4E03-20DE697D76B7}"/>
                </a:ext>
              </a:extLst>
            </p:cNvPr>
            <p:cNvSpPr>
              <a:spLocks/>
            </p:cNvSpPr>
            <p:nvPr/>
          </p:nvSpPr>
          <p:spPr bwMode="auto">
            <a:xfrm>
              <a:off x="6448921" y="2060726"/>
              <a:ext cx="503180" cy="775686"/>
            </a:xfrm>
            <a:custGeom>
              <a:avLst/>
              <a:gdLst>
                <a:gd name="T0" fmla="*/ 46 w 228"/>
                <a:gd name="T1" fmla="*/ 143 h 373"/>
                <a:gd name="T2" fmla="*/ 49 w 228"/>
                <a:gd name="T3" fmla="*/ 152 h 373"/>
                <a:gd name="T4" fmla="*/ 56 w 228"/>
                <a:gd name="T5" fmla="*/ 159 h 373"/>
                <a:gd name="T6" fmla="*/ 57 w 228"/>
                <a:gd name="T7" fmla="*/ 167 h 373"/>
                <a:gd name="T8" fmla="*/ 53 w 228"/>
                <a:gd name="T9" fmla="*/ 173 h 373"/>
                <a:gd name="T10" fmla="*/ 46 w 228"/>
                <a:gd name="T11" fmla="*/ 180 h 373"/>
                <a:gd name="T12" fmla="*/ 40 w 228"/>
                <a:gd name="T13" fmla="*/ 189 h 373"/>
                <a:gd name="T14" fmla="*/ 37 w 228"/>
                <a:gd name="T15" fmla="*/ 194 h 373"/>
                <a:gd name="T16" fmla="*/ 26 w 228"/>
                <a:gd name="T17" fmla="*/ 206 h 373"/>
                <a:gd name="T18" fmla="*/ 19 w 228"/>
                <a:gd name="T19" fmla="*/ 214 h 373"/>
                <a:gd name="T20" fmla="*/ 20 w 228"/>
                <a:gd name="T21" fmla="*/ 222 h 373"/>
                <a:gd name="T22" fmla="*/ 23 w 228"/>
                <a:gd name="T23" fmla="*/ 223 h 373"/>
                <a:gd name="T24" fmla="*/ 25 w 228"/>
                <a:gd name="T25" fmla="*/ 228 h 373"/>
                <a:gd name="T26" fmla="*/ 24 w 228"/>
                <a:gd name="T27" fmla="*/ 240 h 373"/>
                <a:gd name="T28" fmla="*/ 19 w 228"/>
                <a:gd name="T29" fmla="*/ 244 h 373"/>
                <a:gd name="T30" fmla="*/ 18 w 228"/>
                <a:gd name="T31" fmla="*/ 251 h 373"/>
                <a:gd name="T32" fmla="*/ 102 w 228"/>
                <a:gd name="T33" fmla="*/ 352 h 373"/>
                <a:gd name="T34" fmla="*/ 228 w 228"/>
                <a:gd name="T35" fmla="*/ 256 h 373"/>
                <a:gd name="T36" fmla="*/ 224 w 228"/>
                <a:gd name="T37" fmla="*/ 252 h 373"/>
                <a:gd name="T38" fmla="*/ 223 w 228"/>
                <a:gd name="T39" fmla="*/ 247 h 373"/>
                <a:gd name="T40" fmla="*/ 218 w 228"/>
                <a:gd name="T41" fmla="*/ 241 h 373"/>
                <a:gd name="T42" fmla="*/ 213 w 228"/>
                <a:gd name="T43" fmla="*/ 246 h 373"/>
                <a:gd name="T44" fmla="*/ 202 w 228"/>
                <a:gd name="T45" fmla="*/ 248 h 373"/>
                <a:gd name="T46" fmla="*/ 189 w 228"/>
                <a:gd name="T47" fmla="*/ 245 h 373"/>
                <a:gd name="T48" fmla="*/ 184 w 228"/>
                <a:gd name="T49" fmla="*/ 247 h 373"/>
                <a:gd name="T50" fmla="*/ 179 w 228"/>
                <a:gd name="T51" fmla="*/ 247 h 373"/>
                <a:gd name="T52" fmla="*/ 171 w 228"/>
                <a:gd name="T53" fmla="*/ 244 h 373"/>
                <a:gd name="T54" fmla="*/ 168 w 228"/>
                <a:gd name="T55" fmla="*/ 247 h 373"/>
                <a:gd name="T56" fmla="*/ 164 w 228"/>
                <a:gd name="T57" fmla="*/ 249 h 373"/>
                <a:gd name="T58" fmla="*/ 162 w 228"/>
                <a:gd name="T59" fmla="*/ 242 h 373"/>
                <a:gd name="T60" fmla="*/ 160 w 228"/>
                <a:gd name="T61" fmla="*/ 232 h 373"/>
                <a:gd name="T62" fmla="*/ 156 w 228"/>
                <a:gd name="T63" fmla="*/ 226 h 373"/>
                <a:gd name="T64" fmla="*/ 149 w 228"/>
                <a:gd name="T65" fmla="*/ 220 h 373"/>
                <a:gd name="T66" fmla="*/ 149 w 228"/>
                <a:gd name="T67" fmla="*/ 213 h 373"/>
                <a:gd name="T68" fmla="*/ 145 w 228"/>
                <a:gd name="T69" fmla="*/ 204 h 373"/>
                <a:gd name="T70" fmla="*/ 145 w 228"/>
                <a:gd name="T71" fmla="*/ 195 h 373"/>
                <a:gd name="T72" fmla="*/ 142 w 228"/>
                <a:gd name="T73" fmla="*/ 183 h 373"/>
                <a:gd name="T74" fmla="*/ 139 w 228"/>
                <a:gd name="T75" fmla="*/ 179 h 373"/>
                <a:gd name="T76" fmla="*/ 133 w 228"/>
                <a:gd name="T77" fmla="*/ 182 h 373"/>
                <a:gd name="T78" fmla="*/ 127 w 228"/>
                <a:gd name="T79" fmla="*/ 186 h 373"/>
                <a:gd name="T80" fmla="*/ 125 w 228"/>
                <a:gd name="T81" fmla="*/ 183 h 373"/>
                <a:gd name="T82" fmla="*/ 119 w 228"/>
                <a:gd name="T83" fmla="*/ 179 h 373"/>
                <a:gd name="T84" fmla="*/ 125 w 228"/>
                <a:gd name="T85" fmla="*/ 168 h 373"/>
                <a:gd name="T86" fmla="*/ 129 w 228"/>
                <a:gd name="T87" fmla="*/ 166 h 373"/>
                <a:gd name="T88" fmla="*/ 128 w 228"/>
                <a:gd name="T89" fmla="*/ 154 h 373"/>
                <a:gd name="T90" fmla="*/ 134 w 228"/>
                <a:gd name="T91" fmla="*/ 141 h 373"/>
                <a:gd name="T92" fmla="*/ 137 w 228"/>
                <a:gd name="T93" fmla="*/ 131 h 373"/>
                <a:gd name="T94" fmla="*/ 128 w 228"/>
                <a:gd name="T95" fmla="*/ 128 h 373"/>
                <a:gd name="T96" fmla="*/ 123 w 228"/>
                <a:gd name="T97" fmla="*/ 118 h 373"/>
                <a:gd name="T98" fmla="*/ 119 w 228"/>
                <a:gd name="T99" fmla="*/ 106 h 373"/>
                <a:gd name="T100" fmla="*/ 109 w 228"/>
                <a:gd name="T101" fmla="*/ 93 h 373"/>
                <a:gd name="T102" fmla="*/ 104 w 228"/>
                <a:gd name="T103" fmla="*/ 82 h 373"/>
                <a:gd name="T104" fmla="*/ 101 w 228"/>
                <a:gd name="T105" fmla="*/ 76 h 373"/>
                <a:gd name="T106" fmla="*/ 101 w 228"/>
                <a:gd name="T107" fmla="*/ 69 h 373"/>
                <a:gd name="T108" fmla="*/ 97 w 228"/>
                <a:gd name="T109" fmla="*/ 62 h 373"/>
                <a:gd name="T110" fmla="*/ 98 w 228"/>
                <a:gd name="T111" fmla="*/ 48 h 373"/>
                <a:gd name="T112" fmla="*/ 104 w 228"/>
                <a:gd name="T113" fmla="*/ 25 h 373"/>
                <a:gd name="T114" fmla="*/ 108 w 228"/>
                <a:gd name="T115" fmla="*/ 8 h 373"/>
                <a:gd name="T116" fmla="*/ 47 w 228"/>
                <a:gd name="T117" fmla="*/ 12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373">
                  <a:moveTo>
                    <a:pt x="48" y="132"/>
                  </a:moveTo>
                  <a:cubicBezTo>
                    <a:pt x="48" y="138"/>
                    <a:pt x="46" y="143"/>
                    <a:pt x="46" y="143"/>
                  </a:cubicBezTo>
                  <a:cubicBezTo>
                    <a:pt x="46" y="147"/>
                    <a:pt x="46" y="147"/>
                    <a:pt x="46" y="147"/>
                  </a:cubicBezTo>
                  <a:cubicBezTo>
                    <a:pt x="49" y="152"/>
                    <a:pt x="49" y="152"/>
                    <a:pt x="49" y="152"/>
                  </a:cubicBezTo>
                  <a:cubicBezTo>
                    <a:pt x="54" y="156"/>
                    <a:pt x="54" y="156"/>
                    <a:pt x="54" y="156"/>
                  </a:cubicBezTo>
                  <a:cubicBezTo>
                    <a:pt x="56" y="159"/>
                    <a:pt x="56" y="159"/>
                    <a:pt x="56" y="159"/>
                  </a:cubicBezTo>
                  <a:cubicBezTo>
                    <a:pt x="57" y="163"/>
                    <a:pt x="57" y="163"/>
                    <a:pt x="57" y="163"/>
                  </a:cubicBezTo>
                  <a:cubicBezTo>
                    <a:pt x="57" y="167"/>
                    <a:pt x="57" y="167"/>
                    <a:pt x="57" y="167"/>
                  </a:cubicBezTo>
                  <a:cubicBezTo>
                    <a:pt x="54" y="168"/>
                    <a:pt x="54" y="168"/>
                    <a:pt x="54" y="168"/>
                  </a:cubicBezTo>
                  <a:cubicBezTo>
                    <a:pt x="53" y="173"/>
                    <a:pt x="53" y="173"/>
                    <a:pt x="53" y="173"/>
                  </a:cubicBezTo>
                  <a:cubicBezTo>
                    <a:pt x="49" y="176"/>
                    <a:pt x="49" y="176"/>
                    <a:pt x="49" y="176"/>
                  </a:cubicBezTo>
                  <a:cubicBezTo>
                    <a:pt x="46" y="180"/>
                    <a:pt x="46" y="180"/>
                    <a:pt x="46" y="180"/>
                  </a:cubicBezTo>
                  <a:cubicBezTo>
                    <a:pt x="42" y="184"/>
                    <a:pt x="42" y="184"/>
                    <a:pt x="42" y="184"/>
                  </a:cubicBezTo>
                  <a:cubicBezTo>
                    <a:pt x="40" y="189"/>
                    <a:pt x="40" y="189"/>
                    <a:pt x="40" y="189"/>
                  </a:cubicBezTo>
                  <a:cubicBezTo>
                    <a:pt x="38" y="190"/>
                    <a:pt x="38" y="190"/>
                    <a:pt x="38" y="190"/>
                  </a:cubicBezTo>
                  <a:cubicBezTo>
                    <a:pt x="37" y="194"/>
                    <a:pt x="37" y="194"/>
                    <a:pt x="37" y="194"/>
                  </a:cubicBezTo>
                  <a:cubicBezTo>
                    <a:pt x="34" y="198"/>
                    <a:pt x="34" y="198"/>
                    <a:pt x="34" y="198"/>
                  </a:cubicBezTo>
                  <a:cubicBezTo>
                    <a:pt x="26" y="206"/>
                    <a:pt x="26" y="206"/>
                    <a:pt x="26" y="206"/>
                  </a:cubicBezTo>
                  <a:cubicBezTo>
                    <a:pt x="20" y="211"/>
                    <a:pt x="20" y="211"/>
                    <a:pt x="20" y="211"/>
                  </a:cubicBezTo>
                  <a:cubicBezTo>
                    <a:pt x="19" y="214"/>
                    <a:pt x="19" y="214"/>
                    <a:pt x="19" y="214"/>
                  </a:cubicBezTo>
                  <a:cubicBezTo>
                    <a:pt x="18" y="219"/>
                    <a:pt x="18" y="219"/>
                    <a:pt x="18" y="219"/>
                  </a:cubicBezTo>
                  <a:cubicBezTo>
                    <a:pt x="20" y="222"/>
                    <a:pt x="20" y="222"/>
                    <a:pt x="20" y="222"/>
                  </a:cubicBezTo>
                  <a:cubicBezTo>
                    <a:pt x="22" y="223"/>
                    <a:pt x="22" y="223"/>
                    <a:pt x="22" y="223"/>
                  </a:cubicBezTo>
                  <a:cubicBezTo>
                    <a:pt x="23" y="223"/>
                    <a:pt x="23" y="223"/>
                    <a:pt x="23" y="223"/>
                  </a:cubicBezTo>
                  <a:cubicBezTo>
                    <a:pt x="26" y="226"/>
                    <a:pt x="26" y="226"/>
                    <a:pt x="26" y="226"/>
                  </a:cubicBezTo>
                  <a:cubicBezTo>
                    <a:pt x="25" y="228"/>
                    <a:pt x="25" y="228"/>
                    <a:pt x="25" y="228"/>
                  </a:cubicBezTo>
                  <a:cubicBezTo>
                    <a:pt x="25" y="236"/>
                    <a:pt x="25" y="236"/>
                    <a:pt x="25" y="236"/>
                  </a:cubicBezTo>
                  <a:cubicBezTo>
                    <a:pt x="24" y="240"/>
                    <a:pt x="24" y="240"/>
                    <a:pt x="24" y="240"/>
                  </a:cubicBezTo>
                  <a:cubicBezTo>
                    <a:pt x="24" y="242"/>
                    <a:pt x="24" y="242"/>
                    <a:pt x="24" y="242"/>
                  </a:cubicBezTo>
                  <a:cubicBezTo>
                    <a:pt x="19" y="244"/>
                    <a:pt x="19" y="244"/>
                    <a:pt x="19" y="244"/>
                  </a:cubicBezTo>
                  <a:cubicBezTo>
                    <a:pt x="18" y="246"/>
                    <a:pt x="18" y="246"/>
                    <a:pt x="18" y="246"/>
                  </a:cubicBezTo>
                  <a:cubicBezTo>
                    <a:pt x="18" y="251"/>
                    <a:pt x="18" y="251"/>
                    <a:pt x="18" y="251"/>
                  </a:cubicBezTo>
                  <a:cubicBezTo>
                    <a:pt x="0" y="330"/>
                    <a:pt x="0" y="330"/>
                    <a:pt x="0" y="330"/>
                  </a:cubicBezTo>
                  <a:cubicBezTo>
                    <a:pt x="35" y="338"/>
                    <a:pt x="102" y="352"/>
                    <a:pt x="102" y="352"/>
                  </a:cubicBezTo>
                  <a:cubicBezTo>
                    <a:pt x="208" y="373"/>
                    <a:pt x="208" y="373"/>
                    <a:pt x="208" y="373"/>
                  </a:cubicBezTo>
                  <a:cubicBezTo>
                    <a:pt x="228" y="256"/>
                    <a:pt x="228" y="256"/>
                    <a:pt x="228" y="256"/>
                  </a:cubicBezTo>
                  <a:cubicBezTo>
                    <a:pt x="226" y="254"/>
                    <a:pt x="226" y="254"/>
                    <a:pt x="226" y="254"/>
                  </a:cubicBezTo>
                  <a:cubicBezTo>
                    <a:pt x="224" y="252"/>
                    <a:pt x="224" y="252"/>
                    <a:pt x="224" y="252"/>
                  </a:cubicBezTo>
                  <a:cubicBezTo>
                    <a:pt x="224" y="251"/>
                    <a:pt x="224" y="251"/>
                    <a:pt x="224" y="251"/>
                  </a:cubicBezTo>
                  <a:cubicBezTo>
                    <a:pt x="223" y="247"/>
                    <a:pt x="223" y="247"/>
                    <a:pt x="223" y="247"/>
                  </a:cubicBezTo>
                  <a:cubicBezTo>
                    <a:pt x="221" y="244"/>
                    <a:pt x="221" y="244"/>
                    <a:pt x="221" y="244"/>
                  </a:cubicBezTo>
                  <a:cubicBezTo>
                    <a:pt x="218" y="241"/>
                    <a:pt x="218" y="241"/>
                    <a:pt x="218" y="241"/>
                  </a:cubicBezTo>
                  <a:cubicBezTo>
                    <a:pt x="214" y="241"/>
                    <a:pt x="214" y="241"/>
                    <a:pt x="214" y="241"/>
                  </a:cubicBezTo>
                  <a:cubicBezTo>
                    <a:pt x="213" y="246"/>
                    <a:pt x="213" y="246"/>
                    <a:pt x="213" y="246"/>
                  </a:cubicBezTo>
                  <a:cubicBezTo>
                    <a:pt x="212" y="249"/>
                    <a:pt x="212" y="249"/>
                    <a:pt x="212" y="249"/>
                  </a:cubicBezTo>
                  <a:cubicBezTo>
                    <a:pt x="202" y="248"/>
                    <a:pt x="202" y="248"/>
                    <a:pt x="202" y="248"/>
                  </a:cubicBezTo>
                  <a:cubicBezTo>
                    <a:pt x="197" y="246"/>
                    <a:pt x="197" y="246"/>
                    <a:pt x="197" y="246"/>
                  </a:cubicBezTo>
                  <a:cubicBezTo>
                    <a:pt x="189" y="245"/>
                    <a:pt x="189" y="245"/>
                    <a:pt x="189" y="245"/>
                  </a:cubicBezTo>
                  <a:cubicBezTo>
                    <a:pt x="185" y="245"/>
                    <a:pt x="185" y="245"/>
                    <a:pt x="185" y="245"/>
                  </a:cubicBezTo>
                  <a:cubicBezTo>
                    <a:pt x="184" y="247"/>
                    <a:pt x="184" y="247"/>
                    <a:pt x="184" y="247"/>
                  </a:cubicBezTo>
                  <a:cubicBezTo>
                    <a:pt x="184" y="249"/>
                    <a:pt x="184" y="249"/>
                    <a:pt x="184" y="249"/>
                  </a:cubicBezTo>
                  <a:cubicBezTo>
                    <a:pt x="179" y="247"/>
                    <a:pt x="179" y="247"/>
                    <a:pt x="179" y="247"/>
                  </a:cubicBezTo>
                  <a:cubicBezTo>
                    <a:pt x="174" y="244"/>
                    <a:pt x="174" y="244"/>
                    <a:pt x="174" y="244"/>
                  </a:cubicBezTo>
                  <a:cubicBezTo>
                    <a:pt x="171" y="244"/>
                    <a:pt x="171" y="244"/>
                    <a:pt x="171" y="244"/>
                  </a:cubicBezTo>
                  <a:cubicBezTo>
                    <a:pt x="169" y="244"/>
                    <a:pt x="169" y="244"/>
                    <a:pt x="169" y="244"/>
                  </a:cubicBezTo>
                  <a:cubicBezTo>
                    <a:pt x="168" y="247"/>
                    <a:pt x="168" y="247"/>
                    <a:pt x="168" y="247"/>
                  </a:cubicBezTo>
                  <a:cubicBezTo>
                    <a:pt x="168" y="249"/>
                    <a:pt x="168" y="249"/>
                    <a:pt x="168" y="249"/>
                  </a:cubicBezTo>
                  <a:cubicBezTo>
                    <a:pt x="164" y="249"/>
                    <a:pt x="164" y="249"/>
                    <a:pt x="164" y="249"/>
                  </a:cubicBezTo>
                  <a:cubicBezTo>
                    <a:pt x="162" y="245"/>
                    <a:pt x="162" y="245"/>
                    <a:pt x="162" y="245"/>
                  </a:cubicBezTo>
                  <a:cubicBezTo>
                    <a:pt x="162" y="242"/>
                    <a:pt x="162" y="242"/>
                    <a:pt x="162" y="242"/>
                  </a:cubicBezTo>
                  <a:cubicBezTo>
                    <a:pt x="162" y="238"/>
                    <a:pt x="162" y="238"/>
                    <a:pt x="162" y="238"/>
                  </a:cubicBezTo>
                  <a:cubicBezTo>
                    <a:pt x="160" y="232"/>
                    <a:pt x="160" y="232"/>
                    <a:pt x="160" y="232"/>
                  </a:cubicBezTo>
                  <a:cubicBezTo>
                    <a:pt x="160" y="226"/>
                    <a:pt x="160" y="226"/>
                    <a:pt x="160" y="226"/>
                  </a:cubicBezTo>
                  <a:cubicBezTo>
                    <a:pt x="156" y="226"/>
                    <a:pt x="156" y="226"/>
                    <a:pt x="156" y="226"/>
                  </a:cubicBezTo>
                  <a:cubicBezTo>
                    <a:pt x="151" y="223"/>
                    <a:pt x="151" y="223"/>
                    <a:pt x="151" y="223"/>
                  </a:cubicBezTo>
                  <a:cubicBezTo>
                    <a:pt x="149" y="220"/>
                    <a:pt x="149" y="220"/>
                    <a:pt x="149" y="220"/>
                  </a:cubicBezTo>
                  <a:cubicBezTo>
                    <a:pt x="149" y="218"/>
                    <a:pt x="149" y="218"/>
                    <a:pt x="149" y="218"/>
                  </a:cubicBezTo>
                  <a:cubicBezTo>
                    <a:pt x="149" y="213"/>
                    <a:pt x="149" y="213"/>
                    <a:pt x="149" y="213"/>
                  </a:cubicBezTo>
                  <a:cubicBezTo>
                    <a:pt x="149" y="208"/>
                    <a:pt x="149" y="208"/>
                    <a:pt x="149" y="208"/>
                  </a:cubicBezTo>
                  <a:cubicBezTo>
                    <a:pt x="145" y="204"/>
                    <a:pt x="145" y="204"/>
                    <a:pt x="145" y="204"/>
                  </a:cubicBezTo>
                  <a:cubicBezTo>
                    <a:pt x="145" y="201"/>
                    <a:pt x="145" y="201"/>
                    <a:pt x="145" y="201"/>
                  </a:cubicBezTo>
                  <a:cubicBezTo>
                    <a:pt x="145" y="195"/>
                    <a:pt x="145" y="195"/>
                    <a:pt x="145" y="195"/>
                  </a:cubicBezTo>
                  <a:cubicBezTo>
                    <a:pt x="144" y="187"/>
                    <a:pt x="144" y="187"/>
                    <a:pt x="144" y="187"/>
                  </a:cubicBezTo>
                  <a:cubicBezTo>
                    <a:pt x="142" y="183"/>
                    <a:pt x="142" y="183"/>
                    <a:pt x="142" y="183"/>
                  </a:cubicBezTo>
                  <a:cubicBezTo>
                    <a:pt x="141" y="179"/>
                    <a:pt x="141" y="179"/>
                    <a:pt x="141" y="179"/>
                  </a:cubicBezTo>
                  <a:cubicBezTo>
                    <a:pt x="139" y="179"/>
                    <a:pt x="139" y="179"/>
                    <a:pt x="139" y="179"/>
                  </a:cubicBezTo>
                  <a:cubicBezTo>
                    <a:pt x="135" y="182"/>
                    <a:pt x="135" y="182"/>
                    <a:pt x="135" y="182"/>
                  </a:cubicBezTo>
                  <a:cubicBezTo>
                    <a:pt x="133" y="182"/>
                    <a:pt x="133" y="182"/>
                    <a:pt x="133" y="182"/>
                  </a:cubicBezTo>
                  <a:cubicBezTo>
                    <a:pt x="130" y="183"/>
                    <a:pt x="130" y="183"/>
                    <a:pt x="130" y="183"/>
                  </a:cubicBezTo>
                  <a:cubicBezTo>
                    <a:pt x="127" y="186"/>
                    <a:pt x="127" y="186"/>
                    <a:pt x="127" y="186"/>
                  </a:cubicBezTo>
                  <a:cubicBezTo>
                    <a:pt x="125" y="186"/>
                    <a:pt x="125" y="186"/>
                    <a:pt x="125" y="186"/>
                  </a:cubicBezTo>
                  <a:cubicBezTo>
                    <a:pt x="125" y="183"/>
                    <a:pt x="125" y="183"/>
                    <a:pt x="125" y="183"/>
                  </a:cubicBezTo>
                  <a:cubicBezTo>
                    <a:pt x="121" y="181"/>
                    <a:pt x="121" y="181"/>
                    <a:pt x="121" y="181"/>
                  </a:cubicBezTo>
                  <a:cubicBezTo>
                    <a:pt x="119" y="179"/>
                    <a:pt x="119" y="179"/>
                    <a:pt x="119" y="179"/>
                  </a:cubicBezTo>
                  <a:cubicBezTo>
                    <a:pt x="122" y="172"/>
                    <a:pt x="122" y="172"/>
                    <a:pt x="122" y="172"/>
                  </a:cubicBezTo>
                  <a:cubicBezTo>
                    <a:pt x="125" y="168"/>
                    <a:pt x="125" y="168"/>
                    <a:pt x="125" y="168"/>
                  </a:cubicBezTo>
                  <a:cubicBezTo>
                    <a:pt x="128" y="168"/>
                    <a:pt x="128" y="168"/>
                    <a:pt x="128" y="168"/>
                  </a:cubicBezTo>
                  <a:cubicBezTo>
                    <a:pt x="129" y="166"/>
                    <a:pt x="129" y="166"/>
                    <a:pt x="129" y="166"/>
                  </a:cubicBezTo>
                  <a:cubicBezTo>
                    <a:pt x="127" y="160"/>
                    <a:pt x="127" y="160"/>
                    <a:pt x="127" y="160"/>
                  </a:cubicBezTo>
                  <a:cubicBezTo>
                    <a:pt x="128" y="154"/>
                    <a:pt x="128" y="154"/>
                    <a:pt x="128" y="154"/>
                  </a:cubicBezTo>
                  <a:cubicBezTo>
                    <a:pt x="131" y="147"/>
                    <a:pt x="131" y="147"/>
                    <a:pt x="131" y="147"/>
                  </a:cubicBezTo>
                  <a:cubicBezTo>
                    <a:pt x="134" y="141"/>
                    <a:pt x="134" y="141"/>
                    <a:pt x="134" y="141"/>
                  </a:cubicBezTo>
                  <a:cubicBezTo>
                    <a:pt x="137" y="135"/>
                    <a:pt x="137" y="135"/>
                    <a:pt x="137" y="135"/>
                  </a:cubicBezTo>
                  <a:cubicBezTo>
                    <a:pt x="137" y="131"/>
                    <a:pt x="137" y="131"/>
                    <a:pt x="137" y="131"/>
                  </a:cubicBezTo>
                  <a:cubicBezTo>
                    <a:pt x="128" y="129"/>
                    <a:pt x="128" y="129"/>
                    <a:pt x="128" y="129"/>
                  </a:cubicBezTo>
                  <a:cubicBezTo>
                    <a:pt x="128" y="128"/>
                    <a:pt x="128" y="128"/>
                    <a:pt x="128" y="128"/>
                  </a:cubicBezTo>
                  <a:cubicBezTo>
                    <a:pt x="125" y="124"/>
                    <a:pt x="125" y="124"/>
                    <a:pt x="125" y="124"/>
                  </a:cubicBezTo>
                  <a:cubicBezTo>
                    <a:pt x="123" y="118"/>
                    <a:pt x="123" y="118"/>
                    <a:pt x="123" y="118"/>
                  </a:cubicBezTo>
                  <a:cubicBezTo>
                    <a:pt x="122" y="111"/>
                    <a:pt x="122" y="111"/>
                    <a:pt x="122" y="111"/>
                  </a:cubicBezTo>
                  <a:cubicBezTo>
                    <a:pt x="119" y="106"/>
                    <a:pt x="119" y="106"/>
                    <a:pt x="119" y="106"/>
                  </a:cubicBezTo>
                  <a:cubicBezTo>
                    <a:pt x="114" y="101"/>
                    <a:pt x="114" y="101"/>
                    <a:pt x="114" y="101"/>
                  </a:cubicBezTo>
                  <a:cubicBezTo>
                    <a:pt x="109" y="93"/>
                    <a:pt x="109" y="93"/>
                    <a:pt x="109" y="93"/>
                  </a:cubicBezTo>
                  <a:cubicBezTo>
                    <a:pt x="108" y="88"/>
                    <a:pt x="108" y="88"/>
                    <a:pt x="108" y="88"/>
                  </a:cubicBezTo>
                  <a:cubicBezTo>
                    <a:pt x="104" y="82"/>
                    <a:pt x="104" y="82"/>
                    <a:pt x="104" y="82"/>
                  </a:cubicBezTo>
                  <a:cubicBezTo>
                    <a:pt x="104" y="79"/>
                    <a:pt x="104" y="79"/>
                    <a:pt x="104" y="79"/>
                  </a:cubicBezTo>
                  <a:cubicBezTo>
                    <a:pt x="101" y="76"/>
                    <a:pt x="101" y="76"/>
                    <a:pt x="101" y="76"/>
                  </a:cubicBezTo>
                  <a:cubicBezTo>
                    <a:pt x="101" y="72"/>
                    <a:pt x="101" y="72"/>
                    <a:pt x="101" y="72"/>
                  </a:cubicBezTo>
                  <a:cubicBezTo>
                    <a:pt x="101" y="69"/>
                    <a:pt x="101" y="69"/>
                    <a:pt x="101" y="69"/>
                  </a:cubicBezTo>
                  <a:cubicBezTo>
                    <a:pt x="99" y="64"/>
                    <a:pt x="99" y="64"/>
                    <a:pt x="99" y="64"/>
                  </a:cubicBezTo>
                  <a:cubicBezTo>
                    <a:pt x="97" y="62"/>
                    <a:pt x="97" y="62"/>
                    <a:pt x="97" y="62"/>
                  </a:cubicBezTo>
                  <a:cubicBezTo>
                    <a:pt x="97" y="59"/>
                    <a:pt x="97" y="59"/>
                    <a:pt x="97" y="59"/>
                  </a:cubicBezTo>
                  <a:cubicBezTo>
                    <a:pt x="98" y="48"/>
                    <a:pt x="98" y="48"/>
                    <a:pt x="98" y="48"/>
                  </a:cubicBezTo>
                  <a:cubicBezTo>
                    <a:pt x="101" y="36"/>
                    <a:pt x="101" y="36"/>
                    <a:pt x="101" y="36"/>
                  </a:cubicBezTo>
                  <a:cubicBezTo>
                    <a:pt x="104" y="25"/>
                    <a:pt x="104" y="25"/>
                    <a:pt x="104" y="25"/>
                  </a:cubicBezTo>
                  <a:cubicBezTo>
                    <a:pt x="106" y="18"/>
                    <a:pt x="106" y="18"/>
                    <a:pt x="106" y="18"/>
                  </a:cubicBezTo>
                  <a:cubicBezTo>
                    <a:pt x="108" y="8"/>
                    <a:pt x="108" y="8"/>
                    <a:pt x="108" y="8"/>
                  </a:cubicBezTo>
                  <a:cubicBezTo>
                    <a:pt x="76" y="0"/>
                    <a:pt x="76" y="0"/>
                    <a:pt x="76" y="0"/>
                  </a:cubicBezTo>
                  <a:cubicBezTo>
                    <a:pt x="76" y="0"/>
                    <a:pt x="52" y="114"/>
                    <a:pt x="47" y="120"/>
                  </a:cubicBezTo>
                  <a:cubicBezTo>
                    <a:pt x="43" y="127"/>
                    <a:pt x="48" y="125"/>
                    <a:pt x="48" y="132"/>
                  </a:cubicBez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4" name="Freeform 43">
              <a:extLst>
                <a:ext uri="{FF2B5EF4-FFF2-40B4-BE49-F238E27FC236}">
                  <a16:creationId xmlns:a16="http://schemas.microsoft.com/office/drawing/2014/main" id="{48E34F33-540E-95BB-57F9-F10D23B9F042}"/>
                </a:ext>
              </a:extLst>
            </p:cNvPr>
            <p:cNvSpPr>
              <a:spLocks/>
            </p:cNvSpPr>
            <p:nvPr/>
          </p:nvSpPr>
          <p:spPr bwMode="auto">
            <a:xfrm>
              <a:off x="6662709" y="2077909"/>
              <a:ext cx="862968" cy="525307"/>
            </a:xfrm>
            <a:custGeom>
              <a:avLst/>
              <a:gdLst>
                <a:gd name="T0" fmla="*/ 184 w 391"/>
                <a:gd name="T1" fmla="*/ 33 h 252"/>
                <a:gd name="T2" fmla="*/ 9 w 391"/>
                <a:gd name="T3" fmla="*/ 10 h 252"/>
                <a:gd name="T4" fmla="*/ 4 w 391"/>
                <a:gd name="T5" fmla="*/ 28 h 252"/>
                <a:gd name="T6" fmla="*/ 0 w 391"/>
                <a:gd name="T7" fmla="*/ 51 h 252"/>
                <a:gd name="T8" fmla="*/ 2 w 391"/>
                <a:gd name="T9" fmla="*/ 56 h 252"/>
                <a:gd name="T10" fmla="*/ 4 w 391"/>
                <a:gd name="T11" fmla="*/ 64 h 252"/>
                <a:gd name="T12" fmla="*/ 7 w 391"/>
                <a:gd name="T13" fmla="*/ 71 h 252"/>
                <a:gd name="T14" fmla="*/ 11 w 391"/>
                <a:gd name="T15" fmla="*/ 80 h 252"/>
                <a:gd name="T16" fmla="*/ 17 w 391"/>
                <a:gd name="T17" fmla="*/ 93 h 252"/>
                <a:gd name="T18" fmla="*/ 25 w 391"/>
                <a:gd name="T19" fmla="*/ 103 h 252"/>
                <a:gd name="T20" fmla="*/ 28 w 391"/>
                <a:gd name="T21" fmla="*/ 116 h 252"/>
                <a:gd name="T22" fmla="*/ 31 w 391"/>
                <a:gd name="T23" fmla="*/ 121 h 252"/>
                <a:gd name="T24" fmla="*/ 40 w 391"/>
                <a:gd name="T25" fmla="*/ 127 h 252"/>
                <a:gd name="T26" fmla="*/ 34 w 391"/>
                <a:gd name="T27" fmla="*/ 139 h 252"/>
                <a:gd name="T28" fmla="*/ 30 w 391"/>
                <a:gd name="T29" fmla="*/ 152 h 252"/>
                <a:gd name="T30" fmla="*/ 31 w 391"/>
                <a:gd name="T31" fmla="*/ 160 h 252"/>
                <a:gd name="T32" fmla="*/ 25 w 391"/>
                <a:gd name="T33" fmla="*/ 164 h 252"/>
                <a:gd name="T34" fmla="*/ 24 w 391"/>
                <a:gd name="T35" fmla="*/ 173 h 252"/>
                <a:gd name="T36" fmla="*/ 28 w 391"/>
                <a:gd name="T37" fmla="*/ 178 h 252"/>
                <a:gd name="T38" fmla="*/ 33 w 391"/>
                <a:gd name="T39" fmla="*/ 175 h 252"/>
                <a:gd name="T40" fmla="*/ 38 w 391"/>
                <a:gd name="T41" fmla="*/ 174 h 252"/>
                <a:gd name="T42" fmla="*/ 44 w 391"/>
                <a:gd name="T43" fmla="*/ 171 h 252"/>
                <a:gd name="T44" fmla="*/ 47 w 391"/>
                <a:gd name="T45" fmla="*/ 179 h 252"/>
                <a:gd name="T46" fmla="*/ 48 w 391"/>
                <a:gd name="T47" fmla="*/ 193 h 252"/>
                <a:gd name="T48" fmla="*/ 52 w 391"/>
                <a:gd name="T49" fmla="*/ 200 h 252"/>
                <a:gd name="T50" fmla="*/ 52 w 391"/>
                <a:gd name="T51" fmla="*/ 210 h 252"/>
                <a:gd name="T52" fmla="*/ 54 w 391"/>
                <a:gd name="T53" fmla="*/ 215 h 252"/>
                <a:gd name="T54" fmla="*/ 63 w 391"/>
                <a:gd name="T55" fmla="*/ 218 h 252"/>
                <a:gd name="T56" fmla="*/ 65 w 391"/>
                <a:gd name="T57" fmla="*/ 230 h 252"/>
                <a:gd name="T58" fmla="*/ 65 w 391"/>
                <a:gd name="T59" fmla="*/ 237 h 252"/>
                <a:gd name="T60" fmla="*/ 71 w 391"/>
                <a:gd name="T61" fmla="*/ 241 h 252"/>
                <a:gd name="T62" fmla="*/ 72 w 391"/>
                <a:gd name="T63" fmla="*/ 236 h 252"/>
                <a:gd name="T64" fmla="*/ 77 w 391"/>
                <a:gd name="T65" fmla="*/ 236 h 252"/>
                <a:gd name="T66" fmla="*/ 87 w 391"/>
                <a:gd name="T67" fmla="*/ 241 h 252"/>
                <a:gd name="T68" fmla="*/ 88 w 391"/>
                <a:gd name="T69" fmla="*/ 237 h 252"/>
                <a:gd name="T70" fmla="*/ 100 w 391"/>
                <a:gd name="T71" fmla="*/ 238 h 252"/>
                <a:gd name="T72" fmla="*/ 115 w 391"/>
                <a:gd name="T73" fmla="*/ 241 h 252"/>
                <a:gd name="T74" fmla="*/ 117 w 391"/>
                <a:gd name="T75" fmla="*/ 233 h 252"/>
                <a:gd name="T76" fmla="*/ 124 w 391"/>
                <a:gd name="T77" fmla="*/ 236 h 252"/>
                <a:gd name="T78" fmla="*/ 127 w 391"/>
                <a:gd name="T79" fmla="*/ 243 h 252"/>
                <a:gd name="T80" fmla="*/ 129 w 391"/>
                <a:gd name="T81" fmla="*/ 246 h 252"/>
                <a:gd name="T82" fmla="*/ 136 w 391"/>
                <a:gd name="T83" fmla="*/ 221 h 252"/>
                <a:gd name="T84" fmla="*/ 373 w 391"/>
                <a:gd name="T85" fmla="*/ 252 h 252"/>
                <a:gd name="T86" fmla="*/ 391 w 391"/>
                <a:gd name="T87" fmla="*/ 6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52">
                  <a:moveTo>
                    <a:pt x="391" y="60"/>
                  </a:moveTo>
                  <a:cubicBezTo>
                    <a:pt x="391" y="60"/>
                    <a:pt x="243" y="42"/>
                    <a:pt x="184" y="33"/>
                  </a:cubicBezTo>
                  <a:cubicBezTo>
                    <a:pt x="112" y="22"/>
                    <a:pt x="11" y="0"/>
                    <a:pt x="11" y="0"/>
                  </a:cubicBezTo>
                  <a:cubicBezTo>
                    <a:pt x="9" y="10"/>
                    <a:pt x="9" y="10"/>
                    <a:pt x="9" y="10"/>
                  </a:cubicBezTo>
                  <a:cubicBezTo>
                    <a:pt x="7" y="17"/>
                    <a:pt x="7" y="17"/>
                    <a:pt x="7" y="17"/>
                  </a:cubicBezTo>
                  <a:cubicBezTo>
                    <a:pt x="4" y="28"/>
                    <a:pt x="4" y="28"/>
                    <a:pt x="4" y="28"/>
                  </a:cubicBezTo>
                  <a:cubicBezTo>
                    <a:pt x="1" y="40"/>
                    <a:pt x="1" y="40"/>
                    <a:pt x="1" y="40"/>
                  </a:cubicBezTo>
                  <a:cubicBezTo>
                    <a:pt x="0" y="51"/>
                    <a:pt x="0" y="51"/>
                    <a:pt x="0" y="51"/>
                  </a:cubicBezTo>
                  <a:cubicBezTo>
                    <a:pt x="0" y="54"/>
                    <a:pt x="0" y="54"/>
                    <a:pt x="0" y="54"/>
                  </a:cubicBezTo>
                  <a:cubicBezTo>
                    <a:pt x="2" y="56"/>
                    <a:pt x="2" y="56"/>
                    <a:pt x="2" y="56"/>
                  </a:cubicBezTo>
                  <a:cubicBezTo>
                    <a:pt x="4" y="61"/>
                    <a:pt x="4" y="61"/>
                    <a:pt x="4" y="61"/>
                  </a:cubicBezTo>
                  <a:cubicBezTo>
                    <a:pt x="4" y="64"/>
                    <a:pt x="4" y="64"/>
                    <a:pt x="4" y="64"/>
                  </a:cubicBezTo>
                  <a:cubicBezTo>
                    <a:pt x="4" y="68"/>
                    <a:pt x="4" y="68"/>
                    <a:pt x="4" y="68"/>
                  </a:cubicBezTo>
                  <a:cubicBezTo>
                    <a:pt x="7" y="71"/>
                    <a:pt x="7" y="71"/>
                    <a:pt x="7" y="71"/>
                  </a:cubicBezTo>
                  <a:cubicBezTo>
                    <a:pt x="7" y="74"/>
                    <a:pt x="7" y="74"/>
                    <a:pt x="7" y="74"/>
                  </a:cubicBezTo>
                  <a:cubicBezTo>
                    <a:pt x="11" y="80"/>
                    <a:pt x="11" y="80"/>
                    <a:pt x="11" y="80"/>
                  </a:cubicBezTo>
                  <a:cubicBezTo>
                    <a:pt x="12" y="85"/>
                    <a:pt x="12" y="85"/>
                    <a:pt x="12" y="85"/>
                  </a:cubicBezTo>
                  <a:cubicBezTo>
                    <a:pt x="17" y="93"/>
                    <a:pt x="17" y="93"/>
                    <a:pt x="17" y="93"/>
                  </a:cubicBezTo>
                  <a:cubicBezTo>
                    <a:pt x="22" y="98"/>
                    <a:pt x="22" y="98"/>
                    <a:pt x="22" y="98"/>
                  </a:cubicBezTo>
                  <a:cubicBezTo>
                    <a:pt x="25" y="103"/>
                    <a:pt x="25" y="103"/>
                    <a:pt x="25" y="103"/>
                  </a:cubicBezTo>
                  <a:cubicBezTo>
                    <a:pt x="26" y="110"/>
                    <a:pt x="26" y="110"/>
                    <a:pt x="26" y="110"/>
                  </a:cubicBezTo>
                  <a:cubicBezTo>
                    <a:pt x="28" y="116"/>
                    <a:pt x="28" y="116"/>
                    <a:pt x="28" y="116"/>
                  </a:cubicBezTo>
                  <a:cubicBezTo>
                    <a:pt x="31" y="120"/>
                    <a:pt x="31" y="120"/>
                    <a:pt x="31" y="120"/>
                  </a:cubicBezTo>
                  <a:cubicBezTo>
                    <a:pt x="31" y="121"/>
                    <a:pt x="31" y="121"/>
                    <a:pt x="31" y="121"/>
                  </a:cubicBezTo>
                  <a:cubicBezTo>
                    <a:pt x="40" y="123"/>
                    <a:pt x="40" y="123"/>
                    <a:pt x="40" y="123"/>
                  </a:cubicBezTo>
                  <a:cubicBezTo>
                    <a:pt x="40" y="127"/>
                    <a:pt x="40" y="127"/>
                    <a:pt x="40" y="127"/>
                  </a:cubicBezTo>
                  <a:cubicBezTo>
                    <a:pt x="37" y="133"/>
                    <a:pt x="37" y="133"/>
                    <a:pt x="37" y="133"/>
                  </a:cubicBezTo>
                  <a:cubicBezTo>
                    <a:pt x="34" y="139"/>
                    <a:pt x="34" y="139"/>
                    <a:pt x="34" y="139"/>
                  </a:cubicBezTo>
                  <a:cubicBezTo>
                    <a:pt x="31" y="146"/>
                    <a:pt x="31" y="146"/>
                    <a:pt x="31" y="146"/>
                  </a:cubicBezTo>
                  <a:cubicBezTo>
                    <a:pt x="30" y="152"/>
                    <a:pt x="30" y="152"/>
                    <a:pt x="30" y="152"/>
                  </a:cubicBezTo>
                  <a:cubicBezTo>
                    <a:pt x="32" y="158"/>
                    <a:pt x="32" y="158"/>
                    <a:pt x="32" y="158"/>
                  </a:cubicBezTo>
                  <a:cubicBezTo>
                    <a:pt x="31" y="160"/>
                    <a:pt x="31" y="160"/>
                    <a:pt x="31" y="160"/>
                  </a:cubicBezTo>
                  <a:cubicBezTo>
                    <a:pt x="28" y="160"/>
                    <a:pt x="28" y="160"/>
                    <a:pt x="28" y="160"/>
                  </a:cubicBezTo>
                  <a:cubicBezTo>
                    <a:pt x="25" y="164"/>
                    <a:pt x="25" y="164"/>
                    <a:pt x="25" y="164"/>
                  </a:cubicBezTo>
                  <a:cubicBezTo>
                    <a:pt x="22" y="171"/>
                    <a:pt x="22" y="171"/>
                    <a:pt x="22" y="171"/>
                  </a:cubicBezTo>
                  <a:cubicBezTo>
                    <a:pt x="24" y="173"/>
                    <a:pt x="24" y="173"/>
                    <a:pt x="24" y="173"/>
                  </a:cubicBezTo>
                  <a:cubicBezTo>
                    <a:pt x="28" y="175"/>
                    <a:pt x="28" y="175"/>
                    <a:pt x="28" y="175"/>
                  </a:cubicBezTo>
                  <a:cubicBezTo>
                    <a:pt x="28" y="178"/>
                    <a:pt x="28" y="178"/>
                    <a:pt x="28" y="178"/>
                  </a:cubicBezTo>
                  <a:cubicBezTo>
                    <a:pt x="30" y="178"/>
                    <a:pt x="30" y="178"/>
                    <a:pt x="30" y="178"/>
                  </a:cubicBezTo>
                  <a:cubicBezTo>
                    <a:pt x="33" y="175"/>
                    <a:pt x="33" y="175"/>
                    <a:pt x="33" y="175"/>
                  </a:cubicBezTo>
                  <a:cubicBezTo>
                    <a:pt x="36" y="174"/>
                    <a:pt x="36" y="174"/>
                    <a:pt x="36" y="174"/>
                  </a:cubicBezTo>
                  <a:cubicBezTo>
                    <a:pt x="38" y="174"/>
                    <a:pt x="38" y="174"/>
                    <a:pt x="38" y="174"/>
                  </a:cubicBezTo>
                  <a:cubicBezTo>
                    <a:pt x="42" y="171"/>
                    <a:pt x="42" y="171"/>
                    <a:pt x="42" y="171"/>
                  </a:cubicBezTo>
                  <a:cubicBezTo>
                    <a:pt x="44" y="171"/>
                    <a:pt x="44" y="171"/>
                    <a:pt x="44" y="171"/>
                  </a:cubicBezTo>
                  <a:cubicBezTo>
                    <a:pt x="45" y="175"/>
                    <a:pt x="45" y="175"/>
                    <a:pt x="45" y="175"/>
                  </a:cubicBezTo>
                  <a:cubicBezTo>
                    <a:pt x="47" y="179"/>
                    <a:pt x="47" y="179"/>
                    <a:pt x="47" y="179"/>
                  </a:cubicBezTo>
                  <a:cubicBezTo>
                    <a:pt x="48" y="187"/>
                    <a:pt x="48" y="187"/>
                    <a:pt x="48" y="187"/>
                  </a:cubicBezTo>
                  <a:cubicBezTo>
                    <a:pt x="48" y="193"/>
                    <a:pt x="48" y="193"/>
                    <a:pt x="48" y="193"/>
                  </a:cubicBezTo>
                  <a:cubicBezTo>
                    <a:pt x="48" y="196"/>
                    <a:pt x="48" y="196"/>
                    <a:pt x="48" y="196"/>
                  </a:cubicBezTo>
                  <a:cubicBezTo>
                    <a:pt x="52" y="200"/>
                    <a:pt x="52" y="200"/>
                    <a:pt x="52" y="200"/>
                  </a:cubicBezTo>
                  <a:cubicBezTo>
                    <a:pt x="52" y="205"/>
                    <a:pt x="52" y="205"/>
                    <a:pt x="52" y="205"/>
                  </a:cubicBezTo>
                  <a:cubicBezTo>
                    <a:pt x="52" y="210"/>
                    <a:pt x="52" y="210"/>
                    <a:pt x="52" y="210"/>
                  </a:cubicBezTo>
                  <a:cubicBezTo>
                    <a:pt x="52" y="212"/>
                    <a:pt x="52" y="212"/>
                    <a:pt x="52" y="212"/>
                  </a:cubicBezTo>
                  <a:cubicBezTo>
                    <a:pt x="54" y="215"/>
                    <a:pt x="54" y="215"/>
                    <a:pt x="54" y="215"/>
                  </a:cubicBezTo>
                  <a:cubicBezTo>
                    <a:pt x="59" y="218"/>
                    <a:pt x="59" y="218"/>
                    <a:pt x="59" y="218"/>
                  </a:cubicBezTo>
                  <a:cubicBezTo>
                    <a:pt x="63" y="218"/>
                    <a:pt x="63" y="218"/>
                    <a:pt x="63" y="218"/>
                  </a:cubicBezTo>
                  <a:cubicBezTo>
                    <a:pt x="63" y="224"/>
                    <a:pt x="63" y="224"/>
                    <a:pt x="63" y="224"/>
                  </a:cubicBezTo>
                  <a:cubicBezTo>
                    <a:pt x="65" y="230"/>
                    <a:pt x="65" y="230"/>
                    <a:pt x="65" y="230"/>
                  </a:cubicBezTo>
                  <a:cubicBezTo>
                    <a:pt x="65" y="234"/>
                    <a:pt x="65" y="234"/>
                    <a:pt x="65" y="234"/>
                  </a:cubicBezTo>
                  <a:cubicBezTo>
                    <a:pt x="65" y="237"/>
                    <a:pt x="65" y="237"/>
                    <a:pt x="65" y="237"/>
                  </a:cubicBezTo>
                  <a:cubicBezTo>
                    <a:pt x="67" y="241"/>
                    <a:pt x="67" y="241"/>
                    <a:pt x="67" y="241"/>
                  </a:cubicBezTo>
                  <a:cubicBezTo>
                    <a:pt x="71" y="241"/>
                    <a:pt x="71" y="241"/>
                    <a:pt x="71" y="241"/>
                  </a:cubicBezTo>
                  <a:cubicBezTo>
                    <a:pt x="71" y="239"/>
                    <a:pt x="71" y="239"/>
                    <a:pt x="71" y="239"/>
                  </a:cubicBezTo>
                  <a:cubicBezTo>
                    <a:pt x="72" y="236"/>
                    <a:pt x="72" y="236"/>
                    <a:pt x="72" y="236"/>
                  </a:cubicBezTo>
                  <a:cubicBezTo>
                    <a:pt x="74" y="236"/>
                    <a:pt x="74" y="236"/>
                    <a:pt x="74" y="236"/>
                  </a:cubicBezTo>
                  <a:cubicBezTo>
                    <a:pt x="77" y="236"/>
                    <a:pt x="77" y="236"/>
                    <a:pt x="77" y="236"/>
                  </a:cubicBezTo>
                  <a:cubicBezTo>
                    <a:pt x="82" y="239"/>
                    <a:pt x="82" y="239"/>
                    <a:pt x="82" y="239"/>
                  </a:cubicBezTo>
                  <a:cubicBezTo>
                    <a:pt x="87" y="241"/>
                    <a:pt x="87" y="241"/>
                    <a:pt x="87" y="241"/>
                  </a:cubicBezTo>
                  <a:cubicBezTo>
                    <a:pt x="87" y="239"/>
                    <a:pt x="87" y="239"/>
                    <a:pt x="87" y="239"/>
                  </a:cubicBezTo>
                  <a:cubicBezTo>
                    <a:pt x="88" y="237"/>
                    <a:pt x="88" y="237"/>
                    <a:pt x="88" y="237"/>
                  </a:cubicBezTo>
                  <a:cubicBezTo>
                    <a:pt x="92" y="237"/>
                    <a:pt x="92" y="237"/>
                    <a:pt x="92" y="237"/>
                  </a:cubicBezTo>
                  <a:cubicBezTo>
                    <a:pt x="100" y="238"/>
                    <a:pt x="100" y="238"/>
                    <a:pt x="100" y="238"/>
                  </a:cubicBezTo>
                  <a:cubicBezTo>
                    <a:pt x="105" y="240"/>
                    <a:pt x="105" y="240"/>
                    <a:pt x="105" y="240"/>
                  </a:cubicBezTo>
                  <a:cubicBezTo>
                    <a:pt x="115" y="241"/>
                    <a:pt x="115" y="241"/>
                    <a:pt x="115" y="241"/>
                  </a:cubicBezTo>
                  <a:cubicBezTo>
                    <a:pt x="116" y="238"/>
                    <a:pt x="116" y="238"/>
                    <a:pt x="116" y="238"/>
                  </a:cubicBezTo>
                  <a:cubicBezTo>
                    <a:pt x="117" y="233"/>
                    <a:pt x="117" y="233"/>
                    <a:pt x="117" y="233"/>
                  </a:cubicBezTo>
                  <a:cubicBezTo>
                    <a:pt x="121" y="233"/>
                    <a:pt x="121" y="233"/>
                    <a:pt x="121" y="233"/>
                  </a:cubicBezTo>
                  <a:cubicBezTo>
                    <a:pt x="124" y="236"/>
                    <a:pt x="124" y="236"/>
                    <a:pt x="124" y="236"/>
                  </a:cubicBezTo>
                  <a:cubicBezTo>
                    <a:pt x="126" y="239"/>
                    <a:pt x="126" y="239"/>
                    <a:pt x="126" y="239"/>
                  </a:cubicBezTo>
                  <a:cubicBezTo>
                    <a:pt x="127" y="243"/>
                    <a:pt x="127" y="243"/>
                    <a:pt x="127" y="243"/>
                  </a:cubicBezTo>
                  <a:cubicBezTo>
                    <a:pt x="127" y="244"/>
                    <a:pt x="127" y="244"/>
                    <a:pt x="127" y="244"/>
                  </a:cubicBezTo>
                  <a:cubicBezTo>
                    <a:pt x="129" y="246"/>
                    <a:pt x="129" y="246"/>
                    <a:pt x="129" y="246"/>
                  </a:cubicBezTo>
                  <a:cubicBezTo>
                    <a:pt x="131" y="248"/>
                    <a:pt x="131" y="248"/>
                    <a:pt x="131" y="248"/>
                  </a:cubicBezTo>
                  <a:cubicBezTo>
                    <a:pt x="136" y="221"/>
                    <a:pt x="136" y="221"/>
                    <a:pt x="136" y="221"/>
                  </a:cubicBezTo>
                  <a:cubicBezTo>
                    <a:pt x="372" y="252"/>
                    <a:pt x="372" y="252"/>
                    <a:pt x="372" y="252"/>
                  </a:cubicBezTo>
                  <a:cubicBezTo>
                    <a:pt x="373" y="252"/>
                    <a:pt x="373" y="252"/>
                    <a:pt x="373" y="252"/>
                  </a:cubicBezTo>
                  <a:cubicBezTo>
                    <a:pt x="377" y="207"/>
                    <a:pt x="377" y="207"/>
                    <a:pt x="377" y="207"/>
                  </a:cubicBezTo>
                  <a:lnTo>
                    <a:pt x="391" y="6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5" name="Freeform 44">
              <a:extLst>
                <a:ext uri="{FF2B5EF4-FFF2-40B4-BE49-F238E27FC236}">
                  <a16:creationId xmlns:a16="http://schemas.microsoft.com/office/drawing/2014/main" id="{39A888A7-8B35-5FF6-2013-70ED8EF55D6B}"/>
                </a:ext>
              </a:extLst>
            </p:cNvPr>
            <p:cNvSpPr>
              <a:spLocks/>
            </p:cNvSpPr>
            <p:nvPr/>
          </p:nvSpPr>
          <p:spPr bwMode="auto">
            <a:xfrm>
              <a:off x="9942509" y="2141732"/>
              <a:ext cx="305037" cy="459030"/>
            </a:xfrm>
            <a:custGeom>
              <a:avLst/>
              <a:gdLst>
                <a:gd name="T0" fmla="*/ 34 w 117"/>
                <a:gd name="T1" fmla="*/ 182 h 187"/>
                <a:gd name="T2" fmla="*/ 34 w 117"/>
                <a:gd name="T3" fmla="*/ 176 h 187"/>
                <a:gd name="T4" fmla="*/ 37 w 117"/>
                <a:gd name="T5" fmla="*/ 171 h 187"/>
                <a:gd name="T6" fmla="*/ 40 w 117"/>
                <a:gd name="T7" fmla="*/ 166 h 187"/>
                <a:gd name="T8" fmla="*/ 44 w 117"/>
                <a:gd name="T9" fmla="*/ 161 h 187"/>
                <a:gd name="T10" fmla="*/ 40 w 117"/>
                <a:gd name="T11" fmla="*/ 159 h 187"/>
                <a:gd name="T12" fmla="*/ 42 w 117"/>
                <a:gd name="T13" fmla="*/ 155 h 187"/>
                <a:gd name="T14" fmla="*/ 45 w 117"/>
                <a:gd name="T15" fmla="*/ 155 h 187"/>
                <a:gd name="T16" fmla="*/ 48 w 117"/>
                <a:gd name="T17" fmla="*/ 150 h 187"/>
                <a:gd name="T18" fmla="*/ 52 w 117"/>
                <a:gd name="T19" fmla="*/ 153 h 187"/>
                <a:gd name="T20" fmla="*/ 51 w 117"/>
                <a:gd name="T21" fmla="*/ 149 h 187"/>
                <a:gd name="T22" fmla="*/ 56 w 117"/>
                <a:gd name="T23" fmla="*/ 148 h 187"/>
                <a:gd name="T24" fmla="*/ 59 w 117"/>
                <a:gd name="T25" fmla="*/ 139 h 187"/>
                <a:gd name="T26" fmla="*/ 67 w 117"/>
                <a:gd name="T27" fmla="*/ 141 h 187"/>
                <a:gd name="T28" fmla="*/ 68 w 117"/>
                <a:gd name="T29" fmla="*/ 132 h 187"/>
                <a:gd name="T30" fmla="*/ 68 w 117"/>
                <a:gd name="T31" fmla="*/ 123 h 187"/>
                <a:gd name="T32" fmla="*/ 69 w 117"/>
                <a:gd name="T33" fmla="*/ 116 h 187"/>
                <a:gd name="T34" fmla="*/ 79 w 117"/>
                <a:gd name="T35" fmla="*/ 122 h 187"/>
                <a:gd name="T36" fmla="*/ 81 w 117"/>
                <a:gd name="T37" fmla="*/ 115 h 187"/>
                <a:gd name="T38" fmla="*/ 84 w 117"/>
                <a:gd name="T39" fmla="*/ 122 h 187"/>
                <a:gd name="T40" fmla="*/ 88 w 117"/>
                <a:gd name="T41" fmla="*/ 116 h 187"/>
                <a:gd name="T42" fmla="*/ 87 w 117"/>
                <a:gd name="T43" fmla="*/ 111 h 187"/>
                <a:gd name="T44" fmla="*/ 95 w 117"/>
                <a:gd name="T45" fmla="*/ 115 h 187"/>
                <a:gd name="T46" fmla="*/ 97 w 117"/>
                <a:gd name="T47" fmla="*/ 111 h 187"/>
                <a:gd name="T48" fmla="*/ 103 w 117"/>
                <a:gd name="T49" fmla="*/ 105 h 187"/>
                <a:gd name="T50" fmla="*/ 106 w 117"/>
                <a:gd name="T51" fmla="*/ 101 h 187"/>
                <a:gd name="T52" fmla="*/ 114 w 117"/>
                <a:gd name="T53" fmla="*/ 97 h 187"/>
                <a:gd name="T54" fmla="*/ 116 w 117"/>
                <a:gd name="T55" fmla="*/ 88 h 187"/>
                <a:gd name="T56" fmla="*/ 112 w 117"/>
                <a:gd name="T57" fmla="*/ 86 h 187"/>
                <a:gd name="T58" fmla="*/ 112 w 117"/>
                <a:gd name="T59" fmla="*/ 82 h 187"/>
                <a:gd name="T60" fmla="*/ 104 w 117"/>
                <a:gd name="T61" fmla="*/ 77 h 187"/>
                <a:gd name="T62" fmla="*/ 101 w 117"/>
                <a:gd name="T63" fmla="*/ 64 h 187"/>
                <a:gd name="T64" fmla="*/ 95 w 117"/>
                <a:gd name="T65" fmla="*/ 63 h 187"/>
                <a:gd name="T66" fmla="*/ 84 w 117"/>
                <a:gd name="T67" fmla="*/ 56 h 187"/>
                <a:gd name="T68" fmla="*/ 77 w 117"/>
                <a:gd name="T69" fmla="*/ 31 h 187"/>
                <a:gd name="T70" fmla="*/ 71 w 117"/>
                <a:gd name="T71" fmla="*/ 11 h 187"/>
                <a:gd name="T72" fmla="*/ 53 w 117"/>
                <a:gd name="T73" fmla="*/ 3 h 187"/>
                <a:gd name="T74" fmla="*/ 42 w 117"/>
                <a:gd name="T75" fmla="*/ 11 h 187"/>
                <a:gd name="T76" fmla="*/ 30 w 117"/>
                <a:gd name="T77" fmla="*/ 5 h 187"/>
                <a:gd name="T78" fmla="*/ 22 w 117"/>
                <a:gd name="T79" fmla="*/ 22 h 187"/>
                <a:gd name="T80" fmla="*/ 13 w 117"/>
                <a:gd name="T81" fmla="*/ 54 h 187"/>
                <a:gd name="T82" fmla="*/ 15 w 117"/>
                <a:gd name="T83" fmla="*/ 71 h 187"/>
                <a:gd name="T84" fmla="*/ 12 w 117"/>
                <a:gd name="T85" fmla="*/ 82 h 187"/>
                <a:gd name="T86" fmla="*/ 7 w 117"/>
                <a:gd name="T87" fmla="*/ 95 h 187"/>
                <a:gd name="T88" fmla="*/ 0 w 117"/>
                <a:gd name="T89" fmla="*/ 10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87">
                  <a:moveTo>
                    <a:pt x="33" y="187"/>
                  </a:moveTo>
                  <a:lnTo>
                    <a:pt x="33" y="185"/>
                  </a:lnTo>
                  <a:lnTo>
                    <a:pt x="34" y="182"/>
                  </a:lnTo>
                  <a:lnTo>
                    <a:pt x="34" y="181"/>
                  </a:lnTo>
                  <a:lnTo>
                    <a:pt x="34" y="178"/>
                  </a:lnTo>
                  <a:lnTo>
                    <a:pt x="34" y="176"/>
                  </a:lnTo>
                  <a:lnTo>
                    <a:pt x="35" y="174"/>
                  </a:lnTo>
                  <a:lnTo>
                    <a:pt x="37" y="174"/>
                  </a:lnTo>
                  <a:lnTo>
                    <a:pt x="37" y="171"/>
                  </a:lnTo>
                  <a:lnTo>
                    <a:pt x="38" y="169"/>
                  </a:lnTo>
                  <a:lnTo>
                    <a:pt x="38" y="166"/>
                  </a:lnTo>
                  <a:lnTo>
                    <a:pt x="40" y="166"/>
                  </a:lnTo>
                  <a:lnTo>
                    <a:pt x="41" y="166"/>
                  </a:lnTo>
                  <a:lnTo>
                    <a:pt x="44" y="166"/>
                  </a:lnTo>
                  <a:lnTo>
                    <a:pt x="44" y="161"/>
                  </a:lnTo>
                  <a:lnTo>
                    <a:pt x="41" y="161"/>
                  </a:lnTo>
                  <a:lnTo>
                    <a:pt x="40" y="161"/>
                  </a:lnTo>
                  <a:lnTo>
                    <a:pt x="40" y="159"/>
                  </a:lnTo>
                  <a:lnTo>
                    <a:pt x="40" y="158"/>
                  </a:lnTo>
                  <a:lnTo>
                    <a:pt x="42" y="156"/>
                  </a:lnTo>
                  <a:lnTo>
                    <a:pt x="42" y="155"/>
                  </a:lnTo>
                  <a:lnTo>
                    <a:pt x="44" y="153"/>
                  </a:lnTo>
                  <a:lnTo>
                    <a:pt x="45" y="154"/>
                  </a:lnTo>
                  <a:lnTo>
                    <a:pt x="45" y="155"/>
                  </a:lnTo>
                  <a:lnTo>
                    <a:pt x="47" y="154"/>
                  </a:lnTo>
                  <a:lnTo>
                    <a:pt x="48" y="153"/>
                  </a:lnTo>
                  <a:lnTo>
                    <a:pt x="48" y="150"/>
                  </a:lnTo>
                  <a:lnTo>
                    <a:pt x="50" y="152"/>
                  </a:lnTo>
                  <a:lnTo>
                    <a:pt x="51" y="153"/>
                  </a:lnTo>
                  <a:lnTo>
                    <a:pt x="52" y="153"/>
                  </a:lnTo>
                  <a:lnTo>
                    <a:pt x="52" y="150"/>
                  </a:lnTo>
                  <a:lnTo>
                    <a:pt x="52" y="149"/>
                  </a:lnTo>
                  <a:lnTo>
                    <a:pt x="51" y="149"/>
                  </a:lnTo>
                  <a:lnTo>
                    <a:pt x="50" y="147"/>
                  </a:lnTo>
                  <a:lnTo>
                    <a:pt x="54" y="147"/>
                  </a:lnTo>
                  <a:lnTo>
                    <a:pt x="56" y="148"/>
                  </a:lnTo>
                  <a:lnTo>
                    <a:pt x="59" y="147"/>
                  </a:lnTo>
                  <a:lnTo>
                    <a:pt x="60" y="144"/>
                  </a:lnTo>
                  <a:lnTo>
                    <a:pt x="59" y="139"/>
                  </a:lnTo>
                  <a:lnTo>
                    <a:pt x="61" y="139"/>
                  </a:lnTo>
                  <a:lnTo>
                    <a:pt x="64" y="142"/>
                  </a:lnTo>
                  <a:lnTo>
                    <a:pt x="67" y="141"/>
                  </a:lnTo>
                  <a:lnTo>
                    <a:pt x="68" y="139"/>
                  </a:lnTo>
                  <a:lnTo>
                    <a:pt x="69" y="135"/>
                  </a:lnTo>
                  <a:lnTo>
                    <a:pt x="68" y="132"/>
                  </a:lnTo>
                  <a:lnTo>
                    <a:pt x="69" y="128"/>
                  </a:lnTo>
                  <a:lnTo>
                    <a:pt x="69" y="126"/>
                  </a:lnTo>
                  <a:lnTo>
                    <a:pt x="68" y="123"/>
                  </a:lnTo>
                  <a:lnTo>
                    <a:pt x="68" y="121"/>
                  </a:lnTo>
                  <a:lnTo>
                    <a:pt x="69" y="118"/>
                  </a:lnTo>
                  <a:lnTo>
                    <a:pt x="69" y="116"/>
                  </a:lnTo>
                  <a:lnTo>
                    <a:pt x="73" y="120"/>
                  </a:lnTo>
                  <a:lnTo>
                    <a:pt x="74" y="122"/>
                  </a:lnTo>
                  <a:lnTo>
                    <a:pt x="79" y="122"/>
                  </a:lnTo>
                  <a:lnTo>
                    <a:pt x="79" y="120"/>
                  </a:lnTo>
                  <a:lnTo>
                    <a:pt x="79" y="116"/>
                  </a:lnTo>
                  <a:lnTo>
                    <a:pt x="81" y="115"/>
                  </a:lnTo>
                  <a:lnTo>
                    <a:pt x="84" y="116"/>
                  </a:lnTo>
                  <a:lnTo>
                    <a:pt x="84" y="118"/>
                  </a:lnTo>
                  <a:lnTo>
                    <a:pt x="84" y="122"/>
                  </a:lnTo>
                  <a:lnTo>
                    <a:pt x="87" y="121"/>
                  </a:lnTo>
                  <a:lnTo>
                    <a:pt x="90" y="118"/>
                  </a:lnTo>
                  <a:lnTo>
                    <a:pt x="88" y="116"/>
                  </a:lnTo>
                  <a:lnTo>
                    <a:pt x="86" y="114"/>
                  </a:lnTo>
                  <a:lnTo>
                    <a:pt x="86" y="112"/>
                  </a:lnTo>
                  <a:lnTo>
                    <a:pt x="87" y="111"/>
                  </a:lnTo>
                  <a:lnTo>
                    <a:pt x="90" y="114"/>
                  </a:lnTo>
                  <a:lnTo>
                    <a:pt x="93" y="116"/>
                  </a:lnTo>
                  <a:lnTo>
                    <a:pt x="95" y="115"/>
                  </a:lnTo>
                  <a:lnTo>
                    <a:pt x="94" y="111"/>
                  </a:lnTo>
                  <a:lnTo>
                    <a:pt x="95" y="111"/>
                  </a:lnTo>
                  <a:lnTo>
                    <a:pt x="97" y="111"/>
                  </a:lnTo>
                  <a:lnTo>
                    <a:pt x="97" y="105"/>
                  </a:lnTo>
                  <a:lnTo>
                    <a:pt x="101" y="105"/>
                  </a:lnTo>
                  <a:lnTo>
                    <a:pt x="103" y="105"/>
                  </a:lnTo>
                  <a:lnTo>
                    <a:pt x="104" y="104"/>
                  </a:lnTo>
                  <a:lnTo>
                    <a:pt x="104" y="101"/>
                  </a:lnTo>
                  <a:lnTo>
                    <a:pt x="106" y="101"/>
                  </a:lnTo>
                  <a:lnTo>
                    <a:pt x="107" y="100"/>
                  </a:lnTo>
                  <a:lnTo>
                    <a:pt x="110" y="97"/>
                  </a:lnTo>
                  <a:lnTo>
                    <a:pt x="114" y="97"/>
                  </a:lnTo>
                  <a:lnTo>
                    <a:pt x="116" y="95"/>
                  </a:lnTo>
                  <a:lnTo>
                    <a:pt x="117" y="89"/>
                  </a:lnTo>
                  <a:lnTo>
                    <a:pt x="116" y="88"/>
                  </a:lnTo>
                  <a:lnTo>
                    <a:pt x="115" y="88"/>
                  </a:lnTo>
                  <a:lnTo>
                    <a:pt x="113" y="88"/>
                  </a:lnTo>
                  <a:lnTo>
                    <a:pt x="112" y="86"/>
                  </a:lnTo>
                  <a:lnTo>
                    <a:pt x="114" y="84"/>
                  </a:lnTo>
                  <a:lnTo>
                    <a:pt x="114" y="83"/>
                  </a:lnTo>
                  <a:lnTo>
                    <a:pt x="112" y="82"/>
                  </a:lnTo>
                  <a:lnTo>
                    <a:pt x="110" y="77"/>
                  </a:lnTo>
                  <a:lnTo>
                    <a:pt x="106" y="77"/>
                  </a:lnTo>
                  <a:lnTo>
                    <a:pt x="104" y="77"/>
                  </a:lnTo>
                  <a:lnTo>
                    <a:pt x="102" y="73"/>
                  </a:lnTo>
                  <a:lnTo>
                    <a:pt x="101" y="68"/>
                  </a:lnTo>
                  <a:lnTo>
                    <a:pt x="101" y="64"/>
                  </a:lnTo>
                  <a:lnTo>
                    <a:pt x="100" y="61"/>
                  </a:lnTo>
                  <a:lnTo>
                    <a:pt x="97" y="62"/>
                  </a:lnTo>
                  <a:lnTo>
                    <a:pt x="95" y="63"/>
                  </a:lnTo>
                  <a:lnTo>
                    <a:pt x="91" y="63"/>
                  </a:lnTo>
                  <a:lnTo>
                    <a:pt x="87" y="61"/>
                  </a:lnTo>
                  <a:lnTo>
                    <a:pt x="84" y="56"/>
                  </a:lnTo>
                  <a:lnTo>
                    <a:pt x="83" y="49"/>
                  </a:lnTo>
                  <a:lnTo>
                    <a:pt x="79" y="40"/>
                  </a:lnTo>
                  <a:lnTo>
                    <a:pt x="77" y="31"/>
                  </a:lnTo>
                  <a:lnTo>
                    <a:pt x="75" y="26"/>
                  </a:lnTo>
                  <a:lnTo>
                    <a:pt x="73" y="18"/>
                  </a:lnTo>
                  <a:lnTo>
                    <a:pt x="71" y="11"/>
                  </a:lnTo>
                  <a:lnTo>
                    <a:pt x="69" y="8"/>
                  </a:lnTo>
                  <a:lnTo>
                    <a:pt x="56" y="0"/>
                  </a:lnTo>
                  <a:lnTo>
                    <a:pt x="53" y="3"/>
                  </a:lnTo>
                  <a:lnTo>
                    <a:pt x="50" y="7"/>
                  </a:lnTo>
                  <a:lnTo>
                    <a:pt x="45" y="11"/>
                  </a:lnTo>
                  <a:lnTo>
                    <a:pt x="42" y="11"/>
                  </a:lnTo>
                  <a:lnTo>
                    <a:pt x="39" y="9"/>
                  </a:lnTo>
                  <a:lnTo>
                    <a:pt x="34" y="6"/>
                  </a:lnTo>
                  <a:lnTo>
                    <a:pt x="30" y="5"/>
                  </a:lnTo>
                  <a:lnTo>
                    <a:pt x="29" y="5"/>
                  </a:lnTo>
                  <a:lnTo>
                    <a:pt x="27" y="7"/>
                  </a:lnTo>
                  <a:lnTo>
                    <a:pt x="22" y="22"/>
                  </a:lnTo>
                  <a:lnTo>
                    <a:pt x="20" y="33"/>
                  </a:lnTo>
                  <a:lnTo>
                    <a:pt x="15" y="45"/>
                  </a:lnTo>
                  <a:lnTo>
                    <a:pt x="13" y="54"/>
                  </a:lnTo>
                  <a:lnTo>
                    <a:pt x="12" y="64"/>
                  </a:lnTo>
                  <a:lnTo>
                    <a:pt x="13" y="69"/>
                  </a:lnTo>
                  <a:lnTo>
                    <a:pt x="15" y="71"/>
                  </a:lnTo>
                  <a:lnTo>
                    <a:pt x="14" y="73"/>
                  </a:lnTo>
                  <a:lnTo>
                    <a:pt x="12" y="76"/>
                  </a:lnTo>
                  <a:lnTo>
                    <a:pt x="12" y="82"/>
                  </a:lnTo>
                  <a:lnTo>
                    <a:pt x="10" y="87"/>
                  </a:lnTo>
                  <a:lnTo>
                    <a:pt x="10" y="94"/>
                  </a:lnTo>
                  <a:lnTo>
                    <a:pt x="7" y="95"/>
                  </a:lnTo>
                  <a:lnTo>
                    <a:pt x="7" y="100"/>
                  </a:lnTo>
                  <a:lnTo>
                    <a:pt x="1" y="100"/>
                  </a:lnTo>
                  <a:lnTo>
                    <a:pt x="0" y="103"/>
                  </a:lnTo>
                  <a:lnTo>
                    <a:pt x="23" y="178"/>
                  </a:lnTo>
                  <a:lnTo>
                    <a:pt x="33" y="187"/>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6" name="Freeform 45">
              <a:extLst>
                <a:ext uri="{FF2B5EF4-FFF2-40B4-BE49-F238E27FC236}">
                  <a16:creationId xmlns:a16="http://schemas.microsoft.com/office/drawing/2014/main" id="{F0F19B7E-EC82-2CF7-D62F-CB529708B15A}"/>
                </a:ext>
              </a:extLst>
            </p:cNvPr>
            <p:cNvSpPr>
              <a:spLocks/>
            </p:cNvSpPr>
            <p:nvPr/>
          </p:nvSpPr>
          <p:spPr bwMode="auto">
            <a:xfrm>
              <a:off x="9355900" y="2455935"/>
              <a:ext cx="630931" cy="436938"/>
            </a:xfrm>
            <a:custGeom>
              <a:avLst/>
              <a:gdLst>
                <a:gd name="T0" fmla="*/ 10 w 242"/>
                <a:gd name="T1" fmla="*/ 136 h 178"/>
                <a:gd name="T2" fmla="*/ 16 w 242"/>
                <a:gd name="T3" fmla="*/ 129 h 178"/>
                <a:gd name="T4" fmla="*/ 22 w 242"/>
                <a:gd name="T5" fmla="*/ 124 h 178"/>
                <a:gd name="T6" fmla="*/ 22 w 242"/>
                <a:gd name="T7" fmla="*/ 119 h 178"/>
                <a:gd name="T8" fmla="*/ 14 w 242"/>
                <a:gd name="T9" fmla="*/ 102 h 178"/>
                <a:gd name="T10" fmla="*/ 31 w 242"/>
                <a:gd name="T11" fmla="*/ 96 h 178"/>
                <a:gd name="T12" fmla="*/ 47 w 242"/>
                <a:gd name="T13" fmla="*/ 96 h 178"/>
                <a:gd name="T14" fmla="*/ 56 w 242"/>
                <a:gd name="T15" fmla="*/ 96 h 178"/>
                <a:gd name="T16" fmla="*/ 67 w 242"/>
                <a:gd name="T17" fmla="*/ 93 h 178"/>
                <a:gd name="T18" fmla="*/ 83 w 242"/>
                <a:gd name="T19" fmla="*/ 83 h 178"/>
                <a:gd name="T20" fmla="*/ 93 w 242"/>
                <a:gd name="T21" fmla="*/ 77 h 178"/>
                <a:gd name="T22" fmla="*/ 93 w 242"/>
                <a:gd name="T23" fmla="*/ 71 h 178"/>
                <a:gd name="T24" fmla="*/ 93 w 242"/>
                <a:gd name="T25" fmla="*/ 63 h 178"/>
                <a:gd name="T26" fmla="*/ 89 w 242"/>
                <a:gd name="T27" fmla="*/ 61 h 178"/>
                <a:gd name="T28" fmla="*/ 85 w 242"/>
                <a:gd name="T29" fmla="*/ 55 h 178"/>
                <a:gd name="T30" fmla="*/ 98 w 242"/>
                <a:gd name="T31" fmla="*/ 44 h 178"/>
                <a:gd name="T32" fmla="*/ 102 w 242"/>
                <a:gd name="T33" fmla="*/ 33 h 178"/>
                <a:gd name="T34" fmla="*/ 116 w 242"/>
                <a:gd name="T35" fmla="*/ 15 h 178"/>
                <a:gd name="T36" fmla="*/ 130 w 242"/>
                <a:gd name="T37" fmla="*/ 8 h 178"/>
                <a:gd name="T38" fmla="*/ 147 w 242"/>
                <a:gd name="T39" fmla="*/ 2 h 178"/>
                <a:gd name="T40" fmla="*/ 163 w 242"/>
                <a:gd name="T41" fmla="*/ 5 h 178"/>
                <a:gd name="T42" fmla="*/ 165 w 242"/>
                <a:gd name="T43" fmla="*/ 16 h 178"/>
                <a:gd name="T44" fmla="*/ 171 w 242"/>
                <a:gd name="T45" fmla="*/ 24 h 178"/>
                <a:gd name="T46" fmla="*/ 171 w 242"/>
                <a:gd name="T47" fmla="*/ 34 h 178"/>
                <a:gd name="T48" fmla="*/ 174 w 242"/>
                <a:gd name="T49" fmla="*/ 48 h 178"/>
                <a:gd name="T50" fmla="*/ 181 w 242"/>
                <a:gd name="T51" fmla="*/ 59 h 178"/>
                <a:gd name="T52" fmla="*/ 184 w 242"/>
                <a:gd name="T53" fmla="*/ 79 h 178"/>
                <a:gd name="T54" fmla="*/ 188 w 242"/>
                <a:gd name="T55" fmla="*/ 89 h 178"/>
                <a:gd name="T56" fmla="*/ 188 w 242"/>
                <a:gd name="T57" fmla="*/ 120 h 178"/>
                <a:gd name="T58" fmla="*/ 192 w 242"/>
                <a:gd name="T59" fmla="*/ 146 h 178"/>
                <a:gd name="T60" fmla="*/ 192 w 242"/>
                <a:gd name="T61" fmla="*/ 158 h 178"/>
                <a:gd name="T62" fmla="*/ 186 w 242"/>
                <a:gd name="T63" fmla="*/ 171 h 178"/>
                <a:gd name="T64" fmla="*/ 198 w 242"/>
                <a:gd name="T65" fmla="*/ 166 h 178"/>
                <a:gd name="T66" fmla="*/ 206 w 242"/>
                <a:gd name="T67" fmla="*/ 160 h 178"/>
                <a:gd name="T68" fmla="*/ 217 w 242"/>
                <a:gd name="T69" fmla="*/ 158 h 178"/>
                <a:gd name="T70" fmla="*/ 225 w 242"/>
                <a:gd name="T71" fmla="*/ 153 h 178"/>
                <a:gd name="T72" fmla="*/ 225 w 242"/>
                <a:gd name="T73" fmla="*/ 157 h 178"/>
                <a:gd name="T74" fmla="*/ 233 w 242"/>
                <a:gd name="T75" fmla="*/ 151 h 178"/>
                <a:gd name="T76" fmla="*/ 240 w 242"/>
                <a:gd name="T77" fmla="*/ 149 h 178"/>
                <a:gd name="T78" fmla="*/ 233 w 242"/>
                <a:gd name="T79" fmla="*/ 157 h 178"/>
                <a:gd name="T80" fmla="*/ 219 w 242"/>
                <a:gd name="T81" fmla="*/ 166 h 178"/>
                <a:gd name="T82" fmla="*/ 206 w 242"/>
                <a:gd name="T83" fmla="*/ 173 h 178"/>
                <a:gd name="T84" fmla="*/ 189 w 242"/>
                <a:gd name="T85" fmla="*/ 178 h 178"/>
                <a:gd name="T86" fmla="*/ 182 w 242"/>
                <a:gd name="T87" fmla="*/ 171 h 178"/>
                <a:gd name="T88" fmla="*/ 180 w 242"/>
                <a:gd name="T89" fmla="*/ 165 h 178"/>
                <a:gd name="T90" fmla="*/ 155 w 242"/>
                <a:gd name="T91" fmla="*/ 158 h 178"/>
                <a:gd name="T92" fmla="*/ 154 w 242"/>
                <a:gd name="T93" fmla="*/ 151 h 178"/>
                <a:gd name="T94" fmla="*/ 148 w 242"/>
                <a:gd name="T95" fmla="*/ 150 h 178"/>
                <a:gd name="T96" fmla="*/ 140 w 242"/>
                <a:gd name="T97" fmla="*/ 138 h 178"/>
                <a:gd name="T98" fmla="*/ 2 w 242"/>
                <a:gd name="T99" fmla="*/ 15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78">
                  <a:moveTo>
                    <a:pt x="0" y="146"/>
                  </a:moveTo>
                  <a:lnTo>
                    <a:pt x="10" y="136"/>
                  </a:lnTo>
                  <a:lnTo>
                    <a:pt x="12" y="133"/>
                  </a:lnTo>
                  <a:lnTo>
                    <a:pt x="16" y="129"/>
                  </a:lnTo>
                  <a:lnTo>
                    <a:pt x="18" y="127"/>
                  </a:lnTo>
                  <a:lnTo>
                    <a:pt x="22" y="124"/>
                  </a:lnTo>
                  <a:lnTo>
                    <a:pt x="22" y="121"/>
                  </a:lnTo>
                  <a:lnTo>
                    <a:pt x="22" y="119"/>
                  </a:lnTo>
                  <a:lnTo>
                    <a:pt x="17" y="109"/>
                  </a:lnTo>
                  <a:lnTo>
                    <a:pt x="14" y="102"/>
                  </a:lnTo>
                  <a:lnTo>
                    <a:pt x="18" y="99"/>
                  </a:lnTo>
                  <a:lnTo>
                    <a:pt x="31" y="96"/>
                  </a:lnTo>
                  <a:lnTo>
                    <a:pt x="38" y="96"/>
                  </a:lnTo>
                  <a:lnTo>
                    <a:pt x="47" y="96"/>
                  </a:lnTo>
                  <a:lnTo>
                    <a:pt x="53" y="96"/>
                  </a:lnTo>
                  <a:lnTo>
                    <a:pt x="56" y="96"/>
                  </a:lnTo>
                  <a:lnTo>
                    <a:pt x="63" y="93"/>
                  </a:lnTo>
                  <a:lnTo>
                    <a:pt x="67" y="93"/>
                  </a:lnTo>
                  <a:lnTo>
                    <a:pt x="77" y="90"/>
                  </a:lnTo>
                  <a:lnTo>
                    <a:pt x="83" y="83"/>
                  </a:lnTo>
                  <a:lnTo>
                    <a:pt x="89" y="80"/>
                  </a:lnTo>
                  <a:lnTo>
                    <a:pt x="93" y="77"/>
                  </a:lnTo>
                  <a:lnTo>
                    <a:pt x="93" y="75"/>
                  </a:lnTo>
                  <a:lnTo>
                    <a:pt x="93" y="71"/>
                  </a:lnTo>
                  <a:lnTo>
                    <a:pt x="89" y="66"/>
                  </a:lnTo>
                  <a:lnTo>
                    <a:pt x="93" y="63"/>
                  </a:lnTo>
                  <a:lnTo>
                    <a:pt x="94" y="59"/>
                  </a:lnTo>
                  <a:lnTo>
                    <a:pt x="89" y="61"/>
                  </a:lnTo>
                  <a:lnTo>
                    <a:pt x="87" y="59"/>
                  </a:lnTo>
                  <a:lnTo>
                    <a:pt x="85" y="55"/>
                  </a:lnTo>
                  <a:lnTo>
                    <a:pt x="90" y="51"/>
                  </a:lnTo>
                  <a:lnTo>
                    <a:pt x="98" y="44"/>
                  </a:lnTo>
                  <a:lnTo>
                    <a:pt x="101" y="38"/>
                  </a:lnTo>
                  <a:lnTo>
                    <a:pt x="102" y="33"/>
                  </a:lnTo>
                  <a:lnTo>
                    <a:pt x="110" y="23"/>
                  </a:lnTo>
                  <a:lnTo>
                    <a:pt x="116" y="15"/>
                  </a:lnTo>
                  <a:lnTo>
                    <a:pt x="123" y="10"/>
                  </a:lnTo>
                  <a:lnTo>
                    <a:pt x="130" y="8"/>
                  </a:lnTo>
                  <a:lnTo>
                    <a:pt x="141" y="5"/>
                  </a:lnTo>
                  <a:lnTo>
                    <a:pt x="147" y="2"/>
                  </a:lnTo>
                  <a:lnTo>
                    <a:pt x="163" y="0"/>
                  </a:lnTo>
                  <a:lnTo>
                    <a:pt x="163" y="5"/>
                  </a:lnTo>
                  <a:lnTo>
                    <a:pt x="163" y="11"/>
                  </a:lnTo>
                  <a:lnTo>
                    <a:pt x="165" y="16"/>
                  </a:lnTo>
                  <a:lnTo>
                    <a:pt x="168" y="23"/>
                  </a:lnTo>
                  <a:lnTo>
                    <a:pt x="171" y="24"/>
                  </a:lnTo>
                  <a:lnTo>
                    <a:pt x="174" y="32"/>
                  </a:lnTo>
                  <a:lnTo>
                    <a:pt x="171" y="34"/>
                  </a:lnTo>
                  <a:lnTo>
                    <a:pt x="170" y="41"/>
                  </a:lnTo>
                  <a:lnTo>
                    <a:pt x="174" y="48"/>
                  </a:lnTo>
                  <a:lnTo>
                    <a:pt x="177" y="56"/>
                  </a:lnTo>
                  <a:lnTo>
                    <a:pt x="181" y="59"/>
                  </a:lnTo>
                  <a:lnTo>
                    <a:pt x="182" y="70"/>
                  </a:lnTo>
                  <a:lnTo>
                    <a:pt x="184" y="79"/>
                  </a:lnTo>
                  <a:lnTo>
                    <a:pt x="188" y="88"/>
                  </a:lnTo>
                  <a:lnTo>
                    <a:pt x="188" y="89"/>
                  </a:lnTo>
                  <a:lnTo>
                    <a:pt x="188" y="102"/>
                  </a:lnTo>
                  <a:lnTo>
                    <a:pt x="188" y="120"/>
                  </a:lnTo>
                  <a:lnTo>
                    <a:pt x="192" y="139"/>
                  </a:lnTo>
                  <a:lnTo>
                    <a:pt x="192" y="146"/>
                  </a:lnTo>
                  <a:lnTo>
                    <a:pt x="196" y="152"/>
                  </a:lnTo>
                  <a:lnTo>
                    <a:pt x="192" y="158"/>
                  </a:lnTo>
                  <a:lnTo>
                    <a:pt x="193" y="161"/>
                  </a:lnTo>
                  <a:lnTo>
                    <a:pt x="186" y="171"/>
                  </a:lnTo>
                  <a:lnTo>
                    <a:pt x="193" y="168"/>
                  </a:lnTo>
                  <a:lnTo>
                    <a:pt x="198" y="166"/>
                  </a:lnTo>
                  <a:lnTo>
                    <a:pt x="204" y="162"/>
                  </a:lnTo>
                  <a:lnTo>
                    <a:pt x="206" y="160"/>
                  </a:lnTo>
                  <a:lnTo>
                    <a:pt x="212" y="159"/>
                  </a:lnTo>
                  <a:lnTo>
                    <a:pt x="217" y="158"/>
                  </a:lnTo>
                  <a:lnTo>
                    <a:pt x="219" y="156"/>
                  </a:lnTo>
                  <a:lnTo>
                    <a:pt x="225" y="153"/>
                  </a:lnTo>
                  <a:lnTo>
                    <a:pt x="230" y="147"/>
                  </a:lnTo>
                  <a:lnTo>
                    <a:pt x="225" y="157"/>
                  </a:lnTo>
                  <a:lnTo>
                    <a:pt x="230" y="155"/>
                  </a:lnTo>
                  <a:lnTo>
                    <a:pt x="233" y="151"/>
                  </a:lnTo>
                  <a:lnTo>
                    <a:pt x="236" y="150"/>
                  </a:lnTo>
                  <a:lnTo>
                    <a:pt x="240" y="149"/>
                  </a:lnTo>
                  <a:lnTo>
                    <a:pt x="242" y="149"/>
                  </a:lnTo>
                  <a:lnTo>
                    <a:pt x="233" y="157"/>
                  </a:lnTo>
                  <a:lnTo>
                    <a:pt x="225" y="163"/>
                  </a:lnTo>
                  <a:lnTo>
                    <a:pt x="219" y="166"/>
                  </a:lnTo>
                  <a:lnTo>
                    <a:pt x="214" y="171"/>
                  </a:lnTo>
                  <a:lnTo>
                    <a:pt x="206" y="173"/>
                  </a:lnTo>
                  <a:lnTo>
                    <a:pt x="197" y="176"/>
                  </a:lnTo>
                  <a:lnTo>
                    <a:pt x="189" y="178"/>
                  </a:lnTo>
                  <a:lnTo>
                    <a:pt x="184" y="175"/>
                  </a:lnTo>
                  <a:lnTo>
                    <a:pt x="182" y="171"/>
                  </a:lnTo>
                  <a:lnTo>
                    <a:pt x="182" y="167"/>
                  </a:lnTo>
                  <a:lnTo>
                    <a:pt x="180" y="165"/>
                  </a:lnTo>
                  <a:lnTo>
                    <a:pt x="167" y="161"/>
                  </a:lnTo>
                  <a:lnTo>
                    <a:pt x="155" y="158"/>
                  </a:lnTo>
                  <a:lnTo>
                    <a:pt x="157" y="153"/>
                  </a:lnTo>
                  <a:lnTo>
                    <a:pt x="154" y="151"/>
                  </a:lnTo>
                  <a:lnTo>
                    <a:pt x="151" y="151"/>
                  </a:lnTo>
                  <a:lnTo>
                    <a:pt x="148" y="150"/>
                  </a:lnTo>
                  <a:lnTo>
                    <a:pt x="144" y="143"/>
                  </a:lnTo>
                  <a:lnTo>
                    <a:pt x="140" y="138"/>
                  </a:lnTo>
                  <a:lnTo>
                    <a:pt x="132" y="133"/>
                  </a:lnTo>
                  <a:lnTo>
                    <a:pt x="2" y="156"/>
                  </a:lnTo>
                  <a:lnTo>
                    <a:pt x="0" y="146"/>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7" name="Freeform 46">
              <a:extLst>
                <a:ext uri="{FF2B5EF4-FFF2-40B4-BE49-F238E27FC236}">
                  <a16:creationId xmlns:a16="http://schemas.microsoft.com/office/drawing/2014/main" id="{4E8C44E6-7E2E-5AC1-2C20-654CA8B2C372}"/>
                </a:ext>
              </a:extLst>
            </p:cNvPr>
            <p:cNvSpPr>
              <a:spLocks/>
            </p:cNvSpPr>
            <p:nvPr/>
          </p:nvSpPr>
          <p:spPr bwMode="auto">
            <a:xfrm>
              <a:off x="9780866" y="2426477"/>
              <a:ext cx="146001" cy="247926"/>
            </a:xfrm>
            <a:custGeom>
              <a:avLst/>
              <a:gdLst>
                <a:gd name="T0" fmla="*/ 0 w 56"/>
                <a:gd name="T1" fmla="*/ 23 h 101"/>
                <a:gd name="T2" fmla="*/ 2 w 56"/>
                <a:gd name="T3" fmla="*/ 28 h 101"/>
                <a:gd name="T4" fmla="*/ 5 w 56"/>
                <a:gd name="T5" fmla="*/ 35 h 101"/>
                <a:gd name="T6" fmla="*/ 8 w 56"/>
                <a:gd name="T7" fmla="*/ 36 h 101"/>
                <a:gd name="T8" fmla="*/ 11 w 56"/>
                <a:gd name="T9" fmla="*/ 44 h 101"/>
                <a:gd name="T10" fmla="*/ 8 w 56"/>
                <a:gd name="T11" fmla="*/ 46 h 101"/>
                <a:gd name="T12" fmla="*/ 7 w 56"/>
                <a:gd name="T13" fmla="*/ 53 h 101"/>
                <a:gd name="T14" fmla="*/ 11 w 56"/>
                <a:gd name="T15" fmla="*/ 60 h 101"/>
                <a:gd name="T16" fmla="*/ 14 w 56"/>
                <a:gd name="T17" fmla="*/ 68 h 101"/>
                <a:gd name="T18" fmla="*/ 18 w 56"/>
                <a:gd name="T19" fmla="*/ 71 h 101"/>
                <a:gd name="T20" fmla="*/ 19 w 56"/>
                <a:gd name="T21" fmla="*/ 82 h 101"/>
                <a:gd name="T22" fmla="*/ 21 w 56"/>
                <a:gd name="T23" fmla="*/ 91 h 101"/>
                <a:gd name="T24" fmla="*/ 25 w 56"/>
                <a:gd name="T25" fmla="*/ 100 h 101"/>
                <a:gd name="T26" fmla="*/ 25 w 56"/>
                <a:gd name="T27" fmla="*/ 101 h 101"/>
                <a:gd name="T28" fmla="*/ 47 w 56"/>
                <a:gd name="T29" fmla="*/ 98 h 101"/>
                <a:gd name="T30" fmla="*/ 45 w 56"/>
                <a:gd name="T31" fmla="*/ 91 h 101"/>
                <a:gd name="T32" fmla="*/ 46 w 56"/>
                <a:gd name="T33" fmla="*/ 82 h 101"/>
                <a:gd name="T34" fmla="*/ 45 w 56"/>
                <a:gd name="T35" fmla="*/ 71 h 101"/>
                <a:gd name="T36" fmla="*/ 44 w 56"/>
                <a:gd name="T37" fmla="*/ 60 h 101"/>
                <a:gd name="T38" fmla="*/ 47 w 56"/>
                <a:gd name="T39" fmla="*/ 45 h 101"/>
                <a:gd name="T40" fmla="*/ 47 w 56"/>
                <a:gd name="T41" fmla="*/ 32 h 101"/>
                <a:gd name="T42" fmla="*/ 56 w 56"/>
                <a:gd name="T43" fmla="*/ 25 h 101"/>
                <a:gd name="T44" fmla="*/ 56 w 56"/>
                <a:gd name="T45" fmla="*/ 21 h 101"/>
                <a:gd name="T46" fmla="*/ 53 w 56"/>
                <a:gd name="T47" fmla="*/ 17 h 101"/>
                <a:gd name="T48" fmla="*/ 53 w 56"/>
                <a:gd name="T49" fmla="*/ 12 h 101"/>
                <a:gd name="T50" fmla="*/ 53 w 56"/>
                <a:gd name="T51" fmla="*/ 4 h 101"/>
                <a:gd name="T52" fmla="*/ 50 w 56"/>
                <a:gd name="T53" fmla="*/ 0 h 101"/>
                <a:gd name="T54" fmla="*/ 43 w 56"/>
                <a:gd name="T55" fmla="*/ 2 h 101"/>
                <a:gd name="T56" fmla="*/ 36 w 56"/>
                <a:gd name="T57" fmla="*/ 4 h 101"/>
                <a:gd name="T58" fmla="*/ 22 w 56"/>
                <a:gd name="T59" fmla="*/ 6 h 101"/>
                <a:gd name="T60" fmla="*/ 15 w 56"/>
                <a:gd name="T61" fmla="*/ 8 h 101"/>
                <a:gd name="T62" fmla="*/ 5 w 56"/>
                <a:gd name="T63" fmla="*/ 12 h 101"/>
                <a:gd name="T64" fmla="*/ 0 w 56"/>
                <a:gd name="T65" fmla="*/ 12 h 101"/>
                <a:gd name="T66" fmla="*/ 0 w 56"/>
                <a:gd name="T67" fmla="*/ 17 h 101"/>
                <a:gd name="T68" fmla="*/ 0 w 56"/>
                <a:gd name="T69" fmla="*/ 2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01">
                  <a:moveTo>
                    <a:pt x="0" y="23"/>
                  </a:moveTo>
                  <a:lnTo>
                    <a:pt x="2" y="28"/>
                  </a:lnTo>
                  <a:lnTo>
                    <a:pt x="5" y="35"/>
                  </a:lnTo>
                  <a:lnTo>
                    <a:pt x="8" y="36"/>
                  </a:lnTo>
                  <a:lnTo>
                    <a:pt x="11" y="44"/>
                  </a:lnTo>
                  <a:lnTo>
                    <a:pt x="8" y="46"/>
                  </a:lnTo>
                  <a:lnTo>
                    <a:pt x="7" y="53"/>
                  </a:lnTo>
                  <a:lnTo>
                    <a:pt x="11" y="60"/>
                  </a:lnTo>
                  <a:lnTo>
                    <a:pt x="14" y="68"/>
                  </a:lnTo>
                  <a:lnTo>
                    <a:pt x="18" y="71"/>
                  </a:lnTo>
                  <a:lnTo>
                    <a:pt x="19" y="82"/>
                  </a:lnTo>
                  <a:lnTo>
                    <a:pt x="21" y="91"/>
                  </a:lnTo>
                  <a:lnTo>
                    <a:pt x="25" y="100"/>
                  </a:lnTo>
                  <a:lnTo>
                    <a:pt x="25" y="101"/>
                  </a:lnTo>
                  <a:lnTo>
                    <a:pt x="47" y="98"/>
                  </a:lnTo>
                  <a:lnTo>
                    <a:pt x="45" y="91"/>
                  </a:lnTo>
                  <a:lnTo>
                    <a:pt x="46" y="82"/>
                  </a:lnTo>
                  <a:lnTo>
                    <a:pt x="45" y="71"/>
                  </a:lnTo>
                  <a:lnTo>
                    <a:pt x="44" y="60"/>
                  </a:lnTo>
                  <a:lnTo>
                    <a:pt x="47" y="45"/>
                  </a:lnTo>
                  <a:lnTo>
                    <a:pt x="47" y="32"/>
                  </a:lnTo>
                  <a:lnTo>
                    <a:pt x="56" y="25"/>
                  </a:lnTo>
                  <a:lnTo>
                    <a:pt x="56" y="21"/>
                  </a:lnTo>
                  <a:lnTo>
                    <a:pt x="53" y="17"/>
                  </a:lnTo>
                  <a:lnTo>
                    <a:pt x="53" y="12"/>
                  </a:lnTo>
                  <a:lnTo>
                    <a:pt x="53" y="4"/>
                  </a:lnTo>
                  <a:lnTo>
                    <a:pt x="50" y="0"/>
                  </a:lnTo>
                  <a:lnTo>
                    <a:pt x="43" y="2"/>
                  </a:lnTo>
                  <a:lnTo>
                    <a:pt x="36" y="4"/>
                  </a:lnTo>
                  <a:lnTo>
                    <a:pt x="22" y="6"/>
                  </a:lnTo>
                  <a:lnTo>
                    <a:pt x="15" y="8"/>
                  </a:lnTo>
                  <a:lnTo>
                    <a:pt x="5" y="12"/>
                  </a:lnTo>
                  <a:lnTo>
                    <a:pt x="0" y="12"/>
                  </a:lnTo>
                  <a:lnTo>
                    <a:pt x="0" y="17"/>
                  </a:lnTo>
                  <a:lnTo>
                    <a:pt x="0" y="23"/>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8" name="Freeform 47">
              <a:extLst>
                <a:ext uri="{FF2B5EF4-FFF2-40B4-BE49-F238E27FC236}">
                  <a16:creationId xmlns:a16="http://schemas.microsoft.com/office/drawing/2014/main" id="{3DC820F1-9495-D177-5C4F-C38F327D76A9}"/>
                </a:ext>
              </a:extLst>
            </p:cNvPr>
            <p:cNvSpPr>
              <a:spLocks/>
            </p:cNvSpPr>
            <p:nvPr/>
          </p:nvSpPr>
          <p:spPr bwMode="auto">
            <a:xfrm>
              <a:off x="9895580" y="2394566"/>
              <a:ext cx="130358" cy="272472"/>
            </a:xfrm>
            <a:custGeom>
              <a:avLst/>
              <a:gdLst>
                <a:gd name="T0" fmla="*/ 18 w 50"/>
                <a:gd name="T1" fmla="*/ 0 h 111"/>
                <a:gd name="T2" fmla="*/ 14 w 50"/>
                <a:gd name="T3" fmla="*/ 1 h 111"/>
                <a:gd name="T4" fmla="*/ 9 w 50"/>
                <a:gd name="T5" fmla="*/ 1 h 111"/>
                <a:gd name="T6" fmla="*/ 9 w 50"/>
                <a:gd name="T7" fmla="*/ 6 h 111"/>
                <a:gd name="T8" fmla="*/ 8 w 50"/>
                <a:gd name="T9" fmla="*/ 9 h 111"/>
                <a:gd name="T10" fmla="*/ 6 w 50"/>
                <a:gd name="T11" fmla="*/ 13 h 111"/>
                <a:gd name="T12" fmla="*/ 9 w 50"/>
                <a:gd name="T13" fmla="*/ 17 h 111"/>
                <a:gd name="T14" fmla="*/ 9 w 50"/>
                <a:gd name="T15" fmla="*/ 25 h 111"/>
                <a:gd name="T16" fmla="*/ 9 w 50"/>
                <a:gd name="T17" fmla="*/ 30 h 111"/>
                <a:gd name="T18" fmla="*/ 12 w 50"/>
                <a:gd name="T19" fmla="*/ 34 h 111"/>
                <a:gd name="T20" fmla="*/ 12 w 50"/>
                <a:gd name="T21" fmla="*/ 38 h 111"/>
                <a:gd name="T22" fmla="*/ 3 w 50"/>
                <a:gd name="T23" fmla="*/ 45 h 111"/>
                <a:gd name="T24" fmla="*/ 3 w 50"/>
                <a:gd name="T25" fmla="*/ 58 h 111"/>
                <a:gd name="T26" fmla="*/ 0 w 50"/>
                <a:gd name="T27" fmla="*/ 73 h 111"/>
                <a:gd name="T28" fmla="*/ 1 w 50"/>
                <a:gd name="T29" fmla="*/ 84 h 111"/>
                <a:gd name="T30" fmla="*/ 2 w 50"/>
                <a:gd name="T31" fmla="*/ 95 h 111"/>
                <a:gd name="T32" fmla="*/ 1 w 50"/>
                <a:gd name="T33" fmla="*/ 104 h 111"/>
                <a:gd name="T34" fmla="*/ 3 w 50"/>
                <a:gd name="T35" fmla="*/ 111 h 111"/>
                <a:gd name="T36" fmla="*/ 40 w 50"/>
                <a:gd name="T37" fmla="*/ 102 h 111"/>
                <a:gd name="T38" fmla="*/ 41 w 50"/>
                <a:gd name="T39" fmla="*/ 97 h 111"/>
                <a:gd name="T40" fmla="*/ 49 w 50"/>
                <a:gd name="T41" fmla="*/ 94 h 111"/>
                <a:gd name="T42" fmla="*/ 48 w 50"/>
                <a:gd name="T43" fmla="*/ 91 h 111"/>
                <a:gd name="T44" fmla="*/ 50 w 50"/>
                <a:gd name="T45" fmla="*/ 83 h 111"/>
                <a:gd name="T46" fmla="*/ 50 w 50"/>
                <a:gd name="T47" fmla="*/ 83 h 111"/>
                <a:gd name="T48" fmla="*/ 41 w 50"/>
                <a:gd name="T49" fmla="*/ 75 h 111"/>
                <a:gd name="T50" fmla="*/ 18 w 50"/>
                <a:gd name="T5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11">
                  <a:moveTo>
                    <a:pt x="18" y="0"/>
                  </a:moveTo>
                  <a:lnTo>
                    <a:pt x="14" y="1"/>
                  </a:lnTo>
                  <a:lnTo>
                    <a:pt x="9" y="1"/>
                  </a:lnTo>
                  <a:lnTo>
                    <a:pt x="9" y="6"/>
                  </a:lnTo>
                  <a:lnTo>
                    <a:pt x="8" y="9"/>
                  </a:lnTo>
                  <a:lnTo>
                    <a:pt x="6" y="13"/>
                  </a:lnTo>
                  <a:lnTo>
                    <a:pt x="9" y="17"/>
                  </a:lnTo>
                  <a:lnTo>
                    <a:pt x="9" y="25"/>
                  </a:lnTo>
                  <a:lnTo>
                    <a:pt x="9" y="30"/>
                  </a:lnTo>
                  <a:lnTo>
                    <a:pt x="12" y="34"/>
                  </a:lnTo>
                  <a:lnTo>
                    <a:pt x="12" y="38"/>
                  </a:lnTo>
                  <a:lnTo>
                    <a:pt x="3" y="45"/>
                  </a:lnTo>
                  <a:lnTo>
                    <a:pt x="3" y="58"/>
                  </a:lnTo>
                  <a:lnTo>
                    <a:pt x="0" y="73"/>
                  </a:lnTo>
                  <a:lnTo>
                    <a:pt x="1" y="84"/>
                  </a:lnTo>
                  <a:lnTo>
                    <a:pt x="2" y="95"/>
                  </a:lnTo>
                  <a:lnTo>
                    <a:pt x="1" y="104"/>
                  </a:lnTo>
                  <a:lnTo>
                    <a:pt x="3" y="111"/>
                  </a:lnTo>
                  <a:lnTo>
                    <a:pt x="40" y="102"/>
                  </a:lnTo>
                  <a:lnTo>
                    <a:pt x="41" y="97"/>
                  </a:lnTo>
                  <a:lnTo>
                    <a:pt x="49" y="94"/>
                  </a:lnTo>
                  <a:lnTo>
                    <a:pt x="48" y="91"/>
                  </a:lnTo>
                  <a:lnTo>
                    <a:pt x="50" y="83"/>
                  </a:lnTo>
                  <a:lnTo>
                    <a:pt x="50" y="83"/>
                  </a:lnTo>
                  <a:lnTo>
                    <a:pt x="41" y="75"/>
                  </a:lnTo>
                  <a:lnTo>
                    <a:pt x="18" y="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9" name="Freeform 48">
              <a:extLst>
                <a:ext uri="{FF2B5EF4-FFF2-40B4-BE49-F238E27FC236}">
                  <a16:creationId xmlns:a16="http://schemas.microsoft.com/office/drawing/2014/main" id="{05C43A9A-CC7D-954F-3106-BBDF9FC02F05}"/>
                </a:ext>
              </a:extLst>
            </p:cNvPr>
            <p:cNvSpPr>
              <a:spLocks/>
            </p:cNvSpPr>
            <p:nvPr/>
          </p:nvSpPr>
          <p:spPr bwMode="auto">
            <a:xfrm>
              <a:off x="9846046" y="2725951"/>
              <a:ext cx="146001" cy="125191"/>
            </a:xfrm>
            <a:custGeom>
              <a:avLst/>
              <a:gdLst>
                <a:gd name="T0" fmla="*/ 4 w 56"/>
                <a:gd name="T1" fmla="*/ 29 h 51"/>
                <a:gd name="T2" fmla="*/ 4 w 56"/>
                <a:gd name="T3" fmla="*/ 36 h 51"/>
                <a:gd name="T4" fmla="*/ 8 w 56"/>
                <a:gd name="T5" fmla="*/ 42 h 51"/>
                <a:gd name="T6" fmla="*/ 4 w 56"/>
                <a:gd name="T7" fmla="*/ 48 h 51"/>
                <a:gd name="T8" fmla="*/ 5 w 56"/>
                <a:gd name="T9" fmla="*/ 51 h 51"/>
                <a:gd name="T10" fmla="*/ 9 w 56"/>
                <a:gd name="T11" fmla="*/ 50 h 51"/>
                <a:gd name="T12" fmla="*/ 13 w 56"/>
                <a:gd name="T13" fmla="*/ 45 h 51"/>
                <a:gd name="T14" fmla="*/ 15 w 56"/>
                <a:gd name="T15" fmla="*/ 44 h 51"/>
                <a:gd name="T16" fmla="*/ 20 w 56"/>
                <a:gd name="T17" fmla="*/ 39 h 51"/>
                <a:gd name="T18" fmla="*/ 25 w 56"/>
                <a:gd name="T19" fmla="*/ 36 h 51"/>
                <a:gd name="T20" fmla="*/ 33 w 56"/>
                <a:gd name="T21" fmla="*/ 36 h 51"/>
                <a:gd name="T22" fmla="*/ 37 w 56"/>
                <a:gd name="T23" fmla="*/ 34 h 51"/>
                <a:gd name="T24" fmla="*/ 39 w 56"/>
                <a:gd name="T25" fmla="*/ 32 h 51"/>
                <a:gd name="T26" fmla="*/ 44 w 56"/>
                <a:gd name="T27" fmla="*/ 30 h 51"/>
                <a:gd name="T28" fmla="*/ 49 w 56"/>
                <a:gd name="T29" fmla="*/ 28 h 51"/>
                <a:gd name="T30" fmla="*/ 55 w 56"/>
                <a:gd name="T31" fmla="*/ 28 h 51"/>
                <a:gd name="T32" fmla="*/ 56 w 56"/>
                <a:gd name="T33" fmla="*/ 26 h 51"/>
                <a:gd name="T34" fmla="*/ 50 w 56"/>
                <a:gd name="T35" fmla="*/ 0 h 51"/>
                <a:gd name="T36" fmla="*/ 24 w 56"/>
                <a:gd name="T37" fmla="*/ 5 h 51"/>
                <a:gd name="T38" fmla="*/ 0 w 56"/>
                <a:gd name="T39" fmla="*/ 9 h 51"/>
                <a:gd name="T40" fmla="*/ 0 w 56"/>
                <a:gd name="T41" fmla="*/ 10 h 51"/>
                <a:gd name="T42" fmla="*/ 4 w 56"/>
                <a:gd name="T43"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1">
                  <a:moveTo>
                    <a:pt x="4" y="29"/>
                  </a:moveTo>
                  <a:lnTo>
                    <a:pt x="4" y="36"/>
                  </a:lnTo>
                  <a:lnTo>
                    <a:pt x="8" y="42"/>
                  </a:lnTo>
                  <a:lnTo>
                    <a:pt x="4" y="48"/>
                  </a:lnTo>
                  <a:lnTo>
                    <a:pt x="5" y="51"/>
                  </a:lnTo>
                  <a:lnTo>
                    <a:pt x="9" y="50"/>
                  </a:lnTo>
                  <a:lnTo>
                    <a:pt x="13" y="45"/>
                  </a:lnTo>
                  <a:lnTo>
                    <a:pt x="15" y="44"/>
                  </a:lnTo>
                  <a:lnTo>
                    <a:pt x="20" y="39"/>
                  </a:lnTo>
                  <a:lnTo>
                    <a:pt x="25" y="36"/>
                  </a:lnTo>
                  <a:lnTo>
                    <a:pt x="33" y="36"/>
                  </a:lnTo>
                  <a:lnTo>
                    <a:pt x="37" y="34"/>
                  </a:lnTo>
                  <a:lnTo>
                    <a:pt x="39" y="32"/>
                  </a:lnTo>
                  <a:lnTo>
                    <a:pt x="44" y="30"/>
                  </a:lnTo>
                  <a:lnTo>
                    <a:pt x="49" y="28"/>
                  </a:lnTo>
                  <a:lnTo>
                    <a:pt x="55" y="28"/>
                  </a:lnTo>
                  <a:lnTo>
                    <a:pt x="56" y="26"/>
                  </a:lnTo>
                  <a:lnTo>
                    <a:pt x="50" y="0"/>
                  </a:lnTo>
                  <a:lnTo>
                    <a:pt x="24" y="5"/>
                  </a:lnTo>
                  <a:lnTo>
                    <a:pt x="0" y="9"/>
                  </a:lnTo>
                  <a:lnTo>
                    <a:pt x="0" y="10"/>
                  </a:lnTo>
                  <a:lnTo>
                    <a:pt x="4" y="29"/>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0" name="Freeform 49">
              <a:extLst>
                <a:ext uri="{FF2B5EF4-FFF2-40B4-BE49-F238E27FC236}">
                  <a16:creationId xmlns:a16="http://schemas.microsoft.com/office/drawing/2014/main" id="{11BC90B5-5AB6-710B-AB7D-FEAC5CCE9120}"/>
                </a:ext>
              </a:extLst>
            </p:cNvPr>
            <p:cNvSpPr>
              <a:spLocks/>
            </p:cNvSpPr>
            <p:nvPr/>
          </p:nvSpPr>
          <p:spPr bwMode="auto">
            <a:xfrm>
              <a:off x="9976403" y="2713677"/>
              <a:ext cx="62572" cy="76096"/>
            </a:xfrm>
            <a:custGeom>
              <a:avLst/>
              <a:gdLst>
                <a:gd name="T0" fmla="*/ 23 w 24"/>
                <a:gd name="T1" fmla="*/ 15 h 31"/>
                <a:gd name="T2" fmla="*/ 21 w 24"/>
                <a:gd name="T3" fmla="*/ 13 h 31"/>
                <a:gd name="T4" fmla="*/ 21 w 24"/>
                <a:gd name="T5" fmla="*/ 12 h 31"/>
                <a:gd name="T6" fmla="*/ 18 w 24"/>
                <a:gd name="T7" fmla="*/ 11 h 31"/>
                <a:gd name="T8" fmla="*/ 16 w 24"/>
                <a:gd name="T9" fmla="*/ 10 h 31"/>
                <a:gd name="T10" fmla="*/ 16 w 24"/>
                <a:gd name="T11" fmla="*/ 7 h 31"/>
                <a:gd name="T12" fmla="*/ 13 w 24"/>
                <a:gd name="T13" fmla="*/ 5 h 31"/>
                <a:gd name="T14" fmla="*/ 10 w 24"/>
                <a:gd name="T15" fmla="*/ 0 h 31"/>
                <a:gd name="T16" fmla="*/ 0 w 24"/>
                <a:gd name="T17" fmla="*/ 5 h 31"/>
                <a:gd name="T18" fmla="*/ 6 w 24"/>
                <a:gd name="T19" fmla="*/ 31 h 31"/>
                <a:gd name="T20" fmla="*/ 8 w 24"/>
                <a:gd name="T21" fmla="*/ 29 h 31"/>
                <a:gd name="T22" fmla="*/ 10 w 24"/>
                <a:gd name="T23" fmla="*/ 28 h 31"/>
                <a:gd name="T24" fmla="*/ 14 w 24"/>
                <a:gd name="T25" fmla="*/ 26 h 31"/>
                <a:gd name="T26" fmla="*/ 14 w 24"/>
                <a:gd name="T27" fmla="*/ 23 h 31"/>
                <a:gd name="T28" fmla="*/ 14 w 24"/>
                <a:gd name="T29" fmla="*/ 22 h 31"/>
                <a:gd name="T30" fmla="*/ 14 w 24"/>
                <a:gd name="T31" fmla="*/ 20 h 31"/>
                <a:gd name="T32" fmla="*/ 14 w 24"/>
                <a:gd name="T33" fmla="*/ 17 h 31"/>
                <a:gd name="T34" fmla="*/ 14 w 24"/>
                <a:gd name="T35" fmla="*/ 15 h 31"/>
                <a:gd name="T36" fmla="*/ 14 w 24"/>
                <a:gd name="T37" fmla="*/ 14 h 31"/>
                <a:gd name="T38" fmla="*/ 15 w 24"/>
                <a:gd name="T39" fmla="*/ 13 h 31"/>
                <a:gd name="T40" fmla="*/ 16 w 24"/>
                <a:gd name="T41" fmla="*/ 13 h 31"/>
                <a:gd name="T42" fmla="*/ 19 w 24"/>
                <a:gd name="T43" fmla="*/ 14 h 31"/>
                <a:gd name="T44" fmla="*/ 19 w 24"/>
                <a:gd name="T45" fmla="*/ 16 h 31"/>
                <a:gd name="T46" fmla="*/ 21 w 24"/>
                <a:gd name="T47" fmla="*/ 20 h 31"/>
                <a:gd name="T48" fmla="*/ 21 w 24"/>
                <a:gd name="T49" fmla="*/ 21 h 31"/>
                <a:gd name="T50" fmla="*/ 22 w 24"/>
                <a:gd name="T51" fmla="*/ 22 h 31"/>
                <a:gd name="T52" fmla="*/ 24 w 24"/>
                <a:gd name="T53" fmla="*/ 21 h 31"/>
                <a:gd name="T54" fmla="*/ 24 w 24"/>
                <a:gd name="T55" fmla="*/ 20 h 31"/>
                <a:gd name="T56" fmla="*/ 24 w 24"/>
                <a:gd name="T57" fmla="*/ 19 h 31"/>
                <a:gd name="T58" fmla="*/ 23 w 24"/>
                <a:gd name="T5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1">
                  <a:moveTo>
                    <a:pt x="23" y="15"/>
                  </a:moveTo>
                  <a:lnTo>
                    <a:pt x="21" y="13"/>
                  </a:lnTo>
                  <a:lnTo>
                    <a:pt x="21" y="12"/>
                  </a:lnTo>
                  <a:lnTo>
                    <a:pt x="18" y="11"/>
                  </a:lnTo>
                  <a:lnTo>
                    <a:pt x="16" y="10"/>
                  </a:lnTo>
                  <a:lnTo>
                    <a:pt x="16" y="7"/>
                  </a:lnTo>
                  <a:lnTo>
                    <a:pt x="13" y="5"/>
                  </a:lnTo>
                  <a:lnTo>
                    <a:pt x="10" y="0"/>
                  </a:lnTo>
                  <a:lnTo>
                    <a:pt x="0" y="5"/>
                  </a:lnTo>
                  <a:lnTo>
                    <a:pt x="6" y="31"/>
                  </a:lnTo>
                  <a:lnTo>
                    <a:pt x="8" y="29"/>
                  </a:lnTo>
                  <a:lnTo>
                    <a:pt x="10" y="28"/>
                  </a:lnTo>
                  <a:lnTo>
                    <a:pt x="14" y="26"/>
                  </a:lnTo>
                  <a:lnTo>
                    <a:pt x="14" y="23"/>
                  </a:lnTo>
                  <a:lnTo>
                    <a:pt x="14" y="22"/>
                  </a:lnTo>
                  <a:lnTo>
                    <a:pt x="14" y="20"/>
                  </a:lnTo>
                  <a:lnTo>
                    <a:pt x="14" y="17"/>
                  </a:lnTo>
                  <a:lnTo>
                    <a:pt x="14" y="15"/>
                  </a:lnTo>
                  <a:lnTo>
                    <a:pt x="14" y="14"/>
                  </a:lnTo>
                  <a:lnTo>
                    <a:pt x="15" y="13"/>
                  </a:lnTo>
                  <a:lnTo>
                    <a:pt x="16" y="13"/>
                  </a:lnTo>
                  <a:lnTo>
                    <a:pt x="19" y="14"/>
                  </a:lnTo>
                  <a:lnTo>
                    <a:pt x="19" y="16"/>
                  </a:lnTo>
                  <a:lnTo>
                    <a:pt x="21" y="20"/>
                  </a:lnTo>
                  <a:lnTo>
                    <a:pt x="21" y="21"/>
                  </a:lnTo>
                  <a:lnTo>
                    <a:pt x="22" y="22"/>
                  </a:lnTo>
                  <a:lnTo>
                    <a:pt x="24" y="21"/>
                  </a:lnTo>
                  <a:lnTo>
                    <a:pt x="24" y="20"/>
                  </a:lnTo>
                  <a:lnTo>
                    <a:pt x="24" y="19"/>
                  </a:lnTo>
                  <a:lnTo>
                    <a:pt x="23" y="15"/>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1" name="Freeform 50">
              <a:extLst>
                <a:ext uri="{FF2B5EF4-FFF2-40B4-BE49-F238E27FC236}">
                  <a16:creationId xmlns:a16="http://schemas.microsoft.com/office/drawing/2014/main" id="{17CA10A5-A2A1-894A-7527-45D6E9024642}"/>
                </a:ext>
              </a:extLst>
            </p:cNvPr>
            <p:cNvSpPr>
              <a:spLocks/>
            </p:cNvSpPr>
            <p:nvPr/>
          </p:nvSpPr>
          <p:spPr bwMode="auto">
            <a:xfrm>
              <a:off x="9846046" y="2625307"/>
              <a:ext cx="284180" cy="135010"/>
            </a:xfrm>
            <a:custGeom>
              <a:avLst/>
              <a:gdLst>
                <a:gd name="T0" fmla="*/ 105 w 109"/>
                <a:gd name="T1" fmla="*/ 32 h 55"/>
                <a:gd name="T2" fmla="*/ 101 w 109"/>
                <a:gd name="T3" fmla="*/ 29 h 55"/>
                <a:gd name="T4" fmla="*/ 97 w 109"/>
                <a:gd name="T5" fmla="*/ 25 h 55"/>
                <a:gd name="T6" fmla="*/ 97 w 109"/>
                <a:gd name="T7" fmla="*/ 29 h 55"/>
                <a:gd name="T8" fmla="*/ 102 w 109"/>
                <a:gd name="T9" fmla="*/ 35 h 55"/>
                <a:gd name="T10" fmla="*/ 95 w 109"/>
                <a:gd name="T11" fmla="*/ 36 h 55"/>
                <a:gd name="T12" fmla="*/ 88 w 109"/>
                <a:gd name="T13" fmla="*/ 37 h 55"/>
                <a:gd name="T14" fmla="*/ 85 w 109"/>
                <a:gd name="T15" fmla="*/ 35 h 55"/>
                <a:gd name="T16" fmla="*/ 81 w 109"/>
                <a:gd name="T17" fmla="*/ 32 h 55"/>
                <a:gd name="T18" fmla="*/ 81 w 109"/>
                <a:gd name="T19" fmla="*/ 27 h 55"/>
                <a:gd name="T20" fmla="*/ 73 w 109"/>
                <a:gd name="T21" fmla="*/ 22 h 55"/>
                <a:gd name="T22" fmla="*/ 69 w 109"/>
                <a:gd name="T23" fmla="*/ 22 h 55"/>
                <a:gd name="T24" fmla="*/ 68 w 109"/>
                <a:gd name="T25" fmla="*/ 16 h 55"/>
                <a:gd name="T26" fmla="*/ 71 w 109"/>
                <a:gd name="T27" fmla="*/ 13 h 55"/>
                <a:gd name="T28" fmla="*/ 77 w 109"/>
                <a:gd name="T29" fmla="*/ 9 h 55"/>
                <a:gd name="T30" fmla="*/ 76 w 109"/>
                <a:gd name="T31" fmla="*/ 6 h 55"/>
                <a:gd name="T32" fmla="*/ 71 w 109"/>
                <a:gd name="T33" fmla="*/ 6 h 55"/>
                <a:gd name="T34" fmla="*/ 68 w 109"/>
                <a:gd name="T35" fmla="*/ 0 h 55"/>
                <a:gd name="T36" fmla="*/ 59 w 109"/>
                <a:gd name="T37" fmla="*/ 8 h 55"/>
                <a:gd name="T38" fmla="*/ 0 w 109"/>
                <a:gd name="T39" fmla="*/ 20 h 55"/>
                <a:gd name="T40" fmla="*/ 0 w 109"/>
                <a:gd name="T41" fmla="*/ 50 h 55"/>
                <a:gd name="T42" fmla="*/ 50 w 109"/>
                <a:gd name="T43" fmla="*/ 41 h 55"/>
                <a:gd name="T44" fmla="*/ 63 w 109"/>
                <a:gd name="T45" fmla="*/ 41 h 55"/>
                <a:gd name="T46" fmla="*/ 66 w 109"/>
                <a:gd name="T47" fmla="*/ 46 h 55"/>
                <a:gd name="T48" fmla="*/ 71 w 109"/>
                <a:gd name="T49" fmla="*/ 48 h 55"/>
                <a:gd name="T50" fmla="*/ 73 w 109"/>
                <a:gd name="T51" fmla="*/ 51 h 55"/>
                <a:gd name="T52" fmla="*/ 74 w 109"/>
                <a:gd name="T53" fmla="*/ 55 h 55"/>
                <a:gd name="T54" fmla="*/ 77 w 109"/>
                <a:gd name="T55" fmla="*/ 55 h 55"/>
                <a:gd name="T56" fmla="*/ 79 w 109"/>
                <a:gd name="T57" fmla="*/ 49 h 55"/>
                <a:gd name="T58" fmla="*/ 82 w 109"/>
                <a:gd name="T59" fmla="*/ 45 h 55"/>
                <a:gd name="T60" fmla="*/ 86 w 109"/>
                <a:gd name="T61" fmla="*/ 46 h 55"/>
                <a:gd name="T62" fmla="*/ 87 w 109"/>
                <a:gd name="T63" fmla="*/ 51 h 55"/>
                <a:gd name="T64" fmla="*/ 92 w 109"/>
                <a:gd name="T65" fmla="*/ 47 h 55"/>
                <a:gd name="T66" fmla="*/ 94 w 109"/>
                <a:gd name="T67" fmla="*/ 45 h 55"/>
                <a:gd name="T68" fmla="*/ 101 w 109"/>
                <a:gd name="T69" fmla="*/ 43 h 55"/>
                <a:gd name="T70" fmla="*/ 106 w 109"/>
                <a:gd name="T71" fmla="*/ 40 h 55"/>
                <a:gd name="T72" fmla="*/ 109 w 109"/>
                <a:gd name="T73"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55">
                  <a:moveTo>
                    <a:pt x="107" y="35"/>
                  </a:moveTo>
                  <a:lnTo>
                    <a:pt x="105" y="32"/>
                  </a:lnTo>
                  <a:lnTo>
                    <a:pt x="104" y="31"/>
                  </a:lnTo>
                  <a:lnTo>
                    <a:pt x="101" y="29"/>
                  </a:lnTo>
                  <a:lnTo>
                    <a:pt x="98" y="27"/>
                  </a:lnTo>
                  <a:lnTo>
                    <a:pt x="97" y="25"/>
                  </a:lnTo>
                  <a:lnTo>
                    <a:pt x="96" y="27"/>
                  </a:lnTo>
                  <a:lnTo>
                    <a:pt x="97" y="29"/>
                  </a:lnTo>
                  <a:lnTo>
                    <a:pt x="100" y="32"/>
                  </a:lnTo>
                  <a:lnTo>
                    <a:pt x="102" y="35"/>
                  </a:lnTo>
                  <a:lnTo>
                    <a:pt x="99" y="36"/>
                  </a:lnTo>
                  <a:lnTo>
                    <a:pt x="95" y="36"/>
                  </a:lnTo>
                  <a:lnTo>
                    <a:pt x="89" y="39"/>
                  </a:lnTo>
                  <a:lnTo>
                    <a:pt x="88" y="37"/>
                  </a:lnTo>
                  <a:lnTo>
                    <a:pt x="87" y="36"/>
                  </a:lnTo>
                  <a:lnTo>
                    <a:pt x="85" y="35"/>
                  </a:lnTo>
                  <a:lnTo>
                    <a:pt x="82" y="33"/>
                  </a:lnTo>
                  <a:lnTo>
                    <a:pt x="81" y="32"/>
                  </a:lnTo>
                  <a:lnTo>
                    <a:pt x="82" y="30"/>
                  </a:lnTo>
                  <a:lnTo>
                    <a:pt x="81" y="27"/>
                  </a:lnTo>
                  <a:lnTo>
                    <a:pt x="77" y="24"/>
                  </a:lnTo>
                  <a:lnTo>
                    <a:pt x="73" y="22"/>
                  </a:lnTo>
                  <a:lnTo>
                    <a:pt x="71" y="22"/>
                  </a:lnTo>
                  <a:lnTo>
                    <a:pt x="69" y="22"/>
                  </a:lnTo>
                  <a:lnTo>
                    <a:pt x="68" y="20"/>
                  </a:lnTo>
                  <a:lnTo>
                    <a:pt x="68" y="16"/>
                  </a:lnTo>
                  <a:lnTo>
                    <a:pt x="70" y="14"/>
                  </a:lnTo>
                  <a:lnTo>
                    <a:pt x="71" y="13"/>
                  </a:lnTo>
                  <a:lnTo>
                    <a:pt x="73" y="11"/>
                  </a:lnTo>
                  <a:lnTo>
                    <a:pt x="77" y="9"/>
                  </a:lnTo>
                  <a:lnTo>
                    <a:pt x="77" y="8"/>
                  </a:lnTo>
                  <a:lnTo>
                    <a:pt x="76" y="6"/>
                  </a:lnTo>
                  <a:lnTo>
                    <a:pt x="73" y="6"/>
                  </a:lnTo>
                  <a:lnTo>
                    <a:pt x="71" y="6"/>
                  </a:lnTo>
                  <a:lnTo>
                    <a:pt x="70" y="3"/>
                  </a:lnTo>
                  <a:lnTo>
                    <a:pt x="68" y="0"/>
                  </a:lnTo>
                  <a:lnTo>
                    <a:pt x="60" y="3"/>
                  </a:lnTo>
                  <a:lnTo>
                    <a:pt x="59" y="8"/>
                  </a:lnTo>
                  <a:lnTo>
                    <a:pt x="22" y="17"/>
                  </a:lnTo>
                  <a:lnTo>
                    <a:pt x="0" y="20"/>
                  </a:lnTo>
                  <a:lnTo>
                    <a:pt x="0" y="33"/>
                  </a:lnTo>
                  <a:lnTo>
                    <a:pt x="0" y="50"/>
                  </a:lnTo>
                  <a:lnTo>
                    <a:pt x="24" y="46"/>
                  </a:lnTo>
                  <a:lnTo>
                    <a:pt x="50" y="41"/>
                  </a:lnTo>
                  <a:lnTo>
                    <a:pt x="60" y="36"/>
                  </a:lnTo>
                  <a:lnTo>
                    <a:pt x="63" y="41"/>
                  </a:lnTo>
                  <a:lnTo>
                    <a:pt x="66" y="43"/>
                  </a:lnTo>
                  <a:lnTo>
                    <a:pt x="66" y="46"/>
                  </a:lnTo>
                  <a:lnTo>
                    <a:pt x="68" y="47"/>
                  </a:lnTo>
                  <a:lnTo>
                    <a:pt x="71" y="48"/>
                  </a:lnTo>
                  <a:lnTo>
                    <a:pt x="71" y="49"/>
                  </a:lnTo>
                  <a:lnTo>
                    <a:pt x="73" y="51"/>
                  </a:lnTo>
                  <a:lnTo>
                    <a:pt x="74" y="55"/>
                  </a:lnTo>
                  <a:lnTo>
                    <a:pt x="74" y="55"/>
                  </a:lnTo>
                  <a:lnTo>
                    <a:pt x="76" y="55"/>
                  </a:lnTo>
                  <a:lnTo>
                    <a:pt x="77" y="55"/>
                  </a:lnTo>
                  <a:lnTo>
                    <a:pt x="79" y="53"/>
                  </a:lnTo>
                  <a:lnTo>
                    <a:pt x="79" y="49"/>
                  </a:lnTo>
                  <a:lnTo>
                    <a:pt x="82" y="47"/>
                  </a:lnTo>
                  <a:lnTo>
                    <a:pt x="82" y="45"/>
                  </a:lnTo>
                  <a:lnTo>
                    <a:pt x="85" y="43"/>
                  </a:lnTo>
                  <a:lnTo>
                    <a:pt x="86" y="46"/>
                  </a:lnTo>
                  <a:lnTo>
                    <a:pt x="87" y="49"/>
                  </a:lnTo>
                  <a:lnTo>
                    <a:pt x="87" y="51"/>
                  </a:lnTo>
                  <a:lnTo>
                    <a:pt x="90" y="49"/>
                  </a:lnTo>
                  <a:lnTo>
                    <a:pt x="92" y="47"/>
                  </a:lnTo>
                  <a:lnTo>
                    <a:pt x="92" y="45"/>
                  </a:lnTo>
                  <a:lnTo>
                    <a:pt x="94" y="45"/>
                  </a:lnTo>
                  <a:lnTo>
                    <a:pt x="97" y="43"/>
                  </a:lnTo>
                  <a:lnTo>
                    <a:pt x="101" y="43"/>
                  </a:lnTo>
                  <a:lnTo>
                    <a:pt x="103" y="41"/>
                  </a:lnTo>
                  <a:lnTo>
                    <a:pt x="106" y="40"/>
                  </a:lnTo>
                  <a:lnTo>
                    <a:pt x="108" y="38"/>
                  </a:lnTo>
                  <a:lnTo>
                    <a:pt x="109" y="36"/>
                  </a:lnTo>
                  <a:lnTo>
                    <a:pt x="107" y="35"/>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2" name="Freeform 51">
              <a:extLst>
                <a:ext uri="{FF2B5EF4-FFF2-40B4-BE49-F238E27FC236}">
                  <a16:creationId xmlns:a16="http://schemas.microsoft.com/office/drawing/2014/main" id="{880A48E8-4B74-9B40-1889-53C52621B071}"/>
                </a:ext>
              </a:extLst>
            </p:cNvPr>
            <p:cNvSpPr>
              <a:spLocks/>
            </p:cNvSpPr>
            <p:nvPr/>
          </p:nvSpPr>
          <p:spPr bwMode="auto">
            <a:xfrm>
              <a:off x="10065047" y="2750498"/>
              <a:ext cx="26071" cy="17184"/>
            </a:xfrm>
            <a:custGeom>
              <a:avLst/>
              <a:gdLst>
                <a:gd name="T0" fmla="*/ 3 w 12"/>
                <a:gd name="T1" fmla="*/ 9 h 9"/>
                <a:gd name="T2" fmla="*/ 7 w 12"/>
                <a:gd name="T3" fmla="*/ 9 h 9"/>
                <a:gd name="T4" fmla="*/ 10 w 12"/>
                <a:gd name="T5" fmla="*/ 6 h 9"/>
                <a:gd name="T6" fmla="*/ 12 w 12"/>
                <a:gd name="T7" fmla="*/ 4 h 9"/>
                <a:gd name="T8" fmla="*/ 8 w 12"/>
                <a:gd name="T9" fmla="*/ 2 h 9"/>
                <a:gd name="T10" fmla="*/ 4 w 12"/>
                <a:gd name="T11" fmla="*/ 1 h 9"/>
                <a:gd name="T12" fmla="*/ 0 w 12"/>
                <a:gd name="T13" fmla="*/ 7 h 9"/>
                <a:gd name="T14" fmla="*/ 3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3" y="9"/>
                  </a:moveTo>
                  <a:cubicBezTo>
                    <a:pt x="7" y="9"/>
                    <a:pt x="7" y="9"/>
                    <a:pt x="7" y="9"/>
                  </a:cubicBezTo>
                  <a:cubicBezTo>
                    <a:pt x="10" y="6"/>
                    <a:pt x="10" y="6"/>
                    <a:pt x="10" y="6"/>
                  </a:cubicBezTo>
                  <a:cubicBezTo>
                    <a:pt x="12" y="4"/>
                    <a:pt x="12" y="4"/>
                    <a:pt x="12" y="4"/>
                  </a:cubicBezTo>
                  <a:cubicBezTo>
                    <a:pt x="8" y="2"/>
                    <a:pt x="8" y="2"/>
                    <a:pt x="8" y="2"/>
                  </a:cubicBezTo>
                  <a:cubicBezTo>
                    <a:pt x="8" y="2"/>
                    <a:pt x="5" y="0"/>
                    <a:pt x="4" y="1"/>
                  </a:cubicBezTo>
                  <a:cubicBezTo>
                    <a:pt x="4" y="2"/>
                    <a:pt x="0" y="7"/>
                    <a:pt x="0" y="7"/>
                  </a:cubicBezTo>
                  <a:lnTo>
                    <a:pt x="3" y="9"/>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3" name="Freeform 52">
              <a:extLst>
                <a:ext uri="{FF2B5EF4-FFF2-40B4-BE49-F238E27FC236}">
                  <a16:creationId xmlns:a16="http://schemas.microsoft.com/office/drawing/2014/main" id="{4951ABB5-639B-67BA-17CA-9AB61496E6ED}"/>
                </a:ext>
              </a:extLst>
            </p:cNvPr>
            <p:cNvSpPr>
              <a:spLocks/>
            </p:cNvSpPr>
            <p:nvPr/>
          </p:nvSpPr>
          <p:spPr bwMode="auto">
            <a:xfrm>
              <a:off x="9736545" y="2843778"/>
              <a:ext cx="109500" cy="230741"/>
            </a:xfrm>
            <a:custGeom>
              <a:avLst/>
              <a:gdLst>
                <a:gd name="T0" fmla="*/ 36 w 42"/>
                <a:gd name="T1" fmla="*/ 13 h 94"/>
                <a:gd name="T2" fmla="*/ 36 w 42"/>
                <a:gd name="T3" fmla="*/ 9 h 94"/>
                <a:gd name="T4" fmla="*/ 34 w 42"/>
                <a:gd name="T5" fmla="*/ 7 h 94"/>
                <a:gd name="T6" fmla="*/ 21 w 42"/>
                <a:gd name="T7" fmla="*/ 3 h 94"/>
                <a:gd name="T8" fmla="*/ 9 w 42"/>
                <a:gd name="T9" fmla="*/ 0 h 94"/>
                <a:gd name="T10" fmla="*/ 8 w 42"/>
                <a:gd name="T11" fmla="*/ 3 h 94"/>
                <a:gd name="T12" fmla="*/ 6 w 42"/>
                <a:gd name="T13" fmla="*/ 7 h 94"/>
                <a:gd name="T14" fmla="*/ 3 w 42"/>
                <a:gd name="T15" fmla="*/ 9 h 94"/>
                <a:gd name="T16" fmla="*/ 2 w 42"/>
                <a:gd name="T17" fmla="*/ 14 h 94"/>
                <a:gd name="T18" fmla="*/ 3 w 42"/>
                <a:gd name="T19" fmla="*/ 20 h 94"/>
                <a:gd name="T20" fmla="*/ 3 w 42"/>
                <a:gd name="T21" fmla="*/ 25 h 94"/>
                <a:gd name="T22" fmla="*/ 2 w 42"/>
                <a:gd name="T23" fmla="*/ 30 h 94"/>
                <a:gd name="T24" fmla="*/ 5 w 42"/>
                <a:gd name="T25" fmla="*/ 32 h 94"/>
                <a:gd name="T26" fmla="*/ 9 w 42"/>
                <a:gd name="T27" fmla="*/ 34 h 94"/>
                <a:gd name="T28" fmla="*/ 11 w 42"/>
                <a:gd name="T29" fmla="*/ 38 h 94"/>
                <a:gd name="T30" fmla="*/ 15 w 42"/>
                <a:gd name="T31" fmla="*/ 42 h 94"/>
                <a:gd name="T32" fmla="*/ 20 w 42"/>
                <a:gd name="T33" fmla="*/ 46 h 94"/>
                <a:gd name="T34" fmla="*/ 20 w 42"/>
                <a:gd name="T35" fmla="*/ 47 h 94"/>
                <a:gd name="T36" fmla="*/ 18 w 42"/>
                <a:gd name="T37" fmla="*/ 53 h 94"/>
                <a:gd name="T38" fmla="*/ 10 w 42"/>
                <a:gd name="T39" fmla="*/ 58 h 94"/>
                <a:gd name="T40" fmla="*/ 3 w 42"/>
                <a:gd name="T41" fmla="*/ 64 h 94"/>
                <a:gd name="T42" fmla="*/ 2 w 42"/>
                <a:gd name="T43" fmla="*/ 67 h 94"/>
                <a:gd name="T44" fmla="*/ 0 w 42"/>
                <a:gd name="T45" fmla="*/ 72 h 94"/>
                <a:gd name="T46" fmla="*/ 1 w 42"/>
                <a:gd name="T47" fmla="*/ 75 h 94"/>
                <a:gd name="T48" fmla="*/ 3 w 42"/>
                <a:gd name="T49" fmla="*/ 79 h 94"/>
                <a:gd name="T50" fmla="*/ 8 w 42"/>
                <a:gd name="T51" fmla="*/ 83 h 94"/>
                <a:gd name="T52" fmla="*/ 12 w 42"/>
                <a:gd name="T53" fmla="*/ 85 h 94"/>
                <a:gd name="T54" fmla="*/ 15 w 42"/>
                <a:gd name="T55" fmla="*/ 86 h 94"/>
                <a:gd name="T56" fmla="*/ 20 w 42"/>
                <a:gd name="T57" fmla="*/ 86 h 94"/>
                <a:gd name="T58" fmla="*/ 24 w 42"/>
                <a:gd name="T59" fmla="*/ 86 h 94"/>
                <a:gd name="T60" fmla="*/ 25 w 42"/>
                <a:gd name="T61" fmla="*/ 86 h 94"/>
                <a:gd name="T62" fmla="*/ 24 w 42"/>
                <a:gd name="T63" fmla="*/ 90 h 94"/>
                <a:gd name="T64" fmla="*/ 24 w 42"/>
                <a:gd name="T65" fmla="*/ 93 h 94"/>
                <a:gd name="T66" fmla="*/ 25 w 42"/>
                <a:gd name="T67" fmla="*/ 94 h 94"/>
                <a:gd name="T68" fmla="*/ 26 w 42"/>
                <a:gd name="T69" fmla="*/ 94 h 94"/>
                <a:gd name="T70" fmla="*/ 27 w 42"/>
                <a:gd name="T71" fmla="*/ 87 h 94"/>
                <a:gd name="T72" fmla="*/ 28 w 42"/>
                <a:gd name="T73" fmla="*/ 86 h 94"/>
                <a:gd name="T74" fmla="*/ 31 w 42"/>
                <a:gd name="T75" fmla="*/ 82 h 94"/>
                <a:gd name="T76" fmla="*/ 36 w 42"/>
                <a:gd name="T77" fmla="*/ 78 h 94"/>
                <a:gd name="T78" fmla="*/ 36 w 42"/>
                <a:gd name="T79" fmla="*/ 69 h 94"/>
                <a:gd name="T80" fmla="*/ 36 w 42"/>
                <a:gd name="T81" fmla="*/ 65 h 94"/>
                <a:gd name="T82" fmla="*/ 40 w 42"/>
                <a:gd name="T83" fmla="*/ 61 h 94"/>
                <a:gd name="T84" fmla="*/ 41 w 42"/>
                <a:gd name="T85" fmla="*/ 53 h 94"/>
                <a:gd name="T86" fmla="*/ 42 w 42"/>
                <a:gd name="T87" fmla="*/ 48 h 94"/>
                <a:gd name="T88" fmla="*/ 42 w 42"/>
                <a:gd name="T89" fmla="*/ 40 h 94"/>
                <a:gd name="T90" fmla="*/ 42 w 42"/>
                <a:gd name="T91" fmla="*/ 36 h 94"/>
                <a:gd name="T92" fmla="*/ 40 w 42"/>
                <a:gd name="T93" fmla="*/ 30 h 94"/>
                <a:gd name="T94" fmla="*/ 36 w 42"/>
                <a:gd name="T95" fmla="*/ 30 h 94"/>
                <a:gd name="T96" fmla="*/ 34 w 42"/>
                <a:gd name="T97" fmla="*/ 30 h 94"/>
                <a:gd name="T98" fmla="*/ 35 w 42"/>
                <a:gd name="T99" fmla="*/ 25 h 94"/>
                <a:gd name="T100" fmla="*/ 37 w 42"/>
                <a:gd name="T101" fmla="*/ 20 h 94"/>
                <a:gd name="T102" fmla="*/ 39 w 42"/>
                <a:gd name="T103" fmla="*/ 18 h 94"/>
                <a:gd name="T104" fmla="*/ 38 w 42"/>
                <a:gd name="T105" fmla="*/ 17 h 94"/>
                <a:gd name="T106" fmla="*/ 36 w 42"/>
                <a:gd name="T107"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94">
                  <a:moveTo>
                    <a:pt x="36" y="13"/>
                  </a:moveTo>
                  <a:lnTo>
                    <a:pt x="36" y="9"/>
                  </a:lnTo>
                  <a:lnTo>
                    <a:pt x="34" y="7"/>
                  </a:lnTo>
                  <a:lnTo>
                    <a:pt x="21" y="3"/>
                  </a:lnTo>
                  <a:lnTo>
                    <a:pt x="9" y="0"/>
                  </a:lnTo>
                  <a:lnTo>
                    <a:pt x="8" y="3"/>
                  </a:lnTo>
                  <a:lnTo>
                    <a:pt x="6" y="7"/>
                  </a:lnTo>
                  <a:lnTo>
                    <a:pt x="3" y="9"/>
                  </a:lnTo>
                  <a:lnTo>
                    <a:pt x="2" y="14"/>
                  </a:lnTo>
                  <a:lnTo>
                    <a:pt x="3" y="20"/>
                  </a:lnTo>
                  <a:lnTo>
                    <a:pt x="3" y="25"/>
                  </a:lnTo>
                  <a:lnTo>
                    <a:pt x="2" y="30"/>
                  </a:lnTo>
                  <a:lnTo>
                    <a:pt x="5" y="32"/>
                  </a:lnTo>
                  <a:lnTo>
                    <a:pt x="9" y="34"/>
                  </a:lnTo>
                  <a:lnTo>
                    <a:pt x="11" y="38"/>
                  </a:lnTo>
                  <a:lnTo>
                    <a:pt x="15" y="42"/>
                  </a:lnTo>
                  <a:lnTo>
                    <a:pt x="20" y="46"/>
                  </a:lnTo>
                  <a:lnTo>
                    <a:pt x="20" y="47"/>
                  </a:lnTo>
                  <a:lnTo>
                    <a:pt x="18" y="53"/>
                  </a:lnTo>
                  <a:lnTo>
                    <a:pt x="10" y="58"/>
                  </a:lnTo>
                  <a:lnTo>
                    <a:pt x="3" y="64"/>
                  </a:lnTo>
                  <a:lnTo>
                    <a:pt x="2" y="67"/>
                  </a:lnTo>
                  <a:lnTo>
                    <a:pt x="0" y="72"/>
                  </a:lnTo>
                  <a:lnTo>
                    <a:pt x="1" y="75"/>
                  </a:lnTo>
                  <a:lnTo>
                    <a:pt x="3" y="79"/>
                  </a:lnTo>
                  <a:lnTo>
                    <a:pt x="8" y="83"/>
                  </a:lnTo>
                  <a:lnTo>
                    <a:pt x="12" y="85"/>
                  </a:lnTo>
                  <a:lnTo>
                    <a:pt x="15" y="86"/>
                  </a:lnTo>
                  <a:lnTo>
                    <a:pt x="20" y="86"/>
                  </a:lnTo>
                  <a:lnTo>
                    <a:pt x="24" y="86"/>
                  </a:lnTo>
                  <a:lnTo>
                    <a:pt x="25" y="86"/>
                  </a:lnTo>
                  <a:lnTo>
                    <a:pt x="24" y="90"/>
                  </a:lnTo>
                  <a:lnTo>
                    <a:pt x="24" y="93"/>
                  </a:lnTo>
                  <a:lnTo>
                    <a:pt x="25" y="94"/>
                  </a:lnTo>
                  <a:lnTo>
                    <a:pt x="26" y="94"/>
                  </a:lnTo>
                  <a:lnTo>
                    <a:pt x="27" y="87"/>
                  </a:lnTo>
                  <a:lnTo>
                    <a:pt x="28" y="86"/>
                  </a:lnTo>
                  <a:lnTo>
                    <a:pt x="31" y="82"/>
                  </a:lnTo>
                  <a:lnTo>
                    <a:pt x="36" y="78"/>
                  </a:lnTo>
                  <a:lnTo>
                    <a:pt x="36" y="69"/>
                  </a:lnTo>
                  <a:lnTo>
                    <a:pt x="36" y="65"/>
                  </a:lnTo>
                  <a:lnTo>
                    <a:pt x="40" y="61"/>
                  </a:lnTo>
                  <a:lnTo>
                    <a:pt x="41" y="53"/>
                  </a:lnTo>
                  <a:lnTo>
                    <a:pt x="42" y="48"/>
                  </a:lnTo>
                  <a:lnTo>
                    <a:pt x="42" y="40"/>
                  </a:lnTo>
                  <a:lnTo>
                    <a:pt x="42" y="36"/>
                  </a:lnTo>
                  <a:lnTo>
                    <a:pt x="40" y="30"/>
                  </a:lnTo>
                  <a:lnTo>
                    <a:pt x="36" y="30"/>
                  </a:lnTo>
                  <a:lnTo>
                    <a:pt x="34" y="30"/>
                  </a:lnTo>
                  <a:lnTo>
                    <a:pt x="35" y="25"/>
                  </a:lnTo>
                  <a:lnTo>
                    <a:pt x="37" y="20"/>
                  </a:lnTo>
                  <a:lnTo>
                    <a:pt x="39" y="18"/>
                  </a:lnTo>
                  <a:lnTo>
                    <a:pt x="38" y="17"/>
                  </a:lnTo>
                  <a:lnTo>
                    <a:pt x="36" y="13"/>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4" name="Freeform 53">
              <a:extLst>
                <a:ext uri="{FF2B5EF4-FFF2-40B4-BE49-F238E27FC236}">
                  <a16:creationId xmlns:a16="http://schemas.microsoft.com/office/drawing/2014/main" id="{97734A03-1360-12B6-4304-5C17094DB405}"/>
                </a:ext>
              </a:extLst>
            </p:cNvPr>
            <p:cNvSpPr>
              <a:spLocks/>
            </p:cNvSpPr>
            <p:nvPr/>
          </p:nvSpPr>
          <p:spPr bwMode="auto">
            <a:xfrm>
              <a:off x="9715688" y="3003333"/>
              <a:ext cx="86035" cy="132554"/>
            </a:xfrm>
            <a:custGeom>
              <a:avLst/>
              <a:gdLst>
                <a:gd name="T0" fmla="*/ 9 w 33"/>
                <a:gd name="T1" fmla="*/ 10 h 54"/>
                <a:gd name="T2" fmla="*/ 8 w 33"/>
                <a:gd name="T3" fmla="*/ 7 h 54"/>
                <a:gd name="T4" fmla="*/ 10 w 33"/>
                <a:gd name="T5" fmla="*/ 2 h 54"/>
                <a:gd name="T6" fmla="*/ 11 w 33"/>
                <a:gd name="T7" fmla="*/ 1 h 54"/>
                <a:gd name="T8" fmla="*/ 9 w 33"/>
                <a:gd name="T9" fmla="*/ 0 h 54"/>
                <a:gd name="T10" fmla="*/ 6 w 33"/>
                <a:gd name="T11" fmla="*/ 0 h 54"/>
                <a:gd name="T12" fmla="*/ 5 w 33"/>
                <a:gd name="T13" fmla="*/ 0 h 54"/>
                <a:gd name="T14" fmla="*/ 2 w 33"/>
                <a:gd name="T15" fmla="*/ 2 h 54"/>
                <a:gd name="T16" fmla="*/ 0 w 33"/>
                <a:gd name="T17" fmla="*/ 5 h 54"/>
                <a:gd name="T18" fmla="*/ 12 w 33"/>
                <a:gd name="T19" fmla="*/ 54 h 54"/>
                <a:gd name="T20" fmla="*/ 33 w 33"/>
                <a:gd name="T21" fmla="*/ 51 h 54"/>
                <a:gd name="T22" fmla="*/ 32 w 33"/>
                <a:gd name="T23" fmla="*/ 43 h 54"/>
                <a:gd name="T24" fmla="*/ 29 w 33"/>
                <a:gd name="T25" fmla="*/ 40 h 54"/>
                <a:gd name="T26" fmla="*/ 28 w 33"/>
                <a:gd name="T27" fmla="*/ 38 h 54"/>
                <a:gd name="T28" fmla="*/ 26 w 33"/>
                <a:gd name="T29" fmla="*/ 37 h 54"/>
                <a:gd name="T30" fmla="*/ 23 w 33"/>
                <a:gd name="T31" fmla="*/ 34 h 54"/>
                <a:gd name="T32" fmla="*/ 20 w 33"/>
                <a:gd name="T33" fmla="*/ 32 h 54"/>
                <a:gd name="T34" fmla="*/ 18 w 33"/>
                <a:gd name="T35" fmla="*/ 28 h 54"/>
                <a:gd name="T36" fmla="*/ 16 w 33"/>
                <a:gd name="T37" fmla="*/ 24 h 54"/>
                <a:gd name="T38" fmla="*/ 14 w 33"/>
                <a:gd name="T39" fmla="*/ 20 h 54"/>
                <a:gd name="T40" fmla="*/ 16 w 33"/>
                <a:gd name="T41" fmla="*/ 17 h 54"/>
                <a:gd name="T42" fmla="*/ 11 w 33"/>
                <a:gd name="T43" fmla="*/ 14 h 54"/>
                <a:gd name="T44" fmla="*/ 9 w 33"/>
                <a:gd name="T4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54">
                  <a:moveTo>
                    <a:pt x="9" y="10"/>
                  </a:moveTo>
                  <a:lnTo>
                    <a:pt x="8" y="7"/>
                  </a:lnTo>
                  <a:lnTo>
                    <a:pt x="10" y="2"/>
                  </a:lnTo>
                  <a:lnTo>
                    <a:pt x="11" y="1"/>
                  </a:lnTo>
                  <a:lnTo>
                    <a:pt x="9" y="0"/>
                  </a:lnTo>
                  <a:lnTo>
                    <a:pt x="6" y="0"/>
                  </a:lnTo>
                  <a:lnTo>
                    <a:pt x="5" y="0"/>
                  </a:lnTo>
                  <a:lnTo>
                    <a:pt x="2" y="2"/>
                  </a:lnTo>
                  <a:lnTo>
                    <a:pt x="0" y="5"/>
                  </a:lnTo>
                  <a:lnTo>
                    <a:pt x="12" y="54"/>
                  </a:lnTo>
                  <a:lnTo>
                    <a:pt x="33" y="51"/>
                  </a:lnTo>
                  <a:lnTo>
                    <a:pt x="32" y="43"/>
                  </a:lnTo>
                  <a:lnTo>
                    <a:pt x="29" y="40"/>
                  </a:lnTo>
                  <a:lnTo>
                    <a:pt x="28" y="38"/>
                  </a:lnTo>
                  <a:lnTo>
                    <a:pt x="26" y="37"/>
                  </a:lnTo>
                  <a:lnTo>
                    <a:pt x="23" y="34"/>
                  </a:lnTo>
                  <a:lnTo>
                    <a:pt x="20" y="32"/>
                  </a:lnTo>
                  <a:lnTo>
                    <a:pt x="18" y="28"/>
                  </a:lnTo>
                  <a:lnTo>
                    <a:pt x="16" y="24"/>
                  </a:lnTo>
                  <a:lnTo>
                    <a:pt x="14" y="20"/>
                  </a:lnTo>
                  <a:lnTo>
                    <a:pt x="16" y="17"/>
                  </a:lnTo>
                  <a:lnTo>
                    <a:pt x="11" y="14"/>
                  </a:lnTo>
                  <a:lnTo>
                    <a:pt x="9" y="1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5" name="Freeform 54">
              <a:extLst>
                <a:ext uri="{FF2B5EF4-FFF2-40B4-BE49-F238E27FC236}">
                  <a16:creationId xmlns:a16="http://schemas.microsoft.com/office/drawing/2014/main" id="{D4A30DE5-C152-FDD8-7ABD-D029326D2CAE}"/>
                </a:ext>
              </a:extLst>
            </p:cNvPr>
            <p:cNvSpPr>
              <a:spLocks/>
            </p:cNvSpPr>
            <p:nvPr/>
          </p:nvSpPr>
          <p:spPr bwMode="auto">
            <a:xfrm>
              <a:off x="9298543" y="2782408"/>
              <a:ext cx="490145" cy="299474"/>
            </a:xfrm>
            <a:custGeom>
              <a:avLst/>
              <a:gdLst>
                <a:gd name="T0" fmla="*/ 165 w 188"/>
                <a:gd name="T1" fmla="*/ 90 h 122"/>
                <a:gd name="T2" fmla="*/ 166 w 188"/>
                <a:gd name="T3" fmla="*/ 90 h 122"/>
                <a:gd name="T4" fmla="*/ 169 w 188"/>
                <a:gd name="T5" fmla="*/ 90 h 122"/>
                <a:gd name="T6" fmla="*/ 171 w 188"/>
                <a:gd name="T7" fmla="*/ 91 h 122"/>
                <a:gd name="T8" fmla="*/ 171 w 188"/>
                <a:gd name="T9" fmla="*/ 89 h 122"/>
                <a:gd name="T10" fmla="*/ 178 w 188"/>
                <a:gd name="T11" fmla="*/ 83 h 122"/>
                <a:gd name="T12" fmla="*/ 186 w 188"/>
                <a:gd name="T13" fmla="*/ 78 h 122"/>
                <a:gd name="T14" fmla="*/ 188 w 188"/>
                <a:gd name="T15" fmla="*/ 72 h 122"/>
                <a:gd name="T16" fmla="*/ 188 w 188"/>
                <a:gd name="T17" fmla="*/ 71 h 122"/>
                <a:gd name="T18" fmla="*/ 183 w 188"/>
                <a:gd name="T19" fmla="*/ 67 h 122"/>
                <a:gd name="T20" fmla="*/ 179 w 188"/>
                <a:gd name="T21" fmla="*/ 63 h 122"/>
                <a:gd name="T22" fmla="*/ 177 w 188"/>
                <a:gd name="T23" fmla="*/ 59 h 122"/>
                <a:gd name="T24" fmla="*/ 173 w 188"/>
                <a:gd name="T25" fmla="*/ 57 h 122"/>
                <a:gd name="T26" fmla="*/ 170 w 188"/>
                <a:gd name="T27" fmla="*/ 55 h 122"/>
                <a:gd name="T28" fmla="*/ 171 w 188"/>
                <a:gd name="T29" fmla="*/ 50 h 122"/>
                <a:gd name="T30" fmla="*/ 171 w 188"/>
                <a:gd name="T31" fmla="*/ 45 h 122"/>
                <a:gd name="T32" fmla="*/ 170 w 188"/>
                <a:gd name="T33" fmla="*/ 39 h 122"/>
                <a:gd name="T34" fmla="*/ 171 w 188"/>
                <a:gd name="T35" fmla="*/ 34 h 122"/>
                <a:gd name="T36" fmla="*/ 174 w 188"/>
                <a:gd name="T37" fmla="*/ 32 h 122"/>
                <a:gd name="T38" fmla="*/ 176 w 188"/>
                <a:gd name="T39" fmla="*/ 28 h 122"/>
                <a:gd name="T40" fmla="*/ 177 w 188"/>
                <a:gd name="T41" fmla="*/ 25 h 122"/>
                <a:gd name="T42" fmla="*/ 179 w 188"/>
                <a:gd name="T43" fmla="*/ 20 h 122"/>
                <a:gd name="T44" fmla="*/ 176 w 188"/>
                <a:gd name="T45" fmla="*/ 18 h 122"/>
                <a:gd name="T46" fmla="*/ 173 w 188"/>
                <a:gd name="T47" fmla="*/ 18 h 122"/>
                <a:gd name="T48" fmla="*/ 170 w 188"/>
                <a:gd name="T49" fmla="*/ 17 h 122"/>
                <a:gd name="T50" fmla="*/ 166 w 188"/>
                <a:gd name="T51" fmla="*/ 10 h 122"/>
                <a:gd name="T52" fmla="*/ 162 w 188"/>
                <a:gd name="T53" fmla="*/ 5 h 122"/>
                <a:gd name="T54" fmla="*/ 154 w 188"/>
                <a:gd name="T55" fmla="*/ 0 h 122"/>
                <a:gd name="T56" fmla="*/ 24 w 188"/>
                <a:gd name="T57" fmla="*/ 23 h 122"/>
                <a:gd name="T58" fmla="*/ 22 w 188"/>
                <a:gd name="T59" fmla="*/ 13 h 122"/>
                <a:gd name="T60" fmla="*/ 16 w 188"/>
                <a:gd name="T61" fmla="*/ 17 h 122"/>
                <a:gd name="T62" fmla="*/ 11 w 188"/>
                <a:gd name="T63" fmla="*/ 21 h 122"/>
                <a:gd name="T64" fmla="*/ 6 w 188"/>
                <a:gd name="T65" fmla="*/ 24 h 122"/>
                <a:gd name="T66" fmla="*/ 0 w 188"/>
                <a:gd name="T67" fmla="*/ 28 h 122"/>
                <a:gd name="T68" fmla="*/ 16 w 188"/>
                <a:gd name="T69" fmla="*/ 122 h 122"/>
                <a:gd name="T70" fmla="*/ 160 w 188"/>
                <a:gd name="T71" fmla="*/ 95 h 122"/>
                <a:gd name="T72" fmla="*/ 162 w 188"/>
                <a:gd name="T73" fmla="*/ 92 h 122"/>
                <a:gd name="T74" fmla="*/ 165 w 188"/>
                <a:gd name="T75"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22">
                  <a:moveTo>
                    <a:pt x="165" y="90"/>
                  </a:moveTo>
                  <a:lnTo>
                    <a:pt x="166" y="90"/>
                  </a:lnTo>
                  <a:lnTo>
                    <a:pt x="169" y="90"/>
                  </a:lnTo>
                  <a:lnTo>
                    <a:pt x="171" y="91"/>
                  </a:lnTo>
                  <a:lnTo>
                    <a:pt x="171" y="89"/>
                  </a:lnTo>
                  <a:lnTo>
                    <a:pt x="178" y="83"/>
                  </a:lnTo>
                  <a:lnTo>
                    <a:pt x="186" y="78"/>
                  </a:lnTo>
                  <a:lnTo>
                    <a:pt x="188" y="72"/>
                  </a:lnTo>
                  <a:lnTo>
                    <a:pt x="188" y="71"/>
                  </a:lnTo>
                  <a:lnTo>
                    <a:pt x="183" y="67"/>
                  </a:lnTo>
                  <a:lnTo>
                    <a:pt x="179" y="63"/>
                  </a:lnTo>
                  <a:lnTo>
                    <a:pt x="177" y="59"/>
                  </a:lnTo>
                  <a:lnTo>
                    <a:pt x="173" y="57"/>
                  </a:lnTo>
                  <a:lnTo>
                    <a:pt x="170" y="55"/>
                  </a:lnTo>
                  <a:lnTo>
                    <a:pt x="171" y="50"/>
                  </a:lnTo>
                  <a:lnTo>
                    <a:pt x="171" y="45"/>
                  </a:lnTo>
                  <a:lnTo>
                    <a:pt x="170" y="39"/>
                  </a:lnTo>
                  <a:lnTo>
                    <a:pt x="171" y="34"/>
                  </a:lnTo>
                  <a:lnTo>
                    <a:pt x="174" y="32"/>
                  </a:lnTo>
                  <a:lnTo>
                    <a:pt x="176" y="28"/>
                  </a:lnTo>
                  <a:lnTo>
                    <a:pt x="177" y="25"/>
                  </a:lnTo>
                  <a:lnTo>
                    <a:pt x="179" y="20"/>
                  </a:lnTo>
                  <a:lnTo>
                    <a:pt x="176" y="18"/>
                  </a:lnTo>
                  <a:lnTo>
                    <a:pt x="173" y="18"/>
                  </a:lnTo>
                  <a:lnTo>
                    <a:pt x="170" y="17"/>
                  </a:lnTo>
                  <a:lnTo>
                    <a:pt x="166" y="10"/>
                  </a:lnTo>
                  <a:lnTo>
                    <a:pt x="162" y="5"/>
                  </a:lnTo>
                  <a:lnTo>
                    <a:pt x="154" y="0"/>
                  </a:lnTo>
                  <a:lnTo>
                    <a:pt x="24" y="23"/>
                  </a:lnTo>
                  <a:lnTo>
                    <a:pt x="22" y="13"/>
                  </a:lnTo>
                  <a:lnTo>
                    <a:pt x="16" y="17"/>
                  </a:lnTo>
                  <a:lnTo>
                    <a:pt x="11" y="21"/>
                  </a:lnTo>
                  <a:lnTo>
                    <a:pt x="6" y="24"/>
                  </a:lnTo>
                  <a:lnTo>
                    <a:pt x="0" y="28"/>
                  </a:lnTo>
                  <a:lnTo>
                    <a:pt x="16" y="122"/>
                  </a:lnTo>
                  <a:lnTo>
                    <a:pt x="160" y="95"/>
                  </a:lnTo>
                  <a:lnTo>
                    <a:pt x="162" y="92"/>
                  </a:lnTo>
                  <a:lnTo>
                    <a:pt x="165" y="9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6" name="Freeform 55">
              <a:extLst>
                <a:ext uri="{FF2B5EF4-FFF2-40B4-BE49-F238E27FC236}">
                  <a16:creationId xmlns:a16="http://schemas.microsoft.com/office/drawing/2014/main" id="{9BE498E1-F57C-E759-80DE-5E04D28D2DE6}"/>
                </a:ext>
              </a:extLst>
            </p:cNvPr>
            <p:cNvSpPr>
              <a:spLocks/>
            </p:cNvSpPr>
            <p:nvPr/>
          </p:nvSpPr>
          <p:spPr bwMode="auto">
            <a:xfrm>
              <a:off x="8839684" y="3982761"/>
              <a:ext cx="758681" cy="559673"/>
            </a:xfrm>
            <a:custGeom>
              <a:avLst/>
              <a:gdLst>
                <a:gd name="T0" fmla="*/ 200 w 291"/>
                <a:gd name="T1" fmla="*/ 0 h 228"/>
                <a:gd name="T2" fmla="*/ 211 w 291"/>
                <a:gd name="T3" fmla="*/ 10 h 228"/>
                <a:gd name="T4" fmla="*/ 223 w 291"/>
                <a:gd name="T5" fmla="*/ 30 h 228"/>
                <a:gd name="T6" fmla="*/ 241 w 291"/>
                <a:gd name="T7" fmla="*/ 62 h 228"/>
                <a:gd name="T8" fmla="*/ 259 w 291"/>
                <a:gd name="T9" fmla="*/ 84 h 228"/>
                <a:gd name="T10" fmla="*/ 256 w 291"/>
                <a:gd name="T11" fmla="*/ 86 h 228"/>
                <a:gd name="T12" fmla="*/ 268 w 291"/>
                <a:gd name="T13" fmla="*/ 116 h 228"/>
                <a:gd name="T14" fmla="*/ 286 w 291"/>
                <a:gd name="T15" fmla="*/ 144 h 228"/>
                <a:gd name="T16" fmla="*/ 291 w 291"/>
                <a:gd name="T17" fmla="*/ 176 h 228"/>
                <a:gd name="T18" fmla="*/ 288 w 291"/>
                <a:gd name="T19" fmla="*/ 196 h 228"/>
                <a:gd name="T20" fmla="*/ 287 w 291"/>
                <a:gd name="T21" fmla="*/ 211 h 228"/>
                <a:gd name="T22" fmla="*/ 280 w 291"/>
                <a:gd name="T23" fmla="*/ 227 h 228"/>
                <a:gd name="T24" fmla="*/ 281 w 291"/>
                <a:gd name="T25" fmla="*/ 222 h 228"/>
                <a:gd name="T26" fmla="*/ 274 w 291"/>
                <a:gd name="T27" fmla="*/ 221 h 228"/>
                <a:gd name="T28" fmla="*/ 264 w 291"/>
                <a:gd name="T29" fmla="*/ 222 h 228"/>
                <a:gd name="T30" fmla="*/ 255 w 291"/>
                <a:gd name="T31" fmla="*/ 222 h 228"/>
                <a:gd name="T32" fmla="*/ 255 w 291"/>
                <a:gd name="T33" fmla="*/ 217 h 228"/>
                <a:gd name="T34" fmla="*/ 263 w 291"/>
                <a:gd name="T35" fmla="*/ 216 h 228"/>
                <a:gd name="T36" fmla="*/ 253 w 291"/>
                <a:gd name="T37" fmla="*/ 212 h 228"/>
                <a:gd name="T38" fmla="*/ 245 w 291"/>
                <a:gd name="T39" fmla="*/ 200 h 228"/>
                <a:gd name="T40" fmla="*/ 233 w 291"/>
                <a:gd name="T41" fmla="*/ 193 h 228"/>
                <a:gd name="T42" fmla="*/ 223 w 291"/>
                <a:gd name="T43" fmla="*/ 177 h 228"/>
                <a:gd name="T44" fmla="*/ 216 w 291"/>
                <a:gd name="T45" fmla="*/ 169 h 228"/>
                <a:gd name="T46" fmla="*/ 215 w 291"/>
                <a:gd name="T47" fmla="*/ 161 h 228"/>
                <a:gd name="T48" fmla="*/ 209 w 291"/>
                <a:gd name="T49" fmla="*/ 158 h 228"/>
                <a:gd name="T50" fmla="*/ 205 w 291"/>
                <a:gd name="T51" fmla="*/ 161 h 228"/>
                <a:gd name="T52" fmla="*/ 194 w 291"/>
                <a:gd name="T53" fmla="*/ 147 h 228"/>
                <a:gd name="T54" fmla="*/ 192 w 291"/>
                <a:gd name="T55" fmla="*/ 140 h 228"/>
                <a:gd name="T56" fmla="*/ 194 w 291"/>
                <a:gd name="T57" fmla="*/ 130 h 228"/>
                <a:gd name="T58" fmla="*/ 194 w 291"/>
                <a:gd name="T59" fmla="*/ 121 h 228"/>
                <a:gd name="T60" fmla="*/ 191 w 291"/>
                <a:gd name="T61" fmla="*/ 122 h 228"/>
                <a:gd name="T62" fmla="*/ 187 w 291"/>
                <a:gd name="T63" fmla="*/ 119 h 228"/>
                <a:gd name="T64" fmla="*/ 189 w 291"/>
                <a:gd name="T65" fmla="*/ 127 h 228"/>
                <a:gd name="T66" fmla="*/ 186 w 291"/>
                <a:gd name="T67" fmla="*/ 129 h 228"/>
                <a:gd name="T68" fmla="*/ 180 w 291"/>
                <a:gd name="T69" fmla="*/ 120 h 228"/>
                <a:gd name="T70" fmla="*/ 182 w 291"/>
                <a:gd name="T71" fmla="*/ 106 h 228"/>
                <a:gd name="T72" fmla="*/ 182 w 291"/>
                <a:gd name="T73" fmla="*/ 86 h 228"/>
                <a:gd name="T74" fmla="*/ 174 w 291"/>
                <a:gd name="T75" fmla="*/ 72 h 228"/>
                <a:gd name="T76" fmla="*/ 163 w 291"/>
                <a:gd name="T77" fmla="*/ 67 h 228"/>
                <a:gd name="T78" fmla="*/ 152 w 291"/>
                <a:gd name="T79" fmla="*/ 60 h 228"/>
                <a:gd name="T80" fmla="*/ 143 w 291"/>
                <a:gd name="T81" fmla="*/ 48 h 228"/>
                <a:gd name="T82" fmla="*/ 130 w 291"/>
                <a:gd name="T83" fmla="*/ 39 h 228"/>
                <a:gd name="T84" fmla="*/ 117 w 291"/>
                <a:gd name="T85" fmla="*/ 39 h 228"/>
                <a:gd name="T86" fmla="*/ 116 w 291"/>
                <a:gd name="T87" fmla="*/ 47 h 228"/>
                <a:gd name="T88" fmla="*/ 107 w 291"/>
                <a:gd name="T89" fmla="*/ 49 h 228"/>
                <a:gd name="T90" fmla="*/ 83 w 291"/>
                <a:gd name="T91" fmla="*/ 59 h 228"/>
                <a:gd name="T92" fmla="*/ 77 w 291"/>
                <a:gd name="T93" fmla="*/ 49 h 228"/>
                <a:gd name="T94" fmla="*/ 77 w 291"/>
                <a:gd name="T95" fmla="*/ 43 h 228"/>
                <a:gd name="T96" fmla="*/ 72 w 291"/>
                <a:gd name="T97" fmla="*/ 39 h 228"/>
                <a:gd name="T98" fmla="*/ 72 w 291"/>
                <a:gd name="T99" fmla="*/ 35 h 228"/>
                <a:gd name="T100" fmla="*/ 69 w 291"/>
                <a:gd name="T101" fmla="*/ 38 h 228"/>
                <a:gd name="T102" fmla="*/ 64 w 291"/>
                <a:gd name="T103" fmla="*/ 39 h 228"/>
                <a:gd name="T104" fmla="*/ 65 w 291"/>
                <a:gd name="T105" fmla="*/ 43 h 228"/>
                <a:gd name="T106" fmla="*/ 53 w 291"/>
                <a:gd name="T107" fmla="*/ 37 h 228"/>
                <a:gd name="T108" fmla="*/ 39 w 291"/>
                <a:gd name="T109" fmla="*/ 33 h 228"/>
                <a:gd name="T110" fmla="*/ 19 w 291"/>
                <a:gd name="T111" fmla="*/ 35 h 228"/>
                <a:gd name="T112" fmla="*/ 7 w 291"/>
                <a:gd name="T113" fmla="*/ 32 h 228"/>
                <a:gd name="T114" fmla="*/ 0 w 291"/>
                <a:gd name="T115" fmla="*/ 20 h 228"/>
                <a:gd name="T116" fmla="*/ 10 w 291"/>
                <a:gd name="T117" fmla="*/ 14 h 228"/>
                <a:gd name="T118" fmla="*/ 98 w 291"/>
                <a:gd name="T119" fmla="*/ 16 h 228"/>
                <a:gd name="T120" fmla="*/ 197 w 291"/>
                <a:gd name="T121"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28">
                  <a:moveTo>
                    <a:pt x="194" y="0"/>
                  </a:moveTo>
                  <a:lnTo>
                    <a:pt x="194" y="0"/>
                  </a:lnTo>
                  <a:lnTo>
                    <a:pt x="200" y="0"/>
                  </a:lnTo>
                  <a:lnTo>
                    <a:pt x="209" y="2"/>
                  </a:lnTo>
                  <a:lnTo>
                    <a:pt x="210" y="7"/>
                  </a:lnTo>
                  <a:lnTo>
                    <a:pt x="211" y="10"/>
                  </a:lnTo>
                  <a:lnTo>
                    <a:pt x="215" y="12"/>
                  </a:lnTo>
                  <a:lnTo>
                    <a:pt x="218" y="17"/>
                  </a:lnTo>
                  <a:lnTo>
                    <a:pt x="223" y="30"/>
                  </a:lnTo>
                  <a:lnTo>
                    <a:pt x="229" y="40"/>
                  </a:lnTo>
                  <a:lnTo>
                    <a:pt x="237" y="55"/>
                  </a:lnTo>
                  <a:lnTo>
                    <a:pt x="241" y="62"/>
                  </a:lnTo>
                  <a:lnTo>
                    <a:pt x="251" y="77"/>
                  </a:lnTo>
                  <a:lnTo>
                    <a:pt x="256" y="81"/>
                  </a:lnTo>
                  <a:lnTo>
                    <a:pt x="259" y="84"/>
                  </a:lnTo>
                  <a:lnTo>
                    <a:pt x="259" y="87"/>
                  </a:lnTo>
                  <a:lnTo>
                    <a:pt x="259" y="96"/>
                  </a:lnTo>
                  <a:lnTo>
                    <a:pt x="256" y="86"/>
                  </a:lnTo>
                  <a:lnTo>
                    <a:pt x="255" y="96"/>
                  </a:lnTo>
                  <a:lnTo>
                    <a:pt x="261" y="106"/>
                  </a:lnTo>
                  <a:lnTo>
                    <a:pt x="268" y="116"/>
                  </a:lnTo>
                  <a:lnTo>
                    <a:pt x="275" y="129"/>
                  </a:lnTo>
                  <a:lnTo>
                    <a:pt x="280" y="137"/>
                  </a:lnTo>
                  <a:lnTo>
                    <a:pt x="286" y="144"/>
                  </a:lnTo>
                  <a:lnTo>
                    <a:pt x="289" y="153"/>
                  </a:lnTo>
                  <a:lnTo>
                    <a:pt x="291" y="168"/>
                  </a:lnTo>
                  <a:lnTo>
                    <a:pt x="291" y="176"/>
                  </a:lnTo>
                  <a:lnTo>
                    <a:pt x="291" y="185"/>
                  </a:lnTo>
                  <a:lnTo>
                    <a:pt x="291" y="193"/>
                  </a:lnTo>
                  <a:lnTo>
                    <a:pt x="288" y="196"/>
                  </a:lnTo>
                  <a:lnTo>
                    <a:pt x="286" y="200"/>
                  </a:lnTo>
                  <a:lnTo>
                    <a:pt x="286" y="205"/>
                  </a:lnTo>
                  <a:lnTo>
                    <a:pt x="287" y="211"/>
                  </a:lnTo>
                  <a:lnTo>
                    <a:pt x="286" y="218"/>
                  </a:lnTo>
                  <a:lnTo>
                    <a:pt x="283" y="225"/>
                  </a:lnTo>
                  <a:lnTo>
                    <a:pt x="280" y="227"/>
                  </a:lnTo>
                  <a:lnTo>
                    <a:pt x="277" y="228"/>
                  </a:lnTo>
                  <a:lnTo>
                    <a:pt x="279" y="224"/>
                  </a:lnTo>
                  <a:lnTo>
                    <a:pt x="281" y="222"/>
                  </a:lnTo>
                  <a:lnTo>
                    <a:pt x="281" y="217"/>
                  </a:lnTo>
                  <a:lnTo>
                    <a:pt x="280" y="217"/>
                  </a:lnTo>
                  <a:lnTo>
                    <a:pt x="274" y="221"/>
                  </a:lnTo>
                  <a:lnTo>
                    <a:pt x="270" y="222"/>
                  </a:lnTo>
                  <a:lnTo>
                    <a:pt x="267" y="221"/>
                  </a:lnTo>
                  <a:lnTo>
                    <a:pt x="264" y="222"/>
                  </a:lnTo>
                  <a:lnTo>
                    <a:pt x="261" y="224"/>
                  </a:lnTo>
                  <a:lnTo>
                    <a:pt x="259" y="223"/>
                  </a:lnTo>
                  <a:lnTo>
                    <a:pt x="255" y="222"/>
                  </a:lnTo>
                  <a:lnTo>
                    <a:pt x="253" y="219"/>
                  </a:lnTo>
                  <a:lnTo>
                    <a:pt x="254" y="217"/>
                  </a:lnTo>
                  <a:lnTo>
                    <a:pt x="255" y="217"/>
                  </a:lnTo>
                  <a:lnTo>
                    <a:pt x="262" y="218"/>
                  </a:lnTo>
                  <a:lnTo>
                    <a:pt x="264" y="217"/>
                  </a:lnTo>
                  <a:lnTo>
                    <a:pt x="263" y="216"/>
                  </a:lnTo>
                  <a:lnTo>
                    <a:pt x="260" y="214"/>
                  </a:lnTo>
                  <a:lnTo>
                    <a:pt x="256" y="215"/>
                  </a:lnTo>
                  <a:lnTo>
                    <a:pt x="253" y="212"/>
                  </a:lnTo>
                  <a:lnTo>
                    <a:pt x="250" y="207"/>
                  </a:lnTo>
                  <a:lnTo>
                    <a:pt x="246" y="203"/>
                  </a:lnTo>
                  <a:lnTo>
                    <a:pt x="245" y="200"/>
                  </a:lnTo>
                  <a:lnTo>
                    <a:pt x="242" y="196"/>
                  </a:lnTo>
                  <a:lnTo>
                    <a:pt x="237" y="195"/>
                  </a:lnTo>
                  <a:lnTo>
                    <a:pt x="233" y="193"/>
                  </a:lnTo>
                  <a:lnTo>
                    <a:pt x="229" y="192"/>
                  </a:lnTo>
                  <a:lnTo>
                    <a:pt x="225" y="181"/>
                  </a:lnTo>
                  <a:lnTo>
                    <a:pt x="223" y="177"/>
                  </a:lnTo>
                  <a:lnTo>
                    <a:pt x="220" y="174"/>
                  </a:lnTo>
                  <a:lnTo>
                    <a:pt x="219" y="172"/>
                  </a:lnTo>
                  <a:lnTo>
                    <a:pt x="216" y="169"/>
                  </a:lnTo>
                  <a:lnTo>
                    <a:pt x="213" y="167"/>
                  </a:lnTo>
                  <a:lnTo>
                    <a:pt x="214" y="163"/>
                  </a:lnTo>
                  <a:lnTo>
                    <a:pt x="215" y="161"/>
                  </a:lnTo>
                  <a:lnTo>
                    <a:pt x="212" y="155"/>
                  </a:lnTo>
                  <a:lnTo>
                    <a:pt x="209" y="156"/>
                  </a:lnTo>
                  <a:lnTo>
                    <a:pt x="209" y="158"/>
                  </a:lnTo>
                  <a:lnTo>
                    <a:pt x="209" y="163"/>
                  </a:lnTo>
                  <a:lnTo>
                    <a:pt x="207" y="163"/>
                  </a:lnTo>
                  <a:lnTo>
                    <a:pt x="205" y="161"/>
                  </a:lnTo>
                  <a:lnTo>
                    <a:pt x="202" y="158"/>
                  </a:lnTo>
                  <a:lnTo>
                    <a:pt x="197" y="150"/>
                  </a:lnTo>
                  <a:lnTo>
                    <a:pt x="194" y="147"/>
                  </a:lnTo>
                  <a:lnTo>
                    <a:pt x="193" y="146"/>
                  </a:lnTo>
                  <a:lnTo>
                    <a:pt x="194" y="144"/>
                  </a:lnTo>
                  <a:lnTo>
                    <a:pt x="192" y="140"/>
                  </a:lnTo>
                  <a:lnTo>
                    <a:pt x="189" y="139"/>
                  </a:lnTo>
                  <a:lnTo>
                    <a:pt x="192" y="133"/>
                  </a:lnTo>
                  <a:lnTo>
                    <a:pt x="194" y="130"/>
                  </a:lnTo>
                  <a:lnTo>
                    <a:pt x="195" y="127"/>
                  </a:lnTo>
                  <a:lnTo>
                    <a:pt x="196" y="124"/>
                  </a:lnTo>
                  <a:lnTo>
                    <a:pt x="194" y="121"/>
                  </a:lnTo>
                  <a:lnTo>
                    <a:pt x="193" y="125"/>
                  </a:lnTo>
                  <a:lnTo>
                    <a:pt x="191" y="124"/>
                  </a:lnTo>
                  <a:lnTo>
                    <a:pt x="191" y="122"/>
                  </a:lnTo>
                  <a:lnTo>
                    <a:pt x="188" y="118"/>
                  </a:lnTo>
                  <a:lnTo>
                    <a:pt x="187" y="118"/>
                  </a:lnTo>
                  <a:lnTo>
                    <a:pt x="187" y="119"/>
                  </a:lnTo>
                  <a:lnTo>
                    <a:pt x="188" y="121"/>
                  </a:lnTo>
                  <a:lnTo>
                    <a:pt x="189" y="124"/>
                  </a:lnTo>
                  <a:lnTo>
                    <a:pt x="189" y="127"/>
                  </a:lnTo>
                  <a:lnTo>
                    <a:pt x="189" y="128"/>
                  </a:lnTo>
                  <a:lnTo>
                    <a:pt x="187" y="130"/>
                  </a:lnTo>
                  <a:lnTo>
                    <a:pt x="186" y="129"/>
                  </a:lnTo>
                  <a:lnTo>
                    <a:pt x="184" y="127"/>
                  </a:lnTo>
                  <a:lnTo>
                    <a:pt x="181" y="122"/>
                  </a:lnTo>
                  <a:lnTo>
                    <a:pt x="180" y="120"/>
                  </a:lnTo>
                  <a:lnTo>
                    <a:pt x="180" y="116"/>
                  </a:lnTo>
                  <a:lnTo>
                    <a:pt x="180" y="110"/>
                  </a:lnTo>
                  <a:lnTo>
                    <a:pt x="182" y="106"/>
                  </a:lnTo>
                  <a:lnTo>
                    <a:pt x="183" y="98"/>
                  </a:lnTo>
                  <a:lnTo>
                    <a:pt x="183" y="93"/>
                  </a:lnTo>
                  <a:lnTo>
                    <a:pt x="182" y="86"/>
                  </a:lnTo>
                  <a:lnTo>
                    <a:pt x="180" y="79"/>
                  </a:lnTo>
                  <a:lnTo>
                    <a:pt x="177" y="77"/>
                  </a:lnTo>
                  <a:lnTo>
                    <a:pt x="174" y="72"/>
                  </a:lnTo>
                  <a:lnTo>
                    <a:pt x="168" y="71"/>
                  </a:lnTo>
                  <a:lnTo>
                    <a:pt x="165" y="71"/>
                  </a:lnTo>
                  <a:lnTo>
                    <a:pt x="163" y="67"/>
                  </a:lnTo>
                  <a:lnTo>
                    <a:pt x="160" y="66"/>
                  </a:lnTo>
                  <a:lnTo>
                    <a:pt x="156" y="61"/>
                  </a:lnTo>
                  <a:lnTo>
                    <a:pt x="152" y="60"/>
                  </a:lnTo>
                  <a:lnTo>
                    <a:pt x="151" y="55"/>
                  </a:lnTo>
                  <a:lnTo>
                    <a:pt x="149" y="53"/>
                  </a:lnTo>
                  <a:lnTo>
                    <a:pt x="143" y="48"/>
                  </a:lnTo>
                  <a:lnTo>
                    <a:pt x="138" y="44"/>
                  </a:lnTo>
                  <a:lnTo>
                    <a:pt x="134" y="42"/>
                  </a:lnTo>
                  <a:lnTo>
                    <a:pt x="130" y="39"/>
                  </a:lnTo>
                  <a:lnTo>
                    <a:pt x="127" y="38"/>
                  </a:lnTo>
                  <a:lnTo>
                    <a:pt x="122" y="38"/>
                  </a:lnTo>
                  <a:lnTo>
                    <a:pt x="117" y="39"/>
                  </a:lnTo>
                  <a:lnTo>
                    <a:pt x="116" y="42"/>
                  </a:lnTo>
                  <a:lnTo>
                    <a:pt x="117" y="45"/>
                  </a:lnTo>
                  <a:lnTo>
                    <a:pt x="116" y="47"/>
                  </a:lnTo>
                  <a:lnTo>
                    <a:pt x="114" y="47"/>
                  </a:lnTo>
                  <a:lnTo>
                    <a:pt x="112" y="45"/>
                  </a:lnTo>
                  <a:lnTo>
                    <a:pt x="107" y="49"/>
                  </a:lnTo>
                  <a:lnTo>
                    <a:pt x="101" y="54"/>
                  </a:lnTo>
                  <a:lnTo>
                    <a:pt x="94" y="56"/>
                  </a:lnTo>
                  <a:lnTo>
                    <a:pt x="83" y="59"/>
                  </a:lnTo>
                  <a:lnTo>
                    <a:pt x="83" y="53"/>
                  </a:lnTo>
                  <a:lnTo>
                    <a:pt x="80" y="50"/>
                  </a:lnTo>
                  <a:lnTo>
                    <a:pt x="77" y="49"/>
                  </a:lnTo>
                  <a:lnTo>
                    <a:pt x="72" y="46"/>
                  </a:lnTo>
                  <a:lnTo>
                    <a:pt x="76" y="44"/>
                  </a:lnTo>
                  <a:lnTo>
                    <a:pt x="77" y="43"/>
                  </a:lnTo>
                  <a:lnTo>
                    <a:pt x="70" y="42"/>
                  </a:lnTo>
                  <a:lnTo>
                    <a:pt x="70" y="39"/>
                  </a:lnTo>
                  <a:lnTo>
                    <a:pt x="72" y="39"/>
                  </a:lnTo>
                  <a:lnTo>
                    <a:pt x="73" y="37"/>
                  </a:lnTo>
                  <a:lnTo>
                    <a:pt x="73" y="35"/>
                  </a:lnTo>
                  <a:lnTo>
                    <a:pt x="72" y="35"/>
                  </a:lnTo>
                  <a:lnTo>
                    <a:pt x="70" y="36"/>
                  </a:lnTo>
                  <a:lnTo>
                    <a:pt x="70" y="37"/>
                  </a:lnTo>
                  <a:lnTo>
                    <a:pt x="69" y="38"/>
                  </a:lnTo>
                  <a:lnTo>
                    <a:pt x="67" y="36"/>
                  </a:lnTo>
                  <a:lnTo>
                    <a:pt x="62" y="36"/>
                  </a:lnTo>
                  <a:lnTo>
                    <a:pt x="64" y="39"/>
                  </a:lnTo>
                  <a:lnTo>
                    <a:pt x="65" y="39"/>
                  </a:lnTo>
                  <a:lnTo>
                    <a:pt x="66" y="43"/>
                  </a:lnTo>
                  <a:lnTo>
                    <a:pt x="65" y="43"/>
                  </a:lnTo>
                  <a:lnTo>
                    <a:pt x="61" y="41"/>
                  </a:lnTo>
                  <a:lnTo>
                    <a:pt x="57" y="38"/>
                  </a:lnTo>
                  <a:lnTo>
                    <a:pt x="53" y="37"/>
                  </a:lnTo>
                  <a:lnTo>
                    <a:pt x="44" y="37"/>
                  </a:lnTo>
                  <a:lnTo>
                    <a:pt x="41" y="35"/>
                  </a:lnTo>
                  <a:lnTo>
                    <a:pt x="39" y="33"/>
                  </a:lnTo>
                  <a:lnTo>
                    <a:pt x="36" y="33"/>
                  </a:lnTo>
                  <a:lnTo>
                    <a:pt x="26" y="35"/>
                  </a:lnTo>
                  <a:lnTo>
                    <a:pt x="19" y="35"/>
                  </a:lnTo>
                  <a:lnTo>
                    <a:pt x="14" y="38"/>
                  </a:lnTo>
                  <a:lnTo>
                    <a:pt x="11" y="39"/>
                  </a:lnTo>
                  <a:lnTo>
                    <a:pt x="7" y="32"/>
                  </a:lnTo>
                  <a:lnTo>
                    <a:pt x="6" y="27"/>
                  </a:lnTo>
                  <a:lnTo>
                    <a:pt x="2" y="22"/>
                  </a:lnTo>
                  <a:lnTo>
                    <a:pt x="0" y="20"/>
                  </a:lnTo>
                  <a:lnTo>
                    <a:pt x="0" y="17"/>
                  </a:lnTo>
                  <a:lnTo>
                    <a:pt x="3" y="16"/>
                  </a:lnTo>
                  <a:lnTo>
                    <a:pt x="10" y="14"/>
                  </a:lnTo>
                  <a:lnTo>
                    <a:pt x="18" y="12"/>
                  </a:lnTo>
                  <a:lnTo>
                    <a:pt x="93" y="6"/>
                  </a:lnTo>
                  <a:lnTo>
                    <a:pt x="98" y="16"/>
                  </a:lnTo>
                  <a:lnTo>
                    <a:pt x="189" y="11"/>
                  </a:lnTo>
                  <a:lnTo>
                    <a:pt x="190" y="19"/>
                  </a:lnTo>
                  <a:lnTo>
                    <a:pt x="197" y="19"/>
                  </a:lnTo>
                  <a:lnTo>
                    <a:pt x="194" y="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7" name="Freeform 56">
              <a:extLst>
                <a:ext uri="{FF2B5EF4-FFF2-40B4-BE49-F238E27FC236}">
                  <a16:creationId xmlns:a16="http://schemas.microsoft.com/office/drawing/2014/main" id="{CA9C03E4-0353-E7FF-6E66-2E59C071186C}"/>
                </a:ext>
              </a:extLst>
            </p:cNvPr>
            <p:cNvSpPr>
              <a:spLocks/>
            </p:cNvSpPr>
            <p:nvPr/>
          </p:nvSpPr>
          <p:spPr bwMode="auto">
            <a:xfrm>
              <a:off x="8250467" y="3835476"/>
              <a:ext cx="474503" cy="395209"/>
            </a:xfrm>
            <a:custGeom>
              <a:avLst/>
              <a:gdLst>
                <a:gd name="T0" fmla="*/ 176 w 182"/>
                <a:gd name="T1" fmla="*/ 147 h 161"/>
                <a:gd name="T2" fmla="*/ 171 w 182"/>
                <a:gd name="T3" fmla="*/ 146 h 161"/>
                <a:gd name="T4" fmla="*/ 160 w 182"/>
                <a:gd name="T5" fmla="*/ 139 h 161"/>
                <a:gd name="T6" fmla="*/ 152 w 182"/>
                <a:gd name="T7" fmla="*/ 134 h 161"/>
                <a:gd name="T8" fmla="*/ 155 w 182"/>
                <a:gd name="T9" fmla="*/ 130 h 161"/>
                <a:gd name="T10" fmla="*/ 166 w 182"/>
                <a:gd name="T11" fmla="*/ 128 h 161"/>
                <a:gd name="T12" fmla="*/ 162 w 182"/>
                <a:gd name="T13" fmla="*/ 118 h 161"/>
                <a:gd name="T14" fmla="*/ 148 w 182"/>
                <a:gd name="T15" fmla="*/ 122 h 161"/>
                <a:gd name="T16" fmla="*/ 148 w 182"/>
                <a:gd name="T17" fmla="*/ 119 h 161"/>
                <a:gd name="T18" fmla="*/ 154 w 182"/>
                <a:gd name="T19" fmla="*/ 114 h 161"/>
                <a:gd name="T20" fmla="*/ 150 w 182"/>
                <a:gd name="T21" fmla="*/ 99 h 161"/>
                <a:gd name="T22" fmla="*/ 84 w 182"/>
                <a:gd name="T23" fmla="*/ 82 h 161"/>
                <a:gd name="T24" fmla="*/ 84 w 182"/>
                <a:gd name="T25" fmla="*/ 73 h 161"/>
                <a:gd name="T26" fmla="*/ 87 w 182"/>
                <a:gd name="T27" fmla="*/ 64 h 161"/>
                <a:gd name="T28" fmla="*/ 90 w 182"/>
                <a:gd name="T29" fmla="*/ 58 h 161"/>
                <a:gd name="T30" fmla="*/ 97 w 182"/>
                <a:gd name="T31" fmla="*/ 43 h 161"/>
                <a:gd name="T32" fmla="*/ 99 w 182"/>
                <a:gd name="T33" fmla="*/ 37 h 161"/>
                <a:gd name="T34" fmla="*/ 102 w 182"/>
                <a:gd name="T35" fmla="*/ 23 h 161"/>
                <a:gd name="T36" fmla="*/ 98 w 182"/>
                <a:gd name="T37" fmla="*/ 14 h 161"/>
                <a:gd name="T38" fmla="*/ 94 w 182"/>
                <a:gd name="T39" fmla="*/ 9 h 161"/>
                <a:gd name="T40" fmla="*/ 97 w 182"/>
                <a:gd name="T41" fmla="*/ 2 h 161"/>
                <a:gd name="T42" fmla="*/ 0 w 182"/>
                <a:gd name="T43" fmla="*/ 47 h 161"/>
                <a:gd name="T44" fmla="*/ 11 w 182"/>
                <a:gd name="T45" fmla="*/ 64 h 161"/>
                <a:gd name="T46" fmla="*/ 13 w 182"/>
                <a:gd name="T47" fmla="*/ 75 h 161"/>
                <a:gd name="T48" fmla="*/ 13 w 182"/>
                <a:gd name="T49" fmla="*/ 94 h 161"/>
                <a:gd name="T50" fmla="*/ 9 w 182"/>
                <a:gd name="T51" fmla="*/ 110 h 161"/>
                <a:gd name="T52" fmla="*/ 9 w 182"/>
                <a:gd name="T53" fmla="*/ 131 h 161"/>
                <a:gd name="T54" fmla="*/ 15 w 182"/>
                <a:gd name="T55" fmla="*/ 136 h 161"/>
                <a:gd name="T56" fmla="*/ 25 w 182"/>
                <a:gd name="T57" fmla="*/ 134 h 161"/>
                <a:gd name="T58" fmla="*/ 44 w 182"/>
                <a:gd name="T59" fmla="*/ 139 h 161"/>
                <a:gd name="T60" fmla="*/ 72 w 182"/>
                <a:gd name="T61" fmla="*/ 142 h 161"/>
                <a:gd name="T62" fmla="*/ 78 w 182"/>
                <a:gd name="T63" fmla="*/ 138 h 161"/>
                <a:gd name="T64" fmla="*/ 70 w 182"/>
                <a:gd name="T65" fmla="*/ 137 h 161"/>
                <a:gd name="T66" fmla="*/ 77 w 182"/>
                <a:gd name="T67" fmla="*/ 132 h 161"/>
                <a:gd name="T68" fmla="*/ 97 w 182"/>
                <a:gd name="T69" fmla="*/ 142 h 161"/>
                <a:gd name="T70" fmla="*/ 98 w 182"/>
                <a:gd name="T71" fmla="*/ 150 h 161"/>
                <a:gd name="T72" fmla="*/ 111 w 182"/>
                <a:gd name="T73" fmla="*/ 155 h 161"/>
                <a:gd name="T74" fmla="*/ 121 w 182"/>
                <a:gd name="T75" fmla="*/ 154 h 161"/>
                <a:gd name="T76" fmla="*/ 132 w 182"/>
                <a:gd name="T77" fmla="*/ 150 h 161"/>
                <a:gd name="T78" fmla="*/ 142 w 182"/>
                <a:gd name="T79" fmla="*/ 153 h 161"/>
                <a:gd name="T80" fmla="*/ 142 w 182"/>
                <a:gd name="T81" fmla="*/ 141 h 161"/>
                <a:gd name="T82" fmla="*/ 150 w 182"/>
                <a:gd name="T83" fmla="*/ 147 h 161"/>
                <a:gd name="T84" fmla="*/ 168 w 182"/>
                <a:gd name="T85" fmla="*/ 154 h 161"/>
                <a:gd name="T86" fmla="*/ 169 w 182"/>
                <a:gd name="T87" fmla="*/ 161 h 161"/>
                <a:gd name="T88" fmla="*/ 176 w 182"/>
                <a:gd name="T89" fmla="*/ 158 h 161"/>
                <a:gd name="T90" fmla="*/ 181 w 182"/>
                <a:gd name="T91"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61">
                  <a:moveTo>
                    <a:pt x="181" y="149"/>
                  </a:moveTo>
                  <a:lnTo>
                    <a:pt x="179" y="149"/>
                  </a:lnTo>
                  <a:lnTo>
                    <a:pt x="176" y="147"/>
                  </a:lnTo>
                  <a:lnTo>
                    <a:pt x="175" y="147"/>
                  </a:lnTo>
                  <a:lnTo>
                    <a:pt x="173" y="147"/>
                  </a:lnTo>
                  <a:lnTo>
                    <a:pt x="171" y="146"/>
                  </a:lnTo>
                  <a:lnTo>
                    <a:pt x="166" y="143"/>
                  </a:lnTo>
                  <a:lnTo>
                    <a:pt x="165" y="143"/>
                  </a:lnTo>
                  <a:lnTo>
                    <a:pt x="160" y="139"/>
                  </a:lnTo>
                  <a:lnTo>
                    <a:pt x="158" y="137"/>
                  </a:lnTo>
                  <a:lnTo>
                    <a:pt x="155" y="136"/>
                  </a:lnTo>
                  <a:lnTo>
                    <a:pt x="152" y="134"/>
                  </a:lnTo>
                  <a:lnTo>
                    <a:pt x="150" y="132"/>
                  </a:lnTo>
                  <a:lnTo>
                    <a:pt x="153" y="132"/>
                  </a:lnTo>
                  <a:lnTo>
                    <a:pt x="155" y="130"/>
                  </a:lnTo>
                  <a:lnTo>
                    <a:pt x="160" y="130"/>
                  </a:lnTo>
                  <a:lnTo>
                    <a:pt x="161" y="128"/>
                  </a:lnTo>
                  <a:lnTo>
                    <a:pt x="166" y="128"/>
                  </a:lnTo>
                  <a:lnTo>
                    <a:pt x="168" y="126"/>
                  </a:lnTo>
                  <a:lnTo>
                    <a:pt x="165" y="121"/>
                  </a:lnTo>
                  <a:lnTo>
                    <a:pt x="162" y="118"/>
                  </a:lnTo>
                  <a:lnTo>
                    <a:pt x="161" y="118"/>
                  </a:lnTo>
                  <a:lnTo>
                    <a:pt x="151" y="121"/>
                  </a:lnTo>
                  <a:lnTo>
                    <a:pt x="148" y="122"/>
                  </a:lnTo>
                  <a:lnTo>
                    <a:pt x="145" y="122"/>
                  </a:lnTo>
                  <a:lnTo>
                    <a:pt x="145" y="121"/>
                  </a:lnTo>
                  <a:lnTo>
                    <a:pt x="148" y="119"/>
                  </a:lnTo>
                  <a:lnTo>
                    <a:pt x="151" y="118"/>
                  </a:lnTo>
                  <a:lnTo>
                    <a:pt x="154" y="116"/>
                  </a:lnTo>
                  <a:lnTo>
                    <a:pt x="154" y="114"/>
                  </a:lnTo>
                  <a:lnTo>
                    <a:pt x="154" y="110"/>
                  </a:lnTo>
                  <a:lnTo>
                    <a:pt x="153" y="103"/>
                  </a:lnTo>
                  <a:lnTo>
                    <a:pt x="150" y="99"/>
                  </a:lnTo>
                  <a:lnTo>
                    <a:pt x="148" y="95"/>
                  </a:lnTo>
                  <a:lnTo>
                    <a:pt x="149" y="79"/>
                  </a:lnTo>
                  <a:lnTo>
                    <a:pt x="84" y="82"/>
                  </a:lnTo>
                  <a:lnTo>
                    <a:pt x="83" y="78"/>
                  </a:lnTo>
                  <a:lnTo>
                    <a:pt x="83" y="75"/>
                  </a:lnTo>
                  <a:lnTo>
                    <a:pt x="84" y="73"/>
                  </a:lnTo>
                  <a:lnTo>
                    <a:pt x="87" y="71"/>
                  </a:lnTo>
                  <a:lnTo>
                    <a:pt x="87" y="66"/>
                  </a:lnTo>
                  <a:lnTo>
                    <a:pt x="87" y="64"/>
                  </a:lnTo>
                  <a:lnTo>
                    <a:pt x="88" y="61"/>
                  </a:lnTo>
                  <a:lnTo>
                    <a:pt x="89" y="60"/>
                  </a:lnTo>
                  <a:lnTo>
                    <a:pt x="90" y="58"/>
                  </a:lnTo>
                  <a:lnTo>
                    <a:pt x="91" y="51"/>
                  </a:lnTo>
                  <a:lnTo>
                    <a:pt x="93" y="49"/>
                  </a:lnTo>
                  <a:lnTo>
                    <a:pt x="97" y="43"/>
                  </a:lnTo>
                  <a:lnTo>
                    <a:pt x="98" y="41"/>
                  </a:lnTo>
                  <a:lnTo>
                    <a:pt x="98" y="37"/>
                  </a:lnTo>
                  <a:lnTo>
                    <a:pt x="99" y="37"/>
                  </a:lnTo>
                  <a:lnTo>
                    <a:pt x="102" y="34"/>
                  </a:lnTo>
                  <a:lnTo>
                    <a:pt x="103" y="26"/>
                  </a:lnTo>
                  <a:lnTo>
                    <a:pt x="102" y="23"/>
                  </a:lnTo>
                  <a:lnTo>
                    <a:pt x="99" y="21"/>
                  </a:lnTo>
                  <a:lnTo>
                    <a:pt x="99" y="19"/>
                  </a:lnTo>
                  <a:lnTo>
                    <a:pt x="98" y="14"/>
                  </a:lnTo>
                  <a:lnTo>
                    <a:pt x="98" y="13"/>
                  </a:lnTo>
                  <a:lnTo>
                    <a:pt x="97" y="11"/>
                  </a:lnTo>
                  <a:lnTo>
                    <a:pt x="94" y="9"/>
                  </a:lnTo>
                  <a:lnTo>
                    <a:pt x="98" y="7"/>
                  </a:lnTo>
                  <a:lnTo>
                    <a:pt x="98" y="5"/>
                  </a:lnTo>
                  <a:lnTo>
                    <a:pt x="97" y="2"/>
                  </a:lnTo>
                  <a:lnTo>
                    <a:pt x="94" y="0"/>
                  </a:lnTo>
                  <a:lnTo>
                    <a:pt x="0" y="3"/>
                  </a:lnTo>
                  <a:lnTo>
                    <a:pt x="0" y="47"/>
                  </a:lnTo>
                  <a:lnTo>
                    <a:pt x="7" y="53"/>
                  </a:lnTo>
                  <a:lnTo>
                    <a:pt x="7" y="55"/>
                  </a:lnTo>
                  <a:lnTo>
                    <a:pt x="11" y="64"/>
                  </a:lnTo>
                  <a:lnTo>
                    <a:pt x="12" y="66"/>
                  </a:lnTo>
                  <a:lnTo>
                    <a:pt x="12" y="72"/>
                  </a:lnTo>
                  <a:lnTo>
                    <a:pt x="13" y="75"/>
                  </a:lnTo>
                  <a:lnTo>
                    <a:pt x="15" y="83"/>
                  </a:lnTo>
                  <a:lnTo>
                    <a:pt x="17" y="89"/>
                  </a:lnTo>
                  <a:lnTo>
                    <a:pt x="13" y="94"/>
                  </a:lnTo>
                  <a:lnTo>
                    <a:pt x="11" y="102"/>
                  </a:lnTo>
                  <a:lnTo>
                    <a:pt x="11" y="105"/>
                  </a:lnTo>
                  <a:lnTo>
                    <a:pt x="9" y="110"/>
                  </a:lnTo>
                  <a:lnTo>
                    <a:pt x="12" y="117"/>
                  </a:lnTo>
                  <a:lnTo>
                    <a:pt x="12" y="121"/>
                  </a:lnTo>
                  <a:lnTo>
                    <a:pt x="9" y="131"/>
                  </a:lnTo>
                  <a:lnTo>
                    <a:pt x="6" y="136"/>
                  </a:lnTo>
                  <a:lnTo>
                    <a:pt x="10" y="136"/>
                  </a:lnTo>
                  <a:lnTo>
                    <a:pt x="15" y="136"/>
                  </a:lnTo>
                  <a:lnTo>
                    <a:pt x="18" y="134"/>
                  </a:lnTo>
                  <a:lnTo>
                    <a:pt x="22" y="134"/>
                  </a:lnTo>
                  <a:lnTo>
                    <a:pt x="25" y="134"/>
                  </a:lnTo>
                  <a:lnTo>
                    <a:pt x="34" y="136"/>
                  </a:lnTo>
                  <a:lnTo>
                    <a:pt x="39" y="137"/>
                  </a:lnTo>
                  <a:lnTo>
                    <a:pt x="44" y="139"/>
                  </a:lnTo>
                  <a:lnTo>
                    <a:pt x="51" y="142"/>
                  </a:lnTo>
                  <a:lnTo>
                    <a:pt x="64" y="142"/>
                  </a:lnTo>
                  <a:lnTo>
                    <a:pt x="72" y="142"/>
                  </a:lnTo>
                  <a:lnTo>
                    <a:pt x="79" y="142"/>
                  </a:lnTo>
                  <a:lnTo>
                    <a:pt x="80" y="141"/>
                  </a:lnTo>
                  <a:lnTo>
                    <a:pt x="78" y="138"/>
                  </a:lnTo>
                  <a:lnTo>
                    <a:pt x="73" y="138"/>
                  </a:lnTo>
                  <a:lnTo>
                    <a:pt x="72" y="138"/>
                  </a:lnTo>
                  <a:lnTo>
                    <a:pt x="70" y="137"/>
                  </a:lnTo>
                  <a:lnTo>
                    <a:pt x="71" y="134"/>
                  </a:lnTo>
                  <a:lnTo>
                    <a:pt x="72" y="132"/>
                  </a:lnTo>
                  <a:lnTo>
                    <a:pt x="77" y="132"/>
                  </a:lnTo>
                  <a:lnTo>
                    <a:pt x="84" y="135"/>
                  </a:lnTo>
                  <a:lnTo>
                    <a:pt x="91" y="141"/>
                  </a:lnTo>
                  <a:lnTo>
                    <a:pt x="97" y="142"/>
                  </a:lnTo>
                  <a:lnTo>
                    <a:pt x="101" y="140"/>
                  </a:lnTo>
                  <a:lnTo>
                    <a:pt x="100" y="144"/>
                  </a:lnTo>
                  <a:lnTo>
                    <a:pt x="98" y="150"/>
                  </a:lnTo>
                  <a:lnTo>
                    <a:pt x="100" y="153"/>
                  </a:lnTo>
                  <a:lnTo>
                    <a:pt x="106" y="155"/>
                  </a:lnTo>
                  <a:lnTo>
                    <a:pt x="111" y="155"/>
                  </a:lnTo>
                  <a:lnTo>
                    <a:pt x="115" y="158"/>
                  </a:lnTo>
                  <a:lnTo>
                    <a:pt x="119" y="158"/>
                  </a:lnTo>
                  <a:lnTo>
                    <a:pt x="121" y="154"/>
                  </a:lnTo>
                  <a:lnTo>
                    <a:pt x="125" y="150"/>
                  </a:lnTo>
                  <a:lnTo>
                    <a:pt x="128" y="149"/>
                  </a:lnTo>
                  <a:lnTo>
                    <a:pt x="132" y="150"/>
                  </a:lnTo>
                  <a:lnTo>
                    <a:pt x="136" y="155"/>
                  </a:lnTo>
                  <a:lnTo>
                    <a:pt x="140" y="155"/>
                  </a:lnTo>
                  <a:lnTo>
                    <a:pt x="142" y="153"/>
                  </a:lnTo>
                  <a:lnTo>
                    <a:pt x="140" y="145"/>
                  </a:lnTo>
                  <a:lnTo>
                    <a:pt x="140" y="143"/>
                  </a:lnTo>
                  <a:lnTo>
                    <a:pt x="142" y="141"/>
                  </a:lnTo>
                  <a:lnTo>
                    <a:pt x="146" y="141"/>
                  </a:lnTo>
                  <a:lnTo>
                    <a:pt x="150" y="143"/>
                  </a:lnTo>
                  <a:lnTo>
                    <a:pt x="150" y="147"/>
                  </a:lnTo>
                  <a:lnTo>
                    <a:pt x="158" y="148"/>
                  </a:lnTo>
                  <a:lnTo>
                    <a:pt x="165" y="151"/>
                  </a:lnTo>
                  <a:lnTo>
                    <a:pt x="168" y="154"/>
                  </a:lnTo>
                  <a:lnTo>
                    <a:pt x="166" y="157"/>
                  </a:lnTo>
                  <a:lnTo>
                    <a:pt x="165" y="161"/>
                  </a:lnTo>
                  <a:lnTo>
                    <a:pt x="169" y="161"/>
                  </a:lnTo>
                  <a:lnTo>
                    <a:pt x="171" y="158"/>
                  </a:lnTo>
                  <a:lnTo>
                    <a:pt x="173" y="156"/>
                  </a:lnTo>
                  <a:lnTo>
                    <a:pt x="176" y="158"/>
                  </a:lnTo>
                  <a:lnTo>
                    <a:pt x="176" y="160"/>
                  </a:lnTo>
                  <a:lnTo>
                    <a:pt x="178" y="157"/>
                  </a:lnTo>
                  <a:lnTo>
                    <a:pt x="181" y="154"/>
                  </a:lnTo>
                  <a:lnTo>
                    <a:pt x="182" y="153"/>
                  </a:lnTo>
                  <a:lnTo>
                    <a:pt x="181" y="149"/>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8" name="Freeform 57">
              <a:extLst>
                <a:ext uri="{FF2B5EF4-FFF2-40B4-BE49-F238E27FC236}">
                  <a16:creationId xmlns:a16="http://schemas.microsoft.com/office/drawing/2014/main" id="{CF53CACF-F6D4-3BC1-E06B-824E5A110EFF}"/>
                </a:ext>
              </a:extLst>
            </p:cNvPr>
            <p:cNvSpPr>
              <a:spLocks/>
            </p:cNvSpPr>
            <p:nvPr/>
          </p:nvSpPr>
          <p:spPr bwMode="auto">
            <a:xfrm>
              <a:off x="8193109" y="3482000"/>
              <a:ext cx="424966" cy="360843"/>
            </a:xfrm>
            <a:custGeom>
              <a:avLst/>
              <a:gdLst>
                <a:gd name="T0" fmla="*/ 6 w 163"/>
                <a:gd name="T1" fmla="*/ 123 h 147"/>
                <a:gd name="T2" fmla="*/ 4 w 163"/>
                <a:gd name="T3" fmla="*/ 121 h 147"/>
                <a:gd name="T4" fmla="*/ 7 w 163"/>
                <a:gd name="T5" fmla="*/ 124 h 147"/>
                <a:gd name="T6" fmla="*/ 10 w 163"/>
                <a:gd name="T7" fmla="*/ 125 h 147"/>
                <a:gd name="T8" fmla="*/ 12 w 163"/>
                <a:gd name="T9" fmla="*/ 123 h 147"/>
                <a:gd name="T10" fmla="*/ 22 w 163"/>
                <a:gd name="T11" fmla="*/ 124 h 147"/>
                <a:gd name="T12" fmla="*/ 22 w 163"/>
                <a:gd name="T13" fmla="*/ 147 h 147"/>
                <a:gd name="T14" fmla="*/ 116 w 163"/>
                <a:gd name="T15" fmla="*/ 144 h 147"/>
                <a:gd name="T16" fmla="*/ 117 w 163"/>
                <a:gd name="T17" fmla="*/ 144 h 147"/>
                <a:gd name="T18" fmla="*/ 119 w 163"/>
                <a:gd name="T19" fmla="*/ 139 h 147"/>
                <a:gd name="T20" fmla="*/ 120 w 163"/>
                <a:gd name="T21" fmla="*/ 136 h 147"/>
                <a:gd name="T22" fmla="*/ 119 w 163"/>
                <a:gd name="T23" fmla="*/ 133 h 147"/>
                <a:gd name="T24" fmla="*/ 119 w 163"/>
                <a:gd name="T25" fmla="*/ 127 h 147"/>
                <a:gd name="T26" fmla="*/ 119 w 163"/>
                <a:gd name="T27" fmla="*/ 125 h 147"/>
                <a:gd name="T28" fmla="*/ 117 w 163"/>
                <a:gd name="T29" fmla="*/ 122 h 147"/>
                <a:gd name="T30" fmla="*/ 116 w 163"/>
                <a:gd name="T31" fmla="*/ 121 h 147"/>
                <a:gd name="T32" fmla="*/ 116 w 163"/>
                <a:gd name="T33" fmla="*/ 119 h 147"/>
                <a:gd name="T34" fmla="*/ 117 w 163"/>
                <a:gd name="T35" fmla="*/ 117 h 147"/>
                <a:gd name="T36" fmla="*/ 116 w 163"/>
                <a:gd name="T37" fmla="*/ 116 h 147"/>
                <a:gd name="T38" fmla="*/ 118 w 163"/>
                <a:gd name="T39" fmla="*/ 113 h 147"/>
                <a:gd name="T40" fmla="*/ 121 w 163"/>
                <a:gd name="T41" fmla="*/ 109 h 147"/>
                <a:gd name="T42" fmla="*/ 122 w 163"/>
                <a:gd name="T43" fmla="*/ 109 h 147"/>
                <a:gd name="T44" fmla="*/ 121 w 163"/>
                <a:gd name="T45" fmla="*/ 107 h 147"/>
                <a:gd name="T46" fmla="*/ 123 w 163"/>
                <a:gd name="T47" fmla="*/ 103 h 147"/>
                <a:gd name="T48" fmla="*/ 125 w 163"/>
                <a:gd name="T49" fmla="*/ 100 h 147"/>
                <a:gd name="T50" fmla="*/ 123 w 163"/>
                <a:gd name="T51" fmla="*/ 99 h 147"/>
                <a:gd name="T52" fmla="*/ 124 w 163"/>
                <a:gd name="T53" fmla="*/ 95 h 147"/>
                <a:gd name="T54" fmla="*/ 127 w 163"/>
                <a:gd name="T55" fmla="*/ 92 h 147"/>
                <a:gd name="T56" fmla="*/ 132 w 163"/>
                <a:gd name="T57" fmla="*/ 86 h 147"/>
                <a:gd name="T58" fmla="*/ 135 w 163"/>
                <a:gd name="T59" fmla="*/ 81 h 147"/>
                <a:gd name="T60" fmla="*/ 135 w 163"/>
                <a:gd name="T61" fmla="*/ 77 h 147"/>
                <a:gd name="T62" fmla="*/ 137 w 163"/>
                <a:gd name="T63" fmla="*/ 72 h 147"/>
                <a:gd name="T64" fmla="*/ 138 w 163"/>
                <a:gd name="T65" fmla="*/ 72 h 147"/>
                <a:gd name="T66" fmla="*/ 140 w 163"/>
                <a:gd name="T67" fmla="*/ 70 h 147"/>
                <a:gd name="T68" fmla="*/ 141 w 163"/>
                <a:gd name="T69" fmla="*/ 67 h 147"/>
                <a:gd name="T70" fmla="*/ 143 w 163"/>
                <a:gd name="T71" fmla="*/ 65 h 147"/>
                <a:gd name="T72" fmla="*/ 147 w 163"/>
                <a:gd name="T73" fmla="*/ 63 h 147"/>
                <a:gd name="T74" fmla="*/ 146 w 163"/>
                <a:gd name="T75" fmla="*/ 60 h 147"/>
                <a:gd name="T76" fmla="*/ 148 w 163"/>
                <a:gd name="T77" fmla="*/ 58 h 147"/>
                <a:gd name="T78" fmla="*/ 150 w 163"/>
                <a:gd name="T79" fmla="*/ 54 h 147"/>
                <a:gd name="T80" fmla="*/ 150 w 163"/>
                <a:gd name="T81" fmla="*/ 48 h 147"/>
                <a:gd name="T82" fmla="*/ 150 w 163"/>
                <a:gd name="T83" fmla="*/ 43 h 147"/>
                <a:gd name="T84" fmla="*/ 153 w 163"/>
                <a:gd name="T85" fmla="*/ 39 h 147"/>
                <a:gd name="T86" fmla="*/ 156 w 163"/>
                <a:gd name="T87" fmla="*/ 37 h 147"/>
                <a:gd name="T88" fmla="*/ 156 w 163"/>
                <a:gd name="T89" fmla="*/ 35 h 147"/>
                <a:gd name="T90" fmla="*/ 157 w 163"/>
                <a:gd name="T91" fmla="*/ 33 h 147"/>
                <a:gd name="T92" fmla="*/ 157 w 163"/>
                <a:gd name="T93" fmla="*/ 29 h 147"/>
                <a:gd name="T94" fmla="*/ 160 w 163"/>
                <a:gd name="T95" fmla="*/ 28 h 147"/>
                <a:gd name="T96" fmla="*/ 161 w 163"/>
                <a:gd name="T97" fmla="*/ 26 h 147"/>
                <a:gd name="T98" fmla="*/ 162 w 163"/>
                <a:gd name="T99" fmla="*/ 24 h 147"/>
                <a:gd name="T100" fmla="*/ 163 w 163"/>
                <a:gd name="T101" fmla="*/ 22 h 147"/>
                <a:gd name="T102" fmla="*/ 163 w 163"/>
                <a:gd name="T103" fmla="*/ 19 h 147"/>
                <a:gd name="T104" fmla="*/ 138 w 163"/>
                <a:gd name="T105" fmla="*/ 20 h 147"/>
                <a:gd name="T106" fmla="*/ 148 w 163"/>
                <a:gd name="T107" fmla="*/ 5 h 147"/>
                <a:gd name="T108" fmla="*/ 147 w 163"/>
                <a:gd name="T109" fmla="*/ 0 h 147"/>
                <a:gd name="T110" fmla="*/ 0 w 163"/>
                <a:gd name="T111" fmla="*/ 4 h 147"/>
                <a:gd name="T112" fmla="*/ 7 w 163"/>
                <a:gd name="T113" fmla="*/ 47 h 147"/>
                <a:gd name="T114" fmla="*/ 6 w 163"/>
                <a:gd name="T115"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47">
                  <a:moveTo>
                    <a:pt x="6" y="123"/>
                  </a:moveTo>
                  <a:lnTo>
                    <a:pt x="4" y="121"/>
                  </a:lnTo>
                  <a:lnTo>
                    <a:pt x="7" y="124"/>
                  </a:lnTo>
                  <a:lnTo>
                    <a:pt x="10" y="125"/>
                  </a:lnTo>
                  <a:lnTo>
                    <a:pt x="12" y="123"/>
                  </a:lnTo>
                  <a:lnTo>
                    <a:pt x="22" y="124"/>
                  </a:lnTo>
                  <a:lnTo>
                    <a:pt x="22" y="147"/>
                  </a:lnTo>
                  <a:lnTo>
                    <a:pt x="116" y="144"/>
                  </a:lnTo>
                  <a:lnTo>
                    <a:pt x="117" y="144"/>
                  </a:lnTo>
                  <a:lnTo>
                    <a:pt x="119" y="139"/>
                  </a:lnTo>
                  <a:lnTo>
                    <a:pt x="120" y="136"/>
                  </a:lnTo>
                  <a:lnTo>
                    <a:pt x="119" y="133"/>
                  </a:lnTo>
                  <a:lnTo>
                    <a:pt x="119" y="127"/>
                  </a:lnTo>
                  <a:lnTo>
                    <a:pt x="119" y="125"/>
                  </a:lnTo>
                  <a:lnTo>
                    <a:pt x="117" y="122"/>
                  </a:lnTo>
                  <a:lnTo>
                    <a:pt x="116" y="121"/>
                  </a:lnTo>
                  <a:lnTo>
                    <a:pt x="116" y="119"/>
                  </a:lnTo>
                  <a:lnTo>
                    <a:pt x="117" y="117"/>
                  </a:lnTo>
                  <a:lnTo>
                    <a:pt x="116" y="116"/>
                  </a:lnTo>
                  <a:lnTo>
                    <a:pt x="118" y="113"/>
                  </a:lnTo>
                  <a:lnTo>
                    <a:pt x="121" y="109"/>
                  </a:lnTo>
                  <a:lnTo>
                    <a:pt x="122" y="109"/>
                  </a:lnTo>
                  <a:lnTo>
                    <a:pt x="121" y="107"/>
                  </a:lnTo>
                  <a:lnTo>
                    <a:pt x="123" y="103"/>
                  </a:lnTo>
                  <a:lnTo>
                    <a:pt x="125" y="100"/>
                  </a:lnTo>
                  <a:lnTo>
                    <a:pt x="123" y="99"/>
                  </a:lnTo>
                  <a:lnTo>
                    <a:pt x="124" y="95"/>
                  </a:lnTo>
                  <a:lnTo>
                    <a:pt x="127" y="92"/>
                  </a:lnTo>
                  <a:lnTo>
                    <a:pt x="132" y="86"/>
                  </a:lnTo>
                  <a:lnTo>
                    <a:pt x="135" y="81"/>
                  </a:lnTo>
                  <a:lnTo>
                    <a:pt x="135" y="77"/>
                  </a:lnTo>
                  <a:lnTo>
                    <a:pt x="137" y="72"/>
                  </a:lnTo>
                  <a:lnTo>
                    <a:pt x="138" y="72"/>
                  </a:lnTo>
                  <a:lnTo>
                    <a:pt x="140" y="70"/>
                  </a:lnTo>
                  <a:lnTo>
                    <a:pt x="141" y="67"/>
                  </a:lnTo>
                  <a:lnTo>
                    <a:pt x="143" y="65"/>
                  </a:lnTo>
                  <a:lnTo>
                    <a:pt x="147" y="63"/>
                  </a:lnTo>
                  <a:lnTo>
                    <a:pt x="146" y="60"/>
                  </a:lnTo>
                  <a:lnTo>
                    <a:pt x="148" y="58"/>
                  </a:lnTo>
                  <a:lnTo>
                    <a:pt x="150" y="54"/>
                  </a:lnTo>
                  <a:lnTo>
                    <a:pt x="150" y="48"/>
                  </a:lnTo>
                  <a:lnTo>
                    <a:pt x="150" y="43"/>
                  </a:lnTo>
                  <a:lnTo>
                    <a:pt x="153" y="39"/>
                  </a:lnTo>
                  <a:lnTo>
                    <a:pt x="156" y="37"/>
                  </a:lnTo>
                  <a:lnTo>
                    <a:pt x="156" y="35"/>
                  </a:lnTo>
                  <a:lnTo>
                    <a:pt x="157" y="33"/>
                  </a:lnTo>
                  <a:lnTo>
                    <a:pt x="157" y="29"/>
                  </a:lnTo>
                  <a:lnTo>
                    <a:pt x="160" y="28"/>
                  </a:lnTo>
                  <a:lnTo>
                    <a:pt x="161" y="26"/>
                  </a:lnTo>
                  <a:lnTo>
                    <a:pt x="162" y="24"/>
                  </a:lnTo>
                  <a:lnTo>
                    <a:pt x="163" y="22"/>
                  </a:lnTo>
                  <a:lnTo>
                    <a:pt x="163" y="19"/>
                  </a:lnTo>
                  <a:lnTo>
                    <a:pt x="138" y="20"/>
                  </a:lnTo>
                  <a:lnTo>
                    <a:pt x="148" y="5"/>
                  </a:lnTo>
                  <a:lnTo>
                    <a:pt x="147" y="0"/>
                  </a:lnTo>
                  <a:lnTo>
                    <a:pt x="0" y="4"/>
                  </a:lnTo>
                  <a:lnTo>
                    <a:pt x="7" y="47"/>
                  </a:lnTo>
                  <a:lnTo>
                    <a:pt x="6" y="123"/>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9" name="Freeform 58">
              <a:extLst>
                <a:ext uri="{FF2B5EF4-FFF2-40B4-BE49-F238E27FC236}">
                  <a16:creationId xmlns:a16="http://schemas.microsoft.com/office/drawing/2014/main" id="{B8BD7C73-BF53-FA48-CF3D-A3F470F97176}"/>
                </a:ext>
              </a:extLst>
            </p:cNvPr>
            <p:cNvSpPr>
              <a:spLocks/>
            </p:cNvSpPr>
            <p:nvPr/>
          </p:nvSpPr>
          <p:spPr bwMode="auto">
            <a:xfrm>
              <a:off x="8573754" y="3408359"/>
              <a:ext cx="719575" cy="220922"/>
            </a:xfrm>
            <a:custGeom>
              <a:avLst/>
              <a:gdLst>
                <a:gd name="T0" fmla="*/ 193 w 326"/>
                <a:gd name="T1" fmla="*/ 14 h 107"/>
                <a:gd name="T2" fmla="*/ 83 w 326"/>
                <a:gd name="T3" fmla="*/ 21 h 107"/>
                <a:gd name="T4" fmla="*/ 85 w 326"/>
                <a:gd name="T5" fmla="*/ 31 h 107"/>
                <a:gd name="T6" fmla="*/ 26 w 326"/>
                <a:gd name="T7" fmla="*/ 32 h 107"/>
                <a:gd name="T8" fmla="*/ 24 w 326"/>
                <a:gd name="T9" fmla="*/ 33 h 107"/>
                <a:gd name="T10" fmla="*/ 24 w 326"/>
                <a:gd name="T11" fmla="*/ 36 h 107"/>
                <a:gd name="T12" fmla="*/ 24 w 326"/>
                <a:gd name="T13" fmla="*/ 39 h 107"/>
                <a:gd name="T14" fmla="*/ 23 w 326"/>
                <a:gd name="T15" fmla="*/ 42 h 107"/>
                <a:gd name="T16" fmla="*/ 21 w 326"/>
                <a:gd name="T17" fmla="*/ 43 h 107"/>
                <a:gd name="T18" fmla="*/ 20 w 326"/>
                <a:gd name="T19" fmla="*/ 45 h 107"/>
                <a:gd name="T20" fmla="*/ 21 w 326"/>
                <a:gd name="T21" fmla="*/ 46 h 107"/>
                <a:gd name="T22" fmla="*/ 23 w 326"/>
                <a:gd name="T23" fmla="*/ 50 h 107"/>
                <a:gd name="T24" fmla="*/ 22 w 326"/>
                <a:gd name="T25" fmla="*/ 52 h 107"/>
                <a:gd name="T26" fmla="*/ 20 w 326"/>
                <a:gd name="T27" fmla="*/ 55 h 107"/>
                <a:gd name="T28" fmla="*/ 19 w 326"/>
                <a:gd name="T29" fmla="*/ 58 h 107"/>
                <a:gd name="T30" fmla="*/ 20 w 326"/>
                <a:gd name="T31" fmla="*/ 58 h 107"/>
                <a:gd name="T32" fmla="*/ 20 w 326"/>
                <a:gd name="T33" fmla="*/ 62 h 107"/>
                <a:gd name="T34" fmla="*/ 19 w 326"/>
                <a:gd name="T35" fmla="*/ 64 h 107"/>
                <a:gd name="T36" fmla="*/ 18 w 326"/>
                <a:gd name="T37" fmla="*/ 66 h 107"/>
                <a:gd name="T38" fmla="*/ 16 w 326"/>
                <a:gd name="T39" fmla="*/ 69 h 107"/>
                <a:gd name="T40" fmla="*/ 13 w 326"/>
                <a:gd name="T41" fmla="*/ 70 h 107"/>
                <a:gd name="T42" fmla="*/ 13 w 326"/>
                <a:gd name="T43" fmla="*/ 75 h 107"/>
                <a:gd name="T44" fmla="*/ 12 w 326"/>
                <a:gd name="T45" fmla="*/ 77 h 107"/>
                <a:gd name="T46" fmla="*/ 12 w 326"/>
                <a:gd name="T47" fmla="*/ 79 h 107"/>
                <a:gd name="T48" fmla="*/ 8 w 326"/>
                <a:gd name="T49" fmla="*/ 82 h 107"/>
                <a:gd name="T50" fmla="*/ 5 w 326"/>
                <a:gd name="T51" fmla="*/ 87 h 107"/>
                <a:gd name="T52" fmla="*/ 5 w 326"/>
                <a:gd name="T53" fmla="*/ 92 h 107"/>
                <a:gd name="T54" fmla="*/ 5 w 326"/>
                <a:gd name="T55" fmla="*/ 99 h 107"/>
                <a:gd name="T56" fmla="*/ 2 w 326"/>
                <a:gd name="T57" fmla="*/ 104 h 107"/>
                <a:gd name="T58" fmla="*/ 0 w 326"/>
                <a:gd name="T59" fmla="*/ 107 h 107"/>
                <a:gd name="T60" fmla="*/ 0 w 326"/>
                <a:gd name="T61" fmla="*/ 107 h 107"/>
                <a:gd name="T62" fmla="*/ 232 w 326"/>
                <a:gd name="T63" fmla="*/ 89 h 107"/>
                <a:gd name="T64" fmla="*/ 232 w 326"/>
                <a:gd name="T65" fmla="*/ 89 h 107"/>
                <a:gd name="T66" fmla="*/ 232 w 326"/>
                <a:gd name="T67" fmla="*/ 88 h 107"/>
                <a:gd name="T68" fmla="*/ 233 w 326"/>
                <a:gd name="T69" fmla="*/ 82 h 107"/>
                <a:gd name="T70" fmla="*/ 233 w 326"/>
                <a:gd name="T71" fmla="*/ 79 h 107"/>
                <a:gd name="T72" fmla="*/ 237 w 326"/>
                <a:gd name="T73" fmla="*/ 75 h 107"/>
                <a:gd name="T74" fmla="*/ 240 w 326"/>
                <a:gd name="T75" fmla="*/ 75 h 107"/>
                <a:gd name="T76" fmla="*/ 244 w 326"/>
                <a:gd name="T77" fmla="*/ 72 h 107"/>
                <a:gd name="T78" fmla="*/ 243 w 326"/>
                <a:gd name="T79" fmla="*/ 68 h 107"/>
                <a:gd name="T80" fmla="*/ 246 w 326"/>
                <a:gd name="T81" fmla="*/ 64 h 107"/>
                <a:gd name="T82" fmla="*/ 280 w 326"/>
                <a:gd name="T83" fmla="*/ 44 h 107"/>
                <a:gd name="T84" fmla="*/ 285 w 326"/>
                <a:gd name="T85" fmla="*/ 41 h 107"/>
                <a:gd name="T86" fmla="*/ 287 w 326"/>
                <a:gd name="T87" fmla="*/ 37 h 107"/>
                <a:gd name="T88" fmla="*/ 291 w 326"/>
                <a:gd name="T89" fmla="*/ 31 h 107"/>
                <a:gd name="T90" fmla="*/ 294 w 326"/>
                <a:gd name="T91" fmla="*/ 31 h 107"/>
                <a:gd name="T92" fmla="*/ 297 w 326"/>
                <a:gd name="T93" fmla="*/ 35 h 107"/>
                <a:gd name="T94" fmla="*/ 301 w 326"/>
                <a:gd name="T95" fmla="*/ 31 h 107"/>
                <a:gd name="T96" fmla="*/ 306 w 326"/>
                <a:gd name="T97" fmla="*/ 25 h 107"/>
                <a:gd name="T98" fmla="*/ 317 w 326"/>
                <a:gd name="T99" fmla="*/ 23 h 107"/>
                <a:gd name="T100" fmla="*/ 318 w 326"/>
                <a:gd name="T101" fmla="*/ 19 h 107"/>
                <a:gd name="T102" fmla="*/ 321 w 326"/>
                <a:gd name="T103" fmla="*/ 14 h 107"/>
                <a:gd name="T104" fmla="*/ 325 w 326"/>
                <a:gd name="T105" fmla="*/ 12 h 107"/>
                <a:gd name="T106" fmla="*/ 326 w 326"/>
                <a:gd name="T107" fmla="*/ 12 h 107"/>
                <a:gd name="T108" fmla="*/ 326 w 326"/>
                <a:gd name="T109" fmla="*/ 0 h 107"/>
                <a:gd name="T110" fmla="*/ 193 w 326"/>
                <a:gd name="T111" fmla="*/ 1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07">
                  <a:moveTo>
                    <a:pt x="193" y="14"/>
                  </a:moveTo>
                  <a:cubicBezTo>
                    <a:pt x="83" y="21"/>
                    <a:pt x="83" y="21"/>
                    <a:pt x="83" y="21"/>
                  </a:cubicBezTo>
                  <a:cubicBezTo>
                    <a:pt x="85" y="31"/>
                    <a:pt x="85" y="31"/>
                    <a:pt x="85" y="31"/>
                  </a:cubicBezTo>
                  <a:cubicBezTo>
                    <a:pt x="26" y="32"/>
                    <a:pt x="26" y="32"/>
                    <a:pt x="26" y="32"/>
                  </a:cubicBezTo>
                  <a:cubicBezTo>
                    <a:pt x="24" y="33"/>
                    <a:pt x="24" y="33"/>
                    <a:pt x="24" y="33"/>
                  </a:cubicBezTo>
                  <a:cubicBezTo>
                    <a:pt x="24" y="36"/>
                    <a:pt x="24" y="36"/>
                    <a:pt x="24" y="36"/>
                  </a:cubicBezTo>
                  <a:cubicBezTo>
                    <a:pt x="24" y="39"/>
                    <a:pt x="24" y="39"/>
                    <a:pt x="24" y="39"/>
                  </a:cubicBezTo>
                  <a:cubicBezTo>
                    <a:pt x="23" y="42"/>
                    <a:pt x="23" y="42"/>
                    <a:pt x="23" y="42"/>
                  </a:cubicBezTo>
                  <a:cubicBezTo>
                    <a:pt x="21" y="43"/>
                    <a:pt x="21" y="43"/>
                    <a:pt x="21" y="43"/>
                  </a:cubicBezTo>
                  <a:cubicBezTo>
                    <a:pt x="20" y="45"/>
                    <a:pt x="20" y="45"/>
                    <a:pt x="20" y="45"/>
                  </a:cubicBezTo>
                  <a:cubicBezTo>
                    <a:pt x="21" y="46"/>
                    <a:pt x="21" y="46"/>
                    <a:pt x="21" y="46"/>
                  </a:cubicBezTo>
                  <a:cubicBezTo>
                    <a:pt x="21" y="46"/>
                    <a:pt x="23" y="49"/>
                    <a:pt x="23" y="50"/>
                  </a:cubicBezTo>
                  <a:cubicBezTo>
                    <a:pt x="24" y="51"/>
                    <a:pt x="22" y="52"/>
                    <a:pt x="22" y="52"/>
                  </a:cubicBezTo>
                  <a:cubicBezTo>
                    <a:pt x="20" y="55"/>
                    <a:pt x="20" y="55"/>
                    <a:pt x="20" y="55"/>
                  </a:cubicBezTo>
                  <a:cubicBezTo>
                    <a:pt x="19" y="58"/>
                    <a:pt x="19" y="58"/>
                    <a:pt x="19" y="58"/>
                  </a:cubicBezTo>
                  <a:cubicBezTo>
                    <a:pt x="20" y="58"/>
                    <a:pt x="20" y="58"/>
                    <a:pt x="20" y="58"/>
                  </a:cubicBezTo>
                  <a:cubicBezTo>
                    <a:pt x="20" y="62"/>
                    <a:pt x="20" y="62"/>
                    <a:pt x="20" y="62"/>
                  </a:cubicBezTo>
                  <a:cubicBezTo>
                    <a:pt x="19" y="64"/>
                    <a:pt x="19" y="64"/>
                    <a:pt x="19" y="64"/>
                  </a:cubicBezTo>
                  <a:cubicBezTo>
                    <a:pt x="18" y="66"/>
                    <a:pt x="18" y="66"/>
                    <a:pt x="18" y="66"/>
                  </a:cubicBezTo>
                  <a:cubicBezTo>
                    <a:pt x="16" y="69"/>
                    <a:pt x="16" y="69"/>
                    <a:pt x="16" y="69"/>
                  </a:cubicBezTo>
                  <a:cubicBezTo>
                    <a:pt x="13" y="70"/>
                    <a:pt x="13" y="70"/>
                    <a:pt x="13" y="70"/>
                  </a:cubicBezTo>
                  <a:cubicBezTo>
                    <a:pt x="13" y="75"/>
                    <a:pt x="13" y="75"/>
                    <a:pt x="13" y="75"/>
                  </a:cubicBezTo>
                  <a:cubicBezTo>
                    <a:pt x="12" y="77"/>
                    <a:pt x="12" y="77"/>
                    <a:pt x="12" y="77"/>
                  </a:cubicBezTo>
                  <a:cubicBezTo>
                    <a:pt x="12" y="79"/>
                    <a:pt x="12" y="79"/>
                    <a:pt x="12" y="79"/>
                  </a:cubicBezTo>
                  <a:cubicBezTo>
                    <a:pt x="8" y="82"/>
                    <a:pt x="8" y="82"/>
                    <a:pt x="8" y="82"/>
                  </a:cubicBezTo>
                  <a:cubicBezTo>
                    <a:pt x="5" y="87"/>
                    <a:pt x="5" y="87"/>
                    <a:pt x="5" y="87"/>
                  </a:cubicBezTo>
                  <a:cubicBezTo>
                    <a:pt x="5" y="92"/>
                    <a:pt x="5" y="92"/>
                    <a:pt x="5" y="92"/>
                  </a:cubicBezTo>
                  <a:cubicBezTo>
                    <a:pt x="5" y="99"/>
                    <a:pt x="5" y="99"/>
                    <a:pt x="5" y="99"/>
                  </a:cubicBezTo>
                  <a:cubicBezTo>
                    <a:pt x="2" y="104"/>
                    <a:pt x="2" y="104"/>
                    <a:pt x="2" y="104"/>
                  </a:cubicBezTo>
                  <a:cubicBezTo>
                    <a:pt x="0" y="107"/>
                    <a:pt x="0" y="107"/>
                    <a:pt x="0" y="107"/>
                  </a:cubicBezTo>
                  <a:cubicBezTo>
                    <a:pt x="0" y="107"/>
                    <a:pt x="0" y="107"/>
                    <a:pt x="0" y="107"/>
                  </a:cubicBezTo>
                  <a:cubicBezTo>
                    <a:pt x="232" y="89"/>
                    <a:pt x="232" y="89"/>
                    <a:pt x="232" y="89"/>
                  </a:cubicBezTo>
                  <a:cubicBezTo>
                    <a:pt x="232" y="89"/>
                    <a:pt x="232" y="89"/>
                    <a:pt x="232" y="89"/>
                  </a:cubicBezTo>
                  <a:cubicBezTo>
                    <a:pt x="232" y="88"/>
                    <a:pt x="232" y="88"/>
                    <a:pt x="232" y="88"/>
                  </a:cubicBezTo>
                  <a:cubicBezTo>
                    <a:pt x="233" y="82"/>
                    <a:pt x="233" y="82"/>
                    <a:pt x="233" y="82"/>
                  </a:cubicBezTo>
                  <a:cubicBezTo>
                    <a:pt x="233" y="79"/>
                    <a:pt x="233" y="79"/>
                    <a:pt x="233" y="79"/>
                  </a:cubicBezTo>
                  <a:cubicBezTo>
                    <a:pt x="237" y="75"/>
                    <a:pt x="237" y="75"/>
                    <a:pt x="237" y="75"/>
                  </a:cubicBezTo>
                  <a:cubicBezTo>
                    <a:pt x="240" y="75"/>
                    <a:pt x="240" y="75"/>
                    <a:pt x="240" y="75"/>
                  </a:cubicBezTo>
                  <a:cubicBezTo>
                    <a:pt x="244" y="72"/>
                    <a:pt x="244" y="72"/>
                    <a:pt x="244" y="72"/>
                  </a:cubicBezTo>
                  <a:cubicBezTo>
                    <a:pt x="243" y="68"/>
                    <a:pt x="243" y="68"/>
                    <a:pt x="243" y="68"/>
                  </a:cubicBezTo>
                  <a:cubicBezTo>
                    <a:pt x="246" y="64"/>
                    <a:pt x="246" y="64"/>
                    <a:pt x="246" y="64"/>
                  </a:cubicBezTo>
                  <a:cubicBezTo>
                    <a:pt x="280" y="44"/>
                    <a:pt x="280" y="44"/>
                    <a:pt x="280" y="44"/>
                  </a:cubicBezTo>
                  <a:cubicBezTo>
                    <a:pt x="285" y="41"/>
                    <a:pt x="285" y="41"/>
                    <a:pt x="285" y="41"/>
                  </a:cubicBezTo>
                  <a:cubicBezTo>
                    <a:pt x="287" y="37"/>
                    <a:pt x="287" y="37"/>
                    <a:pt x="287" y="37"/>
                  </a:cubicBezTo>
                  <a:cubicBezTo>
                    <a:pt x="291" y="31"/>
                    <a:pt x="291" y="31"/>
                    <a:pt x="291" y="31"/>
                  </a:cubicBezTo>
                  <a:cubicBezTo>
                    <a:pt x="294" y="31"/>
                    <a:pt x="294" y="31"/>
                    <a:pt x="294" y="31"/>
                  </a:cubicBezTo>
                  <a:cubicBezTo>
                    <a:pt x="297" y="35"/>
                    <a:pt x="297" y="35"/>
                    <a:pt x="297" y="35"/>
                  </a:cubicBezTo>
                  <a:cubicBezTo>
                    <a:pt x="301" y="31"/>
                    <a:pt x="301" y="31"/>
                    <a:pt x="301" y="31"/>
                  </a:cubicBezTo>
                  <a:cubicBezTo>
                    <a:pt x="306" y="25"/>
                    <a:pt x="306" y="25"/>
                    <a:pt x="306" y="25"/>
                  </a:cubicBezTo>
                  <a:cubicBezTo>
                    <a:pt x="317" y="23"/>
                    <a:pt x="317" y="23"/>
                    <a:pt x="317" y="23"/>
                  </a:cubicBezTo>
                  <a:cubicBezTo>
                    <a:pt x="318" y="19"/>
                    <a:pt x="318" y="19"/>
                    <a:pt x="318" y="19"/>
                  </a:cubicBezTo>
                  <a:cubicBezTo>
                    <a:pt x="321" y="14"/>
                    <a:pt x="321" y="14"/>
                    <a:pt x="321" y="14"/>
                  </a:cubicBezTo>
                  <a:cubicBezTo>
                    <a:pt x="325" y="12"/>
                    <a:pt x="325" y="12"/>
                    <a:pt x="325" y="12"/>
                  </a:cubicBezTo>
                  <a:cubicBezTo>
                    <a:pt x="326" y="12"/>
                    <a:pt x="326" y="12"/>
                    <a:pt x="326" y="12"/>
                  </a:cubicBezTo>
                  <a:cubicBezTo>
                    <a:pt x="326" y="0"/>
                    <a:pt x="326" y="0"/>
                    <a:pt x="326" y="0"/>
                  </a:cubicBezTo>
                  <a:lnTo>
                    <a:pt x="193" y="14"/>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0" name="Freeform 59">
              <a:extLst>
                <a:ext uri="{FF2B5EF4-FFF2-40B4-BE49-F238E27FC236}">
                  <a16:creationId xmlns:a16="http://schemas.microsoft.com/office/drawing/2014/main" id="{A4AE1D96-FFE7-40C4-4C80-440BB79174D2}"/>
                </a:ext>
              </a:extLst>
            </p:cNvPr>
            <p:cNvSpPr>
              <a:spLocks/>
            </p:cNvSpPr>
            <p:nvPr/>
          </p:nvSpPr>
          <p:spPr bwMode="auto">
            <a:xfrm>
              <a:off x="9084757" y="3334717"/>
              <a:ext cx="719575" cy="299474"/>
            </a:xfrm>
            <a:custGeom>
              <a:avLst/>
              <a:gdLst>
                <a:gd name="T0" fmla="*/ 320 w 326"/>
                <a:gd name="T1" fmla="*/ 28 h 144"/>
                <a:gd name="T2" fmla="*/ 315 w 326"/>
                <a:gd name="T3" fmla="*/ 38 h 144"/>
                <a:gd name="T4" fmla="*/ 311 w 326"/>
                <a:gd name="T5" fmla="*/ 32 h 144"/>
                <a:gd name="T6" fmla="*/ 300 w 326"/>
                <a:gd name="T7" fmla="*/ 30 h 144"/>
                <a:gd name="T8" fmla="*/ 289 w 326"/>
                <a:gd name="T9" fmla="*/ 35 h 144"/>
                <a:gd name="T10" fmla="*/ 285 w 326"/>
                <a:gd name="T11" fmla="*/ 32 h 144"/>
                <a:gd name="T12" fmla="*/ 282 w 326"/>
                <a:gd name="T13" fmla="*/ 25 h 144"/>
                <a:gd name="T14" fmla="*/ 281 w 326"/>
                <a:gd name="T15" fmla="*/ 18 h 144"/>
                <a:gd name="T16" fmla="*/ 284 w 326"/>
                <a:gd name="T17" fmla="*/ 20 h 144"/>
                <a:gd name="T18" fmla="*/ 290 w 326"/>
                <a:gd name="T19" fmla="*/ 29 h 144"/>
                <a:gd name="T20" fmla="*/ 295 w 326"/>
                <a:gd name="T21" fmla="*/ 26 h 144"/>
                <a:gd name="T22" fmla="*/ 305 w 326"/>
                <a:gd name="T23" fmla="*/ 22 h 144"/>
                <a:gd name="T24" fmla="*/ 306 w 326"/>
                <a:gd name="T25" fmla="*/ 16 h 144"/>
                <a:gd name="T26" fmla="*/ 303 w 326"/>
                <a:gd name="T27" fmla="*/ 12 h 144"/>
                <a:gd name="T28" fmla="*/ 312 w 326"/>
                <a:gd name="T29" fmla="*/ 14 h 144"/>
                <a:gd name="T30" fmla="*/ 308 w 326"/>
                <a:gd name="T31" fmla="*/ 4 h 144"/>
                <a:gd name="T32" fmla="*/ 155 w 326"/>
                <a:gd name="T33" fmla="*/ 28 h 144"/>
                <a:gd name="T34" fmla="*/ 93 w 326"/>
                <a:gd name="T35" fmla="*/ 47 h 144"/>
                <a:gd name="T36" fmla="*/ 85 w 326"/>
                <a:gd name="T37" fmla="*/ 58 h 144"/>
                <a:gd name="T38" fmla="*/ 65 w 326"/>
                <a:gd name="T39" fmla="*/ 70 h 144"/>
                <a:gd name="T40" fmla="*/ 55 w 326"/>
                <a:gd name="T41" fmla="*/ 72 h 144"/>
                <a:gd name="T42" fmla="*/ 14 w 326"/>
                <a:gd name="T43" fmla="*/ 99 h 144"/>
                <a:gd name="T44" fmla="*/ 8 w 326"/>
                <a:gd name="T45" fmla="*/ 110 h 144"/>
                <a:gd name="T46" fmla="*/ 1 w 326"/>
                <a:gd name="T47" fmla="*/ 117 h 144"/>
                <a:gd name="T48" fmla="*/ 0 w 326"/>
                <a:gd name="T49" fmla="*/ 124 h 144"/>
                <a:gd name="T50" fmla="*/ 83 w 326"/>
                <a:gd name="T51" fmla="*/ 104 h 144"/>
                <a:gd name="T52" fmla="*/ 108 w 326"/>
                <a:gd name="T53" fmla="*/ 105 h 144"/>
                <a:gd name="T54" fmla="*/ 123 w 326"/>
                <a:gd name="T55" fmla="*/ 100 h 144"/>
                <a:gd name="T56" fmla="*/ 142 w 326"/>
                <a:gd name="T57" fmla="*/ 114 h 144"/>
                <a:gd name="T58" fmla="*/ 243 w 326"/>
                <a:gd name="T59" fmla="*/ 140 h 144"/>
                <a:gd name="T60" fmla="*/ 256 w 326"/>
                <a:gd name="T61" fmla="*/ 136 h 144"/>
                <a:gd name="T62" fmla="*/ 263 w 326"/>
                <a:gd name="T63" fmla="*/ 117 h 144"/>
                <a:gd name="T64" fmla="*/ 271 w 326"/>
                <a:gd name="T65" fmla="*/ 106 h 144"/>
                <a:gd name="T66" fmla="*/ 270 w 326"/>
                <a:gd name="T67" fmla="*/ 100 h 144"/>
                <a:gd name="T68" fmla="*/ 272 w 326"/>
                <a:gd name="T69" fmla="*/ 97 h 144"/>
                <a:gd name="T70" fmla="*/ 278 w 326"/>
                <a:gd name="T71" fmla="*/ 100 h 144"/>
                <a:gd name="T72" fmla="*/ 281 w 326"/>
                <a:gd name="T73" fmla="*/ 95 h 144"/>
                <a:gd name="T74" fmla="*/ 285 w 326"/>
                <a:gd name="T75" fmla="*/ 95 h 144"/>
                <a:gd name="T76" fmla="*/ 296 w 326"/>
                <a:gd name="T77" fmla="*/ 91 h 144"/>
                <a:gd name="T78" fmla="*/ 301 w 326"/>
                <a:gd name="T79" fmla="*/ 87 h 144"/>
                <a:gd name="T80" fmla="*/ 308 w 326"/>
                <a:gd name="T81" fmla="*/ 81 h 144"/>
                <a:gd name="T82" fmla="*/ 308 w 326"/>
                <a:gd name="T83" fmla="*/ 75 h 144"/>
                <a:gd name="T84" fmla="*/ 301 w 326"/>
                <a:gd name="T85" fmla="*/ 78 h 144"/>
                <a:gd name="T86" fmla="*/ 291 w 326"/>
                <a:gd name="T87" fmla="*/ 83 h 144"/>
                <a:gd name="T88" fmla="*/ 283 w 326"/>
                <a:gd name="T89" fmla="*/ 77 h 144"/>
                <a:gd name="T90" fmla="*/ 288 w 326"/>
                <a:gd name="T91" fmla="*/ 77 h 144"/>
                <a:gd name="T92" fmla="*/ 296 w 326"/>
                <a:gd name="T93" fmla="*/ 73 h 144"/>
                <a:gd name="T94" fmla="*/ 297 w 326"/>
                <a:gd name="T95" fmla="*/ 68 h 144"/>
                <a:gd name="T96" fmla="*/ 296 w 326"/>
                <a:gd name="T97" fmla="*/ 64 h 144"/>
                <a:gd name="T98" fmla="*/ 280 w 326"/>
                <a:gd name="T99" fmla="*/ 58 h 144"/>
                <a:gd name="T100" fmla="*/ 290 w 326"/>
                <a:gd name="T101" fmla="*/ 57 h 144"/>
                <a:gd name="T102" fmla="*/ 294 w 326"/>
                <a:gd name="T103" fmla="*/ 55 h 144"/>
                <a:gd name="T104" fmla="*/ 294 w 326"/>
                <a:gd name="T105" fmla="*/ 51 h 144"/>
                <a:gd name="T106" fmla="*/ 300 w 326"/>
                <a:gd name="T107" fmla="*/ 58 h 144"/>
                <a:gd name="T108" fmla="*/ 306 w 326"/>
                <a:gd name="T109" fmla="*/ 58 h 144"/>
                <a:gd name="T110" fmla="*/ 317 w 326"/>
                <a:gd name="T111" fmla="*/ 57 h 144"/>
                <a:gd name="T112" fmla="*/ 319 w 326"/>
                <a:gd name="T113" fmla="*/ 48 h 144"/>
                <a:gd name="T114" fmla="*/ 322 w 326"/>
                <a:gd name="T115" fmla="*/ 42 h 144"/>
                <a:gd name="T116" fmla="*/ 325 w 326"/>
                <a:gd name="T117"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144">
                  <a:moveTo>
                    <a:pt x="324" y="34"/>
                  </a:moveTo>
                  <a:cubicBezTo>
                    <a:pt x="322" y="31"/>
                    <a:pt x="322" y="31"/>
                    <a:pt x="322" y="31"/>
                  </a:cubicBezTo>
                  <a:cubicBezTo>
                    <a:pt x="320" y="28"/>
                    <a:pt x="320" y="28"/>
                    <a:pt x="320" y="28"/>
                  </a:cubicBezTo>
                  <a:cubicBezTo>
                    <a:pt x="317" y="28"/>
                    <a:pt x="317" y="28"/>
                    <a:pt x="317" y="28"/>
                  </a:cubicBezTo>
                  <a:cubicBezTo>
                    <a:pt x="316" y="29"/>
                    <a:pt x="316" y="29"/>
                    <a:pt x="316" y="29"/>
                  </a:cubicBezTo>
                  <a:cubicBezTo>
                    <a:pt x="315" y="38"/>
                    <a:pt x="315" y="38"/>
                    <a:pt x="315" y="38"/>
                  </a:cubicBezTo>
                  <a:cubicBezTo>
                    <a:pt x="315" y="40"/>
                    <a:pt x="315" y="40"/>
                    <a:pt x="315" y="40"/>
                  </a:cubicBezTo>
                  <a:cubicBezTo>
                    <a:pt x="312" y="38"/>
                    <a:pt x="312" y="38"/>
                    <a:pt x="312" y="38"/>
                  </a:cubicBezTo>
                  <a:cubicBezTo>
                    <a:pt x="311" y="32"/>
                    <a:pt x="311" y="32"/>
                    <a:pt x="311" y="32"/>
                  </a:cubicBezTo>
                  <a:cubicBezTo>
                    <a:pt x="309" y="28"/>
                    <a:pt x="309" y="28"/>
                    <a:pt x="309" y="28"/>
                  </a:cubicBezTo>
                  <a:cubicBezTo>
                    <a:pt x="306" y="27"/>
                    <a:pt x="306" y="27"/>
                    <a:pt x="306" y="27"/>
                  </a:cubicBezTo>
                  <a:cubicBezTo>
                    <a:pt x="300" y="30"/>
                    <a:pt x="300" y="30"/>
                    <a:pt x="300" y="30"/>
                  </a:cubicBezTo>
                  <a:cubicBezTo>
                    <a:pt x="298" y="30"/>
                    <a:pt x="298" y="30"/>
                    <a:pt x="298" y="30"/>
                  </a:cubicBezTo>
                  <a:cubicBezTo>
                    <a:pt x="292" y="32"/>
                    <a:pt x="292" y="32"/>
                    <a:pt x="292" y="32"/>
                  </a:cubicBezTo>
                  <a:cubicBezTo>
                    <a:pt x="289" y="35"/>
                    <a:pt x="289" y="35"/>
                    <a:pt x="289" y="35"/>
                  </a:cubicBezTo>
                  <a:cubicBezTo>
                    <a:pt x="286" y="39"/>
                    <a:pt x="286" y="39"/>
                    <a:pt x="286" y="39"/>
                  </a:cubicBezTo>
                  <a:cubicBezTo>
                    <a:pt x="285" y="37"/>
                    <a:pt x="285" y="37"/>
                    <a:pt x="285" y="37"/>
                  </a:cubicBezTo>
                  <a:cubicBezTo>
                    <a:pt x="285" y="32"/>
                    <a:pt x="285" y="32"/>
                    <a:pt x="285" y="32"/>
                  </a:cubicBezTo>
                  <a:cubicBezTo>
                    <a:pt x="285" y="30"/>
                    <a:pt x="285" y="30"/>
                    <a:pt x="285" y="30"/>
                  </a:cubicBezTo>
                  <a:cubicBezTo>
                    <a:pt x="283" y="27"/>
                    <a:pt x="283" y="27"/>
                    <a:pt x="283" y="27"/>
                  </a:cubicBezTo>
                  <a:cubicBezTo>
                    <a:pt x="282" y="25"/>
                    <a:pt x="282" y="25"/>
                    <a:pt x="282" y="25"/>
                  </a:cubicBezTo>
                  <a:cubicBezTo>
                    <a:pt x="281" y="23"/>
                    <a:pt x="281" y="23"/>
                    <a:pt x="281" y="23"/>
                  </a:cubicBezTo>
                  <a:cubicBezTo>
                    <a:pt x="281" y="20"/>
                    <a:pt x="281" y="20"/>
                    <a:pt x="281" y="20"/>
                  </a:cubicBezTo>
                  <a:cubicBezTo>
                    <a:pt x="281" y="18"/>
                    <a:pt x="281" y="18"/>
                    <a:pt x="281" y="18"/>
                  </a:cubicBezTo>
                  <a:cubicBezTo>
                    <a:pt x="283" y="16"/>
                    <a:pt x="283" y="16"/>
                    <a:pt x="283" y="16"/>
                  </a:cubicBezTo>
                  <a:cubicBezTo>
                    <a:pt x="283" y="16"/>
                    <a:pt x="283" y="16"/>
                    <a:pt x="283" y="16"/>
                  </a:cubicBezTo>
                  <a:cubicBezTo>
                    <a:pt x="284" y="20"/>
                    <a:pt x="284" y="20"/>
                    <a:pt x="284" y="20"/>
                  </a:cubicBezTo>
                  <a:cubicBezTo>
                    <a:pt x="285" y="26"/>
                    <a:pt x="285" y="26"/>
                    <a:pt x="285" y="26"/>
                  </a:cubicBezTo>
                  <a:cubicBezTo>
                    <a:pt x="287" y="31"/>
                    <a:pt x="287" y="31"/>
                    <a:pt x="287" y="31"/>
                  </a:cubicBezTo>
                  <a:cubicBezTo>
                    <a:pt x="290" y="29"/>
                    <a:pt x="290" y="29"/>
                    <a:pt x="290" y="29"/>
                  </a:cubicBezTo>
                  <a:cubicBezTo>
                    <a:pt x="291" y="28"/>
                    <a:pt x="291" y="28"/>
                    <a:pt x="291" y="28"/>
                  </a:cubicBezTo>
                  <a:cubicBezTo>
                    <a:pt x="294" y="26"/>
                    <a:pt x="294" y="26"/>
                    <a:pt x="294" y="26"/>
                  </a:cubicBezTo>
                  <a:cubicBezTo>
                    <a:pt x="295" y="26"/>
                    <a:pt x="295" y="26"/>
                    <a:pt x="295" y="26"/>
                  </a:cubicBezTo>
                  <a:cubicBezTo>
                    <a:pt x="299" y="24"/>
                    <a:pt x="299" y="24"/>
                    <a:pt x="299" y="24"/>
                  </a:cubicBezTo>
                  <a:cubicBezTo>
                    <a:pt x="300" y="22"/>
                    <a:pt x="300" y="22"/>
                    <a:pt x="300" y="22"/>
                  </a:cubicBezTo>
                  <a:cubicBezTo>
                    <a:pt x="305" y="22"/>
                    <a:pt x="305" y="22"/>
                    <a:pt x="305" y="22"/>
                  </a:cubicBezTo>
                  <a:cubicBezTo>
                    <a:pt x="306" y="19"/>
                    <a:pt x="306" y="19"/>
                    <a:pt x="306" y="19"/>
                  </a:cubicBezTo>
                  <a:cubicBezTo>
                    <a:pt x="307" y="18"/>
                    <a:pt x="307" y="18"/>
                    <a:pt x="307" y="18"/>
                  </a:cubicBezTo>
                  <a:cubicBezTo>
                    <a:pt x="307" y="18"/>
                    <a:pt x="306" y="17"/>
                    <a:pt x="306" y="16"/>
                  </a:cubicBezTo>
                  <a:cubicBezTo>
                    <a:pt x="305" y="16"/>
                    <a:pt x="305" y="16"/>
                    <a:pt x="305" y="16"/>
                  </a:cubicBezTo>
                  <a:cubicBezTo>
                    <a:pt x="303" y="13"/>
                    <a:pt x="303" y="13"/>
                    <a:pt x="303" y="13"/>
                  </a:cubicBezTo>
                  <a:cubicBezTo>
                    <a:pt x="303" y="12"/>
                    <a:pt x="303" y="12"/>
                    <a:pt x="303" y="12"/>
                  </a:cubicBezTo>
                  <a:cubicBezTo>
                    <a:pt x="304" y="12"/>
                    <a:pt x="304" y="12"/>
                    <a:pt x="304" y="12"/>
                  </a:cubicBezTo>
                  <a:cubicBezTo>
                    <a:pt x="309" y="14"/>
                    <a:pt x="309" y="14"/>
                    <a:pt x="309" y="14"/>
                  </a:cubicBezTo>
                  <a:cubicBezTo>
                    <a:pt x="312" y="14"/>
                    <a:pt x="312" y="14"/>
                    <a:pt x="312" y="14"/>
                  </a:cubicBezTo>
                  <a:cubicBezTo>
                    <a:pt x="312" y="11"/>
                    <a:pt x="312" y="11"/>
                    <a:pt x="312" y="11"/>
                  </a:cubicBezTo>
                  <a:cubicBezTo>
                    <a:pt x="309" y="7"/>
                    <a:pt x="309" y="7"/>
                    <a:pt x="309" y="7"/>
                  </a:cubicBezTo>
                  <a:cubicBezTo>
                    <a:pt x="308" y="4"/>
                    <a:pt x="308" y="4"/>
                    <a:pt x="308" y="4"/>
                  </a:cubicBezTo>
                  <a:cubicBezTo>
                    <a:pt x="305" y="0"/>
                    <a:pt x="305" y="0"/>
                    <a:pt x="305" y="0"/>
                  </a:cubicBezTo>
                  <a:cubicBezTo>
                    <a:pt x="218" y="18"/>
                    <a:pt x="218" y="18"/>
                    <a:pt x="218" y="18"/>
                  </a:cubicBezTo>
                  <a:cubicBezTo>
                    <a:pt x="155" y="28"/>
                    <a:pt x="155" y="28"/>
                    <a:pt x="155" y="28"/>
                  </a:cubicBezTo>
                  <a:cubicBezTo>
                    <a:pt x="94" y="35"/>
                    <a:pt x="94" y="35"/>
                    <a:pt x="94" y="35"/>
                  </a:cubicBezTo>
                  <a:cubicBezTo>
                    <a:pt x="94" y="47"/>
                    <a:pt x="94" y="47"/>
                    <a:pt x="94" y="47"/>
                  </a:cubicBezTo>
                  <a:cubicBezTo>
                    <a:pt x="93" y="47"/>
                    <a:pt x="93" y="47"/>
                    <a:pt x="93" y="47"/>
                  </a:cubicBezTo>
                  <a:cubicBezTo>
                    <a:pt x="89" y="49"/>
                    <a:pt x="89" y="49"/>
                    <a:pt x="89" y="49"/>
                  </a:cubicBezTo>
                  <a:cubicBezTo>
                    <a:pt x="86" y="54"/>
                    <a:pt x="86" y="54"/>
                    <a:pt x="86" y="54"/>
                  </a:cubicBezTo>
                  <a:cubicBezTo>
                    <a:pt x="85" y="58"/>
                    <a:pt x="85" y="58"/>
                    <a:pt x="85" y="58"/>
                  </a:cubicBezTo>
                  <a:cubicBezTo>
                    <a:pt x="74" y="60"/>
                    <a:pt x="74" y="60"/>
                    <a:pt x="74" y="60"/>
                  </a:cubicBezTo>
                  <a:cubicBezTo>
                    <a:pt x="69" y="66"/>
                    <a:pt x="69" y="66"/>
                    <a:pt x="69" y="66"/>
                  </a:cubicBezTo>
                  <a:cubicBezTo>
                    <a:pt x="65" y="70"/>
                    <a:pt x="65" y="70"/>
                    <a:pt x="65" y="70"/>
                  </a:cubicBezTo>
                  <a:cubicBezTo>
                    <a:pt x="62" y="66"/>
                    <a:pt x="62" y="66"/>
                    <a:pt x="62" y="66"/>
                  </a:cubicBezTo>
                  <a:cubicBezTo>
                    <a:pt x="59" y="66"/>
                    <a:pt x="59" y="66"/>
                    <a:pt x="59" y="66"/>
                  </a:cubicBezTo>
                  <a:cubicBezTo>
                    <a:pt x="55" y="72"/>
                    <a:pt x="55" y="72"/>
                    <a:pt x="55" y="72"/>
                  </a:cubicBezTo>
                  <a:cubicBezTo>
                    <a:pt x="53" y="76"/>
                    <a:pt x="53" y="76"/>
                    <a:pt x="53" y="76"/>
                  </a:cubicBezTo>
                  <a:cubicBezTo>
                    <a:pt x="48" y="79"/>
                    <a:pt x="48" y="79"/>
                    <a:pt x="48" y="79"/>
                  </a:cubicBezTo>
                  <a:cubicBezTo>
                    <a:pt x="14" y="99"/>
                    <a:pt x="14" y="99"/>
                    <a:pt x="14" y="99"/>
                  </a:cubicBezTo>
                  <a:cubicBezTo>
                    <a:pt x="11" y="103"/>
                    <a:pt x="11" y="103"/>
                    <a:pt x="11" y="103"/>
                  </a:cubicBezTo>
                  <a:cubicBezTo>
                    <a:pt x="12" y="107"/>
                    <a:pt x="12" y="107"/>
                    <a:pt x="12" y="107"/>
                  </a:cubicBezTo>
                  <a:cubicBezTo>
                    <a:pt x="8" y="110"/>
                    <a:pt x="8" y="110"/>
                    <a:pt x="8" y="110"/>
                  </a:cubicBezTo>
                  <a:cubicBezTo>
                    <a:pt x="5" y="110"/>
                    <a:pt x="5" y="110"/>
                    <a:pt x="5" y="110"/>
                  </a:cubicBezTo>
                  <a:cubicBezTo>
                    <a:pt x="1" y="114"/>
                    <a:pt x="1" y="114"/>
                    <a:pt x="1" y="114"/>
                  </a:cubicBezTo>
                  <a:cubicBezTo>
                    <a:pt x="1" y="117"/>
                    <a:pt x="1" y="117"/>
                    <a:pt x="1" y="117"/>
                  </a:cubicBezTo>
                  <a:cubicBezTo>
                    <a:pt x="0" y="123"/>
                    <a:pt x="0" y="123"/>
                    <a:pt x="0" y="123"/>
                  </a:cubicBezTo>
                  <a:cubicBezTo>
                    <a:pt x="0" y="124"/>
                    <a:pt x="0" y="124"/>
                    <a:pt x="0" y="124"/>
                  </a:cubicBezTo>
                  <a:cubicBezTo>
                    <a:pt x="0" y="124"/>
                    <a:pt x="0" y="124"/>
                    <a:pt x="0" y="124"/>
                  </a:cubicBezTo>
                  <a:cubicBezTo>
                    <a:pt x="56" y="118"/>
                    <a:pt x="56" y="118"/>
                    <a:pt x="56" y="118"/>
                  </a:cubicBezTo>
                  <a:cubicBezTo>
                    <a:pt x="73" y="105"/>
                    <a:pt x="73" y="105"/>
                    <a:pt x="73" y="105"/>
                  </a:cubicBezTo>
                  <a:cubicBezTo>
                    <a:pt x="83" y="104"/>
                    <a:pt x="83" y="104"/>
                    <a:pt x="83" y="104"/>
                  </a:cubicBezTo>
                  <a:cubicBezTo>
                    <a:pt x="90" y="104"/>
                    <a:pt x="90" y="104"/>
                    <a:pt x="90" y="104"/>
                  </a:cubicBezTo>
                  <a:cubicBezTo>
                    <a:pt x="102" y="106"/>
                    <a:pt x="102" y="106"/>
                    <a:pt x="102" y="106"/>
                  </a:cubicBezTo>
                  <a:cubicBezTo>
                    <a:pt x="108" y="105"/>
                    <a:pt x="108" y="105"/>
                    <a:pt x="108" y="105"/>
                  </a:cubicBezTo>
                  <a:cubicBezTo>
                    <a:pt x="111" y="104"/>
                    <a:pt x="111" y="104"/>
                    <a:pt x="111" y="104"/>
                  </a:cubicBezTo>
                  <a:cubicBezTo>
                    <a:pt x="116" y="101"/>
                    <a:pt x="116" y="101"/>
                    <a:pt x="116" y="101"/>
                  </a:cubicBezTo>
                  <a:cubicBezTo>
                    <a:pt x="123" y="100"/>
                    <a:pt x="123" y="100"/>
                    <a:pt x="123" y="100"/>
                  </a:cubicBezTo>
                  <a:cubicBezTo>
                    <a:pt x="132" y="101"/>
                    <a:pt x="132" y="101"/>
                    <a:pt x="132" y="101"/>
                  </a:cubicBezTo>
                  <a:cubicBezTo>
                    <a:pt x="138" y="104"/>
                    <a:pt x="138" y="104"/>
                    <a:pt x="138" y="104"/>
                  </a:cubicBezTo>
                  <a:cubicBezTo>
                    <a:pt x="142" y="114"/>
                    <a:pt x="142" y="114"/>
                    <a:pt x="142" y="114"/>
                  </a:cubicBezTo>
                  <a:cubicBezTo>
                    <a:pt x="182" y="106"/>
                    <a:pt x="182" y="106"/>
                    <a:pt x="182" y="106"/>
                  </a:cubicBezTo>
                  <a:cubicBezTo>
                    <a:pt x="234" y="144"/>
                    <a:pt x="234" y="144"/>
                    <a:pt x="234" y="144"/>
                  </a:cubicBezTo>
                  <a:cubicBezTo>
                    <a:pt x="243" y="140"/>
                    <a:pt x="243" y="140"/>
                    <a:pt x="243" y="140"/>
                  </a:cubicBezTo>
                  <a:cubicBezTo>
                    <a:pt x="245" y="140"/>
                    <a:pt x="245" y="140"/>
                    <a:pt x="245" y="140"/>
                  </a:cubicBezTo>
                  <a:cubicBezTo>
                    <a:pt x="254" y="139"/>
                    <a:pt x="254" y="139"/>
                    <a:pt x="254" y="139"/>
                  </a:cubicBezTo>
                  <a:cubicBezTo>
                    <a:pt x="256" y="136"/>
                    <a:pt x="256" y="136"/>
                    <a:pt x="256" y="136"/>
                  </a:cubicBezTo>
                  <a:cubicBezTo>
                    <a:pt x="259" y="133"/>
                    <a:pt x="259" y="133"/>
                    <a:pt x="259" y="133"/>
                  </a:cubicBezTo>
                  <a:cubicBezTo>
                    <a:pt x="260" y="124"/>
                    <a:pt x="260" y="124"/>
                    <a:pt x="260" y="124"/>
                  </a:cubicBezTo>
                  <a:cubicBezTo>
                    <a:pt x="263" y="117"/>
                    <a:pt x="263" y="117"/>
                    <a:pt x="263" y="117"/>
                  </a:cubicBezTo>
                  <a:cubicBezTo>
                    <a:pt x="267" y="111"/>
                    <a:pt x="267" y="111"/>
                    <a:pt x="267" y="111"/>
                  </a:cubicBezTo>
                  <a:cubicBezTo>
                    <a:pt x="271" y="108"/>
                    <a:pt x="271" y="108"/>
                    <a:pt x="271" y="108"/>
                  </a:cubicBezTo>
                  <a:cubicBezTo>
                    <a:pt x="271" y="106"/>
                    <a:pt x="271" y="106"/>
                    <a:pt x="271" y="106"/>
                  </a:cubicBezTo>
                  <a:cubicBezTo>
                    <a:pt x="270" y="103"/>
                    <a:pt x="270" y="103"/>
                    <a:pt x="270" y="103"/>
                  </a:cubicBezTo>
                  <a:cubicBezTo>
                    <a:pt x="269" y="101"/>
                    <a:pt x="269" y="101"/>
                    <a:pt x="269" y="101"/>
                  </a:cubicBezTo>
                  <a:cubicBezTo>
                    <a:pt x="270" y="100"/>
                    <a:pt x="270" y="100"/>
                    <a:pt x="270" y="100"/>
                  </a:cubicBezTo>
                  <a:cubicBezTo>
                    <a:pt x="270" y="98"/>
                    <a:pt x="270" y="98"/>
                    <a:pt x="270" y="98"/>
                  </a:cubicBezTo>
                  <a:cubicBezTo>
                    <a:pt x="271" y="97"/>
                    <a:pt x="271" y="97"/>
                    <a:pt x="271" y="97"/>
                  </a:cubicBezTo>
                  <a:cubicBezTo>
                    <a:pt x="272" y="97"/>
                    <a:pt x="272" y="97"/>
                    <a:pt x="272" y="97"/>
                  </a:cubicBezTo>
                  <a:cubicBezTo>
                    <a:pt x="273" y="98"/>
                    <a:pt x="273" y="98"/>
                    <a:pt x="273" y="98"/>
                  </a:cubicBezTo>
                  <a:cubicBezTo>
                    <a:pt x="274" y="102"/>
                    <a:pt x="274" y="102"/>
                    <a:pt x="274" y="102"/>
                  </a:cubicBezTo>
                  <a:cubicBezTo>
                    <a:pt x="278" y="100"/>
                    <a:pt x="278" y="100"/>
                    <a:pt x="278" y="100"/>
                  </a:cubicBezTo>
                  <a:cubicBezTo>
                    <a:pt x="281" y="99"/>
                    <a:pt x="281" y="99"/>
                    <a:pt x="281" y="99"/>
                  </a:cubicBezTo>
                  <a:cubicBezTo>
                    <a:pt x="281" y="97"/>
                    <a:pt x="281" y="97"/>
                    <a:pt x="281" y="97"/>
                  </a:cubicBezTo>
                  <a:cubicBezTo>
                    <a:pt x="281" y="95"/>
                    <a:pt x="281" y="95"/>
                    <a:pt x="281" y="95"/>
                  </a:cubicBezTo>
                  <a:cubicBezTo>
                    <a:pt x="283" y="94"/>
                    <a:pt x="283" y="94"/>
                    <a:pt x="283" y="94"/>
                  </a:cubicBezTo>
                  <a:cubicBezTo>
                    <a:pt x="283" y="93"/>
                    <a:pt x="283" y="93"/>
                    <a:pt x="283" y="93"/>
                  </a:cubicBezTo>
                  <a:cubicBezTo>
                    <a:pt x="285" y="95"/>
                    <a:pt x="285" y="95"/>
                    <a:pt x="285" y="95"/>
                  </a:cubicBezTo>
                  <a:cubicBezTo>
                    <a:pt x="290" y="93"/>
                    <a:pt x="290" y="93"/>
                    <a:pt x="290" y="93"/>
                  </a:cubicBezTo>
                  <a:cubicBezTo>
                    <a:pt x="294" y="91"/>
                    <a:pt x="294" y="91"/>
                    <a:pt x="294" y="91"/>
                  </a:cubicBezTo>
                  <a:cubicBezTo>
                    <a:pt x="296" y="91"/>
                    <a:pt x="296" y="91"/>
                    <a:pt x="296" y="91"/>
                  </a:cubicBezTo>
                  <a:cubicBezTo>
                    <a:pt x="299" y="89"/>
                    <a:pt x="299" y="89"/>
                    <a:pt x="299" y="89"/>
                  </a:cubicBezTo>
                  <a:cubicBezTo>
                    <a:pt x="301" y="88"/>
                    <a:pt x="301" y="88"/>
                    <a:pt x="301" y="88"/>
                  </a:cubicBezTo>
                  <a:cubicBezTo>
                    <a:pt x="301" y="87"/>
                    <a:pt x="301" y="87"/>
                    <a:pt x="301" y="87"/>
                  </a:cubicBezTo>
                  <a:cubicBezTo>
                    <a:pt x="305" y="90"/>
                    <a:pt x="305" y="90"/>
                    <a:pt x="305" y="90"/>
                  </a:cubicBezTo>
                  <a:cubicBezTo>
                    <a:pt x="307" y="86"/>
                    <a:pt x="307" y="86"/>
                    <a:pt x="307" y="86"/>
                  </a:cubicBezTo>
                  <a:cubicBezTo>
                    <a:pt x="308" y="81"/>
                    <a:pt x="308" y="81"/>
                    <a:pt x="308" y="81"/>
                  </a:cubicBezTo>
                  <a:cubicBezTo>
                    <a:pt x="309" y="79"/>
                    <a:pt x="309" y="79"/>
                    <a:pt x="309" y="79"/>
                  </a:cubicBezTo>
                  <a:cubicBezTo>
                    <a:pt x="310" y="77"/>
                    <a:pt x="310" y="77"/>
                    <a:pt x="310" y="77"/>
                  </a:cubicBezTo>
                  <a:cubicBezTo>
                    <a:pt x="310" y="77"/>
                    <a:pt x="309" y="74"/>
                    <a:pt x="308" y="75"/>
                  </a:cubicBezTo>
                  <a:cubicBezTo>
                    <a:pt x="307" y="75"/>
                    <a:pt x="304" y="76"/>
                    <a:pt x="304" y="76"/>
                  </a:cubicBezTo>
                  <a:cubicBezTo>
                    <a:pt x="303" y="78"/>
                    <a:pt x="303" y="78"/>
                    <a:pt x="303" y="78"/>
                  </a:cubicBezTo>
                  <a:cubicBezTo>
                    <a:pt x="301" y="78"/>
                    <a:pt x="301" y="78"/>
                    <a:pt x="301" y="78"/>
                  </a:cubicBezTo>
                  <a:cubicBezTo>
                    <a:pt x="299" y="80"/>
                    <a:pt x="299" y="80"/>
                    <a:pt x="299" y="80"/>
                  </a:cubicBezTo>
                  <a:cubicBezTo>
                    <a:pt x="294" y="83"/>
                    <a:pt x="294" y="83"/>
                    <a:pt x="294" y="83"/>
                  </a:cubicBezTo>
                  <a:cubicBezTo>
                    <a:pt x="291" y="83"/>
                    <a:pt x="291" y="83"/>
                    <a:pt x="291" y="83"/>
                  </a:cubicBezTo>
                  <a:cubicBezTo>
                    <a:pt x="283" y="81"/>
                    <a:pt x="283" y="81"/>
                    <a:pt x="283" y="81"/>
                  </a:cubicBezTo>
                  <a:cubicBezTo>
                    <a:pt x="283" y="79"/>
                    <a:pt x="283" y="79"/>
                    <a:pt x="283" y="79"/>
                  </a:cubicBezTo>
                  <a:cubicBezTo>
                    <a:pt x="283" y="77"/>
                    <a:pt x="283" y="77"/>
                    <a:pt x="283" y="77"/>
                  </a:cubicBezTo>
                  <a:cubicBezTo>
                    <a:pt x="284" y="76"/>
                    <a:pt x="284" y="76"/>
                    <a:pt x="284" y="76"/>
                  </a:cubicBezTo>
                  <a:cubicBezTo>
                    <a:pt x="286" y="76"/>
                    <a:pt x="286" y="76"/>
                    <a:pt x="286" y="76"/>
                  </a:cubicBezTo>
                  <a:cubicBezTo>
                    <a:pt x="288" y="77"/>
                    <a:pt x="288" y="77"/>
                    <a:pt x="288" y="77"/>
                  </a:cubicBezTo>
                  <a:cubicBezTo>
                    <a:pt x="293" y="77"/>
                    <a:pt x="293" y="77"/>
                    <a:pt x="293" y="77"/>
                  </a:cubicBezTo>
                  <a:cubicBezTo>
                    <a:pt x="296" y="75"/>
                    <a:pt x="296" y="75"/>
                    <a:pt x="296" y="75"/>
                  </a:cubicBezTo>
                  <a:cubicBezTo>
                    <a:pt x="296" y="73"/>
                    <a:pt x="296" y="73"/>
                    <a:pt x="296" y="73"/>
                  </a:cubicBezTo>
                  <a:cubicBezTo>
                    <a:pt x="295" y="71"/>
                    <a:pt x="295" y="71"/>
                    <a:pt x="295" y="71"/>
                  </a:cubicBezTo>
                  <a:cubicBezTo>
                    <a:pt x="296" y="68"/>
                    <a:pt x="296" y="68"/>
                    <a:pt x="296" y="68"/>
                  </a:cubicBezTo>
                  <a:cubicBezTo>
                    <a:pt x="297" y="68"/>
                    <a:pt x="297" y="68"/>
                    <a:pt x="297" y="68"/>
                  </a:cubicBezTo>
                  <a:cubicBezTo>
                    <a:pt x="299" y="66"/>
                    <a:pt x="299" y="66"/>
                    <a:pt x="299" y="66"/>
                  </a:cubicBezTo>
                  <a:cubicBezTo>
                    <a:pt x="299" y="64"/>
                    <a:pt x="299" y="64"/>
                    <a:pt x="299" y="64"/>
                  </a:cubicBezTo>
                  <a:cubicBezTo>
                    <a:pt x="296" y="64"/>
                    <a:pt x="296" y="64"/>
                    <a:pt x="296" y="64"/>
                  </a:cubicBezTo>
                  <a:cubicBezTo>
                    <a:pt x="290" y="61"/>
                    <a:pt x="290" y="61"/>
                    <a:pt x="290" y="61"/>
                  </a:cubicBezTo>
                  <a:cubicBezTo>
                    <a:pt x="283" y="60"/>
                    <a:pt x="283" y="60"/>
                    <a:pt x="283" y="60"/>
                  </a:cubicBezTo>
                  <a:cubicBezTo>
                    <a:pt x="280" y="58"/>
                    <a:pt x="280" y="58"/>
                    <a:pt x="280" y="58"/>
                  </a:cubicBezTo>
                  <a:cubicBezTo>
                    <a:pt x="280" y="57"/>
                    <a:pt x="280" y="57"/>
                    <a:pt x="280" y="57"/>
                  </a:cubicBezTo>
                  <a:cubicBezTo>
                    <a:pt x="284" y="57"/>
                    <a:pt x="284" y="57"/>
                    <a:pt x="284" y="57"/>
                  </a:cubicBezTo>
                  <a:cubicBezTo>
                    <a:pt x="290" y="57"/>
                    <a:pt x="290" y="57"/>
                    <a:pt x="290" y="57"/>
                  </a:cubicBezTo>
                  <a:cubicBezTo>
                    <a:pt x="294" y="59"/>
                    <a:pt x="294" y="59"/>
                    <a:pt x="294" y="59"/>
                  </a:cubicBezTo>
                  <a:cubicBezTo>
                    <a:pt x="295" y="57"/>
                    <a:pt x="295" y="57"/>
                    <a:pt x="295" y="57"/>
                  </a:cubicBezTo>
                  <a:cubicBezTo>
                    <a:pt x="294" y="55"/>
                    <a:pt x="294" y="55"/>
                    <a:pt x="294" y="55"/>
                  </a:cubicBezTo>
                  <a:cubicBezTo>
                    <a:pt x="293" y="54"/>
                    <a:pt x="293" y="54"/>
                    <a:pt x="293" y="54"/>
                  </a:cubicBezTo>
                  <a:cubicBezTo>
                    <a:pt x="292" y="52"/>
                    <a:pt x="292" y="52"/>
                    <a:pt x="292" y="52"/>
                  </a:cubicBezTo>
                  <a:cubicBezTo>
                    <a:pt x="294" y="51"/>
                    <a:pt x="294" y="51"/>
                    <a:pt x="294" y="51"/>
                  </a:cubicBezTo>
                  <a:cubicBezTo>
                    <a:pt x="297" y="51"/>
                    <a:pt x="297" y="51"/>
                    <a:pt x="297" y="51"/>
                  </a:cubicBezTo>
                  <a:cubicBezTo>
                    <a:pt x="298" y="56"/>
                    <a:pt x="298" y="56"/>
                    <a:pt x="298" y="56"/>
                  </a:cubicBezTo>
                  <a:cubicBezTo>
                    <a:pt x="300" y="58"/>
                    <a:pt x="300" y="58"/>
                    <a:pt x="300" y="58"/>
                  </a:cubicBezTo>
                  <a:cubicBezTo>
                    <a:pt x="303" y="58"/>
                    <a:pt x="303" y="58"/>
                    <a:pt x="303" y="58"/>
                  </a:cubicBezTo>
                  <a:cubicBezTo>
                    <a:pt x="304" y="57"/>
                    <a:pt x="304" y="57"/>
                    <a:pt x="304" y="57"/>
                  </a:cubicBezTo>
                  <a:cubicBezTo>
                    <a:pt x="306" y="58"/>
                    <a:pt x="306" y="58"/>
                    <a:pt x="306" y="58"/>
                  </a:cubicBezTo>
                  <a:cubicBezTo>
                    <a:pt x="310" y="58"/>
                    <a:pt x="310" y="58"/>
                    <a:pt x="310" y="58"/>
                  </a:cubicBezTo>
                  <a:cubicBezTo>
                    <a:pt x="316" y="58"/>
                    <a:pt x="316" y="58"/>
                    <a:pt x="316" y="58"/>
                  </a:cubicBezTo>
                  <a:cubicBezTo>
                    <a:pt x="317" y="57"/>
                    <a:pt x="317" y="57"/>
                    <a:pt x="317" y="57"/>
                  </a:cubicBezTo>
                  <a:cubicBezTo>
                    <a:pt x="317" y="53"/>
                    <a:pt x="317" y="53"/>
                    <a:pt x="317" y="53"/>
                  </a:cubicBezTo>
                  <a:cubicBezTo>
                    <a:pt x="318" y="51"/>
                    <a:pt x="318" y="51"/>
                    <a:pt x="318" y="51"/>
                  </a:cubicBezTo>
                  <a:cubicBezTo>
                    <a:pt x="319" y="48"/>
                    <a:pt x="319" y="48"/>
                    <a:pt x="319" y="48"/>
                  </a:cubicBezTo>
                  <a:cubicBezTo>
                    <a:pt x="319" y="46"/>
                    <a:pt x="319" y="46"/>
                    <a:pt x="319" y="46"/>
                  </a:cubicBezTo>
                  <a:cubicBezTo>
                    <a:pt x="320" y="42"/>
                    <a:pt x="320" y="42"/>
                    <a:pt x="320" y="42"/>
                  </a:cubicBezTo>
                  <a:cubicBezTo>
                    <a:pt x="322" y="42"/>
                    <a:pt x="322" y="42"/>
                    <a:pt x="322" y="42"/>
                  </a:cubicBezTo>
                  <a:cubicBezTo>
                    <a:pt x="323" y="44"/>
                    <a:pt x="323" y="44"/>
                    <a:pt x="323" y="44"/>
                  </a:cubicBezTo>
                  <a:cubicBezTo>
                    <a:pt x="325" y="42"/>
                    <a:pt x="325" y="42"/>
                    <a:pt x="325" y="42"/>
                  </a:cubicBezTo>
                  <a:cubicBezTo>
                    <a:pt x="325" y="39"/>
                    <a:pt x="325" y="39"/>
                    <a:pt x="325" y="39"/>
                  </a:cubicBezTo>
                  <a:cubicBezTo>
                    <a:pt x="326" y="37"/>
                    <a:pt x="326" y="37"/>
                    <a:pt x="326" y="37"/>
                  </a:cubicBezTo>
                  <a:lnTo>
                    <a:pt x="324" y="34"/>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1" name="Freeform 60">
              <a:extLst>
                <a:ext uri="{FF2B5EF4-FFF2-40B4-BE49-F238E27FC236}">
                  <a16:creationId xmlns:a16="http://schemas.microsoft.com/office/drawing/2014/main" id="{FD6041C9-A907-F6B1-F2D9-16FAAC9F9DEE}"/>
                </a:ext>
              </a:extLst>
            </p:cNvPr>
            <p:cNvSpPr>
              <a:spLocks/>
            </p:cNvSpPr>
            <p:nvPr/>
          </p:nvSpPr>
          <p:spPr bwMode="auto">
            <a:xfrm>
              <a:off x="8980470" y="3580189"/>
              <a:ext cx="443216" cy="449212"/>
            </a:xfrm>
            <a:custGeom>
              <a:avLst/>
              <a:gdLst>
                <a:gd name="T0" fmla="*/ 196 w 201"/>
                <a:gd name="T1" fmla="*/ 127 h 216"/>
                <a:gd name="T2" fmla="*/ 195 w 201"/>
                <a:gd name="T3" fmla="*/ 120 h 216"/>
                <a:gd name="T4" fmla="*/ 191 w 201"/>
                <a:gd name="T5" fmla="*/ 115 h 216"/>
                <a:gd name="T6" fmla="*/ 190 w 201"/>
                <a:gd name="T7" fmla="*/ 110 h 216"/>
                <a:gd name="T8" fmla="*/ 187 w 201"/>
                <a:gd name="T9" fmla="*/ 107 h 216"/>
                <a:gd name="T10" fmla="*/ 183 w 201"/>
                <a:gd name="T11" fmla="*/ 106 h 216"/>
                <a:gd name="T12" fmla="*/ 181 w 201"/>
                <a:gd name="T13" fmla="*/ 101 h 216"/>
                <a:gd name="T14" fmla="*/ 179 w 201"/>
                <a:gd name="T15" fmla="*/ 96 h 216"/>
                <a:gd name="T16" fmla="*/ 174 w 201"/>
                <a:gd name="T17" fmla="*/ 89 h 216"/>
                <a:gd name="T18" fmla="*/ 168 w 201"/>
                <a:gd name="T19" fmla="*/ 84 h 216"/>
                <a:gd name="T20" fmla="*/ 158 w 201"/>
                <a:gd name="T21" fmla="*/ 78 h 216"/>
                <a:gd name="T22" fmla="*/ 147 w 201"/>
                <a:gd name="T23" fmla="*/ 63 h 216"/>
                <a:gd name="T24" fmla="*/ 126 w 201"/>
                <a:gd name="T25" fmla="*/ 46 h 216"/>
                <a:gd name="T26" fmla="*/ 116 w 201"/>
                <a:gd name="T27" fmla="*/ 35 h 216"/>
                <a:gd name="T28" fmla="*/ 111 w 201"/>
                <a:gd name="T29" fmla="*/ 27 h 216"/>
                <a:gd name="T30" fmla="*/ 96 w 201"/>
                <a:gd name="T31" fmla="*/ 19 h 216"/>
                <a:gd name="T32" fmla="*/ 92 w 201"/>
                <a:gd name="T33" fmla="*/ 14 h 216"/>
                <a:gd name="T34" fmla="*/ 97 w 201"/>
                <a:gd name="T35" fmla="*/ 8 h 216"/>
                <a:gd name="T36" fmla="*/ 103 w 201"/>
                <a:gd name="T37" fmla="*/ 4 h 216"/>
                <a:gd name="T38" fmla="*/ 104 w 201"/>
                <a:gd name="T39" fmla="*/ 0 h 216"/>
                <a:gd name="T40" fmla="*/ 48 w 201"/>
                <a:gd name="T41" fmla="*/ 6 h 216"/>
                <a:gd name="T42" fmla="*/ 0 w 201"/>
                <a:gd name="T43" fmla="*/ 10 h 216"/>
                <a:gd name="T44" fmla="*/ 11 w 201"/>
                <a:gd name="T45" fmla="*/ 58 h 216"/>
                <a:gd name="T46" fmla="*/ 25 w 201"/>
                <a:gd name="T47" fmla="*/ 107 h 216"/>
                <a:gd name="T48" fmla="*/ 38 w 201"/>
                <a:gd name="T49" fmla="*/ 128 h 216"/>
                <a:gd name="T50" fmla="*/ 39 w 201"/>
                <a:gd name="T51" fmla="*/ 137 h 216"/>
                <a:gd name="T52" fmla="*/ 40 w 201"/>
                <a:gd name="T53" fmla="*/ 144 h 216"/>
                <a:gd name="T54" fmla="*/ 39 w 201"/>
                <a:gd name="T55" fmla="*/ 150 h 216"/>
                <a:gd name="T56" fmla="*/ 35 w 201"/>
                <a:gd name="T57" fmla="*/ 157 h 216"/>
                <a:gd name="T58" fmla="*/ 37 w 201"/>
                <a:gd name="T59" fmla="*/ 172 h 216"/>
                <a:gd name="T60" fmla="*/ 40 w 201"/>
                <a:gd name="T61" fmla="*/ 182 h 216"/>
                <a:gd name="T62" fmla="*/ 37 w 201"/>
                <a:gd name="T63" fmla="*/ 186 h 216"/>
                <a:gd name="T64" fmla="*/ 41 w 201"/>
                <a:gd name="T65" fmla="*/ 193 h 216"/>
                <a:gd name="T66" fmla="*/ 46 w 201"/>
                <a:gd name="T67" fmla="*/ 201 h 216"/>
                <a:gd name="T68" fmla="*/ 160 w 201"/>
                <a:gd name="T69" fmla="*/ 207 h 216"/>
                <a:gd name="T70" fmla="*/ 169 w 201"/>
                <a:gd name="T71" fmla="*/ 216 h 216"/>
                <a:gd name="T72" fmla="*/ 166 w 201"/>
                <a:gd name="T73" fmla="*/ 193 h 216"/>
                <a:gd name="T74" fmla="*/ 183 w 201"/>
                <a:gd name="T75" fmla="*/ 196 h 216"/>
                <a:gd name="T76" fmla="*/ 185 w 201"/>
                <a:gd name="T77" fmla="*/ 189 h 216"/>
                <a:gd name="T78" fmla="*/ 182 w 201"/>
                <a:gd name="T79" fmla="*/ 187 h 216"/>
                <a:gd name="T80" fmla="*/ 180 w 201"/>
                <a:gd name="T81" fmla="*/ 183 h 216"/>
                <a:gd name="T82" fmla="*/ 185 w 201"/>
                <a:gd name="T83" fmla="*/ 183 h 216"/>
                <a:gd name="T84" fmla="*/ 183 w 201"/>
                <a:gd name="T85" fmla="*/ 177 h 216"/>
                <a:gd name="T86" fmla="*/ 188 w 201"/>
                <a:gd name="T87" fmla="*/ 174 h 216"/>
                <a:gd name="T88" fmla="*/ 187 w 201"/>
                <a:gd name="T89" fmla="*/ 168 h 216"/>
                <a:gd name="T90" fmla="*/ 188 w 201"/>
                <a:gd name="T91" fmla="*/ 165 h 216"/>
                <a:gd name="T92" fmla="*/ 189 w 201"/>
                <a:gd name="T93" fmla="*/ 161 h 216"/>
                <a:gd name="T94" fmla="*/ 189 w 201"/>
                <a:gd name="T95" fmla="*/ 151 h 216"/>
                <a:gd name="T96" fmla="*/ 194 w 201"/>
                <a:gd name="T97" fmla="*/ 152 h 216"/>
                <a:gd name="T98" fmla="*/ 193 w 201"/>
                <a:gd name="T99" fmla="*/ 149 h 216"/>
                <a:gd name="T100" fmla="*/ 189 w 201"/>
                <a:gd name="T101" fmla="*/ 144 h 216"/>
                <a:gd name="T102" fmla="*/ 196 w 201"/>
                <a:gd name="T103" fmla="*/ 144 h 216"/>
                <a:gd name="T104" fmla="*/ 193 w 201"/>
                <a:gd name="T105" fmla="*/ 141 h 216"/>
                <a:gd name="T106" fmla="*/ 192 w 201"/>
                <a:gd name="T107" fmla="*/ 137 h 216"/>
                <a:gd name="T108" fmla="*/ 197 w 201"/>
                <a:gd name="T109" fmla="*/ 138 h 216"/>
                <a:gd name="T110" fmla="*/ 199 w 201"/>
                <a:gd name="T111" fmla="*/ 134 h 216"/>
                <a:gd name="T112" fmla="*/ 201 w 201"/>
                <a:gd name="T113" fmla="*/ 130 h 216"/>
                <a:gd name="T114" fmla="*/ 198 w 201"/>
                <a:gd name="T115"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216">
                  <a:moveTo>
                    <a:pt x="198" y="128"/>
                  </a:moveTo>
                  <a:cubicBezTo>
                    <a:pt x="196" y="127"/>
                    <a:pt x="196" y="127"/>
                    <a:pt x="196" y="127"/>
                  </a:cubicBezTo>
                  <a:cubicBezTo>
                    <a:pt x="195" y="124"/>
                    <a:pt x="195" y="124"/>
                    <a:pt x="195" y="124"/>
                  </a:cubicBezTo>
                  <a:cubicBezTo>
                    <a:pt x="195" y="120"/>
                    <a:pt x="195" y="120"/>
                    <a:pt x="195" y="120"/>
                  </a:cubicBezTo>
                  <a:cubicBezTo>
                    <a:pt x="195" y="119"/>
                    <a:pt x="195" y="119"/>
                    <a:pt x="195" y="119"/>
                  </a:cubicBezTo>
                  <a:cubicBezTo>
                    <a:pt x="191" y="115"/>
                    <a:pt x="191" y="115"/>
                    <a:pt x="191" y="115"/>
                  </a:cubicBezTo>
                  <a:cubicBezTo>
                    <a:pt x="190" y="112"/>
                    <a:pt x="190" y="112"/>
                    <a:pt x="190" y="112"/>
                  </a:cubicBezTo>
                  <a:cubicBezTo>
                    <a:pt x="190" y="110"/>
                    <a:pt x="190" y="110"/>
                    <a:pt x="190" y="110"/>
                  </a:cubicBezTo>
                  <a:cubicBezTo>
                    <a:pt x="190" y="109"/>
                    <a:pt x="190" y="109"/>
                    <a:pt x="190" y="109"/>
                  </a:cubicBezTo>
                  <a:cubicBezTo>
                    <a:pt x="187" y="107"/>
                    <a:pt x="187" y="107"/>
                    <a:pt x="187" y="107"/>
                  </a:cubicBezTo>
                  <a:cubicBezTo>
                    <a:pt x="184" y="106"/>
                    <a:pt x="184" y="106"/>
                    <a:pt x="184" y="106"/>
                  </a:cubicBezTo>
                  <a:cubicBezTo>
                    <a:pt x="183" y="106"/>
                    <a:pt x="183" y="106"/>
                    <a:pt x="183" y="106"/>
                  </a:cubicBezTo>
                  <a:cubicBezTo>
                    <a:pt x="182" y="104"/>
                    <a:pt x="182" y="104"/>
                    <a:pt x="182" y="104"/>
                  </a:cubicBezTo>
                  <a:cubicBezTo>
                    <a:pt x="181" y="101"/>
                    <a:pt x="181" y="101"/>
                    <a:pt x="181" y="101"/>
                  </a:cubicBezTo>
                  <a:cubicBezTo>
                    <a:pt x="181" y="99"/>
                    <a:pt x="181" y="99"/>
                    <a:pt x="181" y="99"/>
                  </a:cubicBezTo>
                  <a:cubicBezTo>
                    <a:pt x="179" y="96"/>
                    <a:pt x="179" y="96"/>
                    <a:pt x="179" y="96"/>
                  </a:cubicBezTo>
                  <a:cubicBezTo>
                    <a:pt x="176" y="91"/>
                    <a:pt x="176" y="91"/>
                    <a:pt x="176" y="91"/>
                  </a:cubicBezTo>
                  <a:cubicBezTo>
                    <a:pt x="174" y="89"/>
                    <a:pt x="174" y="89"/>
                    <a:pt x="174" y="89"/>
                  </a:cubicBezTo>
                  <a:cubicBezTo>
                    <a:pt x="171" y="87"/>
                    <a:pt x="171" y="87"/>
                    <a:pt x="171" y="87"/>
                  </a:cubicBezTo>
                  <a:cubicBezTo>
                    <a:pt x="168" y="84"/>
                    <a:pt x="168" y="84"/>
                    <a:pt x="168" y="84"/>
                  </a:cubicBezTo>
                  <a:cubicBezTo>
                    <a:pt x="165" y="81"/>
                    <a:pt x="165" y="81"/>
                    <a:pt x="165" y="81"/>
                  </a:cubicBezTo>
                  <a:cubicBezTo>
                    <a:pt x="158" y="78"/>
                    <a:pt x="158" y="78"/>
                    <a:pt x="158" y="78"/>
                  </a:cubicBezTo>
                  <a:cubicBezTo>
                    <a:pt x="153" y="71"/>
                    <a:pt x="153" y="71"/>
                    <a:pt x="153" y="71"/>
                  </a:cubicBezTo>
                  <a:cubicBezTo>
                    <a:pt x="147" y="63"/>
                    <a:pt x="147" y="63"/>
                    <a:pt x="147" y="63"/>
                  </a:cubicBezTo>
                  <a:cubicBezTo>
                    <a:pt x="142" y="59"/>
                    <a:pt x="142" y="59"/>
                    <a:pt x="142" y="59"/>
                  </a:cubicBezTo>
                  <a:cubicBezTo>
                    <a:pt x="126" y="46"/>
                    <a:pt x="126" y="46"/>
                    <a:pt x="126" y="46"/>
                  </a:cubicBezTo>
                  <a:cubicBezTo>
                    <a:pt x="121" y="40"/>
                    <a:pt x="121" y="40"/>
                    <a:pt x="121" y="40"/>
                  </a:cubicBezTo>
                  <a:cubicBezTo>
                    <a:pt x="116" y="35"/>
                    <a:pt x="116" y="35"/>
                    <a:pt x="116" y="35"/>
                  </a:cubicBezTo>
                  <a:cubicBezTo>
                    <a:pt x="114" y="31"/>
                    <a:pt x="114" y="31"/>
                    <a:pt x="114" y="31"/>
                  </a:cubicBezTo>
                  <a:cubicBezTo>
                    <a:pt x="111" y="27"/>
                    <a:pt x="111" y="27"/>
                    <a:pt x="111" y="27"/>
                  </a:cubicBezTo>
                  <a:cubicBezTo>
                    <a:pt x="108" y="24"/>
                    <a:pt x="108" y="24"/>
                    <a:pt x="108" y="24"/>
                  </a:cubicBezTo>
                  <a:cubicBezTo>
                    <a:pt x="96" y="19"/>
                    <a:pt x="96" y="19"/>
                    <a:pt x="96" y="19"/>
                  </a:cubicBezTo>
                  <a:cubicBezTo>
                    <a:pt x="94" y="16"/>
                    <a:pt x="94" y="16"/>
                    <a:pt x="94" y="16"/>
                  </a:cubicBezTo>
                  <a:cubicBezTo>
                    <a:pt x="92" y="14"/>
                    <a:pt x="92" y="14"/>
                    <a:pt x="92" y="14"/>
                  </a:cubicBezTo>
                  <a:cubicBezTo>
                    <a:pt x="92" y="11"/>
                    <a:pt x="92" y="11"/>
                    <a:pt x="92" y="11"/>
                  </a:cubicBezTo>
                  <a:cubicBezTo>
                    <a:pt x="97" y="8"/>
                    <a:pt x="97" y="8"/>
                    <a:pt x="97" y="8"/>
                  </a:cubicBezTo>
                  <a:cubicBezTo>
                    <a:pt x="101" y="5"/>
                    <a:pt x="101" y="5"/>
                    <a:pt x="101" y="5"/>
                  </a:cubicBezTo>
                  <a:cubicBezTo>
                    <a:pt x="103" y="4"/>
                    <a:pt x="103" y="4"/>
                    <a:pt x="103" y="4"/>
                  </a:cubicBezTo>
                  <a:cubicBezTo>
                    <a:pt x="103" y="2"/>
                    <a:pt x="103" y="2"/>
                    <a:pt x="103" y="2"/>
                  </a:cubicBezTo>
                  <a:cubicBezTo>
                    <a:pt x="104" y="0"/>
                    <a:pt x="104" y="0"/>
                    <a:pt x="104" y="0"/>
                  </a:cubicBezTo>
                  <a:cubicBezTo>
                    <a:pt x="104" y="0"/>
                    <a:pt x="104" y="0"/>
                    <a:pt x="104" y="0"/>
                  </a:cubicBezTo>
                  <a:cubicBezTo>
                    <a:pt x="48" y="6"/>
                    <a:pt x="48" y="6"/>
                    <a:pt x="48" y="6"/>
                  </a:cubicBezTo>
                  <a:cubicBezTo>
                    <a:pt x="48" y="6"/>
                    <a:pt x="48" y="6"/>
                    <a:pt x="48" y="6"/>
                  </a:cubicBezTo>
                  <a:cubicBezTo>
                    <a:pt x="0" y="10"/>
                    <a:pt x="0" y="10"/>
                    <a:pt x="0" y="10"/>
                  </a:cubicBezTo>
                  <a:cubicBezTo>
                    <a:pt x="3" y="24"/>
                    <a:pt x="3" y="24"/>
                    <a:pt x="3" y="24"/>
                  </a:cubicBezTo>
                  <a:cubicBezTo>
                    <a:pt x="11" y="58"/>
                    <a:pt x="11" y="58"/>
                    <a:pt x="11" y="58"/>
                  </a:cubicBezTo>
                  <a:cubicBezTo>
                    <a:pt x="23" y="98"/>
                    <a:pt x="23" y="98"/>
                    <a:pt x="23" y="98"/>
                  </a:cubicBezTo>
                  <a:cubicBezTo>
                    <a:pt x="25" y="107"/>
                    <a:pt x="25" y="107"/>
                    <a:pt x="25" y="107"/>
                  </a:cubicBezTo>
                  <a:cubicBezTo>
                    <a:pt x="33" y="122"/>
                    <a:pt x="33" y="122"/>
                    <a:pt x="33" y="122"/>
                  </a:cubicBezTo>
                  <a:cubicBezTo>
                    <a:pt x="38" y="128"/>
                    <a:pt x="38" y="128"/>
                    <a:pt x="38" y="128"/>
                  </a:cubicBezTo>
                  <a:cubicBezTo>
                    <a:pt x="38" y="132"/>
                    <a:pt x="38" y="132"/>
                    <a:pt x="38" y="132"/>
                  </a:cubicBezTo>
                  <a:cubicBezTo>
                    <a:pt x="39" y="137"/>
                    <a:pt x="39" y="137"/>
                    <a:pt x="39" y="137"/>
                  </a:cubicBezTo>
                  <a:cubicBezTo>
                    <a:pt x="42" y="139"/>
                    <a:pt x="42" y="139"/>
                    <a:pt x="42" y="139"/>
                  </a:cubicBezTo>
                  <a:cubicBezTo>
                    <a:pt x="40" y="144"/>
                    <a:pt x="40" y="144"/>
                    <a:pt x="40" y="144"/>
                  </a:cubicBezTo>
                  <a:cubicBezTo>
                    <a:pt x="35" y="147"/>
                    <a:pt x="35" y="147"/>
                    <a:pt x="35" y="147"/>
                  </a:cubicBezTo>
                  <a:cubicBezTo>
                    <a:pt x="39" y="150"/>
                    <a:pt x="39" y="150"/>
                    <a:pt x="39" y="150"/>
                  </a:cubicBezTo>
                  <a:cubicBezTo>
                    <a:pt x="38" y="155"/>
                    <a:pt x="38" y="155"/>
                    <a:pt x="38" y="155"/>
                  </a:cubicBezTo>
                  <a:cubicBezTo>
                    <a:pt x="35" y="157"/>
                    <a:pt x="35" y="157"/>
                    <a:pt x="35" y="157"/>
                  </a:cubicBezTo>
                  <a:cubicBezTo>
                    <a:pt x="35" y="163"/>
                    <a:pt x="35" y="163"/>
                    <a:pt x="35" y="163"/>
                  </a:cubicBezTo>
                  <a:cubicBezTo>
                    <a:pt x="37" y="172"/>
                    <a:pt x="37" y="172"/>
                    <a:pt x="37" y="172"/>
                  </a:cubicBezTo>
                  <a:cubicBezTo>
                    <a:pt x="39" y="176"/>
                    <a:pt x="39" y="176"/>
                    <a:pt x="39" y="176"/>
                  </a:cubicBezTo>
                  <a:cubicBezTo>
                    <a:pt x="40" y="182"/>
                    <a:pt x="40" y="182"/>
                    <a:pt x="40" y="182"/>
                  </a:cubicBezTo>
                  <a:cubicBezTo>
                    <a:pt x="38" y="184"/>
                    <a:pt x="38" y="184"/>
                    <a:pt x="38" y="184"/>
                  </a:cubicBezTo>
                  <a:cubicBezTo>
                    <a:pt x="37" y="186"/>
                    <a:pt x="37" y="186"/>
                    <a:pt x="37" y="186"/>
                  </a:cubicBezTo>
                  <a:cubicBezTo>
                    <a:pt x="39" y="190"/>
                    <a:pt x="39" y="190"/>
                    <a:pt x="39" y="190"/>
                  </a:cubicBezTo>
                  <a:cubicBezTo>
                    <a:pt x="41" y="193"/>
                    <a:pt x="41" y="193"/>
                    <a:pt x="41" y="193"/>
                  </a:cubicBezTo>
                  <a:cubicBezTo>
                    <a:pt x="45" y="199"/>
                    <a:pt x="45" y="199"/>
                    <a:pt x="45" y="199"/>
                  </a:cubicBezTo>
                  <a:cubicBezTo>
                    <a:pt x="46" y="201"/>
                    <a:pt x="46" y="201"/>
                    <a:pt x="46" y="201"/>
                  </a:cubicBezTo>
                  <a:cubicBezTo>
                    <a:pt x="52" y="213"/>
                    <a:pt x="52" y="213"/>
                    <a:pt x="52" y="213"/>
                  </a:cubicBezTo>
                  <a:cubicBezTo>
                    <a:pt x="160" y="207"/>
                    <a:pt x="160" y="207"/>
                    <a:pt x="160" y="207"/>
                  </a:cubicBezTo>
                  <a:cubicBezTo>
                    <a:pt x="161" y="216"/>
                    <a:pt x="161" y="216"/>
                    <a:pt x="161" y="216"/>
                  </a:cubicBezTo>
                  <a:cubicBezTo>
                    <a:pt x="169" y="216"/>
                    <a:pt x="169" y="216"/>
                    <a:pt x="169" y="216"/>
                  </a:cubicBezTo>
                  <a:cubicBezTo>
                    <a:pt x="166" y="193"/>
                    <a:pt x="166" y="193"/>
                    <a:pt x="166" y="193"/>
                  </a:cubicBezTo>
                  <a:cubicBezTo>
                    <a:pt x="166" y="193"/>
                    <a:pt x="166" y="193"/>
                    <a:pt x="166" y="193"/>
                  </a:cubicBezTo>
                  <a:cubicBezTo>
                    <a:pt x="173" y="194"/>
                    <a:pt x="173" y="194"/>
                    <a:pt x="173" y="194"/>
                  </a:cubicBezTo>
                  <a:cubicBezTo>
                    <a:pt x="183" y="196"/>
                    <a:pt x="183" y="196"/>
                    <a:pt x="183" y="196"/>
                  </a:cubicBezTo>
                  <a:cubicBezTo>
                    <a:pt x="184" y="193"/>
                    <a:pt x="184" y="193"/>
                    <a:pt x="184" y="193"/>
                  </a:cubicBezTo>
                  <a:cubicBezTo>
                    <a:pt x="184" y="193"/>
                    <a:pt x="185" y="189"/>
                    <a:pt x="185" y="189"/>
                  </a:cubicBezTo>
                  <a:cubicBezTo>
                    <a:pt x="185" y="188"/>
                    <a:pt x="184" y="188"/>
                    <a:pt x="184" y="188"/>
                  </a:cubicBezTo>
                  <a:cubicBezTo>
                    <a:pt x="184" y="188"/>
                    <a:pt x="183" y="187"/>
                    <a:pt x="182" y="187"/>
                  </a:cubicBezTo>
                  <a:cubicBezTo>
                    <a:pt x="181" y="186"/>
                    <a:pt x="181" y="185"/>
                    <a:pt x="180" y="184"/>
                  </a:cubicBezTo>
                  <a:cubicBezTo>
                    <a:pt x="179" y="183"/>
                    <a:pt x="180" y="183"/>
                    <a:pt x="180" y="183"/>
                  </a:cubicBezTo>
                  <a:cubicBezTo>
                    <a:pt x="182" y="183"/>
                    <a:pt x="182" y="183"/>
                    <a:pt x="182" y="183"/>
                  </a:cubicBezTo>
                  <a:cubicBezTo>
                    <a:pt x="185" y="183"/>
                    <a:pt x="185" y="183"/>
                    <a:pt x="185" y="183"/>
                  </a:cubicBezTo>
                  <a:cubicBezTo>
                    <a:pt x="185" y="183"/>
                    <a:pt x="184" y="181"/>
                    <a:pt x="184" y="179"/>
                  </a:cubicBezTo>
                  <a:cubicBezTo>
                    <a:pt x="183" y="177"/>
                    <a:pt x="183" y="177"/>
                    <a:pt x="183" y="177"/>
                  </a:cubicBezTo>
                  <a:cubicBezTo>
                    <a:pt x="186" y="176"/>
                    <a:pt x="186" y="176"/>
                    <a:pt x="186" y="176"/>
                  </a:cubicBezTo>
                  <a:cubicBezTo>
                    <a:pt x="188" y="174"/>
                    <a:pt x="188" y="174"/>
                    <a:pt x="188" y="174"/>
                  </a:cubicBezTo>
                  <a:cubicBezTo>
                    <a:pt x="190" y="169"/>
                    <a:pt x="190" y="169"/>
                    <a:pt x="190" y="169"/>
                  </a:cubicBezTo>
                  <a:cubicBezTo>
                    <a:pt x="187" y="168"/>
                    <a:pt x="187" y="168"/>
                    <a:pt x="187" y="168"/>
                  </a:cubicBezTo>
                  <a:cubicBezTo>
                    <a:pt x="187" y="168"/>
                    <a:pt x="187" y="167"/>
                    <a:pt x="187" y="167"/>
                  </a:cubicBezTo>
                  <a:cubicBezTo>
                    <a:pt x="187" y="166"/>
                    <a:pt x="188" y="166"/>
                    <a:pt x="188" y="165"/>
                  </a:cubicBezTo>
                  <a:cubicBezTo>
                    <a:pt x="188" y="165"/>
                    <a:pt x="189" y="164"/>
                    <a:pt x="189" y="164"/>
                  </a:cubicBezTo>
                  <a:cubicBezTo>
                    <a:pt x="189" y="161"/>
                    <a:pt x="189" y="161"/>
                    <a:pt x="189" y="161"/>
                  </a:cubicBezTo>
                  <a:cubicBezTo>
                    <a:pt x="189" y="154"/>
                    <a:pt x="189" y="154"/>
                    <a:pt x="189" y="154"/>
                  </a:cubicBezTo>
                  <a:cubicBezTo>
                    <a:pt x="189" y="151"/>
                    <a:pt x="189" y="151"/>
                    <a:pt x="189" y="151"/>
                  </a:cubicBezTo>
                  <a:cubicBezTo>
                    <a:pt x="189" y="151"/>
                    <a:pt x="191" y="151"/>
                    <a:pt x="192" y="151"/>
                  </a:cubicBezTo>
                  <a:cubicBezTo>
                    <a:pt x="192" y="151"/>
                    <a:pt x="194" y="152"/>
                    <a:pt x="194" y="152"/>
                  </a:cubicBezTo>
                  <a:cubicBezTo>
                    <a:pt x="194" y="152"/>
                    <a:pt x="195" y="151"/>
                    <a:pt x="195" y="150"/>
                  </a:cubicBezTo>
                  <a:cubicBezTo>
                    <a:pt x="195" y="150"/>
                    <a:pt x="195" y="150"/>
                    <a:pt x="193" y="149"/>
                  </a:cubicBezTo>
                  <a:cubicBezTo>
                    <a:pt x="192" y="148"/>
                    <a:pt x="190" y="147"/>
                    <a:pt x="190" y="147"/>
                  </a:cubicBezTo>
                  <a:cubicBezTo>
                    <a:pt x="190" y="146"/>
                    <a:pt x="189" y="144"/>
                    <a:pt x="189" y="144"/>
                  </a:cubicBezTo>
                  <a:cubicBezTo>
                    <a:pt x="191" y="144"/>
                    <a:pt x="191" y="144"/>
                    <a:pt x="191" y="144"/>
                  </a:cubicBezTo>
                  <a:cubicBezTo>
                    <a:pt x="196" y="144"/>
                    <a:pt x="196" y="144"/>
                    <a:pt x="196" y="144"/>
                  </a:cubicBezTo>
                  <a:cubicBezTo>
                    <a:pt x="197" y="141"/>
                    <a:pt x="197" y="141"/>
                    <a:pt x="197" y="141"/>
                  </a:cubicBezTo>
                  <a:cubicBezTo>
                    <a:pt x="197" y="141"/>
                    <a:pt x="193" y="141"/>
                    <a:pt x="193" y="141"/>
                  </a:cubicBezTo>
                  <a:cubicBezTo>
                    <a:pt x="193" y="141"/>
                    <a:pt x="191" y="139"/>
                    <a:pt x="191" y="139"/>
                  </a:cubicBezTo>
                  <a:cubicBezTo>
                    <a:pt x="192" y="137"/>
                    <a:pt x="192" y="137"/>
                    <a:pt x="192" y="137"/>
                  </a:cubicBezTo>
                  <a:cubicBezTo>
                    <a:pt x="193" y="138"/>
                    <a:pt x="193" y="138"/>
                    <a:pt x="193" y="138"/>
                  </a:cubicBezTo>
                  <a:cubicBezTo>
                    <a:pt x="197" y="138"/>
                    <a:pt x="197" y="138"/>
                    <a:pt x="197" y="138"/>
                  </a:cubicBezTo>
                  <a:cubicBezTo>
                    <a:pt x="199" y="137"/>
                    <a:pt x="199" y="137"/>
                    <a:pt x="199" y="137"/>
                  </a:cubicBezTo>
                  <a:cubicBezTo>
                    <a:pt x="199" y="134"/>
                    <a:pt x="199" y="134"/>
                    <a:pt x="199" y="134"/>
                  </a:cubicBezTo>
                  <a:cubicBezTo>
                    <a:pt x="199" y="132"/>
                    <a:pt x="199" y="132"/>
                    <a:pt x="199" y="132"/>
                  </a:cubicBezTo>
                  <a:cubicBezTo>
                    <a:pt x="201" y="130"/>
                    <a:pt x="201" y="130"/>
                    <a:pt x="201" y="130"/>
                  </a:cubicBezTo>
                  <a:cubicBezTo>
                    <a:pt x="200" y="129"/>
                    <a:pt x="200" y="129"/>
                    <a:pt x="200" y="129"/>
                  </a:cubicBezTo>
                  <a:lnTo>
                    <a:pt x="198" y="128"/>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solidFill>
                  <a:schemeClr val="accent6"/>
                </a:solidFill>
                <a:latin typeface="Calibri" panose="020F0502020204030204" pitchFamily="34" charset="0"/>
              </a:endParaRPr>
            </a:p>
          </p:txBody>
        </p:sp>
        <p:sp>
          <p:nvSpPr>
            <p:cNvPr id="62" name="Freeform 61">
              <a:extLst>
                <a:ext uri="{FF2B5EF4-FFF2-40B4-BE49-F238E27FC236}">
                  <a16:creationId xmlns:a16="http://schemas.microsoft.com/office/drawing/2014/main" id="{7201DF3C-9681-6FD0-9CE1-49436EDC61D7}"/>
                </a:ext>
              </a:extLst>
            </p:cNvPr>
            <p:cNvSpPr>
              <a:spLocks/>
            </p:cNvSpPr>
            <p:nvPr/>
          </p:nvSpPr>
          <p:spPr bwMode="auto">
            <a:xfrm>
              <a:off x="9126471" y="3081883"/>
              <a:ext cx="646575" cy="341205"/>
            </a:xfrm>
            <a:custGeom>
              <a:avLst/>
              <a:gdLst>
                <a:gd name="T0" fmla="*/ 169 w 248"/>
                <a:gd name="T1" fmla="*/ 118 h 139"/>
                <a:gd name="T2" fmla="*/ 248 w 248"/>
                <a:gd name="T3" fmla="*/ 101 h 139"/>
                <a:gd name="T4" fmla="*/ 246 w 248"/>
                <a:gd name="T5" fmla="*/ 93 h 139"/>
                <a:gd name="T6" fmla="*/ 239 w 248"/>
                <a:gd name="T7" fmla="*/ 86 h 139"/>
                <a:gd name="T8" fmla="*/ 232 w 248"/>
                <a:gd name="T9" fmla="*/ 83 h 139"/>
                <a:gd name="T10" fmla="*/ 228 w 248"/>
                <a:gd name="T11" fmla="*/ 78 h 139"/>
                <a:gd name="T12" fmla="*/ 224 w 248"/>
                <a:gd name="T13" fmla="*/ 72 h 139"/>
                <a:gd name="T14" fmla="*/ 226 w 248"/>
                <a:gd name="T15" fmla="*/ 68 h 139"/>
                <a:gd name="T16" fmla="*/ 228 w 248"/>
                <a:gd name="T17" fmla="*/ 67 h 139"/>
                <a:gd name="T18" fmla="*/ 224 w 248"/>
                <a:gd name="T19" fmla="*/ 63 h 139"/>
                <a:gd name="T20" fmla="*/ 211 w 248"/>
                <a:gd name="T21" fmla="*/ 54 h 139"/>
                <a:gd name="T22" fmla="*/ 215 w 248"/>
                <a:gd name="T23" fmla="*/ 55 h 139"/>
                <a:gd name="T24" fmla="*/ 221 w 248"/>
                <a:gd name="T25" fmla="*/ 59 h 139"/>
                <a:gd name="T26" fmla="*/ 225 w 248"/>
                <a:gd name="T27" fmla="*/ 56 h 139"/>
                <a:gd name="T28" fmla="*/ 225 w 248"/>
                <a:gd name="T29" fmla="*/ 48 h 139"/>
                <a:gd name="T30" fmla="*/ 215 w 248"/>
                <a:gd name="T31" fmla="*/ 45 h 139"/>
                <a:gd name="T32" fmla="*/ 211 w 248"/>
                <a:gd name="T33" fmla="*/ 41 h 139"/>
                <a:gd name="T34" fmla="*/ 207 w 248"/>
                <a:gd name="T35" fmla="*/ 43 h 139"/>
                <a:gd name="T36" fmla="*/ 199 w 248"/>
                <a:gd name="T37" fmla="*/ 37 h 139"/>
                <a:gd name="T38" fmla="*/ 193 w 248"/>
                <a:gd name="T39" fmla="*/ 37 h 139"/>
                <a:gd name="T40" fmla="*/ 188 w 248"/>
                <a:gd name="T41" fmla="*/ 36 h 139"/>
                <a:gd name="T42" fmla="*/ 191 w 248"/>
                <a:gd name="T43" fmla="*/ 24 h 139"/>
                <a:gd name="T44" fmla="*/ 192 w 248"/>
                <a:gd name="T45" fmla="*/ 17 h 139"/>
                <a:gd name="T46" fmla="*/ 183 w 248"/>
                <a:gd name="T47" fmla="*/ 10 h 139"/>
                <a:gd name="T48" fmla="*/ 171 w 248"/>
                <a:gd name="T49" fmla="*/ 5 h 139"/>
                <a:gd name="T50" fmla="*/ 166 w 248"/>
                <a:gd name="T51" fmla="*/ 8 h 139"/>
                <a:gd name="T52" fmla="*/ 151 w 248"/>
                <a:gd name="T53" fmla="*/ 0 h 139"/>
                <a:gd name="T54" fmla="*/ 149 w 248"/>
                <a:gd name="T55" fmla="*/ 15 h 139"/>
                <a:gd name="T56" fmla="*/ 144 w 248"/>
                <a:gd name="T57" fmla="*/ 21 h 139"/>
                <a:gd name="T58" fmla="*/ 138 w 248"/>
                <a:gd name="T59" fmla="*/ 28 h 139"/>
                <a:gd name="T60" fmla="*/ 134 w 248"/>
                <a:gd name="T61" fmla="*/ 28 h 139"/>
                <a:gd name="T62" fmla="*/ 131 w 248"/>
                <a:gd name="T63" fmla="*/ 36 h 139"/>
                <a:gd name="T64" fmla="*/ 127 w 248"/>
                <a:gd name="T65" fmla="*/ 46 h 139"/>
                <a:gd name="T66" fmla="*/ 120 w 248"/>
                <a:gd name="T67" fmla="*/ 43 h 139"/>
                <a:gd name="T68" fmla="*/ 115 w 248"/>
                <a:gd name="T69" fmla="*/ 48 h 139"/>
                <a:gd name="T70" fmla="*/ 109 w 248"/>
                <a:gd name="T71" fmla="*/ 68 h 139"/>
                <a:gd name="T72" fmla="*/ 103 w 248"/>
                <a:gd name="T73" fmla="*/ 78 h 139"/>
                <a:gd name="T74" fmla="*/ 100 w 248"/>
                <a:gd name="T75" fmla="*/ 89 h 139"/>
                <a:gd name="T76" fmla="*/ 82 w 248"/>
                <a:gd name="T77" fmla="*/ 101 h 139"/>
                <a:gd name="T78" fmla="*/ 69 w 248"/>
                <a:gd name="T79" fmla="*/ 100 h 139"/>
                <a:gd name="T80" fmla="*/ 61 w 248"/>
                <a:gd name="T81" fmla="*/ 107 h 139"/>
                <a:gd name="T82" fmla="*/ 50 w 248"/>
                <a:gd name="T83" fmla="*/ 100 h 139"/>
                <a:gd name="T84" fmla="*/ 46 w 248"/>
                <a:gd name="T85" fmla="*/ 97 h 139"/>
                <a:gd name="T86" fmla="*/ 43 w 248"/>
                <a:gd name="T87" fmla="*/ 103 h 139"/>
                <a:gd name="T88" fmla="*/ 28 w 248"/>
                <a:gd name="T89" fmla="*/ 113 h 139"/>
                <a:gd name="T90" fmla="*/ 22 w 248"/>
                <a:gd name="T91" fmla="*/ 127 h 139"/>
                <a:gd name="T92" fmla="*/ 15 w 248"/>
                <a:gd name="T93" fmla="*/ 130 h 139"/>
                <a:gd name="T94" fmla="*/ 6 w 248"/>
                <a:gd name="T95" fmla="*/ 136 h 139"/>
                <a:gd name="T96" fmla="*/ 64 w 248"/>
                <a:gd name="T97" fmla="*/ 13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139">
                  <a:moveTo>
                    <a:pt x="116" y="127"/>
                  </a:moveTo>
                  <a:lnTo>
                    <a:pt x="169" y="118"/>
                  </a:lnTo>
                  <a:lnTo>
                    <a:pt x="243" y="103"/>
                  </a:lnTo>
                  <a:lnTo>
                    <a:pt x="248" y="101"/>
                  </a:lnTo>
                  <a:lnTo>
                    <a:pt x="248" y="98"/>
                  </a:lnTo>
                  <a:lnTo>
                    <a:pt x="246" y="93"/>
                  </a:lnTo>
                  <a:lnTo>
                    <a:pt x="243" y="89"/>
                  </a:lnTo>
                  <a:lnTo>
                    <a:pt x="239" y="86"/>
                  </a:lnTo>
                  <a:lnTo>
                    <a:pt x="237" y="86"/>
                  </a:lnTo>
                  <a:lnTo>
                    <a:pt x="232" y="83"/>
                  </a:lnTo>
                  <a:lnTo>
                    <a:pt x="231" y="80"/>
                  </a:lnTo>
                  <a:lnTo>
                    <a:pt x="228" y="78"/>
                  </a:lnTo>
                  <a:lnTo>
                    <a:pt x="226" y="74"/>
                  </a:lnTo>
                  <a:lnTo>
                    <a:pt x="224" y="72"/>
                  </a:lnTo>
                  <a:lnTo>
                    <a:pt x="224" y="70"/>
                  </a:lnTo>
                  <a:lnTo>
                    <a:pt x="226" y="68"/>
                  </a:lnTo>
                  <a:lnTo>
                    <a:pt x="230" y="70"/>
                  </a:lnTo>
                  <a:lnTo>
                    <a:pt x="228" y="67"/>
                  </a:lnTo>
                  <a:lnTo>
                    <a:pt x="226" y="64"/>
                  </a:lnTo>
                  <a:lnTo>
                    <a:pt x="224" y="63"/>
                  </a:lnTo>
                  <a:lnTo>
                    <a:pt x="215" y="60"/>
                  </a:lnTo>
                  <a:lnTo>
                    <a:pt x="211" y="54"/>
                  </a:lnTo>
                  <a:lnTo>
                    <a:pt x="211" y="53"/>
                  </a:lnTo>
                  <a:lnTo>
                    <a:pt x="215" y="55"/>
                  </a:lnTo>
                  <a:lnTo>
                    <a:pt x="220" y="56"/>
                  </a:lnTo>
                  <a:lnTo>
                    <a:pt x="221" y="59"/>
                  </a:lnTo>
                  <a:lnTo>
                    <a:pt x="227" y="60"/>
                  </a:lnTo>
                  <a:lnTo>
                    <a:pt x="225" y="56"/>
                  </a:lnTo>
                  <a:lnTo>
                    <a:pt x="225" y="51"/>
                  </a:lnTo>
                  <a:lnTo>
                    <a:pt x="225" y="48"/>
                  </a:lnTo>
                  <a:lnTo>
                    <a:pt x="221" y="49"/>
                  </a:lnTo>
                  <a:lnTo>
                    <a:pt x="215" y="45"/>
                  </a:lnTo>
                  <a:lnTo>
                    <a:pt x="212" y="41"/>
                  </a:lnTo>
                  <a:lnTo>
                    <a:pt x="211" y="41"/>
                  </a:lnTo>
                  <a:lnTo>
                    <a:pt x="210" y="43"/>
                  </a:lnTo>
                  <a:lnTo>
                    <a:pt x="207" y="43"/>
                  </a:lnTo>
                  <a:lnTo>
                    <a:pt x="203" y="39"/>
                  </a:lnTo>
                  <a:lnTo>
                    <a:pt x="199" y="37"/>
                  </a:lnTo>
                  <a:lnTo>
                    <a:pt x="195" y="36"/>
                  </a:lnTo>
                  <a:lnTo>
                    <a:pt x="193" y="37"/>
                  </a:lnTo>
                  <a:lnTo>
                    <a:pt x="190" y="38"/>
                  </a:lnTo>
                  <a:lnTo>
                    <a:pt x="188" y="36"/>
                  </a:lnTo>
                  <a:lnTo>
                    <a:pt x="188" y="25"/>
                  </a:lnTo>
                  <a:lnTo>
                    <a:pt x="191" y="24"/>
                  </a:lnTo>
                  <a:lnTo>
                    <a:pt x="193" y="21"/>
                  </a:lnTo>
                  <a:lnTo>
                    <a:pt x="192" y="17"/>
                  </a:lnTo>
                  <a:lnTo>
                    <a:pt x="188" y="14"/>
                  </a:lnTo>
                  <a:lnTo>
                    <a:pt x="183" y="10"/>
                  </a:lnTo>
                  <a:lnTo>
                    <a:pt x="173" y="4"/>
                  </a:lnTo>
                  <a:lnTo>
                    <a:pt x="171" y="5"/>
                  </a:lnTo>
                  <a:lnTo>
                    <a:pt x="168" y="8"/>
                  </a:lnTo>
                  <a:lnTo>
                    <a:pt x="166" y="8"/>
                  </a:lnTo>
                  <a:lnTo>
                    <a:pt x="160" y="5"/>
                  </a:lnTo>
                  <a:lnTo>
                    <a:pt x="151" y="0"/>
                  </a:lnTo>
                  <a:lnTo>
                    <a:pt x="151" y="8"/>
                  </a:lnTo>
                  <a:lnTo>
                    <a:pt x="149" y="15"/>
                  </a:lnTo>
                  <a:lnTo>
                    <a:pt x="147" y="18"/>
                  </a:lnTo>
                  <a:lnTo>
                    <a:pt x="144" y="21"/>
                  </a:lnTo>
                  <a:lnTo>
                    <a:pt x="139" y="30"/>
                  </a:lnTo>
                  <a:lnTo>
                    <a:pt x="138" y="28"/>
                  </a:lnTo>
                  <a:lnTo>
                    <a:pt x="135" y="28"/>
                  </a:lnTo>
                  <a:lnTo>
                    <a:pt x="134" y="28"/>
                  </a:lnTo>
                  <a:lnTo>
                    <a:pt x="133" y="32"/>
                  </a:lnTo>
                  <a:lnTo>
                    <a:pt x="131" y="36"/>
                  </a:lnTo>
                  <a:lnTo>
                    <a:pt x="128" y="44"/>
                  </a:lnTo>
                  <a:lnTo>
                    <a:pt x="127" y="46"/>
                  </a:lnTo>
                  <a:lnTo>
                    <a:pt x="125" y="45"/>
                  </a:lnTo>
                  <a:lnTo>
                    <a:pt x="120" y="43"/>
                  </a:lnTo>
                  <a:lnTo>
                    <a:pt x="116" y="41"/>
                  </a:lnTo>
                  <a:lnTo>
                    <a:pt x="115" y="48"/>
                  </a:lnTo>
                  <a:lnTo>
                    <a:pt x="112" y="60"/>
                  </a:lnTo>
                  <a:lnTo>
                    <a:pt x="109" y="68"/>
                  </a:lnTo>
                  <a:lnTo>
                    <a:pt x="104" y="73"/>
                  </a:lnTo>
                  <a:lnTo>
                    <a:pt x="103" y="78"/>
                  </a:lnTo>
                  <a:lnTo>
                    <a:pt x="104" y="86"/>
                  </a:lnTo>
                  <a:lnTo>
                    <a:pt x="100" y="89"/>
                  </a:lnTo>
                  <a:lnTo>
                    <a:pt x="89" y="95"/>
                  </a:lnTo>
                  <a:lnTo>
                    <a:pt x="82" y="101"/>
                  </a:lnTo>
                  <a:lnTo>
                    <a:pt x="73" y="103"/>
                  </a:lnTo>
                  <a:lnTo>
                    <a:pt x="69" y="100"/>
                  </a:lnTo>
                  <a:lnTo>
                    <a:pt x="63" y="107"/>
                  </a:lnTo>
                  <a:lnTo>
                    <a:pt x="61" y="107"/>
                  </a:lnTo>
                  <a:lnTo>
                    <a:pt x="56" y="105"/>
                  </a:lnTo>
                  <a:lnTo>
                    <a:pt x="50" y="100"/>
                  </a:lnTo>
                  <a:lnTo>
                    <a:pt x="49" y="97"/>
                  </a:lnTo>
                  <a:lnTo>
                    <a:pt x="46" y="97"/>
                  </a:lnTo>
                  <a:lnTo>
                    <a:pt x="45" y="99"/>
                  </a:lnTo>
                  <a:lnTo>
                    <a:pt x="43" y="103"/>
                  </a:lnTo>
                  <a:lnTo>
                    <a:pt x="39" y="109"/>
                  </a:lnTo>
                  <a:lnTo>
                    <a:pt x="28" y="113"/>
                  </a:lnTo>
                  <a:lnTo>
                    <a:pt x="25" y="118"/>
                  </a:lnTo>
                  <a:lnTo>
                    <a:pt x="22" y="127"/>
                  </a:lnTo>
                  <a:lnTo>
                    <a:pt x="18" y="128"/>
                  </a:lnTo>
                  <a:lnTo>
                    <a:pt x="15" y="130"/>
                  </a:lnTo>
                  <a:lnTo>
                    <a:pt x="10" y="133"/>
                  </a:lnTo>
                  <a:lnTo>
                    <a:pt x="6" y="136"/>
                  </a:lnTo>
                  <a:lnTo>
                    <a:pt x="0" y="139"/>
                  </a:lnTo>
                  <a:lnTo>
                    <a:pt x="64" y="133"/>
                  </a:lnTo>
                  <a:lnTo>
                    <a:pt x="116" y="127"/>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3" name="Freeform 62">
              <a:extLst>
                <a:ext uri="{FF2B5EF4-FFF2-40B4-BE49-F238E27FC236}">
                  <a16:creationId xmlns:a16="http://schemas.microsoft.com/office/drawing/2014/main" id="{2C9B4780-3E0E-1706-5F8D-99CFB9D27BA2}"/>
                </a:ext>
              </a:extLst>
            </p:cNvPr>
            <p:cNvSpPr>
              <a:spLocks/>
            </p:cNvSpPr>
            <p:nvPr/>
          </p:nvSpPr>
          <p:spPr bwMode="auto">
            <a:xfrm>
              <a:off x="9183828" y="3543367"/>
              <a:ext cx="417145" cy="304384"/>
            </a:xfrm>
            <a:custGeom>
              <a:avLst/>
              <a:gdLst>
                <a:gd name="T0" fmla="*/ 94 w 189"/>
                <a:gd name="T1" fmla="*/ 4 h 147"/>
                <a:gd name="T2" fmla="*/ 79 w 189"/>
                <a:gd name="T3" fmla="*/ 0 h 147"/>
                <a:gd name="T4" fmla="*/ 67 w 189"/>
                <a:gd name="T5" fmla="*/ 4 h 147"/>
                <a:gd name="T6" fmla="*/ 58 w 189"/>
                <a:gd name="T7" fmla="*/ 6 h 147"/>
                <a:gd name="T8" fmla="*/ 39 w 189"/>
                <a:gd name="T9" fmla="*/ 4 h 147"/>
                <a:gd name="T10" fmla="*/ 26 w 189"/>
                <a:gd name="T11" fmla="*/ 7 h 147"/>
                <a:gd name="T12" fmla="*/ 12 w 189"/>
                <a:gd name="T13" fmla="*/ 18 h 147"/>
                <a:gd name="T14" fmla="*/ 11 w 189"/>
                <a:gd name="T15" fmla="*/ 22 h 147"/>
                <a:gd name="T16" fmla="*/ 5 w 189"/>
                <a:gd name="T17" fmla="*/ 26 h 147"/>
                <a:gd name="T18" fmla="*/ 0 w 189"/>
                <a:gd name="T19" fmla="*/ 32 h 147"/>
                <a:gd name="T20" fmla="*/ 4 w 189"/>
                <a:gd name="T21" fmla="*/ 37 h 147"/>
                <a:gd name="T22" fmla="*/ 19 w 189"/>
                <a:gd name="T23" fmla="*/ 45 h 147"/>
                <a:gd name="T24" fmla="*/ 24 w 189"/>
                <a:gd name="T25" fmla="*/ 53 h 147"/>
                <a:gd name="T26" fmla="*/ 34 w 189"/>
                <a:gd name="T27" fmla="*/ 64 h 147"/>
                <a:gd name="T28" fmla="*/ 55 w 189"/>
                <a:gd name="T29" fmla="*/ 81 h 147"/>
                <a:gd name="T30" fmla="*/ 66 w 189"/>
                <a:gd name="T31" fmla="*/ 96 h 147"/>
                <a:gd name="T32" fmla="*/ 76 w 189"/>
                <a:gd name="T33" fmla="*/ 102 h 147"/>
                <a:gd name="T34" fmla="*/ 82 w 189"/>
                <a:gd name="T35" fmla="*/ 107 h 147"/>
                <a:gd name="T36" fmla="*/ 87 w 189"/>
                <a:gd name="T37" fmla="*/ 114 h 147"/>
                <a:gd name="T38" fmla="*/ 89 w 189"/>
                <a:gd name="T39" fmla="*/ 119 h 147"/>
                <a:gd name="T40" fmla="*/ 91 w 189"/>
                <a:gd name="T41" fmla="*/ 124 h 147"/>
                <a:gd name="T42" fmla="*/ 95 w 189"/>
                <a:gd name="T43" fmla="*/ 125 h 147"/>
                <a:gd name="T44" fmla="*/ 98 w 189"/>
                <a:gd name="T45" fmla="*/ 128 h 147"/>
                <a:gd name="T46" fmla="*/ 99 w 189"/>
                <a:gd name="T47" fmla="*/ 133 h 147"/>
                <a:gd name="T48" fmla="*/ 103 w 189"/>
                <a:gd name="T49" fmla="*/ 138 h 147"/>
                <a:gd name="T50" fmla="*/ 104 w 189"/>
                <a:gd name="T51" fmla="*/ 145 h 147"/>
                <a:gd name="T52" fmla="*/ 108 w 189"/>
                <a:gd name="T53" fmla="*/ 147 h 147"/>
                <a:gd name="T54" fmla="*/ 110 w 189"/>
                <a:gd name="T55" fmla="*/ 140 h 147"/>
                <a:gd name="T56" fmla="*/ 116 w 189"/>
                <a:gd name="T57" fmla="*/ 140 h 147"/>
                <a:gd name="T58" fmla="*/ 117 w 189"/>
                <a:gd name="T59" fmla="*/ 137 h 147"/>
                <a:gd name="T60" fmla="*/ 112 w 189"/>
                <a:gd name="T61" fmla="*/ 136 h 147"/>
                <a:gd name="T62" fmla="*/ 110 w 189"/>
                <a:gd name="T63" fmla="*/ 133 h 147"/>
                <a:gd name="T64" fmla="*/ 115 w 189"/>
                <a:gd name="T65" fmla="*/ 132 h 147"/>
                <a:gd name="T66" fmla="*/ 119 w 189"/>
                <a:gd name="T67" fmla="*/ 135 h 147"/>
                <a:gd name="T68" fmla="*/ 124 w 189"/>
                <a:gd name="T69" fmla="*/ 128 h 147"/>
                <a:gd name="T70" fmla="*/ 123 w 189"/>
                <a:gd name="T71" fmla="*/ 123 h 147"/>
                <a:gd name="T72" fmla="*/ 130 w 189"/>
                <a:gd name="T73" fmla="*/ 123 h 147"/>
                <a:gd name="T74" fmla="*/ 135 w 189"/>
                <a:gd name="T75" fmla="*/ 119 h 147"/>
                <a:gd name="T76" fmla="*/ 131 w 189"/>
                <a:gd name="T77" fmla="*/ 118 h 147"/>
                <a:gd name="T78" fmla="*/ 129 w 189"/>
                <a:gd name="T79" fmla="*/ 115 h 147"/>
                <a:gd name="T80" fmla="*/ 133 w 189"/>
                <a:gd name="T81" fmla="*/ 115 h 147"/>
                <a:gd name="T82" fmla="*/ 138 w 189"/>
                <a:gd name="T83" fmla="*/ 117 h 147"/>
                <a:gd name="T84" fmla="*/ 145 w 189"/>
                <a:gd name="T85" fmla="*/ 110 h 147"/>
                <a:gd name="T86" fmla="*/ 141 w 189"/>
                <a:gd name="T87" fmla="*/ 105 h 147"/>
                <a:gd name="T88" fmla="*/ 143 w 189"/>
                <a:gd name="T89" fmla="*/ 103 h 147"/>
                <a:gd name="T90" fmla="*/ 149 w 189"/>
                <a:gd name="T91" fmla="*/ 103 h 147"/>
                <a:gd name="T92" fmla="*/ 155 w 189"/>
                <a:gd name="T93" fmla="*/ 93 h 147"/>
                <a:gd name="T94" fmla="*/ 164 w 189"/>
                <a:gd name="T95" fmla="*/ 89 h 147"/>
                <a:gd name="T96" fmla="*/ 169 w 189"/>
                <a:gd name="T97" fmla="*/ 81 h 147"/>
                <a:gd name="T98" fmla="*/ 165 w 189"/>
                <a:gd name="T99" fmla="*/ 75 h 147"/>
                <a:gd name="T100" fmla="*/ 169 w 189"/>
                <a:gd name="T101" fmla="*/ 75 h 147"/>
                <a:gd name="T102" fmla="*/ 170 w 189"/>
                <a:gd name="T103" fmla="*/ 70 h 147"/>
                <a:gd name="T104" fmla="*/ 175 w 189"/>
                <a:gd name="T105" fmla="*/ 60 h 147"/>
                <a:gd name="T106" fmla="*/ 178 w 189"/>
                <a:gd name="T107" fmla="*/ 54 h 147"/>
                <a:gd name="T108" fmla="*/ 187 w 189"/>
                <a:gd name="T109" fmla="*/ 46 h 147"/>
                <a:gd name="T110" fmla="*/ 138 w 189"/>
                <a:gd name="T11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47">
                  <a:moveTo>
                    <a:pt x="98" y="14"/>
                  </a:moveTo>
                  <a:cubicBezTo>
                    <a:pt x="94" y="4"/>
                    <a:pt x="94" y="4"/>
                    <a:pt x="94" y="4"/>
                  </a:cubicBezTo>
                  <a:cubicBezTo>
                    <a:pt x="88" y="1"/>
                    <a:pt x="88" y="1"/>
                    <a:pt x="88" y="1"/>
                  </a:cubicBezTo>
                  <a:cubicBezTo>
                    <a:pt x="79" y="0"/>
                    <a:pt x="79" y="0"/>
                    <a:pt x="79" y="0"/>
                  </a:cubicBezTo>
                  <a:cubicBezTo>
                    <a:pt x="72" y="1"/>
                    <a:pt x="72" y="1"/>
                    <a:pt x="72" y="1"/>
                  </a:cubicBezTo>
                  <a:cubicBezTo>
                    <a:pt x="67" y="4"/>
                    <a:pt x="67" y="4"/>
                    <a:pt x="67" y="4"/>
                  </a:cubicBezTo>
                  <a:cubicBezTo>
                    <a:pt x="64" y="5"/>
                    <a:pt x="64" y="5"/>
                    <a:pt x="64" y="5"/>
                  </a:cubicBezTo>
                  <a:cubicBezTo>
                    <a:pt x="58" y="6"/>
                    <a:pt x="58" y="6"/>
                    <a:pt x="58" y="6"/>
                  </a:cubicBezTo>
                  <a:cubicBezTo>
                    <a:pt x="46" y="4"/>
                    <a:pt x="46" y="4"/>
                    <a:pt x="46" y="4"/>
                  </a:cubicBezTo>
                  <a:cubicBezTo>
                    <a:pt x="39" y="4"/>
                    <a:pt x="39" y="4"/>
                    <a:pt x="39" y="4"/>
                  </a:cubicBezTo>
                  <a:cubicBezTo>
                    <a:pt x="31" y="5"/>
                    <a:pt x="31" y="5"/>
                    <a:pt x="31" y="5"/>
                  </a:cubicBezTo>
                  <a:cubicBezTo>
                    <a:pt x="26" y="7"/>
                    <a:pt x="26" y="7"/>
                    <a:pt x="26" y="7"/>
                  </a:cubicBezTo>
                  <a:cubicBezTo>
                    <a:pt x="12" y="18"/>
                    <a:pt x="12" y="18"/>
                    <a:pt x="12" y="18"/>
                  </a:cubicBezTo>
                  <a:cubicBezTo>
                    <a:pt x="12" y="18"/>
                    <a:pt x="12" y="18"/>
                    <a:pt x="12" y="18"/>
                  </a:cubicBezTo>
                  <a:cubicBezTo>
                    <a:pt x="11" y="20"/>
                    <a:pt x="11" y="20"/>
                    <a:pt x="11" y="20"/>
                  </a:cubicBezTo>
                  <a:cubicBezTo>
                    <a:pt x="11" y="22"/>
                    <a:pt x="11" y="22"/>
                    <a:pt x="11" y="22"/>
                  </a:cubicBezTo>
                  <a:cubicBezTo>
                    <a:pt x="9" y="23"/>
                    <a:pt x="9" y="23"/>
                    <a:pt x="9" y="23"/>
                  </a:cubicBezTo>
                  <a:cubicBezTo>
                    <a:pt x="5" y="26"/>
                    <a:pt x="5" y="26"/>
                    <a:pt x="5" y="26"/>
                  </a:cubicBezTo>
                  <a:cubicBezTo>
                    <a:pt x="0" y="29"/>
                    <a:pt x="0" y="29"/>
                    <a:pt x="0" y="29"/>
                  </a:cubicBezTo>
                  <a:cubicBezTo>
                    <a:pt x="0" y="32"/>
                    <a:pt x="0" y="32"/>
                    <a:pt x="0" y="32"/>
                  </a:cubicBezTo>
                  <a:cubicBezTo>
                    <a:pt x="2" y="34"/>
                    <a:pt x="2" y="34"/>
                    <a:pt x="2" y="34"/>
                  </a:cubicBezTo>
                  <a:cubicBezTo>
                    <a:pt x="4" y="37"/>
                    <a:pt x="4" y="37"/>
                    <a:pt x="4" y="37"/>
                  </a:cubicBezTo>
                  <a:cubicBezTo>
                    <a:pt x="16" y="42"/>
                    <a:pt x="16" y="42"/>
                    <a:pt x="16" y="42"/>
                  </a:cubicBezTo>
                  <a:cubicBezTo>
                    <a:pt x="19" y="45"/>
                    <a:pt x="19" y="45"/>
                    <a:pt x="19" y="45"/>
                  </a:cubicBezTo>
                  <a:cubicBezTo>
                    <a:pt x="22" y="49"/>
                    <a:pt x="22" y="49"/>
                    <a:pt x="22" y="49"/>
                  </a:cubicBezTo>
                  <a:cubicBezTo>
                    <a:pt x="24" y="53"/>
                    <a:pt x="24" y="53"/>
                    <a:pt x="24" y="53"/>
                  </a:cubicBezTo>
                  <a:cubicBezTo>
                    <a:pt x="29" y="58"/>
                    <a:pt x="29" y="58"/>
                    <a:pt x="29" y="58"/>
                  </a:cubicBezTo>
                  <a:cubicBezTo>
                    <a:pt x="34" y="64"/>
                    <a:pt x="34" y="64"/>
                    <a:pt x="34" y="64"/>
                  </a:cubicBezTo>
                  <a:cubicBezTo>
                    <a:pt x="50" y="77"/>
                    <a:pt x="50" y="77"/>
                    <a:pt x="50" y="77"/>
                  </a:cubicBezTo>
                  <a:cubicBezTo>
                    <a:pt x="55" y="81"/>
                    <a:pt x="55" y="81"/>
                    <a:pt x="55" y="81"/>
                  </a:cubicBezTo>
                  <a:cubicBezTo>
                    <a:pt x="61" y="89"/>
                    <a:pt x="61" y="89"/>
                    <a:pt x="61" y="89"/>
                  </a:cubicBezTo>
                  <a:cubicBezTo>
                    <a:pt x="66" y="96"/>
                    <a:pt x="66" y="96"/>
                    <a:pt x="66" y="96"/>
                  </a:cubicBezTo>
                  <a:cubicBezTo>
                    <a:pt x="73" y="99"/>
                    <a:pt x="73" y="99"/>
                    <a:pt x="73" y="99"/>
                  </a:cubicBezTo>
                  <a:cubicBezTo>
                    <a:pt x="76" y="102"/>
                    <a:pt x="76" y="102"/>
                    <a:pt x="76" y="102"/>
                  </a:cubicBezTo>
                  <a:cubicBezTo>
                    <a:pt x="79" y="105"/>
                    <a:pt x="79" y="105"/>
                    <a:pt x="79" y="105"/>
                  </a:cubicBezTo>
                  <a:cubicBezTo>
                    <a:pt x="82" y="107"/>
                    <a:pt x="82" y="107"/>
                    <a:pt x="82" y="107"/>
                  </a:cubicBezTo>
                  <a:cubicBezTo>
                    <a:pt x="84" y="109"/>
                    <a:pt x="84" y="109"/>
                    <a:pt x="84" y="109"/>
                  </a:cubicBezTo>
                  <a:cubicBezTo>
                    <a:pt x="87" y="114"/>
                    <a:pt x="87" y="114"/>
                    <a:pt x="87" y="114"/>
                  </a:cubicBezTo>
                  <a:cubicBezTo>
                    <a:pt x="89" y="117"/>
                    <a:pt x="89" y="117"/>
                    <a:pt x="89" y="117"/>
                  </a:cubicBezTo>
                  <a:cubicBezTo>
                    <a:pt x="89" y="119"/>
                    <a:pt x="89" y="119"/>
                    <a:pt x="89" y="119"/>
                  </a:cubicBezTo>
                  <a:cubicBezTo>
                    <a:pt x="90" y="122"/>
                    <a:pt x="90" y="122"/>
                    <a:pt x="90" y="122"/>
                  </a:cubicBezTo>
                  <a:cubicBezTo>
                    <a:pt x="91" y="124"/>
                    <a:pt x="91" y="124"/>
                    <a:pt x="91" y="124"/>
                  </a:cubicBezTo>
                  <a:cubicBezTo>
                    <a:pt x="92" y="124"/>
                    <a:pt x="92" y="124"/>
                    <a:pt x="92" y="124"/>
                  </a:cubicBezTo>
                  <a:cubicBezTo>
                    <a:pt x="95" y="125"/>
                    <a:pt x="95" y="125"/>
                    <a:pt x="95" y="125"/>
                  </a:cubicBezTo>
                  <a:cubicBezTo>
                    <a:pt x="98" y="127"/>
                    <a:pt x="98" y="127"/>
                    <a:pt x="98" y="127"/>
                  </a:cubicBezTo>
                  <a:cubicBezTo>
                    <a:pt x="98" y="128"/>
                    <a:pt x="98" y="128"/>
                    <a:pt x="98" y="128"/>
                  </a:cubicBezTo>
                  <a:cubicBezTo>
                    <a:pt x="98" y="130"/>
                    <a:pt x="98" y="130"/>
                    <a:pt x="98" y="130"/>
                  </a:cubicBezTo>
                  <a:cubicBezTo>
                    <a:pt x="99" y="133"/>
                    <a:pt x="99" y="133"/>
                    <a:pt x="99" y="133"/>
                  </a:cubicBezTo>
                  <a:cubicBezTo>
                    <a:pt x="103" y="137"/>
                    <a:pt x="103" y="137"/>
                    <a:pt x="103" y="137"/>
                  </a:cubicBezTo>
                  <a:cubicBezTo>
                    <a:pt x="103" y="138"/>
                    <a:pt x="103" y="138"/>
                    <a:pt x="103" y="138"/>
                  </a:cubicBezTo>
                  <a:cubicBezTo>
                    <a:pt x="103" y="142"/>
                    <a:pt x="103" y="142"/>
                    <a:pt x="103" y="142"/>
                  </a:cubicBezTo>
                  <a:cubicBezTo>
                    <a:pt x="104" y="145"/>
                    <a:pt x="104" y="145"/>
                    <a:pt x="104" y="145"/>
                  </a:cubicBezTo>
                  <a:cubicBezTo>
                    <a:pt x="106" y="146"/>
                    <a:pt x="106" y="146"/>
                    <a:pt x="106" y="146"/>
                  </a:cubicBezTo>
                  <a:cubicBezTo>
                    <a:pt x="108" y="147"/>
                    <a:pt x="108" y="147"/>
                    <a:pt x="108" y="147"/>
                  </a:cubicBezTo>
                  <a:cubicBezTo>
                    <a:pt x="108" y="141"/>
                    <a:pt x="108" y="141"/>
                    <a:pt x="108" y="141"/>
                  </a:cubicBezTo>
                  <a:cubicBezTo>
                    <a:pt x="110" y="140"/>
                    <a:pt x="110" y="140"/>
                    <a:pt x="110" y="140"/>
                  </a:cubicBezTo>
                  <a:cubicBezTo>
                    <a:pt x="115" y="140"/>
                    <a:pt x="115" y="140"/>
                    <a:pt x="115" y="140"/>
                  </a:cubicBezTo>
                  <a:cubicBezTo>
                    <a:pt x="116" y="140"/>
                    <a:pt x="116" y="140"/>
                    <a:pt x="116" y="140"/>
                  </a:cubicBezTo>
                  <a:cubicBezTo>
                    <a:pt x="116" y="140"/>
                    <a:pt x="118" y="139"/>
                    <a:pt x="118" y="139"/>
                  </a:cubicBezTo>
                  <a:cubicBezTo>
                    <a:pt x="118" y="138"/>
                    <a:pt x="117" y="137"/>
                    <a:pt x="117" y="137"/>
                  </a:cubicBezTo>
                  <a:cubicBezTo>
                    <a:pt x="116" y="137"/>
                    <a:pt x="116" y="137"/>
                    <a:pt x="116" y="137"/>
                  </a:cubicBezTo>
                  <a:cubicBezTo>
                    <a:pt x="116" y="137"/>
                    <a:pt x="112" y="136"/>
                    <a:pt x="112" y="136"/>
                  </a:cubicBezTo>
                  <a:cubicBezTo>
                    <a:pt x="111" y="136"/>
                    <a:pt x="110" y="134"/>
                    <a:pt x="110" y="134"/>
                  </a:cubicBezTo>
                  <a:cubicBezTo>
                    <a:pt x="110" y="133"/>
                    <a:pt x="110" y="133"/>
                    <a:pt x="110" y="133"/>
                  </a:cubicBezTo>
                  <a:cubicBezTo>
                    <a:pt x="111" y="129"/>
                    <a:pt x="111" y="129"/>
                    <a:pt x="111" y="129"/>
                  </a:cubicBezTo>
                  <a:cubicBezTo>
                    <a:pt x="115" y="132"/>
                    <a:pt x="115" y="132"/>
                    <a:pt x="115" y="132"/>
                  </a:cubicBezTo>
                  <a:cubicBezTo>
                    <a:pt x="116" y="133"/>
                    <a:pt x="116" y="133"/>
                    <a:pt x="116" y="133"/>
                  </a:cubicBezTo>
                  <a:cubicBezTo>
                    <a:pt x="119" y="135"/>
                    <a:pt x="119" y="135"/>
                    <a:pt x="119" y="135"/>
                  </a:cubicBezTo>
                  <a:cubicBezTo>
                    <a:pt x="123" y="134"/>
                    <a:pt x="123" y="134"/>
                    <a:pt x="123" y="134"/>
                  </a:cubicBezTo>
                  <a:cubicBezTo>
                    <a:pt x="124" y="128"/>
                    <a:pt x="124" y="128"/>
                    <a:pt x="124" y="128"/>
                  </a:cubicBezTo>
                  <a:cubicBezTo>
                    <a:pt x="124" y="127"/>
                    <a:pt x="124" y="127"/>
                    <a:pt x="124" y="127"/>
                  </a:cubicBezTo>
                  <a:cubicBezTo>
                    <a:pt x="123" y="123"/>
                    <a:pt x="123" y="123"/>
                    <a:pt x="123" y="123"/>
                  </a:cubicBezTo>
                  <a:cubicBezTo>
                    <a:pt x="126" y="123"/>
                    <a:pt x="126" y="123"/>
                    <a:pt x="126" y="123"/>
                  </a:cubicBezTo>
                  <a:cubicBezTo>
                    <a:pt x="130" y="123"/>
                    <a:pt x="130" y="123"/>
                    <a:pt x="130" y="123"/>
                  </a:cubicBezTo>
                  <a:cubicBezTo>
                    <a:pt x="135" y="120"/>
                    <a:pt x="135" y="120"/>
                    <a:pt x="135" y="120"/>
                  </a:cubicBezTo>
                  <a:cubicBezTo>
                    <a:pt x="135" y="119"/>
                    <a:pt x="135" y="119"/>
                    <a:pt x="135" y="119"/>
                  </a:cubicBezTo>
                  <a:cubicBezTo>
                    <a:pt x="133" y="118"/>
                    <a:pt x="133" y="118"/>
                    <a:pt x="133" y="118"/>
                  </a:cubicBezTo>
                  <a:cubicBezTo>
                    <a:pt x="131" y="118"/>
                    <a:pt x="131" y="118"/>
                    <a:pt x="131" y="118"/>
                  </a:cubicBezTo>
                  <a:cubicBezTo>
                    <a:pt x="129" y="117"/>
                    <a:pt x="129" y="117"/>
                    <a:pt x="129" y="117"/>
                  </a:cubicBezTo>
                  <a:cubicBezTo>
                    <a:pt x="129" y="115"/>
                    <a:pt x="129" y="115"/>
                    <a:pt x="129" y="115"/>
                  </a:cubicBezTo>
                  <a:cubicBezTo>
                    <a:pt x="132" y="114"/>
                    <a:pt x="132" y="114"/>
                    <a:pt x="132" y="114"/>
                  </a:cubicBezTo>
                  <a:cubicBezTo>
                    <a:pt x="133" y="115"/>
                    <a:pt x="133" y="115"/>
                    <a:pt x="133" y="115"/>
                  </a:cubicBezTo>
                  <a:cubicBezTo>
                    <a:pt x="136" y="117"/>
                    <a:pt x="136" y="117"/>
                    <a:pt x="136" y="117"/>
                  </a:cubicBezTo>
                  <a:cubicBezTo>
                    <a:pt x="138" y="117"/>
                    <a:pt x="138" y="117"/>
                    <a:pt x="138" y="117"/>
                  </a:cubicBezTo>
                  <a:cubicBezTo>
                    <a:pt x="142" y="114"/>
                    <a:pt x="142" y="114"/>
                    <a:pt x="142" y="114"/>
                  </a:cubicBezTo>
                  <a:cubicBezTo>
                    <a:pt x="145" y="110"/>
                    <a:pt x="145" y="110"/>
                    <a:pt x="145" y="110"/>
                  </a:cubicBezTo>
                  <a:cubicBezTo>
                    <a:pt x="144" y="107"/>
                    <a:pt x="144" y="107"/>
                    <a:pt x="144" y="107"/>
                  </a:cubicBezTo>
                  <a:cubicBezTo>
                    <a:pt x="141" y="105"/>
                    <a:pt x="141" y="105"/>
                    <a:pt x="141" y="105"/>
                  </a:cubicBezTo>
                  <a:cubicBezTo>
                    <a:pt x="141" y="104"/>
                    <a:pt x="141" y="104"/>
                    <a:pt x="141" y="104"/>
                  </a:cubicBezTo>
                  <a:cubicBezTo>
                    <a:pt x="143" y="103"/>
                    <a:pt x="143" y="103"/>
                    <a:pt x="143" y="103"/>
                  </a:cubicBezTo>
                  <a:cubicBezTo>
                    <a:pt x="147" y="105"/>
                    <a:pt x="147" y="105"/>
                    <a:pt x="147" y="105"/>
                  </a:cubicBezTo>
                  <a:cubicBezTo>
                    <a:pt x="149" y="103"/>
                    <a:pt x="149" y="103"/>
                    <a:pt x="149" y="103"/>
                  </a:cubicBezTo>
                  <a:cubicBezTo>
                    <a:pt x="151" y="100"/>
                    <a:pt x="151" y="100"/>
                    <a:pt x="151" y="100"/>
                  </a:cubicBezTo>
                  <a:cubicBezTo>
                    <a:pt x="155" y="93"/>
                    <a:pt x="155" y="93"/>
                    <a:pt x="155" y="93"/>
                  </a:cubicBezTo>
                  <a:cubicBezTo>
                    <a:pt x="159" y="90"/>
                    <a:pt x="159" y="90"/>
                    <a:pt x="159" y="90"/>
                  </a:cubicBezTo>
                  <a:cubicBezTo>
                    <a:pt x="164" y="89"/>
                    <a:pt x="164" y="89"/>
                    <a:pt x="164" y="89"/>
                  </a:cubicBezTo>
                  <a:cubicBezTo>
                    <a:pt x="167" y="84"/>
                    <a:pt x="167" y="84"/>
                    <a:pt x="167" y="84"/>
                  </a:cubicBezTo>
                  <a:cubicBezTo>
                    <a:pt x="169" y="81"/>
                    <a:pt x="169" y="81"/>
                    <a:pt x="169" y="81"/>
                  </a:cubicBezTo>
                  <a:cubicBezTo>
                    <a:pt x="167" y="79"/>
                    <a:pt x="167" y="79"/>
                    <a:pt x="167" y="79"/>
                  </a:cubicBezTo>
                  <a:cubicBezTo>
                    <a:pt x="165" y="75"/>
                    <a:pt x="165" y="75"/>
                    <a:pt x="165" y="75"/>
                  </a:cubicBezTo>
                  <a:cubicBezTo>
                    <a:pt x="167" y="75"/>
                    <a:pt x="167" y="75"/>
                    <a:pt x="167" y="75"/>
                  </a:cubicBezTo>
                  <a:cubicBezTo>
                    <a:pt x="169" y="75"/>
                    <a:pt x="169" y="75"/>
                    <a:pt x="169" y="75"/>
                  </a:cubicBezTo>
                  <a:cubicBezTo>
                    <a:pt x="169" y="72"/>
                    <a:pt x="169" y="72"/>
                    <a:pt x="169" y="72"/>
                  </a:cubicBezTo>
                  <a:cubicBezTo>
                    <a:pt x="170" y="70"/>
                    <a:pt x="170" y="70"/>
                    <a:pt x="170" y="70"/>
                  </a:cubicBezTo>
                  <a:cubicBezTo>
                    <a:pt x="173" y="66"/>
                    <a:pt x="173" y="66"/>
                    <a:pt x="173" y="66"/>
                  </a:cubicBezTo>
                  <a:cubicBezTo>
                    <a:pt x="175" y="60"/>
                    <a:pt x="175" y="60"/>
                    <a:pt x="175" y="60"/>
                  </a:cubicBezTo>
                  <a:cubicBezTo>
                    <a:pt x="177" y="56"/>
                    <a:pt x="177" y="56"/>
                    <a:pt x="177" y="56"/>
                  </a:cubicBezTo>
                  <a:cubicBezTo>
                    <a:pt x="178" y="54"/>
                    <a:pt x="178" y="54"/>
                    <a:pt x="178" y="54"/>
                  </a:cubicBezTo>
                  <a:cubicBezTo>
                    <a:pt x="180" y="52"/>
                    <a:pt x="180" y="52"/>
                    <a:pt x="180" y="52"/>
                  </a:cubicBezTo>
                  <a:cubicBezTo>
                    <a:pt x="187" y="46"/>
                    <a:pt x="187" y="46"/>
                    <a:pt x="187" y="46"/>
                  </a:cubicBezTo>
                  <a:cubicBezTo>
                    <a:pt x="189" y="44"/>
                    <a:pt x="189" y="44"/>
                    <a:pt x="189" y="44"/>
                  </a:cubicBezTo>
                  <a:cubicBezTo>
                    <a:pt x="138" y="6"/>
                    <a:pt x="138" y="6"/>
                    <a:pt x="138" y="6"/>
                  </a:cubicBezTo>
                  <a:lnTo>
                    <a:pt x="98" y="14"/>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4" name="Freeform 63">
              <a:extLst>
                <a:ext uri="{FF2B5EF4-FFF2-40B4-BE49-F238E27FC236}">
                  <a16:creationId xmlns:a16="http://schemas.microsoft.com/office/drawing/2014/main" id="{ABA5AAB9-F52D-CC8E-345A-09E00F1D04ED}"/>
                </a:ext>
              </a:extLst>
            </p:cNvPr>
            <p:cNvSpPr>
              <a:spLocks/>
            </p:cNvSpPr>
            <p:nvPr/>
          </p:nvSpPr>
          <p:spPr bwMode="auto">
            <a:xfrm>
              <a:off x="8753647" y="3599825"/>
              <a:ext cx="328502" cy="495850"/>
            </a:xfrm>
            <a:custGeom>
              <a:avLst/>
              <a:gdLst>
                <a:gd name="T0" fmla="*/ 39 w 126"/>
                <a:gd name="T1" fmla="*/ 183 h 202"/>
                <a:gd name="T2" fmla="*/ 33 w 126"/>
                <a:gd name="T3" fmla="*/ 176 h 202"/>
                <a:gd name="T4" fmla="*/ 36 w 126"/>
                <a:gd name="T5" fmla="*/ 172 h 202"/>
                <a:gd name="T6" fmla="*/ 51 w 126"/>
                <a:gd name="T7" fmla="*/ 168 h 202"/>
                <a:gd name="T8" fmla="*/ 125 w 126"/>
                <a:gd name="T9" fmla="*/ 161 h 202"/>
                <a:gd name="T10" fmla="*/ 120 w 126"/>
                <a:gd name="T11" fmla="*/ 153 h 202"/>
                <a:gd name="T12" fmla="*/ 119 w 126"/>
                <a:gd name="T13" fmla="*/ 148 h 202"/>
                <a:gd name="T14" fmla="*/ 120 w 126"/>
                <a:gd name="T15" fmla="*/ 141 h 202"/>
                <a:gd name="T16" fmla="*/ 116 w 126"/>
                <a:gd name="T17" fmla="*/ 130 h 202"/>
                <a:gd name="T18" fmla="*/ 119 w 126"/>
                <a:gd name="T19" fmla="*/ 123 h 202"/>
                <a:gd name="T20" fmla="*/ 116 w 126"/>
                <a:gd name="T21" fmla="*/ 117 h 202"/>
                <a:gd name="T22" fmla="*/ 122 w 126"/>
                <a:gd name="T23" fmla="*/ 110 h 202"/>
                <a:gd name="T24" fmla="*/ 119 w 126"/>
                <a:gd name="T25" fmla="*/ 104 h 202"/>
                <a:gd name="T26" fmla="*/ 115 w 126"/>
                <a:gd name="T27" fmla="*/ 95 h 202"/>
                <a:gd name="T28" fmla="*/ 106 w 126"/>
                <a:gd name="T29" fmla="*/ 75 h 202"/>
                <a:gd name="T30" fmla="*/ 89 w 126"/>
                <a:gd name="T31" fmla="*/ 12 h 202"/>
                <a:gd name="T32" fmla="*/ 94 w 126"/>
                <a:gd name="T33" fmla="*/ 0 h 202"/>
                <a:gd name="T34" fmla="*/ 1 w 126"/>
                <a:gd name="T35" fmla="*/ 7 h 202"/>
                <a:gd name="T36" fmla="*/ 0 w 126"/>
                <a:gd name="T37" fmla="*/ 106 h 202"/>
                <a:gd name="T38" fmla="*/ 6 w 126"/>
                <a:gd name="T39" fmla="*/ 196 h 202"/>
                <a:gd name="T40" fmla="*/ 11 w 126"/>
                <a:gd name="T41" fmla="*/ 197 h 202"/>
                <a:gd name="T42" fmla="*/ 16 w 126"/>
                <a:gd name="T43" fmla="*/ 195 h 202"/>
                <a:gd name="T44" fmla="*/ 16 w 126"/>
                <a:gd name="T45" fmla="*/ 187 h 202"/>
                <a:gd name="T46" fmla="*/ 21 w 126"/>
                <a:gd name="T47" fmla="*/ 184 h 202"/>
                <a:gd name="T48" fmla="*/ 22 w 126"/>
                <a:gd name="T49" fmla="*/ 189 h 202"/>
                <a:gd name="T50" fmla="*/ 22 w 126"/>
                <a:gd name="T51" fmla="*/ 193 h 202"/>
                <a:gd name="T52" fmla="*/ 25 w 126"/>
                <a:gd name="T53" fmla="*/ 195 h 202"/>
                <a:gd name="T54" fmla="*/ 27 w 126"/>
                <a:gd name="T55" fmla="*/ 199 h 202"/>
                <a:gd name="T56" fmla="*/ 25 w 126"/>
                <a:gd name="T57" fmla="*/ 202 h 202"/>
                <a:gd name="T58" fmla="*/ 31 w 126"/>
                <a:gd name="T59" fmla="*/ 200 h 202"/>
                <a:gd name="T60" fmla="*/ 38 w 126"/>
                <a:gd name="T61" fmla="*/ 197 h 202"/>
                <a:gd name="T62" fmla="*/ 43 w 126"/>
                <a:gd name="T63" fmla="*/ 196 h 202"/>
                <a:gd name="T64" fmla="*/ 44 w 126"/>
                <a:gd name="T65" fmla="*/ 19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202">
                  <a:moveTo>
                    <a:pt x="40" y="188"/>
                  </a:moveTo>
                  <a:lnTo>
                    <a:pt x="39" y="183"/>
                  </a:lnTo>
                  <a:lnTo>
                    <a:pt x="35" y="178"/>
                  </a:lnTo>
                  <a:lnTo>
                    <a:pt x="33" y="176"/>
                  </a:lnTo>
                  <a:lnTo>
                    <a:pt x="33" y="173"/>
                  </a:lnTo>
                  <a:lnTo>
                    <a:pt x="36" y="172"/>
                  </a:lnTo>
                  <a:lnTo>
                    <a:pt x="43" y="170"/>
                  </a:lnTo>
                  <a:lnTo>
                    <a:pt x="51" y="168"/>
                  </a:lnTo>
                  <a:lnTo>
                    <a:pt x="126" y="162"/>
                  </a:lnTo>
                  <a:lnTo>
                    <a:pt x="125" y="161"/>
                  </a:lnTo>
                  <a:lnTo>
                    <a:pt x="121" y="156"/>
                  </a:lnTo>
                  <a:lnTo>
                    <a:pt x="120" y="153"/>
                  </a:lnTo>
                  <a:lnTo>
                    <a:pt x="118" y="150"/>
                  </a:lnTo>
                  <a:lnTo>
                    <a:pt x="119" y="148"/>
                  </a:lnTo>
                  <a:lnTo>
                    <a:pt x="121" y="146"/>
                  </a:lnTo>
                  <a:lnTo>
                    <a:pt x="120" y="141"/>
                  </a:lnTo>
                  <a:lnTo>
                    <a:pt x="118" y="138"/>
                  </a:lnTo>
                  <a:lnTo>
                    <a:pt x="116" y="130"/>
                  </a:lnTo>
                  <a:lnTo>
                    <a:pt x="116" y="125"/>
                  </a:lnTo>
                  <a:lnTo>
                    <a:pt x="119" y="123"/>
                  </a:lnTo>
                  <a:lnTo>
                    <a:pt x="120" y="119"/>
                  </a:lnTo>
                  <a:lnTo>
                    <a:pt x="116" y="117"/>
                  </a:lnTo>
                  <a:lnTo>
                    <a:pt x="121" y="114"/>
                  </a:lnTo>
                  <a:lnTo>
                    <a:pt x="122" y="110"/>
                  </a:lnTo>
                  <a:lnTo>
                    <a:pt x="120" y="108"/>
                  </a:lnTo>
                  <a:lnTo>
                    <a:pt x="119" y="104"/>
                  </a:lnTo>
                  <a:lnTo>
                    <a:pt x="119" y="100"/>
                  </a:lnTo>
                  <a:lnTo>
                    <a:pt x="115" y="95"/>
                  </a:lnTo>
                  <a:lnTo>
                    <a:pt x="108" y="83"/>
                  </a:lnTo>
                  <a:lnTo>
                    <a:pt x="106" y="75"/>
                  </a:lnTo>
                  <a:lnTo>
                    <a:pt x="96" y="41"/>
                  </a:lnTo>
                  <a:lnTo>
                    <a:pt x="89" y="12"/>
                  </a:lnTo>
                  <a:lnTo>
                    <a:pt x="87" y="0"/>
                  </a:lnTo>
                  <a:lnTo>
                    <a:pt x="94" y="0"/>
                  </a:lnTo>
                  <a:lnTo>
                    <a:pt x="94" y="0"/>
                  </a:lnTo>
                  <a:lnTo>
                    <a:pt x="1" y="7"/>
                  </a:lnTo>
                  <a:lnTo>
                    <a:pt x="1" y="14"/>
                  </a:lnTo>
                  <a:lnTo>
                    <a:pt x="0" y="106"/>
                  </a:lnTo>
                  <a:lnTo>
                    <a:pt x="0" y="155"/>
                  </a:lnTo>
                  <a:lnTo>
                    <a:pt x="6" y="196"/>
                  </a:lnTo>
                  <a:lnTo>
                    <a:pt x="8" y="196"/>
                  </a:lnTo>
                  <a:lnTo>
                    <a:pt x="11" y="197"/>
                  </a:lnTo>
                  <a:lnTo>
                    <a:pt x="15" y="198"/>
                  </a:lnTo>
                  <a:lnTo>
                    <a:pt x="16" y="195"/>
                  </a:lnTo>
                  <a:lnTo>
                    <a:pt x="15" y="191"/>
                  </a:lnTo>
                  <a:lnTo>
                    <a:pt x="16" y="187"/>
                  </a:lnTo>
                  <a:lnTo>
                    <a:pt x="18" y="185"/>
                  </a:lnTo>
                  <a:lnTo>
                    <a:pt x="21" y="184"/>
                  </a:lnTo>
                  <a:lnTo>
                    <a:pt x="22" y="186"/>
                  </a:lnTo>
                  <a:lnTo>
                    <a:pt x="22" y="189"/>
                  </a:lnTo>
                  <a:lnTo>
                    <a:pt x="21" y="191"/>
                  </a:lnTo>
                  <a:lnTo>
                    <a:pt x="22" y="193"/>
                  </a:lnTo>
                  <a:lnTo>
                    <a:pt x="23" y="194"/>
                  </a:lnTo>
                  <a:lnTo>
                    <a:pt x="25" y="195"/>
                  </a:lnTo>
                  <a:lnTo>
                    <a:pt x="27" y="197"/>
                  </a:lnTo>
                  <a:lnTo>
                    <a:pt x="27" y="199"/>
                  </a:lnTo>
                  <a:lnTo>
                    <a:pt x="27" y="200"/>
                  </a:lnTo>
                  <a:lnTo>
                    <a:pt x="25" y="202"/>
                  </a:lnTo>
                  <a:lnTo>
                    <a:pt x="27" y="201"/>
                  </a:lnTo>
                  <a:lnTo>
                    <a:pt x="31" y="200"/>
                  </a:lnTo>
                  <a:lnTo>
                    <a:pt x="36" y="199"/>
                  </a:lnTo>
                  <a:lnTo>
                    <a:pt x="38" y="197"/>
                  </a:lnTo>
                  <a:lnTo>
                    <a:pt x="39" y="197"/>
                  </a:lnTo>
                  <a:lnTo>
                    <a:pt x="43" y="196"/>
                  </a:lnTo>
                  <a:lnTo>
                    <a:pt x="44" y="195"/>
                  </a:lnTo>
                  <a:lnTo>
                    <a:pt x="44" y="195"/>
                  </a:lnTo>
                  <a:lnTo>
                    <a:pt x="40" y="188"/>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5" name="Freeform 64">
              <a:extLst>
                <a:ext uri="{FF2B5EF4-FFF2-40B4-BE49-F238E27FC236}">
                  <a16:creationId xmlns:a16="http://schemas.microsoft.com/office/drawing/2014/main" id="{129115E0-87D3-8846-9A74-C8043DAE4A5A}"/>
                </a:ext>
              </a:extLst>
            </p:cNvPr>
            <p:cNvSpPr>
              <a:spLocks/>
            </p:cNvSpPr>
            <p:nvPr/>
          </p:nvSpPr>
          <p:spPr bwMode="auto">
            <a:xfrm>
              <a:off x="8466860" y="3617008"/>
              <a:ext cx="302431" cy="498305"/>
            </a:xfrm>
            <a:custGeom>
              <a:avLst/>
              <a:gdLst>
                <a:gd name="T0" fmla="*/ 110 w 116"/>
                <a:gd name="T1" fmla="*/ 99 h 203"/>
                <a:gd name="T2" fmla="*/ 111 w 116"/>
                <a:gd name="T3" fmla="*/ 0 h 203"/>
                <a:gd name="T4" fmla="*/ 41 w 116"/>
                <a:gd name="T5" fmla="*/ 5 h 203"/>
                <a:gd name="T6" fmla="*/ 38 w 116"/>
                <a:gd name="T7" fmla="*/ 10 h 203"/>
                <a:gd name="T8" fmla="*/ 35 w 116"/>
                <a:gd name="T9" fmla="*/ 15 h 203"/>
                <a:gd name="T10" fmla="*/ 32 w 116"/>
                <a:gd name="T11" fmla="*/ 17 h 203"/>
                <a:gd name="T12" fmla="*/ 30 w 116"/>
                <a:gd name="T13" fmla="*/ 26 h 203"/>
                <a:gd name="T14" fmla="*/ 22 w 116"/>
                <a:gd name="T15" fmla="*/ 37 h 203"/>
                <a:gd name="T16" fmla="*/ 18 w 116"/>
                <a:gd name="T17" fmla="*/ 44 h 203"/>
                <a:gd name="T18" fmla="*/ 18 w 116"/>
                <a:gd name="T19" fmla="*/ 48 h 203"/>
                <a:gd name="T20" fmla="*/ 17 w 116"/>
                <a:gd name="T21" fmla="*/ 54 h 203"/>
                <a:gd name="T22" fmla="*/ 13 w 116"/>
                <a:gd name="T23" fmla="*/ 58 h 203"/>
                <a:gd name="T24" fmla="*/ 12 w 116"/>
                <a:gd name="T25" fmla="*/ 62 h 203"/>
                <a:gd name="T26" fmla="*/ 11 w 116"/>
                <a:gd name="T27" fmla="*/ 66 h 203"/>
                <a:gd name="T28" fmla="*/ 14 w 116"/>
                <a:gd name="T29" fmla="*/ 70 h 203"/>
                <a:gd name="T30" fmla="*/ 14 w 116"/>
                <a:gd name="T31" fmla="*/ 78 h 203"/>
                <a:gd name="T32" fmla="*/ 14 w 116"/>
                <a:gd name="T33" fmla="*/ 84 h 203"/>
                <a:gd name="T34" fmla="*/ 11 w 116"/>
                <a:gd name="T35" fmla="*/ 89 h 203"/>
                <a:gd name="T36" fmla="*/ 15 w 116"/>
                <a:gd name="T37" fmla="*/ 94 h 203"/>
                <a:gd name="T38" fmla="*/ 11 w 116"/>
                <a:gd name="T39" fmla="*/ 98 h 203"/>
                <a:gd name="T40" fmla="*/ 15 w 116"/>
                <a:gd name="T41" fmla="*/ 102 h 203"/>
                <a:gd name="T42" fmla="*/ 16 w 116"/>
                <a:gd name="T43" fmla="*/ 108 h 203"/>
                <a:gd name="T44" fmla="*/ 19 w 116"/>
                <a:gd name="T45" fmla="*/ 112 h 203"/>
                <a:gd name="T46" fmla="*/ 19 w 116"/>
                <a:gd name="T47" fmla="*/ 123 h 203"/>
                <a:gd name="T48" fmla="*/ 15 w 116"/>
                <a:gd name="T49" fmla="*/ 126 h 203"/>
                <a:gd name="T50" fmla="*/ 14 w 116"/>
                <a:gd name="T51" fmla="*/ 132 h 203"/>
                <a:gd name="T52" fmla="*/ 8 w 116"/>
                <a:gd name="T53" fmla="*/ 140 h 203"/>
                <a:gd name="T54" fmla="*/ 6 w 116"/>
                <a:gd name="T55" fmla="*/ 149 h 203"/>
                <a:gd name="T56" fmla="*/ 4 w 116"/>
                <a:gd name="T57" fmla="*/ 153 h 203"/>
                <a:gd name="T58" fmla="*/ 4 w 116"/>
                <a:gd name="T59" fmla="*/ 160 h 203"/>
                <a:gd name="T60" fmla="*/ 0 w 116"/>
                <a:gd name="T61" fmla="*/ 164 h 203"/>
                <a:gd name="T62" fmla="*/ 1 w 116"/>
                <a:gd name="T63" fmla="*/ 171 h 203"/>
                <a:gd name="T64" fmla="*/ 65 w 116"/>
                <a:gd name="T65" fmla="*/ 184 h 203"/>
                <a:gd name="T66" fmla="*/ 70 w 116"/>
                <a:gd name="T67" fmla="*/ 192 h 203"/>
                <a:gd name="T68" fmla="*/ 71 w 116"/>
                <a:gd name="T69" fmla="*/ 203 h 203"/>
                <a:gd name="T70" fmla="*/ 72 w 116"/>
                <a:gd name="T71" fmla="*/ 203 h 203"/>
                <a:gd name="T72" fmla="*/ 79 w 116"/>
                <a:gd name="T73" fmla="*/ 199 h 203"/>
                <a:gd name="T74" fmla="*/ 82 w 116"/>
                <a:gd name="T75" fmla="*/ 193 h 203"/>
                <a:gd name="T76" fmla="*/ 89 w 116"/>
                <a:gd name="T77" fmla="*/ 193 h 203"/>
                <a:gd name="T78" fmla="*/ 98 w 116"/>
                <a:gd name="T79" fmla="*/ 190 h 203"/>
                <a:gd name="T80" fmla="*/ 104 w 116"/>
                <a:gd name="T81" fmla="*/ 190 h 203"/>
                <a:gd name="T82" fmla="*/ 109 w 116"/>
                <a:gd name="T83" fmla="*/ 190 h 203"/>
                <a:gd name="T84" fmla="*/ 115 w 116"/>
                <a:gd name="T85" fmla="*/ 190 h 203"/>
                <a:gd name="T86" fmla="*/ 116 w 116"/>
                <a:gd name="T87" fmla="*/ 189 h 203"/>
                <a:gd name="T88" fmla="*/ 110 w 116"/>
                <a:gd name="T89" fmla="*/ 1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203">
                  <a:moveTo>
                    <a:pt x="110" y="148"/>
                  </a:moveTo>
                  <a:lnTo>
                    <a:pt x="110" y="99"/>
                  </a:lnTo>
                  <a:lnTo>
                    <a:pt x="111" y="7"/>
                  </a:lnTo>
                  <a:lnTo>
                    <a:pt x="111" y="0"/>
                  </a:lnTo>
                  <a:lnTo>
                    <a:pt x="41" y="5"/>
                  </a:lnTo>
                  <a:lnTo>
                    <a:pt x="41" y="5"/>
                  </a:lnTo>
                  <a:lnTo>
                    <a:pt x="42" y="8"/>
                  </a:lnTo>
                  <a:lnTo>
                    <a:pt x="38" y="10"/>
                  </a:lnTo>
                  <a:lnTo>
                    <a:pt x="36" y="12"/>
                  </a:lnTo>
                  <a:lnTo>
                    <a:pt x="35" y="15"/>
                  </a:lnTo>
                  <a:lnTo>
                    <a:pt x="33" y="17"/>
                  </a:lnTo>
                  <a:lnTo>
                    <a:pt x="32" y="17"/>
                  </a:lnTo>
                  <a:lnTo>
                    <a:pt x="30" y="22"/>
                  </a:lnTo>
                  <a:lnTo>
                    <a:pt x="30" y="26"/>
                  </a:lnTo>
                  <a:lnTo>
                    <a:pt x="27" y="31"/>
                  </a:lnTo>
                  <a:lnTo>
                    <a:pt x="22" y="37"/>
                  </a:lnTo>
                  <a:lnTo>
                    <a:pt x="19" y="40"/>
                  </a:lnTo>
                  <a:lnTo>
                    <a:pt x="18" y="44"/>
                  </a:lnTo>
                  <a:lnTo>
                    <a:pt x="20" y="45"/>
                  </a:lnTo>
                  <a:lnTo>
                    <a:pt x="18" y="48"/>
                  </a:lnTo>
                  <a:lnTo>
                    <a:pt x="16" y="52"/>
                  </a:lnTo>
                  <a:lnTo>
                    <a:pt x="17" y="54"/>
                  </a:lnTo>
                  <a:lnTo>
                    <a:pt x="16" y="54"/>
                  </a:lnTo>
                  <a:lnTo>
                    <a:pt x="13" y="58"/>
                  </a:lnTo>
                  <a:lnTo>
                    <a:pt x="11" y="61"/>
                  </a:lnTo>
                  <a:lnTo>
                    <a:pt x="12" y="62"/>
                  </a:lnTo>
                  <a:lnTo>
                    <a:pt x="11" y="64"/>
                  </a:lnTo>
                  <a:lnTo>
                    <a:pt x="11" y="66"/>
                  </a:lnTo>
                  <a:lnTo>
                    <a:pt x="12" y="67"/>
                  </a:lnTo>
                  <a:lnTo>
                    <a:pt x="14" y="70"/>
                  </a:lnTo>
                  <a:lnTo>
                    <a:pt x="14" y="72"/>
                  </a:lnTo>
                  <a:lnTo>
                    <a:pt x="14" y="78"/>
                  </a:lnTo>
                  <a:lnTo>
                    <a:pt x="15" y="81"/>
                  </a:lnTo>
                  <a:lnTo>
                    <a:pt x="14" y="84"/>
                  </a:lnTo>
                  <a:lnTo>
                    <a:pt x="12" y="89"/>
                  </a:lnTo>
                  <a:lnTo>
                    <a:pt x="11" y="89"/>
                  </a:lnTo>
                  <a:lnTo>
                    <a:pt x="14" y="91"/>
                  </a:lnTo>
                  <a:lnTo>
                    <a:pt x="15" y="94"/>
                  </a:lnTo>
                  <a:lnTo>
                    <a:pt x="15" y="96"/>
                  </a:lnTo>
                  <a:lnTo>
                    <a:pt x="11" y="98"/>
                  </a:lnTo>
                  <a:lnTo>
                    <a:pt x="14" y="100"/>
                  </a:lnTo>
                  <a:lnTo>
                    <a:pt x="15" y="102"/>
                  </a:lnTo>
                  <a:lnTo>
                    <a:pt x="15" y="103"/>
                  </a:lnTo>
                  <a:lnTo>
                    <a:pt x="16" y="108"/>
                  </a:lnTo>
                  <a:lnTo>
                    <a:pt x="16" y="110"/>
                  </a:lnTo>
                  <a:lnTo>
                    <a:pt x="19" y="112"/>
                  </a:lnTo>
                  <a:lnTo>
                    <a:pt x="20" y="115"/>
                  </a:lnTo>
                  <a:lnTo>
                    <a:pt x="19" y="123"/>
                  </a:lnTo>
                  <a:lnTo>
                    <a:pt x="16" y="126"/>
                  </a:lnTo>
                  <a:lnTo>
                    <a:pt x="15" y="126"/>
                  </a:lnTo>
                  <a:lnTo>
                    <a:pt x="15" y="130"/>
                  </a:lnTo>
                  <a:lnTo>
                    <a:pt x="14" y="132"/>
                  </a:lnTo>
                  <a:lnTo>
                    <a:pt x="10" y="138"/>
                  </a:lnTo>
                  <a:lnTo>
                    <a:pt x="8" y="140"/>
                  </a:lnTo>
                  <a:lnTo>
                    <a:pt x="7" y="147"/>
                  </a:lnTo>
                  <a:lnTo>
                    <a:pt x="6" y="149"/>
                  </a:lnTo>
                  <a:lnTo>
                    <a:pt x="5" y="150"/>
                  </a:lnTo>
                  <a:lnTo>
                    <a:pt x="4" y="153"/>
                  </a:lnTo>
                  <a:lnTo>
                    <a:pt x="4" y="155"/>
                  </a:lnTo>
                  <a:lnTo>
                    <a:pt x="4" y="160"/>
                  </a:lnTo>
                  <a:lnTo>
                    <a:pt x="1" y="162"/>
                  </a:lnTo>
                  <a:lnTo>
                    <a:pt x="0" y="164"/>
                  </a:lnTo>
                  <a:lnTo>
                    <a:pt x="0" y="167"/>
                  </a:lnTo>
                  <a:lnTo>
                    <a:pt x="1" y="171"/>
                  </a:lnTo>
                  <a:lnTo>
                    <a:pt x="66" y="168"/>
                  </a:lnTo>
                  <a:lnTo>
                    <a:pt x="65" y="184"/>
                  </a:lnTo>
                  <a:lnTo>
                    <a:pt x="67" y="188"/>
                  </a:lnTo>
                  <a:lnTo>
                    <a:pt x="70" y="192"/>
                  </a:lnTo>
                  <a:lnTo>
                    <a:pt x="71" y="199"/>
                  </a:lnTo>
                  <a:lnTo>
                    <a:pt x="71" y="203"/>
                  </a:lnTo>
                  <a:lnTo>
                    <a:pt x="71" y="203"/>
                  </a:lnTo>
                  <a:lnTo>
                    <a:pt x="72" y="203"/>
                  </a:lnTo>
                  <a:lnTo>
                    <a:pt x="77" y="200"/>
                  </a:lnTo>
                  <a:lnTo>
                    <a:pt x="79" y="199"/>
                  </a:lnTo>
                  <a:lnTo>
                    <a:pt x="82" y="197"/>
                  </a:lnTo>
                  <a:lnTo>
                    <a:pt x="82" y="193"/>
                  </a:lnTo>
                  <a:lnTo>
                    <a:pt x="86" y="193"/>
                  </a:lnTo>
                  <a:lnTo>
                    <a:pt x="89" y="193"/>
                  </a:lnTo>
                  <a:lnTo>
                    <a:pt x="93" y="192"/>
                  </a:lnTo>
                  <a:lnTo>
                    <a:pt x="98" y="190"/>
                  </a:lnTo>
                  <a:lnTo>
                    <a:pt x="102" y="190"/>
                  </a:lnTo>
                  <a:lnTo>
                    <a:pt x="104" y="190"/>
                  </a:lnTo>
                  <a:lnTo>
                    <a:pt x="107" y="190"/>
                  </a:lnTo>
                  <a:lnTo>
                    <a:pt x="109" y="190"/>
                  </a:lnTo>
                  <a:lnTo>
                    <a:pt x="113" y="192"/>
                  </a:lnTo>
                  <a:lnTo>
                    <a:pt x="115" y="190"/>
                  </a:lnTo>
                  <a:lnTo>
                    <a:pt x="116" y="189"/>
                  </a:lnTo>
                  <a:lnTo>
                    <a:pt x="116" y="189"/>
                  </a:lnTo>
                  <a:lnTo>
                    <a:pt x="116" y="189"/>
                  </a:lnTo>
                  <a:lnTo>
                    <a:pt x="110" y="148"/>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6" name="Freeform 65">
              <a:extLst>
                <a:ext uri="{FF2B5EF4-FFF2-40B4-BE49-F238E27FC236}">
                  <a16:creationId xmlns:a16="http://schemas.microsoft.com/office/drawing/2014/main" id="{E0DD923C-9A1C-48F9-09EE-A9C941E74F15}"/>
                </a:ext>
              </a:extLst>
            </p:cNvPr>
            <p:cNvSpPr>
              <a:spLocks/>
            </p:cNvSpPr>
            <p:nvPr/>
          </p:nvSpPr>
          <p:spPr bwMode="auto">
            <a:xfrm>
              <a:off x="9421080" y="3015606"/>
              <a:ext cx="375431" cy="257745"/>
            </a:xfrm>
            <a:custGeom>
              <a:avLst/>
              <a:gdLst>
                <a:gd name="T0" fmla="*/ 0 w 170"/>
                <a:gd name="T1" fmla="*/ 24 h 123"/>
                <a:gd name="T2" fmla="*/ 3 w 170"/>
                <a:gd name="T3" fmla="*/ 44 h 123"/>
                <a:gd name="T4" fmla="*/ 16 w 170"/>
                <a:gd name="T5" fmla="*/ 33 h 123"/>
                <a:gd name="T6" fmla="*/ 28 w 170"/>
                <a:gd name="T7" fmla="*/ 25 h 123"/>
                <a:gd name="T8" fmla="*/ 31 w 170"/>
                <a:gd name="T9" fmla="*/ 27 h 123"/>
                <a:gd name="T10" fmla="*/ 41 w 170"/>
                <a:gd name="T11" fmla="*/ 22 h 123"/>
                <a:gd name="T12" fmla="*/ 63 w 170"/>
                <a:gd name="T13" fmla="*/ 22 h 123"/>
                <a:gd name="T14" fmla="*/ 70 w 170"/>
                <a:gd name="T15" fmla="*/ 36 h 123"/>
                <a:gd name="T16" fmla="*/ 83 w 170"/>
                <a:gd name="T17" fmla="*/ 43 h 123"/>
                <a:gd name="T18" fmla="*/ 93 w 170"/>
                <a:gd name="T19" fmla="*/ 51 h 123"/>
                <a:gd name="T20" fmla="*/ 92 w 170"/>
                <a:gd name="T21" fmla="*/ 60 h 123"/>
                <a:gd name="T22" fmla="*/ 89 w 170"/>
                <a:gd name="T23" fmla="*/ 74 h 123"/>
                <a:gd name="T24" fmla="*/ 94 w 170"/>
                <a:gd name="T25" fmla="*/ 75 h 123"/>
                <a:gd name="T26" fmla="*/ 101 w 170"/>
                <a:gd name="T27" fmla="*/ 75 h 123"/>
                <a:gd name="T28" fmla="*/ 106 w 170"/>
                <a:gd name="T29" fmla="*/ 75 h 123"/>
                <a:gd name="T30" fmla="*/ 122 w 170"/>
                <a:gd name="T31" fmla="*/ 78 h 123"/>
                <a:gd name="T32" fmla="*/ 129 w 170"/>
                <a:gd name="T33" fmla="*/ 79 h 123"/>
                <a:gd name="T34" fmla="*/ 124 w 170"/>
                <a:gd name="T35" fmla="*/ 72 h 123"/>
                <a:gd name="T36" fmla="*/ 124 w 170"/>
                <a:gd name="T37" fmla="*/ 68 h 123"/>
                <a:gd name="T38" fmla="*/ 116 w 170"/>
                <a:gd name="T39" fmla="*/ 57 h 123"/>
                <a:gd name="T40" fmla="*/ 115 w 170"/>
                <a:gd name="T41" fmla="*/ 43 h 123"/>
                <a:gd name="T42" fmla="*/ 113 w 170"/>
                <a:gd name="T43" fmla="*/ 31 h 123"/>
                <a:gd name="T44" fmla="*/ 115 w 170"/>
                <a:gd name="T45" fmla="*/ 28 h 123"/>
                <a:gd name="T46" fmla="*/ 124 w 170"/>
                <a:gd name="T47" fmla="*/ 18 h 123"/>
                <a:gd name="T48" fmla="*/ 129 w 170"/>
                <a:gd name="T49" fmla="*/ 13 h 123"/>
                <a:gd name="T50" fmla="*/ 125 w 170"/>
                <a:gd name="T51" fmla="*/ 21 h 123"/>
                <a:gd name="T52" fmla="*/ 123 w 170"/>
                <a:gd name="T53" fmla="*/ 31 h 123"/>
                <a:gd name="T54" fmla="*/ 122 w 170"/>
                <a:gd name="T55" fmla="*/ 36 h 123"/>
                <a:gd name="T56" fmla="*/ 126 w 170"/>
                <a:gd name="T57" fmla="*/ 41 h 123"/>
                <a:gd name="T58" fmla="*/ 131 w 170"/>
                <a:gd name="T59" fmla="*/ 46 h 123"/>
                <a:gd name="T60" fmla="*/ 134 w 170"/>
                <a:gd name="T61" fmla="*/ 51 h 123"/>
                <a:gd name="T62" fmla="*/ 130 w 170"/>
                <a:gd name="T63" fmla="*/ 57 h 123"/>
                <a:gd name="T64" fmla="*/ 128 w 170"/>
                <a:gd name="T65" fmla="*/ 61 h 123"/>
                <a:gd name="T66" fmla="*/ 129 w 170"/>
                <a:gd name="T67" fmla="*/ 65 h 123"/>
                <a:gd name="T68" fmla="*/ 139 w 170"/>
                <a:gd name="T69" fmla="*/ 66 h 123"/>
                <a:gd name="T70" fmla="*/ 146 w 170"/>
                <a:gd name="T71" fmla="*/ 75 h 123"/>
                <a:gd name="T72" fmla="*/ 147 w 170"/>
                <a:gd name="T73" fmla="*/ 81 h 123"/>
                <a:gd name="T74" fmla="*/ 152 w 170"/>
                <a:gd name="T75" fmla="*/ 89 h 123"/>
                <a:gd name="T76" fmla="*/ 148 w 170"/>
                <a:gd name="T77" fmla="*/ 104 h 123"/>
                <a:gd name="T78" fmla="*/ 149 w 170"/>
                <a:gd name="T79" fmla="*/ 120 h 123"/>
                <a:gd name="T80" fmla="*/ 153 w 170"/>
                <a:gd name="T81" fmla="*/ 116 h 123"/>
                <a:gd name="T82" fmla="*/ 157 w 170"/>
                <a:gd name="T83" fmla="*/ 102 h 123"/>
                <a:gd name="T84" fmla="*/ 157 w 170"/>
                <a:gd name="T85" fmla="*/ 97 h 123"/>
                <a:gd name="T86" fmla="*/ 163 w 170"/>
                <a:gd name="T87" fmla="*/ 91 h 123"/>
                <a:gd name="T88" fmla="*/ 163 w 170"/>
                <a:gd name="T89" fmla="*/ 79 h 123"/>
                <a:gd name="T90" fmla="*/ 167 w 170"/>
                <a:gd name="T91" fmla="*/ 71 h 123"/>
                <a:gd name="T92" fmla="*/ 167 w 170"/>
                <a:gd name="T93" fmla="*/ 77 h 123"/>
                <a:gd name="T94" fmla="*/ 168 w 170"/>
                <a:gd name="T95" fmla="*/ 82 h 123"/>
                <a:gd name="T96" fmla="*/ 170 w 170"/>
                <a:gd name="T97" fmla="*/ 68 h 123"/>
                <a:gd name="T98" fmla="*/ 169 w 170"/>
                <a:gd name="T99" fmla="*/ 54 h 123"/>
                <a:gd name="T100" fmla="*/ 134 w 170"/>
                <a:gd name="T10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23">
                  <a:moveTo>
                    <a:pt x="134" y="0"/>
                  </a:moveTo>
                  <a:cubicBezTo>
                    <a:pt x="0" y="24"/>
                    <a:pt x="0" y="24"/>
                    <a:pt x="0" y="24"/>
                  </a:cubicBezTo>
                  <a:cubicBezTo>
                    <a:pt x="0" y="24"/>
                    <a:pt x="0" y="24"/>
                    <a:pt x="0" y="24"/>
                  </a:cubicBezTo>
                  <a:cubicBezTo>
                    <a:pt x="3" y="44"/>
                    <a:pt x="3" y="44"/>
                    <a:pt x="3" y="44"/>
                  </a:cubicBezTo>
                  <a:cubicBezTo>
                    <a:pt x="7" y="44"/>
                    <a:pt x="7" y="44"/>
                    <a:pt x="7" y="44"/>
                  </a:cubicBezTo>
                  <a:cubicBezTo>
                    <a:pt x="16" y="33"/>
                    <a:pt x="16" y="33"/>
                    <a:pt x="16" y="33"/>
                  </a:cubicBezTo>
                  <a:cubicBezTo>
                    <a:pt x="22" y="33"/>
                    <a:pt x="22" y="33"/>
                    <a:pt x="22" y="33"/>
                  </a:cubicBezTo>
                  <a:cubicBezTo>
                    <a:pt x="28" y="25"/>
                    <a:pt x="28" y="25"/>
                    <a:pt x="28" y="25"/>
                  </a:cubicBezTo>
                  <a:cubicBezTo>
                    <a:pt x="30" y="25"/>
                    <a:pt x="30" y="25"/>
                    <a:pt x="30" y="25"/>
                  </a:cubicBezTo>
                  <a:cubicBezTo>
                    <a:pt x="31" y="27"/>
                    <a:pt x="31" y="27"/>
                    <a:pt x="31" y="27"/>
                  </a:cubicBezTo>
                  <a:cubicBezTo>
                    <a:pt x="38" y="22"/>
                    <a:pt x="38" y="22"/>
                    <a:pt x="38" y="22"/>
                  </a:cubicBezTo>
                  <a:cubicBezTo>
                    <a:pt x="41" y="22"/>
                    <a:pt x="41" y="22"/>
                    <a:pt x="41" y="22"/>
                  </a:cubicBezTo>
                  <a:cubicBezTo>
                    <a:pt x="49" y="18"/>
                    <a:pt x="49" y="18"/>
                    <a:pt x="49" y="18"/>
                  </a:cubicBezTo>
                  <a:cubicBezTo>
                    <a:pt x="63" y="22"/>
                    <a:pt x="63" y="22"/>
                    <a:pt x="63" y="22"/>
                  </a:cubicBezTo>
                  <a:cubicBezTo>
                    <a:pt x="67" y="28"/>
                    <a:pt x="67" y="28"/>
                    <a:pt x="67" y="28"/>
                  </a:cubicBezTo>
                  <a:cubicBezTo>
                    <a:pt x="70" y="36"/>
                    <a:pt x="70" y="36"/>
                    <a:pt x="70" y="36"/>
                  </a:cubicBezTo>
                  <a:cubicBezTo>
                    <a:pt x="71" y="36"/>
                    <a:pt x="71" y="36"/>
                    <a:pt x="71" y="36"/>
                  </a:cubicBezTo>
                  <a:cubicBezTo>
                    <a:pt x="83" y="43"/>
                    <a:pt x="83" y="43"/>
                    <a:pt x="83" y="43"/>
                  </a:cubicBezTo>
                  <a:cubicBezTo>
                    <a:pt x="88" y="48"/>
                    <a:pt x="88" y="48"/>
                    <a:pt x="88" y="48"/>
                  </a:cubicBezTo>
                  <a:cubicBezTo>
                    <a:pt x="93" y="51"/>
                    <a:pt x="93" y="51"/>
                    <a:pt x="93" y="51"/>
                  </a:cubicBezTo>
                  <a:cubicBezTo>
                    <a:pt x="94" y="56"/>
                    <a:pt x="94" y="56"/>
                    <a:pt x="94" y="56"/>
                  </a:cubicBezTo>
                  <a:cubicBezTo>
                    <a:pt x="92" y="60"/>
                    <a:pt x="92" y="60"/>
                    <a:pt x="92" y="60"/>
                  </a:cubicBezTo>
                  <a:cubicBezTo>
                    <a:pt x="88" y="61"/>
                    <a:pt x="88" y="61"/>
                    <a:pt x="88" y="61"/>
                  </a:cubicBezTo>
                  <a:cubicBezTo>
                    <a:pt x="89" y="74"/>
                    <a:pt x="89" y="74"/>
                    <a:pt x="89" y="74"/>
                  </a:cubicBezTo>
                  <a:cubicBezTo>
                    <a:pt x="91" y="76"/>
                    <a:pt x="91" y="76"/>
                    <a:pt x="91" y="76"/>
                  </a:cubicBezTo>
                  <a:cubicBezTo>
                    <a:pt x="94" y="75"/>
                    <a:pt x="94" y="75"/>
                    <a:pt x="94" y="75"/>
                  </a:cubicBezTo>
                  <a:cubicBezTo>
                    <a:pt x="97" y="74"/>
                    <a:pt x="97" y="74"/>
                    <a:pt x="97" y="74"/>
                  </a:cubicBezTo>
                  <a:cubicBezTo>
                    <a:pt x="101" y="75"/>
                    <a:pt x="101" y="75"/>
                    <a:pt x="101" y="75"/>
                  </a:cubicBezTo>
                  <a:cubicBezTo>
                    <a:pt x="102" y="76"/>
                    <a:pt x="102" y="76"/>
                    <a:pt x="102" y="76"/>
                  </a:cubicBezTo>
                  <a:cubicBezTo>
                    <a:pt x="106" y="75"/>
                    <a:pt x="106" y="75"/>
                    <a:pt x="106" y="75"/>
                  </a:cubicBezTo>
                  <a:cubicBezTo>
                    <a:pt x="119" y="76"/>
                    <a:pt x="119" y="76"/>
                    <a:pt x="119" y="76"/>
                  </a:cubicBezTo>
                  <a:cubicBezTo>
                    <a:pt x="122" y="78"/>
                    <a:pt x="122" y="78"/>
                    <a:pt x="122" y="78"/>
                  </a:cubicBezTo>
                  <a:cubicBezTo>
                    <a:pt x="126" y="80"/>
                    <a:pt x="126" y="80"/>
                    <a:pt x="126" y="80"/>
                  </a:cubicBezTo>
                  <a:cubicBezTo>
                    <a:pt x="129" y="79"/>
                    <a:pt x="129" y="79"/>
                    <a:pt x="129" y="79"/>
                  </a:cubicBezTo>
                  <a:cubicBezTo>
                    <a:pt x="127" y="75"/>
                    <a:pt x="127" y="75"/>
                    <a:pt x="127" y="75"/>
                  </a:cubicBezTo>
                  <a:cubicBezTo>
                    <a:pt x="124" y="72"/>
                    <a:pt x="124" y="72"/>
                    <a:pt x="124" y="72"/>
                  </a:cubicBezTo>
                  <a:cubicBezTo>
                    <a:pt x="124" y="69"/>
                    <a:pt x="124" y="69"/>
                    <a:pt x="124" y="69"/>
                  </a:cubicBezTo>
                  <a:cubicBezTo>
                    <a:pt x="124" y="68"/>
                    <a:pt x="124" y="68"/>
                    <a:pt x="124" y="68"/>
                  </a:cubicBezTo>
                  <a:cubicBezTo>
                    <a:pt x="118" y="60"/>
                    <a:pt x="118" y="60"/>
                    <a:pt x="118" y="60"/>
                  </a:cubicBezTo>
                  <a:cubicBezTo>
                    <a:pt x="116" y="57"/>
                    <a:pt x="116" y="57"/>
                    <a:pt x="116" y="57"/>
                  </a:cubicBezTo>
                  <a:cubicBezTo>
                    <a:pt x="116" y="50"/>
                    <a:pt x="116" y="50"/>
                    <a:pt x="116" y="50"/>
                  </a:cubicBezTo>
                  <a:cubicBezTo>
                    <a:pt x="115" y="43"/>
                    <a:pt x="115" y="43"/>
                    <a:pt x="115" y="43"/>
                  </a:cubicBezTo>
                  <a:cubicBezTo>
                    <a:pt x="116" y="36"/>
                    <a:pt x="116" y="36"/>
                    <a:pt x="116" y="36"/>
                  </a:cubicBezTo>
                  <a:cubicBezTo>
                    <a:pt x="113" y="31"/>
                    <a:pt x="113" y="31"/>
                    <a:pt x="113" y="31"/>
                  </a:cubicBezTo>
                  <a:cubicBezTo>
                    <a:pt x="111" y="28"/>
                    <a:pt x="111" y="28"/>
                    <a:pt x="111" y="28"/>
                  </a:cubicBezTo>
                  <a:cubicBezTo>
                    <a:pt x="115" y="28"/>
                    <a:pt x="115" y="28"/>
                    <a:pt x="115" y="28"/>
                  </a:cubicBezTo>
                  <a:cubicBezTo>
                    <a:pt x="118" y="22"/>
                    <a:pt x="118" y="22"/>
                    <a:pt x="118" y="22"/>
                  </a:cubicBezTo>
                  <a:cubicBezTo>
                    <a:pt x="124" y="18"/>
                    <a:pt x="124" y="18"/>
                    <a:pt x="124" y="18"/>
                  </a:cubicBezTo>
                  <a:cubicBezTo>
                    <a:pt x="127" y="12"/>
                    <a:pt x="127" y="12"/>
                    <a:pt x="127" y="12"/>
                  </a:cubicBezTo>
                  <a:cubicBezTo>
                    <a:pt x="129" y="13"/>
                    <a:pt x="129" y="13"/>
                    <a:pt x="129" y="13"/>
                  </a:cubicBezTo>
                  <a:cubicBezTo>
                    <a:pt x="128" y="20"/>
                    <a:pt x="128" y="20"/>
                    <a:pt x="128" y="20"/>
                  </a:cubicBezTo>
                  <a:cubicBezTo>
                    <a:pt x="125" y="21"/>
                    <a:pt x="125" y="21"/>
                    <a:pt x="125" y="21"/>
                  </a:cubicBezTo>
                  <a:cubicBezTo>
                    <a:pt x="123" y="27"/>
                    <a:pt x="123" y="27"/>
                    <a:pt x="123" y="27"/>
                  </a:cubicBezTo>
                  <a:cubicBezTo>
                    <a:pt x="123" y="31"/>
                    <a:pt x="123" y="31"/>
                    <a:pt x="123" y="31"/>
                  </a:cubicBezTo>
                  <a:cubicBezTo>
                    <a:pt x="127" y="31"/>
                    <a:pt x="127" y="31"/>
                    <a:pt x="127" y="31"/>
                  </a:cubicBezTo>
                  <a:cubicBezTo>
                    <a:pt x="122" y="36"/>
                    <a:pt x="122" y="36"/>
                    <a:pt x="122" y="36"/>
                  </a:cubicBezTo>
                  <a:cubicBezTo>
                    <a:pt x="120" y="39"/>
                    <a:pt x="120" y="39"/>
                    <a:pt x="120" y="39"/>
                  </a:cubicBezTo>
                  <a:cubicBezTo>
                    <a:pt x="126" y="41"/>
                    <a:pt x="126" y="41"/>
                    <a:pt x="126" y="41"/>
                  </a:cubicBezTo>
                  <a:cubicBezTo>
                    <a:pt x="128" y="42"/>
                    <a:pt x="128" y="42"/>
                    <a:pt x="128" y="42"/>
                  </a:cubicBezTo>
                  <a:cubicBezTo>
                    <a:pt x="131" y="46"/>
                    <a:pt x="131" y="46"/>
                    <a:pt x="131" y="46"/>
                  </a:cubicBezTo>
                  <a:cubicBezTo>
                    <a:pt x="130" y="47"/>
                    <a:pt x="130" y="47"/>
                    <a:pt x="130" y="47"/>
                  </a:cubicBezTo>
                  <a:cubicBezTo>
                    <a:pt x="134" y="51"/>
                    <a:pt x="134" y="51"/>
                    <a:pt x="134" y="51"/>
                  </a:cubicBezTo>
                  <a:cubicBezTo>
                    <a:pt x="134" y="53"/>
                    <a:pt x="134" y="53"/>
                    <a:pt x="134" y="53"/>
                  </a:cubicBezTo>
                  <a:cubicBezTo>
                    <a:pt x="130" y="57"/>
                    <a:pt x="130" y="57"/>
                    <a:pt x="130" y="57"/>
                  </a:cubicBezTo>
                  <a:cubicBezTo>
                    <a:pt x="127" y="57"/>
                    <a:pt x="127" y="57"/>
                    <a:pt x="127" y="57"/>
                  </a:cubicBezTo>
                  <a:cubicBezTo>
                    <a:pt x="128" y="61"/>
                    <a:pt x="128" y="61"/>
                    <a:pt x="128" y="61"/>
                  </a:cubicBezTo>
                  <a:cubicBezTo>
                    <a:pt x="127" y="63"/>
                    <a:pt x="127" y="63"/>
                    <a:pt x="127" y="63"/>
                  </a:cubicBezTo>
                  <a:cubicBezTo>
                    <a:pt x="129" y="65"/>
                    <a:pt x="129" y="65"/>
                    <a:pt x="129" y="65"/>
                  </a:cubicBezTo>
                  <a:cubicBezTo>
                    <a:pt x="133" y="66"/>
                    <a:pt x="133" y="66"/>
                    <a:pt x="133" y="66"/>
                  </a:cubicBezTo>
                  <a:cubicBezTo>
                    <a:pt x="139" y="66"/>
                    <a:pt x="139" y="66"/>
                    <a:pt x="139" y="66"/>
                  </a:cubicBezTo>
                  <a:cubicBezTo>
                    <a:pt x="143" y="69"/>
                    <a:pt x="143" y="69"/>
                    <a:pt x="143" y="69"/>
                  </a:cubicBezTo>
                  <a:cubicBezTo>
                    <a:pt x="146" y="75"/>
                    <a:pt x="146" y="75"/>
                    <a:pt x="146" y="75"/>
                  </a:cubicBezTo>
                  <a:cubicBezTo>
                    <a:pt x="148" y="80"/>
                    <a:pt x="148" y="80"/>
                    <a:pt x="148" y="80"/>
                  </a:cubicBezTo>
                  <a:cubicBezTo>
                    <a:pt x="147" y="81"/>
                    <a:pt x="147" y="81"/>
                    <a:pt x="147" y="81"/>
                  </a:cubicBezTo>
                  <a:cubicBezTo>
                    <a:pt x="150" y="84"/>
                    <a:pt x="150" y="84"/>
                    <a:pt x="150" y="84"/>
                  </a:cubicBezTo>
                  <a:cubicBezTo>
                    <a:pt x="152" y="89"/>
                    <a:pt x="152" y="89"/>
                    <a:pt x="152" y="89"/>
                  </a:cubicBezTo>
                  <a:cubicBezTo>
                    <a:pt x="149" y="98"/>
                    <a:pt x="149" y="98"/>
                    <a:pt x="149" y="98"/>
                  </a:cubicBezTo>
                  <a:cubicBezTo>
                    <a:pt x="148" y="104"/>
                    <a:pt x="148" y="104"/>
                    <a:pt x="148" y="104"/>
                  </a:cubicBezTo>
                  <a:cubicBezTo>
                    <a:pt x="148" y="114"/>
                    <a:pt x="148" y="114"/>
                    <a:pt x="148" y="114"/>
                  </a:cubicBezTo>
                  <a:cubicBezTo>
                    <a:pt x="149" y="120"/>
                    <a:pt x="149" y="120"/>
                    <a:pt x="149" y="120"/>
                  </a:cubicBezTo>
                  <a:cubicBezTo>
                    <a:pt x="151" y="123"/>
                    <a:pt x="151" y="123"/>
                    <a:pt x="151" y="123"/>
                  </a:cubicBezTo>
                  <a:cubicBezTo>
                    <a:pt x="153" y="116"/>
                    <a:pt x="153" y="116"/>
                    <a:pt x="153" y="116"/>
                  </a:cubicBezTo>
                  <a:cubicBezTo>
                    <a:pt x="154" y="105"/>
                    <a:pt x="154" y="105"/>
                    <a:pt x="154" y="105"/>
                  </a:cubicBezTo>
                  <a:cubicBezTo>
                    <a:pt x="157" y="102"/>
                    <a:pt x="157" y="102"/>
                    <a:pt x="157" y="102"/>
                  </a:cubicBezTo>
                  <a:cubicBezTo>
                    <a:pt x="157" y="99"/>
                    <a:pt x="157" y="99"/>
                    <a:pt x="157" y="99"/>
                  </a:cubicBezTo>
                  <a:cubicBezTo>
                    <a:pt x="157" y="97"/>
                    <a:pt x="157" y="97"/>
                    <a:pt x="157" y="97"/>
                  </a:cubicBezTo>
                  <a:cubicBezTo>
                    <a:pt x="160" y="95"/>
                    <a:pt x="160" y="95"/>
                    <a:pt x="160" y="95"/>
                  </a:cubicBezTo>
                  <a:cubicBezTo>
                    <a:pt x="163" y="91"/>
                    <a:pt x="163" y="91"/>
                    <a:pt x="163" y="91"/>
                  </a:cubicBezTo>
                  <a:cubicBezTo>
                    <a:pt x="163" y="82"/>
                    <a:pt x="163" y="82"/>
                    <a:pt x="163" y="82"/>
                  </a:cubicBezTo>
                  <a:cubicBezTo>
                    <a:pt x="163" y="79"/>
                    <a:pt x="163" y="79"/>
                    <a:pt x="163" y="79"/>
                  </a:cubicBezTo>
                  <a:cubicBezTo>
                    <a:pt x="163" y="75"/>
                    <a:pt x="163" y="75"/>
                    <a:pt x="163" y="75"/>
                  </a:cubicBezTo>
                  <a:cubicBezTo>
                    <a:pt x="167" y="71"/>
                    <a:pt x="167" y="71"/>
                    <a:pt x="167" y="71"/>
                  </a:cubicBezTo>
                  <a:cubicBezTo>
                    <a:pt x="168" y="74"/>
                    <a:pt x="168" y="74"/>
                    <a:pt x="168" y="74"/>
                  </a:cubicBezTo>
                  <a:cubicBezTo>
                    <a:pt x="167" y="77"/>
                    <a:pt x="167" y="77"/>
                    <a:pt x="167" y="77"/>
                  </a:cubicBezTo>
                  <a:cubicBezTo>
                    <a:pt x="167" y="77"/>
                    <a:pt x="165" y="80"/>
                    <a:pt x="165" y="80"/>
                  </a:cubicBezTo>
                  <a:cubicBezTo>
                    <a:pt x="166" y="81"/>
                    <a:pt x="168" y="82"/>
                    <a:pt x="168" y="82"/>
                  </a:cubicBezTo>
                  <a:cubicBezTo>
                    <a:pt x="170" y="77"/>
                    <a:pt x="170" y="77"/>
                    <a:pt x="170" y="77"/>
                  </a:cubicBezTo>
                  <a:cubicBezTo>
                    <a:pt x="170" y="68"/>
                    <a:pt x="170" y="68"/>
                    <a:pt x="170" y="68"/>
                  </a:cubicBezTo>
                  <a:cubicBezTo>
                    <a:pt x="169" y="54"/>
                    <a:pt x="169" y="54"/>
                    <a:pt x="169" y="54"/>
                  </a:cubicBezTo>
                  <a:cubicBezTo>
                    <a:pt x="169" y="54"/>
                    <a:pt x="169" y="54"/>
                    <a:pt x="169" y="54"/>
                  </a:cubicBezTo>
                  <a:cubicBezTo>
                    <a:pt x="148" y="57"/>
                    <a:pt x="148" y="57"/>
                    <a:pt x="148" y="57"/>
                  </a:cubicBezTo>
                  <a:lnTo>
                    <a:pt x="134" y="0"/>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7" name="Freeform 66">
              <a:extLst>
                <a:ext uri="{FF2B5EF4-FFF2-40B4-BE49-F238E27FC236}">
                  <a16:creationId xmlns:a16="http://schemas.microsoft.com/office/drawing/2014/main" id="{9CDCA799-6F61-D7E1-BD67-D0FD607E4CAF}"/>
                </a:ext>
              </a:extLst>
            </p:cNvPr>
            <p:cNvSpPr>
              <a:spLocks/>
            </p:cNvSpPr>
            <p:nvPr/>
          </p:nvSpPr>
          <p:spPr bwMode="auto">
            <a:xfrm>
              <a:off x="9191649" y="2986150"/>
              <a:ext cx="385860" cy="358387"/>
            </a:xfrm>
            <a:custGeom>
              <a:avLst/>
              <a:gdLst>
                <a:gd name="T0" fmla="*/ 24 w 148"/>
                <a:gd name="T1" fmla="*/ 136 h 146"/>
                <a:gd name="T2" fmla="*/ 31 w 148"/>
                <a:gd name="T3" fmla="*/ 144 h 146"/>
                <a:gd name="T4" fmla="*/ 38 w 148"/>
                <a:gd name="T5" fmla="*/ 146 h 146"/>
                <a:gd name="T6" fmla="*/ 48 w 148"/>
                <a:gd name="T7" fmla="*/ 142 h 146"/>
                <a:gd name="T8" fmla="*/ 64 w 148"/>
                <a:gd name="T9" fmla="*/ 134 h 146"/>
                <a:gd name="T10" fmla="*/ 79 w 148"/>
                <a:gd name="T11" fmla="*/ 125 h 146"/>
                <a:gd name="T12" fmla="*/ 79 w 148"/>
                <a:gd name="T13" fmla="*/ 112 h 146"/>
                <a:gd name="T14" fmla="*/ 87 w 148"/>
                <a:gd name="T15" fmla="*/ 99 h 146"/>
                <a:gd name="T16" fmla="*/ 91 w 148"/>
                <a:gd name="T17" fmla="*/ 80 h 146"/>
                <a:gd name="T18" fmla="*/ 100 w 148"/>
                <a:gd name="T19" fmla="*/ 84 h 146"/>
                <a:gd name="T20" fmla="*/ 103 w 148"/>
                <a:gd name="T21" fmla="*/ 83 h 146"/>
                <a:gd name="T22" fmla="*/ 108 w 148"/>
                <a:gd name="T23" fmla="*/ 71 h 146"/>
                <a:gd name="T24" fmla="*/ 110 w 148"/>
                <a:gd name="T25" fmla="*/ 67 h 146"/>
                <a:gd name="T26" fmla="*/ 114 w 148"/>
                <a:gd name="T27" fmla="*/ 69 h 146"/>
                <a:gd name="T28" fmla="*/ 122 w 148"/>
                <a:gd name="T29" fmla="*/ 57 h 146"/>
                <a:gd name="T30" fmla="*/ 126 w 148"/>
                <a:gd name="T31" fmla="*/ 47 h 146"/>
                <a:gd name="T32" fmla="*/ 135 w 148"/>
                <a:gd name="T33" fmla="*/ 44 h 146"/>
                <a:gd name="T34" fmla="*/ 143 w 148"/>
                <a:gd name="T35" fmla="*/ 47 h 146"/>
                <a:gd name="T36" fmla="*/ 148 w 148"/>
                <a:gd name="T37" fmla="*/ 43 h 146"/>
                <a:gd name="T38" fmla="*/ 145 w 148"/>
                <a:gd name="T39" fmla="*/ 36 h 146"/>
                <a:gd name="T40" fmla="*/ 130 w 148"/>
                <a:gd name="T41" fmla="*/ 28 h 146"/>
                <a:gd name="T42" fmla="*/ 120 w 148"/>
                <a:gd name="T43" fmla="*/ 31 h 146"/>
                <a:gd name="T44" fmla="*/ 113 w 148"/>
                <a:gd name="T45" fmla="*/ 34 h 146"/>
                <a:gd name="T46" fmla="*/ 107 w 148"/>
                <a:gd name="T47" fmla="*/ 40 h 146"/>
                <a:gd name="T48" fmla="*/ 94 w 148"/>
                <a:gd name="T49" fmla="*/ 50 h 146"/>
                <a:gd name="T50" fmla="*/ 88 w 148"/>
                <a:gd name="T51" fmla="*/ 33 h 146"/>
                <a:gd name="T52" fmla="*/ 51 w 148"/>
                <a:gd name="T53" fmla="*/ 0 h 146"/>
                <a:gd name="T54" fmla="*/ 47 w 148"/>
                <a:gd name="T55" fmla="*/ 3 h 146"/>
                <a:gd name="T56" fmla="*/ 48 w 148"/>
                <a:gd name="T57" fmla="*/ 7 h 146"/>
                <a:gd name="T58" fmla="*/ 48 w 148"/>
                <a:gd name="T59" fmla="*/ 19 h 146"/>
                <a:gd name="T60" fmla="*/ 47 w 148"/>
                <a:gd name="T61" fmla="*/ 28 h 146"/>
                <a:gd name="T62" fmla="*/ 46 w 148"/>
                <a:gd name="T63" fmla="*/ 39 h 146"/>
                <a:gd name="T64" fmla="*/ 36 w 148"/>
                <a:gd name="T65" fmla="*/ 51 h 146"/>
                <a:gd name="T66" fmla="*/ 28 w 148"/>
                <a:gd name="T67" fmla="*/ 55 h 146"/>
                <a:gd name="T68" fmla="*/ 21 w 148"/>
                <a:gd name="T69" fmla="*/ 65 h 146"/>
                <a:gd name="T70" fmla="*/ 19 w 148"/>
                <a:gd name="T71" fmla="*/ 76 h 146"/>
                <a:gd name="T72" fmla="*/ 12 w 148"/>
                <a:gd name="T73" fmla="*/ 76 h 146"/>
                <a:gd name="T74" fmla="*/ 9 w 148"/>
                <a:gd name="T75" fmla="*/ 91 h 146"/>
                <a:gd name="T76" fmla="*/ 3 w 148"/>
                <a:gd name="T77" fmla="*/ 98 h 146"/>
                <a:gd name="T78" fmla="*/ 3 w 148"/>
                <a:gd name="T79" fmla="*/ 114 h 146"/>
                <a:gd name="T80" fmla="*/ 10 w 148"/>
                <a:gd name="T81" fmla="*/ 127 h 146"/>
                <a:gd name="T82" fmla="*/ 19 w 148"/>
                <a:gd name="T83" fmla="*/ 138 h 146"/>
                <a:gd name="T84" fmla="*/ 21 w 148"/>
                <a:gd name="T85"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6">
                  <a:moveTo>
                    <a:pt x="21" y="136"/>
                  </a:moveTo>
                  <a:lnTo>
                    <a:pt x="24" y="136"/>
                  </a:lnTo>
                  <a:lnTo>
                    <a:pt x="25" y="139"/>
                  </a:lnTo>
                  <a:lnTo>
                    <a:pt x="31" y="144"/>
                  </a:lnTo>
                  <a:lnTo>
                    <a:pt x="36" y="146"/>
                  </a:lnTo>
                  <a:lnTo>
                    <a:pt x="38" y="146"/>
                  </a:lnTo>
                  <a:lnTo>
                    <a:pt x="44" y="139"/>
                  </a:lnTo>
                  <a:lnTo>
                    <a:pt x="48" y="142"/>
                  </a:lnTo>
                  <a:lnTo>
                    <a:pt x="57" y="140"/>
                  </a:lnTo>
                  <a:lnTo>
                    <a:pt x="64" y="134"/>
                  </a:lnTo>
                  <a:lnTo>
                    <a:pt x="75" y="128"/>
                  </a:lnTo>
                  <a:lnTo>
                    <a:pt x="79" y="125"/>
                  </a:lnTo>
                  <a:lnTo>
                    <a:pt x="78" y="117"/>
                  </a:lnTo>
                  <a:lnTo>
                    <a:pt x="79" y="112"/>
                  </a:lnTo>
                  <a:lnTo>
                    <a:pt x="84" y="107"/>
                  </a:lnTo>
                  <a:lnTo>
                    <a:pt x="87" y="99"/>
                  </a:lnTo>
                  <a:lnTo>
                    <a:pt x="90" y="87"/>
                  </a:lnTo>
                  <a:lnTo>
                    <a:pt x="91" y="80"/>
                  </a:lnTo>
                  <a:lnTo>
                    <a:pt x="95" y="82"/>
                  </a:lnTo>
                  <a:lnTo>
                    <a:pt x="100" y="84"/>
                  </a:lnTo>
                  <a:lnTo>
                    <a:pt x="102" y="85"/>
                  </a:lnTo>
                  <a:lnTo>
                    <a:pt x="103" y="83"/>
                  </a:lnTo>
                  <a:lnTo>
                    <a:pt x="106" y="75"/>
                  </a:lnTo>
                  <a:lnTo>
                    <a:pt x="108" y="71"/>
                  </a:lnTo>
                  <a:lnTo>
                    <a:pt x="109" y="67"/>
                  </a:lnTo>
                  <a:lnTo>
                    <a:pt x="110" y="67"/>
                  </a:lnTo>
                  <a:lnTo>
                    <a:pt x="113" y="67"/>
                  </a:lnTo>
                  <a:lnTo>
                    <a:pt x="114" y="69"/>
                  </a:lnTo>
                  <a:lnTo>
                    <a:pt x="119" y="60"/>
                  </a:lnTo>
                  <a:lnTo>
                    <a:pt x="122" y="57"/>
                  </a:lnTo>
                  <a:lnTo>
                    <a:pt x="124" y="54"/>
                  </a:lnTo>
                  <a:lnTo>
                    <a:pt x="126" y="47"/>
                  </a:lnTo>
                  <a:lnTo>
                    <a:pt x="126" y="39"/>
                  </a:lnTo>
                  <a:lnTo>
                    <a:pt x="135" y="44"/>
                  </a:lnTo>
                  <a:lnTo>
                    <a:pt x="141" y="47"/>
                  </a:lnTo>
                  <a:lnTo>
                    <a:pt x="143" y="47"/>
                  </a:lnTo>
                  <a:lnTo>
                    <a:pt x="146" y="44"/>
                  </a:lnTo>
                  <a:lnTo>
                    <a:pt x="148" y="43"/>
                  </a:lnTo>
                  <a:lnTo>
                    <a:pt x="147" y="43"/>
                  </a:lnTo>
                  <a:lnTo>
                    <a:pt x="145" y="36"/>
                  </a:lnTo>
                  <a:lnTo>
                    <a:pt x="141" y="31"/>
                  </a:lnTo>
                  <a:lnTo>
                    <a:pt x="130" y="28"/>
                  </a:lnTo>
                  <a:lnTo>
                    <a:pt x="123" y="31"/>
                  </a:lnTo>
                  <a:lnTo>
                    <a:pt x="120" y="31"/>
                  </a:lnTo>
                  <a:lnTo>
                    <a:pt x="114" y="35"/>
                  </a:lnTo>
                  <a:lnTo>
                    <a:pt x="113" y="34"/>
                  </a:lnTo>
                  <a:lnTo>
                    <a:pt x="112" y="34"/>
                  </a:lnTo>
                  <a:lnTo>
                    <a:pt x="107" y="40"/>
                  </a:lnTo>
                  <a:lnTo>
                    <a:pt x="102" y="40"/>
                  </a:lnTo>
                  <a:lnTo>
                    <a:pt x="94" y="50"/>
                  </a:lnTo>
                  <a:lnTo>
                    <a:pt x="91" y="50"/>
                  </a:lnTo>
                  <a:lnTo>
                    <a:pt x="88" y="33"/>
                  </a:lnTo>
                  <a:lnTo>
                    <a:pt x="57" y="39"/>
                  </a:lnTo>
                  <a:lnTo>
                    <a:pt x="51" y="0"/>
                  </a:lnTo>
                  <a:lnTo>
                    <a:pt x="48" y="0"/>
                  </a:lnTo>
                  <a:lnTo>
                    <a:pt x="47" y="3"/>
                  </a:lnTo>
                  <a:lnTo>
                    <a:pt x="48" y="6"/>
                  </a:lnTo>
                  <a:lnTo>
                    <a:pt x="48" y="7"/>
                  </a:lnTo>
                  <a:lnTo>
                    <a:pt x="48" y="15"/>
                  </a:lnTo>
                  <a:lnTo>
                    <a:pt x="48" y="19"/>
                  </a:lnTo>
                  <a:lnTo>
                    <a:pt x="47" y="22"/>
                  </a:lnTo>
                  <a:lnTo>
                    <a:pt x="47" y="28"/>
                  </a:lnTo>
                  <a:lnTo>
                    <a:pt x="46" y="36"/>
                  </a:lnTo>
                  <a:lnTo>
                    <a:pt x="46" y="39"/>
                  </a:lnTo>
                  <a:lnTo>
                    <a:pt x="44" y="44"/>
                  </a:lnTo>
                  <a:lnTo>
                    <a:pt x="36" y="51"/>
                  </a:lnTo>
                  <a:lnTo>
                    <a:pt x="33" y="55"/>
                  </a:lnTo>
                  <a:lnTo>
                    <a:pt x="28" y="55"/>
                  </a:lnTo>
                  <a:lnTo>
                    <a:pt x="24" y="61"/>
                  </a:lnTo>
                  <a:lnTo>
                    <a:pt x="21" y="65"/>
                  </a:lnTo>
                  <a:lnTo>
                    <a:pt x="20" y="75"/>
                  </a:lnTo>
                  <a:lnTo>
                    <a:pt x="19" y="76"/>
                  </a:lnTo>
                  <a:lnTo>
                    <a:pt x="15" y="73"/>
                  </a:lnTo>
                  <a:lnTo>
                    <a:pt x="12" y="76"/>
                  </a:lnTo>
                  <a:lnTo>
                    <a:pt x="9" y="87"/>
                  </a:lnTo>
                  <a:lnTo>
                    <a:pt x="9" y="91"/>
                  </a:lnTo>
                  <a:lnTo>
                    <a:pt x="7" y="94"/>
                  </a:lnTo>
                  <a:lnTo>
                    <a:pt x="3" y="98"/>
                  </a:lnTo>
                  <a:lnTo>
                    <a:pt x="0" y="101"/>
                  </a:lnTo>
                  <a:lnTo>
                    <a:pt x="3" y="114"/>
                  </a:lnTo>
                  <a:lnTo>
                    <a:pt x="5" y="120"/>
                  </a:lnTo>
                  <a:lnTo>
                    <a:pt x="10" y="127"/>
                  </a:lnTo>
                  <a:lnTo>
                    <a:pt x="15" y="132"/>
                  </a:lnTo>
                  <a:lnTo>
                    <a:pt x="19" y="138"/>
                  </a:lnTo>
                  <a:lnTo>
                    <a:pt x="20" y="138"/>
                  </a:lnTo>
                  <a:lnTo>
                    <a:pt x="21" y="136"/>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8" name="Freeform 67">
              <a:extLst>
                <a:ext uri="{FF2B5EF4-FFF2-40B4-BE49-F238E27FC236}">
                  <a16:creationId xmlns:a16="http://schemas.microsoft.com/office/drawing/2014/main" id="{05EEA44F-9A04-55E9-CB85-54E84E8B6730}"/>
                </a:ext>
              </a:extLst>
            </p:cNvPr>
            <p:cNvSpPr>
              <a:spLocks/>
            </p:cNvSpPr>
            <p:nvPr/>
          </p:nvSpPr>
          <p:spPr bwMode="auto">
            <a:xfrm>
              <a:off x="8625898" y="3177616"/>
              <a:ext cx="615288" cy="299474"/>
            </a:xfrm>
            <a:custGeom>
              <a:avLst/>
              <a:gdLst>
                <a:gd name="T0" fmla="*/ 207 w 236"/>
                <a:gd name="T1" fmla="*/ 91 h 122"/>
                <a:gd name="T2" fmla="*/ 214 w 236"/>
                <a:gd name="T3" fmla="*/ 88 h 122"/>
                <a:gd name="T4" fmla="*/ 220 w 236"/>
                <a:gd name="T5" fmla="*/ 74 h 122"/>
                <a:gd name="T6" fmla="*/ 235 w 236"/>
                <a:gd name="T7" fmla="*/ 64 h 122"/>
                <a:gd name="T8" fmla="*/ 232 w 236"/>
                <a:gd name="T9" fmla="*/ 54 h 122"/>
                <a:gd name="T10" fmla="*/ 222 w 236"/>
                <a:gd name="T11" fmla="*/ 42 h 122"/>
                <a:gd name="T12" fmla="*/ 217 w 236"/>
                <a:gd name="T13" fmla="*/ 23 h 122"/>
                <a:gd name="T14" fmla="*/ 215 w 236"/>
                <a:gd name="T15" fmla="*/ 22 h 122"/>
                <a:gd name="T16" fmla="*/ 207 w 236"/>
                <a:gd name="T17" fmla="*/ 13 h 122"/>
                <a:gd name="T18" fmla="*/ 203 w 236"/>
                <a:gd name="T19" fmla="*/ 11 h 122"/>
                <a:gd name="T20" fmla="*/ 199 w 236"/>
                <a:gd name="T21" fmla="*/ 15 h 122"/>
                <a:gd name="T22" fmla="*/ 192 w 236"/>
                <a:gd name="T23" fmla="*/ 17 h 122"/>
                <a:gd name="T24" fmla="*/ 184 w 236"/>
                <a:gd name="T25" fmla="*/ 13 h 122"/>
                <a:gd name="T26" fmla="*/ 181 w 236"/>
                <a:gd name="T27" fmla="*/ 16 h 122"/>
                <a:gd name="T28" fmla="*/ 178 w 236"/>
                <a:gd name="T29" fmla="*/ 18 h 122"/>
                <a:gd name="T30" fmla="*/ 174 w 236"/>
                <a:gd name="T31" fmla="*/ 15 h 122"/>
                <a:gd name="T32" fmla="*/ 166 w 236"/>
                <a:gd name="T33" fmla="*/ 13 h 122"/>
                <a:gd name="T34" fmla="*/ 163 w 236"/>
                <a:gd name="T35" fmla="*/ 7 h 122"/>
                <a:gd name="T36" fmla="*/ 154 w 236"/>
                <a:gd name="T37" fmla="*/ 0 h 122"/>
                <a:gd name="T38" fmla="*/ 148 w 236"/>
                <a:gd name="T39" fmla="*/ 3 h 122"/>
                <a:gd name="T40" fmla="*/ 141 w 236"/>
                <a:gd name="T41" fmla="*/ 2 h 122"/>
                <a:gd name="T42" fmla="*/ 144 w 236"/>
                <a:gd name="T43" fmla="*/ 7 h 122"/>
                <a:gd name="T44" fmla="*/ 144 w 236"/>
                <a:gd name="T45" fmla="*/ 15 h 122"/>
                <a:gd name="T46" fmla="*/ 138 w 236"/>
                <a:gd name="T47" fmla="*/ 17 h 122"/>
                <a:gd name="T48" fmla="*/ 126 w 236"/>
                <a:gd name="T49" fmla="*/ 20 h 122"/>
                <a:gd name="T50" fmla="*/ 125 w 236"/>
                <a:gd name="T51" fmla="*/ 23 h 122"/>
                <a:gd name="T52" fmla="*/ 124 w 236"/>
                <a:gd name="T53" fmla="*/ 29 h 122"/>
                <a:gd name="T54" fmla="*/ 120 w 236"/>
                <a:gd name="T55" fmla="*/ 37 h 122"/>
                <a:gd name="T56" fmla="*/ 115 w 236"/>
                <a:gd name="T57" fmla="*/ 39 h 122"/>
                <a:gd name="T58" fmla="*/ 112 w 236"/>
                <a:gd name="T59" fmla="*/ 47 h 122"/>
                <a:gd name="T60" fmla="*/ 104 w 236"/>
                <a:gd name="T61" fmla="*/ 52 h 122"/>
                <a:gd name="T62" fmla="*/ 100 w 236"/>
                <a:gd name="T63" fmla="*/ 48 h 122"/>
                <a:gd name="T64" fmla="*/ 97 w 236"/>
                <a:gd name="T65" fmla="*/ 44 h 122"/>
                <a:gd name="T66" fmla="*/ 93 w 236"/>
                <a:gd name="T67" fmla="*/ 51 h 122"/>
                <a:gd name="T68" fmla="*/ 92 w 236"/>
                <a:gd name="T69" fmla="*/ 58 h 122"/>
                <a:gd name="T70" fmla="*/ 86 w 236"/>
                <a:gd name="T71" fmla="*/ 55 h 122"/>
                <a:gd name="T72" fmla="*/ 80 w 236"/>
                <a:gd name="T73" fmla="*/ 56 h 122"/>
                <a:gd name="T74" fmla="*/ 76 w 236"/>
                <a:gd name="T75" fmla="*/ 61 h 122"/>
                <a:gd name="T76" fmla="*/ 71 w 236"/>
                <a:gd name="T77" fmla="*/ 60 h 122"/>
                <a:gd name="T78" fmla="*/ 63 w 236"/>
                <a:gd name="T79" fmla="*/ 57 h 122"/>
                <a:gd name="T80" fmla="*/ 57 w 236"/>
                <a:gd name="T81" fmla="*/ 61 h 122"/>
                <a:gd name="T82" fmla="*/ 49 w 236"/>
                <a:gd name="T83" fmla="*/ 66 h 122"/>
                <a:gd name="T84" fmla="*/ 43 w 236"/>
                <a:gd name="T85" fmla="*/ 67 h 122"/>
                <a:gd name="T86" fmla="*/ 43 w 236"/>
                <a:gd name="T87" fmla="*/ 72 h 122"/>
                <a:gd name="T88" fmla="*/ 44 w 236"/>
                <a:gd name="T89" fmla="*/ 78 h 122"/>
                <a:gd name="T90" fmla="*/ 36 w 236"/>
                <a:gd name="T91" fmla="*/ 81 h 122"/>
                <a:gd name="T92" fmla="*/ 33 w 236"/>
                <a:gd name="T93" fmla="*/ 88 h 122"/>
                <a:gd name="T94" fmla="*/ 33 w 236"/>
                <a:gd name="T95" fmla="*/ 94 h 122"/>
                <a:gd name="T96" fmla="*/ 27 w 236"/>
                <a:gd name="T97" fmla="*/ 94 h 122"/>
                <a:gd name="T98" fmla="*/ 19 w 236"/>
                <a:gd name="T99" fmla="*/ 89 h 122"/>
                <a:gd name="T100" fmla="*/ 14 w 236"/>
                <a:gd name="T101" fmla="*/ 93 h 122"/>
                <a:gd name="T102" fmla="*/ 10 w 236"/>
                <a:gd name="T103" fmla="*/ 97 h 122"/>
                <a:gd name="T104" fmla="*/ 14 w 236"/>
                <a:gd name="T105" fmla="*/ 102 h 122"/>
                <a:gd name="T106" fmla="*/ 14 w 236"/>
                <a:gd name="T107" fmla="*/ 107 h 122"/>
                <a:gd name="T108" fmla="*/ 12 w 236"/>
                <a:gd name="T109" fmla="*/ 115 h 122"/>
                <a:gd name="T110" fmla="*/ 7 w 236"/>
                <a:gd name="T111" fmla="*/ 116 h 122"/>
                <a:gd name="T112" fmla="*/ 5 w 236"/>
                <a:gd name="T113" fmla="*/ 117 h 122"/>
                <a:gd name="T114" fmla="*/ 0 w 236"/>
                <a:gd name="T115" fmla="*/ 117 h 122"/>
                <a:gd name="T116" fmla="*/ 0 w 236"/>
                <a:gd name="T117" fmla="*/ 121 h 122"/>
                <a:gd name="T118" fmla="*/ 2 w 236"/>
                <a:gd name="T119" fmla="*/ 121 h 122"/>
                <a:gd name="T120" fmla="*/ 50 w 236"/>
                <a:gd name="T121" fmla="*/ 111 h 122"/>
                <a:gd name="T122" fmla="*/ 192 w 236"/>
                <a:gd name="T123" fmla="*/ 100 h 122"/>
                <a:gd name="T124" fmla="*/ 202 w 236"/>
                <a:gd name="T12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122">
                  <a:moveTo>
                    <a:pt x="202" y="94"/>
                  </a:moveTo>
                  <a:lnTo>
                    <a:pt x="207" y="91"/>
                  </a:lnTo>
                  <a:lnTo>
                    <a:pt x="210" y="89"/>
                  </a:lnTo>
                  <a:lnTo>
                    <a:pt x="214" y="88"/>
                  </a:lnTo>
                  <a:lnTo>
                    <a:pt x="217" y="79"/>
                  </a:lnTo>
                  <a:lnTo>
                    <a:pt x="220" y="74"/>
                  </a:lnTo>
                  <a:lnTo>
                    <a:pt x="231" y="70"/>
                  </a:lnTo>
                  <a:lnTo>
                    <a:pt x="235" y="64"/>
                  </a:lnTo>
                  <a:lnTo>
                    <a:pt x="236" y="60"/>
                  </a:lnTo>
                  <a:lnTo>
                    <a:pt x="232" y="54"/>
                  </a:lnTo>
                  <a:lnTo>
                    <a:pt x="227" y="49"/>
                  </a:lnTo>
                  <a:lnTo>
                    <a:pt x="222" y="42"/>
                  </a:lnTo>
                  <a:lnTo>
                    <a:pt x="220" y="36"/>
                  </a:lnTo>
                  <a:lnTo>
                    <a:pt x="217" y="23"/>
                  </a:lnTo>
                  <a:lnTo>
                    <a:pt x="218" y="22"/>
                  </a:lnTo>
                  <a:lnTo>
                    <a:pt x="215" y="22"/>
                  </a:lnTo>
                  <a:lnTo>
                    <a:pt x="211" y="18"/>
                  </a:lnTo>
                  <a:lnTo>
                    <a:pt x="207" y="13"/>
                  </a:lnTo>
                  <a:lnTo>
                    <a:pt x="204" y="10"/>
                  </a:lnTo>
                  <a:lnTo>
                    <a:pt x="203" y="11"/>
                  </a:lnTo>
                  <a:lnTo>
                    <a:pt x="201" y="12"/>
                  </a:lnTo>
                  <a:lnTo>
                    <a:pt x="199" y="15"/>
                  </a:lnTo>
                  <a:lnTo>
                    <a:pt x="198" y="16"/>
                  </a:lnTo>
                  <a:lnTo>
                    <a:pt x="192" y="17"/>
                  </a:lnTo>
                  <a:lnTo>
                    <a:pt x="187" y="15"/>
                  </a:lnTo>
                  <a:lnTo>
                    <a:pt x="184" y="13"/>
                  </a:lnTo>
                  <a:lnTo>
                    <a:pt x="183" y="14"/>
                  </a:lnTo>
                  <a:lnTo>
                    <a:pt x="181" y="16"/>
                  </a:lnTo>
                  <a:lnTo>
                    <a:pt x="181" y="17"/>
                  </a:lnTo>
                  <a:lnTo>
                    <a:pt x="178" y="18"/>
                  </a:lnTo>
                  <a:lnTo>
                    <a:pt x="176" y="16"/>
                  </a:lnTo>
                  <a:lnTo>
                    <a:pt x="174" y="15"/>
                  </a:lnTo>
                  <a:lnTo>
                    <a:pt x="171" y="14"/>
                  </a:lnTo>
                  <a:lnTo>
                    <a:pt x="166" y="13"/>
                  </a:lnTo>
                  <a:lnTo>
                    <a:pt x="165" y="11"/>
                  </a:lnTo>
                  <a:lnTo>
                    <a:pt x="163" y="7"/>
                  </a:lnTo>
                  <a:lnTo>
                    <a:pt x="159" y="4"/>
                  </a:lnTo>
                  <a:lnTo>
                    <a:pt x="154" y="0"/>
                  </a:lnTo>
                  <a:lnTo>
                    <a:pt x="153" y="1"/>
                  </a:lnTo>
                  <a:lnTo>
                    <a:pt x="148" y="3"/>
                  </a:lnTo>
                  <a:lnTo>
                    <a:pt x="143" y="1"/>
                  </a:lnTo>
                  <a:lnTo>
                    <a:pt x="141" y="2"/>
                  </a:lnTo>
                  <a:lnTo>
                    <a:pt x="142" y="6"/>
                  </a:lnTo>
                  <a:lnTo>
                    <a:pt x="144" y="7"/>
                  </a:lnTo>
                  <a:lnTo>
                    <a:pt x="143" y="9"/>
                  </a:lnTo>
                  <a:lnTo>
                    <a:pt x="144" y="15"/>
                  </a:lnTo>
                  <a:lnTo>
                    <a:pt x="142" y="17"/>
                  </a:lnTo>
                  <a:lnTo>
                    <a:pt x="138" y="17"/>
                  </a:lnTo>
                  <a:lnTo>
                    <a:pt x="134" y="19"/>
                  </a:lnTo>
                  <a:lnTo>
                    <a:pt x="126" y="20"/>
                  </a:lnTo>
                  <a:lnTo>
                    <a:pt x="125" y="21"/>
                  </a:lnTo>
                  <a:lnTo>
                    <a:pt x="125" y="23"/>
                  </a:lnTo>
                  <a:lnTo>
                    <a:pt x="124" y="25"/>
                  </a:lnTo>
                  <a:lnTo>
                    <a:pt x="124" y="29"/>
                  </a:lnTo>
                  <a:lnTo>
                    <a:pt x="122" y="33"/>
                  </a:lnTo>
                  <a:lnTo>
                    <a:pt x="120" y="37"/>
                  </a:lnTo>
                  <a:lnTo>
                    <a:pt x="118" y="39"/>
                  </a:lnTo>
                  <a:lnTo>
                    <a:pt x="115" y="39"/>
                  </a:lnTo>
                  <a:lnTo>
                    <a:pt x="112" y="44"/>
                  </a:lnTo>
                  <a:lnTo>
                    <a:pt x="112" y="47"/>
                  </a:lnTo>
                  <a:lnTo>
                    <a:pt x="110" y="51"/>
                  </a:lnTo>
                  <a:lnTo>
                    <a:pt x="104" y="52"/>
                  </a:lnTo>
                  <a:lnTo>
                    <a:pt x="103" y="51"/>
                  </a:lnTo>
                  <a:lnTo>
                    <a:pt x="100" y="48"/>
                  </a:lnTo>
                  <a:lnTo>
                    <a:pt x="99" y="44"/>
                  </a:lnTo>
                  <a:lnTo>
                    <a:pt x="97" y="44"/>
                  </a:lnTo>
                  <a:lnTo>
                    <a:pt x="96" y="48"/>
                  </a:lnTo>
                  <a:lnTo>
                    <a:pt x="93" y="51"/>
                  </a:lnTo>
                  <a:lnTo>
                    <a:pt x="93" y="55"/>
                  </a:lnTo>
                  <a:lnTo>
                    <a:pt x="92" y="58"/>
                  </a:lnTo>
                  <a:lnTo>
                    <a:pt x="88" y="57"/>
                  </a:lnTo>
                  <a:lnTo>
                    <a:pt x="86" y="55"/>
                  </a:lnTo>
                  <a:lnTo>
                    <a:pt x="82" y="55"/>
                  </a:lnTo>
                  <a:lnTo>
                    <a:pt x="80" y="56"/>
                  </a:lnTo>
                  <a:lnTo>
                    <a:pt x="76" y="57"/>
                  </a:lnTo>
                  <a:lnTo>
                    <a:pt x="76" y="61"/>
                  </a:lnTo>
                  <a:lnTo>
                    <a:pt x="75" y="62"/>
                  </a:lnTo>
                  <a:lnTo>
                    <a:pt x="71" y="60"/>
                  </a:lnTo>
                  <a:lnTo>
                    <a:pt x="68" y="57"/>
                  </a:lnTo>
                  <a:lnTo>
                    <a:pt x="63" y="57"/>
                  </a:lnTo>
                  <a:lnTo>
                    <a:pt x="60" y="57"/>
                  </a:lnTo>
                  <a:lnTo>
                    <a:pt x="57" y="61"/>
                  </a:lnTo>
                  <a:lnTo>
                    <a:pt x="49" y="61"/>
                  </a:lnTo>
                  <a:lnTo>
                    <a:pt x="49" y="66"/>
                  </a:lnTo>
                  <a:lnTo>
                    <a:pt x="46" y="66"/>
                  </a:lnTo>
                  <a:lnTo>
                    <a:pt x="43" y="67"/>
                  </a:lnTo>
                  <a:lnTo>
                    <a:pt x="43" y="71"/>
                  </a:lnTo>
                  <a:lnTo>
                    <a:pt x="43" y="72"/>
                  </a:lnTo>
                  <a:lnTo>
                    <a:pt x="43" y="75"/>
                  </a:lnTo>
                  <a:lnTo>
                    <a:pt x="44" y="78"/>
                  </a:lnTo>
                  <a:lnTo>
                    <a:pt x="42" y="79"/>
                  </a:lnTo>
                  <a:lnTo>
                    <a:pt x="36" y="81"/>
                  </a:lnTo>
                  <a:lnTo>
                    <a:pt x="33" y="83"/>
                  </a:lnTo>
                  <a:lnTo>
                    <a:pt x="33" y="88"/>
                  </a:lnTo>
                  <a:lnTo>
                    <a:pt x="35" y="93"/>
                  </a:lnTo>
                  <a:lnTo>
                    <a:pt x="33" y="94"/>
                  </a:lnTo>
                  <a:lnTo>
                    <a:pt x="30" y="94"/>
                  </a:lnTo>
                  <a:lnTo>
                    <a:pt x="27" y="94"/>
                  </a:lnTo>
                  <a:lnTo>
                    <a:pt x="23" y="91"/>
                  </a:lnTo>
                  <a:lnTo>
                    <a:pt x="19" y="89"/>
                  </a:lnTo>
                  <a:lnTo>
                    <a:pt x="17" y="90"/>
                  </a:lnTo>
                  <a:lnTo>
                    <a:pt x="14" y="93"/>
                  </a:lnTo>
                  <a:lnTo>
                    <a:pt x="11" y="94"/>
                  </a:lnTo>
                  <a:lnTo>
                    <a:pt x="10" y="97"/>
                  </a:lnTo>
                  <a:lnTo>
                    <a:pt x="10" y="100"/>
                  </a:lnTo>
                  <a:lnTo>
                    <a:pt x="14" y="102"/>
                  </a:lnTo>
                  <a:lnTo>
                    <a:pt x="14" y="104"/>
                  </a:lnTo>
                  <a:lnTo>
                    <a:pt x="14" y="107"/>
                  </a:lnTo>
                  <a:lnTo>
                    <a:pt x="14" y="112"/>
                  </a:lnTo>
                  <a:lnTo>
                    <a:pt x="12" y="115"/>
                  </a:lnTo>
                  <a:lnTo>
                    <a:pt x="10" y="116"/>
                  </a:lnTo>
                  <a:lnTo>
                    <a:pt x="7" y="116"/>
                  </a:lnTo>
                  <a:lnTo>
                    <a:pt x="5" y="117"/>
                  </a:lnTo>
                  <a:lnTo>
                    <a:pt x="5" y="117"/>
                  </a:lnTo>
                  <a:lnTo>
                    <a:pt x="4" y="117"/>
                  </a:lnTo>
                  <a:lnTo>
                    <a:pt x="0" y="117"/>
                  </a:lnTo>
                  <a:lnTo>
                    <a:pt x="0" y="118"/>
                  </a:lnTo>
                  <a:lnTo>
                    <a:pt x="0" y="121"/>
                  </a:lnTo>
                  <a:lnTo>
                    <a:pt x="0" y="122"/>
                  </a:lnTo>
                  <a:lnTo>
                    <a:pt x="2" y="121"/>
                  </a:lnTo>
                  <a:lnTo>
                    <a:pt x="52" y="120"/>
                  </a:lnTo>
                  <a:lnTo>
                    <a:pt x="50" y="111"/>
                  </a:lnTo>
                  <a:lnTo>
                    <a:pt x="143" y="105"/>
                  </a:lnTo>
                  <a:lnTo>
                    <a:pt x="192" y="100"/>
                  </a:lnTo>
                  <a:lnTo>
                    <a:pt x="198" y="97"/>
                  </a:lnTo>
                  <a:lnTo>
                    <a:pt x="202" y="94"/>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9" name="Freeform 68">
              <a:extLst>
                <a:ext uri="{FF2B5EF4-FFF2-40B4-BE49-F238E27FC236}">
                  <a16:creationId xmlns:a16="http://schemas.microsoft.com/office/drawing/2014/main" id="{57BC6931-C01D-A354-AB9F-F6E4D4AA7674}"/>
                </a:ext>
              </a:extLst>
            </p:cNvPr>
            <p:cNvSpPr>
              <a:spLocks/>
            </p:cNvSpPr>
            <p:nvPr/>
          </p:nvSpPr>
          <p:spPr bwMode="auto">
            <a:xfrm>
              <a:off x="8101858" y="3072064"/>
              <a:ext cx="560538" cy="459030"/>
            </a:xfrm>
            <a:custGeom>
              <a:avLst/>
              <a:gdLst>
                <a:gd name="T0" fmla="*/ 238 w 254"/>
                <a:gd name="T1" fmla="*/ 190 h 221"/>
                <a:gd name="T2" fmla="*/ 242 w 254"/>
                <a:gd name="T3" fmla="*/ 189 h 221"/>
                <a:gd name="T4" fmla="*/ 244 w 254"/>
                <a:gd name="T5" fmla="*/ 188 h 221"/>
                <a:gd name="T6" fmla="*/ 249 w 254"/>
                <a:gd name="T7" fmla="*/ 187 h 221"/>
                <a:gd name="T8" fmla="*/ 254 w 254"/>
                <a:gd name="T9" fmla="*/ 183 h 221"/>
                <a:gd name="T10" fmla="*/ 254 w 254"/>
                <a:gd name="T11" fmla="*/ 173 h 221"/>
                <a:gd name="T12" fmla="*/ 250 w 254"/>
                <a:gd name="T13" fmla="*/ 168 h 221"/>
                <a:gd name="T14" fmla="*/ 251 w 254"/>
                <a:gd name="T15" fmla="*/ 161 h 221"/>
                <a:gd name="T16" fmla="*/ 243 w 254"/>
                <a:gd name="T17" fmla="*/ 166 h 221"/>
                <a:gd name="T18" fmla="*/ 238 w 254"/>
                <a:gd name="T19" fmla="*/ 156 h 221"/>
                <a:gd name="T20" fmla="*/ 240 w 254"/>
                <a:gd name="T21" fmla="*/ 146 h 221"/>
                <a:gd name="T22" fmla="*/ 232 w 254"/>
                <a:gd name="T23" fmla="*/ 131 h 221"/>
                <a:gd name="T24" fmla="*/ 216 w 254"/>
                <a:gd name="T25" fmla="*/ 124 h 221"/>
                <a:gd name="T26" fmla="*/ 202 w 254"/>
                <a:gd name="T27" fmla="*/ 112 h 221"/>
                <a:gd name="T28" fmla="*/ 204 w 254"/>
                <a:gd name="T29" fmla="*/ 100 h 221"/>
                <a:gd name="T30" fmla="*/ 206 w 254"/>
                <a:gd name="T31" fmla="*/ 91 h 221"/>
                <a:gd name="T32" fmla="*/ 206 w 254"/>
                <a:gd name="T33" fmla="*/ 80 h 221"/>
                <a:gd name="T34" fmla="*/ 196 w 254"/>
                <a:gd name="T35" fmla="*/ 76 h 221"/>
                <a:gd name="T36" fmla="*/ 191 w 254"/>
                <a:gd name="T37" fmla="*/ 81 h 221"/>
                <a:gd name="T38" fmla="*/ 186 w 254"/>
                <a:gd name="T39" fmla="*/ 67 h 221"/>
                <a:gd name="T40" fmla="*/ 163 w 254"/>
                <a:gd name="T41" fmla="*/ 45 h 221"/>
                <a:gd name="T42" fmla="*/ 156 w 254"/>
                <a:gd name="T43" fmla="*/ 22 h 221"/>
                <a:gd name="T44" fmla="*/ 158 w 254"/>
                <a:gd name="T45" fmla="*/ 10 h 221"/>
                <a:gd name="T46" fmla="*/ 0 w 254"/>
                <a:gd name="T47" fmla="*/ 2 h 221"/>
                <a:gd name="T48" fmla="*/ 4 w 254"/>
                <a:gd name="T49" fmla="*/ 6 h 221"/>
                <a:gd name="T50" fmla="*/ 3 w 254"/>
                <a:gd name="T51" fmla="*/ 13 h 221"/>
                <a:gd name="T52" fmla="*/ 5 w 254"/>
                <a:gd name="T53" fmla="*/ 17 h 221"/>
                <a:gd name="T54" fmla="*/ 12 w 254"/>
                <a:gd name="T55" fmla="*/ 25 h 221"/>
                <a:gd name="T56" fmla="*/ 14 w 254"/>
                <a:gd name="T57" fmla="*/ 29 h 221"/>
                <a:gd name="T58" fmla="*/ 20 w 254"/>
                <a:gd name="T59" fmla="*/ 39 h 221"/>
                <a:gd name="T60" fmla="*/ 31 w 254"/>
                <a:gd name="T61" fmla="*/ 39 h 221"/>
                <a:gd name="T62" fmla="*/ 28 w 254"/>
                <a:gd name="T63" fmla="*/ 50 h 221"/>
                <a:gd name="T64" fmla="*/ 31 w 254"/>
                <a:gd name="T65" fmla="*/ 61 h 221"/>
                <a:gd name="T66" fmla="*/ 36 w 254"/>
                <a:gd name="T67" fmla="*/ 69 h 221"/>
                <a:gd name="T68" fmla="*/ 42 w 254"/>
                <a:gd name="T69" fmla="*/ 176 h 221"/>
                <a:gd name="T70" fmla="*/ 215 w 254"/>
                <a:gd name="T71" fmla="*/ 197 h 221"/>
                <a:gd name="T72" fmla="*/ 205 w 254"/>
                <a:gd name="T73" fmla="*/ 221 h 221"/>
                <a:gd name="T74" fmla="*/ 234 w 254"/>
                <a:gd name="T75" fmla="*/ 216 h 221"/>
                <a:gd name="T76" fmla="*/ 237 w 254"/>
                <a:gd name="T77" fmla="*/ 211 h 221"/>
                <a:gd name="T78" fmla="*/ 234 w 254"/>
                <a:gd name="T79" fmla="*/ 206 h 221"/>
                <a:gd name="T80" fmla="*/ 237 w 254"/>
                <a:gd name="T81" fmla="*/ 203 h 221"/>
                <a:gd name="T82" fmla="*/ 238 w 254"/>
                <a:gd name="T83" fmla="*/ 197 h 221"/>
                <a:gd name="T84" fmla="*/ 238 w 254"/>
                <a:gd name="T85"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221">
                  <a:moveTo>
                    <a:pt x="238" y="193"/>
                  </a:moveTo>
                  <a:cubicBezTo>
                    <a:pt x="238" y="190"/>
                    <a:pt x="238" y="190"/>
                    <a:pt x="238" y="190"/>
                  </a:cubicBezTo>
                  <a:cubicBezTo>
                    <a:pt x="238" y="189"/>
                    <a:pt x="238" y="189"/>
                    <a:pt x="238" y="189"/>
                  </a:cubicBezTo>
                  <a:cubicBezTo>
                    <a:pt x="242" y="189"/>
                    <a:pt x="242" y="189"/>
                    <a:pt x="242" y="189"/>
                  </a:cubicBezTo>
                  <a:cubicBezTo>
                    <a:pt x="243" y="189"/>
                    <a:pt x="243" y="189"/>
                    <a:pt x="243" y="189"/>
                  </a:cubicBezTo>
                  <a:cubicBezTo>
                    <a:pt x="244" y="188"/>
                    <a:pt x="244" y="188"/>
                    <a:pt x="244" y="188"/>
                  </a:cubicBezTo>
                  <a:cubicBezTo>
                    <a:pt x="246" y="187"/>
                    <a:pt x="246" y="187"/>
                    <a:pt x="246" y="187"/>
                  </a:cubicBezTo>
                  <a:cubicBezTo>
                    <a:pt x="249" y="187"/>
                    <a:pt x="249" y="187"/>
                    <a:pt x="249" y="187"/>
                  </a:cubicBezTo>
                  <a:cubicBezTo>
                    <a:pt x="252" y="186"/>
                    <a:pt x="252" y="186"/>
                    <a:pt x="252" y="186"/>
                  </a:cubicBezTo>
                  <a:cubicBezTo>
                    <a:pt x="254" y="183"/>
                    <a:pt x="254" y="183"/>
                    <a:pt x="254" y="183"/>
                  </a:cubicBezTo>
                  <a:cubicBezTo>
                    <a:pt x="254" y="177"/>
                    <a:pt x="254" y="177"/>
                    <a:pt x="254" y="177"/>
                  </a:cubicBezTo>
                  <a:cubicBezTo>
                    <a:pt x="254" y="173"/>
                    <a:pt x="254" y="173"/>
                    <a:pt x="254" y="173"/>
                  </a:cubicBezTo>
                  <a:cubicBezTo>
                    <a:pt x="254" y="171"/>
                    <a:pt x="254" y="171"/>
                    <a:pt x="254" y="171"/>
                  </a:cubicBezTo>
                  <a:cubicBezTo>
                    <a:pt x="250" y="168"/>
                    <a:pt x="250" y="168"/>
                    <a:pt x="250" y="168"/>
                  </a:cubicBezTo>
                  <a:cubicBezTo>
                    <a:pt x="250" y="165"/>
                    <a:pt x="250" y="165"/>
                    <a:pt x="250" y="165"/>
                  </a:cubicBezTo>
                  <a:cubicBezTo>
                    <a:pt x="251" y="161"/>
                    <a:pt x="251" y="161"/>
                    <a:pt x="251" y="161"/>
                  </a:cubicBezTo>
                  <a:cubicBezTo>
                    <a:pt x="246" y="161"/>
                    <a:pt x="246" y="161"/>
                    <a:pt x="246" y="161"/>
                  </a:cubicBezTo>
                  <a:cubicBezTo>
                    <a:pt x="243" y="166"/>
                    <a:pt x="243" y="166"/>
                    <a:pt x="243" y="166"/>
                  </a:cubicBezTo>
                  <a:cubicBezTo>
                    <a:pt x="243" y="161"/>
                    <a:pt x="243" y="161"/>
                    <a:pt x="243" y="161"/>
                  </a:cubicBezTo>
                  <a:cubicBezTo>
                    <a:pt x="238" y="156"/>
                    <a:pt x="238" y="156"/>
                    <a:pt x="238" y="156"/>
                  </a:cubicBezTo>
                  <a:cubicBezTo>
                    <a:pt x="239" y="152"/>
                    <a:pt x="239" y="152"/>
                    <a:pt x="239" y="152"/>
                  </a:cubicBezTo>
                  <a:cubicBezTo>
                    <a:pt x="240" y="146"/>
                    <a:pt x="240" y="146"/>
                    <a:pt x="240" y="146"/>
                  </a:cubicBezTo>
                  <a:cubicBezTo>
                    <a:pt x="236" y="135"/>
                    <a:pt x="236" y="135"/>
                    <a:pt x="236" y="135"/>
                  </a:cubicBezTo>
                  <a:cubicBezTo>
                    <a:pt x="232" y="131"/>
                    <a:pt x="232" y="131"/>
                    <a:pt x="232" y="131"/>
                  </a:cubicBezTo>
                  <a:cubicBezTo>
                    <a:pt x="219" y="122"/>
                    <a:pt x="219" y="122"/>
                    <a:pt x="219" y="122"/>
                  </a:cubicBezTo>
                  <a:cubicBezTo>
                    <a:pt x="216" y="124"/>
                    <a:pt x="216" y="124"/>
                    <a:pt x="216" y="124"/>
                  </a:cubicBezTo>
                  <a:cubicBezTo>
                    <a:pt x="208" y="118"/>
                    <a:pt x="208" y="118"/>
                    <a:pt x="208" y="118"/>
                  </a:cubicBezTo>
                  <a:cubicBezTo>
                    <a:pt x="202" y="112"/>
                    <a:pt x="202" y="112"/>
                    <a:pt x="202" y="112"/>
                  </a:cubicBezTo>
                  <a:cubicBezTo>
                    <a:pt x="202" y="106"/>
                    <a:pt x="202" y="106"/>
                    <a:pt x="202" y="106"/>
                  </a:cubicBezTo>
                  <a:cubicBezTo>
                    <a:pt x="204" y="100"/>
                    <a:pt x="204" y="100"/>
                    <a:pt x="204" y="100"/>
                  </a:cubicBezTo>
                  <a:cubicBezTo>
                    <a:pt x="205" y="96"/>
                    <a:pt x="205" y="96"/>
                    <a:pt x="205" y="96"/>
                  </a:cubicBezTo>
                  <a:cubicBezTo>
                    <a:pt x="206" y="91"/>
                    <a:pt x="206" y="91"/>
                    <a:pt x="206" y="91"/>
                  </a:cubicBezTo>
                  <a:cubicBezTo>
                    <a:pt x="209" y="84"/>
                    <a:pt x="209" y="84"/>
                    <a:pt x="209" y="84"/>
                  </a:cubicBezTo>
                  <a:cubicBezTo>
                    <a:pt x="206" y="80"/>
                    <a:pt x="206" y="80"/>
                    <a:pt x="206" y="80"/>
                  </a:cubicBezTo>
                  <a:cubicBezTo>
                    <a:pt x="202" y="76"/>
                    <a:pt x="202" y="76"/>
                    <a:pt x="202" y="76"/>
                  </a:cubicBezTo>
                  <a:cubicBezTo>
                    <a:pt x="196" y="76"/>
                    <a:pt x="196" y="76"/>
                    <a:pt x="196" y="76"/>
                  </a:cubicBezTo>
                  <a:cubicBezTo>
                    <a:pt x="193" y="78"/>
                    <a:pt x="193" y="78"/>
                    <a:pt x="193" y="78"/>
                  </a:cubicBezTo>
                  <a:cubicBezTo>
                    <a:pt x="191" y="81"/>
                    <a:pt x="191" y="81"/>
                    <a:pt x="191" y="81"/>
                  </a:cubicBezTo>
                  <a:cubicBezTo>
                    <a:pt x="186" y="76"/>
                    <a:pt x="186" y="76"/>
                    <a:pt x="186" y="76"/>
                  </a:cubicBezTo>
                  <a:cubicBezTo>
                    <a:pt x="186" y="67"/>
                    <a:pt x="186" y="67"/>
                    <a:pt x="186" y="67"/>
                  </a:cubicBezTo>
                  <a:cubicBezTo>
                    <a:pt x="181" y="60"/>
                    <a:pt x="181" y="60"/>
                    <a:pt x="181" y="60"/>
                  </a:cubicBezTo>
                  <a:cubicBezTo>
                    <a:pt x="163" y="45"/>
                    <a:pt x="163" y="45"/>
                    <a:pt x="163" y="45"/>
                  </a:cubicBezTo>
                  <a:cubicBezTo>
                    <a:pt x="156" y="33"/>
                    <a:pt x="156" y="33"/>
                    <a:pt x="156" y="33"/>
                  </a:cubicBezTo>
                  <a:cubicBezTo>
                    <a:pt x="156" y="22"/>
                    <a:pt x="156" y="22"/>
                    <a:pt x="156" y="22"/>
                  </a:cubicBezTo>
                  <a:cubicBezTo>
                    <a:pt x="156" y="11"/>
                    <a:pt x="156" y="11"/>
                    <a:pt x="156" y="11"/>
                  </a:cubicBezTo>
                  <a:cubicBezTo>
                    <a:pt x="158" y="10"/>
                    <a:pt x="158" y="10"/>
                    <a:pt x="158" y="10"/>
                  </a:cubicBezTo>
                  <a:cubicBezTo>
                    <a:pt x="146" y="0"/>
                    <a:pt x="146" y="0"/>
                    <a:pt x="146" y="0"/>
                  </a:cubicBezTo>
                  <a:cubicBezTo>
                    <a:pt x="0" y="2"/>
                    <a:pt x="0" y="2"/>
                    <a:pt x="0" y="2"/>
                  </a:cubicBezTo>
                  <a:cubicBezTo>
                    <a:pt x="1" y="4"/>
                    <a:pt x="1" y="4"/>
                    <a:pt x="1" y="4"/>
                  </a:cubicBezTo>
                  <a:cubicBezTo>
                    <a:pt x="4" y="6"/>
                    <a:pt x="4" y="6"/>
                    <a:pt x="4" y="6"/>
                  </a:cubicBezTo>
                  <a:cubicBezTo>
                    <a:pt x="5" y="11"/>
                    <a:pt x="5" y="11"/>
                    <a:pt x="5" y="11"/>
                  </a:cubicBezTo>
                  <a:cubicBezTo>
                    <a:pt x="3" y="13"/>
                    <a:pt x="3" y="13"/>
                    <a:pt x="3" y="13"/>
                  </a:cubicBezTo>
                  <a:cubicBezTo>
                    <a:pt x="5" y="16"/>
                    <a:pt x="5" y="16"/>
                    <a:pt x="5" y="16"/>
                  </a:cubicBezTo>
                  <a:cubicBezTo>
                    <a:pt x="5" y="16"/>
                    <a:pt x="4" y="16"/>
                    <a:pt x="5" y="17"/>
                  </a:cubicBezTo>
                  <a:cubicBezTo>
                    <a:pt x="6" y="18"/>
                    <a:pt x="11" y="19"/>
                    <a:pt x="11" y="19"/>
                  </a:cubicBezTo>
                  <a:cubicBezTo>
                    <a:pt x="12" y="25"/>
                    <a:pt x="12" y="25"/>
                    <a:pt x="12" y="25"/>
                  </a:cubicBezTo>
                  <a:cubicBezTo>
                    <a:pt x="14" y="29"/>
                    <a:pt x="14" y="29"/>
                    <a:pt x="14" y="29"/>
                  </a:cubicBezTo>
                  <a:cubicBezTo>
                    <a:pt x="14" y="29"/>
                    <a:pt x="14" y="29"/>
                    <a:pt x="14" y="29"/>
                  </a:cubicBezTo>
                  <a:cubicBezTo>
                    <a:pt x="18" y="35"/>
                    <a:pt x="18" y="35"/>
                    <a:pt x="18" y="35"/>
                  </a:cubicBezTo>
                  <a:cubicBezTo>
                    <a:pt x="20" y="39"/>
                    <a:pt x="20" y="39"/>
                    <a:pt x="20" y="39"/>
                  </a:cubicBezTo>
                  <a:cubicBezTo>
                    <a:pt x="29" y="39"/>
                    <a:pt x="29" y="39"/>
                    <a:pt x="29" y="39"/>
                  </a:cubicBezTo>
                  <a:cubicBezTo>
                    <a:pt x="31" y="39"/>
                    <a:pt x="31" y="39"/>
                    <a:pt x="31" y="39"/>
                  </a:cubicBezTo>
                  <a:cubicBezTo>
                    <a:pt x="31" y="44"/>
                    <a:pt x="31" y="44"/>
                    <a:pt x="31" y="44"/>
                  </a:cubicBezTo>
                  <a:cubicBezTo>
                    <a:pt x="28" y="50"/>
                    <a:pt x="28" y="50"/>
                    <a:pt x="28" y="50"/>
                  </a:cubicBezTo>
                  <a:cubicBezTo>
                    <a:pt x="25" y="55"/>
                    <a:pt x="25" y="55"/>
                    <a:pt x="25" y="55"/>
                  </a:cubicBezTo>
                  <a:cubicBezTo>
                    <a:pt x="31" y="61"/>
                    <a:pt x="31" y="61"/>
                    <a:pt x="31" y="61"/>
                  </a:cubicBezTo>
                  <a:cubicBezTo>
                    <a:pt x="33" y="67"/>
                    <a:pt x="33" y="67"/>
                    <a:pt x="33" y="67"/>
                  </a:cubicBezTo>
                  <a:cubicBezTo>
                    <a:pt x="36" y="69"/>
                    <a:pt x="36" y="69"/>
                    <a:pt x="36" y="69"/>
                  </a:cubicBezTo>
                  <a:cubicBezTo>
                    <a:pt x="42" y="72"/>
                    <a:pt x="42" y="72"/>
                    <a:pt x="42" y="72"/>
                  </a:cubicBezTo>
                  <a:cubicBezTo>
                    <a:pt x="42" y="176"/>
                    <a:pt x="42" y="176"/>
                    <a:pt x="42" y="176"/>
                  </a:cubicBezTo>
                  <a:cubicBezTo>
                    <a:pt x="42" y="201"/>
                    <a:pt x="42" y="201"/>
                    <a:pt x="42" y="201"/>
                  </a:cubicBezTo>
                  <a:cubicBezTo>
                    <a:pt x="215" y="197"/>
                    <a:pt x="215" y="197"/>
                    <a:pt x="215" y="197"/>
                  </a:cubicBezTo>
                  <a:cubicBezTo>
                    <a:pt x="216" y="203"/>
                    <a:pt x="216" y="203"/>
                    <a:pt x="216" y="203"/>
                  </a:cubicBezTo>
                  <a:cubicBezTo>
                    <a:pt x="205" y="221"/>
                    <a:pt x="205" y="221"/>
                    <a:pt x="205" y="221"/>
                  </a:cubicBezTo>
                  <a:cubicBezTo>
                    <a:pt x="233" y="219"/>
                    <a:pt x="233" y="219"/>
                    <a:pt x="233" y="219"/>
                  </a:cubicBezTo>
                  <a:cubicBezTo>
                    <a:pt x="234" y="216"/>
                    <a:pt x="234" y="216"/>
                    <a:pt x="234" y="216"/>
                  </a:cubicBezTo>
                  <a:cubicBezTo>
                    <a:pt x="236" y="213"/>
                    <a:pt x="236" y="213"/>
                    <a:pt x="236" y="213"/>
                  </a:cubicBezTo>
                  <a:cubicBezTo>
                    <a:pt x="236" y="213"/>
                    <a:pt x="238" y="212"/>
                    <a:pt x="237" y="211"/>
                  </a:cubicBezTo>
                  <a:cubicBezTo>
                    <a:pt x="237" y="210"/>
                    <a:pt x="235" y="207"/>
                    <a:pt x="235" y="207"/>
                  </a:cubicBezTo>
                  <a:cubicBezTo>
                    <a:pt x="234" y="206"/>
                    <a:pt x="234" y="206"/>
                    <a:pt x="234" y="206"/>
                  </a:cubicBezTo>
                  <a:cubicBezTo>
                    <a:pt x="235" y="204"/>
                    <a:pt x="235" y="204"/>
                    <a:pt x="235" y="204"/>
                  </a:cubicBezTo>
                  <a:cubicBezTo>
                    <a:pt x="237" y="203"/>
                    <a:pt x="237" y="203"/>
                    <a:pt x="237" y="203"/>
                  </a:cubicBezTo>
                  <a:cubicBezTo>
                    <a:pt x="238" y="200"/>
                    <a:pt x="238" y="200"/>
                    <a:pt x="238" y="200"/>
                  </a:cubicBezTo>
                  <a:cubicBezTo>
                    <a:pt x="238" y="197"/>
                    <a:pt x="238" y="197"/>
                    <a:pt x="238" y="197"/>
                  </a:cubicBezTo>
                  <a:cubicBezTo>
                    <a:pt x="238" y="194"/>
                    <a:pt x="238" y="194"/>
                    <a:pt x="238" y="194"/>
                  </a:cubicBezTo>
                  <a:lnTo>
                    <a:pt x="238" y="193"/>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0" name="Freeform 69">
              <a:extLst>
                <a:ext uri="{FF2B5EF4-FFF2-40B4-BE49-F238E27FC236}">
                  <a16:creationId xmlns:a16="http://schemas.microsoft.com/office/drawing/2014/main" id="{49B1DAB6-3D33-E53A-CBB3-A7454A65734B}"/>
                </a:ext>
              </a:extLst>
            </p:cNvPr>
            <p:cNvSpPr>
              <a:spLocks/>
            </p:cNvSpPr>
            <p:nvPr/>
          </p:nvSpPr>
          <p:spPr bwMode="auto">
            <a:xfrm>
              <a:off x="8002786" y="2190825"/>
              <a:ext cx="542288" cy="594038"/>
            </a:xfrm>
            <a:custGeom>
              <a:avLst/>
              <a:gdLst>
                <a:gd name="T0" fmla="*/ 139 w 208"/>
                <a:gd name="T1" fmla="*/ 135 h 242"/>
                <a:gd name="T2" fmla="*/ 144 w 208"/>
                <a:gd name="T3" fmla="*/ 107 h 242"/>
                <a:gd name="T4" fmla="*/ 169 w 208"/>
                <a:gd name="T5" fmla="*/ 80 h 242"/>
                <a:gd name="T6" fmla="*/ 208 w 208"/>
                <a:gd name="T7" fmla="*/ 55 h 242"/>
                <a:gd name="T8" fmla="*/ 183 w 208"/>
                <a:gd name="T9" fmla="*/ 52 h 242"/>
                <a:gd name="T10" fmla="*/ 166 w 208"/>
                <a:gd name="T11" fmla="*/ 52 h 242"/>
                <a:gd name="T12" fmla="*/ 154 w 208"/>
                <a:gd name="T13" fmla="*/ 55 h 242"/>
                <a:gd name="T14" fmla="*/ 147 w 208"/>
                <a:gd name="T15" fmla="*/ 48 h 242"/>
                <a:gd name="T16" fmla="*/ 133 w 208"/>
                <a:gd name="T17" fmla="*/ 45 h 242"/>
                <a:gd name="T18" fmla="*/ 128 w 208"/>
                <a:gd name="T19" fmla="*/ 42 h 242"/>
                <a:gd name="T20" fmla="*/ 114 w 208"/>
                <a:gd name="T21" fmla="*/ 36 h 242"/>
                <a:gd name="T22" fmla="*/ 123 w 208"/>
                <a:gd name="T23" fmla="*/ 36 h 242"/>
                <a:gd name="T24" fmla="*/ 114 w 208"/>
                <a:gd name="T25" fmla="*/ 35 h 242"/>
                <a:gd name="T26" fmla="*/ 105 w 208"/>
                <a:gd name="T27" fmla="*/ 35 h 242"/>
                <a:gd name="T28" fmla="*/ 97 w 208"/>
                <a:gd name="T29" fmla="*/ 39 h 242"/>
                <a:gd name="T30" fmla="*/ 87 w 208"/>
                <a:gd name="T31" fmla="*/ 34 h 242"/>
                <a:gd name="T32" fmla="*/ 80 w 208"/>
                <a:gd name="T33" fmla="*/ 34 h 242"/>
                <a:gd name="T34" fmla="*/ 68 w 208"/>
                <a:gd name="T35" fmla="*/ 24 h 242"/>
                <a:gd name="T36" fmla="*/ 66 w 208"/>
                <a:gd name="T37" fmla="*/ 20 h 242"/>
                <a:gd name="T38" fmla="*/ 58 w 208"/>
                <a:gd name="T39" fmla="*/ 20 h 242"/>
                <a:gd name="T40" fmla="*/ 54 w 208"/>
                <a:gd name="T41" fmla="*/ 16 h 242"/>
                <a:gd name="T42" fmla="*/ 58 w 208"/>
                <a:gd name="T43" fmla="*/ 8 h 242"/>
                <a:gd name="T44" fmla="*/ 60 w 208"/>
                <a:gd name="T45" fmla="*/ 2 h 242"/>
                <a:gd name="T46" fmla="*/ 56 w 208"/>
                <a:gd name="T47" fmla="*/ 0 h 242"/>
                <a:gd name="T48" fmla="*/ 54 w 208"/>
                <a:gd name="T49" fmla="*/ 12 h 242"/>
                <a:gd name="T50" fmla="*/ 0 w 208"/>
                <a:gd name="T51" fmla="*/ 16 h 242"/>
                <a:gd name="T52" fmla="*/ 1 w 208"/>
                <a:gd name="T53" fmla="*/ 23 h 242"/>
                <a:gd name="T54" fmla="*/ 4 w 208"/>
                <a:gd name="T55" fmla="*/ 26 h 242"/>
                <a:gd name="T56" fmla="*/ 3 w 208"/>
                <a:gd name="T57" fmla="*/ 31 h 242"/>
                <a:gd name="T58" fmla="*/ 1 w 208"/>
                <a:gd name="T59" fmla="*/ 34 h 242"/>
                <a:gd name="T60" fmla="*/ 2 w 208"/>
                <a:gd name="T61" fmla="*/ 40 h 242"/>
                <a:gd name="T62" fmla="*/ 1 w 208"/>
                <a:gd name="T63" fmla="*/ 51 h 242"/>
                <a:gd name="T64" fmla="*/ 6 w 208"/>
                <a:gd name="T65" fmla="*/ 64 h 242"/>
                <a:gd name="T66" fmla="*/ 9 w 208"/>
                <a:gd name="T67" fmla="*/ 78 h 242"/>
                <a:gd name="T68" fmla="*/ 10 w 208"/>
                <a:gd name="T69" fmla="*/ 104 h 242"/>
                <a:gd name="T70" fmla="*/ 12 w 208"/>
                <a:gd name="T71" fmla="*/ 114 h 242"/>
                <a:gd name="T72" fmla="*/ 12 w 208"/>
                <a:gd name="T73" fmla="*/ 122 h 242"/>
                <a:gd name="T74" fmla="*/ 17 w 208"/>
                <a:gd name="T75" fmla="*/ 127 h 242"/>
                <a:gd name="T76" fmla="*/ 18 w 208"/>
                <a:gd name="T77" fmla="*/ 136 h 242"/>
                <a:gd name="T78" fmla="*/ 16 w 208"/>
                <a:gd name="T79" fmla="*/ 142 h 242"/>
                <a:gd name="T80" fmla="*/ 17 w 208"/>
                <a:gd name="T81" fmla="*/ 144 h 242"/>
                <a:gd name="T82" fmla="*/ 11 w 208"/>
                <a:gd name="T83" fmla="*/ 150 h 242"/>
                <a:gd name="T84" fmla="*/ 8 w 208"/>
                <a:gd name="T85" fmla="*/ 154 h 242"/>
                <a:gd name="T86" fmla="*/ 9 w 208"/>
                <a:gd name="T87" fmla="*/ 158 h 242"/>
                <a:gd name="T88" fmla="*/ 12 w 208"/>
                <a:gd name="T89" fmla="*/ 163 h 242"/>
                <a:gd name="T90" fmla="*/ 18 w 208"/>
                <a:gd name="T91" fmla="*/ 167 h 242"/>
                <a:gd name="T92" fmla="*/ 18 w 208"/>
                <a:gd name="T93" fmla="*/ 242 h 242"/>
                <a:gd name="T94" fmla="*/ 173 w 208"/>
                <a:gd name="T95" fmla="*/ 233 h 242"/>
                <a:gd name="T96" fmla="*/ 166 w 208"/>
                <a:gd name="T97" fmla="*/ 220 h 242"/>
                <a:gd name="T98" fmla="*/ 157 w 208"/>
                <a:gd name="T99" fmla="*/ 213 h 242"/>
                <a:gd name="T100" fmla="*/ 138 w 208"/>
                <a:gd name="T101" fmla="*/ 197 h 242"/>
                <a:gd name="T102" fmla="*/ 125 w 208"/>
                <a:gd name="T103" fmla="*/ 189 h 242"/>
                <a:gd name="T104" fmla="*/ 128 w 208"/>
                <a:gd name="T105" fmla="*/ 159 h 242"/>
                <a:gd name="T106" fmla="*/ 122 w 208"/>
                <a:gd name="T107" fmla="*/ 154 h 242"/>
                <a:gd name="T108" fmla="*/ 128 w 208"/>
                <a:gd name="T109" fmla="*/ 1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242">
                  <a:moveTo>
                    <a:pt x="128" y="141"/>
                  </a:moveTo>
                  <a:lnTo>
                    <a:pt x="139" y="135"/>
                  </a:lnTo>
                  <a:lnTo>
                    <a:pt x="139" y="111"/>
                  </a:lnTo>
                  <a:lnTo>
                    <a:pt x="144" y="107"/>
                  </a:lnTo>
                  <a:lnTo>
                    <a:pt x="161" y="91"/>
                  </a:lnTo>
                  <a:lnTo>
                    <a:pt x="169" y="80"/>
                  </a:lnTo>
                  <a:lnTo>
                    <a:pt x="185" y="69"/>
                  </a:lnTo>
                  <a:lnTo>
                    <a:pt x="208" y="55"/>
                  </a:lnTo>
                  <a:lnTo>
                    <a:pt x="200" y="53"/>
                  </a:lnTo>
                  <a:lnTo>
                    <a:pt x="183" y="52"/>
                  </a:lnTo>
                  <a:lnTo>
                    <a:pt x="169" y="49"/>
                  </a:lnTo>
                  <a:lnTo>
                    <a:pt x="166" y="52"/>
                  </a:lnTo>
                  <a:lnTo>
                    <a:pt x="162" y="55"/>
                  </a:lnTo>
                  <a:lnTo>
                    <a:pt x="154" y="55"/>
                  </a:lnTo>
                  <a:lnTo>
                    <a:pt x="151" y="51"/>
                  </a:lnTo>
                  <a:lnTo>
                    <a:pt x="147" y="48"/>
                  </a:lnTo>
                  <a:lnTo>
                    <a:pt x="136" y="45"/>
                  </a:lnTo>
                  <a:lnTo>
                    <a:pt x="133" y="45"/>
                  </a:lnTo>
                  <a:lnTo>
                    <a:pt x="129" y="43"/>
                  </a:lnTo>
                  <a:lnTo>
                    <a:pt x="128" y="42"/>
                  </a:lnTo>
                  <a:lnTo>
                    <a:pt x="119" y="41"/>
                  </a:lnTo>
                  <a:lnTo>
                    <a:pt x="114" y="36"/>
                  </a:lnTo>
                  <a:lnTo>
                    <a:pt x="120" y="39"/>
                  </a:lnTo>
                  <a:lnTo>
                    <a:pt x="123" y="36"/>
                  </a:lnTo>
                  <a:lnTo>
                    <a:pt x="119" y="35"/>
                  </a:lnTo>
                  <a:lnTo>
                    <a:pt x="114" y="35"/>
                  </a:lnTo>
                  <a:lnTo>
                    <a:pt x="109" y="35"/>
                  </a:lnTo>
                  <a:lnTo>
                    <a:pt x="105" y="35"/>
                  </a:lnTo>
                  <a:lnTo>
                    <a:pt x="100" y="35"/>
                  </a:lnTo>
                  <a:lnTo>
                    <a:pt x="97" y="39"/>
                  </a:lnTo>
                  <a:lnTo>
                    <a:pt x="93" y="39"/>
                  </a:lnTo>
                  <a:lnTo>
                    <a:pt x="87" y="34"/>
                  </a:lnTo>
                  <a:lnTo>
                    <a:pt x="84" y="34"/>
                  </a:lnTo>
                  <a:lnTo>
                    <a:pt x="80" y="34"/>
                  </a:lnTo>
                  <a:lnTo>
                    <a:pt x="73" y="32"/>
                  </a:lnTo>
                  <a:lnTo>
                    <a:pt x="68" y="24"/>
                  </a:lnTo>
                  <a:lnTo>
                    <a:pt x="68" y="24"/>
                  </a:lnTo>
                  <a:lnTo>
                    <a:pt x="66" y="20"/>
                  </a:lnTo>
                  <a:lnTo>
                    <a:pt x="62" y="20"/>
                  </a:lnTo>
                  <a:lnTo>
                    <a:pt x="58" y="20"/>
                  </a:lnTo>
                  <a:lnTo>
                    <a:pt x="55" y="20"/>
                  </a:lnTo>
                  <a:lnTo>
                    <a:pt x="54" y="16"/>
                  </a:lnTo>
                  <a:lnTo>
                    <a:pt x="57" y="12"/>
                  </a:lnTo>
                  <a:lnTo>
                    <a:pt x="58" y="8"/>
                  </a:lnTo>
                  <a:lnTo>
                    <a:pt x="62" y="5"/>
                  </a:lnTo>
                  <a:lnTo>
                    <a:pt x="60" y="2"/>
                  </a:lnTo>
                  <a:lnTo>
                    <a:pt x="60" y="2"/>
                  </a:lnTo>
                  <a:lnTo>
                    <a:pt x="56" y="0"/>
                  </a:lnTo>
                  <a:lnTo>
                    <a:pt x="56" y="10"/>
                  </a:lnTo>
                  <a:lnTo>
                    <a:pt x="54" y="12"/>
                  </a:lnTo>
                  <a:lnTo>
                    <a:pt x="52" y="16"/>
                  </a:lnTo>
                  <a:lnTo>
                    <a:pt x="0" y="16"/>
                  </a:lnTo>
                  <a:lnTo>
                    <a:pt x="1" y="20"/>
                  </a:lnTo>
                  <a:lnTo>
                    <a:pt x="1" y="23"/>
                  </a:lnTo>
                  <a:lnTo>
                    <a:pt x="1" y="24"/>
                  </a:lnTo>
                  <a:lnTo>
                    <a:pt x="4" y="26"/>
                  </a:lnTo>
                  <a:lnTo>
                    <a:pt x="4" y="30"/>
                  </a:lnTo>
                  <a:lnTo>
                    <a:pt x="3" y="31"/>
                  </a:lnTo>
                  <a:lnTo>
                    <a:pt x="1" y="33"/>
                  </a:lnTo>
                  <a:lnTo>
                    <a:pt x="1" y="34"/>
                  </a:lnTo>
                  <a:lnTo>
                    <a:pt x="1" y="38"/>
                  </a:lnTo>
                  <a:lnTo>
                    <a:pt x="2" y="40"/>
                  </a:lnTo>
                  <a:lnTo>
                    <a:pt x="3" y="45"/>
                  </a:lnTo>
                  <a:lnTo>
                    <a:pt x="1" y="51"/>
                  </a:lnTo>
                  <a:lnTo>
                    <a:pt x="3" y="56"/>
                  </a:lnTo>
                  <a:lnTo>
                    <a:pt x="6" y="64"/>
                  </a:lnTo>
                  <a:lnTo>
                    <a:pt x="9" y="70"/>
                  </a:lnTo>
                  <a:lnTo>
                    <a:pt x="9" y="78"/>
                  </a:lnTo>
                  <a:lnTo>
                    <a:pt x="10" y="92"/>
                  </a:lnTo>
                  <a:lnTo>
                    <a:pt x="10" y="104"/>
                  </a:lnTo>
                  <a:lnTo>
                    <a:pt x="10" y="112"/>
                  </a:lnTo>
                  <a:lnTo>
                    <a:pt x="12" y="114"/>
                  </a:lnTo>
                  <a:lnTo>
                    <a:pt x="12" y="116"/>
                  </a:lnTo>
                  <a:lnTo>
                    <a:pt x="12" y="122"/>
                  </a:lnTo>
                  <a:lnTo>
                    <a:pt x="15" y="124"/>
                  </a:lnTo>
                  <a:lnTo>
                    <a:pt x="17" y="127"/>
                  </a:lnTo>
                  <a:lnTo>
                    <a:pt x="18" y="132"/>
                  </a:lnTo>
                  <a:lnTo>
                    <a:pt x="18" y="136"/>
                  </a:lnTo>
                  <a:lnTo>
                    <a:pt x="18" y="141"/>
                  </a:lnTo>
                  <a:lnTo>
                    <a:pt x="16" y="142"/>
                  </a:lnTo>
                  <a:lnTo>
                    <a:pt x="16" y="142"/>
                  </a:lnTo>
                  <a:lnTo>
                    <a:pt x="17" y="144"/>
                  </a:lnTo>
                  <a:lnTo>
                    <a:pt x="13" y="147"/>
                  </a:lnTo>
                  <a:lnTo>
                    <a:pt x="11" y="150"/>
                  </a:lnTo>
                  <a:lnTo>
                    <a:pt x="8" y="152"/>
                  </a:lnTo>
                  <a:lnTo>
                    <a:pt x="8" y="154"/>
                  </a:lnTo>
                  <a:lnTo>
                    <a:pt x="8" y="156"/>
                  </a:lnTo>
                  <a:lnTo>
                    <a:pt x="9" y="158"/>
                  </a:lnTo>
                  <a:lnTo>
                    <a:pt x="12" y="160"/>
                  </a:lnTo>
                  <a:lnTo>
                    <a:pt x="12" y="163"/>
                  </a:lnTo>
                  <a:lnTo>
                    <a:pt x="17" y="164"/>
                  </a:lnTo>
                  <a:lnTo>
                    <a:pt x="18" y="167"/>
                  </a:lnTo>
                  <a:lnTo>
                    <a:pt x="21" y="169"/>
                  </a:lnTo>
                  <a:lnTo>
                    <a:pt x="18" y="242"/>
                  </a:lnTo>
                  <a:lnTo>
                    <a:pt x="172" y="239"/>
                  </a:lnTo>
                  <a:lnTo>
                    <a:pt x="173" y="233"/>
                  </a:lnTo>
                  <a:lnTo>
                    <a:pt x="172" y="227"/>
                  </a:lnTo>
                  <a:lnTo>
                    <a:pt x="166" y="220"/>
                  </a:lnTo>
                  <a:lnTo>
                    <a:pt x="160" y="216"/>
                  </a:lnTo>
                  <a:lnTo>
                    <a:pt x="157" y="213"/>
                  </a:lnTo>
                  <a:lnTo>
                    <a:pt x="150" y="204"/>
                  </a:lnTo>
                  <a:lnTo>
                    <a:pt x="138" y="197"/>
                  </a:lnTo>
                  <a:lnTo>
                    <a:pt x="130" y="193"/>
                  </a:lnTo>
                  <a:lnTo>
                    <a:pt x="125" y="189"/>
                  </a:lnTo>
                  <a:lnTo>
                    <a:pt x="126" y="174"/>
                  </a:lnTo>
                  <a:lnTo>
                    <a:pt x="128" y="159"/>
                  </a:lnTo>
                  <a:lnTo>
                    <a:pt x="126" y="159"/>
                  </a:lnTo>
                  <a:lnTo>
                    <a:pt x="122" y="154"/>
                  </a:lnTo>
                  <a:lnTo>
                    <a:pt x="126" y="145"/>
                  </a:lnTo>
                  <a:lnTo>
                    <a:pt x="128" y="141"/>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1" name="Line 48">
              <a:extLst>
                <a:ext uri="{FF2B5EF4-FFF2-40B4-BE49-F238E27FC236}">
                  <a16:creationId xmlns:a16="http://schemas.microsoft.com/office/drawing/2014/main" id="{6FA974A2-C126-9853-4060-EE3216658FF0}"/>
                </a:ext>
              </a:extLst>
            </p:cNvPr>
            <p:cNvSpPr>
              <a:spLocks noChangeShapeType="1"/>
            </p:cNvSpPr>
            <p:nvPr/>
          </p:nvSpPr>
          <p:spPr bwMode="auto">
            <a:xfrm>
              <a:off x="8373003" y="2473116"/>
              <a:ext cx="0" cy="0"/>
            </a:xfrm>
            <a:prstGeom prst="line">
              <a:avLst/>
            </a:prstGeom>
            <a:noFill/>
            <a:ln w="6350">
              <a:solidFill>
                <a:schemeClr val="accent1"/>
              </a:solidFill>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2" name="Line 49">
              <a:extLst>
                <a:ext uri="{FF2B5EF4-FFF2-40B4-BE49-F238E27FC236}">
                  <a16:creationId xmlns:a16="http://schemas.microsoft.com/office/drawing/2014/main" id="{8829A77F-BA30-A551-E2FF-3B75D4C46CFA}"/>
                </a:ext>
              </a:extLst>
            </p:cNvPr>
            <p:cNvSpPr>
              <a:spLocks noChangeShapeType="1"/>
            </p:cNvSpPr>
            <p:nvPr/>
          </p:nvSpPr>
          <p:spPr bwMode="auto">
            <a:xfrm>
              <a:off x="8373003" y="2473116"/>
              <a:ext cx="0" cy="0"/>
            </a:xfrm>
            <a:prstGeom prst="line">
              <a:avLst/>
            </a:pr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3" name="Freeform 72">
              <a:extLst>
                <a:ext uri="{FF2B5EF4-FFF2-40B4-BE49-F238E27FC236}">
                  <a16:creationId xmlns:a16="http://schemas.microsoft.com/office/drawing/2014/main" id="{384BFD9A-BBD3-E538-C397-C553CF0C6C42}"/>
                </a:ext>
              </a:extLst>
            </p:cNvPr>
            <p:cNvSpPr>
              <a:spLocks/>
            </p:cNvSpPr>
            <p:nvPr/>
          </p:nvSpPr>
          <p:spPr bwMode="auto">
            <a:xfrm>
              <a:off x="8500755" y="2365110"/>
              <a:ext cx="633538" cy="562128"/>
            </a:xfrm>
            <a:custGeom>
              <a:avLst/>
              <a:gdLst>
                <a:gd name="T0" fmla="*/ 12 w 287"/>
                <a:gd name="T1" fmla="*/ 44 h 270"/>
                <a:gd name="T2" fmla="*/ 29 w 287"/>
                <a:gd name="T3" fmla="*/ 36 h 270"/>
                <a:gd name="T4" fmla="*/ 52 w 287"/>
                <a:gd name="T5" fmla="*/ 17 h 270"/>
                <a:gd name="T6" fmla="*/ 77 w 287"/>
                <a:gd name="T7" fmla="*/ 0 h 270"/>
                <a:gd name="T8" fmla="*/ 75 w 287"/>
                <a:gd name="T9" fmla="*/ 6 h 270"/>
                <a:gd name="T10" fmla="*/ 65 w 287"/>
                <a:gd name="T11" fmla="*/ 19 h 270"/>
                <a:gd name="T12" fmla="*/ 67 w 287"/>
                <a:gd name="T13" fmla="*/ 29 h 270"/>
                <a:gd name="T14" fmla="*/ 77 w 287"/>
                <a:gd name="T15" fmla="*/ 28 h 270"/>
                <a:gd name="T16" fmla="*/ 111 w 287"/>
                <a:gd name="T17" fmla="*/ 45 h 270"/>
                <a:gd name="T18" fmla="*/ 135 w 287"/>
                <a:gd name="T19" fmla="*/ 39 h 270"/>
                <a:gd name="T20" fmla="*/ 169 w 287"/>
                <a:gd name="T21" fmla="*/ 28 h 270"/>
                <a:gd name="T22" fmla="*/ 198 w 287"/>
                <a:gd name="T23" fmla="*/ 38 h 270"/>
                <a:gd name="T24" fmla="*/ 217 w 287"/>
                <a:gd name="T25" fmla="*/ 55 h 270"/>
                <a:gd name="T26" fmla="*/ 232 w 287"/>
                <a:gd name="T27" fmla="*/ 56 h 270"/>
                <a:gd name="T28" fmla="*/ 219 w 287"/>
                <a:gd name="T29" fmla="*/ 62 h 270"/>
                <a:gd name="T30" fmla="*/ 193 w 287"/>
                <a:gd name="T31" fmla="*/ 64 h 270"/>
                <a:gd name="T32" fmla="*/ 201 w 287"/>
                <a:gd name="T33" fmla="*/ 74 h 270"/>
                <a:gd name="T34" fmla="*/ 204 w 287"/>
                <a:gd name="T35" fmla="*/ 75 h 270"/>
                <a:gd name="T36" fmla="*/ 234 w 287"/>
                <a:gd name="T37" fmla="*/ 88 h 270"/>
                <a:gd name="T38" fmla="*/ 246 w 287"/>
                <a:gd name="T39" fmla="*/ 109 h 270"/>
                <a:gd name="T40" fmla="*/ 245 w 287"/>
                <a:gd name="T41" fmla="*/ 141 h 270"/>
                <a:gd name="T42" fmla="*/ 233 w 287"/>
                <a:gd name="T43" fmla="*/ 168 h 270"/>
                <a:gd name="T44" fmla="*/ 246 w 287"/>
                <a:gd name="T45" fmla="*/ 166 h 270"/>
                <a:gd name="T46" fmla="*/ 255 w 287"/>
                <a:gd name="T47" fmla="*/ 153 h 270"/>
                <a:gd name="T48" fmla="*/ 275 w 287"/>
                <a:gd name="T49" fmla="*/ 154 h 270"/>
                <a:gd name="T50" fmla="*/ 287 w 287"/>
                <a:gd name="T51" fmla="*/ 197 h 270"/>
                <a:gd name="T52" fmla="*/ 275 w 287"/>
                <a:gd name="T53" fmla="*/ 220 h 270"/>
                <a:gd name="T54" fmla="*/ 266 w 287"/>
                <a:gd name="T55" fmla="*/ 249 h 270"/>
                <a:gd name="T56" fmla="*/ 141 w 287"/>
                <a:gd name="T57" fmla="*/ 270 h 270"/>
                <a:gd name="T58" fmla="*/ 158 w 287"/>
                <a:gd name="T59" fmla="*/ 235 h 270"/>
                <a:gd name="T60" fmla="*/ 145 w 287"/>
                <a:gd name="T61" fmla="*/ 191 h 270"/>
                <a:gd name="T62" fmla="*/ 144 w 287"/>
                <a:gd name="T63" fmla="*/ 165 h 270"/>
                <a:gd name="T64" fmla="*/ 148 w 287"/>
                <a:gd name="T65" fmla="*/ 147 h 270"/>
                <a:gd name="T66" fmla="*/ 153 w 287"/>
                <a:gd name="T67" fmla="*/ 122 h 270"/>
                <a:gd name="T68" fmla="*/ 166 w 287"/>
                <a:gd name="T69" fmla="*/ 106 h 270"/>
                <a:gd name="T70" fmla="*/ 169 w 287"/>
                <a:gd name="T71" fmla="*/ 122 h 270"/>
                <a:gd name="T72" fmla="*/ 175 w 287"/>
                <a:gd name="T73" fmla="*/ 111 h 270"/>
                <a:gd name="T74" fmla="*/ 180 w 287"/>
                <a:gd name="T75" fmla="*/ 94 h 270"/>
                <a:gd name="T76" fmla="*/ 184 w 287"/>
                <a:gd name="T77" fmla="*/ 81 h 270"/>
                <a:gd name="T78" fmla="*/ 189 w 287"/>
                <a:gd name="T79" fmla="*/ 74 h 270"/>
                <a:gd name="T80" fmla="*/ 187 w 287"/>
                <a:gd name="T81" fmla="*/ 65 h 270"/>
                <a:gd name="T82" fmla="*/ 159 w 287"/>
                <a:gd name="T83" fmla="*/ 68 h 270"/>
                <a:gd name="T84" fmla="*/ 129 w 287"/>
                <a:gd name="T85" fmla="*/ 85 h 270"/>
                <a:gd name="T86" fmla="*/ 127 w 287"/>
                <a:gd name="T87" fmla="*/ 76 h 270"/>
                <a:gd name="T88" fmla="*/ 118 w 287"/>
                <a:gd name="T89" fmla="*/ 75 h 270"/>
                <a:gd name="T90" fmla="*/ 107 w 287"/>
                <a:gd name="T91" fmla="*/ 101 h 270"/>
                <a:gd name="T92" fmla="*/ 95 w 287"/>
                <a:gd name="T93" fmla="*/ 100 h 270"/>
                <a:gd name="T94" fmla="*/ 84 w 287"/>
                <a:gd name="T95" fmla="*/ 81 h 270"/>
                <a:gd name="T96" fmla="*/ 58 w 287"/>
                <a:gd name="T97" fmla="*/ 74 h 270"/>
                <a:gd name="T98" fmla="*/ 29 w 287"/>
                <a:gd name="T99" fmla="*/ 65 h 270"/>
                <a:gd name="T100" fmla="*/ 9 w 287"/>
                <a:gd name="T101" fmla="*/ 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70">
                  <a:moveTo>
                    <a:pt x="0" y="51"/>
                  </a:moveTo>
                  <a:cubicBezTo>
                    <a:pt x="2" y="49"/>
                    <a:pt x="2" y="49"/>
                    <a:pt x="2" y="49"/>
                  </a:cubicBezTo>
                  <a:cubicBezTo>
                    <a:pt x="6" y="49"/>
                    <a:pt x="6" y="49"/>
                    <a:pt x="6" y="49"/>
                  </a:cubicBezTo>
                  <a:cubicBezTo>
                    <a:pt x="11" y="46"/>
                    <a:pt x="11" y="46"/>
                    <a:pt x="11" y="46"/>
                  </a:cubicBezTo>
                  <a:cubicBezTo>
                    <a:pt x="12" y="44"/>
                    <a:pt x="12" y="44"/>
                    <a:pt x="12" y="44"/>
                  </a:cubicBezTo>
                  <a:cubicBezTo>
                    <a:pt x="14" y="40"/>
                    <a:pt x="14" y="40"/>
                    <a:pt x="14" y="40"/>
                  </a:cubicBezTo>
                  <a:cubicBezTo>
                    <a:pt x="17" y="37"/>
                    <a:pt x="17" y="37"/>
                    <a:pt x="17" y="37"/>
                  </a:cubicBezTo>
                  <a:cubicBezTo>
                    <a:pt x="20" y="36"/>
                    <a:pt x="20" y="36"/>
                    <a:pt x="20" y="36"/>
                  </a:cubicBezTo>
                  <a:cubicBezTo>
                    <a:pt x="23" y="36"/>
                    <a:pt x="23" y="36"/>
                    <a:pt x="23" y="36"/>
                  </a:cubicBezTo>
                  <a:cubicBezTo>
                    <a:pt x="29" y="36"/>
                    <a:pt x="29" y="36"/>
                    <a:pt x="29" y="36"/>
                  </a:cubicBezTo>
                  <a:cubicBezTo>
                    <a:pt x="32" y="34"/>
                    <a:pt x="32" y="34"/>
                    <a:pt x="32" y="34"/>
                  </a:cubicBezTo>
                  <a:cubicBezTo>
                    <a:pt x="42" y="27"/>
                    <a:pt x="42" y="27"/>
                    <a:pt x="42" y="27"/>
                  </a:cubicBezTo>
                  <a:cubicBezTo>
                    <a:pt x="45" y="26"/>
                    <a:pt x="45" y="26"/>
                    <a:pt x="45" y="26"/>
                  </a:cubicBezTo>
                  <a:cubicBezTo>
                    <a:pt x="49" y="22"/>
                    <a:pt x="49" y="22"/>
                    <a:pt x="49" y="22"/>
                  </a:cubicBezTo>
                  <a:cubicBezTo>
                    <a:pt x="52" y="17"/>
                    <a:pt x="52" y="17"/>
                    <a:pt x="52" y="17"/>
                  </a:cubicBezTo>
                  <a:cubicBezTo>
                    <a:pt x="56" y="14"/>
                    <a:pt x="56" y="14"/>
                    <a:pt x="56" y="14"/>
                  </a:cubicBezTo>
                  <a:cubicBezTo>
                    <a:pt x="61" y="9"/>
                    <a:pt x="61" y="9"/>
                    <a:pt x="61" y="9"/>
                  </a:cubicBezTo>
                  <a:cubicBezTo>
                    <a:pt x="65" y="4"/>
                    <a:pt x="65" y="4"/>
                    <a:pt x="65" y="4"/>
                  </a:cubicBezTo>
                  <a:cubicBezTo>
                    <a:pt x="70" y="1"/>
                    <a:pt x="70" y="1"/>
                    <a:pt x="70" y="1"/>
                  </a:cubicBezTo>
                  <a:cubicBezTo>
                    <a:pt x="77" y="0"/>
                    <a:pt x="77" y="0"/>
                    <a:pt x="77" y="0"/>
                  </a:cubicBezTo>
                  <a:cubicBezTo>
                    <a:pt x="80" y="0"/>
                    <a:pt x="80" y="0"/>
                    <a:pt x="80" y="0"/>
                  </a:cubicBezTo>
                  <a:cubicBezTo>
                    <a:pt x="85" y="2"/>
                    <a:pt x="85" y="2"/>
                    <a:pt x="85" y="2"/>
                  </a:cubicBezTo>
                  <a:cubicBezTo>
                    <a:pt x="83" y="3"/>
                    <a:pt x="83" y="3"/>
                    <a:pt x="83" y="3"/>
                  </a:cubicBezTo>
                  <a:cubicBezTo>
                    <a:pt x="79" y="5"/>
                    <a:pt x="79" y="5"/>
                    <a:pt x="79" y="5"/>
                  </a:cubicBezTo>
                  <a:cubicBezTo>
                    <a:pt x="75" y="6"/>
                    <a:pt x="75" y="6"/>
                    <a:pt x="75" y="6"/>
                  </a:cubicBezTo>
                  <a:cubicBezTo>
                    <a:pt x="76" y="8"/>
                    <a:pt x="76" y="8"/>
                    <a:pt x="76" y="8"/>
                  </a:cubicBezTo>
                  <a:cubicBezTo>
                    <a:pt x="70" y="14"/>
                    <a:pt x="70" y="14"/>
                    <a:pt x="70" y="14"/>
                  </a:cubicBezTo>
                  <a:cubicBezTo>
                    <a:pt x="70" y="14"/>
                    <a:pt x="68" y="14"/>
                    <a:pt x="68" y="15"/>
                  </a:cubicBezTo>
                  <a:cubicBezTo>
                    <a:pt x="68" y="16"/>
                    <a:pt x="65" y="23"/>
                    <a:pt x="65" y="23"/>
                  </a:cubicBezTo>
                  <a:cubicBezTo>
                    <a:pt x="65" y="19"/>
                    <a:pt x="65" y="19"/>
                    <a:pt x="65" y="19"/>
                  </a:cubicBezTo>
                  <a:cubicBezTo>
                    <a:pt x="63" y="17"/>
                    <a:pt x="63" y="17"/>
                    <a:pt x="63" y="17"/>
                  </a:cubicBezTo>
                  <a:cubicBezTo>
                    <a:pt x="62" y="27"/>
                    <a:pt x="62" y="27"/>
                    <a:pt x="62" y="27"/>
                  </a:cubicBezTo>
                  <a:cubicBezTo>
                    <a:pt x="62" y="33"/>
                    <a:pt x="62" y="33"/>
                    <a:pt x="62" y="33"/>
                  </a:cubicBezTo>
                  <a:cubicBezTo>
                    <a:pt x="65" y="31"/>
                    <a:pt x="65" y="31"/>
                    <a:pt x="65" y="31"/>
                  </a:cubicBezTo>
                  <a:cubicBezTo>
                    <a:pt x="67" y="29"/>
                    <a:pt x="67" y="29"/>
                    <a:pt x="67" y="29"/>
                  </a:cubicBezTo>
                  <a:cubicBezTo>
                    <a:pt x="68" y="29"/>
                    <a:pt x="68" y="29"/>
                    <a:pt x="68" y="29"/>
                  </a:cubicBezTo>
                  <a:cubicBezTo>
                    <a:pt x="69" y="31"/>
                    <a:pt x="69" y="31"/>
                    <a:pt x="69" y="31"/>
                  </a:cubicBezTo>
                  <a:cubicBezTo>
                    <a:pt x="72" y="31"/>
                    <a:pt x="72" y="31"/>
                    <a:pt x="72" y="31"/>
                  </a:cubicBezTo>
                  <a:cubicBezTo>
                    <a:pt x="74" y="30"/>
                    <a:pt x="74" y="30"/>
                    <a:pt x="74" y="30"/>
                  </a:cubicBezTo>
                  <a:cubicBezTo>
                    <a:pt x="77" y="28"/>
                    <a:pt x="77" y="28"/>
                    <a:pt x="77" y="28"/>
                  </a:cubicBezTo>
                  <a:cubicBezTo>
                    <a:pt x="82" y="29"/>
                    <a:pt x="82" y="29"/>
                    <a:pt x="82" y="29"/>
                  </a:cubicBezTo>
                  <a:cubicBezTo>
                    <a:pt x="92" y="34"/>
                    <a:pt x="92" y="34"/>
                    <a:pt x="92" y="34"/>
                  </a:cubicBezTo>
                  <a:cubicBezTo>
                    <a:pt x="98" y="41"/>
                    <a:pt x="98" y="41"/>
                    <a:pt x="98" y="41"/>
                  </a:cubicBezTo>
                  <a:cubicBezTo>
                    <a:pt x="102" y="44"/>
                    <a:pt x="102" y="44"/>
                    <a:pt x="102" y="44"/>
                  </a:cubicBezTo>
                  <a:cubicBezTo>
                    <a:pt x="111" y="45"/>
                    <a:pt x="111" y="45"/>
                    <a:pt x="111" y="45"/>
                  </a:cubicBezTo>
                  <a:cubicBezTo>
                    <a:pt x="114" y="44"/>
                    <a:pt x="114" y="44"/>
                    <a:pt x="114" y="44"/>
                  </a:cubicBezTo>
                  <a:cubicBezTo>
                    <a:pt x="121" y="46"/>
                    <a:pt x="121" y="46"/>
                    <a:pt x="121" y="46"/>
                  </a:cubicBezTo>
                  <a:cubicBezTo>
                    <a:pt x="127" y="48"/>
                    <a:pt x="127" y="48"/>
                    <a:pt x="127" y="48"/>
                  </a:cubicBezTo>
                  <a:cubicBezTo>
                    <a:pt x="130" y="44"/>
                    <a:pt x="130" y="44"/>
                    <a:pt x="130" y="44"/>
                  </a:cubicBezTo>
                  <a:cubicBezTo>
                    <a:pt x="135" y="39"/>
                    <a:pt x="135" y="39"/>
                    <a:pt x="135" y="39"/>
                  </a:cubicBezTo>
                  <a:cubicBezTo>
                    <a:pt x="139" y="35"/>
                    <a:pt x="139" y="35"/>
                    <a:pt x="139" y="35"/>
                  </a:cubicBezTo>
                  <a:cubicBezTo>
                    <a:pt x="148" y="33"/>
                    <a:pt x="148" y="33"/>
                    <a:pt x="148" y="33"/>
                  </a:cubicBezTo>
                  <a:cubicBezTo>
                    <a:pt x="154" y="31"/>
                    <a:pt x="154" y="31"/>
                    <a:pt x="154" y="31"/>
                  </a:cubicBezTo>
                  <a:cubicBezTo>
                    <a:pt x="160" y="31"/>
                    <a:pt x="160" y="31"/>
                    <a:pt x="160" y="31"/>
                  </a:cubicBezTo>
                  <a:cubicBezTo>
                    <a:pt x="169" y="28"/>
                    <a:pt x="169" y="28"/>
                    <a:pt x="169" y="28"/>
                  </a:cubicBezTo>
                  <a:cubicBezTo>
                    <a:pt x="175" y="26"/>
                    <a:pt x="175" y="26"/>
                    <a:pt x="175" y="26"/>
                  </a:cubicBezTo>
                  <a:cubicBezTo>
                    <a:pt x="178" y="28"/>
                    <a:pt x="178" y="28"/>
                    <a:pt x="178" y="28"/>
                  </a:cubicBezTo>
                  <a:cubicBezTo>
                    <a:pt x="180" y="36"/>
                    <a:pt x="180" y="36"/>
                    <a:pt x="180" y="36"/>
                  </a:cubicBezTo>
                  <a:cubicBezTo>
                    <a:pt x="191" y="38"/>
                    <a:pt x="191" y="38"/>
                    <a:pt x="191" y="38"/>
                  </a:cubicBezTo>
                  <a:cubicBezTo>
                    <a:pt x="198" y="38"/>
                    <a:pt x="198" y="38"/>
                    <a:pt x="198" y="38"/>
                  </a:cubicBezTo>
                  <a:cubicBezTo>
                    <a:pt x="203" y="39"/>
                    <a:pt x="203" y="39"/>
                    <a:pt x="203" y="39"/>
                  </a:cubicBezTo>
                  <a:cubicBezTo>
                    <a:pt x="207" y="44"/>
                    <a:pt x="207" y="44"/>
                    <a:pt x="207" y="44"/>
                  </a:cubicBezTo>
                  <a:cubicBezTo>
                    <a:pt x="213" y="51"/>
                    <a:pt x="213" y="51"/>
                    <a:pt x="213" y="51"/>
                  </a:cubicBezTo>
                  <a:cubicBezTo>
                    <a:pt x="215" y="53"/>
                    <a:pt x="215" y="53"/>
                    <a:pt x="215" y="53"/>
                  </a:cubicBezTo>
                  <a:cubicBezTo>
                    <a:pt x="215" y="53"/>
                    <a:pt x="216" y="54"/>
                    <a:pt x="217" y="55"/>
                  </a:cubicBezTo>
                  <a:cubicBezTo>
                    <a:pt x="218" y="56"/>
                    <a:pt x="219" y="58"/>
                    <a:pt x="219" y="58"/>
                  </a:cubicBezTo>
                  <a:cubicBezTo>
                    <a:pt x="224" y="59"/>
                    <a:pt x="224" y="59"/>
                    <a:pt x="224" y="59"/>
                  </a:cubicBezTo>
                  <a:cubicBezTo>
                    <a:pt x="224" y="59"/>
                    <a:pt x="226" y="57"/>
                    <a:pt x="226" y="57"/>
                  </a:cubicBezTo>
                  <a:cubicBezTo>
                    <a:pt x="226" y="56"/>
                    <a:pt x="230" y="54"/>
                    <a:pt x="230" y="54"/>
                  </a:cubicBezTo>
                  <a:cubicBezTo>
                    <a:pt x="232" y="56"/>
                    <a:pt x="232" y="56"/>
                    <a:pt x="232" y="56"/>
                  </a:cubicBezTo>
                  <a:cubicBezTo>
                    <a:pt x="232" y="56"/>
                    <a:pt x="234" y="57"/>
                    <a:pt x="232" y="58"/>
                  </a:cubicBezTo>
                  <a:cubicBezTo>
                    <a:pt x="231" y="58"/>
                    <a:pt x="230" y="60"/>
                    <a:pt x="229" y="60"/>
                  </a:cubicBezTo>
                  <a:cubicBezTo>
                    <a:pt x="227" y="60"/>
                    <a:pt x="225" y="60"/>
                    <a:pt x="225" y="60"/>
                  </a:cubicBezTo>
                  <a:cubicBezTo>
                    <a:pt x="221" y="60"/>
                    <a:pt x="221" y="60"/>
                    <a:pt x="221" y="60"/>
                  </a:cubicBezTo>
                  <a:cubicBezTo>
                    <a:pt x="219" y="62"/>
                    <a:pt x="219" y="62"/>
                    <a:pt x="219" y="62"/>
                  </a:cubicBezTo>
                  <a:cubicBezTo>
                    <a:pt x="208" y="62"/>
                    <a:pt x="208" y="62"/>
                    <a:pt x="208" y="62"/>
                  </a:cubicBezTo>
                  <a:cubicBezTo>
                    <a:pt x="205" y="63"/>
                    <a:pt x="205" y="63"/>
                    <a:pt x="205" y="63"/>
                  </a:cubicBezTo>
                  <a:cubicBezTo>
                    <a:pt x="201" y="61"/>
                    <a:pt x="201" y="61"/>
                    <a:pt x="201" y="61"/>
                  </a:cubicBezTo>
                  <a:cubicBezTo>
                    <a:pt x="197" y="59"/>
                    <a:pt x="197" y="59"/>
                    <a:pt x="197" y="59"/>
                  </a:cubicBezTo>
                  <a:cubicBezTo>
                    <a:pt x="193" y="64"/>
                    <a:pt x="193" y="64"/>
                    <a:pt x="193" y="64"/>
                  </a:cubicBezTo>
                  <a:cubicBezTo>
                    <a:pt x="194" y="67"/>
                    <a:pt x="194" y="67"/>
                    <a:pt x="194" y="67"/>
                  </a:cubicBezTo>
                  <a:cubicBezTo>
                    <a:pt x="194" y="69"/>
                    <a:pt x="194" y="69"/>
                    <a:pt x="194" y="69"/>
                  </a:cubicBezTo>
                  <a:cubicBezTo>
                    <a:pt x="194" y="69"/>
                    <a:pt x="194" y="71"/>
                    <a:pt x="195" y="71"/>
                  </a:cubicBezTo>
                  <a:cubicBezTo>
                    <a:pt x="195" y="71"/>
                    <a:pt x="196" y="72"/>
                    <a:pt x="196" y="72"/>
                  </a:cubicBezTo>
                  <a:cubicBezTo>
                    <a:pt x="201" y="74"/>
                    <a:pt x="201" y="74"/>
                    <a:pt x="201" y="74"/>
                  </a:cubicBezTo>
                  <a:cubicBezTo>
                    <a:pt x="203" y="72"/>
                    <a:pt x="203" y="72"/>
                    <a:pt x="203" y="72"/>
                  </a:cubicBezTo>
                  <a:cubicBezTo>
                    <a:pt x="203" y="72"/>
                    <a:pt x="200" y="70"/>
                    <a:pt x="201" y="70"/>
                  </a:cubicBezTo>
                  <a:cubicBezTo>
                    <a:pt x="202" y="70"/>
                    <a:pt x="206" y="72"/>
                    <a:pt x="206" y="72"/>
                  </a:cubicBezTo>
                  <a:cubicBezTo>
                    <a:pt x="206" y="72"/>
                    <a:pt x="205" y="74"/>
                    <a:pt x="205" y="74"/>
                  </a:cubicBezTo>
                  <a:cubicBezTo>
                    <a:pt x="204" y="75"/>
                    <a:pt x="204" y="75"/>
                    <a:pt x="204" y="75"/>
                  </a:cubicBezTo>
                  <a:cubicBezTo>
                    <a:pt x="205" y="76"/>
                    <a:pt x="210" y="77"/>
                    <a:pt x="210" y="77"/>
                  </a:cubicBezTo>
                  <a:cubicBezTo>
                    <a:pt x="211" y="77"/>
                    <a:pt x="214" y="79"/>
                    <a:pt x="214" y="79"/>
                  </a:cubicBezTo>
                  <a:cubicBezTo>
                    <a:pt x="219" y="82"/>
                    <a:pt x="219" y="82"/>
                    <a:pt x="219" y="82"/>
                  </a:cubicBezTo>
                  <a:cubicBezTo>
                    <a:pt x="226" y="85"/>
                    <a:pt x="226" y="85"/>
                    <a:pt x="226" y="85"/>
                  </a:cubicBezTo>
                  <a:cubicBezTo>
                    <a:pt x="234" y="88"/>
                    <a:pt x="234" y="88"/>
                    <a:pt x="234" y="88"/>
                  </a:cubicBezTo>
                  <a:cubicBezTo>
                    <a:pt x="242" y="96"/>
                    <a:pt x="242" y="96"/>
                    <a:pt x="242" y="96"/>
                  </a:cubicBezTo>
                  <a:cubicBezTo>
                    <a:pt x="246" y="101"/>
                    <a:pt x="246" y="101"/>
                    <a:pt x="246" y="101"/>
                  </a:cubicBezTo>
                  <a:cubicBezTo>
                    <a:pt x="244" y="103"/>
                    <a:pt x="244" y="103"/>
                    <a:pt x="244" y="103"/>
                  </a:cubicBezTo>
                  <a:cubicBezTo>
                    <a:pt x="244" y="103"/>
                    <a:pt x="243" y="103"/>
                    <a:pt x="243" y="104"/>
                  </a:cubicBezTo>
                  <a:cubicBezTo>
                    <a:pt x="244" y="105"/>
                    <a:pt x="246" y="109"/>
                    <a:pt x="246" y="109"/>
                  </a:cubicBezTo>
                  <a:cubicBezTo>
                    <a:pt x="245" y="110"/>
                    <a:pt x="247" y="113"/>
                    <a:pt x="247" y="113"/>
                  </a:cubicBezTo>
                  <a:cubicBezTo>
                    <a:pt x="249" y="124"/>
                    <a:pt x="249" y="124"/>
                    <a:pt x="249" y="124"/>
                  </a:cubicBezTo>
                  <a:cubicBezTo>
                    <a:pt x="250" y="130"/>
                    <a:pt x="250" y="130"/>
                    <a:pt x="250" y="130"/>
                  </a:cubicBezTo>
                  <a:cubicBezTo>
                    <a:pt x="249" y="136"/>
                    <a:pt x="249" y="136"/>
                    <a:pt x="249" y="136"/>
                  </a:cubicBezTo>
                  <a:cubicBezTo>
                    <a:pt x="245" y="141"/>
                    <a:pt x="245" y="141"/>
                    <a:pt x="245" y="141"/>
                  </a:cubicBezTo>
                  <a:cubicBezTo>
                    <a:pt x="242" y="147"/>
                    <a:pt x="242" y="147"/>
                    <a:pt x="242" y="147"/>
                  </a:cubicBezTo>
                  <a:cubicBezTo>
                    <a:pt x="242" y="147"/>
                    <a:pt x="240" y="151"/>
                    <a:pt x="239" y="152"/>
                  </a:cubicBezTo>
                  <a:cubicBezTo>
                    <a:pt x="239" y="152"/>
                    <a:pt x="235" y="155"/>
                    <a:pt x="235" y="156"/>
                  </a:cubicBezTo>
                  <a:cubicBezTo>
                    <a:pt x="235" y="156"/>
                    <a:pt x="233" y="160"/>
                    <a:pt x="233" y="160"/>
                  </a:cubicBezTo>
                  <a:cubicBezTo>
                    <a:pt x="233" y="168"/>
                    <a:pt x="233" y="168"/>
                    <a:pt x="233" y="168"/>
                  </a:cubicBezTo>
                  <a:cubicBezTo>
                    <a:pt x="235" y="170"/>
                    <a:pt x="235" y="170"/>
                    <a:pt x="235" y="170"/>
                  </a:cubicBezTo>
                  <a:cubicBezTo>
                    <a:pt x="240" y="172"/>
                    <a:pt x="240" y="172"/>
                    <a:pt x="240" y="172"/>
                  </a:cubicBezTo>
                  <a:cubicBezTo>
                    <a:pt x="242" y="170"/>
                    <a:pt x="242" y="170"/>
                    <a:pt x="242" y="170"/>
                  </a:cubicBezTo>
                  <a:cubicBezTo>
                    <a:pt x="242" y="170"/>
                    <a:pt x="244" y="169"/>
                    <a:pt x="244" y="168"/>
                  </a:cubicBezTo>
                  <a:cubicBezTo>
                    <a:pt x="245" y="168"/>
                    <a:pt x="246" y="166"/>
                    <a:pt x="246" y="166"/>
                  </a:cubicBezTo>
                  <a:cubicBezTo>
                    <a:pt x="246" y="166"/>
                    <a:pt x="249" y="164"/>
                    <a:pt x="249" y="164"/>
                  </a:cubicBezTo>
                  <a:cubicBezTo>
                    <a:pt x="249" y="164"/>
                    <a:pt x="249" y="161"/>
                    <a:pt x="249" y="161"/>
                  </a:cubicBezTo>
                  <a:cubicBezTo>
                    <a:pt x="249" y="161"/>
                    <a:pt x="250" y="157"/>
                    <a:pt x="250" y="157"/>
                  </a:cubicBezTo>
                  <a:cubicBezTo>
                    <a:pt x="250" y="157"/>
                    <a:pt x="252" y="156"/>
                    <a:pt x="252" y="156"/>
                  </a:cubicBezTo>
                  <a:cubicBezTo>
                    <a:pt x="252" y="155"/>
                    <a:pt x="255" y="153"/>
                    <a:pt x="255" y="153"/>
                  </a:cubicBezTo>
                  <a:cubicBezTo>
                    <a:pt x="255" y="153"/>
                    <a:pt x="259" y="150"/>
                    <a:pt x="259" y="150"/>
                  </a:cubicBezTo>
                  <a:cubicBezTo>
                    <a:pt x="260" y="150"/>
                    <a:pt x="262" y="147"/>
                    <a:pt x="262" y="147"/>
                  </a:cubicBezTo>
                  <a:cubicBezTo>
                    <a:pt x="265" y="147"/>
                    <a:pt x="265" y="147"/>
                    <a:pt x="265" y="147"/>
                  </a:cubicBezTo>
                  <a:cubicBezTo>
                    <a:pt x="269" y="148"/>
                    <a:pt x="269" y="148"/>
                    <a:pt x="269" y="148"/>
                  </a:cubicBezTo>
                  <a:cubicBezTo>
                    <a:pt x="275" y="154"/>
                    <a:pt x="275" y="154"/>
                    <a:pt x="275" y="154"/>
                  </a:cubicBezTo>
                  <a:cubicBezTo>
                    <a:pt x="279" y="162"/>
                    <a:pt x="279" y="162"/>
                    <a:pt x="279" y="162"/>
                  </a:cubicBezTo>
                  <a:cubicBezTo>
                    <a:pt x="283" y="184"/>
                    <a:pt x="283" y="184"/>
                    <a:pt x="283" y="184"/>
                  </a:cubicBezTo>
                  <a:cubicBezTo>
                    <a:pt x="286" y="189"/>
                    <a:pt x="286" y="189"/>
                    <a:pt x="286" y="189"/>
                  </a:cubicBezTo>
                  <a:cubicBezTo>
                    <a:pt x="286" y="193"/>
                    <a:pt x="286" y="193"/>
                    <a:pt x="286" y="193"/>
                  </a:cubicBezTo>
                  <a:cubicBezTo>
                    <a:pt x="286" y="193"/>
                    <a:pt x="287" y="196"/>
                    <a:pt x="287" y="197"/>
                  </a:cubicBezTo>
                  <a:cubicBezTo>
                    <a:pt x="287" y="198"/>
                    <a:pt x="287" y="213"/>
                    <a:pt x="287" y="213"/>
                  </a:cubicBezTo>
                  <a:cubicBezTo>
                    <a:pt x="280" y="213"/>
                    <a:pt x="280" y="213"/>
                    <a:pt x="280" y="213"/>
                  </a:cubicBezTo>
                  <a:cubicBezTo>
                    <a:pt x="278" y="213"/>
                    <a:pt x="278" y="213"/>
                    <a:pt x="278" y="213"/>
                  </a:cubicBezTo>
                  <a:cubicBezTo>
                    <a:pt x="278" y="216"/>
                    <a:pt x="278" y="216"/>
                    <a:pt x="278" y="216"/>
                  </a:cubicBezTo>
                  <a:cubicBezTo>
                    <a:pt x="275" y="220"/>
                    <a:pt x="275" y="220"/>
                    <a:pt x="275" y="220"/>
                  </a:cubicBezTo>
                  <a:cubicBezTo>
                    <a:pt x="274" y="225"/>
                    <a:pt x="274" y="225"/>
                    <a:pt x="274" y="225"/>
                  </a:cubicBezTo>
                  <a:cubicBezTo>
                    <a:pt x="272" y="229"/>
                    <a:pt x="272" y="229"/>
                    <a:pt x="272" y="229"/>
                  </a:cubicBezTo>
                  <a:cubicBezTo>
                    <a:pt x="269" y="233"/>
                    <a:pt x="269" y="233"/>
                    <a:pt x="269" y="233"/>
                  </a:cubicBezTo>
                  <a:cubicBezTo>
                    <a:pt x="266" y="243"/>
                    <a:pt x="266" y="243"/>
                    <a:pt x="266" y="243"/>
                  </a:cubicBezTo>
                  <a:cubicBezTo>
                    <a:pt x="266" y="249"/>
                    <a:pt x="266" y="249"/>
                    <a:pt x="266" y="249"/>
                  </a:cubicBezTo>
                  <a:cubicBezTo>
                    <a:pt x="262" y="254"/>
                    <a:pt x="262" y="254"/>
                    <a:pt x="262" y="254"/>
                  </a:cubicBezTo>
                  <a:cubicBezTo>
                    <a:pt x="259" y="259"/>
                    <a:pt x="259" y="259"/>
                    <a:pt x="259" y="259"/>
                  </a:cubicBezTo>
                  <a:cubicBezTo>
                    <a:pt x="213" y="267"/>
                    <a:pt x="213" y="267"/>
                    <a:pt x="213" y="267"/>
                  </a:cubicBezTo>
                  <a:cubicBezTo>
                    <a:pt x="212" y="265"/>
                    <a:pt x="212" y="265"/>
                    <a:pt x="212" y="265"/>
                  </a:cubicBezTo>
                  <a:cubicBezTo>
                    <a:pt x="141" y="270"/>
                    <a:pt x="141" y="270"/>
                    <a:pt x="141" y="270"/>
                  </a:cubicBezTo>
                  <a:cubicBezTo>
                    <a:pt x="146" y="265"/>
                    <a:pt x="146" y="265"/>
                    <a:pt x="146" y="265"/>
                  </a:cubicBezTo>
                  <a:cubicBezTo>
                    <a:pt x="148" y="261"/>
                    <a:pt x="148" y="261"/>
                    <a:pt x="148" y="261"/>
                  </a:cubicBezTo>
                  <a:cubicBezTo>
                    <a:pt x="152" y="254"/>
                    <a:pt x="152" y="254"/>
                    <a:pt x="152" y="254"/>
                  </a:cubicBezTo>
                  <a:cubicBezTo>
                    <a:pt x="156" y="245"/>
                    <a:pt x="156" y="245"/>
                    <a:pt x="156" y="245"/>
                  </a:cubicBezTo>
                  <a:cubicBezTo>
                    <a:pt x="158" y="235"/>
                    <a:pt x="158" y="235"/>
                    <a:pt x="158" y="235"/>
                  </a:cubicBezTo>
                  <a:cubicBezTo>
                    <a:pt x="157" y="217"/>
                    <a:pt x="157" y="217"/>
                    <a:pt x="157" y="217"/>
                  </a:cubicBezTo>
                  <a:cubicBezTo>
                    <a:pt x="157" y="209"/>
                    <a:pt x="157" y="209"/>
                    <a:pt x="157" y="209"/>
                  </a:cubicBezTo>
                  <a:cubicBezTo>
                    <a:pt x="153" y="203"/>
                    <a:pt x="153" y="203"/>
                    <a:pt x="153" y="203"/>
                  </a:cubicBezTo>
                  <a:cubicBezTo>
                    <a:pt x="149" y="195"/>
                    <a:pt x="149" y="195"/>
                    <a:pt x="149" y="195"/>
                  </a:cubicBezTo>
                  <a:cubicBezTo>
                    <a:pt x="145" y="191"/>
                    <a:pt x="145" y="191"/>
                    <a:pt x="145" y="191"/>
                  </a:cubicBezTo>
                  <a:cubicBezTo>
                    <a:pt x="142" y="184"/>
                    <a:pt x="142" y="184"/>
                    <a:pt x="142" y="184"/>
                  </a:cubicBezTo>
                  <a:cubicBezTo>
                    <a:pt x="144" y="179"/>
                    <a:pt x="144" y="179"/>
                    <a:pt x="144" y="179"/>
                  </a:cubicBezTo>
                  <a:cubicBezTo>
                    <a:pt x="146" y="177"/>
                    <a:pt x="146" y="177"/>
                    <a:pt x="146" y="177"/>
                  </a:cubicBezTo>
                  <a:cubicBezTo>
                    <a:pt x="146" y="173"/>
                    <a:pt x="146" y="173"/>
                    <a:pt x="146" y="173"/>
                  </a:cubicBezTo>
                  <a:cubicBezTo>
                    <a:pt x="144" y="165"/>
                    <a:pt x="144" y="165"/>
                    <a:pt x="144" y="165"/>
                  </a:cubicBezTo>
                  <a:cubicBezTo>
                    <a:pt x="141" y="162"/>
                    <a:pt x="141" y="162"/>
                    <a:pt x="141" y="162"/>
                  </a:cubicBezTo>
                  <a:cubicBezTo>
                    <a:pt x="144" y="160"/>
                    <a:pt x="144" y="160"/>
                    <a:pt x="144" y="160"/>
                  </a:cubicBezTo>
                  <a:cubicBezTo>
                    <a:pt x="145" y="155"/>
                    <a:pt x="145" y="155"/>
                    <a:pt x="145" y="155"/>
                  </a:cubicBezTo>
                  <a:cubicBezTo>
                    <a:pt x="146" y="150"/>
                    <a:pt x="146" y="150"/>
                    <a:pt x="146" y="150"/>
                  </a:cubicBezTo>
                  <a:cubicBezTo>
                    <a:pt x="148" y="147"/>
                    <a:pt x="148" y="147"/>
                    <a:pt x="148" y="147"/>
                  </a:cubicBezTo>
                  <a:cubicBezTo>
                    <a:pt x="148" y="139"/>
                    <a:pt x="148" y="139"/>
                    <a:pt x="148" y="139"/>
                  </a:cubicBezTo>
                  <a:cubicBezTo>
                    <a:pt x="147" y="135"/>
                    <a:pt x="147" y="135"/>
                    <a:pt x="147" y="135"/>
                  </a:cubicBezTo>
                  <a:cubicBezTo>
                    <a:pt x="148" y="130"/>
                    <a:pt x="148" y="130"/>
                    <a:pt x="148" y="130"/>
                  </a:cubicBezTo>
                  <a:cubicBezTo>
                    <a:pt x="151" y="126"/>
                    <a:pt x="151" y="126"/>
                    <a:pt x="151" y="126"/>
                  </a:cubicBezTo>
                  <a:cubicBezTo>
                    <a:pt x="153" y="122"/>
                    <a:pt x="153" y="122"/>
                    <a:pt x="153" y="122"/>
                  </a:cubicBezTo>
                  <a:cubicBezTo>
                    <a:pt x="153" y="117"/>
                    <a:pt x="153" y="117"/>
                    <a:pt x="153" y="117"/>
                  </a:cubicBezTo>
                  <a:cubicBezTo>
                    <a:pt x="157" y="116"/>
                    <a:pt x="157" y="116"/>
                    <a:pt x="157" y="116"/>
                  </a:cubicBezTo>
                  <a:cubicBezTo>
                    <a:pt x="163" y="116"/>
                    <a:pt x="163" y="116"/>
                    <a:pt x="163" y="116"/>
                  </a:cubicBezTo>
                  <a:cubicBezTo>
                    <a:pt x="165" y="108"/>
                    <a:pt x="165" y="108"/>
                    <a:pt x="165" y="108"/>
                  </a:cubicBezTo>
                  <a:cubicBezTo>
                    <a:pt x="166" y="106"/>
                    <a:pt x="166" y="106"/>
                    <a:pt x="166" y="106"/>
                  </a:cubicBezTo>
                  <a:cubicBezTo>
                    <a:pt x="168" y="105"/>
                    <a:pt x="168" y="105"/>
                    <a:pt x="168" y="105"/>
                  </a:cubicBezTo>
                  <a:cubicBezTo>
                    <a:pt x="171" y="114"/>
                    <a:pt x="171" y="114"/>
                    <a:pt x="171" y="114"/>
                  </a:cubicBezTo>
                  <a:cubicBezTo>
                    <a:pt x="167" y="119"/>
                    <a:pt x="167" y="119"/>
                    <a:pt x="167" y="119"/>
                  </a:cubicBezTo>
                  <a:cubicBezTo>
                    <a:pt x="167" y="121"/>
                    <a:pt x="167" y="121"/>
                    <a:pt x="167" y="121"/>
                  </a:cubicBezTo>
                  <a:cubicBezTo>
                    <a:pt x="167" y="121"/>
                    <a:pt x="168" y="122"/>
                    <a:pt x="169" y="122"/>
                  </a:cubicBezTo>
                  <a:cubicBezTo>
                    <a:pt x="170" y="122"/>
                    <a:pt x="170" y="122"/>
                    <a:pt x="170" y="122"/>
                  </a:cubicBezTo>
                  <a:cubicBezTo>
                    <a:pt x="170" y="122"/>
                    <a:pt x="172" y="121"/>
                    <a:pt x="172" y="121"/>
                  </a:cubicBezTo>
                  <a:cubicBezTo>
                    <a:pt x="172" y="120"/>
                    <a:pt x="173" y="117"/>
                    <a:pt x="173" y="117"/>
                  </a:cubicBezTo>
                  <a:cubicBezTo>
                    <a:pt x="174" y="116"/>
                    <a:pt x="174" y="116"/>
                    <a:pt x="174" y="116"/>
                  </a:cubicBezTo>
                  <a:cubicBezTo>
                    <a:pt x="175" y="111"/>
                    <a:pt x="175" y="111"/>
                    <a:pt x="175" y="111"/>
                  </a:cubicBezTo>
                  <a:cubicBezTo>
                    <a:pt x="175" y="108"/>
                    <a:pt x="175" y="108"/>
                    <a:pt x="175" y="108"/>
                  </a:cubicBezTo>
                  <a:cubicBezTo>
                    <a:pt x="175" y="104"/>
                    <a:pt x="175" y="104"/>
                    <a:pt x="175" y="104"/>
                  </a:cubicBezTo>
                  <a:cubicBezTo>
                    <a:pt x="175" y="100"/>
                    <a:pt x="175" y="100"/>
                    <a:pt x="175" y="100"/>
                  </a:cubicBezTo>
                  <a:cubicBezTo>
                    <a:pt x="178" y="96"/>
                    <a:pt x="178" y="96"/>
                    <a:pt x="178" y="96"/>
                  </a:cubicBezTo>
                  <a:cubicBezTo>
                    <a:pt x="180" y="94"/>
                    <a:pt x="180" y="94"/>
                    <a:pt x="180" y="94"/>
                  </a:cubicBezTo>
                  <a:cubicBezTo>
                    <a:pt x="185" y="93"/>
                    <a:pt x="185" y="93"/>
                    <a:pt x="185" y="93"/>
                  </a:cubicBezTo>
                  <a:cubicBezTo>
                    <a:pt x="187" y="91"/>
                    <a:pt x="187" y="91"/>
                    <a:pt x="187" y="91"/>
                  </a:cubicBezTo>
                  <a:cubicBezTo>
                    <a:pt x="183" y="87"/>
                    <a:pt x="183" y="87"/>
                    <a:pt x="183" y="87"/>
                  </a:cubicBezTo>
                  <a:cubicBezTo>
                    <a:pt x="182" y="84"/>
                    <a:pt x="182" y="84"/>
                    <a:pt x="182" y="84"/>
                  </a:cubicBezTo>
                  <a:cubicBezTo>
                    <a:pt x="184" y="81"/>
                    <a:pt x="184" y="81"/>
                    <a:pt x="184" y="81"/>
                  </a:cubicBezTo>
                  <a:cubicBezTo>
                    <a:pt x="186" y="78"/>
                    <a:pt x="186" y="78"/>
                    <a:pt x="186" y="78"/>
                  </a:cubicBezTo>
                  <a:cubicBezTo>
                    <a:pt x="187" y="77"/>
                    <a:pt x="187" y="77"/>
                    <a:pt x="187" y="77"/>
                  </a:cubicBezTo>
                  <a:cubicBezTo>
                    <a:pt x="187" y="75"/>
                    <a:pt x="187" y="75"/>
                    <a:pt x="187" y="75"/>
                  </a:cubicBezTo>
                  <a:cubicBezTo>
                    <a:pt x="188" y="74"/>
                    <a:pt x="188" y="74"/>
                    <a:pt x="188" y="74"/>
                  </a:cubicBezTo>
                  <a:cubicBezTo>
                    <a:pt x="188" y="74"/>
                    <a:pt x="188" y="74"/>
                    <a:pt x="189" y="74"/>
                  </a:cubicBezTo>
                  <a:cubicBezTo>
                    <a:pt x="189" y="74"/>
                    <a:pt x="193" y="73"/>
                    <a:pt x="193" y="73"/>
                  </a:cubicBezTo>
                  <a:cubicBezTo>
                    <a:pt x="195" y="73"/>
                    <a:pt x="195" y="73"/>
                    <a:pt x="195" y="73"/>
                  </a:cubicBezTo>
                  <a:cubicBezTo>
                    <a:pt x="193" y="70"/>
                    <a:pt x="193" y="70"/>
                    <a:pt x="193" y="70"/>
                  </a:cubicBezTo>
                  <a:cubicBezTo>
                    <a:pt x="189" y="67"/>
                    <a:pt x="189" y="67"/>
                    <a:pt x="189" y="67"/>
                  </a:cubicBezTo>
                  <a:cubicBezTo>
                    <a:pt x="187" y="65"/>
                    <a:pt x="187" y="65"/>
                    <a:pt x="187" y="65"/>
                  </a:cubicBezTo>
                  <a:cubicBezTo>
                    <a:pt x="184" y="63"/>
                    <a:pt x="184" y="63"/>
                    <a:pt x="184" y="63"/>
                  </a:cubicBezTo>
                  <a:cubicBezTo>
                    <a:pt x="179" y="61"/>
                    <a:pt x="179" y="61"/>
                    <a:pt x="179" y="61"/>
                  </a:cubicBezTo>
                  <a:cubicBezTo>
                    <a:pt x="170" y="60"/>
                    <a:pt x="170" y="60"/>
                    <a:pt x="170" y="60"/>
                  </a:cubicBezTo>
                  <a:cubicBezTo>
                    <a:pt x="163" y="64"/>
                    <a:pt x="163" y="64"/>
                    <a:pt x="163" y="64"/>
                  </a:cubicBezTo>
                  <a:cubicBezTo>
                    <a:pt x="159" y="68"/>
                    <a:pt x="159" y="68"/>
                    <a:pt x="159" y="68"/>
                  </a:cubicBezTo>
                  <a:cubicBezTo>
                    <a:pt x="152" y="69"/>
                    <a:pt x="152" y="69"/>
                    <a:pt x="152" y="69"/>
                  </a:cubicBezTo>
                  <a:cubicBezTo>
                    <a:pt x="144" y="69"/>
                    <a:pt x="144" y="69"/>
                    <a:pt x="144" y="69"/>
                  </a:cubicBezTo>
                  <a:cubicBezTo>
                    <a:pt x="140" y="72"/>
                    <a:pt x="140" y="72"/>
                    <a:pt x="140" y="72"/>
                  </a:cubicBezTo>
                  <a:cubicBezTo>
                    <a:pt x="135" y="81"/>
                    <a:pt x="135" y="81"/>
                    <a:pt x="135" y="81"/>
                  </a:cubicBezTo>
                  <a:cubicBezTo>
                    <a:pt x="129" y="85"/>
                    <a:pt x="129" y="85"/>
                    <a:pt x="129" y="85"/>
                  </a:cubicBezTo>
                  <a:cubicBezTo>
                    <a:pt x="128" y="84"/>
                    <a:pt x="128" y="84"/>
                    <a:pt x="128" y="84"/>
                  </a:cubicBezTo>
                  <a:cubicBezTo>
                    <a:pt x="130" y="80"/>
                    <a:pt x="130" y="80"/>
                    <a:pt x="130" y="80"/>
                  </a:cubicBezTo>
                  <a:cubicBezTo>
                    <a:pt x="133" y="77"/>
                    <a:pt x="133" y="77"/>
                    <a:pt x="133" y="77"/>
                  </a:cubicBezTo>
                  <a:cubicBezTo>
                    <a:pt x="131" y="74"/>
                    <a:pt x="131" y="74"/>
                    <a:pt x="131" y="74"/>
                  </a:cubicBezTo>
                  <a:cubicBezTo>
                    <a:pt x="127" y="76"/>
                    <a:pt x="127" y="76"/>
                    <a:pt x="127" y="76"/>
                  </a:cubicBezTo>
                  <a:cubicBezTo>
                    <a:pt x="125" y="77"/>
                    <a:pt x="125" y="77"/>
                    <a:pt x="125" y="77"/>
                  </a:cubicBezTo>
                  <a:cubicBezTo>
                    <a:pt x="123" y="81"/>
                    <a:pt x="123" y="81"/>
                    <a:pt x="123" y="81"/>
                  </a:cubicBezTo>
                  <a:cubicBezTo>
                    <a:pt x="121" y="82"/>
                    <a:pt x="121" y="82"/>
                    <a:pt x="121" y="82"/>
                  </a:cubicBezTo>
                  <a:cubicBezTo>
                    <a:pt x="120" y="82"/>
                    <a:pt x="120" y="82"/>
                    <a:pt x="120" y="82"/>
                  </a:cubicBezTo>
                  <a:cubicBezTo>
                    <a:pt x="118" y="75"/>
                    <a:pt x="118" y="75"/>
                    <a:pt x="118" y="75"/>
                  </a:cubicBezTo>
                  <a:cubicBezTo>
                    <a:pt x="117" y="75"/>
                    <a:pt x="117" y="75"/>
                    <a:pt x="117" y="75"/>
                  </a:cubicBezTo>
                  <a:cubicBezTo>
                    <a:pt x="115" y="81"/>
                    <a:pt x="115" y="81"/>
                    <a:pt x="115" y="81"/>
                  </a:cubicBezTo>
                  <a:cubicBezTo>
                    <a:pt x="114" y="85"/>
                    <a:pt x="114" y="85"/>
                    <a:pt x="114" y="85"/>
                  </a:cubicBezTo>
                  <a:cubicBezTo>
                    <a:pt x="110" y="90"/>
                    <a:pt x="110" y="90"/>
                    <a:pt x="110" y="90"/>
                  </a:cubicBezTo>
                  <a:cubicBezTo>
                    <a:pt x="107" y="101"/>
                    <a:pt x="107" y="101"/>
                    <a:pt x="107" y="101"/>
                  </a:cubicBezTo>
                  <a:cubicBezTo>
                    <a:pt x="105" y="107"/>
                    <a:pt x="105" y="107"/>
                    <a:pt x="105" y="107"/>
                  </a:cubicBezTo>
                  <a:cubicBezTo>
                    <a:pt x="99" y="112"/>
                    <a:pt x="99" y="112"/>
                    <a:pt x="99" y="112"/>
                  </a:cubicBezTo>
                  <a:cubicBezTo>
                    <a:pt x="97" y="108"/>
                    <a:pt x="97" y="108"/>
                    <a:pt x="97" y="108"/>
                  </a:cubicBezTo>
                  <a:cubicBezTo>
                    <a:pt x="96" y="101"/>
                    <a:pt x="96" y="101"/>
                    <a:pt x="96" y="101"/>
                  </a:cubicBezTo>
                  <a:cubicBezTo>
                    <a:pt x="95" y="100"/>
                    <a:pt x="95" y="100"/>
                    <a:pt x="95" y="100"/>
                  </a:cubicBezTo>
                  <a:cubicBezTo>
                    <a:pt x="93" y="97"/>
                    <a:pt x="93" y="97"/>
                    <a:pt x="93" y="97"/>
                  </a:cubicBezTo>
                  <a:cubicBezTo>
                    <a:pt x="94" y="94"/>
                    <a:pt x="94" y="94"/>
                    <a:pt x="94" y="94"/>
                  </a:cubicBezTo>
                  <a:cubicBezTo>
                    <a:pt x="93" y="88"/>
                    <a:pt x="93" y="88"/>
                    <a:pt x="93" y="88"/>
                  </a:cubicBezTo>
                  <a:cubicBezTo>
                    <a:pt x="90" y="85"/>
                    <a:pt x="90" y="85"/>
                    <a:pt x="90" y="85"/>
                  </a:cubicBezTo>
                  <a:cubicBezTo>
                    <a:pt x="84" y="81"/>
                    <a:pt x="84" y="81"/>
                    <a:pt x="84" y="81"/>
                  </a:cubicBezTo>
                  <a:cubicBezTo>
                    <a:pt x="82" y="77"/>
                    <a:pt x="82" y="77"/>
                    <a:pt x="82" y="77"/>
                  </a:cubicBezTo>
                  <a:cubicBezTo>
                    <a:pt x="75" y="76"/>
                    <a:pt x="75" y="76"/>
                    <a:pt x="75" y="76"/>
                  </a:cubicBezTo>
                  <a:cubicBezTo>
                    <a:pt x="66" y="76"/>
                    <a:pt x="66" y="76"/>
                    <a:pt x="66" y="76"/>
                  </a:cubicBezTo>
                  <a:cubicBezTo>
                    <a:pt x="64" y="74"/>
                    <a:pt x="64" y="74"/>
                    <a:pt x="64" y="74"/>
                  </a:cubicBezTo>
                  <a:cubicBezTo>
                    <a:pt x="58" y="74"/>
                    <a:pt x="58" y="74"/>
                    <a:pt x="58" y="74"/>
                  </a:cubicBezTo>
                  <a:cubicBezTo>
                    <a:pt x="50" y="73"/>
                    <a:pt x="50" y="73"/>
                    <a:pt x="50" y="73"/>
                  </a:cubicBezTo>
                  <a:cubicBezTo>
                    <a:pt x="49" y="71"/>
                    <a:pt x="49" y="71"/>
                    <a:pt x="49" y="71"/>
                  </a:cubicBezTo>
                  <a:cubicBezTo>
                    <a:pt x="43" y="68"/>
                    <a:pt x="43" y="68"/>
                    <a:pt x="43" y="68"/>
                  </a:cubicBezTo>
                  <a:cubicBezTo>
                    <a:pt x="36" y="67"/>
                    <a:pt x="36" y="67"/>
                    <a:pt x="36" y="67"/>
                  </a:cubicBezTo>
                  <a:cubicBezTo>
                    <a:pt x="29" y="65"/>
                    <a:pt x="29" y="65"/>
                    <a:pt x="29" y="65"/>
                  </a:cubicBezTo>
                  <a:cubicBezTo>
                    <a:pt x="21" y="62"/>
                    <a:pt x="21" y="62"/>
                    <a:pt x="21" y="62"/>
                  </a:cubicBezTo>
                  <a:cubicBezTo>
                    <a:pt x="16" y="59"/>
                    <a:pt x="16" y="59"/>
                    <a:pt x="16" y="59"/>
                  </a:cubicBezTo>
                  <a:cubicBezTo>
                    <a:pt x="12" y="59"/>
                    <a:pt x="12" y="59"/>
                    <a:pt x="12" y="59"/>
                  </a:cubicBezTo>
                  <a:cubicBezTo>
                    <a:pt x="11" y="59"/>
                    <a:pt x="11" y="59"/>
                    <a:pt x="11" y="59"/>
                  </a:cubicBezTo>
                  <a:cubicBezTo>
                    <a:pt x="9" y="57"/>
                    <a:pt x="9" y="57"/>
                    <a:pt x="9" y="57"/>
                  </a:cubicBezTo>
                  <a:cubicBezTo>
                    <a:pt x="7" y="54"/>
                    <a:pt x="7" y="54"/>
                    <a:pt x="7" y="54"/>
                  </a:cubicBezTo>
                  <a:cubicBezTo>
                    <a:pt x="0" y="52"/>
                    <a:pt x="0" y="52"/>
                    <a:pt x="0" y="52"/>
                  </a:cubicBezTo>
                  <a:lnTo>
                    <a:pt x="0" y="51"/>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4" name="Freeform 73">
              <a:extLst>
                <a:ext uri="{FF2B5EF4-FFF2-40B4-BE49-F238E27FC236}">
                  <a16:creationId xmlns:a16="http://schemas.microsoft.com/office/drawing/2014/main" id="{326BA84E-5197-082E-97A0-FE82C9965040}"/>
                </a:ext>
              </a:extLst>
            </p:cNvPr>
            <p:cNvSpPr>
              <a:spLocks/>
            </p:cNvSpPr>
            <p:nvPr/>
          </p:nvSpPr>
          <p:spPr bwMode="auto">
            <a:xfrm>
              <a:off x="8320860" y="2431387"/>
              <a:ext cx="443216" cy="444303"/>
            </a:xfrm>
            <a:custGeom>
              <a:avLst/>
              <a:gdLst>
                <a:gd name="T0" fmla="*/ 175 w 201"/>
                <a:gd name="T1" fmla="*/ 65 h 213"/>
                <a:gd name="T2" fmla="*/ 172 w 201"/>
                <a:gd name="T3" fmla="*/ 53 h 213"/>
                <a:gd name="T4" fmla="*/ 157 w 201"/>
                <a:gd name="T5" fmla="*/ 44 h 213"/>
                <a:gd name="T6" fmla="*/ 140 w 201"/>
                <a:gd name="T7" fmla="*/ 42 h 213"/>
                <a:gd name="T8" fmla="*/ 125 w 201"/>
                <a:gd name="T9" fmla="*/ 36 h 213"/>
                <a:gd name="T10" fmla="*/ 103 w 201"/>
                <a:gd name="T11" fmla="*/ 30 h 213"/>
                <a:gd name="T12" fmla="*/ 93 w 201"/>
                <a:gd name="T13" fmla="*/ 27 h 213"/>
                <a:gd name="T14" fmla="*/ 82 w 201"/>
                <a:gd name="T15" fmla="*/ 20 h 213"/>
                <a:gd name="T16" fmla="*/ 78 w 201"/>
                <a:gd name="T17" fmla="*/ 18 h 213"/>
                <a:gd name="T18" fmla="*/ 70 w 201"/>
                <a:gd name="T19" fmla="*/ 17 h 213"/>
                <a:gd name="T20" fmla="*/ 67 w 201"/>
                <a:gd name="T21" fmla="*/ 15 h 213"/>
                <a:gd name="T22" fmla="*/ 70 w 201"/>
                <a:gd name="T23" fmla="*/ 2 h 213"/>
                <a:gd name="T24" fmla="*/ 61 w 201"/>
                <a:gd name="T25" fmla="*/ 3 h 213"/>
                <a:gd name="T26" fmla="*/ 47 w 201"/>
                <a:gd name="T27" fmla="*/ 9 h 213"/>
                <a:gd name="T28" fmla="*/ 33 w 201"/>
                <a:gd name="T29" fmla="*/ 16 h 213"/>
                <a:gd name="T30" fmla="*/ 21 w 201"/>
                <a:gd name="T31" fmla="*/ 15 h 213"/>
                <a:gd name="T32" fmla="*/ 5 w 201"/>
                <a:gd name="T33" fmla="*/ 55 h 213"/>
                <a:gd name="T34" fmla="*/ 7 w 201"/>
                <a:gd name="T35" fmla="*/ 72 h 213"/>
                <a:gd name="T36" fmla="*/ 10 w 201"/>
                <a:gd name="T37" fmla="*/ 112 h 213"/>
                <a:gd name="T38" fmla="*/ 42 w 201"/>
                <a:gd name="T39" fmla="*/ 135 h 213"/>
                <a:gd name="T40" fmla="*/ 60 w 201"/>
                <a:gd name="T41" fmla="*/ 152 h 213"/>
                <a:gd name="T42" fmla="*/ 63 w 201"/>
                <a:gd name="T43" fmla="*/ 173 h 213"/>
                <a:gd name="T44" fmla="*/ 65 w 201"/>
                <a:gd name="T45" fmla="*/ 187 h 213"/>
                <a:gd name="T46" fmla="*/ 67 w 201"/>
                <a:gd name="T47" fmla="*/ 203 h 213"/>
                <a:gd name="T48" fmla="*/ 82 w 201"/>
                <a:gd name="T49" fmla="*/ 209 h 213"/>
                <a:gd name="T50" fmla="*/ 184 w 201"/>
                <a:gd name="T51" fmla="*/ 195 h 213"/>
                <a:gd name="T52" fmla="*/ 178 w 201"/>
                <a:gd name="T53" fmla="*/ 172 h 213"/>
                <a:gd name="T54" fmla="*/ 182 w 201"/>
                <a:gd name="T55" fmla="*/ 155 h 213"/>
                <a:gd name="T56" fmla="*/ 182 w 201"/>
                <a:gd name="T57" fmla="*/ 140 h 213"/>
                <a:gd name="T58" fmla="*/ 184 w 201"/>
                <a:gd name="T59" fmla="*/ 131 h 213"/>
                <a:gd name="T60" fmla="*/ 186 w 201"/>
                <a:gd name="T61" fmla="*/ 121 h 213"/>
                <a:gd name="T62" fmla="*/ 188 w 201"/>
                <a:gd name="T63" fmla="*/ 105 h 213"/>
                <a:gd name="T64" fmla="*/ 197 w 201"/>
                <a:gd name="T65" fmla="*/ 85 h 213"/>
                <a:gd name="T66" fmla="*/ 201 w 201"/>
                <a:gd name="T67" fmla="*/ 79 h 213"/>
                <a:gd name="T68" fmla="*/ 201 w 201"/>
                <a:gd name="T69" fmla="*/ 73 h 213"/>
                <a:gd name="T70" fmla="*/ 194 w 201"/>
                <a:gd name="T71" fmla="*/ 79 h 213"/>
                <a:gd name="T72" fmla="*/ 187 w 201"/>
                <a:gd name="T73" fmla="*/ 92 h 213"/>
                <a:gd name="T74" fmla="*/ 177 w 201"/>
                <a:gd name="T75" fmla="*/ 101 h 213"/>
                <a:gd name="T76" fmla="*/ 168 w 201"/>
                <a:gd name="T77" fmla="*/ 107 h 213"/>
                <a:gd name="T78" fmla="*/ 174 w 201"/>
                <a:gd name="T79" fmla="*/ 93 h 213"/>
                <a:gd name="T80" fmla="*/ 179 w 201"/>
                <a:gd name="T81" fmla="*/ 87 h 213"/>
                <a:gd name="T82" fmla="*/ 180 w 201"/>
                <a:gd name="T83" fmla="*/ 7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1" h="213">
                  <a:moveTo>
                    <a:pt x="178" y="69"/>
                  </a:moveTo>
                  <a:cubicBezTo>
                    <a:pt x="177" y="68"/>
                    <a:pt x="177" y="68"/>
                    <a:pt x="177" y="68"/>
                  </a:cubicBezTo>
                  <a:cubicBezTo>
                    <a:pt x="175" y="65"/>
                    <a:pt x="175" y="65"/>
                    <a:pt x="175" y="65"/>
                  </a:cubicBezTo>
                  <a:cubicBezTo>
                    <a:pt x="176" y="62"/>
                    <a:pt x="176" y="62"/>
                    <a:pt x="176" y="62"/>
                  </a:cubicBezTo>
                  <a:cubicBezTo>
                    <a:pt x="175" y="56"/>
                    <a:pt x="175" y="56"/>
                    <a:pt x="175" y="56"/>
                  </a:cubicBezTo>
                  <a:cubicBezTo>
                    <a:pt x="172" y="53"/>
                    <a:pt x="172" y="53"/>
                    <a:pt x="172" y="53"/>
                  </a:cubicBezTo>
                  <a:cubicBezTo>
                    <a:pt x="166" y="49"/>
                    <a:pt x="166" y="49"/>
                    <a:pt x="166" y="49"/>
                  </a:cubicBezTo>
                  <a:cubicBezTo>
                    <a:pt x="164" y="45"/>
                    <a:pt x="164" y="45"/>
                    <a:pt x="164" y="45"/>
                  </a:cubicBezTo>
                  <a:cubicBezTo>
                    <a:pt x="157" y="44"/>
                    <a:pt x="157" y="44"/>
                    <a:pt x="157" y="44"/>
                  </a:cubicBezTo>
                  <a:cubicBezTo>
                    <a:pt x="148" y="44"/>
                    <a:pt x="148" y="44"/>
                    <a:pt x="148" y="44"/>
                  </a:cubicBezTo>
                  <a:cubicBezTo>
                    <a:pt x="146" y="42"/>
                    <a:pt x="146" y="42"/>
                    <a:pt x="146" y="42"/>
                  </a:cubicBezTo>
                  <a:cubicBezTo>
                    <a:pt x="140" y="42"/>
                    <a:pt x="140" y="42"/>
                    <a:pt x="140" y="42"/>
                  </a:cubicBezTo>
                  <a:cubicBezTo>
                    <a:pt x="132" y="41"/>
                    <a:pt x="132" y="41"/>
                    <a:pt x="132" y="41"/>
                  </a:cubicBezTo>
                  <a:cubicBezTo>
                    <a:pt x="131" y="39"/>
                    <a:pt x="131" y="39"/>
                    <a:pt x="131" y="39"/>
                  </a:cubicBezTo>
                  <a:cubicBezTo>
                    <a:pt x="125" y="36"/>
                    <a:pt x="125" y="36"/>
                    <a:pt x="125" y="36"/>
                  </a:cubicBezTo>
                  <a:cubicBezTo>
                    <a:pt x="118" y="35"/>
                    <a:pt x="118" y="35"/>
                    <a:pt x="118" y="35"/>
                  </a:cubicBezTo>
                  <a:cubicBezTo>
                    <a:pt x="111" y="33"/>
                    <a:pt x="111" y="33"/>
                    <a:pt x="111" y="33"/>
                  </a:cubicBezTo>
                  <a:cubicBezTo>
                    <a:pt x="103" y="30"/>
                    <a:pt x="103" y="30"/>
                    <a:pt x="103" y="30"/>
                  </a:cubicBezTo>
                  <a:cubicBezTo>
                    <a:pt x="98" y="27"/>
                    <a:pt x="98" y="27"/>
                    <a:pt x="98" y="27"/>
                  </a:cubicBezTo>
                  <a:cubicBezTo>
                    <a:pt x="94" y="27"/>
                    <a:pt x="94" y="27"/>
                    <a:pt x="94" y="27"/>
                  </a:cubicBezTo>
                  <a:cubicBezTo>
                    <a:pt x="93" y="27"/>
                    <a:pt x="93" y="27"/>
                    <a:pt x="93" y="27"/>
                  </a:cubicBezTo>
                  <a:cubicBezTo>
                    <a:pt x="91" y="25"/>
                    <a:pt x="91" y="25"/>
                    <a:pt x="91" y="25"/>
                  </a:cubicBezTo>
                  <a:cubicBezTo>
                    <a:pt x="89" y="22"/>
                    <a:pt x="89" y="22"/>
                    <a:pt x="89" y="22"/>
                  </a:cubicBezTo>
                  <a:cubicBezTo>
                    <a:pt x="82" y="20"/>
                    <a:pt x="82" y="20"/>
                    <a:pt x="82" y="20"/>
                  </a:cubicBezTo>
                  <a:cubicBezTo>
                    <a:pt x="82" y="20"/>
                    <a:pt x="82" y="20"/>
                    <a:pt x="82" y="20"/>
                  </a:cubicBezTo>
                  <a:cubicBezTo>
                    <a:pt x="81" y="20"/>
                    <a:pt x="81" y="20"/>
                    <a:pt x="81" y="20"/>
                  </a:cubicBezTo>
                  <a:cubicBezTo>
                    <a:pt x="78" y="18"/>
                    <a:pt x="78" y="18"/>
                    <a:pt x="78" y="18"/>
                  </a:cubicBezTo>
                  <a:cubicBezTo>
                    <a:pt x="75" y="16"/>
                    <a:pt x="75" y="16"/>
                    <a:pt x="75" y="16"/>
                  </a:cubicBezTo>
                  <a:cubicBezTo>
                    <a:pt x="72" y="15"/>
                    <a:pt x="72" y="15"/>
                    <a:pt x="72" y="15"/>
                  </a:cubicBezTo>
                  <a:cubicBezTo>
                    <a:pt x="70" y="17"/>
                    <a:pt x="70" y="17"/>
                    <a:pt x="70" y="17"/>
                  </a:cubicBezTo>
                  <a:cubicBezTo>
                    <a:pt x="67" y="18"/>
                    <a:pt x="67" y="18"/>
                    <a:pt x="67" y="18"/>
                  </a:cubicBezTo>
                  <a:cubicBezTo>
                    <a:pt x="66" y="17"/>
                    <a:pt x="66" y="17"/>
                    <a:pt x="66" y="17"/>
                  </a:cubicBezTo>
                  <a:cubicBezTo>
                    <a:pt x="67" y="15"/>
                    <a:pt x="67" y="15"/>
                    <a:pt x="67" y="15"/>
                  </a:cubicBezTo>
                  <a:cubicBezTo>
                    <a:pt x="68" y="9"/>
                    <a:pt x="68" y="9"/>
                    <a:pt x="68" y="9"/>
                  </a:cubicBezTo>
                  <a:cubicBezTo>
                    <a:pt x="69" y="7"/>
                    <a:pt x="69" y="7"/>
                    <a:pt x="69" y="7"/>
                  </a:cubicBezTo>
                  <a:cubicBezTo>
                    <a:pt x="70" y="2"/>
                    <a:pt x="70" y="2"/>
                    <a:pt x="70" y="2"/>
                  </a:cubicBezTo>
                  <a:cubicBezTo>
                    <a:pt x="67" y="0"/>
                    <a:pt x="67" y="0"/>
                    <a:pt x="67" y="0"/>
                  </a:cubicBezTo>
                  <a:cubicBezTo>
                    <a:pt x="65" y="1"/>
                    <a:pt x="65" y="1"/>
                    <a:pt x="65" y="1"/>
                  </a:cubicBezTo>
                  <a:cubicBezTo>
                    <a:pt x="61" y="3"/>
                    <a:pt x="61" y="3"/>
                    <a:pt x="61" y="3"/>
                  </a:cubicBezTo>
                  <a:cubicBezTo>
                    <a:pt x="57" y="4"/>
                    <a:pt x="57" y="4"/>
                    <a:pt x="57" y="4"/>
                  </a:cubicBezTo>
                  <a:cubicBezTo>
                    <a:pt x="52" y="6"/>
                    <a:pt x="52" y="6"/>
                    <a:pt x="52" y="6"/>
                  </a:cubicBezTo>
                  <a:cubicBezTo>
                    <a:pt x="47" y="9"/>
                    <a:pt x="47" y="9"/>
                    <a:pt x="47" y="9"/>
                  </a:cubicBezTo>
                  <a:cubicBezTo>
                    <a:pt x="39" y="13"/>
                    <a:pt x="39" y="13"/>
                    <a:pt x="39" y="13"/>
                  </a:cubicBezTo>
                  <a:cubicBezTo>
                    <a:pt x="37" y="16"/>
                    <a:pt x="37" y="16"/>
                    <a:pt x="37" y="16"/>
                  </a:cubicBezTo>
                  <a:cubicBezTo>
                    <a:pt x="33" y="16"/>
                    <a:pt x="33" y="16"/>
                    <a:pt x="33" y="16"/>
                  </a:cubicBezTo>
                  <a:cubicBezTo>
                    <a:pt x="28" y="14"/>
                    <a:pt x="28" y="14"/>
                    <a:pt x="28" y="14"/>
                  </a:cubicBezTo>
                  <a:cubicBezTo>
                    <a:pt x="25" y="11"/>
                    <a:pt x="25" y="11"/>
                    <a:pt x="25" y="11"/>
                  </a:cubicBezTo>
                  <a:cubicBezTo>
                    <a:pt x="21" y="15"/>
                    <a:pt x="21" y="15"/>
                    <a:pt x="21" y="15"/>
                  </a:cubicBezTo>
                  <a:cubicBezTo>
                    <a:pt x="20" y="43"/>
                    <a:pt x="20" y="43"/>
                    <a:pt x="20" y="43"/>
                  </a:cubicBezTo>
                  <a:cubicBezTo>
                    <a:pt x="7" y="51"/>
                    <a:pt x="7" y="51"/>
                    <a:pt x="7" y="51"/>
                  </a:cubicBezTo>
                  <a:cubicBezTo>
                    <a:pt x="5" y="55"/>
                    <a:pt x="5" y="55"/>
                    <a:pt x="5" y="55"/>
                  </a:cubicBezTo>
                  <a:cubicBezTo>
                    <a:pt x="0" y="66"/>
                    <a:pt x="0" y="66"/>
                    <a:pt x="0" y="66"/>
                  </a:cubicBezTo>
                  <a:cubicBezTo>
                    <a:pt x="5" y="72"/>
                    <a:pt x="5" y="72"/>
                    <a:pt x="5" y="72"/>
                  </a:cubicBezTo>
                  <a:cubicBezTo>
                    <a:pt x="7" y="72"/>
                    <a:pt x="7" y="72"/>
                    <a:pt x="7" y="72"/>
                  </a:cubicBezTo>
                  <a:cubicBezTo>
                    <a:pt x="5" y="89"/>
                    <a:pt x="5" y="89"/>
                    <a:pt x="5" y="89"/>
                  </a:cubicBezTo>
                  <a:cubicBezTo>
                    <a:pt x="4" y="107"/>
                    <a:pt x="4" y="107"/>
                    <a:pt x="4" y="107"/>
                  </a:cubicBezTo>
                  <a:cubicBezTo>
                    <a:pt x="10" y="112"/>
                    <a:pt x="10" y="112"/>
                    <a:pt x="10" y="112"/>
                  </a:cubicBezTo>
                  <a:cubicBezTo>
                    <a:pt x="19" y="117"/>
                    <a:pt x="19" y="117"/>
                    <a:pt x="19" y="117"/>
                  </a:cubicBezTo>
                  <a:cubicBezTo>
                    <a:pt x="33" y="125"/>
                    <a:pt x="33" y="125"/>
                    <a:pt x="33" y="125"/>
                  </a:cubicBezTo>
                  <a:cubicBezTo>
                    <a:pt x="42" y="135"/>
                    <a:pt x="42" y="135"/>
                    <a:pt x="42" y="135"/>
                  </a:cubicBezTo>
                  <a:cubicBezTo>
                    <a:pt x="45" y="139"/>
                    <a:pt x="45" y="139"/>
                    <a:pt x="45" y="139"/>
                  </a:cubicBezTo>
                  <a:cubicBezTo>
                    <a:pt x="52" y="144"/>
                    <a:pt x="52" y="144"/>
                    <a:pt x="52" y="144"/>
                  </a:cubicBezTo>
                  <a:cubicBezTo>
                    <a:pt x="60" y="152"/>
                    <a:pt x="60" y="152"/>
                    <a:pt x="60" y="152"/>
                  </a:cubicBezTo>
                  <a:cubicBezTo>
                    <a:pt x="61" y="159"/>
                    <a:pt x="61" y="159"/>
                    <a:pt x="61" y="159"/>
                  </a:cubicBezTo>
                  <a:cubicBezTo>
                    <a:pt x="60" y="166"/>
                    <a:pt x="60" y="166"/>
                    <a:pt x="60" y="166"/>
                  </a:cubicBezTo>
                  <a:cubicBezTo>
                    <a:pt x="63" y="173"/>
                    <a:pt x="63" y="173"/>
                    <a:pt x="63" y="173"/>
                  </a:cubicBezTo>
                  <a:cubicBezTo>
                    <a:pt x="65" y="176"/>
                    <a:pt x="65" y="176"/>
                    <a:pt x="65" y="176"/>
                  </a:cubicBezTo>
                  <a:cubicBezTo>
                    <a:pt x="65" y="183"/>
                    <a:pt x="65" y="183"/>
                    <a:pt x="65" y="183"/>
                  </a:cubicBezTo>
                  <a:cubicBezTo>
                    <a:pt x="65" y="187"/>
                    <a:pt x="65" y="187"/>
                    <a:pt x="65" y="187"/>
                  </a:cubicBezTo>
                  <a:cubicBezTo>
                    <a:pt x="65" y="193"/>
                    <a:pt x="65" y="193"/>
                    <a:pt x="65" y="193"/>
                  </a:cubicBezTo>
                  <a:cubicBezTo>
                    <a:pt x="67" y="198"/>
                    <a:pt x="67" y="198"/>
                    <a:pt x="67" y="198"/>
                  </a:cubicBezTo>
                  <a:cubicBezTo>
                    <a:pt x="67" y="203"/>
                    <a:pt x="67" y="203"/>
                    <a:pt x="67" y="203"/>
                  </a:cubicBezTo>
                  <a:cubicBezTo>
                    <a:pt x="72" y="203"/>
                    <a:pt x="72" y="203"/>
                    <a:pt x="72" y="203"/>
                  </a:cubicBezTo>
                  <a:cubicBezTo>
                    <a:pt x="72" y="203"/>
                    <a:pt x="76" y="207"/>
                    <a:pt x="77" y="207"/>
                  </a:cubicBezTo>
                  <a:cubicBezTo>
                    <a:pt x="78" y="207"/>
                    <a:pt x="82" y="209"/>
                    <a:pt x="82" y="209"/>
                  </a:cubicBezTo>
                  <a:cubicBezTo>
                    <a:pt x="85" y="213"/>
                    <a:pt x="85" y="213"/>
                    <a:pt x="85" y="213"/>
                  </a:cubicBezTo>
                  <a:cubicBezTo>
                    <a:pt x="184" y="207"/>
                    <a:pt x="184" y="207"/>
                    <a:pt x="184" y="207"/>
                  </a:cubicBezTo>
                  <a:cubicBezTo>
                    <a:pt x="184" y="195"/>
                    <a:pt x="184" y="195"/>
                    <a:pt x="184" y="195"/>
                  </a:cubicBezTo>
                  <a:cubicBezTo>
                    <a:pt x="184" y="191"/>
                    <a:pt x="184" y="191"/>
                    <a:pt x="184" y="191"/>
                  </a:cubicBezTo>
                  <a:cubicBezTo>
                    <a:pt x="179" y="179"/>
                    <a:pt x="179" y="179"/>
                    <a:pt x="179" y="179"/>
                  </a:cubicBezTo>
                  <a:cubicBezTo>
                    <a:pt x="178" y="172"/>
                    <a:pt x="178" y="172"/>
                    <a:pt x="178" y="172"/>
                  </a:cubicBezTo>
                  <a:cubicBezTo>
                    <a:pt x="179" y="164"/>
                    <a:pt x="179" y="164"/>
                    <a:pt x="179" y="164"/>
                  </a:cubicBezTo>
                  <a:cubicBezTo>
                    <a:pt x="181" y="158"/>
                    <a:pt x="181" y="158"/>
                    <a:pt x="181" y="158"/>
                  </a:cubicBezTo>
                  <a:cubicBezTo>
                    <a:pt x="182" y="155"/>
                    <a:pt x="182" y="155"/>
                    <a:pt x="182" y="155"/>
                  </a:cubicBezTo>
                  <a:cubicBezTo>
                    <a:pt x="184" y="152"/>
                    <a:pt x="184" y="152"/>
                    <a:pt x="184" y="152"/>
                  </a:cubicBezTo>
                  <a:cubicBezTo>
                    <a:pt x="182" y="147"/>
                    <a:pt x="182" y="147"/>
                    <a:pt x="182" y="147"/>
                  </a:cubicBezTo>
                  <a:cubicBezTo>
                    <a:pt x="182" y="140"/>
                    <a:pt x="182" y="140"/>
                    <a:pt x="182" y="140"/>
                  </a:cubicBezTo>
                  <a:cubicBezTo>
                    <a:pt x="182" y="136"/>
                    <a:pt x="182" y="136"/>
                    <a:pt x="182" y="136"/>
                  </a:cubicBezTo>
                  <a:cubicBezTo>
                    <a:pt x="184" y="133"/>
                    <a:pt x="184" y="133"/>
                    <a:pt x="184" y="133"/>
                  </a:cubicBezTo>
                  <a:cubicBezTo>
                    <a:pt x="184" y="131"/>
                    <a:pt x="184" y="131"/>
                    <a:pt x="184" y="131"/>
                  </a:cubicBezTo>
                  <a:cubicBezTo>
                    <a:pt x="188" y="127"/>
                    <a:pt x="188" y="127"/>
                    <a:pt x="188" y="127"/>
                  </a:cubicBezTo>
                  <a:cubicBezTo>
                    <a:pt x="188" y="125"/>
                    <a:pt x="188" y="125"/>
                    <a:pt x="188" y="125"/>
                  </a:cubicBezTo>
                  <a:cubicBezTo>
                    <a:pt x="186" y="121"/>
                    <a:pt x="186" y="121"/>
                    <a:pt x="186" y="121"/>
                  </a:cubicBezTo>
                  <a:cubicBezTo>
                    <a:pt x="186" y="118"/>
                    <a:pt x="186" y="118"/>
                    <a:pt x="186" y="118"/>
                  </a:cubicBezTo>
                  <a:cubicBezTo>
                    <a:pt x="187" y="110"/>
                    <a:pt x="187" y="110"/>
                    <a:pt x="187" y="110"/>
                  </a:cubicBezTo>
                  <a:cubicBezTo>
                    <a:pt x="188" y="105"/>
                    <a:pt x="188" y="105"/>
                    <a:pt x="188" y="105"/>
                  </a:cubicBezTo>
                  <a:cubicBezTo>
                    <a:pt x="191" y="99"/>
                    <a:pt x="191" y="99"/>
                    <a:pt x="191" y="99"/>
                  </a:cubicBezTo>
                  <a:cubicBezTo>
                    <a:pt x="196" y="89"/>
                    <a:pt x="196" y="89"/>
                    <a:pt x="196" y="89"/>
                  </a:cubicBezTo>
                  <a:cubicBezTo>
                    <a:pt x="197" y="85"/>
                    <a:pt x="197" y="85"/>
                    <a:pt x="197" y="85"/>
                  </a:cubicBezTo>
                  <a:cubicBezTo>
                    <a:pt x="197" y="82"/>
                    <a:pt x="197" y="82"/>
                    <a:pt x="197" y="82"/>
                  </a:cubicBezTo>
                  <a:cubicBezTo>
                    <a:pt x="201" y="81"/>
                    <a:pt x="201" y="81"/>
                    <a:pt x="201" y="81"/>
                  </a:cubicBezTo>
                  <a:cubicBezTo>
                    <a:pt x="201" y="79"/>
                    <a:pt x="201" y="79"/>
                    <a:pt x="201" y="79"/>
                  </a:cubicBezTo>
                  <a:cubicBezTo>
                    <a:pt x="201" y="77"/>
                    <a:pt x="201" y="77"/>
                    <a:pt x="201" y="77"/>
                  </a:cubicBezTo>
                  <a:cubicBezTo>
                    <a:pt x="201" y="75"/>
                    <a:pt x="201" y="75"/>
                    <a:pt x="201" y="75"/>
                  </a:cubicBezTo>
                  <a:cubicBezTo>
                    <a:pt x="201" y="73"/>
                    <a:pt x="201" y="73"/>
                    <a:pt x="201" y="73"/>
                  </a:cubicBezTo>
                  <a:cubicBezTo>
                    <a:pt x="201" y="71"/>
                    <a:pt x="201" y="71"/>
                    <a:pt x="201" y="71"/>
                  </a:cubicBezTo>
                  <a:cubicBezTo>
                    <a:pt x="197" y="75"/>
                    <a:pt x="197" y="75"/>
                    <a:pt x="197" y="75"/>
                  </a:cubicBezTo>
                  <a:cubicBezTo>
                    <a:pt x="194" y="79"/>
                    <a:pt x="194" y="79"/>
                    <a:pt x="194" y="79"/>
                  </a:cubicBezTo>
                  <a:cubicBezTo>
                    <a:pt x="193" y="84"/>
                    <a:pt x="193" y="84"/>
                    <a:pt x="193" y="84"/>
                  </a:cubicBezTo>
                  <a:cubicBezTo>
                    <a:pt x="190" y="90"/>
                    <a:pt x="190" y="90"/>
                    <a:pt x="190" y="90"/>
                  </a:cubicBezTo>
                  <a:cubicBezTo>
                    <a:pt x="187" y="92"/>
                    <a:pt x="187" y="92"/>
                    <a:pt x="187" y="92"/>
                  </a:cubicBezTo>
                  <a:cubicBezTo>
                    <a:pt x="181" y="95"/>
                    <a:pt x="181" y="95"/>
                    <a:pt x="181" y="95"/>
                  </a:cubicBezTo>
                  <a:cubicBezTo>
                    <a:pt x="178" y="99"/>
                    <a:pt x="178" y="99"/>
                    <a:pt x="178" y="99"/>
                  </a:cubicBezTo>
                  <a:cubicBezTo>
                    <a:pt x="177" y="101"/>
                    <a:pt x="177" y="101"/>
                    <a:pt x="177" y="101"/>
                  </a:cubicBezTo>
                  <a:cubicBezTo>
                    <a:pt x="175" y="105"/>
                    <a:pt x="175" y="105"/>
                    <a:pt x="175" y="105"/>
                  </a:cubicBezTo>
                  <a:cubicBezTo>
                    <a:pt x="171" y="110"/>
                    <a:pt x="171" y="110"/>
                    <a:pt x="171" y="110"/>
                  </a:cubicBezTo>
                  <a:cubicBezTo>
                    <a:pt x="168" y="107"/>
                    <a:pt x="168" y="107"/>
                    <a:pt x="168" y="107"/>
                  </a:cubicBezTo>
                  <a:cubicBezTo>
                    <a:pt x="171" y="103"/>
                    <a:pt x="171" y="103"/>
                    <a:pt x="171" y="103"/>
                  </a:cubicBezTo>
                  <a:cubicBezTo>
                    <a:pt x="173" y="96"/>
                    <a:pt x="173" y="96"/>
                    <a:pt x="173" y="96"/>
                  </a:cubicBezTo>
                  <a:cubicBezTo>
                    <a:pt x="174" y="93"/>
                    <a:pt x="174" y="93"/>
                    <a:pt x="174" y="93"/>
                  </a:cubicBezTo>
                  <a:cubicBezTo>
                    <a:pt x="175" y="91"/>
                    <a:pt x="175" y="91"/>
                    <a:pt x="175" y="91"/>
                  </a:cubicBezTo>
                  <a:cubicBezTo>
                    <a:pt x="177" y="89"/>
                    <a:pt x="177" y="89"/>
                    <a:pt x="177" y="89"/>
                  </a:cubicBezTo>
                  <a:cubicBezTo>
                    <a:pt x="179" y="87"/>
                    <a:pt x="179" y="87"/>
                    <a:pt x="179" y="87"/>
                  </a:cubicBezTo>
                  <a:cubicBezTo>
                    <a:pt x="180" y="85"/>
                    <a:pt x="180" y="85"/>
                    <a:pt x="180" y="85"/>
                  </a:cubicBezTo>
                  <a:cubicBezTo>
                    <a:pt x="179" y="80"/>
                    <a:pt x="179" y="80"/>
                    <a:pt x="179" y="80"/>
                  </a:cubicBezTo>
                  <a:cubicBezTo>
                    <a:pt x="180" y="78"/>
                    <a:pt x="180" y="78"/>
                    <a:pt x="180" y="78"/>
                  </a:cubicBezTo>
                  <a:cubicBezTo>
                    <a:pt x="179" y="76"/>
                    <a:pt x="179" y="76"/>
                    <a:pt x="179" y="76"/>
                  </a:cubicBezTo>
                  <a:lnTo>
                    <a:pt x="178" y="69"/>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5" name="Freeform 74">
              <a:extLst>
                <a:ext uri="{FF2B5EF4-FFF2-40B4-BE49-F238E27FC236}">
                  <a16:creationId xmlns:a16="http://schemas.microsoft.com/office/drawing/2014/main" id="{C8DED39A-94F9-C07F-5992-B829F16F00DE}"/>
                </a:ext>
              </a:extLst>
            </p:cNvPr>
            <p:cNvSpPr>
              <a:spLocks/>
            </p:cNvSpPr>
            <p:nvPr/>
          </p:nvSpPr>
          <p:spPr bwMode="auto">
            <a:xfrm>
              <a:off x="8970041" y="2851140"/>
              <a:ext cx="354574" cy="382934"/>
            </a:xfrm>
            <a:custGeom>
              <a:avLst/>
              <a:gdLst>
                <a:gd name="T0" fmla="*/ 114 w 136"/>
                <a:gd name="T1" fmla="*/ 8 h 156"/>
                <a:gd name="T2" fmla="*/ 101 w 136"/>
                <a:gd name="T3" fmla="*/ 17 h 156"/>
                <a:gd name="T4" fmla="*/ 93 w 136"/>
                <a:gd name="T5" fmla="*/ 22 h 156"/>
                <a:gd name="T6" fmla="*/ 88 w 136"/>
                <a:gd name="T7" fmla="*/ 27 h 156"/>
                <a:gd name="T8" fmla="*/ 82 w 136"/>
                <a:gd name="T9" fmla="*/ 27 h 156"/>
                <a:gd name="T10" fmla="*/ 74 w 136"/>
                <a:gd name="T11" fmla="*/ 33 h 156"/>
                <a:gd name="T12" fmla="*/ 69 w 136"/>
                <a:gd name="T13" fmla="*/ 33 h 156"/>
                <a:gd name="T14" fmla="*/ 65 w 136"/>
                <a:gd name="T15" fmla="*/ 31 h 156"/>
                <a:gd name="T16" fmla="*/ 60 w 136"/>
                <a:gd name="T17" fmla="*/ 29 h 156"/>
                <a:gd name="T18" fmla="*/ 55 w 136"/>
                <a:gd name="T19" fmla="*/ 27 h 156"/>
                <a:gd name="T20" fmla="*/ 47 w 136"/>
                <a:gd name="T21" fmla="*/ 23 h 156"/>
                <a:gd name="T22" fmla="*/ 0 w 136"/>
                <a:gd name="T23" fmla="*/ 28 h 156"/>
                <a:gd name="T24" fmla="*/ 16 w 136"/>
                <a:gd name="T25" fmla="*/ 136 h 156"/>
                <a:gd name="T26" fmla="*/ 22 w 136"/>
                <a:gd name="T27" fmla="*/ 133 h 156"/>
                <a:gd name="T28" fmla="*/ 31 w 136"/>
                <a:gd name="T29" fmla="*/ 140 h 156"/>
                <a:gd name="T30" fmla="*/ 34 w 136"/>
                <a:gd name="T31" fmla="*/ 146 h 156"/>
                <a:gd name="T32" fmla="*/ 42 w 136"/>
                <a:gd name="T33" fmla="*/ 148 h 156"/>
                <a:gd name="T34" fmla="*/ 46 w 136"/>
                <a:gd name="T35" fmla="*/ 151 h 156"/>
                <a:gd name="T36" fmla="*/ 49 w 136"/>
                <a:gd name="T37" fmla="*/ 149 h 156"/>
                <a:gd name="T38" fmla="*/ 52 w 136"/>
                <a:gd name="T39" fmla="*/ 146 h 156"/>
                <a:gd name="T40" fmla="*/ 60 w 136"/>
                <a:gd name="T41" fmla="*/ 150 h 156"/>
                <a:gd name="T42" fmla="*/ 67 w 136"/>
                <a:gd name="T43" fmla="*/ 148 h 156"/>
                <a:gd name="T44" fmla="*/ 71 w 136"/>
                <a:gd name="T45" fmla="*/ 144 h 156"/>
                <a:gd name="T46" fmla="*/ 75 w 136"/>
                <a:gd name="T47" fmla="*/ 146 h 156"/>
                <a:gd name="T48" fmla="*/ 83 w 136"/>
                <a:gd name="T49" fmla="*/ 155 h 156"/>
                <a:gd name="T50" fmla="*/ 85 w 136"/>
                <a:gd name="T51" fmla="*/ 156 h 156"/>
                <a:gd name="T52" fmla="*/ 92 w 136"/>
                <a:gd name="T53" fmla="*/ 149 h 156"/>
                <a:gd name="T54" fmla="*/ 94 w 136"/>
                <a:gd name="T55" fmla="*/ 142 h 156"/>
                <a:gd name="T56" fmla="*/ 100 w 136"/>
                <a:gd name="T57" fmla="*/ 128 h 156"/>
                <a:gd name="T58" fmla="*/ 105 w 136"/>
                <a:gd name="T59" fmla="*/ 130 h 156"/>
                <a:gd name="T60" fmla="*/ 109 w 136"/>
                <a:gd name="T61" fmla="*/ 116 h 156"/>
                <a:gd name="T62" fmla="*/ 118 w 136"/>
                <a:gd name="T63" fmla="*/ 110 h 156"/>
                <a:gd name="T64" fmla="*/ 129 w 136"/>
                <a:gd name="T65" fmla="*/ 99 h 156"/>
                <a:gd name="T66" fmla="*/ 131 w 136"/>
                <a:gd name="T67" fmla="*/ 91 h 156"/>
                <a:gd name="T68" fmla="*/ 132 w 136"/>
                <a:gd name="T69" fmla="*/ 77 h 156"/>
                <a:gd name="T70" fmla="*/ 133 w 136"/>
                <a:gd name="T71" fmla="*/ 70 h 156"/>
                <a:gd name="T72" fmla="*/ 133 w 136"/>
                <a:gd name="T73" fmla="*/ 61 h 156"/>
                <a:gd name="T74" fmla="*/ 133 w 136"/>
                <a:gd name="T75" fmla="*/ 55 h 156"/>
                <a:gd name="T76" fmla="*/ 126 w 136"/>
                <a:gd name="T7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56">
                  <a:moveTo>
                    <a:pt x="121" y="5"/>
                  </a:moveTo>
                  <a:lnTo>
                    <a:pt x="114" y="8"/>
                  </a:lnTo>
                  <a:lnTo>
                    <a:pt x="108" y="13"/>
                  </a:lnTo>
                  <a:lnTo>
                    <a:pt x="101" y="17"/>
                  </a:lnTo>
                  <a:lnTo>
                    <a:pt x="96" y="21"/>
                  </a:lnTo>
                  <a:lnTo>
                    <a:pt x="93" y="22"/>
                  </a:lnTo>
                  <a:lnTo>
                    <a:pt x="91" y="24"/>
                  </a:lnTo>
                  <a:lnTo>
                    <a:pt x="88" y="27"/>
                  </a:lnTo>
                  <a:lnTo>
                    <a:pt x="85" y="27"/>
                  </a:lnTo>
                  <a:lnTo>
                    <a:pt x="82" y="27"/>
                  </a:lnTo>
                  <a:lnTo>
                    <a:pt x="78" y="29"/>
                  </a:lnTo>
                  <a:lnTo>
                    <a:pt x="74" y="33"/>
                  </a:lnTo>
                  <a:lnTo>
                    <a:pt x="71" y="33"/>
                  </a:lnTo>
                  <a:lnTo>
                    <a:pt x="69" y="33"/>
                  </a:lnTo>
                  <a:lnTo>
                    <a:pt x="68" y="33"/>
                  </a:lnTo>
                  <a:lnTo>
                    <a:pt x="65" y="31"/>
                  </a:lnTo>
                  <a:lnTo>
                    <a:pt x="62" y="28"/>
                  </a:lnTo>
                  <a:lnTo>
                    <a:pt x="60" y="29"/>
                  </a:lnTo>
                  <a:lnTo>
                    <a:pt x="56" y="28"/>
                  </a:lnTo>
                  <a:lnTo>
                    <a:pt x="55" y="27"/>
                  </a:lnTo>
                  <a:lnTo>
                    <a:pt x="51" y="24"/>
                  </a:lnTo>
                  <a:lnTo>
                    <a:pt x="47" y="23"/>
                  </a:lnTo>
                  <a:lnTo>
                    <a:pt x="39" y="22"/>
                  </a:lnTo>
                  <a:lnTo>
                    <a:pt x="0" y="28"/>
                  </a:lnTo>
                  <a:lnTo>
                    <a:pt x="11" y="134"/>
                  </a:lnTo>
                  <a:lnTo>
                    <a:pt x="16" y="136"/>
                  </a:lnTo>
                  <a:lnTo>
                    <a:pt x="21" y="134"/>
                  </a:lnTo>
                  <a:lnTo>
                    <a:pt x="22" y="133"/>
                  </a:lnTo>
                  <a:lnTo>
                    <a:pt x="27" y="137"/>
                  </a:lnTo>
                  <a:lnTo>
                    <a:pt x="31" y="140"/>
                  </a:lnTo>
                  <a:lnTo>
                    <a:pt x="33" y="144"/>
                  </a:lnTo>
                  <a:lnTo>
                    <a:pt x="34" y="146"/>
                  </a:lnTo>
                  <a:lnTo>
                    <a:pt x="39" y="147"/>
                  </a:lnTo>
                  <a:lnTo>
                    <a:pt x="42" y="148"/>
                  </a:lnTo>
                  <a:lnTo>
                    <a:pt x="44" y="149"/>
                  </a:lnTo>
                  <a:lnTo>
                    <a:pt x="46" y="151"/>
                  </a:lnTo>
                  <a:lnTo>
                    <a:pt x="49" y="150"/>
                  </a:lnTo>
                  <a:lnTo>
                    <a:pt x="49" y="149"/>
                  </a:lnTo>
                  <a:lnTo>
                    <a:pt x="51" y="147"/>
                  </a:lnTo>
                  <a:lnTo>
                    <a:pt x="52" y="146"/>
                  </a:lnTo>
                  <a:lnTo>
                    <a:pt x="55" y="148"/>
                  </a:lnTo>
                  <a:lnTo>
                    <a:pt x="60" y="150"/>
                  </a:lnTo>
                  <a:lnTo>
                    <a:pt x="66" y="149"/>
                  </a:lnTo>
                  <a:lnTo>
                    <a:pt x="67" y="148"/>
                  </a:lnTo>
                  <a:lnTo>
                    <a:pt x="69" y="145"/>
                  </a:lnTo>
                  <a:lnTo>
                    <a:pt x="71" y="144"/>
                  </a:lnTo>
                  <a:lnTo>
                    <a:pt x="72" y="143"/>
                  </a:lnTo>
                  <a:lnTo>
                    <a:pt x="75" y="146"/>
                  </a:lnTo>
                  <a:lnTo>
                    <a:pt x="79" y="151"/>
                  </a:lnTo>
                  <a:lnTo>
                    <a:pt x="83" y="155"/>
                  </a:lnTo>
                  <a:lnTo>
                    <a:pt x="86" y="155"/>
                  </a:lnTo>
                  <a:lnTo>
                    <a:pt x="85" y="156"/>
                  </a:lnTo>
                  <a:lnTo>
                    <a:pt x="88" y="153"/>
                  </a:lnTo>
                  <a:lnTo>
                    <a:pt x="92" y="149"/>
                  </a:lnTo>
                  <a:lnTo>
                    <a:pt x="94" y="146"/>
                  </a:lnTo>
                  <a:lnTo>
                    <a:pt x="94" y="142"/>
                  </a:lnTo>
                  <a:lnTo>
                    <a:pt x="97" y="131"/>
                  </a:lnTo>
                  <a:lnTo>
                    <a:pt x="100" y="128"/>
                  </a:lnTo>
                  <a:lnTo>
                    <a:pt x="104" y="131"/>
                  </a:lnTo>
                  <a:lnTo>
                    <a:pt x="105" y="130"/>
                  </a:lnTo>
                  <a:lnTo>
                    <a:pt x="106" y="120"/>
                  </a:lnTo>
                  <a:lnTo>
                    <a:pt x="109" y="116"/>
                  </a:lnTo>
                  <a:lnTo>
                    <a:pt x="113" y="110"/>
                  </a:lnTo>
                  <a:lnTo>
                    <a:pt x="118" y="110"/>
                  </a:lnTo>
                  <a:lnTo>
                    <a:pt x="121" y="106"/>
                  </a:lnTo>
                  <a:lnTo>
                    <a:pt x="129" y="99"/>
                  </a:lnTo>
                  <a:lnTo>
                    <a:pt x="131" y="94"/>
                  </a:lnTo>
                  <a:lnTo>
                    <a:pt x="131" y="91"/>
                  </a:lnTo>
                  <a:lnTo>
                    <a:pt x="132" y="83"/>
                  </a:lnTo>
                  <a:lnTo>
                    <a:pt x="132" y="77"/>
                  </a:lnTo>
                  <a:lnTo>
                    <a:pt x="133" y="74"/>
                  </a:lnTo>
                  <a:lnTo>
                    <a:pt x="133" y="70"/>
                  </a:lnTo>
                  <a:lnTo>
                    <a:pt x="133" y="62"/>
                  </a:lnTo>
                  <a:lnTo>
                    <a:pt x="133" y="61"/>
                  </a:lnTo>
                  <a:lnTo>
                    <a:pt x="132" y="58"/>
                  </a:lnTo>
                  <a:lnTo>
                    <a:pt x="133" y="55"/>
                  </a:lnTo>
                  <a:lnTo>
                    <a:pt x="136" y="55"/>
                  </a:lnTo>
                  <a:lnTo>
                    <a:pt x="126" y="0"/>
                  </a:lnTo>
                  <a:lnTo>
                    <a:pt x="121" y="5"/>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6" name="Freeform 75">
              <a:extLst>
                <a:ext uri="{FF2B5EF4-FFF2-40B4-BE49-F238E27FC236}">
                  <a16:creationId xmlns:a16="http://schemas.microsoft.com/office/drawing/2014/main" id="{7FD52CC7-CA78-8FBA-4CC3-A817C8304F02}"/>
                </a:ext>
              </a:extLst>
            </p:cNvPr>
            <p:cNvSpPr>
              <a:spLocks/>
            </p:cNvSpPr>
            <p:nvPr/>
          </p:nvSpPr>
          <p:spPr bwMode="auto">
            <a:xfrm>
              <a:off x="8740612" y="2917419"/>
              <a:ext cx="260715" cy="422209"/>
            </a:xfrm>
            <a:custGeom>
              <a:avLst/>
              <a:gdLst>
                <a:gd name="T0" fmla="*/ 5 w 100"/>
                <a:gd name="T1" fmla="*/ 167 h 172"/>
                <a:gd name="T2" fmla="*/ 16 w 100"/>
                <a:gd name="T3" fmla="*/ 163 h 172"/>
                <a:gd name="T4" fmla="*/ 24 w 100"/>
                <a:gd name="T5" fmla="*/ 163 h 172"/>
                <a:gd name="T6" fmla="*/ 31 w 100"/>
                <a:gd name="T7" fmla="*/ 168 h 172"/>
                <a:gd name="T8" fmla="*/ 32 w 100"/>
                <a:gd name="T9" fmla="*/ 163 h 172"/>
                <a:gd name="T10" fmla="*/ 38 w 100"/>
                <a:gd name="T11" fmla="*/ 161 h 172"/>
                <a:gd name="T12" fmla="*/ 44 w 100"/>
                <a:gd name="T13" fmla="*/ 163 h 172"/>
                <a:gd name="T14" fmla="*/ 49 w 100"/>
                <a:gd name="T15" fmla="*/ 161 h 172"/>
                <a:gd name="T16" fmla="*/ 52 w 100"/>
                <a:gd name="T17" fmla="*/ 154 h 172"/>
                <a:gd name="T18" fmla="*/ 55 w 100"/>
                <a:gd name="T19" fmla="*/ 150 h 172"/>
                <a:gd name="T20" fmla="*/ 59 w 100"/>
                <a:gd name="T21" fmla="*/ 157 h 172"/>
                <a:gd name="T22" fmla="*/ 66 w 100"/>
                <a:gd name="T23" fmla="*/ 157 h 172"/>
                <a:gd name="T24" fmla="*/ 68 w 100"/>
                <a:gd name="T25" fmla="*/ 150 h 172"/>
                <a:gd name="T26" fmla="*/ 74 w 100"/>
                <a:gd name="T27" fmla="*/ 145 h 172"/>
                <a:gd name="T28" fmla="*/ 78 w 100"/>
                <a:gd name="T29" fmla="*/ 139 h 172"/>
                <a:gd name="T30" fmla="*/ 80 w 100"/>
                <a:gd name="T31" fmla="*/ 131 h 172"/>
                <a:gd name="T32" fmla="*/ 81 w 100"/>
                <a:gd name="T33" fmla="*/ 127 h 172"/>
                <a:gd name="T34" fmla="*/ 90 w 100"/>
                <a:gd name="T35" fmla="*/ 125 h 172"/>
                <a:gd name="T36" fmla="*/ 98 w 100"/>
                <a:gd name="T37" fmla="*/ 123 h 172"/>
                <a:gd name="T38" fmla="*/ 99 w 100"/>
                <a:gd name="T39" fmla="*/ 115 h 172"/>
                <a:gd name="T40" fmla="*/ 98 w 100"/>
                <a:gd name="T41" fmla="*/ 112 h 172"/>
                <a:gd name="T42" fmla="*/ 99 w 100"/>
                <a:gd name="T43" fmla="*/ 107 h 172"/>
                <a:gd name="T44" fmla="*/ 88 w 100"/>
                <a:gd name="T45" fmla="*/ 0 h 172"/>
                <a:gd name="T46" fmla="*/ 27 w 100"/>
                <a:gd name="T47" fmla="*/ 5 h 172"/>
                <a:gd name="T48" fmla="*/ 16 w 100"/>
                <a:gd name="T49" fmla="*/ 12 h 172"/>
                <a:gd name="T50" fmla="*/ 8 w 100"/>
                <a:gd name="T51" fmla="*/ 12 h 172"/>
                <a:gd name="T52" fmla="*/ 10 w 100"/>
                <a:gd name="T53" fmla="*/ 106 h 172"/>
                <a:gd name="T54" fmla="*/ 10 w 100"/>
                <a:gd name="T55" fmla="*/ 113 h 172"/>
                <a:gd name="T56" fmla="*/ 15 w 100"/>
                <a:gd name="T57" fmla="*/ 124 h 172"/>
                <a:gd name="T58" fmla="*/ 16 w 100"/>
                <a:gd name="T59" fmla="*/ 134 h 172"/>
                <a:gd name="T60" fmla="*/ 11 w 100"/>
                <a:gd name="T61" fmla="*/ 140 h 172"/>
                <a:gd name="T62" fmla="*/ 8 w 100"/>
                <a:gd name="T63" fmla="*/ 147 h 172"/>
                <a:gd name="T64" fmla="*/ 4 w 100"/>
                <a:gd name="T65" fmla="*/ 156 h 172"/>
                <a:gd name="T66" fmla="*/ 0 w 100"/>
                <a:gd name="T67" fmla="*/ 161 h 172"/>
                <a:gd name="T68" fmla="*/ 1 w 100"/>
                <a:gd name="T69" fmla="*/ 171 h 172"/>
                <a:gd name="T70" fmla="*/ 2 w 100"/>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2">
                  <a:moveTo>
                    <a:pt x="5" y="172"/>
                  </a:moveTo>
                  <a:lnTo>
                    <a:pt x="5" y="167"/>
                  </a:lnTo>
                  <a:lnTo>
                    <a:pt x="13" y="167"/>
                  </a:lnTo>
                  <a:lnTo>
                    <a:pt x="16" y="163"/>
                  </a:lnTo>
                  <a:lnTo>
                    <a:pt x="19" y="163"/>
                  </a:lnTo>
                  <a:lnTo>
                    <a:pt x="24" y="163"/>
                  </a:lnTo>
                  <a:lnTo>
                    <a:pt x="27" y="166"/>
                  </a:lnTo>
                  <a:lnTo>
                    <a:pt x="31" y="168"/>
                  </a:lnTo>
                  <a:lnTo>
                    <a:pt x="32" y="167"/>
                  </a:lnTo>
                  <a:lnTo>
                    <a:pt x="32" y="163"/>
                  </a:lnTo>
                  <a:lnTo>
                    <a:pt x="36" y="162"/>
                  </a:lnTo>
                  <a:lnTo>
                    <a:pt x="38" y="161"/>
                  </a:lnTo>
                  <a:lnTo>
                    <a:pt x="42" y="161"/>
                  </a:lnTo>
                  <a:lnTo>
                    <a:pt x="44" y="163"/>
                  </a:lnTo>
                  <a:lnTo>
                    <a:pt x="48" y="164"/>
                  </a:lnTo>
                  <a:lnTo>
                    <a:pt x="49" y="161"/>
                  </a:lnTo>
                  <a:lnTo>
                    <a:pt x="49" y="157"/>
                  </a:lnTo>
                  <a:lnTo>
                    <a:pt x="52" y="154"/>
                  </a:lnTo>
                  <a:lnTo>
                    <a:pt x="53" y="150"/>
                  </a:lnTo>
                  <a:lnTo>
                    <a:pt x="55" y="150"/>
                  </a:lnTo>
                  <a:lnTo>
                    <a:pt x="56" y="154"/>
                  </a:lnTo>
                  <a:lnTo>
                    <a:pt x="59" y="157"/>
                  </a:lnTo>
                  <a:lnTo>
                    <a:pt x="60" y="158"/>
                  </a:lnTo>
                  <a:lnTo>
                    <a:pt x="66" y="157"/>
                  </a:lnTo>
                  <a:lnTo>
                    <a:pt x="68" y="153"/>
                  </a:lnTo>
                  <a:lnTo>
                    <a:pt x="68" y="150"/>
                  </a:lnTo>
                  <a:lnTo>
                    <a:pt x="71" y="145"/>
                  </a:lnTo>
                  <a:lnTo>
                    <a:pt x="74" y="145"/>
                  </a:lnTo>
                  <a:lnTo>
                    <a:pt x="76" y="143"/>
                  </a:lnTo>
                  <a:lnTo>
                    <a:pt x="78" y="139"/>
                  </a:lnTo>
                  <a:lnTo>
                    <a:pt x="80" y="135"/>
                  </a:lnTo>
                  <a:lnTo>
                    <a:pt x="80" y="131"/>
                  </a:lnTo>
                  <a:lnTo>
                    <a:pt x="81" y="129"/>
                  </a:lnTo>
                  <a:lnTo>
                    <a:pt x="81" y="127"/>
                  </a:lnTo>
                  <a:lnTo>
                    <a:pt x="82" y="126"/>
                  </a:lnTo>
                  <a:lnTo>
                    <a:pt x="90" y="125"/>
                  </a:lnTo>
                  <a:lnTo>
                    <a:pt x="94" y="123"/>
                  </a:lnTo>
                  <a:lnTo>
                    <a:pt x="98" y="123"/>
                  </a:lnTo>
                  <a:lnTo>
                    <a:pt x="100" y="121"/>
                  </a:lnTo>
                  <a:lnTo>
                    <a:pt x="99" y="115"/>
                  </a:lnTo>
                  <a:lnTo>
                    <a:pt x="100" y="113"/>
                  </a:lnTo>
                  <a:lnTo>
                    <a:pt x="98" y="112"/>
                  </a:lnTo>
                  <a:lnTo>
                    <a:pt x="97" y="108"/>
                  </a:lnTo>
                  <a:lnTo>
                    <a:pt x="99" y="107"/>
                  </a:lnTo>
                  <a:lnTo>
                    <a:pt x="88" y="1"/>
                  </a:lnTo>
                  <a:lnTo>
                    <a:pt x="88" y="0"/>
                  </a:lnTo>
                  <a:lnTo>
                    <a:pt x="27" y="4"/>
                  </a:lnTo>
                  <a:lnTo>
                    <a:pt x="27" y="5"/>
                  </a:lnTo>
                  <a:lnTo>
                    <a:pt x="20" y="9"/>
                  </a:lnTo>
                  <a:lnTo>
                    <a:pt x="16" y="12"/>
                  </a:lnTo>
                  <a:lnTo>
                    <a:pt x="13" y="13"/>
                  </a:lnTo>
                  <a:lnTo>
                    <a:pt x="8" y="12"/>
                  </a:lnTo>
                  <a:lnTo>
                    <a:pt x="11" y="103"/>
                  </a:lnTo>
                  <a:lnTo>
                    <a:pt x="10" y="106"/>
                  </a:lnTo>
                  <a:lnTo>
                    <a:pt x="10" y="109"/>
                  </a:lnTo>
                  <a:lnTo>
                    <a:pt x="10" y="113"/>
                  </a:lnTo>
                  <a:lnTo>
                    <a:pt x="11" y="117"/>
                  </a:lnTo>
                  <a:lnTo>
                    <a:pt x="15" y="124"/>
                  </a:lnTo>
                  <a:lnTo>
                    <a:pt x="16" y="130"/>
                  </a:lnTo>
                  <a:lnTo>
                    <a:pt x="16" y="134"/>
                  </a:lnTo>
                  <a:lnTo>
                    <a:pt x="13" y="136"/>
                  </a:lnTo>
                  <a:lnTo>
                    <a:pt x="11" y="140"/>
                  </a:lnTo>
                  <a:lnTo>
                    <a:pt x="10" y="145"/>
                  </a:lnTo>
                  <a:lnTo>
                    <a:pt x="8" y="147"/>
                  </a:lnTo>
                  <a:lnTo>
                    <a:pt x="5" y="150"/>
                  </a:lnTo>
                  <a:lnTo>
                    <a:pt x="4" y="156"/>
                  </a:lnTo>
                  <a:lnTo>
                    <a:pt x="2" y="157"/>
                  </a:lnTo>
                  <a:lnTo>
                    <a:pt x="0" y="161"/>
                  </a:lnTo>
                  <a:lnTo>
                    <a:pt x="0" y="167"/>
                  </a:lnTo>
                  <a:lnTo>
                    <a:pt x="1" y="171"/>
                  </a:lnTo>
                  <a:lnTo>
                    <a:pt x="2" y="172"/>
                  </a:lnTo>
                  <a:lnTo>
                    <a:pt x="2" y="172"/>
                  </a:lnTo>
                  <a:lnTo>
                    <a:pt x="5" y="172"/>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7" name="Freeform 76">
              <a:extLst>
                <a:ext uri="{FF2B5EF4-FFF2-40B4-BE49-F238E27FC236}">
                  <a16:creationId xmlns:a16="http://schemas.microsoft.com/office/drawing/2014/main" id="{293D1F7E-C529-D5B5-C390-6CE4F2690849}"/>
                </a:ext>
              </a:extLst>
            </p:cNvPr>
            <p:cNvSpPr>
              <a:spLocks/>
            </p:cNvSpPr>
            <p:nvPr/>
          </p:nvSpPr>
          <p:spPr bwMode="auto">
            <a:xfrm>
              <a:off x="8446003" y="2863415"/>
              <a:ext cx="336323" cy="554763"/>
            </a:xfrm>
            <a:custGeom>
              <a:avLst/>
              <a:gdLst>
                <a:gd name="T0" fmla="*/ 88 w 129"/>
                <a:gd name="T1" fmla="*/ 217 h 226"/>
                <a:gd name="T2" fmla="*/ 96 w 129"/>
                <a:gd name="T3" fmla="*/ 222 h 226"/>
                <a:gd name="T4" fmla="*/ 102 w 129"/>
                <a:gd name="T5" fmla="*/ 222 h 226"/>
                <a:gd name="T6" fmla="*/ 102 w 129"/>
                <a:gd name="T7" fmla="*/ 216 h 226"/>
                <a:gd name="T8" fmla="*/ 105 w 129"/>
                <a:gd name="T9" fmla="*/ 209 h 226"/>
                <a:gd name="T10" fmla="*/ 113 w 129"/>
                <a:gd name="T11" fmla="*/ 206 h 226"/>
                <a:gd name="T12" fmla="*/ 112 w 129"/>
                <a:gd name="T13" fmla="*/ 200 h 226"/>
                <a:gd name="T14" fmla="*/ 112 w 129"/>
                <a:gd name="T15" fmla="*/ 195 h 226"/>
                <a:gd name="T16" fmla="*/ 115 w 129"/>
                <a:gd name="T17" fmla="*/ 194 h 226"/>
                <a:gd name="T18" fmla="*/ 113 w 129"/>
                <a:gd name="T19" fmla="*/ 189 h 226"/>
                <a:gd name="T20" fmla="*/ 115 w 129"/>
                <a:gd name="T21" fmla="*/ 179 h 226"/>
                <a:gd name="T22" fmla="*/ 118 w 129"/>
                <a:gd name="T23" fmla="*/ 172 h 226"/>
                <a:gd name="T24" fmla="*/ 123 w 129"/>
                <a:gd name="T25" fmla="*/ 167 h 226"/>
                <a:gd name="T26" fmla="*/ 126 w 129"/>
                <a:gd name="T27" fmla="*/ 158 h 226"/>
                <a:gd name="T28" fmla="*/ 129 w 129"/>
                <a:gd name="T29" fmla="*/ 152 h 226"/>
                <a:gd name="T30" fmla="*/ 124 w 129"/>
                <a:gd name="T31" fmla="*/ 139 h 226"/>
                <a:gd name="T32" fmla="*/ 123 w 129"/>
                <a:gd name="T33" fmla="*/ 131 h 226"/>
                <a:gd name="T34" fmla="*/ 124 w 129"/>
                <a:gd name="T35" fmla="*/ 125 h 226"/>
                <a:gd name="T36" fmla="*/ 122 w 129"/>
                <a:gd name="T37" fmla="*/ 34 h 226"/>
                <a:gd name="T38" fmla="*/ 116 w 129"/>
                <a:gd name="T39" fmla="*/ 26 h 226"/>
                <a:gd name="T40" fmla="*/ 113 w 129"/>
                <a:gd name="T41" fmla="*/ 17 h 226"/>
                <a:gd name="T42" fmla="*/ 107 w 129"/>
                <a:gd name="T43" fmla="*/ 3 h 226"/>
                <a:gd name="T44" fmla="*/ 24 w 129"/>
                <a:gd name="T45" fmla="*/ 5 h 226"/>
                <a:gd name="T46" fmla="*/ 22 w 129"/>
                <a:gd name="T47" fmla="*/ 3 h 226"/>
                <a:gd name="T48" fmla="*/ 21 w 129"/>
                <a:gd name="T49" fmla="*/ 8 h 226"/>
                <a:gd name="T50" fmla="*/ 28 w 129"/>
                <a:gd name="T51" fmla="*/ 14 h 226"/>
                <a:gd name="T52" fmla="*/ 38 w 129"/>
                <a:gd name="T53" fmla="*/ 23 h 226"/>
                <a:gd name="T54" fmla="*/ 36 w 129"/>
                <a:gd name="T55" fmla="*/ 32 h 226"/>
                <a:gd name="T56" fmla="*/ 31 w 129"/>
                <a:gd name="T57" fmla="*/ 43 h 226"/>
                <a:gd name="T58" fmla="*/ 27 w 129"/>
                <a:gd name="T59" fmla="*/ 47 h 226"/>
                <a:gd name="T60" fmla="*/ 15 w 129"/>
                <a:gd name="T61" fmla="*/ 50 h 226"/>
                <a:gd name="T62" fmla="*/ 12 w 129"/>
                <a:gd name="T63" fmla="*/ 55 h 226"/>
                <a:gd name="T64" fmla="*/ 15 w 129"/>
                <a:gd name="T65" fmla="*/ 65 h 226"/>
                <a:gd name="T66" fmla="*/ 13 w 129"/>
                <a:gd name="T67" fmla="*/ 70 h 226"/>
                <a:gd name="T68" fmla="*/ 11 w 129"/>
                <a:gd name="T69" fmla="*/ 77 h 226"/>
                <a:gd name="T70" fmla="*/ 2 w 129"/>
                <a:gd name="T71" fmla="*/ 86 h 226"/>
                <a:gd name="T72" fmla="*/ 0 w 129"/>
                <a:gd name="T73" fmla="*/ 95 h 226"/>
                <a:gd name="T74" fmla="*/ 0 w 129"/>
                <a:gd name="T75" fmla="*/ 113 h 226"/>
                <a:gd name="T76" fmla="*/ 21 w 129"/>
                <a:gd name="T77" fmla="*/ 136 h 226"/>
                <a:gd name="T78" fmla="*/ 25 w 129"/>
                <a:gd name="T79" fmla="*/ 150 h 226"/>
                <a:gd name="T80" fmla="*/ 31 w 129"/>
                <a:gd name="T81" fmla="*/ 151 h 226"/>
                <a:gd name="T82" fmla="*/ 39 w 129"/>
                <a:gd name="T83" fmla="*/ 150 h 226"/>
                <a:gd name="T84" fmla="*/ 45 w 129"/>
                <a:gd name="T85" fmla="*/ 156 h 226"/>
                <a:gd name="T86" fmla="*/ 41 w 129"/>
                <a:gd name="T87" fmla="*/ 167 h 226"/>
                <a:gd name="T88" fmla="*/ 39 w 129"/>
                <a:gd name="T89" fmla="*/ 175 h 226"/>
                <a:gd name="T90" fmla="*/ 44 w 129"/>
                <a:gd name="T91" fmla="*/ 185 h 226"/>
                <a:gd name="T92" fmla="*/ 53 w 129"/>
                <a:gd name="T93" fmla="*/ 189 h 226"/>
                <a:gd name="T94" fmla="*/ 68 w 129"/>
                <a:gd name="T95" fmla="*/ 200 h 226"/>
                <a:gd name="T96" fmla="*/ 70 w 129"/>
                <a:gd name="T97" fmla="*/ 214 h 226"/>
                <a:gd name="T98" fmla="*/ 74 w 129"/>
                <a:gd name="T99" fmla="*/ 222 h 226"/>
                <a:gd name="T100" fmla="*/ 76 w 129"/>
                <a:gd name="T101" fmla="*/ 222 h 226"/>
                <a:gd name="T102" fmla="*/ 83 w 129"/>
                <a:gd name="T103"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226">
                  <a:moveTo>
                    <a:pt x="86" y="218"/>
                  </a:moveTo>
                  <a:lnTo>
                    <a:pt x="88" y="217"/>
                  </a:lnTo>
                  <a:lnTo>
                    <a:pt x="92" y="219"/>
                  </a:lnTo>
                  <a:lnTo>
                    <a:pt x="96" y="222"/>
                  </a:lnTo>
                  <a:lnTo>
                    <a:pt x="99" y="222"/>
                  </a:lnTo>
                  <a:lnTo>
                    <a:pt x="102" y="222"/>
                  </a:lnTo>
                  <a:lnTo>
                    <a:pt x="104" y="221"/>
                  </a:lnTo>
                  <a:lnTo>
                    <a:pt x="102" y="216"/>
                  </a:lnTo>
                  <a:lnTo>
                    <a:pt x="102" y="211"/>
                  </a:lnTo>
                  <a:lnTo>
                    <a:pt x="105" y="209"/>
                  </a:lnTo>
                  <a:lnTo>
                    <a:pt x="111" y="207"/>
                  </a:lnTo>
                  <a:lnTo>
                    <a:pt x="113" y="206"/>
                  </a:lnTo>
                  <a:lnTo>
                    <a:pt x="112" y="203"/>
                  </a:lnTo>
                  <a:lnTo>
                    <a:pt x="112" y="200"/>
                  </a:lnTo>
                  <a:lnTo>
                    <a:pt x="112" y="199"/>
                  </a:lnTo>
                  <a:lnTo>
                    <a:pt x="112" y="195"/>
                  </a:lnTo>
                  <a:lnTo>
                    <a:pt x="115" y="194"/>
                  </a:lnTo>
                  <a:lnTo>
                    <a:pt x="115" y="194"/>
                  </a:lnTo>
                  <a:lnTo>
                    <a:pt x="114" y="193"/>
                  </a:lnTo>
                  <a:lnTo>
                    <a:pt x="113" y="189"/>
                  </a:lnTo>
                  <a:lnTo>
                    <a:pt x="113" y="183"/>
                  </a:lnTo>
                  <a:lnTo>
                    <a:pt x="115" y="179"/>
                  </a:lnTo>
                  <a:lnTo>
                    <a:pt x="117" y="178"/>
                  </a:lnTo>
                  <a:lnTo>
                    <a:pt x="118" y="172"/>
                  </a:lnTo>
                  <a:lnTo>
                    <a:pt x="121" y="169"/>
                  </a:lnTo>
                  <a:lnTo>
                    <a:pt x="123" y="167"/>
                  </a:lnTo>
                  <a:lnTo>
                    <a:pt x="124" y="162"/>
                  </a:lnTo>
                  <a:lnTo>
                    <a:pt x="126" y="158"/>
                  </a:lnTo>
                  <a:lnTo>
                    <a:pt x="129" y="156"/>
                  </a:lnTo>
                  <a:lnTo>
                    <a:pt x="129" y="152"/>
                  </a:lnTo>
                  <a:lnTo>
                    <a:pt x="128" y="146"/>
                  </a:lnTo>
                  <a:lnTo>
                    <a:pt x="124" y="139"/>
                  </a:lnTo>
                  <a:lnTo>
                    <a:pt x="123" y="135"/>
                  </a:lnTo>
                  <a:lnTo>
                    <a:pt x="123" y="131"/>
                  </a:lnTo>
                  <a:lnTo>
                    <a:pt x="123" y="128"/>
                  </a:lnTo>
                  <a:lnTo>
                    <a:pt x="124" y="125"/>
                  </a:lnTo>
                  <a:lnTo>
                    <a:pt x="121" y="34"/>
                  </a:lnTo>
                  <a:lnTo>
                    <a:pt x="122" y="34"/>
                  </a:lnTo>
                  <a:lnTo>
                    <a:pt x="118" y="31"/>
                  </a:lnTo>
                  <a:lnTo>
                    <a:pt x="116" y="26"/>
                  </a:lnTo>
                  <a:lnTo>
                    <a:pt x="114" y="23"/>
                  </a:lnTo>
                  <a:lnTo>
                    <a:pt x="113" y="17"/>
                  </a:lnTo>
                  <a:lnTo>
                    <a:pt x="109" y="13"/>
                  </a:lnTo>
                  <a:lnTo>
                    <a:pt x="107" y="3"/>
                  </a:lnTo>
                  <a:lnTo>
                    <a:pt x="107" y="0"/>
                  </a:lnTo>
                  <a:lnTo>
                    <a:pt x="24" y="5"/>
                  </a:lnTo>
                  <a:lnTo>
                    <a:pt x="22" y="3"/>
                  </a:lnTo>
                  <a:lnTo>
                    <a:pt x="22" y="3"/>
                  </a:lnTo>
                  <a:lnTo>
                    <a:pt x="21" y="6"/>
                  </a:lnTo>
                  <a:lnTo>
                    <a:pt x="21" y="8"/>
                  </a:lnTo>
                  <a:lnTo>
                    <a:pt x="24" y="11"/>
                  </a:lnTo>
                  <a:lnTo>
                    <a:pt x="28" y="14"/>
                  </a:lnTo>
                  <a:lnTo>
                    <a:pt x="33" y="18"/>
                  </a:lnTo>
                  <a:lnTo>
                    <a:pt x="38" y="23"/>
                  </a:lnTo>
                  <a:lnTo>
                    <a:pt x="38" y="26"/>
                  </a:lnTo>
                  <a:lnTo>
                    <a:pt x="36" y="32"/>
                  </a:lnTo>
                  <a:lnTo>
                    <a:pt x="34" y="35"/>
                  </a:lnTo>
                  <a:lnTo>
                    <a:pt x="31" y="43"/>
                  </a:lnTo>
                  <a:lnTo>
                    <a:pt x="29" y="45"/>
                  </a:lnTo>
                  <a:lnTo>
                    <a:pt x="27" y="47"/>
                  </a:lnTo>
                  <a:lnTo>
                    <a:pt x="21" y="50"/>
                  </a:lnTo>
                  <a:lnTo>
                    <a:pt x="15" y="50"/>
                  </a:lnTo>
                  <a:lnTo>
                    <a:pt x="12" y="51"/>
                  </a:lnTo>
                  <a:lnTo>
                    <a:pt x="12" y="55"/>
                  </a:lnTo>
                  <a:lnTo>
                    <a:pt x="12" y="58"/>
                  </a:lnTo>
                  <a:lnTo>
                    <a:pt x="15" y="65"/>
                  </a:lnTo>
                  <a:lnTo>
                    <a:pt x="17" y="67"/>
                  </a:lnTo>
                  <a:lnTo>
                    <a:pt x="13" y="70"/>
                  </a:lnTo>
                  <a:lnTo>
                    <a:pt x="13" y="77"/>
                  </a:lnTo>
                  <a:lnTo>
                    <a:pt x="11" y="77"/>
                  </a:lnTo>
                  <a:lnTo>
                    <a:pt x="8" y="80"/>
                  </a:lnTo>
                  <a:lnTo>
                    <a:pt x="2" y="86"/>
                  </a:lnTo>
                  <a:lnTo>
                    <a:pt x="3" y="92"/>
                  </a:lnTo>
                  <a:lnTo>
                    <a:pt x="0" y="95"/>
                  </a:lnTo>
                  <a:lnTo>
                    <a:pt x="0" y="104"/>
                  </a:lnTo>
                  <a:lnTo>
                    <a:pt x="0" y="113"/>
                  </a:lnTo>
                  <a:lnTo>
                    <a:pt x="6" y="123"/>
                  </a:lnTo>
                  <a:lnTo>
                    <a:pt x="21" y="136"/>
                  </a:lnTo>
                  <a:lnTo>
                    <a:pt x="25" y="142"/>
                  </a:lnTo>
                  <a:lnTo>
                    <a:pt x="25" y="150"/>
                  </a:lnTo>
                  <a:lnTo>
                    <a:pt x="30" y="154"/>
                  </a:lnTo>
                  <a:lnTo>
                    <a:pt x="31" y="151"/>
                  </a:lnTo>
                  <a:lnTo>
                    <a:pt x="34" y="150"/>
                  </a:lnTo>
                  <a:lnTo>
                    <a:pt x="39" y="150"/>
                  </a:lnTo>
                  <a:lnTo>
                    <a:pt x="42" y="153"/>
                  </a:lnTo>
                  <a:lnTo>
                    <a:pt x="45" y="156"/>
                  </a:lnTo>
                  <a:lnTo>
                    <a:pt x="42" y="162"/>
                  </a:lnTo>
                  <a:lnTo>
                    <a:pt x="41" y="167"/>
                  </a:lnTo>
                  <a:lnTo>
                    <a:pt x="41" y="170"/>
                  </a:lnTo>
                  <a:lnTo>
                    <a:pt x="39" y="175"/>
                  </a:lnTo>
                  <a:lnTo>
                    <a:pt x="39" y="180"/>
                  </a:lnTo>
                  <a:lnTo>
                    <a:pt x="44" y="185"/>
                  </a:lnTo>
                  <a:lnTo>
                    <a:pt x="51" y="190"/>
                  </a:lnTo>
                  <a:lnTo>
                    <a:pt x="53" y="189"/>
                  </a:lnTo>
                  <a:lnTo>
                    <a:pt x="64" y="196"/>
                  </a:lnTo>
                  <a:lnTo>
                    <a:pt x="68" y="200"/>
                  </a:lnTo>
                  <a:lnTo>
                    <a:pt x="71" y="209"/>
                  </a:lnTo>
                  <a:lnTo>
                    <a:pt x="70" y="214"/>
                  </a:lnTo>
                  <a:lnTo>
                    <a:pt x="69" y="217"/>
                  </a:lnTo>
                  <a:lnTo>
                    <a:pt x="74" y="222"/>
                  </a:lnTo>
                  <a:lnTo>
                    <a:pt x="74" y="226"/>
                  </a:lnTo>
                  <a:lnTo>
                    <a:pt x="76" y="222"/>
                  </a:lnTo>
                  <a:lnTo>
                    <a:pt x="80" y="222"/>
                  </a:lnTo>
                  <a:lnTo>
                    <a:pt x="83" y="221"/>
                  </a:lnTo>
                  <a:lnTo>
                    <a:pt x="86" y="218"/>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8" name="Freeform 77">
              <a:extLst>
                <a:ext uri="{FF2B5EF4-FFF2-40B4-BE49-F238E27FC236}">
                  <a16:creationId xmlns:a16="http://schemas.microsoft.com/office/drawing/2014/main" id="{80ADD6C2-1902-7FCD-D903-1A3116916E97}"/>
                </a:ext>
              </a:extLst>
            </p:cNvPr>
            <p:cNvSpPr>
              <a:spLocks/>
            </p:cNvSpPr>
            <p:nvPr/>
          </p:nvSpPr>
          <p:spPr bwMode="auto">
            <a:xfrm>
              <a:off x="8034073" y="2740679"/>
              <a:ext cx="511003" cy="353478"/>
            </a:xfrm>
            <a:custGeom>
              <a:avLst/>
              <a:gdLst>
                <a:gd name="T0" fmla="*/ 196 w 231"/>
                <a:gd name="T1" fmla="*/ 154 h 170"/>
                <a:gd name="T2" fmla="*/ 201 w 231"/>
                <a:gd name="T3" fmla="*/ 150 h 170"/>
                <a:gd name="T4" fmla="*/ 206 w 231"/>
                <a:gd name="T5" fmla="*/ 139 h 170"/>
                <a:gd name="T6" fmla="*/ 200 w 231"/>
                <a:gd name="T7" fmla="*/ 128 h 170"/>
                <a:gd name="T8" fmla="*/ 200 w 231"/>
                <a:gd name="T9" fmla="*/ 120 h 170"/>
                <a:gd name="T10" fmla="*/ 211 w 231"/>
                <a:gd name="T11" fmla="*/ 118 h 170"/>
                <a:gd name="T12" fmla="*/ 220 w 231"/>
                <a:gd name="T13" fmla="*/ 113 h 170"/>
                <a:gd name="T14" fmla="*/ 226 w 231"/>
                <a:gd name="T15" fmla="*/ 101 h 170"/>
                <a:gd name="T16" fmla="*/ 231 w 231"/>
                <a:gd name="T17" fmla="*/ 90 h 170"/>
                <a:gd name="T18" fmla="*/ 225 w 231"/>
                <a:gd name="T19" fmla="*/ 81 h 170"/>
                <a:gd name="T20" fmla="*/ 215 w 231"/>
                <a:gd name="T21" fmla="*/ 72 h 170"/>
                <a:gd name="T22" fmla="*/ 211 w 231"/>
                <a:gd name="T23" fmla="*/ 66 h 170"/>
                <a:gd name="T24" fmla="*/ 214 w 231"/>
                <a:gd name="T25" fmla="*/ 65 h 170"/>
                <a:gd name="T26" fmla="*/ 206 w 231"/>
                <a:gd name="T27" fmla="*/ 59 h 170"/>
                <a:gd name="T28" fmla="*/ 196 w 231"/>
                <a:gd name="T29" fmla="*/ 55 h 170"/>
                <a:gd name="T30" fmla="*/ 194 w 231"/>
                <a:gd name="T31" fmla="*/ 45 h 170"/>
                <a:gd name="T32" fmla="*/ 194 w 231"/>
                <a:gd name="T33" fmla="*/ 35 h 170"/>
                <a:gd name="T34" fmla="*/ 192 w 231"/>
                <a:gd name="T35" fmla="*/ 25 h 170"/>
                <a:gd name="T36" fmla="*/ 7 w 231"/>
                <a:gd name="T37" fmla="*/ 22 h 170"/>
                <a:gd name="T38" fmla="*/ 8 w 231"/>
                <a:gd name="T39" fmla="*/ 0 h 170"/>
                <a:gd name="T40" fmla="*/ 4 w 231"/>
                <a:gd name="T41" fmla="*/ 23 h 170"/>
                <a:gd name="T42" fmla="*/ 3 w 231"/>
                <a:gd name="T43" fmla="*/ 31 h 170"/>
                <a:gd name="T44" fmla="*/ 7 w 231"/>
                <a:gd name="T45" fmla="*/ 37 h 170"/>
                <a:gd name="T46" fmla="*/ 5 w 231"/>
                <a:gd name="T47" fmla="*/ 42 h 170"/>
                <a:gd name="T48" fmla="*/ 4 w 231"/>
                <a:gd name="T49" fmla="*/ 52 h 170"/>
                <a:gd name="T50" fmla="*/ 0 w 231"/>
                <a:gd name="T51" fmla="*/ 56 h 170"/>
                <a:gd name="T52" fmla="*/ 4 w 231"/>
                <a:gd name="T53" fmla="*/ 62 h 170"/>
                <a:gd name="T54" fmla="*/ 4 w 231"/>
                <a:gd name="T55" fmla="*/ 69 h 170"/>
                <a:gd name="T56" fmla="*/ 6 w 231"/>
                <a:gd name="T57" fmla="*/ 71 h 170"/>
                <a:gd name="T58" fmla="*/ 12 w 231"/>
                <a:gd name="T59" fmla="*/ 85 h 170"/>
                <a:gd name="T60" fmla="*/ 16 w 231"/>
                <a:gd name="T61" fmla="*/ 96 h 170"/>
                <a:gd name="T62" fmla="*/ 19 w 231"/>
                <a:gd name="T63" fmla="*/ 102 h 170"/>
                <a:gd name="T64" fmla="*/ 20 w 231"/>
                <a:gd name="T65" fmla="*/ 104 h 170"/>
                <a:gd name="T66" fmla="*/ 18 w 231"/>
                <a:gd name="T67" fmla="*/ 109 h 170"/>
                <a:gd name="T68" fmla="*/ 20 w 231"/>
                <a:gd name="T69" fmla="*/ 116 h 170"/>
                <a:gd name="T70" fmla="*/ 24 w 231"/>
                <a:gd name="T71" fmla="*/ 118 h 170"/>
                <a:gd name="T72" fmla="*/ 26 w 231"/>
                <a:gd name="T73" fmla="*/ 135 h 170"/>
                <a:gd name="T74" fmla="*/ 27 w 231"/>
                <a:gd name="T75" fmla="*/ 142 h 170"/>
                <a:gd name="T76" fmla="*/ 28 w 231"/>
                <a:gd name="T77" fmla="*/ 154 h 170"/>
                <a:gd name="T78" fmla="*/ 30 w 231"/>
                <a:gd name="T79" fmla="*/ 162 h 170"/>
                <a:gd name="T80" fmla="*/ 188 w 231"/>
                <a:gd name="T81" fmla="*/ 170 h 170"/>
                <a:gd name="T82" fmla="*/ 189 w 231"/>
                <a:gd name="T83" fmla="*/ 16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170">
                  <a:moveTo>
                    <a:pt x="189" y="161"/>
                  </a:moveTo>
                  <a:cubicBezTo>
                    <a:pt x="196" y="154"/>
                    <a:pt x="196" y="154"/>
                    <a:pt x="196" y="154"/>
                  </a:cubicBezTo>
                  <a:cubicBezTo>
                    <a:pt x="199" y="150"/>
                    <a:pt x="199" y="150"/>
                    <a:pt x="199" y="150"/>
                  </a:cubicBezTo>
                  <a:cubicBezTo>
                    <a:pt x="201" y="150"/>
                    <a:pt x="201" y="150"/>
                    <a:pt x="201" y="150"/>
                  </a:cubicBezTo>
                  <a:cubicBezTo>
                    <a:pt x="202" y="142"/>
                    <a:pt x="202" y="142"/>
                    <a:pt x="202" y="142"/>
                  </a:cubicBezTo>
                  <a:cubicBezTo>
                    <a:pt x="206" y="139"/>
                    <a:pt x="206" y="139"/>
                    <a:pt x="206" y="139"/>
                  </a:cubicBezTo>
                  <a:cubicBezTo>
                    <a:pt x="204" y="136"/>
                    <a:pt x="204" y="136"/>
                    <a:pt x="204" y="136"/>
                  </a:cubicBezTo>
                  <a:cubicBezTo>
                    <a:pt x="200" y="128"/>
                    <a:pt x="200" y="128"/>
                    <a:pt x="200" y="128"/>
                  </a:cubicBezTo>
                  <a:cubicBezTo>
                    <a:pt x="200" y="124"/>
                    <a:pt x="200" y="124"/>
                    <a:pt x="200" y="124"/>
                  </a:cubicBezTo>
                  <a:cubicBezTo>
                    <a:pt x="200" y="120"/>
                    <a:pt x="200" y="120"/>
                    <a:pt x="200" y="120"/>
                  </a:cubicBezTo>
                  <a:cubicBezTo>
                    <a:pt x="204" y="118"/>
                    <a:pt x="204" y="118"/>
                    <a:pt x="204" y="118"/>
                  </a:cubicBezTo>
                  <a:cubicBezTo>
                    <a:pt x="211" y="118"/>
                    <a:pt x="211" y="118"/>
                    <a:pt x="211" y="118"/>
                  </a:cubicBezTo>
                  <a:cubicBezTo>
                    <a:pt x="218" y="115"/>
                    <a:pt x="218" y="115"/>
                    <a:pt x="218" y="115"/>
                  </a:cubicBezTo>
                  <a:cubicBezTo>
                    <a:pt x="220" y="113"/>
                    <a:pt x="220" y="113"/>
                    <a:pt x="220" y="113"/>
                  </a:cubicBezTo>
                  <a:cubicBezTo>
                    <a:pt x="223" y="110"/>
                    <a:pt x="223" y="110"/>
                    <a:pt x="223" y="110"/>
                  </a:cubicBezTo>
                  <a:cubicBezTo>
                    <a:pt x="226" y="101"/>
                    <a:pt x="226" y="101"/>
                    <a:pt x="226" y="101"/>
                  </a:cubicBezTo>
                  <a:cubicBezTo>
                    <a:pt x="229" y="97"/>
                    <a:pt x="229" y="97"/>
                    <a:pt x="229" y="97"/>
                  </a:cubicBezTo>
                  <a:cubicBezTo>
                    <a:pt x="231" y="90"/>
                    <a:pt x="231" y="90"/>
                    <a:pt x="231" y="90"/>
                  </a:cubicBezTo>
                  <a:cubicBezTo>
                    <a:pt x="231" y="87"/>
                    <a:pt x="231" y="87"/>
                    <a:pt x="231" y="87"/>
                  </a:cubicBezTo>
                  <a:cubicBezTo>
                    <a:pt x="225" y="81"/>
                    <a:pt x="225" y="81"/>
                    <a:pt x="225" y="81"/>
                  </a:cubicBezTo>
                  <a:cubicBezTo>
                    <a:pt x="219" y="76"/>
                    <a:pt x="219" y="76"/>
                    <a:pt x="219" y="76"/>
                  </a:cubicBezTo>
                  <a:cubicBezTo>
                    <a:pt x="215" y="72"/>
                    <a:pt x="215" y="72"/>
                    <a:pt x="215" y="72"/>
                  </a:cubicBezTo>
                  <a:cubicBezTo>
                    <a:pt x="211" y="69"/>
                    <a:pt x="211" y="69"/>
                    <a:pt x="211" y="69"/>
                  </a:cubicBezTo>
                  <a:cubicBezTo>
                    <a:pt x="211" y="66"/>
                    <a:pt x="211" y="66"/>
                    <a:pt x="211" y="66"/>
                  </a:cubicBezTo>
                  <a:cubicBezTo>
                    <a:pt x="212" y="63"/>
                    <a:pt x="212" y="63"/>
                    <a:pt x="212" y="63"/>
                  </a:cubicBezTo>
                  <a:cubicBezTo>
                    <a:pt x="214" y="65"/>
                    <a:pt x="214" y="65"/>
                    <a:pt x="214" y="65"/>
                  </a:cubicBezTo>
                  <a:cubicBezTo>
                    <a:pt x="211" y="61"/>
                    <a:pt x="211" y="61"/>
                    <a:pt x="211" y="61"/>
                  </a:cubicBezTo>
                  <a:cubicBezTo>
                    <a:pt x="211" y="61"/>
                    <a:pt x="207" y="59"/>
                    <a:pt x="206" y="59"/>
                  </a:cubicBezTo>
                  <a:cubicBezTo>
                    <a:pt x="205" y="59"/>
                    <a:pt x="201" y="55"/>
                    <a:pt x="201" y="55"/>
                  </a:cubicBezTo>
                  <a:cubicBezTo>
                    <a:pt x="196" y="55"/>
                    <a:pt x="196" y="55"/>
                    <a:pt x="196" y="55"/>
                  </a:cubicBezTo>
                  <a:cubicBezTo>
                    <a:pt x="196" y="50"/>
                    <a:pt x="196" y="50"/>
                    <a:pt x="196" y="50"/>
                  </a:cubicBezTo>
                  <a:cubicBezTo>
                    <a:pt x="194" y="45"/>
                    <a:pt x="194" y="45"/>
                    <a:pt x="194" y="45"/>
                  </a:cubicBezTo>
                  <a:cubicBezTo>
                    <a:pt x="194" y="39"/>
                    <a:pt x="194" y="39"/>
                    <a:pt x="194" y="39"/>
                  </a:cubicBezTo>
                  <a:cubicBezTo>
                    <a:pt x="194" y="35"/>
                    <a:pt x="194" y="35"/>
                    <a:pt x="194" y="35"/>
                  </a:cubicBezTo>
                  <a:cubicBezTo>
                    <a:pt x="194" y="28"/>
                    <a:pt x="194" y="28"/>
                    <a:pt x="194" y="28"/>
                  </a:cubicBezTo>
                  <a:cubicBezTo>
                    <a:pt x="192" y="25"/>
                    <a:pt x="192" y="25"/>
                    <a:pt x="192" y="25"/>
                  </a:cubicBezTo>
                  <a:cubicBezTo>
                    <a:pt x="189" y="18"/>
                    <a:pt x="189" y="18"/>
                    <a:pt x="189" y="18"/>
                  </a:cubicBezTo>
                  <a:cubicBezTo>
                    <a:pt x="7" y="22"/>
                    <a:pt x="7" y="22"/>
                    <a:pt x="7" y="22"/>
                  </a:cubicBezTo>
                  <a:cubicBezTo>
                    <a:pt x="8" y="0"/>
                    <a:pt x="8" y="0"/>
                    <a:pt x="8" y="0"/>
                  </a:cubicBezTo>
                  <a:cubicBezTo>
                    <a:pt x="8" y="0"/>
                    <a:pt x="8" y="0"/>
                    <a:pt x="8" y="0"/>
                  </a:cubicBezTo>
                  <a:cubicBezTo>
                    <a:pt x="7" y="23"/>
                    <a:pt x="7" y="23"/>
                    <a:pt x="7" y="23"/>
                  </a:cubicBezTo>
                  <a:cubicBezTo>
                    <a:pt x="4" y="23"/>
                    <a:pt x="4" y="23"/>
                    <a:pt x="4" y="23"/>
                  </a:cubicBezTo>
                  <a:cubicBezTo>
                    <a:pt x="4" y="26"/>
                    <a:pt x="4" y="26"/>
                    <a:pt x="4" y="26"/>
                  </a:cubicBezTo>
                  <a:cubicBezTo>
                    <a:pt x="3" y="31"/>
                    <a:pt x="3" y="31"/>
                    <a:pt x="3" y="31"/>
                  </a:cubicBezTo>
                  <a:cubicBezTo>
                    <a:pt x="5" y="32"/>
                    <a:pt x="5" y="32"/>
                    <a:pt x="5" y="32"/>
                  </a:cubicBezTo>
                  <a:cubicBezTo>
                    <a:pt x="7" y="37"/>
                    <a:pt x="7" y="37"/>
                    <a:pt x="7" y="37"/>
                  </a:cubicBezTo>
                  <a:cubicBezTo>
                    <a:pt x="7" y="41"/>
                    <a:pt x="7" y="41"/>
                    <a:pt x="7" y="41"/>
                  </a:cubicBezTo>
                  <a:cubicBezTo>
                    <a:pt x="5" y="42"/>
                    <a:pt x="5" y="42"/>
                    <a:pt x="5" y="42"/>
                  </a:cubicBezTo>
                  <a:cubicBezTo>
                    <a:pt x="4" y="45"/>
                    <a:pt x="4" y="45"/>
                    <a:pt x="4" y="45"/>
                  </a:cubicBezTo>
                  <a:cubicBezTo>
                    <a:pt x="4" y="52"/>
                    <a:pt x="4" y="52"/>
                    <a:pt x="4" y="52"/>
                  </a:cubicBezTo>
                  <a:cubicBezTo>
                    <a:pt x="1" y="53"/>
                    <a:pt x="1" y="53"/>
                    <a:pt x="1" y="53"/>
                  </a:cubicBezTo>
                  <a:cubicBezTo>
                    <a:pt x="0" y="56"/>
                    <a:pt x="0" y="56"/>
                    <a:pt x="0" y="56"/>
                  </a:cubicBezTo>
                  <a:cubicBezTo>
                    <a:pt x="0" y="59"/>
                    <a:pt x="0" y="59"/>
                    <a:pt x="0" y="59"/>
                  </a:cubicBezTo>
                  <a:cubicBezTo>
                    <a:pt x="4" y="62"/>
                    <a:pt x="4" y="62"/>
                    <a:pt x="4" y="62"/>
                  </a:cubicBezTo>
                  <a:cubicBezTo>
                    <a:pt x="4" y="66"/>
                    <a:pt x="4" y="66"/>
                    <a:pt x="4" y="66"/>
                  </a:cubicBezTo>
                  <a:cubicBezTo>
                    <a:pt x="4" y="69"/>
                    <a:pt x="4" y="69"/>
                    <a:pt x="4" y="69"/>
                  </a:cubicBezTo>
                  <a:cubicBezTo>
                    <a:pt x="3" y="67"/>
                    <a:pt x="3" y="67"/>
                    <a:pt x="3" y="67"/>
                  </a:cubicBezTo>
                  <a:cubicBezTo>
                    <a:pt x="6" y="71"/>
                    <a:pt x="6" y="71"/>
                    <a:pt x="6" y="71"/>
                  </a:cubicBezTo>
                  <a:cubicBezTo>
                    <a:pt x="9" y="80"/>
                    <a:pt x="9" y="80"/>
                    <a:pt x="9" y="80"/>
                  </a:cubicBezTo>
                  <a:cubicBezTo>
                    <a:pt x="12" y="85"/>
                    <a:pt x="12" y="85"/>
                    <a:pt x="12" y="85"/>
                  </a:cubicBezTo>
                  <a:cubicBezTo>
                    <a:pt x="14" y="91"/>
                    <a:pt x="14" y="91"/>
                    <a:pt x="14" y="91"/>
                  </a:cubicBezTo>
                  <a:cubicBezTo>
                    <a:pt x="16" y="96"/>
                    <a:pt x="16" y="96"/>
                    <a:pt x="16" y="96"/>
                  </a:cubicBezTo>
                  <a:cubicBezTo>
                    <a:pt x="18" y="99"/>
                    <a:pt x="18" y="99"/>
                    <a:pt x="18" y="99"/>
                  </a:cubicBezTo>
                  <a:cubicBezTo>
                    <a:pt x="19" y="102"/>
                    <a:pt x="19" y="102"/>
                    <a:pt x="19" y="102"/>
                  </a:cubicBezTo>
                  <a:cubicBezTo>
                    <a:pt x="20" y="103"/>
                    <a:pt x="20" y="103"/>
                    <a:pt x="20" y="103"/>
                  </a:cubicBezTo>
                  <a:cubicBezTo>
                    <a:pt x="20" y="104"/>
                    <a:pt x="20" y="104"/>
                    <a:pt x="20" y="104"/>
                  </a:cubicBezTo>
                  <a:cubicBezTo>
                    <a:pt x="17" y="105"/>
                    <a:pt x="17" y="105"/>
                    <a:pt x="17" y="105"/>
                  </a:cubicBezTo>
                  <a:cubicBezTo>
                    <a:pt x="18" y="109"/>
                    <a:pt x="18" y="109"/>
                    <a:pt x="18" y="109"/>
                  </a:cubicBezTo>
                  <a:cubicBezTo>
                    <a:pt x="19" y="114"/>
                    <a:pt x="19" y="114"/>
                    <a:pt x="19" y="114"/>
                  </a:cubicBezTo>
                  <a:cubicBezTo>
                    <a:pt x="20" y="116"/>
                    <a:pt x="20" y="116"/>
                    <a:pt x="20" y="116"/>
                  </a:cubicBezTo>
                  <a:cubicBezTo>
                    <a:pt x="22" y="116"/>
                    <a:pt x="22" y="116"/>
                    <a:pt x="22" y="116"/>
                  </a:cubicBezTo>
                  <a:cubicBezTo>
                    <a:pt x="24" y="118"/>
                    <a:pt x="24" y="118"/>
                    <a:pt x="24" y="118"/>
                  </a:cubicBezTo>
                  <a:cubicBezTo>
                    <a:pt x="26" y="125"/>
                    <a:pt x="26" y="125"/>
                    <a:pt x="26" y="125"/>
                  </a:cubicBezTo>
                  <a:cubicBezTo>
                    <a:pt x="26" y="135"/>
                    <a:pt x="26" y="135"/>
                    <a:pt x="26" y="135"/>
                  </a:cubicBezTo>
                  <a:cubicBezTo>
                    <a:pt x="25" y="139"/>
                    <a:pt x="25" y="139"/>
                    <a:pt x="25" y="139"/>
                  </a:cubicBezTo>
                  <a:cubicBezTo>
                    <a:pt x="27" y="142"/>
                    <a:pt x="27" y="142"/>
                    <a:pt x="27" y="142"/>
                  </a:cubicBezTo>
                  <a:cubicBezTo>
                    <a:pt x="28" y="144"/>
                    <a:pt x="28" y="144"/>
                    <a:pt x="28" y="144"/>
                  </a:cubicBezTo>
                  <a:cubicBezTo>
                    <a:pt x="28" y="154"/>
                    <a:pt x="28" y="154"/>
                    <a:pt x="28" y="154"/>
                  </a:cubicBezTo>
                  <a:cubicBezTo>
                    <a:pt x="30" y="161"/>
                    <a:pt x="30" y="161"/>
                    <a:pt x="30" y="161"/>
                  </a:cubicBezTo>
                  <a:cubicBezTo>
                    <a:pt x="30" y="162"/>
                    <a:pt x="30" y="162"/>
                    <a:pt x="30" y="162"/>
                  </a:cubicBezTo>
                  <a:cubicBezTo>
                    <a:pt x="176" y="160"/>
                    <a:pt x="176" y="160"/>
                    <a:pt x="176" y="160"/>
                  </a:cubicBezTo>
                  <a:cubicBezTo>
                    <a:pt x="188" y="170"/>
                    <a:pt x="188" y="170"/>
                    <a:pt x="188" y="170"/>
                  </a:cubicBezTo>
                  <a:cubicBezTo>
                    <a:pt x="190" y="168"/>
                    <a:pt x="190" y="168"/>
                    <a:pt x="190" y="168"/>
                  </a:cubicBezTo>
                  <a:lnTo>
                    <a:pt x="189" y="161"/>
                  </a:lnTo>
                  <a:close/>
                </a:path>
              </a:pathLst>
            </a:custGeom>
            <a:no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grpSp>
      <p:sp>
        <p:nvSpPr>
          <p:cNvPr id="79" name="Rectangle 78">
            <a:extLst>
              <a:ext uri="{FF2B5EF4-FFF2-40B4-BE49-F238E27FC236}">
                <a16:creationId xmlns:a16="http://schemas.microsoft.com/office/drawing/2014/main" id="{5A2310F6-5DFD-96D1-FCF5-F7E0FCA2E300}"/>
              </a:ext>
            </a:extLst>
          </p:cNvPr>
          <p:cNvSpPr/>
          <p:nvPr/>
        </p:nvSpPr>
        <p:spPr bwMode="gray">
          <a:xfrm>
            <a:off x="414348" y="1447331"/>
            <a:ext cx="1100844" cy="4848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dirty="0">
                <a:solidFill>
                  <a:schemeClr val="tx1"/>
                </a:solidFill>
              </a:rPr>
              <a:t>Constraint</a:t>
            </a:r>
          </a:p>
        </p:txBody>
      </p:sp>
      <p:sp>
        <p:nvSpPr>
          <p:cNvPr id="80" name="Rectangle 79">
            <a:extLst>
              <a:ext uri="{FF2B5EF4-FFF2-40B4-BE49-F238E27FC236}">
                <a16:creationId xmlns:a16="http://schemas.microsoft.com/office/drawing/2014/main" id="{C2687E13-8E38-BD87-AF3B-6B99A5110F64}"/>
              </a:ext>
            </a:extLst>
          </p:cNvPr>
          <p:cNvSpPr/>
          <p:nvPr/>
        </p:nvSpPr>
        <p:spPr bwMode="gray">
          <a:xfrm>
            <a:off x="414348" y="2106386"/>
            <a:ext cx="1100844" cy="38862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dirty="0">
                <a:solidFill>
                  <a:schemeClr val="tx1"/>
                </a:solidFill>
              </a:rPr>
              <a:t>Example</a:t>
            </a:r>
          </a:p>
        </p:txBody>
      </p:sp>
      <p:cxnSp>
        <p:nvCxnSpPr>
          <p:cNvPr id="81" name="Straight Connector 80">
            <a:extLst>
              <a:ext uri="{FF2B5EF4-FFF2-40B4-BE49-F238E27FC236}">
                <a16:creationId xmlns:a16="http://schemas.microsoft.com/office/drawing/2014/main" id="{578CFB77-2203-2787-5433-EF74D659F1FE}"/>
              </a:ext>
            </a:extLst>
          </p:cNvPr>
          <p:cNvCxnSpPr>
            <a:cxnSpLocks/>
          </p:cNvCxnSpPr>
          <p:nvPr/>
        </p:nvCxnSpPr>
        <p:spPr bwMode="gray">
          <a:xfrm flipV="1">
            <a:off x="414348" y="1946754"/>
            <a:ext cx="11363304" cy="5728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82" name="Graphic 81" descr="Badge 3 with solid fill">
            <a:extLst>
              <a:ext uri="{FF2B5EF4-FFF2-40B4-BE49-F238E27FC236}">
                <a16:creationId xmlns:a16="http://schemas.microsoft.com/office/drawing/2014/main" id="{B31E92E3-B744-1A44-FDF5-10FA5C8CFCF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430292" y="1515244"/>
            <a:ext cx="329184" cy="329184"/>
          </a:xfrm>
          <a:prstGeom prst="rect">
            <a:avLst/>
          </a:prstGeom>
        </p:spPr>
      </p:pic>
      <p:sp>
        <p:nvSpPr>
          <p:cNvPr id="83" name="TextBox 82">
            <a:extLst>
              <a:ext uri="{FF2B5EF4-FFF2-40B4-BE49-F238E27FC236}">
                <a16:creationId xmlns:a16="http://schemas.microsoft.com/office/drawing/2014/main" id="{E355D2E7-702A-ECEC-1261-B03D66098CA3}"/>
              </a:ext>
            </a:extLst>
          </p:cNvPr>
          <p:cNvSpPr txBox="1"/>
          <p:nvPr/>
        </p:nvSpPr>
        <p:spPr bwMode="gray">
          <a:xfrm>
            <a:off x="5579977" y="1558846"/>
            <a:ext cx="2826463" cy="241980"/>
          </a:xfrm>
          <a:prstGeom prst="rect">
            <a:avLst/>
          </a:prstGeom>
          <a:noFill/>
        </p:spPr>
        <p:txBody>
          <a:bodyPr wrap="square" lIns="36000" tIns="36000" rIns="36000" bIns="36000" rtlCol="0" anchor="t">
            <a:spAutoFit/>
          </a:bodyPr>
          <a:lstStyle/>
          <a:p>
            <a:pPr marL="0" indent="0">
              <a:buNone/>
            </a:pPr>
            <a:r>
              <a:rPr lang="en-US" sz="1100" b="1" dirty="0"/>
              <a:t>High initial investment and cost variance</a:t>
            </a:r>
            <a:endParaRPr lang="en-US" dirty="0"/>
          </a:p>
        </p:txBody>
      </p:sp>
      <p:grpSp>
        <p:nvGrpSpPr>
          <p:cNvPr id="84" name="Group 83">
            <a:extLst>
              <a:ext uri="{FF2B5EF4-FFF2-40B4-BE49-F238E27FC236}">
                <a16:creationId xmlns:a16="http://schemas.microsoft.com/office/drawing/2014/main" id="{8343BBC5-E61B-EB4A-C5CF-65327075D275}"/>
              </a:ext>
            </a:extLst>
          </p:cNvPr>
          <p:cNvGrpSpPr/>
          <p:nvPr/>
        </p:nvGrpSpPr>
        <p:grpSpPr>
          <a:xfrm>
            <a:off x="5260974" y="2092236"/>
            <a:ext cx="2925416" cy="291451"/>
            <a:chOff x="8732151" y="1986776"/>
            <a:chExt cx="2925416" cy="291451"/>
          </a:xfrm>
        </p:grpSpPr>
        <p:sp>
          <p:nvSpPr>
            <p:cNvPr id="85" name="Oval 84">
              <a:extLst>
                <a:ext uri="{FF2B5EF4-FFF2-40B4-BE49-F238E27FC236}">
                  <a16:creationId xmlns:a16="http://schemas.microsoft.com/office/drawing/2014/main" id="{A67EC4D9-770B-070F-3313-151C848AB888}"/>
                </a:ext>
              </a:extLst>
            </p:cNvPr>
            <p:cNvSpPr/>
            <p:nvPr/>
          </p:nvSpPr>
          <p:spPr bwMode="gray">
            <a:xfrm>
              <a:off x="8732151" y="2044480"/>
              <a:ext cx="233736" cy="233736"/>
            </a:xfrm>
            <a:prstGeom prst="ellipse">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b="1" dirty="0">
                <a:solidFill>
                  <a:schemeClr val="tx1"/>
                </a:solidFill>
              </a:endParaRPr>
            </a:p>
          </p:txBody>
        </p:sp>
        <p:sp>
          <p:nvSpPr>
            <p:cNvPr id="86" name="TextBox 85">
              <a:extLst>
                <a:ext uri="{FF2B5EF4-FFF2-40B4-BE49-F238E27FC236}">
                  <a16:creationId xmlns:a16="http://schemas.microsoft.com/office/drawing/2014/main" id="{70986EA8-4B30-64AD-D493-2BFB0B033724}"/>
                </a:ext>
              </a:extLst>
            </p:cNvPr>
            <p:cNvSpPr txBox="1"/>
            <p:nvPr/>
          </p:nvSpPr>
          <p:spPr bwMode="gray">
            <a:xfrm>
              <a:off x="8740822" y="2067024"/>
              <a:ext cx="233003" cy="211203"/>
            </a:xfrm>
            <a:prstGeom prst="rect">
              <a:avLst/>
            </a:prstGeom>
            <a:noFill/>
          </p:spPr>
          <p:txBody>
            <a:bodyPr wrap="none" lIns="36000" tIns="36000" rIns="36000" bIns="36000" rtlCol="0">
              <a:spAutoFit/>
            </a:bodyPr>
            <a:lstStyle/>
            <a:p>
              <a:pPr marL="0" indent="0">
                <a:buNone/>
              </a:pPr>
              <a:r>
                <a:rPr lang="en-US" sz="900" dirty="0"/>
                <a:t>2.1</a:t>
              </a:r>
            </a:p>
          </p:txBody>
        </p:sp>
        <p:sp>
          <p:nvSpPr>
            <p:cNvPr id="87" name="TextBox 86">
              <a:extLst>
                <a:ext uri="{FF2B5EF4-FFF2-40B4-BE49-F238E27FC236}">
                  <a16:creationId xmlns:a16="http://schemas.microsoft.com/office/drawing/2014/main" id="{728AAED2-D370-27D7-1C75-142528EE045B}"/>
                </a:ext>
              </a:extLst>
            </p:cNvPr>
            <p:cNvSpPr txBox="1"/>
            <p:nvPr/>
          </p:nvSpPr>
          <p:spPr bwMode="gray">
            <a:xfrm>
              <a:off x="9013611" y="1986776"/>
              <a:ext cx="2643956" cy="241980"/>
            </a:xfrm>
            <a:prstGeom prst="rect">
              <a:avLst/>
            </a:prstGeom>
            <a:noFill/>
          </p:spPr>
          <p:txBody>
            <a:bodyPr wrap="square" lIns="36000" tIns="36000" rIns="36000" bIns="36000" rtlCol="0" anchor="t">
              <a:spAutoFit/>
            </a:bodyPr>
            <a:lstStyle/>
            <a:p>
              <a:pPr marL="0" indent="0">
                <a:buNone/>
              </a:pPr>
              <a:r>
                <a:rPr lang="en-US" sz="1100" b="1" dirty="0"/>
                <a:t>High initial investment </a:t>
              </a:r>
              <a:endParaRPr lang="en-US" sz="1100" b="1" dirty="0">
                <a:cs typeface="Arial"/>
              </a:endParaRPr>
            </a:p>
          </p:txBody>
        </p:sp>
      </p:grpSp>
      <p:grpSp>
        <p:nvGrpSpPr>
          <p:cNvPr id="88" name="Group 87">
            <a:extLst>
              <a:ext uri="{FF2B5EF4-FFF2-40B4-BE49-F238E27FC236}">
                <a16:creationId xmlns:a16="http://schemas.microsoft.com/office/drawing/2014/main" id="{A4B1A454-3E3F-4834-4D95-5CF843DDCA93}"/>
              </a:ext>
            </a:extLst>
          </p:cNvPr>
          <p:cNvGrpSpPr/>
          <p:nvPr/>
        </p:nvGrpSpPr>
        <p:grpSpPr>
          <a:xfrm>
            <a:off x="5269645" y="4194630"/>
            <a:ext cx="2916745" cy="241991"/>
            <a:chOff x="8740822" y="4061852"/>
            <a:chExt cx="2916745" cy="241991"/>
          </a:xfrm>
        </p:grpSpPr>
        <p:sp>
          <p:nvSpPr>
            <p:cNvPr id="89" name="Oval 88">
              <a:extLst>
                <a:ext uri="{FF2B5EF4-FFF2-40B4-BE49-F238E27FC236}">
                  <a16:creationId xmlns:a16="http://schemas.microsoft.com/office/drawing/2014/main" id="{DE22A29B-BAC3-5BAB-816B-0D5C0132701D}"/>
                </a:ext>
              </a:extLst>
            </p:cNvPr>
            <p:cNvSpPr/>
            <p:nvPr/>
          </p:nvSpPr>
          <p:spPr bwMode="gray">
            <a:xfrm>
              <a:off x="8740822" y="4070096"/>
              <a:ext cx="233736" cy="233736"/>
            </a:xfrm>
            <a:prstGeom prst="ellipse">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b="1" dirty="0">
                <a:solidFill>
                  <a:schemeClr val="bg1"/>
                </a:solidFill>
              </a:endParaRPr>
            </a:p>
          </p:txBody>
        </p:sp>
        <p:sp>
          <p:nvSpPr>
            <p:cNvPr id="90" name="TextBox 89">
              <a:extLst>
                <a:ext uri="{FF2B5EF4-FFF2-40B4-BE49-F238E27FC236}">
                  <a16:creationId xmlns:a16="http://schemas.microsoft.com/office/drawing/2014/main" id="{2FBFEA1C-EAAE-CD9F-6C38-BB56F6F25951}"/>
                </a:ext>
              </a:extLst>
            </p:cNvPr>
            <p:cNvSpPr txBox="1"/>
            <p:nvPr/>
          </p:nvSpPr>
          <p:spPr bwMode="gray">
            <a:xfrm>
              <a:off x="8749493" y="4092640"/>
              <a:ext cx="233003" cy="211203"/>
            </a:xfrm>
            <a:prstGeom prst="rect">
              <a:avLst/>
            </a:prstGeom>
            <a:noFill/>
          </p:spPr>
          <p:txBody>
            <a:bodyPr wrap="none" lIns="36000" tIns="36000" rIns="36000" bIns="36000" rtlCol="0">
              <a:spAutoFit/>
            </a:bodyPr>
            <a:lstStyle/>
            <a:p>
              <a:pPr marL="0" indent="0">
                <a:buNone/>
              </a:pPr>
              <a:r>
                <a:rPr lang="en-US" sz="900" dirty="0"/>
                <a:t>2.2</a:t>
              </a:r>
            </a:p>
          </p:txBody>
        </p:sp>
        <p:sp>
          <p:nvSpPr>
            <p:cNvPr id="91" name="TextBox 90">
              <a:extLst>
                <a:ext uri="{FF2B5EF4-FFF2-40B4-BE49-F238E27FC236}">
                  <a16:creationId xmlns:a16="http://schemas.microsoft.com/office/drawing/2014/main" id="{E1235E9A-D57B-6CE5-3925-18B9CD6C1864}"/>
                </a:ext>
              </a:extLst>
            </p:cNvPr>
            <p:cNvSpPr txBox="1"/>
            <p:nvPr/>
          </p:nvSpPr>
          <p:spPr bwMode="gray">
            <a:xfrm>
              <a:off x="9013611" y="4061852"/>
              <a:ext cx="2643956" cy="241980"/>
            </a:xfrm>
            <a:prstGeom prst="rect">
              <a:avLst/>
            </a:prstGeom>
            <a:noFill/>
          </p:spPr>
          <p:txBody>
            <a:bodyPr wrap="square" lIns="36000" tIns="36000" rIns="36000" bIns="36000" rtlCol="0">
              <a:spAutoFit/>
            </a:bodyPr>
            <a:lstStyle/>
            <a:p>
              <a:pPr marL="0" indent="0">
                <a:buNone/>
              </a:pPr>
              <a:r>
                <a:rPr lang="en-US" sz="1100" b="1" dirty="0"/>
                <a:t>Exploration risks and cost variance</a:t>
              </a:r>
            </a:p>
          </p:txBody>
        </p:sp>
      </p:grpSp>
      <p:sp>
        <p:nvSpPr>
          <p:cNvPr id="92" name="TextBox 91">
            <a:extLst>
              <a:ext uri="{FF2B5EF4-FFF2-40B4-BE49-F238E27FC236}">
                <a16:creationId xmlns:a16="http://schemas.microsoft.com/office/drawing/2014/main" id="{1AA05D7B-B6CB-4A53-89D0-F1DA4DB897E1}"/>
              </a:ext>
            </a:extLst>
          </p:cNvPr>
          <p:cNvSpPr txBox="1"/>
          <p:nvPr/>
        </p:nvSpPr>
        <p:spPr bwMode="gray">
          <a:xfrm>
            <a:off x="5269645" y="4565666"/>
            <a:ext cx="3218718" cy="1257643"/>
          </a:xfrm>
          <a:prstGeom prst="rect">
            <a:avLst/>
          </a:prstGeom>
          <a:noFill/>
        </p:spPr>
        <p:txBody>
          <a:bodyPr wrap="square" lIns="36000" tIns="36000" rIns="36000" bIns="36000" rtlCol="0">
            <a:spAutoFit/>
          </a:bodyPr>
          <a:lstStyle/>
          <a:p>
            <a:pPr marL="0" indent="0">
              <a:buNone/>
            </a:pPr>
            <a:r>
              <a:rPr lang="en-US" sz="1100" dirty="0"/>
              <a:t>Drilling costs comprise some 35 to 40% of the total capital costs of a geothermal project. Thus, drilling hazards such as loss circulation can cause very high variance. For example, the </a:t>
            </a:r>
            <a:r>
              <a:rPr lang="en-US" sz="1100" b="1" dirty="0"/>
              <a:t>circulation </a:t>
            </a:r>
            <a:br>
              <a:rPr lang="en-US" sz="1100" b="1" dirty="0"/>
            </a:br>
            <a:r>
              <a:rPr lang="en-US" sz="1100" b="1" dirty="0"/>
              <a:t>loss costs in the U.S. in geothermal drilling operations is approximately 10% of overall well costs </a:t>
            </a:r>
            <a:r>
              <a:rPr lang="en-US" sz="1100" dirty="0"/>
              <a:t>and 20% for exploration wells.</a:t>
            </a:r>
          </a:p>
        </p:txBody>
      </p:sp>
      <p:sp>
        <p:nvSpPr>
          <p:cNvPr id="93" name="TextBox 92">
            <a:extLst>
              <a:ext uri="{FF2B5EF4-FFF2-40B4-BE49-F238E27FC236}">
                <a16:creationId xmlns:a16="http://schemas.microsoft.com/office/drawing/2014/main" id="{4359ABB3-B76D-93F8-96B7-C48EC1833E04}"/>
              </a:ext>
            </a:extLst>
          </p:cNvPr>
          <p:cNvSpPr txBox="1"/>
          <p:nvPr/>
        </p:nvSpPr>
        <p:spPr bwMode="gray">
          <a:xfrm>
            <a:off x="5269645" y="2592487"/>
            <a:ext cx="2890886" cy="1242254"/>
          </a:xfrm>
          <a:prstGeom prst="rect">
            <a:avLst/>
          </a:prstGeom>
          <a:noFill/>
        </p:spPr>
        <p:txBody>
          <a:bodyPr wrap="square" lIns="36000" tIns="36000" rIns="36000" bIns="36000" rtlCol="0">
            <a:spAutoFit/>
          </a:bodyPr>
          <a:lstStyle/>
          <a:p>
            <a:pPr marL="0" indent="0">
              <a:buNone/>
            </a:pPr>
            <a:r>
              <a:rPr lang="en-US" sz="1100" dirty="0"/>
              <a:t>Conventional geothermal, compared with wind and solar, typically requires high upfront capital, has </a:t>
            </a:r>
            <a:r>
              <a:rPr lang="en-US" sz="1100" b="1" dirty="0"/>
              <a:t>longer payback periods, and is less modular</a:t>
            </a:r>
            <a:r>
              <a:rPr lang="en-US" sz="1100" dirty="0"/>
              <a:t>.</a:t>
            </a:r>
          </a:p>
          <a:p>
            <a:pPr marL="0" indent="0">
              <a:buNone/>
            </a:pPr>
            <a:r>
              <a:rPr lang="en-US" sz="1100" dirty="0"/>
              <a:t>Roughly 80% of its LCOE comes from CapEx and ~20% from fixed O&amp;M.</a:t>
            </a:r>
          </a:p>
        </p:txBody>
      </p:sp>
      <p:sp>
        <p:nvSpPr>
          <p:cNvPr id="94" name="Rectangular Callout 93">
            <a:extLst>
              <a:ext uri="{FF2B5EF4-FFF2-40B4-BE49-F238E27FC236}">
                <a16:creationId xmlns:a16="http://schemas.microsoft.com/office/drawing/2014/main" id="{195D1D43-CAC5-234A-1682-177D90F97007}"/>
              </a:ext>
            </a:extLst>
          </p:cNvPr>
          <p:cNvSpPr/>
          <p:nvPr/>
        </p:nvSpPr>
        <p:spPr bwMode="gray">
          <a:xfrm>
            <a:off x="10990263" y="4921937"/>
            <a:ext cx="966745" cy="357189"/>
          </a:xfrm>
          <a:prstGeom prst="wedgeRectCallout">
            <a:avLst>
              <a:gd name="adj1" fmla="val -42137"/>
              <a:gd name="adj2" fmla="val 97094"/>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5" name="TextBox 94">
            <a:extLst>
              <a:ext uri="{FF2B5EF4-FFF2-40B4-BE49-F238E27FC236}">
                <a16:creationId xmlns:a16="http://schemas.microsoft.com/office/drawing/2014/main" id="{1EBF94F6-064C-0700-0B46-D826A99B7DB6}"/>
              </a:ext>
            </a:extLst>
          </p:cNvPr>
          <p:cNvSpPr txBox="1"/>
          <p:nvPr/>
        </p:nvSpPr>
        <p:spPr bwMode="gray">
          <a:xfrm>
            <a:off x="11047582" y="4937701"/>
            <a:ext cx="814218" cy="318924"/>
          </a:xfrm>
          <a:prstGeom prst="rect">
            <a:avLst/>
          </a:prstGeom>
          <a:noFill/>
        </p:spPr>
        <p:txBody>
          <a:bodyPr wrap="square" lIns="36000" tIns="36000" rIns="36000" bIns="36000" rtlCol="0">
            <a:spAutoFit/>
          </a:bodyPr>
          <a:lstStyle/>
          <a:p>
            <a:pPr marL="0" indent="0">
              <a:buNone/>
            </a:pPr>
            <a:r>
              <a:rPr lang="en-US" sz="800" dirty="0"/>
              <a:t>Variation based on tech type</a:t>
            </a:r>
          </a:p>
        </p:txBody>
      </p:sp>
    </p:spTree>
    <p:extLst>
      <p:ext uri="{BB962C8B-B14F-4D97-AF65-F5344CB8AC3E}">
        <p14:creationId xmlns:p14="http://schemas.microsoft.com/office/powerpoint/2010/main" val="752273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factory with smoke coming out of it&#10;&#10;AI-generated content may be incorrect.">
            <a:extLst>
              <a:ext uri="{FF2B5EF4-FFF2-40B4-BE49-F238E27FC236}">
                <a16:creationId xmlns:a16="http://schemas.microsoft.com/office/drawing/2014/main" id="{826D8AC5-B30D-336E-7D6C-FBD966CA831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a:extLst>
              <a:ext uri="{FF2B5EF4-FFF2-40B4-BE49-F238E27FC236}">
                <a16:creationId xmlns:a16="http://schemas.microsoft.com/office/drawing/2014/main" id="{BBE07578-8C7C-EB4C-39D9-4D7488358948}"/>
              </a:ext>
            </a:extLst>
          </p:cNvPr>
          <p:cNvSpPr>
            <a:spLocks noGrp="1"/>
          </p:cNvSpPr>
          <p:nvPr>
            <p:ph type="body" sz="quarter" idx="13"/>
          </p:nvPr>
        </p:nvSpPr>
        <p:spPr/>
        <p:txBody>
          <a:bodyPr/>
          <a:lstStyle/>
          <a:p>
            <a:pPr marL="0" indent="0">
              <a:spcBef>
                <a:spcPts val="600"/>
              </a:spcBef>
              <a:buNone/>
            </a:pPr>
            <a:r>
              <a:rPr lang="en-US" sz="1200" b="1" dirty="0"/>
              <a:t>Nearly 80% of geothermal energy today </a:t>
            </a:r>
            <a:r>
              <a:rPr lang="en-US" sz="1200" dirty="0"/>
              <a:t>is used for heating and cooling (42% heat pumps, 26% district heating systems), not electricity generation. Deployment is </a:t>
            </a:r>
            <a:r>
              <a:rPr lang="en-US" sz="1200" b="1" dirty="0"/>
              <a:t>concentrated in 10 countries</a:t>
            </a:r>
            <a:r>
              <a:rPr lang="en-US" sz="1200" dirty="0"/>
              <a:t> accounting for </a:t>
            </a:r>
            <a:r>
              <a:rPr lang="en-US" sz="1200" b="1" dirty="0"/>
              <a:t>90% of global use</a:t>
            </a:r>
            <a:r>
              <a:rPr lang="en-US" sz="1200" dirty="0"/>
              <a:t>, with </a:t>
            </a:r>
            <a:r>
              <a:rPr lang="en-US" sz="1200" b="1" dirty="0"/>
              <a:t>China alone representing 50% </a:t>
            </a:r>
            <a:r>
              <a:rPr lang="en-US" sz="1200" dirty="0"/>
              <a:t>of all heating and cooling capacity.</a:t>
            </a:r>
          </a:p>
          <a:p>
            <a:pPr marL="0" indent="0">
              <a:spcBef>
                <a:spcPts val="600"/>
              </a:spcBef>
              <a:buNone/>
            </a:pPr>
            <a:r>
              <a:rPr lang="en-US" sz="1200" b="1" dirty="0"/>
              <a:t>Geothermal heating and cooling is a mature, proven technology </a:t>
            </a:r>
            <a:r>
              <a:rPr lang="en-US" sz="1200" dirty="0"/>
              <a:t>that is projected to </a:t>
            </a:r>
            <a:r>
              <a:rPr lang="en-US" sz="1200" b="1" dirty="0"/>
              <a:t>double by 2050 </a:t>
            </a:r>
            <a:r>
              <a:rPr lang="en-US" sz="1200" dirty="0"/>
              <a:t>through residential and district heating expansion, with significant untapped potential for </a:t>
            </a:r>
            <a:r>
              <a:rPr lang="en-US" sz="1200" b="1" dirty="0"/>
              <a:t>decarbonizing building thermal loads</a:t>
            </a:r>
            <a:r>
              <a:rPr lang="en-US" sz="1200" dirty="0"/>
              <a:t>.</a:t>
            </a:r>
          </a:p>
          <a:p>
            <a:pPr marL="0" indent="0">
              <a:spcBef>
                <a:spcPts val="600"/>
              </a:spcBef>
              <a:buNone/>
            </a:pPr>
            <a:r>
              <a:rPr lang="en-US" sz="1200" b="1" dirty="0"/>
              <a:t>Geothermal electricity </a:t>
            </a:r>
            <a:r>
              <a:rPr lang="en-US" sz="1200" dirty="0"/>
              <a:t>currently supplies </a:t>
            </a:r>
            <a:r>
              <a:rPr lang="en-US" sz="1200" b="1" dirty="0"/>
              <a:t>less than 1% </a:t>
            </a:r>
            <a:r>
              <a:rPr lang="en-US" sz="1200" dirty="0"/>
              <a:t>of global power, with conventional installations limited  to </a:t>
            </a:r>
            <a:r>
              <a:rPr lang="en-US" sz="1200" b="1" dirty="0"/>
              <a:t>~16 GW </a:t>
            </a:r>
            <a:r>
              <a:rPr lang="en-US" sz="1200" dirty="0"/>
              <a:t>in key geographic areas. Yet, </a:t>
            </a:r>
            <a:r>
              <a:rPr lang="en-US" sz="1200" b="1" dirty="0"/>
              <a:t>geothermal energy reserves </a:t>
            </a:r>
            <a:r>
              <a:rPr lang="en-US" sz="1200" dirty="0"/>
              <a:t>are multiples larger than all known oil and gas reserves, with the technical potential to meet global electricity demand </a:t>
            </a:r>
            <a:r>
              <a:rPr lang="en-US" sz="1200" b="1" dirty="0"/>
              <a:t>140 times over</a:t>
            </a:r>
            <a:r>
              <a:rPr lang="en-US" sz="1200" dirty="0"/>
              <a:t>.</a:t>
            </a:r>
          </a:p>
          <a:p>
            <a:pPr marL="0" indent="0">
              <a:spcBef>
                <a:spcPts val="600"/>
              </a:spcBef>
              <a:buNone/>
            </a:pPr>
            <a:r>
              <a:rPr lang="en-US" sz="1200" b="1" dirty="0"/>
              <a:t>Global energy demand </a:t>
            </a:r>
            <a:r>
              <a:rPr lang="en-US" sz="1200" dirty="0"/>
              <a:t>is projected to rise </a:t>
            </a:r>
            <a:r>
              <a:rPr lang="en-US" sz="1200" b="1" dirty="0"/>
              <a:t>10 to 20% by 2050</a:t>
            </a:r>
            <a:r>
              <a:rPr lang="en-US" sz="1200" dirty="0"/>
              <a:t>, driven by growth in emerging economies, electrification, and AI data center expansion. This demand is creating urgent need for </a:t>
            </a:r>
            <a:r>
              <a:rPr lang="en-US" sz="1200" b="1" dirty="0"/>
              <a:t>firm, reliable, round-the-clock clean power</a:t>
            </a:r>
            <a:r>
              <a:rPr lang="en-US" sz="1200" dirty="0"/>
              <a:t>, a role geothermal is uniquely positioned to fill.</a:t>
            </a:r>
          </a:p>
          <a:p>
            <a:pPr marL="0" indent="0">
              <a:spcBef>
                <a:spcPts val="600"/>
              </a:spcBef>
              <a:buNone/>
            </a:pPr>
            <a:r>
              <a:rPr lang="en-US" sz="1200" b="1" dirty="0"/>
              <a:t>Next-generation technologies </a:t>
            </a:r>
            <a:r>
              <a:rPr lang="en-US" sz="1200" dirty="0"/>
              <a:t>including horizontal drilling, enhanced geothermal systems, closed-loop systems, and AI-enabled exploration are expanding </a:t>
            </a:r>
            <a:r>
              <a:rPr lang="en-US" sz="1200" dirty="0" err="1"/>
              <a:t>geothermal's</a:t>
            </a:r>
            <a:r>
              <a:rPr lang="en-US" sz="1200" dirty="0"/>
              <a:t> reach to virtually every region around the globe, overcoming the geographic constraints that limit conventional geothermal today while reducing costs.</a:t>
            </a:r>
          </a:p>
          <a:p>
            <a:pPr marL="0" indent="0">
              <a:spcBef>
                <a:spcPts val="600"/>
              </a:spcBef>
              <a:buNone/>
            </a:pPr>
            <a:r>
              <a:rPr lang="en-US" sz="1200" b="1" dirty="0"/>
              <a:t>Technological, policy, and financial synergies with the oil and gas industry </a:t>
            </a:r>
            <a:r>
              <a:rPr lang="en-US" sz="1200" dirty="0"/>
              <a:t>can dramatically reduce costs and accelerate deployment, particularly by applying advanced subsurface modeling to reduce </a:t>
            </a:r>
            <a:r>
              <a:rPr lang="en-US" sz="1200" b="1" dirty="0"/>
              <a:t>exploratory drilling risk</a:t>
            </a:r>
            <a:r>
              <a:rPr lang="en-US" sz="1200" dirty="0"/>
              <a:t>, the highest barrier in project development.</a:t>
            </a:r>
          </a:p>
          <a:p>
            <a:pPr marL="0" indent="0">
              <a:spcBef>
                <a:spcPts val="600"/>
              </a:spcBef>
              <a:buNone/>
            </a:pPr>
            <a:r>
              <a:rPr lang="en-US" sz="1200" dirty="0"/>
              <a:t>With continued innovation and cost declines, geothermal could become cost competitive with solar and wind plus storage by 2035 and meet </a:t>
            </a:r>
            <a:r>
              <a:rPr lang="en-US" sz="1200" b="1" dirty="0"/>
              <a:t>up to 15% of global electricity demand growth by 2050</a:t>
            </a:r>
            <a:r>
              <a:rPr lang="en-US" sz="1200" dirty="0"/>
              <a:t>, representing </a:t>
            </a:r>
            <a:r>
              <a:rPr lang="en-US" sz="1200" b="1" dirty="0"/>
              <a:t>800 GW of capacity</a:t>
            </a:r>
            <a:r>
              <a:rPr lang="en-US" sz="1200" dirty="0"/>
              <a:t> and </a:t>
            </a:r>
            <a:r>
              <a:rPr lang="en-US" sz="1200" b="1" dirty="0"/>
              <a:t>6,000 TWh annually</a:t>
            </a:r>
            <a:r>
              <a:rPr lang="en-US" sz="1200" dirty="0"/>
              <a:t>.</a:t>
            </a:r>
          </a:p>
          <a:p>
            <a:pPr marL="0" indent="0">
              <a:spcBef>
                <a:spcPts val="600"/>
              </a:spcBef>
              <a:buNone/>
            </a:pPr>
            <a:r>
              <a:rPr lang="en-US" sz="1200" b="1" dirty="0"/>
              <a:t>Geothermal electricity </a:t>
            </a:r>
            <a:r>
              <a:rPr lang="en-US" sz="1200" dirty="0"/>
              <a:t>will play an outsized role in select markets, supplying </a:t>
            </a:r>
            <a:r>
              <a:rPr lang="en-US" sz="1200" b="1" dirty="0"/>
              <a:t>5 to 45% of power generation</a:t>
            </a:r>
            <a:r>
              <a:rPr lang="en-US" sz="1200" dirty="0"/>
              <a:t> in countries like the U.S., Kenya, the Philippines, and Indonesia.</a:t>
            </a:r>
          </a:p>
          <a:p>
            <a:pPr marL="0" indent="0">
              <a:spcBef>
                <a:spcPts val="600"/>
              </a:spcBef>
              <a:buNone/>
            </a:pPr>
            <a:endParaRPr lang="en-US" sz="1200" dirty="0"/>
          </a:p>
        </p:txBody>
      </p:sp>
      <p:sp>
        <p:nvSpPr>
          <p:cNvPr id="5" name="Footer Placeholder 4">
            <a:extLst>
              <a:ext uri="{FF2B5EF4-FFF2-40B4-BE49-F238E27FC236}">
                <a16:creationId xmlns:a16="http://schemas.microsoft.com/office/drawing/2014/main" id="{191603B6-C9F5-B02B-BFED-533FC7D5101F}"/>
              </a:ext>
            </a:extLst>
          </p:cNvPr>
          <p:cNvSpPr>
            <a:spLocks noGrp="1"/>
          </p:cNvSpPr>
          <p:nvPr>
            <p:ph type="ftr" sz="quarter" idx="3"/>
          </p:nvPr>
        </p:nvSpPr>
        <p:spPr>
          <a:xfrm>
            <a:off x="334962" y="6435873"/>
            <a:ext cx="9147241" cy="216706"/>
          </a:xfrm>
        </p:spPr>
        <p:txBody>
          <a:bodyPr/>
          <a:lstStyle/>
          <a:p>
            <a:pPr marL="0" indent="0">
              <a:buNone/>
            </a:pPr>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4" name="Content Placeholder 3">
            <a:extLst>
              <a:ext uri="{FF2B5EF4-FFF2-40B4-BE49-F238E27FC236}">
                <a16:creationId xmlns:a16="http://schemas.microsoft.com/office/drawing/2014/main" id="{E2AFCD7C-973E-866C-14F0-0A55466281BE}"/>
              </a:ext>
            </a:extLst>
          </p:cNvPr>
          <p:cNvSpPr>
            <a:spLocks noGrp="1"/>
          </p:cNvSpPr>
          <p:nvPr>
            <p:ph sz="quarter" idx="14"/>
          </p:nvPr>
        </p:nvSpPr>
        <p:spPr/>
        <p:txBody>
          <a:bodyPr/>
          <a:lstStyle/>
          <a:p>
            <a:r>
              <a:rPr lang="en-US" dirty="0">
                <a:solidFill>
                  <a:schemeClr val="bg1"/>
                </a:solidFill>
              </a:rPr>
              <a:t>Executive Summary </a:t>
            </a:r>
            <a:r>
              <a:rPr lang="en-US" b="0" dirty="0">
                <a:solidFill>
                  <a:schemeClr val="bg1"/>
                </a:solidFill>
              </a:rPr>
              <a:t>Opportunity</a:t>
            </a:r>
          </a:p>
        </p:txBody>
      </p:sp>
      <p:cxnSp>
        <p:nvCxnSpPr>
          <p:cNvPr id="7" name="Straight Connector 6">
            <a:extLst>
              <a:ext uri="{FF2B5EF4-FFF2-40B4-BE49-F238E27FC236}">
                <a16:creationId xmlns:a16="http://schemas.microsoft.com/office/drawing/2014/main" id="{3A1BFD4F-EDAD-3238-CC36-464F3ED2FC35}"/>
              </a:ext>
            </a:extLst>
          </p:cNvPr>
          <p:cNvCxnSpPr>
            <a:cxnSpLocks/>
          </p:cNvCxnSpPr>
          <p:nvPr/>
        </p:nvCxnSpPr>
        <p:spPr bwMode="gray">
          <a:xfrm>
            <a:off x="4183267" y="1420934"/>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9402027-C2A1-6C70-D149-78B6D37E3F08}"/>
              </a:ext>
            </a:extLst>
          </p:cNvPr>
          <p:cNvCxnSpPr>
            <a:cxnSpLocks/>
          </p:cNvCxnSpPr>
          <p:nvPr/>
        </p:nvCxnSpPr>
        <p:spPr bwMode="gray">
          <a:xfrm>
            <a:off x="4183267" y="2059717"/>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7876E0C-DC97-8421-7FCF-CD787C4B759F}"/>
              </a:ext>
            </a:extLst>
          </p:cNvPr>
          <p:cNvCxnSpPr>
            <a:cxnSpLocks/>
          </p:cNvCxnSpPr>
          <p:nvPr/>
        </p:nvCxnSpPr>
        <p:spPr bwMode="gray">
          <a:xfrm>
            <a:off x="4183267" y="2679045"/>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12804E8-1367-CDCD-EEC9-ED1BFFFA8695}"/>
              </a:ext>
            </a:extLst>
          </p:cNvPr>
          <p:cNvCxnSpPr>
            <a:cxnSpLocks/>
          </p:cNvCxnSpPr>
          <p:nvPr/>
        </p:nvCxnSpPr>
        <p:spPr bwMode="gray">
          <a:xfrm>
            <a:off x="4183267" y="3298371"/>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6922B4-48BF-1E2E-1D2C-3FA6FB479DD8}"/>
              </a:ext>
            </a:extLst>
          </p:cNvPr>
          <p:cNvCxnSpPr>
            <a:cxnSpLocks/>
          </p:cNvCxnSpPr>
          <p:nvPr/>
        </p:nvCxnSpPr>
        <p:spPr bwMode="gray">
          <a:xfrm>
            <a:off x="4183267" y="3898243"/>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2D1B7C4-4C64-32CD-713F-8437FEF227F4}"/>
              </a:ext>
            </a:extLst>
          </p:cNvPr>
          <p:cNvCxnSpPr>
            <a:cxnSpLocks/>
          </p:cNvCxnSpPr>
          <p:nvPr/>
        </p:nvCxnSpPr>
        <p:spPr bwMode="gray">
          <a:xfrm>
            <a:off x="4183267" y="4537026"/>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3CFBE27-61A2-3532-BFC4-AAD348F7F636}"/>
              </a:ext>
            </a:extLst>
          </p:cNvPr>
          <p:cNvCxnSpPr>
            <a:cxnSpLocks/>
          </p:cNvCxnSpPr>
          <p:nvPr/>
        </p:nvCxnSpPr>
        <p:spPr bwMode="gray">
          <a:xfrm>
            <a:off x="4183267" y="5156353"/>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62052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8B4029-61CF-63A0-279D-46D397BFC9B8}"/>
              </a:ext>
            </a:extLst>
          </p:cNvPr>
          <p:cNvGraphicFramePr>
            <a:graphicFrameLocks/>
          </p:cNvGraphicFramePr>
          <p:nvPr>
            <p:custDataLst>
              <p:tags r:id="rId1"/>
            </p:custDataLst>
            <p:extLst>
              <p:ext uri="{D42A27DB-BD31-4B8C-83A1-F6EECF244321}">
                <p14:modId xmlns:p14="http://schemas.microsoft.com/office/powerpoint/2010/main" val="21157330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178EE20-AF7A-296B-483F-2084D81EA01F}"/>
              </a:ext>
            </a:extLst>
          </p:cNvPr>
          <p:cNvSpPr>
            <a:spLocks noGrp="1"/>
          </p:cNvSpPr>
          <p:nvPr>
            <p:ph type="title"/>
          </p:nvPr>
        </p:nvSpPr>
        <p:spPr>
          <a:xfrm>
            <a:off x="334963" y="513568"/>
            <a:ext cx="11522075" cy="754846"/>
          </a:xfrm>
        </p:spPr>
        <p:txBody>
          <a:bodyPr vert="horz" rIns="91440"/>
          <a:lstStyle/>
          <a:p>
            <a:r>
              <a:rPr lang="en-US" sz="2600" dirty="0" err="1">
                <a:ea typeface="+mj-lt"/>
                <a:cs typeface="+mj-lt"/>
              </a:rPr>
              <a:t>Kızıldere</a:t>
            </a:r>
            <a:r>
              <a:rPr lang="en-US" sz="2600" dirty="0">
                <a:ea typeface="+mj-lt"/>
                <a:cs typeface="+mj-lt"/>
              </a:rPr>
              <a:t> is the largest geothermal power plant in Türkiye, accounting for ~15% of the country’s total geothermal power production</a:t>
            </a:r>
            <a:endParaRPr lang="en-US" sz="2600" dirty="0"/>
          </a:p>
        </p:txBody>
      </p:sp>
      <p:sp>
        <p:nvSpPr>
          <p:cNvPr id="4" name="Footer Placeholder 3">
            <a:extLst>
              <a:ext uri="{FF2B5EF4-FFF2-40B4-BE49-F238E27FC236}">
                <a16:creationId xmlns:a16="http://schemas.microsoft.com/office/drawing/2014/main" id="{1082A145-D0B6-6DC1-7DE1-758B37FA9998}"/>
              </a:ext>
            </a:extLst>
          </p:cNvPr>
          <p:cNvSpPr>
            <a:spLocks noGrp="1"/>
          </p:cNvSpPr>
          <p:nvPr>
            <p:ph type="ftr" sz="quarter" idx="3"/>
          </p:nvPr>
        </p:nvSpPr>
        <p:spPr/>
        <p:txBody>
          <a:bodyPr/>
          <a:lstStyle/>
          <a:p>
            <a:r>
              <a:rPr lang="en-US" dirty="0">
                <a:solidFill>
                  <a:srgbClr val="000000"/>
                </a:solidFill>
              </a:rPr>
              <a:t>Sources: </a:t>
            </a:r>
            <a:r>
              <a:rPr lang="en-US" dirty="0">
                <a:solidFill>
                  <a:srgbClr val="46647B"/>
                </a:solidFill>
                <a:hlinkClick r:id="rId5">
                  <a:extLst>
                    <a:ext uri="{A12FA001-AC4F-418D-AE19-62706E023703}">
                      <ahyp:hlinkClr xmlns:ahyp="http://schemas.microsoft.com/office/drawing/2018/hyperlinkcolor" val="tx"/>
                    </a:ext>
                  </a:extLst>
                </a:hlinkClick>
              </a:rPr>
              <a:t>Integrated Annual Company Report </a:t>
            </a:r>
            <a:r>
              <a:rPr lang="en-US" dirty="0">
                <a:solidFill>
                  <a:schemeClr val="tx1"/>
                </a:solidFill>
                <a:hlinkClick r:id="rId5">
                  <a:extLst>
                    <a:ext uri="{A12FA001-AC4F-418D-AE19-62706E023703}">
                      <ahyp:hlinkClr xmlns:ahyp="http://schemas.microsoft.com/office/drawing/2018/hyperlinkcolor" val="tx"/>
                    </a:ext>
                  </a:extLst>
                </a:hlinkClick>
              </a:rPr>
              <a:t>(</a:t>
            </a:r>
            <a:r>
              <a:rPr lang="en-US" dirty="0">
                <a:solidFill>
                  <a:schemeClr val="tx1"/>
                </a:solidFill>
              </a:rPr>
              <a:t>Zorlu Enerji, </a:t>
            </a:r>
            <a:r>
              <a:rPr lang="en-US" dirty="0">
                <a:solidFill>
                  <a:schemeClr val="tx1"/>
                </a:solidFill>
                <a:hlinkClick r:id="rId5">
                  <a:extLst>
                    <a:ext uri="{A12FA001-AC4F-418D-AE19-62706E023703}">
                      <ahyp:hlinkClr xmlns:ahyp="http://schemas.microsoft.com/office/drawing/2018/hyperlinkcolor" val="tx"/>
                    </a:ext>
                  </a:extLst>
                </a:hlinkClick>
              </a:rPr>
              <a:t>2024</a:t>
            </a:r>
            <a:r>
              <a:rPr lang="en-US" dirty="0">
                <a:solidFill>
                  <a:schemeClr val="tx1"/>
                </a:solidFill>
              </a:rPr>
              <a:t>);</a:t>
            </a:r>
            <a:r>
              <a:rPr lang="en-US" dirty="0">
                <a:solidFill>
                  <a:srgbClr val="000000"/>
                </a:solidFill>
              </a:rPr>
              <a:t> </a:t>
            </a:r>
            <a:r>
              <a:rPr lang="en-US" dirty="0">
                <a:hlinkClick r:id="rId6"/>
              </a:rPr>
              <a:t>Four Decades of Service – Kızıldere Reservoir, Units and Management</a:t>
            </a:r>
            <a:r>
              <a:rPr lang="en-US" dirty="0"/>
              <a:t> </a:t>
            </a:r>
            <a:r>
              <a:rPr lang="en-US" dirty="0">
                <a:solidFill>
                  <a:schemeClr val="tx1"/>
                </a:solidFill>
              </a:rPr>
              <a:t>(GRC Transactions, 2018).</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B1FE8B87-EDC4-160F-3283-267672D365E5}"/>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err="1"/>
              <a:t>Kızıldere</a:t>
            </a:r>
            <a:endParaRPr lang="en-US" sz="1600" b="1" dirty="0"/>
          </a:p>
        </p:txBody>
      </p:sp>
      <p:grpSp>
        <p:nvGrpSpPr>
          <p:cNvPr id="7" name="Google Shape;3088;p54">
            <a:extLst>
              <a:ext uri="{FF2B5EF4-FFF2-40B4-BE49-F238E27FC236}">
                <a16:creationId xmlns:a16="http://schemas.microsoft.com/office/drawing/2014/main" id="{77CE43F0-CAE7-831A-0E74-5941F91441F4}"/>
              </a:ext>
            </a:extLst>
          </p:cNvPr>
          <p:cNvGrpSpPr/>
          <p:nvPr/>
        </p:nvGrpSpPr>
        <p:grpSpPr>
          <a:xfrm>
            <a:off x="330200" y="4827404"/>
            <a:ext cx="2990099" cy="1340034"/>
            <a:chOff x="2372953" y="1238301"/>
            <a:chExt cx="6313360" cy="2666045"/>
          </a:xfrm>
          <a:noFill/>
        </p:grpSpPr>
        <p:sp>
          <p:nvSpPr>
            <p:cNvPr id="8" name="Google Shape;3089;p54">
              <a:extLst>
                <a:ext uri="{FF2B5EF4-FFF2-40B4-BE49-F238E27FC236}">
                  <a16:creationId xmlns:a16="http://schemas.microsoft.com/office/drawing/2014/main" id="{188B8C08-76D6-388D-83CE-54C85724538F}"/>
                </a:ext>
              </a:extLst>
            </p:cNvPr>
            <p:cNvSpPr/>
            <p:nvPr/>
          </p:nvSpPr>
          <p:spPr>
            <a:xfrm>
              <a:off x="7852741" y="1464596"/>
              <a:ext cx="386743" cy="432456"/>
            </a:xfrm>
            <a:custGeom>
              <a:avLst/>
              <a:gdLst/>
              <a:ahLst/>
              <a:cxnLst/>
              <a:rect l="l" t="t" r="r" b="b"/>
              <a:pathLst>
                <a:path w="5440" h="6083" extrusionOk="0">
                  <a:moveTo>
                    <a:pt x="1773" y="0"/>
                  </a:moveTo>
                  <a:lnTo>
                    <a:pt x="1535" y="18"/>
                  </a:lnTo>
                  <a:lnTo>
                    <a:pt x="1446" y="53"/>
                  </a:lnTo>
                  <a:lnTo>
                    <a:pt x="1429" y="53"/>
                  </a:lnTo>
                  <a:lnTo>
                    <a:pt x="1420" y="62"/>
                  </a:lnTo>
                  <a:lnTo>
                    <a:pt x="1323" y="132"/>
                  </a:lnTo>
                  <a:lnTo>
                    <a:pt x="1279" y="238"/>
                  </a:lnTo>
                  <a:lnTo>
                    <a:pt x="1235" y="485"/>
                  </a:lnTo>
                  <a:lnTo>
                    <a:pt x="1191" y="582"/>
                  </a:lnTo>
                  <a:lnTo>
                    <a:pt x="1085" y="697"/>
                  </a:lnTo>
                  <a:lnTo>
                    <a:pt x="944" y="908"/>
                  </a:lnTo>
                  <a:lnTo>
                    <a:pt x="856" y="970"/>
                  </a:lnTo>
                  <a:lnTo>
                    <a:pt x="794" y="970"/>
                  </a:lnTo>
                  <a:lnTo>
                    <a:pt x="865" y="1331"/>
                  </a:lnTo>
                  <a:lnTo>
                    <a:pt x="891" y="1587"/>
                  </a:lnTo>
                  <a:lnTo>
                    <a:pt x="944" y="1737"/>
                  </a:lnTo>
                  <a:lnTo>
                    <a:pt x="988" y="1807"/>
                  </a:lnTo>
                  <a:lnTo>
                    <a:pt x="1067" y="2019"/>
                  </a:lnTo>
                  <a:lnTo>
                    <a:pt x="1200" y="2451"/>
                  </a:lnTo>
                  <a:lnTo>
                    <a:pt x="1076" y="2874"/>
                  </a:lnTo>
                  <a:lnTo>
                    <a:pt x="697" y="3068"/>
                  </a:lnTo>
                  <a:lnTo>
                    <a:pt x="292" y="3509"/>
                  </a:lnTo>
                  <a:lnTo>
                    <a:pt x="1" y="4090"/>
                  </a:lnTo>
                  <a:lnTo>
                    <a:pt x="89" y="4566"/>
                  </a:lnTo>
                  <a:lnTo>
                    <a:pt x="336" y="4928"/>
                  </a:lnTo>
                  <a:lnTo>
                    <a:pt x="503" y="5042"/>
                  </a:lnTo>
                  <a:lnTo>
                    <a:pt x="635" y="5210"/>
                  </a:lnTo>
                  <a:lnTo>
                    <a:pt x="732" y="5448"/>
                  </a:lnTo>
                  <a:lnTo>
                    <a:pt x="865" y="5651"/>
                  </a:lnTo>
                  <a:lnTo>
                    <a:pt x="1059" y="5836"/>
                  </a:lnTo>
                  <a:lnTo>
                    <a:pt x="1191" y="6083"/>
                  </a:lnTo>
                  <a:lnTo>
                    <a:pt x="1728" y="5986"/>
                  </a:lnTo>
                  <a:lnTo>
                    <a:pt x="2284" y="5924"/>
                  </a:lnTo>
                  <a:lnTo>
                    <a:pt x="2372" y="5492"/>
                  </a:lnTo>
                  <a:lnTo>
                    <a:pt x="2442" y="4751"/>
                  </a:lnTo>
                  <a:lnTo>
                    <a:pt x="2548" y="4284"/>
                  </a:lnTo>
                  <a:lnTo>
                    <a:pt x="3104" y="3993"/>
                  </a:lnTo>
                  <a:lnTo>
                    <a:pt x="3862" y="3667"/>
                  </a:lnTo>
                  <a:lnTo>
                    <a:pt x="4620" y="3341"/>
                  </a:lnTo>
                  <a:lnTo>
                    <a:pt x="5087" y="3077"/>
                  </a:lnTo>
                  <a:lnTo>
                    <a:pt x="5387" y="2971"/>
                  </a:lnTo>
                  <a:lnTo>
                    <a:pt x="5440" y="2812"/>
                  </a:lnTo>
                  <a:lnTo>
                    <a:pt x="5369" y="2671"/>
                  </a:lnTo>
                  <a:lnTo>
                    <a:pt x="5246" y="2557"/>
                  </a:lnTo>
                  <a:lnTo>
                    <a:pt x="5122" y="2477"/>
                  </a:lnTo>
                  <a:lnTo>
                    <a:pt x="4972" y="2442"/>
                  </a:lnTo>
                  <a:lnTo>
                    <a:pt x="4840" y="2451"/>
                  </a:lnTo>
                  <a:lnTo>
                    <a:pt x="4408" y="2565"/>
                  </a:lnTo>
                  <a:lnTo>
                    <a:pt x="4346" y="2521"/>
                  </a:lnTo>
                  <a:lnTo>
                    <a:pt x="4232" y="2248"/>
                  </a:lnTo>
                  <a:lnTo>
                    <a:pt x="4144" y="2142"/>
                  </a:lnTo>
                  <a:lnTo>
                    <a:pt x="4047" y="2125"/>
                  </a:lnTo>
                  <a:lnTo>
                    <a:pt x="3950" y="2142"/>
                  </a:lnTo>
                  <a:lnTo>
                    <a:pt x="3818" y="2098"/>
                  </a:lnTo>
                  <a:lnTo>
                    <a:pt x="4073" y="1966"/>
                  </a:lnTo>
                  <a:lnTo>
                    <a:pt x="4144" y="1913"/>
                  </a:lnTo>
                  <a:lnTo>
                    <a:pt x="4205" y="1825"/>
                  </a:lnTo>
                  <a:lnTo>
                    <a:pt x="4197" y="1790"/>
                  </a:lnTo>
                  <a:lnTo>
                    <a:pt x="4064" y="1772"/>
                  </a:lnTo>
                  <a:lnTo>
                    <a:pt x="3915" y="1701"/>
                  </a:lnTo>
                  <a:lnTo>
                    <a:pt x="3694" y="1508"/>
                  </a:lnTo>
                  <a:lnTo>
                    <a:pt x="3350" y="1270"/>
                  </a:lnTo>
                  <a:lnTo>
                    <a:pt x="3289" y="1199"/>
                  </a:lnTo>
                  <a:lnTo>
                    <a:pt x="3148" y="935"/>
                  </a:lnTo>
                  <a:lnTo>
                    <a:pt x="3112" y="891"/>
                  </a:lnTo>
                  <a:lnTo>
                    <a:pt x="3068" y="882"/>
                  </a:lnTo>
                  <a:lnTo>
                    <a:pt x="3051" y="855"/>
                  </a:lnTo>
                  <a:lnTo>
                    <a:pt x="3024" y="829"/>
                  </a:lnTo>
                  <a:lnTo>
                    <a:pt x="2998" y="802"/>
                  </a:lnTo>
                  <a:lnTo>
                    <a:pt x="2866" y="749"/>
                  </a:lnTo>
                  <a:lnTo>
                    <a:pt x="2830" y="732"/>
                  </a:lnTo>
                  <a:lnTo>
                    <a:pt x="2786" y="661"/>
                  </a:lnTo>
                  <a:lnTo>
                    <a:pt x="2760" y="582"/>
                  </a:lnTo>
                  <a:lnTo>
                    <a:pt x="2733" y="547"/>
                  </a:lnTo>
                  <a:lnTo>
                    <a:pt x="2672" y="582"/>
                  </a:lnTo>
                  <a:lnTo>
                    <a:pt x="2557" y="714"/>
                  </a:lnTo>
                  <a:lnTo>
                    <a:pt x="2469" y="688"/>
                  </a:lnTo>
                  <a:lnTo>
                    <a:pt x="2381" y="591"/>
                  </a:lnTo>
                  <a:lnTo>
                    <a:pt x="2257" y="520"/>
                  </a:lnTo>
                  <a:lnTo>
                    <a:pt x="2301" y="459"/>
                  </a:lnTo>
                  <a:lnTo>
                    <a:pt x="2390" y="379"/>
                  </a:lnTo>
                  <a:lnTo>
                    <a:pt x="2425" y="335"/>
                  </a:lnTo>
                  <a:lnTo>
                    <a:pt x="2442" y="282"/>
                  </a:lnTo>
                  <a:lnTo>
                    <a:pt x="2460" y="221"/>
                  </a:lnTo>
                  <a:lnTo>
                    <a:pt x="2469" y="159"/>
                  </a:lnTo>
                  <a:lnTo>
                    <a:pt x="2504" y="97"/>
                  </a:lnTo>
                  <a:lnTo>
                    <a:pt x="2416" y="53"/>
                  </a:lnTo>
                  <a:lnTo>
                    <a:pt x="1773"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 name="Google Shape;3090;p54">
              <a:extLst>
                <a:ext uri="{FF2B5EF4-FFF2-40B4-BE49-F238E27FC236}">
                  <a16:creationId xmlns:a16="http://schemas.microsoft.com/office/drawing/2014/main" id="{E8AF313A-DF0E-4CB5-EF64-409F3CF7DDBE}"/>
                </a:ext>
              </a:extLst>
            </p:cNvPr>
            <p:cNvSpPr/>
            <p:nvPr/>
          </p:nvSpPr>
          <p:spPr>
            <a:xfrm>
              <a:off x="7472952" y="1497158"/>
              <a:ext cx="465087" cy="419304"/>
            </a:xfrm>
            <a:custGeom>
              <a:avLst/>
              <a:gdLst/>
              <a:ahLst/>
              <a:cxnLst/>
              <a:rect l="l" t="t" r="r" b="b"/>
              <a:pathLst>
                <a:path w="6542" h="5898" extrusionOk="0">
                  <a:moveTo>
                    <a:pt x="1826" y="1"/>
                  </a:moveTo>
                  <a:lnTo>
                    <a:pt x="1755" y="115"/>
                  </a:lnTo>
                  <a:lnTo>
                    <a:pt x="1491" y="362"/>
                  </a:lnTo>
                  <a:lnTo>
                    <a:pt x="1438" y="388"/>
                  </a:lnTo>
                  <a:lnTo>
                    <a:pt x="1420" y="529"/>
                  </a:lnTo>
                  <a:lnTo>
                    <a:pt x="1376" y="662"/>
                  </a:lnTo>
                  <a:lnTo>
                    <a:pt x="1306" y="767"/>
                  </a:lnTo>
                  <a:lnTo>
                    <a:pt x="1217" y="838"/>
                  </a:lnTo>
                  <a:lnTo>
                    <a:pt x="1156" y="856"/>
                  </a:lnTo>
                  <a:lnTo>
                    <a:pt x="997" y="873"/>
                  </a:lnTo>
                  <a:lnTo>
                    <a:pt x="944" y="891"/>
                  </a:lnTo>
                  <a:lnTo>
                    <a:pt x="847" y="953"/>
                  </a:lnTo>
                  <a:lnTo>
                    <a:pt x="733" y="988"/>
                  </a:lnTo>
                  <a:lnTo>
                    <a:pt x="336" y="1314"/>
                  </a:lnTo>
                  <a:lnTo>
                    <a:pt x="345" y="1340"/>
                  </a:lnTo>
                  <a:lnTo>
                    <a:pt x="468" y="1658"/>
                  </a:lnTo>
                  <a:lnTo>
                    <a:pt x="503" y="1896"/>
                  </a:lnTo>
                  <a:lnTo>
                    <a:pt x="592" y="2107"/>
                  </a:lnTo>
                  <a:lnTo>
                    <a:pt x="680" y="2187"/>
                  </a:lnTo>
                  <a:lnTo>
                    <a:pt x="777" y="2257"/>
                  </a:lnTo>
                  <a:lnTo>
                    <a:pt x="830" y="2354"/>
                  </a:lnTo>
                  <a:lnTo>
                    <a:pt x="874" y="2469"/>
                  </a:lnTo>
                  <a:lnTo>
                    <a:pt x="1059" y="2557"/>
                  </a:lnTo>
                  <a:lnTo>
                    <a:pt x="1200" y="2707"/>
                  </a:lnTo>
                  <a:lnTo>
                    <a:pt x="1068" y="2998"/>
                  </a:lnTo>
                  <a:lnTo>
                    <a:pt x="821" y="3156"/>
                  </a:lnTo>
                  <a:lnTo>
                    <a:pt x="750" y="3289"/>
                  </a:lnTo>
                  <a:lnTo>
                    <a:pt x="706" y="3412"/>
                  </a:lnTo>
                  <a:lnTo>
                    <a:pt x="618" y="3500"/>
                  </a:lnTo>
                  <a:lnTo>
                    <a:pt x="503" y="3562"/>
                  </a:lnTo>
                  <a:lnTo>
                    <a:pt x="63" y="4073"/>
                  </a:lnTo>
                  <a:lnTo>
                    <a:pt x="1" y="4320"/>
                  </a:lnTo>
                  <a:lnTo>
                    <a:pt x="362" y="4531"/>
                  </a:lnTo>
                  <a:lnTo>
                    <a:pt x="935" y="4620"/>
                  </a:lnTo>
                  <a:lnTo>
                    <a:pt x="1103" y="4681"/>
                  </a:lnTo>
                  <a:lnTo>
                    <a:pt x="1138" y="4875"/>
                  </a:lnTo>
                  <a:lnTo>
                    <a:pt x="1015" y="5096"/>
                  </a:lnTo>
                  <a:lnTo>
                    <a:pt x="953" y="5616"/>
                  </a:lnTo>
                  <a:lnTo>
                    <a:pt x="1270" y="5898"/>
                  </a:lnTo>
                  <a:lnTo>
                    <a:pt x="1693" y="5739"/>
                  </a:lnTo>
                  <a:lnTo>
                    <a:pt x="2090" y="5475"/>
                  </a:lnTo>
                  <a:lnTo>
                    <a:pt x="2451" y="5369"/>
                  </a:lnTo>
                  <a:lnTo>
                    <a:pt x="2813" y="5483"/>
                  </a:lnTo>
                  <a:lnTo>
                    <a:pt x="3218" y="5695"/>
                  </a:lnTo>
                  <a:lnTo>
                    <a:pt x="3430" y="5378"/>
                  </a:lnTo>
                  <a:lnTo>
                    <a:pt x="3430" y="5104"/>
                  </a:lnTo>
                  <a:lnTo>
                    <a:pt x="3527" y="4866"/>
                  </a:lnTo>
                  <a:lnTo>
                    <a:pt x="3712" y="4673"/>
                  </a:lnTo>
                  <a:lnTo>
                    <a:pt x="3827" y="4426"/>
                  </a:lnTo>
                  <a:lnTo>
                    <a:pt x="3791" y="4161"/>
                  </a:lnTo>
                  <a:lnTo>
                    <a:pt x="3853" y="3923"/>
                  </a:lnTo>
                  <a:lnTo>
                    <a:pt x="3994" y="3800"/>
                  </a:lnTo>
                  <a:lnTo>
                    <a:pt x="4162" y="3712"/>
                  </a:lnTo>
                  <a:lnTo>
                    <a:pt x="4470" y="3685"/>
                  </a:lnTo>
                  <a:lnTo>
                    <a:pt x="4796" y="3720"/>
                  </a:lnTo>
                  <a:lnTo>
                    <a:pt x="5069" y="3659"/>
                  </a:lnTo>
                  <a:lnTo>
                    <a:pt x="5343" y="3632"/>
                  </a:lnTo>
                  <a:lnTo>
                    <a:pt x="5634" y="3051"/>
                  </a:lnTo>
                  <a:lnTo>
                    <a:pt x="6039" y="2610"/>
                  </a:lnTo>
                  <a:lnTo>
                    <a:pt x="6418" y="2416"/>
                  </a:lnTo>
                  <a:lnTo>
                    <a:pt x="6542" y="1993"/>
                  </a:lnTo>
                  <a:lnTo>
                    <a:pt x="6409" y="1561"/>
                  </a:lnTo>
                  <a:lnTo>
                    <a:pt x="6330" y="1349"/>
                  </a:lnTo>
                  <a:lnTo>
                    <a:pt x="6286" y="1279"/>
                  </a:lnTo>
                  <a:lnTo>
                    <a:pt x="6233" y="1129"/>
                  </a:lnTo>
                  <a:lnTo>
                    <a:pt x="6207" y="873"/>
                  </a:lnTo>
                  <a:lnTo>
                    <a:pt x="6136" y="512"/>
                  </a:lnTo>
                  <a:lnTo>
                    <a:pt x="6074" y="512"/>
                  </a:lnTo>
                  <a:lnTo>
                    <a:pt x="5263" y="194"/>
                  </a:lnTo>
                  <a:lnTo>
                    <a:pt x="5034" y="212"/>
                  </a:lnTo>
                  <a:lnTo>
                    <a:pt x="4920" y="203"/>
                  </a:lnTo>
                  <a:lnTo>
                    <a:pt x="4849" y="124"/>
                  </a:lnTo>
                  <a:lnTo>
                    <a:pt x="4779" y="89"/>
                  </a:lnTo>
                  <a:lnTo>
                    <a:pt x="4708" y="89"/>
                  </a:lnTo>
                  <a:lnTo>
                    <a:pt x="4567" y="124"/>
                  </a:lnTo>
                  <a:lnTo>
                    <a:pt x="4497" y="98"/>
                  </a:lnTo>
                  <a:lnTo>
                    <a:pt x="4435" y="89"/>
                  </a:lnTo>
                  <a:lnTo>
                    <a:pt x="4364" y="98"/>
                  </a:lnTo>
                  <a:lnTo>
                    <a:pt x="4303" y="124"/>
                  </a:lnTo>
                  <a:lnTo>
                    <a:pt x="4135" y="177"/>
                  </a:lnTo>
                  <a:lnTo>
                    <a:pt x="3800" y="53"/>
                  </a:lnTo>
                  <a:lnTo>
                    <a:pt x="3615" y="124"/>
                  </a:lnTo>
                  <a:lnTo>
                    <a:pt x="3553" y="177"/>
                  </a:lnTo>
                  <a:lnTo>
                    <a:pt x="3412" y="388"/>
                  </a:lnTo>
                  <a:lnTo>
                    <a:pt x="3218" y="547"/>
                  </a:lnTo>
                  <a:lnTo>
                    <a:pt x="3174" y="574"/>
                  </a:lnTo>
                  <a:lnTo>
                    <a:pt x="3121" y="547"/>
                  </a:lnTo>
                  <a:lnTo>
                    <a:pt x="2936" y="380"/>
                  </a:lnTo>
                  <a:lnTo>
                    <a:pt x="2875" y="353"/>
                  </a:lnTo>
                  <a:lnTo>
                    <a:pt x="2742" y="336"/>
                  </a:lnTo>
                  <a:lnTo>
                    <a:pt x="2689" y="318"/>
                  </a:lnTo>
                  <a:lnTo>
                    <a:pt x="2663" y="274"/>
                  </a:lnTo>
                  <a:lnTo>
                    <a:pt x="2663" y="230"/>
                  </a:lnTo>
                  <a:lnTo>
                    <a:pt x="2672" y="177"/>
                  </a:lnTo>
                  <a:lnTo>
                    <a:pt x="2663" y="159"/>
                  </a:lnTo>
                  <a:lnTo>
                    <a:pt x="2628" y="159"/>
                  </a:lnTo>
                  <a:lnTo>
                    <a:pt x="2513" y="212"/>
                  </a:lnTo>
                  <a:lnTo>
                    <a:pt x="2372" y="221"/>
                  </a:lnTo>
                  <a:lnTo>
                    <a:pt x="2319" y="212"/>
                  </a:lnTo>
                  <a:lnTo>
                    <a:pt x="182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 name="Google Shape;3091;p54">
              <a:extLst>
                <a:ext uri="{FF2B5EF4-FFF2-40B4-BE49-F238E27FC236}">
                  <a16:creationId xmlns:a16="http://schemas.microsoft.com/office/drawing/2014/main" id="{3CADA41A-F3EF-EA94-D924-42722CEDA994}"/>
                </a:ext>
              </a:extLst>
            </p:cNvPr>
            <p:cNvSpPr/>
            <p:nvPr/>
          </p:nvSpPr>
          <p:spPr>
            <a:xfrm>
              <a:off x="7655382" y="3102767"/>
              <a:ext cx="569664" cy="272711"/>
            </a:xfrm>
            <a:custGeom>
              <a:avLst/>
              <a:gdLst/>
              <a:ahLst/>
              <a:cxnLst/>
              <a:rect l="l" t="t" r="r" b="b"/>
              <a:pathLst>
                <a:path w="8013" h="3836" extrusionOk="0">
                  <a:moveTo>
                    <a:pt x="6594" y="1"/>
                  </a:moveTo>
                  <a:lnTo>
                    <a:pt x="6223" y="203"/>
                  </a:lnTo>
                  <a:lnTo>
                    <a:pt x="6170" y="538"/>
                  </a:lnTo>
                  <a:lnTo>
                    <a:pt x="5888" y="829"/>
                  </a:lnTo>
                  <a:lnTo>
                    <a:pt x="5104" y="750"/>
                  </a:lnTo>
                  <a:lnTo>
                    <a:pt x="4125" y="609"/>
                  </a:lnTo>
                  <a:lnTo>
                    <a:pt x="3182" y="362"/>
                  </a:lnTo>
                  <a:lnTo>
                    <a:pt x="2574" y="344"/>
                  </a:lnTo>
                  <a:lnTo>
                    <a:pt x="2204" y="706"/>
                  </a:lnTo>
                  <a:lnTo>
                    <a:pt x="1287" y="635"/>
                  </a:lnTo>
                  <a:lnTo>
                    <a:pt x="626" y="309"/>
                  </a:lnTo>
                  <a:lnTo>
                    <a:pt x="908" y="1041"/>
                  </a:lnTo>
                  <a:lnTo>
                    <a:pt x="1040" y="1552"/>
                  </a:lnTo>
                  <a:lnTo>
                    <a:pt x="979" y="1940"/>
                  </a:lnTo>
                  <a:lnTo>
                    <a:pt x="635" y="2107"/>
                  </a:lnTo>
                  <a:lnTo>
                    <a:pt x="194" y="2345"/>
                  </a:lnTo>
                  <a:lnTo>
                    <a:pt x="0" y="2566"/>
                  </a:lnTo>
                  <a:lnTo>
                    <a:pt x="79" y="2804"/>
                  </a:lnTo>
                  <a:lnTo>
                    <a:pt x="617" y="2971"/>
                  </a:lnTo>
                  <a:lnTo>
                    <a:pt x="908" y="3218"/>
                  </a:lnTo>
                  <a:lnTo>
                    <a:pt x="996" y="3579"/>
                  </a:lnTo>
                  <a:lnTo>
                    <a:pt x="1525" y="3456"/>
                  </a:lnTo>
                  <a:lnTo>
                    <a:pt x="1728" y="3333"/>
                  </a:lnTo>
                  <a:lnTo>
                    <a:pt x="2072" y="3006"/>
                  </a:lnTo>
                  <a:lnTo>
                    <a:pt x="2310" y="2689"/>
                  </a:lnTo>
                  <a:lnTo>
                    <a:pt x="2371" y="2654"/>
                  </a:lnTo>
                  <a:lnTo>
                    <a:pt x="2459" y="2583"/>
                  </a:lnTo>
                  <a:lnTo>
                    <a:pt x="2512" y="2645"/>
                  </a:lnTo>
                  <a:lnTo>
                    <a:pt x="2521" y="2716"/>
                  </a:lnTo>
                  <a:lnTo>
                    <a:pt x="2512" y="2777"/>
                  </a:lnTo>
                  <a:lnTo>
                    <a:pt x="2512" y="2795"/>
                  </a:lnTo>
                  <a:lnTo>
                    <a:pt x="2574" y="2813"/>
                  </a:lnTo>
                  <a:lnTo>
                    <a:pt x="2715" y="2874"/>
                  </a:lnTo>
                  <a:lnTo>
                    <a:pt x="2741" y="2865"/>
                  </a:lnTo>
                  <a:lnTo>
                    <a:pt x="2777" y="2830"/>
                  </a:lnTo>
                  <a:lnTo>
                    <a:pt x="2803" y="2813"/>
                  </a:lnTo>
                  <a:lnTo>
                    <a:pt x="2838" y="2813"/>
                  </a:lnTo>
                  <a:lnTo>
                    <a:pt x="2856" y="2848"/>
                  </a:lnTo>
                  <a:lnTo>
                    <a:pt x="2874" y="2910"/>
                  </a:lnTo>
                  <a:lnTo>
                    <a:pt x="2900" y="2936"/>
                  </a:lnTo>
                  <a:lnTo>
                    <a:pt x="3059" y="3068"/>
                  </a:lnTo>
                  <a:lnTo>
                    <a:pt x="3085" y="3077"/>
                  </a:lnTo>
                  <a:lnTo>
                    <a:pt x="3121" y="3156"/>
                  </a:lnTo>
                  <a:lnTo>
                    <a:pt x="3032" y="3483"/>
                  </a:lnTo>
                  <a:lnTo>
                    <a:pt x="3085" y="3553"/>
                  </a:lnTo>
                  <a:lnTo>
                    <a:pt x="3121" y="3588"/>
                  </a:lnTo>
                  <a:lnTo>
                    <a:pt x="3129" y="3668"/>
                  </a:lnTo>
                  <a:lnTo>
                    <a:pt x="3138" y="3835"/>
                  </a:lnTo>
                  <a:lnTo>
                    <a:pt x="3341" y="3809"/>
                  </a:lnTo>
                  <a:lnTo>
                    <a:pt x="3605" y="3721"/>
                  </a:lnTo>
                  <a:lnTo>
                    <a:pt x="4011" y="3659"/>
                  </a:lnTo>
                  <a:lnTo>
                    <a:pt x="4081" y="3624"/>
                  </a:lnTo>
                  <a:lnTo>
                    <a:pt x="4099" y="3588"/>
                  </a:lnTo>
                  <a:lnTo>
                    <a:pt x="4152" y="3430"/>
                  </a:lnTo>
                  <a:lnTo>
                    <a:pt x="4734" y="2583"/>
                  </a:lnTo>
                  <a:lnTo>
                    <a:pt x="4751" y="2539"/>
                  </a:lnTo>
                  <a:lnTo>
                    <a:pt x="4760" y="2495"/>
                  </a:lnTo>
                  <a:lnTo>
                    <a:pt x="4769" y="2451"/>
                  </a:lnTo>
                  <a:lnTo>
                    <a:pt x="4795" y="2407"/>
                  </a:lnTo>
                  <a:lnTo>
                    <a:pt x="4831" y="2389"/>
                  </a:lnTo>
                  <a:lnTo>
                    <a:pt x="5060" y="2292"/>
                  </a:lnTo>
                  <a:lnTo>
                    <a:pt x="5157" y="2292"/>
                  </a:lnTo>
                  <a:lnTo>
                    <a:pt x="5192" y="2328"/>
                  </a:lnTo>
                  <a:lnTo>
                    <a:pt x="5218" y="2425"/>
                  </a:lnTo>
                  <a:lnTo>
                    <a:pt x="5254" y="2460"/>
                  </a:lnTo>
                  <a:lnTo>
                    <a:pt x="5642" y="2583"/>
                  </a:lnTo>
                  <a:lnTo>
                    <a:pt x="5827" y="2610"/>
                  </a:lnTo>
                  <a:lnTo>
                    <a:pt x="6021" y="2548"/>
                  </a:lnTo>
                  <a:lnTo>
                    <a:pt x="6144" y="2451"/>
                  </a:lnTo>
                  <a:lnTo>
                    <a:pt x="6320" y="2381"/>
                  </a:lnTo>
                  <a:lnTo>
                    <a:pt x="6505" y="2328"/>
                  </a:lnTo>
                  <a:lnTo>
                    <a:pt x="6646" y="2319"/>
                  </a:lnTo>
                  <a:lnTo>
                    <a:pt x="6735" y="2337"/>
                  </a:lnTo>
                  <a:lnTo>
                    <a:pt x="7343" y="2672"/>
                  </a:lnTo>
                  <a:lnTo>
                    <a:pt x="7369" y="2680"/>
                  </a:lnTo>
                  <a:lnTo>
                    <a:pt x="7449" y="2680"/>
                  </a:lnTo>
                  <a:lnTo>
                    <a:pt x="7493" y="2636"/>
                  </a:lnTo>
                  <a:lnTo>
                    <a:pt x="7537" y="2610"/>
                  </a:lnTo>
                  <a:lnTo>
                    <a:pt x="7625" y="2601"/>
                  </a:lnTo>
                  <a:lnTo>
                    <a:pt x="7678" y="2610"/>
                  </a:lnTo>
                  <a:lnTo>
                    <a:pt x="7801" y="2707"/>
                  </a:lnTo>
                  <a:lnTo>
                    <a:pt x="7863" y="2583"/>
                  </a:lnTo>
                  <a:lnTo>
                    <a:pt x="7978" y="2275"/>
                  </a:lnTo>
                  <a:lnTo>
                    <a:pt x="8013" y="1764"/>
                  </a:lnTo>
                  <a:lnTo>
                    <a:pt x="7863" y="1385"/>
                  </a:lnTo>
                  <a:lnTo>
                    <a:pt x="7784" y="1067"/>
                  </a:lnTo>
                  <a:lnTo>
                    <a:pt x="7881" y="732"/>
                  </a:lnTo>
                  <a:lnTo>
                    <a:pt x="7916" y="195"/>
                  </a:lnTo>
                  <a:lnTo>
                    <a:pt x="7687" y="230"/>
                  </a:lnTo>
                  <a:lnTo>
                    <a:pt x="7466" y="230"/>
                  </a:lnTo>
                  <a:lnTo>
                    <a:pt x="7343" y="203"/>
                  </a:lnTo>
                  <a:lnTo>
                    <a:pt x="6990" y="53"/>
                  </a:lnTo>
                  <a:lnTo>
                    <a:pt x="6594"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 name="Google Shape;3092;p54">
              <a:extLst>
                <a:ext uri="{FF2B5EF4-FFF2-40B4-BE49-F238E27FC236}">
                  <a16:creationId xmlns:a16="http://schemas.microsoft.com/office/drawing/2014/main" id="{CBC7A6EF-A7DA-2C4D-8F3C-7A33CCB15817}"/>
                </a:ext>
              </a:extLst>
            </p:cNvPr>
            <p:cNvSpPr/>
            <p:nvPr/>
          </p:nvSpPr>
          <p:spPr>
            <a:xfrm>
              <a:off x="8208714" y="3041341"/>
              <a:ext cx="475751" cy="392359"/>
            </a:xfrm>
            <a:custGeom>
              <a:avLst/>
              <a:gdLst/>
              <a:ahLst/>
              <a:cxnLst/>
              <a:rect l="l" t="t" r="r" b="b"/>
              <a:pathLst>
                <a:path w="6692" h="5519" extrusionOk="0">
                  <a:moveTo>
                    <a:pt x="3518" y="1"/>
                  </a:moveTo>
                  <a:lnTo>
                    <a:pt x="3183" y="71"/>
                  </a:lnTo>
                  <a:lnTo>
                    <a:pt x="2989" y="406"/>
                  </a:lnTo>
                  <a:lnTo>
                    <a:pt x="2874" y="724"/>
                  </a:lnTo>
                  <a:lnTo>
                    <a:pt x="2619" y="873"/>
                  </a:lnTo>
                  <a:lnTo>
                    <a:pt x="2319" y="935"/>
                  </a:lnTo>
                  <a:lnTo>
                    <a:pt x="2019" y="935"/>
                  </a:lnTo>
                  <a:lnTo>
                    <a:pt x="1825" y="856"/>
                  </a:lnTo>
                  <a:lnTo>
                    <a:pt x="1631" y="829"/>
                  </a:lnTo>
                  <a:lnTo>
                    <a:pt x="1499" y="882"/>
                  </a:lnTo>
                  <a:lnTo>
                    <a:pt x="1376" y="953"/>
                  </a:lnTo>
                  <a:lnTo>
                    <a:pt x="750" y="1050"/>
                  </a:lnTo>
                  <a:lnTo>
                    <a:pt x="133" y="1059"/>
                  </a:lnTo>
                  <a:lnTo>
                    <a:pt x="98" y="1596"/>
                  </a:lnTo>
                  <a:lnTo>
                    <a:pt x="1" y="1931"/>
                  </a:lnTo>
                  <a:lnTo>
                    <a:pt x="80" y="2249"/>
                  </a:lnTo>
                  <a:lnTo>
                    <a:pt x="230" y="2628"/>
                  </a:lnTo>
                  <a:lnTo>
                    <a:pt x="195" y="3139"/>
                  </a:lnTo>
                  <a:lnTo>
                    <a:pt x="80" y="3447"/>
                  </a:lnTo>
                  <a:lnTo>
                    <a:pt x="18" y="3571"/>
                  </a:lnTo>
                  <a:lnTo>
                    <a:pt x="80" y="3624"/>
                  </a:lnTo>
                  <a:lnTo>
                    <a:pt x="265" y="3712"/>
                  </a:lnTo>
                  <a:lnTo>
                    <a:pt x="485" y="3897"/>
                  </a:lnTo>
                  <a:lnTo>
                    <a:pt x="556" y="3923"/>
                  </a:lnTo>
                  <a:lnTo>
                    <a:pt x="618" y="3915"/>
                  </a:lnTo>
                  <a:lnTo>
                    <a:pt x="732" y="3870"/>
                  </a:lnTo>
                  <a:lnTo>
                    <a:pt x="794" y="3862"/>
                  </a:lnTo>
                  <a:lnTo>
                    <a:pt x="856" y="3870"/>
                  </a:lnTo>
                  <a:lnTo>
                    <a:pt x="891" y="3897"/>
                  </a:lnTo>
                  <a:lnTo>
                    <a:pt x="970" y="3959"/>
                  </a:lnTo>
                  <a:lnTo>
                    <a:pt x="1094" y="4003"/>
                  </a:lnTo>
                  <a:lnTo>
                    <a:pt x="1199" y="4020"/>
                  </a:lnTo>
                  <a:lnTo>
                    <a:pt x="1675" y="3985"/>
                  </a:lnTo>
                  <a:lnTo>
                    <a:pt x="1799" y="3994"/>
                  </a:lnTo>
                  <a:lnTo>
                    <a:pt x="1913" y="4029"/>
                  </a:lnTo>
                  <a:lnTo>
                    <a:pt x="1958" y="4056"/>
                  </a:lnTo>
                  <a:lnTo>
                    <a:pt x="2054" y="4153"/>
                  </a:lnTo>
                  <a:lnTo>
                    <a:pt x="2090" y="4179"/>
                  </a:lnTo>
                  <a:lnTo>
                    <a:pt x="2151" y="4161"/>
                  </a:lnTo>
                  <a:lnTo>
                    <a:pt x="2231" y="4073"/>
                  </a:lnTo>
                  <a:lnTo>
                    <a:pt x="2478" y="4029"/>
                  </a:lnTo>
                  <a:lnTo>
                    <a:pt x="2619" y="3870"/>
                  </a:lnTo>
                  <a:lnTo>
                    <a:pt x="2760" y="3668"/>
                  </a:lnTo>
                  <a:lnTo>
                    <a:pt x="2927" y="3518"/>
                  </a:lnTo>
                  <a:lnTo>
                    <a:pt x="3139" y="3491"/>
                  </a:lnTo>
                  <a:lnTo>
                    <a:pt x="3297" y="3518"/>
                  </a:lnTo>
                  <a:lnTo>
                    <a:pt x="3386" y="3527"/>
                  </a:lnTo>
                  <a:lnTo>
                    <a:pt x="3826" y="3712"/>
                  </a:lnTo>
                  <a:lnTo>
                    <a:pt x="3932" y="3782"/>
                  </a:lnTo>
                  <a:lnTo>
                    <a:pt x="4011" y="3862"/>
                  </a:lnTo>
                  <a:lnTo>
                    <a:pt x="4064" y="3959"/>
                  </a:lnTo>
                  <a:lnTo>
                    <a:pt x="4100" y="4100"/>
                  </a:lnTo>
                  <a:lnTo>
                    <a:pt x="4126" y="4223"/>
                  </a:lnTo>
                  <a:lnTo>
                    <a:pt x="4135" y="4294"/>
                  </a:lnTo>
                  <a:lnTo>
                    <a:pt x="4126" y="4355"/>
                  </a:lnTo>
                  <a:lnTo>
                    <a:pt x="4091" y="4417"/>
                  </a:lnTo>
                  <a:lnTo>
                    <a:pt x="4038" y="4443"/>
                  </a:lnTo>
                  <a:lnTo>
                    <a:pt x="3985" y="4452"/>
                  </a:lnTo>
                  <a:lnTo>
                    <a:pt x="3932" y="4488"/>
                  </a:lnTo>
                  <a:lnTo>
                    <a:pt x="3853" y="4585"/>
                  </a:lnTo>
                  <a:lnTo>
                    <a:pt x="3809" y="4708"/>
                  </a:lnTo>
                  <a:lnTo>
                    <a:pt x="3809" y="4831"/>
                  </a:lnTo>
                  <a:lnTo>
                    <a:pt x="3844" y="4955"/>
                  </a:lnTo>
                  <a:lnTo>
                    <a:pt x="4029" y="5378"/>
                  </a:lnTo>
                  <a:lnTo>
                    <a:pt x="4064" y="5431"/>
                  </a:lnTo>
                  <a:lnTo>
                    <a:pt x="4100" y="5466"/>
                  </a:lnTo>
                  <a:lnTo>
                    <a:pt x="4293" y="5519"/>
                  </a:lnTo>
                  <a:lnTo>
                    <a:pt x="4355" y="5510"/>
                  </a:lnTo>
                  <a:lnTo>
                    <a:pt x="4399" y="5475"/>
                  </a:lnTo>
                  <a:lnTo>
                    <a:pt x="4443" y="5378"/>
                  </a:lnTo>
                  <a:lnTo>
                    <a:pt x="4514" y="5246"/>
                  </a:lnTo>
                  <a:lnTo>
                    <a:pt x="4531" y="5157"/>
                  </a:lnTo>
                  <a:lnTo>
                    <a:pt x="4567" y="5096"/>
                  </a:lnTo>
                  <a:lnTo>
                    <a:pt x="4963" y="4964"/>
                  </a:lnTo>
                  <a:lnTo>
                    <a:pt x="5078" y="4893"/>
                  </a:lnTo>
                  <a:lnTo>
                    <a:pt x="5193" y="4805"/>
                  </a:lnTo>
                  <a:lnTo>
                    <a:pt x="5307" y="4664"/>
                  </a:lnTo>
                  <a:lnTo>
                    <a:pt x="5475" y="4505"/>
                  </a:lnTo>
                  <a:lnTo>
                    <a:pt x="5660" y="4373"/>
                  </a:lnTo>
                  <a:lnTo>
                    <a:pt x="5801" y="4302"/>
                  </a:lnTo>
                  <a:lnTo>
                    <a:pt x="5889" y="4302"/>
                  </a:lnTo>
                  <a:lnTo>
                    <a:pt x="6374" y="4364"/>
                  </a:lnTo>
                  <a:lnTo>
                    <a:pt x="6471" y="4417"/>
                  </a:lnTo>
                  <a:lnTo>
                    <a:pt x="6524" y="4514"/>
                  </a:lnTo>
                  <a:lnTo>
                    <a:pt x="6559" y="4399"/>
                  </a:lnTo>
                  <a:lnTo>
                    <a:pt x="6524" y="4302"/>
                  </a:lnTo>
                  <a:lnTo>
                    <a:pt x="6488" y="4205"/>
                  </a:lnTo>
                  <a:lnTo>
                    <a:pt x="6471" y="4091"/>
                  </a:lnTo>
                  <a:lnTo>
                    <a:pt x="6506" y="3985"/>
                  </a:lnTo>
                  <a:lnTo>
                    <a:pt x="6559" y="3932"/>
                  </a:lnTo>
                  <a:lnTo>
                    <a:pt x="6621" y="3897"/>
                  </a:lnTo>
                  <a:lnTo>
                    <a:pt x="6673" y="3826"/>
                  </a:lnTo>
                  <a:lnTo>
                    <a:pt x="6691" y="3632"/>
                  </a:lnTo>
                  <a:lnTo>
                    <a:pt x="6585" y="3509"/>
                  </a:lnTo>
                  <a:lnTo>
                    <a:pt x="6321" y="3342"/>
                  </a:lnTo>
                  <a:lnTo>
                    <a:pt x="6286" y="3262"/>
                  </a:lnTo>
                  <a:lnTo>
                    <a:pt x="6250" y="3183"/>
                  </a:lnTo>
                  <a:lnTo>
                    <a:pt x="6215" y="3130"/>
                  </a:lnTo>
                  <a:lnTo>
                    <a:pt x="6039" y="3156"/>
                  </a:lnTo>
                  <a:lnTo>
                    <a:pt x="6004" y="3104"/>
                  </a:lnTo>
                  <a:lnTo>
                    <a:pt x="5933" y="2936"/>
                  </a:lnTo>
                  <a:lnTo>
                    <a:pt x="5863" y="2883"/>
                  </a:lnTo>
                  <a:lnTo>
                    <a:pt x="5686" y="2866"/>
                  </a:lnTo>
                  <a:lnTo>
                    <a:pt x="5625" y="2830"/>
                  </a:lnTo>
                  <a:lnTo>
                    <a:pt x="5598" y="2733"/>
                  </a:lnTo>
                  <a:lnTo>
                    <a:pt x="5660" y="2557"/>
                  </a:lnTo>
                  <a:lnTo>
                    <a:pt x="5642" y="2460"/>
                  </a:lnTo>
                  <a:lnTo>
                    <a:pt x="5616" y="2346"/>
                  </a:lnTo>
                  <a:lnTo>
                    <a:pt x="5625" y="2196"/>
                  </a:lnTo>
                  <a:lnTo>
                    <a:pt x="5660" y="2055"/>
                  </a:lnTo>
                  <a:lnTo>
                    <a:pt x="5695" y="1931"/>
                  </a:lnTo>
                  <a:lnTo>
                    <a:pt x="5677" y="1834"/>
                  </a:lnTo>
                  <a:lnTo>
                    <a:pt x="5580" y="1755"/>
                  </a:lnTo>
                  <a:lnTo>
                    <a:pt x="5483" y="1649"/>
                  </a:lnTo>
                  <a:lnTo>
                    <a:pt x="5501" y="1473"/>
                  </a:lnTo>
                  <a:lnTo>
                    <a:pt x="5545" y="1420"/>
                  </a:lnTo>
                  <a:lnTo>
                    <a:pt x="5704" y="1288"/>
                  </a:lnTo>
                  <a:lnTo>
                    <a:pt x="5748" y="1217"/>
                  </a:lnTo>
                  <a:lnTo>
                    <a:pt x="5739" y="1155"/>
                  </a:lnTo>
                  <a:lnTo>
                    <a:pt x="5572" y="953"/>
                  </a:lnTo>
                  <a:lnTo>
                    <a:pt x="5457" y="847"/>
                  </a:lnTo>
                  <a:lnTo>
                    <a:pt x="5325" y="785"/>
                  </a:lnTo>
                  <a:lnTo>
                    <a:pt x="5193" y="803"/>
                  </a:lnTo>
                  <a:lnTo>
                    <a:pt x="5140" y="838"/>
                  </a:lnTo>
                  <a:lnTo>
                    <a:pt x="5060" y="865"/>
                  </a:lnTo>
                  <a:lnTo>
                    <a:pt x="4999" y="856"/>
                  </a:lnTo>
                  <a:lnTo>
                    <a:pt x="4963" y="794"/>
                  </a:lnTo>
                  <a:lnTo>
                    <a:pt x="4963" y="759"/>
                  </a:lnTo>
                  <a:lnTo>
                    <a:pt x="4990" y="662"/>
                  </a:lnTo>
                  <a:lnTo>
                    <a:pt x="4981" y="635"/>
                  </a:lnTo>
                  <a:lnTo>
                    <a:pt x="4946" y="609"/>
                  </a:lnTo>
                  <a:lnTo>
                    <a:pt x="4919" y="609"/>
                  </a:lnTo>
                  <a:lnTo>
                    <a:pt x="4884" y="627"/>
                  </a:lnTo>
                  <a:lnTo>
                    <a:pt x="4849" y="609"/>
                  </a:lnTo>
                  <a:lnTo>
                    <a:pt x="4796" y="547"/>
                  </a:lnTo>
                  <a:lnTo>
                    <a:pt x="4769" y="468"/>
                  </a:lnTo>
                  <a:lnTo>
                    <a:pt x="4752" y="406"/>
                  </a:lnTo>
                  <a:lnTo>
                    <a:pt x="4725" y="353"/>
                  </a:lnTo>
                  <a:lnTo>
                    <a:pt x="4681" y="318"/>
                  </a:lnTo>
                  <a:lnTo>
                    <a:pt x="4514" y="230"/>
                  </a:lnTo>
                  <a:lnTo>
                    <a:pt x="4452" y="221"/>
                  </a:lnTo>
                  <a:lnTo>
                    <a:pt x="4152" y="256"/>
                  </a:lnTo>
                  <a:lnTo>
                    <a:pt x="3994" y="230"/>
                  </a:lnTo>
                  <a:lnTo>
                    <a:pt x="3914" y="98"/>
                  </a:lnTo>
                  <a:lnTo>
                    <a:pt x="3923" y="54"/>
                  </a:lnTo>
                  <a:lnTo>
                    <a:pt x="3518"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3093;p54">
              <a:extLst>
                <a:ext uri="{FF2B5EF4-FFF2-40B4-BE49-F238E27FC236}">
                  <a16:creationId xmlns:a16="http://schemas.microsoft.com/office/drawing/2014/main" id="{98B450B2-A52B-1CE5-CBD4-6526760ADD5A}"/>
                </a:ext>
              </a:extLst>
            </p:cNvPr>
            <p:cNvSpPr/>
            <p:nvPr/>
          </p:nvSpPr>
          <p:spPr>
            <a:xfrm>
              <a:off x="8195561" y="2108859"/>
              <a:ext cx="490751" cy="207448"/>
            </a:xfrm>
            <a:custGeom>
              <a:avLst/>
              <a:gdLst/>
              <a:ahLst/>
              <a:cxnLst/>
              <a:rect l="l" t="t" r="r" b="b"/>
              <a:pathLst>
                <a:path w="6903" h="2918" extrusionOk="0">
                  <a:moveTo>
                    <a:pt x="1605" y="0"/>
                  </a:moveTo>
                  <a:lnTo>
                    <a:pt x="997" y="220"/>
                  </a:lnTo>
                  <a:lnTo>
                    <a:pt x="415" y="309"/>
                  </a:lnTo>
                  <a:lnTo>
                    <a:pt x="177" y="423"/>
                  </a:lnTo>
                  <a:lnTo>
                    <a:pt x="177" y="652"/>
                  </a:lnTo>
                  <a:lnTo>
                    <a:pt x="0" y="855"/>
                  </a:lnTo>
                  <a:lnTo>
                    <a:pt x="97" y="1199"/>
                  </a:lnTo>
                  <a:lnTo>
                    <a:pt x="80" y="1481"/>
                  </a:lnTo>
                  <a:lnTo>
                    <a:pt x="80" y="1631"/>
                  </a:lnTo>
                  <a:lnTo>
                    <a:pt x="142" y="1851"/>
                  </a:lnTo>
                  <a:lnTo>
                    <a:pt x="221" y="1922"/>
                  </a:lnTo>
                  <a:lnTo>
                    <a:pt x="380" y="1983"/>
                  </a:lnTo>
                  <a:lnTo>
                    <a:pt x="670" y="1772"/>
                  </a:lnTo>
                  <a:lnTo>
                    <a:pt x="988" y="1648"/>
                  </a:lnTo>
                  <a:lnTo>
                    <a:pt x="1138" y="1675"/>
                  </a:lnTo>
                  <a:lnTo>
                    <a:pt x="1199" y="1728"/>
                  </a:lnTo>
                  <a:lnTo>
                    <a:pt x="1349" y="1798"/>
                  </a:lnTo>
                  <a:lnTo>
                    <a:pt x="1446" y="1798"/>
                  </a:lnTo>
                  <a:lnTo>
                    <a:pt x="1596" y="1904"/>
                  </a:lnTo>
                  <a:lnTo>
                    <a:pt x="1702" y="2133"/>
                  </a:lnTo>
                  <a:lnTo>
                    <a:pt x="1843" y="2310"/>
                  </a:lnTo>
                  <a:lnTo>
                    <a:pt x="2257" y="2512"/>
                  </a:lnTo>
                  <a:lnTo>
                    <a:pt x="2548" y="2574"/>
                  </a:lnTo>
                  <a:lnTo>
                    <a:pt x="2583" y="2662"/>
                  </a:lnTo>
                  <a:lnTo>
                    <a:pt x="2610" y="2750"/>
                  </a:lnTo>
                  <a:lnTo>
                    <a:pt x="3033" y="2821"/>
                  </a:lnTo>
                  <a:lnTo>
                    <a:pt x="3500" y="2768"/>
                  </a:lnTo>
                  <a:lnTo>
                    <a:pt x="3844" y="2874"/>
                  </a:lnTo>
                  <a:lnTo>
                    <a:pt x="4196" y="2918"/>
                  </a:lnTo>
                  <a:lnTo>
                    <a:pt x="5025" y="2724"/>
                  </a:lnTo>
                  <a:lnTo>
                    <a:pt x="5210" y="2768"/>
                  </a:lnTo>
                  <a:lnTo>
                    <a:pt x="5281" y="2830"/>
                  </a:lnTo>
                  <a:lnTo>
                    <a:pt x="5289" y="2759"/>
                  </a:lnTo>
                  <a:lnTo>
                    <a:pt x="5272" y="2556"/>
                  </a:lnTo>
                  <a:lnTo>
                    <a:pt x="5289" y="2495"/>
                  </a:lnTo>
                  <a:lnTo>
                    <a:pt x="5783" y="2080"/>
                  </a:lnTo>
                  <a:lnTo>
                    <a:pt x="5898" y="2054"/>
                  </a:lnTo>
                  <a:lnTo>
                    <a:pt x="5968" y="2098"/>
                  </a:lnTo>
                  <a:lnTo>
                    <a:pt x="6092" y="2292"/>
                  </a:lnTo>
                  <a:lnTo>
                    <a:pt x="6162" y="2362"/>
                  </a:lnTo>
                  <a:lnTo>
                    <a:pt x="6435" y="2495"/>
                  </a:lnTo>
                  <a:lnTo>
                    <a:pt x="6524" y="2574"/>
                  </a:lnTo>
                  <a:lnTo>
                    <a:pt x="6903" y="2847"/>
                  </a:lnTo>
                  <a:lnTo>
                    <a:pt x="6850" y="2768"/>
                  </a:lnTo>
                  <a:lnTo>
                    <a:pt x="6797" y="2539"/>
                  </a:lnTo>
                  <a:lnTo>
                    <a:pt x="6753" y="2468"/>
                  </a:lnTo>
                  <a:lnTo>
                    <a:pt x="6682" y="2345"/>
                  </a:lnTo>
                  <a:lnTo>
                    <a:pt x="6391" y="1966"/>
                  </a:lnTo>
                  <a:lnTo>
                    <a:pt x="6365" y="1922"/>
                  </a:lnTo>
                  <a:lnTo>
                    <a:pt x="6347" y="1904"/>
                  </a:lnTo>
                  <a:lnTo>
                    <a:pt x="6321" y="1895"/>
                  </a:lnTo>
                  <a:lnTo>
                    <a:pt x="6277" y="1904"/>
                  </a:lnTo>
                  <a:lnTo>
                    <a:pt x="6250" y="1904"/>
                  </a:lnTo>
                  <a:lnTo>
                    <a:pt x="6162" y="1851"/>
                  </a:lnTo>
                  <a:lnTo>
                    <a:pt x="5995" y="1657"/>
                  </a:lnTo>
                  <a:lnTo>
                    <a:pt x="5933" y="1692"/>
                  </a:lnTo>
                  <a:lnTo>
                    <a:pt x="5915" y="1657"/>
                  </a:lnTo>
                  <a:lnTo>
                    <a:pt x="5915" y="1587"/>
                  </a:lnTo>
                  <a:lnTo>
                    <a:pt x="5898" y="1525"/>
                  </a:lnTo>
                  <a:lnTo>
                    <a:pt x="5827" y="1481"/>
                  </a:lnTo>
                  <a:lnTo>
                    <a:pt x="5792" y="1437"/>
                  </a:lnTo>
                  <a:lnTo>
                    <a:pt x="5774" y="1384"/>
                  </a:lnTo>
                  <a:lnTo>
                    <a:pt x="5757" y="1296"/>
                  </a:lnTo>
                  <a:lnTo>
                    <a:pt x="5704" y="1208"/>
                  </a:lnTo>
                  <a:lnTo>
                    <a:pt x="5580" y="1075"/>
                  </a:lnTo>
                  <a:lnTo>
                    <a:pt x="5316" y="837"/>
                  </a:lnTo>
                  <a:lnTo>
                    <a:pt x="4928" y="608"/>
                  </a:lnTo>
                  <a:lnTo>
                    <a:pt x="4672" y="458"/>
                  </a:lnTo>
                  <a:lnTo>
                    <a:pt x="4496" y="405"/>
                  </a:lnTo>
                  <a:lnTo>
                    <a:pt x="4346" y="405"/>
                  </a:lnTo>
                  <a:lnTo>
                    <a:pt x="4064" y="485"/>
                  </a:lnTo>
                  <a:lnTo>
                    <a:pt x="3932" y="502"/>
                  </a:lnTo>
                  <a:lnTo>
                    <a:pt x="3835" y="529"/>
                  </a:lnTo>
                  <a:lnTo>
                    <a:pt x="3791" y="538"/>
                  </a:lnTo>
                  <a:lnTo>
                    <a:pt x="3747" y="520"/>
                  </a:lnTo>
                  <a:lnTo>
                    <a:pt x="3685" y="467"/>
                  </a:lnTo>
                  <a:lnTo>
                    <a:pt x="3641" y="450"/>
                  </a:lnTo>
                  <a:lnTo>
                    <a:pt x="3544" y="476"/>
                  </a:lnTo>
                  <a:lnTo>
                    <a:pt x="3385" y="591"/>
                  </a:lnTo>
                  <a:lnTo>
                    <a:pt x="3306" y="617"/>
                  </a:lnTo>
                  <a:lnTo>
                    <a:pt x="2751" y="520"/>
                  </a:lnTo>
                  <a:lnTo>
                    <a:pt x="2248" y="238"/>
                  </a:lnTo>
                  <a:lnTo>
                    <a:pt x="1816" y="123"/>
                  </a:lnTo>
                  <a:lnTo>
                    <a:pt x="1605"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3094;p54">
              <a:extLst>
                <a:ext uri="{FF2B5EF4-FFF2-40B4-BE49-F238E27FC236}">
                  <a16:creationId xmlns:a16="http://schemas.microsoft.com/office/drawing/2014/main" id="{176FCDA6-69B6-5E1B-C574-C4684BB76818}"/>
                </a:ext>
              </a:extLst>
            </p:cNvPr>
            <p:cNvSpPr/>
            <p:nvPr/>
          </p:nvSpPr>
          <p:spPr>
            <a:xfrm>
              <a:off x="7850253" y="2160829"/>
              <a:ext cx="720736" cy="421863"/>
            </a:xfrm>
            <a:custGeom>
              <a:avLst/>
              <a:gdLst/>
              <a:ahLst/>
              <a:cxnLst/>
              <a:rect l="l" t="t" r="r" b="b"/>
              <a:pathLst>
                <a:path w="10138" h="5934" extrusionOk="0">
                  <a:moveTo>
                    <a:pt x="3676" y="1"/>
                  </a:moveTo>
                  <a:lnTo>
                    <a:pt x="2248" y="406"/>
                  </a:lnTo>
                  <a:lnTo>
                    <a:pt x="1349" y="230"/>
                  </a:lnTo>
                  <a:lnTo>
                    <a:pt x="1226" y="380"/>
                  </a:lnTo>
                  <a:lnTo>
                    <a:pt x="1076" y="468"/>
                  </a:lnTo>
                  <a:lnTo>
                    <a:pt x="952" y="459"/>
                  </a:lnTo>
                  <a:lnTo>
                    <a:pt x="891" y="477"/>
                  </a:lnTo>
                  <a:lnTo>
                    <a:pt x="776" y="521"/>
                  </a:lnTo>
                  <a:lnTo>
                    <a:pt x="679" y="662"/>
                  </a:lnTo>
                  <a:lnTo>
                    <a:pt x="512" y="723"/>
                  </a:lnTo>
                  <a:lnTo>
                    <a:pt x="159" y="662"/>
                  </a:lnTo>
                  <a:lnTo>
                    <a:pt x="0" y="732"/>
                  </a:lnTo>
                  <a:lnTo>
                    <a:pt x="380" y="1199"/>
                  </a:lnTo>
                  <a:lnTo>
                    <a:pt x="1032" y="1464"/>
                  </a:lnTo>
                  <a:lnTo>
                    <a:pt x="970" y="1508"/>
                  </a:lnTo>
                  <a:lnTo>
                    <a:pt x="926" y="1667"/>
                  </a:lnTo>
                  <a:lnTo>
                    <a:pt x="935" y="2486"/>
                  </a:lnTo>
                  <a:lnTo>
                    <a:pt x="891" y="2769"/>
                  </a:lnTo>
                  <a:lnTo>
                    <a:pt x="741" y="3007"/>
                  </a:lnTo>
                  <a:lnTo>
                    <a:pt x="864" y="3386"/>
                  </a:lnTo>
                  <a:lnTo>
                    <a:pt x="1058" y="3721"/>
                  </a:lnTo>
                  <a:lnTo>
                    <a:pt x="1208" y="3853"/>
                  </a:lnTo>
                  <a:lnTo>
                    <a:pt x="1349" y="4020"/>
                  </a:lnTo>
                  <a:lnTo>
                    <a:pt x="1429" y="4179"/>
                  </a:lnTo>
                  <a:lnTo>
                    <a:pt x="1552" y="4294"/>
                  </a:lnTo>
                  <a:lnTo>
                    <a:pt x="1711" y="4540"/>
                  </a:lnTo>
                  <a:lnTo>
                    <a:pt x="1693" y="4928"/>
                  </a:lnTo>
                  <a:lnTo>
                    <a:pt x="1719" y="5008"/>
                  </a:lnTo>
                  <a:lnTo>
                    <a:pt x="1719" y="5105"/>
                  </a:lnTo>
                  <a:lnTo>
                    <a:pt x="1667" y="5334"/>
                  </a:lnTo>
                  <a:lnTo>
                    <a:pt x="1631" y="5633"/>
                  </a:lnTo>
                  <a:lnTo>
                    <a:pt x="1649" y="5933"/>
                  </a:lnTo>
                  <a:lnTo>
                    <a:pt x="1852" y="5810"/>
                  </a:lnTo>
                  <a:lnTo>
                    <a:pt x="2072" y="5739"/>
                  </a:lnTo>
                  <a:lnTo>
                    <a:pt x="2239" y="5642"/>
                  </a:lnTo>
                  <a:lnTo>
                    <a:pt x="2389" y="5519"/>
                  </a:lnTo>
                  <a:lnTo>
                    <a:pt x="3244" y="5325"/>
                  </a:lnTo>
                  <a:lnTo>
                    <a:pt x="3791" y="5105"/>
                  </a:lnTo>
                  <a:lnTo>
                    <a:pt x="3897" y="4981"/>
                  </a:lnTo>
                  <a:lnTo>
                    <a:pt x="3914" y="4778"/>
                  </a:lnTo>
                  <a:lnTo>
                    <a:pt x="3941" y="4567"/>
                  </a:lnTo>
                  <a:lnTo>
                    <a:pt x="3905" y="4382"/>
                  </a:lnTo>
                  <a:lnTo>
                    <a:pt x="3729" y="4311"/>
                  </a:lnTo>
                  <a:lnTo>
                    <a:pt x="3553" y="4205"/>
                  </a:lnTo>
                  <a:lnTo>
                    <a:pt x="3588" y="4029"/>
                  </a:lnTo>
                  <a:lnTo>
                    <a:pt x="3703" y="3985"/>
                  </a:lnTo>
                  <a:lnTo>
                    <a:pt x="3976" y="3932"/>
                  </a:lnTo>
                  <a:lnTo>
                    <a:pt x="4135" y="3870"/>
                  </a:lnTo>
                  <a:lnTo>
                    <a:pt x="4302" y="3650"/>
                  </a:lnTo>
                  <a:lnTo>
                    <a:pt x="4505" y="3500"/>
                  </a:lnTo>
                  <a:lnTo>
                    <a:pt x="4866" y="3518"/>
                  </a:lnTo>
                  <a:lnTo>
                    <a:pt x="5184" y="3659"/>
                  </a:lnTo>
                  <a:lnTo>
                    <a:pt x="5448" y="3941"/>
                  </a:lnTo>
                  <a:lnTo>
                    <a:pt x="5660" y="4073"/>
                  </a:lnTo>
                  <a:lnTo>
                    <a:pt x="6065" y="4153"/>
                  </a:lnTo>
                  <a:lnTo>
                    <a:pt x="6224" y="4161"/>
                  </a:lnTo>
                  <a:lnTo>
                    <a:pt x="6338" y="4038"/>
                  </a:lnTo>
                  <a:lnTo>
                    <a:pt x="6471" y="3932"/>
                  </a:lnTo>
                  <a:lnTo>
                    <a:pt x="6647" y="3915"/>
                  </a:lnTo>
                  <a:lnTo>
                    <a:pt x="6823" y="3941"/>
                  </a:lnTo>
                  <a:lnTo>
                    <a:pt x="7052" y="4020"/>
                  </a:lnTo>
                  <a:lnTo>
                    <a:pt x="7326" y="4038"/>
                  </a:lnTo>
                  <a:lnTo>
                    <a:pt x="7405" y="4073"/>
                  </a:lnTo>
                  <a:lnTo>
                    <a:pt x="7581" y="4108"/>
                  </a:lnTo>
                  <a:lnTo>
                    <a:pt x="8234" y="3932"/>
                  </a:lnTo>
                  <a:lnTo>
                    <a:pt x="8110" y="3782"/>
                  </a:lnTo>
                  <a:lnTo>
                    <a:pt x="8084" y="3712"/>
                  </a:lnTo>
                  <a:lnTo>
                    <a:pt x="8137" y="3641"/>
                  </a:lnTo>
                  <a:lnTo>
                    <a:pt x="8234" y="3580"/>
                  </a:lnTo>
                  <a:lnTo>
                    <a:pt x="8304" y="3553"/>
                  </a:lnTo>
                  <a:lnTo>
                    <a:pt x="8375" y="3553"/>
                  </a:lnTo>
                  <a:lnTo>
                    <a:pt x="8480" y="3562"/>
                  </a:lnTo>
                  <a:lnTo>
                    <a:pt x="8586" y="3553"/>
                  </a:lnTo>
                  <a:lnTo>
                    <a:pt x="8833" y="3483"/>
                  </a:lnTo>
                  <a:lnTo>
                    <a:pt x="8948" y="3500"/>
                  </a:lnTo>
                  <a:lnTo>
                    <a:pt x="9265" y="3659"/>
                  </a:lnTo>
                  <a:lnTo>
                    <a:pt x="9388" y="3668"/>
                  </a:lnTo>
                  <a:lnTo>
                    <a:pt x="9485" y="3641"/>
                  </a:lnTo>
                  <a:lnTo>
                    <a:pt x="9723" y="3535"/>
                  </a:lnTo>
                  <a:lnTo>
                    <a:pt x="9811" y="3465"/>
                  </a:lnTo>
                  <a:lnTo>
                    <a:pt x="9891" y="3350"/>
                  </a:lnTo>
                  <a:lnTo>
                    <a:pt x="9900" y="3245"/>
                  </a:lnTo>
                  <a:lnTo>
                    <a:pt x="9882" y="3130"/>
                  </a:lnTo>
                  <a:lnTo>
                    <a:pt x="9900" y="2989"/>
                  </a:lnTo>
                  <a:lnTo>
                    <a:pt x="9953" y="2918"/>
                  </a:lnTo>
                  <a:lnTo>
                    <a:pt x="9953" y="2848"/>
                  </a:lnTo>
                  <a:lnTo>
                    <a:pt x="9935" y="2769"/>
                  </a:lnTo>
                  <a:lnTo>
                    <a:pt x="9926" y="2689"/>
                  </a:lnTo>
                  <a:lnTo>
                    <a:pt x="9935" y="2592"/>
                  </a:lnTo>
                  <a:lnTo>
                    <a:pt x="9961" y="2504"/>
                  </a:lnTo>
                  <a:lnTo>
                    <a:pt x="10111" y="2196"/>
                  </a:lnTo>
                  <a:lnTo>
                    <a:pt x="10138" y="2116"/>
                  </a:lnTo>
                  <a:lnTo>
                    <a:pt x="10138" y="2099"/>
                  </a:lnTo>
                  <a:lnTo>
                    <a:pt x="10067" y="2037"/>
                  </a:lnTo>
                  <a:lnTo>
                    <a:pt x="9882" y="1993"/>
                  </a:lnTo>
                  <a:lnTo>
                    <a:pt x="9053" y="2187"/>
                  </a:lnTo>
                  <a:lnTo>
                    <a:pt x="8701" y="2143"/>
                  </a:lnTo>
                  <a:lnTo>
                    <a:pt x="8357" y="2037"/>
                  </a:lnTo>
                  <a:lnTo>
                    <a:pt x="7890" y="2090"/>
                  </a:lnTo>
                  <a:lnTo>
                    <a:pt x="7467" y="2019"/>
                  </a:lnTo>
                  <a:lnTo>
                    <a:pt x="7440" y="1931"/>
                  </a:lnTo>
                  <a:lnTo>
                    <a:pt x="7405" y="1843"/>
                  </a:lnTo>
                  <a:lnTo>
                    <a:pt x="7114" y="1781"/>
                  </a:lnTo>
                  <a:lnTo>
                    <a:pt x="6700" y="1579"/>
                  </a:lnTo>
                  <a:lnTo>
                    <a:pt x="6559" y="1402"/>
                  </a:lnTo>
                  <a:lnTo>
                    <a:pt x="6453" y="1173"/>
                  </a:lnTo>
                  <a:lnTo>
                    <a:pt x="6303" y="1067"/>
                  </a:lnTo>
                  <a:lnTo>
                    <a:pt x="6206" y="1067"/>
                  </a:lnTo>
                  <a:lnTo>
                    <a:pt x="6056" y="997"/>
                  </a:lnTo>
                  <a:lnTo>
                    <a:pt x="5995" y="944"/>
                  </a:lnTo>
                  <a:lnTo>
                    <a:pt x="5845" y="917"/>
                  </a:lnTo>
                  <a:lnTo>
                    <a:pt x="5527" y="1041"/>
                  </a:lnTo>
                  <a:lnTo>
                    <a:pt x="5237" y="1252"/>
                  </a:lnTo>
                  <a:lnTo>
                    <a:pt x="5078" y="1191"/>
                  </a:lnTo>
                  <a:lnTo>
                    <a:pt x="4999" y="1120"/>
                  </a:lnTo>
                  <a:lnTo>
                    <a:pt x="4937" y="900"/>
                  </a:lnTo>
                  <a:lnTo>
                    <a:pt x="4937" y="750"/>
                  </a:lnTo>
                  <a:lnTo>
                    <a:pt x="4954" y="468"/>
                  </a:lnTo>
                  <a:lnTo>
                    <a:pt x="4857" y="124"/>
                  </a:lnTo>
                  <a:lnTo>
                    <a:pt x="4611" y="18"/>
                  </a:lnTo>
                  <a:lnTo>
                    <a:pt x="4399" y="62"/>
                  </a:lnTo>
                  <a:lnTo>
                    <a:pt x="4179" y="9"/>
                  </a:lnTo>
                  <a:lnTo>
                    <a:pt x="367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3095;p54">
              <a:extLst>
                <a:ext uri="{FF2B5EF4-FFF2-40B4-BE49-F238E27FC236}">
                  <a16:creationId xmlns:a16="http://schemas.microsoft.com/office/drawing/2014/main" id="{C30FB6BE-CBDA-15AC-9502-EBCA8B5621F6}"/>
                </a:ext>
              </a:extLst>
            </p:cNvPr>
            <p:cNvSpPr/>
            <p:nvPr/>
          </p:nvSpPr>
          <p:spPr>
            <a:xfrm>
              <a:off x="7984338" y="2409662"/>
              <a:ext cx="587295" cy="709432"/>
            </a:xfrm>
            <a:custGeom>
              <a:avLst/>
              <a:gdLst/>
              <a:ahLst/>
              <a:cxnLst/>
              <a:rect l="l" t="t" r="r" b="b"/>
              <a:pathLst>
                <a:path w="8261" h="9979" extrusionOk="0">
                  <a:moveTo>
                    <a:pt x="2619" y="0"/>
                  </a:moveTo>
                  <a:lnTo>
                    <a:pt x="2416" y="150"/>
                  </a:lnTo>
                  <a:lnTo>
                    <a:pt x="2249" y="370"/>
                  </a:lnTo>
                  <a:lnTo>
                    <a:pt x="2090" y="432"/>
                  </a:lnTo>
                  <a:lnTo>
                    <a:pt x="1817" y="485"/>
                  </a:lnTo>
                  <a:lnTo>
                    <a:pt x="1702" y="529"/>
                  </a:lnTo>
                  <a:lnTo>
                    <a:pt x="1667" y="705"/>
                  </a:lnTo>
                  <a:lnTo>
                    <a:pt x="1843" y="811"/>
                  </a:lnTo>
                  <a:lnTo>
                    <a:pt x="2019" y="882"/>
                  </a:lnTo>
                  <a:lnTo>
                    <a:pt x="2055" y="1067"/>
                  </a:lnTo>
                  <a:lnTo>
                    <a:pt x="2028" y="1278"/>
                  </a:lnTo>
                  <a:lnTo>
                    <a:pt x="2011" y="1481"/>
                  </a:lnTo>
                  <a:lnTo>
                    <a:pt x="1905" y="1605"/>
                  </a:lnTo>
                  <a:lnTo>
                    <a:pt x="1358" y="1825"/>
                  </a:lnTo>
                  <a:lnTo>
                    <a:pt x="1367" y="2283"/>
                  </a:lnTo>
                  <a:lnTo>
                    <a:pt x="1508" y="2583"/>
                  </a:lnTo>
                  <a:lnTo>
                    <a:pt x="2046" y="2918"/>
                  </a:lnTo>
                  <a:lnTo>
                    <a:pt x="2240" y="3209"/>
                  </a:lnTo>
                  <a:lnTo>
                    <a:pt x="2108" y="3650"/>
                  </a:lnTo>
                  <a:lnTo>
                    <a:pt x="1773" y="3905"/>
                  </a:lnTo>
                  <a:lnTo>
                    <a:pt x="1517" y="4179"/>
                  </a:lnTo>
                  <a:lnTo>
                    <a:pt x="1094" y="4813"/>
                  </a:lnTo>
                  <a:lnTo>
                    <a:pt x="1015" y="4998"/>
                  </a:lnTo>
                  <a:lnTo>
                    <a:pt x="909" y="5166"/>
                  </a:lnTo>
                  <a:lnTo>
                    <a:pt x="618" y="5369"/>
                  </a:lnTo>
                  <a:lnTo>
                    <a:pt x="115" y="5651"/>
                  </a:lnTo>
                  <a:lnTo>
                    <a:pt x="45" y="5739"/>
                  </a:lnTo>
                  <a:lnTo>
                    <a:pt x="1" y="5986"/>
                  </a:lnTo>
                  <a:lnTo>
                    <a:pt x="27" y="6118"/>
                  </a:lnTo>
                  <a:lnTo>
                    <a:pt x="186" y="6488"/>
                  </a:lnTo>
                  <a:lnTo>
                    <a:pt x="212" y="6567"/>
                  </a:lnTo>
                  <a:lnTo>
                    <a:pt x="221" y="6717"/>
                  </a:lnTo>
                  <a:lnTo>
                    <a:pt x="168" y="6929"/>
                  </a:lnTo>
                  <a:lnTo>
                    <a:pt x="257" y="7220"/>
                  </a:lnTo>
                  <a:lnTo>
                    <a:pt x="503" y="7308"/>
                  </a:lnTo>
                  <a:lnTo>
                    <a:pt x="865" y="7281"/>
                  </a:lnTo>
                  <a:lnTo>
                    <a:pt x="1235" y="7352"/>
                  </a:lnTo>
                  <a:lnTo>
                    <a:pt x="1570" y="7484"/>
                  </a:lnTo>
                  <a:lnTo>
                    <a:pt x="1614" y="7898"/>
                  </a:lnTo>
                  <a:lnTo>
                    <a:pt x="1596" y="8136"/>
                  </a:lnTo>
                  <a:lnTo>
                    <a:pt x="1632" y="8383"/>
                  </a:lnTo>
                  <a:lnTo>
                    <a:pt x="1605" y="8630"/>
                  </a:lnTo>
                  <a:lnTo>
                    <a:pt x="1543" y="8868"/>
                  </a:lnTo>
                  <a:lnTo>
                    <a:pt x="1526" y="9212"/>
                  </a:lnTo>
                  <a:lnTo>
                    <a:pt x="1464" y="9353"/>
                  </a:lnTo>
                  <a:lnTo>
                    <a:pt x="1411" y="9512"/>
                  </a:lnTo>
                  <a:lnTo>
                    <a:pt x="1596" y="9952"/>
                  </a:lnTo>
                  <a:lnTo>
                    <a:pt x="1967" y="9750"/>
                  </a:lnTo>
                  <a:lnTo>
                    <a:pt x="2363" y="9802"/>
                  </a:lnTo>
                  <a:lnTo>
                    <a:pt x="2716" y="9952"/>
                  </a:lnTo>
                  <a:lnTo>
                    <a:pt x="2839" y="9979"/>
                  </a:lnTo>
                  <a:lnTo>
                    <a:pt x="3060" y="9979"/>
                  </a:lnTo>
                  <a:lnTo>
                    <a:pt x="3289" y="9944"/>
                  </a:lnTo>
                  <a:lnTo>
                    <a:pt x="3906" y="9935"/>
                  </a:lnTo>
                  <a:lnTo>
                    <a:pt x="4532" y="9838"/>
                  </a:lnTo>
                  <a:lnTo>
                    <a:pt x="4655" y="9767"/>
                  </a:lnTo>
                  <a:lnTo>
                    <a:pt x="4787" y="9714"/>
                  </a:lnTo>
                  <a:lnTo>
                    <a:pt x="4981" y="9741"/>
                  </a:lnTo>
                  <a:lnTo>
                    <a:pt x="5175" y="9820"/>
                  </a:lnTo>
                  <a:lnTo>
                    <a:pt x="5475" y="9820"/>
                  </a:lnTo>
                  <a:lnTo>
                    <a:pt x="5775" y="9758"/>
                  </a:lnTo>
                  <a:lnTo>
                    <a:pt x="6030" y="9609"/>
                  </a:lnTo>
                  <a:lnTo>
                    <a:pt x="6145" y="9291"/>
                  </a:lnTo>
                  <a:lnTo>
                    <a:pt x="6339" y="8956"/>
                  </a:lnTo>
                  <a:lnTo>
                    <a:pt x="6674" y="8886"/>
                  </a:lnTo>
                  <a:lnTo>
                    <a:pt x="7079" y="8939"/>
                  </a:lnTo>
                  <a:lnTo>
                    <a:pt x="7088" y="8921"/>
                  </a:lnTo>
                  <a:lnTo>
                    <a:pt x="7132" y="8859"/>
                  </a:lnTo>
                  <a:lnTo>
                    <a:pt x="7176" y="8798"/>
                  </a:lnTo>
                  <a:lnTo>
                    <a:pt x="7176" y="8718"/>
                  </a:lnTo>
                  <a:lnTo>
                    <a:pt x="7150" y="8639"/>
                  </a:lnTo>
                  <a:lnTo>
                    <a:pt x="7159" y="8560"/>
                  </a:lnTo>
                  <a:lnTo>
                    <a:pt x="7185" y="8489"/>
                  </a:lnTo>
                  <a:lnTo>
                    <a:pt x="7229" y="8410"/>
                  </a:lnTo>
                  <a:lnTo>
                    <a:pt x="7264" y="8330"/>
                  </a:lnTo>
                  <a:lnTo>
                    <a:pt x="7379" y="8198"/>
                  </a:lnTo>
                  <a:lnTo>
                    <a:pt x="7423" y="8110"/>
                  </a:lnTo>
                  <a:lnTo>
                    <a:pt x="7458" y="7987"/>
                  </a:lnTo>
                  <a:lnTo>
                    <a:pt x="7502" y="7916"/>
                  </a:lnTo>
                  <a:lnTo>
                    <a:pt x="7564" y="7863"/>
                  </a:lnTo>
                  <a:lnTo>
                    <a:pt x="7652" y="7819"/>
                  </a:lnTo>
                  <a:lnTo>
                    <a:pt x="7679" y="7784"/>
                  </a:lnTo>
                  <a:lnTo>
                    <a:pt x="7643" y="7669"/>
                  </a:lnTo>
                  <a:lnTo>
                    <a:pt x="7643" y="7625"/>
                  </a:lnTo>
                  <a:lnTo>
                    <a:pt x="7687" y="7590"/>
                  </a:lnTo>
                  <a:lnTo>
                    <a:pt x="7767" y="7555"/>
                  </a:lnTo>
                  <a:lnTo>
                    <a:pt x="7802" y="7511"/>
                  </a:lnTo>
                  <a:lnTo>
                    <a:pt x="7829" y="7422"/>
                  </a:lnTo>
                  <a:lnTo>
                    <a:pt x="7864" y="7308"/>
                  </a:lnTo>
                  <a:lnTo>
                    <a:pt x="7881" y="7193"/>
                  </a:lnTo>
                  <a:lnTo>
                    <a:pt x="7855" y="6902"/>
                  </a:lnTo>
                  <a:lnTo>
                    <a:pt x="7987" y="6761"/>
                  </a:lnTo>
                  <a:lnTo>
                    <a:pt x="8155" y="6629"/>
                  </a:lnTo>
                  <a:lnTo>
                    <a:pt x="8260" y="6479"/>
                  </a:lnTo>
                  <a:lnTo>
                    <a:pt x="8260" y="6382"/>
                  </a:lnTo>
                  <a:lnTo>
                    <a:pt x="8225" y="6285"/>
                  </a:lnTo>
                  <a:lnTo>
                    <a:pt x="8163" y="6206"/>
                  </a:lnTo>
                  <a:lnTo>
                    <a:pt x="8102" y="6153"/>
                  </a:lnTo>
                  <a:lnTo>
                    <a:pt x="8031" y="6127"/>
                  </a:lnTo>
                  <a:lnTo>
                    <a:pt x="7970" y="6135"/>
                  </a:lnTo>
                  <a:lnTo>
                    <a:pt x="7820" y="6224"/>
                  </a:lnTo>
                  <a:lnTo>
                    <a:pt x="7582" y="6180"/>
                  </a:lnTo>
                  <a:lnTo>
                    <a:pt x="7511" y="6153"/>
                  </a:lnTo>
                  <a:lnTo>
                    <a:pt x="7476" y="6118"/>
                  </a:lnTo>
                  <a:lnTo>
                    <a:pt x="7458" y="6074"/>
                  </a:lnTo>
                  <a:lnTo>
                    <a:pt x="7476" y="5977"/>
                  </a:lnTo>
                  <a:lnTo>
                    <a:pt x="7476" y="5915"/>
                  </a:lnTo>
                  <a:lnTo>
                    <a:pt x="7467" y="5765"/>
                  </a:lnTo>
                  <a:lnTo>
                    <a:pt x="7467" y="5695"/>
                  </a:lnTo>
                  <a:lnTo>
                    <a:pt x="7520" y="5457"/>
                  </a:lnTo>
                  <a:lnTo>
                    <a:pt x="7529" y="5360"/>
                  </a:lnTo>
                  <a:lnTo>
                    <a:pt x="7485" y="5060"/>
                  </a:lnTo>
                  <a:lnTo>
                    <a:pt x="7502" y="4822"/>
                  </a:lnTo>
                  <a:lnTo>
                    <a:pt x="7511" y="4699"/>
                  </a:lnTo>
                  <a:lnTo>
                    <a:pt x="7476" y="4602"/>
                  </a:lnTo>
                  <a:lnTo>
                    <a:pt x="7441" y="4558"/>
                  </a:lnTo>
                  <a:lnTo>
                    <a:pt x="7405" y="4540"/>
                  </a:lnTo>
                  <a:lnTo>
                    <a:pt x="7317" y="4513"/>
                  </a:lnTo>
                  <a:lnTo>
                    <a:pt x="7264" y="4478"/>
                  </a:lnTo>
                  <a:lnTo>
                    <a:pt x="7273" y="4443"/>
                  </a:lnTo>
                  <a:lnTo>
                    <a:pt x="7317" y="4408"/>
                  </a:lnTo>
                  <a:lnTo>
                    <a:pt x="7335" y="4364"/>
                  </a:lnTo>
                  <a:lnTo>
                    <a:pt x="7317" y="4249"/>
                  </a:lnTo>
                  <a:lnTo>
                    <a:pt x="7291" y="4179"/>
                  </a:lnTo>
                  <a:lnTo>
                    <a:pt x="7282" y="4108"/>
                  </a:lnTo>
                  <a:lnTo>
                    <a:pt x="7300" y="3985"/>
                  </a:lnTo>
                  <a:lnTo>
                    <a:pt x="7432" y="3561"/>
                  </a:lnTo>
                  <a:lnTo>
                    <a:pt x="7405" y="3385"/>
                  </a:lnTo>
                  <a:lnTo>
                    <a:pt x="7159" y="3262"/>
                  </a:lnTo>
                  <a:lnTo>
                    <a:pt x="7088" y="3191"/>
                  </a:lnTo>
                  <a:lnTo>
                    <a:pt x="7018" y="3103"/>
                  </a:lnTo>
                  <a:lnTo>
                    <a:pt x="6973" y="2971"/>
                  </a:lnTo>
                  <a:lnTo>
                    <a:pt x="6956" y="2927"/>
                  </a:lnTo>
                  <a:lnTo>
                    <a:pt x="6938" y="2874"/>
                  </a:lnTo>
                  <a:lnTo>
                    <a:pt x="6947" y="2830"/>
                  </a:lnTo>
                  <a:lnTo>
                    <a:pt x="6938" y="2777"/>
                  </a:lnTo>
                  <a:lnTo>
                    <a:pt x="6903" y="2733"/>
                  </a:lnTo>
                  <a:lnTo>
                    <a:pt x="6859" y="2706"/>
                  </a:lnTo>
                  <a:lnTo>
                    <a:pt x="6832" y="2662"/>
                  </a:lnTo>
                  <a:lnTo>
                    <a:pt x="6815" y="2565"/>
                  </a:lnTo>
                  <a:lnTo>
                    <a:pt x="6797" y="2530"/>
                  </a:lnTo>
                  <a:lnTo>
                    <a:pt x="6780" y="2486"/>
                  </a:lnTo>
                  <a:lnTo>
                    <a:pt x="6841" y="2371"/>
                  </a:lnTo>
                  <a:lnTo>
                    <a:pt x="6921" y="2310"/>
                  </a:lnTo>
                  <a:lnTo>
                    <a:pt x="6965" y="2239"/>
                  </a:lnTo>
                  <a:lnTo>
                    <a:pt x="6921" y="2010"/>
                  </a:lnTo>
                  <a:lnTo>
                    <a:pt x="6938" y="1913"/>
                  </a:lnTo>
                  <a:lnTo>
                    <a:pt x="7035" y="1728"/>
                  </a:lnTo>
                  <a:lnTo>
                    <a:pt x="7000" y="1587"/>
                  </a:lnTo>
                  <a:lnTo>
                    <a:pt x="6815" y="1455"/>
                  </a:lnTo>
                  <a:lnTo>
                    <a:pt x="6612" y="1349"/>
                  </a:lnTo>
                  <a:lnTo>
                    <a:pt x="6489" y="1252"/>
                  </a:lnTo>
                  <a:lnTo>
                    <a:pt x="6489" y="1199"/>
                  </a:lnTo>
                  <a:lnTo>
                    <a:pt x="6515" y="1093"/>
                  </a:lnTo>
                  <a:lnTo>
                    <a:pt x="6515" y="1040"/>
                  </a:lnTo>
                  <a:lnTo>
                    <a:pt x="6453" y="926"/>
                  </a:lnTo>
                  <a:lnTo>
                    <a:pt x="6445" y="873"/>
                  </a:lnTo>
                  <a:lnTo>
                    <a:pt x="6436" y="820"/>
                  </a:lnTo>
                  <a:lnTo>
                    <a:pt x="6453" y="776"/>
                  </a:lnTo>
                  <a:lnTo>
                    <a:pt x="6453" y="732"/>
                  </a:lnTo>
                  <a:lnTo>
                    <a:pt x="6400" y="617"/>
                  </a:lnTo>
                  <a:lnTo>
                    <a:pt x="6374" y="485"/>
                  </a:lnTo>
                  <a:lnTo>
                    <a:pt x="6348" y="432"/>
                  </a:lnTo>
                  <a:lnTo>
                    <a:pt x="5695" y="608"/>
                  </a:lnTo>
                  <a:lnTo>
                    <a:pt x="5519" y="573"/>
                  </a:lnTo>
                  <a:lnTo>
                    <a:pt x="5440" y="538"/>
                  </a:lnTo>
                  <a:lnTo>
                    <a:pt x="5166" y="520"/>
                  </a:lnTo>
                  <a:lnTo>
                    <a:pt x="4937" y="441"/>
                  </a:lnTo>
                  <a:lnTo>
                    <a:pt x="4761" y="415"/>
                  </a:lnTo>
                  <a:lnTo>
                    <a:pt x="4585" y="432"/>
                  </a:lnTo>
                  <a:lnTo>
                    <a:pt x="4452" y="538"/>
                  </a:lnTo>
                  <a:lnTo>
                    <a:pt x="4338" y="661"/>
                  </a:lnTo>
                  <a:lnTo>
                    <a:pt x="4179" y="653"/>
                  </a:lnTo>
                  <a:lnTo>
                    <a:pt x="3774" y="573"/>
                  </a:lnTo>
                  <a:lnTo>
                    <a:pt x="3562" y="441"/>
                  </a:lnTo>
                  <a:lnTo>
                    <a:pt x="3298" y="159"/>
                  </a:lnTo>
                  <a:lnTo>
                    <a:pt x="2980" y="18"/>
                  </a:lnTo>
                  <a:lnTo>
                    <a:pt x="2619"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 name="Google Shape;3096;p54">
              <a:extLst>
                <a:ext uri="{FF2B5EF4-FFF2-40B4-BE49-F238E27FC236}">
                  <a16:creationId xmlns:a16="http://schemas.microsoft.com/office/drawing/2014/main" id="{A9479D19-DBD7-F615-7357-2907A71D84F0}"/>
                </a:ext>
              </a:extLst>
            </p:cNvPr>
            <p:cNvSpPr/>
            <p:nvPr/>
          </p:nvSpPr>
          <p:spPr>
            <a:xfrm>
              <a:off x="2741438" y="1238941"/>
              <a:ext cx="468784" cy="367975"/>
            </a:xfrm>
            <a:custGeom>
              <a:avLst/>
              <a:gdLst/>
              <a:ahLst/>
              <a:cxnLst/>
              <a:rect l="l" t="t" r="r" b="b"/>
              <a:pathLst>
                <a:path w="6594" h="5176" extrusionOk="0">
                  <a:moveTo>
                    <a:pt x="2125" y="1"/>
                  </a:moveTo>
                  <a:lnTo>
                    <a:pt x="2019" y="10"/>
                  </a:lnTo>
                  <a:lnTo>
                    <a:pt x="1966" y="62"/>
                  </a:lnTo>
                  <a:lnTo>
                    <a:pt x="1860" y="204"/>
                  </a:lnTo>
                  <a:lnTo>
                    <a:pt x="1852" y="221"/>
                  </a:lnTo>
                  <a:lnTo>
                    <a:pt x="1843" y="248"/>
                  </a:lnTo>
                  <a:lnTo>
                    <a:pt x="1825" y="256"/>
                  </a:lnTo>
                  <a:lnTo>
                    <a:pt x="1711" y="221"/>
                  </a:lnTo>
                  <a:lnTo>
                    <a:pt x="1552" y="221"/>
                  </a:lnTo>
                  <a:lnTo>
                    <a:pt x="1481" y="168"/>
                  </a:lnTo>
                  <a:lnTo>
                    <a:pt x="1402" y="124"/>
                  </a:lnTo>
                  <a:lnTo>
                    <a:pt x="1323" y="98"/>
                  </a:lnTo>
                  <a:lnTo>
                    <a:pt x="1243" y="89"/>
                  </a:lnTo>
                  <a:lnTo>
                    <a:pt x="1235" y="89"/>
                  </a:lnTo>
                  <a:lnTo>
                    <a:pt x="1120" y="151"/>
                  </a:lnTo>
                  <a:lnTo>
                    <a:pt x="1023" y="345"/>
                  </a:lnTo>
                  <a:lnTo>
                    <a:pt x="926" y="406"/>
                  </a:lnTo>
                  <a:lnTo>
                    <a:pt x="864" y="433"/>
                  </a:lnTo>
                  <a:lnTo>
                    <a:pt x="820" y="494"/>
                  </a:lnTo>
                  <a:lnTo>
                    <a:pt x="785" y="574"/>
                  </a:lnTo>
                  <a:lnTo>
                    <a:pt x="732" y="635"/>
                  </a:lnTo>
                  <a:lnTo>
                    <a:pt x="697" y="644"/>
                  </a:lnTo>
                  <a:lnTo>
                    <a:pt x="609" y="627"/>
                  </a:lnTo>
                  <a:lnTo>
                    <a:pt x="556" y="653"/>
                  </a:lnTo>
                  <a:lnTo>
                    <a:pt x="512" y="706"/>
                  </a:lnTo>
                  <a:lnTo>
                    <a:pt x="468" y="697"/>
                  </a:lnTo>
                  <a:lnTo>
                    <a:pt x="424" y="688"/>
                  </a:lnTo>
                  <a:lnTo>
                    <a:pt x="371" y="688"/>
                  </a:lnTo>
                  <a:lnTo>
                    <a:pt x="318" y="715"/>
                  </a:lnTo>
                  <a:lnTo>
                    <a:pt x="265" y="768"/>
                  </a:lnTo>
                  <a:lnTo>
                    <a:pt x="379" y="1491"/>
                  </a:lnTo>
                  <a:lnTo>
                    <a:pt x="529" y="2081"/>
                  </a:lnTo>
                  <a:lnTo>
                    <a:pt x="582" y="2681"/>
                  </a:lnTo>
                  <a:lnTo>
                    <a:pt x="476" y="3280"/>
                  </a:lnTo>
                  <a:lnTo>
                    <a:pt x="291" y="3571"/>
                  </a:lnTo>
                  <a:lnTo>
                    <a:pt x="221" y="4012"/>
                  </a:lnTo>
                  <a:lnTo>
                    <a:pt x="0" y="4488"/>
                  </a:lnTo>
                  <a:lnTo>
                    <a:pt x="133" y="4770"/>
                  </a:lnTo>
                  <a:lnTo>
                    <a:pt x="829" y="4611"/>
                  </a:lnTo>
                  <a:lnTo>
                    <a:pt x="1587" y="4558"/>
                  </a:lnTo>
                  <a:lnTo>
                    <a:pt x="2134" y="4558"/>
                  </a:lnTo>
                  <a:lnTo>
                    <a:pt x="2389" y="4726"/>
                  </a:lnTo>
                  <a:lnTo>
                    <a:pt x="2592" y="5008"/>
                  </a:lnTo>
                  <a:lnTo>
                    <a:pt x="2856" y="5175"/>
                  </a:lnTo>
                  <a:lnTo>
                    <a:pt x="3147" y="5096"/>
                  </a:lnTo>
                  <a:lnTo>
                    <a:pt x="3421" y="4884"/>
                  </a:lnTo>
                  <a:lnTo>
                    <a:pt x="3588" y="4541"/>
                  </a:lnTo>
                  <a:lnTo>
                    <a:pt x="3808" y="4214"/>
                  </a:lnTo>
                  <a:lnTo>
                    <a:pt x="4258" y="4082"/>
                  </a:lnTo>
                  <a:lnTo>
                    <a:pt x="4760" y="3959"/>
                  </a:lnTo>
                  <a:lnTo>
                    <a:pt x="5563" y="3853"/>
                  </a:lnTo>
                  <a:lnTo>
                    <a:pt x="6382" y="3765"/>
                  </a:lnTo>
                  <a:lnTo>
                    <a:pt x="6594" y="3474"/>
                  </a:lnTo>
                  <a:lnTo>
                    <a:pt x="6479" y="3359"/>
                  </a:lnTo>
                  <a:lnTo>
                    <a:pt x="6382" y="3201"/>
                  </a:lnTo>
                  <a:lnTo>
                    <a:pt x="6312" y="3104"/>
                  </a:lnTo>
                  <a:lnTo>
                    <a:pt x="6180" y="3024"/>
                  </a:lnTo>
                  <a:lnTo>
                    <a:pt x="6109" y="2936"/>
                  </a:lnTo>
                  <a:lnTo>
                    <a:pt x="6039" y="2822"/>
                  </a:lnTo>
                  <a:lnTo>
                    <a:pt x="6012" y="2725"/>
                  </a:lnTo>
                  <a:lnTo>
                    <a:pt x="6012" y="2689"/>
                  </a:lnTo>
                  <a:lnTo>
                    <a:pt x="6030" y="2681"/>
                  </a:lnTo>
                  <a:lnTo>
                    <a:pt x="6056" y="2681"/>
                  </a:lnTo>
                  <a:lnTo>
                    <a:pt x="6074" y="2663"/>
                  </a:lnTo>
                  <a:lnTo>
                    <a:pt x="6065" y="2619"/>
                  </a:lnTo>
                  <a:lnTo>
                    <a:pt x="6056" y="2601"/>
                  </a:lnTo>
                  <a:lnTo>
                    <a:pt x="6039" y="2592"/>
                  </a:lnTo>
                  <a:lnTo>
                    <a:pt x="6021" y="2531"/>
                  </a:lnTo>
                  <a:lnTo>
                    <a:pt x="5977" y="2487"/>
                  </a:lnTo>
                  <a:lnTo>
                    <a:pt x="5898" y="2407"/>
                  </a:lnTo>
                  <a:lnTo>
                    <a:pt x="5845" y="2319"/>
                  </a:lnTo>
                  <a:lnTo>
                    <a:pt x="5757" y="2037"/>
                  </a:lnTo>
                  <a:lnTo>
                    <a:pt x="5677" y="1931"/>
                  </a:lnTo>
                  <a:lnTo>
                    <a:pt x="5598" y="1834"/>
                  </a:lnTo>
                  <a:lnTo>
                    <a:pt x="5527" y="1720"/>
                  </a:lnTo>
                  <a:lnTo>
                    <a:pt x="5501" y="1552"/>
                  </a:lnTo>
                  <a:lnTo>
                    <a:pt x="5510" y="1402"/>
                  </a:lnTo>
                  <a:lnTo>
                    <a:pt x="5554" y="1314"/>
                  </a:lnTo>
                  <a:lnTo>
                    <a:pt x="5616" y="1279"/>
                  </a:lnTo>
                  <a:lnTo>
                    <a:pt x="5686" y="1279"/>
                  </a:lnTo>
                  <a:lnTo>
                    <a:pt x="5774" y="1314"/>
                  </a:lnTo>
                  <a:lnTo>
                    <a:pt x="5818" y="1323"/>
                  </a:lnTo>
                  <a:lnTo>
                    <a:pt x="5862" y="1297"/>
                  </a:lnTo>
                  <a:lnTo>
                    <a:pt x="5871" y="1253"/>
                  </a:lnTo>
                  <a:lnTo>
                    <a:pt x="5854" y="1208"/>
                  </a:lnTo>
                  <a:lnTo>
                    <a:pt x="5818" y="1164"/>
                  </a:lnTo>
                  <a:lnTo>
                    <a:pt x="5801" y="1147"/>
                  </a:lnTo>
                  <a:lnTo>
                    <a:pt x="5801" y="1085"/>
                  </a:lnTo>
                  <a:lnTo>
                    <a:pt x="5730" y="785"/>
                  </a:lnTo>
                  <a:lnTo>
                    <a:pt x="5571" y="741"/>
                  </a:lnTo>
                  <a:lnTo>
                    <a:pt x="5501" y="724"/>
                  </a:lnTo>
                  <a:lnTo>
                    <a:pt x="5272" y="750"/>
                  </a:lnTo>
                  <a:lnTo>
                    <a:pt x="5210" y="732"/>
                  </a:lnTo>
                  <a:lnTo>
                    <a:pt x="5087" y="671"/>
                  </a:lnTo>
                  <a:lnTo>
                    <a:pt x="4972" y="635"/>
                  </a:lnTo>
                  <a:lnTo>
                    <a:pt x="4928" y="635"/>
                  </a:lnTo>
                  <a:lnTo>
                    <a:pt x="4840" y="653"/>
                  </a:lnTo>
                  <a:lnTo>
                    <a:pt x="4822" y="644"/>
                  </a:lnTo>
                  <a:lnTo>
                    <a:pt x="4787" y="644"/>
                  </a:lnTo>
                  <a:lnTo>
                    <a:pt x="4769" y="653"/>
                  </a:lnTo>
                  <a:lnTo>
                    <a:pt x="4752" y="715"/>
                  </a:lnTo>
                  <a:lnTo>
                    <a:pt x="4752" y="803"/>
                  </a:lnTo>
                  <a:lnTo>
                    <a:pt x="4743" y="856"/>
                  </a:lnTo>
                  <a:lnTo>
                    <a:pt x="4813" y="909"/>
                  </a:lnTo>
                  <a:lnTo>
                    <a:pt x="4796" y="944"/>
                  </a:lnTo>
                  <a:lnTo>
                    <a:pt x="4743" y="970"/>
                  </a:lnTo>
                  <a:lnTo>
                    <a:pt x="4681" y="970"/>
                  </a:lnTo>
                  <a:lnTo>
                    <a:pt x="4619" y="944"/>
                  </a:lnTo>
                  <a:lnTo>
                    <a:pt x="4373" y="812"/>
                  </a:lnTo>
                  <a:lnTo>
                    <a:pt x="4205" y="803"/>
                  </a:lnTo>
                  <a:lnTo>
                    <a:pt x="3844" y="900"/>
                  </a:lnTo>
                  <a:lnTo>
                    <a:pt x="3835" y="962"/>
                  </a:lnTo>
                  <a:lnTo>
                    <a:pt x="3817" y="997"/>
                  </a:lnTo>
                  <a:lnTo>
                    <a:pt x="3791" y="997"/>
                  </a:lnTo>
                  <a:lnTo>
                    <a:pt x="3756" y="970"/>
                  </a:lnTo>
                  <a:lnTo>
                    <a:pt x="3720" y="1015"/>
                  </a:lnTo>
                  <a:lnTo>
                    <a:pt x="3667" y="1050"/>
                  </a:lnTo>
                  <a:lnTo>
                    <a:pt x="3570" y="1085"/>
                  </a:lnTo>
                  <a:lnTo>
                    <a:pt x="3579" y="1103"/>
                  </a:lnTo>
                  <a:lnTo>
                    <a:pt x="3588" y="1111"/>
                  </a:lnTo>
                  <a:lnTo>
                    <a:pt x="3606" y="1111"/>
                  </a:lnTo>
                  <a:lnTo>
                    <a:pt x="3615" y="1120"/>
                  </a:lnTo>
                  <a:lnTo>
                    <a:pt x="3606" y="1138"/>
                  </a:lnTo>
                  <a:lnTo>
                    <a:pt x="3570" y="1156"/>
                  </a:lnTo>
                  <a:lnTo>
                    <a:pt x="3562" y="1164"/>
                  </a:lnTo>
                  <a:lnTo>
                    <a:pt x="3623" y="1191"/>
                  </a:lnTo>
                  <a:lnTo>
                    <a:pt x="3553" y="1226"/>
                  </a:lnTo>
                  <a:lnTo>
                    <a:pt x="3491" y="1182"/>
                  </a:lnTo>
                  <a:lnTo>
                    <a:pt x="3377" y="1032"/>
                  </a:lnTo>
                  <a:lnTo>
                    <a:pt x="3306" y="970"/>
                  </a:lnTo>
                  <a:lnTo>
                    <a:pt x="2971" y="777"/>
                  </a:lnTo>
                  <a:lnTo>
                    <a:pt x="2856" y="680"/>
                  </a:lnTo>
                  <a:lnTo>
                    <a:pt x="2759" y="556"/>
                  </a:lnTo>
                  <a:lnTo>
                    <a:pt x="2557" y="256"/>
                  </a:lnTo>
                  <a:lnTo>
                    <a:pt x="2433" y="124"/>
                  </a:lnTo>
                  <a:lnTo>
                    <a:pt x="2283" y="36"/>
                  </a:lnTo>
                  <a:lnTo>
                    <a:pt x="2125"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 name="Google Shape;3097;p54">
              <a:extLst>
                <a:ext uri="{FF2B5EF4-FFF2-40B4-BE49-F238E27FC236}">
                  <a16:creationId xmlns:a16="http://schemas.microsoft.com/office/drawing/2014/main" id="{4BD81E9F-1515-C7B8-E9F5-DBC90D6FE4CA}"/>
                </a:ext>
              </a:extLst>
            </p:cNvPr>
            <p:cNvSpPr/>
            <p:nvPr/>
          </p:nvSpPr>
          <p:spPr>
            <a:xfrm>
              <a:off x="2495165" y="1289702"/>
              <a:ext cx="287711" cy="607983"/>
            </a:xfrm>
            <a:custGeom>
              <a:avLst/>
              <a:gdLst/>
              <a:ahLst/>
              <a:cxnLst/>
              <a:rect l="l" t="t" r="r" b="b"/>
              <a:pathLst>
                <a:path w="4047" h="8552" extrusionOk="0">
                  <a:moveTo>
                    <a:pt x="3464" y="1"/>
                  </a:moveTo>
                  <a:lnTo>
                    <a:pt x="3412" y="18"/>
                  </a:lnTo>
                  <a:lnTo>
                    <a:pt x="3306" y="115"/>
                  </a:lnTo>
                  <a:lnTo>
                    <a:pt x="3262" y="151"/>
                  </a:lnTo>
                  <a:lnTo>
                    <a:pt x="3174" y="159"/>
                  </a:lnTo>
                  <a:lnTo>
                    <a:pt x="2733" y="89"/>
                  </a:lnTo>
                  <a:lnTo>
                    <a:pt x="2653" y="98"/>
                  </a:lnTo>
                  <a:lnTo>
                    <a:pt x="2574" y="151"/>
                  </a:lnTo>
                  <a:lnTo>
                    <a:pt x="2442" y="301"/>
                  </a:lnTo>
                  <a:lnTo>
                    <a:pt x="2407" y="327"/>
                  </a:lnTo>
                  <a:lnTo>
                    <a:pt x="2380" y="353"/>
                  </a:lnTo>
                  <a:lnTo>
                    <a:pt x="2363" y="397"/>
                  </a:lnTo>
                  <a:lnTo>
                    <a:pt x="2371" y="415"/>
                  </a:lnTo>
                  <a:lnTo>
                    <a:pt x="2424" y="450"/>
                  </a:lnTo>
                  <a:lnTo>
                    <a:pt x="2442" y="477"/>
                  </a:lnTo>
                  <a:lnTo>
                    <a:pt x="2433" y="512"/>
                  </a:lnTo>
                  <a:lnTo>
                    <a:pt x="2415" y="565"/>
                  </a:lnTo>
                  <a:lnTo>
                    <a:pt x="2407" y="600"/>
                  </a:lnTo>
                  <a:lnTo>
                    <a:pt x="2407" y="635"/>
                  </a:lnTo>
                  <a:lnTo>
                    <a:pt x="2407" y="680"/>
                  </a:lnTo>
                  <a:lnTo>
                    <a:pt x="2380" y="794"/>
                  </a:lnTo>
                  <a:lnTo>
                    <a:pt x="2345" y="909"/>
                  </a:lnTo>
                  <a:lnTo>
                    <a:pt x="2283" y="988"/>
                  </a:lnTo>
                  <a:lnTo>
                    <a:pt x="2063" y="1059"/>
                  </a:lnTo>
                  <a:lnTo>
                    <a:pt x="1587" y="1041"/>
                  </a:lnTo>
                  <a:lnTo>
                    <a:pt x="1393" y="1208"/>
                  </a:lnTo>
                  <a:lnTo>
                    <a:pt x="1322" y="1358"/>
                  </a:lnTo>
                  <a:lnTo>
                    <a:pt x="1314" y="1491"/>
                  </a:lnTo>
                  <a:lnTo>
                    <a:pt x="1340" y="1614"/>
                  </a:lnTo>
                  <a:lnTo>
                    <a:pt x="1393" y="1684"/>
                  </a:lnTo>
                  <a:lnTo>
                    <a:pt x="1508" y="1676"/>
                  </a:lnTo>
                  <a:lnTo>
                    <a:pt x="1596" y="1702"/>
                  </a:lnTo>
                  <a:lnTo>
                    <a:pt x="1719" y="1817"/>
                  </a:lnTo>
                  <a:lnTo>
                    <a:pt x="1895" y="1861"/>
                  </a:lnTo>
                  <a:lnTo>
                    <a:pt x="1975" y="1896"/>
                  </a:lnTo>
                  <a:lnTo>
                    <a:pt x="2054" y="1914"/>
                  </a:lnTo>
                  <a:lnTo>
                    <a:pt x="2036" y="2011"/>
                  </a:lnTo>
                  <a:lnTo>
                    <a:pt x="1992" y="2081"/>
                  </a:lnTo>
                  <a:lnTo>
                    <a:pt x="2257" y="2284"/>
                  </a:lnTo>
                  <a:lnTo>
                    <a:pt x="2468" y="2390"/>
                  </a:lnTo>
                  <a:lnTo>
                    <a:pt x="2512" y="2443"/>
                  </a:lnTo>
                  <a:lnTo>
                    <a:pt x="2601" y="2310"/>
                  </a:lnTo>
                  <a:lnTo>
                    <a:pt x="2601" y="2354"/>
                  </a:lnTo>
                  <a:lnTo>
                    <a:pt x="2609" y="2398"/>
                  </a:lnTo>
                  <a:lnTo>
                    <a:pt x="2618" y="2443"/>
                  </a:lnTo>
                  <a:lnTo>
                    <a:pt x="2636" y="2478"/>
                  </a:lnTo>
                  <a:lnTo>
                    <a:pt x="2618" y="2548"/>
                  </a:lnTo>
                  <a:lnTo>
                    <a:pt x="2636" y="2716"/>
                  </a:lnTo>
                  <a:lnTo>
                    <a:pt x="2601" y="2778"/>
                  </a:lnTo>
                  <a:lnTo>
                    <a:pt x="2653" y="2866"/>
                  </a:lnTo>
                  <a:lnTo>
                    <a:pt x="2680" y="2971"/>
                  </a:lnTo>
                  <a:lnTo>
                    <a:pt x="2698" y="3201"/>
                  </a:lnTo>
                  <a:lnTo>
                    <a:pt x="2777" y="3500"/>
                  </a:lnTo>
                  <a:lnTo>
                    <a:pt x="2794" y="3624"/>
                  </a:lnTo>
                  <a:lnTo>
                    <a:pt x="2794" y="3756"/>
                  </a:lnTo>
                  <a:lnTo>
                    <a:pt x="2777" y="3888"/>
                  </a:lnTo>
                  <a:lnTo>
                    <a:pt x="2733" y="3994"/>
                  </a:lnTo>
                  <a:lnTo>
                    <a:pt x="2671" y="4056"/>
                  </a:lnTo>
                  <a:lnTo>
                    <a:pt x="2583" y="4065"/>
                  </a:lnTo>
                  <a:lnTo>
                    <a:pt x="2486" y="4038"/>
                  </a:lnTo>
                  <a:lnTo>
                    <a:pt x="2398" y="3985"/>
                  </a:lnTo>
                  <a:lnTo>
                    <a:pt x="2345" y="3923"/>
                  </a:lnTo>
                  <a:lnTo>
                    <a:pt x="2116" y="4179"/>
                  </a:lnTo>
                  <a:lnTo>
                    <a:pt x="2063" y="4179"/>
                  </a:lnTo>
                  <a:lnTo>
                    <a:pt x="2045" y="4206"/>
                  </a:lnTo>
                  <a:lnTo>
                    <a:pt x="2028" y="4232"/>
                  </a:lnTo>
                  <a:lnTo>
                    <a:pt x="2010" y="4258"/>
                  </a:lnTo>
                  <a:lnTo>
                    <a:pt x="1878" y="4347"/>
                  </a:lnTo>
                  <a:lnTo>
                    <a:pt x="1754" y="4452"/>
                  </a:lnTo>
                  <a:lnTo>
                    <a:pt x="1675" y="4496"/>
                  </a:lnTo>
                  <a:lnTo>
                    <a:pt x="1384" y="4523"/>
                  </a:lnTo>
                  <a:lnTo>
                    <a:pt x="1331" y="4576"/>
                  </a:lnTo>
                  <a:lnTo>
                    <a:pt x="1402" y="4682"/>
                  </a:lnTo>
                  <a:lnTo>
                    <a:pt x="1349" y="4814"/>
                  </a:lnTo>
                  <a:lnTo>
                    <a:pt x="1331" y="4937"/>
                  </a:lnTo>
                  <a:lnTo>
                    <a:pt x="1349" y="5043"/>
                  </a:lnTo>
                  <a:lnTo>
                    <a:pt x="1402" y="5149"/>
                  </a:lnTo>
                  <a:lnTo>
                    <a:pt x="1314" y="5290"/>
                  </a:lnTo>
                  <a:lnTo>
                    <a:pt x="1314" y="5343"/>
                  </a:lnTo>
                  <a:lnTo>
                    <a:pt x="1384" y="5360"/>
                  </a:lnTo>
                  <a:lnTo>
                    <a:pt x="1419" y="5387"/>
                  </a:lnTo>
                  <a:lnTo>
                    <a:pt x="1340" y="5545"/>
                  </a:lnTo>
                  <a:lnTo>
                    <a:pt x="1349" y="5634"/>
                  </a:lnTo>
                  <a:lnTo>
                    <a:pt x="1419" y="5775"/>
                  </a:lnTo>
                  <a:lnTo>
                    <a:pt x="1455" y="5836"/>
                  </a:lnTo>
                  <a:lnTo>
                    <a:pt x="1578" y="5898"/>
                  </a:lnTo>
                  <a:lnTo>
                    <a:pt x="1578" y="5969"/>
                  </a:lnTo>
                  <a:lnTo>
                    <a:pt x="1552" y="6039"/>
                  </a:lnTo>
                  <a:lnTo>
                    <a:pt x="1508" y="6074"/>
                  </a:lnTo>
                  <a:lnTo>
                    <a:pt x="1437" y="6083"/>
                  </a:lnTo>
                  <a:lnTo>
                    <a:pt x="1402" y="6110"/>
                  </a:lnTo>
                  <a:lnTo>
                    <a:pt x="1384" y="6145"/>
                  </a:lnTo>
                  <a:lnTo>
                    <a:pt x="1402" y="6198"/>
                  </a:lnTo>
                  <a:lnTo>
                    <a:pt x="1446" y="6268"/>
                  </a:lnTo>
                  <a:lnTo>
                    <a:pt x="1499" y="6286"/>
                  </a:lnTo>
                  <a:lnTo>
                    <a:pt x="1508" y="6304"/>
                  </a:lnTo>
                  <a:lnTo>
                    <a:pt x="1463" y="6374"/>
                  </a:lnTo>
                  <a:lnTo>
                    <a:pt x="1393" y="6418"/>
                  </a:lnTo>
                  <a:lnTo>
                    <a:pt x="1261" y="6480"/>
                  </a:lnTo>
                  <a:lnTo>
                    <a:pt x="1208" y="6542"/>
                  </a:lnTo>
                  <a:lnTo>
                    <a:pt x="1225" y="6568"/>
                  </a:lnTo>
                  <a:lnTo>
                    <a:pt x="1252" y="6612"/>
                  </a:lnTo>
                  <a:lnTo>
                    <a:pt x="1252" y="6647"/>
                  </a:lnTo>
                  <a:lnTo>
                    <a:pt x="1190" y="6665"/>
                  </a:lnTo>
                  <a:lnTo>
                    <a:pt x="1155" y="6665"/>
                  </a:lnTo>
                  <a:lnTo>
                    <a:pt x="1120" y="6638"/>
                  </a:lnTo>
                  <a:lnTo>
                    <a:pt x="1093" y="6612"/>
                  </a:lnTo>
                  <a:lnTo>
                    <a:pt x="1076" y="6577"/>
                  </a:lnTo>
                  <a:lnTo>
                    <a:pt x="1049" y="6577"/>
                  </a:lnTo>
                  <a:lnTo>
                    <a:pt x="1014" y="6700"/>
                  </a:lnTo>
                  <a:lnTo>
                    <a:pt x="987" y="6753"/>
                  </a:lnTo>
                  <a:lnTo>
                    <a:pt x="952" y="6797"/>
                  </a:lnTo>
                  <a:lnTo>
                    <a:pt x="917" y="6797"/>
                  </a:lnTo>
                  <a:lnTo>
                    <a:pt x="917" y="6771"/>
                  </a:lnTo>
                  <a:lnTo>
                    <a:pt x="890" y="6709"/>
                  </a:lnTo>
                  <a:lnTo>
                    <a:pt x="890" y="6771"/>
                  </a:lnTo>
                  <a:lnTo>
                    <a:pt x="890" y="6806"/>
                  </a:lnTo>
                  <a:lnTo>
                    <a:pt x="864" y="6824"/>
                  </a:lnTo>
                  <a:lnTo>
                    <a:pt x="829" y="6832"/>
                  </a:lnTo>
                  <a:lnTo>
                    <a:pt x="820" y="6859"/>
                  </a:lnTo>
                  <a:lnTo>
                    <a:pt x="829" y="6868"/>
                  </a:lnTo>
                  <a:lnTo>
                    <a:pt x="838" y="6868"/>
                  </a:lnTo>
                  <a:lnTo>
                    <a:pt x="855" y="6876"/>
                  </a:lnTo>
                  <a:lnTo>
                    <a:pt x="811" y="6903"/>
                  </a:lnTo>
                  <a:lnTo>
                    <a:pt x="794" y="6921"/>
                  </a:lnTo>
                  <a:lnTo>
                    <a:pt x="794" y="6956"/>
                  </a:lnTo>
                  <a:lnTo>
                    <a:pt x="829" y="7026"/>
                  </a:lnTo>
                  <a:lnTo>
                    <a:pt x="573" y="7247"/>
                  </a:lnTo>
                  <a:lnTo>
                    <a:pt x="503" y="7353"/>
                  </a:lnTo>
                  <a:lnTo>
                    <a:pt x="467" y="7520"/>
                  </a:lnTo>
                  <a:lnTo>
                    <a:pt x="362" y="7643"/>
                  </a:lnTo>
                  <a:lnTo>
                    <a:pt x="221" y="7714"/>
                  </a:lnTo>
                  <a:lnTo>
                    <a:pt x="44" y="7696"/>
                  </a:lnTo>
                  <a:lnTo>
                    <a:pt x="35" y="7705"/>
                  </a:lnTo>
                  <a:lnTo>
                    <a:pt x="0" y="7714"/>
                  </a:lnTo>
                  <a:lnTo>
                    <a:pt x="62" y="7811"/>
                  </a:lnTo>
                  <a:lnTo>
                    <a:pt x="115" y="7943"/>
                  </a:lnTo>
                  <a:lnTo>
                    <a:pt x="124" y="8075"/>
                  </a:lnTo>
                  <a:lnTo>
                    <a:pt x="88" y="8172"/>
                  </a:lnTo>
                  <a:lnTo>
                    <a:pt x="132" y="8260"/>
                  </a:lnTo>
                  <a:lnTo>
                    <a:pt x="159" y="8375"/>
                  </a:lnTo>
                  <a:lnTo>
                    <a:pt x="203" y="8472"/>
                  </a:lnTo>
                  <a:lnTo>
                    <a:pt x="265" y="8507"/>
                  </a:lnTo>
                  <a:lnTo>
                    <a:pt x="388" y="8534"/>
                  </a:lnTo>
                  <a:lnTo>
                    <a:pt x="1243" y="8534"/>
                  </a:lnTo>
                  <a:lnTo>
                    <a:pt x="1490" y="8463"/>
                  </a:lnTo>
                  <a:lnTo>
                    <a:pt x="1569" y="8454"/>
                  </a:lnTo>
                  <a:lnTo>
                    <a:pt x="1693" y="8516"/>
                  </a:lnTo>
                  <a:lnTo>
                    <a:pt x="1772" y="8490"/>
                  </a:lnTo>
                  <a:lnTo>
                    <a:pt x="1842" y="8446"/>
                  </a:lnTo>
                  <a:lnTo>
                    <a:pt x="1904" y="8428"/>
                  </a:lnTo>
                  <a:lnTo>
                    <a:pt x="1984" y="8437"/>
                  </a:lnTo>
                  <a:lnTo>
                    <a:pt x="2054" y="8463"/>
                  </a:lnTo>
                  <a:lnTo>
                    <a:pt x="2186" y="8551"/>
                  </a:lnTo>
                  <a:lnTo>
                    <a:pt x="2539" y="8340"/>
                  </a:lnTo>
                  <a:lnTo>
                    <a:pt x="2671" y="8305"/>
                  </a:lnTo>
                  <a:lnTo>
                    <a:pt x="2988" y="8305"/>
                  </a:lnTo>
                  <a:lnTo>
                    <a:pt x="3050" y="8278"/>
                  </a:lnTo>
                  <a:lnTo>
                    <a:pt x="3156" y="8225"/>
                  </a:lnTo>
                  <a:lnTo>
                    <a:pt x="3464" y="8181"/>
                  </a:lnTo>
                  <a:lnTo>
                    <a:pt x="3464" y="8146"/>
                  </a:lnTo>
                  <a:lnTo>
                    <a:pt x="3500" y="7793"/>
                  </a:lnTo>
                  <a:lnTo>
                    <a:pt x="3491" y="7776"/>
                  </a:lnTo>
                  <a:lnTo>
                    <a:pt x="3376" y="7370"/>
                  </a:lnTo>
                  <a:lnTo>
                    <a:pt x="3200" y="6991"/>
                  </a:lnTo>
                  <a:lnTo>
                    <a:pt x="3165" y="6489"/>
                  </a:lnTo>
                  <a:lnTo>
                    <a:pt x="3244" y="6057"/>
                  </a:lnTo>
                  <a:lnTo>
                    <a:pt x="3394" y="5686"/>
                  </a:lnTo>
                  <a:lnTo>
                    <a:pt x="3614" y="5396"/>
                  </a:lnTo>
                  <a:lnTo>
                    <a:pt x="3685" y="5025"/>
                  </a:lnTo>
                  <a:lnTo>
                    <a:pt x="3650" y="4170"/>
                  </a:lnTo>
                  <a:lnTo>
                    <a:pt x="3597" y="4056"/>
                  </a:lnTo>
                  <a:lnTo>
                    <a:pt x="3464" y="3774"/>
                  </a:lnTo>
                  <a:lnTo>
                    <a:pt x="3685" y="3298"/>
                  </a:lnTo>
                  <a:lnTo>
                    <a:pt x="3755" y="2857"/>
                  </a:lnTo>
                  <a:lnTo>
                    <a:pt x="3940" y="2566"/>
                  </a:lnTo>
                  <a:lnTo>
                    <a:pt x="4046" y="1967"/>
                  </a:lnTo>
                  <a:lnTo>
                    <a:pt x="3993" y="1367"/>
                  </a:lnTo>
                  <a:lnTo>
                    <a:pt x="3843" y="777"/>
                  </a:lnTo>
                  <a:lnTo>
                    <a:pt x="3729" y="54"/>
                  </a:lnTo>
                  <a:lnTo>
                    <a:pt x="3685" y="89"/>
                  </a:lnTo>
                  <a:lnTo>
                    <a:pt x="3641" y="115"/>
                  </a:lnTo>
                  <a:lnTo>
                    <a:pt x="3597" y="98"/>
                  </a:lnTo>
                  <a:lnTo>
                    <a:pt x="3508" y="18"/>
                  </a:lnTo>
                  <a:lnTo>
                    <a:pt x="3464"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 name="Google Shape;3098;p54">
              <a:extLst>
                <a:ext uri="{FF2B5EF4-FFF2-40B4-BE49-F238E27FC236}">
                  <a16:creationId xmlns:a16="http://schemas.microsoft.com/office/drawing/2014/main" id="{5773C8EB-F751-95D0-FD28-8D858501923A}"/>
                </a:ext>
              </a:extLst>
            </p:cNvPr>
            <p:cNvSpPr/>
            <p:nvPr/>
          </p:nvSpPr>
          <p:spPr>
            <a:xfrm>
              <a:off x="7810155" y="1675748"/>
              <a:ext cx="520824" cy="513999"/>
            </a:xfrm>
            <a:custGeom>
              <a:avLst/>
              <a:gdLst/>
              <a:ahLst/>
              <a:cxnLst/>
              <a:rect l="l" t="t" r="r" b="b"/>
              <a:pathLst>
                <a:path w="7326" h="7230" extrusionOk="0">
                  <a:moveTo>
                    <a:pt x="5986" y="1"/>
                  </a:moveTo>
                  <a:lnTo>
                    <a:pt x="5686" y="107"/>
                  </a:lnTo>
                  <a:lnTo>
                    <a:pt x="5219" y="371"/>
                  </a:lnTo>
                  <a:lnTo>
                    <a:pt x="4461" y="697"/>
                  </a:lnTo>
                  <a:lnTo>
                    <a:pt x="3703" y="1023"/>
                  </a:lnTo>
                  <a:lnTo>
                    <a:pt x="3147" y="1314"/>
                  </a:lnTo>
                  <a:lnTo>
                    <a:pt x="3041" y="1781"/>
                  </a:lnTo>
                  <a:lnTo>
                    <a:pt x="2971" y="2522"/>
                  </a:lnTo>
                  <a:lnTo>
                    <a:pt x="2883" y="2954"/>
                  </a:lnTo>
                  <a:lnTo>
                    <a:pt x="2327" y="3016"/>
                  </a:lnTo>
                  <a:lnTo>
                    <a:pt x="1790" y="3113"/>
                  </a:lnTo>
                  <a:lnTo>
                    <a:pt x="1763" y="3333"/>
                  </a:lnTo>
                  <a:lnTo>
                    <a:pt x="1684" y="3536"/>
                  </a:lnTo>
                  <a:lnTo>
                    <a:pt x="1799" y="4144"/>
                  </a:lnTo>
                  <a:lnTo>
                    <a:pt x="1613" y="4267"/>
                  </a:lnTo>
                  <a:lnTo>
                    <a:pt x="1420" y="4347"/>
                  </a:lnTo>
                  <a:lnTo>
                    <a:pt x="1261" y="4452"/>
                  </a:lnTo>
                  <a:lnTo>
                    <a:pt x="1111" y="4576"/>
                  </a:lnTo>
                  <a:lnTo>
                    <a:pt x="820" y="4743"/>
                  </a:lnTo>
                  <a:lnTo>
                    <a:pt x="141" y="4972"/>
                  </a:lnTo>
                  <a:lnTo>
                    <a:pt x="0" y="5299"/>
                  </a:lnTo>
                  <a:lnTo>
                    <a:pt x="159" y="5501"/>
                  </a:lnTo>
                  <a:lnTo>
                    <a:pt x="256" y="5660"/>
                  </a:lnTo>
                  <a:lnTo>
                    <a:pt x="371" y="5792"/>
                  </a:lnTo>
                  <a:lnTo>
                    <a:pt x="767" y="5854"/>
                  </a:lnTo>
                  <a:lnTo>
                    <a:pt x="926" y="5907"/>
                  </a:lnTo>
                  <a:lnTo>
                    <a:pt x="1058" y="6004"/>
                  </a:lnTo>
                  <a:lnTo>
                    <a:pt x="1137" y="6110"/>
                  </a:lnTo>
                  <a:lnTo>
                    <a:pt x="1199" y="6233"/>
                  </a:lnTo>
                  <a:lnTo>
                    <a:pt x="1278" y="6304"/>
                  </a:lnTo>
                  <a:lnTo>
                    <a:pt x="1367" y="6330"/>
                  </a:lnTo>
                  <a:lnTo>
                    <a:pt x="1552" y="6401"/>
                  </a:lnTo>
                  <a:lnTo>
                    <a:pt x="1666" y="6586"/>
                  </a:lnTo>
                  <a:lnTo>
                    <a:pt x="1781" y="6832"/>
                  </a:lnTo>
                  <a:lnTo>
                    <a:pt x="1913" y="7053"/>
                  </a:lnTo>
                  <a:lnTo>
                    <a:pt x="2812" y="7229"/>
                  </a:lnTo>
                  <a:lnTo>
                    <a:pt x="4240" y="6824"/>
                  </a:lnTo>
                  <a:lnTo>
                    <a:pt x="4743" y="6832"/>
                  </a:lnTo>
                  <a:lnTo>
                    <a:pt x="4963" y="6885"/>
                  </a:lnTo>
                  <a:lnTo>
                    <a:pt x="5175" y="6841"/>
                  </a:lnTo>
                  <a:lnTo>
                    <a:pt x="5421" y="6947"/>
                  </a:lnTo>
                  <a:lnTo>
                    <a:pt x="5598" y="6744"/>
                  </a:lnTo>
                  <a:lnTo>
                    <a:pt x="5598" y="6515"/>
                  </a:lnTo>
                  <a:lnTo>
                    <a:pt x="5836" y="6401"/>
                  </a:lnTo>
                  <a:lnTo>
                    <a:pt x="6418" y="6312"/>
                  </a:lnTo>
                  <a:lnTo>
                    <a:pt x="7026" y="6092"/>
                  </a:lnTo>
                  <a:lnTo>
                    <a:pt x="6964" y="5916"/>
                  </a:lnTo>
                  <a:lnTo>
                    <a:pt x="7035" y="5863"/>
                  </a:lnTo>
                  <a:lnTo>
                    <a:pt x="7246" y="5810"/>
                  </a:lnTo>
                  <a:lnTo>
                    <a:pt x="7290" y="5731"/>
                  </a:lnTo>
                  <a:lnTo>
                    <a:pt x="7255" y="5669"/>
                  </a:lnTo>
                  <a:lnTo>
                    <a:pt x="7114" y="5484"/>
                  </a:lnTo>
                  <a:lnTo>
                    <a:pt x="7061" y="5378"/>
                  </a:lnTo>
                  <a:lnTo>
                    <a:pt x="7149" y="5316"/>
                  </a:lnTo>
                  <a:lnTo>
                    <a:pt x="7140" y="5299"/>
                  </a:lnTo>
                  <a:lnTo>
                    <a:pt x="7079" y="5149"/>
                  </a:lnTo>
                  <a:lnTo>
                    <a:pt x="6867" y="4876"/>
                  </a:lnTo>
                  <a:lnTo>
                    <a:pt x="6744" y="4761"/>
                  </a:lnTo>
                  <a:lnTo>
                    <a:pt x="6700" y="4664"/>
                  </a:lnTo>
                  <a:lnTo>
                    <a:pt x="6726" y="4567"/>
                  </a:lnTo>
                  <a:lnTo>
                    <a:pt x="6770" y="4496"/>
                  </a:lnTo>
                  <a:lnTo>
                    <a:pt x="6841" y="4267"/>
                  </a:lnTo>
                  <a:lnTo>
                    <a:pt x="6841" y="4250"/>
                  </a:lnTo>
                  <a:lnTo>
                    <a:pt x="6841" y="4206"/>
                  </a:lnTo>
                  <a:lnTo>
                    <a:pt x="6656" y="4047"/>
                  </a:lnTo>
                  <a:lnTo>
                    <a:pt x="6559" y="3941"/>
                  </a:lnTo>
                  <a:lnTo>
                    <a:pt x="6532" y="3853"/>
                  </a:lnTo>
                  <a:lnTo>
                    <a:pt x="6691" y="3668"/>
                  </a:lnTo>
                  <a:lnTo>
                    <a:pt x="6797" y="3597"/>
                  </a:lnTo>
                  <a:lnTo>
                    <a:pt x="6902" y="3589"/>
                  </a:lnTo>
                  <a:lnTo>
                    <a:pt x="6894" y="3544"/>
                  </a:lnTo>
                  <a:lnTo>
                    <a:pt x="6885" y="3518"/>
                  </a:lnTo>
                  <a:lnTo>
                    <a:pt x="6867" y="3500"/>
                  </a:lnTo>
                  <a:lnTo>
                    <a:pt x="6902" y="3509"/>
                  </a:lnTo>
                  <a:lnTo>
                    <a:pt x="6920" y="3509"/>
                  </a:lnTo>
                  <a:lnTo>
                    <a:pt x="6938" y="3518"/>
                  </a:lnTo>
                  <a:lnTo>
                    <a:pt x="6964" y="3544"/>
                  </a:lnTo>
                  <a:lnTo>
                    <a:pt x="6964" y="3395"/>
                  </a:lnTo>
                  <a:lnTo>
                    <a:pt x="7026" y="3271"/>
                  </a:lnTo>
                  <a:lnTo>
                    <a:pt x="7220" y="3042"/>
                  </a:lnTo>
                  <a:lnTo>
                    <a:pt x="7184" y="2901"/>
                  </a:lnTo>
                  <a:lnTo>
                    <a:pt x="7211" y="2866"/>
                  </a:lnTo>
                  <a:lnTo>
                    <a:pt x="7308" y="2689"/>
                  </a:lnTo>
                  <a:lnTo>
                    <a:pt x="7326" y="2637"/>
                  </a:lnTo>
                  <a:lnTo>
                    <a:pt x="7299" y="2213"/>
                  </a:lnTo>
                  <a:lnTo>
                    <a:pt x="7281" y="2116"/>
                  </a:lnTo>
                  <a:lnTo>
                    <a:pt x="7237" y="2002"/>
                  </a:lnTo>
                  <a:lnTo>
                    <a:pt x="7052" y="1693"/>
                  </a:lnTo>
                  <a:lnTo>
                    <a:pt x="6999" y="1570"/>
                  </a:lnTo>
                  <a:lnTo>
                    <a:pt x="6973" y="1429"/>
                  </a:lnTo>
                  <a:lnTo>
                    <a:pt x="6964" y="1305"/>
                  </a:lnTo>
                  <a:lnTo>
                    <a:pt x="6946" y="1191"/>
                  </a:lnTo>
                  <a:lnTo>
                    <a:pt x="6894" y="1067"/>
                  </a:lnTo>
                  <a:lnTo>
                    <a:pt x="6744" y="882"/>
                  </a:lnTo>
                  <a:lnTo>
                    <a:pt x="6567" y="732"/>
                  </a:lnTo>
                  <a:lnTo>
                    <a:pt x="6365" y="636"/>
                  </a:lnTo>
                  <a:lnTo>
                    <a:pt x="6162" y="600"/>
                  </a:lnTo>
                  <a:lnTo>
                    <a:pt x="6074" y="521"/>
                  </a:lnTo>
                  <a:lnTo>
                    <a:pt x="6003" y="345"/>
                  </a:lnTo>
                  <a:lnTo>
                    <a:pt x="5968" y="151"/>
                  </a:lnTo>
                  <a:lnTo>
                    <a:pt x="598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3099;p54">
              <a:extLst>
                <a:ext uri="{FF2B5EF4-FFF2-40B4-BE49-F238E27FC236}">
                  <a16:creationId xmlns:a16="http://schemas.microsoft.com/office/drawing/2014/main" id="{CB773864-670A-2553-4432-885B6F82A9A5}"/>
                </a:ext>
              </a:extLst>
            </p:cNvPr>
            <p:cNvSpPr/>
            <p:nvPr/>
          </p:nvSpPr>
          <p:spPr>
            <a:xfrm>
              <a:off x="7100698" y="3103407"/>
              <a:ext cx="628671" cy="349775"/>
            </a:xfrm>
            <a:custGeom>
              <a:avLst/>
              <a:gdLst/>
              <a:ahLst/>
              <a:cxnLst/>
              <a:rect l="l" t="t" r="r" b="b"/>
              <a:pathLst>
                <a:path w="8843" h="4920" extrusionOk="0">
                  <a:moveTo>
                    <a:pt x="4990" y="0"/>
                  </a:moveTo>
                  <a:lnTo>
                    <a:pt x="4699" y="141"/>
                  </a:lnTo>
                  <a:lnTo>
                    <a:pt x="3077" y="97"/>
                  </a:lnTo>
                  <a:lnTo>
                    <a:pt x="2566" y="203"/>
                  </a:lnTo>
                  <a:lnTo>
                    <a:pt x="2504" y="335"/>
                  </a:lnTo>
                  <a:lnTo>
                    <a:pt x="2284" y="635"/>
                  </a:lnTo>
                  <a:lnTo>
                    <a:pt x="1914" y="662"/>
                  </a:lnTo>
                  <a:lnTo>
                    <a:pt x="1402" y="1058"/>
                  </a:lnTo>
                  <a:lnTo>
                    <a:pt x="1173" y="1146"/>
                  </a:lnTo>
                  <a:lnTo>
                    <a:pt x="662" y="1499"/>
                  </a:lnTo>
                  <a:lnTo>
                    <a:pt x="459" y="1693"/>
                  </a:lnTo>
                  <a:lnTo>
                    <a:pt x="1" y="2283"/>
                  </a:lnTo>
                  <a:lnTo>
                    <a:pt x="71" y="2971"/>
                  </a:lnTo>
                  <a:lnTo>
                    <a:pt x="204" y="3112"/>
                  </a:lnTo>
                  <a:lnTo>
                    <a:pt x="345" y="3235"/>
                  </a:lnTo>
                  <a:lnTo>
                    <a:pt x="583" y="3482"/>
                  </a:lnTo>
                  <a:lnTo>
                    <a:pt x="644" y="3606"/>
                  </a:lnTo>
                  <a:lnTo>
                    <a:pt x="591" y="4064"/>
                  </a:lnTo>
                  <a:lnTo>
                    <a:pt x="1015" y="4805"/>
                  </a:lnTo>
                  <a:lnTo>
                    <a:pt x="1217" y="4910"/>
                  </a:lnTo>
                  <a:lnTo>
                    <a:pt x="1217" y="4919"/>
                  </a:lnTo>
                  <a:lnTo>
                    <a:pt x="1834" y="4505"/>
                  </a:lnTo>
                  <a:lnTo>
                    <a:pt x="1923" y="4443"/>
                  </a:lnTo>
                  <a:lnTo>
                    <a:pt x="2019" y="4408"/>
                  </a:lnTo>
                  <a:lnTo>
                    <a:pt x="2125" y="4381"/>
                  </a:lnTo>
                  <a:lnTo>
                    <a:pt x="2231" y="4381"/>
                  </a:lnTo>
                  <a:lnTo>
                    <a:pt x="2443" y="4320"/>
                  </a:lnTo>
                  <a:lnTo>
                    <a:pt x="3060" y="3967"/>
                  </a:lnTo>
                  <a:lnTo>
                    <a:pt x="3289" y="3879"/>
                  </a:lnTo>
                  <a:lnTo>
                    <a:pt x="4162" y="3756"/>
                  </a:lnTo>
                  <a:lnTo>
                    <a:pt x="5272" y="3976"/>
                  </a:lnTo>
                  <a:lnTo>
                    <a:pt x="5475" y="4064"/>
                  </a:lnTo>
                  <a:lnTo>
                    <a:pt x="5581" y="4091"/>
                  </a:lnTo>
                  <a:lnTo>
                    <a:pt x="6868" y="4029"/>
                  </a:lnTo>
                  <a:lnTo>
                    <a:pt x="8798" y="3570"/>
                  </a:lnTo>
                  <a:lnTo>
                    <a:pt x="8710" y="3209"/>
                  </a:lnTo>
                  <a:lnTo>
                    <a:pt x="8419" y="2962"/>
                  </a:lnTo>
                  <a:lnTo>
                    <a:pt x="7881" y="2795"/>
                  </a:lnTo>
                  <a:lnTo>
                    <a:pt x="7802" y="2557"/>
                  </a:lnTo>
                  <a:lnTo>
                    <a:pt x="7996" y="2336"/>
                  </a:lnTo>
                  <a:lnTo>
                    <a:pt x="8437" y="2098"/>
                  </a:lnTo>
                  <a:lnTo>
                    <a:pt x="8781" y="1931"/>
                  </a:lnTo>
                  <a:lnTo>
                    <a:pt x="8842" y="1543"/>
                  </a:lnTo>
                  <a:lnTo>
                    <a:pt x="8710" y="1032"/>
                  </a:lnTo>
                  <a:lnTo>
                    <a:pt x="8428" y="300"/>
                  </a:lnTo>
                  <a:lnTo>
                    <a:pt x="7573" y="908"/>
                  </a:lnTo>
                  <a:lnTo>
                    <a:pt x="7062" y="1296"/>
                  </a:lnTo>
                  <a:lnTo>
                    <a:pt x="6348" y="1446"/>
                  </a:lnTo>
                  <a:lnTo>
                    <a:pt x="5854" y="1129"/>
                  </a:lnTo>
                  <a:lnTo>
                    <a:pt x="5528" y="450"/>
                  </a:lnTo>
                  <a:lnTo>
                    <a:pt x="5202" y="44"/>
                  </a:lnTo>
                  <a:lnTo>
                    <a:pt x="511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3100;p54">
              <a:extLst>
                <a:ext uri="{FF2B5EF4-FFF2-40B4-BE49-F238E27FC236}">
                  <a16:creationId xmlns:a16="http://schemas.microsoft.com/office/drawing/2014/main" id="{3B0C6015-307B-0EF8-1AA8-B8D80E30D618}"/>
                </a:ext>
              </a:extLst>
            </p:cNvPr>
            <p:cNvSpPr/>
            <p:nvPr/>
          </p:nvSpPr>
          <p:spPr>
            <a:xfrm>
              <a:off x="6388824" y="2987451"/>
              <a:ext cx="798440" cy="574143"/>
            </a:xfrm>
            <a:custGeom>
              <a:avLst/>
              <a:gdLst/>
              <a:ahLst/>
              <a:cxnLst/>
              <a:rect l="l" t="t" r="r" b="b"/>
              <a:pathLst>
                <a:path w="11231" h="8076" extrusionOk="0">
                  <a:moveTo>
                    <a:pt x="6259" y="1"/>
                  </a:moveTo>
                  <a:lnTo>
                    <a:pt x="6074" y="133"/>
                  </a:lnTo>
                  <a:lnTo>
                    <a:pt x="5792" y="212"/>
                  </a:lnTo>
                  <a:lnTo>
                    <a:pt x="5712" y="256"/>
                  </a:lnTo>
                  <a:lnTo>
                    <a:pt x="5659" y="318"/>
                  </a:lnTo>
                  <a:lnTo>
                    <a:pt x="5633" y="406"/>
                  </a:lnTo>
                  <a:lnTo>
                    <a:pt x="5615" y="609"/>
                  </a:lnTo>
                  <a:lnTo>
                    <a:pt x="5562" y="688"/>
                  </a:lnTo>
                  <a:lnTo>
                    <a:pt x="5501" y="732"/>
                  </a:lnTo>
                  <a:lnTo>
                    <a:pt x="5280" y="803"/>
                  </a:lnTo>
                  <a:lnTo>
                    <a:pt x="5324" y="891"/>
                  </a:lnTo>
                  <a:lnTo>
                    <a:pt x="5324" y="970"/>
                  </a:lnTo>
                  <a:lnTo>
                    <a:pt x="5298" y="1041"/>
                  </a:lnTo>
                  <a:lnTo>
                    <a:pt x="5245" y="1129"/>
                  </a:lnTo>
                  <a:lnTo>
                    <a:pt x="5271" y="1155"/>
                  </a:lnTo>
                  <a:lnTo>
                    <a:pt x="5280" y="1199"/>
                  </a:lnTo>
                  <a:lnTo>
                    <a:pt x="5280" y="1252"/>
                  </a:lnTo>
                  <a:lnTo>
                    <a:pt x="5245" y="1296"/>
                  </a:lnTo>
                  <a:lnTo>
                    <a:pt x="5219" y="1288"/>
                  </a:lnTo>
                  <a:lnTo>
                    <a:pt x="5122" y="1261"/>
                  </a:lnTo>
                  <a:lnTo>
                    <a:pt x="5086" y="1252"/>
                  </a:lnTo>
                  <a:lnTo>
                    <a:pt x="5016" y="1279"/>
                  </a:lnTo>
                  <a:lnTo>
                    <a:pt x="4954" y="1332"/>
                  </a:lnTo>
                  <a:lnTo>
                    <a:pt x="4901" y="1402"/>
                  </a:lnTo>
                  <a:lnTo>
                    <a:pt x="4866" y="1490"/>
                  </a:lnTo>
                  <a:lnTo>
                    <a:pt x="4928" y="1473"/>
                  </a:lnTo>
                  <a:lnTo>
                    <a:pt x="5060" y="1385"/>
                  </a:lnTo>
                  <a:lnTo>
                    <a:pt x="5113" y="1376"/>
                  </a:lnTo>
                  <a:lnTo>
                    <a:pt x="5166" y="1420"/>
                  </a:lnTo>
                  <a:lnTo>
                    <a:pt x="5157" y="1570"/>
                  </a:lnTo>
                  <a:lnTo>
                    <a:pt x="5219" y="1649"/>
                  </a:lnTo>
                  <a:lnTo>
                    <a:pt x="5122" y="1675"/>
                  </a:lnTo>
                  <a:lnTo>
                    <a:pt x="5016" y="1684"/>
                  </a:lnTo>
                  <a:lnTo>
                    <a:pt x="4919" y="1702"/>
                  </a:lnTo>
                  <a:lnTo>
                    <a:pt x="4866" y="1772"/>
                  </a:lnTo>
                  <a:lnTo>
                    <a:pt x="4901" y="1808"/>
                  </a:lnTo>
                  <a:lnTo>
                    <a:pt x="5025" y="1931"/>
                  </a:lnTo>
                  <a:lnTo>
                    <a:pt x="4989" y="1958"/>
                  </a:lnTo>
                  <a:lnTo>
                    <a:pt x="4954" y="1975"/>
                  </a:lnTo>
                  <a:lnTo>
                    <a:pt x="4910" y="1975"/>
                  </a:lnTo>
                  <a:lnTo>
                    <a:pt x="4831" y="1922"/>
                  </a:lnTo>
                  <a:lnTo>
                    <a:pt x="4795" y="1949"/>
                  </a:lnTo>
                  <a:lnTo>
                    <a:pt x="4769" y="1993"/>
                  </a:lnTo>
                  <a:lnTo>
                    <a:pt x="4751" y="2019"/>
                  </a:lnTo>
                  <a:lnTo>
                    <a:pt x="4734" y="2028"/>
                  </a:lnTo>
                  <a:lnTo>
                    <a:pt x="4707" y="2037"/>
                  </a:lnTo>
                  <a:lnTo>
                    <a:pt x="4681" y="2055"/>
                  </a:lnTo>
                  <a:lnTo>
                    <a:pt x="4646" y="2055"/>
                  </a:lnTo>
                  <a:lnTo>
                    <a:pt x="4619" y="2046"/>
                  </a:lnTo>
                  <a:lnTo>
                    <a:pt x="4557" y="1984"/>
                  </a:lnTo>
                  <a:lnTo>
                    <a:pt x="4549" y="1975"/>
                  </a:lnTo>
                  <a:lnTo>
                    <a:pt x="4452" y="2028"/>
                  </a:lnTo>
                  <a:lnTo>
                    <a:pt x="4540" y="2125"/>
                  </a:lnTo>
                  <a:lnTo>
                    <a:pt x="4769" y="2301"/>
                  </a:lnTo>
                  <a:lnTo>
                    <a:pt x="3738" y="2460"/>
                  </a:lnTo>
                  <a:lnTo>
                    <a:pt x="3508" y="2698"/>
                  </a:lnTo>
                  <a:lnTo>
                    <a:pt x="3464" y="2716"/>
                  </a:lnTo>
                  <a:lnTo>
                    <a:pt x="3412" y="2821"/>
                  </a:lnTo>
                  <a:lnTo>
                    <a:pt x="3129" y="3121"/>
                  </a:lnTo>
                  <a:lnTo>
                    <a:pt x="3032" y="3183"/>
                  </a:lnTo>
                  <a:lnTo>
                    <a:pt x="2468" y="3280"/>
                  </a:lnTo>
                  <a:lnTo>
                    <a:pt x="2318" y="3218"/>
                  </a:lnTo>
                  <a:lnTo>
                    <a:pt x="2054" y="3315"/>
                  </a:lnTo>
                  <a:lnTo>
                    <a:pt x="2001" y="3324"/>
                  </a:lnTo>
                  <a:lnTo>
                    <a:pt x="1975" y="3447"/>
                  </a:lnTo>
                  <a:lnTo>
                    <a:pt x="1895" y="3483"/>
                  </a:lnTo>
                  <a:lnTo>
                    <a:pt x="1701" y="3456"/>
                  </a:lnTo>
                  <a:lnTo>
                    <a:pt x="1657" y="3491"/>
                  </a:lnTo>
                  <a:lnTo>
                    <a:pt x="1649" y="3562"/>
                  </a:lnTo>
                  <a:lnTo>
                    <a:pt x="1657" y="3632"/>
                  </a:lnTo>
                  <a:lnTo>
                    <a:pt x="1640" y="3659"/>
                  </a:lnTo>
                  <a:lnTo>
                    <a:pt x="1622" y="3668"/>
                  </a:lnTo>
                  <a:lnTo>
                    <a:pt x="1613" y="3676"/>
                  </a:lnTo>
                  <a:lnTo>
                    <a:pt x="1604" y="3694"/>
                  </a:lnTo>
                  <a:lnTo>
                    <a:pt x="1578" y="3703"/>
                  </a:lnTo>
                  <a:lnTo>
                    <a:pt x="1560" y="3685"/>
                  </a:lnTo>
                  <a:lnTo>
                    <a:pt x="1552" y="3632"/>
                  </a:lnTo>
                  <a:lnTo>
                    <a:pt x="1525" y="3624"/>
                  </a:lnTo>
                  <a:lnTo>
                    <a:pt x="1322" y="3571"/>
                  </a:lnTo>
                  <a:lnTo>
                    <a:pt x="1243" y="3527"/>
                  </a:lnTo>
                  <a:lnTo>
                    <a:pt x="1181" y="3456"/>
                  </a:lnTo>
                  <a:lnTo>
                    <a:pt x="1040" y="3553"/>
                  </a:lnTo>
                  <a:lnTo>
                    <a:pt x="987" y="3553"/>
                  </a:lnTo>
                  <a:lnTo>
                    <a:pt x="926" y="3500"/>
                  </a:lnTo>
                  <a:lnTo>
                    <a:pt x="846" y="3518"/>
                  </a:lnTo>
                  <a:lnTo>
                    <a:pt x="767" y="3500"/>
                  </a:lnTo>
                  <a:lnTo>
                    <a:pt x="688" y="3509"/>
                  </a:lnTo>
                  <a:lnTo>
                    <a:pt x="617" y="3562"/>
                  </a:lnTo>
                  <a:lnTo>
                    <a:pt x="414" y="3826"/>
                  </a:lnTo>
                  <a:lnTo>
                    <a:pt x="256" y="3976"/>
                  </a:lnTo>
                  <a:lnTo>
                    <a:pt x="212" y="4056"/>
                  </a:lnTo>
                  <a:lnTo>
                    <a:pt x="176" y="4205"/>
                  </a:lnTo>
                  <a:lnTo>
                    <a:pt x="150" y="4232"/>
                  </a:lnTo>
                  <a:lnTo>
                    <a:pt x="115" y="4249"/>
                  </a:lnTo>
                  <a:lnTo>
                    <a:pt x="79" y="4276"/>
                  </a:lnTo>
                  <a:lnTo>
                    <a:pt x="53" y="4329"/>
                  </a:lnTo>
                  <a:lnTo>
                    <a:pt x="0" y="4540"/>
                  </a:lnTo>
                  <a:lnTo>
                    <a:pt x="71" y="4584"/>
                  </a:lnTo>
                  <a:lnTo>
                    <a:pt x="124" y="4646"/>
                  </a:lnTo>
                  <a:lnTo>
                    <a:pt x="159" y="4734"/>
                  </a:lnTo>
                  <a:lnTo>
                    <a:pt x="159" y="4858"/>
                  </a:lnTo>
                  <a:lnTo>
                    <a:pt x="124" y="4858"/>
                  </a:lnTo>
                  <a:lnTo>
                    <a:pt x="97" y="4787"/>
                  </a:lnTo>
                  <a:lnTo>
                    <a:pt x="53" y="4778"/>
                  </a:lnTo>
                  <a:lnTo>
                    <a:pt x="18" y="4822"/>
                  </a:lnTo>
                  <a:lnTo>
                    <a:pt x="0" y="4919"/>
                  </a:lnTo>
                  <a:lnTo>
                    <a:pt x="18" y="5016"/>
                  </a:lnTo>
                  <a:lnTo>
                    <a:pt x="44" y="5087"/>
                  </a:lnTo>
                  <a:lnTo>
                    <a:pt x="124" y="5219"/>
                  </a:lnTo>
                  <a:lnTo>
                    <a:pt x="159" y="5281"/>
                  </a:lnTo>
                  <a:lnTo>
                    <a:pt x="168" y="5334"/>
                  </a:lnTo>
                  <a:lnTo>
                    <a:pt x="159" y="5475"/>
                  </a:lnTo>
                  <a:lnTo>
                    <a:pt x="132" y="5651"/>
                  </a:lnTo>
                  <a:lnTo>
                    <a:pt x="132" y="5722"/>
                  </a:lnTo>
                  <a:lnTo>
                    <a:pt x="194" y="5774"/>
                  </a:lnTo>
                  <a:lnTo>
                    <a:pt x="247" y="5748"/>
                  </a:lnTo>
                  <a:lnTo>
                    <a:pt x="291" y="5774"/>
                  </a:lnTo>
                  <a:lnTo>
                    <a:pt x="335" y="5827"/>
                  </a:lnTo>
                  <a:lnTo>
                    <a:pt x="379" y="5854"/>
                  </a:lnTo>
                  <a:lnTo>
                    <a:pt x="423" y="5845"/>
                  </a:lnTo>
                  <a:lnTo>
                    <a:pt x="529" y="5792"/>
                  </a:lnTo>
                  <a:lnTo>
                    <a:pt x="591" y="5774"/>
                  </a:lnTo>
                  <a:lnTo>
                    <a:pt x="644" y="5810"/>
                  </a:lnTo>
                  <a:lnTo>
                    <a:pt x="635" y="5871"/>
                  </a:lnTo>
                  <a:lnTo>
                    <a:pt x="573" y="6012"/>
                  </a:lnTo>
                  <a:lnTo>
                    <a:pt x="573" y="6101"/>
                  </a:lnTo>
                  <a:lnTo>
                    <a:pt x="582" y="6153"/>
                  </a:lnTo>
                  <a:lnTo>
                    <a:pt x="652" y="6233"/>
                  </a:lnTo>
                  <a:lnTo>
                    <a:pt x="776" y="6347"/>
                  </a:lnTo>
                  <a:lnTo>
                    <a:pt x="793" y="6391"/>
                  </a:lnTo>
                  <a:lnTo>
                    <a:pt x="802" y="6541"/>
                  </a:lnTo>
                  <a:lnTo>
                    <a:pt x="811" y="6603"/>
                  </a:lnTo>
                  <a:lnTo>
                    <a:pt x="829" y="6656"/>
                  </a:lnTo>
                  <a:lnTo>
                    <a:pt x="908" y="6744"/>
                  </a:lnTo>
                  <a:lnTo>
                    <a:pt x="926" y="6788"/>
                  </a:lnTo>
                  <a:lnTo>
                    <a:pt x="873" y="6815"/>
                  </a:lnTo>
                  <a:lnTo>
                    <a:pt x="838" y="6850"/>
                  </a:lnTo>
                  <a:lnTo>
                    <a:pt x="829" y="6920"/>
                  </a:lnTo>
                  <a:lnTo>
                    <a:pt x="838" y="7000"/>
                  </a:lnTo>
                  <a:lnTo>
                    <a:pt x="855" y="7053"/>
                  </a:lnTo>
                  <a:lnTo>
                    <a:pt x="864" y="7053"/>
                  </a:lnTo>
                  <a:lnTo>
                    <a:pt x="1314" y="6771"/>
                  </a:lnTo>
                  <a:lnTo>
                    <a:pt x="1622" y="6647"/>
                  </a:lnTo>
                  <a:lnTo>
                    <a:pt x="1781" y="6629"/>
                  </a:lnTo>
                  <a:lnTo>
                    <a:pt x="2080" y="6665"/>
                  </a:lnTo>
                  <a:lnTo>
                    <a:pt x="2962" y="6938"/>
                  </a:lnTo>
                  <a:lnTo>
                    <a:pt x="3191" y="7061"/>
                  </a:lnTo>
                  <a:lnTo>
                    <a:pt x="3685" y="7582"/>
                  </a:lnTo>
                  <a:lnTo>
                    <a:pt x="3817" y="7723"/>
                  </a:lnTo>
                  <a:lnTo>
                    <a:pt x="4099" y="7872"/>
                  </a:lnTo>
                  <a:lnTo>
                    <a:pt x="4425" y="7916"/>
                  </a:lnTo>
                  <a:lnTo>
                    <a:pt x="5183" y="7881"/>
                  </a:lnTo>
                  <a:lnTo>
                    <a:pt x="5289" y="7846"/>
                  </a:lnTo>
                  <a:lnTo>
                    <a:pt x="5527" y="7828"/>
                  </a:lnTo>
                  <a:lnTo>
                    <a:pt x="6241" y="8075"/>
                  </a:lnTo>
                  <a:lnTo>
                    <a:pt x="6488" y="8058"/>
                  </a:lnTo>
                  <a:lnTo>
                    <a:pt x="7431" y="7881"/>
                  </a:lnTo>
                  <a:lnTo>
                    <a:pt x="8930" y="7590"/>
                  </a:lnTo>
                  <a:lnTo>
                    <a:pt x="9926" y="7220"/>
                  </a:lnTo>
                  <a:lnTo>
                    <a:pt x="10384" y="6938"/>
                  </a:lnTo>
                  <a:lnTo>
                    <a:pt x="10552" y="6885"/>
                  </a:lnTo>
                  <a:lnTo>
                    <a:pt x="10728" y="6850"/>
                  </a:lnTo>
                  <a:lnTo>
                    <a:pt x="10895" y="6771"/>
                  </a:lnTo>
                  <a:lnTo>
                    <a:pt x="11230" y="6550"/>
                  </a:lnTo>
                  <a:lnTo>
                    <a:pt x="11230" y="6541"/>
                  </a:lnTo>
                  <a:lnTo>
                    <a:pt x="11028" y="6436"/>
                  </a:lnTo>
                  <a:lnTo>
                    <a:pt x="10604" y="5695"/>
                  </a:lnTo>
                  <a:lnTo>
                    <a:pt x="10657" y="5237"/>
                  </a:lnTo>
                  <a:lnTo>
                    <a:pt x="10596" y="5113"/>
                  </a:lnTo>
                  <a:lnTo>
                    <a:pt x="10358" y="4866"/>
                  </a:lnTo>
                  <a:lnTo>
                    <a:pt x="10217" y="4743"/>
                  </a:lnTo>
                  <a:lnTo>
                    <a:pt x="10084" y="4602"/>
                  </a:lnTo>
                  <a:lnTo>
                    <a:pt x="10014" y="3914"/>
                  </a:lnTo>
                  <a:lnTo>
                    <a:pt x="9802" y="3668"/>
                  </a:lnTo>
                  <a:lnTo>
                    <a:pt x="9644" y="3359"/>
                  </a:lnTo>
                  <a:lnTo>
                    <a:pt x="9476" y="2892"/>
                  </a:lnTo>
                  <a:lnTo>
                    <a:pt x="9467" y="2804"/>
                  </a:lnTo>
                  <a:lnTo>
                    <a:pt x="9423" y="2636"/>
                  </a:lnTo>
                  <a:lnTo>
                    <a:pt x="9353" y="2196"/>
                  </a:lnTo>
                  <a:lnTo>
                    <a:pt x="9379" y="1561"/>
                  </a:lnTo>
                  <a:lnTo>
                    <a:pt x="9317" y="1411"/>
                  </a:lnTo>
                  <a:lnTo>
                    <a:pt x="9229" y="1393"/>
                  </a:lnTo>
                  <a:lnTo>
                    <a:pt x="9150" y="1349"/>
                  </a:lnTo>
                  <a:lnTo>
                    <a:pt x="9035" y="1235"/>
                  </a:lnTo>
                  <a:lnTo>
                    <a:pt x="8903" y="1173"/>
                  </a:lnTo>
                  <a:lnTo>
                    <a:pt x="8850" y="1252"/>
                  </a:lnTo>
                  <a:lnTo>
                    <a:pt x="8806" y="1323"/>
                  </a:lnTo>
                  <a:lnTo>
                    <a:pt x="8586" y="1226"/>
                  </a:lnTo>
                  <a:lnTo>
                    <a:pt x="8410" y="1058"/>
                  </a:lnTo>
                  <a:lnTo>
                    <a:pt x="8260" y="1006"/>
                  </a:lnTo>
                  <a:lnTo>
                    <a:pt x="8110" y="935"/>
                  </a:lnTo>
                  <a:lnTo>
                    <a:pt x="7810" y="688"/>
                  </a:lnTo>
                  <a:lnTo>
                    <a:pt x="7528" y="388"/>
                  </a:lnTo>
                  <a:lnTo>
                    <a:pt x="7272" y="265"/>
                  </a:lnTo>
                  <a:lnTo>
                    <a:pt x="6999" y="256"/>
                  </a:lnTo>
                  <a:lnTo>
                    <a:pt x="6620" y="195"/>
                  </a:lnTo>
                  <a:lnTo>
                    <a:pt x="6259"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Google Shape;3101;p54">
              <a:extLst>
                <a:ext uri="{FF2B5EF4-FFF2-40B4-BE49-F238E27FC236}">
                  <a16:creationId xmlns:a16="http://schemas.microsoft.com/office/drawing/2014/main" id="{2913AA96-1648-FE15-C0C6-97D0893CCF74}"/>
                </a:ext>
              </a:extLst>
            </p:cNvPr>
            <p:cNvSpPr/>
            <p:nvPr/>
          </p:nvSpPr>
          <p:spPr>
            <a:xfrm>
              <a:off x="5999650" y="3411106"/>
              <a:ext cx="283943" cy="166143"/>
            </a:xfrm>
            <a:custGeom>
              <a:avLst/>
              <a:gdLst/>
              <a:ahLst/>
              <a:cxnLst/>
              <a:rect l="l" t="t" r="r" b="b"/>
              <a:pathLst>
                <a:path w="3994" h="2337" extrusionOk="0">
                  <a:moveTo>
                    <a:pt x="1137" y="1"/>
                  </a:moveTo>
                  <a:lnTo>
                    <a:pt x="996" y="124"/>
                  </a:lnTo>
                  <a:lnTo>
                    <a:pt x="943" y="512"/>
                  </a:lnTo>
                  <a:lnTo>
                    <a:pt x="635" y="723"/>
                  </a:lnTo>
                  <a:lnTo>
                    <a:pt x="247" y="900"/>
                  </a:lnTo>
                  <a:lnTo>
                    <a:pt x="0" y="1138"/>
                  </a:lnTo>
                  <a:lnTo>
                    <a:pt x="846" y="1437"/>
                  </a:lnTo>
                  <a:lnTo>
                    <a:pt x="1146" y="1455"/>
                  </a:lnTo>
                  <a:lnTo>
                    <a:pt x="1234" y="1481"/>
                  </a:lnTo>
                  <a:lnTo>
                    <a:pt x="1322" y="1517"/>
                  </a:lnTo>
                  <a:lnTo>
                    <a:pt x="1410" y="1570"/>
                  </a:lnTo>
                  <a:lnTo>
                    <a:pt x="1481" y="1631"/>
                  </a:lnTo>
                  <a:lnTo>
                    <a:pt x="1622" y="1764"/>
                  </a:lnTo>
                  <a:lnTo>
                    <a:pt x="1657" y="1843"/>
                  </a:lnTo>
                  <a:lnTo>
                    <a:pt x="1666" y="1957"/>
                  </a:lnTo>
                  <a:lnTo>
                    <a:pt x="1622" y="2143"/>
                  </a:lnTo>
                  <a:lnTo>
                    <a:pt x="1640" y="2213"/>
                  </a:lnTo>
                  <a:lnTo>
                    <a:pt x="1728" y="2292"/>
                  </a:lnTo>
                  <a:lnTo>
                    <a:pt x="1825" y="2337"/>
                  </a:lnTo>
                  <a:lnTo>
                    <a:pt x="1860" y="2328"/>
                  </a:lnTo>
                  <a:lnTo>
                    <a:pt x="1904" y="2275"/>
                  </a:lnTo>
                  <a:lnTo>
                    <a:pt x="1975" y="2204"/>
                  </a:lnTo>
                  <a:lnTo>
                    <a:pt x="2063" y="2160"/>
                  </a:lnTo>
                  <a:lnTo>
                    <a:pt x="2133" y="2169"/>
                  </a:lnTo>
                  <a:lnTo>
                    <a:pt x="2213" y="2187"/>
                  </a:lnTo>
                  <a:lnTo>
                    <a:pt x="2301" y="2204"/>
                  </a:lnTo>
                  <a:lnTo>
                    <a:pt x="2592" y="2125"/>
                  </a:lnTo>
                  <a:lnTo>
                    <a:pt x="2697" y="2116"/>
                  </a:lnTo>
                  <a:lnTo>
                    <a:pt x="3456" y="2257"/>
                  </a:lnTo>
                  <a:lnTo>
                    <a:pt x="3641" y="2257"/>
                  </a:lnTo>
                  <a:lnTo>
                    <a:pt x="3993" y="2028"/>
                  </a:lnTo>
                  <a:lnTo>
                    <a:pt x="3605" y="1675"/>
                  </a:lnTo>
                  <a:lnTo>
                    <a:pt x="3173" y="1437"/>
                  </a:lnTo>
                  <a:lnTo>
                    <a:pt x="2838" y="1261"/>
                  </a:lnTo>
                  <a:lnTo>
                    <a:pt x="2689" y="1349"/>
                  </a:lnTo>
                  <a:lnTo>
                    <a:pt x="2504" y="1111"/>
                  </a:lnTo>
                  <a:lnTo>
                    <a:pt x="2116" y="723"/>
                  </a:lnTo>
                  <a:lnTo>
                    <a:pt x="1763" y="477"/>
                  </a:lnTo>
                  <a:lnTo>
                    <a:pt x="1446" y="424"/>
                  </a:lnTo>
                  <a:lnTo>
                    <a:pt x="1305" y="89"/>
                  </a:lnTo>
                  <a:lnTo>
                    <a:pt x="1137"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3102;p54">
              <a:extLst>
                <a:ext uri="{FF2B5EF4-FFF2-40B4-BE49-F238E27FC236}">
                  <a16:creationId xmlns:a16="http://schemas.microsoft.com/office/drawing/2014/main" id="{07DD35FD-00E3-5C5F-38A3-9393F7082011}"/>
                </a:ext>
              </a:extLst>
            </p:cNvPr>
            <p:cNvSpPr/>
            <p:nvPr/>
          </p:nvSpPr>
          <p:spPr>
            <a:xfrm>
              <a:off x="5930688" y="3198674"/>
              <a:ext cx="523952" cy="356600"/>
            </a:xfrm>
            <a:custGeom>
              <a:avLst/>
              <a:gdLst/>
              <a:ahLst/>
              <a:cxnLst/>
              <a:rect l="l" t="t" r="r" b="b"/>
              <a:pathLst>
                <a:path w="7370" h="5016" extrusionOk="0">
                  <a:moveTo>
                    <a:pt x="5959" y="0"/>
                  </a:moveTo>
                  <a:lnTo>
                    <a:pt x="5448" y="106"/>
                  </a:lnTo>
                  <a:lnTo>
                    <a:pt x="5430" y="274"/>
                  </a:lnTo>
                  <a:lnTo>
                    <a:pt x="5466" y="450"/>
                  </a:lnTo>
                  <a:lnTo>
                    <a:pt x="5404" y="714"/>
                  </a:lnTo>
                  <a:lnTo>
                    <a:pt x="5210" y="847"/>
                  </a:lnTo>
                  <a:lnTo>
                    <a:pt x="4919" y="838"/>
                  </a:lnTo>
                  <a:lnTo>
                    <a:pt x="4628" y="873"/>
                  </a:lnTo>
                  <a:lnTo>
                    <a:pt x="4002" y="1093"/>
                  </a:lnTo>
                  <a:lnTo>
                    <a:pt x="3429" y="1199"/>
                  </a:lnTo>
                  <a:lnTo>
                    <a:pt x="3165" y="1323"/>
                  </a:lnTo>
                  <a:lnTo>
                    <a:pt x="2742" y="1772"/>
                  </a:lnTo>
                  <a:lnTo>
                    <a:pt x="2389" y="1657"/>
                  </a:lnTo>
                  <a:lnTo>
                    <a:pt x="2257" y="1137"/>
                  </a:lnTo>
                  <a:lnTo>
                    <a:pt x="2037" y="988"/>
                  </a:lnTo>
                  <a:lnTo>
                    <a:pt x="1816" y="1287"/>
                  </a:lnTo>
                  <a:lnTo>
                    <a:pt x="1252" y="1552"/>
                  </a:lnTo>
                  <a:lnTo>
                    <a:pt x="1041" y="1790"/>
                  </a:lnTo>
                  <a:lnTo>
                    <a:pt x="864" y="2063"/>
                  </a:lnTo>
                  <a:lnTo>
                    <a:pt x="609" y="2565"/>
                  </a:lnTo>
                  <a:lnTo>
                    <a:pt x="283" y="2980"/>
                  </a:lnTo>
                  <a:lnTo>
                    <a:pt x="115" y="3138"/>
                  </a:lnTo>
                  <a:lnTo>
                    <a:pt x="0" y="3359"/>
                  </a:lnTo>
                  <a:lnTo>
                    <a:pt x="309" y="3658"/>
                  </a:lnTo>
                  <a:lnTo>
                    <a:pt x="679" y="3826"/>
                  </a:lnTo>
                  <a:lnTo>
                    <a:pt x="759" y="3897"/>
                  </a:lnTo>
                  <a:lnTo>
                    <a:pt x="794" y="4020"/>
                  </a:lnTo>
                  <a:lnTo>
                    <a:pt x="855" y="4064"/>
                  </a:lnTo>
                  <a:lnTo>
                    <a:pt x="926" y="4073"/>
                  </a:lnTo>
                  <a:lnTo>
                    <a:pt x="961" y="4126"/>
                  </a:lnTo>
                  <a:lnTo>
                    <a:pt x="970" y="4126"/>
                  </a:lnTo>
                  <a:lnTo>
                    <a:pt x="1217" y="3888"/>
                  </a:lnTo>
                  <a:lnTo>
                    <a:pt x="1605" y="3711"/>
                  </a:lnTo>
                  <a:lnTo>
                    <a:pt x="1913" y="3500"/>
                  </a:lnTo>
                  <a:lnTo>
                    <a:pt x="1966" y="3112"/>
                  </a:lnTo>
                  <a:lnTo>
                    <a:pt x="2107" y="2989"/>
                  </a:lnTo>
                  <a:lnTo>
                    <a:pt x="2275" y="3077"/>
                  </a:lnTo>
                  <a:lnTo>
                    <a:pt x="2416" y="3412"/>
                  </a:lnTo>
                  <a:lnTo>
                    <a:pt x="2733" y="3465"/>
                  </a:lnTo>
                  <a:lnTo>
                    <a:pt x="3086" y="3711"/>
                  </a:lnTo>
                  <a:lnTo>
                    <a:pt x="3474" y="4099"/>
                  </a:lnTo>
                  <a:lnTo>
                    <a:pt x="3659" y="4337"/>
                  </a:lnTo>
                  <a:lnTo>
                    <a:pt x="3808" y="4249"/>
                  </a:lnTo>
                  <a:lnTo>
                    <a:pt x="4143" y="4425"/>
                  </a:lnTo>
                  <a:lnTo>
                    <a:pt x="4575" y="4663"/>
                  </a:lnTo>
                  <a:lnTo>
                    <a:pt x="4963" y="5016"/>
                  </a:lnTo>
                  <a:lnTo>
                    <a:pt x="5298" y="4804"/>
                  </a:lnTo>
                  <a:lnTo>
                    <a:pt x="5580" y="4681"/>
                  </a:lnTo>
                  <a:lnTo>
                    <a:pt x="6347" y="4514"/>
                  </a:lnTo>
                  <a:lnTo>
                    <a:pt x="7088" y="4170"/>
                  </a:lnTo>
                  <a:lnTo>
                    <a:pt x="7220" y="4135"/>
                  </a:lnTo>
                  <a:lnTo>
                    <a:pt x="7308" y="4082"/>
                  </a:lnTo>
                  <a:lnTo>
                    <a:pt x="7299" y="4082"/>
                  </a:lnTo>
                  <a:lnTo>
                    <a:pt x="7282" y="4029"/>
                  </a:lnTo>
                  <a:lnTo>
                    <a:pt x="7273" y="3949"/>
                  </a:lnTo>
                  <a:lnTo>
                    <a:pt x="7282" y="3879"/>
                  </a:lnTo>
                  <a:lnTo>
                    <a:pt x="7317" y="3844"/>
                  </a:lnTo>
                  <a:lnTo>
                    <a:pt x="7370" y="3817"/>
                  </a:lnTo>
                  <a:lnTo>
                    <a:pt x="7352" y="3773"/>
                  </a:lnTo>
                  <a:lnTo>
                    <a:pt x="7273" y="3685"/>
                  </a:lnTo>
                  <a:lnTo>
                    <a:pt x="7255" y="3632"/>
                  </a:lnTo>
                  <a:lnTo>
                    <a:pt x="7246" y="3570"/>
                  </a:lnTo>
                  <a:lnTo>
                    <a:pt x="7237" y="3420"/>
                  </a:lnTo>
                  <a:lnTo>
                    <a:pt x="7220" y="3376"/>
                  </a:lnTo>
                  <a:lnTo>
                    <a:pt x="7096" y="3262"/>
                  </a:lnTo>
                  <a:lnTo>
                    <a:pt x="7026" y="3182"/>
                  </a:lnTo>
                  <a:lnTo>
                    <a:pt x="7017" y="3130"/>
                  </a:lnTo>
                  <a:lnTo>
                    <a:pt x="7017" y="3041"/>
                  </a:lnTo>
                  <a:lnTo>
                    <a:pt x="7079" y="2900"/>
                  </a:lnTo>
                  <a:lnTo>
                    <a:pt x="7088" y="2839"/>
                  </a:lnTo>
                  <a:lnTo>
                    <a:pt x="7035" y="2803"/>
                  </a:lnTo>
                  <a:lnTo>
                    <a:pt x="6973" y="2821"/>
                  </a:lnTo>
                  <a:lnTo>
                    <a:pt x="6867" y="2874"/>
                  </a:lnTo>
                  <a:lnTo>
                    <a:pt x="6823" y="2883"/>
                  </a:lnTo>
                  <a:lnTo>
                    <a:pt x="6779" y="2856"/>
                  </a:lnTo>
                  <a:lnTo>
                    <a:pt x="6735" y="2803"/>
                  </a:lnTo>
                  <a:lnTo>
                    <a:pt x="6691" y="2777"/>
                  </a:lnTo>
                  <a:lnTo>
                    <a:pt x="6638" y="2803"/>
                  </a:lnTo>
                  <a:lnTo>
                    <a:pt x="6576" y="2751"/>
                  </a:lnTo>
                  <a:lnTo>
                    <a:pt x="6576" y="2680"/>
                  </a:lnTo>
                  <a:lnTo>
                    <a:pt x="6603" y="2504"/>
                  </a:lnTo>
                  <a:lnTo>
                    <a:pt x="6612" y="2363"/>
                  </a:lnTo>
                  <a:lnTo>
                    <a:pt x="6603" y="2310"/>
                  </a:lnTo>
                  <a:lnTo>
                    <a:pt x="6568" y="2248"/>
                  </a:lnTo>
                  <a:lnTo>
                    <a:pt x="6488" y="2116"/>
                  </a:lnTo>
                  <a:lnTo>
                    <a:pt x="6462" y="2045"/>
                  </a:lnTo>
                  <a:lnTo>
                    <a:pt x="6444" y="1948"/>
                  </a:lnTo>
                  <a:lnTo>
                    <a:pt x="6462" y="1851"/>
                  </a:lnTo>
                  <a:lnTo>
                    <a:pt x="6497" y="1807"/>
                  </a:lnTo>
                  <a:lnTo>
                    <a:pt x="6541" y="1816"/>
                  </a:lnTo>
                  <a:lnTo>
                    <a:pt x="6568" y="1887"/>
                  </a:lnTo>
                  <a:lnTo>
                    <a:pt x="6603" y="1887"/>
                  </a:lnTo>
                  <a:lnTo>
                    <a:pt x="6603" y="1763"/>
                  </a:lnTo>
                  <a:lnTo>
                    <a:pt x="6568" y="1675"/>
                  </a:lnTo>
                  <a:lnTo>
                    <a:pt x="6515" y="1613"/>
                  </a:lnTo>
                  <a:lnTo>
                    <a:pt x="6444" y="1569"/>
                  </a:lnTo>
                  <a:lnTo>
                    <a:pt x="6497" y="1358"/>
                  </a:lnTo>
                  <a:lnTo>
                    <a:pt x="6523" y="1305"/>
                  </a:lnTo>
                  <a:lnTo>
                    <a:pt x="6559" y="1278"/>
                  </a:lnTo>
                  <a:lnTo>
                    <a:pt x="6594" y="1261"/>
                  </a:lnTo>
                  <a:lnTo>
                    <a:pt x="6620" y="1234"/>
                  </a:lnTo>
                  <a:lnTo>
                    <a:pt x="6656" y="1085"/>
                  </a:lnTo>
                  <a:lnTo>
                    <a:pt x="6700" y="1005"/>
                  </a:lnTo>
                  <a:lnTo>
                    <a:pt x="6858" y="855"/>
                  </a:lnTo>
                  <a:lnTo>
                    <a:pt x="7061" y="591"/>
                  </a:lnTo>
                  <a:lnTo>
                    <a:pt x="7132" y="538"/>
                  </a:lnTo>
                  <a:lnTo>
                    <a:pt x="7211" y="529"/>
                  </a:lnTo>
                  <a:lnTo>
                    <a:pt x="7290" y="547"/>
                  </a:lnTo>
                  <a:lnTo>
                    <a:pt x="7370" y="529"/>
                  </a:lnTo>
                  <a:lnTo>
                    <a:pt x="7008" y="212"/>
                  </a:lnTo>
                  <a:lnTo>
                    <a:pt x="6462" y="9"/>
                  </a:lnTo>
                  <a:lnTo>
                    <a:pt x="5959"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3103;p54">
              <a:extLst>
                <a:ext uri="{FF2B5EF4-FFF2-40B4-BE49-F238E27FC236}">
                  <a16:creationId xmlns:a16="http://schemas.microsoft.com/office/drawing/2014/main" id="{9FE5764E-B5D1-6B66-3C5B-29930542D624}"/>
                </a:ext>
              </a:extLst>
            </p:cNvPr>
            <p:cNvSpPr/>
            <p:nvPr/>
          </p:nvSpPr>
          <p:spPr>
            <a:xfrm>
              <a:off x="5712000" y="3412386"/>
              <a:ext cx="290839" cy="491960"/>
            </a:xfrm>
            <a:custGeom>
              <a:avLst/>
              <a:gdLst/>
              <a:ahLst/>
              <a:cxnLst/>
              <a:rect l="l" t="t" r="r" b="b"/>
              <a:pathLst>
                <a:path w="4091" h="6920" extrusionOk="0">
                  <a:moveTo>
                    <a:pt x="1067" y="0"/>
                  </a:moveTo>
                  <a:lnTo>
                    <a:pt x="979" y="62"/>
                  </a:lnTo>
                  <a:lnTo>
                    <a:pt x="599" y="503"/>
                  </a:lnTo>
                  <a:lnTo>
                    <a:pt x="591" y="741"/>
                  </a:lnTo>
                  <a:lnTo>
                    <a:pt x="670" y="855"/>
                  </a:lnTo>
                  <a:lnTo>
                    <a:pt x="758" y="749"/>
                  </a:lnTo>
                  <a:lnTo>
                    <a:pt x="917" y="608"/>
                  </a:lnTo>
                  <a:lnTo>
                    <a:pt x="1075" y="547"/>
                  </a:lnTo>
                  <a:lnTo>
                    <a:pt x="1252" y="591"/>
                  </a:lnTo>
                  <a:lnTo>
                    <a:pt x="1428" y="714"/>
                  </a:lnTo>
                  <a:lnTo>
                    <a:pt x="1587" y="882"/>
                  </a:lnTo>
                  <a:lnTo>
                    <a:pt x="1860" y="1270"/>
                  </a:lnTo>
                  <a:lnTo>
                    <a:pt x="1904" y="1367"/>
                  </a:lnTo>
                  <a:lnTo>
                    <a:pt x="1922" y="1463"/>
                  </a:lnTo>
                  <a:lnTo>
                    <a:pt x="1922" y="1825"/>
                  </a:lnTo>
                  <a:lnTo>
                    <a:pt x="1922" y="1860"/>
                  </a:lnTo>
                  <a:lnTo>
                    <a:pt x="1939" y="1922"/>
                  </a:lnTo>
                  <a:lnTo>
                    <a:pt x="1966" y="1975"/>
                  </a:lnTo>
                  <a:lnTo>
                    <a:pt x="1983" y="2028"/>
                  </a:lnTo>
                  <a:lnTo>
                    <a:pt x="1983" y="2107"/>
                  </a:lnTo>
                  <a:lnTo>
                    <a:pt x="1966" y="2195"/>
                  </a:lnTo>
                  <a:lnTo>
                    <a:pt x="1913" y="2310"/>
                  </a:lnTo>
                  <a:lnTo>
                    <a:pt x="1860" y="2415"/>
                  </a:lnTo>
                  <a:lnTo>
                    <a:pt x="1807" y="2460"/>
                  </a:lnTo>
                  <a:lnTo>
                    <a:pt x="1737" y="2477"/>
                  </a:lnTo>
                  <a:lnTo>
                    <a:pt x="1243" y="2795"/>
                  </a:lnTo>
                  <a:lnTo>
                    <a:pt x="1190" y="2795"/>
                  </a:lnTo>
                  <a:lnTo>
                    <a:pt x="1155" y="2856"/>
                  </a:lnTo>
                  <a:lnTo>
                    <a:pt x="934" y="3130"/>
                  </a:lnTo>
                  <a:lnTo>
                    <a:pt x="899" y="3156"/>
                  </a:lnTo>
                  <a:lnTo>
                    <a:pt x="714" y="3218"/>
                  </a:lnTo>
                  <a:lnTo>
                    <a:pt x="688" y="3253"/>
                  </a:lnTo>
                  <a:lnTo>
                    <a:pt x="661" y="3279"/>
                  </a:lnTo>
                  <a:lnTo>
                    <a:pt x="608" y="3315"/>
                  </a:lnTo>
                  <a:lnTo>
                    <a:pt x="582" y="3438"/>
                  </a:lnTo>
                  <a:lnTo>
                    <a:pt x="555" y="3491"/>
                  </a:lnTo>
                  <a:lnTo>
                    <a:pt x="520" y="3517"/>
                  </a:lnTo>
                  <a:lnTo>
                    <a:pt x="432" y="3561"/>
                  </a:lnTo>
                  <a:lnTo>
                    <a:pt x="397" y="3606"/>
                  </a:lnTo>
                  <a:lnTo>
                    <a:pt x="344" y="3747"/>
                  </a:lnTo>
                  <a:lnTo>
                    <a:pt x="317" y="3764"/>
                  </a:lnTo>
                  <a:lnTo>
                    <a:pt x="264" y="3773"/>
                  </a:lnTo>
                  <a:lnTo>
                    <a:pt x="212" y="3791"/>
                  </a:lnTo>
                  <a:lnTo>
                    <a:pt x="168" y="3817"/>
                  </a:lnTo>
                  <a:lnTo>
                    <a:pt x="132" y="3861"/>
                  </a:lnTo>
                  <a:lnTo>
                    <a:pt x="0" y="4055"/>
                  </a:lnTo>
                  <a:lnTo>
                    <a:pt x="0" y="4143"/>
                  </a:lnTo>
                  <a:lnTo>
                    <a:pt x="44" y="4275"/>
                  </a:lnTo>
                  <a:lnTo>
                    <a:pt x="106" y="4346"/>
                  </a:lnTo>
                  <a:lnTo>
                    <a:pt x="176" y="4417"/>
                  </a:lnTo>
                  <a:lnTo>
                    <a:pt x="247" y="4487"/>
                  </a:lnTo>
                  <a:lnTo>
                    <a:pt x="300" y="4663"/>
                  </a:lnTo>
                  <a:lnTo>
                    <a:pt x="353" y="4760"/>
                  </a:lnTo>
                  <a:lnTo>
                    <a:pt x="414" y="4848"/>
                  </a:lnTo>
                  <a:lnTo>
                    <a:pt x="741" y="5386"/>
                  </a:lnTo>
                  <a:lnTo>
                    <a:pt x="873" y="5783"/>
                  </a:lnTo>
                  <a:lnTo>
                    <a:pt x="873" y="5889"/>
                  </a:lnTo>
                  <a:lnTo>
                    <a:pt x="829" y="5924"/>
                  </a:lnTo>
                  <a:lnTo>
                    <a:pt x="626" y="6285"/>
                  </a:lnTo>
                  <a:lnTo>
                    <a:pt x="573" y="6365"/>
                  </a:lnTo>
                  <a:lnTo>
                    <a:pt x="617" y="6382"/>
                  </a:lnTo>
                  <a:lnTo>
                    <a:pt x="705" y="6356"/>
                  </a:lnTo>
                  <a:lnTo>
                    <a:pt x="802" y="6329"/>
                  </a:lnTo>
                  <a:lnTo>
                    <a:pt x="890" y="6312"/>
                  </a:lnTo>
                  <a:lnTo>
                    <a:pt x="952" y="6373"/>
                  </a:lnTo>
                  <a:lnTo>
                    <a:pt x="952" y="6453"/>
                  </a:lnTo>
                  <a:lnTo>
                    <a:pt x="934" y="6523"/>
                  </a:lnTo>
                  <a:lnTo>
                    <a:pt x="943" y="6594"/>
                  </a:lnTo>
                  <a:lnTo>
                    <a:pt x="996" y="6638"/>
                  </a:lnTo>
                  <a:lnTo>
                    <a:pt x="1075" y="6656"/>
                  </a:lnTo>
                  <a:lnTo>
                    <a:pt x="1217" y="6664"/>
                  </a:lnTo>
                  <a:lnTo>
                    <a:pt x="1358" y="6726"/>
                  </a:lnTo>
                  <a:lnTo>
                    <a:pt x="1622" y="6920"/>
                  </a:lnTo>
                  <a:lnTo>
                    <a:pt x="1701" y="6911"/>
                  </a:lnTo>
                  <a:lnTo>
                    <a:pt x="1710" y="6911"/>
                  </a:lnTo>
                  <a:lnTo>
                    <a:pt x="1763" y="6735"/>
                  </a:lnTo>
                  <a:lnTo>
                    <a:pt x="1789" y="6338"/>
                  </a:lnTo>
                  <a:lnTo>
                    <a:pt x="1895" y="6171"/>
                  </a:lnTo>
                  <a:lnTo>
                    <a:pt x="2045" y="6118"/>
                  </a:lnTo>
                  <a:lnTo>
                    <a:pt x="2160" y="6144"/>
                  </a:lnTo>
                  <a:lnTo>
                    <a:pt x="2230" y="6127"/>
                  </a:lnTo>
                  <a:lnTo>
                    <a:pt x="2265" y="5924"/>
                  </a:lnTo>
                  <a:lnTo>
                    <a:pt x="2362" y="5889"/>
                  </a:lnTo>
                  <a:lnTo>
                    <a:pt x="2548" y="5959"/>
                  </a:lnTo>
                  <a:lnTo>
                    <a:pt x="2645" y="5924"/>
                  </a:lnTo>
                  <a:lnTo>
                    <a:pt x="2636" y="5765"/>
                  </a:lnTo>
                  <a:lnTo>
                    <a:pt x="2645" y="4937"/>
                  </a:lnTo>
                  <a:lnTo>
                    <a:pt x="2653" y="4848"/>
                  </a:lnTo>
                  <a:lnTo>
                    <a:pt x="2680" y="4804"/>
                  </a:lnTo>
                  <a:lnTo>
                    <a:pt x="2715" y="4769"/>
                  </a:lnTo>
                  <a:lnTo>
                    <a:pt x="2724" y="4716"/>
                  </a:lnTo>
                  <a:lnTo>
                    <a:pt x="2662" y="4637"/>
                  </a:lnTo>
                  <a:lnTo>
                    <a:pt x="2715" y="4584"/>
                  </a:lnTo>
                  <a:lnTo>
                    <a:pt x="2768" y="4655"/>
                  </a:lnTo>
                  <a:lnTo>
                    <a:pt x="2830" y="4699"/>
                  </a:lnTo>
                  <a:lnTo>
                    <a:pt x="2891" y="4716"/>
                  </a:lnTo>
                  <a:lnTo>
                    <a:pt x="3024" y="4734"/>
                  </a:lnTo>
                  <a:lnTo>
                    <a:pt x="3050" y="4743"/>
                  </a:lnTo>
                  <a:lnTo>
                    <a:pt x="3076" y="4743"/>
                  </a:lnTo>
                  <a:lnTo>
                    <a:pt x="3112" y="4725"/>
                  </a:lnTo>
                  <a:lnTo>
                    <a:pt x="3138" y="4690"/>
                  </a:lnTo>
                  <a:lnTo>
                    <a:pt x="3138" y="4655"/>
                  </a:lnTo>
                  <a:lnTo>
                    <a:pt x="3156" y="4610"/>
                  </a:lnTo>
                  <a:lnTo>
                    <a:pt x="3209" y="4593"/>
                  </a:lnTo>
                  <a:lnTo>
                    <a:pt x="3297" y="4584"/>
                  </a:lnTo>
                  <a:lnTo>
                    <a:pt x="3649" y="4637"/>
                  </a:lnTo>
                  <a:lnTo>
                    <a:pt x="3738" y="4637"/>
                  </a:lnTo>
                  <a:lnTo>
                    <a:pt x="4064" y="4575"/>
                  </a:lnTo>
                  <a:lnTo>
                    <a:pt x="4090" y="4531"/>
                  </a:lnTo>
                  <a:lnTo>
                    <a:pt x="4090" y="4399"/>
                  </a:lnTo>
                  <a:lnTo>
                    <a:pt x="4073" y="4320"/>
                  </a:lnTo>
                  <a:lnTo>
                    <a:pt x="4037" y="4223"/>
                  </a:lnTo>
                  <a:lnTo>
                    <a:pt x="3993" y="4134"/>
                  </a:lnTo>
                  <a:lnTo>
                    <a:pt x="3940" y="4073"/>
                  </a:lnTo>
                  <a:lnTo>
                    <a:pt x="3861" y="4037"/>
                  </a:lnTo>
                  <a:lnTo>
                    <a:pt x="3711" y="4029"/>
                  </a:lnTo>
                  <a:lnTo>
                    <a:pt x="3658" y="3976"/>
                  </a:lnTo>
                  <a:lnTo>
                    <a:pt x="3685" y="3976"/>
                  </a:lnTo>
                  <a:lnTo>
                    <a:pt x="3711" y="3923"/>
                  </a:lnTo>
                  <a:lnTo>
                    <a:pt x="3738" y="3844"/>
                  </a:lnTo>
                  <a:lnTo>
                    <a:pt x="3738" y="3791"/>
                  </a:lnTo>
                  <a:lnTo>
                    <a:pt x="3738" y="3747"/>
                  </a:lnTo>
                  <a:lnTo>
                    <a:pt x="3720" y="3702"/>
                  </a:lnTo>
                  <a:lnTo>
                    <a:pt x="3702" y="3667"/>
                  </a:lnTo>
                  <a:lnTo>
                    <a:pt x="3676" y="3650"/>
                  </a:lnTo>
                  <a:lnTo>
                    <a:pt x="3605" y="3614"/>
                  </a:lnTo>
                  <a:lnTo>
                    <a:pt x="3570" y="3588"/>
                  </a:lnTo>
                  <a:lnTo>
                    <a:pt x="3544" y="3544"/>
                  </a:lnTo>
                  <a:lnTo>
                    <a:pt x="3455" y="3235"/>
                  </a:lnTo>
                  <a:lnTo>
                    <a:pt x="3447" y="3138"/>
                  </a:lnTo>
                  <a:lnTo>
                    <a:pt x="3464" y="3050"/>
                  </a:lnTo>
                  <a:lnTo>
                    <a:pt x="3605" y="2830"/>
                  </a:lnTo>
                  <a:lnTo>
                    <a:pt x="3623" y="2574"/>
                  </a:lnTo>
                  <a:lnTo>
                    <a:pt x="3623" y="2319"/>
                  </a:lnTo>
                  <a:lnTo>
                    <a:pt x="3685" y="2081"/>
                  </a:lnTo>
                  <a:lnTo>
                    <a:pt x="3738" y="1939"/>
                  </a:lnTo>
                  <a:lnTo>
                    <a:pt x="3755" y="1825"/>
                  </a:lnTo>
                  <a:lnTo>
                    <a:pt x="3764" y="1719"/>
                  </a:lnTo>
                  <a:lnTo>
                    <a:pt x="3782" y="1587"/>
                  </a:lnTo>
                  <a:lnTo>
                    <a:pt x="3835" y="1472"/>
                  </a:lnTo>
                  <a:lnTo>
                    <a:pt x="3914" y="1375"/>
                  </a:lnTo>
                  <a:lnTo>
                    <a:pt x="3967" y="1261"/>
                  </a:lnTo>
                  <a:lnTo>
                    <a:pt x="3949" y="1120"/>
                  </a:lnTo>
                  <a:lnTo>
                    <a:pt x="4037" y="1120"/>
                  </a:lnTo>
                  <a:lnTo>
                    <a:pt x="4002" y="1067"/>
                  </a:lnTo>
                  <a:lnTo>
                    <a:pt x="3931" y="1058"/>
                  </a:lnTo>
                  <a:lnTo>
                    <a:pt x="3870" y="1014"/>
                  </a:lnTo>
                  <a:lnTo>
                    <a:pt x="3835" y="891"/>
                  </a:lnTo>
                  <a:lnTo>
                    <a:pt x="3755" y="820"/>
                  </a:lnTo>
                  <a:lnTo>
                    <a:pt x="3385" y="652"/>
                  </a:lnTo>
                  <a:lnTo>
                    <a:pt x="3076" y="353"/>
                  </a:lnTo>
                  <a:lnTo>
                    <a:pt x="2847" y="379"/>
                  </a:lnTo>
                  <a:lnTo>
                    <a:pt x="2618" y="370"/>
                  </a:lnTo>
                  <a:lnTo>
                    <a:pt x="2433" y="265"/>
                  </a:lnTo>
                  <a:lnTo>
                    <a:pt x="2283" y="97"/>
                  </a:lnTo>
                  <a:lnTo>
                    <a:pt x="2072" y="35"/>
                  </a:lnTo>
                  <a:lnTo>
                    <a:pt x="1851" y="88"/>
                  </a:lnTo>
                  <a:lnTo>
                    <a:pt x="1657" y="88"/>
                  </a:lnTo>
                  <a:lnTo>
                    <a:pt x="1472" y="27"/>
                  </a:lnTo>
                  <a:lnTo>
                    <a:pt x="1269" y="62"/>
                  </a:lnTo>
                  <a:lnTo>
                    <a:pt x="1164" y="27"/>
                  </a:lnTo>
                  <a:lnTo>
                    <a:pt x="1067"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3104;p54">
              <a:extLst>
                <a:ext uri="{FF2B5EF4-FFF2-40B4-BE49-F238E27FC236}">
                  <a16:creationId xmlns:a16="http://schemas.microsoft.com/office/drawing/2014/main" id="{3483EAC4-BD59-1B4C-3B22-9506DCDD4196}"/>
                </a:ext>
              </a:extLst>
            </p:cNvPr>
            <p:cNvSpPr/>
            <p:nvPr/>
          </p:nvSpPr>
          <p:spPr>
            <a:xfrm>
              <a:off x="3192678" y="1485854"/>
              <a:ext cx="572223" cy="291479"/>
            </a:xfrm>
            <a:custGeom>
              <a:avLst/>
              <a:gdLst/>
              <a:ahLst/>
              <a:cxnLst/>
              <a:rect l="l" t="t" r="r" b="b"/>
              <a:pathLst>
                <a:path w="8049" h="4100" extrusionOk="0">
                  <a:moveTo>
                    <a:pt x="247" y="1"/>
                  </a:moveTo>
                  <a:lnTo>
                    <a:pt x="35" y="292"/>
                  </a:lnTo>
                  <a:lnTo>
                    <a:pt x="150" y="733"/>
                  </a:lnTo>
                  <a:lnTo>
                    <a:pt x="203" y="1138"/>
                  </a:lnTo>
                  <a:lnTo>
                    <a:pt x="62" y="1649"/>
                  </a:lnTo>
                  <a:lnTo>
                    <a:pt x="0" y="2020"/>
                  </a:lnTo>
                  <a:lnTo>
                    <a:pt x="62" y="2496"/>
                  </a:lnTo>
                  <a:lnTo>
                    <a:pt x="124" y="2831"/>
                  </a:lnTo>
                  <a:lnTo>
                    <a:pt x="150" y="2857"/>
                  </a:lnTo>
                  <a:lnTo>
                    <a:pt x="238" y="2848"/>
                  </a:lnTo>
                  <a:lnTo>
                    <a:pt x="406" y="2804"/>
                  </a:lnTo>
                  <a:lnTo>
                    <a:pt x="441" y="2822"/>
                  </a:lnTo>
                  <a:lnTo>
                    <a:pt x="494" y="2883"/>
                  </a:lnTo>
                  <a:lnTo>
                    <a:pt x="529" y="2892"/>
                  </a:lnTo>
                  <a:lnTo>
                    <a:pt x="688" y="2892"/>
                  </a:lnTo>
                  <a:lnTo>
                    <a:pt x="855" y="2919"/>
                  </a:lnTo>
                  <a:lnTo>
                    <a:pt x="1173" y="3042"/>
                  </a:lnTo>
                  <a:lnTo>
                    <a:pt x="1331" y="3069"/>
                  </a:lnTo>
                  <a:lnTo>
                    <a:pt x="1446" y="3130"/>
                  </a:lnTo>
                  <a:lnTo>
                    <a:pt x="1684" y="3377"/>
                  </a:lnTo>
                  <a:lnTo>
                    <a:pt x="1816" y="3395"/>
                  </a:lnTo>
                  <a:lnTo>
                    <a:pt x="1878" y="3342"/>
                  </a:lnTo>
                  <a:lnTo>
                    <a:pt x="1904" y="3254"/>
                  </a:lnTo>
                  <a:lnTo>
                    <a:pt x="1922" y="3165"/>
                  </a:lnTo>
                  <a:lnTo>
                    <a:pt x="1922" y="3104"/>
                  </a:lnTo>
                  <a:lnTo>
                    <a:pt x="1878" y="2998"/>
                  </a:lnTo>
                  <a:lnTo>
                    <a:pt x="1781" y="2901"/>
                  </a:lnTo>
                  <a:lnTo>
                    <a:pt x="1754" y="2804"/>
                  </a:lnTo>
                  <a:lnTo>
                    <a:pt x="1869" y="2839"/>
                  </a:lnTo>
                  <a:lnTo>
                    <a:pt x="1966" y="2919"/>
                  </a:lnTo>
                  <a:lnTo>
                    <a:pt x="2010" y="3051"/>
                  </a:lnTo>
                  <a:lnTo>
                    <a:pt x="1975" y="3183"/>
                  </a:lnTo>
                  <a:lnTo>
                    <a:pt x="2019" y="3192"/>
                  </a:lnTo>
                  <a:lnTo>
                    <a:pt x="2054" y="3218"/>
                  </a:lnTo>
                  <a:lnTo>
                    <a:pt x="2107" y="3271"/>
                  </a:lnTo>
                  <a:lnTo>
                    <a:pt x="2072" y="3465"/>
                  </a:lnTo>
                  <a:lnTo>
                    <a:pt x="2213" y="3527"/>
                  </a:lnTo>
                  <a:lnTo>
                    <a:pt x="2768" y="3456"/>
                  </a:lnTo>
                  <a:lnTo>
                    <a:pt x="2883" y="3456"/>
                  </a:lnTo>
                  <a:lnTo>
                    <a:pt x="2936" y="3500"/>
                  </a:lnTo>
                  <a:lnTo>
                    <a:pt x="2953" y="3545"/>
                  </a:lnTo>
                  <a:lnTo>
                    <a:pt x="3006" y="3562"/>
                  </a:lnTo>
                  <a:lnTo>
                    <a:pt x="3121" y="3571"/>
                  </a:lnTo>
                  <a:lnTo>
                    <a:pt x="3174" y="3553"/>
                  </a:lnTo>
                  <a:lnTo>
                    <a:pt x="3209" y="3527"/>
                  </a:lnTo>
                  <a:lnTo>
                    <a:pt x="3226" y="3500"/>
                  </a:lnTo>
                  <a:lnTo>
                    <a:pt x="3253" y="3483"/>
                  </a:lnTo>
                  <a:lnTo>
                    <a:pt x="3297" y="3465"/>
                  </a:lnTo>
                  <a:lnTo>
                    <a:pt x="3482" y="3430"/>
                  </a:lnTo>
                  <a:lnTo>
                    <a:pt x="3561" y="3368"/>
                  </a:lnTo>
                  <a:lnTo>
                    <a:pt x="3614" y="3359"/>
                  </a:lnTo>
                  <a:lnTo>
                    <a:pt x="3632" y="3342"/>
                  </a:lnTo>
                  <a:lnTo>
                    <a:pt x="3667" y="3289"/>
                  </a:lnTo>
                  <a:lnTo>
                    <a:pt x="3694" y="3271"/>
                  </a:lnTo>
                  <a:lnTo>
                    <a:pt x="3720" y="3280"/>
                  </a:lnTo>
                  <a:lnTo>
                    <a:pt x="3764" y="3315"/>
                  </a:lnTo>
                  <a:lnTo>
                    <a:pt x="3861" y="3324"/>
                  </a:lnTo>
                  <a:lnTo>
                    <a:pt x="3888" y="3315"/>
                  </a:lnTo>
                  <a:lnTo>
                    <a:pt x="3914" y="3280"/>
                  </a:lnTo>
                  <a:lnTo>
                    <a:pt x="3914" y="3245"/>
                  </a:lnTo>
                  <a:lnTo>
                    <a:pt x="3896" y="3227"/>
                  </a:lnTo>
                  <a:lnTo>
                    <a:pt x="3896" y="3201"/>
                  </a:lnTo>
                  <a:lnTo>
                    <a:pt x="3888" y="3174"/>
                  </a:lnTo>
                  <a:lnTo>
                    <a:pt x="3896" y="3139"/>
                  </a:lnTo>
                  <a:lnTo>
                    <a:pt x="3932" y="3086"/>
                  </a:lnTo>
                  <a:lnTo>
                    <a:pt x="3976" y="3060"/>
                  </a:lnTo>
                  <a:lnTo>
                    <a:pt x="4055" y="3033"/>
                  </a:lnTo>
                  <a:lnTo>
                    <a:pt x="4090" y="2998"/>
                  </a:lnTo>
                  <a:lnTo>
                    <a:pt x="4143" y="2927"/>
                  </a:lnTo>
                  <a:lnTo>
                    <a:pt x="4187" y="2831"/>
                  </a:lnTo>
                  <a:lnTo>
                    <a:pt x="4222" y="2716"/>
                  </a:lnTo>
                  <a:lnTo>
                    <a:pt x="4240" y="2601"/>
                  </a:lnTo>
                  <a:lnTo>
                    <a:pt x="4249" y="2593"/>
                  </a:lnTo>
                  <a:lnTo>
                    <a:pt x="4267" y="2566"/>
                  </a:lnTo>
                  <a:lnTo>
                    <a:pt x="4275" y="2531"/>
                  </a:lnTo>
                  <a:lnTo>
                    <a:pt x="4249" y="2513"/>
                  </a:lnTo>
                  <a:lnTo>
                    <a:pt x="4240" y="2504"/>
                  </a:lnTo>
                  <a:lnTo>
                    <a:pt x="4214" y="2460"/>
                  </a:lnTo>
                  <a:lnTo>
                    <a:pt x="4187" y="2407"/>
                  </a:lnTo>
                  <a:lnTo>
                    <a:pt x="4152" y="2363"/>
                  </a:lnTo>
                  <a:lnTo>
                    <a:pt x="4134" y="2319"/>
                  </a:lnTo>
                  <a:lnTo>
                    <a:pt x="4187" y="2302"/>
                  </a:lnTo>
                  <a:lnTo>
                    <a:pt x="4267" y="2258"/>
                  </a:lnTo>
                  <a:lnTo>
                    <a:pt x="4346" y="2152"/>
                  </a:lnTo>
                  <a:lnTo>
                    <a:pt x="4408" y="2037"/>
                  </a:lnTo>
                  <a:lnTo>
                    <a:pt x="4452" y="1878"/>
                  </a:lnTo>
                  <a:lnTo>
                    <a:pt x="4381" y="1817"/>
                  </a:lnTo>
                  <a:lnTo>
                    <a:pt x="4267" y="1773"/>
                  </a:lnTo>
                  <a:lnTo>
                    <a:pt x="4161" y="1755"/>
                  </a:lnTo>
                  <a:lnTo>
                    <a:pt x="4126" y="1764"/>
                  </a:lnTo>
                  <a:lnTo>
                    <a:pt x="4099" y="1826"/>
                  </a:lnTo>
                  <a:lnTo>
                    <a:pt x="4064" y="1834"/>
                  </a:lnTo>
                  <a:lnTo>
                    <a:pt x="4029" y="1834"/>
                  </a:lnTo>
                  <a:lnTo>
                    <a:pt x="4020" y="1817"/>
                  </a:lnTo>
                  <a:lnTo>
                    <a:pt x="4011" y="1808"/>
                  </a:lnTo>
                  <a:lnTo>
                    <a:pt x="3984" y="1790"/>
                  </a:lnTo>
                  <a:lnTo>
                    <a:pt x="3526" y="1693"/>
                  </a:lnTo>
                  <a:lnTo>
                    <a:pt x="2098" y="1006"/>
                  </a:lnTo>
                  <a:lnTo>
                    <a:pt x="1093" y="574"/>
                  </a:lnTo>
                  <a:lnTo>
                    <a:pt x="388" y="133"/>
                  </a:lnTo>
                  <a:lnTo>
                    <a:pt x="247" y="1"/>
                  </a:lnTo>
                  <a:close/>
                  <a:moveTo>
                    <a:pt x="5025" y="1852"/>
                  </a:moveTo>
                  <a:lnTo>
                    <a:pt x="4954" y="1861"/>
                  </a:lnTo>
                  <a:lnTo>
                    <a:pt x="4901" y="1923"/>
                  </a:lnTo>
                  <a:lnTo>
                    <a:pt x="4875" y="1923"/>
                  </a:lnTo>
                  <a:lnTo>
                    <a:pt x="4734" y="1896"/>
                  </a:lnTo>
                  <a:lnTo>
                    <a:pt x="4549" y="2028"/>
                  </a:lnTo>
                  <a:lnTo>
                    <a:pt x="4381" y="2222"/>
                  </a:lnTo>
                  <a:lnTo>
                    <a:pt x="4267" y="2390"/>
                  </a:lnTo>
                  <a:lnTo>
                    <a:pt x="4364" y="2460"/>
                  </a:lnTo>
                  <a:lnTo>
                    <a:pt x="4355" y="2540"/>
                  </a:lnTo>
                  <a:lnTo>
                    <a:pt x="4302" y="2628"/>
                  </a:lnTo>
                  <a:lnTo>
                    <a:pt x="4240" y="2866"/>
                  </a:lnTo>
                  <a:lnTo>
                    <a:pt x="4161" y="2989"/>
                  </a:lnTo>
                  <a:lnTo>
                    <a:pt x="4064" y="3095"/>
                  </a:lnTo>
                  <a:lnTo>
                    <a:pt x="3984" y="3148"/>
                  </a:lnTo>
                  <a:lnTo>
                    <a:pt x="4020" y="3227"/>
                  </a:lnTo>
                  <a:lnTo>
                    <a:pt x="4029" y="3307"/>
                  </a:lnTo>
                  <a:lnTo>
                    <a:pt x="4055" y="3368"/>
                  </a:lnTo>
                  <a:lnTo>
                    <a:pt x="4108" y="3395"/>
                  </a:lnTo>
                  <a:lnTo>
                    <a:pt x="4099" y="3421"/>
                  </a:lnTo>
                  <a:lnTo>
                    <a:pt x="4099" y="3430"/>
                  </a:lnTo>
                  <a:lnTo>
                    <a:pt x="4081" y="3439"/>
                  </a:lnTo>
                  <a:lnTo>
                    <a:pt x="4337" y="3580"/>
                  </a:lnTo>
                  <a:lnTo>
                    <a:pt x="4425" y="3659"/>
                  </a:lnTo>
                  <a:lnTo>
                    <a:pt x="4522" y="3783"/>
                  </a:lnTo>
                  <a:lnTo>
                    <a:pt x="4619" y="3862"/>
                  </a:lnTo>
                  <a:lnTo>
                    <a:pt x="4884" y="3985"/>
                  </a:lnTo>
                  <a:lnTo>
                    <a:pt x="4972" y="4073"/>
                  </a:lnTo>
                  <a:lnTo>
                    <a:pt x="5069" y="4056"/>
                  </a:lnTo>
                  <a:lnTo>
                    <a:pt x="5122" y="4100"/>
                  </a:lnTo>
                  <a:lnTo>
                    <a:pt x="5280" y="3888"/>
                  </a:lnTo>
                  <a:lnTo>
                    <a:pt x="5527" y="3677"/>
                  </a:lnTo>
                  <a:lnTo>
                    <a:pt x="5642" y="3624"/>
                  </a:lnTo>
                  <a:lnTo>
                    <a:pt x="5836" y="3430"/>
                  </a:lnTo>
                  <a:lnTo>
                    <a:pt x="6038" y="3280"/>
                  </a:lnTo>
                  <a:lnTo>
                    <a:pt x="6285" y="3298"/>
                  </a:lnTo>
                  <a:lnTo>
                    <a:pt x="6506" y="3492"/>
                  </a:lnTo>
                  <a:lnTo>
                    <a:pt x="6647" y="3791"/>
                  </a:lnTo>
                  <a:lnTo>
                    <a:pt x="6779" y="3906"/>
                  </a:lnTo>
                  <a:lnTo>
                    <a:pt x="6946" y="3888"/>
                  </a:lnTo>
                  <a:lnTo>
                    <a:pt x="7026" y="3747"/>
                  </a:lnTo>
                  <a:lnTo>
                    <a:pt x="7070" y="3597"/>
                  </a:lnTo>
                  <a:lnTo>
                    <a:pt x="7334" y="3403"/>
                  </a:lnTo>
                  <a:lnTo>
                    <a:pt x="7634" y="3289"/>
                  </a:lnTo>
                  <a:lnTo>
                    <a:pt x="7889" y="3148"/>
                  </a:lnTo>
                  <a:lnTo>
                    <a:pt x="8013" y="2839"/>
                  </a:lnTo>
                  <a:lnTo>
                    <a:pt x="8004" y="2645"/>
                  </a:lnTo>
                  <a:lnTo>
                    <a:pt x="7951" y="2460"/>
                  </a:lnTo>
                  <a:lnTo>
                    <a:pt x="8048" y="2416"/>
                  </a:lnTo>
                  <a:lnTo>
                    <a:pt x="6814" y="2231"/>
                  </a:lnTo>
                  <a:lnTo>
                    <a:pt x="5897" y="2011"/>
                  </a:lnTo>
                  <a:lnTo>
                    <a:pt x="5025" y="1852"/>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3105;p54">
              <a:extLst>
                <a:ext uri="{FF2B5EF4-FFF2-40B4-BE49-F238E27FC236}">
                  <a16:creationId xmlns:a16="http://schemas.microsoft.com/office/drawing/2014/main" id="{3B2D4B05-C433-A9EF-E9DC-B3713010392F}"/>
                </a:ext>
              </a:extLst>
            </p:cNvPr>
            <p:cNvSpPr/>
            <p:nvPr/>
          </p:nvSpPr>
          <p:spPr>
            <a:xfrm>
              <a:off x="2720109" y="1506542"/>
              <a:ext cx="486984" cy="407431"/>
            </a:xfrm>
            <a:custGeom>
              <a:avLst/>
              <a:gdLst/>
              <a:ahLst/>
              <a:cxnLst/>
              <a:rect l="l" t="t" r="r" b="b"/>
              <a:pathLst>
                <a:path w="6850" h="5731" extrusionOk="0">
                  <a:moveTo>
                    <a:pt x="6682" y="1"/>
                  </a:moveTo>
                  <a:lnTo>
                    <a:pt x="5863" y="89"/>
                  </a:lnTo>
                  <a:lnTo>
                    <a:pt x="5060" y="195"/>
                  </a:lnTo>
                  <a:lnTo>
                    <a:pt x="4558" y="318"/>
                  </a:lnTo>
                  <a:lnTo>
                    <a:pt x="4108" y="450"/>
                  </a:lnTo>
                  <a:lnTo>
                    <a:pt x="3888" y="777"/>
                  </a:lnTo>
                  <a:lnTo>
                    <a:pt x="3721" y="1120"/>
                  </a:lnTo>
                  <a:lnTo>
                    <a:pt x="3447" y="1332"/>
                  </a:lnTo>
                  <a:lnTo>
                    <a:pt x="3156" y="1411"/>
                  </a:lnTo>
                  <a:lnTo>
                    <a:pt x="2892" y="1244"/>
                  </a:lnTo>
                  <a:lnTo>
                    <a:pt x="2689" y="962"/>
                  </a:lnTo>
                  <a:lnTo>
                    <a:pt x="2434" y="794"/>
                  </a:lnTo>
                  <a:lnTo>
                    <a:pt x="1887" y="794"/>
                  </a:lnTo>
                  <a:lnTo>
                    <a:pt x="1129" y="847"/>
                  </a:lnTo>
                  <a:lnTo>
                    <a:pt x="433" y="1006"/>
                  </a:lnTo>
                  <a:lnTo>
                    <a:pt x="486" y="1120"/>
                  </a:lnTo>
                  <a:lnTo>
                    <a:pt x="521" y="1975"/>
                  </a:lnTo>
                  <a:lnTo>
                    <a:pt x="450" y="2346"/>
                  </a:lnTo>
                  <a:lnTo>
                    <a:pt x="230" y="2636"/>
                  </a:lnTo>
                  <a:lnTo>
                    <a:pt x="80" y="3007"/>
                  </a:lnTo>
                  <a:lnTo>
                    <a:pt x="1" y="3439"/>
                  </a:lnTo>
                  <a:lnTo>
                    <a:pt x="36" y="3941"/>
                  </a:lnTo>
                  <a:lnTo>
                    <a:pt x="212" y="4320"/>
                  </a:lnTo>
                  <a:lnTo>
                    <a:pt x="327" y="4726"/>
                  </a:lnTo>
                  <a:lnTo>
                    <a:pt x="1006" y="4787"/>
                  </a:lnTo>
                  <a:lnTo>
                    <a:pt x="997" y="5272"/>
                  </a:lnTo>
                  <a:lnTo>
                    <a:pt x="1147" y="5731"/>
                  </a:lnTo>
                  <a:lnTo>
                    <a:pt x="1270" y="5713"/>
                  </a:lnTo>
                  <a:lnTo>
                    <a:pt x="1323" y="5678"/>
                  </a:lnTo>
                  <a:lnTo>
                    <a:pt x="1455" y="5484"/>
                  </a:lnTo>
                  <a:lnTo>
                    <a:pt x="1535" y="5413"/>
                  </a:lnTo>
                  <a:lnTo>
                    <a:pt x="1631" y="5404"/>
                  </a:lnTo>
                  <a:lnTo>
                    <a:pt x="1852" y="5404"/>
                  </a:lnTo>
                  <a:lnTo>
                    <a:pt x="1975" y="5325"/>
                  </a:lnTo>
                  <a:lnTo>
                    <a:pt x="2090" y="5307"/>
                  </a:lnTo>
                  <a:lnTo>
                    <a:pt x="2143" y="5290"/>
                  </a:lnTo>
                  <a:lnTo>
                    <a:pt x="2160" y="5272"/>
                  </a:lnTo>
                  <a:lnTo>
                    <a:pt x="2213" y="5193"/>
                  </a:lnTo>
                  <a:lnTo>
                    <a:pt x="2240" y="5166"/>
                  </a:lnTo>
                  <a:lnTo>
                    <a:pt x="2654" y="4858"/>
                  </a:lnTo>
                  <a:lnTo>
                    <a:pt x="2848" y="4505"/>
                  </a:lnTo>
                  <a:lnTo>
                    <a:pt x="3289" y="4073"/>
                  </a:lnTo>
                  <a:lnTo>
                    <a:pt x="3386" y="3888"/>
                  </a:lnTo>
                  <a:lnTo>
                    <a:pt x="3509" y="3395"/>
                  </a:lnTo>
                  <a:lnTo>
                    <a:pt x="3606" y="3192"/>
                  </a:lnTo>
                  <a:lnTo>
                    <a:pt x="3747" y="3104"/>
                  </a:lnTo>
                  <a:lnTo>
                    <a:pt x="4743" y="2963"/>
                  </a:lnTo>
                  <a:lnTo>
                    <a:pt x="4919" y="2971"/>
                  </a:lnTo>
                  <a:lnTo>
                    <a:pt x="5096" y="3024"/>
                  </a:lnTo>
                  <a:lnTo>
                    <a:pt x="5175" y="3068"/>
                  </a:lnTo>
                  <a:lnTo>
                    <a:pt x="5237" y="3130"/>
                  </a:lnTo>
                  <a:lnTo>
                    <a:pt x="5307" y="3174"/>
                  </a:lnTo>
                  <a:lnTo>
                    <a:pt x="5686" y="3218"/>
                  </a:lnTo>
                  <a:lnTo>
                    <a:pt x="5766" y="3192"/>
                  </a:lnTo>
                  <a:lnTo>
                    <a:pt x="5757" y="3139"/>
                  </a:lnTo>
                  <a:lnTo>
                    <a:pt x="5792" y="3060"/>
                  </a:lnTo>
                  <a:lnTo>
                    <a:pt x="5889" y="2892"/>
                  </a:lnTo>
                  <a:lnTo>
                    <a:pt x="5942" y="2848"/>
                  </a:lnTo>
                  <a:lnTo>
                    <a:pt x="6012" y="2786"/>
                  </a:lnTo>
                  <a:lnTo>
                    <a:pt x="6092" y="2751"/>
                  </a:lnTo>
                  <a:lnTo>
                    <a:pt x="6162" y="2733"/>
                  </a:lnTo>
                  <a:lnTo>
                    <a:pt x="6418" y="2628"/>
                  </a:lnTo>
                  <a:lnTo>
                    <a:pt x="6462" y="2628"/>
                  </a:lnTo>
                  <a:lnTo>
                    <a:pt x="6497" y="2601"/>
                  </a:lnTo>
                  <a:lnTo>
                    <a:pt x="6726" y="2513"/>
                  </a:lnTo>
                  <a:lnTo>
                    <a:pt x="6771" y="2540"/>
                  </a:lnTo>
                  <a:lnTo>
                    <a:pt x="6709" y="2205"/>
                  </a:lnTo>
                  <a:lnTo>
                    <a:pt x="6647" y="1729"/>
                  </a:lnTo>
                  <a:lnTo>
                    <a:pt x="6709" y="1358"/>
                  </a:lnTo>
                  <a:lnTo>
                    <a:pt x="6850" y="847"/>
                  </a:lnTo>
                  <a:lnTo>
                    <a:pt x="6797" y="442"/>
                  </a:lnTo>
                  <a:lnTo>
                    <a:pt x="6682"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5" name="Google Shape;3106;p54">
              <a:extLst>
                <a:ext uri="{FF2B5EF4-FFF2-40B4-BE49-F238E27FC236}">
                  <a16:creationId xmlns:a16="http://schemas.microsoft.com/office/drawing/2014/main" id="{E28F0192-E86B-AD0E-3C79-27A75A75225F}"/>
                </a:ext>
              </a:extLst>
            </p:cNvPr>
            <p:cNvSpPr/>
            <p:nvPr/>
          </p:nvSpPr>
          <p:spPr>
            <a:xfrm>
              <a:off x="2372953" y="1842466"/>
              <a:ext cx="631088" cy="545919"/>
            </a:xfrm>
            <a:custGeom>
              <a:avLst/>
              <a:gdLst/>
              <a:ahLst/>
              <a:cxnLst/>
              <a:rect l="l" t="t" r="r" b="b"/>
              <a:pathLst>
                <a:path w="8877" h="7679" extrusionOk="0">
                  <a:moveTo>
                    <a:pt x="1217" y="2945"/>
                  </a:moveTo>
                  <a:lnTo>
                    <a:pt x="1155" y="2954"/>
                  </a:lnTo>
                  <a:lnTo>
                    <a:pt x="758" y="3104"/>
                  </a:lnTo>
                  <a:lnTo>
                    <a:pt x="441" y="3165"/>
                  </a:lnTo>
                  <a:lnTo>
                    <a:pt x="256" y="3280"/>
                  </a:lnTo>
                  <a:lnTo>
                    <a:pt x="106" y="3438"/>
                  </a:lnTo>
                  <a:lnTo>
                    <a:pt x="0" y="3615"/>
                  </a:lnTo>
                  <a:lnTo>
                    <a:pt x="0" y="3650"/>
                  </a:lnTo>
                  <a:lnTo>
                    <a:pt x="194" y="3721"/>
                  </a:lnTo>
                  <a:lnTo>
                    <a:pt x="212" y="3747"/>
                  </a:lnTo>
                  <a:lnTo>
                    <a:pt x="265" y="3782"/>
                  </a:lnTo>
                  <a:lnTo>
                    <a:pt x="379" y="3818"/>
                  </a:lnTo>
                  <a:lnTo>
                    <a:pt x="476" y="3826"/>
                  </a:lnTo>
                  <a:lnTo>
                    <a:pt x="891" y="3765"/>
                  </a:lnTo>
                  <a:lnTo>
                    <a:pt x="1102" y="3676"/>
                  </a:lnTo>
                  <a:lnTo>
                    <a:pt x="1411" y="3624"/>
                  </a:lnTo>
                  <a:lnTo>
                    <a:pt x="1516" y="3588"/>
                  </a:lnTo>
                  <a:lnTo>
                    <a:pt x="1622" y="3527"/>
                  </a:lnTo>
                  <a:lnTo>
                    <a:pt x="1622" y="3403"/>
                  </a:lnTo>
                  <a:lnTo>
                    <a:pt x="1587" y="3403"/>
                  </a:lnTo>
                  <a:lnTo>
                    <a:pt x="1516" y="3465"/>
                  </a:lnTo>
                  <a:lnTo>
                    <a:pt x="1437" y="3491"/>
                  </a:lnTo>
                  <a:lnTo>
                    <a:pt x="1393" y="3465"/>
                  </a:lnTo>
                  <a:lnTo>
                    <a:pt x="1428" y="3368"/>
                  </a:lnTo>
                  <a:lnTo>
                    <a:pt x="1411" y="3324"/>
                  </a:lnTo>
                  <a:lnTo>
                    <a:pt x="1411" y="3245"/>
                  </a:lnTo>
                  <a:lnTo>
                    <a:pt x="1419" y="3165"/>
                  </a:lnTo>
                  <a:lnTo>
                    <a:pt x="1428" y="3112"/>
                  </a:lnTo>
                  <a:lnTo>
                    <a:pt x="1428" y="3077"/>
                  </a:lnTo>
                  <a:lnTo>
                    <a:pt x="1367" y="3059"/>
                  </a:lnTo>
                  <a:lnTo>
                    <a:pt x="1331" y="3024"/>
                  </a:lnTo>
                  <a:lnTo>
                    <a:pt x="1305" y="2980"/>
                  </a:lnTo>
                  <a:lnTo>
                    <a:pt x="1278" y="2954"/>
                  </a:lnTo>
                  <a:lnTo>
                    <a:pt x="1217" y="2945"/>
                  </a:lnTo>
                  <a:close/>
                  <a:moveTo>
                    <a:pt x="5210" y="1"/>
                  </a:moveTo>
                  <a:lnTo>
                    <a:pt x="5219" y="18"/>
                  </a:lnTo>
                  <a:lnTo>
                    <a:pt x="5183" y="371"/>
                  </a:lnTo>
                  <a:lnTo>
                    <a:pt x="5183" y="406"/>
                  </a:lnTo>
                  <a:lnTo>
                    <a:pt x="5227" y="397"/>
                  </a:lnTo>
                  <a:lnTo>
                    <a:pt x="5263" y="450"/>
                  </a:lnTo>
                  <a:lnTo>
                    <a:pt x="5404" y="759"/>
                  </a:lnTo>
                  <a:lnTo>
                    <a:pt x="5351" y="882"/>
                  </a:lnTo>
                  <a:lnTo>
                    <a:pt x="5219" y="997"/>
                  </a:lnTo>
                  <a:lnTo>
                    <a:pt x="5069" y="1041"/>
                  </a:lnTo>
                  <a:lnTo>
                    <a:pt x="4963" y="988"/>
                  </a:lnTo>
                  <a:lnTo>
                    <a:pt x="4893" y="1067"/>
                  </a:lnTo>
                  <a:lnTo>
                    <a:pt x="4796" y="1217"/>
                  </a:lnTo>
                  <a:lnTo>
                    <a:pt x="4734" y="1288"/>
                  </a:lnTo>
                  <a:lnTo>
                    <a:pt x="4672" y="1314"/>
                  </a:lnTo>
                  <a:lnTo>
                    <a:pt x="4452" y="1288"/>
                  </a:lnTo>
                  <a:lnTo>
                    <a:pt x="4320" y="1314"/>
                  </a:lnTo>
                  <a:lnTo>
                    <a:pt x="4179" y="1385"/>
                  </a:lnTo>
                  <a:lnTo>
                    <a:pt x="4046" y="1464"/>
                  </a:lnTo>
                  <a:lnTo>
                    <a:pt x="3844" y="1640"/>
                  </a:lnTo>
                  <a:lnTo>
                    <a:pt x="3570" y="1746"/>
                  </a:lnTo>
                  <a:lnTo>
                    <a:pt x="3350" y="1931"/>
                  </a:lnTo>
                  <a:lnTo>
                    <a:pt x="3121" y="2072"/>
                  </a:lnTo>
                  <a:lnTo>
                    <a:pt x="3050" y="2196"/>
                  </a:lnTo>
                  <a:lnTo>
                    <a:pt x="2962" y="2204"/>
                  </a:lnTo>
                  <a:lnTo>
                    <a:pt x="2724" y="2293"/>
                  </a:lnTo>
                  <a:lnTo>
                    <a:pt x="2671" y="2345"/>
                  </a:lnTo>
                  <a:lnTo>
                    <a:pt x="2636" y="2354"/>
                  </a:lnTo>
                  <a:lnTo>
                    <a:pt x="2574" y="2407"/>
                  </a:lnTo>
                  <a:lnTo>
                    <a:pt x="2539" y="2460"/>
                  </a:lnTo>
                  <a:lnTo>
                    <a:pt x="2557" y="2486"/>
                  </a:lnTo>
                  <a:lnTo>
                    <a:pt x="2618" y="2504"/>
                  </a:lnTo>
                  <a:lnTo>
                    <a:pt x="2636" y="2531"/>
                  </a:lnTo>
                  <a:lnTo>
                    <a:pt x="2618" y="2575"/>
                  </a:lnTo>
                  <a:lnTo>
                    <a:pt x="2574" y="2619"/>
                  </a:lnTo>
                  <a:lnTo>
                    <a:pt x="2715" y="2724"/>
                  </a:lnTo>
                  <a:lnTo>
                    <a:pt x="2803" y="2857"/>
                  </a:lnTo>
                  <a:lnTo>
                    <a:pt x="2821" y="3015"/>
                  </a:lnTo>
                  <a:lnTo>
                    <a:pt x="2768" y="3236"/>
                  </a:lnTo>
                  <a:lnTo>
                    <a:pt x="2557" y="3527"/>
                  </a:lnTo>
                  <a:lnTo>
                    <a:pt x="2530" y="3588"/>
                  </a:lnTo>
                  <a:lnTo>
                    <a:pt x="2495" y="3721"/>
                  </a:lnTo>
                  <a:lnTo>
                    <a:pt x="2442" y="3844"/>
                  </a:lnTo>
                  <a:lnTo>
                    <a:pt x="2371" y="3906"/>
                  </a:lnTo>
                  <a:lnTo>
                    <a:pt x="2336" y="3941"/>
                  </a:lnTo>
                  <a:lnTo>
                    <a:pt x="2301" y="4011"/>
                  </a:lnTo>
                  <a:lnTo>
                    <a:pt x="2292" y="4082"/>
                  </a:lnTo>
                  <a:lnTo>
                    <a:pt x="2336" y="4117"/>
                  </a:lnTo>
                  <a:lnTo>
                    <a:pt x="2389" y="4108"/>
                  </a:lnTo>
                  <a:lnTo>
                    <a:pt x="2627" y="4020"/>
                  </a:lnTo>
                  <a:lnTo>
                    <a:pt x="2689" y="3985"/>
                  </a:lnTo>
                  <a:lnTo>
                    <a:pt x="2830" y="3853"/>
                  </a:lnTo>
                  <a:lnTo>
                    <a:pt x="3015" y="3747"/>
                  </a:lnTo>
                  <a:lnTo>
                    <a:pt x="3085" y="3694"/>
                  </a:lnTo>
                  <a:lnTo>
                    <a:pt x="3306" y="3483"/>
                  </a:lnTo>
                  <a:lnTo>
                    <a:pt x="3235" y="3430"/>
                  </a:lnTo>
                  <a:lnTo>
                    <a:pt x="3182" y="3315"/>
                  </a:lnTo>
                  <a:lnTo>
                    <a:pt x="3165" y="3200"/>
                  </a:lnTo>
                  <a:lnTo>
                    <a:pt x="3227" y="3156"/>
                  </a:lnTo>
                  <a:lnTo>
                    <a:pt x="3323" y="3139"/>
                  </a:lnTo>
                  <a:lnTo>
                    <a:pt x="3438" y="3086"/>
                  </a:lnTo>
                  <a:lnTo>
                    <a:pt x="3544" y="3015"/>
                  </a:lnTo>
                  <a:lnTo>
                    <a:pt x="3623" y="2954"/>
                  </a:lnTo>
                  <a:lnTo>
                    <a:pt x="3747" y="2804"/>
                  </a:lnTo>
                  <a:lnTo>
                    <a:pt x="3764" y="2777"/>
                  </a:lnTo>
                  <a:lnTo>
                    <a:pt x="3773" y="2760"/>
                  </a:lnTo>
                  <a:lnTo>
                    <a:pt x="3870" y="2654"/>
                  </a:lnTo>
                  <a:lnTo>
                    <a:pt x="3932" y="2610"/>
                  </a:lnTo>
                  <a:lnTo>
                    <a:pt x="4064" y="2575"/>
                  </a:lnTo>
                  <a:lnTo>
                    <a:pt x="4099" y="2548"/>
                  </a:lnTo>
                  <a:lnTo>
                    <a:pt x="4355" y="2319"/>
                  </a:lnTo>
                  <a:lnTo>
                    <a:pt x="4425" y="2231"/>
                  </a:lnTo>
                  <a:lnTo>
                    <a:pt x="4452" y="2134"/>
                  </a:lnTo>
                  <a:lnTo>
                    <a:pt x="4461" y="2037"/>
                  </a:lnTo>
                  <a:lnTo>
                    <a:pt x="4487" y="1984"/>
                  </a:lnTo>
                  <a:lnTo>
                    <a:pt x="4637" y="1905"/>
                  </a:lnTo>
                  <a:lnTo>
                    <a:pt x="4690" y="1834"/>
                  </a:lnTo>
                  <a:lnTo>
                    <a:pt x="4734" y="1649"/>
                  </a:lnTo>
                  <a:lnTo>
                    <a:pt x="4787" y="1614"/>
                  </a:lnTo>
                  <a:lnTo>
                    <a:pt x="4848" y="1587"/>
                  </a:lnTo>
                  <a:lnTo>
                    <a:pt x="4998" y="1455"/>
                  </a:lnTo>
                  <a:lnTo>
                    <a:pt x="5086" y="1402"/>
                  </a:lnTo>
                  <a:lnTo>
                    <a:pt x="5369" y="1358"/>
                  </a:lnTo>
                  <a:lnTo>
                    <a:pt x="5448" y="1305"/>
                  </a:lnTo>
                  <a:lnTo>
                    <a:pt x="5518" y="1235"/>
                  </a:lnTo>
                  <a:lnTo>
                    <a:pt x="5792" y="1067"/>
                  </a:lnTo>
                  <a:lnTo>
                    <a:pt x="5968" y="1014"/>
                  </a:lnTo>
                  <a:lnTo>
                    <a:pt x="6030" y="1006"/>
                  </a:lnTo>
                  <a:lnTo>
                    <a:pt x="5880" y="547"/>
                  </a:lnTo>
                  <a:lnTo>
                    <a:pt x="5889" y="62"/>
                  </a:lnTo>
                  <a:lnTo>
                    <a:pt x="5210" y="1"/>
                  </a:lnTo>
                  <a:close/>
                  <a:moveTo>
                    <a:pt x="1578" y="5351"/>
                  </a:moveTo>
                  <a:lnTo>
                    <a:pt x="1499" y="5369"/>
                  </a:lnTo>
                  <a:lnTo>
                    <a:pt x="1464" y="5422"/>
                  </a:lnTo>
                  <a:lnTo>
                    <a:pt x="1481" y="5492"/>
                  </a:lnTo>
                  <a:lnTo>
                    <a:pt x="1552" y="5536"/>
                  </a:lnTo>
                  <a:lnTo>
                    <a:pt x="1684" y="5607"/>
                  </a:lnTo>
                  <a:lnTo>
                    <a:pt x="1834" y="5713"/>
                  </a:lnTo>
                  <a:lnTo>
                    <a:pt x="1913" y="5713"/>
                  </a:lnTo>
                  <a:lnTo>
                    <a:pt x="1940" y="5625"/>
                  </a:lnTo>
                  <a:lnTo>
                    <a:pt x="1948" y="5413"/>
                  </a:lnTo>
                  <a:lnTo>
                    <a:pt x="1922" y="5360"/>
                  </a:lnTo>
                  <a:lnTo>
                    <a:pt x="1843" y="5395"/>
                  </a:lnTo>
                  <a:lnTo>
                    <a:pt x="1816" y="5369"/>
                  </a:lnTo>
                  <a:lnTo>
                    <a:pt x="1799" y="5360"/>
                  </a:lnTo>
                  <a:lnTo>
                    <a:pt x="1772" y="5360"/>
                  </a:lnTo>
                  <a:lnTo>
                    <a:pt x="1746" y="5351"/>
                  </a:lnTo>
                  <a:close/>
                  <a:moveTo>
                    <a:pt x="7458" y="1570"/>
                  </a:moveTo>
                  <a:lnTo>
                    <a:pt x="7299" y="1667"/>
                  </a:lnTo>
                  <a:lnTo>
                    <a:pt x="7202" y="1693"/>
                  </a:lnTo>
                  <a:lnTo>
                    <a:pt x="7017" y="1693"/>
                  </a:lnTo>
                  <a:lnTo>
                    <a:pt x="6867" y="1658"/>
                  </a:lnTo>
                  <a:lnTo>
                    <a:pt x="6647" y="1667"/>
                  </a:lnTo>
                  <a:lnTo>
                    <a:pt x="6506" y="1781"/>
                  </a:lnTo>
                  <a:lnTo>
                    <a:pt x="6391" y="1931"/>
                  </a:lnTo>
                  <a:lnTo>
                    <a:pt x="6259" y="2037"/>
                  </a:lnTo>
                  <a:lnTo>
                    <a:pt x="6162" y="2055"/>
                  </a:lnTo>
                  <a:lnTo>
                    <a:pt x="5897" y="2037"/>
                  </a:lnTo>
                  <a:lnTo>
                    <a:pt x="5774" y="1966"/>
                  </a:lnTo>
                  <a:lnTo>
                    <a:pt x="5721" y="1949"/>
                  </a:lnTo>
                  <a:lnTo>
                    <a:pt x="5562" y="1984"/>
                  </a:lnTo>
                  <a:lnTo>
                    <a:pt x="5166" y="1958"/>
                  </a:lnTo>
                  <a:lnTo>
                    <a:pt x="4972" y="1966"/>
                  </a:lnTo>
                  <a:lnTo>
                    <a:pt x="4875" y="2046"/>
                  </a:lnTo>
                  <a:lnTo>
                    <a:pt x="4381" y="2654"/>
                  </a:lnTo>
                  <a:lnTo>
                    <a:pt x="4320" y="2698"/>
                  </a:lnTo>
                  <a:lnTo>
                    <a:pt x="4258" y="2733"/>
                  </a:lnTo>
                  <a:lnTo>
                    <a:pt x="4214" y="2751"/>
                  </a:lnTo>
                  <a:lnTo>
                    <a:pt x="4179" y="2777"/>
                  </a:lnTo>
                  <a:lnTo>
                    <a:pt x="3967" y="3051"/>
                  </a:lnTo>
                  <a:lnTo>
                    <a:pt x="3888" y="3121"/>
                  </a:lnTo>
                  <a:lnTo>
                    <a:pt x="3729" y="3165"/>
                  </a:lnTo>
                  <a:lnTo>
                    <a:pt x="3606" y="3227"/>
                  </a:lnTo>
                  <a:lnTo>
                    <a:pt x="3544" y="3236"/>
                  </a:lnTo>
                  <a:lnTo>
                    <a:pt x="3482" y="3236"/>
                  </a:lnTo>
                  <a:lnTo>
                    <a:pt x="3456" y="3245"/>
                  </a:lnTo>
                  <a:lnTo>
                    <a:pt x="3429" y="3280"/>
                  </a:lnTo>
                  <a:lnTo>
                    <a:pt x="3403" y="3368"/>
                  </a:lnTo>
                  <a:lnTo>
                    <a:pt x="3429" y="3456"/>
                  </a:lnTo>
                  <a:lnTo>
                    <a:pt x="3429" y="3571"/>
                  </a:lnTo>
                  <a:lnTo>
                    <a:pt x="3412" y="3685"/>
                  </a:lnTo>
                  <a:lnTo>
                    <a:pt x="3385" y="3765"/>
                  </a:lnTo>
                  <a:lnTo>
                    <a:pt x="3368" y="3782"/>
                  </a:lnTo>
                  <a:lnTo>
                    <a:pt x="3288" y="3782"/>
                  </a:lnTo>
                  <a:lnTo>
                    <a:pt x="3271" y="3791"/>
                  </a:lnTo>
                  <a:lnTo>
                    <a:pt x="3279" y="3818"/>
                  </a:lnTo>
                  <a:lnTo>
                    <a:pt x="3279" y="3844"/>
                  </a:lnTo>
                  <a:lnTo>
                    <a:pt x="3279" y="3870"/>
                  </a:lnTo>
                  <a:lnTo>
                    <a:pt x="3262" y="3906"/>
                  </a:lnTo>
                  <a:lnTo>
                    <a:pt x="3253" y="3985"/>
                  </a:lnTo>
                  <a:lnTo>
                    <a:pt x="3244" y="4029"/>
                  </a:lnTo>
                  <a:lnTo>
                    <a:pt x="3200" y="4100"/>
                  </a:lnTo>
                  <a:lnTo>
                    <a:pt x="3006" y="4302"/>
                  </a:lnTo>
                  <a:lnTo>
                    <a:pt x="2953" y="4329"/>
                  </a:lnTo>
                  <a:lnTo>
                    <a:pt x="2803" y="4399"/>
                  </a:lnTo>
                  <a:lnTo>
                    <a:pt x="2724" y="4443"/>
                  </a:lnTo>
                  <a:lnTo>
                    <a:pt x="2477" y="4364"/>
                  </a:lnTo>
                  <a:lnTo>
                    <a:pt x="2433" y="4408"/>
                  </a:lnTo>
                  <a:lnTo>
                    <a:pt x="2336" y="4576"/>
                  </a:lnTo>
                  <a:lnTo>
                    <a:pt x="2319" y="4629"/>
                  </a:lnTo>
                  <a:lnTo>
                    <a:pt x="2310" y="4681"/>
                  </a:lnTo>
                  <a:lnTo>
                    <a:pt x="2266" y="4761"/>
                  </a:lnTo>
                  <a:lnTo>
                    <a:pt x="2257" y="4814"/>
                  </a:lnTo>
                  <a:lnTo>
                    <a:pt x="2257" y="4875"/>
                  </a:lnTo>
                  <a:lnTo>
                    <a:pt x="2283" y="4990"/>
                  </a:lnTo>
                  <a:lnTo>
                    <a:pt x="2292" y="5025"/>
                  </a:lnTo>
                  <a:lnTo>
                    <a:pt x="2222" y="5334"/>
                  </a:lnTo>
                  <a:lnTo>
                    <a:pt x="2195" y="5395"/>
                  </a:lnTo>
                  <a:lnTo>
                    <a:pt x="2266" y="5413"/>
                  </a:lnTo>
                  <a:lnTo>
                    <a:pt x="2283" y="5466"/>
                  </a:lnTo>
                  <a:lnTo>
                    <a:pt x="2257" y="5625"/>
                  </a:lnTo>
                  <a:lnTo>
                    <a:pt x="2257" y="5766"/>
                  </a:lnTo>
                  <a:lnTo>
                    <a:pt x="2239" y="5810"/>
                  </a:lnTo>
                  <a:lnTo>
                    <a:pt x="2222" y="5819"/>
                  </a:lnTo>
                  <a:lnTo>
                    <a:pt x="2204" y="5836"/>
                  </a:lnTo>
                  <a:lnTo>
                    <a:pt x="2195" y="5889"/>
                  </a:lnTo>
                  <a:lnTo>
                    <a:pt x="2213" y="5968"/>
                  </a:lnTo>
                  <a:lnTo>
                    <a:pt x="2301" y="6136"/>
                  </a:lnTo>
                  <a:lnTo>
                    <a:pt x="2319" y="6206"/>
                  </a:lnTo>
                  <a:lnTo>
                    <a:pt x="2292" y="6533"/>
                  </a:lnTo>
                  <a:lnTo>
                    <a:pt x="2248" y="6674"/>
                  </a:lnTo>
                  <a:lnTo>
                    <a:pt x="2072" y="6841"/>
                  </a:lnTo>
                  <a:lnTo>
                    <a:pt x="2001" y="7141"/>
                  </a:lnTo>
                  <a:lnTo>
                    <a:pt x="1887" y="7458"/>
                  </a:lnTo>
                  <a:lnTo>
                    <a:pt x="1904" y="7590"/>
                  </a:lnTo>
                  <a:lnTo>
                    <a:pt x="2089" y="7678"/>
                  </a:lnTo>
                  <a:lnTo>
                    <a:pt x="2275" y="7678"/>
                  </a:lnTo>
                  <a:lnTo>
                    <a:pt x="2636" y="7590"/>
                  </a:lnTo>
                  <a:lnTo>
                    <a:pt x="2689" y="7626"/>
                  </a:lnTo>
                  <a:lnTo>
                    <a:pt x="2715" y="7643"/>
                  </a:lnTo>
                  <a:lnTo>
                    <a:pt x="2733" y="7608"/>
                  </a:lnTo>
                  <a:lnTo>
                    <a:pt x="2742" y="7599"/>
                  </a:lnTo>
                  <a:lnTo>
                    <a:pt x="2777" y="7546"/>
                  </a:lnTo>
                  <a:lnTo>
                    <a:pt x="2830" y="7537"/>
                  </a:lnTo>
                  <a:lnTo>
                    <a:pt x="2892" y="7511"/>
                  </a:lnTo>
                  <a:lnTo>
                    <a:pt x="2944" y="7502"/>
                  </a:lnTo>
                  <a:lnTo>
                    <a:pt x="3182" y="7546"/>
                  </a:lnTo>
                  <a:lnTo>
                    <a:pt x="3244" y="7546"/>
                  </a:lnTo>
                  <a:lnTo>
                    <a:pt x="3279" y="7520"/>
                  </a:lnTo>
                  <a:lnTo>
                    <a:pt x="3482" y="7405"/>
                  </a:lnTo>
                  <a:lnTo>
                    <a:pt x="3526" y="7405"/>
                  </a:lnTo>
                  <a:lnTo>
                    <a:pt x="3579" y="7352"/>
                  </a:lnTo>
                  <a:lnTo>
                    <a:pt x="3676" y="7308"/>
                  </a:lnTo>
                  <a:lnTo>
                    <a:pt x="4655" y="7123"/>
                  </a:lnTo>
                  <a:lnTo>
                    <a:pt x="4646" y="6638"/>
                  </a:lnTo>
                  <a:lnTo>
                    <a:pt x="4796" y="6171"/>
                  </a:lnTo>
                  <a:lnTo>
                    <a:pt x="4981" y="6127"/>
                  </a:lnTo>
                  <a:lnTo>
                    <a:pt x="5404" y="6180"/>
                  </a:lnTo>
                  <a:lnTo>
                    <a:pt x="5598" y="6118"/>
                  </a:lnTo>
                  <a:lnTo>
                    <a:pt x="5774" y="5968"/>
                  </a:lnTo>
                  <a:lnTo>
                    <a:pt x="6109" y="5827"/>
                  </a:lnTo>
                  <a:lnTo>
                    <a:pt x="6303" y="5669"/>
                  </a:lnTo>
                  <a:lnTo>
                    <a:pt x="6514" y="5669"/>
                  </a:lnTo>
                  <a:lnTo>
                    <a:pt x="6664" y="5686"/>
                  </a:lnTo>
                  <a:lnTo>
                    <a:pt x="6788" y="5616"/>
                  </a:lnTo>
                  <a:lnTo>
                    <a:pt x="7132" y="5677"/>
                  </a:lnTo>
                  <a:lnTo>
                    <a:pt x="7475" y="5792"/>
                  </a:lnTo>
                  <a:lnTo>
                    <a:pt x="7669" y="5713"/>
                  </a:lnTo>
                  <a:lnTo>
                    <a:pt x="7854" y="5581"/>
                  </a:lnTo>
                  <a:lnTo>
                    <a:pt x="8048" y="5492"/>
                  </a:lnTo>
                  <a:lnTo>
                    <a:pt x="8233" y="5360"/>
                  </a:lnTo>
                  <a:lnTo>
                    <a:pt x="8339" y="5131"/>
                  </a:lnTo>
                  <a:lnTo>
                    <a:pt x="8418" y="4884"/>
                  </a:lnTo>
                  <a:lnTo>
                    <a:pt x="8436" y="4637"/>
                  </a:lnTo>
                  <a:lnTo>
                    <a:pt x="8366" y="4576"/>
                  </a:lnTo>
                  <a:lnTo>
                    <a:pt x="8277" y="4443"/>
                  </a:lnTo>
                  <a:lnTo>
                    <a:pt x="8330" y="4338"/>
                  </a:lnTo>
                  <a:lnTo>
                    <a:pt x="8366" y="4294"/>
                  </a:lnTo>
                  <a:lnTo>
                    <a:pt x="8410" y="4152"/>
                  </a:lnTo>
                  <a:lnTo>
                    <a:pt x="8436" y="3994"/>
                  </a:lnTo>
                  <a:lnTo>
                    <a:pt x="8498" y="3800"/>
                  </a:lnTo>
                  <a:lnTo>
                    <a:pt x="8524" y="3685"/>
                  </a:lnTo>
                  <a:lnTo>
                    <a:pt x="8507" y="3641"/>
                  </a:lnTo>
                  <a:lnTo>
                    <a:pt x="8418" y="3632"/>
                  </a:lnTo>
                  <a:lnTo>
                    <a:pt x="8242" y="3553"/>
                  </a:lnTo>
                  <a:lnTo>
                    <a:pt x="8154" y="3368"/>
                  </a:lnTo>
                  <a:lnTo>
                    <a:pt x="8207" y="3324"/>
                  </a:lnTo>
                  <a:lnTo>
                    <a:pt x="8277" y="3297"/>
                  </a:lnTo>
                  <a:lnTo>
                    <a:pt x="8595" y="2954"/>
                  </a:lnTo>
                  <a:lnTo>
                    <a:pt x="8824" y="2821"/>
                  </a:lnTo>
                  <a:lnTo>
                    <a:pt x="8877" y="2557"/>
                  </a:lnTo>
                  <a:lnTo>
                    <a:pt x="8850" y="2504"/>
                  </a:lnTo>
                  <a:lnTo>
                    <a:pt x="8806" y="2531"/>
                  </a:lnTo>
                  <a:lnTo>
                    <a:pt x="8753" y="2539"/>
                  </a:lnTo>
                  <a:lnTo>
                    <a:pt x="8630" y="2539"/>
                  </a:lnTo>
                  <a:lnTo>
                    <a:pt x="8295" y="2460"/>
                  </a:lnTo>
                  <a:lnTo>
                    <a:pt x="8022" y="2337"/>
                  </a:lnTo>
                  <a:lnTo>
                    <a:pt x="7766" y="2169"/>
                  </a:lnTo>
                  <a:lnTo>
                    <a:pt x="7563" y="1949"/>
                  </a:lnTo>
                  <a:lnTo>
                    <a:pt x="7599" y="1931"/>
                  </a:lnTo>
                  <a:lnTo>
                    <a:pt x="7608" y="1922"/>
                  </a:lnTo>
                  <a:lnTo>
                    <a:pt x="7625" y="1949"/>
                  </a:lnTo>
                  <a:lnTo>
                    <a:pt x="7660" y="1949"/>
                  </a:lnTo>
                  <a:lnTo>
                    <a:pt x="7722" y="1905"/>
                  </a:lnTo>
                  <a:lnTo>
                    <a:pt x="7652" y="1720"/>
                  </a:lnTo>
                  <a:lnTo>
                    <a:pt x="7608" y="1631"/>
                  </a:lnTo>
                  <a:lnTo>
                    <a:pt x="7528" y="157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3107;p54">
              <a:extLst>
                <a:ext uri="{FF2B5EF4-FFF2-40B4-BE49-F238E27FC236}">
                  <a16:creationId xmlns:a16="http://schemas.microsoft.com/office/drawing/2014/main" id="{55D4639E-D270-828E-8E59-D71DED3E1AB6}"/>
                </a:ext>
              </a:extLst>
            </p:cNvPr>
            <p:cNvSpPr/>
            <p:nvPr/>
          </p:nvSpPr>
          <p:spPr>
            <a:xfrm>
              <a:off x="7217294" y="1590576"/>
              <a:ext cx="340960" cy="331575"/>
            </a:xfrm>
            <a:custGeom>
              <a:avLst/>
              <a:gdLst/>
              <a:ahLst/>
              <a:cxnLst/>
              <a:rect l="l" t="t" r="r" b="b"/>
              <a:pathLst>
                <a:path w="4796" h="4664" extrusionOk="0">
                  <a:moveTo>
                    <a:pt x="3932" y="0"/>
                  </a:moveTo>
                  <a:lnTo>
                    <a:pt x="3888" y="35"/>
                  </a:lnTo>
                  <a:lnTo>
                    <a:pt x="3800" y="62"/>
                  </a:lnTo>
                  <a:lnTo>
                    <a:pt x="3685" y="71"/>
                  </a:lnTo>
                  <a:lnTo>
                    <a:pt x="3562" y="97"/>
                  </a:lnTo>
                  <a:lnTo>
                    <a:pt x="3474" y="167"/>
                  </a:lnTo>
                  <a:lnTo>
                    <a:pt x="3288" y="361"/>
                  </a:lnTo>
                  <a:lnTo>
                    <a:pt x="3200" y="423"/>
                  </a:lnTo>
                  <a:lnTo>
                    <a:pt x="3094" y="485"/>
                  </a:lnTo>
                  <a:lnTo>
                    <a:pt x="2989" y="520"/>
                  </a:lnTo>
                  <a:lnTo>
                    <a:pt x="2892" y="529"/>
                  </a:lnTo>
                  <a:lnTo>
                    <a:pt x="2812" y="564"/>
                  </a:lnTo>
                  <a:lnTo>
                    <a:pt x="2645" y="688"/>
                  </a:lnTo>
                  <a:lnTo>
                    <a:pt x="2522" y="705"/>
                  </a:lnTo>
                  <a:lnTo>
                    <a:pt x="2328" y="635"/>
                  </a:lnTo>
                  <a:lnTo>
                    <a:pt x="2257" y="617"/>
                  </a:lnTo>
                  <a:lnTo>
                    <a:pt x="2204" y="643"/>
                  </a:lnTo>
                  <a:lnTo>
                    <a:pt x="1878" y="882"/>
                  </a:lnTo>
                  <a:lnTo>
                    <a:pt x="1605" y="1252"/>
                  </a:lnTo>
                  <a:lnTo>
                    <a:pt x="1543" y="1296"/>
                  </a:lnTo>
                  <a:lnTo>
                    <a:pt x="1473" y="1313"/>
                  </a:lnTo>
                  <a:lnTo>
                    <a:pt x="1331" y="1331"/>
                  </a:lnTo>
                  <a:lnTo>
                    <a:pt x="1270" y="1358"/>
                  </a:lnTo>
                  <a:lnTo>
                    <a:pt x="1093" y="1507"/>
                  </a:lnTo>
                  <a:lnTo>
                    <a:pt x="952" y="1596"/>
                  </a:lnTo>
                  <a:lnTo>
                    <a:pt x="820" y="1640"/>
                  </a:lnTo>
                  <a:lnTo>
                    <a:pt x="679" y="1622"/>
                  </a:lnTo>
                  <a:lnTo>
                    <a:pt x="521" y="1551"/>
                  </a:lnTo>
                  <a:lnTo>
                    <a:pt x="0" y="1895"/>
                  </a:lnTo>
                  <a:lnTo>
                    <a:pt x="168" y="2274"/>
                  </a:lnTo>
                  <a:lnTo>
                    <a:pt x="283" y="2689"/>
                  </a:lnTo>
                  <a:lnTo>
                    <a:pt x="335" y="3121"/>
                  </a:lnTo>
                  <a:lnTo>
                    <a:pt x="626" y="3861"/>
                  </a:lnTo>
                  <a:lnTo>
                    <a:pt x="573" y="4275"/>
                  </a:lnTo>
                  <a:lnTo>
                    <a:pt x="635" y="4663"/>
                  </a:lnTo>
                  <a:lnTo>
                    <a:pt x="1384" y="4284"/>
                  </a:lnTo>
                  <a:lnTo>
                    <a:pt x="1569" y="4231"/>
                  </a:lnTo>
                  <a:lnTo>
                    <a:pt x="1763" y="4214"/>
                  </a:lnTo>
                  <a:lnTo>
                    <a:pt x="2037" y="4134"/>
                  </a:lnTo>
                  <a:lnTo>
                    <a:pt x="2178" y="3782"/>
                  </a:lnTo>
                  <a:lnTo>
                    <a:pt x="2345" y="3711"/>
                  </a:lnTo>
                  <a:lnTo>
                    <a:pt x="2548" y="3711"/>
                  </a:lnTo>
                  <a:lnTo>
                    <a:pt x="2742" y="3641"/>
                  </a:lnTo>
                  <a:lnTo>
                    <a:pt x="3236" y="3217"/>
                  </a:lnTo>
                  <a:lnTo>
                    <a:pt x="3597" y="3006"/>
                  </a:lnTo>
                  <a:lnTo>
                    <a:pt x="3659" y="2759"/>
                  </a:lnTo>
                  <a:lnTo>
                    <a:pt x="4099" y="2248"/>
                  </a:lnTo>
                  <a:lnTo>
                    <a:pt x="4214" y="2186"/>
                  </a:lnTo>
                  <a:lnTo>
                    <a:pt x="4302" y="2098"/>
                  </a:lnTo>
                  <a:lnTo>
                    <a:pt x="4346" y="1975"/>
                  </a:lnTo>
                  <a:lnTo>
                    <a:pt x="4417" y="1842"/>
                  </a:lnTo>
                  <a:lnTo>
                    <a:pt x="4664" y="1684"/>
                  </a:lnTo>
                  <a:lnTo>
                    <a:pt x="4796" y="1393"/>
                  </a:lnTo>
                  <a:lnTo>
                    <a:pt x="4655" y="1243"/>
                  </a:lnTo>
                  <a:lnTo>
                    <a:pt x="4470" y="1155"/>
                  </a:lnTo>
                  <a:lnTo>
                    <a:pt x="4426" y="1040"/>
                  </a:lnTo>
                  <a:lnTo>
                    <a:pt x="4373" y="943"/>
                  </a:lnTo>
                  <a:lnTo>
                    <a:pt x="4276" y="873"/>
                  </a:lnTo>
                  <a:lnTo>
                    <a:pt x="4188" y="793"/>
                  </a:lnTo>
                  <a:lnTo>
                    <a:pt x="4099" y="582"/>
                  </a:lnTo>
                  <a:lnTo>
                    <a:pt x="4064" y="344"/>
                  </a:lnTo>
                  <a:lnTo>
                    <a:pt x="3941" y="26"/>
                  </a:lnTo>
                  <a:lnTo>
                    <a:pt x="3932"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3108;p54">
              <a:extLst>
                <a:ext uri="{FF2B5EF4-FFF2-40B4-BE49-F238E27FC236}">
                  <a16:creationId xmlns:a16="http://schemas.microsoft.com/office/drawing/2014/main" id="{C750E515-13D5-01A9-A488-2AC33EE67DDF}"/>
                </a:ext>
              </a:extLst>
            </p:cNvPr>
            <p:cNvSpPr/>
            <p:nvPr/>
          </p:nvSpPr>
          <p:spPr>
            <a:xfrm>
              <a:off x="6809920" y="1673260"/>
              <a:ext cx="452575" cy="262687"/>
            </a:xfrm>
            <a:custGeom>
              <a:avLst/>
              <a:gdLst/>
              <a:ahLst/>
              <a:cxnLst/>
              <a:rect l="l" t="t" r="r" b="b"/>
              <a:pathLst>
                <a:path w="6366" h="3695" extrusionOk="0">
                  <a:moveTo>
                    <a:pt x="1455" y="1"/>
                  </a:moveTo>
                  <a:lnTo>
                    <a:pt x="1394" y="18"/>
                  </a:lnTo>
                  <a:lnTo>
                    <a:pt x="1367" y="45"/>
                  </a:lnTo>
                  <a:lnTo>
                    <a:pt x="1349" y="62"/>
                  </a:lnTo>
                  <a:lnTo>
                    <a:pt x="1323" y="89"/>
                  </a:lnTo>
                  <a:lnTo>
                    <a:pt x="1076" y="239"/>
                  </a:lnTo>
                  <a:lnTo>
                    <a:pt x="1023" y="256"/>
                  </a:lnTo>
                  <a:lnTo>
                    <a:pt x="926" y="274"/>
                  </a:lnTo>
                  <a:lnTo>
                    <a:pt x="803" y="362"/>
                  </a:lnTo>
                  <a:lnTo>
                    <a:pt x="724" y="388"/>
                  </a:lnTo>
                  <a:lnTo>
                    <a:pt x="618" y="371"/>
                  </a:lnTo>
                  <a:lnTo>
                    <a:pt x="477" y="247"/>
                  </a:lnTo>
                  <a:lnTo>
                    <a:pt x="389" y="221"/>
                  </a:lnTo>
                  <a:lnTo>
                    <a:pt x="239" y="203"/>
                  </a:lnTo>
                  <a:lnTo>
                    <a:pt x="177" y="221"/>
                  </a:lnTo>
                  <a:lnTo>
                    <a:pt x="142" y="247"/>
                  </a:lnTo>
                  <a:lnTo>
                    <a:pt x="10" y="997"/>
                  </a:lnTo>
                  <a:lnTo>
                    <a:pt x="1" y="1305"/>
                  </a:lnTo>
                  <a:lnTo>
                    <a:pt x="36" y="1861"/>
                  </a:lnTo>
                  <a:lnTo>
                    <a:pt x="124" y="2099"/>
                  </a:lnTo>
                  <a:lnTo>
                    <a:pt x="212" y="2169"/>
                  </a:lnTo>
                  <a:lnTo>
                    <a:pt x="309" y="2178"/>
                  </a:lnTo>
                  <a:lnTo>
                    <a:pt x="406" y="2099"/>
                  </a:lnTo>
                  <a:lnTo>
                    <a:pt x="486" y="1984"/>
                  </a:lnTo>
                  <a:lnTo>
                    <a:pt x="680" y="2099"/>
                  </a:lnTo>
                  <a:lnTo>
                    <a:pt x="750" y="2460"/>
                  </a:lnTo>
                  <a:lnTo>
                    <a:pt x="1059" y="2786"/>
                  </a:lnTo>
                  <a:lnTo>
                    <a:pt x="2143" y="3218"/>
                  </a:lnTo>
                  <a:lnTo>
                    <a:pt x="2416" y="3253"/>
                  </a:lnTo>
                  <a:lnTo>
                    <a:pt x="2513" y="3227"/>
                  </a:lnTo>
                  <a:lnTo>
                    <a:pt x="2584" y="3156"/>
                  </a:lnTo>
                  <a:lnTo>
                    <a:pt x="2636" y="2910"/>
                  </a:lnTo>
                  <a:lnTo>
                    <a:pt x="2786" y="2795"/>
                  </a:lnTo>
                  <a:lnTo>
                    <a:pt x="3104" y="3015"/>
                  </a:lnTo>
                  <a:lnTo>
                    <a:pt x="3324" y="3386"/>
                  </a:lnTo>
                  <a:lnTo>
                    <a:pt x="3421" y="3386"/>
                  </a:lnTo>
                  <a:lnTo>
                    <a:pt x="3491" y="3297"/>
                  </a:lnTo>
                  <a:lnTo>
                    <a:pt x="3456" y="3148"/>
                  </a:lnTo>
                  <a:lnTo>
                    <a:pt x="3518" y="3095"/>
                  </a:lnTo>
                  <a:lnTo>
                    <a:pt x="3553" y="3077"/>
                  </a:lnTo>
                  <a:lnTo>
                    <a:pt x="3694" y="3130"/>
                  </a:lnTo>
                  <a:lnTo>
                    <a:pt x="3976" y="3447"/>
                  </a:lnTo>
                  <a:lnTo>
                    <a:pt x="4170" y="3562"/>
                  </a:lnTo>
                  <a:lnTo>
                    <a:pt x="4567" y="3571"/>
                  </a:lnTo>
                  <a:lnTo>
                    <a:pt x="4946" y="3694"/>
                  </a:lnTo>
                  <a:lnTo>
                    <a:pt x="5149" y="3685"/>
                  </a:lnTo>
                  <a:lnTo>
                    <a:pt x="5378" y="3615"/>
                  </a:lnTo>
                  <a:lnTo>
                    <a:pt x="5607" y="3571"/>
                  </a:lnTo>
                  <a:lnTo>
                    <a:pt x="6083" y="3579"/>
                  </a:lnTo>
                  <a:lnTo>
                    <a:pt x="6268" y="3518"/>
                  </a:lnTo>
                  <a:lnTo>
                    <a:pt x="6365" y="3500"/>
                  </a:lnTo>
                  <a:lnTo>
                    <a:pt x="6303" y="3112"/>
                  </a:lnTo>
                  <a:lnTo>
                    <a:pt x="6356" y="2698"/>
                  </a:lnTo>
                  <a:lnTo>
                    <a:pt x="6065" y="1958"/>
                  </a:lnTo>
                  <a:lnTo>
                    <a:pt x="6013" y="1526"/>
                  </a:lnTo>
                  <a:lnTo>
                    <a:pt x="5898" y="1111"/>
                  </a:lnTo>
                  <a:lnTo>
                    <a:pt x="5730" y="732"/>
                  </a:lnTo>
                  <a:lnTo>
                    <a:pt x="5492" y="891"/>
                  </a:lnTo>
                  <a:lnTo>
                    <a:pt x="5272" y="953"/>
                  </a:lnTo>
                  <a:lnTo>
                    <a:pt x="5166" y="1023"/>
                  </a:lnTo>
                  <a:lnTo>
                    <a:pt x="4999" y="1085"/>
                  </a:lnTo>
                  <a:lnTo>
                    <a:pt x="4893" y="1111"/>
                  </a:lnTo>
                  <a:lnTo>
                    <a:pt x="4752" y="1173"/>
                  </a:lnTo>
                  <a:lnTo>
                    <a:pt x="4681" y="1182"/>
                  </a:lnTo>
                  <a:lnTo>
                    <a:pt x="4488" y="1147"/>
                  </a:lnTo>
                  <a:lnTo>
                    <a:pt x="4355" y="1058"/>
                  </a:lnTo>
                  <a:lnTo>
                    <a:pt x="4091" y="803"/>
                  </a:lnTo>
                  <a:lnTo>
                    <a:pt x="3976" y="820"/>
                  </a:lnTo>
                  <a:lnTo>
                    <a:pt x="3685" y="917"/>
                  </a:lnTo>
                  <a:lnTo>
                    <a:pt x="3606" y="970"/>
                  </a:lnTo>
                  <a:lnTo>
                    <a:pt x="3518" y="953"/>
                  </a:lnTo>
                  <a:lnTo>
                    <a:pt x="3439" y="917"/>
                  </a:lnTo>
                  <a:lnTo>
                    <a:pt x="3165" y="697"/>
                  </a:lnTo>
                  <a:lnTo>
                    <a:pt x="3121" y="679"/>
                  </a:lnTo>
                  <a:lnTo>
                    <a:pt x="3015" y="688"/>
                  </a:lnTo>
                  <a:lnTo>
                    <a:pt x="2971" y="679"/>
                  </a:lnTo>
                  <a:lnTo>
                    <a:pt x="2839" y="591"/>
                  </a:lnTo>
                  <a:lnTo>
                    <a:pt x="2751" y="600"/>
                  </a:lnTo>
                  <a:lnTo>
                    <a:pt x="2654" y="653"/>
                  </a:lnTo>
                  <a:lnTo>
                    <a:pt x="2566" y="679"/>
                  </a:lnTo>
                  <a:lnTo>
                    <a:pt x="2381" y="644"/>
                  </a:lnTo>
                  <a:lnTo>
                    <a:pt x="2204" y="538"/>
                  </a:lnTo>
                  <a:lnTo>
                    <a:pt x="1922" y="300"/>
                  </a:lnTo>
                  <a:lnTo>
                    <a:pt x="1808" y="142"/>
                  </a:lnTo>
                  <a:lnTo>
                    <a:pt x="1746" y="71"/>
                  </a:lnTo>
                  <a:lnTo>
                    <a:pt x="1455"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3109;p54">
              <a:extLst>
                <a:ext uri="{FF2B5EF4-FFF2-40B4-BE49-F238E27FC236}">
                  <a16:creationId xmlns:a16="http://schemas.microsoft.com/office/drawing/2014/main" id="{531BE242-25C2-69A6-6617-92CFC53C2F70}"/>
                </a:ext>
              </a:extLst>
            </p:cNvPr>
            <p:cNvSpPr/>
            <p:nvPr/>
          </p:nvSpPr>
          <p:spPr>
            <a:xfrm>
              <a:off x="6462123" y="1690820"/>
              <a:ext cx="357880" cy="443120"/>
            </a:xfrm>
            <a:custGeom>
              <a:avLst/>
              <a:gdLst/>
              <a:ahLst/>
              <a:cxnLst/>
              <a:rect l="l" t="t" r="r" b="b"/>
              <a:pathLst>
                <a:path w="5034" h="6233" extrusionOk="0">
                  <a:moveTo>
                    <a:pt x="5034" y="0"/>
                  </a:moveTo>
                  <a:lnTo>
                    <a:pt x="4954" y="71"/>
                  </a:lnTo>
                  <a:lnTo>
                    <a:pt x="4919" y="97"/>
                  </a:lnTo>
                  <a:lnTo>
                    <a:pt x="4540" y="186"/>
                  </a:lnTo>
                  <a:lnTo>
                    <a:pt x="4011" y="186"/>
                  </a:lnTo>
                  <a:lnTo>
                    <a:pt x="3923" y="221"/>
                  </a:lnTo>
                  <a:lnTo>
                    <a:pt x="3844" y="282"/>
                  </a:lnTo>
                  <a:lnTo>
                    <a:pt x="3773" y="335"/>
                  </a:lnTo>
                  <a:lnTo>
                    <a:pt x="3447" y="397"/>
                  </a:lnTo>
                  <a:lnTo>
                    <a:pt x="3341" y="441"/>
                  </a:lnTo>
                  <a:lnTo>
                    <a:pt x="3324" y="450"/>
                  </a:lnTo>
                  <a:lnTo>
                    <a:pt x="3306" y="485"/>
                  </a:lnTo>
                  <a:lnTo>
                    <a:pt x="3209" y="600"/>
                  </a:lnTo>
                  <a:lnTo>
                    <a:pt x="3156" y="617"/>
                  </a:lnTo>
                  <a:lnTo>
                    <a:pt x="3112" y="653"/>
                  </a:lnTo>
                  <a:lnTo>
                    <a:pt x="3068" y="697"/>
                  </a:lnTo>
                  <a:lnTo>
                    <a:pt x="3042" y="723"/>
                  </a:lnTo>
                  <a:lnTo>
                    <a:pt x="2989" y="741"/>
                  </a:lnTo>
                  <a:lnTo>
                    <a:pt x="2901" y="741"/>
                  </a:lnTo>
                  <a:lnTo>
                    <a:pt x="2857" y="767"/>
                  </a:lnTo>
                  <a:lnTo>
                    <a:pt x="2821" y="732"/>
                  </a:lnTo>
                  <a:lnTo>
                    <a:pt x="2751" y="626"/>
                  </a:lnTo>
                  <a:lnTo>
                    <a:pt x="2724" y="600"/>
                  </a:lnTo>
                  <a:lnTo>
                    <a:pt x="2663" y="600"/>
                  </a:lnTo>
                  <a:lnTo>
                    <a:pt x="2513" y="644"/>
                  </a:lnTo>
                  <a:lnTo>
                    <a:pt x="2451" y="679"/>
                  </a:lnTo>
                  <a:lnTo>
                    <a:pt x="2284" y="847"/>
                  </a:lnTo>
                  <a:lnTo>
                    <a:pt x="2213" y="900"/>
                  </a:lnTo>
                  <a:lnTo>
                    <a:pt x="1860" y="917"/>
                  </a:lnTo>
                  <a:lnTo>
                    <a:pt x="1808" y="961"/>
                  </a:lnTo>
                  <a:lnTo>
                    <a:pt x="1684" y="952"/>
                  </a:lnTo>
                  <a:lnTo>
                    <a:pt x="1517" y="900"/>
                  </a:lnTo>
                  <a:lnTo>
                    <a:pt x="1340" y="952"/>
                  </a:lnTo>
                  <a:lnTo>
                    <a:pt x="1243" y="952"/>
                  </a:lnTo>
                  <a:lnTo>
                    <a:pt x="1041" y="776"/>
                  </a:lnTo>
                  <a:lnTo>
                    <a:pt x="952" y="750"/>
                  </a:lnTo>
                  <a:lnTo>
                    <a:pt x="750" y="811"/>
                  </a:lnTo>
                  <a:lnTo>
                    <a:pt x="644" y="811"/>
                  </a:lnTo>
                  <a:lnTo>
                    <a:pt x="459" y="741"/>
                  </a:lnTo>
                  <a:lnTo>
                    <a:pt x="238" y="706"/>
                  </a:lnTo>
                  <a:lnTo>
                    <a:pt x="238" y="732"/>
                  </a:lnTo>
                  <a:lnTo>
                    <a:pt x="247" y="944"/>
                  </a:lnTo>
                  <a:lnTo>
                    <a:pt x="177" y="1129"/>
                  </a:lnTo>
                  <a:lnTo>
                    <a:pt x="80" y="1243"/>
                  </a:lnTo>
                  <a:lnTo>
                    <a:pt x="0" y="1393"/>
                  </a:lnTo>
                  <a:lnTo>
                    <a:pt x="0" y="1587"/>
                  </a:lnTo>
                  <a:lnTo>
                    <a:pt x="80" y="1763"/>
                  </a:lnTo>
                  <a:lnTo>
                    <a:pt x="106" y="1966"/>
                  </a:lnTo>
                  <a:lnTo>
                    <a:pt x="80" y="2178"/>
                  </a:lnTo>
                  <a:lnTo>
                    <a:pt x="97" y="2380"/>
                  </a:lnTo>
                  <a:lnTo>
                    <a:pt x="80" y="2592"/>
                  </a:lnTo>
                  <a:lnTo>
                    <a:pt x="18" y="2707"/>
                  </a:lnTo>
                  <a:lnTo>
                    <a:pt x="0" y="2865"/>
                  </a:lnTo>
                  <a:lnTo>
                    <a:pt x="441" y="3368"/>
                  </a:lnTo>
                  <a:lnTo>
                    <a:pt x="820" y="4822"/>
                  </a:lnTo>
                  <a:lnTo>
                    <a:pt x="811" y="5166"/>
                  </a:lnTo>
                  <a:lnTo>
                    <a:pt x="988" y="5422"/>
                  </a:lnTo>
                  <a:lnTo>
                    <a:pt x="1243" y="5554"/>
                  </a:lnTo>
                  <a:lnTo>
                    <a:pt x="1525" y="5774"/>
                  </a:lnTo>
                  <a:lnTo>
                    <a:pt x="1816" y="5942"/>
                  </a:lnTo>
                  <a:lnTo>
                    <a:pt x="2292" y="5827"/>
                  </a:lnTo>
                  <a:lnTo>
                    <a:pt x="2777" y="5986"/>
                  </a:lnTo>
                  <a:lnTo>
                    <a:pt x="3244" y="6215"/>
                  </a:lnTo>
                  <a:lnTo>
                    <a:pt x="3447" y="6233"/>
                  </a:lnTo>
                  <a:lnTo>
                    <a:pt x="3853" y="6197"/>
                  </a:lnTo>
                  <a:lnTo>
                    <a:pt x="4038" y="6118"/>
                  </a:lnTo>
                  <a:lnTo>
                    <a:pt x="4082" y="5915"/>
                  </a:lnTo>
                  <a:lnTo>
                    <a:pt x="3950" y="5748"/>
                  </a:lnTo>
                  <a:lnTo>
                    <a:pt x="3905" y="5536"/>
                  </a:lnTo>
                  <a:lnTo>
                    <a:pt x="3932" y="5316"/>
                  </a:lnTo>
                  <a:lnTo>
                    <a:pt x="3914" y="5113"/>
                  </a:lnTo>
                  <a:lnTo>
                    <a:pt x="3914" y="4910"/>
                  </a:lnTo>
                  <a:lnTo>
                    <a:pt x="4020" y="4787"/>
                  </a:lnTo>
                  <a:lnTo>
                    <a:pt x="4487" y="4531"/>
                  </a:lnTo>
                  <a:lnTo>
                    <a:pt x="4628" y="4417"/>
                  </a:lnTo>
                  <a:lnTo>
                    <a:pt x="4655" y="4188"/>
                  </a:lnTo>
                  <a:lnTo>
                    <a:pt x="4549" y="4161"/>
                  </a:lnTo>
                  <a:lnTo>
                    <a:pt x="4417" y="4029"/>
                  </a:lnTo>
                  <a:lnTo>
                    <a:pt x="4293" y="3923"/>
                  </a:lnTo>
                  <a:lnTo>
                    <a:pt x="3747" y="3791"/>
                  </a:lnTo>
                  <a:lnTo>
                    <a:pt x="3615" y="3632"/>
                  </a:lnTo>
                  <a:lnTo>
                    <a:pt x="3606" y="3412"/>
                  </a:lnTo>
                  <a:lnTo>
                    <a:pt x="3632" y="3139"/>
                  </a:lnTo>
                  <a:lnTo>
                    <a:pt x="3650" y="3094"/>
                  </a:lnTo>
                  <a:lnTo>
                    <a:pt x="3694" y="3024"/>
                  </a:lnTo>
                  <a:lnTo>
                    <a:pt x="3835" y="2874"/>
                  </a:lnTo>
                  <a:lnTo>
                    <a:pt x="3923" y="2715"/>
                  </a:lnTo>
                  <a:lnTo>
                    <a:pt x="3861" y="2530"/>
                  </a:lnTo>
                  <a:lnTo>
                    <a:pt x="3923" y="2372"/>
                  </a:lnTo>
                  <a:lnTo>
                    <a:pt x="4064" y="2275"/>
                  </a:lnTo>
                  <a:lnTo>
                    <a:pt x="4205" y="2160"/>
                  </a:lnTo>
                  <a:lnTo>
                    <a:pt x="4320" y="2125"/>
                  </a:lnTo>
                  <a:lnTo>
                    <a:pt x="4408" y="2081"/>
                  </a:lnTo>
                  <a:lnTo>
                    <a:pt x="4426" y="1993"/>
                  </a:lnTo>
                  <a:lnTo>
                    <a:pt x="4461" y="1922"/>
                  </a:lnTo>
                  <a:lnTo>
                    <a:pt x="5016" y="1852"/>
                  </a:lnTo>
                  <a:lnTo>
                    <a:pt x="4928" y="1614"/>
                  </a:lnTo>
                  <a:lnTo>
                    <a:pt x="4893" y="1058"/>
                  </a:lnTo>
                  <a:lnTo>
                    <a:pt x="4902" y="750"/>
                  </a:lnTo>
                  <a:lnTo>
                    <a:pt x="503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3110;p54">
              <a:extLst>
                <a:ext uri="{FF2B5EF4-FFF2-40B4-BE49-F238E27FC236}">
                  <a16:creationId xmlns:a16="http://schemas.microsoft.com/office/drawing/2014/main" id="{2C6024D6-C305-71F1-D01E-39E9332BE339}"/>
                </a:ext>
              </a:extLst>
            </p:cNvPr>
            <p:cNvSpPr/>
            <p:nvPr/>
          </p:nvSpPr>
          <p:spPr>
            <a:xfrm>
              <a:off x="6008395" y="1658259"/>
              <a:ext cx="485135" cy="354752"/>
            </a:xfrm>
            <a:custGeom>
              <a:avLst/>
              <a:gdLst/>
              <a:ahLst/>
              <a:cxnLst/>
              <a:rect l="l" t="t" r="r" b="b"/>
              <a:pathLst>
                <a:path w="6824" h="4990" extrusionOk="0">
                  <a:moveTo>
                    <a:pt x="2160" y="0"/>
                  </a:moveTo>
                  <a:lnTo>
                    <a:pt x="2151" y="44"/>
                  </a:lnTo>
                  <a:lnTo>
                    <a:pt x="1905" y="370"/>
                  </a:lnTo>
                  <a:lnTo>
                    <a:pt x="1649" y="652"/>
                  </a:lnTo>
                  <a:lnTo>
                    <a:pt x="1446" y="1031"/>
                  </a:lnTo>
                  <a:lnTo>
                    <a:pt x="1085" y="1243"/>
                  </a:lnTo>
                  <a:lnTo>
                    <a:pt x="900" y="1446"/>
                  </a:lnTo>
                  <a:lnTo>
                    <a:pt x="829" y="1499"/>
                  </a:lnTo>
                  <a:lnTo>
                    <a:pt x="653" y="1596"/>
                  </a:lnTo>
                  <a:lnTo>
                    <a:pt x="477" y="1657"/>
                  </a:lnTo>
                  <a:lnTo>
                    <a:pt x="274" y="1675"/>
                  </a:lnTo>
                  <a:lnTo>
                    <a:pt x="186" y="1719"/>
                  </a:lnTo>
                  <a:lnTo>
                    <a:pt x="89" y="1754"/>
                  </a:lnTo>
                  <a:lnTo>
                    <a:pt x="0" y="1913"/>
                  </a:lnTo>
                  <a:lnTo>
                    <a:pt x="53" y="2089"/>
                  </a:lnTo>
                  <a:lnTo>
                    <a:pt x="115" y="2142"/>
                  </a:lnTo>
                  <a:lnTo>
                    <a:pt x="327" y="2186"/>
                  </a:lnTo>
                  <a:lnTo>
                    <a:pt x="582" y="2345"/>
                  </a:lnTo>
                  <a:lnTo>
                    <a:pt x="970" y="2477"/>
                  </a:lnTo>
                  <a:lnTo>
                    <a:pt x="1208" y="2627"/>
                  </a:lnTo>
                  <a:lnTo>
                    <a:pt x="1517" y="2750"/>
                  </a:lnTo>
                  <a:lnTo>
                    <a:pt x="1843" y="2786"/>
                  </a:lnTo>
                  <a:lnTo>
                    <a:pt x="2160" y="2733"/>
                  </a:lnTo>
                  <a:lnTo>
                    <a:pt x="2469" y="2759"/>
                  </a:lnTo>
                  <a:lnTo>
                    <a:pt x="3535" y="3508"/>
                  </a:lnTo>
                  <a:lnTo>
                    <a:pt x="4161" y="3544"/>
                  </a:lnTo>
                  <a:lnTo>
                    <a:pt x="4311" y="3843"/>
                  </a:lnTo>
                  <a:lnTo>
                    <a:pt x="4399" y="4205"/>
                  </a:lnTo>
                  <a:lnTo>
                    <a:pt x="4655" y="4707"/>
                  </a:lnTo>
                  <a:lnTo>
                    <a:pt x="5007" y="4989"/>
                  </a:lnTo>
                  <a:lnTo>
                    <a:pt x="5175" y="4972"/>
                  </a:lnTo>
                  <a:lnTo>
                    <a:pt x="5307" y="4866"/>
                  </a:lnTo>
                  <a:lnTo>
                    <a:pt x="5448" y="4672"/>
                  </a:lnTo>
                  <a:lnTo>
                    <a:pt x="5616" y="4557"/>
                  </a:lnTo>
                  <a:lnTo>
                    <a:pt x="6003" y="4566"/>
                  </a:lnTo>
                  <a:lnTo>
                    <a:pt x="6100" y="4504"/>
                  </a:lnTo>
                  <a:lnTo>
                    <a:pt x="6118" y="4408"/>
                  </a:lnTo>
                  <a:lnTo>
                    <a:pt x="6065" y="4337"/>
                  </a:lnTo>
                  <a:lnTo>
                    <a:pt x="6083" y="4161"/>
                  </a:lnTo>
                  <a:lnTo>
                    <a:pt x="6127" y="4081"/>
                  </a:lnTo>
                  <a:lnTo>
                    <a:pt x="6321" y="4037"/>
                  </a:lnTo>
                  <a:lnTo>
                    <a:pt x="6532" y="4020"/>
                  </a:lnTo>
                  <a:lnTo>
                    <a:pt x="6691" y="3949"/>
                  </a:lnTo>
                  <a:lnTo>
                    <a:pt x="6823" y="3826"/>
                  </a:lnTo>
                  <a:lnTo>
                    <a:pt x="6382" y="3323"/>
                  </a:lnTo>
                  <a:lnTo>
                    <a:pt x="6400" y="3165"/>
                  </a:lnTo>
                  <a:lnTo>
                    <a:pt x="6462" y="3050"/>
                  </a:lnTo>
                  <a:lnTo>
                    <a:pt x="6479" y="2838"/>
                  </a:lnTo>
                  <a:lnTo>
                    <a:pt x="6462" y="2636"/>
                  </a:lnTo>
                  <a:lnTo>
                    <a:pt x="6488" y="2424"/>
                  </a:lnTo>
                  <a:lnTo>
                    <a:pt x="6462" y="2221"/>
                  </a:lnTo>
                  <a:lnTo>
                    <a:pt x="6382" y="2045"/>
                  </a:lnTo>
                  <a:lnTo>
                    <a:pt x="6382" y="1851"/>
                  </a:lnTo>
                  <a:lnTo>
                    <a:pt x="6462" y="1701"/>
                  </a:lnTo>
                  <a:lnTo>
                    <a:pt x="6559" y="1587"/>
                  </a:lnTo>
                  <a:lnTo>
                    <a:pt x="6629" y="1402"/>
                  </a:lnTo>
                  <a:lnTo>
                    <a:pt x="6620" y="1190"/>
                  </a:lnTo>
                  <a:lnTo>
                    <a:pt x="6620" y="1164"/>
                  </a:lnTo>
                  <a:lnTo>
                    <a:pt x="6568" y="1155"/>
                  </a:lnTo>
                  <a:lnTo>
                    <a:pt x="6003" y="970"/>
                  </a:lnTo>
                  <a:lnTo>
                    <a:pt x="5792" y="934"/>
                  </a:lnTo>
                  <a:lnTo>
                    <a:pt x="5607" y="1014"/>
                  </a:lnTo>
                  <a:lnTo>
                    <a:pt x="5527" y="873"/>
                  </a:lnTo>
                  <a:lnTo>
                    <a:pt x="5475" y="811"/>
                  </a:lnTo>
                  <a:lnTo>
                    <a:pt x="5413" y="758"/>
                  </a:lnTo>
                  <a:lnTo>
                    <a:pt x="5175" y="644"/>
                  </a:lnTo>
                  <a:lnTo>
                    <a:pt x="5096" y="538"/>
                  </a:lnTo>
                  <a:lnTo>
                    <a:pt x="5087" y="150"/>
                  </a:lnTo>
                  <a:lnTo>
                    <a:pt x="4972" y="176"/>
                  </a:lnTo>
                  <a:lnTo>
                    <a:pt x="4937" y="132"/>
                  </a:lnTo>
                  <a:lnTo>
                    <a:pt x="4858" y="203"/>
                  </a:lnTo>
                  <a:lnTo>
                    <a:pt x="4769" y="203"/>
                  </a:lnTo>
                  <a:lnTo>
                    <a:pt x="4690" y="141"/>
                  </a:lnTo>
                  <a:lnTo>
                    <a:pt x="4655" y="44"/>
                  </a:lnTo>
                  <a:lnTo>
                    <a:pt x="4567" y="97"/>
                  </a:lnTo>
                  <a:lnTo>
                    <a:pt x="4487" y="185"/>
                  </a:lnTo>
                  <a:lnTo>
                    <a:pt x="4426" y="282"/>
                  </a:lnTo>
                  <a:lnTo>
                    <a:pt x="4364" y="379"/>
                  </a:lnTo>
                  <a:lnTo>
                    <a:pt x="4302" y="547"/>
                  </a:lnTo>
                  <a:lnTo>
                    <a:pt x="4276" y="599"/>
                  </a:lnTo>
                  <a:lnTo>
                    <a:pt x="4240" y="626"/>
                  </a:lnTo>
                  <a:lnTo>
                    <a:pt x="4170" y="644"/>
                  </a:lnTo>
                  <a:lnTo>
                    <a:pt x="4144" y="679"/>
                  </a:lnTo>
                  <a:lnTo>
                    <a:pt x="4073" y="661"/>
                  </a:lnTo>
                  <a:lnTo>
                    <a:pt x="3888" y="679"/>
                  </a:lnTo>
                  <a:lnTo>
                    <a:pt x="3791" y="644"/>
                  </a:lnTo>
                  <a:lnTo>
                    <a:pt x="3685" y="520"/>
                  </a:lnTo>
                  <a:lnTo>
                    <a:pt x="3667" y="494"/>
                  </a:lnTo>
                  <a:lnTo>
                    <a:pt x="3474" y="432"/>
                  </a:lnTo>
                  <a:lnTo>
                    <a:pt x="3394" y="370"/>
                  </a:lnTo>
                  <a:lnTo>
                    <a:pt x="3288" y="238"/>
                  </a:lnTo>
                  <a:lnTo>
                    <a:pt x="3209" y="212"/>
                  </a:lnTo>
                  <a:lnTo>
                    <a:pt x="3095" y="203"/>
                  </a:lnTo>
                  <a:lnTo>
                    <a:pt x="2998" y="176"/>
                  </a:lnTo>
                  <a:lnTo>
                    <a:pt x="2945" y="141"/>
                  </a:lnTo>
                  <a:lnTo>
                    <a:pt x="2839" y="44"/>
                  </a:lnTo>
                  <a:lnTo>
                    <a:pt x="2671"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0" name="Google Shape;3111;p54">
              <a:extLst>
                <a:ext uri="{FF2B5EF4-FFF2-40B4-BE49-F238E27FC236}">
                  <a16:creationId xmlns:a16="http://schemas.microsoft.com/office/drawing/2014/main" id="{84D5A575-1643-5E29-219C-0FC6CD9B6C53}"/>
                </a:ext>
              </a:extLst>
            </p:cNvPr>
            <p:cNvSpPr/>
            <p:nvPr/>
          </p:nvSpPr>
          <p:spPr>
            <a:xfrm>
              <a:off x="5414894" y="1399402"/>
              <a:ext cx="747111" cy="389871"/>
            </a:xfrm>
            <a:custGeom>
              <a:avLst/>
              <a:gdLst/>
              <a:ahLst/>
              <a:cxnLst/>
              <a:rect l="l" t="t" r="r" b="b"/>
              <a:pathLst>
                <a:path w="10509" h="5484" extrusionOk="0">
                  <a:moveTo>
                    <a:pt x="4964" y="0"/>
                  </a:moveTo>
                  <a:lnTo>
                    <a:pt x="4858" y="18"/>
                  </a:lnTo>
                  <a:lnTo>
                    <a:pt x="4673" y="177"/>
                  </a:lnTo>
                  <a:lnTo>
                    <a:pt x="4558" y="212"/>
                  </a:lnTo>
                  <a:lnTo>
                    <a:pt x="4443" y="230"/>
                  </a:lnTo>
                  <a:lnTo>
                    <a:pt x="3959" y="441"/>
                  </a:lnTo>
                  <a:lnTo>
                    <a:pt x="3668" y="485"/>
                  </a:lnTo>
                  <a:lnTo>
                    <a:pt x="3491" y="600"/>
                  </a:lnTo>
                  <a:lnTo>
                    <a:pt x="3395" y="644"/>
                  </a:lnTo>
                  <a:lnTo>
                    <a:pt x="3201" y="662"/>
                  </a:lnTo>
                  <a:lnTo>
                    <a:pt x="2980" y="626"/>
                  </a:lnTo>
                  <a:lnTo>
                    <a:pt x="2839" y="582"/>
                  </a:lnTo>
                  <a:lnTo>
                    <a:pt x="2663" y="1005"/>
                  </a:lnTo>
                  <a:lnTo>
                    <a:pt x="2636" y="1314"/>
                  </a:lnTo>
                  <a:lnTo>
                    <a:pt x="2716" y="1614"/>
                  </a:lnTo>
                  <a:lnTo>
                    <a:pt x="2725" y="1799"/>
                  </a:lnTo>
                  <a:lnTo>
                    <a:pt x="2707" y="1975"/>
                  </a:lnTo>
                  <a:lnTo>
                    <a:pt x="2733" y="2116"/>
                  </a:lnTo>
                  <a:lnTo>
                    <a:pt x="2795" y="2248"/>
                  </a:lnTo>
                  <a:lnTo>
                    <a:pt x="2830" y="2425"/>
                  </a:lnTo>
                  <a:lnTo>
                    <a:pt x="2866" y="2795"/>
                  </a:lnTo>
                  <a:lnTo>
                    <a:pt x="2769" y="2865"/>
                  </a:lnTo>
                  <a:lnTo>
                    <a:pt x="2531" y="2804"/>
                  </a:lnTo>
                  <a:lnTo>
                    <a:pt x="2443" y="2839"/>
                  </a:lnTo>
                  <a:lnTo>
                    <a:pt x="2443" y="2848"/>
                  </a:lnTo>
                  <a:lnTo>
                    <a:pt x="2301" y="2945"/>
                  </a:lnTo>
                  <a:lnTo>
                    <a:pt x="2099" y="2980"/>
                  </a:lnTo>
                  <a:lnTo>
                    <a:pt x="1896" y="2953"/>
                  </a:lnTo>
                  <a:lnTo>
                    <a:pt x="1755" y="2874"/>
                  </a:lnTo>
                  <a:lnTo>
                    <a:pt x="1676" y="2786"/>
                  </a:lnTo>
                  <a:lnTo>
                    <a:pt x="1632" y="2768"/>
                  </a:lnTo>
                  <a:lnTo>
                    <a:pt x="1420" y="2742"/>
                  </a:lnTo>
                  <a:lnTo>
                    <a:pt x="1376" y="2707"/>
                  </a:lnTo>
                  <a:lnTo>
                    <a:pt x="1429" y="2627"/>
                  </a:lnTo>
                  <a:lnTo>
                    <a:pt x="1279" y="2557"/>
                  </a:lnTo>
                  <a:lnTo>
                    <a:pt x="1208" y="2504"/>
                  </a:lnTo>
                  <a:lnTo>
                    <a:pt x="1173" y="2442"/>
                  </a:lnTo>
                  <a:lnTo>
                    <a:pt x="1164" y="2336"/>
                  </a:lnTo>
                  <a:lnTo>
                    <a:pt x="1138" y="2222"/>
                  </a:lnTo>
                  <a:lnTo>
                    <a:pt x="1094" y="2134"/>
                  </a:lnTo>
                  <a:lnTo>
                    <a:pt x="1050" y="2081"/>
                  </a:lnTo>
                  <a:lnTo>
                    <a:pt x="997" y="2169"/>
                  </a:lnTo>
                  <a:lnTo>
                    <a:pt x="882" y="2239"/>
                  </a:lnTo>
                  <a:lnTo>
                    <a:pt x="635" y="2336"/>
                  </a:lnTo>
                  <a:lnTo>
                    <a:pt x="486" y="2486"/>
                  </a:lnTo>
                  <a:lnTo>
                    <a:pt x="424" y="2513"/>
                  </a:lnTo>
                  <a:lnTo>
                    <a:pt x="309" y="2513"/>
                  </a:lnTo>
                  <a:lnTo>
                    <a:pt x="265" y="2539"/>
                  </a:lnTo>
                  <a:lnTo>
                    <a:pt x="221" y="2592"/>
                  </a:lnTo>
                  <a:lnTo>
                    <a:pt x="256" y="2698"/>
                  </a:lnTo>
                  <a:lnTo>
                    <a:pt x="186" y="2777"/>
                  </a:lnTo>
                  <a:lnTo>
                    <a:pt x="80" y="2830"/>
                  </a:lnTo>
                  <a:lnTo>
                    <a:pt x="1" y="2883"/>
                  </a:lnTo>
                  <a:lnTo>
                    <a:pt x="239" y="3315"/>
                  </a:lnTo>
                  <a:lnTo>
                    <a:pt x="300" y="3544"/>
                  </a:lnTo>
                  <a:lnTo>
                    <a:pt x="336" y="3782"/>
                  </a:lnTo>
                  <a:lnTo>
                    <a:pt x="406" y="4011"/>
                  </a:lnTo>
                  <a:lnTo>
                    <a:pt x="759" y="3967"/>
                  </a:lnTo>
                  <a:lnTo>
                    <a:pt x="935" y="4011"/>
                  </a:lnTo>
                  <a:lnTo>
                    <a:pt x="2381" y="4417"/>
                  </a:lnTo>
                  <a:lnTo>
                    <a:pt x="2663" y="4364"/>
                  </a:lnTo>
                  <a:lnTo>
                    <a:pt x="2813" y="4452"/>
                  </a:lnTo>
                  <a:lnTo>
                    <a:pt x="3483" y="4972"/>
                  </a:lnTo>
                  <a:lnTo>
                    <a:pt x="3641" y="5245"/>
                  </a:lnTo>
                  <a:lnTo>
                    <a:pt x="3800" y="5289"/>
                  </a:lnTo>
                  <a:lnTo>
                    <a:pt x="4153" y="5263"/>
                  </a:lnTo>
                  <a:lnTo>
                    <a:pt x="4329" y="5298"/>
                  </a:lnTo>
                  <a:lnTo>
                    <a:pt x="4946" y="5307"/>
                  </a:lnTo>
                  <a:lnTo>
                    <a:pt x="5307" y="5483"/>
                  </a:lnTo>
                  <a:lnTo>
                    <a:pt x="5501" y="5439"/>
                  </a:lnTo>
                  <a:lnTo>
                    <a:pt x="5669" y="5289"/>
                  </a:lnTo>
                  <a:lnTo>
                    <a:pt x="5880" y="5157"/>
                  </a:lnTo>
                  <a:lnTo>
                    <a:pt x="6021" y="4902"/>
                  </a:lnTo>
                  <a:lnTo>
                    <a:pt x="6101" y="4619"/>
                  </a:lnTo>
                  <a:lnTo>
                    <a:pt x="6286" y="4505"/>
                  </a:lnTo>
                  <a:lnTo>
                    <a:pt x="6453" y="4567"/>
                  </a:lnTo>
                  <a:lnTo>
                    <a:pt x="6586" y="4708"/>
                  </a:lnTo>
                  <a:lnTo>
                    <a:pt x="6647" y="4849"/>
                  </a:lnTo>
                  <a:lnTo>
                    <a:pt x="6718" y="4981"/>
                  </a:lnTo>
                  <a:lnTo>
                    <a:pt x="7220" y="5342"/>
                  </a:lnTo>
                  <a:lnTo>
                    <a:pt x="7723" y="5219"/>
                  </a:lnTo>
                  <a:lnTo>
                    <a:pt x="7881" y="5148"/>
                  </a:lnTo>
                  <a:lnTo>
                    <a:pt x="7917" y="5104"/>
                  </a:lnTo>
                  <a:lnTo>
                    <a:pt x="7943" y="5122"/>
                  </a:lnTo>
                  <a:lnTo>
                    <a:pt x="8190" y="5131"/>
                  </a:lnTo>
                  <a:lnTo>
                    <a:pt x="8348" y="5245"/>
                  </a:lnTo>
                  <a:lnTo>
                    <a:pt x="8437" y="5395"/>
                  </a:lnTo>
                  <a:lnTo>
                    <a:pt x="8534" y="5360"/>
                  </a:lnTo>
                  <a:lnTo>
                    <a:pt x="8622" y="5316"/>
                  </a:lnTo>
                  <a:lnTo>
                    <a:pt x="8825" y="5298"/>
                  </a:lnTo>
                  <a:lnTo>
                    <a:pt x="9001" y="5237"/>
                  </a:lnTo>
                  <a:lnTo>
                    <a:pt x="9177" y="5140"/>
                  </a:lnTo>
                  <a:lnTo>
                    <a:pt x="9248" y="5087"/>
                  </a:lnTo>
                  <a:lnTo>
                    <a:pt x="9433" y="4884"/>
                  </a:lnTo>
                  <a:lnTo>
                    <a:pt x="9794" y="4672"/>
                  </a:lnTo>
                  <a:lnTo>
                    <a:pt x="9997" y="4293"/>
                  </a:lnTo>
                  <a:lnTo>
                    <a:pt x="10253" y="4011"/>
                  </a:lnTo>
                  <a:lnTo>
                    <a:pt x="10499" y="3685"/>
                  </a:lnTo>
                  <a:lnTo>
                    <a:pt x="10508" y="3641"/>
                  </a:lnTo>
                  <a:lnTo>
                    <a:pt x="10429" y="3650"/>
                  </a:lnTo>
                  <a:lnTo>
                    <a:pt x="10341" y="3606"/>
                  </a:lnTo>
                  <a:lnTo>
                    <a:pt x="10156" y="3500"/>
                  </a:lnTo>
                  <a:lnTo>
                    <a:pt x="10059" y="3474"/>
                  </a:lnTo>
                  <a:lnTo>
                    <a:pt x="9988" y="3429"/>
                  </a:lnTo>
                  <a:lnTo>
                    <a:pt x="9953" y="3324"/>
                  </a:lnTo>
                  <a:lnTo>
                    <a:pt x="9944" y="3050"/>
                  </a:lnTo>
                  <a:lnTo>
                    <a:pt x="9873" y="2856"/>
                  </a:lnTo>
                  <a:lnTo>
                    <a:pt x="9732" y="2733"/>
                  </a:lnTo>
                  <a:lnTo>
                    <a:pt x="9045" y="2389"/>
                  </a:lnTo>
                  <a:lnTo>
                    <a:pt x="8675" y="2292"/>
                  </a:lnTo>
                  <a:lnTo>
                    <a:pt x="8278" y="2292"/>
                  </a:lnTo>
                  <a:lnTo>
                    <a:pt x="8181" y="2275"/>
                  </a:lnTo>
                  <a:lnTo>
                    <a:pt x="8102" y="2239"/>
                  </a:lnTo>
                  <a:lnTo>
                    <a:pt x="8040" y="2239"/>
                  </a:lnTo>
                  <a:lnTo>
                    <a:pt x="7978" y="2292"/>
                  </a:lnTo>
                  <a:lnTo>
                    <a:pt x="7987" y="2301"/>
                  </a:lnTo>
                  <a:lnTo>
                    <a:pt x="7952" y="2433"/>
                  </a:lnTo>
                  <a:lnTo>
                    <a:pt x="7943" y="2442"/>
                  </a:lnTo>
                  <a:lnTo>
                    <a:pt x="7925" y="2477"/>
                  </a:lnTo>
                  <a:lnTo>
                    <a:pt x="7864" y="2592"/>
                  </a:lnTo>
                  <a:lnTo>
                    <a:pt x="7846" y="2654"/>
                  </a:lnTo>
                  <a:lnTo>
                    <a:pt x="7811" y="2715"/>
                  </a:lnTo>
                  <a:lnTo>
                    <a:pt x="7564" y="2927"/>
                  </a:lnTo>
                  <a:lnTo>
                    <a:pt x="7370" y="3042"/>
                  </a:lnTo>
                  <a:lnTo>
                    <a:pt x="7255" y="3068"/>
                  </a:lnTo>
                  <a:lnTo>
                    <a:pt x="7167" y="3033"/>
                  </a:lnTo>
                  <a:lnTo>
                    <a:pt x="7123" y="2998"/>
                  </a:lnTo>
                  <a:lnTo>
                    <a:pt x="7044" y="2989"/>
                  </a:lnTo>
                  <a:lnTo>
                    <a:pt x="6991" y="2971"/>
                  </a:lnTo>
                  <a:lnTo>
                    <a:pt x="6973" y="2945"/>
                  </a:lnTo>
                  <a:lnTo>
                    <a:pt x="6920" y="2874"/>
                  </a:lnTo>
                  <a:lnTo>
                    <a:pt x="6903" y="2839"/>
                  </a:lnTo>
                  <a:lnTo>
                    <a:pt x="6850" y="2812"/>
                  </a:lnTo>
                  <a:lnTo>
                    <a:pt x="6797" y="2804"/>
                  </a:lnTo>
                  <a:lnTo>
                    <a:pt x="6753" y="2768"/>
                  </a:lnTo>
                  <a:lnTo>
                    <a:pt x="6744" y="2698"/>
                  </a:lnTo>
                  <a:lnTo>
                    <a:pt x="6735" y="2636"/>
                  </a:lnTo>
                  <a:lnTo>
                    <a:pt x="6727" y="2583"/>
                  </a:lnTo>
                  <a:lnTo>
                    <a:pt x="6700" y="2557"/>
                  </a:lnTo>
                  <a:lnTo>
                    <a:pt x="6568" y="2522"/>
                  </a:lnTo>
                  <a:lnTo>
                    <a:pt x="6339" y="2398"/>
                  </a:lnTo>
                  <a:lnTo>
                    <a:pt x="6259" y="2336"/>
                  </a:lnTo>
                  <a:lnTo>
                    <a:pt x="6110" y="2046"/>
                  </a:lnTo>
                  <a:lnTo>
                    <a:pt x="5995" y="1957"/>
                  </a:lnTo>
                  <a:lnTo>
                    <a:pt x="5783" y="1702"/>
                  </a:lnTo>
                  <a:lnTo>
                    <a:pt x="5739" y="1596"/>
                  </a:lnTo>
                  <a:lnTo>
                    <a:pt x="5722" y="1499"/>
                  </a:lnTo>
                  <a:lnTo>
                    <a:pt x="5722" y="1296"/>
                  </a:lnTo>
                  <a:lnTo>
                    <a:pt x="5730" y="1270"/>
                  </a:lnTo>
                  <a:lnTo>
                    <a:pt x="5766" y="1164"/>
                  </a:lnTo>
                  <a:lnTo>
                    <a:pt x="5783" y="1102"/>
                  </a:lnTo>
                  <a:lnTo>
                    <a:pt x="5783" y="847"/>
                  </a:lnTo>
                  <a:lnTo>
                    <a:pt x="5722" y="670"/>
                  </a:lnTo>
                  <a:lnTo>
                    <a:pt x="5369" y="212"/>
                  </a:lnTo>
                  <a:lnTo>
                    <a:pt x="5334" y="212"/>
                  </a:lnTo>
                  <a:lnTo>
                    <a:pt x="5334" y="300"/>
                  </a:lnTo>
                  <a:lnTo>
                    <a:pt x="5061" y="36"/>
                  </a:lnTo>
                  <a:lnTo>
                    <a:pt x="5034" y="45"/>
                  </a:lnTo>
                  <a:lnTo>
                    <a:pt x="4990" y="89"/>
                  </a:lnTo>
                  <a:lnTo>
                    <a:pt x="4920" y="159"/>
                  </a:lnTo>
                  <a:lnTo>
                    <a:pt x="4858" y="274"/>
                  </a:lnTo>
                  <a:lnTo>
                    <a:pt x="4814" y="406"/>
                  </a:lnTo>
                  <a:lnTo>
                    <a:pt x="4805" y="556"/>
                  </a:lnTo>
                  <a:lnTo>
                    <a:pt x="4770" y="556"/>
                  </a:lnTo>
                  <a:lnTo>
                    <a:pt x="4752" y="450"/>
                  </a:lnTo>
                  <a:lnTo>
                    <a:pt x="4840" y="256"/>
                  </a:lnTo>
                  <a:lnTo>
                    <a:pt x="4831" y="168"/>
                  </a:lnTo>
                  <a:lnTo>
                    <a:pt x="4875" y="150"/>
                  </a:lnTo>
                  <a:lnTo>
                    <a:pt x="4911" y="115"/>
                  </a:lnTo>
                  <a:lnTo>
                    <a:pt x="4937" y="80"/>
                  </a:lnTo>
                  <a:lnTo>
                    <a:pt x="4964" y="36"/>
                  </a:lnTo>
                  <a:lnTo>
                    <a:pt x="496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1" name="Google Shape;3112;p54">
              <a:extLst>
                <a:ext uri="{FF2B5EF4-FFF2-40B4-BE49-F238E27FC236}">
                  <a16:creationId xmlns:a16="http://schemas.microsoft.com/office/drawing/2014/main" id="{5C12B664-2704-1825-AF50-881B436A1F9B}"/>
                </a:ext>
              </a:extLst>
            </p:cNvPr>
            <p:cNvSpPr/>
            <p:nvPr/>
          </p:nvSpPr>
          <p:spPr>
            <a:xfrm>
              <a:off x="5168621" y="1238301"/>
              <a:ext cx="450015" cy="396198"/>
            </a:xfrm>
            <a:custGeom>
              <a:avLst/>
              <a:gdLst/>
              <a:ahLst/>
              <a:cxnLst/>
              <a:rect l="l" t="t" r="r" b="b"/>
              <a:pathLst>
                <a:path w="6330" h="5573" extrusionOk="0">
                  <a:moveTo>
                    <a:pt x="3747" y="1"/>
                  </a:moveTo>
                  <a:lnTo>
                    <a:pt x="3720" y="186"/>
                  </a:lnTo>
                  <a:lnTo>
                    <a:pt x="3606" y="398"/>
                  </a:lnTo>
                  <a:lnTo>
                    <a:pt x="3474" y="574"/>
                  </a:lnTo>
                  <a:lnTo>
                    <a:pt x="3306" y="671"/>
                  </a:lnTo>
                  <a:lnTo>
                    <a:pt x="3130" y="812"/>
                  </a:lnTo>
                  <a:lnTo>
                    <a:pt x="3050" y="856"/>
                  </a:lnTo>
                  <a:lnTo>
                    <a:pt x="2812" y="927"/>
                  </a:lnTo>
                  <a:lnTo>
                    <a:pt x="2566" y="953"/>
                  </a:lnTo>
                  <a:lnTo>
                    <a:pt x="1957" y="918"/>
                  </a:lnTo>
                  <a:lnTo>
                    <a:pt x="1790" y="865"/>
                  </a:lnTo>
                  <a:lnTo>
                    <a:pt x="1658" y="794"/>
                  </a:lnTo>
                  <a:lnTo>
                    <a:pt x="1587" y="777"/>
                  </a:lnTo>
                  <a:lnTo>
                    <a:pt x="1411" y="786"/>
                  </a:lnTo>
                  <a:lnTo>
                    <a:pt x="882" y="944"/>
                  </a:lnTo>
                  <a:lnTo>
                    <a:pt x="353" y="865"/>
                  </a:lnTo>
                  <a:lnTo>
                    <a:pt x="371" y="1217"/>
                  </a:lnTo>
                  <a:lnTo>
                    <a:pt x="239" y="1588"/>
                  </a:lnTo>
                  <a:lnTo>
                    <a:pt x="9" y="1861"/>
                  </a:lnTo>
                  <a:lnTo>
                    <a:pt x="1" y="2072"/>
                  </a:lnTo>
                  <a:lnTo>
                    <a:pt x="300" y="2187"/>
                  </a:lnTo>
                  <a:lnTo>
                    <a:pt x="468" y="2187"/>
                  </a:lnTo>
                  <a:lnTo>
                    <a:pt x="670" y="2205"/>
                  </a:lnTo>
                  <a:lnTo>
                    <a:pt x="944" y="2284"/>
                  </a:lnTo>
                  <a:lnTo>
                    <a:pt x="1508" y="2319"/>
                  </a:lnTo>
                  <a:lnTo>
                    <a:pt x="1816" y="2407"/>
                  </a:lnTo>
                  <a:lnTo>
                    <a:pt x="2072" y="2751"/>
                  </a:lnTo>
                  <a:lnTo>
                    <a:pt x="1913" y="3166"/>
                  </a:lnTo>
                  <a:lnTo>
                    <a:pt x="1764" y="3271"/>
                  </a:lnTo>
                  <a:lnTo>
                    <a:pt x="1631" y="3404"/>
                  </a:lnTo>
                  <a:lnTo>
                    <a:pt x="1534" y="3615"/>
                  </a:lnTo>
                  <a:lnTo>
                    <a:pt x="1499" y="3853"/>
                  </a:lnTo>
                  <a:lnTo>
                    <a:pt x="1526" y="3968"/>
                  </a:lnTo>
                  <a:lnTo>
                    <a:pt x="1570" y="4091"/>
                  </a:lnTo>
                  <a:lnTo>
                    <a:pt x="1534" y="4902"/>
                  </a:lnTo>
                  <a:lnTo>
                    <a:pt x="1658" y="5052"/>
                  </a:lnTo>
                  <a:lnTo>
                    <a:pt x="1834" y="5043"/>
                  </a:lnTo>
                  <a:lnTo>
                    <a:pt x="1931" y="5061"/>
                  </a:lnTo>
                  <a:lnTo>
                    <a:pt x="2010" y="5149"/>
                  </a:lnTo>
                  <a:lnTo>
                    <a:pt x="2169" y="5175"/>
                  </a:lnTo>
                  <a:lnTo>
                    <a:pt x="2319" y="5140"/>
                  </a:lnTo>
                  <a:lnTo>
                    <a:pt x="2460" y="5175"/>
                  </a:lnTo>
                  <a:lnTo>
                    <a:pt x="2574" y="5255"/>
                  </a:lnTo>
                  <a:lnTo>
                    <a:pt x="2627" y="5352"/>
                  </a:lnTo>
                  <a:lnTo>
                    <a:pt x="2707" y="5405"/>
                  </a:lnTo>
                  <a:lnTo>
                    <a:pt x="3236" y="5572"/>
                  </a:lnTo>
                  <a:lnTo>
                    <a:pt x="3333" y="5457"/>
                  </a:lnTo>
                  <a:lnTo>
                    <a:pt x="3412" y="5378"/>
                  </a:lnTo>
                  <a:lnTo>
                    <a:pt x="3430" y="5343"/>
                  </a:lnTo>
                  <a:lnTo>
                    <a:pt x="3447" y="5299"/>
                  </a:lnTo>
                  <a:lnTo>
                    <a:pt x="3456" y="5193"/>
                  </a:lnTo>
                  <a:lnTo>
                    <a:pt x="3465" y="5149"/>
                  </a:lnTo>
                  <a:lnTo>
                    <a:pt x="3544" y="5096"/>
                  </a:lnTo>
                  <a:lnTo>
                    <a:pt x="3650" y="5043"/>
                  </a:lnTo>
                  <a:lnTo>
                    <a:pt x="3720" y="4964"/>
                  </a:lnTo>
                  <a:lnTo>
                    <a:pt x="3685" y="4858"/>
                  </a:lnTo>
                  <a:lnTo>
                    <a:pt x="3729" y="4805"/>
                  </a:lnTo>
                  <a:lnTo>
                    <a:pt x="3773" y="4779"/>
                  </a:lnTo>
                  <a:lnTo>
                    <a:pt x="3888" y="4779"/>
                  </a:lnTo>
                  <a:lnTo>
                    <a:pt x="3950" y="4752"/>
                  </a:lnTo>
                  <a:lnTo>
                    <a:pt x="4099" y="4602"/>
                  </a:lnTo>
                  <a:lnTo>
                    <a:pt x="4346" y="4505"/>
                  </a:lnTo>
                  <a:lnTo>
                    <a:pt x="4461" y="4435"/>
                  </a:lnTo>
                  <a:lnTo>
                    <a:pt x="4514" y="4347"/>
                  </a:lnTo>
                  <a:lnTo>
                    <a:pt x="4558" y="4400"/>
                  </a:lnTo>
                  <a:lnTo>
                    <a:pt x="4602" y="4488"/>
                  </a:lnTo>
                  <a:lnTo>
                    <a:pt x="4628" y="4602"/>
                  </a:lnTo>
                  <a:lnTo>
                    <a:pt x="4637" y="4708"/>
                  </a:lnTo>
                  <a:lnTo>
                    <a:pt x="4672" y="4770"/>
                  </a:lnTo>
                  <a:lnTo>
                    <a:pt x="4743" y="4823"/>
                  </a:lnTo>
                  <a:lnTo>
                    <a:pt x="4893" y="4893"/>
                  </a:lnTo>
                  <a:lnTo>
                    <a:pt x="4840" y="4973"/>
                  </a:lnTo>
                  <a:lnTo>
                    <a:pt x="4884" y="5008"/>
                  </a:lnTo>
                  <a:lnTo>
                    <a:pt x="5096" y="5034"/>
                  </a:lnTo>
                  <a:lnTo>
                    <a:pt x="5140" y="5052"/>
                  </a:lnTo>
                  <a:lnTo>
                    <a:pt x="5219" y="5140"/>
                  </a:lnTo>
                  <a:lnTo>
                    <a:pt x="5360" y="5219"/>
                  </a:lnTo>
                  <a:lnTo>
                    <a:pt x="5563" y="5246"/>
                  </a:lnTo>
                  <a:lnTo>
                    <a:pt x="5765" y="5211"/>
                  </a:lnTo>
                  <a:lnTo>
                    <a:pt x="5907" y="5114"/>
                  </a:lnTo>
                  <a:lnTo>
                    <a:pt x="5907" y="5105"/>
                  </a:lnTo>
                  <a:lnTo>
                    <a:pt x="5995" y="5070"/>
                  </a:lnTo>
                  <a:lnTo>
                    <a:pt x="6233" y="5131"/>
                  </a:lnTo>
                  <a:lnTo>
                    <a:pt x="6330" y="5061"/>
                  </a:lnTo>
                  <a:lnTo>
                    <a:pt x="6294" y="4691"/>
                  </a:lnTo>
                  <a:lnTo>
                    <a:pt x="6259" y="4514"/>
                  </a:lnTo>
                  <a:lnTo>
                    <a:pt x="6197" y="4382"/>
                  </a:lnTo>
                  <a:lnTo>
                    <a:pt x="6171" y="4241"/>
                  </a:lnTo>
                  <a:lnTo>
                    <a:pt x="6189" y="4065"/>
                  </a:lnTo>
                  <a:lnTo>
                    <a:pt x="6180" y="3880"/>
                  </a:lnTo>
                  <a:lnTo>
                    <a:pt x="6100" y="3580"/>
                  </a:lnTo>
                  <a:lnTo>
                    <a:pt x="6127" y="3271"/>
                  </a:lnTo>
                  <a:lnTo>
                    <a:pt x="6303" y="2848"/>
                  </a:lnTo>
                  <a:lnTo>
                    <a:pt x="6241" y="2831"/>
                  </a:lnTo>
                  <a:lnTo>
                    <a:pt x="6074" y="2734"/>
                  </a:lnTo>
                  <a:lnTo>
                    <a:pt x="5924" y="2593"/>
                  </a:lnTo>
                  <a:lnTo>
                    <a:pt x="5845" y="2540"/>
                  </a:lnTo>
                  <a:lnTo>
                    <a:pt x="5642" y="2504"/>
                  </a:lnTo>
                  <a:lnTo>
                    <a:pt x="5369" y="2390"/>
                  </a:lnTo>
                  <a:lnTo>
                    <a:pt x="5298" y="2337"/>
                  </a:lnTo>
                  <a:lnTo>
                    <a:pt x="5166" y="2169"/>
                  </a:lnTo>
                  <a:lnTo>
                    <a:pt x="5025" y="2108"/>
                  </a:lnTo>
                  <a:lnTo>
                    <a:pt x="4972" y="2020"/>
                  </a:lnTo>
                  <a:lnTo>
                    <a:pt x="4919" y="1923"/>
                  </a:lnTo>
                  <a:lnTo>
                    <a:pt x="4893" y="1834"/>
                  </a:lnTo>
                  <a:lnTo>
                    <a:pt x="4955" y="1834"/>
                  </a:lnTo>
                  <a:lnTo>
                    <a:pt x="4955" y="1799"/>
                  </a:lnTo>
                  <a:lnTo>
                    <a:pt x="4708" y="1579"/>
                  </a:lnTo>
                  <a:lnTo>
                    <a:pt x="4567" y="1394"/>
                  </a:lnTo>
                  <a:lnTo>
                    <a:pt x="4443" y="1165"/>
                  </a:lnTo>
                  <a:lnTo>
                    <a:pt x="4417" y="1068"/>
                  </a:lnTo>
                  <a:lnTo>
                    <a:pt x="4417" y="953"/>
                  </a:lnTo>
                  <a:lnTo>
                    <a:pt x="4443" y="812"/>
                  </a:lnTo>
                  <a:lnTo>
                    <a:pt x="4487" y="671"/>
                  </a:lnTo>
                  <a:lnTo>
                    <a:pt x="4531" y="574"/>
                  </a:lnTo>
                  <a:lnTo>
                    <a:pt x="4628" y="495"/>
                  </a:lnTo>
                  <a:lnTo>
                    <a:pt x="4743" y="486"/>
                  </a:lnTo>
                  <a:lnTo>
                    <a:pt x="4990" y="512"/>
                  </a:lnTo>
                  <a:lnTo>
                    <a:pt x="4990" y="468"/>
                  </a:lnTo>
                  <a:lnTo>
                    <a:pt x="4893" y="380"/>
                  </a:lnTo>
                  <a:lnTo>
                    <a:pt x="4849" y="354"/>
                  </a:lnTo>
                  <a:lnTo>
                    <a:pt x="4778" y="345"/>
                  </a:lnTo>
                  <a:lnTo>
                    <a:pt x="4734" y="362"/>
                  </a:lnTo>
                  <a:lnTo>
                    <a:pt x="4655" y="442"/>
                  </a:lnTo>
                  <a:lnTo>
                    <a:pt x="4611" y="468"/>
                  </a:lnTo>
                  <a:lnTo>
                    <a:pt x="4470" y="486"/>
                  </a:lnTo>
                  <a:lnTo>
                    <a:pt x="4364" y="442"/>
                  </a:lnTo>
                  <a:lnTo>
                    <a:pt x="4196" y="301"/>
                  </a:lnTo>
                  <a:lnTo>
                    <a:pt x="4196" y="257"/>
                  </a:lnTo>
                  <a:lnTo>
                    <a:pt x="4214" y="213"/>
                  </a:lnTo>
                  <a:lnTo>
                    <a:pt x="4179" y="168"/>
                  </a:lnTo>
                  <a:lnTo>
                    <a:pt x="4135" y="116"/>
                  </a:lnTo>
                  <a:lnTo>
                    <a:pt x="4099" y="45"/>
                  </a:lnTo>
                  <a:lnTo>
                    <a:pt x="4064" y="45"/>
                  </a:lnTo>
                  <a:lnTo>
                    <a:pt x="4038" y="36"/>
                  </a:lnTo>
                  <a:lnTo>
                    <a:pt x="4011" y="45"/>
                  </a:lnTo>
                  <a:lnTo>
                    <a:pt x="4002" y="89"/>
                  </a:lnTo>
                  <a:lnTo>
                    <a:pt x="3941" y="54"/>
                  </a:lnTo>
                  <a:lnTo>
                    <a:pt x="3809" y="27"/>
                  </a:lnTo>
                  <a:lnTo>
                    <a:pt x="3747"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3113;p54">
              <a:extLst>
                <a:ext uri="{FF2B5EF4-FFF2-40B4-BE49-F238E27FC236}">
                  <a16:creationId xmlns:a16="http://schemas.microsoft.com/office/drawing/2014/main" id="{3AE49A91-8B49-0928-21E9-5851A9896B4D}"/>
                </a:ext>
              </a:extLst>
            </p:cNvPr>
            <p:cNvSpPr/>
            <p:nvPr/>
          </p:nvSpPr>
          <p:spPr>
            <a:xfrm>
              <a:off x="4726197" y="1273422"/>
              <a:ext cx="589783" cy="510231"/>
            </a:xfrm>
            <a:custGeom>
              <a:avLst/>
              <a:gdLst/>
              <a:ahLst/>
              <a:cxnLst/>
              <a:rect l="l" t="t" r="r" b="b"/>
              <a:pathLst>
                <a:path w="8296" h="7177" extrusionOk="0">
                  <a:moveTo>
                    <a:pt x="2609" y="1"/>
                  </a:moveTo>
                  <a:lnTo>
                    <a:pt x="2433" y="9"/>
                  </a:lnTo>
                  <a:lnTo>
                    <a:pt x="1701" y="397"/>
                  </a:lnTo>
                  <a:lnTo>
                    <a:pt x="970" y="644"/>
                  </a:lnTo>
                  <a:lnTo>
                    <a:pt x="758" y="785"/>
                  </a:lnTo>
                  <a:lnTo>
                    <a:pt x="591" y="864"/>
                  </a:lnTo>
                  <a:lnTo>
                    <a:pt x="265" y="944"/>
                  </a:lnTo>
                  <a:lnTo>
                    <a:pt x="212" y="917"/>
                  </a:lnTo>
                  <a:lnTo>
                    <a:pt x="132" y="970"/>
                  </a:lnTo>
                  <a:lnTo>
                    <a:pt x="0" y="997"/>
                  </a:lnTo>
                  <a:lnTo>
                    <a:pt x="44" y="1376"/>
                  </a:lnTo>
                  <a:lnTo>
                    <a:pt x="177" y="1649"/>
                  </a:lnTo>
                  <a:lnTo>
                    <a:pt x="344" y="2107"/>
                  </a:lnTo>
                  <a:lnTo>
                    <a:pt x="44" y="2319"/>
                  </a:lnTo>
                  <a:lnTo>
                    <a:pt x="88" y="2760"/>
                  </a:lnTo>
                  <a:lnTo>
                    <a:pt x="247" y="2936"/>
                  </a:lnTo>
                  <a:lnTo>
                    <a:pt x="529" y="2892"/>
                  </a:lnTo>
                  <a:lnTo>
                    <a:pt x="864" y="2777"/>
                  </a:lnTo>
                  <a:lnTo>
                    <a:pt x="1208" y="3033"/>
                  </a:lnTo>
                  <a:lnTo>
                    <a:pt x="1340" y="3580"/>
                  </a:lnTo>
                  <a:lnTo>
                    <a:pt x="1463" y="3879"/>
                  </a:lnTo>
                  <a:lnTo>
                    <a:pt x="1014" y="3976"/>
                  </a:lnTo>
                  <a:lnTo>
                    <a:pt x="767" y="4214"/>
                  </a:lnTo>
                  <a:lnTo>
                    <a:pt x="556" y="4505"/>
                  </a:lnTo>
                  <a:lnTo>
                    <a:pt x="520" y="4717"/>
                  </a:lnTo>
                  <a:lnTo>
                    <a:pt x="608" y="5378"/>
                  </a:lnTo>
                  <a:lnTo>
                    <a:pt x="864" y="5413"/>
                  </a:lnTo>
                  <a:lnTo>
                    <a:pt x="1111" y="5528"/>
                  </a:lnTo>
                  <a:lnTo>
                    <a:pt x="1208" y="5669"/>
                  </a:lnTo>
                  <a:lnTo>
                    <a:pt x="1252" y="5748"/>
                  </a:lnTo>
                  <a:lnTo>
                    <a:pt x="1358" y="5889"/>
                  </a:lnTo>
                  <a:lnTo>
                    <a:pt x="1419" y="5942"/>
                  </a:lnTo>
                  <a:lnTo>
                    <a:pt x="2019" y="6012"/>
                  </a:lnTo>
                  <a:lnTo>
                    <a:pt x="2442" y="6286"/>
                  </a:lnTo>
                  <a:lnTo>
                    <a:pt x="2609" y="6497"/>
                  </a:lnTo>
                  <a:lnTo>
                    <a:pt x="2830" y="6568"/>
                  </a:lnTo>
                  <a:lnTo>
                    <a:pt x="3006" y="6497"/>
                  </a:lnTo>
                  <a:lnTo>
                    <a:pt x="3491" y="6215"/>
                  </a:lnTo>
                  <a:lnTo>
                    <a:pt x="3852" y="6145"/>
                  </a:lnTo>
                  <a:lnTo>
                    <a:pt x="4610" y="5739"/>
                  </a:lnTo>
                  <a:lnTo>
                    <a:pt x="4760" y="5677"/>
                  </a:lnTo>
                  <a:lnTo>
                    <a:pt x="4831" y="5722"/>
                  </a:lnTo>
                  <a:lnTo>
                    <a:pt x="4884" y="5968"/>
                  </a:lnTo>
                  <a:lnTo>
                    <a:pt x="4743" y="6162"/>
                  </a:lnTo>
                  <a:lnTo>
                    <a:pt x="4619" y="6295"/>
                  </a:lnTo>
                  <a:lnTo>
                    <a:pt x="4566" y="6480"/>
                  </a:lnTo>
                  <a:lnTo>
                    <a:pt x="4743" y="6779"/>
                  </a:lnTo>
                  <a:lnTo>
                    <a:pt x="5016" y="6876"/>
                  </a:lnTo>
                  <a:lnTo>
                    <a:pt x="5157" y="7017"/>
                  </a:lnTo>
                  <a:lnTo>
                    <a:pt x="5316" y="7123"/>
                  </a:lnTo>
                  <a:lnTo>
                    <a:pt x="5501" y="7167"/>
                  </a:lnTo>
                  <a:lnTo>
                    <a:pt x="5695" y="7176"/>
                  </a:lnTo>
                  <a:lnTo>
                    <a:pt x="6100" y="7088"/>
                  </a:lnTo>
                  <a:lnTo>
                    <a:pt x="6761" y="6815"/>
                  </a:lnTo>
                  <a:lnTo>
                    <a:pt x="6867" y="6506"/>
                  </a:lnTo>
                  <a:lnTo>
                    <a:pt x="6717" y="6347"/>
                  </a:lnTo>
                  <a:lnTo>
                    <a:pt x="6620" y="6303"/>
                  </a:lnTo>
                  <a:lnTo>
                    <a:pt x="6532" y="6074"/>
                  </a:lnTo>
                  <a:lnTo>
                    <a:pt x="6585" y="5951"/>
                  </a:lnTo>
                  <a:lnTo>
                    <a:pt x="6744" y="5757"/>
                  </a:lnTo>
                  <a:lnTo>
                    <a:pt x="6902" y="5351"/>
                  </a:lnTo>
                  <a:lnTo>
                    <a:pt x="7123" y="5157"/>
                  </a:lnTo>
                  <a:lnTo>
                    <a:pt x="7228" y="5034"/>
                  </a:lnTo>
                  <a:lnTo>
                    <a:pt x="7361" y="4690"/>
                  </a:lnTo>
                  <a:lnTo>
                    <a:pt x="7519" y="4461"/>
                  </a:lnTo>
                  <a:lnTo>
                    <a:pt x="7757" y="4408"/>
                  </a:lnTo>
                  <a:lnTo>
                    <a:pt x="7793" y="3597"/>
                  </a:lnTo>
                  <a:lnTo>
                    <a:pt x="7749" y="3474"/>
                  </a:lnTo>
                  <a:lnTo>
                    <a:pt x="7722" y="3359"/>
                  </a:lnTo>
                  <a:lnTo>
                    <a:pt x="7757" y="3121"/>
                  </a:lnTo>
                  <a:lnTo>
                    <a:pt x="7854" y="2910"/>
                  </a:lnTo>
                  <a:lnTo>
                    <a:pt x="7987" y="2777"/>
                  </a:lnTo>
                  <a:lnTo>
                    <a:pt x="8136" y="2672"/>
                  </a:lnTo>
                  <a:lnTo>
                    <a:pt x="8295" y="2257"/>
                  </a:lnTo>
                  <a:lnTo>
                    <a:pt x="8039" y="1913"/>
                  </a:lnTo>
                  <a:lnTo>
                    <a:pt x="7731" y="1825"/>
                  </a:lnTo>
                  <a:lnTo>
                    <a:pt x="7167" y="1790"/>
                  </a:lnTo>
                  <a:lnTo>
                    <a:pt x="6893" y="1711"/>
                  </a:lnTo>
                  <a:lnTo>
                    <a:pt x="6691" y="1693"/>
                  </a:lnTo>
                  <a:lnTo>
                    <a:pt x="6523" y="1693"/>
                  </a:lnTo>
                  <a:lnTo>
                    <a:pt x="6224" y="1578"/>
                  </a:lnTo>
                  <a:lnTo>
                    <a:pt x="6232" y="1367"/>
                  </a:lnTo>
                  <a:lnTo>
                    <a:pt x="6462" y="1094"/>
                  </a:lnTo>
                  <a:lnTo>
                    <a:pt x="6594" y="723"/>
                  </a:lnTo>
                  <a:lnTo>
                    <a:pt x="6576" y="371"/>
                  </a:lnTo>
                  <a:lnTo>
                    <a:pt x="5589" y="230"/>
                  </a:lnTo>
                  <a:lnTo>
                    <a:pt x="4981" y="283"/>
                  </a:lnTo>
                  <a:lnTo>
                    <a:pt x="4857" y="230"/>
                  </a:lnTo>
                  <a:lnTo>
                    <a:pt x="4769" y="265"/>
                  </a:lnTo>
                  <a:lnTo>
                    <a:pt x="3782" y="168"/>
                  </a:lnTo>
                  <a:lnTo>
                    <a:pt x="3544" y="80"/>
                  </a:lnTo>
                  <a:lnTo>
                    <a:pt x="3438" y="62"/>
                  </a:lnTo>
                  <a:lnTo>
                    <a:pt x="2944" y="62"/>
                  </a:lnTo>
                  <a:lnTo>
                    <a:pt x="2609"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3114;p54">
              <a:extLst>
                <a:ext uri="{FF2B5EF4-FFF2-40B4-BE49-F238E27FC236}">
                  <a16:creationId xmlns:a16="http://schemas.microsoft.com/office/drawing/2014/main" id="{C2DDA5E3-6C1D-91B4-40C9-9A0B80BE122B}"/>
                </a:ext>
              </a:extLst>
            </p:cNvPr>
            <p:cNvSpPr/>
            <p:nvPr/>
          </p:nvSpPr>
          <p:spPr>
            <a:xfrm>
              <a:off x="4506798" y="1344232"/>
              <a:ext cx="243847" cy="235103"/>
            </a:xfrm>
            <a:custGeom>
              <a:avLst/>
              <a:gdLst/>
              <a:ahLst/>
              <a:cxnLst/>
              <a:rect l="l" t="t" r="r" b="b"/>
              <a:pathLst>
                <a:path w="3430" h="3307" extrusionOk="0">
                  <a:moveTo>
                    <a:pt x="3086" y="1"/>
                  </a:moveTo>
                  <a:lnTo>
                    <a:pt x="2954" y="18"/>
                  </a:lnTo>
                  <a:lnTo>
                    <a:pt x="2883" y="10"/>
                  </a:lnTo>
                  <a:lnTo>
                    <a:pt x="2813" y="45"/>
                  </a:lnTo>
                  <a:lnTo>
                    <a:pt x="2531" y="151"/>
                  </a:lnTo>
                  <a:lnTo>
                    <a:pt x="2452" y="159"/>
                  </a:lnTo>
                  <a:lnTo>
                    <a:pt x="2346" y="106"/>
                  </a:lnTo>
                  <a:lnTo>
                    <a:pt x="2222" y="133"/>
                  </a:lnTo>
                  <a:lnTo>
                    <a:pt x="2117" y="212"/>
                  </a:lnTo>
                  <a:lnTo>
                    <a:pt x="2064" y="309"/>
                  </a:lnTo>
                  <a:lnTo>
                    <a:pt x="1993" y="274"/>
                  </a:lnTo>
                  <a:lnTo>
                    <a:pt x="1923" y="274"/>
                  </a:lnTo>
                  <a:lnTo>
                    <a:pt x="1861" y="309"/>
                  </a:lnTo>
                  <a:lnTo>
                    <a:pt x="1808" y="344"/>
                  </a:lnTo>
                  <a:lnTo>
                    <a:pt x="1491" y="521"/>
                  </a:lnTo>
                  <a:lnTo>
                    <a:pt x="1420" y="582"/>
                  </a:lnTo>
                  <a:lnTo>
                    <a:pt x="1314" y="697"/>
                  </a:lnTo>
                  <a:lnTo>
                    <a:pt x="1235" y="732"/>
                  </a:lnTo>
                  <a:lnTo>
                    <a:pt x="1217" y="724"/>
                  </a:lnTo>
                  <a:lnTo>
                    <a:pt x="1173" y="662"/>
                  </a:lnTo>
                  <a:lnTo>
                    <a:pt x="1156" y="653"/>
                  </a:lnTo>
                  <a:lnTo>
                    <a:pt x="1129" y="662"/>
                  </a:lnTo>
                  <a:lnTo>
                    <a:pt x="1112" y="688"/>
                  </a:lnTo>
                  <a:lnTo>
                    <a:pt x="1103" y="732"/>
                  </a:lnTo>
                  <a:lnTo>
                    <a:pt x="1059" y="759"/>
                  </a:lnTo>
                  <a:lnTo>
                    <a:pt x="1024" y="776"/>
                  </a:lnTo>
                  <a:lnTo>
                    <a:pt x="1015" y="812"/>
                  </a:lnTo>
                  <a:lnTo>
                    <a:pt x="759" y="829"/>
                  </a:lnTo>
                  <a:lnTo>
                    <a:pt x="600" y="873"/>
                  </a:lnTo>
                  <a:lnTo>
                    <a:pt x="530" y="1014"/>
                  </a:lnTo>
                  <a:lnTo>
                    <a:pt x="512" y="1041"/>
                  </a:lnTo>
                  <a:lnTo>
                    <a:pt x="204" y="1393"/>
                  </a:lnTo>
                  <a:lnTo>
                    <a:pt x="133" y="1543"/>
                  </a:lnTo>
                  <a:lnTo>
                    <a:pt x="1" y="1623"/>
                  </a:lnTo>
                  <a:lnTo>
                    <a:pt x="265" y="1887"/>
                  </a:lnTo>
                  <a:lnTo>
                    <a:pt x="539" y="2011"/>
                  </a:lnTo>
                  <a:lnTo>
                    <a:pt x="636" y="2337"/>
                  </a:lnTo>
                  <a:lnTo>
                    <a:pt x="803" y="2760"/>
                  </a:lnTo>
                  <a:lnTo>
                    <a:pt x="715" y="3289"/>
                  </a:lnTo>
                  <a:lnTo>
                    <a:pt x="1217" y="3306"/>
                  </a:lnTo>
                  <a:lnTo>
                    <a:pt x="1702" y="3183"/>
                  </a:lnTo>
                  <a:lnTo>
                    <a:pt x="2266" y="2707"/>
                  </a:lnTo>
                  <a:lnTo>
                    <a:pt x="2469" y="2257"/>
                  </a:lnTo>
                  <a:lnTo>
                    <a:pt x="2734" y="2187"/>
                  </a:lnTo>
                  <a:lnTo>
                    <a:pt x="3174" y="1764"/>
                  </a:lnTo>
                  <a:lnTo>
                    <a:pt x="3130" y="1323"/>
                  </a:lnTo>
                  <a:lnTo>
                    <a:pt x="3430" y="1111"/>
                  </a:lnTo>
                  <a:lnTo>
                    <a:pt x="3263" y="653"/>
                  </a:lnTo>
                  <a:lnTo>
                    <a:pt x="3130" y="380"/>
                  </a:lnTo>
                  <a:lnTo>
                    <a:pt x="308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3115;p54">
              <a:extLst>
                <a:ext uri="{FF2B5EF4-FFF2-40B4-BE49-F238E27FC236}">
                  <a16:creationId xmlns:a16="http://schemas.microsoft.com/office/drawing/2014/main" id="{69986667-3898-7BCD-12EF-7107FB2889DF}"/>
                </a:ext>
              </a:extLst>
            </p:cNvPr>
            <p:cNvSpPr/>
            <p:nvPr/>
          </p:nvSpPr>
          <p:spPr>
            <a:xfrm>
              <a:off x="4247372" y="1459548"/>
              <a:ext cx="316575" cy="254511"/>
            </a:xfrm>
            <a:custGeom>
              <a:avLst/>
              <a:gdLst/>
              <a:ahLst/>
              <a:cxnLst/>
              <a:rect l="l" t="t" r="r" b="b"/>
              <a:pathLst>
                <a:path w="4453" h="3580" extrusionOk="0">
                  <a:moveTo>
                    <a:pt x="3650" y="1"/>
                  </a:moveTo>
                  <a:lnTo>
                    <a:pt x="3209" y="151"/>
                  </a:lnTo>
                  <a:lnTo>
                    <a:pt x="3165" y="177"/>
                  </a:lnTo>
                  <a:lnTo>
                    <a:pt x="2998" y="309"/>
                  </a:lnTo>
                  <a:lnTo>
                    <a:pt x="2434" y="591"/>
                  </a:lnTo>
                  <a:lnTo>
                    <a:pt x="1446" y="1252"/>
                  </a:lnTo>
                  <a:lnTo>
                    <a:pt x="750" y="1517"/>
                  </a:lnTo>
                  <a:lnTo>
                    <a:pt x="697" y="1534"/>
                  </a:lnTo>
                  <a:lnTo>
                    <a:pt x="679" y="1561"/>
                  </a:lnTo>
                  <a:lnTo>
                    <a:pt x="600" y="1676"/>
                  </a:lnTo>
                  <a:lnTo>
                    <a:pt x="574" y="1702"/>
                  </a:lnTo>
                  <a:lnTo>
                    <a:pt x="362" y="1711"/>
                  </a:lnTo>
                  <a:lnTo>
                    <a:pt x="265" y="1755"/>
                  </a:lnTo>
                  <a:lnTo>
                    <a:pt x="212" y="1834"/>
                  </a:lnTo>
                  <a:lnTo>
                    <a:pt x="230" y="1878"/>
                  </a:lnTo>
                  <a:lnTo>
                    <a:pt x="318" y="1940"/>
                  </a:lnTo>
                  <a:lnTo>
                    <a:pt x="336" y="1975"/>
                  </a:lnTo>
                  <a:lnTo>
                    <a:pt x="327" y="2046"/>
                  </a:lnTo>
                  <a:lnTo>
                    <a:pt x="283" y="2169"/>
                  </a:lnTo>
                  <a:lnTo>
                    <a:pt x="274" y="2231"/>
                  </a:lnTo>
                  <a:lnTo>
                    <a:pt x="265" y="2354"/>
                  </a:lnTo>
                  <a:lnTo>
                    <a:pt x="247" y="2460"/>
                  </a:lnTo>
                  <a:lnTo>
                    <a:pt x="212" y="2539"/>
                  </a:lnTo>
                  <a:lnTo>
                    <a:pt x="142" y="2628"/>
                  </a:lnTo>
                  <a:lnTo>
                    <a:pt x="1" y="2777"/>
                  </a:lnTo>
                  <a:lnTo>
                    <a:pt x="177" y="2945"/>
                  </a:lnTo>
                  <a:lnTo>
                    <a:pt x="970" y="3333"/>
                  </a:lnTo>
                  <a:lnTo>
                    <a:pt x="2099" y="3447"/>
                  </a:lnTo>
                  <a:lnTo>
                    <a:pt x="2434" y="3474"/>
                  </a:lnTo>
                  <a:lnTo>
                    <a:pt x="2724" y="3553"/>
                  </a:lnTo>
                  <a:lnTo>
                    <a:pt x="3721" y="3580"/>
                  </a:lnTo>
                  <a:lnTo>
                    <a:pt x="3721" y="3033"/>
                  </a:lnTo>
                  <a:lnTo>
                    <a:pt x="3870" y="2539"/>
                  </a:lnTo>
                  <a:lnTo>
                    <a:pt x="3950" y="2213"/>
                  </a:lnTo>
                  <a:lnTo>
                    <a:pt x="4117" y="2010"/>
                  </a:lnTo>
                  <a:lnTo>
                    <a:pt x="4364" y="1667"/>
                  </a:lnTo>
                  <a:lnTo>
                    <a:pt x="4452" y="1138"/>
                  </a:lnTo>
                  <a:lnTo>
                    <a:pt x="4285" y="715"/>
                  </a:lnTo>
                  <a:lnTo>
                    <a:pt x="4188" y="389"/>
                  </a:lnTo>
                  <a:lnTo>
                    <a:pt x="3914" y="265"/>
                  </a:lnTo>
                  <a:lnTo>
                    <a:pt x="3650"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3116;p54">
              <a:extLst>
                <a:ext uri="{FF2B5EF4-FFF2-40B4-BE49-F238E27FC236}">
                  <a16:creationId xmlns:a16="http://schemas.microsoft.com/office/drawing/2014/main" id="{0C0D32DD-6EFD-41B7-B3DA-1334CDC9FC81}"/>
                </a:ext>
              </a:extLst>
            </p:cNvPr>
            <p:cNvSpPr/>
            <p:nvPr/>
          </p:nvSpPr>
          <p:spPr>
            <a:xfrm>
              <a:off x="4090110" y="1656979"/>
              <a:ext cx="306480" cy="208728"/>
            </a:xfrm>
            <a:custGeom>
              <a:avLst/>
              <a:gdLst/>
              <a:ahLst/>
              <a:cxnLst/>
              <a:rect l="l" t="t" r="r" b="b"/>
              <a:pathLst>
                <a:path w="4311" h="2936" extrusionOk="0">
                  <a:moveTo>
                    <a:pt x="2213" y="0"/>
                  </a:moveTo>
                  <a:lnTo>
                    <a:pt x="2107" y="97"/>
                  </a:lnTo>
                  <a:lnTo>
                    <a:pt x="1948" y="203"/>
                  </a:lnTo>
                  <a:lnTo>
                    <a:pt x="1754" y="274"/>
                  </a:lnTo>
                  <a:lnTo>
                    <a:pt x="1728" y="291"/>
                  </a:lnTo>
                  <a:lnTo>
                    <a:pt x="1719" y="327"/>
                  </a:lnTo>
                  <a:lnTo>
                    <a:pt x="1710" y="344"/>
                  </a:lnTo>
                  <a:lnTo>
                    <a:pt x="1675" y="362"/>
                  </a:lnTo>
                  <a:lnTo>
                    <a:pt x="1648" y="353"/>
                  </a:lnTo>
                  <a:lnTo>
                    <a:pt x="1604" y="327"/>
                  </a:lnTo>
                  <a:lnTo>
                    <a:pt x="1578" y="318"/>
                  </a:lnTo>
                  <a:lnTo>
                    <a:pt x="1384" y="362"/>
                  </a:lnTo>
                  <a:lnTo>
                    <a:pt x="1340" y="353"/>
                  </a:lnTo>
                  <a:lnTo>
                    <a:pt x="1234" y="327"/>
                  </a:lnTo>
                  <a:lnTo>
                    <a:pt x="1181" y="318"/>
                  </a:lnTo>
                  <a:lnTo>
                    <a:pt x="1137" y="335"/>
                  </a:lnTo>
                  <a:lnTo>
                    <a:pt x="1023" y="397"/>
                  </a:lnTo>
                  <a:lnTo>
                    <a:pt x="397" y="415"/>
                  </a:lnTo>
                  <a:lnTo>
                    <a:pt x="388" y="476"/>
                  </a:lnTo>
                  <a:lnTo>
                    <a:pt x="414" y="653"/>
                  </a:lnTo>
                  <a:lnTo>
                    <a:pt x="423" y="785"/>
                  </a:lnTo>
                  <a:lnTo>
                    <a:pt x="159" y="1041"/>
                  </a:lnTo>
                  <a:lnTo>
                    <a:pt x="0" y="1402"/>
                  </a:lnTo>
                  <a:lnTo>
                    <a:pt x="27" y="1587"/>
                  </a:lnTo>
                  <a:lnTo>
                    <a:pt x="106" y="1755"/>
                  </a:lnTo>
                  <a:lnTo>
                    <a:pt x="124" y="1940"/>
                  </a:lnTo>
                  <a:lnTo>
                    <a:pt x="62" y="2107"/>
                  </a:lnTo>
                  <a:lnTo>
                    <a:pt x="106" y="2275"/>
                  </a:lnTo>
                  <a:lnTo>
                    <a:pt x="194" y="2416"/>
                  </a:lnTo>
                  <a:lnTo>
                    <a:pt x="97" y="2601"/>
                  </a:lnTo>
                  <a:lnTo>
                    <a:pt x="476" y="2733"/>
                  </a:lnTo>
                  <a:lnTo>
                    <a:pt x="1225" y="2715"/>
                  </a:lnTo>
                  <a:lnTo>
                    <a:pt x="1754" y="2936"/>
                  </a:lnTo>
                  <a:lnTo>
                    <a:pt x="2204" y="2883"/>
                  </a:lnTo>
                  <a:lnTo>
                    <a:pt x="2556" y="2610"/>
                  </a:lnTo>
                  <a:lnTo>
                    <a:pt x="2733" y="2169"/>
                  </a:lnTo>
                  <a:lnTo>
                    <a:pt x="2750" y="1843"/>
                  </a:lnTo>
                  <a:lnTo>
                    <a:pt x="2971" y="1675"/>
                  </a:lnTo>
                  <a:lnTo>
                    <a:pt x="3570" y="1569"/>
                  </a:lnTo>
                  <a:lnTo>
                    <a:pt x="4002" y="1472"/>
                  </a:lnTo>
                  <a:lnTo>
                    <a:pt x="4231" y="1199"/>
                  </a:lnTo>
                  <a:lnTo>
                    <a:pt x="4311" y="670"/>
                  </a:lnTo>
                  <a:lnTo>
                    <a:pt x="3182" y="556"/>
                  </a:lnTo>
                  <a:lnTo>
                    <a:pt x="2389" y="168"/>
                  </a:lnTo>
                  <a:lnTo>
                    <a:pt x="2213"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3117;p54">
              <a:extLst>
                <a:ext uri="{FF2B5EF4-FFF2-40B4-BE49-F238E27FC236}">
                  <a16:creationId xmlns:a16="http://schemas.microsoft.com/office/drawing/2014/main" id="{9B44E453-D20A-A13B-E8B7-FB5EB3DD2DB3}"/>
                </a:ext>
              </a:extLst>
            </p:cNvPr>
            <p:cNvSpPr/>
            <p:nvPr/>
          </p:nvSpPr>
          <p:spPr>
            <a:xfrm>
              <a:off x="3778643" y="1648163"/>
              <a:ext cx="341599" cy="365487"/>
            </a:xfrm>
            <a:custGeom>
              <a:avLst/>
              <a:gdLst/>
              <a:ahLst/>
              <a:cxnLst/>
              <a:rect l="l" t="t" r="r" b="b"/>
              <a:pathLst>
                <a:path w="4805" h="5141" extrusionOk="0">
                  <a:moveTo>
                    <a:pt x="2336" y="1"/>
                  </a:moveTo>
                  <a:lnTo>
                    <a:pt x="2310" y="89"/>
                  </a:lnTo>
                  <a:lnTo>
                    <a:pt x="2160" y="468"/>
                  </a:lnTo>
                  <a:lnTo>
                    <a:pt x="2248" y="786"/>
                  </a:lnTo>
                  <a:lnTo>
                    <a:pt x="2583" y="847"/>
                  </a:lnTo>
                  <a:lnTo>
                    <a:pt x="2609" y="1050"/>
                  </a:lnTo>
                  <a:lnTo>
                    <a:pt x="2504" y="1235"/>
                  </a:lnTo>
                  <a:lnTo>
                    <a:pt x="2477" y="1447"/>
                  </a:lnTo>
                  <a:lnTo>
                    <a:pt x="2389" y="1455"/>
                  </a:lnTo>
                  <a:lnTo>
                    <a:pt x="2133" y="1464"/>
                  </a:lnTo>
                  <a:lnTo>
                    <a:pt x="1983" y="1394"/>
                  </a:lnTo>
                  <a:lnTo>
                    <a:pt x="1798" y="1358"/>
                  </a:lnTo>
                  <a:lnTo>
                    <a:pt x="1710" y="1411"/>
                  </a:lnTo>
                  <a:lnTo>
                    <a:pt x="1754" y="1544"/>
                  </a:lnTo>
                  <a:lnTo>
                    <a:pt x="1816" y="1561"/>
                  </a:lnTo>
                  <a:lnTo>
                    <a:pt x="1869" y="1596"/>
                  </a:lnTo>
                  <a:lnTo>
                    <a:pt x="1569" y="1923"/>
                  </a:lnTo>
                  <a:lnTo>
                    <a:pt x="1384" y="2839"/>
                  </a:lnTo>
                  <a:lnTo>
                    <a:pt x="1190" y="3218"/>
                  </a:lnTo>
                  <a:lnTo>
                    <a:pt x="926" y="3395"/>
                  </a:lnTo>
                  <a:lnTo>
                    <a:pt x="617" y="3465"/>
                  </a:lnTo>
                  <a:lnTo>
                    <a:pt x="476" y="3553"/>
                  </a:lnTo>
                  <a:lnTo>
                    <a:pt x="326" y="3615"/>
                  </a:lnTo>
                  <a:lnTo>
                    <a:pt x="0" y="3642"/>
                  </a:lnTo>
                  <a:lnTo>
                    <a:pt x="27" y="3774"/>
                  </a:lnTo>
                  <a:lnTo>
                    <a:pt x="71" y="3906"/>
                  </a:lnTo>
                  <a:lnTo>
                    <a:pt x="203" y="4179"/>
                  </a:lnTo>
                  <a:lnTo>
                    <a:pt x="361" y="4426"/>
                  </a:lnTo>
                  <a:lnTo>
                    <a:pt x="547" y="4585"/>
                  </a:lnTo>
                  <a:lnTo>
                    <a:pt x="723" y="4770"/>
                  </a:lnTo>
                  <a:lnTo>
                    <a:pt x="1128" y="4893"/>
                  </a:lnTo>
                  <a:lnTo>
                    <a:pt x="1772" y="4726"/>
                  </a:lnTo>
                  <a:lnTo>
                    <a:pt x="1975" y="4708"/>
                  </a:lnTo>
                  <a:lnTo>
                    <a:pt x="2142" y="4752"/>
                  </a:lnTo>
                  <a:lnTo>
                    <a:pt x="2318" y="4752"/>
                  </a:lnTo>
                  <a:lnTo>
                    <a:pt x="2468" y="4849"/>
                  </a:lnTo>
                  <a:lnTo>
                    <a:pt x="2574" y="5017"/>
                  </a:lnTo>
                  <a:lnTo>
                    <a:pt x="2653" y="5087"/>
                  </a:lnTo>
                  <a:lnTo>
                    <a:pt x="3006" y="5078"/>
                  </a:lnTo>
                  <a:lnTo>
                    <a:pt x="3244" y="5140"/>
                  </a:lnTo>
                  <a:lnTo>
                    <a:pt x="3332" y="4920"/>
                  </a:lnTo>
                  <a:lnTo>
                    <a:pt x="3226" y="4699"/>
                  </a:lnTo>
                  <a:lnTo>
                    <a:pt x="3129" y="4585"/>
                  </a:lnTo>
                  <a:lnTo>
                    <a:pt x="3103" y="4426"/>
                  </a:lnTo>
                  <a:lnTo>
                    <a:pt x="3156" y="4364"/>
                  </a:lnTo>
                  <a:lnTo>
                    <a:pt x="3235" y="4320"/>
                  </a:lnTo>
                  <a:lnTo>
                    <a:pt x="3359" y="3941"/>
                  </a:lnTo>
                  <a:lnTo>
                    <a:pt x="3552" y="3659"/>
                  </a:lnTo>
                  <a:lnTo>
                    <a:pt x="3870" y="3668"/>
                  </a:lnTo>
                  <a:lnTo>
                    <a:pt x="4170" y="3527"/>
                  </a:lnTo>
                  <a:lnTo>
                    <a:pt x="4231" y="3342"/>
                  </a:lnTo>
                  <a:lnTo>
                    <a:pt x="4196" y="3148"/>
                  </a:lnTo>
                  <a:lnTo>
                    <a:pt x="4187" y="2954"/>
                  </a:lnTo>
                  <a:lnTo>
                    <a:pt x="4478" y="2725"/>
                  </a:lnTo>
                  <a:lnTo>
                    <a:pt x="4575" y="2540"/>
                  </a:lnTo>
                  <a:lnTo>
                    <a:pt x="4487" y="2399"/>
                  </a:lnTo>
                  <a:lnTo>
                    <a:pt x="4443" y="2231"/>
                  </a:lnTo>
                  <a:lnTo>
                    <a:pt x="4505" y="2064"/>
                  </a:lnTo>
                  <a:lnTo>
                    <a:pt x="4487" y="1879"/>
                  </a:lnTo>
                  <a:lnTo>
                    <a:pt x="4408" y="1711"/>
                  </a:lnTo>
                  <a:lnTo>
                    <a:pt x="4381" y="1526"/>
                  </a:lnTo>
                  <a:lnTo>
                    <a:pt x="4540" y="1165"/>
                  </a:lnTo>
                  <a:lnTo>
                    <a:pt x="4804" y="909"/>
                  </a:lnTo>
                  <a:lnTo>
                    <a:pt x="4795" y="777"/>
                  </a:lnTo>
                  <a:lnTo>
                    <a:pt x="4769" y="600"/>
                  </a:lnTo>
                  <a:lnTo>
                    <a:pt x="4778" y="539"/>
                  </a:lnTo>
                  <a:lnTo>
                    <a:pt x="4214" y="556"/>
                  </a:lnTo>
                  <a:lnTo>
                    <a:pt x="3817" y="486"/>
                  </a:lnTo>
                  <a:lnTo>
                    <a:pt x="3738" y="433"/>
                  </a:lnTo>
                  <a:lnTo>
                    <a:pt x="3588" y="301"/>
                  </a:lnTo>
                  <a:lnTo>
                    <a:pt x="233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3118;p54">
              <a:extLst>
                <a:ext uri="{FF2B5EF4-FFF2-40B4-BE49-F238E27FC236}">
                  <a16:creationId xmlns:a16="http://schemas.microsoft.com/office/drawing/2014/main" id="{3B9E7D16-E428-C467-C8E6-767DAF2B2C14}"/>
                </a:ext>
              </a:extLst>
            </p:cNvPr>
            <p:cNvSpPr/>
            <p:nvPr/>
          </p:nvSpPr>
          <p:spPr>
            <a:xfrm>
              <a:off x="3556755" y="1628115"/>
              <a:ext cx="407431" cy="290910"/>
            </a:xfrm>
            <a:custGeom>
              <a:avLst/>
              <a:gdLst/>
              <a:ahLst/>
              <a:cxnLst/>
              <a:rect l="l" t="t" r="r" b="b"/>
              <a:pathLst>
                <a:path w="5731" h="4092" extrusionOk="0">
                  <a:moveTo>
                    <a:pt x="4778" y="1"/>
                  </a:moveTo>
                  <a:lnTo>
                    <a:pt x="4725" y="27"/>
                  </a:lnTo>
                  <a:lnTo>
                    <a:pt x="4664" y="124"/>
                  </a:lnTo>
                  <a:lnTo>
                    <a:pt x="4620" y="177"/>
                  </a:lnTo>
                  <a:lnTo>
                    <a:pt x="4584" y="151"/>
                  </a:lnTo>
                  <a:lnTo>
                    <a:pt x="4549" y="195"/>
                  </a:lnTo>
                  <a:lnTo>
                    <a:pt x="4514" y="265"/>
                  </a:lnTo>
                  <a:lnTo>
                    <a:pt x="4470" y="301"/>
                  </a:lnTo>
                  <a:lnTo>
                    <a:pt x="4408" y="318"/>
                  </a:lnTo>
                  <a:lnTo>
                    <a:pt x="4302" y="398"/>
                  </a:lnTo>
                  <a:lnTo>
                    <a:pt x="4232" y="433"/>
                  </a:lnTo>
                  <a:lnTo>
                    <a:pt x="4100" y="442"/>
                  </a:lnTo>
                  <a:lnTo>
                    <a:pt x="2927" y="415"/>
                  </a:lnTo>
                  <a:lnTo>
                    <a:pt x="2830" y="459"/>
                  </a:lnTo>
                  <a:lnTo>
                    <a:pt x="2883" y="644"/>
                  </a:lnTo>
                  <a:lnTo>
                    <a:pt x="2892" y="838"/>
                  </a:lnTo>
                  <a:lnTo>
                    <a:pt x="2768" y="1147"/>
                  </a:lnTo>
                  <a:lnTo>
                    <a:pt x="2513" y="1288"/>
                  </a:lnTo>
                  <a:lnTo>
                    <a:pt x="2213" y="1402"/>
                  </a:lnTo>
                  <a:lnTo>
                    <a:pt x="1949" y="1596"/>
                  </a:lnTo>
                  <a:lnTo>
                    <a:pt x="1905" y="1746"/>
                  </a:lnTo>
                  <a:lnTo>
                    <a:pt x="1825" y="1887"/>
                  </a:lnTo>
                  <a:lnTo>
                    <a:pt x="1658" y="1905"/>
                  </a:lnTo>
                  <a:lnTo>
                    <a:pt x="1526" y="1790"/>
                  </a:lnTo>
                  <a:lnTo>
                    <a:pt x="1385" y="1491"/>
                  </a:lnTo>
                  <a:lnTo>
                    <a:pt x="1164" y="1297"/>
                  </a:lnTo>
                  <a:lnTo>
                    <a:pt x="917" y="1279"/>
                  </a:lnTo>
                  <a:lnTo>
                    <a:pt x="715" y="1429"/>
                  </a:lnTo>
                  <a:lnTo>
                    <a:pt x="521" y="1623"/>
                  </a:lnTo>
                  <a:lnTo>
                    <a:pt x="406" y="1676"/>
                  </a:lnTo>
                  <a:lnTo>
                    <a:pt x="159" y="1887"/>
                  </a:lnTo>
                  <a:lnTo>
                    <a:pt x="1" y="2099"/>
                  </a:lnTo>
                  <a:lnTo>
                    <a:pt x="53" y="2134"/>
                  </a:lnTo>
                  <a:lnTo>
                    <a:pt x="142" y="2240"/>
                  </a:lnTo>
                  <a:lnTo>
                    <a:pt x="195" y="2319"/>
                  </a:lnTo>
                  <a:lnTo>
                    <a:pt x="177" y="2319"/>
                  </a:lnTo>
                  <a:lnTo>
                    <a:pt x="168" y="2328"/>
                  </a:lnTo>
                  <a:lnTo>
                    <a:pt x="159" y="2337"/>
                  </a:lnTo>
                  <a:lnTo>
                    <a:pt x="159" y="2363"/>
                  </a:lnTo>
                  <a:lnTo>
                    <a:pt x="142" y="2355"/>
                  </a:lnTo>
                  <a:lnTo>
                    <a:pt x="98" y="2319"/>
                  </a:lnTo>
                  <a:lnTo>
                    <a:pt x="98" y="2381"/>
                  </a:lnTo>
                  <a:lnTo>
                    <a:pt x="80" y="2425"/>
                  </a:lnTo>
                  <a:lnTo>
                    <a:pt x="53" y="2451"/>
                  </a:lnTo>
                  <a:lnTo>
                    <a:pt x="9" y="2451"/>
                  </a:lnTo>
                  <a:lnTo>
                    <a:pt x="9" y="2496"/>
                  </a:lnTo>
                  <a:lnTo>
                    <a:pt x="133" y="2460"/>
                  </a:lnTo>
                  <a:lnTo>
                    <a:pt x="186" y="2443"/>
                  </a:lnTo>
                  <a:lnTo>
                    <a:pt x="230" y="2407"/>
                  </a:lnTo>
                  <a:lnTo>
                    <a:pt x="265" y="2443"/>
                  </a:lnTo>
                  <a:lnTo>
                    <a:pt x="291" y="2407"/>
                  </a:lnTo>
                  <a:lnTo>
                    <a:pt x="336" y="2434"/>
                  </a:lnTo>
                  <a:lnTo>
                    <a:pt x="371" y="2469"/>
                  </a:lnTo>
                  <a:lnTo>
                    <a:pt x="397" y="2513"/>
                  </a:lnTo>
                  <a:lnTo>
                    <a:pt x="424" y="2575"/>
                  </a:lnTo>
                  <a:lnTo>
                    <a:pt x="397" y="2584"/>
                  </a:lnTo>
                  <a:lnTo>
                    <a:pt x="380" y="2593"/>
                  </a:lnTo>
                  <a:lnTo>
                    <a:pt x="371" y="2601"/>
                  </a:lnTo>
                  <a:lnTo>
                    <a:pt x="353" y="2619"/>
                  </a:lnTo>
                  <a:lnTo>
                    <a:pt x="397" y="2637"/>
                  </a:lnTo>
                  <a:lnTo>
                    <a:pt x="424" y="2681"/>
                  </a:lnTo>
                  <a:lnTo>
                    <a:pt x="441" y="2734"/>
                  </a:lnTo>
                  <a:lnTo>
                    <a:pt x="485" y="2786"/>
                  </a:lnTo>
                  <a:lnTo>
                    <a:pt x="582" y="2822"/>
                  </a:lnTo>
                  <a:lnTo>
                    <a:pt x="653" y="2786"/>
                  </a:lnTo>
                  <a:lnTo>
                    <a:pt x="732" y="2734"/>
                  </a:lnTo>
                  <a:lnTo>
                    <a:pt x="812" y="2707"/>
                  </a:lnTo>
                  <a:lnTo>
                    <a:pt x="1913" y="2663"/>
                  </a:lnTo>
                  <a:lnTo>
                    <a:pt x="2010" y="2672"/>
                  </a:lnTo>
                  <a:lnTo>
                    <a:pt x="2169" y="2734"/>
                  </a:lnTo>
                  <a:lnTo>
                    <a:pt x="2248" y="2742"/>
                  </a:lnTo>
                  <a:lnTo>
                    <a:pt x="2275" y="2760"/>
                  </a:lnTo>
                  <a:lnTo>
                    <a:pt x="2372" y="2848"/>
                  </a:lnTo>
                  <a:lnTo>
                    <a:pt x="2425" y="2875"/>
                  </a:lnTo>
                  <a:lnTo>
                    <a:pt x="2478" y="2875"/>
                  </a:lnTo>
                  <a:lnTo>
                    <a:pt x="2513" y="2857"/>
                  </a:lnTo>
                  <a:lnTo>
                    <a:pt x="2548" y="2839"/>
                  </a:lnTo>
                  <a:lnTo>
                    <a:pt x="2583" y="2831"/>
                  </a:lnTo>
                  <a:lnTo>
                    <a:pt x="2954" y="2778"/>
                  </a:lnTo>
                  <a:lnTo>
                    <a:pt x="3139" y="2813"/>
                  </a:lnTo>
                  <a:lnTo>
                    <a:pt x="3183" y="2954"/>
                  </a:lnTo>
                  <a:lnTo>
                    <a:pt x="3112" y="3069"/>
                  </a:lnTo>
                  <a:lnTo>
                    <a:pt x="3015" y="3069"/>
                  </a:lnTo>
                  <a:lnTo>
                    <a:pt x="2848" y="2989"/>
                  </a:lnTo>
                  <a:lnTo>
                    <a:pt x="2319" y="3024"/>
                  </a:lnTo>
                  <a:lnTo>
                    <a:pt x="1420" y="3227"/>
                  </a:lnTo>
                  <a:lnTo>
                    <a:pt x="1376" y="3227"/>
                  </a:lnTo>
                  <a:lnTo>
                    <a:pt x="1340" y="3113"/>
                  </a:lnTo>
                  <a:lnTo>
                    <a:pt x="1270" y="3042"/>
                  </a:lnTo>
                  <a:lnTo>
                    <a:pt x="1199" y="2998"/>
                  </a:lnTo>
                  <a:lnTo>
                    <a:pt x="1155" y="2989"/>
                  </a:lnTo>
                  <a:lnTo>
                    <a:pt x="1102" y="3007"/>
                  </a:lnTo>
                  <a:lnTo>
                    <a:pt x="1050" y="3024"/>
                  </a:lnTo>
                  <a:lnTo>
                    <a:pt x="1006" y="3051"/>
                  </a:lnTo>
                  <a:lnTo>
                    <a:pt x="988" y="3104"/>
                  </a:lnTo>
                  <a:lnTo>
                    <a:pt x="970" y="3148"/>
                  </a:lnTo>
                  <a:lnTo>
                    <a:pt x="917" y="3174"/>
                  </a:lnTo>
                  <a:lnTo>
                    <a:pt x="856" y="3201"/>
                  </a:lnTo>
                  <a:lnTo>
                    <a:pt x="812" y="3227"/>
                  </a:lnTo>
                  <a:lnTo>
                    <a:pt x="820" y="3774"/>
                  </a:lnTo>
                  <a:lnTo>
                    <a:pt x="776" y="4003"/>
                  </a:lnTo>
                  <a:lnTo>
                    <a:pt x="1041" y="4091"/>
                  </a:lnTo>
                  <a:lnTo>
                    <a:pt x="1305" y="4073"/>
                  </a:lnTo>
                  <a:lnTo>
                    <a:pt x="2169" y="3756"/>
                  </a:lnTo>
                  <a:lnTo>
                    <a:pt x="2486" y="3694"/>
                  </a:lnTo>
                  <a:lnTo>
                    <a:pt x="3121" y="3924"/>
                  </a:lnTo>
                  <a:lnTo>
                    <a:pt x="3447" y="3897"/>
                  </a:lnTo>
                  <a:lnTo>
                    <a:pt x="3597" y="3835"/>
                  </a:lnTo>
                  <a:lnTo>
                    <a:pt x="3738" y="3747"/>
                  </a:lnTo>
                  <a:lnTo>
                    <a:pt x="4047" y="3677"/>
                  </a:lnTo>
                  <a:lnTo>
                    <a:pt x="4311" y="3500"/>
                  </a:lnTo>
                  <a:lnTo>
                    <a:pt x="4505" y="3121"/>
                  </a:lnTo>
                  <a:lnTo>
                    <a:pt x="4690" y="2205"/>
                  </a:lnTo>
                  <a:lnTo>
                    <a:pt x="4990" y="1878"/>
                  </a:lnTo>
                  <a:lnTo>
                    <a:pt x="4937" y="1843"/>
                  </a:lnTo>
                  <a:lnTo>
                    <a:pt x="4875" y="1826"/>
                  </a:lnTo>
                  <a:lnTo>
                    <a:pt x="4831" y="1693"/>
                  </a:lnTo>
                  <a:lnTo>
                    <a:pt x="4919" y="1640"/>
                  </a:lnTo>
                  <a:lnTo>
                    <a:pt x="5104" y="1676"/>
                  </a:lnTo>
                  <a:lnTo>
                    <a:pt x="5254" y="1746"/>
                  </a:lnTo>
                  <a:lnTo>
                    <a:pt x="5510" y="1737"/>
                  </a:lnTo>
                  <a:lnTo>
                    <a:pt x="5598" y="1729"/>
                  </a:lnTo>
                  <a:lnTo>
                    <a:pt x="5625" y="1517"/>
                  </a:lnTo>
                  <a:lnTo>
                    <a:pt x="5730" y="1332"/>
                  </a:lnTo>
                  <a:lnTo>
                    <a:pt x="5704" y="1129"/>
                  </a:lnTo>
                  <a:lnTo>
                    <a:pt x="5369" y="1068"/>
                  </a:lnTo>
                  <a:lnTo>
                    <a:pt x="5281" y="750"/>
                  </a:lnTo>
                  <a:lnTo>
                    <a:pt x="5431" y="371"/>
                  </a:lnTo>
                  <a:lnTo>
                    <a:pt x="5457" y="283"/>
                  </a:lnTo>
                  <a:lnTo>
                    <a:pt x="5184" y="212"/>
                  </a:lnTo>
                  <a:lnTo>
                    <a:pt x="5025" y="98"/>
                  </a:lnTo>
                  <a:lnTo>
                    <a:pt x="4840" y="54"/>
                  </a:lnTo>
                  <a:lnTo>
                    <a:pt x="4778"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3119;p54">
              <a:extLst>
                <a:ext uri="{FF2B5EF4-FFF2-40B4-BE49-F238E27FC236}">
                  <a16:creationId xmlns:a16="http://schemas.microsoft.com/office/drawing/2014/main" id="{35D7EB71-6D44-CCA8-6271-446AD00F2ADD}"/>
                </a:ext>
              </a:extLst>
            </p:cNvPr>
            <p:cNvSpPr/>
            <p:nvPr/>
          </p:nvSpPr>
          <p:spPr>
            <a:xfrm>
              <a:off x="3398853" y="1850002"/>
              <a:ext cx="216263" cy="107207"/>
            </a:xfrm>
            <a:custGeom>
              <a:avLst/>
              <a:gdLst/>
              <a:ahLst/>
              <a:cxnLst/>
              <a:rect l="l" t="t" r="r" b="b"/>
              <a:pathLst>
                <a:path w="3042" h="1508" extrusionOk="0">
                  <a:moveTo>
                    <a:pt x="2865" y="0"/>
                  </a:moveTo>
                  <a:lnTo>
                    <a:pt x="2830" y="9"/>
                  </a:lnTo>
                  <a:lnTo>
                    <a:pt x="2733" y="89"/>
                  </a:lnTo>
                  <a:lnTo>
                    <a:pt x="2548" y="194"/>
                  </a:lnTo>
                  <a:lnTo>
                    <a:pt x="2354" y="256"/>
                  </a:lnTo>
                  <a:lnTo>
                    <a:pt x="988" y="388"/>
                  </a:lnTo>
                  <a:lnTo>
                    <a:pt x="908" y="424"/>
                  </a:lnTo>
                  <a:lnTo>
                    <a:pt x="714" y="617"/>
                  </a:lnTo>
                  <a:lnTo>
                    <a:pt x="573" y="714"/>
                  </a:lnTo>
                  <a:lnTo>
                    <a:pt x="247" y="838"/>
                  </a:lnTo>
                  <a:lnTo>
                    <a:pt x="88" y="944"/>
                  </a:lnTo>
                  <a:lnTo>
                    <a:pt x="0" y="1129"/>
                  </a:lnTo>
                  <a:lnTo>
                    <a:pt x="256" y="1190"/>
                  </a:lnTo>
                  <a:lnTo>
                    <a:pt x="661" y="1446"/>
                  </a:lnTo>
                  <a:lnTo>
                    <a:pt x="908" y="1508"/>
                  </a:lnTo>
                  <a:lnTo>
                    <a:pt x="952" y="1490"/>
                  </a:lnTo>
                  <a:lnTo>
                    <a:pt x="943" y="820"/>
                  </a:lnTo>
                  <a:lnTo>
                    <a:pt x="943" y="820"/>
                  </a:lnTo>
                  <a:lnTo>
                    <a:pt x="1270" y="908"/>
                  </a:lnTo>
                  <a:lnTo>
                    <a:pt x="1411" y="882"/>
                  </a:lnTo>
                  <a:lnTo>
                    <a:pt x="2116" y="1199"/>
                  </a:lnTo>
                  <a:lnTo>
                    <a:pt x="2407" y="1138"/>
                  </a:lnTo>
                  <a:lnTo>
                    <a:pt x="2706" y="829"/>
                  </a:lnTo>
                  <a:lnTo>
                    <a:pt x="2997" y="882"/>
                  </a:lnTo>
                  <a:lnTo>
                    <a:pt x="3041" y="653"/>
                  </a:lnTo>
                  <a:lnTo>
                    <a:pt x="3033" y="106"/>
                  </a:lnTo>
                  <a:lnTo>
                    <a:pt x="2980" y="133"/>
                  </a:lnTo>
                  <a:lnTo>
                    <a:pt x="2936" y="89"/>
                  </a:lnTo>
                  <a:lnTo>
                    <a:pt x="2900" y="36"/>
                  </a:lnTo>
                  <a:lnTo>
                    <a:pt x="2865"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9" name="Google Shape;3120;p54">
              <a:extLst>
                <a:ext uri="{FF2B5EF4-FFF2-40B4-BE49-F238E27FC236}">
                  <a16:creationId xmlns:a16="http://schemas.microsoft.com/office/drawing/2014/main" id="{53EC27BC-6D67-9741-9D78-6C391D97089F}"/>
                </a:ext>
              </a:extLst>
            </p:cNvPr>
            <p:cNvSpPr/>
            <p:nvPr/>
          </p:nvSpPr>
          <p:spPr>
            <a:xfrm>
              <a:off x="3176326" y="1890740"/>
              <a:ext cx="607343" cy="458191"/>
            </a:xfrm>
            <a:custGeom>
              <a:avLst/>
              <a:gdLst/>
              <a:ahLst/>
              <a:cxnLst/>
              <a:rect l="l" t="t" r="r" b="b"/>
              <a:pathLst>
                <a:path w="8543" h="6445" extrusionOk="0">
                  <a:moveTo>
                    <a:pt x="7837" y="0"/>
                  </a:moveTo>
                  <a:lnTo>
                    <a:pt x="7520" y="62"/>
                  </a:lnTo>
                  <a:lnTo>
                    <a:pt x="6656" y="379"/>
                  </a:lnTo>
                  <a:lnTo>
                    <a:pt x="6392" y="397"/>
                  </a:lnTo>
                  <a:lnTo>
                    <a:pt x="6127" y="309"/>
                  </a:lnTo>
                  <a:lnTo>
                    <a:pt x="5836" y="256"/>
                  </a:lnTo>
                  <a:lnTo>
                    <a:pt x="5537" y="565"/>
                  </a:lnTo>
                  <a:lnTo>
                    <a:pt x="5246" y="626"/>
                  </a:lnTo>
                  <a:lnTo>
                    <a:pt x="4541" y="309"/>
                  </a:lnTo>
                  <a:lnTo>
                    <a:pt x="4400" y="335"/>
                  </a:lnTo>
                  <a:lnTo>
                    <a:pt x="4073" y="247"/>
                  </a:lnTo>
                  <a:lnTo>
                    <a:pt x="4073" y="247"/>
                  </a:lnTo>
                  <a:lnTo>
                    <a:pt x="4082" y="917"/>
                  </a:lnTo>
                  <a:lnTo>
                    <a:pt x="4188" y="829"/>
                  </a:lnTo>
                  <a:lnTo>
                    <a:pt x="4232" y="811"/>
                  </a:lnTo>
                  <a:lnTo>
                    <a:pt x="4479" y="811"/>
                  </a:lnTo>
                  <a:lnTo>
                    <a:pt x="4585" y="838"/>
                  </a:lnTo>
                  <a:lnTo>
                    <a:pt x="4690" y="908"/>
                  </a:lnTo>
                  <a:lnTo>
                    <a:pt x="4796" y="996"/>
                  </a:lnTo>
                  <a:lnTo>
                    <a:pt x="4884" y="1102"/>
                  </a:lnTo>
                  <a:lnTo>
                    <a:pt x="4814" y="1138"/>
                  </a:lnTo>
                  <a:lnTo>
                    <a:pt x="4726" y="1164"/>
                  </a:lnTo>
                  <a:lnTo>
                    <a:pt x="4655" y="1164"/>
                  </a:lnTo>
                  <a:lnTo>
                    <a:pt x="4594" y="1146"/>
                  </a:lnTo>
                  <a:lnTo>
                    <a:pt x="4558" y="1208"/>
                  </a:lnTo>
                  <a:lnTo>
                    <a:pt x="4523" y="1376"/>
                  </a:lnTo>
                  <a:lnTo>
                    <a:pt x="4479" y="1455"/>
                  </a:lnTo>
                  <a:lnTo>
                    <a:pt x="4417" y="1508"/>
                  </a:lnTo>
                  <a:lnTo>
                    <a:pt x="4338" y="1525"/>
                  </a:lnTo>
                  <a:lnTo>
                    <a:pt x="3976" y="1534"/>
                  </a:lnTo>
                  <a:lnTo>
                    <a:pt x="3897" y="1517"/>
                  </a:lnTo>
                  <a:lnTo>
                    <a:pt x="3809" y="1490"/>
                  </a:lnTo>
                  <a:lnTo>
                    <a:pt x="3703" y="1420"/>
                  </a:lnTo>
                  <a:lnTo>
                    <a:pt x="3642" y="1393"/>
                  </a:lnTo>
                  <a:lnTo>
                    <a:pt x="3509" y="1358"/>
                  </a:lnTo>
                  <a:lnTo>
                    <a:pt x="3368" y="1358"/>
                  </a:lnTo>
                  <a:lnTo>
                    <a:pt x="3210" y="1305"/>
                  </a:lnTo>
                  <a:lnTo>
                    <a:pt x="3121" y="1296"/>
                  </a:lnTo>
                  <a:lnTo>
                    <a:pt x="3051" y="1331"/>
                  </a:lnTo>
                  <a:lnTo>
                    <a:pt x="2980" y="1393"/>
                  </a:lnTo>
                  <a:lnTo>
                    <a:pt x="2716" y="1437"/>
                  </a:lnTo>
                  <a:lnTo>
                    <a:pt x="2681" y="1455"/>
                  </a:lnTo>
                  <a:lnTo>
                    <a:pt x="2628" y="1499"/>
                  </a:lnTo>
                  <a:lnTo>
                    <a:pt x="2593" y="1517"/>
                  </a:lnTo>
                  <a:lnTo>
                    <a:pt x="2557" y="1517"/>
                  </a:lnTo>
                  <a:lnTo>
                    <a:pt x="2540" y="1490"/>
                  </a:lnTo>
                  <a:lnTo>
                    <a:pt x="2522" y="1481"/>
                  </a:lnTo>
                  <a:lnTo>
                    <a:pt x="2496" y="1517"/>
                  </a:lnTo>
                  <a:lnTo>
                    <a:pt x="2284" y="1420"/>
                  </a:lnTo>
                  <a:lnTo>
                    <a:pt x="2072" y="1358"/>
                  </a:lnTo>
                  <a:lnTo>
                    <a:pt x="1852" y="1358"/>
                  </a:lnTo>
                  <a:lnTo>
                    <a:pt x="1667" y="1437"/>
                  </a:lnTo>
                  <a:lnTo>
                    <a:pt x="1685" y="1376"/>
                  </a:lnTo>
                  <a:lnTo>
                    <a:pt x="1711" y="1340"/>
                  </a:lnTo>
                  <a:lnTo>
                    <a:pt x="1746" y="1323"/>
                  </a:lnTo>
                  <a:lnTo>
                    <a:pt x="1799" y="1305"/>
                  </a:lnTo>
                  <a:lnTo>
                    <a:pt x="1394" y="1323"/>
                  </a:lnTo>
                  <a:lnTo>
                    <a:pt x="1156" y="1287"/>
                  </a:lnTo>
                  <a:lnTo>
                    <a:pt x="503" y="1314"/>
                  </a:lnTo>
                  <a:lnTo>
                    <a:pt x="486" y="1358"/>
                  </a:lnTo>
                  <a:lnTo>
                    <a:pt x="265" y="1693"/>
                  </a:lnTo>
                  <a:lnTo>
                    <a:pt x="124" y="1807"/>
                  </a:lnTo>
                  <a:lnTo>
                    <a:pt x="1" y="1931"/>
                  </a:lnTo>
                  <a:lnTo>
                    <a:pt x="36" y="2142"/>
                  </a:lnTo>
                  <a:lnTo>
                    <a:pt x="142" y="2169"/>
                  </a:lnTo>
                  <a:lnTo>
                    <a:pt x="230" y="2372"/>
                  </a:lnTo>
                  <a:lnTo>
                    <a:pt x="186" y="2477"/>
                  </a:lnTo>
                  <a:lnTo>
                    <a:pt x="124" y="2574"/>
                  </a:lnTo>
                  <a:lnTo>
                    <a:pt x="63" y="2812"/>
                  </a:lnTo>
                  <a:lnTo>
                    <a:pt x="89" y="2927"/>
                  </a:lnTo>
                  <a:lnTo>
                    <a:pt x="168" y="3156"/>
                  </a:lnTo>
                  <a:lnTo>
                    <a:pt x="345" y="3429"/>
                  </a:lnTo>
                  <a:lnTo>
                    <a:pt x="592" y="3606"/>
                  </a:lnTo>
                  <a:lnTo>
                    <a:pt x="680" y="3756"/>
                  </a:lnTo>
                  <a:lnTo>
                    <a:pt x="759" y="4179"/>
                  </a:lnTo>
                  <a:lnTo>
                    <a:pt x="847" y="4364"/>
                  </a:lnTo>
                  <a:lnTo>
                    <a:pt x="2072" y="5281"/>
                  </a:lnTo>
                  <a:lnTo>
                    <a:pt x="2443" y="5325"/>
                  </a:lnTo>
                  <a:lnTo>
                    <a:pt x="2540" y="5219"/>
                  </a:lnTo>
                  <a:lnTo>
                    <a:pt x="2663" y="5166"/>
                  </a:lnTo>
                  <a:lnTo>
                    <a:pt x="2734" y="5263"/>
                  </a:lnTo>
                  <a:lnTo>
                    <a:pt x="2716" y="5386"/>
                  </a:lnTo>
                  <a:lnTo>
                    <a:pt x="2725" y="5554"/>
                  </a:lnTo>
                  <a:lnTo>
                    <a:pt x="2813" y="5704"/>
                  </a:lnTo>
                  <a:lnTo>
                    <a:pt x="2839" y="5774"/>
                  </a:lnTo>
                  <a:lnTo>
                    <a:pt x="2892" y="5809"/>
                  </a:lnTo>
                  <a:lnTo>
                    <a:pt x="2980" y="5818"/>
                  </a:lnTo>
                  <a:lnTo>
                    <a:pt x="3042" y="5862"/>
                  </a:lnTo>
                  <a:lnTo>
                    <a:pt x="3157" y="6039"/>
                  </a:lnTo>
                  <a:lnTo>
                    <a:pt x="3342" y="6065"/>
                  </a:lnTo>
                  <a:lnTo>
                    <a:pt x="3553" y="6021"/>
                  </a:lnTo>
                  <a:lnTo>
                    <a:pt x="3774" y="6030"/>
                  </a:lnTo>
                  <a:lnTo>
                    <a:pt x="3915" y="6100"/>
                  </a:lnTo>
                  <a:lnTo>
                    <a:pt x="4029" y="6215"/>
                  </a:lnTo>
                  <a:lnTo>
                    <a:pt x="4197" y="6356"/>
                  </a:lnTo>
                  <a:lnTo>
                    <a:pt x="4408" y="6409"/>
                  </a:lnTo>
                  <a:lnTo>
                    <a:pt x="4735" y="6444"/>
                  </a:lnTo>
                  <a:lnTo>
                    <a:pt x="5061" y="6444"/>
                  </a:lnTo>
                  <a:lnTo>
                    <a:pt x="5316" y="6277"/>
                  </a:lnTo>
                  <a:lnTo>
                    <a:pt x="5352" y="5880"/>
                  </a:lnTo>
                  <a:lnTo>
                    <a:pt x="5449" y="5607"/>
                  </a:lnTo>
                  <a:lnTo>
                    <a:pt x="5660" y="5448"/>
                  </a:lnTo>
                  <a:lnTo>
                    <a:pt x="5792" y="4963"/>
                  </a:lnTo>
                  <a:lnTo>
                    <a:pt x="5889" y="4866"/>
                  </a:lnTo>
                  <a:lnTo>
                    <a:pt x="5933" y="4725"/>
                  </a:lnTo>
                  <a:lnTo>
                    <a:pt x="6030" y="4364"/>
                  </a:lnTo>
                  <a:lnTo>
                    <a:pt x="6268" y="4196"/>
                  </a:lnTo>
                  <a:lnTo>
                    <a:pt x="6753" y="4390"/>
                  </a:lnTo>
                  <a:lnTo>
                    <a:pt x="6894" y="4408"/>
                  </a:lnTo>
                  <a:lnTo>
                    <a:pt x="7044" y="4390"/>
                  </a:lnTo>
                  <a:lnTo>
                    <a:pt x="7176" y="4320"/>
                  </a:lnTo>
                  <a:lnTo>
                    <a:pt x="7317" y="4302"/>
                  </a:lnTo>
                  <a:lnTo>
                    <a:pt x="7582" y="4364"/>
                  </a:lnTo>
                  <a:lnTo>
                    <a:pt x="7811" y="4276"/>
                  </a:lnTo>
                  <a:lnTo>
                    <a:pt x="7749" y="3967"/>
                  </a:lnTo>
                  <a:lnTo>
                    <a:pt x="7626" y="3870"/>
                  </a:lnTo>
                  <a:lnTo>
                    <a:pt x="7388" y="3526"/>
                  </a:lnTo>
                  <a:lnTo>
                    <a:pt x="7379" y="3218"/>
                  </a:lnTo>
                  <a:lnTo>
                    <a:pt x="7511" y="2610"/>
                  </a:lnTo>
                  <a:lnTo>
                    <a:pt x="7952" y="2142"/>
                  </a:lnTo>
                  <a:lnTo>
                    <a:pt x="8040" y="1975"/>
                  </a:lnTo>
                  <a:lnTo>
                    <a:pt x="8014" y="1807"/>
                  </a:lnTo>
                  <a:lnTo>
                    <a:pt x="7908" y="1675"/>
                  </a:lnTo>
                  <a:lnTo>
                    <a:pt x="7890" y="1481"/>
                  </a:lnTo>
                  <a:lnTo>
                    <a:pt x="7952" y="1331"/>
                  </a:lnTo>
                  <a:lnTo>
                    <a:pt x="7996" y="1173"/>
                  </a:lnTo>
                  <a:lnTo>
                    <a:pt x="8023" y="970"/>
                  </a:lnTo>
                  <a:lnTo>
                    <a:pt x="8102" y="811"/>
                  </a:lnTo>
                  <a:lnTo>
                    <a:pt x="8199" y="714"/>
                  </a:lnTo>
                  <a:lnTo>
                    <a:pt x="8296" y="635"/>
                  </a:lnTo>
                  <a:lnTo>
                    <a:pt x="8543" y="494"/>
                  </a:lnTo>
                  <a:lnTo>
                    <a:pt x="8499" y="362"/>
                  </a:lnTo>
                  <a:lnTo>
                    <a:pt x="8472" y="230"/>
                  </a:lnTo>
                  <a:lnTo>
                    <a:pt x="7837"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0" name="Google Shape;3121;p54">
              <a:extLst>
                <a:ext uri="{FF2B5EF4-FFF2-40B4-BE49-F238E27FC236}">
                  <a16:creationId xmlns:a16="http://schemas.microsoft.com/office/drawing/2014/main" id="{6CBB31DD-9061-07EF-5729-30EFDFF13448}"/>
                </a:ext>
              </a:extLst>
            </p:cNvPr>
            <p:cNvSpPr/>
            <p:nvPr/>
          </p:nvSpPr>
          <p:spPr>
            <a:xfrm>
              <a:off x="2685060" y="1869411"/>
              <a:ext cx="777752" cy="693223"/>
            </a:xfrm>
            <a:custGeom>
              <a:avLst/>
              <a:gdLst/>
              <a:ahLst/>
              <a:cxnLst/>
              <a:rect l="l" t="t" r="r" b="b"/>
              <a:pathLst>
                <a:path w="10940" h="9751" extrusionOk="0">
                  <a:moveTo>
                    <a:pt x="4619" y="1"/>
                  </a:moveTo>
                  <a:lnTo>
                    <a:pt x="4496" y="45"/>
                  </a:lnTo>
                  <a:lnTo>
                    <a:pt x="4381" y="98"/>
                  </a:lnTo>
                  <a:lnTo>
                    <a:pt x="4372" y="36"/>
                  </a:lnTo>
                  <a:lnTo>
                    <a:pt x="4346" y="18"/>
                  </a:lnTo>
                  <a:lnTo>
                    <a:pt x="4311" y="36"/>
                  </a:lnTo>
                  <a:lnTo>
                    <a:pt x="4275" y="80"/>
                  </a:lnTo>
                  <a:lnTo>
                    <a:pt x="4249" y="151"/>
                  </a:lnTo>
                  <a:lnTo>
                    <a:pt x="4275" y="203"/>
                  </a:lnTo>
                  <a:lnTo>
                    <a:pt x="4311" y="247"/>
                  </a:lnTo>
                  <a:lnTo>
                    <a:pt x="4293" y="380"/>
                  </a:lnTo>
                  <a:lnTo>
                    <a:pt x="4372" y="441"/>
                  </a:lnTo>
                  <a:lnTo>
                    <a:pt x="4460" y="485"/>
                  </a:lnTo>
                  <a:lnTo>
                    <a:pt x="4513" y="485"/>
                  </a:lnTo>
                  <a:lnTo>
                    <a:pt x="4619" y="530"/>
                  </a:lnTo>
                  <a:lnTo>
                    <a:pt x="4707" y="494"/>
                  </a:lnTo>
                  <a:lnTo>
                    <a:pt x="4857" y="353"/>
                  </a:lnTo>
                  <a:lnTo>
                    <a:pt x="4945" y="327"/>
                  </a:lnTo>
                  <a:lnTo>
                    <a:pt x="5122" y="300"/>
                  </a:lnTo>
                  <a:lnTo>
                    <a:pt x="5210" y="230"/>
                  </a:lnTo>
                  <a:lnTo>
                    <a:pt x="5183" y="124"/>
                  </a:lnTo>
                  <a:lnTo>
                    <a:pt x="5069" y="62"/>
                  </a:lnTo>
                  <a:lnTo>
                    <a:pt x="4936" y="45"/>
                  </a:lnTo>
                  <a:lnTo>
                    <a:pt x="4857" y="62"/>
                  </a:lnTo>
                  <a:lnTo>
                    <a:pt x="4742" y="1"/>
                  </a:lnTo>
                  <a:close/>
                  <a:moveTo>
                    <a:pt x="4628" y="962"/>
                  </a:moveTo>
                  <a:lnTo>
                    <a:pt x="4593" y="1023"/>
                  </a:lnTo>
                  <a:lnTo>
                    <a:pt x="4549" y="1094"/>
                  </a:lnTo>
                  <a:lnTo>
                    <a:pt x="4496" y="1138"/>
                  </a:lnTo>
                  <a:lnTo>
                    <a:pt x="4513" y="1208"/>
                  </a:lnTo>
                  <a:lnTo>
                    <a:pt x="4575" y="1252"/>
                  </a:lnTo>
                  <a:lnTo>
                    <a:pt x="4663" y="1261"/>
                  </a:lnTo>
                  <a:lnTo>
                    <a:pt x="4742" y="1279"/>
                  </a:lnTo>
                  <a:lnTo>
                    <a:pt x="4804" y="1314"/>
                  </a:lnTo>
                  <a:lnTo>
                    <a:pt x="4857" y="1305"/>
                  </a:lnTo>
                  <a:lnTo>
                    <a:pt x="4857" y="1261"/>
                  </a:lnTo>
                  <a:lnTo>
                    <a:pt x="4839" y="1244"/>
                  </a:lnTo>
                  <a:lnTo>
                    <a:pt x="4804" y="1244"/>
                  </a:lnTo>
                  <a:lnTo>
                    <a:pt x="4760" y="1200"/>
                  </a:lnTo>
                  <a:lnTo>
                    <a:pt x="4760" y="1129"/>
                  </a:lnTo>
                  <a:lnTo>
                    <a:pt x="4787" y="1076"/>
                  </a:lnTo>
                  <a:lnTo>
                    <a:pt x="4778" y="1032"/>
                  </a:lnTo>
                  <a:lnTo>
                    <a:pt x="4628" y="962"/>
                  </a:lnTo>
                  <a:close/>
                  <a:moveTo>
                    <a:pt x="5333" y="776"/>
                  </a:moveTo>
                  <a:lnTo>
                    <a:pt x="5289" y="847"/>
                  </a:lnTo>
                  <a:lnTo>
                    <a:pt x="5254" y="838"/>
                  </a:lnTo>
                  <a:lnTo>
                    <a:pt x="5210" y="812"/>
                  </a:lnTo>
                  <a:lnTo>
                    <a:pt x="5157" y="838"/>
                  </a:lnTo>
                  <a:lnTo>
                    <a:pt x="5086" y="926"/>
                  </a:lnTo>
                  <a:lnTo>
                    <a:pt x="5042" y="962"/>
                  </a:lnTo>
                  <a:lnTo>
                    <a:pt x="4981" y="988"/>
                  </a:lnTo>
                  <a:lnTo>
                    <a:pt x="4981" y="1023"/>
                  </a:lnTo>
                  <a:lnTo>
                    <a:pt x="5025" y="1085"/>
                  </a:lnTo>
                  <a:lnTo>
                    <a:pt x="5174" y="1235"/>
                  </a:lnTo>
                  <a:lnTo>
                    <a:pt x="5210" y="1252"/>
                  </a:lnTo>
                  <a:lnTo>
                    <a:pt x="5254" y="1252"/>
                  </a:lnTo>
                  <a:lnTo>
                    <a:pt x="5289" y="1261"/>
                  </a:lnTo>
                  <a:lnTo>
                    <a:pt x="5307" y="1296"/>
                  </a:lnTo>
                  <a:lnTo>
                    <a:pt x="5307" y="1376"/>
                  </a:lnTo>
                  <a:lnTo>
                    <a:pt x="5315" y="1411"/>
                  </a:lnTo>
                  <a:lnTo>
                    <a:pt x="5342" y="1438"/>
                  </a:lnTo>
                  <a:lnTo>
                    <a:pt x="5368" y="1482"/>
                  </a:lnTo>
                  <a:lnTo>
                    <a:pt x="5395" y="1508"/>
                  </a:lnTo>
                  <a:lnTo>
                    <a:pt x="5430" y="1508"/>
                  </a:lnTo>
                  <a:lnTo>
                    <a:pt x="5457" y="1526"/>
                  </a:lnTo>
                  <a:lnTo>
                    <a:pt x="5465" y="1587"/>
                  </a:lnTo>
                  <a:lnTo>
                    <a:pt x="5483" y="1649"/>
                  </a:lnTo>
                  <a:lnTo>
                    <a:pt x="5527" y="1649"/>
                  </a:lnTo>
                  <a:lnTo>
                    <a:pt x="5589" y="1605"/>
                  </a:lnTo>
                  <a:lnTo>
                    <a:pt x="5827" y="1684"/>
                  </a:lnTo>
                  <a:lnTo>
                    <a:pt x="5906" y="1693"/>
                  </a:lnTo>
                  <a:lnTo>
                    <a:pt x="5836" y="1799"/>
                  </a:lnTo>
                  <a:lnTo>
                    <a:pt x="5580" y="1931"/>
                  </a:lnTo>
                  <a:lnTo>
                    <a:pt x="5474" y="2090"/>
                  </a:lnTo>
                  <a:lnTo>
                    <a:pt x="5351" y="2125"/>
                  </a:lnTo>
                  <a:lnTo>
                    <a:pt x="5210" y="2107"/>
                  </a:lnTo>
                  <a:lnTo>
                    <a:pt x="5113" y="2072"/>
                  </a:lnTo>
                  <a:lnTo>
                    <a:pt x="4998" y="2134"/>
                  </a:lnTo>
                  <a:lnTo>
                    <a:pt x="4892" y="2107"/>
                  </a:lnTo>
                  <a:lnTo>
                    <a:pt x="4787" y="2055"/>
                  </a:lnTo>
                  <a:lnTo>
                    <a:pt x="4654" y="2028"/>
                  </a:lnTo>
                  <a:lnTo>
                    <a:pt x="4575" y="2046"/>
                  </a:lnTo>
                  <a:lnTo>
                    <a:pt x="4460" y="2125"/>
                  </a:lnTo>
                  <a:lnTo>
                    <a:pt x="4487" y="2178"/>
                  </a:lnTo>
                  <a:lnTo>
                    <a:pt x="4434" y="2442"/>
                  </a:lnTo>
                  <a:lnTo>
                    <a:pt x="4205" y="2575"/>
                  </a:lnTo>
                  <a:lnTo>
                    <a:pt x="3887" y="2918"/>
                  </a:lnTo>
                  <a:lnTo>
                    <a:pt x="3817" y="2945"/>
                  </a:lnTo>
                  <a:lnTo>
                    <a:pt x="3764" y="2989"/>
                  </a:lnTo>
                  <a:lnTo>
                    <a:pt x="3852" y="3174"/>
                  </a:lnTo>
                  <a:lnTo>
                    <a:pt x="4028" y="3253"/>
                  </a:lnTo>
                  <a:lnTo>
                    <a:pt x="4117" y="3262"/>
                  </a:lnTo>
                  <a:lnTo>
                    <a:pt x="4134" y="3306"/>
                  </a:lnTo>
                  <a:lnTo>
                    <a:pt x="4108" y="3421"/>
                  </a:lnTo>
                  <a:lnTo>
                    <a:pt x="4046" y="3615"/>
                  </a:lnTo>
                  <a:lnTo>
                    <a:pt x="4020" y="3773"/>
                  </a:lnTo>
                  <a:lnTo>
                    <a:pt x="3976" y="3915"/>
                  </a:lnTo>
                  <a:lnTo>
                    <a:pt x="3940" y="3959"/>
                  </a:lnTo>
                  <a:lnTo>
                    <a:pt x="3887" y="4064"/>
                  </a:lnTo>
                  <a:lnTo>
                    <a:pt x="3976" y="4197"/>
                  </a:lnTo>
                  <a:lnTo>
                    <a:pt x="4046" y="4258"/>
                  </a:lnTo>
                  <a:lnTo>
                    <a:pt x="4028" y="4505"/>
                  </a:lnTo>
                  <a:lnTo>
                    <a:pt x="3949" y="4752"/>
                  </a:lnTo>
                  <a:lnTo>
                    <a:pt x="3843" y="4981"/>
                  </a:lnTo>
                  <a:lnTo>
                    <a:pt x="3658" y="5113"/>
                  </a:lnTo>
                  <a:lnTo>
                    <a:pt x="3464" y="5202"/>
                  </a:lnTo>
                  <a:lnTo>
                    <a:pt x="3279" y="5334"/>
                  </a:lnTo>
                  <a:lnTo>
                    <a:pt x="3085" y="5413"/>
                  </a:lnTo>
                  <a:lnTo>
                    <a:pt x="2742" y="5298"/>
                  </a:lnTo>
                  <a:lnTo>
                    <a:pt x="2398" y="5237"/>
                  </a:lnTo>
                  <a:lnTo>
                    <a:pt x="2274" y="5307"/>
                  </a:lnTo>
                  <a:lnTo>
                    <a:pt x="2124" y="5290"/>
                  </a:lnTo>
                  <a:lnTo>
                    <a:pt x="1913" y="5290"/>
                  </a:lnTo>
                  <a:lnTo>
                    <a:pt x="1719" y="5448"/>
                  </a:lnTo>
                  <a:lnTo>
                    <a:pt x="1384" y="5589"/>
                  </a:lnTo>
                  <a:lnTo>
                    <a:pt x="1208" y="5739"/>
                  </a:lnTo>
                  <a:lnTo>
                    <a:pt x="1014" y="5801"/>
                  </a:lnTo>
                  <a:lnTo>
                    <a:pt x="591" y="5748"/>
                  </a:lnTo>
                  <a:lnTo>
                    <a:pt x="406" y="5792"/>
                  </a:lnTo>
                  <a:lnTo>
                    <a:pt x="256" y="6259"/>
                  </a:lnTo>
                  <a:lnTo>
                    <a:pt x="265" y="6744"/>
                  </a:lnTo>
                  <a:lnTo>
                    <a:pt x="917" y="6630"/>
                  </a:lnTo>
                  <a:lnTo>
                    <a:pt x="1031" y="6709"/>
                  </a:lnTo>
                  <a:lnTo>
                    <a:pt x="1120" y="6674"/>
                  </a:lnTo>
                  <a:lnTo>
                    <a:pt x="1208" y="6594"/>
                  </a:lnTo>
                  <a:lnTo>
                    <a:pt x="1314" y="6550"/>
                  </a:lnTo>
                  <a:lnTo>
                    <a:pt x="1446" y="6559"/>
                  </a:lnTo>
                  <a:lnTo>
                    <a:pt x="1525" y="6603"/>
                  </a:lnTo>
                  <a:lnTo>
                    <a:pt x="1552" y="6691"/>
                  </a:lnTo>
                  <a:lnTo>
                    <a:pt x="1552" y="6815"/>
                  </a:lnTo>
                  <a:lnTo>
                    <a:pt x="1490" y="7044"/>
                  </a:lnTo>
                  <a:lnTo>
                    <a:pt x="1481" y="7106"/>
                  </a:lnTo>
                  <a:lnTo>
                    <a:pt x="1481" y="7132"/>
                  </a:lnTo>
                  <a:lnTo>
                    <a:pt x="1463" y="7141"/>
                  </a:lnTo>
                  <a:lnTo>
                    <a:pt x="1199" y="7229"/>
                  </a:lnTo>
                  <a:lnTo>
                    <a:pt x="1120" y="7282"/>
                  </a:lnTo>
                  <a:lnTo>
                    <a:pt x="1172" y="7370"/>
                  </a:lnTo>
                  <a:lnTo>
                    <a:pt x="1120" y="7414"/>
                  </a:lnTo>
                  <a:lnTo>
                    <a:pt x="1058" y="7441"/>
                  </a:lnTo>
                  <a:lnTo>
                    <a:pt x="890" y="7449"/>
                  </a:lnTo>
                  <a:lnTo>
                    <a:pt x="899" y="7502"/>
                  </a:lnTo>
                  <a:lnTo>
                    <a:pt x="890" y="7537"/>
                  </a:lnTo>
                  <a:lnTo>
                    <a:pt x="890" y="7582"/>
                  </a:lnTo>
                  <a:lnTo>
                    <a:pt x="890" y="7617"/>
                  </a:lnTo>
                  <a:lnTo>
                    <a:pt x="908" y="7626"/>
                  </a:lnTo>
                  <a:lnTo>
                    <a:pt x="952" y="7661"/>
                  </a:lnTo>
                  <a:lnTo>
                    <a:pt x="458" y="8031"/>
                  </a:lnTo>
                  <a:lnTo>
                    <a:pt x="379" y="8155"/>
                  </a:lnTo>
                  <a:lnTo>
                    <a:pt x="335" y="8190"/>
                  </a:lnTo>
                  <a:lnTo>
                    <a:pt x="282" y="8216"/>
                  </a:lnTo>
                  <a:lnTo>
                    <a:pt x="256" y="8269"/>
                  </a:lnTo>
                  <a:lnTo>
                    <a:pt x="282" y="8357"/>
                  </a:lnTo>
                  <a:lnTo>
                    <a:pt x="282" y="8357"/>
                  </a:lnTo>
                  <a:lnTo>
                    <a:pt x="247" y="8322"/>
                  </a:lnTo>
                  <a:lnTo>
                    <a:pt x="212" y="8287"/>
                  </a:lnTo>
                  <a:lnTo>
                    <a:pt x="168" y="8269"/>
                  </a:lnTo>
                  <a:lnTo>
                    <a:pt x="123" y="8269"/>
                  </a:lnTo>
                  <a:lnTo>
                    <a:pt x="123" y="8234"/>
                  </a:lnTo>
                  <a:lnTo>
                    <a:pt x="203" y="8216"/>
                  </a:lnTo>
                  <a:lnTo>
                    <a:pt x="212" y="8172"/>
                  </a:lnTo>
                  <a:lnTo>
                    <a:pt x="168" y="8146"/>
                  </a:lnTo>
                  <a:lnTo>
                    <a:pt x="106" y="8172"/>
                  </a:lnTo>
                  <a:lnTo>
                    <a:pt x="71" y="8234"/>
                  </a:lnTo>
                  <a:lnTo>
                    <a:pt x="44" y="8357"/>
                  </a:lnTo>
                  <a:lnTo>
                    <a:pt x="0" y="8401"/>
                  </a:lnTo>
                  <a:lnTo>
                    <a:pt x="88" y="8445"/>
                  </a:lnTo>
                  <a:lnTo>
                    <a:pt x="203" y="8454"/>
                  </a:lnTo>
                  <a:lnTo>
                    <a:pt x="423" y="8437"/>
                  </a:lnTo>
                  <a:lnTo>
                    <a:pt x="503" y="8481"/>
                  </a:lnTo>
                  <a:lnTo>
                    <a:pt x="538" y="8569"/>
                  </a:lnTo>
                  <a:lnTo>
                    <a:pt x="564" y="8692"/>
                  </a:lnTo>
                  <a:lnTo>
                    <a:pt x="599" y="8807"/>
                  </a:lnTo>
                  <a:lnTo>
                    <a:pt x="591" y="8869"/>
                  </a:lnTo>
                  <a:lnTo>
                    <a:pt x="661" y="8948"/>
                  </a:lnTo>
                  <a:lnTo>
                    <a:pt x="749" y="9018"/>
                  </a:lnTo>
                  <a:lnTo>
                    <a:pt x="785" y="9036"/>
                  </a:lnTo>
                  <a:lnTo>
                    <a:pt x="1781" y="8313"/>
                  </a:lnTo>
                  <a:lnTo>
                    <a:pt x="1869" y="8216"/>
                  </a:lnTo>
                  <a:lnTo>
                    <a:pt x="1948" y="8075"/>
                  </a:lnTo>
                  <a:lnTo>
                    <a:pt x="2045" y="7943"/>
                  </a:lnTo>
                  <a:lnTo>
                    <a:pt x="2169" y="7872"/>
                  </a:lnTo>
                  <a:lnTo>
                    <a:pt x="2318" y="7811"/>
                  </a:lnTo>
                  <a:lnTo>
                    <a:pt x="3156" y="7264"/>
                  </a:lnTo>
                  <a:lnTo>
                    <a:pt x="3420" y="7317"/>
                  </a:lnTo>
                  <a:lnTo>
                    <a:pt x="3623" y="7502"/>
                  </a:lnTo>
                  <a:lnTo>
                    <a:pt x="3755" y="7775"/>
                  </a:lnTo>
                  <a:lnTo>
                    <a:pt x="4117" y="7590"/>
                  </a:lnTo>
                  <a:lnTo>
                    <a:pt x="4328" y="7687"/>
                  </a:lnTo>
                  <a:lnTo>
                    <a:pt x="4531" y="7855"/>
                  </a:lnTo>
                  <a:lnTo>
                    <a:pt x="4848" y="7943"/>
                  </a:lnTo>
                  <a:lnTo>
                    <a:pt x="5183" y="7899"/>
                  </a:lnTo>
                  <a:lnTo>
                    <a:pt x="5368" y="7917"/>
                  </a:lnTo>
                  <a:lnTo>
                    <a:pt x="5553" y="8005"/>
                  </a:lnTo>
                  <a:lnTo>
                    <a:pt x="5624" y="8014"/>
                  </a:lnTo>
                  <a:lnTo>
                    <a:pt x="5774" y="7987"/>
                  </a:lnTo>
                  <a:lnTo>
                    <a:pt x="5853" y="7987"/>
                  </a:lnTo>
                  <a:lnTo>
                    <a:pt x="5968" y="8172"/>
                  </a:lnTo>
                  <a:lnTo>
                    <a:pt x="5827" y="8428"/>
                  </a:lnTo>
                  <a:lnTo>
                    <a:pt x="5774" y="8639"/>
                  </a:lnTo>
                  <a:lnTo>
                    <a:pt x="5950" y="8719"/>
                  </a:lnTo>
                  <a:lnTo>
                    <a:pt x="6303" y="8595"/>
                  </a:lnTo>
                  <a:lnTo>
                    <a:pt x="6373" y="8639"/>
                  </a:lnTo>
                  <a:lnTo>
                    <a:pt x="6409" y="8719"/>
                  </a:lnTo>
                  <a:lnTo>
                    <a:pt x="6788" y="9133"/>
                  </a:lnTo>
                  <a:lnTo>
                    <a:pt x="7026" y="9671"/>
                  </a:lnTo>
                  <a:lnTo>
                    <a:pt x="7246" y="9750"/>
                  </a:lnTo>
                  <a:lnTo>
                    <a:pt x="7440" y="9671"/>
                  </a:lnTo>
                  <a:lnTo>
                    <a:pt x="7634" y="9627"/>
                  </a:lnTo>
                  <a:lnTo>
                    <a:pt x="7810" y="9521"/>
                  </a:lnTo>
                  <a:lnTo>
                    <a:pt x="7933" y="9353"/>
                  </a:lnTo>
                  <a:lnTo>
                    <a:pt x="8127" y="9318"/>
                  </a:lnTo>
                  <a:lnTo>
                    <a:pt x="8330" y="9336"/>
                  </a:lnTo>
                  <a:lnTo>
                    <a:pt x="8506" y="9318"/>
                  </a:lnTo>
                  <a:lnTo>
                    <a:pt x="8674" y="9265"/>
                  </a:lnTo>
                  <a:lnTo>
                    <a:pt x="9106" y="9045"/>
                  </a:lnTo>
                  <a:lnTo>
                    <a:pt x="9511" y="9115"/>
                  </a:lnTo>
                  <a:lnTo>
                    <a:pt x="9538" y="9054"/>
                  </a:lnTo>
                  <a:lnTo>
                    <a:pt x="9529" y="8904"/>
                  </a:lnTo>
                  <a:lnTo>
                    <a:pt x="9503" y="8833"/>
                  </a:lnTo>
                  <a:lnTo>
                    <a:pt x="9538" y="8622"/>
                  </a:lnTo>
                  <a:lnTo>
                    <a:pt x="9723" y="8534"/>
                  </a:lnTo>
                  <a:lnTo>
                    <a:pt x="10058" y="8419"/>
                  </a:lnTo>
                  <a:lnTo>
                    <a:pt x="10217" y="8313"/>
                  </a:lnTo>
                  <a:lnTo>
                    <a:pt x="10349" y="8049"/>
                  </a:lnTo>
                  <a:lnTo>
                    <a:pt x="10393" y="7969"/>
                  </a:lnTo>
                  <a:lnTo>
                    <a:pt x="10499" y="7837"/>
                  </a:lnTo>
                  <a:lnTo>
                    <a:pt x="10604" y="7652"/>
                  </a:lnTo>
                  <a:lnTo>
                    <a:pt x="10666" y="7229"/>
                  </a:lnTo>
                  <a:lnTo>
                    <a:pt x="10728" y="7053"/>
                  </a:lnTo>
                  <a:lnTo>
                    <a:pt x="10781" y="7000"/>
                  </a:lnTo>
                  <a:lnTo>
                    <a:pt x="10816" y="6929"/>
                  </a:lnTo>
                  <a:lnTo>
                    <a:pt x="10816" y="6815"/>
                  </a:lnTo>
                  <a:lnTo>
                    <a:pt x="10842" y="6691"/>
                  </a:lnTo>
                  <a:lnTo>
                    <a:pt x="10939" y="6515"/>
                  </a:lnTo>
                  <a:lnTo>
                    <a:pt x="10825" y="6400"/>
                  </a:lnTo>
                  <a:lnTo>
                    <a:pt x="10684" y="6330"/>
                  </a:lnTo>
                  <a:lnTo>
                    <a:pt x="10463" y="6321"/>
                  </a:lnTo>
                  <a:lnTo>
                    <a:pt x="10252" y="6365"/>
                  </a:lnTo>
                  <a:lnTo>
                    <a:pt x="10067" y="6339"/>
                  </a:lnTo>
                  <a:lnTo>
                    <a:pt x="9952" y="6162"/>
                  </a:lnTo>
                  <a:lnTo>
                    <a:pt x="9890" y="6118"/>
                  </a:lnTo>
                  <a:lnTo>
                    <a:pt x="9802" y="6109"/>
                  </a:lnTo>
                  <a:lnTo>
                    <a:pt x="9749" y="6074"/>
                  </a:lnTo>
                  <a:lnTo>
                    <a:pt x="9723" y="6004"/>
                  </a:lnTo>
                  <a:lnTo>
                    <a:pt x="9635" y="5854"/>
                  </a:lnTo>
                  <a:lnTo>
                    <a:pt x="9626" y="5686"/>
                  </a:lnTo>
                  <a:lnTo>
                    <a:pt x="9644" y="5563"/>
                  </a:lnTo>
                  <a:lnTo>
                    <a:pt x="9573" y="5466"/>
                  </a:lnTo>
                  <a:lnTo>
                    <a:pt x="9450" y="5519"/>
                  </a:lnTo>
                  <a:lnTo>
                    <a:pt x="9353" y="5625"/>
                  </a:lnTo>
                  <a:lnTo>
                    <a:pt x="8982" y="5581"/>
                  </a:lnTo>
                  <a:lnTo>
                    <a:pt x="7757" y="4664"/>
                  </a:lnTo>
                  <a:lnTo>
                    <a:pt x="7669" y="4479"/>
                  </a:lnTo>
                  <a:lnTo>
                    <a:pt x="7590" y="4056"/>
                  </a:lnTo>
                  <a:lnTo>
                    <a:pt x="7502" y="3906"/>
                  </a:lnTo>
                  <a:lnTo>
                    <a:pt x="7255" y="3729"/>
                  </a:lnTo>
                  <a:lnTo>
                    <a:pt x="7078" y="3456"/>
                  </a:lnTo>
                  <a:lnTo>
                    <a:pt x="6999" y="3227"/>
                  </a:lnTo>
                  <a:lnTo>
                    <a:pt x="6973" y="3112"/>
                  </a:lnTo>
                  <a:lnTo>
                    <a:pt x="7034" y="2874"/>
                  </a:lnTo>
                  <a:lnTo>
                    <a:pt x="7096" y="2777"/>
                  </a:lnTo>
                  <a:lnTo>
                    <a:pt x="7140" y="2672"/>
                  </a:lnTo>
                  <a:lnTo>
                    <a:pt x="7052" y="2469"/>
                  </a:lnTo>
                  <a:lnTo>
                    <a:pt x="6946" y="2442"/>
                  </a:lnTo>
                  <a:lnTo>
                    <a:pt x="6911" y="2231"/>
                  </a:lnTo>
                  <a:lnTo>
                    <a:pt x="7034" y="2107"/>
                  </a:lnTo>
                  <a:lnTo>
                    <a:pt x="7175" y="1993"/>
                  </a:lnTo>
                  <a:lnTo>
                    <a:pt x="7396" y="1658"/>
                  </a:lnTo>
                  <a:lnTo>
                    <a:pt x="7413" y="1614"/>
                  </a:lnTo>
                  <a:lnTo>
                    <a:pt x="6964" y="1631"/>
                  </a:lnTo>
                  <a:lnTo>
                    <a:pt x="6576" y="1781"/>
                  </a:lnTo>
                  <a:lnTo>
                    <a:pt x="6188" y="1817"/>
                  </a:lnTo>
                  <a:lnTo>
                    <a:pt x="6021" y="1764"/>
                  </a:lnTo>
                  <a:lnTo>
                    <a:pt x="6003" y="1605"/>
                  </a:lnTo>
                  <a:lnTo>
                    <a:pt x="6126" y="1508"/>
                  </a:lnTo>
                  <a:lnTo>
                    <a:pt x="6523" y="1296"/>
                  </a:lnTo>
                  <a:lnTo>
                    <a:pt x="6611" y="1155"/>
                  </a:lnTo>
                  <a:lnTo>
                    <a:pt x="6514" y="1050"/>
                  </a:lnTo>
                  <a:lnTo>
                    <a:pt x="6312" y="979"/>
                  </a:lnTo>
                  <a:lnTo>
                    <a:pt x="5545" y="856"/>
                  </a:lnTo>
                  <a:lnTo>
                    <a:pt x="5501" y="873"/>
                  </a:lnTo>
                  <a:lnTo>
                    <a:pt x="5483" y="891"/>
                  </a:lnTo>
                  <a:lnTo>
                    <a:pt x="5474" y="909"/>
                  </a:lnTo>
                  <a:lnTo>
                    <a:pt x="5430" y="909"/>
                  </a:lnTo>
                  <a:lnTo>
                    <a:pt x="5421" y="891"/>
                  </a:lnTo>
                  <a:lnTo>
                    <a:pt x="5333" y="776"/>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3122;p54">
              <a:extLst>
                <a:ext uri="{FF2B5EF4-FFF2-40B4-BE49-F238E27FC236}">
                  <a16:creationId xmlns:a16="http://schemas.microsoft.com/office/drawing/2014/main" id="{2E9BA1ED-C322-57B2-061B-914C3729D17C}"/>
                </a:ext>
              </a:extLst>
            </p:cNvPr>
            <p:cNvSpPr/>
            <p:nvPr/>
          </p:nvSpPr>
          <p:spPr>
            <a:xfrm>
              <a:off x="2560928" y="2385845"/>
              <a:ext cx="767728" cy="666208"/>
            </a:xfrm>
            <a:custGeom>
              <a:avLst/>
              <a:gdLst/>
              <a:ahLst/>
              <a:cxnLst/>
              <a:rect l="l" t="t" r="r" b="b"/>
              <a:pathLst>
                <a:path w="10799" h="9371" extrusionOk="0">
                  <a:moveTo>
                    <a:pt x="4902" y="0"/>
                  </a:moveTo>
                  <a:lnTo>
                    <a:pt x="4064" y="547"/>
                  </a:lnTo>
                  <a:lnTo>
                    <a:pt x="3915" y="608"/>
                  </a:lnTo>
                  <a:lnTo>
                    <a:pt x="3791" y="679"/>
                  </a:lnTo>
                  <a:lnTo>
                    <a:pt x="3694" y="811"/>
                  </a:lnTo>
                  <a:lnTo>
                    <a:pt x="3615" y="952"/>
                  </a:lnTo>
                  <a:lnTo>
                    <a:pt x="3527" y="1049"/>
                  </a:lnTo>
                  <a:lnTo>
                    <a:pt x="2531" y="1772"/>
                  </a:lnTo>
                  <a:lnTo>
                    <a:pt x="2672" y="1843"/>
                  </a:lnTo>
                  <a:lnTo>
                    <a:pt x="2742" y="1895"/>
                  </a:lnTo>
                  <a:lnTo>
                    <a:pt x="2866" y="2063"/>
                  </a:lnTo>
                  <a:lnTo>
                    <a:pt x="2980" y="2239"/>
                  </a:lnTo>
                  <a:lnTo>
                    <a:pt x="3015" y="2354"/>
                  </a:lnTo>
                  <a:lnTo>
                    <a:pt x="2971" y="2407"/>
                  </a:lnTo>
                  <a:lnTo>
                    <a:pt x="2874" y="2433"/>
                  </a:lnTo>
                  <a:lnTo>
                    <a:pt x="2760" y="2504"/>
                  </a:lnTo>
                  <a:lnTo>
                    <a:pt x="2654" y="2583"/>
                  </a:lnTo>
                  <a:lnTo>
                    <a:pt x="2601" y="2654"/>
                  </a:lnTo>
                  <a:lnTo>
                    <a:pt x="2698" y="2654"/>
                  </a:lnTo>
                  <a:lnTo>
                    <a:pt x="2698" y="2698"/>
                  </a:lnTo>
                  <a:lnTo>
                    <a:pt x="2628" y="2795"/>
                  </a:lnTo>
                  <a:lnTo>
                    <a:pt x="2619" y="2944"/>
                  </a:lnTo>
                  <a:lnTo>
                    <a:pt x="2654" y="3085"/>
                  </a:lnTo>
                  <a:lnTo>
                    <a:pt x="2742" y="3138"/>
                  </a:lnTo>
                  <a:lnTo>
                    <a:pt x="2813" y="3165"/>
                  </a:lnTo>
                  <a:lnTo>
                    <a:pt x="2883" y="3279"/>
                  </a:lnTo>
                  <a:lnTo>
                    <a:pt x="2936" y="3306"/>
                  </a:lnTo>
                  <a:lnTo>
                    <a:pt x="2998" y="3288"/>
                  </a:lnTo>
                  <a:lnTo>
                    <a:pt x="3156" y="3191"/>
                  </a:lnTo>
                  <a:lnTo>
                    <a:pt x="3209" y="3138"/>
                  </a:lnTo>
                  <a:lnTo>
                    <a:pt x="3253" y="3200"/>
                  </a:lnTo>
                  <a:lnTo>
                    <a:pt x="3289" y="3191"/>
                  </a:lnTo>
                  <a:lnTo>
                    <a:pt x="3324" y="3165"/>
                  </a:lnTo>
                  <a:lnTo>
                    <a:pt x="3386" y="3138"/>
                  </a:lnTo>
                  <a:lnTo>
                    <a:pt x="3403" y="3165"/>
                  </a:lnTo>
                  <a:lnTo>
                    <a:pt x="3456" y="3244"/>
                  </a:lnTo>
                  <a:lnTo>
                    <a:pt x="3474" y="3262"/>
                  </a:lnTo>
                  <a:lnTo>
                    <a:pt x="3562" y="3262"/>
                  </a:lnTo>
                  <a:lnTo>
                    <a:pt x="3615" y="3253"/>
                  </a:lnTo>
                  <a:lnTo>
                    <a:pt x="3668" y="3218"/>
                  </a:lnTo>
                  <a:lnTo>
                    <a:pt x="3747" y="3138"/>
                  </a:lnTo>
                  <a:lnTo>
                    <a:pt x="3826" y="3200"/>
                  </a:lnTo>
                  <a:lnTo>
                    <a:pt x="3826" y="3271"/>
                  </a:lnTo>
                  <a:lnTo>
                    <a:pt x="3747" y="3429"/>
                  </a:lnTo>
                  <a:lnTo>
                    <a:pt x="3844" y="3456"/>
                  </a:lnTo>
                  <a:lnTo>
                    <a:pt x="3809" y="3553"/>
                  </a:lnTo>
                  <a:lnTo>
                    <a:pt x="3712" y="3614"/>
                  </a:lnTo>
                  <a:lnTo>
                    <a:pt x="3615" y="3553"/>
                  </a:lnTo>
                  <a:lnTo>
                    <a:pt x="3571" y="3606"/>
                  </a:lnTo>
                  <a:lnTo>
                    <a:pt x="3518" y="3650"/>
                  </a:lnTo>
                  <a:lnTo>
                    <a:pt x="3439" y="3685"/>
                  </a:lnTo>
                  <a:lnTo>
                    <a:pt x="3368" y="3711"/>
                  </a:lnTo>
                  <a:lnTo>
                    <a:pt x="3421" y="3861"/>
                  </a:lnTo>
                  <a:lnTo>
                    <a:pt x="3377" y="3941"/>
                  </a:lnTo>
                  <a:lnTo>
                    <a:pt x="3298" y="3923"/>
                  </a:lnTo>
                  <a:lnTo>
                    <a:pt x="3271" y="3799"/>
                  </a:lnTo>
                  <a:lnTo>
                    <a:pt x="3077" y="3879"/>
                  </a:lnTo>
                  <a:lnTo>
                    <a:pt x="3112" y="3923"/>
                  </a:lnTo>
                  <a:lnTo>
                    <a:pt x="3209" y="4090"/>
                  </a:lnTo>
                  <a:lnTo>
                    <a:pt x="3236" y="4037"/>
                  </a:lnTo>
                  <a:lnTo>
                    <a:pt x="3253" y="4099"/>
                  </a:lnTo>
                  <a:lnTo>
                    <a:pt x="3253" y="4152"/>
                  </a:lnTo>
                  <a:lnTo>
                    <a:pt x="3253" y="4196"/>
                  </a:lnTo>
                  <a:lnTo>
                    <a:pt x="3236" y="4240"/>
                  </a:lnTo>
                  <a:lnTo>
                    <a:pt x="3201" y="4205"/>
                  </a:lnTo>
                  <a:lnTo>
                    <a:pt x="3165" y="4214"/>
                  </a:lnTo>
                  <a:lnTo>
                    <a:pt x="3121" y="4249"/>
                  </a:lnTo>
                  <a:lnTo>
                    <a:pt x="3077" y="4284"/>
                  </a:lnTo>
                  <a:lnTo>
                    <a:pt x="3112" y="4364"/>
                  </a:lnTo>
                  <a:lnTo>
                    <a:pt x="3042" y="4372"/>
                  </a:lnTo>
                  <a:lnTo>
                    <a:pt x="2971" y="4346"/>
                  </a:lnTo>
                  <a:lnTo>
                    <a:pt x="2866" y="4302"/>
                  </a:lnTo>
                  <a:lnTo>
                    <a:pt x="2822" y="4302"/>
                  </a:lnTo>
                  <a:lnTo>
                    <a:pt x="2769" y="4293"/>
                  </a:lnTo>
                  <a:lnTo>
                    <a:pt x="2760" y="4284"/>
                  </a:lnTo>
                  <a:lnTo>
                    <a:pt x="2760" y="4275"/>
                  </a:lnTo>
                  <a:lnTo>
                    <a:pt x="2742" y="4249"/>
                  </a:lnTo>
                  <a:lnTo>
                    <a:pt x="2716" y="4240"/>
                  </a:lnTo>
                  <a:lnTo>
                    <a:pt x="2575" y="4337"/>
                  </a:lnTo>
                  <a:lnTo>
                    <a:pt x="2337" y="4390"/>
                  </a:lnTo>
                  <a:lnTo>
                    <a:pt x="2249" y="4452"/>
                  </a:lnTo>
                  <a:lnTo>
                    <a:pt x="2284" y="4558"/>
                  </a:lnTo>
                  <a:lnTo>
                    <a:pt x="2319" y="4637"/>
                  </a:lnTo>
                  <a:lnTo>
                    <a:pt x="2407" y="4769"/>
                  </a:lnTo>
                  <a:lnTo>
                    <a:pt x="2363" y="4769"/>
                  </a:lnTo>
                  <a:lnTo>
                    <a:pt x="2319" y="4787"/>
                  </a:lnTo>
                  <a:lnTo>
                    <a:pt x="2284" y="4813"/>
                  </a:lnTo>
                  <a:lnTo>
                    <a:pt x="2249" y="4857"/>
                  </a:lnTo>
                  <a:lnTo>
                    <a:pt x="2337" y="4910"/>
                  </a:lnTo>
                  <a:lnTo>
                    <a:pt x="2381" y="4937"/>
                  </a:lnTo>
                  <a:lnTo>
                    <a:pt x="2442" y="4937"/>
                  </a:lnTo>
                  <a:lnTo>
                    <a:pt x="2434" y="4963"/>
                  </a:lnTo>
                  <a:lnTo>
                    <a:pt x="2416" y="5034"/>
                  </a:lnTo>
                  <a:lnTo>
                    <a:pt x="2407" y="5060"/>
                  </a:lnTo>
                  <a:lnTo>
                    <a:pt x="2407" y="5060"/>
                  </a:lnTo>
                  <a:lnTo>
                    <a:pt x="2478" y="5051"/>
                  </a:lnTo>
                  <a:lnTo>
                    <a:pt x="2531" y="5060"/>
                  </a:lnTo>
                  <a:lnTo>
                    <a:pt x="2636" y="5095"/>
                  </a:lnTo>
                  <a:lnTo>
                    <a:pt x="2619" y="5122"/>
                  </a:lnTo>
                  <a:lnTo>
                    <a:pt x="2601" y="5183"/>
                  </a:lnTo>
                  <a:lnTo>
                    <a:pt x="2689" y="5183"/>
                  </a:lnTo>
                  <a:lnTo>
                    <a:pt x="2742" y="5139"/>
                  </a:lnTo>
                  <a:lnTo>
                    <a:pt x="2786" y="5113"/>
                  </a:lnTo>
                  <a:lnTo>
                    <a:pt x="2857" y="5183"/>
                  </a:lnTo>
                  <a:lnTo>
                    <a:pt x="2839" y="5254"/>
                  </a:lnTo>
                  <a:lnTo>
                    <a:pt x="2813" y="5395"/>
                  </a:lnTo>
                  <a:lnTo>
                    <a:pt x="2795" y="5466"/>
                  </a:lnTo>
                  <a:lnTo>
                    <a:pt x="2866" y="5501"/>
                  </a:lnTo>
                  <a:lnTo>
                    <a:pt x="2927" y="5545"/>
                  </a:lnTo>
                  <a:lnTo>
                    <a:pt x="2989" y="5607"/>
                  </a:lnTo>
                  <a:lnTo>
                    <a:pt x="3042" y="5668"/>
                  </a:lnTo>
                  <a:lnTo>
                    <a:pt x="3042" y="5712"/>
                  </a:lnTo>
                  <a:lnTo>
                    <a:pt x="2971" y="5712"/>
                  </a:lnTo>
                  <a:lnTo>
                    <a:pt x="2848" y="5633"/>
                  </a:lnTo>
                  <a:lnTo>
                    <a:pt x="2760" y="5571"/>
                  </a:lnTo>
                  <a:lnTo>
                    <a:pt x="2698" y="5510"/>
                  </a:lnTo>
                  <a:lnTo>
                    <a:pt x="2698" y="5510"/>
                  </a:lnTo>
                  <a:lnTo>
                    <a:pt x="2751" y="5607"/>
                  </a:lnTo>
                  <a:lnTo>
                    <a:pt x="2857" y="5686"/>
                  </a:lnTo>
                  <a:lnTo>
                    <a:pt x="2901" y="5712"/>
                  </a:lnTo>
                  <a:lnTo>
                    <a:pt x="3015" y="5748"/>
                  </a:lnTo>
                  <a:lnTo>
                    <a:pt x="3077" y="5792"/>
                  </a:lnTo>
                  <a:lnTo>
                    <a:pt x="3218" y="6021"/>
                  </a:lnTo>
                  <a:lnTo>
                    <a:pt x="3298" y="6074"/>
                  </a:lnTo>
                  <a:lnTo>
                    <a:pt x="3253" y="6144"/>
                  </a:lnTo>
                  <a:lnTo>
                    <a:pt x="3271" y="6153"/>
                  </a:lnTo>
                  <a:lnTo>
                    <a:pt x="3368" y="6100"/>
                  </a:lnTo>
                  <a:lnTo>
                    <a:pt x="3659" y="5986"/>
                  </a:lnTo>
                  <a:lnTo>
                    <a:pt x="3782" y="5977"/>
                  </a:lnTo>
                  <a:lnTo>
                    <a:pt x="3906" y="6038"/>
                  </a:lnTo>
                  <a:lnTo>
                    <a:pt x="3941" y="6012"/>
                  </a:lnTo>
                  <a:lnTo>
                    <a:pt x="4100" y="6030"/>
                  </a:lnTo>
                  <a:lnTo>
                    <a:pt x="4188" y="5994"/>
                  </a:lnTo>
                  <a:lnTo>
                    <a:pt x="4223" y="6038"/>
                  </a:lnTo>
                  <a:lnTo>
                    <a:pt x="4250" y="6003"/>
                  </a:lnTo>
                  <a:lnTo>
                    <a:pt x="4276" y="6003"/>
                  </a:lnTo>
                  <a:lnTo>
                    <a:pt x="4320" y="6038"/>
                  </a:lnTo>
                  <a:lnTo>
                    <a:pt x="4320" y="6074"/>
                  </a:lnTo>
                  <a:lnTo>
                    <a:pt x="4188" y="6153"/>
                  </a:lnTo>
                  <a:lnTo>
                    <a:pt x="4073" y="6268"/>
                  </a:lnTo>
                  <a:lnTo>
                    <a:pt x="3967" y="6338"/>
                  </a:lnTo>
                  <a:lnTo>
                    <a:pt x="3844" y="6277"/>
                  </a:lnTo>
                  <a:lnTo>
                    <a:pt x="3818" y="6303"/>
                  </a:lnTo>
                  <a:lnTo>
                    <a:pt x="3809" y="6277"/>
                  </a:lnTo>
                  <a:lnTo>
                    <a:pt x="3756" y="6303"/>
                  </a:lnTo>
                  <a:lnTo>
                    <a:pt x="3712" y="6294"/>
                  </a:lnTo>
                  <a:lnTo>
                    <a:pt x="3668" y="6277"/>
                  </a:lnTo>
                  <a:lnTo>
                    <a:pt x="3615" y="6277"/>
                  </a:lnTo>
                  <a:lnTo>
                    <a:pt x="3588" y="6294"/>
                  </a:lnTo>
                  <a:lnTo>
                    <a:pt x="3527" y="6347"/>
                  </a:lnTo>
                  <a:lnTo>
                    <a:pt x="3509" y="6356"/>
                  </a:lnTo>
                  <a:lnTo>
                    <a:pt x="3439" y="6373"/>
                  </a:lnTo>
                  <a:lnTo>
                    <a:pt x="3209" y="6479"/>
                  </a:lnTo>
                  <a:lnTo>
                    <a:pt x="2839" y="6523"/>
                  </a:lnTo>
                  <a:lnTo>
                    <a:pt x="2760" y="6541"/>
                  </a:lnTo>
                  <a:lnTo>
                    <a:pt x="2672" y="6585"/>
                  </a:lnTo>
                  <a:lnTo>
                    <a:pt x="2601" y="6594"/>
                  </a:lnTo>
                  <a:lnTo>
                    <a:pt x="2566" y="6523"/>
                  </a:lnTo>
                  <a:lnTo>
                    <a:pt x="2548" y="6532"/>
                  </a:lnTo>
                  <a:lnTo>
                    <a:pt x="2495" y="6550"/>
                  </a:lnTo>
                  <a:lnTo>
                    <a:pt x="2478" y="6567"/>
                  </a:lnTo>
                  <a:lnTo>
                    <a:pt x="2390" y="6321"/>
                  </a:lnTo>
                  <a:lnTo>
                    <a:pt x="2337" y="6215"/>
                  </a:lnTo>
                  <a:lnTo>
                    <a:pt x="2284" y="6153"/>
                  </a:lnTo>
                  <a:lnTo>
                    <a:pt x="2249" y="6153"/>
                  </a:lnTo>
                  <a:lnTo>
                    <a:pt x="2249" y="6197"/>
                  </a:lnTo>
                  <a:lnTo>
                    <a:pt x="2178" y="6171"/>
                  </a:lnTo>
                  <a:lnTo>
                    <a:pt x="2107" y="6232"/>
                  </a:lnTo>
                  <a:lnTo>
                    <a:pt x="2055" y="6338"/>
                  </a:lnTo>
                  <a:lnTo>
                    <a:pt x="2028" y="6435"/>
                  </a:lnTo>
                  <a:lnTo>
                    <a:pt x="2063" y="6682"/>
                  </a:lnTo>
                  <a:lnTo>
                    <a:pt x="2134" y="6744"/>
                  </a:lnTo>
                  <a:lnTo>
                    <a:pt x="2160" y="6788"/>
                  </a:lnTo>
                  <a:lnTo>
                    <a:pt x="2143" y="6867"/>
                  </a:lnTo>
                  <a:lnTo>
                    <a:pt x="2037" y="6902"/>
                  </a:lnTo>
                  <a:lnTo>
                    <a:pt x="1966" y="6770"/>
                  </a:lnTo>
                  <a:lnTo>
                    <a:pt x="1887" y="6506"/>
                  </a:lnTo>
                  <a:lnTo>
                    <a:pt x="1834" y="6409"/>
                  </a:lnTo>
                  <a:lnTo>
                    <a:pt x="1799" y="6321"/>
                  </a:lnTo>
                  <a:lnTo>
                    <a:pt x="1755" y="6259"/>
                  </a:lnTo>
                  <a:lnTo>
                    <a:pt x="1649" y="6241"/>
                  </a:lnTo>
                  <a:lnTo>
                    <a:pt x="1684" y="6153"/>
                  </a:lnTo>
                  <a:lnTo>
                    <a:pt x="1720" y="6083"/>
                  </a:lnTo>
                  <a:lnTo>
                    <a:pt x="1728" y="6030"/>
                  </a:lnTo>
                  <a:lnTo>
                    <a:pt x="1649" y="5994"/>
                  </a:lnTo>
                  <a:lnTo>
                    <a:pt x="1693" y="5959"/>
                  </a:lnTo>
                  <a:lnTo>
                    <a:pt x="1755" y="5950"/>
                  </a:lnTo>
                  <a:lnTo>
                    <a:pt x="1799" y="5959"/>
                  </a:lnTo>
                  <a:lnTo>
                    <a:pt x="1834" y="5994"/>
                  </a:lnTo>
                  <a:lnTo>
                    <a:pt x="1852" y="5986"/>
                  </a:lnTo>
                  <a:lnTo>
                    <a:pt x="1869" y="5977"/>
                  </a:lnTo>
                  <a:lnTo>
                    <a:pt x="1905" y="5950"/>
                  </a:lnTo>
                  <a:lnTo>
                    <a:pt x="1878" y="5889"/>
                  </a:lnTo>
                  <a:lnTo>
                    <a:pt x="1878" y="5836"/>
                  </a:lnTo>
                  <a:lnTo>
                    <a:pt x="1878" y="5774"/>
                  </a:lnTo>
                  <a:lnTo>
                    <a:pt x="1869" y="5712"/>
                  </a:lnTo>
                  <a:lnTo>
                    <a:pt x="1843" y="5642"/>
                  </a:lnTo>
                  <a:lnTo>
                    <a:pt x="1817" y="5615"/>
                  </a:lnTo>
                  <a:lnTo>
                    <a:pt x="1781" y="5589"/>
                  </a:lnTo>
                  <a:lnTo>
                    <a:pt x="1746" y="5554"/>
                  </a:lnTo>
                  <a:lnTo>
                    <a:pt x="1623" y="5395"/>
                  </a:lnTo>
                  <a:lnTo>
                    <a:pt x="1517" y="5228"/>
                  </a:lnTo>
                  <a:lnTo>
                    <a:pt x="1499" y="5131"/>
                  </a:lnTo>
                  <a:lnTo>
                    <a:pt x="1420" y="5025"/>
                  </a:lnTo>
                  <a:lnTo>
                    <a:pt x="1261" y="4857"/>
                  </a:lnTo>
                  <a:lnTo>
                    <a:pt x="1182" y="4787"/>
                  </a:lnTo>
                  <a:lnTo>
                    <a:pt x="1076" y="4734"/>
                  </a:lnTo>
                  <a:lnTo>
                    <a:pt x="962" y="4707"/>
                  </a:lnTo>
                  <a:lnTo>
                    <a:pt x="838" y="4699"/>
                  </a:lnTo>
                  <a:lnTo>
                    <a:pt x="785" y="4707"/>
                  </a:lnTo>
                  <a:lnTo>
                    <a:pt x="688" y="4760"/>
                  </a:lnTo>
                  <a:lnTo>
                    <a:pt x="618" y="4769"/>
                  </a:lnTo>
                  <a:lnTo>
                    <a:pt x="574" y="4796"/>
                  </a:lnTo>
                  <a:lnTo>
                    <a:pt x="547" y="4866"/>
                  </a:lnTo>
                  <a:lnTo>
                    <a:pt x="538" y="4954"/>
                  </a:lnTo>
                  <a:lnTo>
                    <a:pt x="538" y="5042"/>
                  </a:lnTo>
                  <a:lnTo>
                    <a:pt x="591" y="5263"/>
                  </a:lnTo>
                  <a:lnTo>
                    <a:pt x="583" y="5307"/>
                  </a:lnTo>
                  <a:lnTo>
                    <a:pt x="591" y="5342"/>
                  </a:lnTo>
                  <a:lnTo>
                    <a:pt x="644" y="5518"/>
                  </a:lnTo>
                  <a:lnTo>
                    <a:pt x="662" y="5589"/>
                  </a:lnTo>
                  <a:lnTo>
                    <a:pt x="662" y="5589"/>
                  </a:lnTo>
                  <a:lnTo>
                    <a:pt x="635" y="5554"/>
                  </a:lnTo>
                  <a:lnTo>
                    <a:pt x="776" y="5765"/>
                  </a:lnTo>
                  <a:lnTo>
                    <a:pt x="794" y="5836"/>
                  </a:lnTo>
                  <a:lnTo>
                    <a:pt x="759" y="5942"/>
                  </a:lnTo>
                  <a:lnTo>
                    <a:pt x="715" y="6003"/>
                  </a:lnTo>
                  <a:lnTo>
                    <a:pt x="715" y="6030"/>
                  </a:lnTo>
                  <a:lnTo>
                    <a:pt x="803" y="6038"/>
                  </a:lnTo>
                  <a:lnTo>
                    <a:pt x="838" y="6021"/>
                  </a:lnTo>
                  <a:lnTo>
                    <a:pt x="873" y="5942"/>
                  </a:lnTo>
                  <a:lnTo>
                    <a:pt x="917" y="5915"/>
                  </a:lnTo>
                  <a:lnTo>
                    <a:pt x="962" y="5924"/>
                  </a:lnTo>
                  <a:lnTo>
                    <a:pt x="1023" y="5977"/>
                  </a:lnTo>
                  <a:lnTo>
                    <a:pt x="1120" y="6012"/>
                  </a:lnTo>
                  <a:lnTo>
                    <a:pt x="1235" y="6118"/>
                  </a:lnTo>
                  <a:lnTo>
                    <a:pt x="1297" y="6153"/>
                  </a:lnTo>
                  <a:lnTo>
                    <a:pt x="1226" y="6312"/>
                  </a:lnTo>
                  <a:lnTo>
                    <a:pt x="1182" y="6312"/>
                  </a:lnTo>
                  <a:lnTo>
                    <a:pt x="1129" y="6250"/>
                  </a:lnTo>
                  <a:lnTo>
                    <a:pt x="1014" y="6197"/>
                  </a:lnTo>
                  <a:lnTo>
                    <a:pt x="1014" y="6241"/>
                  </a:lnTo>
                  <a:lnTo>
                    <a:pt x="1085" y="6303"/>
                  </a:lnTo>
                  <a:lnTo>
                    <a:pt x="1129" y="6426"/>
                  </a:lnTo>
                  <a:lnTo>
                    <a:pt x="1129" y="6550"/>
                  </a:lnTo>
                  <a:lnTo>
                    <a:pt x="1059" y="6603"/>
                  </a:lnTo>
                  <a:lnTo>
                    <a:pt x="1023" y="6620"/>
                  </a:lnTo>
                  <a:lnTo>
                    <a:pt x="909" y="6700"/>
                  </a:lnTo>
                  <a:lnTo>
                    <a:pt x="856" y="6726"/>
                  </a:lnTo>
                  <a:lnTo>
                    <a:pt x="794" y="6735"/>
                  </a:lnTo>
                  <a:lnTo>
                    <a:pt x="768" y="6735"/>
                  </a:lnTo>
                  <a:lnTo>
                    <a:pt x="697" y="6682"/>
                  </a:lnTo>
                  <a:lnTo>
                    <a:pt x="697" y="6726"/>
                  </a:lnTo>
                  <a:lnTo>
                    <a:pt x="732" y="6797"/>
                  </a:lnTo>
                  <a:lnTo>
                    <a:pt x="706" y="6832"/>
                  </a:lnTo>
                  <a:lnTo>
                    <a:pt x="635" y="6849"/>
                  </a:lnTo>
                  <a:lnTo>
                    <a:pt x="565" y="6841"/>
                  </a:lnTo>
                  <a:lnTo>
                    <a:pt x="538" y="6823"/>
                  </a:lnTo>
                  <a:lnTo>
                    <a:pt x="530" y="6797"/>
                  </a:lnTo>
                  <a:lnTo>
                    <a:pt x="521" y="6770"/>
                  </a:lnTo>
                  <a:lnTo>
                    <a:pt x="486" y="6761"/>
                  </a:lnTo>
                  <a:lnTo>
                    <a:pt x="450" y="6761"/>
                  </a:lnTo>
                  <a:lnTo>
                    <a:pt x="424" y="6753"/>
                  </a:lnTo>
                  <a:lnTo>
                    <a:pt x="397" y="6744"/>
                  </a:lnTo>
                  <a:lnTo>
                    <a:pt x="371" y="6726"/>
                  </a:lnTo>
                  <a:lnTo>
                    <a:pt x="415" y="6673"/>
                  </a:lnTo>
                  <a:lnTo>
                    <a:pt x="433" y="6620"/>
                  </a:lnTo>
                  <a:lnTo>
                    <a:pt x="424" y="6559"/>
                  </a:lnTo>
                  <a:lnTo>
                    <a:pt x="406" y="6479"/>
                  </a:lnTo>
                  <a:lnTo>
                    <a:pt x="380" y="6506"/>
                  </a:lnTo>
                  <a:lnTo>
                    <a:pt x="362" y="6523"/>
                  </a:lnTo>
                  <a:lnTo>
                    <a:pt x="353" y="6550"/>
                  </a:lnTo>
                  <a:lnTo>
                    <a:pt x="345" y="6603"/>
                  </a:lnTo>
                  <a:lnTo>
                    <a:pt x="283" y="6532"/>
                  </a:lnTo>
                  <a:lnTo>
                    <a:pt x="248" y="6594"/>
                  </a:lnTo>
                  <a:lnTo>
                    <a:pt x="256" y="6700"/>
                  </a:lnTo>
                  <a:lnTo>
                    <a:pt x="345" y="6761"/>
                  </a:lnTo>
                  <a:lnTo>
                    <a:pt x="345" y="6805"/>
                  </a:lnTo>
                  <a:lnTo>
                    <a:pt x="248" y="6832"/>
                  </a:lnTo>
                  <a:lnTo>
                    <a:pt x="203" y="6938"/>
                  </a:lnTo>
                  <a:lnTo>
                    <a:pt x="151" y="7026"/>
                  </a:lnTo>
                  <a:lnTo>
                    <a:pt x="27" y="6964"/>
                  </a:lnTo>
                  <a:lnTo>
                    <a:pt x="1" y="7061"/>
                  </a:lnTo>
                  <a:lnTo>
                    <a:pt x="10" y="7096"/>
                  </a:lnTo>
                  <a:lnTo>
                    <a:pt x="248" y="7176"/>
                  </a:lnTo>
                  <a:lnTo>
                    <a:pt x="292" y="7202"/>
                  </a:lnTo>
                  <a:lnTo>
                    <a:pt x="441" y="7325"/>
                  </a:lnTo>
                  <a:lnTo>
                    <a:pt x="556" y="7370"/>
                  </a:lnTo>
                  <a:lnTo>
                    <a:pt x="653" y="7325"/>
                  </a:lnTo>
                  <a:lnTo>
                    <a:pt x="697" y="7167"/>
                  </a:lnTo>
                  <a:lnTo>
                    <a:pt x="724" y="7167"/>
                  </a:lnTo>
                  <a:lnTo>
                    <a:pt x="750" y="7229"/>
                  </a:lnTo>
                  <a:lnTo>
                    <a:pt x="750" y="7281"/>
                  </a:lnTo>
                  <a:lnTo>
                    <a:pt x="732" y="7334"/>
                  </a:lnTo>
                  <a:lnTo>
                    <a:pt x="724" y="7396"/>
                  </a:lnTo>
                  <a:lnTo>
                    <a:pt x="829" y="7493"/>
                  </a:lnTo>
                  <a:lnTo>
                    <a:pt x="856" y="7528"/>
                  </a:lnTo>
                  <a:lnTo>
                    <a:pt x="882" y="7528"/>
                  </a:lnTo>
                  <a:lnTo>
                    <a:pt x="873" y="7502"/>
                  </a:lnTo>
                  <a:lnTo>
                    <a:pt x="856" y="7414"/>
                  </a:lnTo>
                  <a:lnTo>
                    <a:pt x="856" y="7414"/>
                  </a:lnTo>
                  <a:lnTo>
                    <a:pt x="970" y="7467"/>
                  </a:lnTo>
                  <a:lnTo>
                    <a:pt x="1085" y="7590"/>
                  </a:lnTo>
                  <a:lnTo>
                    <a:pt x="1200" y="7687"/>
                  </a:lnTo>
                  <a:lnTo>
                    <a:pt x="1323" y="7652"/>
                  </a:lnTo>
                  <a:lnTo>
                    <a:pt x="1305" y="7740"/>
                  </a:lnTo>
                  <a:lnTo>
                    <a:pt x="1314" y="7793"/>
                  </a:lnTo>
                  <a:lnTo>
                    <a:pt x="1349" y="7846"/>
                  </a:lnTo>
                  <a:lnTo>
                    <a:pt x="1438" y="7943"/>
                  </a:lnTo>
                  <a:lnTo>
                    <a:pt x="1499" y="7995"/>
                  </a:lnTo>
                  <a:lnTo>
                    <a:pt x="1552" y="7978"/>
                  </a:lnTo>
                  <a:lnTo>
                    <a:pt x="1552" y="7854"/>
                  </a:lnTo>
                  <a:lnTo>
                    <a:pt x="1596" y="7934"/>
                  </a:lnTo>
                  <a:lnTo>
                    <a:pt x="1649" y="8075"/>
                  </a:lnTo>
                  <a:lnTo>
                    <a:pt x="1676" y="8101"/>
                  </a:lnTo>
                  <a:lnTo>
                    <a:pt x="1737" y="8075"/>
                  </a:lnTo>
                  <a:lnTo>
                    <a:pt x="1755" y="8022"/>
                  </a:lnTo>
                  <a:lnTo>
                    <a:pt x="1755" y="7943"/>
                  </a:lnTo>
                  <a:lnTo>
                    <a:pt x="1746" y="7854"/>
                  </a:lnTo>
                  <a:lnTo>
                    <a:pt x="1773" y="7854"/>
                  </a:lnTo>
                  <a:lnTo>
                    <a:pt x="1781" y="7872"/>
                  </a:lnTo>
                  <a:lnTo>
                    <a:pt x="1781" y="7881"/>
                  </a:lnTo>
                  <a:lnTo>
                    <a:pt x="1808" y="7898"/>
                  </a:lnTo>
                  <a:lnTo>
                    <a:pt x="1869" y="7511"/>
                  </a:lnTo>
                  <a:lnTo>
                    <a:pt x="1914" y="7493"/>
                  </a:lnTo>
                  <a:lnTo>
                    <a:pt x="2204" y="7493"/>
                  </a:lnTo>
                  <a:lnTo>
                    <a:pt x="2293" y="7475"/>
                  </a:lnTo>
                  <a:lnTo>
                    <a:pt x="2372" y="7440"/>
                  </a:lnTo>
                  <a:lnTo>
                    <a:pt x="2442" y="7431"/>
                  </a:lnTo>
                  <a:lnTo>
                    <a:pt x="2504" y="7493"/>
                  </a:lnTo>
                  <a:lnTo>
                    <a:pt x="2495" y="7669"/>
                  </a:lnTo>
                  <a:lnTo>
                    <a:pt x="2513" y="7740"/>
                  </a:lnTo>
                  <a:lnTo>
                    <a:pt x="2601" y="7696"/>
                  </a:lnTo>
                  <a:lnTo>
                    <a:pt x="2645" y="7757"/>
                  </a:lnTo>
                  <a:lnTo>
                    <a:pt x="2742" y="7854"/>
                  </a:lnTo>
                  <a:lnTo>
                    <a:pt x="2795" y="7943"/>
                  </a:lnTo>
                  <a:lnTo>
                    <a:pt x="2822" y="8013"/>
                  </a:lnTo>
                  <a:lnTo>
                    <a:pt x="2848" y="8101"/>
                  </a:lnTo>
                  <a:lnTo>
                    <a:pt x="2848" y="8189"/>
                  </a:lnTo>
                  <a:lnTo>
                    <a:pt x="2822" y="8269"/>
                  </a:lnTo>
                  <a:lnTo>
                    <a:pt x="2927" y="8471"/>
                  </a:lnTo>
                  <a:lnTo>
                    <a:pt x="2971" y="8507"/>
                  </a:lnTo>
                  <a:lnTo>
                    <a:pt x="3007" y="8489"/>
                  </a:lnTo>
                  <a:lnTo>
                    <a:pt x="3024" y="8445"/>
                  </a:lnTo>
                  <a:lnTo>
                    <a:pt x="3042" y="8401"/>
                  </a:lnTo>
                  <a:lnTo>
                    <a:pt x="3060" y="8383"/>
                  </a:lnTo>
                  <a:lnTo>
                    <a:pt x="3095" y="8374"/>
                  </a:lnTo>
                  <a:lnTo>
                    <a:pt x="3174" y="8348"/>
                  </a:lnTo>
                  <a:lnTo>
                    <a:pt x="3324" y="8313"/>
                  </a:lnTo>
                  <a:lnTo>
                    <a:pt x="3439" y="8330"/>
                  </a:lnTo>
                  <a:lnTo>
                    <a:pt x="3685" y="8419"/>
                  </a:lnTo>
                  <a:lnTo>
                    <a:pt x="3818" y="8445"/>
                  </a:lnTo>
                  <a:lnTo>
                    <a:pt x="3853" y="8471"/>
                  </a:lnTo>
                  <a:lnTo>
                    <a:pt x="3870" y="8568"/>
                  </a:lnTo>
                  <a:lnTo>
                    <a:pt x="3879" y="8595"/>
                  </a:lnTo>
                  <a:lnTo>
                    <a:pt x="3906" y="8612"/>
                  </a:lnTo>
                  <a:lnTo>
                    <a:pt x="3941" y="8621"/>
                  </a:lnTo>
                  <a:lnTo>
                    <a:pt x="3985" y="8621"/>
                  </a:lnTo>
                  <a:lnTo>
                    <a:pt x="4029" y="8639"/>
                  </a:lnTo>
                  <a:lnTo>
                    <a:pt x="4056" y="8674"/>
                  </a:lnTo>
                  <a:lnTo>
                    <a:pt x="4073" y="8718"/>
                  </a:lnTo>
                  <a:lnTo>
                    <a:pt x="4100" y="8745"/>
                  </a:lnTo>
                  <a:lnTo>
                    <a:pt x="4214" y="8798"/>
                  </a:lnTo>
                  <a:lnTo>
                    <a:pt x="4382" y="8824"/>
                  </a:lnTo>
                  <a:lnTo>
                    <a:pt x="4549" y="8824"/>
                  </a:lnTo>
                  <a:lnTo>
                    <a:pt x="4664" y="8780"/>
                  </a:lnTo>
                  <a:lnTo>
                    <a:pt x="4787" y="9000"/>
                  </a:lnTo>
                  <a:lnTo>
                    <a:pt x="4831" y="9133"/>
                  </a:lnTo>
                  <a:lnTo>
                    <a:pt x="4761" y="9185"/>
                  </a:lnTo>
                  <a:lnTo>
                    <a:pt x="4787" y="9247"/>
                  </a:lnTo>
                  <a:lnTo>
                    <a:pt x="4787" y="9291"/>
                  </a:lnTo>
                  <a:lnTo>
                    <a:pt x="4778" y="9335"/>
                  </a:lnTo>
                  <a:lnTo>
                    <a:pt x="4770" y="9371"/>
                  </a:lnTo>
                  <a:lnTo>
                    <a:pt x="4778" y="9371"/>
                  </a:lnTo>
                  <a:lnTo>
                    <a:pt x="5087" y="9362"/>
                  </a:lnTo>
                  <a:lnTo>
                    <a:pt x="5457" y="9221"/>
                  </a:lnTo>
                  <a:lnTo>
                    <a:pt x="6021" y="8842"/>
                  </a:lnTo>
                  <a:lnTo>
                    <a:pt x="6259" y="8806"/>
                  </a:lnTo>
                  <a:lnTo>
                    <a:pt x="7405" y="8895"/>
                  </a:lnTo>
                  <a:lnTo>
                    <a:pt x="8481" y="8604"/>
                  </a:lnTo>
                  <a:lnTo>
                    <a:pt x="9371" y="8595"/>
                  </a:lnTo>
                  <a:lnTo>
                    <a:pt x="9538" y="8524"/>
                  </a:lnTo>
                  <a:lnTo>
                    <a:pt x="9697" y="8436"/>
                  </a:lnTo>
                  <a:lnTo>
                    <a:pt x="9882" y="8383"/>
                  </a:lnTo>
                  <a:lnTo>
                    <a:pt x="10067" y="8348"/>
                  </a:lnTo>
                  <a:lnTo>
                    <a:pt x="10799" y="8084"/>
                  </a:lnTo>
                  <a:lnTo>
                    <a:pt x="10596" y="7775"/>
                  </a:lnTo>
                  <a:lnTo>
                    <a:pt x="10402" y="7167"/>
                  </a:lnTo>
                  <a:lnTo>
                    <a:pt x="10270" y="6999"/>
                  </a:lnTo>
                  <a:lnTo>
                    <a:pt x="10067" y="6946"/>
                  </a:lnTo>
                  <a:lnTo>
                    <a:pt x="9962" y="6938"/>
                  </a:lnTo>
                  <a:lnTo>
                    <a:pt x="9794" y="6894"/>
                  </a:lnTo>
                  <a:lnTo>
                    <a:pt x="9706" y="6779"/>
                  </a:lnTo>
                  <a:lnTo>
                    <a:pt x="9583" y="6761"/>
                  </a:lnTo>
                  <a:lnTo>
                    <a:pt x="9406" y="6814"/>
                  </a:lnTo>
                  <a:lnTo>
                    <a:pt x="8948" y="6894"/>
                  </a:lnTo>
                  <a:lnTo>
                    <a:pt x="8824" y="6594"/>
                  </a:lnTo>
                  <a:lnTo>
                    <a:pt x="8639" y="6382"/>
                  </a:lnTo>
                  <a:lnTo>
                    <a:pt x="8498" y="6426"/>
                  </a:lnTo>
                  <a:lnTo>
                    <a:pt x="8357" y="6418"/>
                  </a:lnTo>
                  <a:lnTo>
                    <a:pt x="8128" y="6321"/>
                  </a:lnTo>
                  <a:lnTo>
                    <a:pt x="7908" y="6312"/>
                  </a:lnTo>
                  <a:lnTo>
                    <a:pt x="7837" y="6497"/>
                  </a:lnTo>
                  <a:lnTo>
                    <a:pt x="7723" y="6691"/>
                  </a:lnTo>
                  <a:lnTo>
                    <a:pt x="7493" y="6753"/>
                  </a:lnTo>
                  <a:lnTo>
                    <a:pt x="7299" y="6567"/>
                  </a:lnTo>
                  <a:lnTo>
                    <a:pt x="7255" y="6479"/>
                  </a:lnTo>
                  <a:lnTo>
                    <a:pt x="7203" y="6294"/>
                  </a:lnTo>
                  <a:lnTo>
                    <a:pt x="7167" y="6206"/>
                  </a:lnTo>
                  <a:lnTo>
                    <a:pt x="6806" y="6038"/>
                  </a:lnTo>
                  <a:lnTo>
                    <a:pt x="6480" y="5809"/>
                  </a:lnTo>
                  <a:lnTo>
                    <a:pt x="6400" y="5483"/>
                  </a:lnTo>
                  <a:lnTo>
                    <a:pt x="6259" y="5342"/>
                  </a:lnTo>
                  <a:lnTo>
                    <a:pt x="6162" y="5324"/>
                  </a:lnTo>
                  <a:lnTo>
                    <a:pt x="5642" y="5342"/>
                  </a:lnTo>
                  <a:lnTo>
                    <a:pt x="5316" y="5307"/>
                  </a:lnTo>
                  <a:lnTo>
                    <a:pt x="5043" y="5069"/>
                  </a:lnTo>
                  <a:lnTo>
                    <a:pt x="4919" y="4663"/>
                  </a:lnTo>
                  <a:lnTo>
                    <a:pt x="4814" y="4522"/>
                  </a:lnTo>
                  <a:lnTo>
                    <a:pt x="4743" y="4496"/>
                  </a:lnTo>
                  <a:lnTo>
                    <a:pt x="4620" y="4364"/>
                  </a:lnTo>
                  <a:lnTo>
                    <a:pt x="4637" y="4240"/>
                  </a:lnTo>
                  <a:lnTo>
                    <a:pt x="4770" y="4029"/>
                  </a:lnTo>
                  <a:lnTo>
                    <a:pt x="4902" y="3879"/>
                  </a:lnTo>
                  <a:lnTo>
                    <a:pt x="4990" y="3685"/>
                  </a:lnTo>
                  <a:lnTo>
                    <a:pt x="5016" y="3447"/>
                  </a:lnTo>
                  <a:lnTo>
                    <a:pt x="5069" y="3235"/>
                  </a:lnTo>
                  <a:lnTo>
                    <a:pt x="5325" y="3059"/>
                  </a:lnTo>
                  <a:lnTo>
                    <a:pt x="5625" y="2936"/>
                  </a:lnTo>
                  <a:lnTo>
                    <a:pt x="5924" y="2689"/>
                  </a:lnTo>
                  <a:lnTo>
                    <a:pt x="6048" y="2539"/>
                  </a:lnTo>
                  <a:lnTo>
                    <a:pt x="6083" y="2222"/>
                  </a:lnTo>
                  <a:lnTo>
                    <a:pt x="5916" y="1904"/>
                  </a:lnTo>
                  <a:lnTo>
                    <a:pt x="5836" y="1684"/>
                  </a:lnTo>
                  <a:lnTo>
                    <a:pt x="5686" y="970"/>
                  </a:lnTo>
                  <a:lnTo>
                    <a:pt x="5501" y="511"/>
                  </a:lnTo>
                  <a:lnTo>
                    <a:pt x="5369" y="238"/>
                  </a:lnTo>
                  <a:lnTo>
                    <a:pt x="5166" y="53"/>
                  </a:lnTo>
                  <a:lnTo>
                    <a:pt x="4902"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3123;p54">
              <a:extLst>
                <a:ext uri="{FF2B5EF4-FFF2-40B4-BE49-F238E27FC236}">
                  <a16:creationId xmlns:a16="http://schemas.microsoft.com/office/drawing/2014/main" id="{B922FC5B-1B9E-9398-A56C-4F81A31B062B}"/>
                </a:ext>
              </a:extLst>
            </p:cNvPr>
            <p:cNvSpPr/>
            <p:nvPr/>
          </p:nvSpPr>
          <p:spPr>
            <a:xfrm>
              <a:off x="2817296" y="2960506"/>
              <a:ext cx="624192" cy="321551"/>
            </a:xfrm>
            <a:custGeom>
              <a:avLst/>
              <a:gdLst/>
              <a:ahLst/>
              <a:cxnLst/>
              <a:rect l="l" t="t" r="r" b="b"/>
              <a:pathLst>
                <a:path w="8780" h="4523" extrusionOk="0">
                  <a:moveTo>
                    <a:pt x="7193" y="1"/>
                  </a:moveTo>
                  <a:lnTo>
                    <a:pt x="6461" y="265"/>
                  </a:lnTo>
                  <a:lnTo>
                    <a:pt x="6276" y="300"/>
                  </a:lnTo>
                  <a:lnTo>
                    <a:pt x="6091" y="353"/>
                  </a:lnTo>
                  <a:lnTo>
                    <a:pt x="5932" y="441"/>
                  </a:lnTo>
                  <a:lnTo>
                    <a:pt x="5765" y="512"/>
                  </a:lnTo>
                  <a:lnTo>
                    <a:pt x="4875" y="521"/>
                  </a:lnTo>
                  <a:lnTo>
                    <a:pt x="3799" y="812"/>
                  </a:lnTo>
                  <a:lnTo>
                    <a:pt x="2653" y="723"/>
                  </a:lnTo>
                  <a:lnTo>
                    <a:pt x="2415" y="759"/>
                  </a:lnTo>
                  <a:lnTo>
                    <a:pt x="1851" y="1138"/>
                  </a:lnTo>
                  <a:lnTo>
                    <a:pt x="1481" y="1279"/>
                  </a:lnTo>
                  <a:lnTo>
                    <a:pt x="1172" y="1288"/>
                  </a:lnTo>
                  <a:lnTo>
                    <a:pt x="1164" y="1288"/>
                  </a:lnTo>
                  <a:lnTo>
                    <a:pt x="1155" y="1314"/>
                  </a:lnTo>
                  <a:lnTo>
                    <a:pt x="1137" y="1349"/>
                  </a:lnTo>
                  <a:lnTo>
                    <a:pt x="1075" y="1402"/>
                  </a:lnTo>
                  <a:lnTo>
                    <a:pt x="1058" y="1429"/>
                  </a:lnTo>
                  <a:lnTo>
                    <a:pt x="1049" y="1534"/>
                  </a:lnTo>
                  <a:lnTo>
                    <a:pt x="1075" y="1605"/>
                  </a:lnTo>
                  <a:lnTo>
                    <a:pt x="1120" y="1658"/>
                  </a:lnTo>
                  <a:lnTo>
                    <a:pt x="1155" y="1711"/>
                  </a:lnTo>
                  <a:lnTo>
                    <a:pt x="1164" y="1781"/>
                  </a:lnTo>
                  <a:lnTo>
                    <a:pt x="1155" y="1913"/>
                  </a:lnTo>
                  <a:lnTo>
                    <a:pt x="1137" y="2046"/>
                  </a:lnTo>
                  <a:lnTo>
                    <a:pt x="1111" y="2134"/>
                  </a:lnTo>
                  <a:lnTo>
                    <a:pt x="996" y="2266"/>
                  </a:lnTo>
                  <a:lnTo>
                    <a:pt x="934" y="2310"/>
                  </a:lnTo>
                  <a:lnTo>
                    <a:pt x="538" y="2460"/>
                  </a:lnTo>
                  <a:lnTo>
                    <a:pt x="441" y="2469"/>
                  </a:lnTo>
                  <a:lnTo>
                    <a:pt x="123" y="2451"/>
                  </a:lnTo>
                  <a:lnTo>
                    <a:pt x="44" y="2469"/>
                  </a:lnTo>
                  <a:lnTo>
                    <a:pt x="0" y="2592"/>
                  </a:lnTo>
                  <a:lnTo>
                    <a:pt x="176" y="2680"/>
                  </a:lnTo>
                  <a:lnTo>
                    <a:pt x="582" y="2795"/>
                  </a:lnTo>
                  <a:lnTo>
                    <a:pt x="846" y="2971"/>
                  </a:lnTo>
                  <a:lnTo>
                    <a:pt x="917" y="2998"/>
                  </a:lnTo>
                  <a:lnTo>
                    <a:pt x="934" y="3059"/>
                  </a:lnTo>
                  <a:lnTo>
                    <a:pt x="917" y="3192"/>
                  </a:lnTo>
                  <a:lnTo>
                    <a:pt x="882" y="3289"/>
                  </a:lnTo>
                  <a:lnTo>
                    <a:pt x="802" y="3236"/>
                  </a:lnTo>
                  <a:lnTo>
                    <a:pt x="785" y="3306"/>
                  </a:lnTo>
                  <a:lnTo>
                    <a:pt x="802" y="3333"/>
                  </a:lnTo>
                  <a:lnTo>
                    <a:pt x="820" y="3359"/>
                  </a:lnTo>
                  <a:lnTo>
                    <a:pt x="802" y="3403"/>
                  </a:lnTo>
                  <a:lnTo>
                    <a:pt x="837" y="3491"/>
                  </a:lnTo>
                  <a:lnTo>
                    <a:pt x="820" y="3571"/>
                  </a:lnTo>
                  <a:lnTo>
                    <a:pt x="793" y="3659"/>
                  </a:lnTo>
                  <a:lnTo>
                    <a:pt x="776" y="3756"/>
                  </a:lnTo>
                  <a:lnTo>
                    <a:pt x="776" y="3756"/>
                  </a:lnTo>
                  <a:lnTo>
                    <a:pt x="811" y="3712"/>
                  </a:lnTo>
                  <a:lnTo>
                    <a:pt x="846" y="3685"/>
                  </a:lnTo>
                  <a:lnTo>
                    <a:pt x="873" y="3685"/>
                  </a:lnTo>
                  <a:lnTo>
                    <a:pt x="899" y="3721"/>
                  </a:lnTo>
                  <a:lnTo>
                    <a:pt x="978" y="3703"/>
                  </a:lnTo>
                  <a:lnTo>
                    <a:pt x="961" y="3967"/>
                  </a:lnTo>
                  <a:lnTo>
                    <a:pt x="996" y="4082"/>
                  </a:lnTo>
                  <a:lnTo>
                    <a:pt x="996" y="4117"/>
                  </a:lnTo>
                  <a:lnTo>
                    <a:pt x="970" y="4126"/>
                  </a:lnTo>
                  <a:lnTo>
                    <a:pt x="899" y="4161"/>
                  </a:lnTo>
                  <a:lnTo>
                    <a:pt x="926" y="4223"/>
                  </a:lnTo>
                  <a:lnTo>
                    <a:pt x="917" y="4285"/>
                  </a:lnTo>
                  <a:lnTo>
                    <a:pt x="882" y="4346"/>
                  </a:lnTo>
                  <a:lnTo>
                    <a:pt x="837" y="4399"/>
                  </a:lnTo>
                  <a:lnTo>
                    <a:pt x="873" y="4417"/>
                  </a:lnTo>
                  <a:lnTo>
                    <a:pt x="882" y="4426"/>
                  </a:lnTo>
                  <a:lnTo>
                    <a:pt x="899" y="4426"/>
                  </a:lnTo>
                  <a:lnTo>
                    <a:pt x="934" y="4399"/>
                  </a:lnTo>
                  <a:lnTo>
                    <a:pt x="952" y="4417"/>
                  </a:lnTo>
                  <a:lnTo>
                    <a:pt x="961" y="4435"/>
                  </a:lnTo>
                  <a:lnTo>
                    <a:pt x="961" y="4479"/>
                  </a:lnTo>
                  <a:lnTo>
                    <a:pt x="996" y="4452"/>
                  </a:lnTo>
                  <a:lnTo>
                    <a:pt x="1023" y="4452"/>
                  </a:lnTo>
                  <a:lnTo>
                    <a:pt x="1058" y="4479"/>
                  </a:lnTo>
                  <a:lnTo>
                    <a:pt x="1093" y="4523"/>
                  </a:lnTo>
                  <a:lnTo>
                    <a:pt x="1146" y="4470"/>
                  </a:lnTo>
                  <a:lnTo>
                    <a:pt x="1208" y="4443"/>
                  </a:lnTo>
                  <a:lnTo>
                    <a:pt x="1481" y="4426"/>
                  </a:lnTo>
                  <a:lnTo>
                    <a:pt x="1507" y="4408"/>
                  </a:lnTo>
                  <a:lnTo>
                    <a:pt x="1446" y="4364"/>
                  </a:lnTo>
                  <a:lnTo>
                    <a:pt x="1446" y="4320"/>
                  </a:lnTo>
                  <a:lnTo>
                    <a:pt x="1560" y="4320"/>
                  </a:lnTo>
                  <a:lnTo>
                    <a:pt x="1604" y="4267"/>
                  </a:lnTo>
                  <a:lnTo>
                    <a:pt x="1622" y="4197"/>
                  </a:lnTo>
                  <a:lnTo>
                    <a:pt x="1666" y="4117"/>
                  </a:lnTo>
                  <a:lnTo>
                    <a:pt x="1745" y="4073"/>
                  </a:lnTo>
                  <a:lnTo>
                    <a:pt x="1825" y="4073"/>
                  </a:lnTo>
                  <a:lnTo>
                    <a:pt x="1878" y="3976"/>
                  </a:lnTo>
                  <a:lnTo>
                    <a:pt x="2124" y="3438"/>
                  </a:lnTo>
                  <a:lnTo>
                    <a:pt x="2186" y="3333"/>
                  </a:lnTo>
                  <a:lnTo>
                    <a:pt x="2327" y="3253"/>
                  </a:lnTo>
                  <a:lnTo>
                    <a:pt x="2486" y="3244"/>
                  </a:lnTo>
                  <a:lnTo>
                    <a:pt x="2644" y="3350"/>
                  </a:lnTo>
                  <a:lnTo>
                    <a:pt x="2821" y="3421"/>
                  </a:lnTo>
                  <a:lnTo>
                    <a:pt x="3200" y="3474"/>
                  </a:lnTo>
                  <a:lnTo>
                    <a:pt x="3526" y="3703"/>
                  </a:lnTo>
                  <a:lnTo>
                    <a:pt x="3738" y="3729"/>
                  </a:lnTo>
                  <a:lnTo>
                    <a:pt x="3949" y="3685"/>
                  </a:lnTo>
                  <a:lnTo>
                    <a:pt x="4161" y="3676"/>
                  </a:lnTo>
                  <a:lnTo>
                    <a:pt x="4355" y="3782"/>
                  </a:lnTo>
                  <a:lnTo>
                    <a:pt x="4681" y="3800"/>
                  </a:lnTo>
                  <a:lnTo>
                    <a:pt x="5245" y="3756"/>
                  </a:lnTo>
                  <a:lnTo>
                    <a:pt x="5430" y="3606"/>
                  </a:lnTo>
                  <a:lnTo>
                    <a:pt x="5589" y="3289"/>
                  </a:lnTo>
                  <a:lnTo>
                    <a:pt x="5844" y="3112"/>
                  </a:lnTo>
                  <a:lnTo>
                    <a:pt x="6179" y="3183"/>
                  </a:lnTo>
                  <a:lnTo>
                    <a:pt x="6470" y="3430"/>
                  </a:lnTo>
                  <a:lnTo>
                    <a:pt x="6805" y="3615"/>
                  </a:lnTo>
                  <a:lnTo>
                    <a:pt x="7413" y="3694"/>
                  </a:lnTo>
                  <a:lnTo>
                    <a:pt x="7387" y="3606"/>
                  </a:lnTo>
                  <a:lnTo>
                    <a:pt x="7352" y="3527"/>
                  </a:lnTo>
                  <a:lnTo>
                    <a:pt x="7308" y="3491"/>
                  </a:lnTo>
                  <a:lnTo>
                    <a:pt x="7255" y="3474"/>
                  </a:lnTo>
                  <a:lnTo>
                    <a:pt x="7202" y="3253"/>
                  </a:lnTo>
                  <a:lnTo>
                    <a:pt x="7290" y="3042"/>
                  </a:lnTo>
                  <a:lnTo>
                    <a:pt x="7616" y="2945"/>
                  </a:lnTo>
                  <a:lnTo>
                    <a:pt x="7978" y="2989"/>
                  </a:lnTo>
                  <a:lnTo>
                    <a:pt x="8224" y="2751"/>
                  </a:lnTo>
                  <a:lnTo>
                    <a:pt x="8436" y="2442"/>
                  </a:lnTo>
                  <a:lnTo>
                    <a:pt x="8621" y="2434"/>
                  </a:lnTo>
                  <a:lnTo>
                    <a:pt x="8762" y="2337"/>
                  </a:lnTo>
                  <a:lnTo>
                    <a:pt x="8780" y="2169"/>
                  </a:lnTo>
                  <a:lnTo>
                    <a:pt x="8727" y="2037"/>
                  </a:lnTo>
                  <a:lnTo>
                    <a:pt x="8436" y="1975"/>
                  </a:lnTo>
                  <a:lnTo>
                    <a:pt x="8339" y="1825"/>
                  </a:lnTo>
                  <a:lnTo>
                    <a:pt x="8268" y="1675"/>
                  </a:lnTo>
                  <a:lnTo>
                    <a:pt x="8163" y="1543"/>
                  </a:lnTo>
                  <a:lnTo>
                    <a:pt x="8180" y="1385"/>
                  </a:lnTo>
                  <a:lnTo>
                    <a:pt x="8277" y="1314"/>
                  </a:lnTo>
                  <a:lnTo>
                    <a:pt x="8321" y="1191"/>
                  </a:lnTo>
                  <a:lnTo>
                    <a:pt x="8242" y="838"/>
                  </a:lnTo>
                  <a:lnTo>
                    <a:pt x="8260" y="635"/>
                  </a:lnTo>
                  <a:lnTo>
                    <a:pt x="8198" y="459"/>
                  </a:lnTo>
                  <a:lnTo>
                    <a:pt x="7942" y="283"/>
                  </a:lnTo>
                  <a:lnTo>
                    <a:pt x="7881" y="150"/>
                  </a:lnTo>
                  <a:lnTo>
                    <a:pt x="7828" y="18"/>
                  </a:lnTo>
                  <a:lnTo>
                    <a:pt x="719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 name="Google Shape;3124;p54">
              <a:extLst>
                <a:ext uri="{FF2B5EF4-FFF2-40B4-BE49-F238E27FC236}">
                  <a16:creationId xmlns:a16="http://schemas.microsoft.com/office/drawing/2014/main" id="{915264E0-4D2E-0AD4-4ADF-FA6244783238}"/>
                </a:ext>
              </a:extLst>
            </p:cNvPr>
            <p:cNvSpPr/>
            <p:nvPr/>
          </p:nvSpPr>
          <p:spPr>
            <a:xfrm>
              <a:off x="2889315" y="3181754"/>
              <a:ext cx="811023" cy="529568"/>
            </a:xfrm>
            <a:custGeom>
              <a:avLst/>
              <a:gdLst/>
              <a:ahLst/>
              <a:cxnLst/>
              <a:rect l="l" t="t" r="r" b="b"/>
              <a:pathLst>
                <a:path w="11408" h="7449" extrusionOk="0">
                  <a:moveTo>
                    <a:pt x="4831" y="0"/>
                  </a:moveTo>
                  <a:lnTo>
                    <a:pt x="4576" y="177"/>
                  </a:lnTo>
                  <a:lnTo>
                    <a:pt x="4417" y="494"/>
                  </a:lnTo>
                  <a:lnTo>
                    <a:pt x="4232" y="644"/>
                  </a:lnTo>
                  <a:lnTo>
                    <a:pt x="3668" y="688"/>
                  </a:lnTo>
                  <a:lnTo>
                    <a:pt x="3342" y="670"/>
                  </a:lnTo>
                  <a:lnTo>
                    <a:pt x="3148" y="564"/>
                  </a:lnTo>
                  <a:lnTo>
                    <a:pt x="2936" y="573"/>
                  </a:lnTo>
                  <a:lnTo>
                    <a:pt x="2725" y="617"/>
                  </a:lnTo>
                  <a:lnTo>
                    <a:pt x="2513" y="591"/>
                  </a:lnTo>
                  <a:lnTo>
                    <a:pt x="2187" y="362"/>
                  </a:lnTo>
                  <a:lnTo>
                    <a:pt x="1808" y="309"/>
                  </a:lnTo>
                  <a:lnTo>
                    <a:pt x="1631" y="238"/>
                  </a:lnTo>
                  <a:lnTo>
                    <a:pt x="1473" y="132"/>
                  </a:lnTo>
                  <a:lnTo>
                    <a:pt x="1314" y="141"/>
                  </a:lnTo>
                  <a:lnTo>
                    <a:pt x="1173" y="221"/>
                  </a:lnTo>
                  <a:lnTo>
                    <a:pt x="1111" y="326"/>
                  </a:lnTo>
                  <a:lnTo>
                    <a:pt x="865" y="864"/>
                  </a:lnTo>
                  <a:lnTo>
                    <a:pt x="812" y="961"/>
                  </a:lnTo>
                  <a:lnTo>
                    <a:pt x="829" y="961"/>
                  </a:lnTo>
                  <a:lnTo>
                    <a:pt x="917" y="996"/>
                  </a:lnTo>
                  <a:lnTo>
                    <a:pt x="970" y="1085"/>
                  </a:lnTo>
                  <a:lnTo>
                    <a:pt x="865" y="1146"/>
                  </a:lnTo>
                  <a:lnTo>
                    <a:pt x="776" y="1234"/>
                  </a:lnTo>
                  <a:lnTo>
                    <a:pt x="741" y="1358"/>
                  </a:lnTo>
                  <a:lnTo>
                    <a:pt x="776" y="1481"/>
                  </a:lnTo>
                  <a:lnTo>
                    <a:pt x="873" y="1561"/>
                  </a:lnTo>
                  <a:lnTo>
                    <a:pt x="1006" y="1587"/>
                  </a:lnTo>
                  <a:lnTo>
                    <a:pt x="1111" y="1525"/>
                  </a:lnTo>
                  <a:lnTo>
                    <a:pt x="1129" y="1367"/>
                  </a:lnTo>
                  <a:lnTo>
                    <a:pt x="1164" y="1367"/>
                  </a:lnTo>
                  <a:lnTo>
                    <a:pt x="1217" y="1464"/>
                  </a:lnTo>
                  <a:lnTo>
                    <a:pt x="1208" y="1534"/>
                  </a:lnTo>
                  <a:lnTo>
                    <a:pt x="1191" y="1605"/>
                  </a:lnTo>
                  <a:lnTo>
                    <a:pt x="1191" y="1649"/>
                  </a:lnTo>
                  <a:lnTo>
                    <a:pt x="1111" y="1754"/>
                  </a:lnTo>
                  <a:lnTo>
                    <a:pt x="1076" y="1807"/>
                  </a:lnTo>
                  <a:lnTo>
                    <a:pt x="1067" y="1860"/>
                  </a:lnTo>
                  <a:lnTo>
                    <a:pt x="1085" y="1895"/>
                  </a:lnTo>
                  <a:lnTo>
                    <a:pt x="1138" y="1869"/>
                  </a:lnTo>
                  <a:lnTo>
                    <a:pt x="1182" y="1825"/>
                  </a:lnTo>
                  <a:lnTo>
                    <a:pt x="1191" y="1807"/>
                  </a:lnTo>
                  <a:lnTo>
                    <a:pt x="1297" y="1807"/>
                  </a:lnTo>
                  <a:lnTo>
                    <a:pt x="1349" y="1860"/>
                  </a:lnTo>
                  <a:lnTo>
                    <a:pt x="1341" y="1931"/>
                  </a:lnTo>
                  <a:lnTo>
                    <a:pt x="1252" y="2001"/>
                  </a:lnTo>
                  <a:lnTo>
                    <a:pt x="1323" y="2028"/>
                  </a:lnTo>
                  <a:lnTo>
                    <a:pt x="1402" y="1992"/>
                  </a:lnTo>
                  <a:lnTo>
                    <a:pt x="1455" y="1913"/>
                  </a:lnTo>
                  <a:lnTo>
                    <a:pt x="1482" y="1825"/>
                  </a:lnTo>
                  <a:lnTo>
                    <a:pt x="1499" y="1781"/>
                  </a:lnTo>
                  <a:lnTo>
                    <a:pt x="1561" y="1763"/>
                  </a:lnTo>
                  <a:lnTo>
                    <a:pt x="1667" y="1763"/>
                  </a:lnTo>
                  <a:lnTo>
                    <a:pt x="1684" y="1754"/>
                  </a:lnTo>
                  <a:lnTo>
                    <a:pt x="1684" y="1728"/>
                  </a:lnTo>
                  <a:lnTo>
                    <a:pt x="1693" y="1710"/>
                  </a:lnTo>
                  <a:lnTo>
                    <a:pt x="1737" y="1719"/>
                  </a:lnTo>
                  <a:lnTo>
                    <a:pt x="1737" y="1728"/>
                  </a:lnTo>
                  <a:lnTo>
                    <a:pt x="1790" y="1763"/>
                  </a:lnTo>
                  <a:lnTo>
                    <a:pt x="1781" y="1807"/>
                  </a:lnTo>
                  <a:lnTo>
                    <a:pt x="1781" y="1887"/>
                  </a:lnTo>
                  <a:lnTo>
                    <a:pt x="1764" y="1922"/>
                  </a:lnTo>
                  <a:lnTo>
                    <a:pt x="1737" y="1957"/>
                  </a:lnTo>
                  <a:lnTo>
                    <a:pt x="1684" y="2001"/>
                  </a:lnTo>
                  <a:lnTo>
                    <a:pt x="1667" y="2019"/>
                  </a:lnTo>
                  <a:lnTo>
                    <a:pt x="1667" y="2133"/>
                  </a:lnTo>
                  <a:lnTo>
                    <a:pt x="1693" y="2178"/>
                  </a:lnTo>
                  <a:lnTo>
                    <a:pt x="1764" y="2204"/>
                  </a:lnTo>
                  <a:lnTo>
                    <a:pt x="1693" y="2283"/>
                  </a:lnTo>
                  <a:lnTo>
                    <a:pt x="1658" y="2310"/>
                  </a:lnTo>
                  <a:lnTo>
                    <a:pt x="1605" y="2327"/>
                  </a:lnTo>
                  <a:lnTo>
                    <a:pt x="1667" y="2213"/>
                  </a:lnTo>
                  <a:lnTo>
                    <a:pt x="1605" y="2195"/>
                  </a:lnTo>
                  <a:lnTo>
                    <a:pt x="1385" y="2239"/>
                  </a:lnTo>
                  <a:lnTo>
                    <a:pt x="1385" y="2283"/>
                  </a:lnTo>
                  <a:lnTo>
                    <a:pt x="1438" y="2327"/>
                  </a:lnTo>
                  <a:lnTo>
                    <a:pt x="1473" y="2424"/>
                  </a:lnTo>
                  <a:lnTo>
                    <a:pt x="1508" y="2610"/>
                  </a:lnTo>
                  <a:lnTo>
                    <a:pt x="1535" y="2583"/>
                  </a:lnTo>
                  <a:lnTo>
                    <a:pt x="1543" y="2574"/>
                  </a:lnTo>
                  <a:lnTo>
                    <a:pt x="1605" y="2565"/>
                  </a:lnTo>
                  <a:lnTo>
                    <a:pt x="1605" y="2610"/>
                  </a:lnTo>
                  <a:lnTo>
                    <a:pt x="1561" y="2636"/>
                  </a:lnTo>
                  <a:lnTo>
                    <a:pt x="1446" y="2636"/>
                  </a:lnTo>
                  <a:lnTo>
                    <a:pt x="1402" y="2662"/>
                  </a:lnTo>
                  <a:lnTo>
                    <a:pt x="1358" y="2698"/>
                  </a:lnTo>
                  <a:lnTo>
                    <a:pt x="1261" y="2742"/>
                  </a:lnTo>
                  <a:lnTo>
                    <a:pt x="1138" y="2830"/>
                  </a:lnTo>
                  <a:lnTo>
                    <a:pt x="1067" y="2848"/>
                  </a:lnTo>
                  <a:lnTo>
                    <a:pt x="1006" y="2803"/>
                  </a:lnTo>
                  <a:lnTo>
                    <a:pt x="935" y="2680"/>
                  </a:lnTo>
                  <a:lnTo>
                    <a:pt x="944" y="2671"/>
                  </a:lnTo>
                  <a:lnTo>
                    <a:pt x="953" y="2662"/>
                  </a:lnTo>
                  <a:lnTo>
                    <a:pt x="962" y="2662"/>
                  </a:lnTo>
                  <a:lnTo>
                    <a:pt x="970" y="2645"/>
                  </a:lnTo>
                  <a:lnTo>
                    <a:pt x="909" y="2671"/>
                  </a:lnTo>
                  <a:lnTo>
                    <a:pt x="873" y="2662"/>
                  </a:lnTo>
                  <a:lnTo>
                    <a:pt x="847" y="2636"/>
                  </a:lnTo>
                  <a:lnTo>
                    <a:pt x="812" y="2610"/>
                  </a:lnTo>
                  <a:lnTo>
                    <a:pt x="768" y="2601"/>
                  </a:lnTo>
                  <a:lnTo>
                    <a:pt x="732" y="2610"/>
                  </a:lnTo>
                  <a:lnTo>
                    <a:pt x="715" y="2583"/>
                  </a:lnTo>
                  <a:lnTo>
                    <a:pt x="715" y="2486"/>
                  </a:lnTo>
                  <a:lnTo>
                    <a:pt x="706" y="2495"/>
                  </a:lnTo>
                  <a:lnTo>
                    <a:pt x="706" y="2504"/>
                  </a:lnTo>
                  <a:lnTo>
                    <a:pt x="697" y="2513"/>
                  </a:lnTo>
                  <a:lnTo>
                    <a:pt x="679" y="2521"/>
                  </a:lnTo>
                  <a:lnTo>
                    <a:pt x="653" y="2486"/>
                  </a:lnTo>
                  <a:lnTo>
                    <a:pt x="618" y="2504"/>
                  </a:lnTo>
                  <a:lnTo>
                    <a:pt x="583" y="2548"/>
                  </a:lnTo>
                  <a:lnTo>
                    <a:pt x="556" y="2610"/>
                  </a:lnTo>
                  <a:lnTo>
                    <a:pt x="521" y="2610"/>
                  </a:lnTo>
                  <a:lnTo>
                    <a:pt x="530" y="2539"/>
                  </a:lnTo>
                  <a:lnTo>
                    <a:pt x="512" y="2486"/>
                  </a:lnTo>
                  <a:lnTo>
                    <a:pt x="477" y="2460"/>
                  </a:lnTo>
                  <a:lnTo>
                    <a:pt x="433" y="2442"/>
                  </a:lnTo>
                  <a:lnTo>
                    <a:pt x="441" y="2504"/>
                  </a:lnTo>
                  <a:lnTo>
                    <a:pt x="441" y="2557"/>
                  </a:lnTo>
                  <a:lnTo>
                    <a:pt x="424" y="2601"/>
                  </a:lnTo>
                  <a:lnTo>
                    <a:pt x="433" y="2645"/>
                  </a:lnTo>
                  <a:lnTo>
                    <a:pt x="345" y="2671"/>
                  </a:lnTo>
                  <a:lnTo>
                    <a:pt x="195" y="2618"/>
                  </a:lnTo>
                  <a:lnTo>
                    <a:pt x="142" y="2680"/>
                  </a:lnTo>
                  <a:lnTo>
                    <a:pt x="107" y="2645"/>
                  </a:lnTo>
                  <a:lnTo>
                    <a:pt x="115" y="2689"/>
                  </a:lnTo>
                  <a:lnTo>
                    <a:pt x="124" y="2706"/>
                  </a:lnTo>
                  <a:lnTo>
                    <a:pt x="142" y="2724"/>
                  </a:lnTo>
                  <a:lnTo>
                    <a:pt x="186" y="2689"/>
                  </a:lnTo>
                  <a:lnTo>
                    <a:pt x="230" y="2680"/>
                  </a:lnTo>
                  <a:lnTo>
                    <a:pt x="274" y="2698"/>
                  </a:lnTo>
                  <a:lnTo>
                    <a:pt x="300" y="2724"/>
                  </a:lnTo>
                  <a:lnTo>
                    <a:pt x="248" y="2795"/>
                  </a:lnTo>
                  <a:lnTo>
                    <a:pt x="159" y="2848"/>
                  </a:lnTo>
                  <a:lnTo>
                    <a:pt x="89" y="2883"/>
                  </a:lnTo>
                  <a:lnTo>
                    <a:pt x="45" y="2883"/>
                  </a:lnTo>
                  <a:lnTo>
                    <a:pt x="1" y="3006"/>
                  </a:lnTo>
                  <a:lnTo>
                    <a:pt x="18" y="3086"/>
                  </a:lnTo>
                  <a:lnTo>
                    <a:pt x="54" y="3165"/>
                  </a:lnTo>
                  <a:lnTo>
                    <a:pt x="80" y="3262"/>
                  </a:lnTo>
                  <a:lnTo>
                    <a:pt x="89" y="3368"/>
                  </a:lnTo>
                  <a:lnTo>
                    <a:pt x="107" y="3491"/>
                  </a:lnTo>
                  <a:lnTo>
                    <a:pt x="159" y="3579"/>
                  </a:lnTo>
                  <a:lnTo>
                    <a:pt x="239" y="3562"/>
                  </a:lnTo>
                  <a:lnTo>
                    <a:pt x="265" y="3597"/>
                  </a:lnTo>
                  <a:lnTo>
                    <a:pt x="300" y="3588"/>
                  </a:lnTo>
                  <a:lnTo>
                    <a:pt x="327" y="3588"/>
                  </a:lnTo>
                  <a:lnTo>
                    <a:pt x="362" y="3597"/>
                  </a:lnTo>
                  <a:lnTo>
                    <a:pt x="353" y="3579"/>
                  </a:lnTo>
                  <a:lnTo>
                    <a:pt x="336" y="3517"/>
                  </a:lnTo>
                  <a:lnTo>
                    <a:pt x="397" y="3500"/>
                  </a:lnTo>
                  <a:lnTo>
                    <a:pt x="450" y="3447"/>
                  </a:lnTo>
                  <a:lnTo>
                    <a:pt x="477" y="3385"/>
                  </a:lnTo>
                  <a:lnTo>
                    <a:pt x="459" y="3315"/>
                  </a:lnTo>
                  <a:lnTo>
                    <a:pt x="459" y="3279"/>
                  </a:lnTo>
                  <a:lnTo>
                    <a:pt x="521" y="3262"/>
                  </a:lnTo>
                  <a:lnTo>
                    <a:pt x="644" y="3235"/>
                  </a:lnTo>
                  <a:lnTo>
                    <a:pt x="679" y="3200"/>
                  </a:lnTo>
                  <a:lnTo>
                    <a:pt x="697" y="3244"/>
                  </a:lnTo>
                  <a:lnTo>
                    <a:pt x="706" y="3253"/>
                  </a:lnTo>
                  <a:lnTo>
                    <a:pt x="706" y="3262"/>
                  </a:lnTo>
                  <a:lnTo>
                    <a:pt x="679" y="3279"/>
                  </a:lnTo>
                  <a:lnTo>
                    <a:pt x="688" y="3306"/>
                  </a:lnTo>
                  <a:lnTo>
                    <a:pt x="697" y="3315"/>
                  </a:lnTo>
                  <a:lnTo>
                    <a:pt x="715" y="3315"/>
                  </a:lnTo>
                  <a:lnTo>
                    <a:pt x="706" y="3350"/>
                  </a:lnTo>
                  <a:lnTo>
                    <a:pt x="697" y="3359"/>
                  </a:lnTo>
                  <a:lnTo>
                    <a:pt x="697" y="3368"/>
                  </a:lnTo>
                  <a:lnTo>
                    <a:pt x="715" y="3403"/>
                  </a:lnTo>
                  <a:lnTo>
                    <a:pt x="768" y="3262"/>
                  </a:lnTo>
                  <a:lnTo>
                    <a:pt x="776" y="3200"/>
                  </a:lnTo>
                  <a:lnTo>
                    <a:pt x="812" y="3200"/>
                  </a:lnTo>
                  <a:lnTo>
                    <a:pt x="803" y="3227"/>
                  </a:lnTo>
                  <a:lnTo>
                    <a:pt x="829" y="3271"/>
                  </a:lnTo>
                  <a:lnTo>
                    <a:pt x="900" y="3209"/>
                  </a:lnTo>
                  <a:lnTo>
                    <a:pt x="970" y="3200"/>
                  </a:lnTo>
                  <a:lnTo>
                    <a:pt x="997" y="3235"/>
                  </a:lnTo>
                  <a:lnTo>
                    <a:pt x="1085" y="3359"/>
                  </a:lnTo>
                  <a:lnTo>
                    <a:pt x="1129" y="3403"/>
                  </a:lnTo>
                  <a:lnTo>
                    <a:pt x="1182" y="3420"/>
                  </a:lnTo>
                  <a:lnTo>
                    <a:pt x="1323" y="3403"/>
                  </a:lnTo>
                  <a:lnTo>
                    <a:pt x="1385" y="3412"/>
                  </a:lnTo>
                  <a:lnTo>
                    <a:pt x="1438" y="3438"/>
                  </a:lnTo>
                  <a:lnTo>
                    <a:pt x="1543" y="3517"/>
                  </a:lnTo>
                  <a:lnTo>
                    <a:pt x="1570" y="3385"/>
                  </a:lnTo>
                  <a:lnTo>
                    <a:pt x="1676" y="3376"/>
                  </a:lnTo>
                  <a:lnTo>
                    <a:pt x="1808" y="3429"/>
                  </a:lnTo>
                  <a:lnTo>
                    <a:pt x="1887" y="3482"/>
                  </a:lnTo>
                  <a:lnTo>
                    <a:pt x="1975" y="3385"/>
                  </a:lnTo>
                  <a:lnTo>
                    <a:pt x="2125" y="3332"/>
                  </a:lnTo>
                  <a:lnTo>
                    <a:pt x="2275" y="3332"/>
                  </a:lnTo>
                  <a:lnTo>
                    <a:pt x="2363" y="3403"/>
                  </a:lnTo>
                  <a:lnTo>
                    <a:pt x="2425" y="3385"/>
                  </a:lnTo>
                  <a:lnTo>
                    <a:pt x="2478" y="3376"/>
                  </a:lnTo>
                  <a:lnTo>
                    <a:pt x="2522" y="3385"/>
                  </a:lnTo>
                  <a:lnTo>
                    <a:pt x="2557" y="3403"/>
                  </a:lnTo>
                  <a:lnTo>
                    <a:pt x="2584" y="3341"/>
                  </a:lnTo>
                  <a:lnTo>
                    <a:pt x="2592" y="3315"/>
                  </a:lnTo>
                  <a:lnTo>
                    <a:pt x="2619" y="3315"/>
                  </a:lnTo>
                  <a:lnTo>
                    <a:pt x="2672" y="3341"/>
                  </a:lnTo>
                  <a:lnTo>
                    <a:pt x="3051" y="3209"/>
                  </a:lnTo>
                  <a:lnTo>
                    <a:pt x="3165" y="3200"/>
                  </a:lnTo>
                  <a:lnTo>
                    <a:pt x="3298" y="3235"/>
                  </a:lnTo>
                  <a:lnTo>
                    <a:pt x="3350" y="3244"/>
                  </a:lnTo>
                  <a:lnTo>
                    <a:pt x="3403" y="3227"/>
                  </a:lnTo>
                  <a:lnTo>
                    <a:pt x="3465" y="3174"/>
                  </a:lnTo>
                  <a:lnTo>
                    <a:pt x="3509" y="3165"/>
                  </a:lnTo>
                  <a:lnTo>
                    <a:pt x="4003" y="3244"/>
                  </a:lnTo>
                  <a:lnTo>
                    <a:pt x="4082" y="3279"/>
                  </a:lnTo>
                  <a:lnTo>
                    <a:pt x="4082" y="3244"/>
                  </a:lnTo>
                  <a:lnTo>
                    <a:pt x="4073" y="3182"/>
                  </a:lnTo>
                  <a:lnTo>
                    <a:pt x="4161" y="3156"/>
                  </a:lnTo>
                  <a:lnTo>
                    <a:pt x="4382" y="3165"/>
                  </a:lnTo>
                  <a:lnTo>
                    <a:pt x="4990" y="3068"/>
                  </a:lnTo>
                  <a:lnTo>
                    <a:pt x="5034" y="3086"/>
                  </a:lnTo>
                  <a:lnTo>
                    <a:pt x="5069" y="3112"/>
                  </a:lnTo>
                  <a:lnTo>
                    <a:pt x="5105" y="3147"/>
                  </a:lnTo>
                  <a:lnTo>
                    <a:pt x="5105" y="3191"/>
                  </a:lnTo>
                  <a:lnTo>
                    <a:pt x="4964" y="3218"/>
                  </a:lnTo>
                  <a:lnTo>
                    <a:pt x="4717" y="3315"/>
                  </a:lnTo>
                  <a:lnTo>
                    <a:pt x="4752" y="3403"/>
                  </a:lnTo>
                  <a:lnTo>
                    <a:pt x="4708" y="3429"/>
                  </a:lnTo>
                  <a:lnTo>
                    <a:pt x="4637" y="3420"/>
                  </a:lnTo>
                  <a:lnTo>
                    <a:pt x="4558" y="3359"/>
                  </a:lnTo>
                  <a:lnTo>
                    <a:pt x="4532" y="3420"/>
                  </a:lnTo>
                  <a:lnTo>
                    <a:pt x="4496" y="3482"/>
                  </a:lnTo>
                  <a:lnTo>
                    <a:pt x="4558" y="3482"/>
                  </a:lnTo>
                  <a:lnTo>
                    <a:pt x="4558" y="3517"/>
                  </a:lnTo>
                  <a:lnTo>
                    <a:pt x="4523" y="3562"/>
                  </a:lnTo>
                  <a:lnTo>
                    <a:pt x="4435" y="3720"/>
                  </a:lnTo>
                  <a:lnTo>
                    <a:pt x="4417" y="3694"/>
                  </a:lnTo>
                  <a:lnTo>
                    <a:pt x="4382" y="3676"/>
                  </a:lnTo>
                  <a:lnTo>
                    <a:pt x="4302" y="3676"/>
                  </a:lnTo>
                  <a:lnTo>
                    <a:pt x="4302" y="3720"/>
                  </a:lnTo>
                  <a:lnTo>
                    <a:pt x="4338" y="3738"/>
                  </a:lnTo>
                  <a:lnTo>
                    <a:pt x="4355" y="3755"/>
                  </a:lnTo>
                  <a:lnTo>
                    <a:pt x="4355" y="3773"/>
                  </a:lnTo>
                  <a:lnTo>
                    <a:pt x="4346" y="3791"/>
                  </a:lnTo>
                  <a:lnTo>
                    <a:pt x="4355" y="3826"/>
                  </a:lnTo>
                  <a:lnTo>
                    <a:pt x="4355" y="3835"/>
                  </a:lnTo>
                  <a:lnTo>
                    <a:pt x="4355" y="3844"/>
                  </a:lnTo>
                  <a:lnTo>
                    <a:pt x="4346" y="3879"/>
                  </a:lnTo>
                  <a:lnTo>
                    <a:pt x="4311" y="3800"/>
                  </a:lnTo>
                  <a:lnTo>
                    <a:pt x="4302" y="3755"/>
                  </a:lnTo>
                  <a:lnTo>
                    <a:pt x="4276" y="3755"/>
                  </a:lnTo>
                  <a:lnTo>
                    <a:pt x="4232" y="3782"/>
                  </a:lnTo>
                  <a:lnTo>
                    <a:pt x="4135" y="3729"/>
                  </a:lnTo>
                  <a:lnTo>
                    <a:pt x="4082" y="3755"/>
                  </a:lnTo>
                  <a:lnTo>
                    <a:pt x="4056" y="3755"/>
                  </a:lnTo>
                  <a:lnTo>
                    <a:pt x="4029" y="3738"/>
                  </a:lnTo>
                  <a:lnTo>
                    <a:pt x="4012" y="3729"/>
                  </a:lnTo>
                  <a:lnTo>
                    <a:pt x="3985" y="3729"/>
                  </a:lnTo>
                  <a:lnTo>
                    <a:pt x="3959" y="3755"/>
                  </a:lnTo>
                  <a:lnTo>
                    <a:pt x="3923" y="3729"/>
                  </a:lnTo>
                  <a:lnTo>
                    <a:pt x="3879" y="3720"/>
                  </a:lnTo>
                  <a:lnTo>
                    <a:pt x="3774" y="3720"/>
                  </a:lnTo>
                  <a:lnTo>
                    <a:pt x="3774" y="3755"/>
                  </a:lnTo>
                  <a:lnTo>
                    <a:pt x="3862" y="3755"/>
                  </a:lnTo>
                  <a:lnTo>
                    <a:pt x="3862" y="3791"/>
                  </a:lnTo>
                  <a:lnTo>
                    <a:pt x="3826" y="3791"/>
                  </a:lnTo>
                  <a:lnTo>
                    <a:pt x="3738" y="3800"/>
                  </a:lnTo>
                  <a:lnTo>
                    <a:pt x="3703" y="3791"/>
                  </a:lnTo>
                  <a:lnTo>
                    <a:pt x="3703" y="3791"/>
                  </a:lnTo>
                  <a:lnTo>
                    <a:pt x="3721" y="3817"/>
                  </a:lnTo>
                  <a:lnTo>
                    <a:pt x="3729" y="3844"/>
                  </a:lnTo>
                  <a:lnTo>
                    <a:pt x="3738" y="3861"/>
                  </a:lnTo>
                  <a:lnTo>
                    <a:pt x="3774" y="3879"/>
                  </a:lnTo>
                  <a:lnTo>
                    <a:pt x="3738" y="3923"/>
                  </a:lnTo>
                  <a:lnTo>
                    <a:pt x="3677" y="3879"/>
                  </a:lnTo>
                  <a:lnTo>
                    <a:pt x="3677" y="3879"/>
                  </a:lnTo>
                  <a:lnTo>
                    <a:pt x="3703" y="3932"/>
                  </a:lnTo>
                  <a:lnTo>
                    <a:pt x="3738" y="3985"/>
                  </a:lnTo>
                  <a:lnTo>
                    <a:pt x="3835" y="4082"/>
                  </a:lnTo>
                  <a:lnTo>
                    <a:pt x="3835" y="4117"/>
                  </a:lnTo>
                  <a:lnTo>
                    <a:pt x="3782" y="4135"/>
                  </a:lnTo>
                  <a:lnTo>
                    <a:pt x="3747" y="4161"/>
                  </a:lnTo>
                  <a:lnTo>
                    <a:pt x="3712" y="4179"/>
                  </a:lnTo>
                  <a:lnTo>
                    <a:pt x="3677" y="4161"/>
                  </a:lnTo>
                  <a:lnTo>
                    <a:pt x="3659" y="4170"/>
                  </a:lnTo>
                  <a:lnTo>
                    <a:pt x="3641" y="4179"/>
                  </a:lnTo>
                  <a:lnTo>
                    <a:pt x="3632" y="4187"/>
                  </a:lnTo>
                  <a:lnTo>
                    <a:pt x="3606" y="4196"/>
                  </a:lnTo>
                  <a:lnTo>
                    <a:pt x="3659" y="4240"/>
                  </a:lnTo>
                  <a:lnTo>
                    <a:pt x="3685" y="4302"/>
                  </a:lnTo>
                  <a:lnTo>
                    <a:pt x="3685" y="4328"/>
                  </a:lnTo>
                  <a:lnTo>
                    <a:pt x="3641" y="4320"/>
                  </a:lnTo>
                  <a:lnTo>
                    <a:pt x="3606" y="4355"/>
                  </a:lnTo>
                  <a:lnTo>
                    <a:pt x="3694" y="4355"/>
                  </a:lnTo>
                  <a:lnTo>
                    <a:pt x="3756" y="4373"/>
                  </a:lnTo>
                  <a:lnTo>
                    <a:pt x="3800" y="4408"/>
                  </a:lnTo>
                  <a:lnTo>
                    <a:pt x="3835" y="4478"/>
                  </a:lnTo>
                  <a:lnTo>
                    <a:pt x="3747" y="4540"/>
                  </a:lnTo>
                  <a:lnTo>
                    <a:pt x="3721" y="4575"/>
                  </a:lnTo>
                  <a:lnTo>
                    <a:pt x="3703" y="4637"/>
                  </a:lnTo>
                  <a:lnTo>
                    <a:pt x="3624" y="4558"/>
                  </a:lnTo>
                  <a:lnTo>
                    <a:pt x="3544" y="4531"/>
                  </a:lnTo>
                  <a:lnTo>
                    <a:pt x="3386" y="4558"/>
                  </a:lnTo>
                  <a:lnTo>
                    <a:pt x="3298" y="4549"/>
                  </a:lnTo>
                  <a:lnTo>
                    <a:pt x="3201" y="4522"/>
                  </a:lnTo>
                  <a:lnTo>
                    <a:pt x="3130" y="4487"/>
                  </a:lnTo>
                  <a:lnTo>
                    <a:pt x="3095" y="4452"/>
                  </a:lnTo>
                  <a:lnTo>
                    <a:pt x="3051" y="4469"/>
                  </a:lnTo>
                  <a:lnTo>
                    <a:pt x="2645" y="4487"/>
                  </a:lnTo>
                  <a:lnTo>
                    <a:pt x="2584" y="4522"/>
                  </a:lnTo>
                  <a:lnTo>
                    <a:pt x="2460" y="4637"/>
                  </a:lnTo>
                  <a:lnTo>
                    <a:pt x="2407" y="4619"/>
                  </a:lnTo>
                  <a:lnTo>
                    <a:pt x="2346" y="4628"/>
                  </a:lnTo>
                  <a:lnTo>
                    <a:pt x="2284" y="4628"/>
                  </a:lnTo>
                  <a:lnTo>
                    <a:pt x="2213" y="4593"/>
                  </a:lnTo>
                  <a:lnTo>
                    <a:pt x="2143" y="4619"/>
                  </a:lnTo>
                  <a:lnTo>
                    <a:pt x="1931" y="4487"/>
                  </a:lnTo>
                  <a:lnTo>
                    <a:pt x="1825" y="4514"/>
                  </a:lnTo>
                  <a:lnTo>
                    <a:pt x="1799" y="4584"/>
                  </a:lnTo>
                  <a:lnTo>
                    <a:pt x="1799" y="4663"/>
                  </a:lnTo>
                  <a:lnTo>
                    <a:pt x="1773" y="4725"/>
                  </a:lnTo>
                  <a:lnTo>
                    <a:pt x="1684" y="4752"/>
                  </a:lnTo>
                  <a:lnTo>
                    <a:pt x="1517" y="4743"/>
                  </a:lnTo>
                  <a:lnTo>
                    <a:pt x="1182" y="4796"/>
                  </a:lnTo>
                  <a:lnTo>
                    <a:pt x="1067" y="4778"/>
                  </a:lnTo>
                  <a:lnTo>
                    <a:pt x="1023" y="4796"/>
                  </a:lnTo>
                  <a:lnTo>
                    <a:pt x="970" y="4831"/>
                  </a:lnTo>
                  <a:lnTo>
                    <a:pt x="917" y="4901"/>
                  </a:lnTo>
                  <a:lnTo>
                    <a:pt x="900" y="4990"/>
                  </a:lnTo>
                  <a:lnTo>
                    <a:pt x="856" y="5051"/>
                  </a:lnTo>
                  <a:lnTo>
                    <a:pt x="803" y="5078"/>
                  </a:lnTo>
                  <a:lnTo>
                    <a:pt x="724" y="5078"/>
                  </a:lnTo>
                  <a:lnTo>
                    <a:pt x="644" y="5060"/>
                  </a:lnTo>
                  <a:lnTo>
                    <a:pt x="591" y="5034"/>
                  </a:lnTo>
                  <a:lnTo>
                    <a:pt x="591" y="5069"/>
                  </a:lnTo>
                  <a:lnTo>
                    <a:pt x="627" y="5087"/>
                  </a:lnTo>
                  <a:lnTo>
                    <a:pt x="644" y="5122"/>
                  </a:lnTo>
                  <a:lnTo>
                    <a:pt x="644" y="5157"/>
                  </a:lnTo>
                  <a:lnTo>
                    <a:pt x="618" y="5192"/>
                  </a:lnTo>
                  <a:lnTo>
                    <a:pt x="653" y="5192"/>
                  </a:lnTo>
                  <a:lnTo>
                    <a:pt x="653" y="5201"/>
                  </a:lnTo>
                  <a:lnTo>
                    <a:pt x="653" y="5228"/>
                  </a:lnTo>
                  <a:lnTo>
                    <a:pt x="715" y="5192"/>
                  </a:lnTo>
                  <a:lnTo>
                    <a:pt x="768" y="5192"/>
                  </a:lnTo>
                  <a:lnTo>
                    <a:pt x="803" y="5236"/>
                  </a:lnTo>
                  <a:lnTo>
                    <a:pt x="812" y="5307"/>
                  </a:lnTo>
                  <a:lnTo>
                    <a:pt x="865" y="5280"/>
                  </a:lnTo>
                  <a:lnTo>
                    <a:pt x="909" y="5289"/>
                  </a:lnTo>
                  <a:lnTo>
                    <a:pt x="1014" y="5307"/>
                  </a:lnTo>
                  <a:lnTo>
                    <a:pt x="1050" y="5316"/>
                  </a:lnTo>
                  <a:lnTo>
                    <a:pt x="1111" y="5377"/>
                  </a:lnTo>
                  <a:lnTo>
                    <a:pt x="1129" y="5386"/>
                  </a:lnTo>
                  <a:lnTo>
                    <a:pt x="1155" y="5369"/>
                  </a:lnTo>
                  <a:lnTo>
                    <a:pt x="1173" y="5342"/>
                  </a:lnTo>
                  <a:lnTo>
                    <a:pt x="1191" y="5307"/>
                  </a:lnTo>
                  <a:lnTo>
                    <a:pt x="1508" y="5192"/>
                  </a:lnTo>
                  <a:lnTo>
                    <a:pt x="1535" y="5254"/>
                  </a:lnTo>
                  <a:lnTo>
                    <a:pt x="1579" y="5254"/>
                  </a:lnTo>
                  <a:lnTo>
                    <a:pt x="1649" y="5236"/>
                  </a:lnTo>
                  <a:lnTo>
                    <a:pt x="1737" y="5228"/>
                  </a:lnTo>
                  <a:lnTo>
                    <a:pt x="1817" y="5236"/>
                  </a:lnTo>
                  <a:lnTo>
                    <a:pt x="1896" y="5272"/>
                  </a:lnTo>
                  <a:lnTo>
                    <a:pt x="2055" y="5351"/>
                  </a:lnTo>
                  <a:lnTo>
                    <a:pt x="2063" y="5219"/>
                  </a:lnTo>
                  <a:lnTo>
                    <a:pt x="2125" y="5042"/>
                  </a:lnTo>
                  <a:lnTo>
                    <a:pt x="2108" y="4990"/>
                  </a:lnTo>
                  <a:lnTo>
                    <a:pt x="2108" y="4945"/>
                  </a:lnTo>
                  <a:lnTo>
                    <a:pt x="2178" y="4910"/>
                  </a:lnTo>
                  <a:lnTo>
                    <a:pt x="2275" y="4778"/>
                  </a:lnTo>
                  <a:lnTo>
                    <a:pt x="2354" y="4752"/>
                  </a:lnTo>
                  <a:lnTo>
                    <a:pt x="2425" y="4760"/>
                  </a:lnTo>
                  <a:lnTo>
                    <a:pt x="2487" y="4778"/>
                  </a:lnTo>
                  <a:lnTo>
                    <a:pt x="2539" y="4778"/>
                  </a:lnTo>
                  <a:lnTo>
                    <a:pt x="2592" y="4752"/>
                  </a:lnTo>
                  <a:lnTo>
                    <a:pt x="2592" y="4796"/>
                  </a:lnTo>
                  <a:lnTo>
                    <a:pt x="2680" y="4752"/>
                  </a:lnTo>
                  <a:lnTo>
                    <a:pt x="2769" y="4769"/>
                  </a:lnTo>
                  <a:lnTo>
                    <a:pt x="2848" y="4822"/>
                  </a:lnTo>
                  <a:lnTo>
                    <a:pt x="2910" y="4866"/>
                  </a:lnTo>
                  <a:lnTo>
                    <a:pt x="2936" y="4866"/>
                  </a:lnTo>
                  <a:lnTo>
                    <a:pt x="2971" y="4796"/>
                  </a:lnTo>
                  <a:lnTo>
                    <a:pt x="3007" y="4813"/>
                  </a:lnTo>
                  <a:lnTo>
                    <a:pt x="3033" y="4849"/>
                  </a:lnTo>
                  <a:lnTo>
                    <a:pt x="3068" y="4866"/>
                  </a:lnTo>
                  <a:lnTo>
                    <a:pt x="3104" y="4840"/>
                  </a:lnTo>
                  <a:lnTo>
                    <a:pt x="3139" y="4796"/>
                  </a:lnTo>
                  <a:lnTo>
                    <a:pt x="3165" y="4787"/>
                  </a:lnTo>
                  <a:lnTo>
                    <a:pt x="3192" y="4866"/>
                  </a:lnTo>
                  <a:lnTo>
                    <a:pt x="3262" y="4831"/>
                  </a:lnTo>
                  <a:lnTo>
                    <a:pt x="3315" y="4778"/>
                  </a:lnTo>
                  <a:lnTo>
                    <a:pt x="3359" y="4760"/>
                  </a:lnTo>
                  <a:lnTo>
                    <a:pt x="3386" y="4831"/>
                  </a:lnTo>
                  <a:lnTo>
                    <a:pt x="3421" y="4831"/>
                  </a:lnTo>
                  <a:lnTo>
                    <a:pt x="3483" y="4796"/>
                  </a:lnTo>
                  <a:lnTo>
                    <a:pt x="3668" y="4743"/>
                  </a:lnTo>
                  <a:lnTo>
                    <a:pt x="3738" y="4672"/>
                  </a:lnTo>
                  <a:lnTo>
                    <a:pt x="3756" y="4734"/>
                  </a:lnTo>
                  <a:lnTo>
                    <a:pt x="3791" y="4734"/>
                  </a:lnTo>
                  <a:lnTo>
                    <a:pt x="3897" y="4672"/>
                  </a:lnTo>
                  <a:lnTo>
                    <a:pt x="3976" y="4540"/>
                  </a:lnTo>
                  <a:lnTo>
                    <a:pt x="4020" y="4514"/>
                  </a:lnTo>
                  <a:lnTo>
                    <a:pt x="4073" y="4505"/>
                  </a:lnTo>
                  <a:lnTo>
                    <a:pt x="4126" y="4522"/>
                  </a:lnTo>
                  <a:lnTo>
                    <a:pt x="4153" y="4575"/>
                  </a:lnTo>
                  <a:lnTo>
                    <a:pt x="4153" y="4690"/>
                  </a:lnTo>
                  <a:lnTo>
                    <a:pt x="4179" y="4796"/>
                  </a:lnTo>
                  <a:lnTo>
                    <a:pt x="4117" y="4734"/>
                  </a:lnTo>
                  <a:lnTo>
                    <a:pt x="4100" y="4707"/>
                  </a:lnTo>
                  <a:lnTo>
                    <a:pt x="4082" y="4672"/>
                  </a:lnTo>
                  <a:lnTo>
                    <a:pt x="4056" y="4716"/>
                  </a:lnTo>
                  <a:lnTo>
                    <a:pt x="4003" y="4760"/>
                  </a:lnTo>
                  <a:lnTo>
                    <a:pt x="3967" y="4796"/>
                  </a:lnTo>
                  <a:lnTo>
                    <a:pt x="3959" y="4831"/>
                  </a:lnTo>
                  <a:lnTo>
                    <a:pt x="3985" y="4866"/>
                  </a:lnTo>
                  <a:lnTo>
                    <a:pt x="4073" y="4875"/>
                  </a:lnTo>
                  <a:lnTo>
                    <a:pt x="4117" y="4910"/>
                  </a:lnTo>
                  <a:lnTo>
                    <a:pt x="4117" y="4998"/>
                  </a:lnTo>
                  <a:lnTo>
                    <a:pt x="4038" y="5051"/>
                  </a:lnTo>
                  <a:lnTo>
                    <a:pt x="3976" y="5042"/>
                  </a:lnTo>
                  <a:lnTo>
                    <a:pt x="3994" y="4945"/>
                  </a:lnTo>
                  <a:lnTo>
                    <a:pt x="3950" y="4972"/>
                  </a:lnTo>
                  <a:lnTo>
                    <a:pt x="3774" y="4990"/>
                  </a:lnTo>
                  <a:lnTo>
                    <a:pt x="3774" y="4998"/>
                  </a:lnTo>
                  <a:lnTo>
                    <a:pt x="3756" y="5025"/>
                  </a:lnTo>
                  <a:lnTo>
                    <a:pt x="3729" y="5051"/>
                  </a:lnTo>
                  <a:lnTo>
                    <a:pt x="3703" y="5069"/>
                  </a:lnTo>
                  <a:lnTo>
                    <a:pt x="3677" y="5078"/>
                  </a:lnTo>
                  <a:lnTo>
                    <a:pt x="3580" y="5069"/>
                  </a:lnTo>
                  <a:lnTo>
                    <a:pt x="3606" y="5104"/>
                  </a:lnTo>
                  <a:lnTo>
                    <a:pt x="3439" y="5148"/>
                  </a:lnTo>
                  <a:lnTo>
                    <a:pt x="3421" y="5166"/>
                  </a:lnTo>
                  <a:lnTo>
                    <a:pt x="3439" y="5219"/>
                  </a:lnTo>
                  <a:lnTo>
                    <a:pt x="3483" y="5245"/>
                  </a:lnTo>
                  <a:lnTo>
                    <a:pt x="3536" y="5245"/>
                  </a:lnTo>
                  <a:lnTo>
                    <a:pt x="3580" y="5228"/>
                  </a:lnTo>
                  <a:lnTo>
                    <a:pt x="3606" y="5245"/>
                  </a:lnTo>
                  <a:lnTo>
                    <a:pt x="3659" y="5272"/>
                  </a:lnTo>
                  <a:lnTo>
                    <a:pt x="3712" y="5272"/>
                  </a:lnTo>
                  <a:lnTo>
                    <a:pt x="3738" y="5245"/>
                  </a:lnTo>
                  <a:lnTo>
                    <a:pt x="3738" y="5175"/>
                  </a:lnTo>
                  <a:lnTo>
                    <a:pt x="3756" y="5157"/>
                  </a:lnTo>
                  <a:lnTo>
                    <a:pt x="3800" y="5192"/>
                  </a:lnTo>
                  <a:lnTo>
                    <a:pt x="3844" y="5236"/>
                  </a:lnTo>
                  <a:lnTo>
                    <a:pt x="3862" y="5307"/>
                  </a:lnTo>
                  <a:lnTo>
                    <a:pt x="3844" y="5377"/>
                  </a:lnTo>
                  <a:lnTo>
                    <a:pt x="3800" y="5430"/>
                  </a:lnTo>
                  <a:lnTo>
                    <a:pt x="3800" y="5466"/>
                  </a:lnTo>
                  <a:lnTo>
                    <a:pt x="3835" y="5430"/>
                  </a:lnTo>
                  <a:lnTo>
                    <a:pt x="3932" y="5351"/>
                  </a:lnTo>
                  <a:lnTo>
                    <a:pt x="3994" y="5430"/>
                  </a:lnTo>
                  <a:lnTo>
                    <a:pt x="3923" y="5501"/>
                  </a:lnTo>
                  <a:lnTo>
                    <a:pt x="3879" y="5571"/>
                  </a:lnTo>
                  <a:lnTo>
                    <a:pt x="3826" y="5624"/>
                  </a:lnTo>
                  <a:lnTo>
                    <a:pt x="3738" y="5668"/>
                  </a:lnTo>
                  <a:lnTo>
                    <a:pt x="3386" y="5668"/>
                  </a:lnTo>
                  <a:lnTo>
                    <a:pt x="3412" y="5704"/>
                  </a:lnTo>
                  <a:lnTo>
                    <a:pt x="3430" y="5721"/>
                  </a:lnTo>
                  <a:lnTo>
                    <a:pt x="3447" y="5739"/>
                  </a:lnTo>
                  <a:lnTo>
                    <a:pt x="3439" y="5756"/>
                  </a:lnTo>
                  <a:lnTo>
                    <a:pt x="3430" y="5801"/>
                  </a:lnTo>
                  <a:lnTo>
                    <a:pt x="3421" y="5818"/>
                  </a:lnTo>
                  <a:lnTo>
                    <a:pt x="3474" y="5880"/>
                  </a:lnTo>
                  <a:lnTo>
                    <a:pt x="3536" y="5915"/>
                  </a:lnTo>
                  <a:lnTo>
                    <a:pt x="3588" y="5906"/>
                  </a:lnTo>
                  <a:lnTo>
                    <a:pt x="3641" y="5818"/>
                  </a:lnTo>
                  <a:lnTo>
                    <a:pt x="3659" y="5871"/>
                  </a:lnTo>
                  <a:lnTo>
                    <a:pt x="3694" y="5889"/>
                  </a:lnTo>
                  <a:lnTo>
                    <a:pt x="3738" y="5889"/>
                  </a:lnTo>
                  <a:lnTo>
                    <a:pt x="3800" y="5862"/>
                  </a:lnTo>
                  <a:lnTo>
                    <a:pt x="3791" y="5845"/>
                  </a:lnTo>
                  <a:lnTo>
                    <a:pt x="3782" y="5801"/>
                  </a:lnTo>
                  <a:lnTo>
                    <a:pt x="3774" y="5783"/>
                  </a:lnTo>
                  <a:lnTo>
                    <a:pt x="3809" y="5774"/>
                  </a:lnTo>
                  <a:lnTo>
                    <a:pt x="3835" y="5756"/>
                  </a:lnTo>
                  <a:lnTo>
                    <a:pt x="3844" y="5739"/>
                  </a:lnTo>
                  <a:lnTo>
                    <a:pt x="3862" y="5704"/>
                  </a:lnTo>
                  <a:lnTo>
                    <a:pt x="3985" y="5748"/>
                  </a:lnTo>
                  <a:lnTo>
                    <a:pt x="4091" y="5659"/>
                  </a:lnTo>
                  <a:lnTo>
                    <a:pt x="4179" y="5518"/>
                  </a:lnTo>
                  <a:lnTo>
                    <a:pt x="4241" y="5386"/>
                  </a:lnTo>
                  <a:lnTo>
                    <a:pt x="4329" y="5263"/>
                  </a:lnTo>
                  <a:lnTo>
                    <a:pt x="4417" y="5192"/>
                  </a:lnTo>
                  <a:lnTo>
                    <a:pt x="4655" y="5104"/>
                  </a:lnTo>
                  <a:lnTo>
                    <a:pt x="4646" y="5078"/>
                  </a:lnTo>
                  <a:lnTo>
                    <a:pt x="4620" y="5069"/>
                  </a:lnTo>
                  <a:lnTo>
                    <a:pt x="4637" y="5051"/>
                  </a:lnTo>
                  <a:lnTo>
                    <a:pt x="4655" y="5034"/>
                  </a:lnTo>
                  <a:lnTo>
                    <a:pt x="4655" y="5016"/>
                  </a:lnTo>
                  <a:lnTo>
                    <a:pt x="4655" y="4990"/>
                  </a:lnTo>
                  <a:lnTo>
                    <a:pt x="4690" y="5016"/>
                  </a:lnTo>
                  <a:lnTo>
                    <a:pt x="4717" y="5034"/>
                  </a:lnTo>
                  <a:lnTo>
                    <a:pt x="4752" y="4945"/>
                  </a:lnTo>
                  <a:lnTo>
                    <a:pt x="4814" y="4928"/>
                  </a:lnTo>
                  <a:lnTo>
                    <a:pt x="4893" y="4945"/>
                  </a:lnTo>
                  <a:lnTo>
                    <a:pt x="4946" y="4990"/>
                  </a:lnTo>
                  <a:lnTo>
                    <a:pt x="4911" y="4857"/>
                  </a:lnTo>
                  <a:lnTo>
                    <a:pt x="4734" y="4716"/>
                  </a:lnTo>
                  <a:lnTo>
                    <a:pt x="4752" y="4593"/>
                  </a:lnTo>
                  <a:lnTo>
                    <a:pt x="4690" y="4531"/>
                  </a:lnTo>
                  <a:lnTo>
                    <a:pt x="4673" y="4452"/>
                  </a:lnTo>
                  <a:lnTo>
                    <a:pt x="4708" y="4355"/>
                  </a:lnTo>
                  <a:lnTo>
                    <a:pt x="4770" y="4258"/>
                  </a:lnTo>
                  <a:lnTo>
                    <a:pt x="4840" y="4223"/>
                  </a:lnTo>
                  <a:lnTo>
                    <a:pt x="4911" y="4258"/>
                  </a:lnTo>
                  <a:lnTo>
                    <a:pt x="4981" y="4320"/>
                  </a:lnTo>
                  <a:lnTo>
                    <a:pt x="5034" y="4355"/>
                  </a:lnTo>
                  <a:lnTo>
                    <a:pt x="5034" y="4399"/>
                  </a:lnTo>
                  <a:lnTo>
                    <a:pt x="4919" y="4417"/>
                  </a:lnTo>
                  <a:lnTo>
                    <a:pt x="4867" y="4443"/>
                  </a:lnTo>
                  <a:lnTo>
                    <a:pt x="4849" y="4496"/>
                  </a:lnTo>
                  <a:lnTo>
                    <a:pt x="4867" y="4549"/>
                  </a:lnTo>
                  <a:lnTo>
                    <a:pt x="4911" y="4558"/>
                  </a:lnTo>
                  <a:lnTo>
                    <a:pt x="5034" y="4558"/>
                  </a:lnTo>
                  <a:lnTo>
                    <a:pt x="5025" y="4522"/>
                  </a:lnTo>
                  <a:lnTo>
                    <a:pt x="5008" y="4434"/>
                  </a:lnTo>
                  <a:lnTo>
                    <a:pt x="5034" y="4434"/>
                  </a:lnTo>
                  <a:lnTo>
                    <a:pt x="5087" y="4469"/>
                  </a:lnTo>
                  <a:lnTo>
                    <a:pt x="5325" y="4593"/>
                  </a:lnTo>
                  <a:lnTo>
                    <a:pt x="5413" y="4584"/>
                  </a:lnTo>
                  <a:lnTo>
                    <a:pt x="5457" y="4522"/>
                  </a:lnTo>
                  <a:lnTo>
                    <a:pt x="5501" y="4443"/>
                  </a:lnTo>
                  <a:lnTo>
                    <a:pt x="5545" y="4355"/>
                  </a:lnTo>
                  <a:lnTo>
                    <a:pt x="5501" y="4311"/>
                  </a:lnTo>
                  <a:lnTo>
                    <a:pt x="5457" y="4311"/>
                  </a:lnTo>
                  <a:lnTo>
                    <a:pt x="5413" y="4320"/>
                  </a:lnTo>
                  <a:lnTo>
                    <a:pt x="5387" y="4320"/>
                  </a:lnTo>
                  <a:lnTo>
                    <a:pt x="5360" y="4284"/>
                  </a:lnTo>
                  <a:lnTo>
                    <a:pt x="5325" y="4240"/>
                  </a:lnTo>
                  <a:lnTo>
                    <a:pt x="5325" y="4214"/>
                  </a:lnTo>
                  <a:lnTo>
                    <a:pt x="5369" y="4196"/>
                  </a:lnTo>
                  <a:lnTo>
                    <a:pt x="5510" y="4179"/>
                  </a:lnTo>
                  <a:lnTo>
                    <a:pt x="5598" y="4152"/>
                  </a:lnTo>
                  <a:lnTo>
                    <a:pt x="5642" y="4099"/>
                  </a:lnTo>
                  <a:lnTo>
                    <a:pt x="5651" y="4046"/>
                  </a:lnTo>
                  <a:lnTo>
                    <a:pt x="5669" y="4038"/>
                  </a:lnTo>
                  <a:lnTo>
                    <a:pt x="5695" y="4073"/>
                  </a:lnTo>
                  <a:lnTo>
                    <a:pt x="5704" y="4135"/>
                  </a:lnTo>
                  <a:lnTo>
                    <a:pt x="5713" y="4152"/>
                  </a:lnTo>
                  <a:lnTo>
                    <a:pt x="5722" y="4161"/>
                  </a:lnTo>
                  <a:lnTo>
                    <a:pt x="5730" y="4179"/>
                  </a:lnTo>
                  <a:lnTo>
                    <a:pt x="5739" y="4214"/>
                  </a:lnTo>
                  <a:lnTo>
                    <a:pt x="5730" y="4231"/>
                  </a:lnTo>
                  <a:lnTo>
                    <a:pt x="5704" y="4240"/>
                  </a:lnTo>
                  <a:lnTo>
                    <a:pt x="5678" y="4240"/>
                  </a:lnTo>
                  <a:lnTo>
                    <a:pt x="5695" y="4364"/>
                  </a:lnTo>
                  <a:lnTo>
                    <a:pt x="5730" y="4417"/>
                  </a:lnTo>
                  <a:lnTo>
                    <a:pt x="5792" y="4434"/>
                  </a:lnTo>
                  <a:lnTo>
                    <a:pt x="5898" y="4434"/>
                  </a:lnTo>
                  <a:lnTo>
                    <a:pt x="5898" y="4478"/>
                  </a:lnTo>
                  <a:lnTo>
                    <a:pt x="5836" y="4514"/>
                  </a:lnTo>
                  <a:lnTo>
                    <a:pt x="5889" y="4531"/>
                  </a:lnTo>
                  <a:lnTo>
                    <a:pt x="5933" y="4540"/>
                  </a:lnTo>
                  <a:lnTo>
                    <a:pt x="5977" y="4549"/>
                  </a:lnTo>
                  <a:lnTo>
                    <a:pt x="6021" y="4593"/>
                  </a:lnTo>
                  <a:lnTo>
                    <a:pt x="6013" y="4452"/>
                  </a:lnTo>
                  <a:lnTo>
                    <a:pt x="6109" y="4390"/>
                  </a:lnTo>
                  <a:lnTo>
                    <a:pt x="6251" y="4408"/>
                  </a:lnTo>
                  <a:lnTo>
                    <a:pt x="6303" y="4478"/>
                  </a:lnTo>
                  <a:lnTo>
                    <a:pt x="6321" y="4522"/>
                  </a:lnTo>
                  <a:lnTo>
                    <a:pt x="6321" y="4531"/>
                  </a:lnTo>
                  <a:lnTo>
                    <a:pt x="6347" y="4558"/>
                  </a:lnTo>
                  <a:lnTo>
                    <a:pt x="6347" y="4514"/>
                  </a:lnTo>
                  <a:lnTo>
                    <a:pt x="6356" y="4487"/>
                  </a:lnTo>
                  <a:lnTo>
                    <a:pt x="6374" y="4434"/>
                  </a:lnTo>
                  <a:lnTo>
                    <a:pt x="6409" y="4434"/>
                  </a:lnTo>
                  <a:lnTo>
                    <a:pt x="6392" y="4469"/>
                  </a:lnTo>
                  <a:lnTo>
                    <a:pt x="6392" y="4487"/>
                  </a:lnTo>
                  <a:lnTo>
                    <a:pt x="6400" y="4496"/>
                  </a:lnTo>
                  <a:lnTo>
                    <a:pt x="6409" y="4514"/>
                  </a:lnTo>
                  <a:lnTo>
                    <a:pt x="6392" y="4522"/>
                  </a:lnTo>
                  <a:lnTo>
                    <a:pt x="6383" y="4522"/>
                  </a:lnTo>
                  <a:lnTo>
                    <a:pt x="6374" y="4531"/>
                  </a:lnTo>
                  <a:lnTo>
                    <a:pt x="6374" y="4558"/>
                  </a:lnTo>
                  <a:lnTo>
                    <a:pt x="6427" y="4611"/>
                  </a:lnTo>
                  <a:lnTo>
                    <a:pt x="6436" y="4716"/>
                  </a:lnTo>
                  <a:lnTo>
                    <a:pt x="6418" y="4831"/>
                  </a:lnTo>
                  <a:lnTo>
                    <a:pt x="6374" y="4910"/>
                  </a:lnTo>
                  <a:lnTo>
                    <a:pt x="6436" y="5069"/>
                  </a:lnTo>
                  <a:lnTo>
                    <a:pt x="6471" y="5104"/>
                  </a:lnTo>
                  <a:lnTo>
                    <a:pt x="6524" y="5016"/>
                  </a:lnTo>
                  <a:lnTo>
                    <a:pt x="6585" y="4998"/>
                  </a:lnTo>
                  <a:lnTo>
                    <a:pt x="6638" y="5042"/>
                  </a:lnTo>
                  <a:lnTo>
                    <a:pt x="6656" y="5148"/>
                  </a:lnTo>
                  <a:lnTo>
                    <a:pt x="6691" y="5148"/>
                  </a:lnTo>
                  <a:lnTo>
                    <a:pt x="6832" y="5078"/>
                  </a:lnTo>
                  <a:lnTo>
                    <a:pt x="7035" y="5113"/>
                  </a:lnTo>
                  <a:lnTo>
                    <a:pt x="7203" y="5236"/>
                  </a:lnTo>
                  <a:lnTo>
                    <a:pt x="7229" y="5386"/>
                  </a:lnTo>
                  <a:lnTo>
                    <a:pt x="7308" y="5360"/>
                  </a:lnTo>
                  <a:lnTo>
                    <a:pt x="7361" y="5386"/>
                  </a:lnTo>
                  <a:lnTo>
                    <a:pt x="7405" y="5421"/>
                  </a:lnTo>
                  <a:lnTo>
                    <a:pt x="7485" y="5466"/>
                  </a:lnTo>
                  <a:lnTo>
                    <a:pt x="7485" y="5510"/>
                  </a:lnTo>
                  <a:lnTo>
                    <a:pt x="7414" y="5518"/>
                  </a:lnTo>
                  <a:lnTo>
                    <a:pt x="7370" y="5563"/>
                  </a:lnTo>
                  <a:lnTo>
                    <a:pt x="7370" y="5615"/>
                  </a:lnTo>
                  <a:lnTo>
                    <a:pt x="7423" y="5668"/>
                  </a:lnTo>
                  <a:lnTo>
                    <a:pt x="7476" y="5677"/>
                  </a:lnTo>
                  <a:lnTo>
                    <a:pt x="7555" y="5677"/>
                  </a:lnTo>
                  <a:lnTo>
                    <a:pt x="7608" y="5642"/>
                  </a:lnTo>
                  <a:lnTo>
                    <a:pt x="7582" y="5589"/>
                  </a:lnTo>
                  <a:lnTo>
                    <a:pt x="7652" y="5536"/>
                  </a:lnTo>
                  <a:lnTo>
                    <a:pt x="7731" y="5439"/>
                  </a:lnTo>
                  <a:lnTo>
                    <a:pt x="7758" y="5342"/>
                  </a:lnTo>
                  <a:lnTo>
                    <a:pt x="7679" y="5272"/>
                  </a:lnTo>
                  <a:lnTo>
                    <a:pt x="7705" y="5351"/>
                  </a:lnTo>
                  <a:lnTo>
                    <a:pt x="7696" y="5404"/>
                  </a:lnTo>
                  <a:lnTo>
                    <a:pt x="7670" y="5448"/>
                  </a:lnTo>
                  <a:lnTo>
                    <a:pt x="7643" y="5510"/>
                  </a:lnTo>
                  <a:lnTo>
                    <a:pt x="7617" y="5510"/>
                  </a:lnTo>
                  <a:lnTo>
                    <a:pt x="7599" y="5483"/>
                  </a:lnTo>
                  <a:lnTo>
                    <a:pt x="7546" y="5430"/>
                  </a:lnTo>
                  <a:lnTo>
                    <a:pt x="7582" y="5386"/>
                  </a:lnTo>
                  <a:lnTo>
                    <a:pt x="7555" y="5369"/>
                  </a:lnTo>
                  <a:lnTo>
                    <a:pt x="7537" y="5351"/>
                  </a:lnTo>
                  <a:lnTo>
                    <a:pt x="7520" y="5307"/>
                  </a:lnTo>
                  <a:lnTo>
                    <a:pt x="7573" y="5289"/>
                  </a:lnTo>
                  <a:lnTo>
                    <a:pt x="7582" y="5245"/>
                  </a:lnTo>
                  <a:lnTo>
                    <a:pt x="7564" y="5192"/>
                  </a:lnTo>
                  <a:lnTo>
                    <a:pt x="7582" y="5148"/>
                  </a:lnTo>
                  <a:lnTo>
                    <a:pt x="7617" y="5122"/>
                  </a:lnTo>
                  <a:lnTo>
                    <a:pt x="7652" y="5113"/>
                  </a:lnTo>
                  <a:lnTo>
                    <a:pt x="7740" y="5104"/>
                  </a:lnTo>
                  <a:lnTo>
                    <a:pt x="7740" y="5069"/>
                  </a:lnTo>
                  <a:lnTo>
                    <a:pt x="7705" y="5069"/>
                  </a:lnTo>
                  <a:lnTo>
                    <a:pt x="7705" y="5034"/>
                  </a:lnTo>
                  <a:lnTo>
                    <a:pt x="7767" y="4972"/>
                  </a:lnTo>
                  <a:lnTo>
                    <a:pt x="7855" y="4866"/>
                  </a:lnTo>
                  <a:lnTo>
                    <a:pt x="7934" y="4804"/>
                  </a:lnTo>
                  <a:lnTo>
                    <a:pt x="7961" y="4893"/>
                  </a:lnTo>
                  <a:lnTo>
                    <a:pt x="8013" y="4945"/>
                  </a:lnTo>
                  <a:lnTo>
                    <a:pt x="8375" y="5095"/>
                  </a:lnTo>
                  <a:lnTo>
                    <a:pt x="8657" y="5307"/>
                  </a:lnTo>
                  <a:lnTo>
                    <a:pt x="8692" y="5333"/>
                  </a:lnTo>
                  <a:lnTo>
                    <a:pt x="8719" y="5377"/>
                  </a:lnTo>
                  <a:lnTo>
                    <a:pt x="8745" y="5430"/>
                  </a:lnTo>
                  <a:lnTo>
                    <a:pt x="8754" y="5483"/>
                  </a:lnTo>
                  <a:lnTo>
                    <a:pt x="8727" y="5527"/>
                  </a:lnTo>
                  <a:lnTo>
                    <a:pt x="8675" y="5545"/>
                  </a:lnTo>
                  <a:lnTo>
                    <a:pt x="8631" y="5527"/>
                  </a:lnTo>
                  <a:lnTo>
                    <a:pt x="8657" y="5466"/>
                  </a:lnTo>
                  <a:lnTo>
                    <a:pt x="8657" y="5430"/>
                  </a:lnTo>
                  <a:lnTo>
                    <a:pt x="8586" y="5457"/>
                  </a:lnTo>
                  <a:lnTo>
                    <a:pt x="8534" y="5545"/>
                  </a:lnTo>
                  <a:lnTo>
                    <a:pt x="8472" y="5598"/>
                  </a:lnTo>
                  <a:lnTo>
                    <a:pt x="8410" y="5545"/>
                  </a:lnTo>
                  <a:lnTo>
                    <a:pt x="8375" y="5598"/>
                  </a:lnTo>
                  <a:lnTo>
                    <a:pt x="8340" y="5704"/>
                  </a:lnTo>
                  <a:lnTo>
                    <a:pt x="8313" y="5739"/>
                  </a:lnTo>
                  <a:lnTo>
                    <a:pt x="8357" y="5827"/>
                  </a:lnTo>
                  <a:lnTo>
                    <a:pt x="8384" y="5906"/>
                  </a:lnTo>
                  <a:lnTo>
                    <a:pt x="8366" y="5959"/>
                  </a:lnTo>
                  <a:lnTo>
                    <a:pt x="8278" y="5986"/>
                  </a:lnTo>
                  <a:lnTo>
                    <a:pt x="8384" y="5994"/>
                  </a:lnTo>
                  <a:lnTo>
                    <a:pt x="8604" y="5915"/>
                  </a:lnTo>
                  <a:lnTo>
                    <a:pt x="8657" y="5986"/>
                  </a:lnTo>
                  <a:lnTo>
                    <a:pt x="8692" y="5986"/>
                  </a:lnTo>
                  <a:lnTo>
                    <a:pt x="8745" y="5959"/>
                  </a:lnTo>
                  <a:lnTo>
                    <a:pt x="8772" y="6056"/>
                  </a:lnTo>
                  <a:lnTo>
                    <a:pt x="8789" y="6259"/>
                  </a:lnTo>
                  <a:lnTo>
                    <a:pt x="8789" y="6294"/>
                  </a:lnTo>
                  <a:lnTo>
                    <a:pt x="8754" y="6312"/>
                  </a:lnTo>
                  <a:lnTo>
                    <a:pt x="8719" y="6329"/>
                  </a:lnTo>
                  <a:lnTo>
                    <a:pt x="8657" y="6374"/>
                  </a:lnTo>
                  <a:lnTo>
                    <a:pt x="8657" y="6409"/>
                  </a:lnTo>
                  <a:lnTo>
                    <a:pt x="8727" y="6453"/>
                  </a:lnTo>
                  <a:lnTo>
                    <a:pt x="8789" y="6523"/>
                  </a:lnTo>
                  <a:lnTo>
                    <a:pt x="8816" y="6629"/>
                  </a:lnTo>
                  <a:lnTo>
                    <a:pt x="8789" y="6735"/>
                  </a:lnTo>
                  <a:lnTo>
                    <a:pt x="8816" y="6735"/>
                  </a:lnTo>
                  <a:lnTo>
                    <a:pt x="8816" y="6744"/>
                  </a:lnTo>
                  <a:lnTo>
                    <a:pt x="8816" y="6770"/>
                  </a:lnTo>
                  <a:lnTo>
                    <a:pt x="8763" y="6779"/>
                  </a:lnTo>
                  <a:lnTo>
                    <a:pt x="8719" y="6797"/>
                  </a:lnTo>
                  <a:lnTo>
                    <a:pt x="8683" y="6832"/>
                  </a:lnTo>
                  <a:lnTo>
                    <a:pt x="8657" y="6885"/>
                  </a:lnTo>
                  <a:lnTo>
                    <a:pt x="8710" y="6885"/>
                  </a:lnTo>
                  <a:lnTo>
                    <a:pt x="8736" y="6894"/>
                  </a:lnTo>
                  <a:lnTo>
                    <a:pt x="8789" y="6929"/>
                  </a:lnTo>
                  <a:lnTo>
                    <a:pt x="8754" y="6964"/>
                  </a:lnTo>
                  <a:lnTo>
                    <a:pt x="8886" y="6964"/>
                  </a:lnTo>
                  <a:lnTo>
                    <a:pt x="8886" y="7008"/>
                  </a:lnTo>
                  <a:lnTo>
                    <a:pt x="8869" y="7035"/>
                  </a:lnTo>
                  <a:lnTo>
                    <a:pt x="8869" y="7052"/>
                  </a:lnTo>
                  <a:lnTo>
                    <a:pt x="8886" y="7132"/>
                  </a:lnTo>
                  <a:lnTo>
                    <a:pt x="8948" y="7088"/>
                  </a:lnTo>
                  <a:lnTo>
                    <a:pt x="9027" y="7184"/>
                  </a:lnTo>
                  <a:lnTo>
                    <a:pt x="9300" y="7273"/>
                  </a:lnTo>
                  <a:lnTo>
                    <a:pt x="9362" y="7343"/>
                  </a:lnTo>
                  <a:lnTo>
                    <a:pt x="9406" y="7431"/>
                  </a:lnTo>
                  <a:lnTo>
                    <a:pt x="9424" y="7449"/>
                  </a:lnTo>
                  <a:lnTo>
                    <a:pt x="9556" y="7387"/>
                  </a:lnTo>
                  <a:lnTo>
                    <a:pt x="9635" y="7264"/>
                  </a:lnTo>
                  <a:lnTo>
                    <a:pt x="9671" y="7114"/>
                  </a:lnTo>
                  <a:lnTo>
                    <a:pt x="9662" y="7043"/>
                  </a:lnTo>
                  <a:lnTo>
                    <a:pt x="9671" y="6973"/>
                  </a:lnTo>
                  <a:lnTo>
                    <a:pt x="9706" y="6894"/>
                  </a:lnTo>
                  <a:lnTo>
                    <a:pt x="9741" y="6788"/>
                  </a:lnTo>
                  <a:lnTo>
                    <a:pt x="9891" y="6470"/>
                  </a:lnTo>
                  <a:lnTo>
                    <a:pt x="10182" y="6356"/>
                  </a:lnTo>
                  <a:lnTo>
                    <a:pt x="10323" y="6418"/>
                  </a:lnTo>
                  <a:lnTo>
                    <a:pt x="10429" y="6365"/>
                  </a:lnTo>
                  <a:lnTo>
                    <a:pt x="10402" y="6206"/>
                  </a:lnTo>
                  <a:lnTo>
                    <a:pt x="10446" y="6047"/>
                  </a:lnTo>
                  <a:lnTo>
                    <a:pt x="10658" y="5853"/>
                  </a:lnTo>
                  <a:lnTo>
                    <a:pt x="10887" y="5686"/>
                  </a:lnTo>
                  <a:lnTo>
                    <a:pt x="10966" y="5369"/>
                  </a:lnTo>
                  <a:lnTo>
                    <a:pt x="10905" y="5007"/>
                  </a:lnTo>
                  <a:lnTo>
                    <a:pt x="11407" y="3861"/>
                  </a:lnTo>
                  <a:lnTo>
                    <a:pt x="11019" y="3315"/>
                  </a:lnTo>
                  <a:lnTo>
                    <a:pt x="10455" y="3385"/>
                  </a:lnTo>
                  <a:lnTo>
                    <a:pt x="10235" y="3667"/>
                  </a:lnTo>
                  <a:lnTo>
                    <a:pt x="10059" y="3597"/>
                  </a:lnTo>
                  <a:lnTo>
                    <a:pt x="10129" y="3262"/>
                  </a:lnTo>
                  <a:lnTo>
                    <a:pt x="10023" y="2962"/>
                  </a:lnTo>
                  <a:lnTo>
                    <a:pt x="9803" y="3147"/>
                  </a:lnTo>
                  <a:lnTo>
                    <a:pt x="9768" y="3517"/>
                  </a:lnTo>
                  <a:lnTo>
                    <a:pt x="9724" y="3667"/>
                  </a:lnTo>
                  <a:lnTo>
                    <a:pt x="9627" y="3800"/>
                  </a:lnTo>
                  <a:lnTo>
                    <a:pt x="9468" y="3879"/>
                  </a:lnTo>
                  <a:lnTo>
                    <a:pt x="9001" y="3623"/>
                  </a:lnTo>
                  <a:lnTo>
                    <a:pt x="8745" y="3606"/>
                  </a:lnTo>
                  <a:lnTo>
                    <a:pt x="8631" y="3491"/>
                  </a:lnTo>
                  <a:lnTo>
                    <a:pt x="8613" y="3403"/>
                  </a:lnTo>
                  <a:lnTo>
                    <a:pt x="8604" y="3209"/>
                  </a:lnTo>
                  <a:lnTo>
                    <a:pt x="8560" y="2989"/>
                  </a:lnTo>
                  <a:lnTo>
                    <a:pt x="8498" y="2768"/>
                  </a:lnTo>
                  <a:lnTo>
                    <a:pt x="8225" y="2495"/>
                  </a:lnTo>
                  <a:lnTo>
                    <a:pt x="7881" y="2336"/>
                  </a:lnTo>
                  <a:lnTo>
                    <a:pt x="7828" y="2275"/>
                  </a:lnTo>
                  <a:lnTo>
                    <a:pt x="7740" y="2116"/>
                  </a:lnTo>
                  <a:lnTo>
                    <a:pt x="7687" y="2054"/>
                  </a:lnTo>
                  <a:lnTo>
                    <a:pt x="7344" y="2010"/>
                  </a:lnTo>
                  <a:lnTo>
                    <a:pt x="7185" y="1781"/>
                  </a:lnTo>
                  <a:lnTo>
                    <a:pt x="7123" y="1508"/>
                  </a:lnTo>
                  <a:lnTo>
                    <a:pt x="6991" y="1270"/>
                  </a:lnTo>
                  <a:lnTo>
                    <a:pt x="6771" y="1181"/>
                  </a:lnTo>
                  <a:lnTo>
                    <a:pt x="6603" y="1181"/>
                  </a:lnTo>
                  <a:lnTo>
                    <a:pt x="6489" y="1137"/>
                  </a:lnTo>
                  <a:lnTo>
                    <a:pt x="6436" y="970"/>
                  </a:lnTo>
                  <a:lnTo>
                    <a:pt x="6436" y="802"/>
                  </a:lnTo>
                  <a:lnTo>
                    <a:pt x="6453" y="679"/>
                  </a:lnTo>
                  <a:lnTo>
                    <a:pt x="6400" y="582"/>
                  </a:lnTo>
                  <a:lnTo>
                    <a:pt x="5792" y="503"/>
                  </a:lnTo>
                  <a:lnTo>
                    <a:pt x="5457" y="318"/>
                  </a:lnTo>
                  <a:lnTo>
                    <a:pt x="5166" y="71"/>
                  </a:lnTo>
                  <a:lnTo>
                    <a:pt x="4831"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 name="Google Shape;3125;p54">
              <a:extLst>
                <a:ext uri="{FF2B5EF4-FFF2-40B4-BE49-F238E27FC236}">
                  <a16:creationId xmlns:a16="http://schemas.microsoft.com/office/drawing/2014/main" id="{607CF3F0-0DC4-DE84-324D-9CBBF3998CCA}"/>
                </a:ext>
              </a:extLst>
            </p:cNvPr>
            <p:cNvSpPr/>
            <p:nvPr/>
          </p:nvSpPr>
          <p:spPr>
            <a:xfrm>
              <a:off x="3559244" y="3243748"/>
              <a:ext cx="1118072" cy="549047"/>
            </a:xfrm>
            <a:custGeom>
              <a:avLst/>
              <a:gdLst/>
              <a:ahLst/>
              <a:cxnLst/>
              <a:rect l="l" t="t" r="r" b="b"/>
              <a:pathLst>
                <a:path w="15727" h="7723" extrusionOk="0">
                  <a:moveTo>
                    <a:pt x="9353" y="1"/>
                  </a:moveTo>
                  <a:lnTo>
                    <a:pt x="9124" y="80"/>
                  </a:lnTo>
                  <a:lnTo>
                    <a:pt x="8904" y="239"/>
                  </a:lnTo>
                  <a:lnTo>
                    <a:pt x="8657" y="283"/>
                  </a:lnTo>
                  <a:lnTo>
                    <a:pt x="8181" y="451"/>
                  </a:lnTo>
                  <a:lnTo>
                    <a:pt x="7767" y="274"/>
                  </a:lnTo>
                  <a:lnTo>
                    <a:pt x="7441" y="565"/>
                  </a:lnTo>
                  <a:lnTo>
                    <a:pt x="7352" y="812"/>
                  </a:lnTo>
                  <a:lnTo>
                    <a:pt x="7070" y="1120"/>
                  </a:lnTo>
                  <a:lnTo>
                    <a:pt x="6903" y="1165"/>
                  </a:lnTo>
                  <a:lnTo>
                    <a:pt x="6542" y="1173"/>
                  </a:lnTo>
                  <a:lnTo>
                    <a:pt x="6118" y="1120"/>
                  </a:lnTo>
                  <a:lnTo>
                    <a:pt x="5475" y="1147"/>
                  </a:lnTo>
                  <a:lnTo>
                    <a:pt x="5369" y="1103"/>
                  </a:lnTo>
                  <a:lnTo>
                    <a:pt x="5078" y="759"/>
                  </a:lnTo>
                  <a:lnTo>
                    <a:pt x="4796" y="715"/>
                  </a:lnTo>
                  <a:lnTo>
                    <a:pt x="4109" y="1006"/>
                  </a:lnTo>
                  <a:lnTo>
                    <a:pt x="3827" y="1059"/>
                  </a:lnTo>
                  <a:lnTo>
                    <a:pt x="2998" y="1491"/>
                  </a:lnTo>
                  <a:lnTo>
                    <a:pt x="2742" y="1843"/>
                  </a:lnTo>
                  <a:lnTo>
                    <a:pt x="2672" y="2275"/>
                  </a:lnTo>
                  <a:lnTo>
                    <a:pt x="2487" y="2619"/>
                  </a:lnTo>
                  <a:lnTo>
                    <a:pt x="2354" y="2742"/>
                  </a:lnTo>
                  <a:lnTo>
                    <a:pt x="2249" y="2892"/>
                  </a:lnTo>
                  <a:lnTo>
                    <a:pt x="2125" y="2963"/>
                  </a:lnTo>
                  <a:lnTo>
                    <a:pt x="1984" y="2989"/>
                  </a:lnTo>
                  <a:lnTo>
                    <a:pt x="1482" y="4135"/>
                  </a:lnTo>
                  <a:lnTo>
                    <a:pt x="1543" y="4497"/>
                  </a:lnTo>
                  <a:lnTo>
                    <a:pt x="1464" y="4814"/>
                  </a:lnTo>
                  <a:lnTo>
                    <a:pt x="1235" y="4981"/>
                  </a:lnTo>
                  <a:lnTo>
                    <a:pt x="1023" y="5175"/>
                  </a:lnTo>
                  <a:lnTo>
                    <a:pt x="979" y="5334"/>
                  </a:lnTo>
                  <a:lnTo>
                    <a:pt x="1006" y="5493"/>
                  </a:lnTo>
                  <a:lnTo>
                    <a:pt x="900" y="5546"/>
                  </a:lnTo>
                  <a:lnTo>
                    <a:pt x="759" y="5484"/>
                  </a:lnTo>
                  <a:lnTo>
                    <a:pt x="468" y="5598"/>
                  </a:lnTo>
                  <a:lnTo>
                    <a:pt x="318" y="5916"/>
                  </a:lnTo>
                  <a:lnTo>
                    <a:pt x="283" y="6022"/>
                  </a:lnTo>
                  <a:lnTo>
                    <a:pt x="248" y="6101"/>
                  </a:lnTo>
                  <a:lnTo>
                    <a:pt x="239" y="6171"/>
                  </a:lnTo>
                  <a:lnTo>
                    <a:pt x="248" y="6242"/>
                  </a:lnTo>
                  <a:lnTo>
                    <a:pt x="212" y="6392"/>
                  </a:lnTo>
                  <a:lnTo>
                    <a:pt x="133" y="6515"/>
                  </a:lnTo>
                  <a:lnTo>
                    <a:pt x="1" y="6577"/>
                  </a:lnTo>
                  <a:lnTo>
                    <a:pt x="283" y="6841"/>
                  </a:lnTo>
                  <a:lnTo>
                    <a:pt x="318" y="6806"/>
                  </a:lnTo>
                  <a:lnTo>
                    <a:pt x="345" y="6841"/>
                  </a:lnTo>
                  <a:lnTo>
                    <a:pt x="371" y="6903"/>
                  </a:lnTo>
                  <a:lnTo>
                    <a:pt x="415" y="6930"/>
                  </a:lnTo>
                  <a:lnTo>
                    <a:pt x="450" y="6912"/>
                  </a:lnTo>
                  <a:lnTo>
                    <a:pt x="468" y="6877"/>
                  </a:lnTo>
                  <a:lnTo>
                    <a:pt x="486" y="6841"/>
                  </a:lnTo>
                  <a:lnTo>
                    <a:pt x="503" y="6806"/>
                  </a:lnTo>
                  <a:lnTo>
                    <a:pt x="530" y="6780"/>
                  </a:lnTo>
                  <a:lnTo>
                    <a:pt x="547" y="6762"/>
                  </a:lnTo>
                  <a:lnTo>
                    <a:pt x="565" y="6744"/>
                  </a:lnTo>
                  <a:lnTo>
                    <a:pt x="609" y="6727"/>
                  </a:lnTo>
                  <a:lnTo>
                    <a:pt x="636" y="6736"/>
                  </a:lnTo>
                  <a:lnTo>
                    <a:pt x="653" y="6762"/>
                  </a:lnTo>
                  <a:lnTo>
                    <a:pt x="671" y="6771"/>
                  </a:lnTo>
                  <a:lnTo>
                    <a:pt x="697" y="6727"/>
                  </a:lnTo>
                  <a:lnTo>
                    <a:pt x="715" y="6885"/>
                  </a:lnTo>
                  <a:lnTo>
                    <a:pt x="741" y="6938"/>
                  </a:lnTo>
                  <a:lnTo>
                    <a:pt x="794" y="6885"/>
                  </a:lnTo>
                  <a:lnTo>
                    <a:pt x="1085" y="7053"/>
                  </a:lnTo>
                  <a:lnTo>
                    <a:pt x="1209" y="7079"/>
                  </a:lnTo>
                  <a:lnTo>
                    <a:pt x="1588" y="7071"/>
                  </a:lnTo>
                  <a:lnTo>
                    <a:pt x="1685" y="7123"/>
                  </a:lnTo>
                  <a:lnTo>
                    <a:pt x="1632" y="7115"/>
                  </a:lnTo>
                  <a:lnTo>
                    <a:pt x="1588" y="7123"/>
                  </a:lnTo>
                  <a:lnTo>
                    <a:pt x="1543" y="7141"/>
                  </a:lnTo>
                  <a:lnTo>
                    <a:pt x="1499" y="7168"/>
                  </a:lnTo>
                  <a:lnTo>
                    <a:pt x="1499" y="7203"/>
                  </a:lnTo>
                  <a:lnTo>
                    <a:pt x="1737" y="7168"/>
                  </a:lnTo>
                  <a:lnTo>
                    <a:pt x="1773" y="7194"/>
                  </a:lnTo>
                  <a:lnTo>
                    <a:pt x="1773" y="7238"/>
                  </a:lnTo>
                  <a:lnTo>
                    <a:pt x="1746" y="7273"/>
                  </a:lnTo>
                  <a:lnTo>
                    <a:pt x="1685" y="7238"/>
                  </a:lnTo>
                  <a:lnTo>
                    <a:pt x="1685" y="7238"/>
                  </a:lnTo>
                  <a:lnTo>
                    <a:pt x="1729" y="7361"/>
                  </a:lnTo>
                  <a:lnTo>
                    <a:pt x="1887" y="7441"/>
                  </a:lnTo>
                  <a:lnTo>
                    <a:pt x="1914" y="7555"/>
                  </a:lnTo>
                  <a:lnTo>
                    <a:pt x="1984" y="7450"/>
                  </a:lnTo>
                  <a:lnTo>
                    <a:pt x="1993" y="7432"/>
                  </a:lnTo>
                  <a:lnTo>
                    <a:pt x="2037" y="7423"/>
                  </a:lnTo>
                  <a:lnTo>
                    <a:pt x="2055" y="7406"/>
                  </a:lnTo>
                  <a:lnTo>
                    <a:pt x="2055" y="7379"/>
                  </a:lnTo>
                  <a:lnTo>
                    <a:pt x="2072" y="7353"/>
                  </a:lnTo>
                  <a:lnTo>
                    <a:pt x="2125" y="7326"/>
                  </a:lnTo>
                  <a:lnTo>
                    <a:pt x="2187" y="7317"/>
                  </a:lnTo>
                  <a:lnTo>
                    <a:pt x="2240" y="7344"/>
                  </a:lnTo>
                  <a:lnTo>
                    <a:pt x="2293" y="7397"/>
                  </a:lnTo>
                  <a:lnTo>
                    <a:pt x="2310" y="7370"/>
                  </a:lnTo>
                  <a:lnTo>
                    <a:pt x="2328" y="7361"/>
                  </a:lnTo>
                  <a:lnTo>
                    <a:pt x="2390" y="7353"/>
                  </a:lnTo>
                  <a:lnTo>
                    <a:pt x="2372" y="7379"/>
                  </a:lnTo>
                  <a:lnTo>
                    <a:pt x="2363" y="7397"/>
                  </a:lnTo>
                  <a:lnTo>
                    <a:pt x="2354" y="7414"/>
                  </a:lnTo>
                  <a:lnTo>
                    <a:pt x="2328" y="7432"/>
                  </a:lnTo>
                  <a:lnTo>
                    <a:pt x="2328" y="7476"/>
                  </a:lnTo>
                  <a:lnTo>
                    <a:pt x="2407" y="7467"/>
                  </a:lnTo>
                  <a:lnTo>
                    <a:pt x="2478" y="7432"/>
                  </a:lnTo>
                  <a:lnTo>
                    <a:pt x="2548" y="7379"/>
                  </a:lnTo>
                  <a:lnTo>
                    <a:pt x="2610" y="7317"/>
                  </a:lnTo>
                  <a:lnTo>
                    <a:pt x="2513" y="7317"/>
                  </a:lnTo>
                  <a:lnTo>
                    <a:pt x="2513" y="7273"/>
                  </a:lnTo>
                  <a:lnTo>
                    <a:pt x="2628" y="7238"/>
                  </a:lnTo>
                  <a:lnTo>
                    <a:pt x="2672" y="7238"/>
                  </a:lnTo>
                  <a:lnTo>
                    <a:pt x="2681" y="7212"/>
                  </a:lnTo>
                  <a:lnTo>
                    <a:pt x="2672" y="7203"/>
                  </a:lnTo>
                  <a:lnTo>
                    <a:pt x="2645" y="7203"/>
                  </a:lnTo>
                  <a:lnTo>
                    <a:pt x="2707" y="7168"/>
                  </a:lnTo>
                  <a:lnTo>
                    <a:pt x="2883" y="7123"/>
                  </a:lnTo>
                  <a:lnTo>
                    <a:pt x="2954" y="7079"/>
                  </a:lnTo>
                  <a:lnTo>
                    <a:pt x="3024" y="7018"/>
                  </a:lnTo>
                  <a:lnTo>
                    <a:pt x="3042" y="7009"/>
                  </a:lnTo>
                  <a:lnTo>
                    <a:pt x="3086" y="7000"/>
                  </a:lnTo>
                  <a:lnTo>
                    <a:pt x="3148" y="7018"/>
                  </a:lnTo>
                  <a:lnTo>
                    <a:pt x="3201" y="7035"/>
                  </a:lnTo>
                  <a:lnTo>
                    <a:pt x="3254" y="7035"/>
                  </a:lnTo>
                  <a:lnTo>
                    <a:pt x="3306" y="7000"/>
                  </a:lnTo>
                  <a:lnTo>
                    <a:pt x="3377" y="7009"/>
                  </a:lnTo>
                  <a:lnTo>
                    <a:pt x="3685" y="6841"/>
                  </a:lnTo>
                  <a:lnTo>
                    <a:pt x="3685" y="6806"/>
                  </a:lnTo>
                  <a:lnTo>
                    <a:pt x="3589" y="6806"/>
                  </a:lnTo>
                  <a:lnTo>
                    <a:pt x="3650" y="6780"/>
                  </a:lnTo>
                  <a:lnTo>
                    <a:pt x="3694" y="6797"/>
                  </a:lnTo>
                  <a:lnTo>
                    <a:pt x="3738" y="6824"/>
                  </a:lnTo>
                  <a:lnTo>
                    <a:pt x="3765" y="6841"/>
                  </a:lnTo>
                  <a:lnTo>
                    <a:pt x="3941" y="6885"/>
                  </a:lnTo>
                  <a:lnTo>
                    <a:pt x="3941" y="6841"/>
                  </a:lnTo>
                  <a:lnTo>
                    <a:pt x="3941" y="6806"/>
                  </a:lnTo>
                  <a:lnTo>
                    <a:pt x="4012" y="6841"/>
                  </a:lnTo>
                  <a:lnTo>
                    <a:pt x="4012" y="6797"/>
                  </a:lnTo>
                  <a:lnTo>
                    <a:pt x="4038" y="6692"/>
                  </a:lnTo>
                  <a:lnTo>
                    <a:pt x="4065" y="6771"/>
                  </a:lnTo>
                  <a:lnTo>
                    <a:pt x="4073" y="6806"/>
                  </a:lnTo>
                  <a:lnTo>
                    <a:pt x="4100" y="6806"/>
                  </a:lnTo>
                  <a:lnTo>
                    <a:pt x="4109" y="6683"/>
                  </a:lnTo>
                  <a:lnTo>
                    <a:pt x="4126" y="6595"/>
                  </a:lnTo>
                  <a:lnTo>
                    <a:pt x="4162" y="6550"/>
                  </a:lnTo>
                  <a:lnTo>
                    <a:pt x="4514" y="6489"/>
                  </a:lnTo>
                  <a:lnTo>
                    <a:pt x="4611" y="6489"/>
                  </a:lnTo>
                  <a:lnTo>
                    <a:pt x="5105" y="6718"/>
                  </a:lnTo>
                  <a:lnTo>
                    <a:pt x="5210" y="6692"/>
                  </a:lnTo>
                  <a:lnTo>
                    <a:pt x="5263" y="6736"/>
                  </a:lnTo>
                  <a:lnTo>
                    <a:pt x="5290" y="6841"/>
                  </a:lnTo>
                  <a:lnTo>
                    <a:pt x="5281" y="7079"/>
                  </a:lnTo>
                  <a:lnTo>
                    <a:pt x="5281" y="7079"/>
                  </a:lnTo>
                  <a:lnTo>
                    <a:pt x="5413" y="6965"/>
                  </a:lnTo>
                  <a:lnTo>
                    <a:pt x="5475" y="6885"/>
                  </a:lnTo>
                  <a:lnTo>
                    <a:pt x="5528" y="6762"/>
                  </a:lnTo>
                  <a:lnTo>
                    <a:pt x="5581" y="6709"/>
                  </a:lnTo>
                  <a:lnTo>
                    <a:pt x="5642" y="6656"/>
                  </a:lnTo>
                  <a:lnTo>
                    <a:pt x="5695" y="6612"/>
                  </a:lnTo>
                  <a:lnTo>
                    <a:pt x="5660" y="6603"/>
                  </a:lnTo>
                  <a:lnTo>
                    <a:pt x="5651" y="6586"/>
                  </a:lnTo>
                  <a:lnTo>
                    <a:pt x="5625" y="6612"/>
                  </a:lnTo>
                  <a:lnTo>
                    <a:pt x="5598" y="6612"/>
                  </a:lnTo>
                  <a:lnTo>
                    <a:pt x="5651" y="6489"/>
                  </a:lnTo>
                  <a:lnTo>
                    <a:pt x="5775" y="6383"/>
                  </a:lnTo>
                  <a:lnTo>
                    <a:pt x="5845" y="6295"/>
                  </a:lnTo>
                  <a:lnTo>
                    <a:pt x="5722" y="6260"/>
                  </a:lnTo>
                  <a:lnTo>
                    <a:pt x="5757" y="6171"/>
                  </a:lnTo>
                  <a:lnTo>
                    <a:pt x="5686" y="6136"/>
                  </a:lnTo>
                  <a:lnTo>
                    <a:pt x="5642" y="6057"/>
                  </a:lnTo>
                  <a:lnTo>
                    <a:pt x="5634" y="5951"/>
                  </a:lnTo>
                  <a:lnTo>
                    <a:pt x="5695" y="5863"/>
                  </a:lnTo>
                  <a:lnTo>
                    <a:pt x="5686" y="5810"/>
                  </a:lnTo>
                  <a:lnTo>
                    <a:pt x="5792" y="5651"/>
                  </a:lnTo>
                  <a:lnTo>
                    <a:pt x="5845" y="5449"/>
                  </a:lnTo>
                  <a:lnTo>
                    <a:pt x="5916" y="5360"/>
                  </a:lnTo>
                  <a:lnTo>
                    <a:pt x="6074" y="5228"/>
                  </a:lnTo>
                  <a:lnTo>
                    <a:pt x="6066" y="5158"/>
                  </a:lnTo>
                  <a:lnTo>
                    <a:pt x="6127" y="4955"/>
                  </a:lnTo>
                  <a:lnTo>
                    <a:pt x="6136" y="4832"/>
                  </a:lnTo>
                  <a:lnTo>
                    <a:pt x="6136" y="4832"/>
                  </a:lnTo>
                  <a:lnTo>
                    <a:pt x="6101" y="4867"/>
                  </a:lnTo>
                  <a:lnTo>
                    <a:pt x="6083" y="4805"/>
                  </a:lnTo>
                  <a:lnTo>
                    <a:pt x="6048" y="4752"/>
                  </a:lnTo>
                  <a:lnTo>
                    <a:pt x="6021" y="4699"/>
                  </a:lnTo>
                  <a:lnTo>
                    <a:pt x="6013" y="4594"/>
                  </a:lnTo>
                  <a:lnTo>
                    <a:pt x="6021" y="4505"/>
                  </a:lnTo>
                  <a:lnTo>
                    <a:pt x="6039" y="4453"/>
                  </a:lnTo>
                  <a:lnTo>
                    <a:pt x="6066" y="4400"/>
                  </a:lnTo>
                  <a:lnTo>
                    <a:pt x="6101" y="4356"/>
                  </a:lnTo>
                  <a:lnTo>
                    <a:pt x="6101" y="4320"/>
                  </a:lnTo>
                  <a:lnTo>
                    <a:pt x="6057" y="4232"/>
                  </a:lnTo>
                  <a:lnTo>
                    <a:pt x="6048" y="4126"/>
                  </a:lnTo>
                  <a:lnTo>
                    <a:pt x="6074" y="3941"/>
                  </a:lnTo>
                  <a:lnTo>
                    <a:pt x="6074" y="3765"/>
                  </a:lnTo>
                  <a:lnTo>
                    <a:pt x="6092" y="3712"/>
                  </a:lnTo>
                  <a:lnTo>
                    <a:pt x="6154" y="3615"/>
                  </a:lnTo>
                  <a:lnTo>
                    <a:pt x="6224" y="3430"/>
                  </a:lnTo>
                  <a:lnTo>
                    <a:pt x="6348" y="3307"/>
                  </a:lnTo>
                  <a:lnTo>
                    <a:pt x="6612" y="3121"/>
                  </a:lnTo>
                  <a:lnTo>
                    <a:pt x="6806" y="3271"/>
                  </a:lnTo>
                  <a:lnTo>
                    <a:pt x="6903" y="3333"/>
                  </a:lnTo>
                  <a:lnTo>
                    <a:pt x="7026" y="3368"/>
                  </a:lnTo>
                  <a:lnTo>
                    <a:pt x="7793" y="3324"/>
                  </a:lnTo>
                  <a:lnTo>
                    <a:pt x="9653" y="3606"/>
                  </a:lnTo>
                  <a:lnTo>
                    <a:pt x="9812" y="3703"/>
                  </a:lnTo>
                  <a:lnTo>
                    <a:pt x="9821" y="3844"/>
                  </a:lnTo>
                  <a:lnTo>
                    <a:pt x="9962" y="3862"/>
                  </a:lnTo>
                  <a:lnTo>
                    <a:pt x="10834" y="4259"/>
                  </a:lnTo>
                  <a:lnTo>
                    <a:pt x="10905" y="4338"/>
                  </a:lnTo>
                  <a:lnTo>
                    <a:pt x="10984" y="4400"/>
                  </a:lnTo>
                  <a:lnTo>
                    <a:pt x="11328" y="4558"/>
                  </a:lnTo>
                  <a:lnTo>
                    <a:pt x="11425" y="4576"/>
                  </a:lnTo>
                  <a:lnTo>
                    <a:pt x="11487" y="4567"/>
                  </a:lnTo>
                  <a:lnTo>
                    <a:pt x="11548" y="4620"/>
                  </a:lnTo>
                  <a:lnTo>
                    <a:pt x="11637" y="4752"/>
                  </a:lnTo>
                  <a:lnTo>
                    <a:pt x="11813" y="4832"/>
                  </a:lnTo>
                  <a:lnTo>
                    <a:pt x="11857" y="4867"/>
                  </a:lnTo>
                  <a:lnTo>
                    <a:pt x="11936" y="4858"/>
                  </a:lnTo>
                  <a:lnTo>
                    <a:pt x="12068" y="4876"/>
                  </a:lnTo>
                  <a:lnTo>
                    <a:pt x="12192" y="4920"/>
                  </a:lnTo>
                  <a:lnTo>
                    <a:pt x="12245" y="4973"/>
                  </a:lnTo>
                  <a:lnTo>
                    <a:pt x="12280" y="5026"/>
                  </a:lnTo>
                  <a:lnTo>
                    <a:pt x="12377" y="5043"/>
                  </a:lnTo>
                  <a:lnTo>
                    <a:pt x="12562" y="5034"/>
                  </a:lnTo>
                  <a:lnTo>
                    <a:pt x="12589" y="5043"/>
                  </a:lnTo>
                  <a:lnTo>
                    <a:pt x="12615" y="5070"/>
                  </a:lnTo>
                  <a:lnTo>
                    <a:pt x="12650" y="5096"/>
                  </a:lnTo>
                  <a:lnTo>
                    <a:pt x="12703" y="5114"/>
                  </a:lnTo>
                  <a:lnTo>
                    <a:pt x="12756" y="5114"/>
                  </a:lnTo>
                  <a:lnTo>
                    <a:pt x="12791" y="5122"/>
                  </a:lnTo>
                  <a:lnTo>
                    <a:pt x="12827" y="5140"/>
                  </a:lnTo>
                  <a:lnTo>
                    <a:pt x="13109" y="5422"/>
                  </a:lnTo>
                  <a:lnTo>
                    <a:pt x="13179" y="5466"/>
                  </a:lnTo>
                  <a:lnTo>
                    <a:pt x="13241" y="5563"/>
                  </a:lnTo>
                  <a:lnTo>
                    <a:pt x="13320" y="5740"/>
                  </a:lnTo>
                  <a:lnTo>
                    <a:pt x="13338" y="5740"/>
                  </a:lnTo>
                  <a:lnTo>
                    <a:pt x="13400" y="5766"/>
                  </a:lnTo>
                  <a:lnTo>
                    <a:pt x="13408" y="5792"/>
                  </a:lnTo>
                  <a:lnTo>
                    <a:pt x="13461" y="5881"/>
                  </a:lnTo>
                  <a:lnTo>
                    <a:pt x="13514" y="5951"/>
                  </a:lnTo>
                  <a:lnTo>
                    <a:pt x="13532" y="5995"/>
                  </a:lnTo>
                  <a:lnTo>
                    <a:pt x="13541" y="6039"/>
                  </a:lnTo>
                  <a:lnTo>
                    <a:pt x="13602" y="6207"/>
                  </a:lnTo>
                  <a:lnTo>
                    <a:pt x="13876" y="6454"/>
                  </a:lnTo>
                  <a:lnTo>
                    <a:pt x="13990" y="6612"/>
                  </a:lnTo>
                  <a:lnTo>
                    <a:pt x="13999" y="6665"/>
                  </a:lnTo>
                  <a:lnTo>
                    <a:pt x="14017" y="6824"/>
                  </a:lnTo>
                  <a:lnTo>
                    <a:pt x="14043" y="6859"/>
                  </a:lnTo>
                  <a:lnTo>
                    <a:pt x="14122" y="6921"/>
                  </a:lnTo>
                  <a:lnTo>
                    <a:pt x="14149" y="6947"/>
                  </a:lnTo>
                  <a:lnTo>
                    <a:pt x="14184" y="6947"/>
                  </a:lnTo>
                  <a:lnTo>
                    <a:pt x="14404" y="7238"/>
                  </a:lnTo>
                  <a:lnTo>
                    <a:pt x="14475" y="7291"/>
                  </a:lnTo>
                  <a:lnTo>
                    <a:pt x="14572" y="7317"/>
                  </a:lnTo>
                  <a:lnTo>
                    <a:pt x="14651" y="7344"/>
                  </a:lnTo>
                  <a:lnTo>
                    <a:pt x="14686" y="7414"/>
                  </a:lnTo>
                  <a:lnTo>
                    <a:pt x="14739" y="7467"/>
                  </a:lnTo>
                  <a:lnTo>
                    <a:pt x="15092" y="7670"/>
                  </a:lnTo>
                  <a:lnTo>
                    <a:pt x="15171" y="7696"/>
                  </a:lnTo>
                  <a:lnTo>
                    <a:pt x="15339" y="7714"/>
                  </a:lnTo>
                  <a:lnTo>
                    <a:pt x="15356" y="7723"/>
                  </a:lnTo>
                  <a:lnTo>
                    <a:pt x="15374" y="7688"/>
                  </a:lnTo>
                  <a:lnTo>
                    <a:pt x="15445" y="7573"/>
                  </a:lnTo>
                  <a:lnTo>
                    <a:pt x="15480" y="7441"/>
                  </a:lnTo>
                  <a:lnTo>
                    <a:pt x="15497" y="7291"/>
                  </a:lnTo>
                  <a:lnTo>
                    <a:pt x="15559" y="7132"/>
                  </a:lnTo>
                  <a:lnTo>
                    <a:pt x="15639" y="6991"/>
                  </a:lnTo>
                  <a:lnTo>
                    <a:pt x="15709" y="6718"/>
                  </a:lnTo>
                  <a:lnTo>
                    <a:pt x="15691" y="6083"/>
                  </a:lnTo>
                  <a:lnTo>
                    <a:pt x="15727" y="5748"/>
                  </a:lnTo>
                  <a:lnTo>
                    <a:pt x="15639" y="5554"/>
                  </a:lnTo>
                  <a:lnTo>
                    <a:pt x="15453" y="5457"/>
                  </a:lnTo>
                  <a:lnTo>
                    <a:pt x="15295" y="5352"/>
                  </a:lnTo>
                  <a:lnTo>
                    <a:pt x="15171" y="5193"/>
                  </a:lnTo>
                  <a:lnTo>
                    <a:pt x="14986" y="4805"/>
                  </a:lnTo>
                  <a:lnTo>
                    <a:pt x="14828" y="4382"/>
                  </a:lnTo>
                  <a:lnTo>
                    <a:pt x="14854" y="3994"/>
                  </a:lnTo>
                  <a:lnTo>
                    <a:pt x="14783" y="3606"/>
                  </a:lnTo>
                  <a:lnTo>
                    <a:pt x="14686" y="3465"/>
                  </a:lnTo>
                  <a:lnTo>
                    <a:pt x="14537" y="3430"/>
                  </a:lnTo>
                  <a:lnTo>
                    <a:pt x="14325" y="3412"/>
                  </a:lnTo>
                  <a:lnTo>
                    <a:pt x="14122" y="3342"/>
                  </a:lnTo>
                  <a:lnTo>
                    <a:pt x="14052" y="3183"/>
                  </a:lnTo>
                  <a:lnTo>
                    <a:pt x="14105" y="3007"/>
                  </a:lnTo>
                  <a:lnTo>
                    <a:pt x="14228" y="2910"/>
                  </a:lnTo>
                  <a:lnTo>
                    <a:pt x="14210" y="2734"/>
                  </a:lnTo>
                  <a:lnTo>
                    <a:pt x="14061" y="2645"/>
                  </a:lnTo>
                  <a:lnTo>
                    <a:pt x="13884" y="2566"/>
                  </a:lnTo>
                  <a:lnTo>
                    <a:pt x="13567" y="2275"/>
                  </a:lnTo>
                  <a:lnTo>
                    <a:pt x="13426" y="2178"/>
                  </a:lnTo>
                  <a:lnTo>
                    <a:pt x="13303" y="2046"/>
                  </a:lnTo>
                  <a:lnTo>
                    <a:pt x="13091" y="1755"/>
                  </a:lnTo>
                  <a:lnTo>
                    <a:pt x="12862" y="1508"/>
                  </a:lnTo>
                  <a:lnTo>
                    <a:pt x="12536" y="1288"/>
                  </a:lnTo>
                  <a:lnTo>
                    <a:pt x="12236" y="1006"/>
                  </a:lnTo>
                  <a:lnTo>
                    <a:pt x="11848" y="759"/>
                  </a:lnTo>
                  <a:lnTo>
                    <a:pt x="10658" y="512"/>
                  </a:lnTo>
                  <a:lnTo>
                    <a:pt x="10200" y="503"/>
                  </a:lnTo>
                  <a:lnTo>
                    <a:pt x="9997" y="424"/>
                  </a:lnTo>
                  <a:lnTo>
                    <a:pt x="9812" y="283"/>
                  </a:lnTo>
                  <a:lnTo>
                    <a:pt x="9706" y="168"/>
                  </a:lnTo>
                  <a:lnTo>
                    <a:pt x="9609" y="36"/>
                  </a:lnTo>
                  <a:lnTo>
                    <a:pt x="935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 name="Google Shape;3126;p54">
              <a:extLst>
                <a:ext uri="{FF2B5EF4-FFF2-40B4-BE49-F238E27FC236}">
                  <a16:creationId xmlns:a16="http://schemas.microsoft.com/office/drawing/2014/main" id="{5946C4A6-585A-BBE5-4A2C-98548E6C653E}"/>
                </a:ext>
              </a:extLst>
            </p:cNvPr>
            <p:cNvSpPr/>
            <p:nvPr/>
          </p:nvSpPr>
          <p:spPr>
            <a:xfrm>
              <a:off x="4650978" y="3254413"/>
              <a:ext cx="827872" cy="565967"/>
            </a:xfrm>
            <a:custGeom>
              <a:avLst/>
              <a:gdLst/>
              <a:ahLst/>
              <a:cxnLst/>
              <a:rect l="l" t="t" r="r" b="b"/>
              <a:pathLst>
                <a:path w="11645" h="7961" extrusionOk="0">
                  <a:moveTo>
                    <a:pt x="9979" y="1"/>
                  </a:moveTo>
                  <a:lnTo>
                    <a:pt x="9653" y="142"/>
                  </a:lnTo>
                  <a:lnTo>
                    <a:pt x="9512" y="230"/>
                  </a:lnTo>
                  <a:lnTo>
                    <a:pt x="9353" y="283"/>
                  </a:lnTo>
                  <a:lnTo>
                    <a:pt x="9009" y="292"/>
                  </a:lnTo>
                  <a:lnTo>
                    <a:pt x="8948" y="477"/>
                  </a:lnTo>
                  <a:lnTo>
                    <a:pt x="8868" y="547"/>
                  </a:lnTo>
                  <a:lnTo>
                    <a:pt x="8621" y="627"/>
                  </a:lnTo>
                  <a:lnTo>
                    <a:pt x="8480" y="697"/>
                  </a:lnTo>
                  <a:lnTo>
                    <a:pt x="8269" y="900"/>
                  </a:lnTo>
                  <a:lnTo>
                    <a:pt x="8013" y="1032"/>
                  </a:lnTo>
                  <a:lnTo>
                    <a:pt x="7608" y="1173"/>
                  </a:lnTo>
                  <a:lnTo>
                    <a:pt x="7475" y="1253"/>
                  </a:lnTo>
                  <a:lnTo>
                    <a:pt x="7317" y="1438"/>
                  </a:lnTo>
                  <a:lnTo>
                    <a:pt x="6991" y="1570"/>
                  </a:lnTo>
                  <a:lnTo>
                    <a:pt x="6638" y="1596"/>
                  </a:lnTo>
                  <a:lnTo>
                    <a:pt x="6479" y="1667"/>
                  </a:lnTo>
                  <a:lnTo>
                    <a:pt x="6030" y="2011"/>
                  </a:lnTo>
                  <a:lnTo>
                    <a:pt x="5686" y="2072"/>
                  </a:lnTo>
                  <a:lnTo>
                    <a:pt x="5519" y="2160"/>
                  </a:lnTo>
                  <a:lnTo>
                    <a:pt x="5404" y="2178"/>
                  </a:lnTo>
                  <a:lnTo>
                    <a:pt x="5245" y="2125"/>
                  </a:lnTo>
                  <a:lnTo>
                    <a:pt x="4866" y="2160"/>
                  </a:lnTo>
                  <a:lnTo>
                    <a:pt x="4496" y="2302"/>
                  </a:lnTo>
                  <a:lnTo>
                    <a:pt x="3905" y="2363"/>
                  </a:lnTo>
                  <a:lnTo>
                    <a:pt x="3711" y="2416"/>
                  </a:lnTo>
                  <a:lnTo>
                    <a:pt x="3544" y="2513"/>
                  </a:lnTo>
                  <a:lnTo>
                    <a:pt x="3403" y="2654"/>
                  </a:lnTo>
                  <a:lnTo>
                    <a:pt x="3244" y="2760"/>
                  </a:lnTo>
                  <a:lnTo>
                    <a:pt x="3068" y="2822"/>
                  </a:lnTo>
                  <a:lnTo>
                    <a:pt x="2918" y="2998"/>
                  </a:lnTo>
                  <a:lnTo>
                    <a:pt x="2865" y="3254"/>
                  </a:lnTo>
                  <a:lnTo>
                    <a:pt x="2768" y="3421"/>
                  </a:lnTo>
                  <a:lnTo>
                    <a:pt x="2601" y="3377"/>
                  </a:lnTo>
                  <a:lnTo>
                    <a:pt x="2566" y="3306"/>
                  </a:lnTo>
                  <a:lnTo>
                    <a:pt x="2557" y="3271"/>
                  </a:lnTo>
                  <a:lnTo>
                    <a:pt x="2486" y="3236"/>
                  </a:lnTo>
                  <a:lnTo>
                    <a:pt x="2354" y="3289"/>
                  </a:lnTo>
                  <a:lnTo>
                    <a:pt x="2142" y="3421"/>
                  </a:lnTo>
                  <a:lnTo>
                    <a:pt x="2072" y="3447"/>
                  </a:lnTo>
                  <a:lnTo>
                    <a:pt x="1896" y="3483"/>
                  </a:lnTo>
                  <a:lnTo>
                    <a:pt x="1904" y="3668"/>
                  </a:lnTo>
                  <a:lnTo>
                    <a:pt x="2001" y="3782"/>
                  </a:lnTo>
                  <a:lnTo>
                    <a:pt x="2081" y="3915"/>
                  </a:lnTo>
                  <a:lnTo>
                    <a:pt x="2125" y="4091"/>
                  </a:lnTo>
                  <a:lnTo>
                    <a:pt x="2195" y="4241"/>
                  </a:lnTo>
                  <a:lnTo>
                    <a:pt x="2310" y="4294"/>
                  </a:lnTo>
                  <a:lnTo>
                    <a:pt x="2389" y="4408"/>
                  </a:lnTo>
                  <a:lnTo>
                    <a:pt x="2495" y="4488"/>
                  </a:lnTo>
                  <a:lnTo>
                    <a:pt x="2742" y="4549"/>
                  </a:lnTo>
                  <a:lnTo>
                    <a:pt x="2953" y="4717"/>
                  </a:lnTo>
                  <a:lnTo>
                    <a:pt x="3059" y="4884"/>
                  </a:lnTo>
                  <a:lnTo>
                    <a:pt x="2945" y="5043"/>
                  </a:lnTo>
                  <a:lnTo>
                    <a:pt x="2759" y="4972"/>
                  </a:lnTo>
                  <a:lnTo>
                    <a:pt x="2601" y="4884"/>
                  </a:lnTo>
                  <a:lnTo>
                    <a:pt x="2530" y="4902"/>
                  </a:lnTo>
                  <a:lnTo>
                    <a:pt x="2469" y="4928"/>
                  </a:lnTo>
                  <a:lnTo>
                    <a:pt x="2398" y="5114"/>
                  </a:lnTo>
                  <a:lnTo>
                    <a:pt x="2345" y="5325"/>
                  </a:lnTo>
                  <a:lnTo>
                    <a:pt x="2231" y="5431"/>
                  </a:lnTo>
                  <a:lnTo>
                    <a:pt x="2081" y="5457"/>
                  </a:lnTo>
                  <a:lnTo>
                    <a:pt x="1799" y="5440"/>
                  </a:lnTo>
                  <a:lnTo>
                    <a:pt x="1525" y="5510"/>
                  </a:lnTo>
                  <a:lnTo>
                    <a:pt x="1261" y="5625"/>
                  </a:lnTo>
                  <a:lnTo>
                    <a:pt x="979" y="5634"/>
                  </a:lnTo>
                  <a:lnTo>
                    <a:pt x="679" y="5554"/>
                  </a:lnTo>
                  <a:lnTo>
                    <a:pt x="371" y="5598"/>
                  </a:lnTo>
                  <a:lnTo>
                    <a:pt x="335" y="5933"/>
                  </a:lnTo>
                  <a:lnTo>
                    <a:pt x="353" y="6568"/>
                  </a:lnTo>
                  <a:lnTo>
                    <a:pt x="283" y="6841"/>
                  </a:lnTo>
                  <a:lnTo>
                    <a:pt x="203" y="6982"/>
                  </a:lnTo>
                  <a:lnTo>
                    <a:pt x="141" y="7141"/>
                  </a:lnTo>
                  <a:lnTo>
                    <a:pt x="124" y="7291"/>
                  </a:lnTo>
                  <a:lnTo>
                    <a:pt x="89" y="7423"/>
                  </a:lnTo>
                  <a:lnTo>
                    <a:pt x="18" y="7538"/>
                  </a:lnTo>
                  <a:lnTo>
                    <a:pt x="0" y="7573"/>
                  </a:lnTo>
                  <a:lnTo>
                    <a:pt x="283" y="7758"/>
                  </a:lnTo>
                  <a:lnTo>
                    <a:pt x="459" y="7846"/>
                  </a:lnTo>
                  <a:lnTo>
                    <a:pt x="882" y="7943"/>
                  </a:lnTo>
                  <a:lnTo>
                    <a:pt x="1076" y="7961"/>
                  </a:lnTo>
                  <a:lnTo>
                    <a:pt x="1323" y="7767"/>
                  </a:lnTo>
                  <a:lnTo>
                    <a:pt x="1367" y="7705"/>
                  </a:lnTo>
                  <a:lnTo>
                    <a:pt x="1420" y="7679"/>
                  </a:lnTo>
                  <a:lnTo>
                    <a:pt x="1719" y="7520"/>
                  </a:lnTo>
                  <a:lnTo>
                    <a:pt x="1807" y="7520"/>
                  </a:lnTo>
                  <a:lnTo>
                    <a:pt x="2116" y="7599"/>
                  </a:lnTo>
                  <a:lnTo>
                    <a:pt x="2257" y="7591"/>
                  </a:lnTo>
                  <a:lnTo>
                    <a:pt x="2319" y="7599"/>
                  </a:lnTo>
                  <a:lnTo>
                    <a:pt x="2363" y="7617"/>
                  </a:lnTo>
                  <a:lnTo>
                    <a:pt x="2380" y="7635"/>
                  </a:lnTo>
                  <a:lnTo>
                    <a:pt x="2398" y="7635"/>
                  </a:lnTo>
                  <a:lnTo>
                    <a:pt x="2451" y="7599"/>
                  </a:lnTo>
                  <a:lnTo>
                    <a:pt x="2513" y="7520"/>
                  </a:lnTo>
                  <a:lnTo>
                    <a:pt x="2557" y="7432"/>
                  </a:lnTo>
                  <a:lnTo>
                    <a:pt x="2610" y="7361"/>
                  </a:lnTo>
                  <a:lnTo>
                    <a:pt x="2715" y="7326"/>
                  </a:lnTo>
                  <a:lnTo>
                    <a:pt x="2768" y="7335"/>
                  </a:lnTo>
                  <a:lnTo>
                    <a:pt x="2865" y="7388"/>
                  </a:lnTo>
                  <a:lnTo>
                    <a:pt x="2918" y="7405"/>
                  </a:lnTo>
                  <a:lnTo>
                    <a:pt x="2980" y="7405"/>
                  </a:lnTo>
                  <a:lnTo>
                    <a:pt x="3112" y="7361"/>
                  </a:lnTo>
                  <a:lnTo>
                    <a:pt x="3315" y="7370"/>
                  </a:lnTo>
                  <a:lnTo>
                    <a:pt x="3421" y="7353"/>
                  </a:lnTo>
                  <a:lnTo>
                    <a:pt x="3509" y="7256"/>
                  </a:lnTo>
                  <a:lnTo>
                    <a:pt x="3606" y="7264"/>
                  </a:lnTo>
                  <a:lnTo>
                    <a:pt x="3782" y="7326"/>
                  </a:lnTo>
                  <a:lnTo>
                    <a:pt x="3853" y="7308"/>
                  </a:lnTo>
                  <a:lnTo>
                    <a:pt x="4020" y="7229"/>
                  </a:lnTo>
                  <a:lnTo>
                    <a:pt x="4117" y="7203"/>
                  </a:lnTo>
                  <a:lnTo>
                    <a:pt x="4205" y="7220"/>
                  </a:lnTo>
                  <a:lnTo>
                    <a:pt x="4408" y="7273"/>
                  </a:lnTo>
                  <a:lnTo>
                    <a:pt x="4514" y="7282"/>
                  </a:lnTo>
                  <a:lnTo>
                    <a:pt x="4514" y="7326"/>
                  </a:lnTo>
                  <a:lnTo>
                    <a:pt x="4452" y="7361"/>
                  </a:lnTo>
                  <a:lnTo>
                    <a:pt x="4549" y="7379"/>
                  </a:lnTo>
                  <a:lnTo>
                    <a:pt x="4655" y="7282"/>
                  </a:lnTo>
                  <a:lnTo>
                    <a:pt x="4760" y="7141"/>
                  </a:lnTo>
                  <a:lnTo>
                    <a:pt x="4866" y="7053"/>
                  </a:lnTo>
                  <a:lnTo>
                    <a:pt x="4928" y="7018"/>
                  </a:lnTo>
                  <a:lnTo>
                    <a:pt x="4990" y="7009"/>
                  </a:lnTo>
                  <a:lnTo>
                    <a:pt x="5034" y="7026"/>
                  </a:lnTo>
                  <a:lnTo>
                    <a:pt x="5051" y="7106"/>
                  </a:lnTo>
                  <a:lnTo>
                    <a:pt x="5166" y="7291"/>
                  </a:lnTo>
                  <a:lnTo>
                    <a:pt x="5184" y="7326"/>
                  </a:lnTo>
                  <a:lnTo>
                    <a:pt x="5210" y="7291"/>
                  </a:lnTo>
                  <a:lnTo>
                    <a:pt x="5236" y="7132"/>
                  </a:lnTo>
                  <a:lnTo>
                    <a:pt x="5263" y="7070"/>
                  </a:lnTo>
                  <a:lnTo>
                    <a:pt x="5404" y="6912"/>
                  </a:lnTo>
                  <a:lnTo>
                    <a:pt x="5439" y="6885"/>
                  </a:lnTo>
                  <a:lnTo>
                    <a:pt x="5598" y="6824"/>
                  </a:lnTo>
                  <a:lnTo>
                    <a:pt x="5642" y="6815"/>
                  </a:lnTo>
                  <a:lnTo>
                    <a:pt x="5695" y="6788"/>
                  </a:lnTo>
                  <a:lnTo>
                    <a:pt x="5765" y="6665"/>
                  </a:lnTo>
                  <a:lnTo>
                    <a:pt x="5818" y="6621"/>
                  </a:lnTo>
                  <a:lnTo>
                    <a:pt x="5801" y="6594"/>
                  </a:lnTo>
                  <a:lnTo>
                    <a:pt x="5792" y="6586"/>
                  </a:lnTo>
                  <a:lnTo>
                    <a:pt x="5757" y="6577"/>
                  </a:lnTo>
                  <a:lnTo>
                    <a:pt x="5827" y="6550"/>
                  </a:lnTo>
                  <a:lnTo>
                    <a:pt x="5880" y="6506"/>
                  </a:lnTo>
                  <a:lnTo>
                    <a:pt x="5959" y="6365"/>
                  </a:lnTo>
                  <a:lnTo>
                    <a:pt x="6030" y="6304"/>
                  </a:lnTo>
                  <a:lnTo>
                    <a:pt x="6083" y="6321"/>
                  </a:lnTo>
                  <a:lnTo>
                    <a:pt x="6144" y="6356"/>
                  </a:lnTo>
                  <a:lnTo>
                    <a:pt x="6215" y="6383"/>
                  </a:lnTo>
                  <a:lnTo>
                    <a:pt x="6312" y="6445"/>
                  </a:lnTo>
                  <a:lnTo>
                    <a:pt x="6382" y="6594"/>
                  </a:lnTo>
                  <a:lnTo>
                    <a:pt x="6400" y="6744"/>
                  </a:lnTo>
                  <a:lnTo>
                    <a:pt x="6356" y="6850"/>
                  </a:lnTo>
                  <a:lnTo>
                    <a:pt x="6356" y="6885"/>
                  </a:lnTo>
                  <a:lnTo>
                    <a:pt x="6435" y="6885"/>
                  </a:lnTo>
                  <a:lnTo>
                    <a:pt x="6462" y="6850"/>
                  </a:lnTo>
                  <a:lnTo>
                    <a:pt x="6471" y="6780"/>
                  </a:lnTo>
                  <a:lnTo>
                    <a:pt x="6488" y="6691"/>
                  </a:lnTo>
                  <a:lnTo>
                    <a:pt x="6523" y="6621"/>
                  </a:lnTo>
                  <a:lnTo>
                    <a:pt x="6612" y="6506"/>
                  </a:lnTo>
                  <a:lnTo>
                    <a:pt x="6620" y="6471"/>
                  </a:lnTo>
                  <a:lnTo>
                    <a:pt x="6603" y="6489"/>
                  </a:lnTo>
                  <a:lnTo>
                    <a:pt x="6576" y="6497"/>
                  </a:lnTo>
                  <a:lnTo>
                    <a:pt x="6629" y="6374"/>
                  </a:lnTo>
                  <a:lnTo>
                    <a:pt x="6753" y="6330"/>
                  </a:lnTo>
                  <a:lnTo>
                    <a:pt x="6894" y="6295"/>
                  </a:lnTo>
                  <a:lnTo>
                    <a:pt x="6991" y="6224"/>
                  </a:lnTo>
                  <a:lnTo>
                    <a:pt x="6999" y="6074"/>
                  </a:lnTo>
                  <a:lnTo>
                    <a:pt x="6973" y="5889"/>
                  </a:lnTo>
                  <a:lnTo>
                    <a:pt x="6991" y="5731"/>
                  </a:lnTo>
                  <a:lnTo>
                    <a:pt x="7149" y="5642"/>
                  </a:lnTo>
                  <a:lnTo>
                    <a:pt x="7317" y="5475"/>
                  </a:lnTo>
                  <a:lnTo>
                    <a:pt x="7405" y="5431"/>
                  </a:lnTo>
                  <a:lnTo>
                    <a:pt x="7449" y="5387"/>
                  </a:lnTo>
                  <a:lnTo>
                    <a:pt x="7475" y="5334"/>
                  </a:lnTo>
                  <a:lnTo>
                    <a:pt x="7511" y="5246"/>
                  </a:lnTo>
                  <a:lnTo>
                    <a:pt x="7907" y="4734"/>
                  </a:lnTo>
                  <a:lnTo>
                    <a:pt x="8057" y="4611"/>
                  </a:lnTo>
                  <a:lnTo>
                    <a:pt x="8551" y="4294"/>
                  </a:lnTo>
                  <a:lnTo>
                    <a:pt x="8965" y="3923"/>
                  </a:lnTo>
                  <a:lnTo>
                    <a:pt x="9106" y="3844"/>
                  </a:lnTo>
                  <a:lnTo>
                    <a:pt x="9133" y="3827"/>
                  </a:lnTo>
                  <a:lnTo>
                    <a:pt x="9177" y="3712"/>
                  </a:lnTo>
                  <a:lnTo>
                    <a:pt x="9203" y="3694"/>
                  </a:lnTo>
                  <a:lnTo>
                    <a:pt x="9344" y="3615"/>
                  </a:lnTo>
                  <a:lnTo>
                    <a:pt x="9397" y="3589"/>
                  </a:lnTo>
                  <a:lnTo>
                    <a:pt x="9538" y="3571"/>
                  </a:lnTo>
                  <a:lnTo>
                    <a:pt x="9847" y="3421"/>
                  </a:lnTo>
                  <a:lnTo>
                    <a:pt x="10041" y="3377"/>
                  </a:lnTo>
                  <a:lnTo>
                    <a:pt x="10182" y="3456"/>
                  </a:lnTo>
                  <a:lnTo>
                    <a:pt x="10208" y="3412"/>
                  </a:lnTo>
                  <a:lnTo>
                    <a:pt x="10587" y="3615"/>
                  </a:lnTo>
                  <a:lnTo>
                    <a:pt x="10772" y="3818"/>
                  </a:lnTo>
                  <a:lnTo>
                    <a:pt x="10843" y="3844"/>
                  </a:lnTo>
                  <a:lnTo>
                    <a:pt x="10816" y="3941"/>
                  </a:lnTo>
                  <a:lnTo>
                    <a:pt x="10807" y="3968"/>
                  </a:lnTo>
                  <a:lnTo>
                    <a:pt x="10869" y="3941"/>
                  </a:lnTo>
                  <a:lnTo>
                    <a:pt x="10940" y="3923"/>
                  </a:lnTo>
                  <a:lnTo>
                    <a:pt x="10957" y="3923"/>
                  </a:lnTo>
                  <a:lnTo>
                    <a:pt x="10957" y="3915"/>
                  </a:lnTo>
                  <a:lnTo>
                    <a:pt x="11204" y="3738"/>
                  </a:lnTo>
                  <a:lnTo>
                    <a:pt x="11398" y="3685"/>
                  </a:lnTo>
                  <a:lnTo>
                    <a:pt x="11574" y="3527"/>
                  </a:lnTo>
                  <a:lnTo>
                    <a:pt x="11601" y="3368"/>
                  </a:lnTo>
                  <a:lnTo>
                    <a:pt x="11583" y="3209"/>
                  </a:lnTo>
                  <a:lnTo>
                    <a:pt x="11513" y="2883"/>
                  </a:lnTo>
                  <a:lnTo>
                    <a:pt x="11513" y="2557"/>
                  </a:lnTo>
                  <a:lnTo>
                    <a:pt x="11645" y="2196"/>
                  </a:lnTo>
                  <a:lnTo>
                    <a:pt x="11469" y="2011"/>
                  </a:lnTo>
                  <a:lnTo>
                    <a:pt x="11187" y="2019"/>
                  </a:lnTo>
                  <a:lnTo>
                    <a:pt x="10966" y="1861"/>
                  </a:lnTo>
                  <a:lnTo>
                    <a:pt x="10860" y="1526"/>
                  </a:lnTo>
                  <a:lnTo>
                    <a:pt x="10852" y="926"/>
                  </a:lnTo>
                  <a:lnTo>
                    <a:pt x="10631" y="759"/>
                  </a:lnTo>
                  <a:lnTo>
                    <a:pt x="10455" y="433"/>
                  </a:lnTo>
                  <a:lnTo>
                    <a:pt x="10305" y="89"/>
                  </a:lnTo>
                  <a:lnTo>
                    <a:pt x="9979"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3127;p54">
              <a:extLst>
                <a:ext uri="{FF2B5EF4-FFF2-40B4-BE49-F238E27FC236}">
                  <a16:creationId xmlns:a16="http://schemas.microsoft.com/office/drawing/2014/main" id="{C079C971-C749-092E-499D-0AEEF8AF3EFF}"/>
                </a:ext>
              </a:extLst>
            </p:cNvPr>
            <p:cNvSpPr/>
            <p:nvPr/>
          </p:nvSpPr>
          <p:spPr>
            <a:xfrm>
              <a:off x="5382972" y="2805732"/>
              <a:ext cx="565328" cy="804056"/>
            </a:xfrm>
            <a:custGeom>
              <a:avLst/>
              <a:gdLst/>
              <a:ahLst/>
              <a:cxnLst/>
              <a:rect l="l" t="t" r="r" b="b"/>
              <a:pathLst>
                <a:path w="7952" h="11310" extrusionOk="0">
                  <a:moveTo>
                    <a:pt x="7228" y="0"/>
                  </a:moveTo>
                  <a:lnTo>
                    <a:pt x="6849" y="106"/>
                  </a:lnTo>
                  <a:lnTo>
                    <a:pt x="6488" y="309"/>
                  </a:lnTo>
                  <a:lnTo>
                    <a:pt x="6285" y="476"/>
                  </a:lnTo>
                  <a:lnTo>
                    <a:pt x="6091" y="961"/>
                  </a:lnTo>
                  <a:lnTo>
                    <a:pt x="5959" y="1146"/>
                  </a:lnTo>
                  <a:lnTo>
                    <a:pt x="5765" y="1552"/>
                  </a:lnTo>
                  <a:lnTo>
                    <a:pt x="5510" y="1895"/>
                  </a:lnTo>
                  <a:lnTo>
                    <a:pt x="3791" y="3077"/>
                  </a:lnTo>
                  <a:lnTo>
                    <a:pt x="3896" y="4161"/>
                  </a:lnTo>
                  <a:lnTo>
                    <a:pt x="3650" y="4276"/>
                  </a:lnTo>
                  <a:lnTo>
                    <a:pt x="3077" y="4046"/>
                  </a:lnTo>
                  <a:lnTo>
                    <a:pt x="2654" y="3941"/>
                  </a:lnTo>
                  <a:lnTo>
                    <a:pt x="1860" y="3879"/>
                  </a:lnTo>
                  <a:lnTo>
                    <a:pt x="1252" y="4487"/>
                  </a:lnTo>
                  <a:lnTo>
                    <a:pt x="794" y="4566"/>
                  </a:lnTo>
                  <a:lnTo>
                    <a:pt x="556" y="4487"/>
                  </a:lnTo>
                  <a:lnTo>
                    <a:pt x="318" y="4469"/>
                  </a:lnTo>
                  <a:lnTo>
                    <a:pt x="177" y="4681"/>
                  </a:lnTo>
                  <a:lnTo>
                    <a:pt x="194" y="4981"/>
                  </a:lnTo>
                  <a:lnTo>
                    <a:pt x="318" y="5272"/>
                  </a:lnTo>
                  <a:lnTo>
                    <a:pt x="344" y="5430"/>
                  </a:lnTo>
                  <a:lnTo>
                    <a:pt x="273" y="5677"/>
                  </a:lnTo>
                  <a:lnTo>
                    <a:pt x="212" y="5748"/>
                  </a:lnTo>
                  <a:lnTo>
                    <a:pt x="132" y="5809"/>
                  </a:lnTo>
                  <a:lnTo>
                    <a:pt x="18" y="5994"/>
                  </a:lnTo>
                  <a:lnTo>
                    <a:pt x="0" y="6118"/>
                  </a:lnTo>
                  <a:lnTo>
                    <a:pt x="9" y="6400"/>
                  </a:lnTo>
                  <a:lnTo>
                    <a:pt x="159" y="6744"/>
                  </a:lnTo>
                  <a:lnTo>
                    <a:pt x="335" y="7070"/>
                  </a:lnTo>
                  <a:lnTo>
                    <a:pt x="556" y="7237"/>
                  </a:lnTo>
                  <a:lnTo>
                    <a:pt x="564" y="7837"/>
                  </a:lnTo>
                  <a:lnTo>
                    <a:pt x="670" y="8172"/>
                  </a:lnTo>
                  <a:lnTo>
                    <a:pt x="891" y="8330"/>
                  </a:lnTo>
                  <a:lnTo>
                    <a:pt x="1173" y="8322"/>
                  </a:lnTo>
                  <a:lnTo>
                    <a:pt x="1349" y="8507"/>
                  </a:lnTo>
                  <a:lnTo>
                    <a:pt x="1217" y="8868"/>
                  </a:lnTo>
                  <a:lnTo>
                    <a:pt x="1217" y="9194"/>
                  </a:lnTo>
                  <a:lnTo>
                    <a:pt x="1287" y="9520"/>
                  </a:lnTo>
                  <a:lnTo>
                    <a:pt x="1305" y="9679"/>
                  </a:lnTo>
                  <a:lnTo>
                    <a:pt x="1278" y="9838"/>
                  </a:lnTo>
                  <a:lnTo>
                    <a:pt x="1102" y="9996"/>
                  </a:lnTo>
                  <a:lnTo>
                    <a:pt x="908" y="10049"/>
                  </a:lnTo>
                  <a:lnTo>
                    <a:pt x="661" y="10226"/>
                  </a:lnTo>
                  <a:lnTo>
                    <a:pt x="661" y="10234"/>
                  </a:lnTo>
                  <a:lnTo>
                    <a:pt x="794" y="10234"/>
                  </a:lnTo>
                  <a:lnTo>
                    <a:pt x="891" y="10270"/>
                  </a:lnTo>
                  <a:lnTo>
                    <a:pt x="1040" y="10376"/>
                  </a:lnTo>
                  <a:lnTo>
                    <a:pt x="1164" y="10420"/>
                  </a:lnTo>
                  <a:lnTo>
                    <a:pt x="2336" y="11134"/>
                  </a:lnTo>
                  <a:lnTo>
                    <a:pt x="2407" y="11151"/>
                  </a:lnTo>
                  <a:lnTo>
                    <a:pt x="2460" y="11178"/>
                  </a:lnTo>
                  <a:lnTo>
                    <a:pt x="2530" y="11283"/>
                  </a:lnTo>
                  <a:lnTo>
                    <a:pt x="2574" y="11310"/>
                  </a:lnTo>
                  <a:lnTo>
                    <a:pt x="2583" y="11292"/>
                  </a:lnTo>
                  <a:lnTo>
                    <a:pt x="2706" y="11195"/>
                  </a:lnTo>
                  <a:lnTo>
                    <a:pt x="2803" y="11160"/>
                  </a:lnTo>
                  <a:lnTo>
                    <a:pt x="2847" y="11134"/>
                  </a:lnTo>
                  <a:lnTo>
                    <a:pt x="2865" y="11090"/>
                  </a:lnTo>
                  <a:lnTo>
                    <a:pt x="2892" y="11063"/>
                  </a:lnTo>
                  <a:lnTo>
                    <a:pt x="2997" y="11001"/>
                  </a:lnTo>
                  <a:lnTo>
                    <a:pt x="3041" y="10993"/>
                  </a:lnTo>
                  <a:lnTo>
                    <a:pt x="3235" y="11019"/>
                  </a:lnTo>
                  <a:lnTo>
                    <a:pt x="3438" y="11072"/>
                  </a:lnTo>
                  <a:lnTo>
                    <a:pt x="3279" y="11001"/>
                  </a:lnTo>
                  <a:lnTo>
                    <a:pt x="3235" y="10984"/>
                  </a:lnTo>
                  <a:lnTo>
                    <a:pt x="3191" y="10984"/>
                  </a:lnTo>
                  <a:lnTo>
                    <a:pt x="3200" y="10931"/>
                  </a:lnTo>
                  <a:lnTo>
                    <a:pt x="3244" y="10887"/>
                  </a:lnTo>
                  <a:lnTo>
                    <a:pt x="3306" y="10878"/>
                  </a:lnTo>
                  <a:lnTo>
                    <a:pt x="3350" y="10896"/>
                  </a:lnTo>
                  <a:lnTo>
                    <a:pt x="3500" y="11028"/>
                  </a:lnTo>
                  <a:lnTo>
                    <a:pt x="3553" y="11045"/>
                  </a:lnTo>
                  <a:lnTo>
                    <a:pt x="3702" y="11028"/>
                  </a:lnTo>
                  <a:lnTo>
                    <a:pt x="3747" y="11019"/>
                  </a:lnTo>
                  <a:lnTo>
                    <a:pt x="3817" y="10966"/>
                  </a:lnTo>
                  <a:lnTo>
                    <a:pt x="3861" y="10957"/>
                  </a:lnTo>
                  <a:lnTo>
                    <a:pt x="3896" y="10931"/>
                  </a:lnTo>
                  <a:lnTo>
                    <a:pt x="3905" y="10869"/>
                  </a:lnTo>
                  <a:lnTo>
                    <a:pt x="3905" y="10790"/>
                  </a:lnTo>
                  <a:lnTo>
                    <a:pt x="3932" y="10737"/>
                  </a:lnTo>
                  <a:lnTo>
                    <a:pt x="3958" y="10693"/>
                  </a:lnTo>
                  <a:lnTo>
                    <a:pt x="3993" y="10587"/>
                  </a:lnTo>
                  <a:lnTo>
                    <a:pt x="4020" y="10534"/>
                  </a:lnTo>
                  <a:lnTo>
                    <a:pt x="4196" y="10358"/>
                  </a:lnTo>
                  <a:lnTo>
                    <a:pt x="4126" y="10376"/>
                  </a:lnTo>
                  <a:lnTo>
                    <a:pt x="4064" y="10420"/>
                  </a:lnTo>
                  <a:lnTo>
                    <a:pt x="3861" y="10658"/>
                  </a:lnTo>
                  <a:lnTo>
                    <a:pt x="3791" y="10702"/>
                  </a:lnTo>
                  <a:lnTo>
                    <a:pt x="3782" y="10640"/>
                  </a:lnTo>
                  <a:lnTo>
                    <a:pt x="3861" y="10508"/>
                  </a:lnTo>
                  <a:lnTo>
                    <a:pt x="3985" y="10402"/>
                  </a:lnTo>
                  <a:lnTo>
                    <a:pt x="4258" y="10279"/>
                  </a:lnTo>
                  <a:lnTo>
                    <a:pt x="4196" y="10252"/>
                  </a:lnTo>
                  <a:lnTo>
                    <a:pt x="4152" y="10270"/>
                  </a:lnTo>
                  <a:lnTo>
                    <a:pt x="4108" y="10305"/>
                  </a:lnTo>
                  <a:lnTo>
                    <a:pt x="4055" y="10323"/>
                  </a:lnTo>
                  <a:lnTo>
                    <a:pt x="4020" y="10287"/>
                  </a:lnTo>
                  <a:lnTo>
                    <a:pt x="4002" y="10234"/>
                  </a:lnTo>
                  <a:lnTo>
                    <a:pt x="3976" y="10199"/>
                  </a:lnTo>
                  <a:lnTo>
                    <a:pt x="3914" y="10234"/>
                  </a:lnTo>
                  <a:lnTo>
                    <a:pt x="3940" y="10279"/>
                  </a:lnTo>
                  <a:lnTo>
                    <a:pt x="3940" y="10314"/>
                  </a:lnTo>
                  <a:lnTo>
                    <a:pt x="3932" y="10358"/>
                  </a:lnTo>
                  <a:lnTo>
                    <a:pt x="3914" y="10393"/>
                  </a:lnTo>
                  <a:lnTo>
                    <a:pt x="3905" y="10367"/>
                  </a:lnTo>
                  <a:lnTo>
                    <a:pt x="3888" y="10349"/>
                  </a:lnTo>
                  <a:lnTo>
                    <a:pt x="3870" y="10331"/>
                  </a:lnTo>
                  <a:lnTo>
                    <a:pt x="3844" y="10323"/>
                  </a:lnTo>
                  <a:lnTo>
                    <a:pt x="3835" y="10411"/>
                  </a:lnTo>
                  <a:lnTo>
                    <a:pt x="3729" y="10384"/>
                  </a:lnTo>
                  <a:lnTo>
                    <a:pt x="3658" y="10481"/>
                  </a:lnTo>
                  <a:lnTo>
                    <a:pt x="3632" y="10393"/>
                  </a:lnTo>
                  <a:lnTo>
                    <a:pt x="3676" y="10323"/>
                  </a:lnTo>
                  <a:lnTo>
                    <a:pt x="3738" y="10252"/>
                  </a:lnTo>
                  <a:lnTo>
                    <a:pt x="3782" y="10155"/>
                  </a:lnTo>
                  <a:lnTo>
                    <a:pt x="3826" y="10190"/>
                  </a:lnTo>
                  <a:lnTo>
                    <a:pt x="3835" y="10208"/>
                  </a:lnTo>
                  <a:lnTo>
                    <a:pt x="3835" y="10234"/>
                  </a:lnTo>
                  <a:lnTo>
                    <a:pt x="3817" y="10279"/>
                  </a:lnTo>
                  <a:lnTo>
                    <a:pt x="3870" y="10243"/>
                  </a:lnTo>
                  <a:lnTo>
                    <a:pt x="3923" y="10138"/>
                  </a:lnTo>
                  <a:lnTo>
                    <a:pt x="3976" y="10085"/>
                  </a:lnTo>
                  <a:lnTo>
                    <a:pt x="4143" y="10023"/>
                  </a:lnTo>
                  <a:lnTo>
                    <a:pt x="4531" y="9996"/>
                  </a:lnTo>
                  <a:lnTo>
                    <a:pt x="4707" y="9961"/>
                  </a:lnTo>
                  <a:lnTo>
                    <a:pt x="4778" y="9900"/>
                  </a:lnTo>
                  <a:lnTo>
                    <a:pt x="4937" y="9723"/>
                  </a:lnTo>
                  <a:lnTo>
                    <a:pt x="4981" y="9688"/>
                  </a:lnTo>
                  <a:lnTo>
                    <a:pt x="5051" y="9662"/>
                  </a:lnTo>
                  <a:lnTo>
                    <a:pt x="5122" y="9609"/>
                  </a:lnTo>
                  <a:lnTo>
                    <a:pt x="5298" y="9388"/>
                  </a:lnTo>
                  <a:lnTo>
                    <a:pt x="5219" y="9274"/>
                  </a:lnTo>
                  <a:lnTo>
                    <a:pt x="5227" y="9036"/>
                  </a:lnTo>
                  <a:lnTo>
                    <a:pt x="5607" y="8595"/>
                  </a:lnTo>
                  <a:lnTo>
                    <a:pt x="5695" y="8533"/>
                  </a:lnTo>
                  <a:lnTo>
                    <a:pt x="5792" y="8560"/>
                  </a:lnTo>
                  <a:lnTo>
                    <a:pt x="5897" y="8595"/>
                  </a:lnTo>
                  <a:lnTo>
                    <a:pt x="6021" y="8242"/>
                  </a:lnTo>
                  <a:lnTo>
                    <a:pt x="6100" y="7943"/>
                  </a:lnTo>
                  <a:lnTo>
                    <a:pt x="6038" y="7616"/>
                  </a:lnTo>
                  <a:lnTo>
                    <a:pt x="6003" y="7537"/>
                  </a:lnTo>
                  <a:lnTo>
                    <a:pt x="5871" y="7431"/>
                  </a:lnTo>
                  <a:lnTo>
                    <a:pt x="5571" y="7370"/>
                  </a:lnTo>
                  <a:lnTo>
                    <a:pt x="5474" y="7378"/>
                  </a:lnTo>
                  <a:lnTo>
                    <a:pt x="5333" y="6955"/>
                  </a:lnTo>
                  <a:lnTo>
                    <a:pt x="5333" y="6497"/>
                  </a:lnTo>
                  <a:lnTo>
                    <a:pt x="5642" y="5748"/>
                  </a:lnTo>
                  <a:lnTo>
                    <a:pt x="5906" y="5139"/>
                  </a:lnTo>
                  <a:lnTo>
                    <a:pt x="6118" y="4778"/>
                  </a:lnTo>
                  <a:lnTo>
                    <a:pt x="6550" y="4752"/>
                  </a:lnTo>
                  <a:lnTo>
                    <a:pt x="6911" y="4752"/>
                  </a:lnTo>
                  <a:lnTo>
                    <a:pt x="7035" y="4584"/>
                  </a:lnTo>
                  <a:lnTo>
                    <a:pt x="7123" y="4531"/>
                  </a:lnTo>
                  <a:lnTo>
                    <a:pt x="7281" y="4381"/>
                  </a:lnTo>
                  <a:lnTo>
                    <a:pt x="7290" y="4143"/>
                  </a:lnTo>
                  <a:lnTo>
                    <a:pt x="7149" y="3782"/>
                  </a:lnTo>
                  <a:lnTo>
                    <a:pt x="7114" y="3509"/>
                  </a:lnTo>
                  <a:lnTo>
                    <a:pt x="7123" y="3324"/>
                  </a:lnTo>
                  <a:lnTo>
                    <a:pt x="7184" y="2936"/>
                  </a:lnTo>
                  <a:lnTo>
                    <a:pt x="7317" y="2557"/>
                  </a:lnTo>
                  <a:lnTo>
                    <a:pt x="7546" y="1516"/>
                  </a:lnTo>
                  <a:lnTo>
                    <a:pt x="7696" y="1146"/>
                  </a:lnTo>
                  <a:lnTo>
                    <a:pt x="7951" y="899"/>
                  </a:lnTo>
                  <a:lnTo>
                    <a:pt x="7757" y="697"/>
                  </a:lnTo>
                  <a:lnTo>
                    <a:pt x="7643" y="388"/>
                  </a:lnTo>
                  <a:lnTo>
                    <a:pt x="7466" y="115"/>
                  </a:lnTo>
                  <a:lnTo>
                    <a:pt x="7228"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3128;p54">
              <a:extLst>
                <a:ext uri="{FF2B5EF4-FFF2-40B4-BE49-F238E27FC236}">
                  <a16:creationId xmlns:a16="http://schemas.microsoft.com/office/drawing/2014/main" id="{7C838C48-DC8D-1989-B89B-C97863C9E2B2}"/>
                </a:ext>
              </a:extLst>
            </p:cNvPr>
            <p:cNvSpPr/>
            <p:nvPr/>
          </p:nvSpPr>
          <p:spPr>
            <a:xfrm>
              <a:off x="3999179" y="1704613"/>
              <a:ext cx="638055" cy="390511"/>
            </a:xfrm>
            <a:custGeom>
              <a:avLst/>
              <a:gdLst/>
              <a:ahLst/>
              <a:cxnLst/>
              <a:rect l="l" t="t" r="r" b="b"/>
              <a:pathLst>
                <a:path w="8975" h="5493" extrusionOk="0">
                  <a:moveTo>
                    <a:pt x="5590" y="0"/>
                  </a:moveTo>
                  <a:lnTo>
                    <a:pt x="5510" y="529"/>
                  </a:lnTo>
                  <a:lnTo>
                    <a:pt x="5281" y="802"/>
                  </a:lnTo>
                  <a:lnTo>
                    <a:pt x="4849" y="899"/>
                  </a:lnTo>
                  <a:lnTo>
                    <a:pt x="4250" y="1005"/>
                  </a:lnTo>
                  <a:lnTo>
                    <a:pt x="4029" y="1173"/>
                  </a:lnTo>
                  <a:lnTo>
                    <a:pt x="4012" y="1499"/>
                  </a:lnTo>
                  <a:lnTo>
                    <a:pt x="3835" y="1940"/>
                  </a:lnTo>
                  <a:lnTo>
                    <a:pt x="3483" y="2213"/>
                  </a:lnTo>
                  <a:lnTo>
                    <a:pt x="3033" y="2266"/>
                  </a:lnTo>
                  <a:lnTo>
                    <a:pt x="2504" y="2045"/>
                  </a:lnTo>
                  <a:lnTo>
                    <a:pt x="1755" y="2063"/>
                  </a:lnTo>
                  <a:lnTo>
                    <a:pt x="1376" y="1931"/>
                  </a:lnTo>
                  <a:lnTo>
                    <a:pt x="1085" y="2160"/>
                  </a:lnTo>
                  <a:lnTo>
                    <a:pt x="1094" y="2354"/>
                  </a:lnTo>
                  <a:lnTo>
                    <a:pt x="1129" y="2548"/>
                  </a:lnTo>
                  <a:lnTo>
                    <a:pt x="1068" y="2733"/>
                  </a:lnTo>
                  <a:lnTo>
                    <a:pt x="768" y="2874"/>
                  </a:lnTo>
                  <a:lnTo>
                    <a:pt x="450" y="2865"/>
                  </a:lnTo>
                  <a:lnTo>
                    <a:pt x="257" y="3147"/>
                  </a:lnTo>
                  <a:lnTo>
                    <a:pt x="133" y="3526"/>
                  </a:lnTo>
                  <a:lnTo>
                    <a:pt x="54" y="3570"/>
                  </a:lnTo>
                  <a:lnTo>
                    <a:pt x="1" y="3632"/>
                  </a:lnTo>
                  <a:lnTo>
                    <a:pt x="27" y="3791"/>
                  </a:lnTo>
                  <a:lnTo>
                    <a:pt x="124" y="3905"/>
                  </a:lnTo>
                  <a:lnTo>
                    <a:pt x="230" y="4126"/>
                  </a:lnTo>
                  <a:lnTo>
                    <a:pt x="142" y="4346"/>
                  </a:lnTo>
                  <a:lnTo>
                    <a:pt x="212" y="4611"/>
                  </a:lnTo>
                  <a:lnTo>
                    <a:pt x="495" y="5122"/>
                  </a:lnTo>
                  <a:lnTo>
                    <a:pt x="671" y="5342"/>
                  </a:lnTo>
                  <a:lnTo>
                    <a:pt x="944" y="5439"/>
                  </a:lnTo>
                  <a:lnTo>
                    <a:pt x="1244" y="5492"/>
                  </a:lnTo>
                  <a:lnTo>
                    <a:pt x="1535" y="5104"/>
                  </a:lnTo>
                  <a:lnTo>
                    <a:pt x="1914" y="4893"/>
                  </a:lnTo>
                  <a:lnTo>
                    <a:pt x="2055" y="4584"/>
                  </a:lnTo>
                  <a:lnTo>
                    <a:pt x="2037" y="4214"/>
                  </a:lnTo>
                  <a:lnTo>
                    <a:pt x="2081" y="3985"/>
                  </a:lnTo>
                  <a:lnTo>
                    <a:pt x="2205" y="3861"/>
                  </a:lnTo>
                  <a:lnTo>
                    <a:pt x="2637" y="4002"/>
                  </a:lnTo>
                  <a:lnTo>
                    <a:pt x="3042" y="4258"/>
                  </a:lnTo>
                  <a:lnTo>
                    <a:pt x="3827" y="4170"/>
                  </a:lnTo>
                  <a:lnTo>
                    <a:pt x="3976" y="4337"/>
                  </a:lnTo>
                  <a:lnTo>
                    <a:pt x="4082" y="4390"/>
                  </a:lnTo>
                  <a:lnTo>
                    <a:pt x="4223" y="4408"/>
                  </a:lnTo>
                  <a:lnTo>
                    <a:pt x="4364" y="4461"/>
                  </a:lnTo>
                  <a:lnTo>
                    <a:pt x="4514" y="4487"/>
                  </a:lnTo>
                  <a:lnTo>
                    <a:pt x="4928" y="4311"/>
                  </a:lnTo>
                  <a:lnTo>
                    <a:pt x="5114" y="4293"/>
                  </a:lnTo>
                  <a:lnTo>
                    <a:pt x="5695" y="4302"/>
                  </a:lnTo>
                  <a:lnTo>
                    <a:pt x="6083" y="4214"/>
                  </a:lnTo>
                  <a:lnTo>
                    <a:pt x="6401" y="4064"/>
                  </a:lnTo>
                  <a:lnTo>
                    <a:pt x="6947" y="3932"/>
                  </a:lnTo>
                  <a:lnTo>
                    <a:pt x="7141" y="3800"/>
                  </a:lnTo>
                  <a:lnTo>
                    <a:pt x="7344" y="3738"/>
                  </a:lnTo>
                  <a:lnTo>
                    <a:pt x="7978" y="3835"/>
                  </a:lnTo>
                  <a:lnTo>
                    <a:pt x="8357" y="3632"/>
                  </a:lnTo>
                  <a:lnTo>
                    <a:pt x="8490" y="3403"/>
                  </a:lnTo>
                  <a:lnTo>
                    <a:pt x="8648" y="3218"/>
                  </a:lnTo>
                  <a:lnTo>
                    <a:pt x="8728" y="3077"/>
                  </a:lnTo>
                  <a:lnTo>
                    <a:pt x="8551" y="2592"/>
                  </a:lnTo>
                  <a:lnTo>
                    <a:pt x="8569" y="2257"/>
                  </a:lnTo>
                  <a:lnTo>
                    <a:pt x="8710" y="2134"/>
                  </a:lnTo>
                  <a:lnTo>
                    <a:pt x="8869" y="2063"/>
                  </a:lnTo>
                  <a:lnTo>
                    <a:pt x="8939" y="1728"/>
                  </a:lnTo>
                  <a:lnTo>
                    <a:pt x="8957" y="1631"/>
                  </a:lnTo>
                  <a:lnTo>
                    <a:pt x="8957" y="1552"/>
                  </a:lnTo>
                  <a:lnTo>
                    <a:pt x="8974" y="1393"/>
                  </a:lnTo>
                  <a:lnTo>
                    <a:pt x="8807" y="1067"/>
                  </a:lnTo>
                  <a:lnTo>
                    <a:pt x="8269" y="802"/>
                  </a:lnTo>
                  <a:lnTo>
                    <a:pt x="8049" y="670"/>
                  </a:lnTo>
                  <a:lnTo>
                    <a:pt x="7926" y="644"/>
                  </a:lnTo>
                  <a:lnTo>
                    <a:pt x="7811" y="573"/>
                  </a:lnTo>
                  <a:lnTo>
                    <a:pt x="7811" y="397"/>
                  </a:lnTo>
                  <a:lnTo>
                    <a:pt x="7837" y="230"/>
                  </a:lnTo>
                  <a:lnTo>
                    <a:pt x="7441" y="141"/>
                  </a:lnTo>
                  <a:lnTo>
                    <a:pt x="7212" y="133"/>
                  </a:lnTo>
                  <a:lnTo>
                    <a:pt x="6215" y="106"/>
                  </a:lnTo>
                  <a:lnTo>
                    <a:pt x="5925" y="27"/>
                  </a:lnTo>
                  <a:lnTo>
                    <a:pt x="5590"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3129;p54">
              <a:extLst>
                <a:ext uri="{FF2B5EF4-FFF2-40B4-BE49-F238E27FC236}">
                  <a16:creationId xmlns:a16="http://schemas.microsoft.com/office/drawing/2014/main" id="{CBB3E18A-8C16-1722-F004-A37089016F03}"/>
                </a:ext>
              </a:extLst>
            </p:cNvPr>
            <p:cNvSpPr/>
            <p:nvPr/>
          </p:nvSpPr>
          <p:spPr>
            <a:xfrm>
              <a:off x="4087550" y="1850002"/>
              <a:ext cx="1014063" cy="884959"/>
            </a:xfrm>
            <a:custGeom>
              <a:avLst/>
              <a:gdLst/>
              <a:ahLst/>
              <a:cxnLst/>
              <a:rect l="l" t="t" r="r" b="b"/>
              <a:pathLst>
                <a:path w="14264" h="12448" extrusionOk="0">
                  <a:moveTo>
                    <a:pt x="7996" y="0"/>
                  </a:moveTo>
                  <a:lnTo>
                    <a:pt x="7626" y="18"/>
                  </a:lnTo>
                  <a:lnTo>
                    <a:pt x="7467" y="89"/>
                  </a:lnTo>
                  <a:lnTo>
                    <a:pt x="7326" y="212"/>
                  </a:lnTo>
                  <a:lnTo>
                    <a:pt x="7308" y="547"/>
                  </a:lnTo>
                  <a:lnTo>
                    <a:pt x="7485" y="1032"/>
                  </a:lnTo>
                  <a:lnTo>
                    <a:pt x="7405" y="1173"/>
                  </a:lnTo>
                  <a:lnTo>
                    <a:pt x="7247" y="1358"/>
                  </a:lnTo>
                  <a:lnTo>
                    <a:pt x="7114" y="1587"/>
                  </a:lnTo>
                  <a:lnTo>
                    <a:pt x="6735" y="1790"/>
                  </a:lnTo>
                  <a:lnTo>
                    <a:pt x="6101" y="1693"/>
                  </a:lnTo>
                  <a:lnTo>
                    <a:pt x="5898" y="1755"/>
                  </a:lnTo>
                  <a:lnTo>
                    <a:pt x="5704" y="1887"/>
                  </a:lnTo>
                  <a:lnTo>
                    <a:pt x="5158" y="2019"/>
                  </a:lnTo>
                  <a:lnTo>
                    <a:pt x="4840" y="2169"/>
                  </a:lnTo>
                  <a:lnTo>
                    <a:pt x="4452" y="2257"/>
                  </a:lnTo>
                  <a:lnTo>
                    <a:pt x="3871" y="2248"/>
                  </a:lnTo>
                  <a:lnTo>
                    <a:pt x="3685" y="2266"/>
                  </a:lnTo>
                  <a:lnTo>
                    <a:pt x="3271" y="2442"/>
                  </a:lnTo>
                  <a:lnTo>
                    <a:pt x="3121" y="2416"/>
                  </a:lnTo>
                  <a:lnTo>
                    <a:pt x="2980" y="2363"/>
                  </a:lnTo>
                  <a:lnTo>
                    <a:pt x="2839" y="2345"/>
                  </a:lnTo>
                  <a:lnTo>
                    <a:pt x="2733" y="2292"/>
                  </a:lnTo>
                  <a:lnTo>
                    <a:pt x="2584" y="2125"/>
                  </a:lnTo>
                  <a:lnTo>
                    <a:pt x="1799" y="2213"/>
                  </a:lnTo>
                  <a:lnTo>
                    <a:pt x="1394" y="1957"/>
                  </a:lnTo>
                  <a:lnTo>
                    <a:pt x="962" y="1816"/>
                  </a:lnTo>
                  <a:lnTo>
                    <a:pt x="838" y="1940"/>
                  </a:lnTo>
                  <a:lnTo>
                    <a:pt x="794" y="2169"/>
                  </a:lnTo>
                  <a:lnTo>
                    <a:pt x="812" y="2539"/>
                  </a:lnTo>
                  <a:lnTo>
                    <a:pt x="671" y="2848"/>
                  </a:lnTo>
                  <a:lnTo>
                    <a:pt x="292" y="3059"/>
                  </a:lnTo>
                  <a:lnTo>
                    <a:pt x="1" y="3447"/>
                  </a:lnTo>
                  <a:lnTo>
                    <a:pt x="204" y="3703"/>
                  </a:lnTo>
                  <a:lnTo>
                    <a:pt x="248" y="4064"/>
                  </a:lnTo>
                  <a:lnTo>
                    <a:pt x="274" y="4188"/>
                  </a:lnTo>
                  <a:lnTo>
                    <a:pt x="389" y="4223"/>
                  </a:lnTo>
                  <a:lnTo>
                    <a:pt x="574" y="4214"/>
                  </a:lnTo>
                  <a:lnTo>
                    <a:pt x="1015" y="4020"/>
                  </a:lnTo>
                  <a:lnTo>
                    <a:pt x="1288" y="4046"/>
                  </a:lnTo>
                  <a:lnTo>
                    <a:pt x="1402" y="4117"/>
                  </a:lnTo>
                  <a:lnTo>
                    <a:pt x="1526" y="4161"/>
                  </a:lnTo>
                  <a:lnTo>
                    <a:pt x="1658" y="4073"/>
                  </a:lnTo>
                  <a:lnTo>
                    <a:pt x="1781" y="3958"/>
                  </a:lnTo>
                  <a:lnTo>
                    <a:pt x="2213" y="4020"/>
                  </a:lnTo>
                  <a:lnTo>
                    <a:pt x="2328" y="3976"/>
                  </a:lnTo>
                  <a:lnTo>
                    <a:pt x="2443" y="3967"/>
                  </a:lnTo>
                  <a:lnTo>
                    <a:pt x="2636" y="4170"/>
                  </a:lnTo>
                  <a:lnTo>
                    <a:pt x="2769" y="4126"/>
                  </a:lnTo>
                  <a:lnTo>
                    <a:pt x="2919" y="4179"/>
                  </a:lnTo>
                  <a:lnTo>
                    <a:pt x="3104" y="4135"/>
                  </a:lnTo>
                  <a:lnTo>
                    <a:pt x="3439" y="4126"/>
                  </a:lnTo>
                  <a:lnTo>
                    <a:pt x="3606" y="4064"/>
                  </a:lnTo>
                  <a:lnTo>
                    <a:pt x="3800" y="4196"/>
                  </a:lnTo>
                  <a:lnTo>
                    <a:pt x="4012" y="4170"/>
                  </a:lnTo>
                  <a:lnTo>
                    <a:pt x="4003" y="4346"/>
                  </a:lnTo>
                  <a:lnTo>
                    <a:pt x="4065" y="4452"/>
                  </a:lnTo>
                  <a:lnTo>
                    <a:pt x="4082" y="4602"/>
                  </a:lnTo>
                  <a:lnTo>
                    <a:pt x="4153" y="4796"/>
                  </a:lnTo>
                  <a:lnTo>
                    <a:pt x="4267" y="4972"/>
                  </a:lnTo>
                  <a:lnTo>
                    <a:pt x="4399" y="5051"/>
                  </a:lnTo>
                  <a:lnTo>
                    <a:pt x="4558" y="5060"/>
                  </a:lnTo>
                  <a:lnTo>
                    <a:pt x="4593" y="5148"/>
                  </a:lnTo>
                  <a:lnTo>
                    <a:pt x="4664" y="5245"/>
                  </a:lnTo>
                  <a:lnTo>
                    <a:pt x="4717" y="5289"/>
                  </a:lnTo>
                  <a:lnTo>
                    <a:pt x="4726" y="5448"/>
                  </a:lnTo>
                  <a:lnTo>
                    <a:pt x="4541" y="5668"/>
                  </a:lnTo>
                  <a:lnTo>
                    <a:pt x="4567" y="5968"/>
                  </a:lnTo>
                  <a:lnTo>
                    <a:pt x="4796" y="6603"/>
                  </a:lnTo>
                  <a:lnTo>
                    <a:pt x="5034" y="6806"/>
                  </a:lnTo>
                  <a:lnTo>
                    <a:pt x="5096" y="6929"/>
                  </a:lnTo>
                  <a:lnTo>
                    <a:pt x="5113" y="7114"/>
                  </a:lnTo>
                  <a:lnTo>
                    <a:pt x="5184" y="7229"/>
                  </a:lnTo>
                  <a:lnTo>
                    <a:pt x="5237" y="7352"/>
                  </a:lnTo>
                  <a:lnTo>
                    <a:pt x="5237" y="7537"/>
                  </a:lnTo>
                  <a:lnTo>
                    <a:pt x="5210" y="7714"/>
                  </a:lnTo>
                  <a:lnTo>
                    <a:pt x="5158" y="7899"/>
                  </a:lnTo>
                  <a:lnTo>
                    <a:pt x="5184" y="7978"/>
                  </a:lnTo>
                  <a:lnTo>
                    <a:pt x="5193" y="8013"/>
                  </a:lnTo>
                  <a:lnTo>
                    <a:pt x="5202" y="8242"/>
                  </a:lnTo>
                  <a:lnTo>
                    <a:pt x="5299" y="8392"/>
                  </a:lnTo>
                  <a:lnTo>
                    <a:pt x="5440" y="8498"/>
                  </a:lnTo>
                  <a:lnTo>
                    <a:pt x="5475" y="8674"/>
                  </a:lnTo>
                  <a:lnTo>
                    <a:pt x="5387" y="8824"/>
                  </a:lnTo>
                  <a:lnTo>
                    <a:pt x="5272" y="8930"/>
                  </a:lnTo>
                  <a:lnTo>
                    <a:pt x="5175" y="8948"/>
                  </a:lnTo>
                  <a:lnTo>
                    <a:pt x="5069" y="8974"/>
                  </a:lnTo>
                  <a:lnTo>
                    <a:pt x="5034" y="9036"/>
                  </a:lnTo>
                  <a:lnTo>
                    <a:pt x="4990" y="9097"/>
                  </a:lnTo>
                  <a:lnTo>
                    <a:pt x="4743" y="9212"/>
                  </a:lnTo>
                  <a:lnTo>
                    <a:pt x="4637" y="9300"/>
                  </a:lnTo>
                  <a:lnTo>
                    <a:pt x="4831" y="9388"/>
                  </a:lnTo>
                  <a:lnTo>
                    <a:pt x="5034" y="9503"/>
                  </a:lnTo>
                  <a:lnTo>
                    <a:pt x="5695" y="10058"/>
                  </a:lnTo>
                  <a:lnTo>
                    <a:pt x="5863" y="10120"/>
                  </a:lnTo>
                  <a:lnTo>
                    <a:pt x="6356" y="9970"/>
                  </a:lnTo>
                  <a:lnTo>
                    <a:pt x="6586" y="9944"/>
                  </a:lnTo>
                  <a:lnTo>
                    <a:pt x="6982" y="10076"/>
                  </a:lnTo>
                  <a:lnTo>
                    <a:pt x="7132" y="10164"/>
                  </a:lnTo>
                  <a:lnTo>
                    <a:pt x="7300" y="10323"/>
                  </a:lnTo>
                  <a:lnTo>
                    <a:pt x="7493" y="10340"/>
                  </a:lnTo>
                  <a:lnTo>
                    <a:pt x="7776" y="10111"/>
                  </a:lnTo>
                  <a:lnTo>
                    <a:pt x="8066" y="9970"/>
                  </a:lnTo>
                  <a:lnTo>
                    <a:pt x="8410" y="10120"/>
                  </a:lnTo>
                  <a:lnTo>
                    <a:pt x="8622" y="9997"/>
                  </a:lnTo>
                  <a:lnTo>
                    <a:pt x="8789" y="9776"/>
                  </a:lnTo>
                  <a:lnTo>
                    <a:pt x="9265" y="9380"/>
                  </a:lnTo>
                  <a:lnTo>
                    <a:pt x="9486" y="9459"/>
                  </a:lnTo>
                  <a:lnTo>
                    <a:pt x="9759" y="9662"/>
                  </a:lnTo>
                  <a:lnTo>
                    <a:pt x="9962" y="9697"/>
                  </a:lnTo>
                  <a:lnTo>
                    <a:pt x="10023" y="9582"/>
                  </a:lnTo>
                  <a:lnTo>
                    <a:pt x="10067" y="9274"/>
                  </a:lnTo>
                  <a:lnTo>
                    <a:pt x="10120" y="9115"/>
                  </a:lnTo>
                  <a:lnTo>
                    <a:pt x="10208" y="8992"/>
                  </a:lnTo>
                  <a:lnTo>
                    <a:pt x="10402" y="8992"/>
                  </a:lnTo>
                  <a:lnTo>
                    <a:pt x="10605" y="9142"/>
                  </a:lnTo>
                  <a:lnTo>
                    <a:pt x="10684" y="9194"/>
                  </a:lnTo>
                  <a:lnTo>
                    <a:pt x="10949" y="9274"/>
                  </a:lnTo>
                  <a:lnTo>
                    <a:pt x="11398" y="9609"/>
                  </a:lnTo>
                  <a:lnTo>
                    <a:pt x="11654" y="10191"/>
                  </a:lnTo>
                  <a:lnTo>
                    <a:pt x="11672" y="10508"/>
                  </a:lnTo>
                  <a:lnTo>
                    <a:pt x="11654" y="10834"/>
                  </a:lnTo>
                  <a:lnTo>
                    <a:pt x="11601" y="11178"/>
                  </a:lnTo>
                  <a:lnTo>
                    <a:pt x="11610" y="11522"/>
                  </a:lnTo>
                  <a:lnTo>
                    <a:pt x="11716" y="11768"/>
                  </a:lnTo>
                  <a:lnTo>
                    <a:pt x="11830" y="11989"/>
                  </a:lnTo>
                  <a:lnTo>
                    <a:pt x="11980" y="12209"/>
                  </a:lnTo>
                  <a:lnTo>
                    <a:pt x="12077" y="12447"/>
                  </a:lnTo>
                  <a:lnTo>
                    <a:pt x="12483" y="12333"/>
                  </a:lnTo>
                  <a:lnTo>
                    <a:pt x="12862" y="12121"/>
                  </a:lnTo>
                  <a:lnTo>
                    <a:pt x="13267" y="12006"/>
                  </a:lnTo>
                  <a:lnTo>
                    <a:pt x="13682" y="12015"/>
                  </a:lnTo>
                  <a:lnTo>
                    <a:pt x="13858" y="11927"/>
                  </a:lnTo>
                  <a:lnTo>
                    <a:pt x="14246" y="11557"/>
                  </a:lnTo>
                  <a:lnTo>
                    <a:pt x="14263" y="11213"/>
                  </a:lnTo>
                  <a:lnTo>
                    <a:pt x="14078" y="10711"/>
                  </a:lnTo>
                  <a:lnTo>
                    <a:pt x="14228" y="10314"/>
                  </a:lnTo>
                  <a:lnTo>
                    <a:pt x="14263" y="10111"/>
                  </a:lnTo>
                  <a:lnTo>
                    <a:pt x="13972" y="10005"/>
                  </a:lnTo>
                  <a:lnTo>
                    <a:pt x="13911" y="9944"/>
                  </a:lnTo>
                  <a:lnTo>
                    <a:pt x="13761" y="9873"/>
                  </a:lnTo>
                  <a:lnTo>
                    <a:pt x="13514" y="9856"/>
                  </a:lnTo>
                  <a:lnTo>
                    <a:pt x="13417" y="9785"/>
                  </a:lnTo>
                  <a:lnTo>
                    <a:pt x="13347" y="9670"/>
                  </a:lnTo>
                  <a:lnTo>
                    <a:pt x="13276" y="9618"/>
                  </a:lnTo>
                  <a:lnTo>
                    <a:pt x="13206" y="9591"/>
                  </a:lnTo>
                  <a:lnTo>
                    <a:pt x="12968" y="9388"/>
                  </a:lnTo>
                  <a:lnTo>
                    <a:pt x="12447" y="9062"/>
                  </a:lnTo>
                  <a:lnTo>
                    <a:pt x="12351" y="8727"/>
                  </a:lnTo>
                  <a:lnTo>
                    <a:pt x="11980" y="8004"/>
                  </a:lnTo>
                  <a:lnTo>
                    <a:pt x="11795" y="7149"/>
                  </a:lnTo>
                  <a:lnTo>
                    <a:pt x="11663" y="6920"/>
                  </a:lnTo>
                  <a:lnTo>
                    <a:pt x="11302" y="6471"/>
                  </a:lnTo>
                  <a:lnTo>
                    <a:pt x="11178" y="5959"/>
                  </a:lnTo>
                  <a:lnTo>
                    <a:pt x="11319" y="5448"/>
                  </a:lnTo>
                  <a:lnTo>
                    <a:pt x="11434" y="4937"/>
                  </a:lnTo>
                  <a:lnTo>
                    <a:pt x="11645" y="4426"/>
                  </a:lnTo>
                  <a:lnTo>
                    <a:pt x="11989" y="4276"/>
                  </a:lnTo>
                  <a:lnTo>
                    <a:pt x="12527" y="4214"/>
                  </a:lnTo>
                  <a:lnTo>
                    <a:pt x="12589" y="3861"/>
                  </a:lnTo>
                  <a:lnTo>
                    <a:pt x="12553" y="3500"/>
                  </a:lnTo>
                  <a:lnTo>
                    <a:pt x="12553" y="3094"/>
                  </a:lnTo>
                  <a:lnTo>
                    <a:pt x="12615" y="2742"/>
                  </a:lnTo>
                  <a:lnTo>
                    <a:pt x="12677" y="2248"/>
                  </a:lnTo>
                  <a:lnTo>
                    <a:pt x="12051" y="2045"/>
                  </a:lnTo>
                  <a:lnTo>
                    <a:pt x="11910" y="1957"/>
                  </a:lnTo>
                  <a:lnTo>
                    <a:pt x="11760" y="1904"/>
                  </a:lnTo>
                  <a:lnTo>
                    <a:pt x="11672" y="1896"/>
                  </a:lnTo>
                  <a:lnTo>
                    <a:pt x="11584" y="1931"/>
                  </a:lnTo>
                  <a:lnTo>
                    <a:pt x="11531" y="2107"/>
                  </a:lnTo>
                  <a:lnTo>
                    <a:pt x="11513" y="2257"/>
                  </a:lnTo>
                  <a:lnTo>
                    <a:pt x="11178" y="2301"/>
                  </a:lnTo>
                  <a:lnTo>
                    <a:pt x="10870" y="2063"/>
                  </a:lnTo>
                  <a:lnTo>
                    <a:pt x="10817" y="1852"/>
                  </a:lnTo>
                  <a:lnTo>
                    <a:pt x="10720" y="1693"/>
                  </a:lnTo>
                  <a:lnTo>
                    <a:pt x="10570" y="1614"/>
                  </a:lnTo>
                  <a:lnTo>
                    <a:pt x="10367" y="1428"/>
                  </a:lnTo>
                  <a:lnTo>
                    <a:pt x="10288" y="1393"/>
                  </a:lnTo>
                  <a:lnTo>
                    <a:pt x="10120" y="1261"/>
                  </a:lnTo>
                  <a:lnTo>
                    <a:pt x="9962" y="1085"/>
                  </a:lnTo>
                  <a:lnTo>
                    <a:pt x="9856" y="882"/>
                  </a:lnTo>
                  <a:lnTo>
                    <a:pt x="9724" y="697"/>
                  </a:lnTo>
                  <a:lnTo>
                    <a:pt x="8366" y="62"/>
                  </a:lnTo>
                  <a:lnTo>
                    <a:pt x="7996"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3130;p54">
              <a:extLst>
                <a:ext uri="{FF2B5EF4-FFF2-40B4-BE49-F238E27FC236}">
                  <a16:creationId xmlns:a16="http://schemas.microsoft.com/office/drawing/2014/main" id="{7D0A834A-015B-DB73-EDD9-E6904B104875}"/>
                </a:ext>
              </a:extLst>
            </p:cNvPr>
            <p:cNvSpPr/>
            <p:nvPr/>
          </p:nvSpPr>
          <p:spPr>
            <a:xfrm>
              <a:off x="3691480" y="1925860"/>
              <a:ext cx="355391" cy="399255"/>
            </a:xfrm>
            <a:custGeom>
              <a:avLst/>
              <a:gdLst/>
              <a:ahLst/>
              <a:cxnLst/>
              <a:rect l="l" t="t" r="r" b="b"/>
              <a:pathLst>
                <a:path w="4999" h="5616" extrusionOk="0">
                  <a:moveTo>
                    <a:pt x="1297" y="0"/>
                  </a:moveTo>
                  <a:lnTo>
                    <a:pt x="1050" y="141"/>
                  </a:lnTo>
                  <a:lnTo>
                    <a:pt x="953" y="220"/>
                  </a:lnTo>
                  <a:lnTo>
                    <a:pt x="856" y="317"/>
                  </a:lnTo>
                  <a:lnTo>
                    <a:pt x="777" y="476"/>
                  </a:lnTo>
                  <a:lnTo>
                    <a:pt x="750" y="679"/>
                  </a:lnTo>
                  <a:lnTo>
                    <a:pt x="706" y="837"/>
                  </a:lnTo>
                  <a:lnTo>
                    <a:pt x="644" y="987"/>
                  </a:lnTo>
                  <a:lnTo>
                    <a:pt x="662" y="1181"/>
                  </a:lnTo>
                  <a:lnTo>
                    <a:pt x="768" y="1313"/>
                  </a:lnTo>
                  <a:lnTo>
                    <a:pt x="794" y="1481"/>
                  </a:lnTo>
                  <a:lnTo>
                    <a:pt x="706" y="1648"/>
                  </a:lnTo>
                  <a:lnTo>
                    <a:pt x="265" y="2116"/>
                  </a:lnTo>
                  <a:lnTo>
                    <a:pt x="133" y="2724"/>
                  </a:lnTo>
                  <a:lnTo>
                    <a:pt x="142" y="3032"/>
                  </a:lnTo>
                  <a:lnTo>
                    <a:pt x="380" y="3376"/>
                  </a:lnTo>
                  <a:lnTo>
                    <a:pt x="503" y="3473"/>
                  </a:lnTo>
                  <a:lnTo>
                    <a:pt x="565" y="3782"/>
                  </a:lnTo>
                  <a:lnTo>
                    <a:pt x="336" y="3870"/>
                  </a:lnTo>
                  <a:lnTo>
                    <a:pt x="71" y="3808"/>
                  </a:lnTo>
                  <a:lnTo>
                    <a:pt x="1" y="4328"/>
                  </a:lnTo>
                  <a:lnTo>
                    <a:pt x="18" y="4584"/>
                  </a:lnTo>
                  <a:lnTo>
                    <a:pt x="177" y="4910"/>
                  </a:lnTo>
                  <a:lnTo>
                    <a:pt x="256" y="4998"/>
                  </a:lnTo>
                  <a:lnTo>
                    <a:pt x="442" y="5122"/>
                  </a:lnTo>
                  <a:lnTo>
                    <a:pt x="600" y="5192"/>
                  </a:lnTo>
                  <a:lnTo>
                    <a:pt x="1111" y="5562"/>
                  </a:lnTo>
                  <a:lnTo>
                    <a:pt x="1314" y="5615"/>
                  </a:lnTo>
                  <a:lnTo>
                    <a:pt x="1684" y="5509"/>
                  </a:lnTo>
                  <a:lnTo>
                    <a:pt x="2028" y="5465"/>
                  </a:lnTo>
                  <a:lnTo>
                    <a:pt x="2205" y="5421"/>
                  </a:lnTo>
                  <a:lnTo>
                    <a:pt x="2460" y="5122"/>
                  </a:lnTo>
                  <a:lnTo>
                    <a:pt x="2663" y="4769"/>
                  </a:lnTo>
                  <a:lnTo>
                    <a:pt x="2707" y="4152"/>
                  </a:lnTo>
                  <a:lnTo>
                    <a:pt x="2830" y="4046"/>
                  </a:lnTo>
                  <a:lnTo>
                    <a:pt x="2971" y="3976"/>
                  </a:lnTo>
                  <a:lnTo>
                    <a:pt x="3051" y="3861"/>
                  </a:lnTo>
                  <a:lnTo>
                    <a:pt x="3121" y="3729"/>
                  </a:lnTo>
                  <a:lnTo>
                    <a:pt x="3359" y="3623"/>
                  </a:lnTo>
                  <a:lnTo>
                    <a:pt x="3606" y="3632"/>
                  </a:lnTo>
                  <a:lnTo>
                    <a:pt x="3844" y="3456"/>
                  </a:lnTo>
                  <a:lnTo>
                    <a:pt x="4003" y="3173"/>
                  </a:lnTo>
                  <a:lnTo>
                    <a:pt x="4064" y="2856"/>
                  </a:lnTo>
                  <a:lnTo>
                    <a:pt x="4144" y="2548"/>
                  </a:lnTo>
                  <a:lnTo>
                    <a:pt x="4523" y="2248"/>
                  </a:lnTo>
                  <a:lnTo>
                    <a:pt x="4999" y="2230"/>
                  </a:lnTo>
                  <a:lnTo>
                    <a:pt x="4823" y="2010"/>
                  </a:lnTo>
                  <a:lnTo>
                    <a:pt x="4540" y="1499"/>
                  </a:lnTo>
                  <a:lnTo>
                    <a:pt x="4470" y="1234"/>
                  </a:lnTo>
                  <a:lnTo>
                    <a:pt x="4232" y="1172"/>
                  </a:lnTo>
                  <a:lnTo>
                    <a:pt x="3879" y="1181"/>
                  </a:lnTo>
                  <a:lnTo>
                    <a:pt x="3800" y="1111"/>
                  </a:lnTo>
                  <a:lnTo>
                    <a:pt x="3694" y="943"/>
                  </a:lnTo>
                  <a:lnTo>
                    <a:pt x="3544" y="846"/>
                  </a:lnTo>
                  <a:lnTo>
                    <a:pt x="3368" y="846"/>
                  </a:lnTo>
                  <a:lnTo>
                    <a:pt x="3201" y="802"/>
                  </a:lnTo>
                  <a:lnTo>
                    <a:pt x="2998" y="820"/>
                  </a:lnTo>
                  <a:lnTo>
                    <a:pt x="2354" y="987"/>
                  </a:lnTo>
                  <a:lnTo>
                    <a:pt x="1949" y="864"/>
                  </a:lnTo>
                  <a:lnTo>
                    <a:pt x="1773" y="679"/>
                  </a:lnTo>
                  <a:lnTo>
                    <a:pt x="1587" y="520"/>
                  </a:lnTo>
                  <a:lnTo>
                    <a:pt x="1429" y="273"/>
                  </a:lnTo>
                  <a:lnTo>
                    <a:pt x="1297"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3131;p54">
              <a:extLst>
                <a:ext uri="{FF2B5EF4-FFF2-40B4-BE49-F238E27FC236}">
                  <a16:creationId xmlns:a16="http://schemas.microsoft.com/office/drawing/2014/main" id="{BF534BC4-9A4A-916A-6027-296799BD7550}"/>
                </a:ext>
              </a:extLst>
            </p:cNvPr>
            <p:cNvSpPr/>
            <p:nvPr/>
          </p:nvSpPr>
          <p:spPr>
            <a:xfrm>
              <a:off x="3848174" y="2084402"/>
              <a:ext cx="628600" cy="462528"/>
            </a:xfrm>
            <a:custGeom>
              <a:avLst/>
              <a:gdLst/>
              <a:ahLst/>
              <a:cxnLst/>
              <a:rect l="l" t="t" r="r" b="b"/>
              <a:pathLst>
                <a:path w="8842" h="6506" extrusionOk="0">
                  <a:moveTo>
                    <a:pt x="2795" y="0"/>
                  </a:moveTo>
                  <a:lnTo>
                    <a:pt x="2319" y="18"/>
                  </a:lnTo>
                  <a:lnTo>
                    <a:pt x="1940" y="318"/>
                  </a:lnTo>
                  <a:lnTo>
                    <a:pt x="1860" y="626"/>
                  </a:lnTo>
                  <a:lnTo>
                    <a:pt x="1799" y="943"/>
                  </a:lnTo>
                  <a:lnTo>
                    <a:pt x="1640" y="1226"/>
                  </a:lnTo>
                  <a:lnTo>
                    <a:pt x="1402" y="1402"/>
                  </a:lnTo>
                  <a:lnTo>
                    <a:pt x="1155" y="1393"/>
                  </a:lnTo>
                  <a:lnTo>
                    <a:pt x="917" y="1499"/>
                  </a:lnTo>
                  <a:lnTo>
                    <a:pt x="847" y="1631"/>
                  </a:lnTo>
                  <a:lnTo>
                    <a:pt x="767" y="1746"/>
                  </a:lnTo>
                  <a:lnTo>
                    <a:pt x="626" y="1816"/>
                  </a:lnTo>
                  <a:lnTo>
                    <a:pt x="503" y="1922"/>
                  </a:lnTo>
                  <a:lnTo>
                    <a:pt x="459" y="2539"/>
                  </a:lnTo>
                  <a:lnTo>
                    <a:pt x="256" y="2892"/>
                  </a:lnTo>
                  <a:lnTo>
                    <a:pt x="1" y="3191"/>
                  </a:lnTo>
                  <a:lnTo>
                    <a:pt x="177" y="3482"/>
                  </a:lnTo>
                  <a:lnTo>
                    <a:pt x="688" y="3976"/>
                  </a:lnTo>
                  <a:lnTo>
                    <a:pt x="812" y="4337"/>
                  </a:lnTo>
                  <a:lnTo>
                    <a:pt x="864" y="4796"/>
                  </a:lnTo>
                  <a:lnTo>
                    <a:pt x="1332" y="5413"/>
                  </a:lnTo>
                  <a:lnTo>
                    <a:pt x="1420" y="5792"/>
                  </a:lnTo>
                  <a:lnTo>
                    <a:pt x="1578" y="5836"/>
                  </a:lnTo>
                  <a:lnTo>
                    <a:pt x="1711" y="5959"/>
                  </a:lnTo>
                  <a:lnTo>
                    <a:pt x="1781" y="6153"/>
                  </a:lnTo>
                  <a:lnTo>
                    <a:pt x="1887" y="6285"/>
                  </a:lnTo>
                  <a:lnTo>
                    <a:pt x="1966" y="6329"/>
                  </a:lnTo>
                  <a:lnTo>
                    <a:pt x="2037" y="6391"/>
                  </a:lnTo>
                  <a:lnTo>
                    <a:pt x="2248" y="6506"/>
                  </a:lnTo>
                  <a:lnTo>
                    <a:pt x="2469" y="6470"/>
                  </a:lnTo>
                  <a:lnTo>
                    <a:pt x="2627" y="6391"/>
                  </a:lnTo>
                  <a:lnTo>
                    <a:pt x="2936" y="6180"/>
                  </a:lnTo>
                  <a:lnTo>
                    <a:pt x="3227" y="5897"/>
                  </a:lnTo>
                  <a:lnTo>
                    <a:pt x="3394" y="5765"/>
                  </a:lnTo>
                  <a:lnTo>
                    <a:pt x="3623" y="5871"/>
                  </a:lnTo>
                  <a:lnTo>
                    <a:pt x="3826" y="6100"/>
                  </a:lnTo>
                  <a:lnTo>
                    <a:pt x="4170" y="5950"/>
                  </a:lnTo>
                  <a:lnTo>
                    <a:pt x="4505" y="5695"/>
                  </a:lnTo>
                  <a:lnTo>
                    <a:pt x="4681" y="5651"/>
                  </a:lnTo>
                  <a:lnTo>
                    <a:pt x="4849" y="5536"/>
                  </a:lnTo>
                  <a:lnTo>
                    <a:pt x="5007" y="5395"/>
                  </a:lnTo>
                  <a:lnTo>
                    <a:pt x="5201" y="5342"/>
                  </a:lnTo>
                  <a:lnTo>
                    <a:pt x="5527" y="5686"/>
                  </a:lnTo>
                  <a:lnTo>
                    <a:pt x="5757" y="6215"/>
                  </a:lnTo>
                  <a:lnTo>
                    <a:pt x="6109" y="6479"/>
                  </a:lnTo>
                  <a:lnTo>
                    <a:pt x="6700" y="6418"/>
                  </a:lnTo>
                  <a:lnTo>
                    <a:pt x="7061" y="6426"/>
                  </a:lnTo>
                  <a:lnTo>
                    <a:pt x="7238" y="6470"/>
                  </a:lnTo>
                  <a:lnTo>
                    <a:pt x="7520" y="6506"/>
                  </a:lnTo>
                  <a:lnTo>
                    <a:pt x="7881" y="6444"/>
                  </a:lnTo>
                  <a:lnTo>
                    <a:pt x="7952" y="6347"/>
                  </a:lnTo>
                  <a:lnTo>
                    <a:pt x="7987" y="6180"/>
                  </a:lnTo>
                  <a:lnTo>
                    <a:pt x="8004" y="6003"/>
                  </a:lnTo>
                  <a:lnTo>
                    <a:pt x="8110" y="5915"/>
                  </a:lnTo>
                  <a:lnTo>
                    <a:pt x="8357" y="5800"/>
                  </a:lnTo>
                  <a:lnTo>
                    <a:pt x="8401" y="5739"/>
                  </a:lnTo>
                  <a:lnTo>
                    <a:pt x="8436" y="5677"/>
                  </a:lnTo>
                  <a:lnTo>
                    <a:pt x="8542" y="5651"/>
                  </a:lnTo>
                  <a:lnTo>
                    <a:pt x="8639" y="5633"/>
                  </a:lnTo>
                  <a:lnTo>
                    <a:pt x="8754" y="5527"/>
                  </a:lnTo>
                  <a:lnTo>
                    <a:pt x="8842" y="5377"/>
                  </a:lnTo>
                  <a:lnTo>
                    <a:pt x="8807" y="5201"/>
                  </a:lnTo>
                  <a:lnTo>
                    <a:pt x="8666" y="5095"/>
                  </a:lnTo>
                  <a:lnTo>
                    <a:pt x="8569" y="4945"/>
                  </a:lnTo>
                  <a:lnTo>
                    <a:pt x="8560" y="4716"/>
                  </a:lnTo>
                  <a:lnTo>
                    <a:pt x="8551" y="4681"/>
                  </a:lnTo>
                  <a:lnTo>
                    <a:pt x="8525" y="4602"/>
                  </a:lnTo>
                  <a:lnTo>
                    <a:pt x="8577" y="4417"/>
                  </a:lnTo>
                  <a:lnTo>
                    <a:pt x="8604" y="4240"/>
                  </a:lnTo>
                  <a:lnTo>
                    <a:pt x="8604" y="4055"/>
                  </a:lnTo>
                  <a:lnTo>
                    <a:pt x="8551" y="3932"/>
                  </a:lnTo>
                  <a:lnTo>
                    <a:pt x="8480" y="3817"/>
                  </a:lnTo>
                  <a:lnTo>
                    <a:pt x="8463" y="3632"/>
                  </a:lnTo>
                  <a:lnTo>
                    <a:pt x="8401" y="3509"/>
                  </a:lnTo>
                  <a:lnTo>
                    <a:pt x="8163" y="3306"/>
                  </a:lnTo>
                  <a:lnTo>
                    <a:pt x="7934" y="2671"/>
                  </a:lnTo>
                  <a:lnTo>
                    <a:pt x="7908" y="2371"/>
                  </a:lnTo>
                  <a:lnTo>
                    <a:pt x="8093" y="2151"/>
                  </a:lnTo>
                  <a:lnTo>
                    <a:pt x="8084" y="1992"/>
                  </a:lnTo>
                  <a:lnTo>
                    <a:pt x="8031" y="1948"/>
                  </a:lnTo>
                  <a:lnTo>
                    <a:pt x="7960" y="1851"/>
                  </a:lnTo>
                  <a:lnTo>
                    <a:pt x="7925" y="1763"/>
                  </a:lnTo>
                  <a:lnTo>
                    <a:pt x="7766" y="1754"/>
                  </a:lnTo>
                  <a:lnTo>
                    <a:pt x="7634" y="1675"/>
                  </a:lnTo>
                  <a:lnTo>
                    <a:pt x="7520" y="1499"/>
                  </a:lnTo>
                  <a:lnTo>
                    <a:pt x="7449" y="1305"/>
                  </a:lnTo>
                  <a:lnTo>
                    <a:pt x="7432" y="1155"/>
                  </a:lnTo>
                  <a:lnTo>
                    <a:pt x="7370" y="1049"/>
                  </a:lnTo>
                  <a:lnTo>
                    <a:pt x="7379" y="873"/>
                  </a:lnTo>
                  <a:lnTo>
                    <a:pt x="7167" y="899"/>
                  </a:lnTo>
                  <a:lnTo>
                    <a:pt x="6973" y="767"/>
                  </a:lnTo>
                  <a:lnTo>
                    <a:pt x="6806" y="829"/>
                  </a:lnTo>
                  <a:lnTo>
                    <a:pt x="6471" y="838"/>
                  </a:lnTo>
                  <a:lnTo>
                    <a:pt x="6286" y="882"/>
                  </a:lnTo>
                  <a:lnTo>
                    <a:pt x="6136" y="829"/>
                  </a:lnTo>
                  <a:lnTo>
                    <a:pt x="6003" y="873"/>
                  </a:lnTo>
                  <a:lnTo>
                    <a:pt x="5810" y="670"/>
                  </a:lnTo>
                  <a:lnTo>
                    <a:pt x="5695" y="679"/>
                  </a:lnTo>
                  <a:lnTo>
                    <a:pt x="5580" y="723"/>
                  </a:lnTo>
                  <a:lnTo>
                    <a:pt x="5148" y="661"/>
                  </a:lnTo>
                  <a:lnTo>
                    <a:pt x="5025" y="776"/>
                  </a:lnTo>
                  <a:lnTo>
                    <a:pt x="4893" y="864"/>
                  </a:lnTo>
                  <a:lnTo>
                    <a:pt x="4769" y="820"/>
                  </a:lnTo>
                  <a:lnTo>
                    <a:pt x="4655" y="749"/>
                  </a:lnTo>
                  <a:lnTo>
                    <a:pt x="4382" y="723"/>
                  </a:lnTo>
                  <a:lnTo>
                    <a:pt x="3941" y="917"/>
                  </a:lnTo>
                  <a:lnTo>
                    <a:pt x="3756" y="926"/>
                  </a:lnTo>
                  <a:lnTo>
                    <a:pt x="3641" y="891"/>
                  </a:lnTo>
                  <a:lnTo>
                    <a:pt x="3615" y="767"/>
                  </a:lnTo>
                  <a:lnTo>
                    <a:pt x="3571" y="406"/>
                  </a:lnTo>
                  <a:lnTo>
                    <a:pt x="3368" y="150"/>
                  </a:lnTo>
                  <a:lnTo>
                    <a:pt x="3068" y="97"/>
                  </a:lnTo>
                  <a:lnTo>
                    <a:pt x="2795"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Google Shape;3132;p54">
              <a:extLst>
                <a:ext uri="{FF2B5EF4-FFF2-40B4-BE49-F238E27FC236}">
                  <a16:creationId xmlns:a16="http://schemas.microsoft.com/office/drawing/2014/main" id="{0DD2EE0E-25D6-3159-748B-6EDE66965474}"/>
                </a:ext>
              </a:extLst>
            </p:cNvPr>
            <p:cNvSpPr/>
            <p:nvPr/>
          </p:nvSpPr>
          <p:spPr>
            <a:xfrm>
              <a:off x="4629650" y="1677028"/>
              <a:ext cx="542151" cy="364776"/>
            </a:xfrm>
            <a:custGeom>
              <a:avLst/>
              <a:gdLst/>
              <a:ahLst/>
              <a:cxnLst/>
              <a:rect l="l" t="t" r="r" b="b"/>
              <a:pathLst>
                <a:path w="7626" h="5131" extrusionOk="0">
                  <a:moveTo>
                    <a:pt x="6118" y="0"/>
                  </a:moveTo>
                  <a:lnTo>
                    <a:pt x="5968" y="62"/>
                  </a:lnTo>
                  <a:lnTo>
                    <a:pt x="5210" y="468"/>
                  </a:lnTo>
                  <a:lnTo>
                    <a:pt x="4849" y="538"/>
                  </a:lnTo>
                  <a:lnTo>
                    <a:pt x="4364" y="820"/>
                  </a:lnTo>
                  <a:lnTo>
                    <a:pt x="4188" y="891"/>
                  </a:lnTo>
                  <a:lnTo>
                    <a:pt x="3967" y="820"/>
                  </a:lnTo>
                  <a:lnTo>
                    <a:pt x="3800" y="609"/>
                  </a:lnTo>
                  <a:lnTo>
                    <a:pt x="3377" y="335"/>
                  </a:lnTo>
                  <a:lnTo>
                    <a:pt x="2777" y="265"/>
                  </a:lnTo>
                  <a:lnTo>
                    <a:pt x="2716" y="212"/>
                  </a:lnTo>
                  <a:lnTo>
                    <a:pt x="2610" y="71"/>
                  </a:lnTo>
                  <a:lnTo>
                    <a:pt x="2416" y="573"/>
                  </a:lnTo>
                  <a:lnTo>
                    <a:pt x="1966" y="820"/>
                  </a:lnTo>
                  <a:lnTo>
                    <a:pt x="1517" y="767"/>
                  </a:lnTo>
                  <a:lnTo>
                    <a:pt x="1341" y="873"/>
                  </a:lnTo>
                  <a:lnTo>
                    <a:pt x="1120" y="1270"/>
                  </a:lnTo>
                  <a:lnTo>
                    <a:pt x="574" y="1711"/>
                  </a:lnTo>
                  <a:lnTo>
                    <a:pt x="89" y="1940"/>
                  </a:lnTo>
                  <a:lnTo>
                    <a:pt x="89" y="2019"/>
                  </a:lnTo>
                  <a:lnTo>
                    <a:pt x="71" y="2116"/>
                  </a:lnTo>
                  <a:lnTo>
                    <a:pt x="1" y="2451"/>
                  </a:lnTo>
                  <a:lnTo>
                    <a:pt x="1" y="2451"/>
                  </a:lnTo>
                  <a:lnTo>
                    <a:pt x="371" y="2433"/>
                  </a:lnTo>
                  <a:lnTo>
                    <a:pt x="741" y="2495"/>
                  </a:lnTo>
                  <a:lnTo>
                    <a:pt x="2099" y="3130"/>
                  </a:lnTo>
                  <a:lnTo>
                    <a:pt x="2231" y="3315"/>
                  </a:lnTo>
                  <a:lnTo>
                    <a:pt x="2337" y="3518"/>
                  </a:lnTo>
                  <a:lnTo>
                    <a:pt x="2495" y="3694"/>
                  </a:lnTo>
                  <a:lnTo>
                    <a:pt x="2663" y="3826"/>
                  </a:lnTo>
                  <a:lnTo>
                    <a:pt x="2742" y="3861"/>
                  </a:lnTo>
                  <a:lnTo>
                    <a:pt x="2945" y="4047"/>
                  </a:lnTo>
                  <a:lnTo>
                    <a:pt x="3095" y="4126"/>
                  </a:lnTo>
                  <a:lnTo>
                    <a:pt x="3192" y="4285"/>
                  </a:lnTo>
                  <a:lnTo>
                    <a:pt x="3245" y="4496"/>
                  </a:lnTo>
                  <a:lnTo>
                    <a:pt x="3553" y="4734"/>
                  </a:lnTo>
                  <a:lnTo>
                    <a:pt x="3888" y="4690"/>
                  </a:lnTo>
                  <a:lnTo>
                    <a:pt x="3906" y="4540"/>
                  </a:lnTo>
                  <a:lnTo>
                    <a:pt x="3959" y="4364"/>
                  </a:lnTo>
                  <a:lnTo>
                    <a:pt x="4047" y="4329"/>
                  </a:lnTo>
                  <a:lnTo>
                    <a:pt x="4135" y="4337"/>
                  </a:lnTo>
                  <a:lnTo>
                    <a:pt x="4285" y="4390"/>
                  </a:lnTo>
                  <a:lnTo>
                    <a:pt x="4426" y="4478"/>
                  </a:lnTo>
                  <a:lnTo>
                    <a:pt x="5052" y="4681"/>
                  </a:lnTo>
                  <a:lnTo>
                    <a:pt x="6330" y="5087"/>
                  </a:lnTo>
                  <a:lnTo>
                    <a:pt x="6762" y="5131"/>
                  </a:lnTo>
                  <a:lnTo>
                    <a:pt x="7132" y="4919"/>
                  </a:lnTo>
                  <a:lnTo>
                    <a:pt x="7220" y="4902"/>
                  </a:lnTo>
                  <a:lnTo>
                    <a:pt x="7308" y="4858"/>
                  </a:lnTo>
                  <a:lnTo>
                    <a:pt x="7440" y="4628"/>
                  </a:lnTo>
                  <a:lnTo>
                    <a:pt x="7546" y="4373"/>
                  </a:lnTo>
                  <a:lnTo>
                    <a:pt x="7617" y="4329"/>
                  </a:lnTo>
                  <a:lnTo>
                    <a:pt x="7626" y="4170"/>
                  </a:lnTo>
                  <a:lnTo>
                    <a:pt x="7590" y="4020"/>
                  </a:lnTo>
                  <a:lnTo>
                    <a:pt x="7537" y="3861"/>
                  </a:lnTo>
                  <a:lnTo>
                    <a:pt x="7467" y="3712"/>
                  </a:lnTo>
                  <a:lnTo>
                    <a:pt x="7352" y="3518"/>
                  </a:lnTo>
                  <a:lnTo>
                    <a:pt x="7291" y="3288"/>
                  </a:lnTo>
                  <a:lnTo>
                    <a:pt x="7308" y="3068"/>
                  </a:lnTo>
                  <a:lnTo>
                    <a:pt x="7273" y="2857"/>
                  </a:lnTo>
                  <a:lnTo>
                    <a:pt x="7167" y="2627"/>
                  </a:lnTo>
                  <a:lnTo>
                    <a:pt x="7132" y="2363"/>
                  </a:lnTo>
                  <a:lnTo>
                    <a:pt x="7229" y="2125"/>
                  </a:lnTo>
                  <a:lnTo>
                    <a:pt x="7282" y="1878"/>
                  </a:lnTo>
                  <a:lnTo>
                    <a:pt x="7053" y="1499"/>
                  </a:lnTo>
                  <a:lnTo>
                    <a:pt x="6859" y="1490"/>
                  </a:lnTo>
                  <a:lnTo>
                    <a:pt x="6674" y="1446"/>
                  </a:lnTo>
                  <a:lnTo>
                    <a:pt x="6515" y="1340"/>
                  </a:lnTo>
                  <a:lnTo>
                    <a:pt x="6374" y="1199"/>
                  </a:lnTo>
                  <a:lnTo>
                    <a:pt x="6101" y="1102"/>
                  </a:lnTo>
                  <a:lnTo>
                    <a:pt x="5924" y="803"/>
                  </a:lnTo>
                  <a:lnTo>
                    <a:pt x="5977" y="618"/>
                  </a:lnTo>
                  <a:lnTo>
                    <a:pt x="6101" y="485"/>
                  </a:lnTo>
                  <a:lnTo>
                    <a:pt x="6242" y="291"/>
                  </a:lnTo>
                  <a:lnTo>
                    <a:pt x="6189" y="45"/>
                  </a:lnTo>
                  <a:lnTo>
                    <a:pt x="6118"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3133;p54">
              <a:extLst>
                <a:ext uri="{FF2B5EF4-FFF2-40B4-BE49-F238E27FC236}">
                  <a16:creationId xmlns:a16="http://schemas.microsoft.com/office/drawing/2014/main" id="{B54AFF19-2F29-4782-22CD-736E64B726D9}"/>
                </a:ext>
              </a:extLst>
            </p:cNvPr>
            <p:cNvSpPr/>
            <p:nvPr/>
          </p:nvSpPr>
          <p:spPr>
            <a:xfrm>
              <a:off x="4511845" y="1469573"/>
              <a:ext cx="318423" cy="345367"/>
            </a:xfrm>
            <a:custGeom>
              <a:avLst/>
              <a:gdLst/>
              <a:ahLst/>
              <a:cxnLst/>
              <a:rect l="l" t="t" r="r" b="b"/>
              <a:pathLst>
                <a:path w="4479" h="4858" extrusionOk="0">
                  <a:moveTo>
                    <a:pt x="3103" y="1"/>
                  </a:moveTo>
                  <a:lnTo>
                    <a:pt x="2663" y="424"/>
                  </a:lnTo>
                  <a:lnTo>
                    <a:pt x="2398" y="494"/>
                  </a:lnTo>
                  <a:lnTo>
                    <a:pt x="2195" y="944"/>
                  </a:lnTo>
                  <a:lnTo>
                    <a:pt x="1631" y="1420"/>
                  </a:lnTo>
                  <a:lnTo>
                    <a:pt x="1146" y="1543"/>
                  </a:lnTo>
                  <a:lnTo>
                    <a:pt x="644" y="1526"/>
                  </a:lnTo>
                  <a:lnTo>
                    <a:pt x="397" y="1869"/>
                  </a:lnTo>
                  <a:lnTo>
                    <a:pt x="230" y="2072"/>
                  </a:lnTo>
                  <a:lnTo>
                    <a:pt x="150" y="2398"/>
                  </a:lnTo>
                  <a:lnTo>
                    <a:pt x="1" y="2892"/>
                  </a:lnTo>
                  <a:lnTo>
                    <a:pt x="1" y="3439"/>
                  </a:lnTo>
                  <a:lnTo>
                    <a:pt x="230" y="3447"/>
                  </a:lnTo>
                  <a:lnTo>
                    <a:pt x="626" y="3536"/>
                  </a:lnTo>
                  <a:lnTo>
                    <a:pt x="600" y="3703"/>
                  </a:lnTo>
                  <a:lnTo>
                    <a:pt x="600" y="3879"/>
                  </a:lnTo>
                  <a:lnTo>
                    <a:pt x="715" y="3950"/>
                  </a:lnTo>
                  <a:lnTo>
                    <a:pt x="838" y="3976"/>
                  </a:lnTo>
                  <a:lnTo>
                    <a:pt x="1058" y="4108"/>
                  </a:lnTo>
                  <a:lnTo>
                    <a:pt x="1596" y="4373"/>
                  </a:lnTo>
                  <a:lnTo>
                    <a:pt x="1763" y="4699"/>
                  </a:lnTo>
                  <a:lnTo>
                    <a:pt x="1746" y="4858"/>
                  </a:lnTo>
                  <a:lnTo>
                    <a:pt x="2231" y="4629"/>
                  </a:lnTo>
                  <a:lnTo>
                    <a:pt x="2777" y="4188"/>
                  </a:lnTo>
                  <a:lnTo>
                    <a:pt x="2998" y="3791"/>
                  </a:lnTo>
                  <a:lnTo>
                    <a:pt x="3174" y="3685"/>
                  </a:lnTo>
                  <a:lnTo>
                    <a:pt x="3623" y="3738"/>
                  </a:lnTo>
                  <a:lnTo>
                    <a:pt x="4073" y="3491"/>
                  </a:lnTo>
                  <a:lnTo>
                    <a:pt x="4267" y="2989"/>
                  </a:lnTo>
                  <a:lnTo>
                    <a:pt x="4223" y="2910"/>
                  </a:lnTo>
                  <a:lnTo>
                    <a:pt x="4126" y="2769"/>
                  </a:lnTo>
                  <a:lnTo>
                    <a:pt x="3879" y="2654"/>
                  </a:lnTo>
                  <a:lnTo>
                    <a:pt x="3623" y="2619"/>
                  </a:lnTo>
                  <a:lnTo>
                    <a:pt x="3535" y="1958"/>
                  </a:lnTo>
                  <a:lnTo>
                    <a:pt x="3571" y="1746"/>
                  </a:lnTo>
                  <a:lnTo>
                    <a:pt x="3782" y="1455"/>
                  </a:lnTo>
                  <a:lnTo>
                    <a:pt x="4029" y="1217"/>
                  </a:lnTo>
                  <a:lnTo>
                    <a:pt x="4478" y="1120"/>
                  </a:lnTo>
                  <a:lnTo>
                    <a:pt x="4355" y="821"/>
                  </a:lnTo>
                  <a:lnTo>
                    <a:pt x="4223" y="274"/>
                  </a:lnTo>
                  <a:lnTo>
                    <a:pt x="3879" y="18"/>
                  </a:lnTo>
                  <a:lnTo>
                    <a:pt x="3544" y="133"/>
                  </a:lnTo>
                  <a:lnTo>
                    <a:pt x="3262" y="177"/>
                  </a:lnTo>
                  <a:lnTo>
                    <a:pt x="310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3" name="Google Shape;3134;p54">
              <a:extLst>
                <a:ext uri="{FF2B5EF4-FFF2-40B4-BE49-F238E27FC236}">
                  <a16:creationId xmlns:a16="http://schemas.microsoft.com/office/drawing/2014/main" id="{E2AAA62E-C3C5-7635-D76E-B0776E38C5BC}"/>
                </a:ext>
              </a:extLst>
            </p:cNvPr>
            <p:cNvSpPr/>
            <p:nvPr/>
          </p:nvSpPr>
          <p:spPr>
            <a:xfrm>
              <a:off x="5619861" y="1762271"/>
              <a:ext cx="701327" cy="426839"/>
            </a:xfrm>
            <a:custGeom>
              <a:avLst/>
              <a:gdLst/>
              <a:ahLst/>
              <a:cxnLst/>
              <a:rect l="l" t="t" r="r" b="b"/>
              <a:pathLst>
                <a:path w="9865" h="6004" extrusionOk="0">
                  <a:moveTo>
                    <a:pt x="5034" y="0"/>
                  </a:moveTo>
                  <a:lnTo>
                    <a:pt x="4998" y="44"/>
                  </a:lnTo>
                  <a:lnTo>
                    <a:pt x="4840" y="115"/>
                  </a:lnTo>
                  <a:lnTo>
                    <a:pt x="4337" y="238"/>
                  </a:lnTo>
                  <a:lnTo>
                    <a:pt x="4205" y="309"/>
                  </a:lnTo>
                  <a:lnTo>
                    <a:pt x="4205" y="353"/>
                  </a:lnTo>
                  <a:lnTo>
                    <a:pt x="4240" y="353"/>
                  </a:lnTo>
                  <a:lnTo>
                    <a:pt x="4240" y="397"/>
                  </a:lnTo>
                  <a:lnTo>
                    <a:pt x="4179" y="476"/>
                  </a:lnTo>
                  <a:lnTo>
                    <a:pt x="4231" y="582"/>
                  </a:lnTo>
                  <a:lnTo>
                    <a:pt x="4328" y="679"/>
                  </a:lnTo>
                  <a:lnTo>
                    <a:pt x="4399" y="732"/>
                  </a:lnTo>
                  <a:lnTo>
                    <a:pt x="4478" y="758"/>
                  </a:lnTo>
                  <a:lnTo>
                    <a:pt x="4566" y="1005"/>
                  </a:lnTo>
                  <a:lnTo>
                    <a:pt x="4408" y="1243"/>
                  </a:lnTo>
                  <a:lnTo>
                    <a:pt x="4328" y="1446"/>
                  </a:lnTo>
                  <a:lnTo>
                    <a:pt x="4328" y="1675"/>
                  </a:lnTo>
                  <a:lnTo>
                    <a:pt x="4117" y="1966"/>
                  </a:lnTo>
                  <a:lnTo>
                    <a:pt x="3747" y="2045"/>
                  </a:lnTo>
                  <a:lnTo>
                    <a:pt x="3720" y="2363"/>
                  </a:lnTo>
                  <a:lnTo>
                    <a:pt x="3685" y="2380"/>
                  </a:lnTo>
                  <a:lnTo>
                    <a:pt x="3641" y="2398"/>
                  </a:lnTo>
                  <a:lnTo>
                    <a:pt x="3579" y="2460"/>
                  </a:lnTo>
                  <a:lnTo>
                    <a:pt x="3191" y="2715"/>
                  </a:lnTo>
                  <a:lnTo>
                    <a:pt x="2909" y="2848"/>
                  </a:lnTo>
                  <a:lnTo>
                    <a:pt x="2830" y="2848"/>
                  </a:lnTo>
                  <a:lnTo>
                    <a:pt x="2751" y="2786"/>
                  </a:lnTo>
                  <a:lnTo>
                    <a:pt x="2654" y="2742"/>
                  </a:lnTo>
                  <a:lnTo>
                    <a:pt x="2557" y="2715"/>
                  </a:lnTo>
                  <a:lnTo>
                    <a:pt x="2424" y="2645"/>
                  </a:lnTo>
                  <a:lnTo>
                    <a:pt x="2301" y="2548"/>
                  </a:lnTo>
                  <a:lnTo>
                    <a:pt x="1931" y="2442"/>
                  </a:lnTo>
                  <a:lnTo>
                    <a:pt x="1543" y="2477"/>
                  </a:lnTo>
                  <a:lnTo>
                    <a:pt x="1428" y="2618"/>
                  </a:lnTo>
                  <a:lnTo>
                    <a:pt x="1217" y="3077"/>
                  </a:lnTo>
                  <a:lnTo>
                    <a:pt x="1084" y="3324"/>
                  </a:lnTo>
                  <a:lnTo>
                    <a:pt x="961" y="3500"/>
                  </a:lnTo>
                  <a:lnTo>
                    <a:pt x="820" y="3659"/>
                  </a:lnTo>
                  <a:lnTo>
                    <a:pt x="661" y="3738"/>
                  </a:lnTo>
                  <a:lnTo>
                    <a:pt x="573" y="3755"/>
                  </a:lnTo>
                  <a:lnTo>
                    <a:pt x="326" y="3861"/>
                  </a:lnTo>
                  <a:lnTo>
                    <a:pt x="185" y="4011"/>
                  </a:lnTo>
                  <a:lnTo>
                    <a:pt x="0" y="4399"/>
                  </a:lnTo>
                  <a:lnTo>
                    <a:pt x="326" y="4760"/>
                  </a:lnTo>
                  <a:lnTo>
                    <a:pt x="688" y="5016"/>
                  </a:lnTo>
                  <a:lnTo>
                    <a:pt x="1120" y="4981"/>
                  </a:lnTo>
                  <a:lnTo>
                    <a:pt x="1481" y="5060"/>
                  </a:lnTo>
                  <a:lnTo>
                    <a:pt x="1702" y="5034"/>
                  </a:lnTo>
                  <a:lnTo>
                    <a:pt x="1922" y="4990"/>
                  </a:lnTo>
                  <a:lnTo>
                    <a:pt x="2116" y="4910"/>
                  </a:lnTo>
                  <a:lnTo>
                    <a:pt x="2310" y="4849"/>
                  </a:lnTo>
                  <a:lnTo>
                    <a:pt x="2504" y="5042"/>
                  </a:lnTo>
                  <a:lnTo>
                    <a:pt x="2468" y="5386"/>
                  </a:lnTo>
                  <a:lnTo>
                    <a:pt x="2460" y="5615"/>
                  </a:lnTo>
                  <a:lnTo>
                    <a:pt x="2548" y="5792"/>
                  </a:lnTo>
                  <a:lnTo>
                    <a:pt x="2636" y="5871"/>
                  </a:lnTo>
                  <a:lnTo>
                    <a:pt x="2689" y="6003"/>
                  </a:lnTo>
                  <a:lnTo>
                    <a:pt x="3773" y="5792"/>
                  </a:lnTo>
                  <a:lnTo>
                    <a:pt x="4540" y="5748"/>
                  </a:lnTo>
                  <a:lnTo>
                    <a:pt x="5227" y="5483"/>
                  </a:lnTo>
                  <a:lnTo>
                    <a:pt x="5369" y="5333"/>
                  </a:lnTo>
                  <a:lnTo>
                    <a:pt x="5465" y="5104"/>
                  </a:lnTo>
                  <a:lnTo>
                    <a:pt x="5562" y="4734"/>
                  </a:lnTo>
                  <a:lnTo>
                    <a:pt x="5686" y="4381"/>
                  </a:lnTo>
                  <a:lnTo>
                    <a:pt x="5845" y="4284"/>
                  </a:lnTo>
                  <a:lnTo>
                    <a:pt x="6021" y="4232"/>
                  </a:lnTo>
                  <a:lnTo>
                    <a:pt x="6559" y="4302"/>
                  </a:lnTo>
                  <a:lnTo>
                    <a:pt x="6726" y="4232"/>
                  </a:lnTo>
                  <a:lnTo>
                    <a:pt x="7334" y="4064"/>
                  </a:lnTo>
                  <a:lnTo>
                    <a:pt x="7766" y="4011"/>
                  </a:lnTo>
                  <a:lnTo>
                    <a:pt x="8154" y="4029"/>
                  </a:lnTo>
                  <a:lnTo>
                    <a:pt x="8542" y="3976"/>
                  </a:lnTo>
                  <a:lnTo>
                    <a:pt x="8718" y="3879"/>
                  </a:lnTo>
                  <a:lnTo>
                    <a:pt x="8877" y="3747"/>
                  </a:lnTo>
                  <a:lnTo>
                    <a:pt x="8939" y="3729"/>
                  </a:lnTo>
                  <a:lnTo>
                    <a:pt x="9009" y="3729"/>
                  </a:lnTo>
                  <a:lnTo>
                    <a:pt x="9185" y="3685"/>
                  </a:lnTo>
                  <a:lnTo>
                    <a:pt x="9344" y="3623"/>
                  </a:lnTo>
                  <a:lnTo>
                    <a:pt x="9626" y="3227"/>
                  </a:lnTo>
                  <a:lnTo>
                    <a:pt x="9864" y="2742"/>
                  </a:lnTo>
                  <a:lnTo>
                    <a:pt x="9776" y="2380"/>
                  </a:lnTo>
                  <a:lnTo>
                    <a:pt x="9626" y="2081"/>
                  </a:lnTo>
                  <a:lnTo>
                    <a:pt x="9000" y="2045"/>
                  </a:lnTo>
                  <a:lnTo>
                    <a:pt x="7934" y="1296"/>
                  </a:lnTo>
                  <a:lnTo>
                    <a:pt x="7625" y="1270"/>
                  </a:lnTo>
                  <a:lnTo>
                    <a:pt x="7308" y="1323"/>
                  </a:lnTo>
                  <a:lnTo>
                    <a:pt x="6982" y="1287"/>
                  </a:lnTo>
                  <a:lnTo>
                    <a:pt x="6673" y="1164"/>
                  </a:lnTo>
                  <a:lnTo>
                    <a:pt x="6435" y="1014"/>
                  </a:lnTo>
                  <a:lnTo>
                    <a:pt x="6047" y="882"/>
                  </a:lnTo>
                  <a:lnTo>
                    <a:pt x="5792" y="723"/>
                  </a:lnTo>
                  <a:lnTo>
                    <a:pt x="5580" y="679"/>
                  </a:lnTo>
                  <a:lnTo>
                    <a:pt x="5518" y="626"/>
                  </a:lnTo>
                  <a:lnTo>
                    <a:pt x="5465" y="450"/>
                  </a:lnTo>
                  <a:lnTo>
                    <a:pt x="5554" y="291"/>
                  </a:lnTo>
                  <a:lnTo>
                    <a:pt x="5465" y="141"/>
                  </a:lnTo>
                  <a:lnTo>
                    <a:pt x="5307" y="27"/>
                  </a:lnTo>
                  <a:lnTo>
                    <a:pt x="5060" y="18"/>
                  </a:lnTo>
                  <a:lnTo>
                    <a:pt x="503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4" name="Google Shape;3135;p54">
              <a:extLst>
                <a:ext uri="{FF2B5EF4-FFF2-40B4-BE49-F238E27FC236}">
                  <a16:creationId xmlns:a16="http://schemas.microsoft.com/office/drawing/2014/main" id="{393F9F7F-C3A8-6298-F330-242612165BC5}"/>
                </a:ext>
              </a:extLst>
            </p:cNvPr>
            <p:cNvSpPr/>
            <p:nvPr/>
          </p:nvSpPr>
          <p:spPr>
            <a:xfrm>
              <a:off x="5722593" y="1930197"/>
              <a:ext cx="970199" cy="827943"/>
            </a:xfrm>
            <a:custGeom>
              <a:avLst/>
              <a:gdLst/>
              <a:ahLst/>
              <a:cxnLst/>
              <a:rect l="l" t="t" r="r" b="b"/>
              <a:pathLst>
                <a:path w="13647" h="11646" extrusionOk="0">
                  <a:moveTo>
                    <a:pt x="10843" y="1"/>
                  </a:moveTo>
                  <a:lnTo>
                    <a:pt x="10711" y="124"/>
                  </a:lnTo>
                  <a:lnTo>
                    <a:pt x="10552" y="195"/>
                  </a:lnTo>
                  <a:lnTo>
                    <a:pt x="10341" y="212"/>
                  </a:lnTo>
                  <a:lnTo>
                    <a:pt x="10147" y="256"/>
                  </a:lnTo>
                  <a:lnTo>
                    <a:pt x="10103" y="336"/>
                  </a:lnTo>
                  <a:lnTo>
                    <a:pt x="10085" y="512"/>
                  </a:lnTo>
                  <a:lnTo>
                    <a:pt x="10138" y="583"/>
                  </a:lnTo>
                  <a:lnTo>
                    <a:pt x="10120" y="679"/>
                  </a:lnTo>
                  <a:lnTo>
                    <a:pt x="10023" y="741"/>
                  </a:lnTo>
                  <a:lnTo>
                    <a:pt x="9636" y="732"/>
                  </a:lnTo>
                  <a:lnTo>
                    <a:pt x="9468" y="847"/>
                  </a:lnTo>
                  <a:lnTo>
                    <a:pt x="9327" y="1041"/>
                  </a:lnTo>
                  <a:lnTo>
                    <a:pt x="9195" y="1147"/>
                  </a:lnTo>
                  <a:lnTo>
                    <a:pt x="9027" y="1164"/>
                  </a:lnTo>
                  <a:lnTo>
                    <a:pt x="8675" y="882"/>
                  </a:lnTo>
                  <a:lnTo>
                    <a:pt x="8419" y="380"/>
                  </a:lnTo>
                  <a:lnTo>
                    <a:pt x="8181" y="865"/>
                  </a:lnTo>
                  <a:lnTo>
                    <a:pt x="7899" y="1261"/>
                  </a:lnTo>
                  <a:lnTo>
                    <a:pt x="7740" y="1323"/>
                  </a:lnTo>
                  <a:lnTo>
                    <a:pt x="7564" y="1367"/>
                  </a:lnTo>
                  <a:lnTo>
                    <a:pt x="7494" y="1367"/>
                  </a:lnTo>
                  <a:lnTo>
                    <a:pt x="7432" y="1385"/>
                  </a:lnTo>
                  <a:lnTo>
                    <a:pt x="7273" y="1517"/>
                  </a:lnTo>
                  <a:lnTo>
                    <a:pt x="7097" y="1614"/>
                  </a:lnTo>
                  <a:lnTo>
                    <a:pt x="6709" y="1667"/>
                  </a:lnTo>
                  <a:lnTo>
                    <a:pt x="6321" y="1649"/>
                  </a:lnTo>
                  <a:lnTo>
                    <a:pt x="5889" y="1702"/>
                  </a:lnTo>
                  <a:lnTo>
                    <a:pt x="5281" y="1870"/>
                  </a:lnTo>
                  <a:lnTo>
                    <a:pt x="5114" y="1940"/>
                  </a:lnTo>
                  <a:lnTo>
                    <a:pt x="4576" y="1870"/>
                  </a:lnTo>
                  <a:lnTo>
                    <a:pt x="4400" y="1922"/>
                  </a:lnTo>
                  <a:lnTo>
                    <a:pt x="4241" y="2019"/>
                  </a:lnTo>
                  <a:lnTo>
                    <a:pt x="4117" y="2372"/>
                  </a:lnTo>
                  <a:lnTo>
                    <a:pt x="4020" y="2742"/>
                  </a:lnTo>
                  <a:lnTo>
                    <a:pt x="3924" y="2971"/>
                  </a:lnTo>
                  <a:lnTo>
                    <a:pt x="3782" y="3121"/>
                  </a:lnTo>
                  <a:lnTo>
                    <a:pt x="3095" y="3386"/>
                  </a:lnTo>
                  <a:lnTo>
                    <a:pt x="2328" y="3430"/>
                  </a:lnTo>
                  <a:lnTo>
                    <a:pt x="1244" y="3641"/>
                  </a:lnTo>
                  <a:lnTo>
                    <a:pt x="1376" y="4091"/>
                  </a:lnTo>
                  <a:lnTo>
                    <a:pt x="1596" y="4488"/>
                  </a:lnTo>
                  <a:lnTo>
                    <a:pt x="1764" y="4576"/>
                  </a:lnTo>
                  <a:lnTo>
                    <a:pt x="1808" y="4708"/>
                  </a:lnTo>
                  <a:lnTo>
                    <a:pt x="1826" y="4849"/>
                  </a:lnTo>
                  <a:lnTo>
                    <a:pt x="1685" y="5343"/>
                  </a:lnTo>
                  <a:lnTo>
                    <a:pt x="1350" y="5678"/>
                  </a:lnTo>
                  <a:lnTo>
                    <a:pt x="944" y="5986"/>
                  </a:lnTo>
                  <a:lnTo>
                    <a:pt x="785" y="6189"/>
                  </a:lnTo>
                  <a:lnTo>
                    <a:pt x="644" y="6400"/>
                  </a:lnTo>
                  <a:lnTo>
                    <a:pt x="530" y="6638"/>
                  </a:lnTo>
                  <a:lnTo>
                    <a:pt x="389" y="6832"/>
                  </a:lnTo>
                  <a:lnTo>
                    <a:pt x="168" y="6982"/>
                  </a:lnTo>
                  <a:lnTo>
                    <a:pt x="1" y="7194"/>
                  </a:lnTo>
                  <a:lnTo>
                    <a:pt x="239" y="7211"/>
                  </a:lnTo>
                  <a:lnTo>
                    <a:pt x="468" y="7326"/>
                  </a:lnTo>
                  <a:lnTo>
                    <a:pt x="512" y="7379"/>
                  </a:lnTo>
                  <a:lnTo>
                    <a:pt x="565" y="7511"/>
                  </a:lnTo>
                  <a:lnTo>
                    <a:pt x="609" y="7555"/>
                  </a:lnTo>
                  <a:lnTo>
                    <a:pt x="759" y="7617"/>
                  </a:lnTo>
                  <a:lnTo>
                    <a:pt x="909" y="7643"/>
                  </a:lnTo>
                  <a:lnTo>
                    <a:pt x="1350" y="7961"/>
                  </a:lnTo>
                  <a:lnTo>
                    <a:pt x="1808" y="8022"/>
                  </a:lnTo>
                  <a:lnTo>
                    <a:pt x="2161" y="7899"/>
                  </a:lnTo>
                  <a:lnTo>
                    <a:pt x="2927" y="8014"/>
                  </a:lnTo>
                  <a:lnTo>
                    <a:pt x="3157" y="8190"/>
                  </a:lnTo>
                  <a:lnTo>
                    <a:pt x="3395" y="8269"/>
                  </a:lnTo>
                  <a:lnTo>
                    <a:pt x="3809" y="8128"/>
                  </a:lnTo>
                  <a:lnTo>
                    <a:pt x="4241" y="8128"/>
                  </a:lnTo>
                  <a:lnTo>
                    <a:pt x="4638" y="8199"/>
                  </a:lnTo>
                  <a:lnTo>
                    <a:pt x="5008" y="8393"/>
                  </a:lnTo>
                  <a:lnTo>
                    <a:pt x="5175" y="8930"/>
                  </a:lnTo>
                  <a:lnTo>
                    <a:pt x="4981" y="9494"/>
                  </a:lnTo>
                  <a:lnTo>
                    <a:pt x="4876" y="9706"/>
                  </a:lnTo>
                  <a:lnTo>
                    <a:pt x="4787" y="9935"/>
                  </a:lnTo>
                  <a:lnTo>
                    <a:pt x="4664" y="10411"/>
                  </a:lnTo>
                  <a:lnTo>
                    <a:pt x="4479" y="10949"/>
                  </a:lnTo>
                  <a:lnTo>
                    <a:pt x="4452" y="11046"/>
                  </a:lnTo>
                  <a:lnTo>
                    <a:pt x="4426" y="11134"/>
                  </a:lnTo>
                  <a:lnTo>
                    <a:pt x="4311" y="11337"/>
                  </a:lnTo>
                  <a:lnTo>
                    <a:pt x="4303" y="11575"/>
                  </a:lnTo>
                  <a:lnTo>
                    <a:pt x="4303" y="11575"/>
                  </a:lnTo>
                  <a:lnTo>
                    <a:pt x="4911" y="11425"/>
                  </a:lnTo>
                  <a:lnTo>
                    <a:pt x="5510" y="11513"/>
                  </a:lnTo>
                  <a:lnTo>
                    <a:pt x="5625" y="11592"/>
                  </a:lnTo>
                  <a:lnTo>
                    <a:pt x="5748" y="11645"/>
                  </a:lnTo>
                  <a:lnTo>
                    <a:pt x="6788" y="11557"/>
                  </a:lnTo>
                  <a:lnTo>
                    <a:pt x="7062" y="11425"/>
                  </a:lnTo>
                  <a:lnTo>
                    <a:pt x="7300" y="11213"/>
                  </a:lnTo>
                  <a:lnTo>
                    <a:pt x="7538" y="10931"/>
                  </a:lnTo>
                  <a:lnTo>
                    <a:pt x="7635" y="10896"/>
                  </a:lnTo>
                  <a:lnTo>
                    <a:pt x="7837" y="10764"/>
                  </a:lnTo>
                  <a:lnTo>
                    <a:pt x="8164" y="10402"/>
                  </a:lnTo>
                  <a:lnTo>
                    <a:pt x="8243" y="10182"/>
                  </a:lnTo>
                  <a:lnTo>
                    <a:pt x="8216" y="10050"/>
                  </a:lnTo>
                  <a:lnTo>
                    <a:pt x="8164" y="9926"/>
                  </a:lnTo>
                  <a:lnTo>
                    <a:pt x="8075" y="9662"/>
                  </a:lnTo>
                  <a:lnTo>
                    <a:pt x="8031" y="9380"/>
                  </a:lnTo>
                  <a:lnTo>
                    <a:pt x="8128" y="9142"/>
                  </a:lnTo>
                  <a:lnTo>
                    <a:pt x="8340" y="9089"/>
                  </a:lnTo>
                  <a:lnTo>
                    <a:pt x="8728" y="9292"/>
                  </a:lnTo>
                  <a:lnTo>
                    <a:pt x="9116" y="9204"/>
                  </a:lnTo>
                  <a:lnTo>
                    <a:pt x="9283" y="9089"/>
                  </a:lnTo>
                  <a:lnTo>
                    <a:pt x="9459" y="9018"/>
                  </a:lnTo>
                  <a:lnTo>
                    <a:pt x="9627" y="8904"/>
                  </a:lnTo>
                  <a:lnTo>
                    <a:pt x="9794" y="8825"/>
                  </a:lnTo>
                  <a:lnTo>
                    <a:pt x="10156" y="8816"/>
                  </a:lnTo>
                  <a:lnTo>
                    <a:pt x="10314" y="8745"/>
                  </a:lnTo>
                  <a:lnTo>
                    <a:pt x="10482" y="8719"/>
                  </a:lnTo>
                  <a:lnTo>
                    <a:pt x="10799" y="8763"/>
                  </a:lnTo>
                  <a:lnTo>
                    <a:pt x="11099" y="8675"/>
                  </a:lnTo>
                  <a:lnTo>
                    <a:pt x="11425" y="8419"/>
                  </a:lnTo>
                  <a:lnTo>
                    <a:pt x="11786" y="8296"/>
                  </a:lnTo>
                  <a:lnTo>
                    <a:pt x="11892" y="8137"/>
                  </a:lnTo>
                  <a:lnTo>
                    <a:pt x="11936" y="7934"/>
                  </a:lnTo>
                  <a:lnTo>
                    <a:pt x="11910" y="7837"/>
                  </a:lnTo>
                  <a:lnTo>
                    <a:pt x="11883" y="7740"/>
                  </a:lnTo>
                  <a:lnTo>
                    <a:pt x="11892" y="7626"/>
                  </a:lnTo>
                  <a:lnTo>
                    <a:pt x="11910" y="7529"/>
                  </a:lnTo>
                  <a:lnTo>
                    <a:pt x="11883" y="7344"/>
                  </a:lnTo>
                  <a:lnTo>
                    <a:pt x="11822" y="7176"/>
                  </a:lnTo>
                  <a:lnTo>
                    <a:pt x="11822" y="6973"/>
                  </a:lnTo>
                  <a:lnTo>
                    <a:pt x="11813" y="6868"/>
                  </a:lnTo>
                  <a:lnTo>
                    <a:pt x="11786" y="6806"/>
                  </a:lnTo>
                  <a:lnTo>
                    <a:pt x="11848" y="6788"/>
                  </a:lnTo>
                  <a:lnTo>
                    <a:pt x="11892" y="6744"/>
                  </a:lnTo>
                  <a:lnTo>
                    <a:pt x="11927" y="6691"/>
                  </a:lnTo>
                  <a:lnTo>
                    <a:pt x="11980" y="6647"/>
                  </a:lnTo>
                  <a:lnTo>
                    <a:pt x="12148" y="6533"/>
                  </a:lnTo>
                  <a:lnTo>
                    <a:pt x="12183" y="6436"/>
                  </a:lnTo>
                  <a:lnTo>
                    <a:pt x="12077" y="6295"/>
                  </a:lnTo>
                  <a:lnTo>
                    <a:pt x="11927" y="6198"/>
                  </a:lnTo>
                  <a:lnTo>
                    <a:pt x="11760" y="6039"/>
                  </a:lnTo>
                  <a:lnTo>
                    <a:pt x="11707" y="5810"/>
                  </a:lnTo>
                  <a:lnTo>
                    <a:pt x="11813" y="5598"/>
                  </a:lnTo>
                  <a:lnTo>
                    <a:pt x="11866" y="4972"/>
                  </a:lnTo>
                  <a:lnTo>
                    <a:pt x="12086" y="4673"/>
                  </a:lnTo>
                  <a:lnTo>
                    <a:pt x="12210" y="4470"/>
                  </a:lnTo>
                  <a:lnTo>
                    <a:pt x="12386" y="4373"/>
                  </a:lnTo>
                  <a:lnTo>
                    <a:pt x="12474" y="4382"/>
                  </a:lnTo>
                  <a:lnTo>
                    <a:pt x="12571" y="4364"/>
                  </a:lnTo>
                  <a:lnTo>
                    <a:pt x="12615" y="4197"/>
                  </a:lnTo>
                  <a:lnTo>
                    <a:pt x="12518" y="4073"/>
                  </a:lnTo>
                  <a:lnTo>
                    <a:pt x="12183" y="4161"/>
                  </a:lnTo>
                  <a:lnTo>
                    <a:pt x="11857" y="4170"/>
                  </a:lnTo>
                  <a:lnTo>
                    <a:pt x="11822" y="3985"/>
                  </a:lnTo>
                  <a:lnTo>
                    <a:pt x="11998" y="3483"/>
                  </a:lnTo>
                  <a:lnTo>
                    <a:pt x="12201" y="3359"/>
                  </a:lnTo>
                  <a:lnTo>
                    <a:pt x="12421" y="3527"/>
                  </a:lnTo>
                  <a:lnTo>
                    <a:pt x="12641" y="3562"/>
                  </a:lnTo>
                  <a:lnTo>
                    <a:pt x="12862" y="3412"/>
                  </a:lnTo>
                  <a:lnTo>
                    <a:pt x="13109" y="3350"/>
                  </a:lnTo>
                  <a:lnTo>
                    <a:pt x="13320" y="3386"/>
                  </a:lnTo>
                  <a:lnTo>
                    <a:pt x="13532" y="3395"/>
                  </a:lnTo>
                  <a:lnTo>
                    <a:pt x="13629" y="3156"/>
                  </a:lnTo>
                  <a:lnTo>
                    <a:pt x="13646" y="2848"/>
                  </a:lnTo>
                  <a:lnTo>
                    <a:pt x="13179" y="2619"/>
                  </a:lnTo>
                  <a:lnTo>
                    <a:pt x="12694" y="2460"/>
                  </a:lnTo>
                  <a:lnTo>
                    <a:pt x="12218" y="2575"/>
                  </a:lnTo>
                  <a:lnTo>
                    <a:pt x="11927" y="2407"/>
                  </a:lnTo>
                  <a:lnTo>
                    <a:pt x="11645" y="2187"/>
                  </a:lnTo>
                  <a:lnTo>
                    <a:pt x="11390" y="2055"/>
                  </a:lnTo>
                  <a:lnTo>
                    <a:pt x="11213" y="1799"/>
                  </a:lnTo>
                  <a:lnTo>
                    <a:pt x="11222" y="1455"/>
                  </a:lnTo>
                  <a:lnTo>
                    <a:pt x="1084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3136;p54">
              <a:extLst>
                <a:ext uri="{FF2B5EF4-FFF2-40B4-BE49-F238E27FC236}">
                  <a16:creationId xmlns:a16="http://schemas.microsoft.com/office/drawing/2014/main" id="{4C82293C-7F1C-CBBE-9D3C-345A18364889}"/>
                </a:ext>
              </a:extLst>
            </p:cNvPr>
            <p:cNvSpPr/>
            <p:nvPr/>
          </p:nvSpPr>
          <p:spPr>
            <a:xfrm>
              <a:off x="5110323" y="1586808"/>
              <a:ext cx="492671" cy="609192"/>
            </a:xfrm>
            <a:custGeom>
              <a:avLst/>
              <a:gdLst/>
              <a:ahLst/>
              <a:cxnLst/>
              <a:rect l="l" t="t" r="r" b="b"/>
              <a:pathLst>
                <a:path w="6930" h="8569" extrusionOk="0">
                  <a:moveTo>
                    <a:pt x="2354" y="0"/>
                  </a:moveTo>
                  <a:lnTo>
                    <a:pt x="2116" y="53"/>
                  </a:lnTo>
                  <a:lnTo>
                    <a:pt x="1958" y="282"/>
                  </a:lnTo>
                  <a:lnTo>
                    <a:pt x="1825" y="626"/>
                  </a:lnTo>
                  <a:lnTo>
                    <a:pt x="1720" y="749"/>
                  </a:lnTo>
                  <a:lnTo>
                    <a:pt x="1499" y="943"/>
                  </a:lnTo>
                  <a:lnTo>
                    <a:pt x="1341" y="1349"/>
                  </a:lnTo>
                  <a:lnTo>
                    <a:pt x="1182" y="1543"/>
                  </a:lnTo>
                  <a:lnTo>
                    <a:pt x="1129" y="1666"/>
                  </a:lnTo>
                  <a:lnTo>
                    <a:pt x="1217" y="1895"/>
                  </a:lnTo>
                  <a:lnTo>
                    <a:pt x="1314" y="1939"/>
                  </a:lnTo>
                  <a:lnTo>
                    <a:pt x="1464" y="2098"/>
                  </a:lnTo>
                  <a:lnTo>
                    <a:pt x="1358" y="2407"/>
                  </a:lnTo>
                  <a:lnTo>
                    <a:pt x="697" y="2680"/>
                  </a:lnTo>
                  <a:lnTo>
                    <a:pt x="292" y="2768"/>
                  </a:lnTo>
                  <a:lnTo>
                    <a:pt x="521" y="3147"/>
                  </a:lnTo>
                  <a:lnTo>
                    <a:pt x="468" y="3394"/>
                  </a:lnTo>
                  <a:lnTo>
                    <a:pt x="371" y="3632"/>
                  </a:lnTo>
                  <a:lnTo>
                    <a:pt x="406" y="3896"/>
                  </a:lnTo>
                  <a:lnTo>
                    <a:pt x="512" y="4126"/>
                  </a:lnTo>
                  <a:lnTo>
                    <a:pt x="547" y="4337"/>
                  </a:lnTo>
                  <a:lnTo>
                    <a:pt x="530" y="4557"/>
                  </a:lnTo>
                  <a:lnTo>
                    <a:pt x="591" y="4787"/>
                  </a:lnTo>
                  <a:lnTo>
                    <a:pt x="706" y="4981"/>
                  </a:lnTo>
                  <a:lnTo>
                    <a:pt x="776" y="5130"/>
                  </a:lnTo>
                  <a:lnTo>
                    <a:pt x="829" y="5289"/>
                  </a:lnTo>
                  <a:lnTo>
                    <a:pt x="865" y="5439"/>
                  </a:lnTo>
                  <a:lnTo>
                    <a:pt x="856" y="5598"/>
                  </a:lnTo>
                  <a:lnTo>
                    <a:pt x="785" y="5642"/>
                  </a:lnTo>
                  <a:lnTo>
                    <a:pt x="679" y="5897"/>
                  </a:lnTo>
                  <a:lnTo>
                    <a:pt x="547" y="6127"/>
                  </a:lnTo>
                  <a:lnTo>
                    <a:pt x="459" y="6171"/>
                  </a:lnTo>
                  <a:lnTo>
                    <a:pt x="371" y="6188"/>
                  </a:lnTo>
                  <a:lnTo>
                    <a:pt x="1" y="6400"/>
                  </a:lnTo>
                  <a:lnTo>
                    <a:pt x="54" y="6691"/>
                  </a:lnTo>
                  <a:lnTo>
                    <a:pt x="248" y="7123"/>
                  </a:lnTo>
                  <a:lnTo>
                    <a:pt x="362" y="7237"/>
                  </a:lnTo>
                  <a:lnTo>
                    <a:pt x="477" y="7255"/>
                  </a:lnTo>
                  <a:lnTo>
                    <a:pt x="556" y="7352"/>
                  </a:lnTo>
                  <a:lnTo>
                    <a:pt x="574" y="7422"/>
                  </a:lnTo>
                  <a:lnTo>
                    <a:pt x="574" y="7493"/>
                  </a:lnTo>
                  <a:lnTo>
                    <a:pt x="635" y="7669"/>
                  </a:lnTo>
                  <a:lnTo>
                    <a:pt x="618" y="7863"/>
                  </a:lnTo>
                  <a:lnTo>
                    <a:pt x="530" y="8013"/>
                  </a:lnTo>
                  <a:lnTo>
                    <a:pt x="406" y="8260"/>
                  </a:lnTo>
                  <a:lnTo>
                    <a:pt x="415" y="8568"/>
                  </a:lnTo>
                  <a:lnTo>
                    <a:pt x="671" y="8445"/>
                  </a:lnTo>
                  <a:lnTo>
                    <a:pt x="1402" y="8357"/>
                  </a:lnTo>
                  <a:lnTo>
                    <a:pt x="1843" y="8154"/>
                  </a:lnTo>
                  <a:lnTo>
                    <a:pt x="2293" y="8004"/>
                  </a:lnTo>
                  <a:lnTo>
                    <a:pt x="3007" y="8136"/>
                  </a:lnTo>
                  <a:lnTo>
                    <a:pt x="3280" y="8031"/>
                  </a:lnTo>
                  <a:lnTo>
                    <a:pt x="3465" y="8048"/>
                  </a:lnTo>
                  <a:lnTo>
                    <a:pt x="3844" y="8022"/>
                  </a:lnTo>
                  <a:lnTo>
                    <a:pt x="4532" y="7687"/>
                  </a:lnTo>
                  <a:lnTo>
                    <a:pt x="4928" y="7801"/>
                  </a:lnTo>
                  <a:lnTo>
                    <a:pt x="5140" y="7775"/>
                  </a:lnTo>
                  <a:lnTo>
                    <a:pt x="5510" y="7555"/>
                  </a:lnTo>
                  <a:lnTo>
                    <a:pt x="5633" y="7387"/>
                  </a:lnTo>
                  <a:lnTo>
                    <a:pt x="5642" y="7272"/>
                  </a:lnTo>
                  <a:lnTo>
                    <a:pt x="5686" y="7140"/>
                  </a:lnTo>
                  <a:lnTo>
                    <a:pt x="5704" y="7034"/>
                  </a:lnTo>
                  <a:lnTo>
                    <a:pt x="5651" y="6964"/>
                  </a:lnTo>
                  <a:lnTo>
                    <a:pt x="5695" y="6691"/>
                  </a:lnTo>
                  <a:lnTo>
                    <a:pt x="6136" y="6664"/>
                  </a:lnTo>
                  <a:lnTo>
                    <a:pt x="6321" y="6594"/>
                  </a:lnTo>
                  <a:lnTo>
                    <a:pt x="6374" y="6179"/>
                  </a:lnTo>
                  <a:lnTo>
                    <a:pt x="6383" y="6021"/>
                  </a:lnTo>
                  <a:lnTo>
                    <a:pt x="6427" y="5871"/>
                  </a:lnTo>
                  <a:lnTo>
                    <a:pt x="6823" y="5263"/>
                  </a:lnTo>
                  <a:lnTo>
                    <a:pt x="6929" y="4822"/>
                  </a:lnTo>
                  <a:lnTo>
                    <a:pt x="6929" y="4593"/>
                  </a:lnTo>
                  <a:lnTo>
                    <a:pt x="6815" y="4319"/>
                  </a:lnTo>
                  <a:lnTo>
                    <a:pt x="6735" y="4284"/>
                  </a:lnTo>
                  <a:lnTo>
                    <a:pt x="6577" y="4249"/>
                  </a:lnTo>
                  <a:lnTo>
                    <a:pt x="6224" y="4046"/>
                  </a:lnTo>
                  <a:lnTo>
                    <a:pt x="5457" y="3914"/>
                  </a:lnTo>
                  <a:lnTo>
                    <a:pt x="5307" y="3817"/>
                  </a:lnTo>
                  <a:lnTo>
                    <a:pt x="5184" y="3597"/>
                  </a:lnTo>
                  <a:lnTo>
                    <a:pt x="4999" y="3191"/>
                  </a:lnTo>
                  <a:lnTo>
                    <a:pt x="4955" y="3024"/>
                  </a:lnTo>
                  <a:lnTo>
                    <a:pt x="5025" y="2627"/>
                  </a:lnTo>
                  <a:lnTo>
                    <a:pt x="5034" y="2010"/>
                  </a:lnTo>
                  <a:lnTo>
                    <a:pt x="5096" y="1825"/>
                  </a:lnTo>
                  <a:lnTo>
                    <a:pt x="5193" y="1701"/>
                  </a:lnTo>
                  <a:lnTo>
                    <a:pt x="5263" y="1552"/>
                  </a:lnTo>
                  <a:lnTo>
                    <a:pt x="5219" y="1375"/>
                  </a:lnTo>
                  <a:lnTo>
                    <a:pt x="5043" y="1331"/>
                  </a:lnTo>
                  <a:lnTo>
                    <a:pt x="4690" y="1375"/>
                  </a:lnTo>
                  <a:lnTo>
                    <a:pt x="4620" y="1146"/>
                  </a:lnTo>
                  <a:lnTo>
                    <a:pt x="4584" y="908"/>
                  </a:lnTo>
                  <a:lnTo>
                    <a:pt x="4523" y="679"/>
                  </a:lnTo>
                  <a:lnTo>
                    <a:pt x="4285" y="247"/>
                  </a:lnTo>
                  <a:lnTo>
                    <a:pt x="4276" y="291"/>
                  </a:lnTo>
                  <a:lnTo>
                    <a:pt x="4267" y="397"/>
                  </a:lnTo>
                  <a:lnTo>
                    <a:pt x="4250" y="441"/>
                  </a:lnTo>
                  <a:lnTo>
                    <a:pt x="4232" y="476"/>
                  </a:lnTo>
                  <a:lnTo>
                    <a:pt x="4153" y="555"/>
                  </a:lnTo>
                  <a:lnTo>
                    <a:pt x="4056" y="670"/>
                  </a:lnTo>
                  <a:lnTo>
                    <a:pt x="3527" y="503"/>
                  </a:lnTo>
                  <a:lnTo>
                    <a:pt x="3447" y="450"/>
                  </a:lnTo>
                  <a:lnTo>
                    <a:pt x="3394" y="353"/>
                  </a:lnTo>
                  <a:lnTo>
                    <a:pt x="3280" y="273"/>
                  </a:lnTo>
                  <a:lnTo>
                    <a:pt x="3139" y="238"/>
                  </a:lnTo>
                  <a:lnTo>
                    <a:pt x="2989" y="273"/>
                  </a:lnTo>
                  <a:lnTo>
                    <a:pt x="2830" y="247"/>
                  </a:lnTo>
                  <a:lnTo>
                    <a:pt x="2751" y="159"/>
                  </a:lnTo>
                  <a:lnTo>
                    <a:pt x="2654" y="141"/>
                  </a:lnTo>
                  <a:lnTo>
                    <a:pt x="2478" y="150"/>
                  </a:lnTo>
                  <a:lnTo>
                    <a:pt x="235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6" name="Google Shape;3137;p54">
              <a:extLst>
                <a:ext uri="{FF2B5EF4-FFF2-40B4-BE49-F238E27FC236}">
                  <a16:creationId xmlns:a16="http://schemas.microsoft.com/office/drawing/2014/main" id="{8A177AD7-8E8C-545B-AE4D-A37901632237}"/>
                </a:ext>
              </a:extLst>
            </p:cNvPr>
            <p:cNvSpPr/>
            <p:nvPr/>
          </p:nvSpPr>
          <p:spPr>
            <a:xfrm>
              <a:off x="5462528" y="1684564"/>
              <a:ext cx="482007" cy="390440"/>
            </a:xfrm>
            <a:custGeom>
              <a:avLst/>
              <a:gdLst/>
              <a:ahLst/>
              <a:cxnLst/>
              <a:rect l="l" t="t" r="r" b="b"/>
              <a:pathLst>
                <a:path w="6780" h="5492" extrusionOk="0">
                  <a:moveTo>
                    <a:pt x="265" y="0"/>
                  </a:moveTo>
                  <a:lnTo>
                    <a:pt x="309" y="177"/>
                  </a:lnTo>
                  <a:lnTo>
                    <a:pt x="239" y="326"/>
                  </a:lnTo>
                  <a:lnTo>
                    <a:pt x="142" y="450"/>
                  </a:lnTo>
                  <a:lnTo>
                    <a:pt x="80" y="635"/>
                  </a:lnTo>
                  <a:lnTo>
                    <a:pt x="71" y="1252"/>
                  </a:lnTo>
                  <a:lnTo>
                    <a:pt x="1" y="1649"/>
                  </a:lnTo>
                  <a:lnTo>
                    <a:pt x="45" y="1816"/>
                  </a:lnTo>
                  <a:lnTo>
                    <a:pt x="230" y="2222"/>
                  </a:lnTo>
                  <a:lnTo>
                    <a:pt x="353" y="2442"/>
                  </a:lnTo>
                  <a:lnTo>
                    <a:pt x="503" y="2539"/>
                  </a:lnTo>
                  <a:lnTo>
                    <a:pt x="1270" y="2671"/>
                  </a:lnTo>
                  <a:lnTo>
                    <a:pt x="1623" y="2874"/>
                  </a:lnTo>
                  <a:lnTo>
                    <a:pt x="1781" y="2909"/>
                  </a:lnTo>
                  <a:lnTo>
                    <a:pt x="1861" y="2944"/>
                  </a:lnTo>
                  <a:lnTo>
                    <a:pt x="1975" y="3218"/>
                  </a:lnTo>
                  <a:lnTo>
                    <a:pt x="1975" y="3447"/>
                  </a:lnTo>
                  <a:lnTo>
                    <a:pt x="1869" y="3888"/>
                  </a:lnTo>
                  <a:lnTo>
                    <a:pt x="1473" y="4496"/>
                  </a:lnTo>
                  <a:lnTo>
                    <a:pt x="1429" y="4646"/>
                  </a:lnTo>
                  <a:lnTo>
                    <a:pt x="1420" y="4804"/>
                  </a:lnTo>
                  <a:lnTo>
                    <a:pt x="1367" y="5219"/>
                  </a:lnTo>
                  <a:lnTo>
                    <a:pt x="1411" y="5236"/>
                  </a:lnTo>
                  <a:lnTo>
                    <a:pt x="1446" y="5360"/>
                  </a:lnTo>
                  <a:lnTo>
                    <a:pt x="1535" y="5421"/>
                  </a:lnTo>
                  <a:lnTo>
                    <a:pt x="1746" y="5439"/>
                  </a:lnTo>
                  <a:lnTo>
                    <a:pt x="1984" y="5421"/>
                  </a:lnTo>
                  <a:lnTo>
                    <a:pt x="2213" y="5492"/>
                  </a:lnTo>
                  <a:lnTo>
                    <a:pt x="2398" y="5104"/>
                  </a:lnTo>
                  <a:lnTo>
                    <a:pt x="2539" y="4954"/>
                  </a:lnTo>
                  <a:lnTo>
                    <a:pt x="2786" y="4848"/>
                  </a:lnTo>
                  <a:lnTo>
                    <a:pt x="2874" y="4831"/>
                  </a:lnTo>
                  <a:lnTo>
                    <a:pt x="3033" y="4752"/>
                  </a:lnTo>
                  <a:lnTo>
                    <a:pt x="3174" y="4593"/>
                  </a:lnTo>
                  <a:lnTo>
                    <a:pt x="3297" y="4417"/>
                  </a:lnTo>
                  <a:lnTo>
                    <a:pt x="3430" y="4170"/>
                  </a:lnTo>
                  <a:lnTo>
                    <a:pt x="3641" y="3711"/>
                  </a:lnTo>
                  <a:lnTo>
                    <a:pt x="3756" y="3570"/>
                  </a:lnTo>
                  <a:lnTo>
                    <a:pt x="4144" y="3535"/>
                  </a:lnTo>
                  <a:lnTo>
                    <a:pt x="4514" y="3641"/>
                  </a:lnTo>
                  <a:lnTo>
                    <a:pt x="4637" y="3738"/>
                  </a:lnTo>
                  <a:lnTo>
                    <a:pt x="4770" y="3808"/>
                  </a:lnTo>
                  <a:lnTo>
                    <a:pt x="4867" y="3835"/>
                  </a:lnTo>
                  <a:lnTo>
                    <a:pt x="4964" y="3879"/>
                  </a:lnTo>
                  <a:lnTo>
                    <a:pt x="5043" y="3941"/>
                  </a:lnTo>
                  <a:lnTo>
                    <a:pt x="5122" y="3941"/>
                  </a:lnTo>
                  <a:lnTo>
                    <a:pt x="5404" y="3808"/>
                  </a:lnTo>
                  <a:lnTo>
                    <a:pt x="5792" y="3553"/>
                  </a:lnTo>
                  <a:lnTo>
                    <a:pt x="5854" y="3491"/>
                  </a:lnTo>
                  <a:lnTo>
                    <a:pt x="5898" y="3473"/>
                  </a:lnTo>
                  <a:lnTo>
                    <a:pt x="5933" y="3456"/>
                  </a:lnTo>
                  <a:lnTo>
                    <a:pt x="5960" y="3138"/>
                  </a:lnTo>
                  <a:lnTo>
                    <a:pt x="6330" y="3059"/>
                  </a:lnTo>
                  <a:lnTo>
                    <a:pt x="6541" y="2768"/>
                  </a:lnTo>
                  <a:lnTo>
                    <a:pt x="6541" y="2539"/>
                  </a:lnTo>
                  <a:lnTo>
                    <a:pt x="6621" y="2336"/>
                  </a:lnTo>
                  <a:lnTo>
                    <a:pt x="6779" y="2098"/>
                  </a:lnTo>
                  <a:lnTo>
                    <a:pt x="6691" y="1851"/>
                  </a:lnTo>
                  <a:lnTo>
                    <a:pt x="6612" y="1825"/>
                  </a:lnTo>
                  <a:lnTo>
                    <a:pt x="6541" y="1772"/>
                  </a:lnTo>
                  <a:lnTo>
                    <a:pt x="6444" y="1675"/>
                  </a:lnTo>
                  <a:lnTo>
                    <a:pt x="6392" y="1569"/>
                  </a:lnTo>
                  <a:lnTo>
                    <a:pt x="6453" y="1490"/>
                  </a:lnTo>
                  <a:lnTo>
                    <a:pt x="6453" y="1446"/>
                  </a:lnTo>
                  <a:lnTo>
                    <a:pt x="6418" y="1446"/>
                  </a:lnTo>
                  <a:lnTo>
                    <a:pt x="6418" y="1402"/>
                  </a:lnTo>
                  <a:lnTo>
                    <a:pt x="6550" y="1331"/>
                  </a:lnTo>
                  <a:lnTo>
                    <a:pt x="6048" y="970"/>
                  </a:lnTo>
                  <a:lnTo>
                    <a:pt x="5977" y="838"/>
                  </a:lnTo>
                  <a:lnTo>
                    <a:pt x="5916" y="697"/>
                  </a:lnTo>
                  <a:lnTo>
                    <a:pt x="5783" y="556"/>
                  </a:lnTo>
                  <a:lnTo>
                    <a:pt x="5616" y="494"/>
                  </a:lnTo>
                  <a:lnTo>
                    <a:pt x="5431" y="608"/>
                  </a:lnTo>
                  <a:lnTo>
                    <a:pt x="5351" y="891"/>
                  </a:lnTo>
                  <a:lnTo>
                    <a:pt x="5210" y="1146"/>
                  </a:lnTo>
                  <a:lnTo>
                    <a:pt x="4999" y="1278"/>
                  </a:lnTo>
                  <a:lnTo>
                    <a:pt x="4831" y="1428"/>
                  </a:lnTo>
                  <a:lnTo>
                    <a:pt x="4637" y="1472"/>
                  </a:lnTo>
                  <a:lnTo>
                    <a:pt x="4276" y="1296"/>
                  </a:lnTo>
                  <a:lnTo>
                    <a:pt x="3659" y="1287"/>
                  </a:lnTo>
                  <a:lnTo>
                    <a:pt x="3483" y="1252"/>
                  </a:lnTo>
                  <a:lnTo>
                    <a:pt x="3130" y="1278"/>
                  </a:lnTo>
                  <a:lnTo>
                    <a:pt x="2971" y="1234"/>
                  </a:lnTo>
                  <a:lnTo>
                    <a:pt x="2813" y="961"/>
                  </a:lnTo>
                  <a:lnTo>
                    <a:pt x="2143" y="441"/>
                  </a:lnTo>
                  <a:lnTo>
                    <a:pt x="1993" y="353"/>
                  </a:lnTo>
                  <a:lnTo>
                    <a:pt x="1711" y="406"/>
                  </a:lnTo>
                  <a:lnTo>
                    <a:pt x="265"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7" name="Google Shape;3138;p54">
              <a:extLst>
                <a:ext uri="{FF2B5EF4-FFF2-40B4-BE49-F238E27FC236}">
                  <a16:creationId xmlns:a16="http://schemas.microsoft.com/office/drawing/2014/main" id="{F814CB06-A14B-918B-9D82-4592CFCC43E0}"/>
                </a:ext>
              </a:extLst>
            </p:cNvPr>
            <p:cNvSpPr/>
            <p:nvPr/>
          </p:nvSpPr>
          <p:spPr>
            <a:xfrm>
              <a:off x="3360604" y="2189054"/>
              <a:ext cx="588504" cy="518975"/>
            </a:xfrm>
            <a:custGeom>
              <a:avLst/>
              <a:gdLst/>
              <a:ahLst/>
              <a:cxnLst/>
              <a:rect l="l" t="t" r="r" b="b"/>
              <a:pathLst>
                <a:path w="8278" h="7300" extrusionOk="0">
                  <a:moveTo>
                    <a:pt x="3676" y="0"/>
                  </a:moveTo>
                  <a:lnTo>
                    <a:pt x="3438" y="168"/>
                  </a:lnTo>
                  <a:lnTo>
                    <a:pt x="3341" y="529"/>
                  </a:lnTo>
                  <a:lnTo>
                    <a:pt x="3297" y="670"/>
                  </a:lnTo>
                  <a:lnTo>
                    <a:pt x="3200" y="767"/>
                  </a:lnTo>
                  <a:lnTo>
                    <a:pt x="3068" y="1252"/>
                  </a:lnTo>
                  <a:lnTo>
                    <a:pt x="2857" y="1411"/>
                  </a:lnTo>
                  <a:lnTo>
                    <a:pt x="2760" y="1684"/>
                  </a:lnTo>
                  <a:lnTo>
                    <a:pt x="2724" y="2081"/>
                  </a:lnTo>
                  <a:lnTo>
                    <a:pt x="2469" y="2248"/>
                  </a:lnTo>
                  <a:lnTo>
                    <a:pt x="2143" y="2248"/>
                  </a:lnTo>
                  <a:lnTo>
                    <a:pt x="1816" y="2213"/>
                  </a:lnTo>
                  <a:lnTo>
                    <a:pt x="1605" y="2160"/>
                  </a:lnTo>
                  <a:lnTo>
                    <a:pt x="1437" y="2019"/>
                  </a:lnTo>
                  <a:lnTo>
                    <a:pt x="1340" y="2195"/>
                  </a:lnTo>
                  <a:lnTo>
                    <a:pt x="1314" y="2319"/>
                  </a:lnTo>
                  <a:lnTo>
                    <a:pt x="1314" y="2433"/>
                  </a:lnTo>
                  <a:lnTo>
                    <a:pt x="1279" y="2504"/>
                  </a:lnTo>
                  <a:lnTo>
                    <a:pt x="1226" y="2557"/>
                  </a:lnTo>
                  <a:lnTo>
                    <a:pt x="1164" y="2733"/>
                  </a:lnTo>
                  <a:lnTo>
                    <a:pt x="1102" y="3156"/>
                  </a:lnTo>
                  <a:lnTo>
                    <a:pt x="997" y="3341"/>
                  </a:lnTo>
                  <a:lnTo>
                    <a:pt x="891" y="3473"/>
                  </a:lnTo>
                  <a:lnTo>
                    <a:pt x="847" y="3553"/>
                  </a:lnTo>
                  <a:lnTo>
                    <a:pt x="715" y="3817"/>
                  </a:lnTo>
                  <a:lnTo>
                    <a:pt x="556" y="3923"/>
                  </a:lnTo>
                  <a:lnTo>
                    <a:pt x="221" y="4038"/>
                  </a:lnTo>
                  <a:lnTo>
                    <a:pt x="36" y="4126"/>
                  </a:lnTo>
                  <a:lnTo>
                    <a:pt x="1" y="4337"/>
                  </a:lnTo>
                  <a:lnTo>
                    <a:pt x="27" y="4408"/>
                  </a:lnTo>
                  <a:lnTo>
                    <a:pt x="36" y="4558"/>
                  </a:lnTo>
                  <a:lnTo>
                    <a:pt x="9" y="4619"/>
                  </a:lnTo>
                  <a:lnTo>
                    <a:pt x="239" y="4875"/>
                  </a:lnTo>
                  <a:lnTo>
                    <a:pt x="336" y="4954"/>
                  </a:lnTo>
                  <a:lnTo>
                    <a:pt x="1032" y="5104"/>
                  </a:lnTo>
                  <a:lnTo>
                    <a:pt x="1164" y="5201"/>
                  </a:lnTo>
                  <a:lnTo>
                    <a:pt x="1464" y="5660"/>
                  </a:lnTo>
                  <a:lnTo>
                    <a:pt x="1508" y="5757"/>
                  </a:lnTo>
                  <a:lnTo>
                    <a:pt x="1543" y="5862"/>
                  </a:lnTo>
                  <a:lnTo>
                    <a:pt x="1499" y="6233"/>
                  </a:lnTo>
                  <a:lnTo>
                    <a:pt x="1658" y="6506"/>
                  </a:lnTo>
                  <a:lnTo>
                    <a:pt x="1755" y="6788"/>
                  </a:lnTo>
                  <a:lnTo>
                    <a:pt x="1737" y="7158"/>
                  </a:lnTo>
                  <a:lnTo>
                    <a:pt x="1984" y="6938"/>
                  </a:lnTo>
                  <a:lnTo>
                    <a:pt x="2257" y="6947"/>
                  </a:lnTo>
                  <a:lnTo>
                    <a:pt x="2548" y="7123"/>
                  </a:lnTo>
                  <a:lnTo>
                    <a:pt x="2857" y="7167"/>
                  </a:lnTo>
                  <a:lnTo>
                    <a:pt x="3192" y="7149"/>
                  </a:lnTo>
                  <a:lnTo>
                    <a:pt x="3773" y="6982"/>
                  </a:lnTo>
                  <a:lnTo>
                    <a:pt x="4038" y="6964"/>
                  </a:lnTo>
                  <a:lnTo>
                    <a:pt x="4152" y="6691"/>
                  </a:lnTo>
                  <a:lnTo>
                    <a:pt x="4232" y="6356"/>
                  </a:lnTo>
                  <a:lnTo>
                    <a:pt x="4355" y="6285"/>
                  </a:lnTo>
                  <a:lnTo>
                    <a:pt x="4479" y="6250"/>
                  </a:lnTo>
                  <a:lnTo>
                    <a:pt x="4778" y="6241"/>
                  </a:lnTo>
                  <a:lnTo>
                    <a:pt x="5351" y="6374"/>
                  </a:lnTo>
                  <a:lnTo>
                    <a:pt x="5492" y="6435"/>
                  </a:lnTo>
                  <a:lnTo>
                    <a:pt x="5704" y="6682"/>
                  </a:lnTo>
                  <a:lnTo>
                    <a:pt x="5704" y="7299"/>
                  </a:lnTo>
                  <a:lnTo>
                    <a:pt x="6665" y="6717"/>
                  </a:lnTo>
                  <a:lnTo>
                    <a:pt x="6797" y="6550"/>
                  </a:lnTo>
                  <a:lnTo>
                    <a:pt x="6991" y="6233"/>
                  </a:lnTo>
                  <a:lnTo>
                    <a:pt x="7114" y="5836"/>
                  </a:lnTo>
                  <a:lnTo>
                    <a:pt x="7238" y="5580"/>
                  </a:lnTo>
                  <a:lnTo>
                    <a:pt x="7308" y="5316"/>
                  </a:lnTo>
                  <a:lnTo>
                    <a:pt x="7396" y="5069"/>
                  </a:lnTo>
                  <a:lnTo>
                    <a:pt x="7952" y="4822"/>
                  </a:lnTo>
                  <a:lnTo>
                    <a:pt x="8278" y="4320"/>
                  </a:lnTo>
                  <a:lnTo>
                    <a:pt x="8190" y="3941"/>
                  </a:lnTo>
                  <a:lnTo>
                    <a:pt x="7722" y="3324"/>
                  </a:lnTo>
                  <a:lnTo>
                    <a:pt x="7670" y="2865"/>
                  </a:lnTo>
                  <a:lnTo>
                    <a:pt x="7546" y="2504"/>
                  </a:lnTo>
                  <a:lnTo>
                    <a:pt x="7035" y="2010"/>
                  </a:lnTo>
                  <a:lnTo>
                    <a:pt x="6859" y="1719"/>
                  </a:lnTo>
                  <a:lnTo>
                    <a:pt x="6682" y="1763"/>
                  </a:lnTo>
                  <a:lnTo>
                    <a:pt x="6338" y="1807"/>
                  </a:lnTo>
                  <a:lnTo>
                    <a:pt x="5968" y="1913"/>
                  </a:lnTo>
                  <a:lnTo>
                    <a:pt x="5765" y="1860"/>
                  </a:lnTo>
                  <a:lnTo>
                    <a:pt x="5254" y="1490"/>
                  </a:lnTo>
                  <a:lnTo>
                    <a:pt x="5096" y="1420"/>
                  </a:lnTo>
                  <a:lnTo>
                    <a:pt x="4910" y="1296"/>
                  </a:lnTo>
                  <a:lnTo>
                    <a:pt x="4831" y="1208"/>
                  </a:lnTo>
                  <a:lnTo>
                    <a:pt x="4672" y="882"/>
                  </a:lnTo>
                  <a:lnTo>
                    <a:pt x="4655" y="626"/>
                  </a:lnTo>
                  <a:lnTo>
                    <a:pt x="4725" y="106"/>
                  </a:lnTo>
                  <a:lnTo>
                    <a:pt x="4584" y="124"/>
                  </a:lnTo>
                  <a:lnTo>
                    <a:pt x="4452" y="194"/>
                  </a:lnTo>
                  <a:lnTo>
                    <a:pt x="4302" y="212"/>
                  </a:lnTo>
                  <a:lnTo>
                    <a:pt x="4161" y="194"/>
                  </a:lnTo>
                  <a:lnTo>
                    <a:pt x="3676"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8" name="Google Shape;3139;p54">
              <a:extLst>
                <a:ext uri="{FF2B5EF4-FFF2-40B4-BE49-F238E27FC236}">
                  <a16:creationId xmlns:a16="http://schemas.microsoft.com/office/drawing/2014/main" id="{883A320D-F383-BC12-4C00-117556ED6F33}"/>
                </a:ext>
              </a:extLst>
            </p:cNvPr>
            <p:cNvSpPr/>
            <p:nvPr/>
          </p:nvSpPr>
          <p:spPr>
            <a:xfrm>
              <a:off x="4216659" y="2489217"/>
              <a:ext cx="1074847" cy="1066032"/>
            </a:xfrm>
            <a:custGeom>
              <a:avLst/>
              <a:gdLst/>
              <a:ahLst/>
              <a:cxnLst/>
              <a:rect l="l" t="t" r="r" b="b"/>
              <a:pathLst>
                <a:path w="15119" h="14995" extrusionOk="0">
                  <a:moveTo>
                    <a:pt x="8392" y="1"/>
                  </a:moveTo>
                  <a:lnTo>
                    <a:pt x="8304" y="124"/>
                  </a:lnTo>
                  <a:lnTo>
                    <a:pt x="8251" y="283"/>
                  </a:lnTo>
                  <a:lnTo>
                    <a:pt x="8207" y="591"/>
                  </a:lnTo>
                  <a:lnTo>
                    <a:pt x="8146" y="706"/>
                  </a:lnTo>
                  <a:lnTo>
                    <a:pt x="7943" y="671"/>
                  </a:lnTo>
                  <a:lnTo>
                    <a:pt x="7670" y="468"/>
                  </a:lnTo>
                  <a:lnTo>
                    <a:pt x="7449" y="389"/>
                  </a:lnTo>
                  <a:lnTo>
                    <a:pt x="6973" y="785"/>
                  </a:lnTo>
                  <a:lnTo>
                    <a:pt x="6806" y="1006"/>
                  </a:lnTo>
                  <a:lnTo>
                    <a:pt x="6594" y="1129"/>
                  </a:lnTo>
                  <a:lnTo>
                    <a:pt x="6250" y="979"/>
                  </a:lnTo>
                  <a:lnTo>
                    <a:pt x="5960" y="1120"/>
                  </a:lnTo>
                  <a:lnTo>
                    <a:pt x="5677" y="1349"/>
                  </a:lnTo>
                  <a:lnTo>
                    <a:pt x="5484" y="1332"/>
                  </a:lnTo>
                  <a:lnTo>
                    <a:pt x="5316" y="1173"/>
                  </a:lnTo>
                  <a:lnTo>
                    <a:pt x="5166" y="1085"/>
                  </a:lnTo>
                  <a:lnTo>
                    <a:pt x="4770" y="953"/>
                  </a:lnTo>
                  <a:lnTo>
                    <a:pt x="4540" y="979"/>
                  </a:lnTo>
                  <a:lnTo>
                    <a:pt x="4047" y="1129"/>
                  </a:lnTo>
                  <a:lnTo>
                    <a:pt x="3879" y="1067"/>
                  </a:lnTo>
                  <a:lnTo>
                    <a:pt x="3218" y="512"/>
                  </a:lnTo>
                  <a:lnTo>
                    <a:pt x="3015" y="397"/>
                  </a:lnTo>
                  <a:lnTo>
                    <a:pt x="2821" y="309"/>
                  </a:lnTo>
                  <a:lnTo>
                    <a:pt x="2804" y="486"/>
                  </a:lnTo>
                  <a:lnTo>
                    <a:pt x="2769" y="653"/>
                  </a:lnTo>
                  <a:lnTo>
                    <a:pt x="2698" y="750"/>
                  </a:lnTo>
                  <a:lnTo>
                    <a:pt x="2337" y="812"/>
                  </a:lnTo>
                  <a:lnTo>
                    <a:pt x="2055" y="776"/>
                  </a:lnTo>
                  <a:lnTo>
                    <a:pt x="2002" y="1173"/>
                  </a:lnTo>
                  <a:lnTo>
                    <a:pt x="1975" y="1252"/>
                  </a:lnTo>
                  <a:lnTo>
                    <a:pt x="1949" y="1332"/>
                  </a:lnTo>
                  <a:lnTo>
                    <a:pt x="2090" y="1473"/>
                  </a:lnTo>
                  <a:lnTo>
                    <a:pt x="2178" y="1526"/>
                  </a:lnTo>
                  <a:lnTo>
                    <a:pt x="2134" y="1764"/>
                  </a:lnTo>
                  <a:lnTo>
                    <a:pt x="1781" y="2354"/>
                  </a:lnTo>
                  <a:lnTo>
                    <a:pt x="1640" y="2628"/>
                  </a:lnTo>
                  <a:lnTo>
                    <a:pt x="1570" y="2945"/>
                  </a:lnTo>
                  <a:lnTo>
                    <a:pt x="1579" y="3068"/>
                  </a:lnTo>
                  <a:lnTo>
                    <a:pt x="1596" y="3183"/>
                  </a:lnTo>
                  <a:lnTo>
                    <a:pt x="1579" y="3315"/>
                  </a:lnTo>
                  <a:lnTo>
                    <a:pt x="1173" y="3844"/>
                  </a:lnTo>
                  <a:lnTo>
                    <a:pt x="820" y="4223"/>
                  </a:lnTo>
                  <a:lnTo>
                    <a:pt x="1" y="4761"/>
                  </a:lnTo>
                  <a:lnTo>
                    <a:pt x="133" y="5193"/>
                  </a:lnTo>
                  <a:lnTo>
                    <a:pt x="494" y="5492"/>
                  </a:lnTo>
                  <a:lnTo>
                    <a:pt x="776" y="5854"/>
                  </a:lnTo>
                  <a:lnTo>
                    <a:pt x="1103" y="6127"/>
                  </a:lnTo>
                  <a:lnTo>
                    <a:pt x="1261" y="6189"/>
                  </a:lnTo>
                  <a:lnTo>
                    <a:pt x="1367" y="6347"/>
                  </a:lnTo>
                  <a:lnTo>
                    <a:pt x="1702" y="6638"/>
                  </a:lnTo>
                  <a:lnTo>
                    <a:pt x="1667" y="6832"/>
                  </a:lnTo>
                  <a:lnTo>
                    <a:pt x="1367" y="7026"/>
                  </a:lnTo>
                  <a:lnTo>
                    <a:pt x="1050" y="7150"/>
                  </a:lnTo>
                  <a:lnTo>
                    <a:pt x="900" y="7247"/>
                  </a:lnTo>
                  <a:lnTo>
                    <a:pt x="794" y="7626"/>
                  </a:lnTo>
                  <a:lnTo>
                    <a:pt x="900" y="8084"/>
                  </a:lnTo>
                  <a:lnTo>
                    <a:pt x="909" y="8551"/>
                  </a:lnTo>
                  <a:lnTo>
                    <a:pt x="724" y="8851"/>
                  </a:lnTo>
                  <a:lnTo>
                    <a:pt x="697" y="9133"/>
                  </a:lnTo>
                  <a:lnTo>
                    <a:pt x="547" y="9318"/>
                  </a:lnTo>
                  <a:lnTo>
                    <a:pt x="344" y="9380"/>
                  </a:lnTo>
                  <a:lnTo>
                    <a:pt x="353" y="9583"/>
                  </a:lnTo>
                  <a:lnTo>
                    <a:pt x="459" y="9759"/>
                  </a:lnTo>
                  <a:lnTo>
                    <a:pt x="530" y="9970"/>
                  </a:lnTo>
                  <a:lnTo>
                    <a:pt x="486" y="10323"/>
                  </a:lnTo>
                  <a:lnTo>
                    <a:pt x="362" y="10649"/>
                  </a:lnTo>
                  <a:lnTo>
                    <a:pt x="459" y="10781"/>
                  </a:lnTo>
                  <a:lnTo>
                    <a:pt x="565" y="10896"/>
                  </a:lnTo>
                  <a:lnTo>
                    <a:pt x="750" y="11037"/>
                  </a:lnTo>
                  <a:lnTo>
                    <a:pt x="953" y="11116"/>
                  </a:lnTo>
                  <a:lnTo>
                    <a:pt x="1411" y="11125"/>
                  </a:lnTo>
                  <a:lnTo>
                    <a:pt x="2601" y="11372"/>
                  </a:lnTo>
                  <a:lnTo>
                    <a:pt x="2989" y="11619"/>
                  </a:lnTo>
                  <a:lnTo>
                    <a:pt x="3289" y="11901"/>
                  </a:lnTo>
                  <a:lnTo>
                    <a:pt x="3615" y="12121"/>
                  </a:lnTo>
                  <a:lnTo>
                    <a:pt x="3844" y="12368"/>
                  </a:lnTo>
                  <a:lnTo>
                    <a:pt x="4056" y="12659"/>
                  </a:lnTo>
                  <a:lnTo>
                    <a:pt x="4179" y="12791"/>
                  </a:lnTo>
                  <a:lnTo>
                    <a:pt x="4320" y="12888"/>
                  </a:lnTo>
                  <a:lnTo>
                    <a:pt x="4637" y="13179"/>
                  </a:lnTo>
                  <a:lnTo>
                    <a:pt x="4814" y="13258"/>
                  </a:lnTo>
                  <a:lnTo>
                    <a:pt x="4963" y="13347"/>
                  </a:lnTo>
                  <a:lnTo>
                    <a:pt x="4981" y="13523"/>
                  </a:lnTo>
                  <a:lnTo>
                    <a:pt x="4858" y="13620"/>
                  </a:lnTo>
                  <a:lnTo>
                    <a:pt x="4805" y="13796"/>
                  </a:lnTo>
                  <a:lnTo>
                    <a:pt x="4875" y="13955"/>
                  </a:lnTo>
                  <a:lnTo>
                    <a:pt x="5078" y="14025"/>
                  </a:lnTo>
                  <a:lnTo>
                    <a:pt x="5290" y="14043"/>
                  </a:lnTo>
                  <a:lnTo>
                    <a:pt x="5439" y="14078"/>
                  </a:lnTo>
                  <a:lnTo>
                    <a:pt x="5536" y="14219"/>
                  </a:lnTo>
                  <a:lnTo>
                    <a:pt x="5607" y="14607"/>
                  </a:lnTo>
                  <a:lnTo>
                    <a:pt x="5581" y="14995"/>
                  </a:lnTo>
                  <a:lnTo>
                    <a:pt x="6101" y="14598"/>
                  </a:lnTo>
                  <a:lnTo>
                    <a:pt x="6762" y="13946"/>
                  </a:lnTo>
                  <a:lnTo>
                    <a:pt x="6903" y="13726"/>
                  </a:lnTo>
                  <a:lnTo>
                    <a:pt x="6920" y="13549"/>
                  </a:lnTo>
                  <a:lnTo>
                    <a:pt x="6850" y="13399"/>
                  </a:lnTo>
                  <a:lnTo>
                    <a:pt x="6568" y="13373"/>
                  </a:lnTo>
                  <a:lnTo>
                    <a:pt x="6286" y="13241"/>
                  </a:lnTo>
                  <a:lnTo>
                    <a:pt x="6259" y="13038"/>
                  </a:lnTo>
                  <a:lnTo>
                    <a:pt x="6374" y="12650"/>
                  </a:lnTo>
                  <a:lnTo>
                    <a:pt x="6815" y="12086"/>
                  </a:lnTo>
                  <a:lnTo>
                    <a:pt x="7370" y="11310"/>
                  </a:lnTo>
                  <a:lnTo>
                    <a:pt x="7916" y="10702"/>
                  </a:lnTo>
                  <a:lnTo>
                    <a:pt x="8163" y="10438"/>
                  </a:lnTo>
                  <a:lnTo>
                    <a:pt x="8595" y="10261"/>
                  </a:lnTo>
                  <a:lnTo>
                    <a:pt x="9300" y="10173"/>
                  </a:lnTo>
                  <a:lnTo>
                    <a:pt x="10014" y="10129"/>
                  </a:lnTo>
                  <a:lnTo>
                    <a:pt x="10482" y="9953"/>
                  </a:lnTo>
                  <a:lnTo>
                    <a:pt x="10711" y="9644"/>
                  </a:lnTo>
                  <a:lnTo>
                    <a:pt x="10852" y="9468"/>
                  </a:lnTo>
                  <a:lnTo>
                    <a:pt x="11063" y="9336"/>
                  </a:lnTo>
                  <a:lnTo>
                    <a:pt x="11522" y="9353"/>
                  </a:lnTo>
                  <a:lnTo>
                    <a:pt x="11707" y="9424"/>
                  </a:lnTo>
                  <a:lnTo>
                    <a:pt x="11742" y="9706"/>
                  </a:lnTo>
                  <a:lnTo>
                    <a:pt x="11725" y="9794"/>
                  </a:lnTo>
                  <a:lnTo>
                    <a:pt x="11830" y="10173"/>
                  </a:lnTo>
                  <a:lnTo>
                    <a:pt x="12359" y="10746"/>
                  </a:lnTo>
                  <a:lnTo>
                    <a:pt x="12729" y="11152"/>
                  </a:lnTo>
                  <a:lnTo>
                    <a:pt x="13003" y="11443"/>
                  </a:lnTo>
                  <a:lnTo>
                    <a:pt x="13320" y="11971"/>
                  </a:lnTo>
                  <a:lnTo>
                    <a:pt x="13426" y="12201"/>
                  </a:lnTo>
                  <a:lnTo>
                    <a:pt x="13584" y="12016"/>
                  </a:lnTo>
                  <a:lnTo>
                    <a:pt x="13717" y="11936"/>
                  </a:lnTo>
                  <a:lnTo>
                    <a:pt x="14122" y="11795"/>
                  </a:lnTo>
                  <a:lnTo>
                    <a:pt x="14378" y="11663"/>
                  </a:lnTo>
                  <a:lnTo>
                    <a:pt x="14589" y="11460"/>
                  </a:lnTo>
                  <a:lnTo>
                    <a:pt x="14730" y="11390"/>
                  </a:lnTo>
                  <a:lnTo>
                    <a:pt x="14977" y="11310"/>
                  </a:lnTo>
                  <a:lnTo>
                    <a:pt x="15057" y="11240"/>
                  </a:lnTo>
                  <a:lnTo>
                    <a:pt x="15118" y="11055"/>
                  </a:lnTo>
                  <a:lnTo>
                    <a:pt x="15004" y="10808"/>
                  </a:lnTo>
                  <a:lnTo>
                    <a:pt x="14836" y="10614"/>
                  </a:lnTo>
                  <a:lnTo>
                    <a:pt x="14722" y="10526"/>
                  </a:lnTo>
                  <a:lnTo>
                    <a:pt x="14545" y="10270"/>
                  </a:lnTo>
                  <a:lnTo>
                    <a:pt x="14545" y="10103"/>
                  </a:lnTo>
                  <a:lnTo>
                    <a:pt x="14563" y="9838"/>
                  </a:lnTo>
                  <a:lnTo>
                    <a:pt x="14642" y="9680"/>
                  </a:lnTo>
                  <a:lnTo>
                    <a:pt x="14748" y="9556"/>
                  </a:lnTo>
                  <a:lnTo>
                    <a:pt x="14854" y="9256"/>
                  </a:lnTo>
                  <a:lnTo>
                    <a:pt x="14801" y="8921"/>
                  </a:lnTo>
                  <a:lnTo>
                    <a:pt x="14651" y="8710"/>
                  </a:lnTo>
                  <a:lnTo>
                    <a:pt x="14466" y="8534"/>
                  </a:lnTo>
                  <a:lnTo>
                    <a:pt x="14307" y="8243"/>
                  </a:lnTo>
                  <a:lnTo>
                    <a:pt x="14131" y="7996"/>
                  </a:lnTo>
                  <a:lnTo>
                    <a:pt x="13919" y="7872"/>
                  </a:lnTo>
                  <a:lnTo>
                    <a:pt x="13699" y="7784"/>
                  </a:lnTo>
                  <a:lnTo>
                    <a:pt x="13540" y="7546"/>
                  </a:lnTo>
                  <a:lnTo>
                    <a:pt x="13479" y="7247"/>
                  </a:lnTo>
                  <a:lnTo>
                    <a:pt x="13135" y="7185"/>
                  </a:lnTo>
                  <a:lnTo>
                    <a:pt x="12782" y="7273"/>
                  </a:lnTo>
                  <a:lnTo>
                    <a:pt x="12421" y="7414"/>
                  </a:lnTo>
                  <a:lnTo>
                    <a:pt x="12059" y="7511"/>
                  </a:lnTo>
                  <a:lnTo>
                    <a:pt x="11689" y="7493"/>
                  </a:lnTo>
                  <a:lnTo>
                    <a:pt x="10966" y="7538"/>
                  </a:lnTo>
                  <a:lnTo>
                    <a:pt x="10420" y="7661"/>
                  </a:lnTo>
                  <a:lnTo>
                    <a:pt x="10217" y="7652"/>
                  </a:lnTo>
                  <a:lnTo>
                    <a:pt x="10023" y="7476"/>
                  </a:lnTo>
                  <a:lnTo>
                    <a:pt x="9715" y="7088"/>
                  </a:lnTo>
                  <a:lnTo>
                    <a:pt x="9644" y="6859"/>
                  </a:lnTo>
                  <a:lnTo>
                    <a:pt x="9609" y="6621"/>
                  </a:lnTo>
                  <a:lnTo>
                    <a:pt x="9556" y="6550"/>
                  </a:lnTo>
                  <a:lnTo>
                    <a:pt x="9494" y="6506"/>
                  </a:lnTo>
                  <a:lnTo>
                    <a:pt x="9327" y="6057"/>
                  </a:lnTo>
                  <a:lnTo>
                    <a:pt x="9362" y="5572"/>
                  </a:lnTo>
                  <a:lnTo>
                    <a:pt x="9433" y="5369"/>
                  </a:lnTo>
                  <a:lnTo>
                    <a:pt x="9459" y="5149"/>
                  </a:lnTo>
                  <a:lnTo>
                    <a:pt x="9574" y="4840"/>
                  </a:lnTo>
                  <a:lnTo>
                    <a:pt x="9741" y="4584"/>
                  </a:lnTo>
                  <a:lnTo>
                    <a:pt x="9803" y="4117"/>
                  </a:lnTo>
                  <a:lnTo>
                    <a:pt x="9909" y="3923"/>
                  </a:lnTo>
                  <a:lnTo>
                    <a:pt x="10173" y="3615"/>
                  </a:lnTo>
                  <a:lnTo>
                    <a:pt x="10261" y="3456"/>
                  </a:lnTo>
                  <a:lnTo>
                    <a:pt x="10164" y="3218"/>
                  </a:lnTo>
                  <a:lnTo>
                    <a:pt x="10014" y="2998"/>
                  </a:lnTo>
                  <a:lnTo>
                    <a:pt x="9900" y="2777"/>
                  </a:lnTo>
                  <a:lnTo>
                    <a:pt x="9794" y="2531"/>
                  </a:lnTo>
                  <a:lnTo>
                    <a:pt x="9785" y="2187"/>
                  </a:lnTo>
                  <a:lnTo>
                    <a:pt x="9838" y="1843"/>
                  </a:lnTo>
                  <a:lnTo>
                    <a:pt x="9856" y="1517"/>
                  </a:lnTo>
                  <a:lnTo>
                    <a:pt x="9838" y="1200"/>
                  </a:lnTo>
                  <a:lnTo>
                    <a:pt x="9582" y="618"/>
                  </a:lnTo>
                  <a:lnTo>
                    <a:pt x="9133" y="283"/>
                  </a:lnTo>
                  <a:lnTo>
                    <a:pt x="8868" y="203"/>
                  </a:lnTo>
                  <a:lnTo>
                    <a:pt x="8789" y="151"/>
                  </a:lnTo>
                  <a:lnTo>
                    <a:pt x="858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9" name="Google Shape;3140;p54">
              <a:extLst>
                <a:ext uri="{FF2B5EF4-FFF2-40B4-BE49-F238E27FC236}">
                  <a16:creationId xmlns:a16="http://schemas.microsoft.com/office/drawing/2014/main" id="{8EBD73B5-CD21-B7F9-A354-147442492525}"/>
                </a:ext>
              </a:extLst>
            </p:cNvPr>
            <p:cNvSpPr/>
            <p:nvPr/>
          </p:nvSpPr>
          <p:spPr>
            <a:xfrm>
              <a:off x="4613369" y="3152889"/>
              <a:ext cx="557792" cy="502055"/>
            </a:xfrm>
            <a:custGeom>
              <a:avLst/>
              <a:gdLst/>
              <a:ahLst/>
              <a:cxnLst/>
              <a:rect l="l" t="t" r="r" b="b"/>
              <a:pathLst>
                <a:path w="7846" h="7062" extrusionOk="0">
                  <a:moveTo>
                    <a:pt x="5483" y="1"/>
                  </a:moveTo>
                  <a:lnTo>
                    <a:pt x="5272" y="133"/>
                  </a:lnTo>
                  <a:lnTo>
                    <a:pt x="5131" y="309"/>
                  </a:lnTo>
                  <a:lnTo>
                    <a:pt x="4902" y="618"/>
                  </a:lnTo>
                  <a:lnTo>
                    <a:pt x="4434" y="794"/>
                  </a:lnTo>
                  <a:lnTo>
                    <a:pt x="3720" y="838"/>
                  </a:lnTo>
                  <a:lnTo>
                    <a:pt x="3015" y="926"/>
                  </a:lnTo>
                  <a:lnTo>
                    <a:pt x="2583" y="1103"/>
                  </a:lnTo>
                  <a:lnTo>
                    <a:pt x="2336" y="1367"/>
                  </a:lnTo>
                  <a:lnTo>
                    <a:pt x="1790" y="1975"/>
                  </a:lnTo>
                  <a:lnTo>
                    <a:pt x="1235" y="2751"/>
                  </a:lnTo>
                  <a:lnTo>
                    <a:pt x="794" y="3315"/>
                  </a:lnTo>
                  <a:lnTo>
                    <a:pt x="679" y="3703"/>
                  </a:lnTo>
                  <a:lnTo>
                    <a:pt x="706" y="3906"/>
                  </a:lnTo>
                  <a:lnTo>
                    <a:pt x="988" y="4038"/>
                  </a:lnTo>
                  <a:lnTo>
                    <a:pt x="1270" y="4064"/>
                  </a:lnTo>
                  <a:lnTo>
                    <a:pt x="1340" y="4214"/>
                  </a:lnTo>
                  <a:lnTo>
                    <a:pt x="1323" y="4391"/>
                  </a:lnTo>
                  <a:lnTo>
                    <a:pt x="1182" y="4611"/>
                  </a:lnTo>
                  <a:lnTo>
                    <a:pt x="521" y="5263"/>
                  </a:lnTo>
                  <a:lnTo>
                    <a:pt x="1" y="5660"/>
                  </a:lnTo>
                  <a:lnTo>
                    <a:pt x="159" y="6083"/>
                  </a:lnTo>
                  <a:lnTo>
                    <a:pt x="344" y="6471"/>
                  </a:lnTo>
                  <a:lnTo>
                    <a:pt x="468" y="6630"/>
                  </a:lnTo>
                  <a:lnTo>
                    <a:pt x="626" y="6735"/>
                  </a:lnTo>
                  <a:lnTo>
                    <a:pt x="812" y="6832"/>
                  </a:lnTo>
                  <a:lnTo>
                    <a:pt x="900" y="7026"/>
                  </a:lnTo>
                  <a:lnTo>
                    <a:pt x="1208" y="6982"/>
                  </a:lnTo>
                  <a:lnTo>
                    <a:pt x="1508" y="7062"/>
                  </a:lnTo>
                  <a:lnTo>
                    <a:pt x="1790" y="7053"/>
                  </a:lnTo>
                  <a:lnTo>
                    <a:pt x="2054" y="6938"/>
                  </a:lnTo>
                  <a:lnTo>
                    <a:pt x="2328" y="6868"/>
                  </a:lnTo>
                  <a:lnTo>
                    <a:pt x="2610" y="6885"/>
                  </a:lnTo>
                  <a:lnTo>
                    <a:pt x="2760" y="6859"/>
                  </a:lnTo>
                  <a:lnTo>
                    <a:pt x="2874" y="6753"/>
                  </a:lnTo>
                  <a:lnTo>
                    <a:pt x="2927" y="6542"/>
                  </a:lnTo>
                  <a:lnTo>
                    <a:pt x="2998" y="6356"/>
                  </a:lnTo>
                  <a:lnTo>
                    <a:pt x="3059" y="6330"/>
                  </a:lnTo>
                  <a:lnTo>
                    <a:pt x="3130" y="6312"/>
                  </a:lnTo>
                  <a:lnTo>
                    <a:pt x="3288" y="6400"/>
                  </a:lnTo>
                  <a:lnTo>
                    <a:pt x="3474" y="6471"/>
                  </a:lnTo>
                  <a:lnTo>
                    <a:pt x="3588" y="6312"/>
                  </a:lnTo>
                  <a:lnTo>
                    <a:pt x="3482" y="6145"/>
                  </a:lnTo>
                  <a:lnTo>
                    <a:pt x="3271" y="5977"/>
                  </a:lnTo>
                  <a:lnTo>
                    <a:pt x="3024" y="5916"/>
                  </a:lnTo>
                  <a:lnTo>
                    <a:pt x="2918" y="5836"/>
                  </a:lnTo>
                  <a:lnTo>
                    <a:pt x="2839" y="5722"/>
                  </a:lnTo>
                  <a:lnTo>
                    <a:pt x="2724" y="5669"/>
                  </a:lnTo>
                  <a:lnTo>
                    <a:pt x="2654" y="5519"/>
                  </a:lnTo>
                  <a:lnTo>
                    <a:pt x="2610" y="5343"/>
                  </a:lnTo>
                  <a:lnTo>
                    <a:pt x="2530" y="5210"/>
                  </a:lnTo>
                  <a:lnTo>
                    <a:pt x="2433" y="5096"/>
                  </a:lnTo>
                  <a:lnTo>
                    <a:pt x="2425" y="4911"/>
                  </a:lnTo>
                  <a:lnTo>
                    <a:pt x="2601" y="4875"/>
                  </a:lnTo>
                  <a:lnTo>
                    <a:pt x="2671" y="4849"/>
                  </a:lnTo>
                  <a:lnTo>
                    <a:pt x="2883" y="4717"/>
                  </a:lnTo>
                  <a:lnTo>
                    <a:pt x="3015" y="4664"/>
                  </a:lnTo>
                  <a:lnTo>
                    <a:pt x="3086" y="4699"/>
                  </a:lnTo>
                  <a:lnTo>
                    <a:pt x="3095" y="4734"/>
                  </a:lnTo>
                  <a:lnTo>
                    <a:pt x="3130" y="4805"/>
                  </a:lnTo>
                  <a:lnTo>
                    <a:pt x="3297" y="4849"/>
                  </a:lnTo>
                  <a:lnTo>
                    <a:pt x="3394" y="4682"/>
                  </a:lnTo>
                  <a:lnTo>
                    <a:pt x="3447" y="4426"/>
                  </a:lnTo>
                  <a:lnTo>
                    <a:pt x="3597" y="4250"/>
                  </a:lnTo>
                  <a:lnTo>
                    <a:pt x="3773" y="4188"/>
                  </a:lnTo>
                  <a:lnTo>
                    <a:pt x="3932" y="4082"/>
                  </a:lnTo>
                  <a:lnTo>
                    <a:pt x="4073" y="3941"/>
                  </a:lnTo>
                  <a:lnTo>
                    <a:pt x="4240" y="3844"/>
                  </a:lnTo>
                  <a:lnTo>
                    <a:pt x="4434" y="3791"/>
                  </a:lnTo>
                  <a:lnTo>
                    <a:pt x="5025" y="3730"/>
                  </a:lnTo>
                  <a:lnTo>
                    <a:pt x="5395" y="3588"/>
                  </a:lnTo>
                  <a:lnTo>
                    <a:pt x="5774" y="3553"/>
                  </a:lnTo>
                  <a:lnTo>
                    <a:pt x="5933" y="3606"/>
                  </a:lnTo>
                  <a:lnTo>
                    <a:pt x="6048" y="3588"/>
                  </a:lnTo>
                  <a:lnTo>
                    <a:pt x="6215" y="3500"/>
                  </a:lnTo>
                  <a:lnTo>
                    <a:pt x="6559" y="3439"/>
                  </a:lnTo>
                  <a:lnTo>
                    <a:pt x="7008" y="3095"/>
                  </a:lnTo>
                  <a:lnTo>
                    <a:pt x="7167" y="3024"/>
                  </a:lnTo>
                  <a:lnTo>
                    <a:pt x="7520" y="2998"/>
                  </a:lnTo>
                  <a:lnTo>
                    <a:pt x="7846" y="2866"/>
                  </a:lnTo>
                  <a:lnTo>
                    <a:pt x="7740" y="2636"/>
                  </a:lnTo>
                  <a:lnTo>
                    <a:pt x="7423" y="2108"/>
                  </a:lnTo>
                  <a:lnTo>
                    <a:pt x="7149" y="1817"/>
                  </a:lnTo>
                  <a:lnTo>
                    <a:pt x="6779" y="1411"/>
                  </a:lnTo>
                  <a:lnTo>
                    <a:pt x="6250" y="838"/>
                  </a:lnTo>
                  <a:lnTo>
                    <a:pt x="6145" y="459"/>
                  </a:lnTo>
                  <a:lnTo>
                    <a:pt x="6162" y="371"/>
                  </a:lnTo>
                  <a:lnTo>
                    <a:pt x="6127" y="89"/>
                  </a:lnTo>
                  <a:lnTo>
                    <a:pt x="5942" y="18"/>
                  </a:lnTo>
                  <a:lnTo>
                    <a:pt x="548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3141;p54">
              <a:extLst>
                <a:ext uri="{FF2B5EF4-FFF2-40B4-BE49-F238E27FC236}">
                  <a16:creationId xmlns:a16="http://schemas.microsoft.com/office/drawing/2014/main" id="{E4DD11DF-E209-0220-2E72-95788AA9778F}"/>
                </a:ext>
              </a:extLst>
            </p:cNvPr>
            <p:cNvSpPr/>
            <p:nvPr/>
          </p:nvSpPr>
          <p:spPr>
            <a:xfrm>
              <a:off x="5174877" y="2835805"/>
              <a:ext cx="362287" cy="439352"/>
            </a:xfrm>
            <a:custGeom>
              <a:avLst/>
              <a:gdLst/>
              <a:ahLst/>
              <a:cxnLst/>
              <a:rect l="l" t="t" r="r" b="b"/>
              <a:pathLst>
                <a:path w="5096" h="6180" extrusionOk="0">
                  <a:moveTo>
                    <a:pt x="2460" y="0"/>
                  </a:moveTo>
                  <a:lnTo>
                    <a:pt x="2187" y="9"/>
                  </a:lnTo>
                  <a:lnTo>
                    <a:pt x="1799" y="124"/>
                  </a:lnTo>
                  <a:lnTo>
                    <a:pt x="1534" y="89"/>
                  </a:lnTo>
                  <a:lnTo>
                    <a:pt x="1" y="2372"/>
                  </a:lnTo>
                  <a:lnTo>
                    <a:pt x="62" y="2671"/>
                  </a:lnTo>
                  <a:lnTo>
                    <a:pt x="221" y="2909"/>
                  </a:lnTo>
                  <a:lnTo>
                    <a:pt x="441" y="2997"/>
                  </a:lnTo>
                  <a:lnTo>
                    <a:pt x="653" y="3121"/>
                  </a:lnTo>
                  <a:lnTo>
                    <a:pt x="829" y="3368"/>
                  </a:lnTo>
                  <a:lnTo>
                    <a:pt x="988" y="3659"/>
                  </a:lnTo>
                  <a:lnTo>
                    <a:pt x="1173" y="3835"/>
                  </a:lnTo>
                  <a:lnTo>
                    <a:pt x="1323" y="4046"/>
                  </a:lnTo>
                  <a:lnTo>
                    <a:pt x="1376" y="4381"/>
                  </a:lnTo>
                  <a:lnTo>
                    <a:pt x="1270" y="4681"/>
                  </a:lnTo>
                  <a:lnTo>
                    <a:pt x="1164" y="4805"/>
                  </a:lnTo>
                  <a:lnTo>
                    <a:pt x="1085" y="4963"/>
                  </a:lnTo>
                  <a:lnTo>
                    <a:pt x="1067" y="5228"/>
                  </a:lnTo>
                  <a:lnTo>
                    <a:pt x="1067" y="5395"/>
                  </a:lnTo>
                  <a:lnTo>
                    <a:pt x="1244" y="5651"/>
                  </a:lnTo>
                  <a:lnTo>
                    <a:pt x="1358" y="5739"/>
                  </a:lnTo>
                  <a:lnTo>
                    <a:pt x="1526" y="5933"/>
                  </a:lnTo>
                  <a:lnTo>
                    <a:pt x="1640" y="6180"/>
                  </a:lnTo>
                  <a:lnTo>
                    <a:pt x="1984" y="6171"/>
                  </a:lnTo>
                  <a:lnTo>
                    <a:pt x="2143" y="6118"/>
                  </a:lnTo>
                  <a:lnTo>
                    <a:pt x="2284" y="6030"/>
                  </a:lnTo>
                  <a:lnTo>
                    <a:pt x="2610" y="5889"/>
                  </a:lnTo>
                  <a:lnTo>
                    <a:pt x="2936" y="5977"/>
                  </a:lnTo>
                  <a:lnTo>
                    <a:pt x="2927" y="5695"/>
                  </a:lnTo>
                  <a:lnTo>
                    <a:pt x="2945" y="5571"/>
                  </a:lnTo>
                  <a:lnTo>
                    <a:pt x="3059" y="5386"/>
                  </a:lnTo>
                  <a:lnTo>
                    <a:pt x="3139" y="5325"/>
                  </a:lnTo>
                  <a:lnTo>
                    <a:pt x="3200" y="5254"/>
                  </a:lnTo>
                  <a:lnTo>
                    <a:pt x="3271" y="5007"/>
                  </a:lnTo>
                  <a:lnTo>
                    <a:pt x="3245" y="4849"/>
                  </a:lnTo>
                  <a:lnTo>
                    <a:pt x="3121" y="4558"/>
                  </a:lnTo>
                  <a:lnTo>
                    <a:pt x="3104" y="4258"/>
                  </a:lnTo>
                  <a:lnTo>
                    <a:pt x="3245" y="4046"/>
                  </a:lnTo>
                  <a:lnTo>
                    <a:pt x="3483" y="4064"/>
                  </a:lnTo>
                  <a:lnTo>
                    <a:pt x="3721" y="4143"/>
                  </a:lnTo>
                  <a:lnTo>
                    <a:pt x="4179" y="4064"/>
                  </a:lnTo>
                  <a:lnTo>
                    <a:pt x="4787" y="3456"/>
                  </a:lnTo>
                  <a:lnTo>
                    <a:pt x="4858" y="3094"/>
                  </a:lnTo>
                  <a:lnTo>
                    <a:pt x="4884" y="2795"/>
                  </a:lnTo>
                  <a:lnTo>
                    <a:pt x="5096" y="2654"/>
                  </a:lnTo>
                  <a:lnTo>
                    <a:pt x="5052" y="2442"/>
                  </a:lnTo>
                  <a:lnTo>
                    <a:pt x="4955" y="2239"/>
                  </a:lnTo>
                  <a:lnTo>
                    <a:pt x="4928" y="1984"/>
                  </a:lnTo>
                  <a:lnTo>
                    <a:pt x="4981" y="1737"/>
                  </a:lnTo>
                  <a:lnTo>
                    <a:pt x="4849" y="1340"/>
                  </a:lnTo>
                  <a:lnTo>
                    <a:pt x="4100" y="1331"/>
                  </a:lnTo>
                  <a:lnTo>
                    <a:pt x="3826" y="1041"/>
                  </a:lnTo>
                  <a:lnTo>
                    <a:pt x="3500" y="141"/>
                  </a:lnTo>
                  <a:lnTo>
                    <a:pt x="3015" y="327"/>
                  </a:lnTo>
                  <a:lnTo>
                    <a:pt x="2786" y="256"/>
                  </a:lnTo>
                  <a:lnTo>
                    <a:pt x="2583" y="62"/>
                  </a:lnTo>
                  <a:lnTo>
                    <a:pt x="2460"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1" name="Google Shape;3142;p54">
              <a:extLst>
                <a:ext uri="{FF2B5EF4-FFF2-40B4-BE49-F238E27FC236}">
                  <a16:creationId xmlns:a16="http://schemas.microsoft.com/office/drawing/2014/main" id="{BC098A23-4E42-2E08-455F-BBE8562AD97B}"/>
                </a:ext>
              </a:extLst>
            </p:cNvPr>
            <p:cNvSpPr/>
            <p:nvPr/>
          </p:nvSpPr>
          <p:spPr>
            <a:xfrm>
              <a:off x="5423710" y="2441584"/>
              <a:ext cx="666848" cy="668127"/>
            </a:xfrm>
            <a:custGeom>
              <a:avLst/>
              <a:gdLst/>
              <a:ahLst/>
              <a:cxnLst/>
              <a:rect l="l" t="t" r="r" b="b"/>
              <a:pathLst>
                <a:path w="9380" h="9398" extrusionOk="0">
                  <a:moveTo>
                    <a:pt x="4205" y="1"/>
                  </a:moveTo>
                  <a:lnTo>
                    <a:pt x="3808" y="538"/>
                  </a:lnTo>
                  <a:lnTo>
                    <a:pt x="2310" y="1517"/>
                  </a:lnTo>
                  <a:lnTo>
                    <a:pt x="2098" y="1587"/>
                  </a:lnTo>
                  <a:lnTo>
                    <a:pt x="1578" y="1922"/>
                  </a:lnTo>
                  <a:lnTo>
                    <a:pt x="529" y="1755"/>
                  </a:lnTo>
                  <a:lnTo>
                    <a:pt x="467" y="1870"/>
                  </a:lnTo>
                  <a:lnTo>
                    <a:pt x="414" y="1993"/>
                  </a:lnTo>
                  <a:lnTo>
                    <a:pt x="406" y="2134"/>
                  </a:lnTo>
                  <a:lnTo>
                    <a:pt x="406" y="2284"/>
                  </a:lnTo>
                  <a:lnTo>
                    <a:pt x="309" y="2601"/>
                  </a:lnTo>
                  <a:lnTo>
                    <a:pt x="176" y="2910"/>
                  </a:lnTo>
                  <a:lnTo>
                    <a:pt x="397" y="3333"/>
                  </a:lnTo>
                  <a:lnTo>
                    <a:pt x="723" y="3756"/>
                  </a:lnTo>
                  <a:lnTo>
                    <a:pt x="697" y="4038"/>
                  </a:lnTo>
                  <a:lnTo>
                    <a:pt x="749" y="4311"/>
                  </a:lnTo>
                  <a:lnTo>
                    <a:pt x="732" y="4585"/>
                  </a:lnTo>
                  <a:lnTo>
                    <a:pt x="318" y="5246"/>
                  </a:lnTo>
                  <a:lnTo>
                    <a:pt x="124" y="5440"/>
                  </a:lnTo>
                  <a:lnTo>
                    <a:pt x="0" y="5686"/>
                  </a:lnTo>
                  <a:lnTo>
                    <a:pt x="326" y="6586"/>
                  </a:lnTo>
                  <a:lnTo>
                    <a:pt x="600" y="6876"/>
                  </a:lnTo>
                  <a:lnTo>
                    <a:pt x="1349" y="6885"/>
                  </a:lnTo>
                  <a:lnTo>
                    <a:pt x="1481" y="7282"/>
                  </a:lnTo>
                  <a:lnTo>
                    <a:pt x="1428" y="7529"/>
                  </a:lnTo>
                  <a:lnTo>
                    <a:pt x="1455" y="7784"/>
                  </a:lnTo>
                  <a:lnTo>
                    <a:pt x="1552" y="7987"/>
                  </a:lnTo>
                  <a:lnTo>
                    <a:pt x="1596" y="8199"/>
                  </a:lnTo>
                  <a:lnTo>
                    <a:pt x="1384" y="8340"/>
                  </a:lnTo>
                  <a:lnTo>
                    <a:pt x="1358" y="8639"/>
                  </a:lnTo>
                  <a:lnTo>
                    <a:pt x="1287" y="9001"/>
                  </a:lnTo>
                  <a:lnTo>
                    <a:pt x="2081" y="9063"/>
                  </a:lnTo>
                  <a:lnTo>
                    <a:pt x="2504" y="9168"/>
                  </a:lnTo>
                  <a:lnTo>
                    <a:pt x="3077" y="9398"/>
                  </a:lnTo>
                  <a:lnTo>
                    <a:pt x="3323" y="9283"/>
                  </a:lnTo>
                  <a:lnTo>
                    <a:pt x="3218" y="8199"/>
                  </a:lnTo>
                  <a:lnTo>
                    <a:pt x="4937" y="7017"/>
                  </a:lnTo>
                  <a:lnTo>
                    <a:pt x="5192" y="6674"/>
                  </a:lnTo>
                  <a:lnTo>
                    <a:pt x="5386" y="6268"/>
                  </a:lnTo>
                  <a:lnTo>
                    <a:pt x="5518" y="6083"/>
                  </a:lnTo>
                  <a:lnTo>
                    <a:pt x="5712" y="5598"/>
                  </a:lnTo>
                  <a:lnTo>
                    <a:pt x="5915" y="5431"/>
                  </a:lnTo>
                  <a:lnTo>
                    <a:pt x="6276" y="5228"/>
                  </a:lnTo>
                  <a:lnTo>
                    <a:pt x="6655" y="5122"/>
                  </a:lnTo>
                  <a:lnTo>
                    <a:pt x="6893" y="5237"/>
                  </a:lnTo>
                  <a:lnTo>
                    <a:pt x="7070" y="5510"/>
                  </a:lnTo>
                  <a:lnTo>
                    <a:pt x="7184" y="5819"/>
                  </a:lnTo>
                  <a:lnTo>
                    <a:pt x="7378" y="6021"/>
                  </a:lnTo>
                  <a:lnTo>
                    <a:pt x="7546" y="5845"/>
                  </a:lnTo>
                  <a:lnTo>
                    <a:pt x="7696" y="5634"/>
                  </a:lnTo>
                  <a:lnTo>
                    <a:pt x="8048" y="5219"/>
                  </a:lnTo>
                  <a:lnTo>
                    <a:pt x="8198" y="4972"/>
                  </a:lnTo>
                  <a:lnTo>
                    <a:pt x="8260" y="4664"/>
                  </a:lnTo>
                  <a:lnTo>
                    <a:pt x="8348" y="4479"/>
                  </a:lnTo>
                  <a:lnTo>
                    <a:pt x="8507" y="4382"/>
                  </a:lnTo>
                  <a:lnTo>
                    <a:pt x="8515" y="4144"/>
                  </a:lnTo>
                  <a:lnTo>
                    <a:pt x="8630" y="3941"/>
                  </a:lnTo>
                  <a:lnTo>
                    <a:pt x="8656" y="3853"/>
                  </a:lnTo>
                  <a:lnTo>
                    <a:pt x="8683" y="3756"/>
                  </a:lnTo>
                  <a:lnTo>
                    <a:pt x="8868" y="3218"/>
                  </a:lnTo>
                  <a:lnTo>
                    <a:pt x="8991" y="2742"/>
                  </a:lnTo>
                  <a:lnTo>
                    <a:pt x="9080" y="2513"/>
                  </a:lnTo>
                  <a:lnTo>
                    <a:pt x="9185" y="2301"/>
                  </a:lnTo>
                  <a:lnTo>
                    <a:pt x="9379" y="1737"/>
                  </a:lnTo>
                  <a:lnTo>
                    <a:pt x="9212" y="1200"/>
                  </a:lnTo>
                  <a:lnTo>
                    <a:pt x="8842" y="1006"/>
                  </a:lnTo>
                  <a:lnTo>
                    <a:pt x="8445" y="935"/>
                  </a:lnTo>
                  <a:lnTo>
                    <a:pt x="8013" y="935"/>
                  </a:lnTo>
                  <a:lnTo>
                    <a:pt x="7599" y="1076"/>
                  </a:lnTo>
                  <a:lnTo>
                    <a:pt x="7361" y="997"/>
                  </a:lnTo>
                  <a:lnTo>
                    <a:pt x="7131" y="821"/>
                  </a:lnTo>
                  <a:lnTo>
                    <a:pt x="6365" y="706"/>
                  </a:lnTo>
                  <a:lnTo>
                    <a:pt x="6012" y="829"/>
                  </a:lnTo>
                  <a:lnTo>
                    <a:pt x="5554" y="768"/>
                  </a:lnTo>
                  <a:lnTo>
                    <a:pt x="5113" y="450"/>
                  </a:lnTo>
                  <a:lnTo>
                    <a:pt x="4963" y="424"/>
                  </a:lnTo>
                  <a:lnTo>
                    <a:pt x="4813" y="362"/>
                  </a:lnTo>
                  <a:lnTo>
                    <a:pt x="4769" y="318"/>
                  </a:lnTo>
                  <a:lnTo>
                    <a:pt x="4716" y="186"/>
                  </a:lnTo>
                  <a:lnTo>
                    <a:pt x="4672" y="133"/>
                  </a:lnTo>
                  <a:lnTo>
                    <a:pt x="4443" y="18"/>
                  </a:lnTo>
                  <a:lnTo>
                    <a:pt x="4205"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2" name="Google Shape;3143;p54">
              <a:extLst>
                <a:ext uri="{FF2B5EF4-FFF2-40B4-BE49-F238E27FC236}">
                  <a16:creationId xmlns:a16="http://schemas.microsoft.com/office/drawing/2014/main" id="{CDEF3045-3D54-BF04-3577-7FD28790D3DD}"/>
                </a:ext>
              </a:extLst>
            </p:cNvPr>
            <p:cNvSpPr/>
            <p:nvPr/>
          </p:nvSpPr>
          <p:spPr>
            <a:xfrm>
              <a:off x="3808076" y="2788812"/>
              <a:ext cx="529568" cy="486984"/>
            </a:xfrm>
            <a:custGeom>
              <a:avLst/>
              <a:gdLst/>
              <a:ahLst/>
              <a:cxnLst/>
              <a:rect l="l" t="t" r="r" b="b"/>
              <a:pathLst>
                <a:path w="7449" h="6850" extrusionOk="0">
                  <a:moveTo>
                    <a:pt x="5034" y="0"/>
                  </a:moveTo>
                  <a:lnTo>
                    <a:pt x="4937" y="80"/>
                  </a:lnTo>
                  <a:lnTo>
                    <a:pt x="4708" y="326"/>
                  </a:lnTo>
                  <a:lnTo>
                    <a:pt x="4135" y="802"/>
                  </a:lnTo>
                  <a:lnTo>
                    <a:pt x="3852" y="1129"/>
                  </a:lnTo>
                  <a:lnTo>
                    <a:pt x="3553" y="1411"/>
                  </a:lnTo>
                  <a:lnTo>
                    <a:pt x="3200" y="1543"/>
                  </a:lnTo>
                  <a:lnTo>
                    <a:pt x="3103" y="1543"/>
                  </a:lnTo>
                  <a:lnTo>
                    <a:pt x="3006" y="1569"/>
                  </a:lnTo>
                  <a:lnTo>
                    <a:pt x="2742" y="1781"/>
                  </a:lnTo>
                  <a:lnTo>
                    <a:pt x="2557" y="1834"/>
                  </a:lnTo>
                  <a:lnTo>
                    <a:pt x="2389" y="1904"/>
                  </a:lnTo>
                  <a:lnTo>
                    <a:pt x="2160" y="2160"/>
                  </a:lnTo>
                  <a:lnTo>
                    <a:pt x="1922" y="2380"/>
                  </a:lnTo>
                  <a:lnTo>
                    <a:pt x="1737" y="2486"/>
                  </a:lnTo>
                  <a:lnTo>
                    <a:pt x="1323" y="2900"/>
                  </a:lnTo>
                  <a:lnTo>
                    <a:pt x="1005" y="3086"/>
                  </a:lnTo>
                  <a:lnTo>
                    <a:pt x="908" y="3271"/>
                  </a:lnTo>
                  <a:lnTo>
                    <a:pt x="847" y="3879"/>
                  </a:lnTo>
                  <a:lnTo>
                    <a:pt x="697" y="4161"/>
                  </a:lnTo>
                  <a:lnTo>
                    <a:pt x="362" y="4346"/>
                  </a:lnTo>
                  <a:lnTo>
                    <a:pt x="0" y="4355"/>
                  </a:lnTo>
                  <a:lnTo>
                    <a:pt x="62" y="4549"/>
                  </a:lnTo>
                  <a:lnTo>
                    <a:pt x="159" y="4725"/>
                  </a:lnTo>
                  <a:lnTo>
                    <a:pt x="327" y="4787"/>
                  </a:lnTo>
                  <a:lnTo>
                    <a:pt x="503" y="4707"/>
                  </a:lnTo>
                  <a:lnTo>
                    <a:pt x="1014" y="4328"/>
                  </a:lnTo>
                  <a:lnTo>
                    <a:pt x="1146" y="4258"/>
                  </a:lnTo>
                  <a:lnTo>
                    <a:pt x="1279" y="4170"/>
                  </a:lnTo>
                  <a:lnTo>
                    <a:pt x="1490" y="3949"/>
                  </a:lnTo>
                  <a:lnTo>
                    <a:pt x="1719" y="4117"/>
                  </a:lnTo>
                  <a:lnTo>
                    <a:pt x="1931" y="4408"/>
                  </a:lnTo>
                  <a:lnTo>
                    <a:pt x="2107" y="4602"/>
                  </a:lnTo>
                  <a:lnTo>
                    <a:pt x="2310" y="4752"/>
                  </a:lnTo>
                  <a:lnTo>
                    <a:pt x="2636" y="4813"/>
                  </a:lnTo>
                  <a:lnTo>
                    <a:pt x="2927" y="4804"/>
                  </a:lnTo>
                  <a:lnTo>
                    <a:pt x="3209" y="4981"/>
                  </a:lnTo>
                  <a:lnTo>
                    <a:pt x="3359" y="5448"/>
                  </a:lnTo>
                  <a:lnTo>
                    <a:pt x="3482" y="5730"/>
                  </a:lnTo>
                  <a:lnTo>
                    <a:pt x="3764" y="6162"/>
                  </a:lnTo>
                  <a:lnTo>
                    <a:pt x="3808" y="6259"/>
                  </a:lnTo>
                  <a:lnTo>
                    <a:pt x="3897" y="6365"/>
                  </a:lnTo>
                  <a:lnTo>
                    <a:pt x="3967" y="6356"/>
                  </a:lnTo>
                  <a:lnTo>
                    <a:pt x="4108" y="6374"/>
                  </a:lnTo>
                  <a:lnTo>
                    <a:pt x="4196" y="6506"/>
                  </a:lnTo>
                  <a:lnTo>
                    <a:pt x="4267" y="6673"/>
                  </a:lnTo>
                  <a:lnTo>
                    <a:pt x="4681" y="6850"/>
                  </a:lnTo>
                  <a:lnTo>
                    <a:pt x="5157" y="6682"/>
                  </a:lnTo>
                  <a:lnTo>
                    <a:pt x="5404" y="6638"/>
                  </a:lnTo>
                  <a:lnTo>
                    <a:pt x="5624" y="6479"/>
                  </a:lnTo>
                  <a:lnTo>
                    <a:pt x="5853" y="6400"/>
                  </a:lnTo>
                  <a:lnTo>
                    <a:pt x="6109" y="6435"/>
                  </a:lnTo>
                  <a:lnTo>
                    <a:pt x="6233" y="6109"/>
                  </a:lnTo>
                  <a:lnTo>
                    <a:pt x="6277" y="5756"/>
                  </a:lnTo>
                  <a:lnTo>
                    <a:pt x="6206" y="5545"/>
                  </a:lnTo>
                  <a:lnTo>
                    <a:pt x="6100" y="5369"/>
                  </a:lnTo>
                  <a:lnTo>
                    <a:pt x="6091" y="5166"/>
                  </a:lnTo>
                  <a:lnTo>
                    <a:pt x="6294" y="5104"/>
                  </a:lnTo>
                  <a:lnTo>
                    <a:pt x="6444" y="4919"/>
                  </a:lnTo>
                  <a:lnTo>
                    <a:pt x="6471" y="4637"/>
                  </a:lnTo>
                  <a:lnTo>
                    <a:pt x="6656" y="4337"/>
                  </a:lnTo>
                  <a:lnTo>
                    <a:pt x="6647" y="3870"/>
                  </a:lnTo>
                  <a:lnTo>
                    <a:pt x="6541" y="3412"/>
                  </a:lnTo>
                  <a:lnTo>
                    <a:pt x="6647" y="3033"/>
                  </a:lnTo>
                  <a:lnTo>
                    <a:pt x="6797" y="2936"/>
                  </a:lnTo>
                  <a:lnTo>
                    <a:pt x="7114" y="2812"/>
                  </a:lnTo>
                  <a:lnTo>
                    <a:pt x="7414" y="2618"/>
                  </a:lnTo>
                  <a:lnTo>
                    <a:pt x="7449" y="2424"/>
                  </a:lnTo>
                  <a:lnTo>
                    <a:pt x="7114" y="2133"/>
                  </a:lnTo>
                  <a:lnTo>
                    <a:pt x="7008" y="1975"/>
                  </a:lnTo>
                  <a:lnTo>
                    <a:pt x="6850" y="1913"/>
                  </a:lnTo>
                  <a:lnTo>
                    <a:pt x="6523" y="1640"/>
                  </a:lnTo>
                  <a:lnTo>
                    <a:pt x="6241" y="1278"/>
                  </a:lnTo>
                  <a:lnTo>
                    <a:pt x="5880" y="979"/>
                  </a:lnTo>
                  <a:lnTo>
                    <a:pt x="5748" y="547"/>
                  </a:lnTo>
                  <a:lnTo>
                    <a:pt x="5633" y="512"/>
                  </a:lnTo>
                  <a:lnTo>
                    <a:pt x="5527" y="450"/>
                  </a:lnTo>
                  <a:lnTo>
                    <a:pt x="5325" y="150"/>
                  </a:lnTo>
                  <a:lnTo>
                    <a:pt x="5236" y="71"/>
                  </a:lnTo>
                  <a:lnTo>
                    <a:pt x="5139" y="18"/>
                  </a:lnTo>
                  <a:lnTo>
                    <a:pt x="503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3144;p54">
              <a:extLst>
                <a:ext uri="{FF2B5EF4-FFF2-40B4-BE49-F238E27FC236}">
                  <a16:creationId xmlns:a16="http://schemas.microsoft.com/office/drawing/2014/main" id="{88239E8C-1763-A14F-95B1-602B28F84FA6}"/>
                </a:ext>
              </a:extLst>
            </p:cNvPr>
            <p:cNvSpPr/>
            <p:nvPr/>
          </p:nvSpPr>
          <p:spPr>
            <a:xfrm>
              <a:off x="2889315" y="2409022"/>
              <a:ext cx="596039" cy="552815"/>
            </a:xfrm>
            <a:custGeom>
              <a:avLst/>
              <a:gdLst/>
              <a:ahLst/>
              <a:cxnLst/>
              <a:rect l="l" t="t" r="r" b="b"/>
              <a:pathLst>
                <a:path w="8384" h="7776" extrusionOk="0">
                  <a:moveTo>
                    <a:pt x="1244" y="0"/>
                  </a:moveTo>
                  <a:lnTo>
                    <a:pt x="882" y="185"/>
                  </a:lnTo>
                  <a:lnTo>
                    <a:pt x="1067" y="644"/>
                  </a:lnTo>
                  <a:lnTo>
                    <a:pt x="1217" y="1358"/>
                  </a:lnTo>
                  <a:lnTo>
                    <a:pt x="1297" y="1578"/>
                  </a:lnTo>
                  <a:lnTo>
                    <a:pt x="1464" y="1896"/>
                  </a:lnTo>
                  <a:lnTo>
                    <a:pt x="1429" y="2213"/>
                  </a:lnTo>
                  <a:lnTo>
                    <a:pt x="1305" y="2363"/>
                  </a:lnTo>
                  <a:lnTo>
                    <a:pt x="1006" y="2610"/>
                  </a:lnTo>
                  <a:lnTo>
                    <a:pt x="706" y="2733"/>
                  </a:lnTo>
                  <a:lnTo>
                    <a:pt x="450" y="2909"/>
                  </a:lnTo>
                  <a:lnTo>
                    <a:pt x="397" y="3121"/>
                  </a:lnTo>
                  <a:lnTo>
                    <a:pt x="371" y="3359"/>
                  </a:lnTo>
                  <a:lnTo>
                    <a:pt x="283" y="3553"/>
                  </a:lnTo>
                  <a:lnTo>
                    <a:pt x="151" y="3703"/>
                  </a:lnTo>
                  <a:lnTo>
                    <a:pt x="18" y="3914"/>
                  </a:lnTo>
                  <a:lnTo>
                    <a:pt x="1" y="4038"/>
                  </a:lnTo>
                  <a:lnTo>
                    <a:pt x="124" y="4170"/>
                  </a:lnTo>
                  <a:lnTo>
                    <a:pt x="195" y="4196"/>
                  </a:lnTo>
                  <a:lnTo>
                    <a:pt x="300" y="4337"/>
                  </a:lnTo>
                  <a:lnTo>
                    <a:pt x="424" y="4743"/>
                  </a:lnTo>
                  <a:lnTo>
                    <a:pt x="697" y="4981"/>
                  </a:lnTo>
                  <a:lnTo>
                    <a:pt x="1023" y="5016"/>
                  </a:lnTo>
                  <a:lnTo>
                    <a:pt x="1543" y="4998"/>
                  </a:lnTo>
                  <a:lnTo>
                    <a:pt x="1640" y="5016"/>
                  </a:lnTo>
                  <a:lnTo>
                    <a:pt x="1781" y="5157"/>
                  </a:lnTo>
                  <a:lnTo>
                    <a:pt x="1861" y="5483"/>
                  </a:lnTo>
                  <a:lnTo>
                    <a:pt x="2187" y="5712"/>
                  </a:lnTo>
                  <a:lnTo>
                    <a:pt x="2548" y="5880"/>
                  </a:lnTo>
                  <a:lnTo>
                    <a:pt x="2584" y="5968"/>
                  </a:lnTo>
                  <a:lnTo>
                    <a:pt x="2636" y="6153"/>
                  </a:lnTo>
                  <a:lnTo>
                    <a:pt x="2680" y="6241"/>
                  </a:lnTo>
                  <a:lnTo>
                    <a:pt x="2874" y="6427"/>
                  </a:lnTo>
                  <a:lnTo>
                    <a:pt x="3104" y="6365"/>
                  </a:lnTo>
                  <a:lnTo>
                    <a:pt x="3218" y="6171"/>
                  </a:lnTo>
                  <a:lnTo>
                    <a:pt x="3289" y="5986"/>
                  </a:lnTo>
                  <a:lnTo>
                    <a:pt x="3509" y="5995"/>
                  </a:lnTo>
                  <a:lnTo>
                    <a:pt x="3738" y="6092"/>
                  </a:lnTo>
                  <a:lnTo>
                    <a:pt x="3879" y="6100"/>
                  </a:lnTo>
                  <a:lnTo>
                    <a:pt x="4020" y="6056"/>
                  </a:lnTo>
                  <a:lnTo>
                    <a:pt x="4205" y="6268"/>
                  </a:lnTo>
                  <a:lnTo>
                    <a:pt x="4329" y="6568"/>
                  </a:lnTo>
                  <a:lnTo>
                    <a:pt x="4787" y="6488"/>
                  </a:lnTo>
                  <a:lnTo>
                    <a:pt x="4964" y="6435"/>
                  </a:lnTo>
                  <a:lnTo>
                    <a:pt x="5087" y="6453"/>
                  </a:lnTo>
                  <a:lnTo>
                    <a:pt x="5175" y="6568"/>
                  </a:lnTo>
                  <a:lnTo>
                    <a:pt x="5343" y="6612"/>
                  </a:lnTo>
                  <a:lnTo>
                    <a:pt x="5448" y="6620"/>
                  </a:lnTo>
                  <a:lnTo>
                    <a:pt x="5651" y="6673"/>
                  </a:lnTo>
                  <a:lnTo>
                    <a:pt x="5783" y="6841"/>
                  </a:lnTo>
                  <a:lnTo>
                    <a:pt x="5977" y="7449"/>
                  </a:lnTo>
                  <a:lnTo>
                    <a:pt x="6180" y="7758"/>
                  </a:lnTo>
                  <a:lnTo>
                    <a:pt x="6815" y="7775"/>
                  </a:lnTo>
                  <a:lnTo>
                    <a:pt x="7026" y="7775"/>
                  </a:lnTo>
                  <a:lnTo>
                    <a:pt x="7211" y="7678"/>
                  </a:lnTo>
                  <a:lnTo>
                    <a:pt x="7282" y="7537"/>
                  </a:lnTo>
                  <a:lnTo>
                    <a:pt x="7255" y="7379"/>
                  </a:lnTo>
                  <a:lnTo>
                    <a:pt x="7467" y="6982"/>
                  </a:lnTo>
                  <a:lnTo>
                    <a:pt x="7890" y="6885"/>
                  </a:lnTo>
                  <a:lnTo>
                    <a:pt x="7723" y="6691"/>
                  </a:lnTo>
                  <a:lnTo>
                    <a:pt x="7582" y="6691"/>
                  </a:lnTo>
                  <a:lnTo>
                    <a:pt x="7467" y="6594"/>
                  </a:lnTo>
                  <a:lnTo>
                    <a:pt x="7511" y="6515"/>
                  </a:lnTo>
                  <a:lnTo>
                    <a:pt x="7634" y="6391"/>
                  </a:lnTo>
                  <a:lnTo>
                    <a:pt x="7723" y="6241"/>
                  </a:lnTo>
                  <a:lnTo>
                    <a:pt x="7793" y="6065"/>
                  </a:lnTo>
                  <a:lnTo>
                    <a:pt x="7820" y="5783"/>
                  </a:lnTo>
                  <a:lnTo>
                    <a:pt x="7784" y="5492"/>
                  </a:lnTo>
                  <a:lnTo>
                    <a:pt x="7784" y="5351"/>
                  </a:lnTo>
                  <a:lnTo>
                    <a:pt x="7767" y="5228"/>
                  </a:lnTo>
                  <a:lnTo>
                    <a:pt x="7661" y="5095"/>
                  </a:lnTo>
                  <a:lnTo>
                    <a:pt x="7529" y="5051"/>
                  </a:lnTo>
                  <a:lnTo>
                    <a:pt x="7511" y="4840"/>
                  </a:lnTo>
                  <a:lnTo>
                    <a:pt x="7643" y="4787"/>
                  </a:lnTo>
                  <a:lnTo>
                    <a:pt x="7784" y="4637"/>
                  </a:lnTo>
                  <a:lnTo>
                    <a:pt x="7837" y="4522"/>
                  </a:lnTo>
                  <a:lnTo>
                    <a:pt x="8190" y="4240"/>
                  </a:lnTo>
                  <a:lnTo>
                    <a:pt x="8366" y="4064"/>
                  </a:lnTo>
                  <a:lnTo>
                    <a:pt x="8384" y="3694"/>
                  </a:lnTo>
                  <a:lnTo>
                    <a:pt x="8287" y="3412"/>
                  </a:lnTo>
                  <a:lnTo>
                    <a:pt x="8128" y="3139"/>
                  </a:lnTo>
                  <a:lnTo>
                    <a:pt x="8172" y="2768"/>
                  </a:lnTo>
                  <a:lnTo>
                    <a:pt x="8137" y="2663"/>
                  </a:lnTo>
                  <a:lnTo>
                    <a:pt x="8093" y="2566"/>
                  </a:lnTo>
                  <a:lnTo>
                    <a:pt x="7793" y="2107"/>
                  </a:lnTo>
                  <a:lnTo>
                    <a:pt x="7661" y="2010"/>
                  </a:lnTo>
                  <a:lnTo>
                    <a:pt x="6965" y="1860"/>
                  </a:lnTo>
                  <a:lnTo>
                    <a:pt x="6868" y="1781"/>
                  </a:lnTo>
                  <a:lnTo>
                    <a:pt x="6638" y="1525"/>
                  </a:lnTo>
                  <a:lnTo>
                    <a:pt x="6233" y="1455"/>
                  </a:lnTo>
                  <a:lnTo>
                    <a:pt x="5801" y="1675"/>
                  </a:lnTo>
                  <a:lnTo>
                    <a:pt x="5633" y="1728"/>
                  </a:lnTo>
                  <a:lnTo>
                    <a:pt x="5457" y="1746"/>
                  </a:lnTo>
                  <a:lnTo>
                    <a:pt x="5254" y="1728"/>
                  </a:lnTo>
                  <a:lnTo>
                    <a:pt x="5060" y="1763"/>
                  </a:lnTo>
                  <a:lnTo>
                    <a:pt x="4937" y="1931"/>
                  </a:lnTo>
                  <a:lnTo>
                    <a:pt x="4761" y="2037"/>
                  </a:lnTo>
                  <a:lnTo>
                    <a:pt x="4567" y="2081"/>
                  </a:lnTo>
                  <a:lnTo>
                    <a:pt x="4373" y="2160"/>
                  </a:lnTo>
                  <a:lnTo>
                    <a:pt x="4153" y="2081"/>
                  </a:lnTo>
                  <a:lnTo>
                    <a:pt x="3915" y="1543"/>
                  </a:lnTo>
                  <a:lnTo>
                    <a:pt x="3536" y="1129"/>
                  </a:lnTo>
                  <a:lnTo>
                    <a:pt x="3500" y="1049"/>
                  </a:lnTo>
                  <a:lnTo>
                    <a:pt x="3430" y="1005"/>
                  </a:lnTo>
                  <a:lnTo>
                    <a:pt x="3077" y="1129"/>
                  </a:lnTo>
                  <a:lnTo>
                    <a:pt x="2901" y="1049"/>
                  </a:lnTo>
                  <a:lnTo>
                    <a:pt x="2954" y="838"/>
                  </a:lnTo>
                  <a:lnTo>
                    <a:pt x="3095" y="582"/>
                  </a:lnTo>
                  <a:lnTo>
                    <a:pt x="2980" y="397"/>
                  </a:lnTo>
                  <a:lnTo>
                    <a:pt x="2901" y="397"/>
                  </a:lnTo>
                  <a:lnTo>
                    <a:pt x="2751" y="424"/>
                  </a:lnTo>
                  <a:lnTo>
                    <a:pt x="2680" y="415"/>
                  </a:lnTo>
                  <a:lnTo>
                    <a:pt x="2495" y="327"/>
                  </a:lnTo>
                  <a:lnTo>
                    <a:pt x="2310" y="309"/>
                  </a:lnTo>
                  <a:lnTo>
                    <a:pt x="1975" y="353"/>
                  </a:lnTo>
                  <a:lnTo>
                    <a:pt x="1658" y="265"/>
                  </a:lnTo>
                  <a:lnTo>
                    <a:pt x="1455" y="97"/>
                  </a:lnTo>
                  <a:lnTo>
                    <a:pt x="124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3145;p54">
              <a:extLst>
                <a:ext uri="{FF2B5EF4-FFF2-40B4-BE49-F238E27FC236}">
                  <a16:creationId xmlns:a16="http://schemas.microsoft.com/office/drawing/2014/main" id="{DEE33ACA-D64C-4EA5-4561-BBB1E10D3CE7}"/>
                </a:ext>
              </a:extLst>
            </p:cNvPr>
            <p:cNvSpPr/>
            <p:nvPr/>
          </p:nvSpPr>
          <p:spPr>
            <a:xfrm>
              <a:off x="3329251" y="2816396"/>
              <a:ext cx="487623" cy="641112"/>
            </a:xfrm>
            <a:custGeom>
              <a:avLst/>
              <a:gdLst/>
              <a:ahLst/>
              <a:cxnLst/>
              <a:rect l="l" t="t" r="r" b="b"/>
              <a:pathLst>
                <a:path w="6859" h="9018" extrusionOk="0">
                  <a:moveTo>
                    <a:pt x="5519" y="0"/>
                  </a:moveTo>
                  <a:lnTo>
                    <a:pt x="4946" y="124"/>
                  </a:lnTo>
                  <a:lnTo>
                    <a:pt x="4902" y="485"/>
                  </a:lnTo>
                  <a:lnTo>
                    <a:pt x="4937" y="829"/>
                  </a:lnTo>
                  <a:lnTo>
                    <a:pt x="4787" y="961"/>
                  </a:lnTo>
                  <a:lnTo>
                    <a:pt x="4620" y="1014"/>
                  </a:lnTo>
                  <a:lnTo>
                    <a:pt x="4267" y="1023"/>
                  </a:lnTo>
                  <a:lnTo>
                    <a:pt x="3941" y="987"/>
                  </a:lnTo>
                  <a:lnTo>
                    <a:pt x="3703" y="1173"/>
                  </a:lnTo>
                  <a:lnTo>
                    <a:pt x="3703" y="1243"/>
                  </a:lnTo>
                  <a:lnTo>
                    <a:pt x="3641" y="1358"/>
                  </a:lnTo>
                  <a:lnTo>
                    <a:pt x="3588" y="1375"/>
                  </a:lnTo>
                  <a:lnTo>
                    <a:pt x="3474" y="1296"/>
                  </a:lnTo>
                  <a:lnTo>
                    <a:pt x="3412" y="1322"/>
                  </a:lnTo>
                  <a:lnTo>
                    <a:pt x="3350" y="1358"/>
                  </a:lnTo>
                  <a:lnTo>
                    <a:pt x="3201" y="1402"/>
                  </a:lnTo>
                  <a:lnTo>
                    <a:pt x="3042" y="1402"/>
                  </a:lnTo>
                  <a:lnTo>
                    <a:pt x="2901" y="1234"/>
                  </a:lnTo>
                  <a:lnTo>
                    <a:pt x="2733" y="1208"/>
                  </a:lnTo>
                  <a:lnTo>
                    <a:pt x="2495" y="1366"/>
                  </a:lnTo>
                  <a:lnTo>
                    <a:pt x="2231" y="1366"/>
                  </a:lnTo>
                  <a:lnTo>
                    <a:pt x="1984" y="1208"/>
                  </a:lnTo>
                  <a:lnTo>
                    <a:pt x="1702" y="1155"/>
                  </a:lnTo>
                  <a:lnTo>
                    <a:pt x="1279" y="1252"/>
                  </a:lnTo>
                  <a:lnTo>
                    <a:pt x="1067" y="1649"/>
                  </a:lnTo>
                  <a:lnTo>
                    <a:pt x="1094" y="1807"/>
                  </a:lnTo>
                  <a:lnTo>
                    <a:pt x="1023" y="1948"/>
                  </a:lnTo>
                  <a:lnTo>
                    <a:pt x="838" y="2045"/>
                  </a:lnTo>
                  <a:lnTo>
                    <a:pt x="627" y="2045"/>
                  </a:lnTo>
                  <a:lnTo>
                    <a:pt x="680" y="2177"/>
                  </a:lnTo>
                  <a:lnTo>
                    <a:pt x="741" y="2310"/>
                  </a:lnTo>
                  <a:lnTo>
                    <a:pt x="997" y="2486"/>
                  </a:lnTo>
                  <a:lnTo>
                    <a:pt x="1059" y="2662"/>
                  </a:lnTo>
                  <a:lnTo>
                    <a:pt x="1041" y="2865"/>
                  </a:lnTo>
                  <a:lnTo>
                    <a:pt x="1120" y="3218"/>
                  </a:lnTo>
                  <a:lnTo>
                    <a:pt x="1076" y="3341"/>
                  </a:lnTo>
                  <a:lnTo>
                    <a:pt x="979" y="3412"/>
                  </a:lnTo>
                  <a:lnTo>
                    <a:pt x="962" y="3570"/>
                  </a:lnTo>
                  <a:lnTo>
                    <a:pt x="1067" y="3702"/>
                  </a:lnTo>
                  <a:lnTo>
                    <a:pt x="1138" y="3852"/>
                  </a:lnTo>
                  <a:lnTo>
                    <a:pt x="1235" y="4002"/>
                  </a:lnTo>
                  <a:lnTo>
                    <a:pt x="1526" y="4064"/>
                  </a:lnTo>
                  <a:lnTo>
                    <a:pt x="1579" y="4196"/>
                  </a:lnTo>
                  <a:lnTo>
                    <a:pt x="1561" y="4364"/>
                  </a:lnTo>
                  <a:lnTo>
                    <a:pt x="1420" y="4461"/>
                  </a:lnTo>
                  <a:lnTo>
                    <a:pt x="1235" y="4469"/>
                  </a:lnTo>
                  <a:lnTo>
                    <a:pt x="1023" y="4778"/>
                  </a:lnTo>
                  <a:lnTo>
                    <a:pt x="777" y="5016"/>
                  </a:lnTo>
                  <a:lnTo>
                    <a:pt x="415" y="4972"/>
                  </a:lnTo>
                  <a:lnTo>
                    <a:pt x="89" y="5069"/>
                  </a:lnTo>
                  <a:lnTo>
                    <a:pt x="1" y="5280"/>
                  </a:lnTo>
                  <a:lnTo>
                    <a:pt x="54" y="5501"/>
                  </a:lnTo>
                  <a:lnTo>
                    <a:pt x="107" y="5518"/>
                  </a:lnTo>
                  <a:lnTo>
                    <a:pt x="151" y="5554"/>
                  </a:lnTo>
                  <a:lnTo>
                    <a:pt x="186" y="5633"/>
                  </a:lnTo>
                  <a:lnTo>
                    <a:pt x="212" y="5721"/>
                  </a:lnTo>
                  <a:lnTo>
                    <a:pt x="265" y="5818"/>
                  </a:lnTo>
                  <a:lnTo>
                    <a:pt x="248" y="5941"/>
                  </a:lnTo>
                  <a:lnTo>
                    <a:pt x="248" y="6109"/>
                  </a:lnTo>
                  <a:lnTo>
                    <a:pt x="301" y="6276"/>
                  </a:lnTo>
                  <a:lnTo>
                    <a:pt x="415" y="6320"/>
                  </a:lnTo>
                  <a:lnTo>
                    <a:pt x="583" y="6320"/>
                  </a:lnTo>
                  <a:lnTo>
                    <a:pt x="803" y="6409"/>
                  </a:lnTo>
                  <a:lnTo>
                    <a:pt x="935" y="6647"/>
                  </a:lnTo>
                  <a:lnTo>
                    <a:pt x="997" y="6920"/>
                  </a:lnTo>
                  <a:lnTo>
                    <a:pt x="1156" y="7149"/>
                  </a:lnTo>
                  <a:lnTo>
                    <a:pt x="1499" y="7193"/>
                  </a:lnTo>
                  <a:lnTo>
                    <a:pt x="1552" y="7255"/>
                  </a:lnTo>
                  <a:lnTo>
                    <a:pt x="1640" y="7414"/>
                  </a:lnTo>
                  <a:lnTo>
                    <a:pt x="1693" y="7475"/>
                  </a:lnTo>
                  <a:lnTo>
                    <a:pt x="2037" y="7634"/>
                  </a:lnTo>
                  <a:lnTo>
                    <a:pt x="2310" y="7907"/>
                  </a:lnTo>
                  <a:lnTo>
                    <a:pt x="2372" y="8128"/>
                  </a:lnTo>
                  <a:lnTo>
                    <a:pt x="2416" y="8348"/>
                  </a:lnTo>
                  <a:lnTo>
                    <a:pt x="2425" y="8542"/>
                  </a:lnTo>
                  <a:lnTo>
                    <a:pt x="2443" y="8630"/>
                  </a:lnTo>
                  <a:lnTo>
                    <a:pt x="2557" y="8745"/>
                  </a:lnTo>
                  <a:lnTo>
                    <a:pt x="2813" y="8762"/>
                  </a:lnTo>
                  <a:lnTo>
                    <a:pt x="3280" y="9018"/>
                  </a:lnTo>
                  <a:lnTo>
                    <a:pt x="3439" y="8939"/>
                  </a:lnTo>
                  <a:lnTo>
                    <a:pt x="3536" y="8806"/>
                  </a:lnTo>
                  <a:lnTo>
                    <a:pt x="3580" y="8656"/>
                  </a:lnTo>
                  <a:lnTo>
                    <a:pt x="3615" y="8286"/>
                  </a:lnTo>
                  <a:lnTo>
                    <a:pt x="3835" y="8101"/>
                  </a:lnTo>
                  <a:lnTo>
                    <a:pt x="3879" y="7793"/>
                  </a:lnTo>
                  <a:lnTo>
                    <a:pt x="3950" y="7484"/>
                  </a:lnTo>
                  <a:lnTo>
                    <a:pt x="4073" y="7211"/>
                  </a:lnTo>
                  <a:lnTo>
                    <a:pt x="4532" y="6523"/>
                  </a:lnTo>
                  <a:lnTo>
                    <a:pt x="4734" y="6118"/>
                  </a:lnTo>
                  <a:lnTo>
                    <a:pt x="4752" y="6065"/>
                  </a:lnTo>
                  <a:lnTo>
                    <a:pt x="4734" y="5986"/>
                  </a:lnTo>
                  <a:lnTo>
                    <a:pt x="4708" y="5933"/>
                  </a:lnTo>
                  <a:lnTo>
                    <a:pt x="4673" y="5906"/>
                  </a:lnTo>
                  <a:lnTo>
                    <a:pt x="4646" y="5915"/>
                  </a:lnTo>
                  <a:lnTo>
                    <a:pt x="4611" y="5915"/>
                  </a:lnTo>
                  <a:lnTo>
                    <a:pt x="4558" y="5695"/>
                  </a:lnTo>
                  <a:lnTo>
                    <a:pt x="4567" y="5457"/>
                  </a:lnTo>
                  <a:lnTo>
                    <a:pt x="4523" y="5298"/>
                  </a:lnTo>
                  <a:lnTo>
                    <a:pt x="4523" y="5148"/>
                  </a:lnTo>
                  <a:lnTo>
                    <a:pt x="5113" y="4831"/>
                  </a:lnTo>
                  <a:lnTo>
                    <a:pt x="5158" y="4699"/>
                  </a:lnTo>
                  <a:lnTo>
                    <a:pt x="5219" y="4566"/>
                  </a:lnTo>
                  <a:lnTo>
                    <a:pt x="5360" y="4487"/>
                  </a:lnTo>
                  <a:lnTo>
                    <a:pt x="5431" y="4461"/>
                  </a:lnTo>
                  <a:lnTo>
                    <a:pt x="5616" y="4346"/>
                  </a:lnTo>
                  <a:lnTo>
                    <a:pt x="5951" y="4073"/>
                  </a:lnTo>
                  <a:lnTo>
                    <a:pt x="5739" y="3711"/>
                  </a:lnTo>
                  <a:lnTo>
                    <a:pt x="5686" y="3667"/>
                  </a:lnTo>
                  <a:lnTo>
                    <a:pt x="5616" y="3650"/>
                  </a:lnTo>
                  <a:lnTo>
                    <a:pt x="5492" y="3588"/>
                  </a:lnTo>
                  <a:lnTo>
                    <a:pt x="5431" y="3561"/>
                  </a:lnTo>
                  <a:lnTo>
                    <a:pt x="5219" y="3561"/>
                  </a:lnTo>
                  <a:lnTo>
                    <a:pt x="5105" y="3517"/>
                  </a:lnTo>
                  <a:lnTo>
                    <a:pt x="5113" y="2918"/>
                  </a:lnTo>
                  <a:lnTo>
                    <a:pt x="5184" y="2750"/>
                  </a:lnTo>
                  <a:lnTo>
                    <a:pt x="5334" y="2689"/>
                  </a:lnTo>
                  <a:lnTo>
                    <a:pt x="5475" y="2609"/>
                  </a:lnTo>
                  <a:lnTo>
                    <a:pt x="6727" y="1675"/>
                  </a:lnTo>
                  <a:lnTo>
                    <a:pt x="6859" y="1525"/>
                  </a:lnTo>
                  <a:lnTo>
                    <a:pt x="6779" y="1137"/>
                  </a:lnTo>
                  <a:lnTo>
                    <a:pt x="6656" y="987"/>
                  </a:lnTo>
                  <a:lnTo>
                    <a:pt x="6162" y="150"/>
                  </a:lnTo>
                  <a:lnTo>
                    <a:pt x="5519"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5" name="Google Shape;3146;p54">
              <a:extLst>
                <a:ext uri="{FF2B5EF4-FFF2-40B4-BE49-F238E27FC236}">
                  <a16:creationId xmlns:a16="http://schemas.microsoft.com/office/drawing/2014/main" id="{740B87AC-086B-FC4A-9CDE-72F8886ABBFC}"/>
                </a:ext>
              </a:extLst>
            </p:cNvPr>
            <p:cNvSpPr/>
            <p:nvPr/>
          </p:nvSpPr>
          <p:spPr>
            <a:xfrm>
              <a:off x="3601901" y="3069566"/>
              <a:ext cx="509520" cy="386743"/>
            </a:xfrm>
            <a:custGeom>
              <a:avLst/>
              <a:gdLst/>
              <a:ahLst/>
              <a:cxnLst/>
              <a:rect l="l" t="t" r="r" b="b"/>
              <a:pathLst>
                <a:path w="7167" h="5440" extrusionOk="0">
                  <a:moveTo>
                    <a:pt x="4390" y="0"/>
                  </a:moveTo>
                  <a:lnTo>
                    <a:pt x="4179" y="221"/>
                  </a:lnTo>
                  <a:lnTo>
                    <a:pt x="4046" y="309"/>
                  </a:lnTo>
                  <a:lnTo>
                    <a:pt x="3914" y="379"/>
                  </a:lnTo>
                  <a:lnTo>
                    <a:pt x="3403" y="758"/>
                  </a:lnTo>
                  <a:lnTo>
                    <a:pt x="3227" y="838"/>
                  </a:lnTo>
                  <a:lnTo>
                    <a:pt x="3059" y="776"/>
                  </a:lnTo>
                  <a:lnTo>
                    <a:pt x="2962" y="600"/>
                  </a:lnTo>
                  <a:lnTo>
                    <a:pt x="2900" y="406"/>
                  </a:lnTo>
                  <a:lnTo>
                    <a:pt x="2486" y="379"/>
                  </a:lnTo>
                  <a:lnTo>
                    <a:pt x="2116" y="512"/>
                  </a:lnTo>
                  <a:lnTo>
                    <a:pt x="1781" y="785"/>
                  </a:lnTo>
                  <a:lnTo>
                    <a:pt x="1596" y="900"/>
                  </a:lnTo>
                  <a:lnTo>
                    <a:pt x="1525" y="926"/>
                  </a:lnTo>
                  <a:lnTo>
                    <a:pt x="1384" y="1005"/>
                  </a:lnTo>
                  <a:lnTo>
                    <a:pt x="1323" y="1138"/>
                  </a:lnTo>
                  <a:lnTo>
                    <a:pt x="1278" y="1270"/>
                  </a:lnTo>
                  <a:lnTo>
                    <a:pt x="688" y="1587"/>
                  </a:lnTo>
                  <a:lnTo>
                    <a:pt x="688" y="1737"/>
                  </a:lnTo>
                  <a:lnTo>
                    <a:pt x="732" y="1896"/>
                  </a:lnTo>
                  <a:lnTo>
                    <a:pt x="723" y="2134"/>
                  </a:lnTo>
                  <a:lnTo>
                    <a:pt x="776" y="2354"/>
                  </a:lnTo>
                  <a:lnTo>
                    <a:pt x="811" y="2354"/>
                  </a:lnTo>
                  <a:lnTo>
                    <a:pt x="838" y="2345"/>
                  </a:lnTo>
                  <a:lnTo>
                    <a:pt x="873" y="2372"/>
                  </a:lnTo>
                  <a:lnTo>
                    <a:pt x="899" y="2425"/>
                  </a:lnTo>
                  <a:lnTo>
                    <a:pt x="917" y="2504"/>
                  </a:lnTo>
                  <a:lnTo>
                    <a:pt x="899" y="2557"/>
                  </a:lnTo>
                  <a:lnTo>
                    <a:pt x="697" y="2962"/>
                  </a:lnTo>
                  <a:lnTo>
                    <a:pt x="238" y="3650"/>
                  </a:lnTo>
                  <a:lnTo>
                    <a:pt x="115" y="3923"/>
                  </a:lnTo>
                  <a:lnTo>
                    <a:pt x="44" y="4232"/>
                  </a:lnTo>
                  <a:lnTo>
                    <a:pt x="0" y="4540"/>
                  </a:lnTo>
                  <a:lnTo>
                    <a:pt x="106" y="4840"/>
                  </a:lnTo>
                  <a:lnTo>
                    <a:pt x="36" y="5175"/>
                  </a:lnTo>
                  <a:lnTo>
                    <a:pt x="212" y="5245"/>
                  </a:lnTo>
                  <a:lnTo>
                    <a:pt x="432" y="4963"/>
                  </a:lnTo>
                  <a:lnTo>
                    <a:pt x="996" y="4893"/>
                  </a:lnTo>
                  <a:lnTo>
                    <a:pt x="1384" y="5439"/>
                  </a:lnTo>
                  <a:lnTo>
                    <a:pt x="1525" y="5413"/>
                  </a:lnTo>
                  <a:lnTo>
                    <a:pt x="1649" y="5342"/>
                  </a:lnTo>
                  <a:lnTo>
                    <a:pt x="1754" y="5192"/>
                  </a:lnTo>
                  <a:lnTo>
                    <a:pt x="1887" y="5069"/>
                  </a:lnTo>
                  <a:lnTo>
                    <a:pt x="2072" y="4725"/>
                  </a:lnTo>
                  <a:lnTo>
                    <a:pt x="2142" y="4293"/>
                  </a:lnTo>
                  <a:lnTo>
                    <a:pt x="2398" y="3941"/>
                  </a:lnTo>
                  <a:lnTo>
                    <a:pt x="3227" y="3509"/>
                  </a:lnTo>
                  <a:lnTo>
                    <a:pt x="3509" y="3456"/>
                  </a:lnTo>
                  <a:lnTo>
                    <a:pt x="4196" y="3165"/>
                  </a:lnTo>
                  <a:lnTo>
                    <a:pt x="4478" y="3209"/>
                  </a:lnTo>
                  <a:lnTo>
                    <a:pt x="4769" y="3553"/>
                  </a:lnTo>
                  <a:lnTo>
                    <a:pt x="4875" y="3597"/>
                  </a:lnTo>
                  <a:lnTo>
                    <a:pt x="5518" y="3570"/>
                  </a:lnTo>
                  <a:lnTo>
                    <a:pt x="5942" y="3623"/>
                  </a:lnTo>
                  <a:lnTo>
                    <a:pt x="6303" y="3615"/>
                  </a:lnTo>
                  <a:lnTo>
                    <a:pt x="6470" y="3570"/>
                  </a:lnTo>
                  <a:lnTo>
                    <a:pt x="6752" y="3262"/>
                  </a:lnTo>
                  <a:lnTo>
                    <a:pt x="6841" y="3015"/>
                  </a:lnTo>
                  <a:lnTo>
                    <a:pt x="7167" y="2724"/>
                  </a:lnTo>
                  <a:lnTo>
                    <a:pt x="7096" y="2557"/>
                  </a:lnTo>
                  <a:lnTo>
                    <a:pt x="7008" y="2425"/>
                  </a:lnTo>
                  <a:lnTo>
                    <a:pt x="6867" y="2407"/>
                  </a:lnTo>
                  <a:lnTo>
                    <a:pt x="6797" y="2416"/>
                  </a:lnTo>
                  <a:lnTo>
                    <a:pt x="6708" y="2310"/>
                  </a:lnTo>
                  <a:lnTo>
                    <a:pt x="6664" y="2213"/>
                  </a:lnTo>
                  <a:lnTo>
                    <a:pt x="6382" y="1781"/>
                  </a:lnTo>
                  <a:lnTo>
                    <a:pt x="6259" y="1499"/>
                  </a:lnTo>
                  <a:lnTo>
                    <a:pt x="6109" y="1032"/>
                  </a:lnTo>
                  <a:lnTo>
                    <a:pt x="5827" y="855"/>
                  </a:lnTo>
                  <a:lnTo>
                    <a:pt x="5536" y="864"/>
                  </a:lnTo>
                  <a:lnTo>
                    <a:pt x="5210" y="803"/>
                  </a:lnTo>
                  <a:lnTo>
                    <a:pt x="5007" y="653"/>
                  </a:lnTo>
                  <a:lnTo>
                    <a:pt x="4831" y="459"/>
                  </a:lnTo>
                  <a:lnTo>
                    <a:pt x="4619" y="168"/>
                  </a:lnTo>
                  <a:lnTo>
                    <a:pt x="4390"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6" name="Google Shape;3147;p54">
              <a:extLst>
                <a:ext uri="{FF2B5EF4-FFF2-40B4-BE49-F238E27FC236}">
                  <a16:creationId xmlns:a16="http://schemas.microsoft.com/office/drawing/2014/main" id="{FADAF705-F10E-EF17-C223-6EE0E52777B5}"/>
                </a:ext>
              </a:extLst>
            </p:cNvPr>
            <p:cNvSpPr/>
            <p:nvPr/>
          </p:nvSpPr>
          <p:spPr>
            <a:xfrm>
              <a:off x="4879691" y="2583205"/>
              <a:ext cx="404303" cy="450655"/>
            </a:xfrm>
            <a:custGeom>
              <a:avLst/>
              <a:gdLst/>
              <a:ahLst/>
              <a:cxnLst/>
              <a:rect l="l" t="t" r="r" b="b"/>
              <a:pathLst>
                <a:path w="5687" h="6339" extrusionOk="0">
                  <a:moveTo>
                    <a:pt x="3086" y="1"/>
                  </a:moveTo>
                  <a:lnTo>
                    <a:pt x="2936" y="398"/>
                  </a:lnTo>
                  <a:lnTo>
                    <a:pt x="3121" y="900"/>
                  </a:lnTo>
                  <a:lnTo>
                    <a:pt x="3104" y="1244"/>
                  </a:lnTo>
                  <a:lnTo>
                    <a:pt x="2716" y="1614"/>
                  </a:lnTo>
                  <a:lnTo>
                    <a:pt x="2540" y="1702"/>
                  </a:lnTo>
                  <a:lnTo>
                    <a:pt x="2125" y="1693"/>
                  </a:lnTo>
                  <a:lnTo>
                    <a:pt x="1720" y="1808"/>
                  </a:lnTo>
                  <a:lnTo>
                    <a:pt x="1341" y="2020"/>
                  </a:lnTo>
                  <a:lnTo>
                    <a:pt x="935" y="2134"/>
                  </a:lnTo>
                  <a:lnTo>
                    <a:pt x="847" y="2293"/>
                  </a:lnTo>
                  <a:lnTo>
                    <a:pt x="583" y="2601"/>
                  </a:lnTo>
                  <a:lnTo>
                    <a:pt x="477" y="2795"/>
                  </a:lnTo>
                  <a:lnTo>
                    <a:pt x="415" y="3262"/>
                  </a:lnTo>
                  <a:lnTo>
                    <a:pt x="248" y="3518"/>
                  </a:lnTo>
                  <a:lnTo>
                    <a:pt x="133" y="3827"/>
                  </a:lnTo>
                  <a:lnTo>
                    <a:pt x="107" y="4047"/>
                  </a:lnTo>
                  <a:lnTo>
                    <a:pt x="36" y="4250"/>
                  </a:lnTo>
                  <a:lnTo>
                    <a:pt x="1" y="4735"/>
                  </a:lnTo>
                  <a:lnTo>
                    <a:pt x="168" y="5184"/>
                  </a:lnTo>
                  <a:lnTo>
                    <a:pt x="230" y="5228"/>
                  </a:lnTo>
                  <a:lnTo>
                    <a:pt x="283" y="5299"/>
                  </a:lnTo>
                  <a:lnTo>
                    <a:pt x="318" y="5537"/>
                  </a:lnTo>
                  <a:lnTo>
                    <a:pt x="389" y="5766"/>
                  </a:lnTo>
                  <a:lnTo>
                    <a:pt x="697" y="6154"/>
                  </a:lnTo>
                  <a:lnTo>
                    <a:pt x="891" y="6330"/>
                  </a:lnTo>
                  <a:lnTo>
                    <a:pt x="1094" y="6339"/>
                  </a:lnTo>
                  <a:lnTo>
                    <a:pt x="1640" y="6216"/>
                  </a:lnTo>
                  <a:lnTo>
                    <a:pt x="2363" y="6171"/>
                  </a:lnTo>
                  <a:lnTo>
                    <a:pt x="2733" y="6189"/>
                  </a:lnTo>
                  <a:lnTo>
                    <a:pt x="3095" y="6092"/>
                  </a:lnTo>
                  <a:lnTo>
                    <a:pt x="3456" y="5951"/>
                  </a:lnTo>
                  <a:lnTo>
                    <a:pt x="3809" y="5863"/>
                  </a:lnTo>
                  <a:lnTo>
                    <a:pt x="4153" y="5925"/>
                  </a:lnTo>
                  <a:lnTo>
                    <a:pt x="5686" y="3642"/>
                  </a:lnTo>
                  <a:lnTo>
                    <a:pt x="5510" y="3527"/>
                  </a:lnTo>
                  <a:lnTo>
                    <a:pt x="5352" y="3368"/>
                  </a:lnTo>
                  <a:lnTo>
                    <a:pt x="5166" y="3218"/>
                  </a:lnTo>
                  <a:lnTo>
                    <a:pt x="5078" y="3139"/>
                  </a:lnTo>
                  <a:lnTo>
                    <a:pt x="5078" y="2857"/>
                  </a:lnTo>
                  <a:lnTo>
                    <a:pt x="5219" y="2557"/>
                  </a:lnTo>
                  <a:lnTo>
                    <a:pt x="5175" y="2284"/>
                  </a:lnTo>
                  <a:lnTo>
                    <a:pt x="5078" y="2258"/>
                  </a:lnTo>
                  <a:lnTo>
                    <a:pt x="4884" y="2293"/>
                  </a:lnTo>
                  <a:lnTo>
                    <a:pt x="4646" y="2231"/>
                  </a:lnTo>
                  <a:lnTo>
                    <a:pt x="4435" y="2090"/>
                  </a:lnTo>
                  <a:lnTo>
                    <a:pt x="4364" y="1790"/>
                  </a:lnTo>
                  <a:lnTo>
                    <a:pt x="4532" y="1517"/>
                  </a:lnTo>
                  <a:lnTo>
                    <a:pt x="4602" y="1217"/>
                  </a:lnTo>
                  <a:lnTo>
                    <a:pt x="4452" y="689"/>
                  </a:lnTo>
                  <a:lnTo>
                    <a:pt x="4505" y="442"/>
                  </a:lnTo>
                  <a:lnTo>
                    <a:pt x="4505" y="442"/>
                  </a:lnTo>
                  <a:lnTo>
                    <a:pt x="4408" y="468"/>
                  </a:lnTo>
                  <a:lnTo>
                    <a:pt x="4206" y="442"/>
                  </a:lnTo>
                  <a:lnTo>
                    <a:pt x="4109" y="468"/>
                  </a:lnTo>
                  <a:lnTo>
                    <a:pt x="3871" y="609"/>
                  </a:lnTo>
                  <a:lnTo>
                    <a:pt x="3694" y="442"/>
                  </a:lnTo>
                  <a:lnTo>
                    <a:pt x="3624" y="204"/>
                  </a:lnTo>
                  <a:lnTo>
                    <a:pt x="3439" y="124"/>
                  </a:lnTo>
                  <a:lnTo>
                    <a:pt x="3342" y="133"/>
                  </a:lnTo>
                  <a:lnTo>
                    <a:pt x="3148" y="98"/>
                  </a:lnTo>
                  <a:lnTo>
                    <a:pt x="308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7" name="Google Shape;3148;p54">
              <a:extLst>
                <a:ext uri="{FF2B5EF4-FFF2-40B4-BE49-F238E27FC236}">
                  <a16:creationId xmlns:a16="http://schemas.microsoft.com/office/drawing/2014/main" id="{76B48A92-3C32-3A77-CAE7-79DE7C1DB861}"/>
                </a:ext>
              </a:extLst>
            </p:cNvPr>
            <p:cNvSpPr/>
            <p:nvPr/>
          </p:nvSpPr>
          <p:spPr>
            <a:xfrm>
              <a:off x="5189949" y="2411510"/>
              <a:ext cx="287071" cy="447527"/>
            </a:xfrm>
            <a:custGeom>
              <a:avLst/>
              <a:gdLst/>
              <a:ahLst/>
              <a:cxnLst/>
              <a:rect l="l" t="t" r="r" b="b"/>
              <a:pathLst>
                <a:path w="4038" h="6295" extrusionOk="0">
                  <a:moveTo>
                    <a:pt x="1904" y="1"/>
                  </a:moveTo>
                  <a:lnTo>
                    <a:pt x="1807" y="62"/>
                  </a:lnTo>
                  <a:lnTo>
                    <a:pt x="1790" y="203"/>
                  </a:lnTo>
                  <a:lnTo>
                    <a:pt x="1825" y="415"/>
                  </a:lnTo>
                  <a:lnTo>
                    <a:pt x="1922" y="591"/>
                  </a:lnTo>
                  <a:lnTo>
                    <a:pt x="1984" y="900"/>
                  </a:lnTo>
                  <a:lnTo>
                    <a:pt x="1922" y="1288"/>
                  </a:lnTo>
                  <a:lnTo>
                    <a:pt x="2054" y="1534"/>
                  </a:lnTo>
                  <a:lnTo>
                    <a:pt x="2160" y="1764"/>
                  </a:lnTo>
                  <a:lnTo>
                    <a:pt x="1966" y="2010"/>
                  </a:lnTo>
                  <a:lnTo>
                    <a:pt x="1684" y="2143"/>
                  </a:lnTo>
                  <a:lnTo>
                    <a:pt x="1428" y="2293"/>
                  </a:lnTo>
                  <a:lnTo>
                    <a:pt x="873" y="2531"/>
                  </a:lnTo>
                  <a:lnTo>
                    <a:pt x="767" y="2848"/>
                  </a:lnTo>
                  <a:lnTo>
                    <a:pt x="820" y="3112"/>
                  </a:lnTo>
                  <a:lnTo>
                    <a:pt x="838" y="3253"/>
                  </a:lnTo>
                  <a:lnTo>
                    <a:pt x="653" y="3297"/>
                  </a:lnTo>
                  <a:lnTo>
                    <a:pt x="141" y="2857"/>
                  </a:lnTo>
                  <a:lnTo>
                    <a:pt x="88" y="3104"/>
                  </a:lnTo>
                  <a:lnTo>
                    <a:pt x="238" y="3632"/>
                  </a:lnTo>
                  <a:lnTo>
                    <a:pt x="168" y="3932"/>
                  </a:lnTo>
                  <a:lnTo>
                    <a:pt x="0" y="4205"/>
                  </a:lnTo>
                  <a:lnTo>
                    <a:pt x="71" y="4505"/>
                  </a:lnTo>
                  <a:lnTo>
                    <a:pt x="282" y="4646"/>
                  </a:lnTo>
                  <a:lnTo>
                    <a:pt x="520" y="4708"/>
                  </a:lnTo>
                  <a:lnTo>
                    <a:pt x="714" y="4673"/>
                  </a:lnTo>
                  <a:lnTo>
                    <a:pt x="811" y="4699"/>
                  </a:lnTo>
                  <a:lnTo>
                    <a:pt x="855" y="4972"/>
                  </a:lnTo>
                  <a:lnTo>
                    <a:pt x="714" y="5272"/>
                  </a:lnTo>
                  <a:lnTo>
                    <a:pt x="714" y="5554"/>
                  </a:lnTo>
                  <a:lnTo>
                    <a:pt x="802" y="5633"/>
                  </a:lnTo>
                  <a:lnTo>
                    <a:pt x="988" y="5783"/>
                  </a:lnTo>
                  <a:lnTo>
                    <a:pt x="1146" y="5942"/>
                  </a:lnTo>
                  <a:lnTo>
                    <a:pt x="1322" y="6057"/>
                  </a:lnTo>
                  <a:lnTo>
                    <a:pt x="1587" y="6092"/>
                  </a:lnTo>
                  <a:lnTo>
                    <a:pt x="1975" y="5977"/>
                  </a:lnTo>
                  <a:lnTo>
                    <a:pt x="2248" y="5968"/>
                  </a:lnTo>
                  <a:lnTo>
                    <a:pt x="2371" y="6030"/>
                  </a:lnTo>
                  <a:lnTo>
                    <a:pt x="2574" y="6224"/>
                  </a:lnTo>
                  <a:lnTo>
                    <a:pt x="2803" y="6295"/>
                  </a:lnTo>
                  <a:lnTo>
                    <a:pt x="3288" y="6109"/>
                  </a:lnTo>
                  <a:lnTo>
                    <a:pt x="3412" y="5863"/>
                  </a:lnTo>
                  <a:lnTo>
                    <a:pt x="3606" y="5669"/>
                  </a:lnTo>
                  <a:lnTo>
                    <a:pt x="4020" y="5008"/>
                  </a:lnTo>
                  <a:lnTo>
                    <a:pt x="4037" y="4734"/>
                  </a:lnTo>
                  <a:lnTo>
                    <a:pt x="3985" y="4461"/>
                  </a:lnTo>
                  <a:lnTo>
                    <a:pt x="4011" y="4179"/>
                  </a:lnTo>
                  <a:lnTo>
                    <a:pt x="3685" y="3756"/>
                  </a:lnTo>
                  <a:lnTo>
                    <a:pt x="3464" y="3333"/>
                  </a:lnTo>
                  <a:lnTo>
                    <a:pt x="3597" y="3024"/>
                  </a:lnTo>
                  <a:lnTo>
                    <a:pt x="3694" y="2707"/>
                  </a:lnTo>
                  <a:lnTo>
                    <a:pt x="3694" y="2557"/>
                  </a:lnTo>
                  <a:lnTo>
                    <a:pt x="3702" y="2416"/>
                  </a:lnTo>
                  <a:lnTo>
                    <a:pt x="3755" y="2293"/>
                  </a:lnTo>
                  <a:lnTo>
                    <a:pt x="3817" y="2178"/>
                  </a:lnTo>
                  <a:lnTo>
                    <a:pt x="3755" y="2028"/>
                  </a:lnTo>
                  <a:lnTo>
                    <a:pt x="3685" y="1887"/>
                  </a:lnTo>
                  <a:lnTo>
                    <a:pt x="3641" y="1755"/>
                  </a:lnTo>
                  <a:lnTo>
                    <a:pt x="3623" y="1623"/>
                  </a:lnTo>
                  <a:lnTo>
                    <a:pt x="3667" y="1482"/>
                  </a:lnTo>
                  <a:lnTo>
                    <a:pt x="3561" y="1305"/>
                  </a:lnTo>
                  <a:lnTo>
                    <a:pt x="3191" y="1067"/>
                  </a:lnTo>
                  <a:lnTo>
                    <a:pt x="3130" y="829"/>
                  </a:lnTo>
                  <a:lnTo>
                    <a:pt x="3041" y="653"/>
                  </a:lnTo>
                  <a:lnTo>
                    <a:pt x="2892" y="574"/>
                  </a:lnTo>
                  <a:lnTo>
                    <a:pt x="2777" y="424"/>
                  </a:lnTo>
                  <a:lnTo>
                    <a:pt x="2733" y="309"/>
                  </a:lnTo>
                  <a:lnTo>
                    <a:pt x="2715" y="186"/>
                  </a:lnTo>
                  <a:lnTo>
                    <a:pt x="2680" y="106"/>
                  </a:lnTo>
                  <a:lnTo>
                    <a:pt x="2548" y="45"/>
                  </a:lnTo>
                  <a:lnTo>
                    <a:pt x="2468" y="27"/>
                  </a:lnTo>
                  <a:lnTo>
                    <a:pt x="2204" y="71"/>
                  </a:lnTo>
                  <a:lnTo>
                    <a:pt x="1904"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8" name="Google Shape;3149;p54">
              <a:extLst>
                <a:ext uri="{FF2B5EF4-FFF2-40B4-BE49-F238E27FC236}">
                  <a16:creationId xmlns:a16="http://schemas.microsoft.com/office/drawing/2014/main" id="{FCAE34E3-E84F-FC60-866E-B495FB111791}"/>
                </a:ext>
              </a:extLst>
            </p:cNvPr>
            <p:cNvSpPr/>
            <p:nvPr/>
          </p:nvSpPr>
          <p:spPr>
            <a:xfrm>
              <a:off x="5139827" y="2055538"/>
              <a:ext cx="712560" cy="522743"/>
            </a:xfrm>
            <a:custGeom>
              <a:avLst/>
              <a:gdLst/>
              <a:ahLst/>
              <a:cxnLst/>
              <a:rect l="l" t="t" r="r" b="b"/>
              <a:pathLst>
                <a:path w="10023" h="7353" extrusionOk="0">
                  <a:moveTo>
                    <a:pt x="5906" y="1"/>
                  </a:moveTo>
                  <a:lnTo>
                    <a:pt x="5721" y="71"/>
                  </a:lnTo>
                  <a:lnTo>
                    <a:pt x="5280" y="98"/>
                  </a:lnTo>
                  <a:lnTo>
                    <a:pt x="5236" y="371"/>
                  </a:lnTo>
                  <a:lnTo>
                    <a:pt x="5289" y="441"/>
                  </a:lnTo>
                  <a:lnTo>
                    <a:pt x="5271" y="547"/>
                  </a:lnTo>
                  <a:lnTo>
                    <a:pt x="5227" y="679"/>
                  </a:lnTo>
                  <a:lnTo>
                    <a:pt x="5218" y="794"/>
                  </a:lnTo>
                  <a:lnTo>
                    <a:pt x="5095" y="962"/>
                  </a:lnTo>
                  <a:lnTo>
                    <a:pt x="4725" y="1182"/>
                  </a:lnTo>
                  <a:lnTo>
                    <a:pt x="4513" y="1208"/>
                  </a:lnTo>
                  <a:lnTo>
                    <a:pt x="4117" y="1094"/>
                  </a:lnTo>
                  <a:lnTo>
                    <a:pt x="3429" y="1429"/>
                  </a:lnTo>
                  <a:lnTo>
                    <a:pt x="3050" y="1455"/>
                  </a:lnTo>
                  <a:lnTo>
                    <a:pt x="2865" y="1438"/>
                  </a:lnTo>
                  <a:lnTo>
                    <a:pt x="2592" y="1543"/>
                  </a:lnTo>
                  <a:lnTo>
                    <a:pt x="1878" y="1411"/>
                  </a:lnTo>
                  <a:lnTo>
                    <a:pt x="1428" y="1561"/>
                  </a:lnTo>
                  <a:lnTo>
                    <a:pt x="987" y="1764"/>
                  </a:lnTo>
                  <a:lnTo>
                    <a:pt x="256" y="1852"/>
                  </a:lnTo>
                  <a:lnTo>
                    <a:pt x="0" y="1975"/>
                  </a:lnTo>
                  <a:lnTo>
                    <a:pt x="35" y="2099"/>
                  </a:lnTo>
                  <a:lnTo>
                    <a:pt x="62" y="2222"/>
                  </a:lnTo>
                  <a:lnTo>
                    <a:pt x="44" y="2354"/>
                  </a:lnTo>
                  <a:lnTo>
                    <a:pt x="97" y="2469"/>
                  </a:lnTo>
                  <a:lnTo>
                    <a:pt x="185" y="2575"/>
                  </a:lnTo>
                  <a:lnTo>
                    <a:pt x="282" y="2654"/>
                  </a:lnTo>
                  <a:lnTo>
                    <a:pt x="529" y="2663"/>
                  </a:lnTo>
                  <a:lnTo>
                    <a:pt x="767" y="2883"/>
                  </a:lnTo>
                  <a:lnTo>
                    <a:pt x="1005" y="3148"/>
                  </a:lnTo>
                  <a:lnTo>
                    <a:pt x="1217" y="3227"/>
                  </a:lnTo>
                  <a:lnTo>
                    <a:pt x="1587" y="3227"/>
                  </a:lnTo>
                  <a:lnTo>
                    <a:pt x="1675" y="3350"/>
                  </a:lnTo>
                  <a:lnTo>
                    <a:pt x="1719" y="3491"/>
                  </a:lnTo>
                  <a:lnTo>
                    <a:pt x="1772" y="3615"/>
                  </a:lnTo>
                  <a:lnTo>
                    <a:pt x="2415" y="4408"/>
                  </a:lnTo>
                  <a:lnTo>
                    <a:pt x="2618" y="4540"/>
                  </a:lnTo>
                  <a:lnTo>
                    <a:pt x="2856" y="4576"/>
                  </a:lnTo>
                  <a:lnTo>
                    <a:pt x="3050" y="4752"/>
                  </a:lnTo>
                  <a:lnTo>
                    <a:pt x="3173" y="5034"/>
                  </a:lnTo>
                  <a:lnTo>
                    <a:pt x="3253" y="5052"/>
                  </a:lnTo>
                  <a:lnTo>
                    <a:pt x="3385" y="5113"/>
                  </a:lnTo>
                  <a:lnTo>
                    <a:pt x="3420" y="5193"/>
                  </a:lnTo>
                  <a:lnTo>
                    <a:pt x="3438" y="5316"/>
                  </a:lnTo>
                  <a:lnTo>
                    <a:pt x="3482" y="5431"/>
                  </a:lnTo>
                  <a:lnTo>
                    <a:pt x="3597" y="5581"/>
                  </a:lnTo>
                  <a:lnTo>
                    <a:pt x="3746" y="5660"/>
                  </a:lnTo>
                  <a:lnTo>
                    <a:pt x="3835" y="5836"/>
                  </a:lnTo>
                  <a:lnTo>
                    <a:pt x="3896" y="6074"/>
                  </a:lnTo>
                  <a:lnTo>
                    <a:pt x="4266" y="6312"/>
                  </a:lnTo>
                  <a:lnTo>
                    <a:pt x="4372" y="6489"/>
                  </a:lnTo>
                  <a:lnTo>
                    <a:pt x="4328" y="6630"/>
                  </a:lnTo>
                  <a:lnTo>
                    <a:pt x="4346" y="6762"/>
                  </a:lnTo>
                  <a:lnTo>
                    <a:pt x="4390" y="6894"/>
                  </a:lnTo>
                  <a:lnTo>
                    <a:pt x="4460" y="7035"/>
                  </a:lnTo>
                  <a:lnTo>
                    <a:pt x="4522" y="7185"/>
                  </a:lnTo>
                  <a:lnTo>
                    <a:pt x="5571" y="7352"/>
                  </a:lnTo>
                  <a:lnTo>
                    <a:pt x="6091" y="7017"/>
                  </a:lnTo>
                  <a:lnTo>
                    <a:pt x="6303" y="6947"/>
                  </a:lnTo>
                  <a:lnTo>
                    <a:pt x="7801" y="5968"/>
                  </a:lnTo>
                  <a:lnTo>
                    <a:pt x="8198" y="5431"/>
                  </a:lnTo>
                  <a:lnTo>
                    <a:pt x="8365" y="5219"/>
                  </a:lnTo>
                  <a:lnTo>
                    <a:pt x="8586" y="5069"/>
                  </a:lnTo>
                  <a:lnTo>
                    <a:pt x="8727" y="4875"/>
                  </a:lnTo>
                  <a:lnTo>
                    <a:pt x="8841" y="4637"/>
                  </a:lnTo>
                  <a:lnTo>
                    <a:pt x="8982" y="4426"/>
                  </a:lnTo>
                  <a:lnTo>
                    <a:pt x="9141" y="4223"/>
                  </a:lnTo>
                  <a:lnTo>
                    <a:pt x="9547" y="3915"/>
                  </a:lnTo>
                  <a:lnTo>
                    <a:pt x="9882" y="3580"/>
                  </a:lnTo>
                  <a:lnTo>
                    <a:pt x="10023" y="3086"/>
                  </a:lnTo>
                  <a:lnTo>
                    <a:pt x="10005" y="2945"/>
                  </a:lnTo>
                  <a:lnTo>
                    <a:pt x="9961" y="2813"/>
                  </a:lnTo>
                  <a:lnTo>
                    <a:pt x="9793" y="2725"/>
                  </a:lnTo>
                  <a:lnTo>
                    <a:pt x="9573" y="2328"/>
                  </a:lnTo>
                  <a:lnTo>
                    <a:pt x="9441" y="1878"/>
                  </a:lnTo>
                  <a:lnTo>
                    <a:pt x="9388" y="1746"/>
                  </a:lnTo>
                  <a:lnTo>
                    <a:pt x="9300" y="1667"/>
                  </a:lnTo>
                  <a:lnTo>
                    <a:pt x="9212" y="1490"/>
                  </a:lnTo>
                  <a:lnTo>
                    <a:pt x="9220" y="1261"/>
                  </a:lnTo>
                  <a:lnTo>
                    <a:pt x="9256" y="917"/>
                  </a:lnTo>
                  <a:lnTo>
                    <a:pt x="9062" y="724"/>
                  </a:lnTo>
                  <a:lnTo>
                    <a:pt x="8868" y="785"/>
                  </a:lnTo>
                  <a:lnTo>
                    <a:pt x="8674" y="865"/>
                  </a:lnTo>
                  <a:lnTo>
                    <a:pt x="8454" y="909"/>
                  </a:lnTo>
                  <a:lnTo>
                    <a:pt x="8233" y="935"/>
                  </a:lnTo>
                  <a:lnTo>
                    <a:pt x="7872" y="856"/>
                  </a:lnTo>
                  <a:lnTo>
                    <a:pt x="7440" y="891"/>
                  </a:lnTo>
                  <a:lnTo>
                    <a:pt x="7078" y="635"/>
                  </a:lnTo>
                  <a:lnTo>
                    <a:pt x="6752" y="274"/>
                  </a:lnTo>
                  <a:lnTo>
                    <a:pt x="6523" y="203"/>
                  </a:lnTo>
                  <a:lnTo>
                    <a:pt x="6285" y="221"/>
                  </a:lnTo>
                  <a:lnTo>
                    <a:pt x="6074" y="203"/>
                  </a:lnTo>
                  <a:lnTo>
                    <a:pt x="5985" y="142"/>
                  </a:lnTo>
                  <a:lnTo>
                    <a:pt x="5950" y="18"/>
                  </a:lnTo>
                  <a:lnTo>
                    <a:pt x="590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3150;p54">
              <a:extLst>
                <a:ext uri="{FF2B5EF4-FFF2-40B4-BE49-F238E27FC236}">
                  <a16:creationId xmlns:a16="http://schemas.microsoft.com/office/drawing/2014/main" id="{3ADBE6BF-F6CA-6A21-7744-65C1DFA18806}"/>
                </a:ext>
              </a:extLst>
            </p:cNvPr>
            <p:cNvSpPr/>
            <p:nvPr/>
          </p:nvSpPr>
          <p:spPr>
            <a:xfrm>
              <a:off x="4965574" y="2231000"/>
              <a:ext cx="399895" cy="414967"/>
            </a:xfrm>
            <a:custGeom>
              <a:avLst/>
              <a:gdLst/>
              <a:ahLst/>
              <a:cxnLst/>
              <a:rect l="l" t="t" r="r" b="b"/>
              <a:pathLst>
                <a:path w="5625" h="5837" extrusionOk="0">
                  <a:moveTo>
                    <a:pt x="2548" y="1"/>
                  </a:moveTo>
                  <a:lnTo>
                    <a:pt x="1799" y="724"/>
                  </a:lnTo>
                  <a:lnTo>
                    <a:pt x="1587" y="1341"/>
                  </a:lnTo>
                  <a:lnTo>
                    <a:pt x="1270" y="1843"/>
                  </a:lnTo>
                  <a:lnTo>
                    <a:pt x="521" y="2460"/>
                  </a:lnTo>
                  <a:lnTo>
                    <a:pt x="1" y="3368"/>
                  </a:lnTo>
                  <a:lnTo>
                    <a:pt x="97" y="3703"/>
                  </a:lnTo>
                  <a:lnTo>
                    <a:pt x="618" y="4029"/>
                  </a:lnTo>
                  <a:lnTo>
                    <a:pt x="856" y="4232"/>
                  </a:lnTo>
                  <a:lnTo>
                    <a:pt x="926" y="4259"/>
                  </a:lnTo>
                  <a:lnTo>
                    <a:pt x="997" y="4311"/>
                  </a:lnTo>
                  <a:lnTo>
                    <a:pt x="1067" y="4426"/>
                  </a:lnTo>
                  <a:lnTo>
                    <a:pt x="1164" y="4497"/>
                  </a:lnTo>
                  <a:lnTo>
                    <a:pt x="1411" y="4514"/>
                  </a:lnTo>
                  <a:lnTo>
                    <a:pt x="1561" y="4585"/>
                  </a:lnTo>
                  <a:lnTo>
                    <a:pt x="1622" y="4646"/>
                  </a:lnTo>
                  <a:lnTo>
                    <a:pt x="1913" y="4752"/>
                  </a:lnTo>
                  <a:lnTo>
                    <a:pt x="1878" y="4955"/>
                  </a:lnTo>
                  <a:lnTo>
                    <a:pt x="1940" y="5052"/>
                  </a:lnTo>
                  <a:lnTo>
                    <a:pt x="2134" y="5087"/>
                  </a:lnTo>
                  <a:lnTo>
                    <a:pt x="2231" y="5078"/>
                  </a:lnTo>
                  <a:lnTo>
                    <a:pt x="2416" y="5158"/>
                  </a:lnTo>
                  <a:lnTo>
                    <a:pt x="2486" y="5396"/>
                  </a:lnTo>
                  <a:lnTo>
                    <a:pt x="2663" y="5563"/>
                  </a:lnTo>
                  <a:lnTo>
                    <a:pt x="2901" y="5422"/>
                  </a:lnTo>
                  <a:lnTo>
                    <a:pt x="2998" y="5396"/>
                  </a:lnTo>
                  <a:lnTo>
                    <a:pt x="3200" y="5422"/>
                  </a:lnTo>
                  <a:lnTo>
                    <a:pt x="3297" y="5396"/>
                  </a:lnTo>
                  <a:lnTo>
                    <a:pt x="3809" y="5836"/>
                  </a:lnTo>
                  <a:lnTo>
                    <a:pt x="3994" y="5792"/>
                  </a:lnTo>
                  <a:lnTo>
                    <a:pt x="3976" y="5651"/>
                  </a:lnTo>
                  <a:lnTo>
                    <a:pt x="3923" y="5387"/>
                  </a:lnTo>
                  <a:lnTo>
                    <a:pt x="4029" y="5070"/>
                  </a:lnTo>
                  <a:lnTo>
                    <a:pt x="4584" y="4832"/>
                  </a:lnTo>
                  <a:lnTo>
                    <a:pt x="4840" y="4682"/>
                  </a:lnTo>
                  <a:lnTo>
                    <a:pt x="5122" y="4549"/>
                  </a:lnTo>
                  <a:lnTo>
                    <a:pt x="5316" y="4303"/>
                  </a:lnTo>
                  <a:lnTo>
                    <a:pt x="5210" y="4073"/>
                  </a:lnTo>
                  <a:lnTo>
                    <a:pt x="5078" y="3827"/>
                  </a:lnTo>
                  <a:lnTo>
                    <a:pt x="5140" y="3439"/>
                  </a:lnTo>
                  <a:lnTo>
                    <a:pt x="5078" y="3130"/>
                  </a:lnTo>
                  <a:lnTo>
                    <a:pt x="4981" y="2954"/>
                  </a:lnTo>
                  <a:lnTo>
                    <a:pt x="4946" y="2742"/>
                  </a:lnTo>
                  <a:lnTo>
                    <a:pt x="4963" y="2601"/>
                  </a:lnTo>
                  <a:lnTo>
                    <a:pt x="5060" y="2540"/>
                  </a:lnTo>
                  <a:lnTo>
                    <a:pt x="5360" y="2610"/>
                  </a:lnTo>
                  <a:lnTo>
                    <a:pt x="5624" y="2566"/>
                  </a:lnTo>
                  <a:lnTo>
                    <a:pt x="5501" y="2284"/>
                  </a:lnTo>
                  <a:lnTo>
                    <a:pt x="5307" y="2108"/>
                  </a:lnTo>
                  <a:lnTo>
                    <a:pt x="5069" y="2072"/>
                  </a:lnTo>
                  <a:lnTo>
                    <a:pt x="4866" y="1940"/>
                  </a:lnTo>
                  <a:lnTo>
                    <a:pt x="4223" y="1147"/>
                  </a:lnTo>
                  <a:lnTo>
                    <a:pt x="4170" y="1023"/>
                  </a:lnTo>
                  <a:lnTo>
                    <a:pt x="4126" y="882"/>
                  </a:lnTo>
                  <a:lnTo>
                    <a:pt x="4038" y="759"/>
                  </a:lnTo>
                  <a:lnTo>
                    <a:pt x="3668" y="759"/>
                  </a:lnTo>
                  <a:lnTo>
                    <a:pt x="3456" y="680"/>
                  </a:lnTo>
                  <a:lnTo>
                    <a:pt x="3218" y="415"/>
                  </a:lnTo>
                  <a:lnTo>
                    <a:pt x="2980" y="195"/>
                  </a:lnTo>
                  <a:lnTo>
                    <a:pt x="2733" y="186"/>
                  </a:lnTo>
                  <a:lnTo>
                    <a:pt x="2636" y="107"/>
                  </a:lnTo>
                  <a:lnTo>
                    <a:pt x="2548"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0" name="Google Shape;3151;p54">
              <a:extLst>
                <a:ext uri="{FF2B5EF4-FFF2-40B4-BE49-F238E27FC236}">
                  <a16:creationId xmlns:a16="http://schemas.microsoft.com/office/drawing/2014/main" id="{50BC8658-AA19-8F8D-545C-C7214968D1A5}"/>
                </a:ext>
              </a:extLst>
            </p:cNvPr>
            <p:cNvSpPr/>
            <p:nvPr/>
          </p:nvSpPr>
          <p:spPr>
            <a:xfrm>
              <a:off x="3420111" y="2632758"/>
              <a:ext cx="346007" cy="283304"/>
            </a:xfrm>
            <a:custGeom>
              <a:avLst/>
              <a:gdLst/>
              <a:ahLst/>
              <a:cxnLst/>
              <a:rect l="l" t="t" r="r" b="b"/>
              <a:pathLst>
                <a:path w="4867" h="3985" extrusionOk="0">
                  <a:moveTo>
                    <a:pt x="3941" y="0"/>
                  </a:moveTo>
                  <a:lnTo>
                    <a:pt x="3642" y="9"/>
                  </a:lnTo>
                  <a:lnTo>
                    <a:pt x="3518" y="44"/>
                  </a:lnTo>
                  <a:lnTo>
                    <a:pt x="3395" y="115"/>
                  </a:lnTo>
                  <a:lnTo>
                    <a:pt x="3315" y="450"/>
                  </a:lnTo>
                  <a:lnTo>
                    <a:pt x="3201" y="723"/>
                  </a:lnTo>
                  <a:lnTo>
                    <a:pt x="2936" y="741"/>
                  </a:lnTo>
                  <a:lnTo>
                    <a:pt x="2355" y="908"/>
                  </a:lnTo>
                  <a:lnTo>
                    <a:pt x="2020" y="926"/>
                  </a:lnTo>
                  <a:lnTo>
                    <a:pt x="1711" y="882"/>
                  </a:lnTo>
                  <a:lnTo>
                    <a:pt x="1420" y="706"/>
                  </a:lnTo>
                  <a:lnTo>
                    <a:pt x="1147" y="697"/>
                  </a:lnTo>
                  <a:lnTo>
                    <a:pt x="900" y="917"/>
                  </a:lnTo>
                  <a:lnTo>
                    <a:pt x="724" y="1093"/>
                  </a:lnTo>
                  <a:lnTo>
                    <a:pt x="371" y="1375"/>
                  </a:lnTo>
                  <a:lnTo>
                    <a:pt x="318" y="1490"/>
                  </a:lnTo>
                  <a:lnTo>
                    <a:pt x="177" y="1640"/>
                  </a:lnTo>
                  <a:lnTo>
                    <a:pt x="45" y="1693"/>
                  </a:lnTo>
                  <a:lnTo>
                    <a:pt x="63" y="1904"/>
                  </a:lnTo>
                  <a:lnTo>
                    <a:pt x="195" y="1948"/>
                  </a:lnTo>
                  <a:lnTo>
                    <a:pt x="301" y="2081"/>
                  </a:lnTo>
                  <a:lnTo>
                    <a:pt x="318" y="2204"/>
                  </a:lnTo>
                  <a:lnTo>
                    <a:pt x="318" y="2345"/>
                  </a:lnTo>
                  <a:lnTo>
                    <a:pt x="354" y="2636"/>
                  </a:lnTo>
                  <a:lnTo>
                    <a:pt x="327" y="2918"/>
                  </a:lnTo>
                  <a:lnTo>
                    <a:pt x="257" y="3094"/>
                  </a:lnTo>
                  <a:lnTo>
                    <a:pt x="168" y="3244"/>
                  </a:lnTo>
                  <a:lnTo>
                    <a:pt x="45" y="3368"/>
                  </a:lnTo>
                  <a:lnTo>
                    <a:pt x="1" y="3447"/>
                  </a:lnTo>
                  <a:lnTo>
                    <a:pt x="116" y="3544"/>
                  </a:lnTo>
                  <a:lnTo>
                    <a:pt x="257" y="3544"/>
                  </a:lnTo>
                  <a:lnTo>
                    <a:pt x="424" y="3738"/>
                  </a:lnTo>
                  <a:lnTo>
                    <a:pt x="706" y="3791"/>
                  </a:lnTo>
                  <a:lnTo>
                    <a:pt x="953" y="3949"/>
                  </a:lnTo>
                  <a:lnTo>
                    <a:pt x="1217" y="3949"/>
                  </a:lnTo>
                  <a:lnTo>
                    <a:pt x="1455" y="3791"/>
                  </a:lnTo>
                  <a:lnTo>
                    <a:pt x="1623" y="3817"/>
                  </a:lnTo>
                  <a:lnTo>
                    <a:pt x="1764" y="3985"/>
                  </a:lnTo>
                  <a:lnTo>
                    <a:pt x="1923" y="3985"/>
                  </a:lnTo>
                  <a:lnTo>
                    <a:pt x="2072" y="3941"/>
                  </a:lnTo>
                  <a:lnTo>
                    <a:pt x="2134" y="3905"/>
                  </a:lnTo>
                  <a:lnTo>
                    <a:pt x="2196" y="3879"/>
                  </a:lnTo>
                  <a:lnTo>
                    <a:pt x="2310" y="3958"/>
                  </a:lnTo>
                  <a:lnTo>
                    <a:pt x="2363" y="3941"/>
                  </a:lnTo>
                  <a:lnTo>
                    <a:pt x="2425" y="3826"/>
                  </a:lnTo>
                  <a:lnTo>
                    <a:pt x="2425" y="3756"/>
                  </a:lnTo>
                  <a:lnTo>
                    <a:pt x="2663" y="3570"/>
                  </a:lnTo>
                  <a:lnTo>
                    <a:pt x="2989" y="3606"/>
                  </a:lnTo>
                  <a:lnTo>
                    <a:pt x="3342" y="3597"/>
                  </a:lnTo>
                  <a:lnTo>
                    <a:pt x="3509" y="3544"/>
                  </a:lnTo>
                  <a:lnTo>
                    <a:pt x="3659" y="3412"/>
                  </a:lnTo>
                  <a:lnTo>
                    <a:pt x="3624" y="3068"/>
                  </a:lnTo>
                  <a:lnTo>
                    <a:pt x="3668" y="2707"/>
                  </a:lnTo>
                  <a:lnTo>
                    <a:pt x="4241" y="2583"/>
                  </a:lnTo>
                  <a:lnTo>
                    <a:pt x="4232" y="2416"/>
                  </a:lnTo>
                  <a:lnTo>
                    <a:pt x="4338" y="2283"/>
                  </a:lnTo>
                  <a:lnTo>
                    <a:pt x="4426" y="2037"/>
                  </a:lnTo>
                  <a:lnTo>
                    <a:pt x="4497" y="1807"/>
                  </a:lnTo>
                  <a:lnTo>
                    <a:pt x="4779" y="1525"/>
                  </a:lnTo>
                  <a:lnTo>
                    <a:pt x="4849" y="1305"/>
                  </a:lnTo>
                  <a:lnTo>
                    <a:pt x="4867" y="1058"/>
                  </a:lnTo>
                  <a:lnTo>
                    <a:pt x="4867" y="441"/>
                  </a:lnTo>
                  <a:lnTo>
                    <a:pt x="4655" y="194"/>
                  </a:lnTo>
                  <a:lnTo>
                    <a:pt x="4514" y="133"/>
                  </a:lnTo>
                  <a:lnTo>
                    <a:pt x="3941"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1" name="Google Shape;3152;p54">
              <a:extLst>
                <a:ext uri="{FF2B5EF4-FFF2-40B4-BE49-F238E27FC236}">
                  <a16:creationId xmlns:a16="http://schemas.microsoft.com/office/drawing/2014/main" id="{D0EAE558-9C23-F199-2BE6-1051E9A99571}"/>
                </a:ext>
              </a:extLst>
            </p:cNvPr>
            <p:cNvSpPr/>
            <p:nvPr/>
          </p:nvSpPr>
          <p:spPr>
            <a:xfrm>
              <a:off x="6554902" y="2125140"/>
              <a:ext cx="770216" cy="448736"/>
            </a:xfrm>
            <a:custGeom>
              <a:avLst/>
              <a:gdLst/>
              <a:ahLst/>
              <a:cxnLst/>
              <a:rect l="l" t="t" r="r" b="b"/>
              <a:pathLst>
                <a:path w="10834" h="6312" extrusionOk="0">
                  <a:moveTo>
                    <a:pt x="8224" y="0"/>
                  </a:moveTo>
                  <a:lnTo>
                    <a:pt x="8013" y="88"/>
                  </a:lnTo>
                  <a:lnTo>
                    <a:pt x="7819" y="256"/>
                  </a:lnTo>
                  <a:lnTo>
                    <a:pt x="7590" y="282"/>
                  </a:lnTo>
                  <a:lnTo>
                    <a:pt x="7325" y="256"/>
                  </a:lnTo>
                  <a:lnTo>
                    <a:pt x="7070" y="353"/>
                  </a:lnTo>
                  <a:lnTo>
                    <a:pt x="6902" y="617"/>
                  </a:lnTo>
                  <a:lnTo>
                    <a:pt x="6699" y="838"/>
                  </a:lnTo>
                  <a:lnTo>
                    <a:pt x="6179" y="961"/>
                  </a:lnTo>
                  <a:lnTo>
                    <a:pt x="5924" y="1084"/>
                  </a:lnTo>
                  <a:lnTo>
                    <a:pt x="5659" y="1111"/>
                  </a:lnTo>
                  <a:lnTo>
                    <a:pt x="5386" y="1093"/>
                  </a:lnTo>
                  <a:lnTo>
                    <a:pt x="5113" y="1120"/>
                  </a:lnTo>
                  <a:lnTo>
                    <a:pt x="4831" y="1084"/>
                  </a:lnTo>
                  <a:lnTo>
                    <a:pt x="4557" y="943"/>
                  </a:lnTo>
                  <a:lnTo>
                    <a:pt x="4275" y="864"/>
                  </a:lnTo>
                  <a:lnTo>
                    <a:pt x="4196" y="785"/>
                  </a:lnTo>
                  <a:lnTo>
                    <a:pt x="4125" y="679"/>
                  </a:lnTo>
                  <a:lnTo>
                    <a:pt x="3958" y="573"/>
                  </a:lnTo>
                  <a:lnTo>
                    <a:pt x="3773" y="503"/>
                  </a:lnTo>
                  <a:lnTo>
                    <a:pt x="3270" y="203"/>
                  </a:lnTo>
                  <a:lnTo>
                    <a:pt x="3129" y="168"/>
                  </a:lnTo>
                  <a:lnTo>
                    <a:pt x="2988" y="141"/>
                  </a:lnTo>
                  <a:lnTo>
                    <a:pt x="2856" y="88"/>
                  </a:lnTo>
                  <a:lnTo>
                    <a:pt x="2733" y="9"/>
                  </a:lnTo>
                  <a:lnTo>
                    <a:pt x="2548" y="88"/>
                  </a:lnTo>
                  <a:lnTo>
                    <a:pt x="2142" y="124"/>
                  </a:lnTo>
                  <a:lnTo>
                    <a:pt x="1939" y="106"/>
                  </a:lnTo>
                  <a:lnTo>
                    <a:pt x="1922" y="414"/>
                  </a:lnTo>
                  <a:lnTo>
                    <a:pt x="1825" y="653"/>
                  </a:lnTo>
                  <a:lnTo>
                    <a:pt x="1613" y="644"/>
                  </a:lnTo>
                  <a:lnTo>
                    <a:pt x="1402" y="608"/>
                  </a:lnTo>
                  <a:lnTo>
                    <a:pt x="1155" y="670"/>
                  </a:lnTo>
                  <a:lnTo>
                    <a:pt x="934" y="820"/>
                  </a:lnTo>
                  <a:lnTo>
                    <a:pt x="714" y="785"/>
                  </a:lnTo>
                  <a:lnTo>
                    <a:pt x="494" y="617"/>
                  </a:lnTo>
                  <a:lnTo>
                    <a:pt x="291" y="741"/>
                  </a:lnTo>
                  <a:lnTo>
                    <a:pt x="115" y="1243"/>
                  </a:lnTo>
                  <a:lnTo>
                    <a:pt x="150" y="1428"/>
                  </a:lnTo>
                  <a:lnTo>
                    <a:pt x="476" y="1419"/>
                  </a:lnTo>
                  <a:lnTo>
                    <a:pt x="811" y="1331"/>
                  </a:lnTo>
                  <a:lnTo>
                    <a:pt x="908" y="1455"/>
                  </a:lnTo>
                  <a:lnTo>
                    <a:pt x="864" y="1622"/>
                  </a:lnTo>
                  <a:lnTo>
                    <a:pt x="767" y="1640"/>
                  </a:lnTo>
                  <a:lnTo>
                    <a:pt x="679" y="1631"/>
                  </a:lnTo>
                  <a:lnTo>
                    <a:pt x="503" y="1728"/>
                  </a:lnTo>
                  <a:lnTo>
                    <a:pt x="379" y="1931"/>
                  </a:lnTo>
                  <a:lnTo>
                    <a:pt x="159" y="2230"/>
                  </a:lnTo>
                  <a:lnTo>
                    <a:pt x="106" y="2856"/>
                  </a:lnTo>
                  <a:lnTo>
                    <a:pt x="0" y="3068"/>
                  </a:lnTo>
                  <a:lnTo>
                    <a:pt x="53" y="3297"/>
                  </a:lnTo>
                  <a:lnTo>
                    <a:pt x="220" y="3456"/>
                  </a:lnTo>
                  <a:lnTo>
                    <a:pt x="370" y="3553"/>
                  </a:lnTo>
                  <a:lnTo>
                    <a:pt x="476" y="3694"/>
                  </a:lnTo>
                  <a:lnTo>
                    <a:pt x="441" y="3791"/>
                  </a:lnTo>
                  <a:lnTo>
                    <a:pt x="273" y="3905"/>
                  </a:lnTo>
                  <a:lnTo>
                    <a:pt x="220" y="3949"/>
                  </a:lnTo>
                  <a:lnTo>
                    <a:pt x="185" y="4002"/>
                  </a:lnTo>
                  <a:lnTo>
                    <a:pt x="141" y="4046"/>
                  </a:lnTo>
                  <a:lnTo>
                    <a:pt x="79" y="4064"/>
                  </a:lnTo>
                  <a:lnTo>
                    <a:pt x="106" y="4126"/>
                  </a:lnTo>
                  <a:lnTo>
                    <a:pt x="115" y="4231"/>
                  </a:lnTo>
                  <a:lnTo>
                    <a:pt x="115" y="4434"/>
                  </a:lnTo>
                  <a:lnTo>
                    <a:pt x="176" y="4602"/>
                  </a:lnTo>
                  <a:lnTo>
                    <a:pt x="203" y="4787"/>
                  </a:lnTo>
                  <a:lnTo>
                    <a:pt x="185" y="4884"/>
                  </a:lnTo>
                  <a:lnTo>
                    <a:pt x="176" y="4998"/>
                  </a:lnTo>
                  <a:lnTo>
                    <a:pt x="203" y="5095"/>
                  </a:lnTo>
                  <a:lnTo>
                    <a:pt x="229" y="5192"/>
                  </a:lnTo>
                  <a:lnTo>
                    <a:pt x="185" y="5395"/>
                  </a:lnTo>
                  <a:lnTo>
                    <a:pt x="79" y="5554"/>
                  </a:lnTo>
                  <a:lnTo>
                    <a:pt x="450" y="5739"/>
                  </a:lnTo>
                  <a:lnTo>
                    <a:pt x="890" y="5756"/>
                  </a:lnTo>
                  <a:lnTo>
                    <a:pt x="1102" y="5845"/>
                  </a:lnTo>
                  <a:lnTo>
                    <a:pt x="1296" y="5959"/>
                  </a:lnTo>
                  <a:lnTo>
                    <a:pt x="1596" y="6312"/>
                  </a:lnTo>
                  <a:lnTo>
                    <a:pt x="1719" y="6250"/>
                  </a:lnTo>
                  <a:lnTo>
                    <a:pt x="1860" y="6224"/>
                  </a:lnTo>
                  <a:lnTo>
                    <a:pt x="1825" y="5853"/>
                  </a:lnTo>
                  <a:lnTo>
                    <a:pt x="1790" y="5818"/>
                  </a:lnTo>
                  <a:lnTo>
                    <a:pt x="1745" y="5792"/>
                  </a:lnTo>
                  <a:lnTo>
                    <a:pt x="1728" y="5651"/>
                  </a:lnTo>
                  <a:lnTo>
                    <a:pt x="1745" y="5510"/>
                  </a:lnTo>
                  <a:lnTo>
                    <a:pt x="1781" y="5474"/>
                  </a:lnTo>
                  <a:lnTo>
                    <a:pt x="1807" y="5474"/>
                  </a:lnTo>
                  <a:lnTo>
                    <a:pt x="1913" y="5421"/>
                  </a:lnTo>
                  <a:lnTo>
                    <a:pt x="1975" y="5078"/>
                  </a:lnTo>
                  <a:lnTo>
                    <a:pt x="2089" y="5016"/>
                  </a:lnTo>
                  <a:lnTo>
                    <a:pt x="2213" y="4989"/>
                  </a:lnTo>
                  <a:lnTo>
                    <a:pt x="2336" y="4910"/>
                  </a:lnTo>
                  <a:lnTo>
                    <a:pt x="2274" y="4796"/>
                  </a:lnTo>
                  <a:lnTo>
                    <a:pt x="2213" y="4610"/>
                  </a:lnTo>
                  <a:lnTo>
                    <a:pt x="2283" y="4425"/>
                  </a:lnTo>
                  <a:lnTo>
                    <a:pt x="2556" y="4320"/>
                  </a:lnTo>
                  <a:lnTo>
                    <a:pt x="2618" y="4293"/>
                  </a:lnTo>
                  <a:lnTo>
                    <a:pt x="2671" y="4187"/>
                  </a:lnTo>
                  <a:lnTo>
                    <a:pt x="2742" y="4099"/>
                  </a:lnTo>
                  <a:lnTo>
                    <a:pt x="2874" y="4099"/>
                  </a:lnTo>
                  <a:lnTo>
                    <a:pt x="2988" y="4046"/>
                  </a:lnTo>
                  <a:lnTo>
                    <a:pt x="3068" y="3879"/>
                  </a:lnTo>
                  <a:lnTo>
                    <a:pt x="3200" y="3782"/>
                  </a:lnTo>
                  <a:lnTo>
                    <a:pt x="3658" y="3606"/>
                  </a:lnTo>
                  <a:lnTo>
                    <a:pt x="3896" y="3553"/>
                  </a:lnTo>
                  <a:lnTo>
                    <a:pt x="4143" y="3606"/>
                  </a:lnTo>
                  <a:lnTo>
                    <a:pt x="4337" y="3553"/>
                  </a:lnTo>
                  <a:lnTo>
                    <a:pt x="4522" y="3456"/>
                  </a:lnTo>
                  <a:lnTo>
                    <a:pt x="4875" y="3473"/>
                  </a:lnTo>
                  <a:lnTo>
                    <a:pt x="5236" y="3561"/>
                  </a:lnTo>
                  <a:lnTo>
                    <a:pt x="5598" y="3561"/>
                  </a:lnTo>
                  <a:lnTo>
                    <a:pt x="6303" y="3456"/>
                  </a:lnTo>
                  <a:lnTo>
                    <a:pt x="6638" y="3350"/>
                  </a:lnTo>
                  <a:lnTo>
                    <a:pt x="6840" y="3077"/>
                  </a:lnTo>
                  <a:lnTo>
                    <a:pt x="7017" y="3024"/>
                  </a:lnTo>
                  <a:lnTo>
                    <a:pt x="7264" y="3174"/>
                  </a:lnTo>
                  <a:lnTo>
                    <a:pt x="7625" y="3262"/>
                  </a:lnTo>
                  <a:lnTo>
                    <a:pt x="8057" y="3112"/>
                  </a:lnTo>
                  <a:lnTo>
                    <a:pt x="8154" y="3094"/>
                  </a:lnTo>
                  <a:lnTo>
                    <a:pt x="8330" y="3015"/>
                  </a:lnTo>
                  <a:lnTo>
                    <a:pt x="8480" y="2971"/>
                  </a:lnTo>
                  <a:lnTo>
                    <a:pt x="8498" y="2953"/>
                  </a:lnTo>
                  <a:lnTo>
                    <a:pt x="8542" y="2962"/>
                  </a:lnTo>
                  <a:lnTo>
                    <a:pt x="8718" y="3015"/>
                  </a:lnTo>
                  <a:lnTo>
                    <a:pt x="8806" y="3068"/>
                  </a:lnTo>
                  <a:lnTo>
                    <a:pt x="9503" y="3085"/>
                  </a:lnTo>
                  <a:lnTo>
                    <a:pt x="9873" y="3147"/>
                  </a:lnTo>
                  <a:lnTo>
                    <a:pt x="10252" y="3165"/>
                  </a:lnTo>
                  <a:lnTo>
                    <a:pt x="10552" y="3262"/>
                  </a:lnTo>
                  <a:lnTo>
                    <a:pt x="10569" y="2892"/>
                  </a:lnTo>
                  <a:lnTo>
                    <a:pt x="10728" y="2574"/>
                  </a:lnTo>
                  <a:lnTo>
                    <a:pt x="10834" y="2327"/>
                  </a:lnTo>
                  <a:lnTo>
                    <a:pt x="10684" y="2151"/>
                  </a:lnTo>
                  <a:lnTo>
                    <a:pt x="10490" y="2072"/>
                  </a:lnTo>
                  <a:lnTo>
                    <a:pt x="10314" y="1939"/>
                  </a:lnTo>
                  <a:lnTo>
                    <a:pt x="10225" y="1834"/>
                  </a:lnTo>
                  <a:lnTo>
                    <a:pt x="10164" y="1710"/>
                  </a:lnTo>
                  <a:lnTo>
                    <a:pt x="10146" y="1543"/>
                  </a:lnTo>
                  <a:lnTo>
                    <a:pt x="10155" y="1375"/>
                  </a:lnTo>
                  <a:lnTo>
                    <a:pt x="9846" y="961"/>
                  </a:lnTo>
                  <a:lnTo>
                    <a:pt x="9053" y="952"/>
                  </a:lnTo>
                  <a:lnTo>
                    <a:pt x="8806" y="820"/>
                  </a:lnTo>
                  <a:lnTo>
                    <a:pt x="8841" y="476"/>
                  </a:lnTo>
                  <a:lnTo>
                    <a:pt x="8982" y="159"/>
                  </a:lnTo>
                  <a:lnTo>
                    <a:pt x="822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2" name="Google Shape;3153;p54">
              <a:extLst>
                <a:ext uri="{FF2B5EF4-FFF2-40B4-BE49-F238E27FC236}">
                  <a16:creationId xmlns:a16="http://schemas.microsoft.com/office/drawing/2014/main" id="{145A3619-F826-6181-368E-5F1787F8A3E2}"/>
                </a:ext>
              </a:extLst>
            </p:cNvPr>
            <p:cNvSpPr/>
            <p:nvPr/>
          </p:nvSpPr>
          <p:spPr>
            <a:xfrm>
              <a:off x="6677683" y="2335083"/>
              <a:ext cx="606064" cy="349135"/>
            </a:xfrm>
            <a:custGeom>
              <a:avLst/>
              <a:gdLst/>
              <a:ahLst/>
              <a:cxnLst/>
              <a:rect l="l" t="t" r="r" b="b"/>
              <a:pathLst>
                <a:path w="8525" h="4911" extrusionOk="0">
                  <a:moveTo>
                    <a:pt x="6771" y="0"/>
                  </a:moveTo>
                  <a:lnTo>
                    <a:pt x="6753" y="18"/>
                  </a:lnTo>
                  <a:lnTo>
                    <a:pt x="6603" y="62"/>
                  </a:lnTo>
                  <a:lnTo>
                    <a:pt x="6427" y="141"/>
                  </a:lnTo>
                  <a:lnTo>
                    <a:pt x="6330" y="159"/>
                  </a:lnTo>
                  <a:lnTo>
                    <a:pt x="5898" y="309"/>
                  </a:lnTo>
                  <a:lnTo>
                    <a:pt x="5537" y="221"/>
                  </a:lnTo>
                  <a:lnTo>
                    <a:pt x="5290" y="71"/>
                  </a:lnTo>
                  <a:lnTo>
                    <a:pt x="5113" y="124"/>
                  </a:lnTo>
                  <a:lnTo>
                    <a:pt x="4911" y="397"/>
                  </a:lnTo>
                  <a:lnTo>
                    <a:pt x="4576" y="503"/>
                  </a:lnTo>
                  <a:lnTo>
                    <a:pt x="3871" y="608"/>
                  </a:lnTo>
                  <a:lnTo>
                    <a:pt x="3509" y="608"/>
                  </a:lnTo>
                  <a:lnTo>
                    <a:pt x="3148" y="520"/>
                  </a:lnTo>
                  <a:lnTo>
                    <a:pt x="2795" y="503"/>
                  </a:lnTo>
                  <a:lnTo>
                    <a:pt x="2610" y="600"/>
                  </a:lnTo>
                  <a:lnTo>
                    <a:pt x="2416" y="653"/>
                  </a:lnTo>
                  <a:lnTo>
                    <a:pt x="2169" y="600"/>
                  </a:lnTo>
                  <a:lnTo>
                    <a:pt x="1931" y="653"/>
                  </a:lnTo>
                  <a:lnTo>
                    <a:pt x="1473" y="829"/>
                  </a:lnTo>
                  <a:lnTo>
                    <a:pt x="1341" y="926"/>
                  </a:lnTo>
                  <a:lnTo>
                    <a:pt x="1261" y="1093"/>
                  </a:lnTo>
                  <a:lnTo>
                    <a:pt x="1147" y="1146"/>
                  </a:lnTo>
                  <a:lnTo>
                    <a:pt x="1015" y="1146"/>
                  </a:lnTo>
                  <a:lnTo>
                    <a:pt x="944" y="1234"/>
                  </a:lnTo>
                  <a:lnTo>
                    <a:pt x="891" y="1340"/>
                  </a:lnTo>
                  <a:lnTo>
                    <a:pt x="829" y="1367"/>
                  </a:lnTo>
                  <a:lnTo>
                    <a:pt x="556" y="1472"/>
                  </a:lnTo>
                  <a:lnTo>
                    <a:pt x="486" y="1657"/>
                  </a:lnTo>
                  <a:lnTo>
                    <a:pt x="547" y="1843"/>
                  </a:lnTo>
                  <a:lnTo>
                    <a:pt x="609" y="1957"/>
                  </a:lnTo>
                  <a:lnTo>
                    <a:pt x="486" y="2036"/>
                  </a:lnTo>
                  <a:lnTo>
                    <a:pt x="362" y="2063"/>
                  </a:lnTo>
                  <a:lnTo>
                    <a:pt x="248" y="2125"/>
                  </a:lnTo>
                  <a:lnTo>
                    <a:pt x="186" y="2468"/>
                  </a:lnTo>
                  <a:lnTo>
                    <a:pt x="80" y="2521"/>
                  </a:lnTo>
                  <a:lnTo>
                    <a:pt x="54" y="2521"/>
                  </a:lnTo>
                  <a:lnTo>
                    <a:pt x="18" y="2557"/>
                  </a:lnTo>
                  <a:lnTo>
                    <a:pt x="1" y="2698"/>
                  </a:lnTo>
                  <a:lnTo>
                    <a:pt x="18" y="2839"/>
                  </a:lnTo>
                  <a:lnTo>
                    <a:pt x="63" y="2865"/>
                  </a:lnTo>
                  <a:lnTo>
                    <a:pt x="98" y="2900"/>
                  </a:lnTo>
                  <a:lnTo>
                    <a:pt x="133" y="3271"/>
                  </a:lnTo>
                  <a:lnTo>
                    <a:pt x="318" y="3544"/>
                  </a:lnTo>
                  <a:lnTo>
                    <a:pt x="318" y="3711"/>
                  </a:lnTo>
                  <a:lnTo>
                    <a:pt x="248" y="3870"/>
                  </a:lnTo>
                  <a:lnTo>
                    <a:pt x="248" y="4037"/>
                  </a:lnTo>
                  <a:lnTo>
                    <a:pt x="450" y="4231"/>
                  </a:lnTo>
                  <a:lnTo>
                    <a:pt x="583" y="4231"/>
                  </a:lnTo>
                  <a:lnTo>
                    <a:pt x="944" y="4134"/>
                  </a:lnTo>
                  <a:lnTo>
                    <a:pt x="1305" y="4108"/>
                  </a:lnTo>
                  <a:lnTo>
                    <a:pt x="1508" y="4196"/>
                  </a:lnTo>
                  <a:lnTo>
                    <a:pt x="1552" y="4187"/>
                  </a:lnTo>
                  <a:lnTo>
                    <a:pt x="1640" y="4170"/>
                  </a:lnTo>
                  <a:lnTo>
                    <a:pt x="1693" y="4170"/>
                  </a:lnTo>
                  <a:lnTo>
                    <a:pt x="1834" y="4258"/>
                  </a:lnTo>
                  <a:lnTo>
                    <a:pt x="1984" y="4275"/>
                  </a:lnTo>
                  <a:lnTo>
                    <a:pt x="2169" y="4328"/>
                  </a:lnTo>
                  <a:lnTo>
                    <a:pt x="2363" y="4346"/>
                  </a:lnTo>
                  <a:lnTo>
                    <a:pt x="2575" y="4443"/>
                  </a:lnTo>
                  <a:lnTo>
                    <a:pt x="2778" y="4584"/>
                  </a:lnTo>
                  <a:lnTo>
                    <a:pt x="2980" y="4646"/>
                  </a:lnTo>
                  <a:lnTo>
                    <a:pt x="3068" y="4716"/>
                  </a:lnTo>
                  <a:lnTo>
                    <a:pt x="3174" y="4848"/>
                  </a:lnTo>
                  <a:lnTo>
                    <a:pt x="3209" y="4840"/>
                  </a:lnTo>
                  <a:lnTo>
                    <a:pt x="3298" y="4813"/>
                  </a:lnTo>
                  <a:lnTo>
                    <a:pt x="3403" y="4875"/>
                  </a:lnTo>
                  <a:lnTo>
                    <a:pt x="3518" y="4910"/>
                  </a:lnTo>
                  <a:lnTo>
                    <a:pt x="3668" y="4813"/>
                  </a:lnTo>
                  <a:lnTo>
                    <a:pt x="3782" y="4655"/>
                  </a:lnTo>
                  <a:lnTo>
                    <a:pt x="3941" y="4619"/>
                  </a:lnTo>
                  <a:lnTo>
                    <a:pt x="4109" y="4637"/>
                  </a:lnTo>
                  <a:lnTo>
                    <a:pt x="4558" y="4602"/>
                  </a:lnTo>
                  <a:lnTo>
                    <a:pt x="4990" y="4434"/>
                  </a:lnTo>
                  <a:lnTo>
                    <a:pt x="5272" y="4117"/>
                  </a:lnTo>
                  <a:lnTo>
                    <a:pt x="5396" y="3861"/>
                  </a:lnTo>
                  <a:lnTo>
                    <a:pt x="5466" y="3588"/>
                  </a:lnTo>
                  <a:lnTo>
                    <a:pt x="5440" y="3376"/>
                  </a:lnTo>
                  <a:lnTo>
                    <a:pt x="5396" y="3147"/>
                  </a:lnTo>
                  <a:lnTo>
                    <a:pt x="5457" y="3050"/>
                  </a:lnTo>
                  <a:lnTo>
                    <a:pt x="5545" y="2988"/>
                  </a:lnTo>
                  <a:lnTo>
                    <a:pt x="5775" y="2936"/>
                  </a:lnTo>
                  <a:lnTo>
                    <a:pt x="6021" y="2918"/>
                  </a:lnTo>
                  <a:lnTo>
                    <a:pt x="6101" y="2733"/>
                  </a:lnTo>
                  <a:lnTo>
                    <a:pt x="6136" y="2530"/>
                  </a:lnTo>
                  <a:lnTo>
                    <a:pt x="6039" y="2081"/>
                  </a:lnTo>
                  <a:lnTo>
                    <a:pt x="6065" y="1922"/>
                  </a:lnTo>
                  <a:lnTo>
                    <a:pt x="6118" y="1772"/>
                  </a:lnTo>
                  <a:lnTo>
                    <a:pt x="6145" y="1472"/>
                  </a:lnTo>
                  <a:lnTo>
                    <a:pt x="6215" y="1358"/>
                  </a:lnTo>
                  <a:lnTo>
                    <a:pt x="6445" y="1287"/>
                  </a:lnTo>
                  <a:lnTo>
                    <a:pt x="6771" y="1305"/>
                  </a:lnTo>
                  <a:lnTo>
                    <a:pt x="6832" y="1278"/>
                  </a:lnTo>
                  <a:lnTo>
                    <a:pt x="6876" y="1173"/>
                  </a:lnTo>
                  <a:lnTo>
                    <a:pt x="6921" y="1058"/>
                  </a:lnTo>
                  <a:lnTo>
                    <a:pt x="7123" y="970"/>
                  </a:lnTo>
                  <a:lnTo>
                    <a:pt x="7352" y="979"/>
                  </a:lnTo>
                  <a:lnTo>
                    <a:pt x="7573" y="820"/>
                  </a:lnTo>
                  <a:lnTo>
                    <a:pt x="7696" y="556"/>
                  </a:lnTo>
                  <a:lnTo>
                    <a:pt x="7776" y="494"/>
                  </a:lnTo>
                  <a:lnTo>
                    <a:pt x="7996" y="529"/>
                  </a:lnTo>
                  <a:lnTo>
                    <a:pt x="8111" y="538"/>
                  </a:lnTo>
                  <a:lnTo>
                    <a:pt x="8349" y="423"/>
                  </a:lnTo>
                  <a:lnTo>
                    <a:pt x="8525" y="212"/>
                  </a:lnTo>
                  <a:lnTo>
                    <a:pt x="8146" y="194"/>
                  </a:lnTo>
                  <a:lnTo>
                    <a:pt x="7776" y="132"/>
                  </a:lnTo>
                  <a:lnTo>
                    <a:pt x="7079" y="115"/>
                  </a:lnTo>
                  <a:lnTo>
                    <a:pt x="6991" y="62"/>
                  </a:lnTo>
                  <a:lnTo>
                    <a:pt x="6815" y="9"/>
                  </a:lnTo>
                  <a:lnTo>
                    <a:pt x="6771"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3154;p54">
              <a:extLst>
                <a:ext uri="{FF2B5EF4-FFF2-40B4-BE49-F238E27FC236}">
                  <a16:creationId xmlns:a16="http://schemas.microsoft.com/office/drawing/2014/main" id="{2DE4AE44-FACD-2596-789E-A75D60CE33F8}"/>
                </a:ext>
              </a:extLst>
            </p:cNvPr>
            <p:cNvSpPr/>
            <p:nvPr/>
          </p:nvSpPr>
          <p:spPr>
            <a:xfrm>
              <a:off x="3692120" y="2464192"/>
              <a:ext cx="679360" cy="641752"/>
            </a:xfrm>
            <a:custGeom>
              <a:avLst/>
              <a:gdLst/>
              <a:ahLst/>
              <a:cxnLst/>
              <a:rect l="l" t="t" r="r" b="b"/>
              <a:pathLst>
                <a:path w="9556" h="9027" extrusionOk="0">
                  <a:moveTo>
                    <a:pt x="7396" y="0"/>
                  </a:moveTo>
                  <a:lnTo>
                    <a:pt x="7202" y="53"/>
                  </a:lnTo>
                  <a:lnTo>
                    <a:pt x="7044" y="194"/>
                  </a:lnTo>
                  <a:lnTo>
                    <a:pt x="6876" y="309"/>
                  </a:lnTo>
                  <a:lnTo>
                    <a:pt x="6700" y="353"/>
                  </a:lnTo>
                  <a:lnTo>
                    <a:pt x="6365" y="608"/>
                  </a:lnTo>
                  <a:lnTo>
                    <a:pt x="6021" y="758"/>
                  </a:lnTo>
                  <a:lnTo>
                    <a:pt x="5818" y="529"/>
                  </a:lnTo>
                  <a:lnTo>
                    <a:pt x="5589" y="423"/>
                  </a:lnTo>
                  <a:lnTo>
                    <a:pt x="5422" y="555"/>
                  </a:lnTo>
                  <a:lnTo>
                    <a:pt x="5131" y="838"/>
                  </a:lnTo>
                  <a:lnTo>
                    <a:pt x="4822" y="1049"/>
                  </a:lnTo>
                  <a:lnTo>
                    <a:pt x="4664" y="1128"/>
                  </a:lnTo>
                  <a:lnTo>
                    <a:pt x="4443" y="1164"/>
                  </a:lnTo>
                  <a:lnTo>
                    <a:pt x="4232" y="1049"/>
                  </a:lnTo>
                  <a:lnTo>
                    <a:pt x="4161" y="987"/>
                  </a:lnTo>
                  <a:lnTo>
                    <a:pt x="4082" y="943"/>
                  </a:lnTo>
                  <a:lnTo>
                    <a:pt x="3976" y="811"/>
                  </a:lnTo>
                  <a:lnTo>
                    <a:pt x="3906" y="617"/>
                  </a:lnTo>
                  <a:lnTo>
                    <a:pt x="3773" y="494"/>
                  </a:lnTo>
                  <a:lnTo>
                    <a:pt x="3615" y="450"/>
                  </a:lnTo>
                  <a:lnTo>
                    <a:pt x="3289" y="952"/>
                  </a:lnTo>
                  <a:lnTo>
                    <a:pt x="2733" y="1199"/>
                  </a:lnTo>
                  <a:lnTo>
                    <a:pt x="2645" y="1446"/>
                  </a:lnTo>
                  <a:lnTo>
                    <a:pt x="2575" y="1710"/>
                  </a:lnTo>
                  <a:lnTo>
                    <a:pt x="2451" y="1966"/>
                  </a:lnTo>
                  <a:lnTo>
                    <a:pt x="2328" y="2363"/>
                  </a:lnTo>
                  <a:lnTo>
                    <a:pt x="2134" y="2680"/>
                  </a:lnTo>
                  <a:lnTo>
                    <a:pt x="2002" y="2847"/>
                  </a:lnTo>
                  <a:lnTo>
                    <a:pt x="1041" y="3429"/>
                  </a:lnTo>
                  <a:lnTo>
                    <a:pt x="1023" y="3676"/>
                  </a:lnTo>
                  <a:lnTo>
                    <a:pt x="953" y="3896"/>
                  </a:lnTo>
                  <a:lnTo>
                    <a:pt x="671" y="4178"/>
                  </a:lnTo>
                  <a:lnTo>
                    <a:pt x="600" y="4408"/>
                  </a:lnTo>
                  <a:lnTo>
                    <a:pt x="512" y="4654"/>
                  </a:lnTo>
                  <a:lnTo>
                    <a:pt x="406" y="4787"/>
                  </a:lnTo>
                  <a:lnTo>
                    <a:pt x="415" y="4954"/>
                  </a:lnTo>
                  <a:lnTo>
                    <a:pt x="1058" y="5104"/>
                  </a:lnTo>
                  <a:lnTo>
                    <a:pt x="1552" y="5941"/>
                  </a:lnTo>
                  <a:lnTo>
                    <a:pt x="1675" y="6091"/>
                  </a:lnTo>
                  <a:lnTo>
                    <a:pt x="1755" y="6479"/>
                  </a:lnTo>
                  <a:lnTo>
                    <a:pt x="1623" y="6629"/>
                  </a:lnTo>
                  <a:lnTo>
                    <a:pt x="371" y="7563"/>
                  </a:lnTo>
                  <a:lnTo>
                    <a:pt x="230" y="7643"/>
                  </a:lnTo>
                  <a:lnTo>
                    <a:pt x="80" y="7704"/>
                  </a:lnTo>
                  <a:lnTo>
                    <a:pt x="9" y="7872"/>
                  </a:lnTo>
                  <a:lnTo>
                    <a:pt x="1" y="8471"/>
                  </a:lnTo>
                  <a:lnTo>
                    <a:pt x="115" y="8515"/>
                  </a:lnTo>
                  <a:lnTo>
                    <a:pt x="327" y="8515"/>
                  </a:lnTo>
                  <a:lnTo>
                    <a:pt x="388" y="8542"/>
                  </a:lnTo>
                  <a:lnTo>
                    <a:pt x="512" y="8604"/>
                  </a:lnTo>
                  <a:lnTo>
                    <a:pt x="582" y="8621"/>
                  </a:lnTo>
                  <a:lnTo>
                    <a:pt x="635" y="8665"/>
                  </a:lnTo>
                  <a:lnTo>
                    <a:pt x="847" y="9027"/>
                  </a:lnTo>
                  <a:lnTo>
                    <a:pt x="1217" y="8894"/>
                  </a:lnTo>
                  <a:lnTo>
                    <a:pt x="1631" y="8921"/>
                  </a:lnTo>
                  <a:lnTo>
                    <a:pt x="1993" y="8912"/>
                  </a:lnTo>
                  <a:lnTo>
                    <a:pt x="2328" y="8727"/>
                  </a:lnTo>
                  <a:lnTo>
                    <a:pt x="2478" y="8445"/>
                  </a:lnTo>
                  <a:lnTo>
                    <a:pt x="2539" y="7837"/>
                  </a:lnTo>
                  <a:lnTo>
                    <a:pt x="2636" y="7652"/>
                  </a:lnTo>
                  <a:lnTo>
                    <a:pt x="2954" y="7466"/>
                  </a:lnTo>
                  <a:lnTo>
                    <a:pt x="3368" y="7052"/>
                  </a:lnTo>
                  <a:lnTo>
                    <a:pt x="3553" y="6946"/>
                  </a:lnTo>
                  <a:lnTo>
                    <a:pt x="3791" y="6726"/>
                  </a:lnTo>
                  <a:lnTo>
                    <a:pt x="4020" y="6470"/>
                  </a:lnTo>
                  <a:lnTo>
                    <a:pt x="4188" y="6400"/>
                  </a:lnTo>
                  <a:lnTo>
                    <a:pt x="4373" y="6347"/>
                  </a:lnTo>
                  <a:lnTo>
                    <a:pt x="4637" y="6135"/>
                  </a:lnTo>
                  <a:lnTo>
                    <a:pt x="4734" y="6109"/>
                  </a:lnTo>
                  <a:lnTo>
                    <a:pt x="4831" y="6109"/>
                  </a:lnTo>
                  <a:lnTo>
                    <a:pt x="5184" y="5977"/>
                  </a:lnTo>
                  <a:lnTo>
                    <a:pt x="5483" y="5695"/>
                  </a:lnTo>
                  <a:lnTo>
                    <a:pt x="5766" y="5368"/>
                  </a:lnTo>
                  <a:lnTo>
                    <a:pt x="6339" y="4892"/>
                  </a:lnTo>
                  <a:lnTo>
                    <a:pt x="6568" y="4646"/>
                  </a:lnTo>
                  <a:lnTo>
                    <a:pt x="6665" y="4566"/>
                  </a:lnTo>
                  <a:lnTo>
                    <a:pt x="6770" y="4584"/>
                  </a:lnTo>
                  <a:lnTo>
                    <a:pt x="6867" y="4637"/>
                  </a:lnTo>
                  <a:lnTo>
                    <a:pt x="6956" y="4716"/>
                  </a:lnTo>
                  <a:lnTo>
                    <a:pt x="7158" y="5016"/>
                  </a:lnTo>
                  <a:lnTo>
                    <a:pt x="7264" y="5078"/>
                  </a:lnTo>
                  <a:lnTo>
                    <a:pt x="7379" y="5113"/>
                  </a:lnTo>
                  <a:lnTo>
                    <a:pt x="8198" y="4575"/>
                  </a:lnTo>
                  <a:lnTo>
                    <a:pt x="8551" y="4196"/>
                  </a:lnTo>
                  <a:lnTo>
                    <a:pt x="8957" y="3667"/>
                  </a:lnTo>
                  <a:lnTo>
                    <a:pt x="8974" y="3535"/>
                  </a:lnTo>
                  <a:lnTo>
                    <a:pt x="8957" y="3420"/>
                  </a:lnTo>
                  <a:lnTo>
                    <a:pt x="8948" y="3297"/>
                  </a:lnTo>
                  <a:lnTo>
                    <a:pt x="9018" y="2980"/>
                  </a:lnTo>
                  <a:lnTo>
                    <a:pt x="9159" y="2706"/>
                  </a:lnTo>
                  <a:lnTo>
                    <a:pt x="9512" y="2116"/>
                  </a:lnTo>
                  <a:lnTo>
                    <a:pt x="9556" y="1878"/>
                  </a:lnTo>
                  <a:lnTo>
                    <a:pt x="9468" y="1825"/>
                  </a:lnTo>
                  <a:lnTo>
                    <a:pt x="9327" y="1684"/>
                  </a:lnTo>
                  <a:lnTo>
                    <a:pt x="9353" y="1604"/>
                  </a:lnTo>
                  <a:lnTo>
                    <a:pt x="9380" y="1525"/>
                  </a:lnTo>
                  <a:lnTo>
                    <a:pt x="9433" y="1128"/>
                  </a:lnTo>
                  <a:lnTo>
                    <a:pt x="9256" y="1084"/>
                  </a:lnTo>
                  <a:lnTo>
                    <a:pt x="8895" y="1076"/>
                  </a:lnTo>
                  <a:lnTo>
                    <a:pt x="8304" y="1137"/>
                  </a:lnTo>
                  <a:lnTo>
                    <a:pt x="7952" y="873"/>
                  </a:lnTo>
                  <a:lnTo>
                    <a:pt x="7722" y="344"/>
                  </a:lnTo>
                  <a:lnTo>
                    <a:pt x="7396"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3155;p54">
              <a:extLst>
                <a:ext uri="{FF2B5EF4-FFF2-40B4-BE49-F238E27FC236}">
                  <a16:creationId xmlns:a16="http://schemas.microsoft.com/office/drawing/2014/main" id="{B24BA75E-07BF-DED7-9AC9-E526DB245636}"/>
                </a:ext>
              </a:extLst>
            </p:cNvPr>
            <p:cNvSpPr/>
            <p:nvPr/>
          </p:nvSpPr>
          <p:spPr>
            <a:xfrm>
              <a:off x="4882250" y="2009824"/>
              <a:ext cx="273280" cy="460679"/>
            </a:xfrm>
            <a:custGeom>
              <a:avLst/>
              <a:gdLst/>
              <a:ahLst/>
              <a:cxnLst/>
              <a:rect l="l" t="t" r="r" b="b"/>
              <a:pathLst>
                <a:path w="3844" h="6480" extrusionOk="0">
                  <a:moveTo>
                    <a:pt x="1499" y="0"/>
                  </a:moveTo>
                  <a:lnTo>
                    <a:pt x="1437" y="494"/>
                  </a:lnTo>
                  <a:lnTo>
                    <a:pt x="1375" y="846"/>
                  </a:lnTo>
                  <a:lnTo>
                    <a:pt x="1375" y="1252"/>
                  </a:lnTo>
                  <a:lnTo>
                    <a:pt x="1411" y="1613"/>
                  </a:lnTo>
                  <a:lnTo>
                    <a:pt x="1349" y="1966"/>
                  </a:lnTo>
                  <a:lnTo>
                    <a:pt x="811" y="2028"/>
                  </a:lnTo>
                  <a:lnTo>
                    <a:pt x="467" y="2178"/>
                  </a:lnTo>
                  <a:lnTo>
                    <a:pt x="256" y="2689"/>
                  </a:lnTo>
                  <a:lnTo>
                    <a:pt x="141" y="3200"/>
                  </a:lnTo>
                  <a:lnTo>
                    <a:pt x="0" y="3711"/>
                  </a:lnTo>
                  <a:lnTo>
                    <a:pt x="124" y="4223"/>
                  </a:lnTo>
                  <a:lnTo>
                    <a:pt x="485" y="4672"/>
                  </a:lnTo>
                  <a:lnTo>
                    <a:pt x="617" y="4901"/>
                  </a:lnTo>
                  <a:lnTo>
                    <a:pt x="802" y="5756"/>
                  </a:lnTo>
                  <a:lnTo>
                    <a:pt x="1173" y="6479"/>
                  </a:lnTo>
                  <a:lnTo>
                    <a:pt x="1693" y="5571"/>
                  </a:lnTo>
                  <a:lnTo>
                    <a:pt x="2442" y="4954"/>
                  </a:lnTo>
                  <a:lnTo>
                    <a:pt x="2759" y="4452"/>
                  </a:lnTo>
                  <a:lnTo>
                    <a:pt x="2971" y="3835"/>
                  </a:lnTo>
                  <a:lnTo>
                    <a:pt x="3720" y="3112"/>
                  </a:lnTo>
                  <a:lnTo>
                    <a:pt x="3667" y="2997"/>
                  </a:lnTo>
                  <a:lnTo>
                    <a:pt x="3685" y="2865"/>
                  </a:lnTo>
                  <a:lnTo>
                    <a:pt x="3658" y="2742"/>
                  </a:lnTo>
                  <a:lnTo>
                    <a:pt x="3623" y="2618"/>
                  </a:lnTo>
                  <a:lnTo>
                    <a:pt x="3614" y="2310"/>
                  </a:lnTo>
                  <a:lnTo>
                    <a:pt x="3738" y="2063"/>
                  </a:lnTo>
                  <a:lnTo>
                    <a:pt x="3826" y="1913"/>
                  </a:lnTo>
                  <a:lnTo>
                    <a:pt x="3843" y="1719"/>
                  </a:lnTo>
                  <a:lnTo>
                    <a:pt x="3782" y="1543"/>
                  </a:lnTo>
                  <a:lnTo>
                    <a:pt x="3782" y="1472"/>
                  </a:lnTo>
                  <a:lnTo>
                    <a:pt x="3764" y="1402"/>
                  </a:lnTo>
                  <a:lnTo>
                    <a:pt x="3685" y="1305"/>
                  </a:lnTo>
                  <a:lnTo>
                    <a:pt x="3570" y="1287"/>
                  </a:lnTo>
                  <a:lnTo>
                    <a:pt x="3456" y="1173"/>
                  </a:lnTo>
                  <a:lnTo>
                    <a:pt x="3262" y="741"/>
                  </a:lnTo>
                  <a:lnTo>
                    <a:pt x="3209" y="450"/>
                  </a:lnTo>
                  <a:lnTo>
                    <a:pt x="2777" y="406"/>
                  </a:lnTo>
                  <a:lnTo>
                    <a:pt x="1499"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3156;p54">
              <a:extLst>
                <a:ext uri="{FF2B5EF4-FFF2-40B4-BE49-F238E27FC236}">
                  <a16:creationId xmlns:a16="http://schemas.microsoft.com/office/drawing/2014/main" id="{FA7D54EC-3148-78D3-AA8A-8B7AC0F1EE26}"/>
                </a:ext>
              </a:extLst>
            </p:cNvPr>
            <p:cNvSpPr/>
            <p:nvPr/>
          </p:nvSpPr>
          <p:spPr>
            <a:xfrm>
              <a:off x="5854261" y="2742387"/>
              <a:ext cx="515136" cy="582319"/>
            </a:xfrm>
            <a:custGeom>
              <a:avLst/>
              <a:gdLst/>
              <a:ahLst/>
              <a:cxnLst/>
              <a:rect l="l" t="t" r="r" b="b"/>
              <a:pathLst>
                <a:path w="7246" h="8191" extrusionOk="0">
                  <a:moveTo>
                    <a:pt x="3059" y="1"/>
                  </a:moveTo>
                  <a:lnTo>
                    <a:pt x="2451" y="151"/>
                  </a:lnTo>
                  <a:lnTo>
                    <a:pt x="2292" y="248"/>
                  </a:lnTo>
                  <a:lnTo>
                    <a:pt x="2204" y="433"/>
                  </a:lnTo>
                  <a:lnTo>
                    <a:pt x="2142" y="741"/>
                  </a:lnTo>
                  <a:lnTo>
                    <a:pt x="1992" y="988"/>
                  </a:lnTo>
                  <a:lnTo>
                    <a:pt x="1640" y="1403"/>
                  </a:lnTo>
                  <a:lnTo>
                    <a:pt x="1490" y="1614"/>
                  </a:lnTo>
                  <a:lnTo>
                    <a:pt x="1322" y="1790"/>
                  </a:lnTo>
                  <a:lnTo>
                    <a:pt x="1067" y="2037"/>
                  </a:lnTo>
                  <a:lnTo>
                    <a:pt x="917" y="2407"/>
                  </a:lnTo>
                  <a:lnTo>
                    <a:pt x="688" y="3448"/>
                  </a:lnTo>
                  <a:lnTo>
                    <a:pt x="555" y="3827"/>
                  </a:lnTo>
                  <a:lnTo>
                    <a:pt x="494" y="4215"/>
                  </a:lnTo>
                  <a:lnTo>
                    <a:pt x="485" y="4400"/>
                  </a:lnTo>
                  <a:lnTo>
                    <a:pt x="520" y="4673"/>
                  </a:lnTo>
                  <a:lnTo>
                    <a:pt x="661" y="5034"/>
                  </a:lnTo>
                  <a:lnTo>
                    <a:pt x="652" y="5272"/>
                  </a:lnTo>
                  <a:lnTo>
                    <a:pt x="494" y="5422"/>
                  </a:lnTo>
                  <a:lnTo>
                    <a:pt x="406" y="5475"/>
                  </a:lnTo>
                  <a:lnTo>
                    <a:pt x="282" y="5643"/>
                  </a:lnTo>
                  <a:lnTo>
                    <a:pt x="273" y="6101"/>
                  </a:lnTo>
                  <a:lnTo>
                    <a:pt x="176" y="6268"/>
                  </a:lnTo>
                  <a:lnTo>
                    <a:pt x="44" y="6418"/>
                  </a:lnTo>
                  <a:lnTo>
                    <a:pt x="0" y="6595"/>
                  </a:lnTo>
                  <a:lnTo>
                    <a:pt x="62" y="6753"/>
                  </a:lnTo>
                  <a:lnTo>
                    <a:pt x="123" y="6824"/>
                  </a:lnTo>
                  <a:lnTo>
                    <a:pt x="176" y="6894"/>
                  </a:lnTo>
                  <a:lnTo>
                    <a:pt x="194" y="7282"/>
                  </a:lnTo>
                  <a:lnTo>
                    <a:pt x="388" y="7511"/>
                  </a:lnTo>
                  <a:lnTo>
                    <a:pt x="432" y="7511"/>
                  </a:lnTo>
                  <a:lnTo>
                    <a:pt x="458" y="7450"/>
                  </a:lnTo>
                  <a:lnTo>
                    <a:pt x="511" y="7423"/>
                  </a:lnTo>
                  <a:lnTo>
                    <a:pt x="564" y="7414"/>
                  </a:lnTo>
                  <a:lnTo>
                    <a:pt x="626" y="7388"/>
                  </a:lnTo>
                  <a:lnTo>
                    <a:pt x="705" y="7467"/>
                  </a:lnTo>
                  <a:lnTo>
                    <a:pt x="855" y="7441"/>
                  </a:lnTo>
                  <a:lnTo>
                    <a:pt x="1031" y="7379"/>
                  </a:lnTo>
                  <a:lnTo>
                    <a:pt x="1164" y="7353"/>
                  </a:lnTo>
                  <a:lnTo>
                    <a:pt x="1534" y="7273"/>
                  </a:lnTo>
                  <a:lnTo>
                    <a:pt x="1710" y="7317"/>
                  </a:lnTo>
                  <a:lnTo>
                    <a:pt x="1878" y="7432"/>
                  </a:lnTo>
                  <a:lnTo>
                    <a:pt x="2124" y="7670"/>
                  </a:lnTo>
                  <a:lnTo>
                    <a:pt x="2327" y="7970"/>
                  </a:lnTo>
                  <a:lnTo>
                    <a:pt x="2891" y="7705"/>
                  </a:lnTo>
                  <a:lnTo>
                    <a:pt x="3112" y="7406"/>
                  </a:lnTo>
                  <a:lnTo>
                    <a:pt x="3332" y="7555"/>
                  </a:lnTo>
                  <a:lnTo>
                    <a:pt x="3464" y="8075"/>
                  </a:lnTo>
                  <a:lnTo>
                    <a:pt x="3817" y="8190"/>
                  </a:lnTo>
                  <a:lnTo>
                    <a:pt x="4240" y="7741"/>
                  </a:lnTo>
                  <a:lnTo>
                    <a:pt x="4504" y="7617"/>
                  </a:lnTo>
                  <a:lnTo>
                    <a:pt x="5077" y="7511"/>
                  </a:lnTo>
                  <a:lnTo>
                    <a:pt x="5703" y="7291"/>
                  </a:lnTo>
                  <a:lnTo>
                    <a:pt x="5994" y="7256"/>
                  </a:lnTo>
                  <a:lnTo>
                    <a:pt x="6285" y="7265"/>
                  </a:lnTo>
                  <a:lnTo>
                    <a:pt x="6479" y="7132"/>
                  </a:lnTo>
                  <a:lnTo>
                    <a:pt x="6541" y="6868"/>
                  </a:lnTo>
                  <a:lnTo>
                    <a:pt x="6505" y="6692"/>
                  </a:lnTo>
                  <a:lnTo>
                    <a:pt x="6523" y="6524"/>
                  </a:lnTo>
                  <a:lnTo>
                    <a:pt x="6021" y="6207"/>
                  </a:lnTo>
                  <a:lnTo>
                    <a:pt x="5739" y="6110"/>
                  </a:lnTo>
                  <a:lnTo>
                    <a:pt x="5580" y="5836"/>
                  </a:lnTo>
                  <a:lnTo>
                    <a:pt x="5580" y="5493"/>
                  </a:lnTo>
                  <a:lnTo>
                    <a:pt x="5765" y="5264"/>
                  </a:lnTo>
                  <a:lnTo>
                    <a:pt x="6021" y="5034"/>
                  </a:lnTo>
                  <a:lnTo>
                    <a:pt x="6241" y="4752"/>
                  </a:lnTo>
                  <a:lnTo>
                    <a:pt x="6435" y="4408"/>
                  </a:lnTo>
                  <a:lnTo>
                    <a:pt x="6673" y="3545"/>
                  </a:lnTo>
                  <a:lnTo>
                    <a:pt x="6779" y="3359"/>
                  </a:lnTo>
                  <a:lnTo>
                    <a:pt x="6849" y="3289"/>
                  </a:lnTo>
                  <a:lnTo>
                    <a:pt x="6937" y="3148"/>
                  </a:lnTo>
                  <a:lnTo>
                    <a:pt x="6964" y="2972"/>
                  </a:lnTo>
                  <a:lnTo>
                    <a:pt x="7219" y="2302"/>
                  </a:lnTo>
                  <a:lnTo>
                    <a:pt x="7246" y="2055"/>
                  </a:lnTo>
                  <a:lnTo>
                    <a:pt x="7026" y="1658"/>
                  </a:lnTo>
                  <a:lnTo>
                    <a:pt x="6655" y="1491"/>
                  </a:lnTo>
                  <a:lnTo>
                    <a:pt x="6347" y="1394"/>
                  </a:lnTo>
                  <a:lnTo>
                    <a:pt x="5756" y="1041"/>
                  </a:lnTo>
                  <a:lnTo>
                    <a:pt x="5060" y="891"/>
                  </a:lnTo>
                  <a:lnTo>
                    <a:pt x="4972" y="900"/>
                  </a:lnTo>
                  <a:lnTo>
                    <a:pt x="4804" y="944"/>
                  </a:lnTo>
                  <a:lnTo>
                    <a:pt x="4716" y="935"/>
                  </a:lnTo>
                  <a:lnTo>
                    <a:pt x="4672" y="592"/>
                  </a:lnTo>
                  <a:lnTo>
                    <a:pt x="4936" y="133"/>
                  </a:lnTo>
                  <a:lnTo>
                    <a:pt x="3896" y="221"/>
                  </a:lnTo>
                  <a:lnTo>
                    <a:pt x="3773" y="168"/>
                  </a:lnTo>
                  <a:lnTo>
                    <a:pt x="3658" y="89"/>
                  </a:lnTo>
                  <a:lnTo>
                    <a:pt x="3059"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6" name="Google Shape;3157;p54">
              <a:extLst>
                <a:ext uri="{FF2B5EF4-FFF2-40B4-BE49-F238E27FC236}">
                  <a16:creationId xmlns:a16="http://schemas.microsoft.com/office/drawing/2014/main" id="{664A08C3-ECC3-97D2-1563-F9CAAFA2345B}"/>
                </a:ext>
              </a:extLst>
            </p:cNvPr>
            <p:cNvSpPr/>
            <p:nvPr/>
          </p:nvSpPr>
          <p:spPr>
            <a:xfrm>
              <a:off x="7484896" y="2374541"/>
              <a:ext cx="487623" cy="406151"/>
            </a:xfrm>
            <a:custGeom>
              <a:avLst/>
              <a:gdLst/>
              <a:ahLst/>
              <a:cxnLst/>
              <a:rect l="l" t="t" r="r" b="b"/>
              <a:pathLst>
                <a:path w="6859" h="5713" extrusionOk="0">
                  <a:moveTo>
                    <a:pt x="5880" y="1"/>
                  </a:moveTo>
                  <a:lnTo>
                    <a:pt x="5783" y="36"/>
                  </a:lnTo>
                  <a:lnTo>
                    <a:pt x="5607" y="62"/>
                  </a:lnTo>
                  <a:lnTo>
                    <a:pt x="5439" y="71"/>
                  </a:lnTo>
                  <a:lnTo>
                    <a:pt x="4796" y="388"/>
                  </a:lnTo>
                  <a:lnTo>
                    <a:pt x="4708" y="662"/>
                  </a:lnTo>
                  <a:lnTo>
                    <a:pt x="4734" y="935"/>
                  </a:lnTo>
                  <a:lnTo>
                    <a:pt x="4602" y="1155"/>
                  </a:lnTo>
                  <a:lnTo>
                    <a:pt x="4276" y="1358"/>
                  </a:lnTo>
                  <a:lnTo>
                    <a:pt x="4187" y="1455"/>
                  </a:lnTo>
                  <a:lnTo>
                    <a:pt x="4046" y="1587"/>
                  </a:lnTo>
                  <a:lnTo>
                    <a:pt x="3482" y="1684"/>
                  </a:lnTo>
                  <a:lnTo>
                    <a:pt x="3288" y="1799"/>
                  </a:lnTo>
                  <a:lnTo>
                    <a:pt x="3112" y="1931"/>
                  </a:lnTo>
                  <a:lnTo>
                    <a:pt x="2707" y="1922"/>
                  </a:lnTo>
                  <a:lnTo>
                    <a:pt x="2310" y="1755"/>
                  </a:lnTo>
                  <a:lnTo>
                    <a:pt x="2204" y="1667"/>
                  </a:lnTo>
                  <a:lnTo>
                    <a:pt x="1931" y="1279"/>
                  </a:lnTo>
                  <a:lnTo>
                    <a:pt x="1481" y="829"/>
                  </a:lnTo>
                  <a:lnTo>
                    <a:pt x="1305" y="715"/>
                  </a:lnTo>
                  <a:lnTo>
                    <a:pt x="935" y="626"/>
                  </a:lnTo>
                  <a:lnTo>
                    <a:pt x="194" y="759"/>
                  </a:lnTo>
                  <a:lnTo>
                    <a:pt x="62" y="988"/>
                  </a:lnTo>
                  <a:lnTo>
                    <a:pt x="36" y="1120"/>
                  </a:lnTo>
                  <a:lnTo>
                    <a:pt x="106" y="1296"/>
                  </a:lnTo>
                  <a:lnTo>
                    <a:pt x="133" y="1349"/>
                  </a:lnTo>
                  <a:lnTo>
                    <a:pt x="177" y="1464"/>
                  </a:lnTo>
                  <a:lnTo>
                    <a:pt x="177" y="1552"/>
                  </a:lnTo>
                  <a:lnTo>
                    <a:pt x="168" y="1737"/>
                  </a:lnTo>
                  <a:lnTo>
                    <a:pt x="274" y="1922"/>
                  </a:lnTo>
                  <a:lnTo>
                    <a:pt x="362" y="2019"/>
                  </a:lnTo>
                  <a:lnTo>
                    <a:pt x="494" y="2248"/>
                  </a:lnTo>
                  <a:lnTo>
                    <a:pt x="520" y="2513"/>
                  </a:lnTo>
                  <a:lnTo>
                    <a:pt x="468" y="2751"/>
                  </a:lnTo>
                  <a:lnTo>
                    <a:pt x="141" y="3148"/>
                  </a:lnTo>
                  <a:lnTo>
                    <a:pt x="0" y="3615"/>
                  </a:lnTo>
                  <a:lnTo>
                    <a:pt x="106" y="3958"/>
                  </a:lnTo>
                  <a:lnTo>
                    <a:pt x="203" y="4091"/>
                  </a:lnTo>
                  <a:lnTo>
                    <a:pt x="256" y="4117"/>
                  </a:lnTo>
                  <a:lnTo>
                    <a:pt x="353" y="4196"/>
                  </a:lnTo>
                  <a:lnTo>
                    <a:pt x="415" y="4338"/>
                  </a:lnTo>
                  <a:lnTo>
                    <a:pt x="441" y="4496"/>
                  </a:lnTo>
                  <a:lnTo>
                    <a:pt x="679" y="4805"/>
                  </a:lnTo>
                  <a:lnTo>
                    <a:pt x="996" y="5034"/>
                  </a:lnTo>
                  <a:lnTo>
                    <a:pt x="1049" y="5272"/>
                  </a:lnTo>
                  <a:lnTo>
                    <a:pt x="996" y="5510"/>
                  </a:lnTo>
                  <a:lnTo>
                    <a:pt x="1049" y="5669"/>
                  </a:lnTo>
                  <a:lnTo>
                    <a:pt x="1190" y="5713"/>
                  </a:lnTo>
                  <a:lnTo>
                    <a:pt x="1446" y="5633"/>
                  </a:lnTo>
                  <a:lnTo>
                    <a:pt x="1702" y="5598"/>
                  </a:lnTo>
                  <a:lnTo>
                    <a:pt x="1755" y="5519"/>
                  </a:lnTo>
                  <a:lnTo>
                    <a:pt x="2469" y="5245"/>
                  </a:lnTo>
                  <a:lnTo>
                    <a:pt x="3262" y="5307"/>
                  </a:lnTo>
                  <a:lnTo>
                    <a:pt x="3588" y="5122"/>
                  </a:lnTo>
                  <a:lnTo>
                    <a:pt x="3861" y="4814"/>
                  </a:lnTo>
                  <a:lnTo>
                    <a:pt x="4055" y="4655"/>
                  </a:lnTo>
                  <a:lnTo>
                    <a:pt x="4020" y="4399"/>
                  </a:lnTo>
                  <a:lnTo>
                    <a:pt x="3879" y="4161"/>
                  </a:lnTo>
                  <a:lnTo>
                    <a:pt x="3958" y="3950"/>
                  </a:lnTo>
                  <a:lnTo>
                    <a:pt x="4373" y="3958"/>
                  </a:lnTo>
                  <a:lnTo>
                    <a:pt x="4470" y="3870"/>
                  </a:lnTo>
                  <a:lnTo>
                    <a:pt x="4522" y="3597"/>
                  </a:lnTo>
                  <a:lnTo>
                    <a:pt x="4619" y="3527"/>
                  </a:lnTo>
                  <a:lnTo>
                    <a:pt x="4813" y="3509"/>
                  </a:lnTo>
                  <a:lnTo>
                    <a:pt x="5007" y="3430"/>
                  </a:lnTo>
                  <a:lnTo>
                    <a:pt x="5148" y="3324"/>
                  </a:lnTo>
                  <a:lnTo>
                    <a:pt x="5316" y="3271"/>
                  </a:lnTo>
                  <a:lnTo>
                    <a:pt x="6074" y="3350"/>
                  </a:lnTo>
                  <a:lnTo>
                    <a:pt x="6453" y="3200"/>
                  </a:lnTo>
                  <a:lnTo>
                    <a:pt x="6788" y="2927"/>
                  </a:lnTo>
                  <a:lnTo>
                    <a:pt x="6770" y="2627"/>
                  </a:lnTo>
                  <a:lnTo>
                    <a:pt x="6806" y="2328"/>
                  </a:lnTo>
                  <a:lnTo>
                    <a:pt x="6858" y="2099"/>
                  </a:lnTo>
                  <a:lnTo>
                    <a:pt x="6858" y="2002"/>
                  </a:lnTo>
                  <a:lnTo>
                    <a:pt x="6832" y="1922"/>
                  </a:lnTo>
                  <a:lnTo>
                    <a:pt x="6850" y="1534"/>
                  </a:lnTo>
                  <a:lnTo>
                    <a:pt x="6691" y="1288"/>
                  </a:lnTo>
                  <a:lnTo>
                    <a:pt x="6568" y="1173"/>
                  </a:lnTo>
                  <a:lnTo>
                    <a:pt x="6488" y="1014"/>
                  </a:lnTo>
                  <a:lnTo>
                    <a:pt x="6347" y="847"/>
                  </a:lnTo>
                  <a:lnTo>
                    <a:pt x="6197" y="715"/>
                  </a:lnTo>
                  <a:lnTo>
                    <a:pt x="6003" y="380"/>
                  </a:lnTo>
                  <a:lnTo>
                    <a:pt x="5880"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3158;p54">
              <a:extLst>
                <a:ext uri="{FF2B5EF4-FFF2-40B4-BE49-F238E27FC236}">
                  <a16:creationId xmlns:a16="http://schemas.microsoft.com/office/drawing/2014/main" id="{D2C6DAA5-41CC-6456-79B6-C839875C9D8E}"/>
                </a:ext>
              </a:extLst>
            </p:cNvPr>
            <p:cNvSpPr/>
            <p:nvPr/>
          </p:nvSpPr>
          <p:spPr>
            <a:xfrm>
              <a:off x="7180965" y="1755375"/>
              <a:ext cx="765240" cy="756495"/>
            </a:xfrm>
            <a:custGeom>
              <a:avLst/>
              <a:gdLst/>
              <a:ahLst/>
              <a:cxnLst/>
              <a:rect l="l" t="t" r="r" b="b"/>
              <a:pathLst>
                <a:path w="10764" h="10641" extrusionOk="0">
                  <a:moveTo>
                    <a:pt x="9450" y="0"/>
                  </a:moveTo>
                  <a:lnTo>
                    <a:pt x="9176" y="27"/>
                  </a:lnTo>
                  <a:lnTo>
                    <a:pt x="8903" y="88"/>
                  </a:lnTo>
                  <a:lnTo>
                    <a:pt x="8577" y="53"/>
                  </a:lnTo>
                  <a:lnTo>
                    <a:pt x="8269" y="80"/>
                  </a:lnTo>
                  <a:lnTo>
                    <a:pt x="8101" y="168"/>
                  </a:lnTo>
                  <a:lnTo>
                    <a:pt x="7960" y="291"/>
                  </a:lnTo>
                  <a:lnTo>
                    <a:pt x="7898" y="529"/>
                  </a:lnTo>
                  <a:lnTo>
                    <a:pt x="7934" y="794"/>
                  </a:lnTo>
                  <a:lnTo>
                    <a:pt x="7819" y="1041"/>
                  </a:lnTo>
                  <a:lnTo>
                    <a:pt x="7634" y="1234"/>
                  </a:lnTo>
                  <a:lnTo>
                    <a:pt x="7537" y="1472"/>
                  </a:lnTo>
                  <a:lnTo>
                    <a:pt x="7537" y="1746"/>
                  </a:lnTo>
                  <a:lnTo>
                    <a:pt x="7325" y="2063"/>
                  </a:lnTo>
                  <a:lnTo>
                    <a:pt x="6920" y="1851"/>
                  </a:lnTo>
                  <a:lnTo>
                    <a:pt x="6558" y="1737"/>
                  </a:lnTo>
                  <a:lnTo>
                    <a:pt x="6197" y="1843"/>
                  </a:lnTo>
                  <a:lnTo>
                    <a:pt x="5800" y="2107"/>
                  </a:lnTo>
                  <a:lnTo>
                    <a:pt x="5377" y="2266"/>
                  </a:lnTo>
                  <a:lnTo>
                    <a:pt x="5060" y="1984"/>
                  </a:lnTo>
                  <a:lnTo>
                    <a:pt x="5122" y="1464"/>
                  </a:lnTo>
                  <a:lnTo>
                    <a:pt x="5245" y="1243"/>
                  </a:lnTo>
                  <a:lnTo>
                    <a:pt x="5210" y="1049"/>
                  </a:lnTo>
                  <a:lnTo>
                    <a:pt x="5042" y="988"/>
                  </a:lnTo>
                  <a:lnTo>
                    <a:pt x="4469" y="899"/>
                  </a:lnTo>
                  <a:lnTo>
                    <a:pt x="4108" y="688"/>
                  </a:lnTo>
                  <a:lnTo>
                    <a:pt x="3747" y="899"/>
                  </a:lnTo>
                  <a:lnTo>
                    <a:pt x="3253" y="1323"/>
                  </a:lnTo>
                  <a:lnTo>
                    <a:pt x="3059" y="1393"/>
                  </a:lnTo>
                  <a:lnTo>
                    <a:pt x="2856" y="1393"/>
                  </a:lnTo>
                  <a:lnTo>
                    <a:pt x="2689" y="1464"/>
                  </a:lnTo>
                  <a:lnTo>
                    <a:pt x="2548" y="1816"/>
                  </a:lnTo>
                  <a:lnTo>
                    <a:pt x="2274" y="1896"/>
                  </a:lnTo>
                  <a:lnTo>
                    <a:pt x="2080" y="1913"/>
                  </a:lnTo>
                  <a:lnTo>
                    <a:pt x="1895" y="1966"/>
                  </a:lnTo>
                  <a:lnTo>
                    <a:pt x="1146" y="2345"/>
                  </a:lnTo>
                  <a:lnTo>
                    <a:pt x="1296" y="2715"/>
                  </a:lnTo>
                  <a:lnTo>
                    <a:pt x="1428" y="3544"/>
                  </a:lnTo>
                  <a:lnTo>
                    <a:pt x="1543" y="3923"/>
                  </a:lnTo>
                  <a:lnTo>
                    <a:pt x="1825" y="4073"/>
                  </a:lnTo>
                  <a:lnTo>
                    <a:pt x="2133" y="4143"/>
                  </a:lnTo>
                  <a:lnTo>
                    <a:pt x="2266" y="4205"/>
                  </a:lnTo>
                  <a:lnTo>
                    <a:pt x="2574" y="4232"/>
                  </a:lnTo>
                  <a:lnTo>
                    <a:pt x="2583" y="4355"/>
                  </a:lnTo>
                  <a:lnTo>
                    <a:pt x="2477" y="4575"/>
                  </a:lnTo>
                  <a:lnTo>
                    <a:pt x="2345" y="4734"/>
                  </a:lnTo>
                  <a:lnTo>
                    <a:pt x="1763" y="4946"/>
                  </a:lnTo>
                  <a:lnTo>
                    <a:pt x="1508" y="5069"/>
                  </a:lnTo>
                  <a:lnTo>
                    <a:pt x="1314" y="5254"/>
                  </a:lnTo>
                  <a:lnTo>
                    <a:pt x="1102" y="5422"/>
                  </a:lnTo>
                  <a:lnTo>
                    <a:pt x="935" y="5448"/>
                  </a:lnTo>
                  <a:lnTo>
                    <a:pt x="176" y="5360"/>
                  </a:lnTo>
                  <a:lnTo>
                    <a:pt x="35" y="5677"/>
                  </a:lnTo>
                  <a:lnTo>
                    <a:pt x="0" y="6021"/>
                  </a:lnTo>
                  <a:lnTo>
                    <a:pt x="247" y="6153"/>
                  </a:lnTo>
                  <a:lnTo>
                    <a:pt x="1040" y="6162"/>
                  </a:lnTo>
                  <a:lnTo>
                    <a:pt x="1349" y="6576"/>
                  </a:lnTo>
                  <a:lnTo>
                    <a:pt x="1340" y="6744"/>
                  </a:lnTo>
                  <a:lnTo>
                    <a:pt x="1358" y="6911"/>
                  </a:lnTo>
                  <a:lnTo>
                    <a:pt x="1419" y="7035"/>
                  </a:lnTo>
                  <a:lnTo>
                    <a:pt x="1508" y="7140"/>
                  </a:lnTo>
                  <a:lnTo>
                    <a:pt x="1684" y="7273"/>
                  </a:lnTo>
                  <a:lnTo>
                    <a:pt x="1878" y="7352"/>
                  </a:lnTo>
                  <a:lnTo>
                    <a:pt x="2028" y="7528"/>
                  </a:lnTo>
                  <a:lnTo>
                    <a:pt x="1922" y="7775"/>
                  </a:lnTo>
                  <a:lnTo>
                    <a:pt x="1763" y="8093"/>
                  </a:lnTo>
                  <a:lnTo>
                    <a:pt x="1746" y="8463"/>
                  </a:lnTo>
                  <a:lnTo>
                    <a:pt x="2160" y="8524"/>
                  </a:lnTo>
                  <a:lnTo>
                    <a:pt x="2574" y="8348"/>
                  </a:lnTo>
                  <a:lnTo>
                    <a:pt x="2706" y="8242"/>
                  </a:lnTo>
                  <a:lnTo>
                    <a:pt x="2839" y="8172"/>
                  </a:lnTo>
                  <a:lnTo>
                    <a:pt x="2988" y="8260"/>
                  </a:lnTo>
                  <a:lnTo>
                    <a:pt x="3438" y="8674"/>
                  </a:lnTo>
                  <a:lnTo>
                    <a:pt x="3782" y="8842"/>
                  </a:lnTo>
                  <a:lnTo>
                    <a:pt x="4064" y="8877"/>
                  </a:lnTo>
                  <a:lnTo>
                    <a:pt x="4267" y="9124"/>
                  </a:lnTo>
                  <a:lnTo>
                    <a:pt x="4469" y="9468"/>
                  </a:lnTo>
                  <a:lnTo>
                    <a:pt x="5210" y="9335"/>
                  </a:lnTo>
                  <a:lnTo>
                    <a:pt x="5580" y="9424"/>
                  </a:lnTo>
                  <a:lnTo>
                    <a:pt x="5756" y="9538"/>
                  </a:lnTo>
                  <a:lnTo>
                    <a:pt x="6206" y="9988"/>
                  </a:lnTo>
                  <a:lnTo>
                    <a:pt x="6479" y="10376"/>
                  </a:lnTo>
                  <a:lnTo>
                    <a:pt x="6585" y="10464"/>
                  </a:lnTo>
                  <a:lnTo>
                    <a:pt x="6982" y="10631"/>
                  </a:lnTo>
                  <a:lnTo>
                    <a:pt x="7387" y="10640"/>
                  </a:lnTo>
                  <a:lnTo>
                    <a:pt x="7563" y="10508"/>
                  </a:lnTo>
                  <a:lnTo>
                    <a:pt x="7757" y="10393"/>
                  </a:lnTo>
                  <a:lnTo>
                    <a:pt x="8321" y="10296"/>
                  </a:lnTo>
                  <a:lnTo>
                    <a:pt x="8462" y="10164"/>
                  </a:lnTo>
                  <a:lnTo>
                    <a:pt x="8551" y="10067"/>
                  </a:lnTo>
                  <a:lnTo>
                    <a:pt x="8877" y="9864"/>
                  </a:lnTo>
                  <a:lnTo>
                    <a:pt x="9009" y="9644"/>
                  </a:lnTo>
                  <a:lnTo>
                    <a:pt x="8983" y="9371"/>
                  </a:lnTo>
                  <a:lnTo>
                    <a:pt x="9071" y="9097"/>
                  </a:lnTo>
                  <a:lnTo>
                    <a:pt x="9714" y="8780"/>
                  </a:lnTo>
                  <a:lnTo>
                    <a:pt x="9882" y="8771"/>
                  </a:lnTo>
                  <a:lnTo>
                    <a:pt x="10058" y="8745"/>
                  </a:lnTo>
                  <a:lnTo>
                    <a:pt x="10155" y="8710"/>
                  </a:lnTo>
                  <a:lnTo>
                    <a:pt x="10305" y="8472"/>
                  </a:lnTo>
                  <a:lnTo>
                    <a:pt x="10349" y="8189"/>
                  </a:lnTo>
                  <a:lnTo>
                    <a:pt x="10340" y="7370"/>
                  </a:lnTo>
                  <a:lnTo>
                    <a:pt x="10384" y="7211"/>
                  </a:lnTo>
                  <a:lnTo>
                    <a:pt x="10446" y="7167"/>
                  </a:lnTo>
                  <a:lnTo>
                    <a:pt x="9794" y="6902"/>
                  </a:lnTo>
                  <a:lnTo>
                    <a:pt x="9414" y="6435"/>
                  </a:lnTo>
                  <a:lnTo>
                    <a:pt x="9573" y="6365"/>
                  </a:lnTo>
                  <a:lnTo>
                    <a:pt x="9926" y="6426"/>
                  </a:lnTo>
                  <a:lnTo>
                    <a:pt x="10093" y="6365"/>
                  </a:lnTo>
                  <a:lnTo>
                    <a:pt x="10190" y="6224"/>
                  </a:lnTo>
                  <a:lnTo>
                    <a:pt x="10305" y="6180"/>
                  </a:lnTo>
                  <a:lnTo>
                    <a:pt x="10366" y="6162"/>
                  </a:lnTo>
                  <a:lnTo>
                    <a:pt x="10490" y="6171"/>
                  </a:lnTo>
                  <a:lnTo>
                    <a:pt x="10640" y="6083"/>
                  </a:lnTo>
                  <a:lnTo>
                    <a:pt x="10763" y="5933"/>
                  </a:lnTo>
                  <a:lnTo>
                    <a:pt x="10631" y="5712"/>
                  </a:lnTo>
                  <a:lnTo>
                    <a:pt x="10516" y="5466"/>
                  </a:lnTo>
                  <a:lnTo>
                    <a:pt x="10402" y="5281"/>
                  </a:lnTo>
                  <a:lnTo>
                    <a:pt x="10217" y="5210"/>
                  </a:lnTo>
                  <a:lnTo>
                    <a:pt x="10128" y="5184"/>
                  </a:lnTo>
                  <a:lnTo>
                    <a:pt x="10049" y="5113"/>
                  </a:lnTo>
                  <a:lnTo>
                    <a:pt x="9987" y="4990"/>
                  </a:lnTo>
                  <a:lnTo>
                    <a:pt x="9908" y="4884"/>
                  </a:lnTo>
                  <a:lnTo>
                    <a:pt x="9776" y="4787"/>
                  </a:lnTo>
                  <a:lnTo>
                    <a:pt x="9617" y="4734"/>
                  </a:lnTo>
                  <a:lnTo>
                    <a:pt x="9221" y="4672"/>
                  </a:lnTo>
                  <a:lnTo>
                    <a:pt x="9106" y="4540"/>
                  </a:lnTo>
                  <a:lnTo>
                    <a:pt x="9009" y="4381"/>
                  </a:lnTo>
                  <a:lnTo>
                    <a:pt x="8850" y="4179"/>
                  </a:lnTo>
                  <a:lnTo>
                    <a:pt x="8991" y="3852"/>
                  </a:lnTo>
                  <a:lnTo>
                    <a:pt x="9670" y="3623"/>
                  </a:lnTo>
                  <a:lnTo>
                    <a:pt x="9961" y="3456"/>
                  </a:lnTo>
                  <a:lnTo>
                    <a:pt x="10111" y="3332"/>
                  </a:lnTo>
                  <a:lnTo>
                    <a:pt x="10270" y="3227"/>
                  </a:lnTo>
                  <a:lnTo>
                    <a:pt x="10463" y="3147"/>
                  </a:lnTo>
                  <a:lnTo>
                    <a:pt x="10649" y="3024"/>
                  </a:lnTo>
                  <a:lnTo>
                    <a:pt x="10534" y="2416"/>
                  </a:lnTo>
                  <a:lnTo>
                    <a:pt x="10613" y="2213"/>
                  </a:lnTo>
                  <a:lnTo>
                    <a:pt x="10640" y="1993"/>
                  </a:lnTo>
                  <a:lnTo>
                    <a:pt x="10508" y="1746"/>
                  </a:lnTo>
                  <a:lnTo>
                    <a:pt x="10314" y="1561"/>
                  </a:lnTo>
                  <a:lnTo>
                    <a:pt x="10181" y="1358"/>
                  </a:lnTo>
                  <a:lnTo>
                    <a:pt x="10084" y="1120"/>
                  </a:lnTo>
                  <a:lnTo>
                    <a:pt x="9952" y="952"/>
                  </a:lnTo>
                  <a:lnTo>
                    <a:pt x="9785" y="838"/>
                  </a:lnTo>
                  <a:lnTo>
                    <a:pt x="9538" y="476"/>
                  </a:lnTo>
                  <a:lnTo>
                    <a:pt x="9450"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3159;p54">
              <a:extLst>
                <a:ext uri="{FF2B5EF4-FFF2-40B4-BE49-F238E27FC236}">
                  <a16:creationId xmlns:a16="http://schemas.microsoft.com/office/drawing/2014/main" id="{E57BDE27-4575-5C6E-4A02-356EBEB2D385}"/>
                </a:ext>
              </a:extLst>
            </p:cNvPr>
            <p:cNvSpPr/>
            <p:nvPr/>
          </p:nvSpPr>
          <p:spPr>
            <a:xfrm>
              <a:off x="6186346" y="2519930"/>
              <a:ext cx="633647" cy="560351"/>
            </a:xfrm>
            <a:custGeom>
              <a:avLst/>
              <a:gdLst/>
              <a:ahLst/>
              <a:cxnLst/>
              <a:rect l="l" t="t" r="r" b="b"/>
              <a:pathLst>
                <a:path w="8913" h="7882" extrusionOk="0">
                  <a:moveTo>
                    <a:pt x="5263" y="1"/>
                  </a:moveTo>
                  <a:lnTo>
                    <a:pt x="4902" y="124"/>
                  </a:lnTo>
                  <a:lnTo>
                    <a:pt x="4576" y="380"/>
                  </a:lnTo>
                  <a:lnTo>
                    <a:pt x="4276" y="468"/>
                  </a:lnTo>
                  <a:lnTo>
                    <a:pt x="3959" y="424"/>
                  </a:lnTo>
                  <a:lnTo>
                    <a:pt x="3791" y="450"/>
                  </a:lnTo>
                  <a:lnTo>
                    <a:pt x="3633" y="521"/>
                  </a:lnTo>
                  <a:lnTo>
                    <a:pt x="3271" y="530"/>
                  </a:lnTo>
                  <a:lnTo>
                    <a:pt x="3104" y="609"/>
                  </a:lnTo>
                  <a:lnTo>
                    <a:pt x="2936" y="723"/>
                  </a:lnTo>
                  <a:lnTo>
                    <a:pt x="2760" y="794"/>
                  </a:lnTo>
                  <a:lnTo>
                    <a:pt x="2593" y="909"/>
                  </a:lnTo>
                  <a:lnTo>
                    <a:pt x="2205" y="997"/>
                  </a:lnTo>
                  <a:lnTo>
                    <a:pt x="1817" y="794"/>
                  </a:lnTo>
                  <a:lnTo>
                    <a:pt x="1605" y="847"/>
                  </a:lnTo>
                  <a:lnTo>
                    <a:pt x="1508" y="1085"/>
                  </a:lnTo>
                  <a:lnTo>
                    <a:pt x="1552" y="1367"/>
                  </a:lnTo>
                  <a:lnTo>
                    <a:pt x="1641" y="1631"/>
                  </a:lnTo>
                  <a:lnTo>
                    <a:pt x="1693" y="1755"/>
                  </a:lnTo>
                  <a:lnTo>
                    <a:pt x="1720" y="1887"/>
                  </a:lnTo>
                  <a:lnTo>
                    <a:pt x="1641" y="2107"/>
                  </a:lnTo>
                  <a:lnTo>
                    <a:pt x="1314" y="2469"/>
                  </a:lnTo>
                  <a:lnTo>
                    <a:pt x="1112" y="2601"/>
                  </a:lnTo>
                  <a:lnTo>
                    <a:pt x="1015" y="2636"/>
                  </a:lnTo>
                  <a:lnTo>
                    <a:pt x="777" y="2918"/>
                  </a:lnTo>
                  <a:lnTo>
                    <a:pt x="539" y="3130"/>
                  </a:lnTo>
                  <a:lnTo>
                    <a:pt x="265" y="3262"/>
                  </a:lnTo>
                  <a:lnTo>
                    <a:pt x="1" y="3721"/>
                  </a:lnTo>
                  <a:lnTo>
                    <a:pt x="45" y="4064"/>
                  </a:lnTo>
                  <a:lnTo>
                    <a:pt x="133" y="4073"/>
                  </a:lnTo>
                  <a:lnTo>
                    <a:pt x="301" y="4029"/>
                  </a:lnTo>
                  <a:lnTo>
                    <a:pt x="389" y="4020"/>
                  </a:lnTo>
                  <a:lnTo>
                    <a:pt x="1085" y="4170"/>
                  </a:lnTo>
                  <a:lnTo>
                    <a:pt x="1676" y="4523"/>
                  </a:lnTo>
                  <a:lnTo>
                    <a:pt x="1984" y="4620"/>
                  </a:lnTo>
                  <a:lnTo>
                    <a:pt x="2355" y="4787"/>
                  </a:lnTo>
                  <a:lnTo>
                    <a:pt x="2575" y="5184"/>
                  </a:lnTo>
                  <a:lnTo>
                    <a:pt x="2548" y="5431"/>
                  </a:lnTo>
                  <a:lnTo>
                    <a:pt x="2293" y="6101"/>
                  </a:lnTo>
                  <a:lnTo>
                    <a:pt x="2266" y="6277"/>
                  </a:lnTo>
                  <a:lnTo>
                    <a:pt x="2178" y="6418"/>
                  </a:lnTo>
                  <a:lnTo>
                    <a:pt x="2108" y="6488"/>
                  </a:lnTo>
                  <a:lnTo>
                    <a:pt x="2002" y="6674"/>
                  </a:lnTo>
                  <a:lnTo>
                    <a:pt x="1764" y="7537"/>
                  </a:lnTo>
                  <a:lnTo>
                    <a:pt x="1570" y="7881"/>
                  </a:lnTo>
                  <a:lnTo>
                    <a:pt x="2231" y="7758"/>
                  </a:lnTo>
                  <a:lnTo>
                    <a:pt x="2645" y="7582"/>
                  </a:lnTo>
                  <a:lnTo>
                    <a:pt x="3069" y="7529"/>
                  </a:lnTo>
                  <a:lnTo>
                    <a:pt x="3262" y="7590"/>
                  </a:lnTo>
                  <a:lnTo>
                    <a:pt x="3465" y="7617"/>
                  </a:lnTo>
                  <a:lnTo>
                    <a:pt x="3633" y="7564"/>
                  </a:lnTo>
                  <a:lnTo>
                    <a:pt x="3791" y="7485"/>
                  </a:lnTo>
                  <a:lnTo>
                    <a:pt x="4179" y="7388"/>
                  </a:lnTo>
                  <a:lnTo>
                    <a:pt x="4461" y="7132"/>
                  </a:lnTo>
                  <a:lnTo>
                    <a:pt x="4470" y="6823"/>
                  </a:lnTo>
                  <a:lnTo>
                    <a:pt x="4593" y="6585"/>
                  </a:lnTo>
                  <a:lnTo>
                    <a:pt x="4955" y="6392"/>
                  </a:lnTo>
                  <a:lnTo>
                    <a:pt x="5246" y="5951"/>
                  </a:lnTo>
                  <a:lnTo>
                    <a:pt x="5590" y="5563"/>
                  </a:lnTo>
                  <a:lnTo>
                    <a:pt x="5916" y="5563"/>
                  </a:lnTo>
                  <a:lnTo>
                    <a:pt x="6189" y="5484"/>
                  </a:lnTo>
                  <a:lnTo>
                    <a:pt x="6453" y="5536"/>
                  </a:lnTo>
                  <a:lnTo>
                    <a:pt x="6480" y="5730"/>
                  </a:lnTo>
                  <a:lnTo>
                    <a:pt x="6295" y="5898"/>
                  </a:lnTo>
                  <a:lnTo>
                    <a:pt x="6207" y="5960"/>
                  </a:lnTo>
                  <a:lnTo>
                    <a:pt x="6242" y="6083"/>
                  </a:lnTo>
                  <a:lnTo>
                    <a:pt x="6312" y="6118"/>
                  </a:lnTo>
                  <a:lnTo>
                    <a:pt x="6383" y="6180"/>
                  </a:lnTo>
                  <a:lnTo>
                    <a:pt x="6665" y="6250"/>
                  </a:lnTo>
                  <a:lnTo>
                    <a:pt x="6991" y="6250"/>
                  </a:lnTo>
                  <a:lnTo>
                    <a:pt x="7317" y="6295"/>
                  </a:lnTo>
                  <a:lnTo>
                    <a:pt x="7652" y="6224"/>
                  </a:lnTo>
                  <a:lnTo>
                    <a:pt x="7784" y="6224"/>
                  </a:lnTo>
                  <a:lnTo>
                    <a:pt x="7908" y="6198"/>
                  </a:lnTo>
                  <a:lnTo>
                    <a:pt x="8102" y="6101"/>
                  </a:lnTo>
                  <a:lnTo>
                    <a:pt x="8296" y="6057"/>
                  </a:lnTo>
                  <a:lnTo>
                    <a:pt x="8551" y="5933"/>
                  </a:lnTo>
                  <a:lnTo>
                    <a:pt x="8763" y="5686"/>
                  </a:lnTo>
                  <a:lnTo>
                    <a:pt x="8913" y="5149"/>
                  </a:lnTo>
                  <a:lnTo>
                    <a:pt x="8895" y="5008"/>
                  </a:lnTo>
                  <a:lnTo>
                    <a:pt x="8842" y="4884"/>
                  </a:lnTo>
                  <a:lnTo>
                    <a:pt x="8763" y="4796"/>
                  </a:lnTo>
                  <a:lnTo>
                    <a:pt x="8569" y="4770"/>
                  </a:lnTo>
                  <a:lnTo>
                    <a:pt x="8190" y="4902"/>
                  </a:lnTo>
                  <a:lnTo>
                    <a:pt x="8031" y="4875"/>
                  </a:lnTo>
                  <a:lnTo>
                    <a:pt x="7890" y="4743"/>
                  </a:lnTo>
                  <a:lnTo>
                    <a:pt x="7811" y="4699"/>
                  </a:lnTo>
                  <a:lnTo>
                    <a:pt x="7696" y="4681"/>
                  </a:lnTo>
                  <a:lnTo>
                    <a:pt x="7688" y="4646"/>
                  </a:lnTo>
                  <a:lnTo>
                    <a:pt x="7582" y="4470"/>
                  </a:lnTo>
                  <a:lnTo>
                    <a:pt x="7546" y="4435"/>
                  </a:lnTo>
                  <a:lnTo>
                    <a:pt x="7423" y="4355"/>
                  </a:lnTo>
                  <a:lnTo>
                    <a:pt x="7458" y="4311"/>
                  </a:lnTo>
                  <a:lnTo>
                    <a:pt x="7344" y="4223"/>
                  </a:lnTo>
                  <a:lnTo>
                    <a:pt x="7203" y="4249"/>
                  </a:lnTo>
                  <a:lnTo>
                    <a:pt x="6921" y="4355"/>
                  </a:lnTo>
                  <a:lnTo>
                    <a:pt x="6780" y="4346"/>
                  </a:lnTo>
                  <a:lnTo>
                    <a:pt x="6409" y="4152"/>
                  </a:lnTo>
                  <a:lnTo>
                    <a:pt x="6374" y="4152"/>
                  </a:lnTo>
                  <a:lnTo>
                    <a:pt x="6348" y="4170"/>
                  </a:lnTo>
                  <a:lnTo>
                    <a:pt x="6312" y="4170"/>
                  </a:lnTo>
                  <a:lnTo>
                    <a:pt x="6242" y="4100"/>
                  </a:lnTo>
                  <a:lnTo>
                    <a:pt x="6215" y="4082"/>
                  </a:lnTo>
                  <a:lnTo>
                    <a:pt x="6092" y="4047"/>
                  </a:lnTo>
                  <a:lnTo>
                    <a:pt x="5819" y="4011"/>
                  </a:lnTo>
                  <a:lnTo>
                    <a:pt x="5766" y="3994"/>
                  </a:lnTo>
                  <a:lnTo>
                    <a:pt x="5704" y="3959"/>
                  </a:lnTo>
                  <a:lnTo>
                    <a:pt x="5642" y="3906"/>
                  </a:lnTo>
                  <a:lnTo>
                    <a:pt x="5563" y="3800"/>
                  </a:lnTo>
                  <a:lnTo>
                    <a:pt x="5510" y="3773"/>
                  </a:lnTo>
                  <a:lnTo>
                    <a:pt x="5457" y="3826"/>
                  </a:lnTo>
                  <a:lnTo>
                    <a:pt x="5378" y="3765"/>
                  </a:lnTo>
                  <a:lnTo>
                    <a:pt x="5316" y="3659"/>
                  </a:lnTo>
                  <a:lnTo>
                    <a:pt x="5281" y="3535"/>
                  </a:lnTo>
                  <a:lnTo>
                    <a:pt x="5263" y="3438"/>
                  </a:lnTo>
                  <a:lnTo>
                    <a:pt x="5246" y="3386"/>
                  </a:lnTo>
                  <a:lnTo>
                    <a:pt x="5219" y="3350"/>
                  </a:lnTo>
                  <a:lnTo>
                    <a:pt x="5211" y="3306"/>
                  </a:lnTo>
                  <a:lnTo>
                    <a:pt x="5272" y="3183"/>
                  </a:lnTo>
                  <a:lnTo>
                    <a:pt x="5307" y="3077"/>
                  </a:lnTo>
                  <a:lnTo>
                    <a:pt x="5334" y="3015"/>
                  </a:lnTo>
                  <a:lnTo>
                    <a:pt x="5387" y="2918"/>
                  </a:lnTo>
                  <a:lnTo>
                    <a:pt x="5457" y="2848"/>
                  </a:lnTo>
                  <a:lnTo>
                    <a:pt x="5546" y="2786"/>
                  </a:lnTo>
                  <a:lnTo>
                    <a:pt x="5660" y="2769"/>
                  </a:lnTo>
                  <a:lnTo>
                    <a:pt x="5722" y="2733"/>
                  </a:lnTo>
                  <a:lnTo>
                    <a:pt x="5784" y="2645"/>
                  </a:lnTo>
                  <a:lnTo>
                    <a:pt x="5801" y="2531"/>
                  </a:lnTo>
                  <a:lnTo>
                    <a:pt x="5775" y="2442"/>
                  </a:lnTo>
                  <a:lnTo>
                    <a:pt x="5828" y="2372"/>
                  </a:lnTo>
                  <a:lnTo>
                    <a:pt x="5951" y="2345"/>
                  </a:lnTo>
                  <a:lnTo>
                    <a:pt x="6453" y="2398"/>
                  </a:lnTo>
                  <a:lnTo>
                    <a:pt x="6515" y="2372"/>
                  </a:lnTo>
                  <a:lnTo>
                    <a:pt x="6524" y="2319"/>
                  </a:lnTo>
                  <a:lnTo>
                    <a:pt x="6515" y="2240"/>
                  </a:lnTo>
                  <a:lnTo>
                    <a:pt x="6533" y="2204"/>
                  </a:lnTo>
                  <a:lnTo>
                    <a:pt x="6480" y="2019"/>
                  </a:lnTo>
                  <a:lnTo>
                    <a:pt x="6480" y="1887"/>
                  </a:lnTo>
                  <a:lnTo>
                    <a:pt x="6462" y="1517"/>
                  </a:lnTo>
                  <a:lnTo>
                    <a:pt x="6401" y="1349"/>
                  </a:lnTo>
                  <a:lnTo>
                    <a:pt x="6321" y="1191"/>
                  </a:lnTo>
                  <a:lnTo>
                    <a:pt x="6321" y="944"/>
                  </a:lnTo>
                  <a:lnTo>
                    <a:pt x="6445" y="776"/>
                  </a:lnTo>
                  <a:lnTo>
                    <a:pt x="6780" y="759"/>
                  </a:lnTo>
                  <a:lnTo>
                    <a:pt x="6480" y="406"/>
                  </a:lnTo>
                  <a:lnTo>
                    <a:pt x="6286" y="292"/>
                  </a:lnTo>
                  <a:lnTo>
                    <a:pt x="6074" y="203"/>
                  </a:lnTo>
                  <a:lnTo>
                    <a:pt x="5634" y="186"/>
                  </a:lnTo>
                  <a:lnTo>
                    <a:pt x="526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3160;p54">
              <a:extLst>
                <a:ext uri="{FF2B5EF4-FFF2-40B4-BE49-F238E27FC236}">
                  <a16:creationId xmlns:a16="http://schemas.microsoft.com/office/drawing/2014/main" id="{68D0918E-68D8-E5E9-1642-7B0886E71BF0}"/>
                </a:ext>
              </a:extLst>
            </p:cNvPr>
            <p:cNvSpPr/>
            <p:nvPr/>
          </p:nvSpPr>
          <p:spPr>
            <a:xfrm>
              <a:off x="6556751" y="2486089"/>
              <a:ext cx="673104" cy="382335"/>
            </a:xfrm>
            <a:custGeom>
              <a:avLst/>
              <a:gdLst/>
              <a:ahLst/>
              <a:cxnLst/>
              <a:rect l="l" t="t" r="r" b="b"/>
              <a:pathLst>
                <a:path w="9468" h="5378" extrusionOk="0">
                  <a:moveTo>
                    <a:pt x="9327" y="1"/>
                  </a:moveTo>
                  <a:lnTo>
                    <a:pt x="8948" y="177"/>
                  </a:lnTo>
                  <a:lnTo>
                    <a:pt x="8789" y="221"/>
                  </a:lnTo>
                  <a:lnTo>
                    <a:pt x="7722" y="794"/>
                  </a:lnTo>
                  <a:lnTo>
                    <a:pt x="7476" y="812"/>
                  </a:lnTo>
                  <a:lnTo>
                    <a:pt x="7246" y="864"/>
                  </a:lnTo>
                  <a:lnTo>
                    <a:pt x="7158" y="926"/>
                  </a:lnTo>
                  <a:lnTo>
                    <a:pt x="7097" y="1023"/>
                  </a:lnTo>
                  <a:lnTo>
                    <a:pt x="7141" y="1252"/>
                  </a:lnTo>
                  <a:lnTo>
                    <a:pt x="7167" y="1464"/>
                  </a:lnTo>
                  <a:lnTo>
                    <a:pt x="7097" y="1737"/>
                  </a:lnTo>
                  <a:lnTo>
                    <a:pt x="6973" y="1993"/>
                  </a:lnTo>
                  <a:lnTo>
                    <a:pt x="6691" y="2310"/>
                  </a:lnTo>
                  <a:lnTo>
                    <a:pt x="6259" y="2478"/>
                  </a:lnTo>
                  <a:lnTo>
                    <a:pt x="5810" y="2513"/>
                  </a:lnTo>
                  <a:lnTo>
                    <a:pt x="5642" y="2495"/>
                  </a:lnTo>
                  <a:lnTo>
                    <a:pt x="5483" y="2531"/>
                  </a:lnTo>
                  <a:lnTo>
                    <a:pt x="5369" y="2689"/>
                  </a:lnTo>
                  <a:lnTo>
                    <a:pt x="5219" y="2786"/>
                  </a:lnTo>
                  <a:lnTo>
                    <a:pt x="5104" y="2751"/>
                  </a:lnTo>
                  <a:lnTo>
                    <a:pt x="4999" y="2689"/>
                  </a:lnTo>
                  <a:lnTo>
                    <a:pt x="4910" y="2716"/>
                  </a:lnTo>
                  <a:lnTo>
                    <a:pt x="4875" y="2724"/>
                  </a:lnTo>
                  <a:lnTo>
                    <a:pt x="4769" y="2592"/>
                  </a:lnTo>
                  <a:lnTo>
                    <a:pt x="4681" y="2522"/>
                  </a:lnTo>
                  <a:lnTo>
                    <a:pt x="4479" y="2460"/>
                  </a:lnTo>
                  <a:lnTo>
                    <a:pt x="4276" y="2319"/>
                  </a:lnTo>
                  <a:lnTo>
                    <a:pt x="4064" y="2222"/>
                  </a:lnTo>
                  <a:lnTo>
                    <a:pt x="3870" y="2204"/>
                  </a:lnTo>
                  <a:lnTo>
                    <a:pt x="3685" y="2151"/>
                  </a:lnTo>
                  <a:lnTo>
                    <a:pt x="3535" y="2134"/>
                  </a:lnTo>
                  <a:lnTo>
                    <a:pt x="3394" y="2046"/>
                  </a:lnTo>
                  <a:lnTo>
                    <a:pt x="3341" y="2046"/>
                  </a:lnTo>
                  <a:lnTo>
                    <a:pt x="3253" y="2063"/>
                  </a:lnTo>
                  <a:lnTo>
                    <a:pt x="3209" y="2072"/>
                  </a:lnTo>
                  <a:lnTo>
                    <a:pt x="3006" y="1984"/>
                  </a:lnTo>
                  <a:lnTo>
                    <a:pt x="2645" y="2010"/>
                  </a:lnTo>
                  <a:lnTo>
                    <a:pt x="2284" y="2107"/>
                  </a:lnTo>
                  <a:lnTo>
                    <a:pt x="2151" y="2107"/>
                  </a:lnTo>
                  <a:lnTo>
                    <a:pt x="1949" y="1913"/>
                  </a:lnTo>
                  <a:lnTo>
                    <a:pt x="1949" y="1746"/>
                  </a:lnTo>
                  <a:lnTo>
                    <a:pt x="2019" y="1587"/>
                  </a:lnTo>
                  <a:lnTo>
                    <a:pt x="2019" y="1420"/>
                  </a:lnTo>
                  <a:lnTo>
                    <a:pt x="1834" y="1147"/>
                  </a:lnTo>
                  <a:lnTo>
                    <a:pt x="1693" y="1173"/>
                  </a:lnTo>
                  <a:lnTo>
                    <a:pt x="1570" y="1235"/>
                  </a:lnTo>
                  <a:lnTo>
                    <a:pt x="1235" y="1252"/>
                  </a:lnTo>
                  <a:lnTo>
                    <a:pt x="1111" y="1420"/>
                  </a:lnTo>
                  <a:lnTo>
                    <a:pt x="1111" y="1667"/>
                  </a:lnTo>
                  <a:lnTo>
                    <a:pt x="1191" y="1825"/>
                  </a:lnTo>
                  <a:lnTo>
                    <a:pt x="1252" y="1993"/>
                  </a:lnTo>
                  <a:lnTo>
                    <a:pt x="1270" y="2363"/>
                  </a:lnTo>
                  <a:lnTo>
                    <a:pt x="1270" y="2495"/>
                  </a:lnTo>
                  <a:lnTo>
                    <a:pt x="1323" y="2680"/>
                  </a:lnTo>
                  <a:lnTo>
                    <a:pt x="1305" y="2716"/>
                  </a:lnTo>
                  <a:lnTo>
                    <a:pt x="1314" y="2795"/>
                  </a:lnTo>
                  <a:lnTo>
                    <a:pt x="1305" y="2848"/>
                  </a:lnTo>
                  <a:lnTo>
                    <a:pt x="1243" y="2874"/>
                  </a:lnTo>
                  <a:lnTo>
                    <a:pt x="741" y="2821"/>
                  </a:lnTo>
                  <a:lnTo>
                    <a:pt x="618" y="2848"/>
                  </a:lnTo>
                  <a:lnTo>
                    <a:pt x="565" y="2918"/>
                  </a:lnTo>
                  <a:lnTo>
                    <a:pt x="591" y="3007"/>
                  </a:lnTo>
                  <a:lnTo>
                    <a:pt x="574" y="3121"/>
                  </a:lnTo>
                  <a:lnTo>
                    <a:pt x="512" y="3209"/>
                  </a:lnTo>
                  <a:lnTo>
                    <a:pt x="450" y="3245"/>
                  </a:lnTo>
                  <a:lnTo>
                    <a:pt x="336" y="3262"/>
                  </a:lnTo>
                  <a:lnTo>
                    <a:pt x="247" y="3324"/>
                  </a:lnTo>
                  <a:lnTo>
                    <a:pt x="177" y="3394"/>
                  </a:lnTo>
                  <a:lnTo>
                    <a:pt x="124" y="3491"/>
                  </a:lnTo>
                  <a:lnTo>
                    <a:pt x="97" y="3553"/>
                  </a:lnTo>
                  <a:lnTo>
                    <a:pt x="62" y="3659"/>
                  </a:lnTo>
                  <a:lnTo>
                    <a:pt x="1" y="3782"/>
                  </a:lnTo>
                  <a:lnTo>
                    <a:pt x="9" y="3826"/>
                  </a:lnTo>
                  <a:lnTo>
                    <a:pt x="36" y="3862"/>
                  </a:lnTo>
                  <a:lnTo>
                    <a:pt x="53" y="3914"/>
                  </a:lnTo>
                  <a:lnTo>
                    <a:pt x="71" y="4011"/>
                  </a:lnTo>
                  <a:lnTo>
                    <a:pt x="106" y="4135"/>
                  </a:lnTo>
                  <a:lnTo>
                    <a:pt x="168" y="4241"/>
                  </a:lnTo>
                  <a:lnTo>
                    <a:pt x="247" y="4302"/>
                  </a:lnTo>
                  <a:lnTo>
                    <a:pt x="300" y="4249"/>
                  </a:lnTo>
                  <a:lnTo>
                    <a:pt x="353" y="4276"/>
                  </a:lnTo>
                  <a:lnTo>
                    <a:pt x="432" y="4382"/>
                  </a:lnTo>
                  <a:lnTo>
                    <a:pt x="494" y="4435"/>
                  </a:lnTo>
                  <a:lnTo>
                    <a:pt x="556" y="4470"/>
                  </a:lnTo>
                  <a:lnTo>
                    <a:pt x="609" y="4487"/>
                  </a:lnTo>
                  <a:lnTo>
                    <a:pt x="882" y="4523"/>
                  </a:lnTo>
                  <a:lnTo>
                    <a:pt x="1005" y="4558"/>
                  </a:lnTo>
                  <a:lnTo>
                    <a:pt x="1032" y="4576"/>
                  </a:lnTo>
                  <a:lnTo>
                    <a:pt x="1102" y="4646"/>
                  </a:lnTo>
                  <a:lnTo>
                    <a:pt x="1138" y="4646"/>
                  </a:lnTo>
                  <a:lnTo>
                    <a:pt x="1164" y="4628"/>
                  </a:lnTo>
                  <a:lnTo>
                    <a:pt x="1199" y="4628"/>
                  </a:lnTo>
                  <a:lnTo>
                    <a:pt x="1570" y="4822"/>
                  </a:lnTo>
                  <a:lnTo>
                    <a:pt x="1711" y="4831"/>
                  </a:lnTo>
                  <a:lnTo>
                    <a:pt x="1993" y="4725"/>
                  </a:lnTo>
                  <a:lnTo>
                    <a:pt x="2134" y="4699"/>
                  </a:lnTo>
                  <a:lnTo>
                    <a:pt x="2248" y="4787"/>
                  </a:lnTo>
                  <a:lnTo>
                    <a:pt x="2213" y="4831"/>
                  </a:lnTo>
                  <a:lnTo>
                    <a:pt x="2336" y="4911"/>
                  </a:lnTo>
                  <a:lnTo>
                    <a:pt x="2372" y="4946"/>
                  </a:lnTo>
                  <a:lnTo>
                    <a:pt x="2478" y="5122"/>
                  </a:lnTo>
                  <a:lnTo>
                    <a:pt x="2486" y="5157"/>
                  </a:lnTo>
                  <a:lnTo>
                    <a:pt x="2601" y="5175"/>
                  </a:lnTo>
                  <a:lnTo>
                    <a:pt x="2680" y="5219"/>
                  </a:lnTo>
                  <a:lnTo>
                    <a:pt x="2821" y="5351"/>
                  </a:lnTo>
                  <a:lnTo>
                    <a:pt x="2980" y="5378"/>
                  </a:lnTo>
                  <a:lnTo>
                    <a:pt x="3359" y="5246"/>
                  </a:lnTo>
                  <a:lnTo>
                    <a:pt x="3553" y="5272"/>
                  </a:lnTo>
                  <a:lnTo>
                    <a:pt x="4188" y="5166"/>
                  </a:lnTo>
                  <a:lnTo>
                    <a:pt x="4567" y="5263"/>
                  </a:lnTo>
                  <a:lnTo>
                    <a:pt x="4963" y="5298"/>
                  </a:lnTo>
                  <a:lnTo>
                    <a:pt x="5157" y="5210"/>
                  </a:lnTo>
                  <a:lnTo>
                    <a:pt x="5519" y="5157"/>
                  </a:lnTo>
                  <a:lnTo>
                    <a:pt x="5651" y="5078"/>
                  </a:lnTo>
                  <a:lnTo>
                    <a:pt x="5995" y="5052"/>
                  </a:lnTo>
                  <a:lnTo>
                    <a:pt x="6356" y="5069"/>
                  </a:lnTo>
                  <a:lnTo>
                    <a:pt x="6515" y="5016"/>
                  </a:lnTo>
                  <a:lnTo>
                    <a:pt x="6656" y="4928"/>
                  </a:lnTo>
                  <a:lnTo>
                    <a:pt x="6770" y="4743"/>
                  </a:lnTo>
                  <a:lnTo>
                    <a:pt x="6876" y="4558"/>
                  </a:lnTo>
                  <a:lnTo>
                    <a:pt x="6947" y="4364"/>
                  </a:lnTo>
                  <a:lnTo>
                    <a:pt x="7158" y="4329"/>
                  </a:lnTo>
                  <a:lnTo>
                    <a:pt x="7264" y="4373"/>
                  </a:lnTo>
                  <a:lnTo>
                    <a:pt x="7423" y="4505"/>
                  </a:lnTo>
                  <a:lnTo>
                    <a:pt x="7502" y="4532"/>
                  </a:lnTo>
                  <a:lnTo>
                    <a:pt x="9053" y="4479"/>
                  </a:lnTo>
                  <a:lnTo>
                    <a:pt x="9036" y="4205"/>
                  </a:lnTo>
                  <a:lnTo>
                    <a:pt x="8983" y="3950"/>
                  </a:lnTo>
                  <a:lnTo>
                    <a:pt x="8736" y="3580"/>
                  </a:lnTo>
                  <a:lnTo>
                    <a:pt x="8956" y="2945"/>
                  </a:lnTo>
                  <a:lnTo>
                    <a:pt x="9098" y="2971"/>
                  </a:lnTo>
                  <a:lnTo>
                    <a:pt x="9247" y="3024"/>
                  </a:lnTo>
                  <a:lnTo>
                    <a:pt x="9336" y="2865"/>
                  </a:lnTo>
                  <a:lnTo>
                    <a:pt x="9397" y="2636"/>
                  </a:lnTo>
                  <a:lnTo>
                    <a:pt x="9424" y="2416"/>
                  </a:lnTo>
                  <a:lnTo>
                    <a:pt x="9344" y="2222"/>
                  </a:lnTo>
                  <a:lnTo>
                    <a:pt x="9062" y="1878"/>
                  </a:lnTo>
                  <a:lnTo>
                    <a:pt x="8948" y="1420"/>
                  </a:lnTo>
                  <a:lnTo>
                    <a:pt x="9045" y="997"/>
                  </a:lnTo>
                  <a:lnTo>
                    <a:pt x="9274" y="671"/>
                  </a:lnTo>
                  <a:lnTo>
                    <a:pt x="9468" y="292"/>
                  </a:lnTo>
                  <a:lnTo>
                    <a:pt x="9327"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3161;p54">
              <a:extLst>
                <a:ext uri="{FF2B5EF4-FFF2-40B4-BE49-F238E27FC236}">
                  <a16:creationId xmlns:a16="http://schemas.microsoft.com/office/drawing/2014/main" id="{248CB4E1-D80E-FCF7-B5FA-57E2D35FB510}"/>
                </a:ext>
              </a:extLst>
            </p:cNvPr>
            <p:cNvSpPr/>
            <p:nvPr/>
          </p:nvSpPr>
          <p:spPr>
            <a:xfrm>
              <a:off x="7605828" y="2539339"/>
              <a:ext cx="537744" cy="489543"/>
            </a:xfrm>
            <a:custGeom>
              <a:avLst/>
              <a:gdLst/>
              <a:ahLst/>
              <a:cxnLst/>
              <a:rect l="l" t="t" r="r" b="b"/>
              <a:pathLst>
                <a:path w="7564" h="6886" extrusionOk="0">
                  <a:moveTo>
                    <a:pt x="6682" y="1"/>
                  </a:moveTo>
                  <a:lnTo>
                    <a:pt x="5827" y="195"/>
                  </a:lnTo>
                  <a:lnTo>
                    <a:pt x="5677" y="318"/>
                  </a:lnTo>
                  <a:lnTo>
                    <a:pt x="5510" y="415"/>
                  </a:lnTo>
                  <a:lnTo>
                    <a:pt x="5290" y="486"/>
                  </a:lnTo>
                  <a:lnTo>
                    <a:pt x="5087" y="609"/>
                  </a:lnTo>
                  <a:lnTo>
                    <a:pt x="4752" y="882"/>
                  </a:lnTo>
                  <a:lnTo>
                    <a:pt x="4373" y="1032"/>
                  </a:lnTo>
                  <a:lnTo>
                    <a:pt x="3615" y="953"/>
                  </a:lnTo>
                  <a:lnTo>
                    <a:pt x="3447" y="1006"/>
                  </a:lnTo>
                  <a:lnTo>
                    <a:pt x="3306" y="1112"/>
                  </a:lnTo>
                  <a:lnTo>
                    <a:pt x="3112" y="1191"/>
                  </a:lnTo>
                  <a:lnTo>
                    <a:pt x="2918" y="1209"/>
                  </a:lnTo>
                  <a:lnTo>
                    <a:pt x="2821" y="1279"/>
                  </a:lnTo>
                  <a:lnTo>
                    <a:pt x="2769" y="1552"/>
                  </a:lnTo>
                  <a:lnTo>
                    <a:pt x="2672" y="1640"/>
                  </a:lnTo>
                  <a:lnTo>
                    <a:pt x="2257" y="1632"/>
                  </a:lnTo>
                  <a:lnTo>
                    <a:pt x="2178" y="1843"/>
                  </a:lnTo>
                  <a:lnTo>
                    <a:pt x="2319" y="2081"/>
                  </a:lnTo>
                  <a:lnTo>
                    <a:pt x="2354" y="2337"/>
                  </a:lnTo>
                  <a:lnTo>
                    <a:pt x="2160" y="2496"/>
                  </a:lnTo>
                  <a:lnTo>
                    <a:pt x="1887" y="2804"/>
                  </a:lnTo>
                  <a:lnTo>
                    <a:pt x="1561" y="2989"/>
                  </a:lnTo>
                  <a:lnTo>
                    <a:pt x="768" y="2927"/>
                  </a:lnTo>
                  <a:lnTo>
                    <a:pt x="54" y="3201"/>
                  </a:lnTo>
                  <a:lnTo>
                    <a:pt x="1" y="3280"/>
                  </a:lnTo>
                  <a:lnTo>
                    <a:pt x="397" y="3430"/>
                  </a:lnTo>
                  <a:lnTo>
                    <a:pt x="556" y="4232"/>
                  </a:lnTo>
                  <a:lnTo>
                    <a:pt x="662" y="4558"/>
                  </a:lnTo>
                  <a:lnTo>
                    <a:pt x="688" y="4770"/>
                  </a:lnTo>
                  <a:lnTo>
                    <a:pt x="688" y="4981"/>
                  </a:lnTo>
                  <a:lnTo>
                    <a:pt x="662" y="5114"/>
                  </a:lnTo>
                  <a:lnTo>
                    <a:pt x="679" y="5246"/>
                  </a:lnTo>
                  <a:lnTo>
                    <a:pt x="1155" y="5431"/>
                  </a:lnTo>
                  <a:lnTo>
                    <a:pt x="1658" y="5475"/>
                  </a:lnTo>
                  <a:lnTo>
                    <a:pt x="2055" y="5369"/>
                  </a:lnTo>
                  <a:lnTo>
                    <a:pt x="2460" y="5211"/>
                  </a:lnTo>
                  <a:lnTo>
                    <a:pt x="2769" y="5360"/>
                  </a:lnTo>
                  <a:lnTo>
                    <a:pt x="3042" y="5634"/>
                  </a:lnTo>
                  <a:lnTo>
                    <a:pt x="3342" y="5863"/>
                  </a:lnTo>
                  <a:lnTo>
                    <a:pt x="3676" y="6004"/>
                  </a:lnTo>
                  <a:lnTo>
                    <a:pt x="4003" y="6092"/>
                  </a:lnTo>
                  <a:lnTo>
                    <a:pt x="4205" y="6171"/>
                  </a:lnTo>
                  <a:lnTo>
                    <a:pt x="4496" y="6392"/>
                  </a:lnTo>
                  <a:lnTo>
                    <a:pt x="4963" y="6656"/>
                  </a:lnTo>
                  <a:lnTo>
                    <a:pt x="5281" y="6885"/>
                  </a:lnTo>
                  <a:lnTo>
                    <a:pt x="5457" y="6868"/>
                  </a:lnTo>
                  <a:lnTo>
                    <a:pt x="5598" y="6656"/>
                  </a:lnTo>
                  <a:lnTo>
                    <a:pt x="5616" y="6383"/>
                  </a:lnTo>
                  <a:lnTo>
                    <a:pt x="5589" y="6207"/>
                  </a:lnTo>
                  <a:lnTo>
                    <a:pt x="5589" y="6022"/>
                  </a:lnTo>
                  <a:lnTo>
                    <a:pt x="5633" y="5942"/>
                  </a:lnTo>
                  <a:lnTo>
                    <a:pt x="5695" y="5881"/>
                  </a:lnTo>
                  <a:lnTo>
                    <a:pt x="5827" y="5484"/>
                  </a:lnTo>
                  <a:lnTo>
                    <a:pt x="5581" y="5396"/>
                  </a:lnTo>
                  <a:lnTo>
                    <a:pt x="5492" y="5105"/>
                  </a:lnTo>
                  <a:lnTo>
                    <a:pt x="5545" y="4893"/>
                  </a:lnTo>
                  <a:lnTo>
                    <a:pt x="5536" y="4743"/>
                  </a:lnTo>
                  <a:lnTo>
                    <a:pt x="5510" y="4664"/>
                  </a:lnTo>
                  <a:lnTo>
                    <a:pt x="5351" y="4294"/>
                  </a:lnTo>
                  <a:lnTo>
                    <a:pt x="5325" y="4162"/>
                  </a:lnTo>
                  <a:lnTo>
                    <a:pt x="5369" y="3915"/>
                  </a:lnTo>
                  <a:lnTo>
                    <a:pt x="5439" y="3827"/>
                  </a:lnTo>
                  <a:lnTo>
                    <a:pt x="5942" y="3545"/>
                  </a:lnTo>
                  <a:lnTo>
                    <a:pt x="6233" y="3342"/>
                  </a:lnTo>
                  <a:lnTo>
                    <a:pt x="6339" y="3174"/>
                  </a:lnTo>
                  <a:lnTo>
                    <a:pt x="6418" y="2989"/>
                  </a:lnTo>
                  <a:lnTo>
                    <a:pt x="6841" y="2355"/>
                  </a:lnTo>
                  <a:lnTo>
                    <a:pt x="7097" y="2081"/>
                  </a:lnTo>
                  <a:lnTo>
                    <a:pt x="7432" y="1826"/>
                  </a:lnTo>
                  <a:lnTo>
                    <a:pt x="7564" y="1385"/>
                  </a:lnTo>
                  <a:lnTo>
                    <a:pt x="7370" y="1094"/>
                  </a:lnTo>
                  <a:lnTo>
                    <a:pt x="6832" y="759"/>
                  </a:lnTo>
                  <a:lnTo>
                    <a:pt x="6691" y="459"/>
                  </a:lnTo>
                  <a:lnTo>
                    <a:pt x="6682"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3162;p54">
              <a:extLst>
                <a:ext uri="{FF2B5EF4-FFF2-40B4-BE49-F238E27FC236}">
                  <a16:creationId xmlns:a16="http://schemas.microsoft.com/office/drawing/2014/main" id="{643A8677-C472-EC2E-3174-DB3D56CFF04D}"/>
                </a:ext>
              </a:extLst>
            </p:cNvPr>
            <p:cNvSpPr/>
            <p:nvPr/>
          </p:nvSpPr>
          <p:spPr>
            <a:xfrm>
              <a:off x="7105746" y="2336292"/>
              <a:ext cx="416175" cy="468215"/>
            </a:xfrm>
            <a:custGeom>
              <a:avLst/>
              <a:gdLst/>
              <a:ahLst/>
              <a:cxnLst/>
              <a:rect l="l" t="t" r="r" b="b"/>
              <a:pathLst>
                <a:path w="5854" h="6586" extrusionOk="0">
                  <a:moveTo>
                    <a:pt x="3897" y="1"/>
                  </a:moveTo>
                  <a:lnTo>
                    <a:pt x="3764" y="71"/>
                  </a:lnTo>
                  <a:lnTo>
                    <a:pt x="3632" y="177"/>
                  </a:lnTo>
                  <a:lnTo>
                    <a:pt x="3218" y="353"/>
                  </a:lnTo>
                  <a:lnTo>
                    <a:pt x="2804" y="292"/>
                  </a:lnTo>
                  <a:lnTo>
                    <a:pt x="2504" y="195"/>
                  </a:lnTo>
                  <a:lnTo>
                    <a:pt x="2328" y="406"/>
                  </a:lnTo>
                  <a:lnTo>
                    <a:pt x="2090" y="521"/>
                  </a:lnTo>
                  <a:lnTo>
                    <a:pt x="1975" y="512"/>
                  </a:lnTo>
                  <a:lnTo>
                    <a:pt x="1755" y="477"/>
                  </a:lnTo>
                  <a:lnTo>
                    <a:pt x="1675" y="539"/>
                  </a:lnTo>
                  <a:lnTo>
                    <a:pt x="1552" y="803"/>
                  </a:lnTo>
                  <a:lnTo>
                    <a:pt x="1331" y="962"/>
                  </a:lnTo>
                  <a:lnTo>
                    <a:pt x="1102" y="953"/>
                  </a:lnTo>
                  <a:lnTo>
                    <a:pt x="900" y="1041"/>
                  </a:lnTo>
                  <a:lnTo>
                    <a:pt x="855" y="1156"/>
                  </a:lnTo>
                  <a:lnTo>
                    <a:pt x="811" y="1261"/>
                  </a:lnTo>
                  <a:lnTo>
                    <a:pt x="750" y="1288"/>
                  </a:lnTo>
                  <a:lnTo>
                    <a:pt x="424" y="1270"/>
                  </a:lnTo>
                  <a:lnTo>
                    <a:pt x="194" y="1341"/>
                  </a:lnTo>
                  <a:lnTo>
                    <a:pt x="124" y="1455"/>
                  </a:lnTo>
                  <a:lnTo>
                    <a:pt x="97" y="1755"/>
                  </a:lnTo>
                  <a:lnTo>
                    <a:pt x="44" y="1905"/>
                  </a:lnTo>
                  <a:lnTo>
                    <a:pt x="18" y="2064"/>
                  </a:lnTo>
                  <a:lnTo>
                    <a:pt x="115" y="2513"/>
                  </a:lnTo>
                  <a:lnTo>
                    <a:pt x="80" y="2716"/>
                  </a:lnTo>
                  <a:lnTo>
                    <a:pt x="0" y="2901"/>
                  </a:lnTo>
                  <a:lnTo>
                    <a:pt x="0" y="2901"/>
                  </a:lnTo>
                  <a:lnTo>
                    <a:pt x="1067" y="2328"/>
                  </a:lnTo>
                  <a:lnTo>
                    <a:pt x="1226" y="2284"/>
                  </a:lnTo>
                  <a:lnTo>
                    <a:pt x="1605" y="2108"/>
                  </a:lnTo>
                  <a:lnTo>
                    <a:pt x="1746" y="2399"/>
                  </a:lnTo>
                  <a:lnTo>
                    <a:pt x="1552" y="2778"/>
                  </a:lnTo>
                  <a:lnTo>
                    <a:pt x="1323" y="3104"/>
                  </a:lnTo>
                  <a:lnTo>
                    <a:pt x="1226" y="3527"/>
                  </a:lnTo>
                  <a:lnTo>
                    <a:pt x="1340" y="3985"/>
                  </a:lnTo>
                  <a:lnTo>
                    <a:pt x="1622" y="4329"/>
                  </a:lnTo>
                  <a:lnTo>
                    <a:pt x="1702" y="4523"/>
                  </a:lnTo>
                  <a:lnTo>
                    <a:pt x="1675" y="4743"/>
                  </a:lnTo>
                  <a:lnTo>
                    <a:pt x="1614" y="4972"/>
                  </a:lnTo>
                  <a:lnTo>
                    <a:pt x="1525" y="5131"/>
                  </a:lnTo>
                  <a:lnTo>
                    <a:pt x="1376" y="5078"/>
                  </a:lnTo>
                  <a:lnTo>
                    <a:pt x="1234" y="5052"/>
                  </a:lnTo>
                  <a:lnTo>
                    <a:pt x="1014" y="5687"/>
                  </a:lnTo>
                  <a:lnTo>
                    <a:pt x="1261" y="6057"/>
                  </a:lnTo>
                  <a:lnTo>
                    <a:pt x="1314" y="6312"/>
                  </a:lnTo>
                  <a:lnTo>
                    <a:pt x="1331" y="6586"/>
                  </a:lnTo>
                  <a:lnTo>
                    <a:pt x="1869" y="6568"/>
                  </a:lnTo>
                  <a:lnTo>
                    <a:pt x="2063" y="6480"/>
                  </a:lnTo>
                  <a:lnTo>
                    <a:pt x="2178" y="6286"/>
                  </a:lnTo>
                  <a:lnTo>
                    <a:pt x="2186" y="6110"/>
                  </a:lnTo>
                  <a:lnTo>
                    <a:pt x="2213" y="5942"/>
                  </a:lnTo>
                  <a:lnTo>
                    <a:pt x="2469" y="5810"/>
                  </a:lnTo>
                  <a:lnTo>
                    <a:pt x="2927" y="5748"/>
                  </a:lnTo>
                  <a:lnTo>
                    <a:pt x="3086" y="5766"/>
                  </a:lnTo>
                  <a:lnTo>
                    <a:pt x="3315" y="5828"/>
                  </a:lnTo>
                  <a:lnTo>
                    <a:pt x="4108" y="5854"/>
                  </a:lnTo>
                  <a:lnTo>
                    <a:pt x="4408" y="5775"/>
                  </a:lnTo>
                  <a:lnTo>
                    <a:pt x="4981" y="5413"/>
                  </a:lnTo>
                  <a:lnTo>
                    <a:pt x="5545" y="5193"/>
                  </a:lnTo>
                  <a:lnTo>
                    <a:pt x="5774" y="5034"/>
                  </a:lnTo>
                  <a:lnTo>
                    <a:pt x="5748" y="4876"/>
                  </a:lnTo>
                  <a:lnTo>
                    <a:pt x="5686" y="4734"/>
                  </a:lnTo>
                  <a:lnTo>
                    <a:pt x="5589" y="4655"/>
                  </a:lnTo>
                  <a:lnTo>
                    <a:pt x="5536" y="4629"/>
                  </a:lnTo>
                  <a:lnTo>
                    <a:pt x="5439" y="4496"/>
                  </a:lnTo>
                  <a:lnTo>
                    <a:pt x="5333" y="4153"/>
                  </a:lnTo>
                  <a:lnTo>
                    <a:pt x="5474" y="3686"/>
                  </a:lnTo>
                  <a:lnTo>
                    <a:pt x="5801" y="3289"/>
                  </a:lnTo>
                  <a:lnTo>
                    <a:pt x="5853" y="3051"/>
                  </a:lnTo>
                  <a:lnTo>
                    <a:pt x="5827" y="2786"/>
                  </a:lnTo>
                  <a:lnTo>
                    <a:pt x="5695" y="2557"/>
                  </a:lnTo>
                  <a:lnTo>
                    <a:pt x="5607" y="2460"/>
                  </a:lnTo>
                  <a:lnTo>
                    <a:pt x="5501" y="2275"/>
                  </a:lnTo>
                  <a:lnTo>
                    <a:pt x="5510" y="2090"/>
                  </a:lnTo>
                  <a:lnTo>
                    <a:pt x="5510" y="2002"/>
                  </a:lnTo>
                  <a:lnTo>
                    <a:pt x="5466" y="1887"/>
                  </a:lnTo>
                  <a:lnTo>
                    <a:pt x="5439" y="1834"/>
                  </a:lnTo>
                  <a:lnTo>
                    <a:pt x="5369" y="1658"/>
                  </a:lnTo>
                  <a:lnTo>
                    <a:pt x="5395" y="1526"/>
                  </a:lnTo>
                  <a:lnTo>
                    <a:pt x="5527" y="1297"/>
                  </a:lnTo>
                  <a:lnTo>
                    <a:pt x="5325" y="953"/>
                  </a:lnTo>
                  <a:lnTo>
                    <a:pt x="5122" y="706"/>
                  </a:lnTo>
                  <a:lnTo>
                    <a:pt x="4840" y="671"/>
                  </a:lnTo>
                  <a:lnTo>
                    <a:pt x="4496" y="503"/>
                  </a:lnTo>
                  <a:lnTo>
                    <a:pt x="4046" y="89"/>
                  </a:lnTo>
                  <a:lnTo>
                    <a:pt x="3897"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3163;p54">
              <a:extLst>
                <a:ext uri="{FF2B5EF4-FFF2-40B4-BE49-F238E27FC236}">
                  <a16:creationId xmlns:a16="http://schemas.microsoft.com/office/drawing/2014/main" id="{F2ABD7FD-70F5-0810-665B-2C386F8CEE74}"/>
                </a:ext>
              </a:extLst>
            </p:cNvPr>
            <p:cNvSpPr/>
            <p:nvPr/>
          </p:nvSpPr>
          <p:spPr>
            <a:xfrm>
              <a:off x="5762122" y="3143504"/>
              <a:ext cx="257639" cy="295887"/>
            </a:xfrm>
            <a:custGeom>
              <a:avLst/>
              <a:gdLst/>
              <a:ahLst/>
              <a:cxnLst/>
              <a:rect l="l" t="t" r="r" b="b"/>
              <a:pathLst>
                <a:path w="3624" h="4162" extrusionOk="0">
                  <a:moveTo>
                    <a:pt x="1217" y="1"/>
                  </a:moveTo>
                  <a:lnTo>
                    <a:pt x="785" y="27"/>
                  </a:lnTo>
                  <a:lnTo>
                    <a:pt x="573" y="388"/>
                  </a:lnTo>
                  <a:lnTo>
                    <a:pt x="309" y="997"/>
                  </a:lnTo>
                  <a:lnTo>
                    <a:pt x="0" y="1746"/>
                  </a:lnTo>
                  <a:lnTo>
                    <a:pt x="0" y="2204"/>
                  </a:lnTo>
                  <a:lnTo>
                    <a:pt x="141" y="2627"/>
                  </a:lnTo>
                  <a:lnTo>
                    <a:pt x="238" y="2619"/>
                  </a:lnTo>
                  <a:lnTo>
                    <a:pt x="538" y="2680"/>
                  </a:lnTo>
                  <a:lnTo>
                    <a:pt x="670" y="2786"/>
                  </a:lnTo>
                  <a:lnTo>
                    <a:pt x="705" y="2865"/>
                  </a:lnTo>
                  <a:lnTo>
                    <a:pt x="767" y="3192"/>
                  </a:lnTo>
                  <a:lnTo>
                    <a:pt x="688" y="3491"/>
                  </a:lnTo>
                  <a:lnTo>
                    <a:pt x="564" y="3844"/>
                  </a:lnTo>
                  <a:lnTo>
                    <a:pt x="767" y="3809"/>
                  </a:lnTo>
                  <a:lnTo>
                    <a:pt x="952" y="3870"/>
                  </a:lnTo>
                  <a:lnTo>
                    <a:pt x="1146" y="3870"/>
                  </a:lnTo>
                  <a:lnTo>
                    <a:pt x="1367" y="3817"/>
                  </a:lnTo>
                  <a:lnTo>
                    <a:pt x="1578" y="3879"/>
                  </a:lnTo>
                  <a:lnTo>
                    <a:pt x="1728" y="4047"/>
                  </a:lnTo>
                  <a:lnTo>
                    <a:pt x="1913" y="4152"/>
                  </a:lnTo>
                  <a:lnTo>
                    <a:pt x="2142" y="4161"/>
                  </a:lnTo>
                  <a:lnTo>
                    <a:pt x="2371" y="4135"/>
                  </a:lnTo>
                  <a:lnTo>
                    <a:pt x="2486" y="3914"/>
                  </a:lnTo>
                  <a:lnTo>
                    <a:pt x="2654" y="3756"/>
                  </a:lnTo>
                  <a:lnTo>
                    <a:pt x="2980" y="3341"/>
                  </a:lnTo>
                  <a:lnTo>
                    <a:pt x="3235" y="2839"/>
                  </a:lnTo>
                  <a:lnTo>
                    <a:pt x="3412" y="2566"/>
                  </a:lnTo>
                  <a:lnTo>
                    <a:pt x="3623" y="2328"/>
                  </a:lnTo>
                  <a:lnTo>
                    <a:pt x="3420" y="2028"/>
                  </a:lnTo>
                  <a:lnTo>
                    <a:pt x="3174" y="1790"/>
                  </a:lnTo>
                  <a:lnTo>
                    <a:pt x="3006" y="1675"/>
                  </a:lnTo>
                  <a:lnTo>
                    <a:pt x="2830" y="1631"/>
                  </a:lnTo>
                  <a:lnTo>
                    <a:pt x="2460" y="1711"/>
                  </a:lnTo>
                  <a:lnTo>
                    <a:pt x="2327" y="1737"/>
                  </a:lnTo>
                  <a:lnTo>
                    <a:pt x="2151" y="1799"/>
                  </a:lnTo>
                  <a:lnTo>
                    <a:pt x="2001" y="1825"/>
                  </a:lnTo>
                  <a:lnTo>
                    <a:pt x="1922" y="1746"/>
                  </a:lnTo>
                  <a:lnTo>
                    <a:pt x="1860" y="1772"/>
                  </a:lnTo>
                  <a:lnTo>
                    <a:pt x="1807" y="1781"/>
                  </a:lnTo>
                  <a:lnTo>
                    <a:pt x="1754" y="1808"/>
                  </a:lnTo>
                  <a:lnTo>
                    <a:pt x="1728" y="1869"/>
                  </a:lnTo>
                  <a:lnTo>
                    <a:pt x="1684" y="1869"/>
                  </a:lnTo>
                  <a:lnTo>
                    <a:pt x="1490" y="1640"/>
                  </a:lnTo>
                  <a:lnTo>
                    <a:pt x="1472" y="1252"/>
                  </a:lnTo>
                  <a:lnTo>
                    <a:pt x="1419" y="1182"/>
                  </a:lnTo>
                  <a:lnTo>
                    <a:pt x="1358" y="1111"/>
                  </a:lnTo>
                  <a:lnTo>
                    <a:pt x="1296" y="953"/>
                  </a:lnTo>
                  <a:lnTo>
                    <a:pt x="1340" y="776"/>
                  </a:lnTo>
                  <a:lnTo>
                    <a:pt x="1472" y="626"/>
                  </a:lnTo>
                  <a:lnTo>
                    <a:pt x="1569" y="459"/>
                  </a:lnTo>
                  <a:lnTo>
                    <a:pt x="1578"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3" name="Google Shape;3164;p54">
              <a:extLst>
                <a:ext uri="{FF2B5EF4-FFF2-40B4-BE49-F238E27FC236}">
                  <a16:creationId xmlns:a16="http://schemas.microsoft.com/office/drawing/2014/main" id="{60364ED8-043D-BF64-7FBC-FC254C34D9DC}"/>
                </a:ext>
              </a:extLst>
            </p:cNvPr>
            <p:cNvSpPr/>
            <p:nvPr/>
          </p:nvSpPr>
          <p:spPr>
            <a:xfrm>
              <a:off x="6250900" y="2909744"/>
              <a:ext cx="604855" cy="340960"/>
            </a:xfrm>
            <a:custGeom>
              <a:avLst/>
              <a:gdLst/>
              <a:ahLst/>
              <a:cxnLst/>
              <a:rect l="l" t="t" r="r" b="b"/>
              <a:pathLst>
                <a:path w="8508" h="4796" extrusionOk="0">
                  <a:moveTo>
                    <a:pt x="5281" y="1"/>
                  </a:moveTo>
                  <a:lnTo>
                    <a:pt x="5008" y="80"/>
                  </a:lnTo>
                  <a:lnTo>
                    <a:pt x="4682" y="80"/>
                  </a:lnTo>
                  <a:lnTo>
                    <a:pt x="4338" y="468"/>
                  </a:lnTo>
                  <a:lnTo>
                    <a:pt x="4047" y="909"/>
                  </a:lnTo>
                  <a:lnTo>
                    <a:pt x="3685" y="1102"/>
                  </a:lnTo>
                  <a:lnTo>
                    <a:pt x="3562" y="1340"/>
                  </a:lnTo>
                  <a:lnTo>
                    <a:pt x="3553" y="1649"/>
                  </a:lnTo>
                  <a:lnTo>
                    <a:pt x="3271" y="1905"/>
                  </a:lnTo>
                  <a:lnTo>
                    <a:pt x="2883" y="2002"/>
                  </a:lnTo>
                  <a:lnTo>
                    <a:pt x="2725" y="2081"/>
                  </a:lnTo>
                  <a:lnTo>
                    <a:pt x="2557" y="2134"/>
                  </a:lnTo>
                  <a:lnTo>
                    <a:pt x="2354" y="2107"/>
                  </a:lnTo>
                  <a:lnTo>
                    <a:pt x="2161" y="2046"/>
                  </a:lnTo>
                  <a:lnTo>
                    <a:pt x="1737" y="2099"/>
                  </a:lnTo>
                  <a:lnTo>
                    <a:pt x="1323" y="2275"/>
                  </a:lnTo>
                  <a:lnTo>
                    <a:pt x="662" y="2398"/>
                  </a:lnTo>
                  <a:lnTo>
                    <a:pt x="442" y="2680"/>
                  </a:lnTo>
                  <a:lnTo>
                    <a:pt x="186" y="2910"/>
                  </a:lnTo>
                  <a:lnTo>
                    <a:pt x="1" y="3139"/>
                  </a:lnTo>
                  <a:lnTo>
                    <a:pt x="1" y="3482"/>
                  </a:lnTo>
                  <a:lnTo>
                    <a:pt x="160" y="3756"/>
                  </a:lnTo>
                  <a:lnTo>
                    <a:pt x="442" y="3853"/>
                  </a:lnTo>
                  <a:lnTo>
                    <a:pt x="944" y="4170"/>
                  </a:lnTo>
                  <a:lnTo>
                    <a:pt x="1455" y="4064"/>
                  </a:lnTo>
                  <a:lnTo>
                    <a:pt x="1958" y="4073"/>
                  </a:lnTo>
                  <a:lnTo>
                    <a:pt x="2504" y="4276"/>
                  </a:lnTo>
                  <a:lnTo>
                    <a:pt x="2866" y="4593"/>
                  </a:lnTo>
                  <a:lnTo>
                    <a:pt x="2927" y="4646"/>
                  </a:lnTo>
                  <a:lnTo>
                    <a:pt x="2980" y="4646"/>
                  </a:lnTo>
                  <a:lnTo>
                    <a:pt x="3121" y="4549"/>
                  </a:lnTo>
                  <a:lnTo>
                    <a:pt x="3183" y="4620"/>
                  </a:lnTo>
                  <a:lnTo>
                    <a:pt x="3262" y="4664"/>
                  </a:lnTo>
                  <a:lnTo>
                    <a:pt x="3465" y="4717"/>
                  </a:lnTo>
                  <a:lnTo>
                    <a:pt x="3492" y="4725"/>
                  </a:lnTo>
                  <a:lnTo>
                    <a:pt x="3500" y="4778"/>
                  </a:lnTo>
                  <a:lnTo>
                    <a:pt x="3518" y="4796"/>
                  </a:lnTo>
                  <a:lnTo>
                    <a:pt x="3544" y="4787"/>
                  </a:lnTo>
                  <a:lnTo>
                    <a:pt x="3553" y="4769"/>
                  </a:lnTo>
                  <a:lnTo>
                    <a:pt x="3562" y="4761"/>
                  </a:lnTo>
                  <a:lnTo>
                    <a:pt x="3580" y="4752"/>
                  </a:lnTo>
                  <a:lnTo>
                    <a:pt x="3597" y="4725"/>
                  </a:lnTo>
                  <a:lnTo>
                    <a:pt x="3589" y="4655"/>
                  </a:lnTo>
                  <a:lnTo>
                    <a:pt x="3597" y="4584"/>
                  </a:lnTo>
                  <a:lnTo>
                    <a:pt x="3641" y="4549"/>
                  </a:lnTo>
                  <a:lnTo>
                    <a:pt x="3835" y="4576"/>
                  </a:lnTo>
                  <a:lnTo>
                    <a:pt x="3915" y="4540"/>
                  </a:lnTo>
                  <a:lnTo>
                    <a:pt x="3941" y="4417"/>
                  </a:lnTo>
                  <a:lnTo>
                    <a:pt x="3994" y="4408"/>
                  </a:lnTo>
                  <a:lnTo>
                    <a:pt x="4258" y="4311"/>
                  </a:lnTo>
                  <a:lnTo>
                    <a:pt x="4408" y="4373"/>
                  </a:lnTo>
                  <a:lnTo>
                    <a:pt x="4972" y="4276"/>
                  </a:lnTo>
                  <a:lnTo>
                    <a:pt x="5069" y="4214"/>
                  </a:lnTo>
                  <a:lnTo>
                    <a:pt x="5352" y="3914"/>
                  </a:lnTo>
                  <a:lnTo>
                    <a:pt x="5404" y="3809"/>
                  </a:lnTo>
                  <a:lnTo>
                    <a:pt x="5448" y="3791"/>
                  </a:lnTo>
                  <a:lnTo>
                    <a:pt x="5678" y="3553"/>
                  </a:lnTo>
                  <a:lnTo>
                    <a:pt x="6709" y="3394"/>
                  </a:lnTo>
                  <a:lnTo>
                    <a:pt x="6480" y="3218"/>
                  </a:lnTo>
                  <a:lnTo>
                    <a:pt x="6392" y="3121"/>
                  </a:lnTo>
                  <a:lnTo>
                    <a:pt x="6489" y="3068"/>
                  </a:lnTo>
                  <a:lnTo>
                    <a:pt x="6497" y="3077"/>
                  </a:lnTo>
                  <a:lnTo>
                    <a:pt x="6559" y="3139"/>
                  </a:lnTo>
                  <a:lnTo>
                    <a:pt x="6586" y="3148"/>
                  </a:lnTo>
                  <a:lnTo>
                    <a:pt x="6621" y="3148"/>
                  </a:lnTo>
                  <a:lnTo>
                    <a:pt x="6647" y="3130"/>
                  </a:lnTo>
                  <a:lnTo>
                    <a:pt x="6674" y="3121"/>
                  </a:lnTo>
                  <a:lnTo>
                    <a:pt x="6691" y="3112"/>
                  </a:lnTo>
                  <a:lnTo>
                    <a:pt x="6709" y="3086"/>
                  </a:lnTo>
                  <a:lnTo>
                    <a:pt x="6735" y="3042"/>
                  </a:lnTo>
                  <a:lnTo>
                    <a:pt x="6771" y="3015"/>
                  </a:lnTo>
                  <a:lnTo>
                    <a:pt x="6850" y="3068"/>
                  </a:lnTo>
                  <a:lnTo>
                    <a:pt x="6894" y="3068"/>
                  </a:lnTo>
                  <a:lnTo>
                    <a:pt x="6929" y="3051"/>
                  </a:lnTo>
                  <a:lnTo>
                    <a:pt x="6965" y="3024"/>
                  </a:lnTo>
                  <a:lnTo>
                    <a:pt x="6841" y="2901"/>
                  </a:lnTo>
                  <a:lnTo>
                    <a:pt x="6806" y="2865"/>
                  </a:lnTo>
                  <a:lnTo>
                    <a:pt x="6859" y="2795"/>
                  </a:lnTo>
                  <a:lnTo>
                    <a:pt x="6956" y="2777"/>
                  </a:lnTo>
                  <a:lnTo>
                    <a:pt x="7062" y="2768"/>
                  </a:lnTo>
                  <a:lnTo>
                    <a:pt x="7159" y="2742"/>
                  </a:lnTo>
                  <a:lnTo>
                    <a:pt x="7097" y="2663"/>
                  </a:lnTo>
                  <a:lnTo>
                    <a:pt x="7106" y="2513"/>
                  </a:lnTo>
                  <a:lnTo>
                    <a:pt x="7053" y="2469"/>
                  </a:lnTo>
                  <a:lnTo>
                    <a:pt x="7000" y="2478"/>
                  </a:lnTo>
                  <a:lnTo>
                    <a:pt x="6868" y="2566"/>
                  </a:lnTo>
                  <a:lnTo>
                    <a:pt x="6806" y="2583"/>
                  </a:lnTo>
                  <a:lnTo>
                    <a:pt x="6841" y="2495"/>
                  </a:lnTo>
                  <a:lnTo>
                    <a:pt x="6894" y="2425"/>
                  </a:lnTo>
                  <a:lnTo>
                    <a:pt x="6956" y="2372"/>
                  </a:lnTo>
                  <a:lnTo>
                    <a:pt x="7026" y="2345"/>
                  </a:lnTo>
                  <a:lnTo>
                    <a:pt x="7062" y="2354"/>
                  </a:lnTo>
                  <a:lnTo>
                    <a:pt x="7159" y="2381"/>
                  </a:lnTo>
                  <a:lnTo>
                    <a:pt x="7185" y="2389"/>
                  </a:lnTo>
                  <a:lnTo>
                    <a:pt x="7220" y="2345"/>
                  </a:lnTo>
                  <a:lnTo>
                    <a:pt x="7220" y="2292"/>
                  </a:lnTo>
                  <a:lnTo>
                    <a:pt x="7211" y="2248"/>
                  </a:lnTo>
                  <a:lnTo>
                    <a:pt x="7185" y="2222"/>
                  </a:lnTo>
                  <a:lnTo>
                    <a:pt x="7238" y="2134"/>
                  </a:lnTo>
                  <a:lnTo>
                    <a:pt x="7264" y="2063"/>
                  </a:lnTo>
                  <a:lnTo>
                    <a:pt x="7264" y="1984"/>
                  </a:lnTo>
                  <a:lnTo>
                    <a:pt x="7220" y="1896"/>
                  </a:lnTo>
                  <a:lnTo>
                    <a:pt x="7441" y="1825"/>
                  </a:lnTo>
                  <a:lnTo>
                    <a:pt x="7502" y="1781"/>
                  </a:lnTo>
                  <a:lnTo>
                    <a:pt x="7555" y="1702"/>
                  </a:lnTo>
                  <a:lnTo>
                    <a:pt x="7573" y="1499"/>
                  </a:lnTo>
                  <a:lnTo>
                    <a:pt x="7599" y="1411"/>
                  </a:lnTo>
                  <a:lnTo>
                    <a:pt x="7652" y="1349"/>
                  </a:lnTo>
                  <a:lnTo>
                    <a:pt x="7732" y="1305"/>
                  </a:lnTo>
                  <a:lnTo>
                    <a:pt x="8014" y="1226"/>
                  </a:lnTo>
                  <a:lnTo>
                    <a:pt x="8199" y="1094"/>
                  </a:lnTo>
                  <a:lnTo>
                    <a:pt x="8357" y="970"/>
                  </a:lnTo>
                  <a:lnTo>
                    <a:pt x="8410" y="900"/>
                  </a:lnTo>
                  <a:lnTo>
                    <a:pt x="8357" y="812"/>
                  </a:lnTo>
                  <a:lnTo>
                    <a:pt x="8472" y="574"/>
                  </a:lnTo>
                  <a:lnTo>
                    <a:pt x="8507" y="441"/>
                  </a:lnTo>
                  <a:lnTo>
                    <a:pt x="8490" y="283"/>
                  </a:lnTo>
                  <a:lnTo>
                    <a:pt x="8349" y="133"/>
                  </a:lnTo>
                  <a:lnTo>
                    <a:pt x="7970" y="291"/>
                  </a:lnTo>
                  <a:lnTo>
                    <a:pt x="7855" y="203"/>
                  </a:lnTo>
                  <a:lnTo>
                    <a:pt x="7643" y="450"/>
                  </a:lnTo>
                  <a:lnTo>
                    <a:pt x="7388" y="574"/>
                  </a:lnTo>
                  <a:lnTo>
                    <a:pt x="7194" y="618"/>
                  </a:lnTo>
                  <a:lnTo>
                    <a:pt x="7000" y="715"/>
                  </a:lnTo>
                  <a:lnTo>
                    <a:pt x="6876" y="741"/>
                  </a:lnTo>
                  <a:lnTo>
                    <a:pt x="6744" y="741"/>
                  </a:lnTo>
                  <a:lnTo>
                    <a:pt x="6409" y="812"/>
                  </a:lnTo>
                  <a:lnTo>
                    <a:pt x="6083" y="767"/>
                  </a:lnTo>
                  <a:lnTo>
                    <a:pt x="5757" y="767"/>
                  </a:lnTo>
                  <a:lnTo>
                    <a:pt x="5475" y="697"/>
                  </a:lnTo>
                  <a:lnTo>
                    <a:pt x="5404" y="635"/>
                  </a:lnTo>
                  <a:lnTo>
                    <a:pt x="5334" y="600"/>
                  </a:lnTo>
                  <a:lnTo>
                    <a:pt x="5299" y="477"/>
                  </a:lnTo>
                  <a:lnTo>
                    <a:pt x="5387" y="415"/>
                  </a:lnTo>
                  <a:lnTo>
                    <a:pt x="5572" y="247"/>
                  </a:lnTo>
                  <a:lnTo>
                    <a:pt x="5545" y="53"/>
                  </a:lnTo>
                  <a:lnTo>
                    <a:pt x="5281"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4" name="Google Shape;3165;p54">
              <a:extLst>
                <a:ext uri="{FF2B5EF4-FFF2-40B4-BE49-F238E27FC236}">
                  <a16:creationId xmlns:a16="http://schemas.microsoft.com/office/drawing/2014/main" id="{411BC00C-1542-8C36-24A1-8720A8F47D99}"/>
                </a:ext>
              </a:extLst>
            </p:cNvPr>
            <p:cNvSpPr/>
            <p:nvPr/>
          </p:nvSpPr>
          <p:spPr>
            <a:xfrm>
              <a:off x="6809280" y="2694184"/>
              <a:ext cx="762112" cy="571584"/>
            </a:xfrm>
            <a:custGeom>
              <a:avLst/>
              <a:gdLst/>
              <a:ahLst/>
              <a:cxnLst/>
              <a:rect l="l" t="t" r="r" b="b"/>
              <a:pathLst>
                <a:path w="10720" h="8040" extrusionOk="0">
                  <a:moveTo>
                    <a:pt x="9944" y="0"/>
                  </a:moveTo>
                  <a:lnTo>
                    <a:pt x="9715" y="159"/>
                  </a:lnTo>
                  <a:lnTo>
                    <a:pt x="9151" y="379"/>
                  </a:lnTo>
                  <a:lnTo>
                    <a:pt x="8578" y="741"/>
                  </a:lnTo>
                  <a:lnTo>
                    <a:pt x="8278" y="820"/>
                  </a:lnTo>
                  <a:lnTo>
                    <a:pt x="7485" y="794"/>
                  </a:lnTo>
                  <a:lnTo>
                    <a:pt x="7256" y="732"/>
                  </a:lnTo>
                  <a:lnTo>
                    <a:pt x="7097" y="714"/>
                  </a:lnTo>
                  <a:lnTo>
                    <a:pt x="6639" y="776"/>
                  </a:lnTo>
                  <a:lnTo>
                    <a:pt x="6383" y="908"/>
                  </a:lnTo>
                  <a:lnTo>
                    <a:pt x="6356" y="1076"/>
                  </a:lnTo>
                  <a:lnTo>
                    <a:pt x="6348" y="1252"/>
                  </a:lnTo>
                  <a:lnTo>
                    <a:pt x="6233" y="1446"/>
                  </a:lnTo>
                  <a:lnTo>
                    <a:pt x="6039" y="1534"/>
                  </a:lnTo>
                  <a:lnTo>
                    <a:pt x="5501" y="1552"/>
                  </a:lnTo>
                  <a:lnTo>
                    <a:pt x="3950" y="1605"/>
                  </a:lnTo>
                  <a:lnTo>
                    <a:pt x="3871" y="1578"/>
                  </a:lnTo>
                  <a:lnTo>
                    <a:pt x="3712" y="1446"/>
                  </a:lnTo>
                  <a:lnTo>
                    <a:pt x="3606" y="1402"/>
                  </a:lnTo>
                  <a:lnTo>
                    <a:pt x="3395" y="1437"/>
                  </a:lnTo>
                  <a:lnTo>
                    <a:pt x="3324" y="1631"/>
                  </a:lnTo>
                  <a:lnTo>
                    <a:pt x="3218" y="1816"/>
                  </a:lnTo>
                  <a:lnTo>
                    <a:pt x="3104" y="2001"/>
                  </a:lnTo>
                  <a:lnTo>
                    <a:pt x="2963" y="2089"/>
                  </a:lnTo>
                  <a:lnTo>
                    <a:pt x="2804" y="2142"/>
                  </a:lnTo>
                  <a:lnTo>
                    <a:pt x="2443" y="2125"/>
                  </a:lnTo>
                  <a:lnTo>
                    <a:pt x="2099" y="2151"/>
                  </a:lnTo>
                  <a:lnTo>
                    <a:pt x="1967" y="2230"/>
                  </a:lnTo>
                  <a:lnTo>
                    <a:pt x="1605" y="2283"/>
                  </a:lnTo>
                  <a:lnTo>
                    <a:pt x="1411" y="2371"/>
                  </a:lnTo>
                  <a:lnTo>
                    <a:pt x="1015" y="2336"/>
                  </a:lnTo>
                  <a:lnTo>
                    <a:pt x="636" y="2239"/>
                  </a:lnTo>
                  <a:lnTo>
                    <a:pt x="1" y="2345"/>
                  </a:lnTo>
                  <a:lnTo>
                    <a:pt x="80" y="2433"/>
                  </a:lnTo>
                  <a:lnTo>
                    <a:pt x="133" y="2557"/>
                  </a:lnTo>
                  <a:lnTo>
                    <a:pt x="151" y="2698"/>
                  </a:lnTo>
                  <a:lnTo>
                    <a:pt x="1" y="3235"/>
                  </a:lnTo>
                  <a:lnTo>
                    <a:pt x="116" y="3323"/>
                  </a:lnTo>
                  <a:lnTo>
                    <a:pt x="495" y="3165"/>
                  </a:lnTo>
                  <a:lnTo>
                    <a:pt x="636" y="3315"/>
                  </a:lnTo>
                  <a:lnTo>
                    <a:pt x="653" y="3473"/>
                  </a:lnTo>
                  <a:lnTo>
                    <a:pt x="618" y="3606"/>
                  </a:lnTo>
                  <a:lnTo>
                    <a:pt x="503" y="3844"/>
                  </a:lnTo>
                  <a:lnTo>
                    <a:pt x="556" y="3932"/>
                  </a:lnTo>
                  <a:lnTo>
                    <a:pt x="503" y="4002"/>
                  </a:lnTo>
                  <a:lnTo>
                    <a:pt x="345" y="4126"/>
                  </a:lnTo>
                  <a:lnTo>
                    <a:pt x="706" y="4320"/>
                  </a:lnTo>
                  <a:lnTo>
                    <a:pt x="1085" y="4381"/>
                  </a:lnTo>
                  <a:lnTo>
                    <a:pt x="1358" y="4390"/>
                  </a:lnTo>
                  <a:lnTo>
                    <a:pt x="1614" y="4513"/>
                  </a:lnTo>
                  <a:lnTo>
                    <a:pt x="1896" y="4813"/>
                  </a:lnTo>
                  <a:lnTo>
                    <a:pt x="2196" y="5060"/>
                  </a:lnTo>
                  <a:lnTo>
                    <a:pt x="2346" y="5131"/>
                  </a:lnTo>
                  <a:lnTo>
                    <a:pt x="2496" y="5183"/>
                  </a:lnTo>
                  <a:lnTo>
                    <a:pt x="2672" y="5351"/>
                  </a:lnTo>
                  <a:lnTo>
                    <a:pt x="2892" y="5448"/>
                  </a:lnTo>
                  <a:lnTo>
                    <a:pt x="2936" y="5377"/>
                  </a:lnTo>
                  <a:lnTo>
                    <a:pt x="2989" y="5298"/>
                  </a:lnTo>
                  <a:lnTo>
                    <a:pt x="3121" y="5360"/>
                  </a:lnTo>
                  <a:lnTo>
                    <a:pt x="3236" y="5474"/>
                  </a:lnTo>
                  <a:lnTo>
                    <a:pt x="3315" y="5518"/>
                  </a:lnTo>
                  <a:lnTo>
                    <a:pt x="3403" y="5536"/>
                  </a:lnTo>
                  <a:lnTo>
                    <a:pt x="3465" y="5686"/>
                  </a:lnTo>
                  <a:lnTo>
                    <a:pt x="3439" y="6321"/>
                  </a:lnTo>
                  <a:lnTo>
                    <a:pt x="3509" y="6761"/>
                  </a:lnTo>
                  <a:lnTo>
                    <a:pt x="3553" y="6929"/>
                  </a:lnTo>
                  <a:lnTo>
                    <a:pt x="3562" y="7017"/>
                  </a:lnTo>
                  <a:lnTo>
                    <a:pt x="3730" y="7484"/>
                  </a:lnTo>
                  <a:lnTo>
                    <a:pt x="3888" y="7793"/>
                  </a:lnTo>
                  <a:lnTo>
                    <a:pt x="4100" y="8039"/>
                  </a:lnTo>
                  <a:lnTo>
                    <a:pt x="4558" y="7449"/>
                  </a:lnTo>
                  <a:lnTo>
                    <a:pt x="4761" y="7255"/>
                  </a:lnTo>
                  <a:lnTo>
                    <a:pt x="5272" y="6902"/>
                  </a:lnTo>
                  <a:lnTo>
                    <a:pt x="5501" y="6814"/>
                  </a:lnTo>
                  <a:lnTo>
                    <a:pt x="6013" y="6418"/>
                  </a:lnTo>
                  <a:lnTo>
                    <a:pt x="6383" y="6391"/>
                  </a:lnTo>
                  <a:lnTo>
                    <a:pt x="6603" y="6091"/>
                  </a:lnTo>
                  <a:lnTo>
                    <a:pt x="6665" y="5959"/>
                  </a:lnTo>
                  <a:lnTo>
                    <a:pt x="7176" y="5853"/>
                  </a:lnTo>
                  <a:lnTo>
                    <a:pt x="8798" y="5897"/>
                  </a:lnTo>
                  <a:lnTo>
                    <a:pt x="9089" y="5756"/>
                  </a:lnTo>
                  <a:lnTo>
                    <a:pt x="8992" y="5580"/>
                  </a:lnTo>
                  <a:lnTo>
                    <a:pt x="8957" y="5351"/>
                  </a:lnTo>
                  <a:lnTo>
                    <a:pt x="8904" y="5183"/>
                  </a:lnTo>
                  <a:lnTo>
                    <a:pt x="8948" y="5051"/>
                  </a:lnTo>
                  <a:lnTo>
                    <a:pt x="9177" y="4893"/>
                  </a:lnTo>
                  <a:lnTo>
                    <a:pt x="9362" y="4672"/>
                  </a:lnTo>
                  <a:lnTo>
                    <a:pt x="9583" y="3958"/>
                  </a:lnTo>
                  <a:lnTo>
                    <a:pt x="9662" y="3835"/>
                  </a:lnTo>
                  <a:lnTo>
                    <a:pt x="9741" y="3694"/>
                  </a:lnTo>
                  <a:lnTo>
                    <a:pt x="9768" y="3368"/>
                  </a:lnTo>
                  <a:lnTo>
                    <a:pt x="9715" y="2724"/>
                  </a:lnTo>
                  <a:lnTo>
                    <a:pt x="9768" y="2380"/>
                  </a:lnTo>
                  <a:lnTo>
                    <a:pt x="9856" y="2054"/>
                  </a:lnTo>
                  <a:lnTo>
                    <a:pt x="9900" y="1851"/>
                  </a:lnTo>
                  <a:lnTo>
                    <a:pt x="10006" y="1701"/>
                  </a:lnTo>
                  <a:lnTo>
                    <a:pt x="10244" y="1578"/>
                  </a:lnTo>
                  <a:lnTo>
                    <a:pt x="10394" y="1534"/>
                  </a:lnTo>
                  <a:lnTo>
                    <a:pt x="10544" y="1516"/>
                  </a:lnTo>
                  <a:lnTo>
                    <a:pt x="10720" y="1419"/>
                  </a:lnTo>
                  <a:lnTo>
                    <a:pt x="10693" y="1217"/>
                  </a:lnTo>
                  <a:lnTo>
                    <a:pt x="10552" y="1173"/>
                  </a:lnTo>
                  <a:lnTo>
                    <a:pt x="10499" y="1014"/>
                  </a:lnTo>
                  <a:lnTo>
                    <a:pt x="10552" y="776"/>
                  </a:lnTo>
                  <a:lnTo>
                    <a:pt x="10499" y="538"/>
                  </a:lnTo>
                  <a:lnTo>
                    <a:pt x="10182" y="309"/>
                  </a:lnTo>
                  <a:lnTo>
                    <a:pt x="9944"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5" name="Google Shape;3166;p54">
              <a:extLst>
                <a:ext uri="{FF2B5EF4-FFF2-40B4-BE49-F238E27FC236}">
                  <a16:creationId xmlns:a16="http://schemas.microsoft.com/office/drawing/2014/main" id="{68931F43-9992-5E3E-D4CB-0B473327CC8C}"/>
                </a:ext>
              </a:extLst>
            </p:cNvPr>
            <p:cNvSpPr/>
            <p:nvPr/>
          </p:nvSpPr>
          <p:spPr>
            <a:xfrm>
              <a:off x="7442239" y="2772531"/>
              <a:ext cx="257639" cy="433735"/>
            </a:xfrm>
            <a:custGeom>
              <a:avLst/>
              <a:gdLst/>
              <a:ahLst/>
              <a:cxnLst/>
              <a:rect l="l" t="t" r="r" b="b"/>
              <a:pathLst>
                <a:path w="3624" h="6101" extrusionOk="0">
                  <a:moveTo>
                    <a:pt x="2302" y="0"/>
                  </a:moveTo>
                  <a:lnTo>
                    <a:pt x="2046" y="35"/>
                  </a:lnTo>
                  <a:lnTo>
                    <a:pt x="1790" y="115"/>
                  </a:lnTo>
                  <a:lnTo>
                    <a:pt x="1817" y="317"/>
                  </a:lnTo>
                  <a:lnTo>
                    <a:pt x="1641" y="414"/>
                  </a:lnTo>
                  <a:lnTo>
                    <a:pt x="1491" y="432"/>
                  </a:lnTo>
                  <a:lnTo>
                    <a:pt x="1341" y="476"/>
                  </a:lnTo>
                  <a:lnTo>
                    <a:pt x="1103" y="599"/>
                  </a:lnTo>
                  <a:lnTo>
                    <a:pt x="997" y="749"/>
                  </a:lnTo>
                  <a:lnTo>
                    <a:pt x="953" y="952"/>
                  </a:lnTo>
                  <a:lnTo>
                    <a:pt x="865" y="1278"/>
                  </a:lnTo>
                  <a:lnTo>
                    <a:pt x="812" y="1622"/>
                  </a:lnTo>
                  <a:lnTo>
                    <a:pt x="865" y="2266"/>
                  </a:lnTo>
                  <a:lnTo>
                    <a:pt x="838" y="2592"/>
                  </a:lnTo>
                  <a:lnTo>
                    <a:pt x="759" y="2733"/>
                  </a:lnTo>
                  <a:lnTo>
                    <a:pt x="680" y="2856"/>
                  </a:lnTo>
                  <a:lnTo>
                    <a:pt x="459" y="3570"/>
                  </a:lnTo>
                  <a:lnTo>
                    <a:pt x="274" y="3791"/>
                  </a:lnTo>
                  <a:lnTo>
                    <a:pt x="45" y="3949"/>
                  </a:lnTo>
                  <a:lnTo>
                    <a:pt x="1" y="4081"/>
                  </a:lnTo>
                  <a:lnTo>
                    <a:pt x="54" y="4249"/>
                  </a:lnTo>
                  <a:lnTo>
                    <a:pt x="89" y="4478"/>
                  </a:lnTo>
                  <a:lnTo>
                    <a:pt x="186" y="4654"/>
                  </a:lnTo>
                  <a:lnTo>
                    <a:pt x="310" y="4654"/>
                  </a:lnTo>
                  <a:lnTo>
                    <a:pt x="398" y="4698"/>
                  </a:lnTo>
                  <a:lnTo>
                    <a:pt x="724" y="5104"/>
                  </a:lnTo>
                  <a:lnTo>
                    <a:pt x="1050" y="5783"/>
                  </a:lnTo>
                  <a:lnTo>
                    <a:pt x="1544" y="6100"/>
                  </a:lnTo>
                  <a:lnTo>
                    <a:pt x="2258" y="5950"/>
                  </a:lnTo>
                  <a:lnTo>
                    <a:pt x="2769" y="5562"/>
                  </a:lnTo>
                  <a:lnTo>
                    <a:pt x="3624" y="4954"/>
                  </a:lnTo>
                  <a:lnTo>
                    <a:pt x="3139" y="4408"/>
                  </a:lnTo>
                  <a:lnTo>
                    <a:pt x="2293" y="4064"/>
                  </a:lnTo>
                  <a:lnTo>
                    <a:pt x="1790" y="3605"/>
                  </a:lnTo>
                  <a:lnTo>
                    <a:pt x="1755" y="3209"/>
                  </a:lnTo>
                  <a:lnTo>
                    <a:pt x="1905" y="2944"/>
                  </a:lnTo>
                  <a:lnTo>
                    <a:pt x="2443" y="2803"/>
                  </a:lnTo>
                  <a:lnTo>
                    <a:pt x="2672" y="2530"/>
                  </a:lnTo>
                  <a:lnTo>
                    <a:pt x="2769" y="2213"/>
                  </a:lnTo>
                  <a:lnTo>
                    <a:pt x="2980" y="1966"/>
                  </a:lnTo>
                  <a:lnTo>
                    <a:pt x="2963" y="1834"/>
                  </a:lnTo>
                  <a:lnTo>
                    <a:pt x="2989" y="1701"/>
                  </a:lnTo>
                  <a:lnTo>
                    <a:pt x="2989" y="1490"/>
                  </a:lnTo>
                  <a:lnTo>
                    <a:pt x="2963" y="1278"/>
                  </a:lnTo>
                  <a:lnTo>
                    <a:pt x="2857" y="952"/>
                  </a:lnTo>
                  <a:lnTo>
                    <a:pt x="2698" y="150"/>
                  </a:lnTo>
                  <a:lnTo>
                    <a:pt x="2302"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3167;p54">
              <a:extLst>
                <a:ext uri="{FF2B5EF4-FFF2-40B4-BE49-F238E27FC236}">
                  <a16:creationId xmlns:a16="http://schemas.microsoft.com/office/drawing/2014/main" id="{73568DDC-F79A-E66D-7443-D132158263CC}"/>
                </a:ext>
              </a:extLst>
            </p:cNvPr>
            <p:cNvSpPr/>
            <p:nvPr/>
          </p:nvSpPr>
          <p:spPr>
            <a:xfrm>
              <a:off x="7567011" y="2909744"/>
              <a:ext cx="533336" cy="252023"/>
            </a:xfrm>
            <a:custGeom>
              <a:avLst/>
              <a:gdLst/>
              <a:ahLst/>
              <a:cxnLst/>
              <a:rect l="l" t="t" r="r" b="b"/>
              <a:pathLst>
                <a:path w="7502" h="3545" extrusionOk="0">
                  <a:moveTo>
                    <a:pt x="3006" y="1"/>
                  </a:moveTo>
                  <a:lnTo>
                    <a:pt x="2601" y="159"/>
                  </a:lnTo>
                  <a:lnTo>
                    <a:pt x="2204" y="265"/>
                  </a:lnTo>
                  <a:lnTo>
                    <a:pt x="1701" y="221"/>
                  </a:lnTo>
                  <a:lnTo>
                    <a:pt x="1225" y="36"/>
                  </a:lnTo>
                  <a:lnTo>
                    <a:pt x="1014" y="283"/>
                  </a:lnTo>
                  <a:lnTo>
                    <a:pt x="917" y="600"/>
                  </a:lnTo>
                  <a:lnTo>
                    <a:pt x="688" y="873"/>
                  </a:lnTo>
                  <a:lnTo>
                    <a:pt x="150" y="1014"/>
                  </a:lnTo>
                  <a:lnTo>
                    <a:pt x="0" y="1279"/>
                  </a:lnTo>
                  <a:lnTo>
                    <a:pt x="35" y="1675"/>
                  </a:lnTo>
                  <a:lnTo>
                    <a:pt x="538" y="2134"/>
                  </a:lnTo>
                  <a:lnTo>
                    <a:pt x="1384" y="2478"/>
                  </a:lnTo>
                  <a:lnTo>
                    <a:pt x="1869" y="3024"/>
                  </a:lnTo>
                  <a:lnTo>
                    <a:pt x="2530" y="3350"/>
                  </a:lnTo>
                  <a:lnTo>
                    <a:pt x="3447" y="3421"/>
                  </a:lnTo>
                  <a:lnTo>
                    <a:pt x="3817" y="3059"/>
                  </a:lnTo>
                  <a:lnTo>
                    <a:pt x="4425" y="3077"/>
                  </a:lnTo>
                  <a:lnTo>
                    <a:pt x="5368" y="3324"/>
                  </a:lnTo>
                  <a:lnTo>
                    <a:pt x="6347" y="3465"/>
                  </a:lnTo>
                  <a:lnTo>
                    <a:pt x="7131" y="3544"/>
                  </a:lnTo>
                  <a:lnTo>
                    <a:pt x="7413" y="3253"/>
                  </a:lnTo>
                  <a:lnTo>
                    <a:pt x="7466" y="2918"/>
                  </a:lnTo>
                  <a:lnTo>
                    <a:pt x="7281" y="2478"/>
                  </a:lnTo>
                  <a:lnTo>
                    <a:pt x="7334" y="2319"/>
                  </a:lnTo>
                  <a:lnTo>
                    <a:pt x="7396" y="2178"/>
                  </a:lnTo>
                  <a:lnTo>
                    <a:pt x="7413" y="1834"/>
                  </a:lnTo>
                  <a:lnTo>
                    <a:pt x="7475" y="1596"/>
                  </a:lnTo>
                  <a:lnTo>
                    <a:pt x="7502" y="1349"/>
                  </a:lnTo>
                  <a:lnTo>
                    <a:pt x="7466" y="1102"/>
                  </a:lnTo>
                  <a:lnTo>
                    <a:pt x="7484" y="864"/>
                  </a:lnTo>
                  <a:lnTo>
                    <a:pt x="7440" y="450"/>
                  </a:lnTo>
                  <a:lnTo>
                    <a:pt x="7105" y="318"/>
                  </a:lnTo>
                  <a:lnTo>
                    <a:pt x="6735" y="247"/>
                  </a:lnTo>
                  <a:lnTo>
                    <a:pt x="6373" y="274"/>
                  </a:lnTo>
                  <a:lnTo>
                    <a:pt x="6241" y="671"/>
                  </a:lnTo>
                  <a:lnTo>
                    <a:pt x="6179" y="732"/>
                  </a:lnTo>
                  <a:lnTo>
                    <a:pt x="6135" y="812"/>
                  </a:lnTo>
                  <a:lnTo>
                    <a:pt x="6135" y="997"/>
                  </a:lnTo>
                  <a:lnTo>
                    <a:pt x="6162" y="1173"/>
                  </a:lnTo>
                  <a:lnTo>
                    <a:pt x="6144" y="1446"/>
                  </a:lnTo>
                  <a:lnTo>
                    <a:pt x="6003" y="1658"/>
                  </a:lnTo>
                  <a:lnTo>
                    <a:pt x="5827" y="1675"/>
                  </a:lnTo>
                  <a:lnTo>
                    <a:pt x="5509" y="1446"/>
                  </a:lnTo>
                  <a:lnTo>
                    <a:pt x="5042" y="1182"/>
                  </a:lnTo>
                  <a:lnTo>
                    <a:pt x="4751" y="961"/>
                  </a:lnTo>
                  <a:lnTo>
                    <a:pt x="4549" y="882"/>
                  </a:lnTo>
                  <a:lnTo>
                    <a:pt x="4222" y="794"/>
                  </a:lnTo>
                  <a:lnTo>
                    <a:pt x="3888" y="653"/>
                  </a:lnTo>
                  <a:lnTo>
                    <a:pt x="3588" y="424"/>
                  </a:lnTo>
                  <a:lnTo>
                    <a:pt x="3315" y="150"/>
                  </a:lnTo>
                  <a:lnTo>
                    <a:pt x="3006"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3168;p54">
              <a:extLst>
                <a:ext uri="{FF2B5EF4-FFF2-40B4-BE49-F238E27FC236}">
                  <a16:creationId xmlns:a16="http://schemas.microsoft.com/office/drawing/2014/main" id="{D7EDBF94-4A0B-FB22-8B65-149AA4795EA4}"/>
                </a:ext>
              </a:extLst>
            </p:cNvPr>
            <p:cNvSpPr/>
            <p:nvPr/>
          </p:nvSpPr>
          <p:spPr>
            <a:xfrm>
              <a:off x="7038704" y="1892019"/>
              <a:ext cx="325888" cy="258208"/>
            </a:xfrm>
            <a:custGeom>
              <a:avLst/>
              <a:gdLst/>
              <a:ahLst/>
              <a:cxnLst/>
              <a:rect l="l" t="t" r="r" b="b"/>
              <a:pathLst>
                <a:path w="4584" h="3632" extrusionOk="0">
                  <a:moveTo>
                    <a:pt x="335" y="0"/>
                  </a:moveTo>
                  <a:lnTo>
                    <a:pt x="300" y="18"/>
                  </a:lnTo>
                  <a:lnTo>
                    <a:pt x="238" y="71"/>
                  </a:lnTo>
                  <a:lnTo>
                    <a:pt x="273" y="220"/>
                  </a:lnTo>
                  <a:lnTo>
                    <a:pt x="203" y="309"/>
                  </a:lnTo>
                  <a:lnTo>
                    <a:pt x="106" y="309"/>
                  </a:lnTo>
                  <a:lnTo>
                    <a:pt x="265" y="1208"/>
                  </a:lnTo>
                  <a:lnTo>
                    <a:pt x="229" y="2098"/>
                  </a:lnTo>
                  <a:lnTo>
                    <a:pt x="80" y="2451"/>
                  </a:lnTo>
                  <a:lnTo>
                    <a:pt x="27" y="2645"/>
                  </a:lnTo>
                  <a:lnTo>
                    <a:pt x="0" y="2847"/>
                  </a:lnTo>
                  <a:lnTo>
                    <a:pt x="97" y="3253"/>
                  </a:lnTo>
                  <a:lnTo>
                    <a:pt x="265" y="3632"/>
                  </a:lnTo>
                  <a:lnTo>
                    <a:pt x="520" y="3535"/>
                  </a:lnTo>
                  <a:lnTo>
                    <a:pt x="785" y="3561"/>
                  </a:lnTo>
                  <a:lnTo>
                    <a:pt x="1014" y="3535"/>
                  </a:lnTo>
                  <a:lnTo>
                    <a:pt x="1208" y="3367"/>
                  </a:lnTo>
                  <a:lnTo>
                    <a:pt x="1419" y="3279"/>
                  </a:lnTo>
                  <a:lnTo>
                    <a:pt x="2177" y="3438"/>
                  </a:lnTo>
                  <a:lnTo>
                    <a:pt x="2936" y="3526"/>
                  </a:lnTo>
                  <a:lnTo>
                    <a:pt x="3103" y="3500"/>
                  </a:lnTo>
                  <a:lnTo>
                    <a:pt x="3315" y="3332"/>
                  </a:lnTo>
                  <a:lnTo>
                    <a:pt x="3509" y="3147"/>
                  </a:lnTo>
                  <a:lnTo>
                    <a:pt x="3764" y="3024"/>
                  </a:lnTo>
                  <a:lnTo>
                    <a:pt x="4346" y="2812"/>
                  </a:lnTo>
                  <a:lnTo>
                    <a:pt x="4478" y="2653"/>
                  </a:lnTo>
                  <a:lnTo>
                    <a:pt x="4584" y="2433"/>
                  </a:lnTo>
                  <a:lnTo>
                    <a:pt x="4575" y="2310"/>
                  </a:lnTo>
                  <a:lnTo>
                    <a:pt x="4267" y="2283"/>
                  </a:lnTo>
                  <a:lnTo>
                    <a:pt x="4134" y="2221"/>
                  </a:lnTo>
                  <a:lnTo>
                    <a:pt x="3826" y="2151"/>
                  </a:lnTo>
                  <a:lnTo>
                    <a:pt x="3544" y="2001"/>
                  </a:lnTo>
                  <a:lnTo>
                    <a:pt x="3429" y="1622"/>
                  </a:lnTo>
                  <a:lnTo>
                    <a:pt x="3297" y="793"/>
                  </a:lnTo>
                  <a:lnTo>
                    <a:pt x="3147" y="423"/>
                  </a:lnTo>
                  <a:lnTo>
                    <a:pt x="3050" y="441"/>
                  </a:lnTo>
                  <a:lnTo>
                    <a:pt x="2865" y="502"/>
                  </a:lnTo>
                  <a:lnTo>
                    <a:pt x="2389" y="494"/>
                  </a:lnTo>
                  <a:lnTo>
                    <a:pt x="2160" y="538"/>
                  </a:lnTo>
                  <a:lnTo>
                    <a:pt x="1931" y="608"/>
                  </a:lnTo>
                  <a:lnTo>
                    <a:pt x="1728" y="617"/>
                  </a:lnTo>
                  <a:lnTo>
                    <a:pt x="1349" y="494"/>
                  </a:lnTo>
                  <a:lnTo>
                    <a:pt x="952" y="485"/>
                  </a:lnTo>
                  <a:lnTo>
                    <a:pt x="758" y="370"/>
                  </a:lnTo>
                  <a:lnTo>
                    <a:pt x="476" y="53"/>
                  </a:lnTo>
                  <a:lnTo>
                    <a:pt x="335" y="0"/>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8" name="Google Shape;3169;p54">
              <a:extLst>
                <a:ext uri="{FF2B5EF4-FFF2-40B4-BE49-F238E27FC236}">
                  <a16:creationId xmlns:a16="http://schemas.microsoft.com/office/drawing/2014/main" id="{A383BE19-2ADE-8434-C92B-3185B051FE02}"/>
                </a:ext>
              </a:extLst>
            </p:cNvPr>
            <p:cNvSpPr/>
            <p:nvPr/>
          </p:nvSpPr>
          <p:spPr>
            <a:xfrm>
              <a:off x="6718421" y="1814241"/>
              <a:ext cx="339111" cy="390511"/>
            </a:xfrm>
            <a:custGeom>
              <a:avLst/>
              <a:gdLst/>
              <a:ahLst/>
              <a:cxnLst/>
              <a:rect l="l" t="t" r="r" b="b"/>
              <a:pathLst>
                <a:path w="4770" h="5493" extrusionOk="0">
                  <a:moveTo>
                    <a:pt x="1773" y="1"/>
                  </a:moveTo>
                  <a:lnTo>
                    <a:pt x="1693" y="116"/>
                  </a:lnTo>
                  <a:lnTo>
                    <a:pt x="1596" y="195"/>
                  </a:lnTo>
                  <a:lnTo>
                    <a:pt x="1499" y="186"/>
                  </a:lnTo>
                  <a:lnTo>
                    <a:pt x="1411" y="116"/>
                  </a:lnTo>
                  <a:lnTo>
                    <a:pt x="856" y="186"/>
                  </a:lnTo>
                  <a:lnTo>
                    <a:pt x="821" y="257"/>
                  </a:lnTo>
                  <a:lnTo>
                    <a:pt x="803" y="345"/>
                  </a:lnTo>
                  <a:lnTo>
                    <a:pt x="715" y="389"/>
                  </a:lnTo>
                  <a:lnTo>
                    <a:pt x="600" y="424"/>
                  </a:lnTo>
                  <a:lnTo>
                    <a:pt x="459" y="539"/>
                  </a:lnTo>
                  <a:lnTo>
                    <a:pt x="318" y="636"/>
                  </a:lnTo>
                  <a:lnTo>
                    <a:pt x="256" y="794"/>
                  </a:lnTo>
                  <a:lnTo>
                    <a:pt x="318" y="979"/>
                  </a:lnTo>
                  <a:lnTo>
                    <a:pt x="230" y="1138"/>
                  </a:lnTo>
                  <a:lnTo>
                    <a:pt x="89" y="1288"/>
                  </a:lnTo>
                  <a:lnTo>
                    <a:pt x="45" y="1358"/>
                  </a:lnTo>
                  <a:lnTo>
                    <a:pt x="27" y="1403"/>
                  </a:lnTo>
                  <a:lnTo>
                    <a:pt x="1" y="1676"/>
                  </a:lnTo>
                  <a:lnTo>
                    <a:pt x="10" y="1896"/>
                  </a:lnTo>
                  <a:lnTo>
                    <a:pt x="142" y="2055"/>
                  </a:lnTo>
                  <a:lnTo>
                    <a:pt x="688" y="2187"/>
                  </a:lnTo>
                  <a:lnTo>
                    <a:pt x="812" y="2293"/>
                  </a:lnTo>
                  <a:lnTo>
                    <a:pt x="944" y="2425"/>
                  </a:lnTo>
                  <a:lnTo>
                    <a:pt x="1050" y="2452"/>
                  </a:lnTo>
                  <a:lnTo>
                    <a:pt x="1023" y="2681"/>
                  </a:lnTo>
                  <a:lnTo>
                    <a:pt x="882" y="2795"/>
                  </a:lnTo>
                  <a:lnTo>
                    <a:pt x="415" y="3051"/>
                  </a:lnTo>
                  <a:lnTo>
                    <a:pt x="309" y="3174"/>
                  </a:lnTo>
                  <a:lnTo>
                    <a:pt x="309" y="3377"/>
                  </a:lnTo>
                  <a:lnTo>
                    <a:pt x="327" y="3580"/>
                  </a:lnTo>
                  <a:lnTo>
                    <a:pt x="300" y="3800"/>
                  </a:lnTo>
                  <a:lnTo>
                    <a:pt x="345" y="4012"/>
                  </a:lnTo>
                  <a:lnTo>
                    <a:pt x="477" y="4179"/>
                  </a:lnTo>
                  <a:lnTo>
                    <a:pt x="433" y="4382"/>
                  </a:lnTo>
                  <a:lnTo>
                    <a:pt x="556" y="4461"/>
                  </a:lnTo>
                  <a:lnTo>
                    <a:pt x="688" y="4514"/>
                  </a:lnTo>
                  <a:lnTo>
                    <a:pt x="829" y="4541"/>
                  </a:lnTo>
                  <a:lnTo>
                    <a:pt x="970" y="4576"/>
                  </a:lnTo>
                  <a:lnTo>
                    <a:pt x="1473" y="4876"/>
                  </a:lnTo>
                  <a:lnTo>
                    <a:pt x="1658" y="4946"/>
                  </a:lnTo>
                  <a:lnTo>
                    <a:pt x="1825" y="5052"/>
                  </a:lnTo>
                  <a:lnTo>
                    <a:pt x="1896" y="5158"/>
                  </a:lnTo>
                  <a:lnTo>
                    <a:pt x="1975" y="5237"/>
                  </a:lnTo>
                  <a:lnTo>
                    <a:pt x="2257" y="5316"/>
                  </a:lnTo>
                  <a:lnTo>
                    <a:pt x="2531" y="5457"/>
                  </a:lnTo>
                  <a:lnTo>
                    <a:pt x="2813" y="5493"/>
                  </a:lnTo>
                  <a:lnTo>
                    <a:pt x="3086" y="5466"/>
                  </a:lnTo>
                  <a:lnTo>
                    <a:pt x="3359" y="5484"/>
                  </a:lnTo>
                  <a:lnTo>
                    <a:pt x="3624" y="5457"/>
                  </a:lnTo>
                  <a:lnTo>
                    <a:pt x="3879" y="5334"/>
                  </a:lnTo>
                  <a:lnTo>
                    <a:pt x="4399" y="5211"/>
                  </a:lnTo>
                  <a:lnTo>
                    <a:pt x="4602" y="4990"/>
                  </a:lnTo>
                  <a:lnTo>
                    <a:pt x="4770" y="4726"/>
                  </a:lnTo>
                  <a:lnTo>
                    <a:pt x="4602" y="4347"/>
                  </a:lnTo>
                  <a:lnTo>
                    <a:pt x="4505" y="3941"/>
                  </a:lnTo>
                  <a:lnTo>
                    <a:pt x="4532" y="3739"/>
                  </a:lnTo>
                  <a:lnTo>
                    <a:pt x="4585" y="3545"/>
                  </a:lnTo>
                  <a:lnTo>
                    <a:pt x="4734" y="3192"/>
                  </a:lnTo>
                  <a:lnTo>
                    <a:pt x="4770" y="2302"/>
                  </a:lnTo>
                  <a:lnTo>
                    <a:pt x="4611" y="1403"/>
                  </a:lnTo>
                  <a:lnTo>
                    <a:pt x="4391" y="1032"/>
                  </a:lnTo>
                  <a:lnTo>
                    <a:pt x="4073" y="812"/>
                  </a:lnTo>
                  <a:lnTo>
                    <a:pt x="3923" y="927"/>
                  </a:lnTo>
                  <a:lnTo>
                    <a:pt x="3871" y="1173"/>
                  </a:lnTo>
                  <a:lnTo>
                    <a:pt x="3800" y="1244"/>
                  </a:lnTo>
                  <a:lnTo>
                    <a:pt x="3703" y="1270"/>
                  </a:lnTo>
                  <a:lnTo>
                    <a:pt x="3430" y="1235"/>
                  </a:lnTo>
                  <a:lnTo>
                    <a:pt x="2346" y="803"/>
                  </a:lnTo>
                  <a:lnTo>
                    <a:pt x="2037" y="477"/>
                  </a:lnTo>
                  <a:lnTo>
                    <a:pt x="1967" y="116"/>
                  </a:lnTo>
                  <a:lnTo>
                    <a:pt x="1773" y="1"/>
                  </a:lnTo>
                  <a:close/>
                </a:path>
              </a:pathLst>
            </a:custGeom>
            <a:grpFill/>
            <a:ln w="9525" cap="rnd"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89" name="Rectangle 88">
            <a:extLst>
              <a:ext uri="{FF2B5EF4-FFF2-40B4-BE49-F238E27FC236}">
                <a16:creationId xmlns:a16="http://schemas.microsoft.com/office/drawing/2014/main" id="{BDDE5A51-5C65-6D9A-B623-6301EE72EC39}"/>
              </a:ext>
            </a:extLst>
          </p:cNvPr>
          <p:cNvSpPr/>
          <p:nvPr/>
        </p:nvSpPr>
        <p:spPr>
          <a:xfrm>
            <a:off x="5156605" y="1406105"/>
            <a:ext cx="6762305" cy="1243828"/>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080" dirty="0">
                <a:solidFill>
                  <a:schemeClr val="tx1"/>
                </a:solidFill>
              </a:rPr>
              <a:t>Kızıldere I, built in 1984, was the </a:t>
            </a:r>
            <a:r>
              <a:rPr lang="en-US" sz="1080" b="1" dirty="0">
                <a:solidFill>
                  <a:schemeClr val="tx1"/>
                </a:solidFill>
              </a:rPr>
              <a:t>first conventional geothermal power plant in Türkiye</a:t>
            </a:r>
            <a:r>
              <a:rPr lang="en-US" sz="1080" dirty="0">
                <a:solidFill>
                  <a:schemeClr val="tx1"/>
                </a:solidFill>
              </a:rPr>
              <a:t>; Kızıldere III was completed in 2018.</a:t>
            </a:r>
          </a:p>
          <a:p>
            <a:pPr>
              <a:buFontTx/>
              <a:buChar char="-"/>
            </a:pPr>
            <a:r>
              <a:rPr lang="en-US" sz="1080" dirty="0">
                <a:solidFill>
                  <a:schemeClr val="tx1"/>
                </a:solidFill>
              </a:rPr>
              <a:t>It is located in Denizli, Türkiye, a region known for </a:t>
            </a:r>
            <a:r>
              <a:rPr lang="en-US" sz="1080" b="1" dirty="0">
                <a:solidFill>
                  <a:schemeClr val="tx1"/>
                </a:solidFill>
              </a:rPr>
              <a:t>tectonic activity caused by an active continental rift </a:t>
            </a:r>
            <a:r>
              <a:rPr lang="en-US" sz="1080" dirty="0">
                <a:solidFill>
                  <a:schemeClr val="tx1"/>
                </a:solidFill>
              </a:rPr>
              <a:t>zone and for the hot springs in Pamukkale.</a:t>
            </a:r>
          </a:p>
          <a:p>
            <a:pPr>
              <a:buFontTx/>
              <a:buChar char="-"/>
            </a:pPr>
            <a:r>
              <a:rPr lang="en-US" sz="1080" dirty="0">
                <a:solidFill>
                  <a:schemeClr val="tx1"/>
                </a:solidFill>
              </a:rPr>
              <a:t>The reservoir temperature is </a:t>
            </a:r>
            <a:r>
              <a:rPr lang="en-US" sz="1080" b="1" dirty="0">
                <a:solidFill>
                  <a:schemeClr val="tx1"/>
                </a:solidFill>
              </a:rPr>
              <a:t>approximately 246°C, with a depth range of 1.9 to 3.4 km</a:t>
            </a:r>
            <a:r>
              <a:rPr lang="en-US" sz="1080" dirty="0">
                <a:solidFill>
                  <a:schemeClr val="tx1"/>
                </a:solidFill>
              </a:rPr>
              <a:t>.</a:t>
            </a:r>
          </a:p>
        </p:txBody>
      </p:sp>
      <p:sp>
        <p:nvSpPr>
          <p:cNvPr id="90" name="Rectangle 89">
            <a:extLst>
              <a:ext uri="{FF2B5EF4-FFF2-40B4-BE49-F238E27FC236}">
                <a16:creationId xmlns:a16="http://schemas.microsoft.com/office/drawing/2014/main" id="{CE370FE1-5FCB-F5DE-03E9-996C136823DD}"/>
              </a:ext>
            </a:extLst>
          </p:cNvPr>
          <p:cNvSpPr/>
          <p:nvPr/>
        </p:nvSpPr>
        <p:spPr>
          <a:xfrm>
            <a:off x="3589396" y="1406105"/>
            <a:ext cx="1467967" cy="1243827"/>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Resource characteristics</a:t>
            </a:r>
          </a:p>
        </p:txBody>
      </p:sp>
      <p:sp>
        <p:nvSpPr>
          <p:cNvPr id="91" name="Rectangle 90">
            <a:extLst>
              <a:ext uri="{FF2B5EF4-FFF2-40B4-BE49-F238E27FC236}">
                <a16:creationId xmlns:a16="http://schemas.microsoft.com/office/drawing/2014/main" id="{8C93C684-C3D3-1FA0-8969-FAFA6CD89B5C}"/>
              </a:ext>
            </a:extLst>
          </p:cNvPr>
          <p:cNvSpPr/>
          <p:nvPr/>
        </p:nvSpPr>
        <p:spPr>
          <a:xfrm>
            <a:off x="3589396" y="2750889"/>
            <a:ext cx="1467967" cy="882787"/>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Technology &amp; output</a:t>
            </a:r>
          </a:p>
        </p:txBody>
      </p:sp>
      <p:sp>
        <p:nvSpPr>
          <p:cNvPr id="92" name="Rectangle 91">
            <a:extLst>
              <a:ext uri="{FF2B5EF4-FFF2-40B4-BE49-F238E27FC236}">
                <a16:creationId xmlns:a16="http://schemas.microsoft.com/office/drawing/2014/main" id="{DC68686B-23E4-6BAE-E623-3202E2FC9FB1}"/>
              </a:ext>
            </a:extLst>
          </p:cNvPr>
          <p:cNvSpPr/>
          <p:nvPr/>
        </p:nvSpPr>
        <p:spPr>
          <a:xfrm>
            <a:off x="5156604" y="2750888"/>
            <a:ext cx="6770591" cy="882787"/>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080" dirty="0">
                <a:solidFill>
                  <a:schemeClr val="tx1"/>
                </a:solidFill>
              </a:rPr>
              <a:t>The plant is known for its high-efficiency triple-flash and binary system, operating at an </a:t>
            </a:r>
            <a:r>
              <a:rPr lang="en-US" sz="1080" b="1" dirty="0">
                <a:solidFill>
                  <a:schemeClr val="tx1"/>
                </a:solidFill>
              </a:rPr>
              <a:t>efficiency rate of about 18%</a:t>
            </a:r>
            <a:r>
              <a:rPr lang="en-US" sz="1080" dirty="0">
                <a:solidFill>
                  <a:schemeClr val="tx1"/>
                </a:solidFill>
              </a:rPr>
              <a:t>.</a:t>
            </a:r>
          </a:p>
          <a:p>
            <a:pPr>
              <a:buFontTx/>
              <a:buChar char="-"/>
            </a:pPr>
            <a:r>
              <a:rPr lang="en-US" sz="1080" dirty="0">
                <a:solidFill>
                  <a:schemeClr val="tx1"/>
                </a:solidFill>
              </a:rPr>
              <a:t>The overall Kızıldere complex — with Kızıldere I having 15 MW capacity, Kızıldere II 80 MW, and Kızıldere III, consisting of two units, 100 MW and 65 MW — </a:t>
            </a:r>
            <a:r>
              <a:rPr lang="en-US" sz="1080" b="1" dirty="0">
                <a:solidFill>
                  <a:schemeClr val="tx1"/>
                </a:solidFill>
              </a:rPr>
              <a:t>has a total capacity of 260 MW</a:t>
            </a:r>
            <a:r>
              <a:rPr lang="en-US" sz="1080" dirty="0">
                <a:solidFill>
                  <a:schemeClr val="tx1"/>
                </a:solidFill>
              </a:rPr>
              <a:t>.</a:t>
            </a:r>
          </a:p>
        </p:txBody>
      </p:sp>
      <p:sp>
        <p:nvSpPr>
          <p:cNvPr id="93" name="Rectangle 92">
            <a:extLst>
              <a:ext uri="{FF2B5EF4-FFF2-40B4-BE49-F238E27FC236}">
                <a16:creationId xmlns:a16="http://schemas.microsoft.com/office/drawing/2014/main" id="{AF163A60-1421-15C1-6A31-D7F1A712B21D}"/>
              </a:ext>
            </a:extLst>
          </p:cNvPr>
          <p:cNvSpPr/>
          <p:nvPr/>
        </p:nvSpPr>
        <p:spPr>
          <a:xfrm>
            <a:off x="3589396" y="3745516"/>
            <a:ext cx="1476252" cy="2600052"/>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i="0" dirty="0">
                <a:effectLst/>
              </a:rPr>
              <a:t>Lessons learned</a:t>
            </a:r>
            <a:endParaRPr lang="en-US" sz="1200" b="0" i="0" dirty="0">
              <a:effectLst/>
            </a:endParaRPr>
          </a:p>
        </p:txBody>
      </p:sp>
      <p:sp>
        <p:nvSpPr>
          <p:cNvPr id="94" name="Rectangle 93">
            <a:extLst>
              <a:ext uri="{FF2B5EF4-FFF2-40B4-BE49-F238E27FC236}">
                <a16:creationId xmlns:a16="http://schemas.microsoft.com/office/drawing/2014/main" id="{F9A5067F-AAFE-FCFD-5B76-22D91604B669}"/>
              </a:ext>
            </a:extLst>
          </p:cNvPr>
          <p:cNvSpPr/>
          <p:nvPr/>
        </p:nvSpPr>
        <p:spPr>
          <a:xfrm>
            <a:off x="5148319" y="3745515"/>
            <a:ext cx="6770592" cy="2589166"/>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080" dirty="0">
                <a:solidFill>
                  <a:schemeClr val="tx1"/>
                </a:solidFill>
              </a:rPr>
              <a:t>After privatization in 2008, Zorlu Enerji acquired ownership and used the initial plant (Kızıldere I) </a:t>
            </a:r>
            <a:r>
              <a:rPr lang="en-US" sz="1080" b="1" dirty="0">
                <a:solidFill>
                  <a:schemeClr val="tx1"/>
                </a:solidFill>
              </a:rPr>
              <a:t>as a training ground</a:t>
            </a:r>
            <a:r>
              <a:rPr lang="en-US" sz="1080" dirty="0">
                <a:solidFill>
                  <a:schemeClr val="tx1"/>
                </a:solidFill>
              </a:rPr>
              <a:t>, building internal expertise over successive phases. Through the expansion to Kızıldere III, the </a:t>
            </a:r>
            <a:r>
              <a:rPr lang="en-US" sz="1080" b="1" dirty="0">
                <a:solidFill>
                  <a:schemeClr val="tx1"/>
                </a:solidFill>
              </a:rPr>
              <a:t>company relied heavily on prior research conducted during stages I and II by both private companies and government institutions</a:t>
            </a:r>
            <a:r>
              <a:rPr lang="en-US" sz="1080" dirty="0">
                <a:solidFill>
                  <a:schemeClr val="tx1"/>
                </a:solidFill>
              </a:rPr>
              <a:t>.</a:t>
            </a:r>
          </a:p>
          <a:p>
            <a:pPr>
              <a:buFontTx/>
              <a:buChar char="-"/>
            </a:pPr>
            <a:r>
              <a:rPr lang="en-US" sz="1080" dirty="0">
                <a:solidFill>
                  <a:schemeClr val="tx1"/>
                </a:solidFill>
              </a:rPr>
              <a:t>Zorlu integrated community </a:t>
            </a:r>
            <a:r>
              <a:rPr lang="en-US" sz="1080" b="1" dirty="0">
                <a:solidFill>
                  <a:schemeClr val="tx1"/>
                </a:solidFill>
              </a:rPr>
              <a:t>benefits early by supplying geothermal heat from Kızıldere I to 2,500 homes in Sarayköy and to greenhouses for agriculture</a:t>
            </a:r>
            <a:r>
              <a:rPr lang="en-US" sz="1080" dirty="0">
                <a:solidFill>
                  <a:schemeClr val="tx1"/>
                </a:solidFill>
              </a:rPr>
              <a:t>, strengthening local support and enabling long-term project sustainability.</a:t>
            </a:r>
          </a:p>
          <a:p>
            <a:pPr>
              <a:buFontTx/>
              <a:buChar char="-"/>
            </a:pPr>
            <a:r>
              <a:rPr lang="en-US" sz="1080" dirty="0">
                <a:solidFill>
                  <a:schemeClr val="tx1"/>
                </a:solidFill>
              </a:rPr>
              <a:t>The company continuously sought </a:t>
            </a:r>
            <a:r>
              <a:rPr lang="en-US" sz="1080" b="1" dirty="0">
                <a:solidFill>
                  <a:schemeClr val="tx1"/>
                </a:solidFill>
              </a:rPr>
              <a:t>industrial synergies, capturing naturally occurring CO₂ from geothermal fluids </a:t>
            </a:r>
            <a:r>
              <a:rPr lang="en-US" sz="1080" dirty="0">
                <a:solidFill>
                  <a:schemeClr val="tx1"/>
                </a:solidFill>
              </a:rPr>
              <a:t>and supplying it to a nearby dry ice and CO₂ plant, reducing emissions while creating additional economic value.</a:t>
            </a:r>
          </a:p>
          <a:p>
            <a:pPr>
              <a:buFontTx/>
              <a:buChar char="-"/>
            </a:pPr>
            <a:r>
              <a:rPr lang="en-US" sz="1080" dirty="0">
                <a:solidFill>
                  <a:schemeClr val="tx1"/>
                </a:solidFill>
              </a:rPr>
              <a:t>Over time, </a:t>
            </a:r>
            <a:r>
              <a:rPr lang="en-US" sz="1080" b="1" dirty="0">
                <a:solidFill>
                  <a:schemeClr val="tx1"/>
                </a:solidFill>
              </a:rPr>
              <a:t>to address a decline in reservoir pressure, Zorlu redesigned reinjection systems and installed ESPs</a:t>
            </a:r>
            <a:r>
              <a:rPr lang="en-US" sz="1080" dirty="0">
                <a:solidFill>
                  <a:schemeClr val="tx1"/>
                </a:solidFill>
              </a:rPr>
              <a:t>, further developing technical expertise and ensuring long-term operational reliability.</a:t>
            </a:r>
          </a:p>
        </p:txBody>
      </p:sp>
      <p:pic>
        <p:nvPicPr>
          <p:cNvPr id="95" name="Picture 6" descr="Turkey global role model in geothermal power development | Daily Sabah">
            <a:extLst>
              <a:ext uri="{FF2B5EF4-FFF2-40B4-BE49-F238E27FC236}">
                <a16:creationId xmlns:a16="http://schemas.microsoft.com/office/drawing/2014/main" id="{0B5ABD5B-CED0-DAE2-16D4-F7A54892569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a:fillRect/>
          </a:stretch>
        </p:blipFill>
        <p:spPr bwMode="auto">
          <a:xfrm>
            <a:off x="429444" y="1406105"/>
            <a:ext cx="3060709" cy="3245305"/>
          </a:xfrm>
          <a:prstGeom prst="rect">
            <a:avLst/>
          </a:prstGeom>
          <a:noFill/>
          <a:extLst>
            <a:ext uri="{909E8E84-426E-40DD-AFC4-6F175D3DCCD1}">
              <a14:hiddenFill xmlns:a14="http://schemas.microsoft.com/office/drawing/2010/main">
                <a:solidFill>
                  <a:srgbClr val="FFFFFF"/>
                </a:solidFill>
              </a14:hiddenFill>
            </a:ext>
          </a:extLst>
        </p:spPr>
      </p:pic>
      <p:pic>
        <p:nvPicPr>
          <p:cNvPr id="96" name="Graphic 95" descr="Marker with solid fill">
            <a:extLst>
              <a:ext uri="{FF2B5EF4-FFF2-40B4-BE49-F238E27FC236}">
                <a16:creationId xmlns:a16="http://schemas.microsoft.com/office/drawing/2014/main" id="{F67EB929-462F-48EC-6028-3028910139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2168" y="5327480"/>
            <a:ext cx="340167" cy="340167"/>
          </a:xfrm>
          <a:prstGeom prst="rect">
            <a:avLst/>
          </a:prstGeom>
        </p:spPr>
      </p:pic>
    </p:spTree>
    <p:extLst>
      <p:ext uri="{BB962C8B-B14F-4D97-AF65-F5344CB8AC3E}">
        <p14:creationId xmlns:p14="http://schemas.microsoft.com/office/powerpoint/2010/main" val="18799692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F560A-81A6-748B-8709-40C1265F4A3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4E035AC-DA8F-F58B-E54F-90BAF0F81CD1}"/>
              </a:ext>
            </a:extLst>
          </p:cNvPr>
          <p:cNvGraphicFramePr>
            <a:graphicFrameLocks/>
          </p:cNvGraphicFramePr>
          <p:nvPr>
            <p:custDataLst>
              <p:tags r:id="rId1"/>
            </p:custDataLst>
            <p:extLst>
              <p:ext uri="{D42A27DB-BD31-4B8C-83A1-F6EECF244321}">
                <p14:modId xmlns:p14="http://schemas.microsoft.com/office/powerpoint/2010/main" val="18392568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D9F7ADE-6AAA-11F4-934A-43B2100494F9}"/>
              </a:ext>
            </a:extLst>
          </p:cNvPr>
          <p:cNvSpPr>
            <a:spLocks noGrp="1"/>
          </p:cNvSpPr>
          <p:nvPr>
            <p:ph type="title"/>
          </p:nvPr>
        </p:nvSpPr>
        <p:spPr/>
        <p:txBody>
          <a:bodyPr vert="horz" rIns="91440"/>
          <a:lstStyle/>
          <a:p>
            <a:r>
              <a:rPr lang="en-US" dirty="0"/>
              <a:t>As a vapor-dominated geothermal system, </a:t>
            </a:r>
            <a:r>
              <a:rPr lang="en-US" dirty="0" err="1"/>
              <a:t>Darajat</a:t>
            </a:r>
            <a:r>
              <a:rPr lang="en-US" dirty="0"/>
              <a:t> faces the risk of reservoir </a:t>
            </a:r>
            <a:r>
              <a:rPr lang="en-US" dirty="0" err="1"/>
              <a:t>dryout</a:t>
            </a:r>
            <a:endParaRPr lang="en-US" dirty="0"/>
          </a:p>
        </p:txBody>
      </p:sp>
      <p:sp>
        <p:nvSpPr>
          <p:cNvPr id="4" name="Footer Placeholder 3">
            <a:extLst>
              <a:ext uri="{FF2B5EF4-FFF2-40B4-BE49-F238E27FC236}">
                <a16:creationId xmlns:a16="http://schemas.microsoft.com/office/drawing/2014/main" id="{F6E1C61F-832B-DA55-2C34-4CEA589939DE}"/>
              </a:ext>
            </a:extLst>
          </p:cNvPr>
          <p:cNvSpPr>
            <a:spLocks noGrp="1"/>
          </p:cNvSpPr>
          <p:nvPr>
            <p:ph type="ftr" sz="quarter" idx="3"/>
          </p:nvPr>
        </p:nvSpPr>
        <p:spPr/>
        <p:txBody>
          <a:bodyPr/>
          <a:lstStyle/>
          <a:p>
            <a:r>
              <a:rPr lang="en-US" dirty="0">
                <a:solidFill>
                  <a:srgbClr val="000000"/>
                </a:solidFill>
              </a:rPr>
              <a:t>Sources: </a:t>
            </a:r>
            <a:r>
              <a:rPr lang="en-US" dirty="0">
                <a:hlinkClick r:id="rId5"/>
              </a:rPr>
              <a:t>Star Energy Geothermal</a:t>
            </a:r>
            <a:r>
              <a:rPr lang="en-US" dirty="0"/>
              <a:t> </a:t>
            </a:r>
            <a:r>
              <a:rPr lang="en-US" dirty="0">
                <a:solidFill>
                  <a:schemeClr val="tx1"/>
                </a:solidFill>
              </a:rPr>
              <a:t>(n.d.); </a:t>
            </a:r>
            <a:r>
              <a:rPr lang="en-US" dirty="0">
                <a:hlinkClick r:id="rId6"/>
              </a:rPr>
              <a:t>Improving the conceptual understanding of the Darajat Geothermal Field</a:t>
            </a:r>
            <a:r>
              <a:rPr lang="en-US" dirty="0"/>
              <a:t> </a:t>
            </a:r>
            <a:r>
              <a:rPr lang="en-US" dirty="0">
                <a:solidFill>
                  <a:schemeClr val="tx1"/>
                </a:solidFill>
              </a:rPr>
              <a:t>(</a:t>
            </a:r>
            <a:r>
              <a:rPr lang="en-US" dirty="0" err="1">
                <a:solidFill>
                  <a:schemeClr val="tx1"/>
                </a:solidFill>
              </a:rPr>
              <a:t>Geothermics</a:t>
            </a:r>
            <a:r>
              <a:rPr lang="en-US" dirty="0">
                <a:solidFill>
                  <a:schemeClr val="tx1"/>
                </a:solidFill>
              </a:rPr>
              <a:t>, 2018); </a:t>
            </a:r>
            <a:r>
              <a:rPr lang="en-US" dirty="0">
                <a:hlinkClick r:id="rId7"/>
              </a:rPr>
              <a:t>Press release</a:t>
            </a:r>
            <a:r>
              <a:rPr lang="en-US" dirty="0"/>
              <a:t> </a:t>
            </a:r>
            <a:r>
              <a:rPr lang="en-US" dirty="0">
                <a:solidFill>
                  <a:schemeClr val="tx1"/>
                </a:solidFill>
              </a:rPr>
              <a:t>(Mitsubishi, 2024).</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241A1624-C683-76D0-4669-6D0A1F31F066}"/>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err="1"/>
              <a:t>Darajat</a:t>
            </a:r>
            <a:endParaRPr lang="en-US" sz="1600" b="1" dirty="0"/>
          </a:p>
        </p:txBody>
      </p:sp>
      <p:sp>
        <p:nvSpPr>
          <p:cNvPr id="7" name="Rectangle 6">
            <a:extLst>
              <a:ext uri="{FF2B5EF4-FFF2-40B4-BE49-F238E27FC236}">
                <a16:creationId xmlns:a16="http://schemas.microsoft.com/office/drawing/2014/main" id="{CFCA3788-2647-B1AF-621D-B84502FCDAE0}"/>
              </a:ext>
            </a:extLst>
          </p:cNvPr>
          <p:cNvSpPr/>
          <p:nvPr/>
        </p:nvSpPr>
        <p:spPr>
          <a:xfrm>
            <a:off x="5186887" y="1406105"/>
            <a:ext cx="6732024" cy="1243828"/>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100" dirty="0">
                <a:solidFill>
                  <a:schemeClr val="tx1"/>
                </a:solidFill>
              </a:rPr>
              <a:t>Located near Mount Kendang in Garut, West Java, </a:t>
            </a:r>
            <a:r>
              <a:rPr lang="en-US" sz="1100" b="1" dirty="0">
                <a:solidFill>
                  <a:schemeClr val="tx1"/>
                </a:solidFill>
              </a:rPr>
              <a:t>about 1,750 to 2,000 meters above sea level,</a:t>
            </a:r>
            <a:r>
              <a:rPr lang="en-US" sz="1100" dirty="0">
                <a:solidFill>
                  <a:schemeClr val="tx1"/>
                </a:solidFill>
              </a:rPr>
              <a:t> </a:t>
            </a:r>
            <a:r>
              <a:rPr lang="en-US" sz="1100" b="1" dirty="0">
                <a:solidFill>
                  <a:schemeClr val="tx1"/>
                </a:solidFill>
              </a:rPr>
              <a:t>within a volcanic zone of the Malabar-Papandayan-Kendang complex</a:t>
            </a:r>
            <a:r>
              <a:rPr lang="en-US" sz="1100" dirty="0">
                <a:solidFill>
                  <a:schemeClr val="tx1"/>
                </a:solidFill>
              </a:rPr>
              <a:t>.</a:t>
            </a:r>
          </a:p>
          <a:p>
            <a:pPr>
              <a:buFontTx/>
              <a:buChar char="-"/>
            </a:pPr>
            <a:r>
              <a:rPr lang="en-US" sz="1100" dirty="0">
                <a:solidFill>
                  <a:schemeClr val="tx1"/>
                </a:solidFill>
              </a:rPr>
              <a:t>The field lies inside a structurally complex area formed by </a:t>
            </a:r>
            <a:r>
              <a:rPr lang="en-US" sz="1100" b="1" dirty="0">
                <a:solidFill>
                  <a:schemeClr val="tx1"/>
                </a:solidFill>
              </a:rPr>
              <a:t>volcanic activity and faulting that enhances permeability and steam migration</a:t>
            </a:r>
            <a:r>
              <a:rPr lang="en-US" sz="1100" dirty="0">
                <a:solidFill>
                  <a:schemeClr val="tx1"/>
                </a:solidFill>
              </a:rPr>
              <a:t>.</a:t>
            </a:r>
            <a:endParaRPr lang="en-US" sz="1100" b="1" dirty="0">
              <a:solidFill>
                <a:schemeClr val="tx1"/>
              </a:solidFill>
            </a:endParaRPr>
          </a:p>
          <a:p>
            <a:pPr>
              <a:buFontTx/>
              <a:buChar char="-"/>
            </a:pPr>
            <a:r>
              <a:rPr lang="en-US" sz="1100" dirty="0">
                <a:solidFill>
                  <a:schemeClr val="tx1"/>
                </a:solidFill>
              </a:rPr>
              <a:t>The Darajat reservoir has </a:t>
            </a:r>
            <a:r>
              <a:rPr lang="en-US" sz="1100" b="1" dirty="0">
                <a:solidFill>
                  <a:schemeClr val="tx1"/>
                </a:solidFill>
              </a:rPr>
              <a:t>1.5 to 3 km depth and temperatures around 240°C</a:t>
            </a:r>
            <a:r>
              <a:rPr lang="en-US" sz="1100" dirty="0">
                <a:solidFill>
                  <a:schemeClr val="tx1"/>
                </a:solidFill>
              </a:rPr>
              <a:t>.</a:t>
            </a:r>
            <a:endParaRPr lang="en-US" sz="1100" b="1" dirty="0">
              <a:solidFill>
                <a:schemeClr val="tx1"/>
              </a:solidFill>
            </a:endParaRPr>
          </a:p>
        </p:txBody>
      </p:sp>
      <p:sp>
        <p:nvSpPr>
          <p:cNvPr id="8" name="Rectangle 7">
            <a:extLst>
              <a:ext uri="{FF2B5EF4-FFF2-40B4-BE49-F238E27FC236}">
                <a16:creationId xmlns:a16="http://schemas.microsoft.com/office/drawing/2014/main" id="{F7E69073-CF66-9E71-1CEF-54F24761273B}"/>
              </a:ext>
            </a:extLst>
          </p:cNvPr>
          <p:cNvSpPr/>
          <p:nvPr/>
        </p:nvSpPr>
        <p:spPr>
          <a:xfrm>
            <a:off x="3589396" y="1406105"/>
            <a:ext cx="1467967" cy="1243827"/>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Resource characteristics</a:t>
            </a:r>
          </a:p>
        </p:txBody>
      </p:sp>
      <p:sp>
        <p:nvSpPr>
          <p:cNvPr id="9" name="Flowchart: Alternate Process 20">
            <a:extLst>
              <a:ext uri="{FF2B5EF4-FFF2-40B4-BE49-F238E27FC236}">
                <a16:creationId xmlns:a16="http://schemas.microsoft.com/office/drawing/2014/main" id="{B1B85ED4-0E82-0837-A45A-BCEADA5C6533}"/>
              </a:ext>
            </a:extLst>
          </p:cNvPr>
          <p:cNvSpPr/>
          <p:nvPr/>
        </p:nvSpPr>
        <p:spPr>
          <a:xfrm>
            <a:off x="4946017" y="1224453"/>
            <a:ext cx="6861547" cy="1006600"/>
          </a:xfrm>
          <a:prstGeom prst="flowChartAlternateProcess">
            <a:avLst/>
          </a:prstGeom>
          <a:noFill/>
          <a:ln w="9525" cap="sq"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endParaRPr lang="en-US" sz="1200" dirty="0">
              <a:solidFill>
                <a:schemeClr val="tx1"/>
              </a:solidFill>
              <a:latin typeface="+mj-lt"/>
            </a:endParaRPr>
          </a:p>
        </p:txBody>
      </p:sp>
      <p:sp>
        <p:nvSpPr>
          <p:cNvPr id="10" name="Rectangle 9">
            <a:extLst>
              <a:ext uri="{FF2B5EF4-FFF2-40B4-BE49-F238E27FC236}">
                <a16:creationId xmlns:a16="http://schemas.microsoft.com/office/drawing/2014/main" id="{E86E5FED-4C07-4090-91B7-CA04D8EFDE52}"/>
              </a:ext>
            </a:extLst>
          </p:cNvPr>
          <p:cNvSpPr/>
          <p:nvPr/>
        </p:nvSpPr>
        <p:spPr>
          <a:xfrm>
            <a:off x="3589396" y="2750889"/>
            <a:ext cx="1467967" cy="882787"/>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Technology &amp; output</a:t>
            </a:r>
          </a:p>
        </p:txBody>
      </p:sp>
      <p:sp>
        <p:nvSpPr>
          <p:cNvPr id="11" name="Rectangle 10">
            <a:extLst>
              <a:ext uri="{FF2B5EF4-FFF2-40B4-BE49-F238E27FC236}">
                <a16:creationId xmlns:a16="http://schemas.microsoft.com/office/drawing/2014/main" id="{67CDB3CA-3AF8-4AC1-3E04-180AAD22223C}"/>
              </a:ext>
            </a:extLst>
          </p:cNvPr>
          <p:cNvSpPr/>
          <p:nvPr/>
        </p:nvSpPr>
        <p:spPr>
          <a:xfrm>
            <a:off x="5195170" y="2750888"/>
            <a:ext cx="6732025" cy="882788"/>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100" dirty="0">
                <a:solidFill>
                  <a:schemeClr val="tx1"/>
                </a:solidFill>
              </a:rPr>
              <a:t>It is a dry-steam power complex consisting of three units </a:t>
            </a:r>
            <a:r>
              <a:rPr lang="en-US" sz="1100" b="1" dirty="0">
                <a:solidFill>
                  <a:schemeClr val="tx1"/>
                </a:solidFill>
              </a:rPr>
              <a:t>constructed between 1994 and 2009, with a total installed capacity of 271 MW (</a:t>
            </a:r>
            <a:r>
              <a:rPr lang="en-US" sz="1100" dirty="0">
                <a:solidFill>
                  <a:schemeClr val="tx1"/>
                </a:solidFill>
              </a:rPr>
              <a:t>Unit I with 55 MW, Unit II with 95 MW, and Unit III with 121 MW).</a:t>
            </a:r>
          </a:p>
          <a:p>
            <a:pPr>
              <a:buFontTx/>
              <a:buChar char="-"/>
            </a:pPr>
            <a:r>
              <a:rPr lang="en-US" sz="1100" dirty="0">
                <a:solidFill>
                  <a:schemeClr val="tx1"/>
                </a:solidFill>
              </a:rPr>
              <a:t>Average plant </a:t>
            </a:r>
            <a:r>
              <a:rPr lang="en-US" sz="1100" b="1" dirty="0">
                <a:solidFill>
                  <a:schemeClr val="tx1"/>
                </a:solidFill>
              </a:rPr>
              <a:t>efficiency is 17 to 18% and capacity factor is 70%, depending on steam pressure</a:t>
            </a:r>
            <a:r>
              <a:rPr lang="en-US" sz="1100" dirty="0">
                <a:solidFill>
                  <a:schemeClr val="tx1"/>
                </a:solidFill>
              </a:rPr>
              <a:t>.</a:t>
            </a:r>
            <a:endParaRPr lang="en-US" sz="1100" b="1" dirty="0">
              <a:solidFill>
                <a:schemeClr val="tx1"/>
              </a:solidFill>
            </a:endParaRPr>
          </a:p>
        </p:txBody>
      </p:sp>
      <p:sp>
        <p:nvSpPr>
          <p:cNvPr id="12" name="Rectangle 11">
            <a:extLst>
              <a:ext uri="{FF2B5EF4-FFF2-40B4-BE49-F238E27FC236}">
                <a16:creationId xmlns:a16="http://schemas.microsoft.com/office/drawing/2014/main" id="{694A00D9-286A-426E-CF33-52C22518D70D}"/>
              </a:ext>
            </a:extLst>
          </p:cNvPr>
          <p:cNvSpPr/>
          <p:nvPr/>
        </p:nvSpPr>
        <p:spPr>
          <a:xfrm>
            <a:off x="3589396" y="3734630"/>
            <a:ext cx="1492514" cy="2600052"/>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i="0" dirty="0">
                <a:effectLst/>
              </a:rPr>
              <a:t>Lessons learned</a:t>
            </a:r>
            <a:endParaRPr lang="en-US" sz="1200" b="0" i="0" dirty="0">
              <a:effectLst/>
            </a:endParaRPr>
          </a:p>
        </p:txBody>
      </p:sp>
      <p:sp>
        <p:nvSpPr>
          <p:cNvPr id="13" name="Rectangle 12">
            <a:extLst>
              <a:ext uri="{FF2B5EF4-FFF2-40B4-BE49-F238E27FC236}">
                <a16:creationId xmlns:a16="http://schemas.microsoft.com/office/drawing/2014/main" id="{7D3EE779-6F1E-A595-D0B6-4A3916208D84}"/>
              </a:ext>
            </a:extLst>
          </p:cNvPr>
          <p:cNvSpPr/>
          <p:nvPr/>
        </p:nvSpPr>
        <p:spPr>
          <a:xfrm>
            <a:off x="5195169" y="3734630"/>
            <a:ext cx="6723741" cy="2600051"/>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Tx/>
              <a:buChar char="-"/>
            </a:pPr>
            <a:r>
              <a:rPr lang="en-US" sz="1100" dirty="0">
                <a:solidFill>
                  <a:schemeClr val="tx1"/>
                </a:solidFill>
              </a:rPr>
              <a:t>The project highlighted </a:t>
            </a:r>
            <a:r>
              <a:rPr lang="en-US" sz="1100" b="1" dirty="0">
                <a:solidFill>
                  <a:schemeClr val="tx1"/>
                </a:solidFill>
              </a:rPr>
              <a:t>the importance of continuous reinjection to stabilize the declining reservoir pressure </a:t>
            </a:r>
            <a:r>
              <a:rPr lang="en-US" sz="1100" dirty="0">
                <a:solidFill>
                  <a:schemeClr val="tx1"/>
                </a:solidFill>
              </a:rPr>
              <a:t>observed after the early 2000s, though concerns remain.</a:t>
            </a:r>
          </a:p>
          <a:p>
            <a:pPr>
              <a:buFontTx/>
              <a:buChar char="-"/>
            </a:pPr>
            <a:r>
              <a:rPr lang="en-US" sz="1100" dirty="0">
                <a:solidFill>
                  <a:schemeClr val="tx1"/>
                </a:solidFill>
              </a:rPr>
              <a:t>Operational studies found high auxiliary power use reduced efficiency. For example, installing variable frequency drives and Mitsubishi retrofitted turbine upgrades increased </a:t>
            </a:r>
            <a:r>
              <a:rPr lang="en-US" sz="1100" b="1" dirty="0">
                <a:solidFill>
                  <a:schemeClr val="tx1"/>
                </a:solidFill>
              </a:rPr>
              <a:t>net output by about 8 MW</a:t>
            </a:r>
            <a:r>
              <a:rPr lang="en-US" sz="1100" dirty="0">
                <a:solidFill>
                  <a:schemeClr val="tx1"/>
                </a:solidFill>
              </a:rPr>
              <a:t>.</a:t>
            </a:r>
            <a:endParaRPr lang="en-US" sz="1100" b="1" dirty="0">
              <a:solidFill>
                <a:schemeClr val="tx1"/>
              </a:solidFill>
            </a:endParaRPr>
          </a:p>
          <a:p>
            <a:pPr>
              <a:buFontTx/>
              <a:buChar char="-"/>
            </a:pPr>
            <a:r>
              <a:rPr lang="en-US" sz="1100" dirty="0">
                <a:solidFill>
                  <a:schemeClr val="tx1"/>
                </a:solidFill>
              </a:rPr>
              <a:t>Ongoing optimization studies </a:t>
            </a:r>
            <a:r>
              <a:rPr lang="en-US" sz="1100" b="1" dirty="0">
                <a:solidFill>
                  <a:schemeClr val="tx1"/>
                </a:solidFill>
              </a:rPr>
              <a:t>propose hybrid operation with binary cycles to recover waste heat and extend resource life</a:t>
            </a:r>
            <a:r>
              <a:rPr lang="en-US" sz="1100" dirty="0">
                <a:solidFill>
                  <a:schemeClr val="tx1"/>
                </a:solidFill>
              </a:rPr>
              <a:t>.</a:t>
            </a:r>
            <a:endParaRPr lang="en-US" sz="1100" b="1" dirty="0">
              <a:solidFill>
                <a:schemeClr val="tx1"/>
              </a:solidFill>
            </a:endParaRPr>
          </a:p>
        </p:txBody>
      </p:sp>
      <p:pic>
        <p:nvPicPr>
          <p:cNvPr id="14" name="Picture 13" descr="A building with smoke coming out of it&#10;&#10;AI-generated content may be incorrect.">
            <a:extLst>
              <a:ext uri="{FF2B5EF4-FFF2-40B4-BE49-F238E27FC236}">
                <a16:creationId xmlns:a16="http://schemas.microsoft.com/office/drawing/2014/main" id="{359F05A1-4456-DAF6-E4CB-14ACBDE1E8EE}"/>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416408" y="1406105"/>
            <a:ext cx="3043464" cy="3266192"/>
          </a:xfrm>
          <a:prstGeom prst="rect">
            <a:avLst/>
          </a:prstGeom>
        </p:spPr>
      </p:pic>
      <p:pic>
        <p:nvPicPr>
          <p:cNvPr id="15" name="Graphic 14" descr="Marker with solid fill">
            <a:extLst>
              <a:ext uri="{FF2B5EF4-FFF2-40B4-BE49-F238E27FC236}">
                <a16:creationId xmlns:a16="http://schemas.microsoft.com/office/drawing/2014/main" id="{13ED8B57-4A75-3781-EC56-6B068D6FA4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707" y="5525267"/>
            <a:ext cx="340167" cy="340167"/>
          </a:xfrm>
          <a:prstGeom prst="rect">
            <a:avLst/>
          </a:prstGeom>
        </p:spPr>
      </p:pic>
      <p:grpSp>
        <p:nvGrpSpPr>
          <p:cNvPr id="16" name="Group 15">
            <a:extLst>
              <a:ext uri="{FF2B5EF4-FFF2-40B4-BE49-F238E27FC236}">
                <a16:creationId xmlns:a16="http://schemas.microsoft.com/office/drawing/2014/main" id="{6BD0818C-55C1-F392-3131-D106B96C89B6}"/>
              </a:ext>
            </a:extLst>
          </p:cNvPr>
          <p:cNvGrpSpPr>
            <a:grpSpLocks noChangeAspect="1"/>
          </p:cNvGrpSpPr>
          <p:nvPr/>
        </p:nvGrpSpPr>
        <p:grpSpPr>
          <a:xfrm>
            <a:off x="416407" y="4912151"/>
            <a:ext cx="3012435" cy="1163069"/>
            <a:chOff x="642938" y="2513013"/>
            <a:chExt cx="10715625" cy="3887787"/>
          </a:xfrm>
          <a:noFill/>
        </p:grpSpPr>
        <p:sp>
          <p:nvSpPr>
            <p:cNvPr id="17" name="Freeform 7">
              <a:extLst>
                <a:ext uri="{FF2B5EF4-FFF2-40B4-BE49-F238E27FC236}">
                  <a16:creationId xmlns:a16="http://schemas.microsoft.com/office/drawing/2014/main" id="{EF72FD1B-F3A1-9D69-2494-F8507B461768}"/>
                </a:ext>
              </a:extLst>
            </p:cNvPr>
            <p:cNvSpPr>
              <a:spLocks noEditPoints="1"/>
            </p:cNvSpPr>
            <p:nvPr/>
          </p:nvSpPr>
          <p:spPr bwMode="auto">
            <a:xfrm>
              <a:off x="7386638" y="5775325"/>
              <a:ext cx="773113" cy="280987"/>
            </a:xfrm>
            <a:custGeom>
              <a:avLst/>
              <a:gdLst>
                <a:gd name="T0" fmla="*/ 3 w 203"/>
                <a:gd name="T1" fmla="*/ 62 h 74"/>
                <a:gd name="T2" fmla="*/ 10 w 203"/>
                <a:gd name="T3" fmla="*/ 58 h 74"/>
                <a:gd name="T4" fmla="*/ 17 w 203"/>
                <a:gd name="T5" fmla="*/ 55 h 74"/>
                <a:gd name="T6" fmla="*/ 24 w 203"/>
                <a:gd name="T7" fmla="*/ 53 h 74"/>
                <a:gd name="T8" fmla="*/ 28 w 203"/>
                <a:gd name="T9" fmla="*/ 54 h 74"/>
                <a:gd name="T10" fmla="*/ 26 w 203"/>
                <a:gd name="T11" fmla="*/ 62 h 74"/>
                <a:gd name="T12" fmla="*/ 22 w 203"/>
                <a:gd name="T13" fmla="*/ 65 h 74"/>
                <a:gd name="T14" fmla="*/ 21 w 203"/>
                <a:gd name="T15" fmla="*/ 72 h 74"/>
                <a:gd name="T16" fmla="*/ 16 w 203"/>
                <a:gd name="T17" fmla="*/ 72 h 74"/>
                <a:gd name="T18" fmla="*/ 13 w 203"/>
                <a:gd name="T19" fmla="*/ 66 h 74"/>
                <a:gd name="T20" fmla="*/ 7 w 203"/>
                <a:gd name="T21" fmla="*/ 69 h 74"/>
                <a:gd name="T22" fmla="*/ 200 w 203"/>
                <a:gd name="T23" fmla="*/ 4 h 74"/>
                <a:gd name="T24" fmla="*/ 195 w 203"/>
                <a:gd name="T25" fmla="*/ 1 h 74"/>
                <a:gd name="T26" fmla="*/ 187 w 203"/>
                <a:gd name="T27" fmla="*/ 1 h 74"/>
                <a:gd name="T28" fmla="*/ 176 w 203"/>
                <a:gd name="T29" fmla="*/ 3 h 74"/>
                <a:gd name="T30" fmla="*/ 164 w 203"/>
                <a:gd name="T31" fmla="*/ 6 h 74"/>
                <a:gd name="T32" fmla="*/ 151 w 203"/>
                <a:gd name="T33" fmla="*/ 7 h 74"/>
                <a:gd name="T34" fmla="*/ 139 w 203"/>
                <a:gd name="T35" fmla="*/ 9 h 74"/>
                <a:gd name="T36" fmla="*/ 132 w 203"/>
                <a:gd name="T37" fmla="*/ 10 h 74"/>
                <a:gd name="T38" fmla="*/ 124 w 203"/>
                <a:gd name="T39" fmla="*/ 11 h 74"/>
                <a:gd name="T40" fmla="*/ 117 w 203"/>
                <a:gd name="T41" fmla="*/ 9 h 74"/>
                <a:gd name="T42" fmla="*/ 107 w 203"/>
                <a:gd name="T43" fmla="*/ 12 h 74"/>
                <a:gd name="T44" fmla="*/ 102 w 203"/>
                <a:gd name="T45" fmla="*/ 12 h 74"/>
                <a:gd name="T46" fmla="*/ 95 w 203"/>
                <a:gd name="T47" fmla="*/ 13 h 74"/>
                <a:gd name="T48" fmla="*/ 89 w 203"/>
                <a:gd name="T49" fmla="*/ 14 h 74"/>
                <a:gd name="T50" fmla="*/ 80 w 203"/>
                <a:gd name="T51" fmla="*/ 16 h 74"/>
                <a:gd name="T52" fmla="*/ 66 w 203"/>
                <a:gd name="T53" fmla="*/ 23 h 74"/>
                <a:gd name="T54" fmla="*/ 64 w 203"/>
                <a:gd name="T55" fmla="*/ 31 h 74"/>
                <a:gd name="T56" fmla="*/ 59 w 203"/>
                <a:gd name="T57" fmla="*/ 38 h 74"/>
                <a:gd name="T58" fmla="*/ 56 w 203"/>
                <a:gd name="T59" fmla="*/ 45 h 74"/>
                <a:gd name="T60" fmla="*/ 64 w 203"/>
                <a:gd name="T61" fmla="*/ 44 h 74"/>
                <a:gd name="T62" fmla="*/ 69 w 203"/>
                <a:gd name="T63" fmla="*/ 42 h 74"/>
                <a:gd name="T64" fmla="*/ 71 w 203"/>
                <a:gd name="T65" fmla="*/ 45 h 74"/>
                <a:gd name="T66" fmla="*/ 71 w 203"/>
                <a:gd name="T67" fmla="*/ 52 h 74"/>
                <a:gd name="T68" fmla="*/ 66 w 203"/>
                <a:gd name="T69" fmla="*/ 54 h 74"/>
                <a:gd name="T70" fmla="*/ 61 w 203"/>
                <a:gd name="T71" fmla="*/ 53 h 74"/>
                <a:gd name="T72" fmla="*/ 60 w 203"/>
                <a:gd name="T73" fmla="*/ 59 h 74"/>
                <a:gd name="T74" fmla="*/ 64 w 203"/>
                <a:gd name="T75" fmla="*/ 64 h 74"/>
                <a:gd name="T76" fmla="*/ 65 w 203"/>
                <a:gd name="T77" fmla="*/ 69 h 74"/>
                <a:gd name="T78" fmla="*/ 72 w 203"/>
                <a:gd name="T79" fmla="*/ 68 h 74"/>
                <a:gd name="T80" fmla="*/ 84 w 203"/>
                <a:gd name="T81" fmla="*/ 60 h 74"/>
                <a:gd name="T82" fmla="*/ 96 w 203"/>
                <a:gd name="T83" fmla="*/ 54 h 74"/>
                <a:gd name="T84" fmla="*/ 106 w 203"/>
                <a:gd name="T85" fmla="*/ 52 h 74"/>
                <a:gd name="T86" fmla="*/ 121 w 203"/>
                <a:gd name="T87" fmla="*/ 48 h 74"/>
                <a:gd name="T88" fmla="*/ 132 w 203"/>
                <a:gd name="T89" fmla="*/ 41 h 74"/>
                <a:gd name="T90" fmla="*/ 149 w 203"/>
                <a:gd name="T91" fmla="*/ 39 h 74"/>
                <a:gd name="T92" fmla="*/ 155 w 203"/>
                <a:gd name="T93" fmla="*/ 33 h 74"/>
                <a:gd name="T94" fmla="*/ 161 w 203"/>
                <a:gd name="T95" fmla="*/ 29 h 74"/>
                <a:gd name="T96" fmla="*/ 172 w 203"/>
                <a:gd name="T97" fmla="*/ 27 h 74"/>
                <a:gd name="T98" fmla="*/ 181 w 203"/>
                <a:gd name="T99" fmla="*/ 23 h 74"/>
                <a:gd name="T100" fmla="*/ 189 w 203"/>
                <a:gd name="T101" fmla="*/ 17 h 74"/>
                <a:gd name="T102" fmla="*/ 199 w 203"/>
                <a:gd name="T103" fmla="*/ 9 h 74"/>
                <a:gd name="T104" fmla="*/ 200 w 203"/>
                <a:gd name="T105"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3" h="74">
                  <a:moveTo>
                    <a:pt x="2" y="65"/>
                  </a:moveTo>
                  <a:cubicBezTo>
                    <a:pt x="2" y="64"/>
                    <a:pt x="1" y="64"/>
                    <a:pt x="0" y="63"/>
                  </a:cubicBezTo>
                  <a:cubicBezTo>
                    <a:pt x="1" y="63"/>
                    <a:pt x="3" y="62"/>
                    <a:pt x="3" y="62"/>
                  </a:cubicBezTo>
                  <a:cubicBezTo>
                    <a:pt x="3" y="63"/>
                    <a:pt x="5" y="62"/>
                    <a:pt x="5" y="62"/>
                  </a:cubicBezTo>
                  <a:cubicBezTo>
                    <a:pt x="10" y="59"/>
                    <a:pt x="10" y="59"/>
                    <a:pt x="10" y="59"/>
                  </a:cubicBezTo>
                  <a:cubicBezTo>
                    <a:pt x="10" y="58"/>
                    <a:pt x="10" y="58"/>
                    <a:pt x="10" y="58"/>
                  </a:cubicBezTo>
                  <a:cubicBezTo>
                    <a:pt x="11" y="58"/>
                    <a:pt x="13" y="57"/>
                    <a:pt x="14" y="57"/>
                  </a:cubicBezTo>
                  <a:cubicBezTo>
                    <a:pt x="14" y="57"/>
                    <a:pt x="16" y="56"/>
                    <a:pt x="16" y="56"/>
                  </a:cubicBezTo>
                  <a:cubicBezTo>
                    <a:pt x="17" y="55"/>
                    <a:pt x="17" y="55"/>
                    <a:pt x="17" y="55"/>
                  </a:cubicBezTo>
                  <a:cubicBezTo>
                    <a:pt x="18" y="54"/>
                    <a:pt x="19" y="55"/>
                    <a:pt x="19" y="55"/>
                  </a:cubicBezTo>
                  <a:cubicBezTo>
                    <a:pt x="20" y="54"/>
                    <a:pt x="21" y="54"/>
                    <a:pt x="21" y="54"/>
                  </a:cubicBezTo>
                  <a:cubicBezTo>
                    <a:pt x="22" y="54"/>
                    <a:pt x="24" y="54"/>
                    <a:pt x="24" y="53"/>
                  </a:cubicBezTo>
                  <a:cubicBezTo>
                    <a:pt x="24" y="53"/>
                    <a:pt x="24" y="52"/>
                    <a:pt x="25" y="52"/>
                  </a:cubicBezTo>
                  <a:cubicBezTo>
                    <a:pt x="26" y="53"/>
                    <a:pt x="28" y="53"/>
                    <a:pt x="28" y="53"/>
                  </a:cubicBezTo>
                  <a:cubicBezTo>
                    <a:pt x="28" y="53"/>
                    <a:pt x="28" y="54"/>
                    <a:pt x="28" y="54"/>
                  </a:cubicBezTo>
                  <a:cubicBezTo>
                    <a:pt x="27" y="56"/>
                    <a:pt x="27" y="57"/>
                    <a:pt x="27" y="59"/>
                  </a:cubicBezTo>
                  <a:cubicBezTo>
                    <a:pt x="27" y="60"/>
                    <a:pt x="27" y="61"/>
                    <a:pt x="27" y="61"/>
                  </a:cubicBezTo>
                  <a:cubicBezTo>
                    <a:pt x="27" y="62"/>
                    <a:pt x="26" y="62"/>
                    <a:pt x="26" y="62"/>
                  </a:cubicBezTo>
                  <a:cubicBezTo>
                    <a:pt x="25" y="63"/>
                    <a:pt x="25" y="63"/>
                    <a:pt x="24" y="63"/>
                  </a:cubicBezTo>
                  <a:cubicBezTo>
                    <a:pt x="23" y="64"/>
                    <a:pt x="23" y="64"/>
                    <a:pt x="22" y="65"/>
                  </a:cubicBezTo>
                  <a:cubicBezTo>
                    <a:pt x="22" y="65"/>
                    <a:pt x="22" y="65"/>
                    <a:pt x="22" y="65"/>
                  </a:cubicBezTo>
                  <a:cubicBezTo>
                    <a:pt x="22" y="66"/>
                    <a:pt x="22" y="66"/>
                    <a:pt x="22" y="67"/>
                  </a:cubicBezTo>
                  <a:cubicBezTo>
                    <a:pt x="21" y="68"/>
                    <a:pt x="20" y="68"/>
                    <a:pt x="20" y="70"/>
                  </a:cubicBezTo>
                  <a:cubicBezTo>
                    <a:pt x="20" y="70"/>
                    <a:pt x="21" y="71"/>
                    <a:pt x="21" y="72"/>
                  </a:cubicBezTo>
                  <a:cubicBezTo>
                    <a:pt x="21" y="73"/>
                    <a:pt x="19" y="73"/>
                    <a:pt x="19" y="73"/>
                  </a:cubicBezTo>
                  <a:cubicBezTo>
                    <a:pt x="18" y="73"/>
                    <a:pt x="17" y="74"/>
                    <a:pt x="16" y="74"/>
                  </a:cubicBezTo>
                  <a:cubicBezTo>
                    <a:pt x="15" y="74"/>
                    <a:pt x="16" y="73"/>
                    <a:pt x="16" y="72"/>
                  </a:cubicBezTo>
                  <a:cubicBezTo>
                    <a:pt x="16" y="71"/>
                    <a:pt x="16" y="70"/>
                    <a:pt x="16" y="69"/>
                  </a:cubicBezTo>
                  <a:cubicBezTo>
                    <a:pt x="15" y="69"/>
                    <a:pt x="15" y="68"/>
                    <a:pt x="14" y="67"/>
                  </a:cubicBezTo>
                  <a:cubicBezTo>
                    <a:pt x="14" y="67"/>
                    <a:pt x="13" y="66"/>
                    <a:pt x="13" y="66"/>
                  </a:cubicBezTo>
                  <a:cubicBezTo>
                    <a:pt x="12" y="65"/>
                    <a:pt x="11" y="65"/>
                    <a:pt x="11" y="66"/>
                  </a:cubicBezTo>
                  <a:cubicBezTo>
                    <a:pt x="10" y="66"/>
                    <a:pt x="9" y="67"/>
                    <a:pt x="9" y="67"/>
                  </a:cubicBezTo>
                  <a:cubicBezTo>
                    <a:pt x="8" y="68"/>
                    <a:pt x="8" y="68"/>
                    <a:pt x="7" y="69"/>
                  </a:cubicBezTo>
                  <a:cubicBezTo>
                    <a:pt x="6" y="69"/>
                    <a:pt x="6" y="68"/>
                    <a:pt x="5" y="68"/>
                  </a:cubicBezTo>
                  <a:cubicBezTo>
                    <a:pt x="4" y="68"/>
                    <a:pt x="3" y="66"/>
                    <a:pt x="2" y="65"/>
                  </a:cubicBezTo>
                  <a:close/>
                  <a:moveTo>
                    <a:pt x="200" y="4"/>
                  </a:moveTo>
                  <a:cubicBezTo>
                    <a:pt x="200" y="4"/>
                    <a:pt x="199" y="4"/>
                    <a:pt x="198" y="3"/>
                  </a:cubicBezTo>
                  <a:cubicBezTo>
                    <a:pt x="197" y="3"/>
                    <a:pt x="197" y="2"/>
                    <a:pt x="197" y="1"/>
                  </a:cubicBezTo>
                  <a:cubicBezTo>
                    <a:pt x="196" y="1"/>
                    <a:pt x="195" y="1"/>
                    <a:pt x="195" y="1"/>
                  </a:cubicBezTo>
                  <a:cubicBezTo>
                    <a:pt x="194" y="1"/>
                    <a:pt x="193" y="2"/>
                    <a:pt x="193" y="3"/>
                  </a:cubicBezTo>
                  <a:cubicBezTo>
                    <a:pt x="192" y="3"/>
                    <a:pt x="190" y="2"/>
                    <a:pt x="189" y="2"/>
                  </a:cubicBezTo>
                  <a:cubicBezTo>
                    <a:pt x="188" y="2"/>
                    <a:pt x="188" y="2"/>
                    <a:pt x="187" y="1"/>
                  </a:cubicBezTo>
                  <a:cubicBezTo>
                    <a:pt x="187" y="1"/>
                    <a:pt x="185" y="0"/>
                    <a:pt x="184" y="0"/>
                  </a:cubicBezTo>
                  <a:cubicBezTo>
                    <a:pt x="183" y="0"/>
                    <a:pt x="181" y="0"/>
                    <a:pt x="180" y="1"/>
                  </a:cubicBezTo>
                  <a:cubicBezTo>
                    <a:pt x="179" y="1"/>
                    <a:pt x="178" y="2"/>
                    <a:pt x="176" y="3"/>
                  </a:cubicBezTo>
                  <a:cubicBezTo>
                    <a:pt x="175" y="3"/>
                    <a:pt x="172" y="5"/>
                    <a:pt x="172" y="5"/>
                  </a:cubicBezTo>
                  <a:cubicBezTo>
                    <a:pt x="172" y="5"/>
                    <a:pt x="169" y="5"/>
                    <a:pt x="168" y="5"/>
                  </a:cubicBezTo>
                  <a:cubicBezTo>
                    <a:pt x="167" y="4"/>
                    <a:pt x="165" y="5"/>
                    <a:pt x="164" y="6"/>
                  </a:cubicBezTo>
                  <a:cubicBezTo>
                    <a:pt x="162" y="7"/>
                    <a:pt x="160" y="9"/>
                    <a:pt x="158" y="9"/>
                  </a:cubicBezTo>
                  <a:cubicBezTo>
                    <a:pt x="156" y="10"/>
                    <a:pt x="155" y="9"/>
                    <a:pt x="155" y="9"/>
                  </a:cubicBezTo>
                  <a:cubicBezTo>
                    <a:pt x="154" y="9"/>
                    <a:pt x="152" y="7"/>
                    <a:pt x="151" y="7"/>
                  </a:cubicBezTo>
                  <a:cubicBezTo>
                    <a:pt x="150" y="7"/>
                    <a:pt x="148" y="6"/>
                    <a:pt x="147" y="6"/>
                  </a:cubicBezTo>
                  <a:cubicBezTo>
                    <a:pt x="147" y="6"/>
                    <a:pt x="143" y="7"/>
                    <a:pt x="143" y="7"/>
                  </a:cubicBezTo>
                  <a:cubicBezTo>
                    <a:pt x="139" y="9"/>
                    <a:pt x="139" y="9"/>
                    <a:pt x="139" y="9"/>
                  </a:cubicBezTo>
                  <a:cubicBezTo>
                    <a:pt x="139" y="9"/>
                    <a:pt x="136" y="11"/>
                    <a:pt x="136" y="11"/>
                  </a:cubicBezTo>
                  <a:cubicBezTo>
                    <a:pt x="135" y="11"/>
                    <a:pt x="134" y="11"/>
                    <a:pt x="134" y="11"/>
                  </a:cubicBezTo>
                  <a:cubicBezTo>
                    <a:pt x="132" y="10"/>
                    <a:pt x="132" y="10"/>
                    <a:pt x="132" y="10"/>
                  </a:cubicBezTo>
                  <a:cubicBezTo>
                    <a:pt x="131" y="10"/>
                    <a:pt x="130" y="11"/>
                    <a:pt x="129" y="11"/>
                  </a:cubicBezTo>
                  <a:cubicBezTo>
                    <a:pt x="129" y="12"/>
                    <a:pt x="127" y="12"/>
                    <a:pt x="126" y="12"/>
                  </a:cubicBezTo>
                  <a:cubicBezTo>
                    <a:pt x="126" y="12"/>
                    <a:pt x="124" y="12"/>
                    <a:pt x="124" y="11"/>
                  </a:cubicBezTo>
                  <a:cubicBezTo>
                    <a:pt x="123" y="11"/>
                    <a:pt x="122" y="11"/>
                    <a:pt x="122" y="11"/>
                  </a:cubicBezTo>
                  <a:cubicBezTo>
                    <a:pt x="122" y="10"/>
                    <a:pt x="120" y="9"/>
                    <a:pt x="120" y="9"/>
                  </a:cubicBezTo>
                  <a:cubicBezTo>
                    <a:pt x="120" y="9"/>
                    <a:pt x="117" y="9"/>
                    <a:pt x="117" y="9"/>
                  </a:cubicBezTo>
                  <a:cubicBezTo>
                    <a:pt x="116" y="9"/>
                    <a:pt x="113" y="9"/>
                    <a:pt x="112" y="10"/>
                  </a:cubicBezTo>
                  <a:cubicBezTo>
                    <a:pt x="112" y="10"/>
                    <a:pt x="110" y="10"/>
                    <a:pt x="109" y="11"/>
                  </a:cubicBezTo>
                  <a:cubicBezTo>
                    <a:pt x="107" y="12"/>
                    <a:pt x="107" y="12"/>
                    <a:pt x="107" y="12"/>
                  </a:cubicBezTo>
                  <a:cubicBezTo>
                    <a:pt x="105" y="12"/>
                    <a:pt x="105" y="12"/>
                    <a:pt x="105" y="12"/>
                  </a:cubicBezTo>
                  <a:cubicBezTo>
                    <a:pt x="102" y="13"/>
                    <a:pt x="102" y="13"/>
                    <a:pt x="102" y="13"/>
                  </a:cubicBezTo>
                  <a:cubicBezTo>
                    <a:pt x="102" y="13"/>
                    <a:pt x="102" y="12"/>
                    <a:pt x="102" y="12"/>
                  </a:cubicBezTo>
                  <a:cubicBezTo>
                    <a:pt x="102" y="11"/>
                    <a:pt x="100" y="12"/>
                    <a:pt x="100" y="12"/>
                  </a:cubicBezTo>
                  <a:cubicBezTo>
                    <a:pt x="97" y="13"/>
                    <a:pt x="97" y="13"/>
                    <a:pt x="97" y="13"/>
                  </a:cubicBezTo>
                  <a:cubicBezTo>
                    <a:pt x="95" y="13"/>
                    <a:pt x="95" y="13"/>
                    <a:pt x="95" y="13"/>
                  </a:cubicBezTo>
                  <a:cubicBezTo>
                    <a:pt x="93" y="13"/>
                    <a:pt x="93" y="13"/>
                    <a:pt x="93" y="13"/>
                  </a:cubicBezTo>
                  <a:cubicBezTo>
                    <a:pt x="92" y="13"/>
                    <a:pt x="92" y="13"/>
                    <a:pt x="92" y="13"/>
                  </a:cubicBezTo>
                  <a:cubicBezTo>
                    <a:pt x="92" y="13"/>
                    <a:pt x="90" y="14"/>
                    <a:pt x="89" y="14"/>
                  </a:cubicBezTo>
                  <a:cubicBezTo>
                    <a:pt x="89" y="14"/>
                    <a:pt x="88" y="14"/>
                    <a:pt x="86" y="14"/>
                  </a:cubicBezTo>
                  <a:cubicBezTo>
                    <a:pt x="84" y="14"/>
                    <a:pt x="84" y="15"/>
                    <a:pt x="83" y="15"/>
                  </a:cubicBezTo>
                  <a:cubicBezTo>
                    <a:pt x="82" y="16"/>
                    <a:pt x="81" y="16"/>
                    <a:pt x="80" y="16"/>
                  </a:cubicBezTo>
                  <a:cubicBezTo>
                    <a:pt x="79" y="17"/>
                    <a:pt x="75" y="17"/>
                    <a:pt x="74" y="17"/>
                  </a:cubicBezTo>
                  <a:cubicBezTo>
                    <a:pt x="73" y="17"/>
                    <a:pt x="70" y="18"/>
                    <a:pt x="69" y="19"/>
                  </a:cubicBezTo>
                  <a:cubicBezTo>
                    <a:pt x="68" y="19"/>
                    <a:pt x="67" y="22"/>
                    <a:pt x="66" y="23"/>
                  </a:cubicBezTo>
                  <a:cubicBezTo>
                    <a:pt x="66" y="24"/>
                    <a:pt x="66" y="26"/>
                    <a:pt x="66" y="26"/>
                  </a:cubicBezTo>
                  <a:cubicBezTo>
                    <a:pt x="67" y="27"/>
                    <a:pt x="66" y="29"/>
                    <a:pt x="66" y="29"/>
                  </a:cubicBezTo>
                  <a:cubicBezTo>
                    <a:pt x="66" y="30"/>
                    <a:pt x="64" y="31"/>
                    <a:pt x="64" y="31"/>
                  </a:cubicBezTo>
                  <a:cubicBezTo>
                    <a:pt x="63" y="32"/>
                    <a:pt x="61" y="33"/>
                    <a:pt x="61" y="33"/>
                  </a:cubicBezTo>
                  <a:cubicBezTo>
                    <a:pt x="60" y="34"/>
                    <a:pt x="60" y="35"/>
                    <a:pt x="60" y="36"/>
                  </a:cubicBezTo>
                  <a:cubicBezTo>
                    <a:pt x="60" y="36"/>
                    <a:pt x="59" y="37"/>
                    <a:pt x="59" y="38"/>
                  </a:cubicBezTo>
                  <a:cubicBezTo>
                    <a:pt x="58" y="39"/>
                    <a:pt x="57" y="39"/>
                    <a:pt x="57" y="40"/>
                  </a:cubicBezTo>
                  <a:cubicBezTo>
                    <a:pt x="57" y="40"/>
                    <a:pt x="57" y="41"/>
                    <a:pt x="56" y="42"/>
                  </a:cubicBezTo>
                  <a:cubicBezTo>
                    <a:pt x="56" y="43"/>
                    <a:pt x="55" y="44"/>
                    <a:pt x="56" y="45"/>
                  </a:cubicBezTo>
                  <a:cubicBezTo>
                    <a:pt x="57" y="45"/>
                    <a:pt x="58" y="45"/>
                    <a:pt x="59" y="46"/>
                  </a:cubicBezTo>
                  <a:cubicBezTo>
                    <a:pt x="60" y="46"/>
                    <a:pt x="60" y="46"/>
                    <a:pt x="61" y="46"/>
                  </a:cubicBezTo>
                  <a:cubicBezTo>
                    <a:pt x="62" y="45"/>
                    <a:pt x="63" y="45"/>
                    <a:pt x="64" y="44"/>
                  </a:cubicBezTo>
                  <a:cubicBezTo>
                    <a:pt x="65" y="44"/>
                    <a:pt x="65" y="43"/>
                    <a:pt x="66" y="43"/>
                  </a:cubicBezTo>
                  <a:cubicBezTo>
                    <a:pt x="66" y="42"/>
                    <a:pt x="66" y="41"/>
                    <a:pt x="67" y="40"/>
                  </a:cubicBezTo>
                  <a:cubicBezTo>
                    <a:pt x="68" y="40"/>
                    <a:pt x="69" y="41"/>
                    <a:pt x="69" y="42"/>
                  </a:cubicBezTo>
                  <a:cubicBezTo>
                    <a:pt x="69" y="42"/>
                    <a:pt x="69" y="43"/>
                    <a:pt x="70" y="43"/>
                  </a:cubicBezTo>
                  <a:cubicBezTo>
                    <a:pt x="70" y="43"/>
                    <a:pt x="71" y="43"/>
                    <a:pt x="71" y="44"/>
                  </a:cubicBezTo>
                  <a:cubicBezTo>
                    <a:pt x="72" y="44"/>
                    <a:pt x="72" y="45"/>
                    <a:pt x="71" y="45"/>
                  </a:cubicBezTo>
                  <a:cubicBezTo>
                    <a:pt x="71" y="46"/>
                    <a:pt x="71" y="47"/>
                    <a:pt x="71" y="47"/>
                  </a:cubicBezTo>
                  <a:cubicBezTo>
                    <a:pt x="71" y="49"/>
                    <a:pt x="70" y="50"/>
                    <a:pt x="71" y="51"/>
                  </a:cubicBezTo>
                  <a:cubicBezTo>
                    <a:pt x="72" y="51"/>
                    <a:pt x="72" y="52"/>
                    <a:pt x="71" y="52"/>
                  </a:cubicBezTo>
                  <a:cubicBezTo>
                    <a:pt x="71" y="53"/>
                    <a:pt x="69" y="53"/>
                    <a:pt x="69" y="53"/>
                  </a:cubicBezTo>
                  <a:cubicBezTo>
                    <a:pt x="68" y="54"/>
                    <a:pt x="68" y="54"/>
                    <a:pt x="67" y="54"/>
                  </a:cubicBezTo>
                  <a:cubicBezTo>
                    <a:pt x="66" y="54"/>
                    <a:pt x="66" y="54"/>
                    <a:pt x="66" y="54"/>
                  </a:cubicBezTo>
                  <a:cubicBezTo>
                    <a:pt x="66" y="54"/>
                    <a:pt x="65" y="54"/>
                    <a:pt x="65" y="54"/>
                  </a:cubicBezTo>
                  <a:cubicBezTo>
                    <a:pt x="64" y="53"/>
                    <a:pt x="64" y="53"/>
                    <a:pt x="63" y="53"/>
                  </a:cubicBezTo>
                  <a:cubicBezTo>
                    <a:pt x="62" y="53"/>
                    <a:pt x="61" y="53"/>
                    <a:pt x="61" y="53"/>
                  </a:cubicBezTo>
                  <a:cubicBezTo>
                    <a:pt x="60" y="54"/>
                    <a:pt x="60" y="54"/>
                    <a:pt x="59" y="54"/>
                  </a:cubicBezTo>
                  <a:cubicBezTo>
                    <a:pt x="59" y="55"/>
                    <a:pt x="59" y="56"/>
                    <a:pt x="59" y="56"/>
                  </a:cubicBezTo>
                  <a:cubicBezTo>
                    <a:pt x="59" y="57"/>
                    <a:pt x="60" y="58"/>
                    <a:pt x="60" y="59"/>
                  </a:cubicBezTo>
                  <a:cubicBezTo>
                    <a:pt x="60" y="60"/>
                    <a:pt x="60" y="60"/>
                    <a:pt x="60" y="61"/>
                  </a:cubicBezTo>
                  <a:cubicBezTo>
                    <a:pt x="61" y="61"/>
                    <a:pt x="62" y="61"/>
                    <a:pt x="63" y="62"/>
                  </a:cubicBezTo>
                  <a:cubicBezTo>
                    <a:pt x="64" y="62"/>
                    <a:pt x="64" y="63"/>
                    <a:pt x="64" y="64"/>
                  </a:cubicBezTo>
                  <a:cubicBezTo>
                    <a:pt x="64" y="65"/>
                    <a:pt x="64" y="65"/>
                    <a:pt x="64" y="65"/>
                  </a:cubicBezTo>
                  <a:cubicBezTo>
                    <a:pt x="64" y="65"/>
                    <a:pt x="64" y="65"/>
                    <a:pt x="64" y="66"/>
                  </a:cubicBezTo>
                  <a:cubicBezTo>
                    <a:pt x="65" y="66"/>
                    <a:pt x="65" y="68"/>
                    <a:pt x="65" y="69"/>
                  </a:cubicBezTo>
                  <a:cubicBezTo>
                    <a:pt x="65" y="69"/>
                    <a:pt x="65" y="70"/>
                    <a:pt x="66" y="71"/>
                  </a:cubicBezTo>
                  <a:cubicBezTo>
                    <a:pt x="66" y="70"/>
                    <a:pt x="67" y="69"/>
                    <a:pt x="68" y="69"/>
                  </a:cubicBezTo>
                  <a:cubicBezTo>
                    <a:pt x="70" y="68"/>
                    <a:pt x="71" y="68"/>
                    <a:pt x="72" y="68"/>
                  </a:cubicBezTo>
                  <a:cubicBezTo>
                    <a:pt x="74" y="69"/>
                    <a:pt x="74" y="68"/>
                    <a:pt x="75" y="66"/>
                  </a:cubicBezTo>
                  <a:cubicBezTo>
                    <a:pt x="76" y="64"/>
                    <a:pt x="77" y="64"/>
                    <a:pt x="79" y="63"/>
                  </a:cubicBezTo>
                  <a:cubicBezTo>
                    <a:pt x="81" y="61"/>
                    <a:pt x="82" y="60"/>
                    <a:pt x="84" y="60"/>
                  </a:cubicBezTo>
                  <a:cubicBezTo>
                    <a:pt x="85" y="59"/>
                    <a:pt x="87" y="58"/>
                    <a:pt x="87" y="57"/>
                  </a:cubicBezTo>
                  <a:cubicBezTo>
                    <a:pt x="88" y="57"/>
                    <a:pt x="92" y="57"/>
                    <a:pt x="93" y="56"/>
                  </a:cubicBezTo>
                  <a:cubicBezTo>
                    <a:pt x="94" y="56"/>
                    <a:pt x="95" y="55"/>
                    <a:pt x="96" y="54"/>
                  </a:cubicBezTo>
                  <a:cubicBezTo>
                    <a:pt x="98" y="54"/>
                    <a:pt x="99" y="54"/>
                    <a:pt x="99" y="54"/>
                  </a:cubicBezTo>
                  <a:cubicBezTo>
                    <a:pt x="100" y="54"/>
                    <a:pt x="103" y="54"/>
                    <a:pt x="103" y="54"/>
                  </a:cubicBezTo>
                  <a:cubicBezTo>
                    <a:pt x="103" y="54"/>
                    <a:pt x="104" y="53"/>
                    <a:pt x="106" y="52"/>
                  </a:cubicBezTo>
                  <a:cubicBezTo>
                    <a:pt x="108" y="52"/>
                    <a:pt x="113" y="50"/>
                    <a:pt x="115" y="50"/>
                  </a:cubicBezTo>
                  <a:cubicBezTo>
                    <a:pt x="116" y="50"/>
                    <a:pt x="118" y="51"/>
                    <a:pt x="119" y="51"/>
                  </a:cubicBezTo>
                  <a:cubicBezTo>
                    <a:pt x="119" y="51"/>
                    <a:pt x="120" y="49"/>
                    <a:pt x="121" y="48"/>
                  </a:cubicBezTo>
                  <a:cubicBezTo>
                    <a:pt x="122" y="48"/>
                    <a:pt x="125" y="47"/>
                    <a:pt x="125" y="46"/>
                  </a:cubicBezTo>
                  <a:cubicBezTo>
                    <a:pt x="126" y="46"/>
                    <a:pt x="128" y="44"/>
                    <a:pt x="128" y="43"/>
                  </a:cubicBezTo>
                  <a:cubicBezTo>
                    <a:pt x="129" y="43"/>
                    <a:pt x="131" y="41"/>
                    <a:pt x="132" y="41"/>
                  </a:cubicBezTo>
                  <a:cubicBezTo>
                    <a:pt x="132" y="41"/>
                    <a:pt x="142" y="40"/>
                    <a:pt x="143" y="40"/>
                  </a:cubicBezTo>
                  <a:cubicBezTo>
                    <a:pt x="143" y="40"/>
                    <a:pt x="144" y="40"/>
                    <a:pt x="145" y="39"/>
                  </a:cubicBezTo>
                  <a:cubicBezTo>
                    <a:pt x="145" y="39"/>
                    <a:pt x="148" y="39"/>
                    <a:pt x="149" y="39"/>
                  </a:cubicBezTo>
                  <a:cubicBezTo>
                    <a:pt x="150" y="39"/>
                    <a:pt x="153" y="39"/>
                    <a:pt x="153" y="39"/>
                  </a:cubicBezTo>
                  <a:cubicBezTo>
                    <a:pt x="153" y="39"/>
                    <a:pt x="154" y="36"/>
                    <a:pt x="154" y="35"/>
                  </a:cubicBezTo>
                  <a:cubicBezTo>
                    <a:pt x="155" y="34"/>
                    <a:pt x="155" y="33"/>
                    <a:pt x="155" y="33"/>
                  </a:cubicBezTo>
                  <a:cubicBezTo>
                    <a:pt x="158" y="31"/>
                    <a:pt x="158" y="31"/>
                    <a:pt x="158" y="31"/>
                  </a:cubicBezTo>
                  <a:cubicBezTo>
                    <a:pt x="161" y="30"/>
                    <a:pt x="161" y="30"/>
                    <a:pt x="161" y="30"/>
                  </a:cubicBezTo>
                  <a:cubicBezTo>
                    <a:pt x="161" y="30"/>
                    <a:pt x="161" y="29"/>
                    <a:pt x="161" y="29"/>
                  </a:cubicBezTo>
                  <a:cubicBezTo>
                    <a:pt x="162" y="28"/>
                    <a:pt x="164" y="27"/>
                    <a:pt x="165" y="27"/>
                  </a:cubicBezTo>
                  <a:cubicBezTo>
                    <a:pt x="166" y="27"/>
                    <a:pt x="169" y="27"/>
                    <a:pt x="169" y="27"/>
                  </a:cubicBezTo>
                  <a:cubicBezTo>
                    <a:pt x="170" y="27"/>
                    <a:pt x="172" y="27"/>
                    <a:pt x="172" y="27"/>
                  </a:cubicBezTo>
                  <a:cubicBezTo>
                    <a:pt x="173" y="27"/>
                    <a:pt x="174" y="27"/>
                    <a:pt x="175" y="27"/>
                  </a:cubicBezTo>
                  <a:cubicBezTo>
                    <a:pt x="176" y="26"/>
                    <a:pt x="177" y="25"/>
                    <a:pt x="178" y="24"/>
                  </a:cubicBezTo>
                  <a:cubicBezTo>
                    <a:pt x="178" y="24"/>
                    <a:pt x="180" y="23"/>
                    <a:pt x="181" y="23"/>
                  </a:cubicBezTo>
                  <a:cubicBezTo>
                    <a:pt x="181" y="22"/>
                    <a:pt x="184" y="22"/>
                    <a:pt x="185" y="22"/>
                  </a:cubicBezTo>
                  <a:cubicBezTo>
                    <a:pt x="186" y="22"/>
                    <a:pt x="186" y="22"/>
                    <a:pt x="186" y="21"/>
                  </a:cubicBezTo>
                  <a:cubicBezTo>
                    <a:pt x="187" y="20"/>
                    <a:pt x="188" y="18"/>
                    <a:pt x="189" y="17"/>
                  </a:cubicBezTo>
                  <a:cubicBezTo>
                    <a:pt x="190" y="16"/>
                    <a:pt x="191" y="15"/>
                    <a:pt x="192" y="15"/>
                  </a:cubicBezTo>
                  <a:cubicBezTo>
                    <a:pt x="193" y="14"/>
                    <a:pt x="195" y="13"/>
                    <a:pt x="196" y="12"/>
                  </a:cubicBezTo>
                  <a:cubicBezTo>
                    <a:pt x="196" y="12"/>
                    <a:pt x="198" y="10"/>
                    <a:pt x="199" y="9"/>
                  </a:cubicBezTo>
                  <a:cubicBezTo>
                    <a:pt x="199" y="9"/>
                    <a:pt x="203" y="6"/>
                    <a:pt x="203" y="6"/>
                  </a:cubicBezTo>
                  <a:cubicBezTo>
                    <a:pt x="202" y="4"/>
                    <a:pt x="202" y="4"/>
                    <a:pt x="202" y="4"/>
                  </a:cubicBezTo>
                  <a:cubicBezTo>
                    <a:pt x="202" y="4"/>
                    <a:pt x="201" y="4"/>
                    <a:pt x="200" y="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8" name="Freeform 9">
              <a:extLst>
                <a:ext uri="{FF2B5EF4-FFF2-40B4-BE49-F238E27FC236}">
                  <a16:creationId xmlns:a16="http://schemas.microsoft.com/office/drawing/2014/main" id="{ABF809BB-0489-722E-B85E-A3B69542958D}"/>
                </a:ext>
              </a:extLst>
            </p:cNvPr>
            <p:cNvSpPr>
              <a:spLocks noEditPoints="1"/>
            </p:cNvSpPr>
            <p:nvPr/>
          </p:nvSpPr>
          <p:spPr bwMode="auto">
            <a:xfrm>
              <a:off x="8723313" y="3827463"/>
              <a:ext cx="1290638" cy="1001712"/>
            </a:xfrm>
            <a:custGeom>
              <a:avLst/>
              <a:gdLst>
                <a:gd name="T0" fmla="*/ 12 w 339"/>
                <a:gd name="T1" fmla="*/ 108 h 263"/>
                <a:gd name="T2" fmla="*/ 40 w 339"/>
                <a:gd name="T3" fmla="*/ 118 h 263"/>
                <a:gd name="T4" fmla="*/ 54 w 339"/>
                <a:gd name="T5" fmla="*/ 31 h 263"/>
                <a:gd name="T6" fmla="*/ 61 w 339"/>
                <a:gd name="T7" fmla="*/ 25 h 263"/>
                <a:gd name="T8" fmla="*/ 61 w 339"/>
                <a:gd name="T9" fmla="*/ 8 h 263"/>
                <a:gd name="T10" fmla="*/ 96 w 339"/>
                <a:gd name="T11" fmla="*/ 13 h 263"/>
                <a:gd name="T12" fmla="*/ 61 w 339"/>
                <a:gd name="T13" fmla="*/ 1 h 263"/>
                <a:gd name="T14" fmla="*/ 37 w 339"/>
                <a:gd name="T15" fmla="*/ 9 h 263"/>
                <a:gd name="T16" fmla="*/ 36 w 339"/>
                <a:gd name="T17" fmla="*/ 15 h 263"/>
                <a:gd name="T18" fmla="*/ 62 w 339"/>
                <a:gd name="T19" fmla="*/ 53 h 263"/>
                <a:gd name="T20" fmla="*/ 59 w 339"/>
                <a:gd name="T21" fmla="*/ 49 h 263"/>
                <a:gd name="T22" fmla="*/ 45 w 339"/>
                <a:gd name="T23" fmla="*/ 54 h 263"/>
                <a:gd name="T24" fmla="*/ 82 w 339"/>
                <a:gd name="T25" fmla="*/ 63 h 263"/>
                <a:gd name="T26" fmla="*/ 59 w 339"/>
                <a:gd name="T27" fmla="*/ 67 h 263"/>
                <a:gd name="T28" fmla="*/ 247 w 339"/>
                <a:gd name="T29" fmla="*/ 137 h 263"/>
                <a:gd name="T30" fmla="*/ 233 w 339"/>
                <a:gd name="T31" fmla="*/ 260 h 263"/>
                <a:gd name="T32" fmla="*/ 306 w 339"/>
                <a:gd name="T33" fmla="*/ 205 h 263"/>
                <a:gd name="T34" fmla="*/ 284 w 339"/>
                <a:gd name="T35" fmla="*/ 164 h 263"/>
                <a:gd name="T36" fmla="*/ 268 w 339"/>
                <a:gd name="T37" fmla="*/ 114 h 263"/>
                <a:gd name="T38" fmla="*/ 276 w 339"/>
                <a:gd name="T39" fmla="*/ 83 h 263"/>
                <a:gd name="T40" fmla="*/ 268 w 339"/>
                <a:gd name="T41" fmla="*/ 53 h 263"/>
                <a:gd name="T42" fmla="*/ 217 w 339"/>
                <a:gd name="T43" fmla="*/ 40 h 263"/>
                <a:gd name="T44" fmla="*/ 185 w 339"/>
                <a:gd name="T45" fmla="*/ 24 h 263"/>
                <a:gd name="T46" fmla="*/ 126 w 339"/>
                <a:gd name="T47" fmla="*/ 44 h 263"/>
                <a:gd name="T48" fmla="*/ 91 w 339"/>
                <a:gd name="T49" fmla="*/ 69 h 263"/>
                <a:gd name="T50" fmla="*/ 87 w 339"/>
                <a:gd name="T51" fmla="*/ 89 h 263"/>
                <a:gd name="T52" fmla="*/ 108 w 339"/>
                <a:gd name="T53" fmla="*/ 91 h 263"/>
                <a:gd name="T54" fmla="*/ 115 w 339"/>
                <a:gd name="T55" fmla="*/ 90 h 263"/>
                <a:gd name="T56" fmla="*/ 130 w 339"/>
                <a:gd name="T57" fmla="*/ 96 h 263"/>
                <a:gd name="T58" fmla="*/ 133 w 339"/>
                <a:gd name="T59" fmla="*/ 99 h 263"/>
                <a:gd name="T60" fmla="*/ 141 w 339"/>
                <a:gd name="T61" fmla="*/ 105 h 263"/>
                <a:gd name="T62" fmla="*/ 144 w 339"/>
                <a:gd name="T63" fmla="*/ 118 h 263"/>
                <a:gd name="T64" fmla="*/ 164 w 339"/>
                <a:gd name="T65" fmla="*/ 137 h 263"/>
                <a:gd name="T66" fmla="*/ 199 w 339"/>
                <a:gd name="T67" fmla="*/ 139 h 263"/>
                <a:gd name="T68" fmla="*/ 236 w 339"/>
                <a:gd name="T69" fmla="*/ 133 h 263"/>
                <a:gd name="T70" fmla="*/ 251 w 339"/>
                <a:gd name="T71" fmla="*/ 131 h 263"/>
                <a:gd name="T72" fmla="*/ 254 w 339"/>
                <a:gd name="T73" fmla="*/ 142 h 263"/>
                <a:gd name="T74" fmla="*/ 246 w 339"/>
                <a:gd name="T75" fmla="*/ 150 h 263"/>
                <a:gd name="T76" fmla="*/ 251 w 339"/>
                <a:gd name="T77" fmla="*/ 163 h 263"/>
                <a:gd name="T78" fmla="*/ 241 w 339"/>
                <a:gd name="T79" fmla="*/ 156 h 263"/>
                <a:gd name="T80" fmla="*/ 232 w 339"/>
                <a:gd name="T81" fmla="*/ 159 h 263"/>
                <a:gd name="T82" fmla="*/ 228 w 339"/>
                <a:gd name="T83" fmla="*/ 154 h 263"/>
                <a:gd name="T84" fmla="*/ 210 w 339"/>
                <a:gd name="T85" fmla="*/ 148 h 263"/>
                <a:gd name="T86" fmla="*/ 166 w 339"/>
                <a:gd name="T87" fmla="*/ 165 h 263"/>
                <a:gd name="T88" fmla="*/ 139 w 339"/>
                <a:gd name="T89" fmla="*/ 168 h 263"/>
                <a:gd name="T90" fmla="*/ 144 w 339"/>
                <a:gd name="T91" fmla="*/ 179 h 263"/>
                <a:gd name="T92" fmla="*/ 177 w 339"/>
                <a:gd name="T93" fmla="*/ 195 h 263"/>
                <a:gd name="T94" fmla="*/ 189 w 339"/>
                <a:gd name="T95" fmla="*/ 204 h 263"/>
                <a:gd name="T96" fmla="*/ 187 w 339"/>
                <a:gd name="T97" fmla="*/ 222 h 263"/>
                <a:gd name="T98" fmla="*/ 198 w 339"/>
                <a:gd name="T99" fmla="*/ 251 h 263"/>
                <a:gd name="T100" fmla="*/ 222 w 339"/>
                <a:gd name="T101" fmla="*/ 239 h 263"/>
                <a:gd name="T102" fmla="*/ 223 w 339"/>
                <a:gd name="T103" fmla="*/ 220 h 263"/>
                <a:gd name="T104" fmla="*/ 230 w 339"/>
                <a:gd name="T105" fmla="*/ 211 h 263"/>
                <a:gd name="T106" fmla="*/ 239 w 339"/>
                <a:gd name="T107" fmla="*/ 209 h 263"/>
                <a:gd name="T108" fmla="*/ 251 w 339"/>
                <a:gd name="T109" fmla="*/ 180 h 263"/>
                <a:gd name="T110" fmla="*/ 244 w 339"/>
                <a:gd name="T111" fmla="*/ 195 h 263"/>
                <a:gd name="T112" fmla="*/ 246 w 339"/>
                <a:gd name="T113" fmla="*/ 223 h 263"/>
                <a:gd name="T114" fmla="*/ 259 w 339"/>
                <a:gd name="T115" fmla="*/ 236 h 263"/>
                <a:gd name="T116" fmla="*/ 269 w 339"/>
                <a:gd name="T117" fmla="*/ 238 h 263"/>
                <a:gd name="T118" fmla="*/ 283 w 339"/>
                <a:gd name="T119" fmla="*/ 241 h 263"/>
                <a:gd name="T120" fmla="*/ 303 w 339"/>
                <a:gd name="T121" fmla="*/ 241 h 263"/>
                <a:gd name="T122" fmla="*/ 307 w 339"/>
                <a:gd name="T123" fmla="*/ 241 h 263"/>
                <a:gd name="T124" fmla="*/ 305 w 339"/>
                <a:gd name="T125" fmla="*/ 25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9" h="263">
                  <a:moveTo>
                    <a:pt x="37" y="121"/>
                  </a:moveTo>
                  <a:cubicBezTo>
                    <a:pt x="36" y="121"/>
                    <a:pt x="36" y="122"/>
                    <a:pt x="35" y="122"/>
                  </a:cubicBezTo>
                  <a:cubicBezTo>
                    <a:pt x="35" y="123"/>
                    <a:pt x="34" y="123"/>
                    <a:pt x="34" y="123"/>
                  </a:cubicBezTo>
                  <a:cubicBezTo>
                    <a:pt x="33" y="124"/>
                    <a:pt x="32" y="125"/>
                    <a:pt x="31" y="125"/>
                  </a:cubicBezTo>
                  <a:cubicBezTo>
                    <a:pt x="30" y="125"/>
                    <a:pt x="29" y="125"/>
                    <a:pt x="28" y="125"/>
                  </a:cubicBezTo>
                  <a:cubicBezTo>
                    <a:pt x="26" y="125"/>
                    <a:pt x="24" y="125"/>
                    <a:pt x="23" y="124"/>
                  </a:cubicBezTo>
                  <a:cubicBezTo>
                    <a:pt x="22" y="123"/>
                    <a:pt x="21" y="123"/>
                    <a:pt x="20" y="123"/>
                  </a:cubicBezTo>
                  <a:cubicBezTo>
                    <a:pt x="18" y="122"/>
                    <a:pt x="16" y="123"/>
                    <a:pt x="15" y="122"/>
                  </a:cubicBezTo>
                  <a:cubicBezTo>
                    <a:pt x="13" y="121"/>
                    <a:pt x="11" y="121"/>
                    <a:pt x="10" y="120"/>
                  </a:cubicBezTo>
                  <a:cubicBezTo>
                    <a:pt x="9" y="119"/>
                    <a:pt x="8" y="119"/>
                    <a:pt x="7" y="118"/>
                  </a:cubicBezTo>
                  <a:cubicBezTo>
                    <a:pt x="6" y="118"/>
                    <a:pt x="5" y="118"/>
                    <a:pt x="3" y="117"/>
                  </a:cubicBezTo>
                  <a:cubicBezTo>
                    <a:pt x="2" y="116"/>
                    <a:pt x="0" y="115"/>
                    <a:pt x="0" y="114"/>
                  </a:cubicBezTo>
                  <a:cubicBezTo>
                    <a:pt x="1" y="113"/>
                    <a:pt x="2" y="112"/>
                    <a:pt x="3" y="112"/>
                  </a:cubicBezTo>
                  <a:cubicBezTo>
                    <a:pt x="4" y="112"/>
                    <a:pt x="6" y="112"/>
                    <a:pt x="7" y="111"/>
                  </a:cubicBezTo>
                  <a:cubicBezTo>
                    <a:pt x="9" y="110"/>
                    <a:pt x="11" y="109"/>
                    <a:pt x="12" y="108"/>
                  </a:cubicBezTo>
                  <a:cubicBezTo>
                    <a:pt x="13" y="107"/>
                    <a:pt x="14" y="108"/>
                    <a:pt x="15" y="107"/>
                  </a:cubicBezTo>
                  <a:cubicBezTo>
                    <a:pt x="16" y="107"/>
                    <a:pt x="17" y="106"/>
                    <a:pt x="17" y="106"/>
                  </a:cubicBezTo>
                  <a:cubicBezTo>
                    <a:pt x="18" y="106"/>
                    <a:pt x="19" y="105"/>
                    <a:pt x="20" y="105"/>
                  </a:cubicBezTo>
                  <a:cubicBezTo>
                    <a:pt x="21" y="105"/>
                    <a:pt x="22" y="105"/>
                    <a:pt x="23" y="105"/>
                  </a:cubicBezTo>
                  <a:cubicBezTo>
                    <a:pt x="24" y="105"/>
                    <a:pt x="25" y="104"/>
                    <a:pt x="26" y="104"/>
                  </a:cubicBezTo>
                  <a:cubicBezTo>
                    <a:pt x="28" y="104"/>
                    <a:pt x="29" y="104"/>
                    <a:pt x="30" y="104"/>
                  </a:cubicBezTo>
                  <a:cubicBezTo>
                    <a:pt x="33" y="104"/>
                    <a:pt x="35" y="102"/>
                    <a:pt x="37" y="101"/>
                  </a:cubicBezTo>
                  <a:cubicBezTo>
                    <a:pt x="38" y="101"/>
                    <a:pt x="38" y="101"/>
                    <a:pt x="39" y="102"/>
                  </a:cubicBezTo>
                  <a:cubicBezTo>
                    <a:pt x="39" y="102"/>
                    <a:pt x="39" y="103"/>
                    <a:pt x="39" y="104"/>
                  </a:cubicBezTo>
                  <a:cubicBezTo>
                    <a:pt x="38" y="105"/>
                    <a:pt x="38" y="105"/>
                    <a:pt x="38" y="105"/>
                  </a:cubicBezTo>
                  <a:cubicBezTo>
                    <a:pt x="39" y="105"/>
                    <a:pt x="40" y="105"/>
                    <a:pt x="41" y="105"/>
                  </a:cubicBezTo>
                  <a:cubicBezTo>
                    <a:pt x="41" y="106"/>
                    <a:pt x="42" y="107"/>
                    <a:pt x="43" y="107"/>
                  </a:cubicBezTo>
                  <a:cubicBezTo>
                    <a:pt x="45" y="110"/>
                    <a:pt x="44" y="112"/>
                    <a:pt x="42" y="114"/>
                  </a:cubicBezTo>
                  <a:cubicBezTo>
                    <a:pt x="41" y="114"/>
                    <a:pt x="39" y="115"/>
                    <a:pt x="38" y="116"/>
                  </a:cubicBezTo>
                  <a:cubicBezTo>
                    <a:pt x="38" y="117"/>
                    <a:pt x="39" y="117"/>
                    <a:pt x="40" y="118"/>
                  </a:cubicBezTo>
                  <a:cubicBezTo>
                    <a:pt x="40" y="118"/>
                    <a:pt x="41" y="119"/>
                    <a:pt x="41" y="119"/>
                  </a:cubicBezTo>
                  <a:cubicBezTo>
                    <a:pt x="42" y="119"/>
                    <a:pt x="42" y="119"/>
                    <a:pt x="43" y="119"/>
                  </a:cubicBezTo>
                  <a:cubicBezTo>
                    <a:pt x="44" y="119"/>
                    <a:pt x="44" y="120"/>
                    <a:pt x="44" y="121"/>
                  </a:cubicBezTo>
                  <a:cubicBezTo>
                    <a:pt x="44" y="122"/>
                    <a:pt x="44" y="123"/>
                    <a:pt x="43" y="123"/>
                  </a:cubicBezTo>
                  <a:cubicBezTo>
                    <a:pt x="42" y="124"/>
                    <a:pt x="41" y="123"/>
                    <a:pt x="40" y="123"/>
                  </a:cubicBezTo>
                  <a:cubicBezTo>
                    <a:pt x="39" y="122"/>
                    <a:pt x="39" y="122"/>
                    <a:pt x="37" y="121"/>
                  </a:cubicBezTo>
                  <a:close/>
                  <a:moveTo>
                    <a:pt x="45" y="27"/>
                  </a:moveTo>
                  <a:cubicBezTo>
                    <a:pt x="45" y="28"/>
                    <a:pt x="46" y="28"/>
                    <a:pt x="46" y="29"/>
                  </a:cubicBezTo>
                  <a:cubicBezTo>
                    <a:pt x="46" y="30"/>
                    <a:pt x="46" y="30"/>
                    <a:pt x="46" y="31"/>
                  </a:cubicBezTo>
                  <a:cubicBezTo>
                    <a:pt x="46" y="31"/>
                    <a:pt x="48" y="31"/>
                    <a:pt x="49" y="31"/>
                  </a:cubicBezTo>
                  <a:cubicBezTo>
                    <a:pt x="49" y="31"/>
                    <a:pt x="50" y="30"/>
                    <a:pt x="51" y="30"/>
                  </a:cubicBezTo>
                  <a:cubicBezTo>
                    <a:pt x="51" y="29"/>
                    <a:pt x="51" y="28"/>
                    <a:pt x="52" y="28"/>
                  </a:cubicBezTo>
                  <a:cubicBezTo>
                    <a:pt x="53" y="28"/>
                    <a:pt x="54" y="28"/>
                    <a:pt x="54" y="29"/>
                  </a:cubicBezTo>
                  <a:cubicBezTo>
                    <a:pt x="54" y="30"/>
                    <a:pt x="51" y="32"/>
                    <a:pt x="52" y="32"/>
                  </a:cubicBezTo>
                  <a:cubicBezTo>
                    <a:pt x="53" y="32"/>
                    <a:pt x="54" y="31"/>
                    <a:pt x="54" y="31"/>
                  </a:cubicBezTo>
                  <a:cubicBezTo>
                    <a:pt x="55" y="31"/>
                    <a:pt x="56" y="31"/>
                    <a:pt x="56" y="30"/>
                  </a:cubicBezTo>
                  <a:cubicBezTo>
                    <a:pt x="57" y="30"/>
                    <a:pt x="59" y="28"/>
                    <a:pt x="59" y="27"/>
                  </a:cubicBezTo>
                  <a:cubicBezTo>
                    <a:pt x="58" y="26"/>
                    <a:pt x="58" y="26"/>
                    <a:pt x="57" y="26"/>
                  </a:cubicBezTo>
                  <a:cubicBezTo>
                    <a:pt x="57" y="26"/>
                    <a:pt x="57" y="25"/>
                    <a:pt x="56" y="25"/>
                  </a:cubicBezTo>
                  <a:cubicBezTo>
                    <a:pt x="56" y="24"/>
                    <a:pt x="55" y="24"/>
                    <a:pt x="54" y="24"/>
                  </a:cubicBezTo>
                  <a:cubicBezTo>
                    <a:pt x="54" y="25"/>
                    <a:pt x="54" y="25"/>
                    <a:pt x="54" y="25"/>
                  </a:cubicBezTo>
                  <a:cubicBezTo>
                    <a:pt x="53" y="25"/>
                    <a:pt x="52" y="25"/>
                    <a:pt x="52" y="24"/>
                  </a:cubicBezTo>
                  <a:cubicBezTo>
                    <a:pt x="52" y="24"/>
                    <a:pt x="53" y="23"/>
                    <a:pt x="53" y="22"/>
                  </a:cubicBezTo>
                  <a:cubicBezTo>
                    <a:pt x="53" y="22"/>
                    <a:pt x="52" y="21"/>
                    <a:pt x="52" y="20"/>
                  </a:cubicBezTo>
                  <a:cubicBezTo>
                    <a:pt x="52" y="19"/>
                    <a:pt x="53" y="19"/>
                    <a:pt x="54" y="19"/>
                  </a:cubicBezTo>
                  <a:cubicBezTo>
                    <a:pt x="56" y="19"/>
                    <a:pt x="57" y="18"/>
                    <a:pt x="58" y="18"/>
                  </a:cubicBezTo>
                  <a:cubicBezTo>
                    <a:pt x="58" y="19"/>
                    <a:pt x="58" y="20"/>
                    <a:pt x="58" y="20"/>
                  </a:cubicBezTo>
                  <a:cubicBezTo>
                    <a:pt x="58" y="21"/>
                    <a:pt x="59" y="21"/>
                    <a:pt x="59" y="22"/>
                  </a:cubicBezTo>
                  <a:cubicBezTo>
                    <a:pt x="59" y="22"/>
                    <a:pt x="59" y="23"/>
                    <a:pt x="59" y="23"/>
                  </a:cubicBezTo>
                  <a:cubicBezTo>
                    <a:pt x="59" y="24"/>
                    <a:pt x="60" y="25"/>
                    <a:pt x="61" y="25"/>
                  </a:cubicBezTo>
                  <a:cubicBezTo>
                    <a:pt x="62" y="26"/>
                    <a:pt x="63" y="26"/>
                    <a:pt x="64" y="26"/>
                  </a:cubicBezTo>
                  <a:cubicBezTo>
                    <a:pt x="66" y="26"/>
                    <a:pt x="67" y="26"/>
                    <a:pt x="69" y="25"/>
                  </a:cubicBezTo>
                  <a:cubicBezTo>
                    <a:pt x="70" y="25"/>
                    <a:pt x="71" y="24"/>
                    <a:pt x="72" y="23"/>
                  </a:cubicBezTo>
                  <a:cubicBezTo>
                    <a:pt x="72" y="23"/>
                    <a:pt x="74" y="23"/>
                    <a:pt x="74" y="22"/>
                  </a:cubicBezTo>
                  <a:cubicBezTo>
                    <a:pt x="74" y="21"/>
                    <a:pt x="73" y="20"/>
                    <a:pt x="72" y="20"/>
                  </a:cubicBezTo>
                  <a:cubicBezTo>
                    <a:pt x="71" y="19"/>
                    <a:pt x="69" y="17"/>
                    <a:pt x="67" y="18"/>
                  </a:cubicBezTo>
                  <a:cubicBezTo>
                    <a:pt x="66" y="18"/>
                    <a:pt x="66" y="18"/>
                    <a:pt x="65" y="18"/>
                  </a:cubicBezTo>
                  <a:cubicBezTo>
                    <a:pt x="64" y="17"/>
                    <a:pt x="64" y="17"/>
                    <a:pt x="63" y="17"/>
                  </a:cubicBezTo>
                  <a:cubicBezTo>
                    <a:pt x="61" y="17"/>
                    <a:pt x="61" y="16"/>
                    <a:pt x="60" y="14"/>
                  </a:cubicBezTo>
                  <a:cubicBezTo>
                    <a:pt x="60" y="13"/>
                    <a:pt x="59" y="10"/>
                    <a:pt x="58" y="9"/>
                  </a:cubicBezTo>
                  <a:cubicBezTo>
                    <a:pt x="57" y="9"/>
                    <a:pt x="56" y="9"/>
                    <a:pt x="56" y="8"/>
                  </a:cubicBezTo>
                  <a:cubicBezTo>
                    <a:pt x="56" y="7"/>
                    <a:pt x="56" y="7"/>
                    <a:pt x="56" y="7"/>
                  </a:cubicBezTo>
                  <a:cubicBezTo>
                    <a:pt x="56" y="6"/>
                    <a:pt x="56" y="6"/>
                    <a:pt x="56" y="6"/>
                  </a:cubicBezTo>
                  <a:cubicBezTo>
                    <a:pt x="56" y="5"/>
                    <a:pt x="59" y="5"/>
                    <a:pt x="60" y="5"/>
                  </a:cubicBezTo>
                  <a:cubicBezTo>
                    <a:pt x="61" y="6"/>
                    <a:pt x="60" y="7"/>
                    <a:pt x="61" y="8"/>
                  </a:cubicBezTo>
                  <a:cubicBezTo>
                    <a:pt x="61" y="8"/>
                    <a:pt x="62" y="8"/>
                    <a:pt x="63" y="9"/>
                  </a:cubicBezTo>
                  <a:cubicBezTo>
                    <a:pt x="63" y="9"/>
                    <a:pt x="65" y="10"/>
                    <a:pt x="65" y="10"/>
                  </a:cubicBezTo>
                  <a:cubicBezTo>
                    <a:pt x="66" y="11"/>
                    <a:pt x="65" y="12"/>
                    <a:pt x="66" y="13"/>
                  </a:cubicBezTo>
                  <a:cubicBezTo>
                    <a:pt x="66" y="14"/>
                    <a:pt x="67" y="14"/>
                    <a:pt x="68" y="14"/>
                  </a:cubicBezTo>
                  <a:cubicBezTo>
                    <a:pt x="69" y="14"/>
                    <a:pt x="70" y="14"/>
                    <a:pt x="71" y="14"/>
                  </a:cubicBezTo>
                  <a:cubicBezTo>
                    <a:pt x="71" y="15"/>
                    <a:pt x="71" y="16"/>
                    <a:pt x="72" y="17"/>
                  </a:cubicBezTo>
                  <a:cubicBezTo>
                    <a:pt x="72" y="18"/>
                    <a:pt x="72" y="18"/>
                    <a:pt x="73" y="18"/>
                  </a:cubicBezTo>
                  <a:cubicBezTo>
                    <a:pt x="74" y="18"/>
                    <a:pt x="74" y="19"/>
                    <a:pt x="75" y="20"/>
                  </a:cubicBezTo>
                  <a:cubicBezTo>
                    <a:pt x="75" y="20"/>
                    <a:pt x="76" y="21"/>
                    <a:pt x="76" y="21"/>
                  </a:cubicBezTo>
                  <a:cubicBezTo>
                    <a:pt x="79" y="22"/>
                    <a:pt x="81" y="20"/>
                    <a:pt x="83" y="19"/>
                  </a:cubicBezTo>
                  <a:cubicBezTo>
                    <a:pt x="85" y="19"/>
                    <a:pt x="85" y="20"/>
                    <a:pt x="87" y="20"/>
                  </a:cubicBezTo>
                  <a:cubicBezTo>
                    <a:pt x="89" y="20"/>
                    <a:pt x="90" y="20"/>
                    <a:pt x="91" y="22"/>
                  </a:cubicBezTo>
                  <a:cubicBezTo>
                    <a:pt x="93" y="23"/>
                    <a:pt x="93" y="22"/>
                    <a:pt x="94" y="21"/>
                  </a:cubicBezTo>
                  <a:cubicBezTo>
                    <a:pt x="95" y="19"/>
                    <a:pt x="99" y="19"/>
                    <a:pt x="98" y="17"/>
                  </a:cubicBezTo>
                  <a:cubicBezTo>
                    <a:pt x="97" y="17"/>
                    <a:pt x="96" y="15"/>
                    <a:pt x="96" y="13"/>
                  </a:cubicBezTo>
                  <a:cubicBezTo>
                    <a:pt x="96" y="12"/>
                    <a:pt x="97" y="10"/>
                    <a:pt x="96" y="9"/>
                  </a:cubicBezTo>
                  <a:cubicBezTo>
                    <a:pt x="94" y="7"/>
                    <a:pt x="91" y="8"/>
                    <a:pt x="90" y="7"/>
                  </a:cubicBezTo>
                  <a:cubicBezTo>
                    <a:pt x="89" y="6"/>
                    <a:pt x="89" y="5"/>
                    <a:pt x="88" y="5"/>
                  </a:cubicBezTo>
                  <a:cubicBezTo>
                    <a:pt x="87" y="4"/>
                    <a:pt x="86" y="4"/>
                    <a:pt x="86" y="4"/>
                  </a:cubicBezTo>
                  <a:cubicBezTo>
                    <a:pt x="84" y="3"/>
                    <a:pt x="82" y="4"/>
                    <a:pt x="81" y="2"/>
                  </a:cubicBezTo>
                  <a:cubicBezTo>
                    <a:pt x="81" y="2"/>
                    <a:pt x="81" y="1"/>
                    <a:pt x="80" y="1"/>
                  </a:cubicBezTo>
                  <a:cubicBezTo>
                    <a:pt x="80" y="1"/>
                    <a:pt x="79" y="1"/>
                    <a:pt x="78" y="2"/>
                  </a:cubicBezTo>
                  <a:cubicBezTo>
                    <a:pt x="77" y="2"/>
                    <a:pt x="77" y="3"/>
                    <a:pt x="76" y="3"/>
                  </a:cubicBezTo>
                  <a:cubicBezTo>
                    <a:pt x="75" y="2"/>
                    <a:pt x="75" y="2"/>
                    <a:pt x="75" y="2"/>
                  </a:cubicBezTo>
                  <a:cubicBezTo>
                    <a:pt x="75" y="2"/>
                    <a:pt x="75" y="1"/>
                    <a:pt x="74" y="1"/>
                  </a:cubicBezTo>
                  <a:cubicBezTo>
                    <a:pt x="73" y="1"/>
                    <a:pt x="72" y="1"/>
                    <a:pt x="71" y="1"/>
                  </a:cubicBezTo>
                  <a:cubicBezTo>
                    <a:pt x="70" y="0"/>
                    <a:pt x="68" y="0"/>
                    <a:pt x="66" y="0"/>
                  </a:cubicBezTo>
                  <a:cubicBezTo>
                    <a:pt x="66" y="0"/>
                    <a:pt x="63" y="0"/>
                    <a:pt x="63" y="1"/>
                  </a:cubicBezTo>
                  <a:cubicBezTo>
                    <a:pt x="63" y="1"/>
                    <a:pt x="64" y="2"/>
                    <a:pt x="64" y="2"/>
                  </a:cubicBezTo>
                  <a:cubicBezTo>
                    <a:pt x="63" y="2"/>
                    <a:pt x="60" y="2"/>
                    <a:pt x="61" y="1"/>
                  </a:cubicBezTo>
                  <a:cubicBezTo>
                    <a:pt x="60" y="1"/>
                    <a:pt x="58" y="2"/>
                    <a:pt x="57" y="2"/>
                  </a:cubicBezTo>
                  <a:cubicBezTo>
                    <a:pt x="57" y="2"/>
                    <a:pt x="57" y="3"/>
                    <a:pt x="56" y="3"/>
                  </a:cubicBezTo>
                  <a:cubicBezTo>
                    <a:pt x="55" y="3"/>
                    <a:pt x="55" y="2"/>
                    <a:pt x="55" y="2"/>
                  </a:cubicBezTo>
                  <a:cubicBezTo>
                    <a:pt x="54" y="2"/>
                    <a:pt x="53" y="3"/>
                    <a:pt x="52" y="4"/>
                  </a:cubicBezTo>
                  <a:cubicBezTo>
                    <a:pt x="52" y="4"/>
                    <a:pt x="50" y="3"/>
                    <a:pt x="50" y="3"/>
                  </a:cubicBezTo>
                  <a:cubicBezTo>
                    <a:pt x="49" y="2"/>
                    <a:pt x="48" y="3"/>
                    <a:pt x="48" y="4"/>
                  </a:cubicBezTo>
                  <a:cubicBezTo>
                    <a:pt x="47" y="4"/>
                    <a:pt x="46" y="4"/>
                    <a:pt x="45" y="5"/>
                  </a:cubicBezTo>
                  <a:cubicBezTo>
                    <a:pt x="44" y="5"/>
                    <a:pt x="42" y="6"/>
                    <a:pt x="41" y="5"/>
                  </a:cubicBezTo>
                  <a:cubicBezTo>
                    <a:pt x="41" y="4"/>
                    <a:pt x="41" y="4"/>
                    <a:pt x="40" y="4"/>
                  </a:cubicBezTo>
                  <a:cubicBezTo>
                    <a:pt x="40" y="5"/>
                    <a:pt x="40" y="5"/>
                    <a:pt x="39" y="6"/>
                  </a:cubicBezTo>
                  <a:cubicBezTo>
                    <a:pt x="39" y="6"/>
                    <a:pt x="39" y="7"/>
                    <a:pt x="38" y="7"/>
                  </a:cubicBezTo>
                  <a:cubicBezTo>
                    <a:pt x="38" y="7"/>
                    <a:pt x="38" y="6"/>
                    <a:pt x="38" y="6"/>
                  </a:cubicBezTo>
                  <a:cubicBezTo>
                    <a:pt x="36" y="6"/>
                    <a:pt x="35" y="6"/>
                    <a:pt x="35" y="8"/>
                  </a:cubicBezTo>
                  <a:cubicBezTo>
                    <a:pt x="35" y="8"/>
                    <a:pt x="34" y="10"/>
                    <a:pt x="35" y="10"/>
                  </a:cubicBezTo>
                  <a:cubicBezTo>
                    <a:pt x="36" y="11"/>
                    <a:pt x="36" y="10"/>
                    <a:pt x="37" y="9"/>
                  </a:cubicBezTo>
                  <a:cubicBezTo>
                    <a:pt x="37" y="9"/>
                    <a:pt x="37" y="9"/>
                    <a:pt x="38" y="8"/>
                  </a:cubicBezTo>
                  <a:cubicBezTo>
                    <a:pt x="38" y="8"/>
                    <a:pt x="40" y="8"/>
                    <a:pt x="40" y="9"/>
                  </a:cubicBezTo>
                  <a:cubicBezTo>
                    <a:pt x="41" y="9"/>
                    <a:pt x="41" y="9"/>
                    <a:pt x="41" y="9"/>
                  </a:cubicBezTo>
                  <a:cubicBezTo>
                    <a:pt x="42" y="8"/>
                    <a:pt x="42" y="8"/>
                    <a:pt x="42" y="8"/>
                  </a:cubicBezTo>
                  <a:cubicBezTo>
                    <a:pt x="43" y="8"/>
                    <a:pt x="43" y="8"/>
                    <a:pt x="43" y="9"/>
                  </a:cubicBezTo>
                  <a:cubicBezTo>
                    <a:pt x="43" y="10"/>
                    <a:pt x="43" y="10"/>
                    <a:pt x="43" y="10"/>
                  </a:cubicBezTo>
                  <a:cubicBezTo>
                    <a:pt x="44" y="11"/>
                    <a:pt x="44" y="11"/>
                    <a:pt x="44" y="11"/>
                  </a:cubicBezTo>
                  <a:cubicBezTo>
                    <a:pt x="42" y="12"/>
                    <a:pt x="42" y="12"/>
                    <a:pt x="42" y="12"/>
                  </a:cubicBezTo>
                  <a:cubicBezTo>
                    <a:pt x="42" y="13"/>
                    <a:pt x="41" y="13"/>
                    <a:pt x="41" y="13"/>
                  </a:cubicBezTo>
                  <a:cubicBezTo>
                    <a:pt x="39" y="14"/>
                    <a:pt x="39" y="13"/>
                    <a:pt x="39" y="12"/>
                  </a:cubicBezTo>
                  <a:cubicBezTo>
                    <a:pt x="38" y="12"/>
                    <a:pt x="37" y="12"/>
                    <a:pt x="36" y="12"/>
                  </a:cubicBezTo>
                  <a:cubicBezTo>
                    <a:pt x="36" y="13"/>
                    <a:pt x="34" y="12"/>
                    <a:pt x="33" y="12"/>
                  </a:cubicBezTo>
                  <a:cubicBezTo>
                    <a:pt x="33" y="12"/>
                    <a:pt x="31" y="12"/>
                    <a:pt x="32" y="13"/>
                  </a:cubicBezTo>
                  <a:cubicBezTo>
                    <a:pt x="32" y="14"/>
                    <a:pt x="33" y="13"/>
                    <a:pt x="34" y="14"/>
                  </a:cubicBezTo>
                  <a:cubicBezTo>
                    <a:pt x="34" y="14"/>
                    <a:pt x="35" y="15"/>
                    <a:pt x="36" y="15"/>
                  </a:cubicBezTo>
                  <a:cubicBezTo>
                    <a:pt x="37" y="16"/>
                    <a:pt x="38" y="15"/>
                    <a:pt x="39" y="15"/>
                  </a:cubicBezTo>
                  <a:cubicBezTo>
                    <a:pt x="40" y="15"/>
                    <a:pt x="41" y="16"/>
                    <a:pt x="42" y="16"/>
                  </a:cubicBezTo>
                  <a:cubicBezTo>
                    <a:pt x="43" y="16"/>
                    <a:pt x="43" y="16"/>
                    <a:pt x="44" y="17"/>
                  </a:cubicBezTo>
                  <a:cubicBezTo>
                    <a:pt x="45" y="17"/>
                    <a:pt x="45" y="16"/>
                    <a:pt x="45" y="16"/>
                  </a:cubicBezTo>
                  <a:cubicBezTo>
                    <a:pt x="46" y="15"/>
                    <a:pt x="47" y="15"/>
                    <a:pt x="47" y="15"/>
                  </a:cubicBezTo>
                  <a:cubicBezTo>
                    <a:pt x="48" y="15"/>
                    <a:pt x="49" y="15"/>
                    <a:pt x="49" y="15"/>
                  </a:cubicBezTo>
                  <a:cubicBezTo>
                    <a:pt x="49" y="16"/>
                    <a:pt x="49" y="17"/>
                    <a:pt x="49" y="17"/>
                  </a:cubicBezTo>
                  <a:cubicBezTo>
                    <a:pt x="49" y="18"/>
                    <a:pt x="50" y="18"/>
                    <a:pt x="50" y="19"/>
                  </a:cubicBezTo>
                  <a:cubicBezTo>
                    <a:pt x="51" y="19"/>
                    <a:pt x="50" y="20"/>
                    <a:pt x="50" y="21"/>
                  </a:cubicBezTo>
                  <a:cubicBezTo>
                    <a:pt x="50" y="22"/>
                    <a:pt x="50" y="24"/>
                    <a:pt x="50" y="26"/>
                  </a:cubicBezTo>
                  <a:cubicBezTo>
                    <a:pt x="48" y="27"/>
                    <a:pt x="47" y="26"/>
                    <a:pt x="45" y="27"/>
                  </a:cubicBezTo>
                  <a:close/>
                  <a:moveTo>
                    <a:pt x="45" y="54"/>
                  </a:moveTo>
                  <a:cubicBezTo>
                    <a:pt x="46" y="54"/>
                    <a:pt x="47" y="54"/>
                    <a:pt x="48" y="54"/>
                  </a:cubicBezTo>
                  <a:cubicBezTo>
                    <a:pt x="50" y="54"/>
                    <a:pt x="52" y="55"/>
                    <a:pt x="55" y="55"/>
                  </a:cubicBezTo>
                  <a:cubicBezTo>
                    <a:pt x="57" y="55"/>
                    <a:pt x="59" y="54"/>
                    <a:pt x="62" y="53"/>
                  </a:cubicBezTo>
                  <a:cubicBezTo>
                    <a:pt x="63" y="53"/>
                    <a:pt x="64" y="53"/>
                    <a:pt x="65" y="53"/>
                  </a:cubicBezTo>
                  <a:cubicBezTo>
                    <a:pt x="66" y="52"/>
                    <a:pt x="67" y="52"/>
                    <a:pt x="68" y="52"/>
                  </a:cubicBezTo>
                  <a:cubicBezTo>
                    <a:pt x="69" y="52"/>
                    <a:pt x="71" y="51"/>
                    <a:pt x="71" y="50"/>
                  </a:cubicBezTo>
                  <a:cubicBezTo>
                    <a:pt x="70" y="50"/>
                    <a:pt x="69" y="49"/>
                    <a:pt x="70" y="48"/>
                  </a:cubicBezTo>
                  <a:cubicBezTo>
                    <a:pt x="71" y="48"/>
                    <a:pt x="71" y="48"/>
                    <a:pt x="71" y="48"/>
                  </a:cubicBezTo>
                  <a:cubicBezTo>
                    <a:pt x="71" y="47"/>
                    <a:pt x="71" y="47"/>
                    <a:pt x="71" y="47"/>
                  </a:cubicBezTo>
                  <a:cubicBezTo>
                    <a:pt x="70" y="47"/>
                    <a:pt x="68" y="47"/>
                    <a:pt x="67" y="47"/>
                  </a:cubicBezTo>
                  <a:cubicBezTo>
                    <a:pt x="67" y="48"/>
                    <a:pt x="67" y="48"/>
                    <a:pt x="67" y="48"/>
                  </a:cubicBezTo>
                  <a:cubicBezTo>
                    <a:pt x="67" y="49"/>
                    <a:pt x="66" y="49"/>
                    <a:pt x="66" y="49"/>
                  </a:cubicBezTo>
                  <a:cubicBezTo>
                    <a:pt x="64" y="48"/>
                    <a:pt x="64" y="48"/>
                    <a:pt x="64" y="48"/>
                  </a:cubicBezTo>
                  <a:cubicBezTo>
                    <a:pt x="64" y="48"/>
                    <a:pt x="64" y="49"/>
                    <a:pt x="64" y="49"/>
                  </a:cubicBezTo>
                  <a:cubicBezTo>
                    <a:pt x="64" y="49"/>
                    <a:pt x="63" y="50"/>
                    <a:pt x="62" y="49"/>
                  </a:cubicBezTo>
                  <a:cubicBezTo>
                    <a:pt x="62" y="49"/>
                    <a:pt x="62" y="49"/>
                    <a:pt x="62" y="49"/>
                  </a:cubicBezTo>
                  <a:cubicBezTo>
                    <a:pt x="61" y="49"/>
                    <a:pt x="61" y="49"/>
                    <a:pt x="61" y="49"/>
                  </a:cubicBezTo>
                  <a:cubicBezTo>
                    <a:pt x="60" y="49"/>
                    <a:pt x="59" y="49"/>
                    <a:pt x="59" y="49"/>
                  </a:cubicBezTo>
                  <a:cubicBezTo>
                    <a:pt x="58" y="49"/>
                    <a:pt x="58" y="49"/>
                    <a:pt x="57" y="49"/>
                  </a:cubicBezTo>
                  <a:cubicBezTo>
                    <a:pt x="56" y="49"/>
                    <a:pt x="56" y="49"/>
                    <a:pt x="55" y="49"/>
                  </a:cubicBezTo>
                  <a:cubicBezTo>
                    <a:pt x="54" y="49"/>
                    <a:pt x="54" y="49"/>
                    <a:pt x="54" y="49"/>
                  </a:cubicBezTo>
                  <a:cubicBezTo>
                    <a:pt x="54" y="50"/>
                    <a:pt x="53" y="50"/>
                    <a:pt x="52" y="50"/>
                  </a:cubicBezTo>
                  <a:cubicBezTo>
                    <a:pt x="52" y="49"/>
                    <a:pt x="52" y="49"/>
                    <a:pt x="52" y="49"/>
                  </a:cubicBezTo>
                  <a:cubicBezTo>
                    <a:pt x="51" y="49"/>
                    <a:pt x="51" y="49"/>
                    <a:pt x="50" y="49"/>
                  </a:cubicBezTo>
                  <a:cubicBezTo>
                    <a:pt x="50" y="50"/>
                    <a:pt x="50" y="50"/>
                    <a:pt x="50" y="50"/>
                  </a:cubicBezTo>
                  <a:cubicBezTo>
                    <a:pt x="50" y="50"/>
                    <a:pt x="49" y="50"/>
                    <a:pt x="48" y="50"/>
                  </a:cubicBezTo>
                  <a:cubicBezTo>
                    <a:pt x="48" y="50"/>
                    <a:pt x="47" y="50"/>
                    <a:pt x="47" y="49"/>
                  </a:cubicBezTo>
                  <a:cubicBezTo>
                    <a:pt x="47" y="49"/>
                    <a:pt x="47" y="49"/>
                    <a:pt x="47" y="48"/>
                  </a:cubicBezTo>
                  <a:cubicBezTo>
                    <a:pt x="46" y="48"/>
                    <a:pt x="45" y="48"/>
                    <a:pt x="45" y="49"/>
                  </a:cubicBezTo>
                  <a:cubicBezTo>
                    <a:pt x="45" y="49"/>
                    <a:pt x="45" y="50"/>
                    <a:pt x="45" y="50"/>
                  </a:cubicBezTo>
                  <a:cubicBezTo>
                    <a:pt x="45" y="51"/>
                    <a:pt x="45" y="51"/>
                    <a:pt x="45" y="52"/>
                  </a:cubicBezTo>
                  <a:cubicBezTo>
                    <a:pt x="45" y="53"/>
                    <a:pt x="44" y="53"/>
                    <a:pt x="44" y="54"/>
                  </a:cubicBezTo>
                  <a:cubicBezTo>
                    <a:pt x="44" y="55"/>
                    <a:pt x="45" y="55"/>
                    <a:pt x="45" y="54"/>
                  </a:cubicBezTo>
                  <a:close/>
                  <a:moveTo>
                    <a:pt x="60" y="69"/>
                  </a:moveTo>
                  <a:cubicBezTo>
                    <a:pt x="62" y="70"/>
                    <a:pt x="62" y="71"/>
                    <a:pt x="62" y="73"/>
                  </a:cubicBezTo>
                  <a:cubicBezTo>
                    <a:pt x="62" y="74"/>
                    <a:pt x="63" y="76"/>
                    <a:pt x="64" y="76"/>
                  </a:cubicBezTo>
                  <a:cubicBezTo>
                    <a:pt x="65" y="77"/>
                    <a:pt x="66" y="77"/>
                    <a:pt x="67" y="78"/>
                  </a:cubicBezTo>
                  <a:cubicBezTo>
                    <a:pt x="68" y="79"/>
                    <a:pt x="68" y="81"/>
                    <a:pt x="69" y="81"/>
                  </a:cubicBezTo>
                  <a:cubicBezTo>
                    <a:pt x="70" y="81"/>
                    <a:pt x="70" y="81"/>
                    <a:pt x="70" y="81"/>
                  </a:cubicBezTo>
                  <a:cubicBezTo>
                    <a:pt x="71" y="81"/>
                    <a:pt x="72" y="81"/>
                    <a:pt x="73" y="80"/>
                  </a:cubicBezTo>
                  <a:cubicBezTo>
                    <a:pt x="73" y="80"/>
                    <a:pt x="73" y="80"/>
                    <a:pt x="74" y="81"/>
                  </a:cubicBezTo>
                  <a:cubicBezTo>
                    <a:pt x="74" y="81"/>
                    <a:pt x="74" y="81"/>
                    <a:pt x="75" y="81"/>
                  </a:cubicBezTo>
                  <a:cubicBezTo>
                    <a:pt x="76" y="82"/>
                    <a:pt x="77" y="81"/>
                    <a:pt x="77" y="81"/>
                  </a:cubicBezTo>
                  <a:cubicBezTo>
                    <a:pt x="78" y="80"/>
                    <a:pt x="78" y="79"/>
                    <a:pt x="78" y="79"/>
                  </a:cubicBezTo>
                  <a:cubicBezTo>
                    <a:pt x="78" y="78"/>
                    <a:pt x="78" y="77"/>
                    <a:pt x="79" y="76"/>
                  </a:cubicBezTo>
                  <a:cubicBezTo>
                    <a:pt x="80" y="76"/>
                    <a:pt x="80" y="76"/>
                    <a:pt x="80" y="75"/>
                  </a:cubicBezTo>
                  <a:cubicBezTo>
                    <a:pt x="80" y="73"/>
                    <a:pt x="80" y="70"/>
                    <a:pt x="81" y="68"/>
                  </a:cubicBezTo>
                  <a:cubicBezTo>
                    <a:pt x="81" y="66"/>
                    <a:pt x="82" y="64"/>
                    <a:pt x="82" y="63"/>
                  </a:cubicBezTo>
                  <a:cubicBezTo>
                    <a:pt x="82" y="61"/>
                    <a:pt x="83" y="59"/>
                    <a:pt x="81" y="57"/>
                  </a:cubicBezTo>
                  <a:cubicBezTo>
                    <a:pt x="81" y="56"/>
                    <a:pt x="80" y="55"/>
                    <a:pt x="80" y="55"/>
                  </a:cubicBezTo>
                  <a:cubicBezTo>
                    <a:pt x="79" y="55"/>
                    <a:pt x="78" y="55"/>
                    <a:pt x="77" y="56"/>
                  </a:cubicBezTo>
                  <a:cubicBezTo>
                    <a:pt x="76" y="56"/>
                    <a:pt x="74" y="57"/>
                    <a:pt x="74" y="56"/>
                  </a:cubicBezTo>
                  <a:cubicBezTo>
                    <a:pt x="74" y="55"/>
                    <a:pt x="74" y="55"/>
                    <a:pt x="73" y="54"/>
                  </a:cubicBezTo>
                  <a:cubicBezTo>
                    <a:pt x="73" y="54"/>
                    <a:pt x="72" y="54"/>
                    <a:pt x="72" y="54"/>
                  </a:cubicBezTo>
                  <a:cubicBezTo>
                    <a:pt x="70" y="54"/>
                    <a:pt x="69" y="54"/>
                    <a:pt x="68" y="55"/>
                  </a:cubicBezTo>
                  <a:cubicBezTo>
                    <a:pt x="67" y="55"/>
                    <a:pt x="66" y="55"/>
                    <a:pt x="66" y="55"/>
                  </a:cubicBezTo>
                  <a:cubicBezTo>
                    <a:pt x="65" y="56"/>
                    <a:pt x="64" y="56"/>
                    <a:pt x="64" y="56"/>
                  </a:cubicBezTo>
                  <a:cubicBezTo>
                    <a:pt x="63" y="57"/>
                    <a:pt x="61" y="57"/>
                    <a:pt x="60" y="57"/>
                  </a:cubicBezTo>
                  <a:cubicBezTo>
                    <a:pt x="59" y="57"/>
                    <a:pt x="57" y="57"/>
                    <a:pt x="57" y="58"/>
                  </a:cubicBezTo>
                  <a:cubicBezTo>
                    <a:pt x="56" y="59"/>
                    <a:pt x="57" y="60"/>
                    <a:pt x="57" y="60"/>
                  </a:cubicBezTo>
                  <a:cubicBezTo>
                    <a:pt x="58" y="61"/>
                    <a:pt x="59" y="63"/>
                    <a:pt x="60" y="64"/>
                  </a:cubicBezTo>
                  <a:cubicBezTo>
                    <a:pt x="60" y="65"/>
                    <a:pt x="60" y="65"/>
                    <a:pt x="59" y="66"/>
                  </a:cubicBezTo>
                  <a:cubicBezTo>
                    <a:pt x="59" y="66"/>
                    <a:pt x="58" y="66"/>
                    <a:pt x="59" y="67"/>
                  </a:cubicBezTo>
                  <a:cubicBezTo>
                    <a:pt x="59" y="68"/>
                    <a:pt x="60" y="69"/>
                    <a:pt x="60" y="69"/>
                  </a:cubicBezTo>
                  <a:close/>
                  <a:moveTo>
                    <a:pt x="232" y="150"/>
                  </a:moveTo>
                  <a:cubicBezTo>
                    <a:pt x="232" y="151"/>
                    <a:pt x="233" y="151"/>
                    <a:pt x="233" y="152"/>
                  </a:cubicBezTo>
                  <a:cubicBezTo>
                    <a:pt x="234" y="152"/>
                    <a:pt x="234" y="153"/>
                    <a:pt x="235" y="153"/>
                  </a:cubicBezTo>
                  <a:cubicBezTo>
                    <a:pt x="235" y="153"/>
                    <a:pt x="235" y="154"/>
                    <a:pt x="236" y="154"/>
                  </a:cubicBezTo>
                  <a:cubicBezTo>
                    <a:pt x="237" y="154"/>
                    <a:pt x="237" y="154"/>
                    <a:pt x="238" y="153"/>
                  </a:cubicBezTo>
                  <a:cubicBezTo>
                    <a:pt x="238" y="153"/>
                    <a:pt x="238" y="151"/>
                    <a:pt x="237" y="150"/>
                  </a:cubicBezTo>
                  <a:cubicBezTo>
                    <a:pt x="237" y="150"/>
                    <a:pt x="236" y="150"/>
                    <a:pt x="236" y="150"/>
                  </a:cubicBezTo>
                  <a:cubicBezTo>
                    <a:pt x="235" y="150"/>
                    <a:pt x="234" y="150"/>
                    <a:pt x="234" y="149"/>
                  </a:cubicBezTo>
                  <a:cubicBezTo>
                    <a:pt x="233" y="149"/>
                    <a:pt x="233" y="149"/>
                    <a:pt x="232" y="149"/>
                  </a:cubicBezTo>
                  <a:cubicBezTo>
                    <a:pt x="231" y="148"/>
                    <a:pt x="231" y="148"/>
                    <a:pt x="231" y="149"/>
                  </a:cubicBezTo>
                  <a:cubicBezTo>
                    <a:pt x="231" y="149"/>
                    <a:pt x="231" y="150"/>
                    <a:pt x="232" y="150"/>
                  </a:cubicBezTo>
                  <a:close/>
                  <a:moveTo>
                    <a:pt x="251" y="135"/>
                  </a:moveTo>
                  <a:cubicBezTo>
                    <a:pt x="251" y="135"/>
                    <a:pt x="250" y="136"/>
                    <a:pt x="249" y="136"/>
                  </a:cubicBezTo>
                  <a:cubicBezTo>
                    <a:pt x="248" y="136"/>
                    <a:pt x="247" y="136"/>
                    <a:pt x="247" y="137"/>
                  </a:cubicBezTo>
                  <a:cubicBezTo>
                    <a:pt x="247" y="138"/>
                    <a:pt x="248" y="138"/>
                    <a:pt x="249" y="138"/>
                  </a:cubicBezTo>
                  <a:cubicBezTo>
                    <a:pt x="249" y="139"/>
                    <a:pt x="250" y="139"/>
                    <a:pt x="251" y="139"/>
                  </a:cubicBezTo>
                  <a:cubicBezTo>
                    <a:pt x="252" y="139"/>
                    <a:pt x="253" y="138"/>
                    <a:pt x="255" y="138"/>
                  </a:cubicBezTo>
                  <a:cubicBezTo>
                    <a:pt x="256" y="138"/>
                    <a:pt x="256" y="138"/>
                    <a:pt x="257" y="138"/>
                  </a:cubicBezTo>
                  <a:cubicBezTo>
                    <a:pt x="257" y="137"/>
                    <a:pt x="257" y="137"/>
                    <a:pt x="257" y="136"/>
                  </a:cubicBezTo>
                  <a:cubicBezTo>
                    <a:pt x="257" y="135"/>
                    <a:pt x="257" y="135"/>
                    <a:pt x="256" y="135"/>
                  </a:cubicBezTo>
                  <a:cubicBezTo>
                    <a:pt x="255" y="135"/>
                    <a:pt x="254" y="135"/>
                    <a:pt x="253" y="135"/>
                  </a:cubicBezTo>
                  <a:cubicBezTo>
                    <a:pt x="253" y="135"/>
                    <a:pt x="253" y="135"/>
                    <a:pt x="253" y="135"/>
                  </a:cubicBezTo>
                  <a:cubicBezTo>
                    <a:pt x="252" y="135"/>
                    <a:pt x="252" y="135"/>
                    <a:pt x="251" y="135"/>
                  </a:cubicBezTo>
                  <a:close/>
                  <a:moveTo>
                    <a:pt x="220" y="252"/>
                  </a:moveTo>
                  <a:cubicBezTo>
                    <a:pt x="220" y="253"/>
                    <a:pt x="221" y="254"/>
                    <a:pt x="221" y="255"/>
                  </a:cubicBezTo>
                  <a:cubicBezTo>
                    <a:pt x="222" y="256"/>
                    <a:pt x="223" y="257"/>
                    <a:pt x="225" y="258"/>
                  </a:cubicBezTo>
                  <a:cubicBezTo>
                    <a:pt x="227" y="258"/>
                    <a:pt x="227" y="259"/>
                    <a:pt x="228" y="259"/>
                  </a:cubicBezTo>
                  <a:cubicBezTo>
                    <a:pt x="228" y="260"/>
                    <a:pt x="229" y="260"/>
                    <a:pt x="230" y="260"/>
                  </a:cubicBezTo>
                  <a:cubicBezTo>
                    <a:pt x="231" y="260"/>
                    <a:pt x="232" y="260"/>
                    <a:pt x="233" y="260"/>
                  </a:cubicBezTo>
                  <a:cubicBezTo>
                    <a:pt x="234" y="260"/>
                    <a:pt x="234" y="260"/>
                    <a:pt x="234" y="260"/>
                  </a:cubicBezTo>
                  <a:cubicBezTo>
                    <a:pt x="235" y="261"/>
                    <a:pt x="237" y="262"/>
                    <a:pt x="238" y="263"/>
                  </a:cubicBezTo>
                  <a:cubicBezTo>
                    <a:pt x="238" y="261"/>
                    <a:pt x="237" y="261"/>
                    <a:pt x="236" y="260"/>
                  </a:cubicBezTo>
                  <a:cubicBezTo>
                    <a:pt x="235" y="259"/>
                    <a:pt x="234" y="258"/>
                    <a:pt x="232" y="257"/>
                  </a:cubicBezTo>
                  <a:cubicBezTo>
                    <a:pt x="231" y="257"/>
                    <a:pt x="230" y="256"/>
                    <a:pt x="229" y="256"/>
                  </a:cubicBezTo>
                  <a:cubicBezTo>
                    <a:pt x="228" y="255"/>
                    <a:pt x="227" y="255"/>
                    <a:pt x="226" y="255"/>
                  </a:cubicBezTo>
                  <a:cubicBezTo>
                    <a:pt x="226" y="254"/>
                    <a:pt x="225" y="254"/>
                    <a:pt x="225" y="253"/>
                  </a:cubicBezTo>
                  <a:cubicBezTo>
                    <a:pt x="224" y="253"/>
                    <a:pt x="223" y="252"/>
                    <a:pt x="222" y="251"/>
                  </a:cubicBezTo>
                  <a:cubicBezTo>
                    <a:pt x="222" y="251"/>
                    <a:pt x="220" y="251"/>
                    <a:pt x="220" y="252"/>
                  </a:cubicBezTo>
                  <a:close/>
                  <a:moveTo>
                    <a:pt x="339" y="229"/>
                  </a:moveTo>
                  <a:cubicBezTo>
                    <a:pt x="318" y="222"/>
                    <a:pt x="318" y="222"/>
                    <a:pt x="318" y="222"/>
                  </a:cubicBezTo>
                  <a:cubicBezTo>
                    <a:pt x="301" y="217"/>
                    <a:pt x="301" y="217"/>
                    <a:pt x="301" y="217"/>
                  </a:cubicBezTo>
                  <a:cubicBezTo>
                    <a:pt x="301" y="216"/>
                    <a:pt x="301" y="216"/>
                    <a:pt x="301" y="216"/>
                  </a:cubicBezTo>
                  <a:cubicBezTo>
                    <a:pt x="306" y="208"/>
                    <a:pt x="306" y="208"/>
                    <a:pt x="306" y="208"/>
                  </a:cubicBezTo>
                  <a:cubicBezTo>
                    <a:pt x="306" y="205"/>
                    <a:pt x="306" y="205"/>
                    <a:pt x="306" y="205"/>
                  </a:cubicBezTo>
                  <a:cubicBezTo>
                    <a:pt x="305" y="202"/>
                    <a:pt x="305" y="202"/>
                    <a:pt x="305" y="202"/>
                  </a:cubicBezTo>
                  <a:cubicBezTo>
                    <a:pt x="298" y="152"/>
                    <a:pt x="298" y="152"/>
                    <a:pt x="298" y="152"/>
                  </a:cubicBezTo>
                  <a:cubicBezTo>
                    <a:pt x="298" y="152"/>
                    <a:pt x="298" y="152"/>
                    <a:pt x="298" y="152"/>
                  </a:cubicBezTo>
                  <a:cubicBezTo>
                    <a:pt x="297" y="152"/>
                    <a:pt x="296" y="153"/>
                    <a:pt x="296" y="153"/>
                  </a:cubicBezTo>
                  <a:cubicBezTo>
                    <a:pt x="295" y="153"/>
                    <a:pt x="294" y="153"/>
                    <a:pt x="293" y="153"/>
                  </a:cubicBezTo>
                  <a:cubicBezTo>
                    <a:pt x="293" y="154"/>
                    <a:pt x="292" y="154"/>
                    <a:pt x="292" y="155"/>
                  </a:cubicBezTo>
                  <a:cubicBezTo>
                    <a:pt x="291" y="155"/>
                    <a:pt x="290" y="156"/>
                    <a:pt x="290" y="156"/>
                  </a:cubicBezTo>
                  <a:cubicBezTo>
                    <a:pt x="289" y="158"/>
                    <a:pt x="291" y="159"/>
                    <a:pt x="291" y="160"/>
                  </a:cubicBezTo>
                  <a:cubicBezTo>
                    <a:pt x="292" y="161"/>
                    <a:pt x="292" y="163"/>
                    <a:pt x="292" y="164"/>
                  </a:cubicBezTo>
                  <a:cubicBezTo>
                    <a:pt x="293" y="166"/>
                    <a:pt x="294" y="169"/>
                    <a:pt x="294" y="171"/>
                  </a:cubicBezTo>
                  <a:cubicBezTo>
                    <a:pt x="294" y="172"/>
                    <a:pt x="294" y="174"/>
                    <a:pt x="293" y="175"/>
                  </a:cubicBezTo>
                  <a:cubicBezTo>
                    <a:pt x="292" y="175"/>
                    <a:pt x="291" y="175"/>
                    <a:pt x="290" y="174"/>
                  </a:cubicBezTo>
                  <a:cubicBezTo>
                    <a:pt x="289" y="174"/>
                    <a:pt x="289" y="173"/>
                    <a:pt x="289" y="172"/>
                  </a:cubicBezTo>
                  <a:cubicBezTo>
                    <a:pt x="288" y="171"/>
                    <a:pt x="287" y="169"/>
                    <a:pt x="286" y="167"/>
                  </a:cubicBezTo>
                  <a:cubicBezTo>
                    <a:pt x="286" y="165"/>
                    <a:pt x="286" y="164"/>
                    <a:pt x="284" y="164"/>
                  </a:cubicBezTo>
                  <a:cubicBezTo>
                    <a:pt x="283" y="163"/>
                    <a:pt x="283" y="162"/>
                    <a:pt x="283" y="161"/>
                  </a:cubicBezTo>
                  <a:cubicBezTo>
                    <a:pt x="282" y="160"/>
                    <a:pt x="282" y="159"/>
                    <a:pt x="282" y="158"/>
                  </a:cubicBezTo>
                  <a:cubicBezTo>
                    <a:pt x="281" y="158"/>
                    <a:pt x="281" y="158"/>
                    <a:pt x="281" y="157"/>
                  </a:cubicBezTo>
                  <a:cubicBezTo>
                    <a:pt x="279" y="156"/>
                    <a:pt x="280" y="155"/>
                    <a:pt x="279" y="154"/>
                  </a:cubicBezTo>
                  <a:cubicBezTo>
                    <a:pt x="279" y="153"/>
                    <a:pt x="279" y="153"/>
                    <a:pt x="278" y="152"/>
                  </a:cubicBezTo>
                  <a:cubicBezTo>
                    <a:pt x="278" y="152"/>
                    <a:pt x="278" y="151"/>
                    <a:pt x="278" y="151"/>
                  </a:cubicBezTo>
                  <a:cubicBezTo>
                    <a:pt x="277" y="149"/>
                    <a:pt x="276" y="148"/>
                    <a:pt x="275" y="148"/>
                  </a:cubicBezTo>
                  <a:cubicBezTo>
                    <a:pt x="274" y="147"/>
                    <a:pt x="273" y="146"/>
                    <a:pt x="272" y="145"/>
                  </a:cubicBezTo>
                  <a:cubicBezTo>
                    <a:pt x="271" y="144"/>
                    <a:pt x="271" y="143"/>
                    <a:pt x="271" y="142"/>
                  </a:cubicBezTo>
                  <a:cubicBezTo>
                    <a:pt x="270" y="141"/>
                    <a:pt x="270" y="140"/>
                    <a:pt x="270" y="138"/>
                  </a:cubicBezTo>
                  <a:cubicBezTo>
                    <a:pt x="270" y="137"/>
                    <a:pt x="269" y="135"/>
                    <a:pt x="269" y="133"/>
                  </a:cubicBezTo>
                  <a:cubicBezTo>
                    <a:pt x="269" y="132"/>
                    <a:pt x="268" y="131"/>
                    <a:pt x="268" y="130"/>
                  </a:cubicBezTo>
                  <a:cubicBezTo>
                    <a:pt x="267" y="129"/>
                    <a:pt x="267" y="128"/>
                    <a:pt x="267" y="127"/>
                  </a:cubicBezTo>
                  <a:cubicBezTo>
                    <a:pt x="267" y="124"/>
                    <a:pt x="268" y="123"/>
                    <a:pt x="268" y="121"/>
                  </a:cubicBezTo>
                  <a:cubicBezTo>
                    <a:pt x="268" y="119"/>
                    <a:pt x="269" y="116"/>
                    <a:pt x="268" y="114"/>
                  </a:cubicBezTo>
                  <a:cubicBezTo>
                    <a:pt x="267" y="113"/>
                    <a:pt x="267" y="113"/>
                    <a:pt x="267" y="112"/>
                  </a:cubicBezTo>
                  <a:cubicBezTo>
                    <a:pt x="267" y="110"/>
                    <a:pt x="267" y="109"/>
                    <a:pt x="267" y="108"/>
                  </a:cubicBezTo>
                  <a:cubicBezTo>
                    <a:pt x="267" y="107"/>
                    <a:pt x="266" y="107"/>
                    <a:pt x="266" y="106"/>
                  </a:cubicBezTo>
                  <a:cubicBezTo>
                    <a:pt x="266" y="105"/>
                    <a:pt x="265" y="103"/>
                    <a:pt x="265" y="102"/>
                  </a:cubicBezTo>
                  <a:cubicBezTo>
                    <a:pt x="265" y="101"/>
                    <a:pt x="265" y="101"/>
                    <a:pt x="266" y="101"/>
                  </a:cubicBezTo>
                  <a:cubicBezTo>
                    <a:pt x="266" y="100"/>
                    <a:pt x="266" y="100"/>
                    <a:pt x="267" y="100"/>
                  </a:cubicBezTo>
                  <a:cubicBezTo>
                    <a:pt x="267" y="100"/>
                    <a:pt x="268" y="100"/>
                    <a:pt x="268" y="99"/>
                  </a:cubicBezTo>
                  <a:cubicBezTo>
                    <a:pt x="268" y="99"/>
                    <a:pt x="269" y="99"/>
                    <a:pt x="269" y="98"/>
                  </a:cubicBezTo>
                  <a:cubicBezTo>
                    <a:pt x="269" y="98"/>
                    <a:pt x="270" y="97"/>
                    <a:pt x="270" y="97"/>
                  </a:cubicBezTo>
                  <a:cubicBezTo>
                    <a:pt x="270" y="96"/>
                    <a:pt x="271" y="96"/>
                    <a:pt x="271" y="96"/>
                  </a:cubicBezTo>
                  <a:cubicBezTo>
                    <a:pt x="272" y="95"/>
                    <a:pt x="272" y="94"/>
                    <a:pt x="273" y="93"/>
                  </a:cubicBezTo>
                  <a:cubicBezTo>
                    <a:pt x="273" y="92"/>
                    <a:pt x="274" y="92"/>
                    <a:pt x="274" y="91"/>
                  </a:cubicBezTo>
                  <a:cubicBezTo>
                    <a:pt x="273" y="90"/>
                    <a:pt x="273" y="89"/>
                    <a:pt x="273" y="88"/>
                  </a:cubicBezTo>
                  <a:cubicBezTo>
                    <a:pt x="273" y="87"/>
                    <a:pt x="273" y="86"/>
                    <a:pt x="274" y="85"/>
                  </a:cubicBezTo>
                  <a:cubicBezTo>
                    <a:pt x="274" y="84"/>
                    <a:pt x="275" y="84"/>
                    <a:pt x="276" y="83"/>
                  </a:cubicBezTo>
                  <a:cubicBezTo>
                    <a:pt x="276" y="82"/>
                    <a:pt x="277" y="82"/>
                    <a:pt x="276" y="81"/>
                  </a:cubicBezTo>
                  <a:cubicBezTo>
                    <a:pt x="276" y="81"/>
                    <a:pt x="276" y="80"/>
                    <a:pt x="276" y="79"/>
                  </a:cubicBezTo>
                  <a:cubicBezTo>
                    <a:pt x="275" y="79"/>
                    <a:pt x="275" y="78"/>
                    <a:pt x="274" y="77"/>
                  </a:cubicBezTo>
                  <a:cubicBezTo>
                    <a:pt x="274" y="77"/>
                    <a:pt x="274" y="76"/>
                    <a:pt x="273" y="75"/>
                  </a:cubicBezTo>
                  <a:cubicBezTo>
                    <a:pt x="272" y="74"/>
                    <a:pt x="271" y="73"/>
                    <a:pt x="270" y="71"/>
                  </a:cubicBezTo>
                  <a:cubicBezTo>
                    <a:pt x="269" y="71"/>
                    <a:pt x="269" y="70"/>
                    <a:pt x="268" y="69"/>
                  </a:cubicBezTo>
                  <a:cubicBezTo>
                    <a:pt x="268" y="69"/>
                    <a:pt x="267" y="69"/>
                    <a:pt x="267" y="68"/>
                  </a:cubicBezTo>
                  <a:cubicBezTo>
                    <a:pt x="266" y="67"/>
                    <a:pt x="265" y="66"/>
                    <a:pt x="265" y="64"/>
                  </a:cubicBezTo>
                  <a:cubicBezTo>
                    <a:pt x="265" y="63"/>
                    <a:pt x="265" y="62"/>
                    <a:pt x="264" y="62"/>
                  </a:cubicBezTo>
                  <a:cubicBezTo>
                    <a:pt x="264" y="61"/>
                    <a:pt x="263" y="60"/>
                    <a:pt x="262" y="59"/>
                  </a:cubicBezTo>
                  <a:cubicBezTo>
                    <a:pt x="262" y="58"/>
                    <a:pt x="262" y="57"/>
                    <a:pt x="262" y="56"/>
                  </a:cubicBezTo>
                  <a:cubicBezTo>
                    <a:pt x="263" y="56"/>
                    <a:pt x="263" y="56"/>
                    <a:pt x="264" y="55"/>
                  </a:cubicBezTo>
                  <a:cubicBezTo>
                    <a:pt x="264" y="55"/>
                    <a:pt x="264" y="53"/>
                    <a:pt x="264" y="52"/>
                  </a:cubicBezTo>
                  <a:cubicBezTo>
                    <a:pt x="265" y="52"/>
                    <a:pt x="266" y="53"/>
                    <a:pt x="266" y="53"/>
                  </a:cubicBezTo>
                  <a:cubicBezTo>
                    <a:pt x="267" y="53"/>
                    <a:pt x="267" y="53"/>
                    <a:pt x="268" y="53"/>
                  </a:cubicBezTo>
                  <a:cubicBezTo>
                    <a:pt x="269" y="51"/>
                    <a:pt x="267" y="50"/>
                    <a:pt x="265" y="50"/>
                  </a:cubicBezTo>
                  <a:cubicBezTo>
                    <a:pt x="264" y="48"/>
                    <a:pt x="261" y="48"/>
                    <a:pt x="260" y="46"/>
                  </a:cubicBezTo>
                  <a:cubicBezTo>
                    <a:pt x="260" y="45"/>
                    <a:pt x="260" y="45"/>
                    <a:pt x="259" y="45"/>
                  </a:cubicBezTo>
                  <a:cubicBezTo>
                    <a:pt x="259" y="44"/>
                    <a:pt x="259" y="44"/>
                    <a:pt x="258" y="43"/>
                  </a:cubicBezTo>
                  <a:cubicBezTo>
                    <a:pt x="257" y="43"/>
                    <a:pt x="255" y="43"/>
                    <a:pt x="254" y="43"/>
                  </a:cubicBezTo>
                  <a:cubicBezTo>
                    <a:pt x="253" y="43"/>
                    <a:pt x="251" y="44"/>
                    <a:pt x="249" y="44"/>
                  </a:cubicBezTo>
                  <a:cubicBezTo>
                    <a:pt x="249" y="44"/>
                    <a:pt x="248" y="44"/>
                    <a:pt x="248" y="44"/>
                  </a:cubicBezTo>
                  <a:cubicBezTo>
                    <a:pt x="247" y="44"/>
                    <a:pt x="246" y="44"/>
                    <a:pt x="246" y="44"/>
                  </a:cubicBezTo>
                  <a:cubicBezTo>
                    <a:pt x="243" y="45"/>
                    <a:pt x="241" y="44"/>
                    <a:pt x="238" y="44"/>
                  </a:cubicBezTo>
                  <a:cubicBezTo>
                    <a:pt x="237" y="44"/>
                    <a:pt x="237" y="44"/>
                    <a:pt x="236" y="44"/>
                  </a:cubicBezTo>
                  <a:cubicBezTo>
                    <a:pt x="236" y="44"/>
                    <a:pt x="235" y="44"/>
                    <a:pt x="235" y="44"/>
                  </a:cubicBezTo>
                  <a:cubicBezTo>
                    <a:pt x="234" y="44"/>
                    <a:pt x="234" y="44"/>
                    <a:pt x="233" y="44"/>
                  </a:cubicBezTo>
                  <a:cubicBezTo>
                    <a:pt x="233" y="44"/>
                    <a:pt x="232" y="44"/>
                    <a:pt x="231" y="44"/>
                  </a:cubicBezTo>
                  <a:cubicBezTo>
                    <a:pt x="228" y="45"/>
                    <a:pt x="225" y="45"/>
                    <a:pt x="222" y="44"/>
                  </a:cubicBezTo>
                  <a:cubicBezTo>
                    <a:pt x="221" y="43"/>
                    <a:pt x="219" y="41"/>
                    <a:pt x="217" y="40"/>
                  </a:cubicBezTo>
                  <a:cubicBezTo>
                    <a:pt x="216" y="39"/>
                    <a:pt x="216" y="38"/>
                    <a:pt x="215" y="37"/>
                  </a:cubicBezTo>
                  <a:cubicBezTo>
                    <a:pt x="214" y="37"/>
                    <a:pt x="214" y="37"/>
                    <a:pt x="213" y="36"/>
                  </a:cubicBezTo>
                  <a:cubicBezTo>
                    <a:pt x="212" y="36"/>
                    <a:pt x="211" y="35"/>
                    <a:pt x="211" y="35"/>
                  </a:cubicBezTo>
                  <a:cubicBezTo>
                    <a:pt x="210" y="34"/>
                    <a:pt x="209" y="33"/>
                    <a:pt x="209" y="33"/>
                  </a:cubicBezTo>
                  <a:cubicBezTo>
                    <a:pt x="208" y="33"/>
                    <a:pt x="208" y="33"/>
                    <a:pt x="207" y="32"/>
                  </a:cubicBezTo>
                  <a:cubicBezTo>
                    <a:pt x="207" y="32"/>
                    <a:pt x="207" y="33"/>
                    <a:pt x="206" y="32"/>
                  </a:cubicBezTo>
                  <a:cubicBezTo>
                    <a:pt x="206" y="32"/>
                    <a:pt x="205" y="32"/>
                    <a:pt x="205" y="32"/>
                  </a:cubicBezTo>
                  <a:cubicBezTo>
                    <a:pt x="205" y="31"/>
                    <a:pt x="204" y="32"/>
                    <a:pt x="204" y="31"/>
                  </a:cubicBezTo>
                  <a:cubicBezTo>
                    <a:pt x="203" y="31"/>
                    <a:pt x="202" y="31"/>
                    <a:pt x="202" y="31"/>
                  </a:cubicBezTo>
                  <a:cubicBezTo>
                    <a:pt x="201" y="30"/>
                    <a:pt x="201" y="30"/>
                    <a:pt x="200" y="30"/>
                  </a:cubicBezTo>
                  <a:cubicBezTo>
                    <a:pt x="200" y="29"/>
                    <a:pt x="199" y="29"/>
                    <a:pt x="198" y="29"/>
                  </a:cubicBezTo>
                  <a:cubicBezTo>
                    <a:pt x="197" y="29"/>
                    <a:pt x="197" y="28"/>
                    <a:pt x="197" y="28"/>
                  </a:cubicBezTo>
                  <a:cubicBezTo>
                    <a:pt x="196" y="27"/>
                    <a:pt x="196" y="27"/>
                    <a:pt x="195" y="27"/>
                  </a:cubicBezTo>
                  <a:cubicBezTo>
                    <a:pt x="193" y="27"/>
                    <a:pt x="191" y="27"/>
                    <a:pt x="190" y="27"/>
                  </a:cubicBezTo>
                  <a:cubicBezTo>
                    <a:pt x="188" y="26"/>
                    <a:pt x="187" y="25"/>
                    <a:pt x="185" y="24"/>
                  </a:cubicBezTo>
                  <a:cubicBezTo>
                    <a:pt x="184" y="23"/>
                    <a:pt x="183" y="22"/>
                    <a:pt x="181" y="22"/>
                  </a:cubicBezTo>
                  <a:cubicBezTo>
                    <a:pt x="180" y="22"/>
                    <a:pt x="179" y="22"/>
                    <a:pt x="178" y="22"/>
                  </a:cubicBezTo>
                  <a:cubicBezTo>
                    <a:pt x="176" y="21"/>
                    <a:pt x="175" y="21"/>
                    <a:pt x="174" y="21"/>
                  </a:cubicBezTo>
                  <a:cubicBezTo>
                    <a:pt x="173" y="22"/>
                    <a:pt x="171" y="22"/>
                    <a:pt x="170" y="22"/>
                  </a:cubicBezTo>
                  <a:cubicBezTo>
                    <a:pt x="169" y="22"/>
                    <a:pt x="168" y="21"/>
                    <a:pt x="167" y="21"/>
                  </a:cubicBezTo>
                  <a:cubicBezTo>
                    <a:pt x="165" y="20"/>
                    <a:pt x="163" y="21"/>
                    <a:pt x="161" y="22"/>
                  </a:cubicBezTo>
                  <a:cubicBezTo>
                    <a:pt x="159" y="22"/>
                    <a:pt x="157" y="22"/>
                    <a:pt x="155" y="23"/>
                  </a:cubicBezTo>
                  <a:cubicBezTo>
                    <a:pt x="155" y="23"/>
                    <a:pt x="154" y="23"/>
                    <a:pt x="153" y="24"/>
                  </a:cubicBezTo>
                  <a:cubicBezTo>
                    <a:pt x="153" y="24"/>
                    <a:pt x="152" y="24"/>
                    <a:pt x="151" y="25"/>
                  </a:cubicBezTo>
                  <a:cubicBezTo>
                    <a:pt x="149" y="25"/>
                    <a:pt x="148" y="27"/>
                    <a:pt x="147" y="27"/>
                  </a:cubicBezTo>
                  <a:cubicBezTo>
                    <a:pt x="145" y="28"/>
                    <a:pt x="144" y="29"/>
                    <a:pt x="144" y="31"/>
                  </a:cubicBezTo>
                  <a:cubicBezTo>
                    <a:pt x="144" y="32"/>
                    <a:pt x="143" y="32"/>
                    <a:pt x="142" y="33"/>
                  </a:cubicBezTo>
                  <a:cubicBezTo>
                    <a:pt x="140" y="33"/>
                    <a:pt x="138" y="33"/>
                    <a:pt x="137" y="35"/>
                  </a:cubicBezTo>
                  <a:cubicBezTo>
                    <a:pt x="135" y="37"/>
                    <a:pt x="134" y="40"/>
                    <a:pt x="131" y="42"/>
                  </a:cubicBezTo>
                  <a:cubicBezTo>
                    <a:pt x="130" y="43"/>
                    <a:pt x="127" y="43"/>
                    <a:pt x="126" y="44"/>
                  </a:cubicBezTo>
                  <a:cubicBezTo>
                    <a:pt x="124" y="44"/>
                    <a:pt x="122" y="45"/>
                    <a:pt x="121" y="45"/>
                  </a:cubicBezTo>
                  <a:cubicBezTo>
                    <a:pt x="119" y="45"/>
                    <a:pt x="117" y="45"/>
                    <a:pt x="115" y="45"/>
                  </a:cubicBezTo>
                  <a:cubicBezTo>
                    <a:pt x="114" y="45"/>
                    <a:pt x="114" y="46"/>
                    <a:pt x="113" y="46"/>
                  </a:cubicBezTo>
                  <a:cubicBezTo>
                    <a:pt x="112" y="47"/>
                    <a:pt x="110" y="47"/>
                    <a:pt x="110" y="46"/>
                  </a:cubicBezTo>
                  <a:cubicBezTo>
                    <a:pt x="110" y="45"/>
                    <a:pt x="111" y="45"/>
                    <a:pt x="111" y="44"/>
                  </a:cubicBezTo>
                  <a:cubicBezTo>
                    <a:pt x="110" y="43"/>
                    <a:pt x="108" y="44"/>
                    <a:pt x="106" y="45"/>
                  </a:cubicBezTo>
                  <a:cubicBezTo>
                    <a:pt x="105" y="46"/>
                    <a:pt x="103" y="46"/>
                    <a:pt x="102" y="47"/>
                  </a:cubicBezTo>
                  <a:cubicBezTo>
                    <a:pt x="100" y="48"/>
                    <a:pt x="98" y="48"/>
                    <a:pt x="96" y="48"/>
                  </a:cubicBezTo>
                  <a:cubicBezTo>
                    <a:pt x="95" y="49"/>
                    <a:pt x="93" y="49"/>
                    <a:pt x="92" y="50"/>
                  </a:cubicBezTo>
                  <a:cubicBezTo>
                    <a:pt x="92" y="50"/>
                    <a:pt x="92" y="52"/>
                    <a:pt x="93" y="53"/>
                  </a:cubicBezTo>
                  <a:cubicBezTo>
                    <a:pt x="93" y="54"/>
                    <a:pt x="95" y="54"/>
                    <a:pt x="95" y="55"/>
                  </a:cubicBezTo>
                  <a:cubicBezTo>
                    <a:pt x="93" y="56"/>
                    <a:pt x="94" y="57"/>
                    <a:pt x="94" y="58"/>
                  </a:cubicBezTo>
                  <a:cubicBezTo>
                    <a:pt x="95" y="60"/>
                    <a:pt x="93" y="60"/>
                    <a:pt x="93" y="61"/>
                  </a:cubicBezTo>
                  <a:cubicBezTo>
                    <a:pt x="92" y="62"/>
                    <a:pt x="93" y="64"/>
                    <a:pt x="93" y="65"/>
                  </a:cubicBezTo>
                  <a:cubicBezTo>
                    <a:pt x="93" y="66"/>
                    <a:pt x="92" y="68"/>
                    <a:pt x="91" y="69"/>
                  </a:cubicBezTo>
                  <a:cubicBezTo>
                    <a:pt x="90" y="70"/>
                    <a:pt x="89" y="71"/>
                    <a:pt x="89" y="72"/>
                  </a:cubicBezTo>
                  <a:cubicBezTo>
                    <a:pt x="89" y="73"/>
                    <a:pt x="89" y="73"/>
                    <a:pt x="89" y="73"/>
                  </a:cubicBezTo>
                  <a:cubicBezTo>
                    <a:pt x="89" y="74"/>
                    <a:pt x="89" y="74"/>
                    <a:pt x="89" y="74"/>
                  </a:cubicBezTo>
                  <a:cubicBezTo>
                    <a:pt x="88" y="75"/>
                    <a:pt x="87" y="75"/>
                    <a:pt x="86" y="76"/>
                  </a:cubicBezTo>
                  <a:cubicBezTo>
                    <a:pt x="85" y="76"/>
                    <a:pt x="83" y="76"/>
                    <a:pt x="82" y="76"/>
                  </a:cubicBezTo>
                  <a:cubicBezTo>
                    <a:pt x="81" y="77"/>
                    <a:pt x="81" y="77"/>
                    <a:pt x="80" y="78"/>
                  </a:cubicBezTo>
                  <a:cubicBezTo>
                    <a:pt x="80" y="79"/>
                    <a:pt x="79" y="80"/>
                    <a:pt x="79" y="80"/>
                  </a:cubicBezTo>
                  <a:cubicBezTo>
                    <a:pt x="78" y="81"/>
                    <a:pt x="78" y="82"/>
                    <a:pt x="78" y="83"/>
                  </a:cubicBezTo>
                  <a:cubicBezTo>
                    <a:pt x="77" y="84"/>
                    <a:pt x="77" y="85"/>
                    <a:pt x="76" y="85"/>
                  </a:cubicBezTo>
                  <a:cubicBezTo>
                    <a:pt x="76" y="85"/>
                    <a:pt x="75" y="86"/>
                    <a:pt x="74" y="86"/>
                  </a:cubicBezTo>
                  <a:cubicBezTo>
                    <a:pt x="74" y="86"/>
                    <a:pt x="73" y="87"/>
                    <a:pt x="74" y="88"/>
                  </a:cubicBezTo>
                  <a:cubicBezTo>
                    <a:pt x="74" y="88"/>
                    <a:pt x="75" y="88"/>
                    <a:pt x="75" y="88"/>
                  </a:cubicBezTo>
                  <a:cubicBezTo>
                    <a:pt x="76" y="88"/>
                    <a:pt x="76" y="89"/>
                    <a:pt x="77" y="89"/>
                  </a:cubicBezTo>
                  <a:cubicBezTo>
                    <a:pt x="79" y="89"/>
                    <a:pt x="81" y="88"/>
                    <a:pt x="82" y="89"/>
                  </a:cubicBezTo>
                  <a:cubicBezTo>
                    <a:pt x="84" y="89"/>
                    <a:pt x="86" y="89"/>
                    <a:pt x="87" y="89"/>
                  </a:cubicBezTo>
                  <a:cubicBezTo>
                    <a:pt x="88" y="90"/>
                    <a:pt x="89" y="91"/>
                    <a:pt x="89" y="92"/>
                  </a:cubicBezTo>
                  <a:cubicBezTo>
                    <a:pt x="90" y="93"/>
                    <a:pt x="92" y="93"/>
                    <a:pt x="93" y="92"/>
                  </a:cubicBezTo>
                  <a:cubicBezTo>
                    <a:pt x="94" y="92"/>
                    <a:pt x="96" y="92"/>
                    <a:pt x="96" y="91"/>
                  </a:cubicBezTo>
                  <a:cubicBezTo>
                    <a:pt x="98" y="90"/>
                    <a:pt x="99" y="90"/>
                    <a:pt x="98" y="88"/>
                  </a:cubicBezTo>
                  <a:cubicBezTo>
                    <a:pt x="98" y="88"/>
                    <a:pt x="97" y="87"/>
                    <a:pt x="98" y="86"/>
                  </a:cubicBezTo>
                  <a:cubicBezTo>
                    <a:pt x="98" y="86"/>
                    <a:pt x="99" y="86"/>
                    <a:pt x="99" y="85"/>
                  </a:cubicBezTo>
                  <a:cubicBezTo>
                    <a:pt x="100" y="85"/>
                    <a:pt x="100" y="84"/>
                    <a:pt x="100" y="84"/>
                  </a:cubicBezTo>
                  <a:cubicBezTo>
                    <a:pt x="101" y="85"/>
                    <a:pt x="101" y="85"/>
                    <a:pt x="101" y="85"/>
                  </a:cubicBezTo>
                  <a:cubicBezTo>
                    <a:pt x="101" y="85"/>
                    <a:pt x="101" y="85"/>
                    <a:pt x="101" y="86"/>
                  </a:cubicBezTo>
                  <a:cubicBezTo>
                    <a:pt x="102" y="86"/>
                    <a:pt x="102" y="87"/>
                    <a:pt x="102" y="87"/>
                  </a:cubicBezTo>
                  <a:cubicBezTo>
                    <a:pt x="103" y="88"/>
                    <a:pt x="102" y="88"/>
                    <a:pt x="102" y="88"/>
                  </a:cubicBezTo>
                  <a:cubicBezTo>
                    <a:pt x="102" y="89"/>
                    <a:pt x="102" y="89"/>
                    <a:pt x="102" y="89"/>
                  </a:cubicBezTo>
                  <a:cubicBezTo>
                    <a:pt x="103" y="90"/>
                    <a:pt x="104" y="90"/>
                    <a:pt x="104" y="90"/>
                  </a:cubicBezTo>
                  <a:cubicBezTo>
                    <a:pt x="105" y="91"/>
                    <a:pt x="106" y="92"/>
                    <a:pt x="106" y="92"/>
                  </a:cubicBezTo>
                  <a:cubicBezTo>
                    <a:pt x="107" y="92"/>
                    <a:pt x="107" y="91"/>
                    <a:pt x="108" y="91"/>
                  </a:cubicBezTo>
                  <a:cubicBezTo>
                    <a:pt x="109" y="90"/>
                    <a:pt x="110" y="90"/>
                    <a:pt x="110" y="89"/>
                  </a:cubicBezTo>
                  <a:cubicBezTo>
                    <a:pt x="110" y="88"/>
                    <a:pt x="110" y="86"/>
                    <a:pt x="110" y="85"/>
                  </a:cubicBezTo>
                  <a:cubicBezTo>
                    <a:pt x="111" y="85"/>
                    <a:pt x="111" y="84"/>
                    <a:pt x="112" y="84"/>
                  </a:cubicBezTo>
                  <a:cubicBezTo>
                    <a:pt x="111" y="86"/>
                    <a:pt x="111" y="86"/>
                    <a:pt x="111" y="86"/>
                  </a:cubicBezTo>
                  <a:cubicBezTo>
                    <a:pt x="111" y="86"/>
                    <a:pt x="111" y="87"/>
                    <a:pt x="111" y="87"/>
                  </a:cubicBezTo>
                  <a:cubicBezTo>
                    <a:pt x="110" y="88"/>
                    <a:pt x="110" y="88"/>
                    <a:pt x="110" y="88"/>
                  </a:cubicBezTo>
                  <a:cubicBezTo>
                    <a:pt x="110" y="89"/>
                    <a:pt x="110" y="90"/>
                    <a:pt x="111" y="90"/>
                  </a:cubicBezTo>
                  <a:cubicBezTo>
                    <a:pt x="111" y="91"/>
                    <a:pt x="111" y="91"/>
                    <a:pt x="112" y="91"/>
                  </a:cubicBezTo>
                  <a:cubicBezTo>
                    <a:pt x="113" y="91"/>
                    <a:pt x="113" y="89"/>
                    <a:pt x="114" y="89"/>
                  </a:cubicBezTo>
                  <a:cubicBezTo>
                    <a:pt x="115" y="88"/>
                    <a:pt x="116" y="89"/>
                    <a:pt x="116" y="88"/>
                  </a:cubicBezTo>
                  <a:cubicBezTo>
                    <a:pt x="116" y="87"/>
                    <a:pt x="116" y="86"/>
                    <a:pt x="117" y="87"/>
                  </a:cubicBezTo>
                  <a:cubicBezTo>
                    <a:pt x="117" y="88"/>
                    <a:pt x="117" y="88"/>
                    <a:pt x="117" y="88"/>
                  </a:cubicBezTo>
                  <a:cubicBezTo>
                    <a:pt x="118" y="88"/>
                    <a:pt x="118" y="88"/>
                    <a:pt x="118" y="88"/>
                  </a:cubicBezTo>
                  <a:cubicBezTo>
                    <a:pt x="118" y="89"/>
                    <a:pt x="118" y="89"/>
                    <a:pt x="118" y="89"/>
                  </a:cubicBezTo>
                  <a:cubicBezTo>
                    <a:pt x="117" y="89"/>
                    <a:pt x="116" y="89"/>
                    <a:pt x="115" y="90"/>
                  </a:cubicBezTo>
                  <a:cubicBezTo>
                    <a:pt x="114" y="90"/>
                    <a:pt x="114" y="91"/>
                    <a:pt x="115" y="92"/>
                  </a:cubicBezTo>
                  <a:cubicBezTo>
                    <a:pt x="115" y="93"/>
                    <a:pt x="118" y="94"/>
                    <a:pt x="119" y="94"/>
                  </a:cubicBezTo>
                  <a:cubicBezTo>
                    <a:pt x="120" y="93"/>
                    <a:pt x="120" y="93"/>
                    <a:pt x="120" y="93"/>
                  </a:cubicBezTo>
                  <a:cubicBezTo>
                    <a:pt x="121" y="93"/>
                    <a:pt x="121" y="93"/>
                    <a:pt x="122" y="93"/>
                  </a:cubicBezTo>
                  <a:cubicBezTo>
                    <a:pt x="122" y="92"/>
                    <a:pt x="123" y="92"/>
                    <a:pt x="123" y="91"/>
                  </a:cubicBezTo>
                  <a:cubicBezTo>
                    <a:pt x="123" y="91"/>
                    <a:pt x="123" y="90"/>
                    <a:pt x="123" y="89"/>
                  </a:cubicBezTo>
                  <a:cubicBezTo>
                    <a:pt x="124" y="89"/>
                    <a:pt x="124" y="89"/>
                    <a:pt x="124" y="90"/>
                  </a:cubicBezTo>
                  <a:cubicBezTo>
                    <a:pt x="124" y="90"/>
                    <a:pt x="124" y="91"/>
                    <a:pt x="123" y="92"/>
                  </a:cubicBezTo>
                  <a:cubicBezTo>
                    <a:pt x="123" y="93"/>
                    <a:pt x="123" y="93"/>
                    <a:pt x="122" y="93"/>
                  </a:cubicBezTo>
                  <a:cubicBezTo>
                    <a:pt x="121" y="94"/>
                    <a:pt x="121" y="94"/>
                    <a:pt x="121" y="95"/>
                  </a:cubicBezTo>
                  <a:cubicBezTo>
                    <a:pt x="121" y="96"/>
                    <a:pt x="121" y="96"/>
                    <a:pt x="122" y="96"/>
                  </a:cubicBezTo>
                  <a:cubicBezTo>
                    <a:pt x="123" y="96"/>
                    <a:pt x="124" y="96"/>
                    <a:pt x="125" y="96"/>
                  </a:cubicBezTo>
                  <a:cubicBezTo>
                    <a:pt x="125" y="96"/>
                    <a:pt x="126" y="95"/>
                    <a:pt x="127" y="95"/>
                  </a:cubicBezTo>
                  <a:cubicBezTo>
                    <a:pt x="127" y="96"/>
                    <a:pt x="125" y="97"/>
                    <a:pt x="127" y="98"/>
                  </a:cubicBezTo>
                  <a:cubicBezTo>
                    <a:pt x="128" y="99"/>
                    <a:pt x="129" y="97"/>
                    <a:pt x="130" y="96"/>
                  </a:cubicBezTo>
                  <a:cubicBezTo>
                    <a:pt x="130" y="96"/>
                    <a:pt x="130" y="96"/>
                    <a:pt x="131" y="96"/>
                  </a:cubicBezTo>
                  <a:cubicBezTo>
                    <a:pt x="131" y="96"/>
                    <a:pt x="131" y="96"/>
                    <a:pt x="131" y="96"/>
                  </a:cubicBezTo>
                  <a:cubicBezTo>
                    <a:pt x="132" y="96"/>
                    <a:pt x="132" y="96"/>
                    <a:pt x="132" y="96"/>
                  </a:cubicBezTo>
                  <a:cubicBezTo>
                    <a:pt x="133" y="96"/>
                    <a:pt x="134" y="96"/>
                    <a:pt x="134" y="95"/>
                  </a:cubicBezTo>
                  <a:cubicBezTo>
                    <a:pt x="135" y="95"/>
                    <a:pt x="135" y="95"/>
                    <a:pt x="136" y="95"/>
                  </a:cubicBezTo>
                  <a:cubicBezTo>
                    <a:pt x="137" y="95"/>
                    <a:pt x="137" y="94"/>
                    <a:pt x="137" y="93"/>
                  </a:cubicBezTo>
                  <a:cubicBezTo>
                    <a:pt x="137" y="93"/>
                    <a:pt x="137" y="92"/>
                    <a:pt x="137" y="91"/>
                  </a:cubicBezTo>
                  <a:cubicBezTo>
                    <a:pt x="137" y="91"/>
                    <a:pt x="136" y="91"/>
                    <a:pt x="137" y="90"/>
                  </a:cubicBezTo>
                  <a:cubicBezTo>
                    <a:pt x="137" y="89"/>
                    <a:pt x="138" y="89"/>
                    <a:pt x="138" y="89"/>
                  </a:cubicBezTo>
                  <a:cubicBezTo>
                    <a:pt x="139" y="90"/>
                    <a:pt x="138" y="90"/>
                    <a:pt x="138" y="90"/>
                  </a:cubicBezTo>
                  <a:cubicBezTo>
                    <a:pt x="138" y="91"/>
                    <a:pt x="138" y="91"/>
                    <a:pt x="138" y="91"/>
                  </a:cubicBezTo>
                  <a:cubicBezTo>
                    <a:pt x="138" y="92"/>
                    <a:pt x="139" y="92"/>
                    <a:pt x="139" y="93"/>
                  </a:cubicBezTo>
                  <a:cubicBezTo>
                    <a:pt x="138" y="94"/>
                    <a:pt x="138" y="94"/>
                    <a:pt x="138" y="95"/>
                  </a:cubicBezTo>
                  <a:cubicBezTo>
                    <a:pt x="137" y="96"/>
                    <a:pt x="135" y="96"/>
                    <a:pt x="135" y="97"/>
                  </a:cubicBezTo>
                  <a:cubicBezTo>
                    <a:pt x="134" y="98"/>
                    <a:pt x="134" y="98"/>
                    <a:pt x="133" y="99"/>
                  </a:cubicBezTo>
                  <a:cubicBezTo>
                    <a:pt x="132" y="100"/>
                    <a:pt x="132" y="100"/>
                    <a:pt x="132" y="101"/>
                  </a:cubicBezTo>
                  <a:cubicBezTo>
                    <a:pt x="133" y="102"/>
                    <a:pt x="133" y="102"/>
                    <a:pt x="133" y="103"/>
                  </a:cubicBezTo>
                  <a:cubicBezTo>
                    <a:pt x="134" y="104"/>
                    <a:pt x="134" y="105"/>
                    <a:pt x="135" y="105"/>
                  </a:cubicBezTo>
                  <a:cubicBezTo>
                    <a:pt x="136" y="105"/>
                    <a:pt x="137" y="104"/>
                    <a:pt x="138" y="104"/>
                  </a:cubicBezTo>
                  <a:cubicBezTo>
                    <a:pt x="138" y="103"/>
                    <a:pt x="138" y="103"/>
                    <a:pt x="139" y="102"/>
                  </a:cubicBezTo>
                  <a:cubicBezTo>
                    <a:pt x="139" y="102"/>
                    <a:pt x="140" y="102"/>
                    <a:pt x="141" y="102"/>
                  </a:cubicBezTo>
                  <a:cubicBezTo>
                    <a:pt x="141" y="102"/>
                    <a:pt x="142" y="102"/>
                    <a:pt x="142" y="101"/>
                  </a:cubicBezTo>
                  <a:cubicBezTo>
                    <a:pt x="142" y="100"/>
                    <a:pt x="142" y="100"/>
                    <a:pt x="142" y="100"/>
                  </a:cubicBezTo>
                  <a:cubicBezTo>
                    <a:pt x="141" y="100"/>
                    <a:pt x="142" y="98"/>
                    <a:pt x="143" y="98"/>
                  </a:cubicBezTo>
                  <a:cubicBezTo>
                    <a:pt x="144" y="97"/>
                    <a:pt x="144" y="98"/>
                    <a:pt x="143" y="99"/>
                  </a:cubicBezTo>
                  <a:cubicBezTo>
                    <a:pt x="143" y="100"/>
                    <a:pt x="142" y="100"/>
                    <a:pt x="143" y="101"/>
                  </a:cubicBezTo>
                  <a:cubicBezTo>
                    <a:pt x="143" y="101"/>
                    <a:pt x="143" y="102"/>
                    <a:pt x="143" y="102"/>
                  </a:cubicBezTo>
                  <a:cubicBezTo>
                    <a:pt x="143" y="102"/>
                    <a:pt x="142" y="102"/>
                    <a:pt x="142" y="103"/>
                  </a:cubicBezTo>
                  <a:cubicBezTo>
                    <a:pt x="141" y="103"/>
                    <a:pt x="140" y="103"/>
                    <a:pt x="141" y="104"/>
                  </a:cubicBezTo>
                  <a:cubicBezTo>
                    <a:pt x="141" y="104"/>
                    <a:pt x="141" y="104"/>
                    <a:pt x="141" y="105"/>
                  </a:cubicBezTo>
                  <a:cubicBezTo>
                    <a:pt x="141" y="105"/>
                    <a:pt x="141" y="105"/>
                    <a:pt x="141" y="105"/>
                  </a:cubicBezTo>
                  <a:cubicBezTo>
                    <a:pt x="140" y="106"/>
                    <a:pt x="139" y="107"/>
                    <a:pt x="139" y="107"/>
                  </a:cubicBezTo>
                  <a:cubicBezTo>
                    <a:pt x="138" y="108"/>
                    <a:pt x="137" y="109"/>
                    <a:pt x="136" y="110"/>
                  </a:cubicBezTo>
                  <a:cubicBezTo>
                    <a:pt x="136" y="110"/>
                    <a:pt x="135" y="110"/>
                    <a:pt x="135" y="111"/>
                  </a:cubicBezTo>
                  <a:cubicBezTo>
                    <a:pt x="135" y="112"/>
                    <a:pt x="135" y="112"/>
                    <a:pt x="135" y="112"/>
                  </a:cubicBezTo>
                  <a:cubicBezTo>
                    <a:pt x="136" y="112"/>
                    <a:pt x="136" y="112"/>
                    <a:pt x="136" y="113"/>
                  </a:cubicBezTo>
                  <a:cubicBezTo>
                    <a:pt x="136" y="113"/>
                    <a:pt x="135" y="113"/>
                    <a:pt x="135" y="114"/>
                  </a:cubicBezTo>
                  <a:cubicBezTo>
                    <a:pt x="134" y="115"/>
                    <a:pt x="136" y="117"/>
                    <a:pt x="137" y="118"/>
                  </a:cubicBezTo>
                  <a:cubicBezTo>
                    <a:pt x="138" y="118"/>
                    <a:pt x="138" y="118"/>
                    <a:pt x="138" y="119"/>
                  </a:cubicBezTo>
                  <a:cubicBezTo>
                    <a:pt x="137" y="120"/>
                    <a:pt x="137" y="120"/>
                    <a:pt x="138" y="120"/>
                  </a:cubicBezTo>
                  <a:cubicBezTo>
                    <a:pt x="138" y="121"/>
                    <a:pt x="139" y="122"/>
                    <a:pt x="140" y="122"/>
                  </a:cubicBezTo>
                  <a:cubicBezTo>
                    <a:pt x="140" y="122"/>
                    <a:pt x="141" y="123"/>
                    <a:pt x="142" y="123"/>
                  </a:cubicBezTo>
                  <a:cubicBezTo>
                    <a:pt x="142" y="122"/>
                    <a:pt x="142" y="122"/>
                    <a:pt x="142" y="121"/>
                  </a:cubicBezTo>
                  <a:cubicBezTo>
                    <a:pt x="142" y="120"/>
                    <a:pt x="142" y="120"/>
                    <a:pt x="142" y="119"/>
                  </a:cubicBezTo>
                  <a:cubicBezTo>
                    <a:pt x="143" y="118"/>
                    <a:pt x="143" y="118"/>
                    <a:pt x="144" y="118"/>
                  </a:cubicBezTo>
                  <a:cubicBezTo>
                    <a:pt x="144" y="118"/>
                    <a:pt x="144" y="119"/>
                    <a:pt x="144" y="119"/>
                  </a:cubicBezTo>
                  <a:cubicBezTo>
                    <a:pt x="143" y="120"/>
                    <a:pt x="143" y="121"/>
                    <a:pt x="143" y="122"/>
                  </a:cubicBezTo>
                  <a:cubicBezTo>
                    <a:pt x="143" y="123"/>
                    <a:pt x="144" y="123"/>
                    <a:pt x="144" y="123"/>
                  </a:cubicBezTo>
                  <a:cubicBezTo>
                    <a:pt x="145" y="124"/>
                    <a:pt x="145" y="124"/>
                    <a:pt x="144" y="124"/>
                  </a:cubicBezTo>
                  <a:cubicBezTo>
                    <a:pt x="143" y="125"/>
                    <a:pt x="142" y="125"/>
                    <a:pt x="142" y="127"/>
                  </a:cubicBezTo>
                  <a:cubicBezTo>
                    <a:pt x="142" y="127"/>
                    <a:pt x="143" y="128"/>
                    <a:pt x="143" y="128"/>
                  </a:cubicBezTo>
                  <a:cubicBezTo>
                    <a:pt x="144" y="129"/>
                    <a:pt x="145" y="130"/>
                    <a:pt x="146" y="130"/>
                  </a:cubicBezTo>
                  <a:cubicBezTo>
                    <a:pt x="147" y="130"/>
                    <a:pt x="148" y="131"/>
                    <a:pt x="149" y="131"/>
                  </a:cubicBezTo>
                  <a:cubicBezTo>
                    <a:pt x="150" y="132"/>
                    <a:pt x="150" y="132"/>
                    <a:pt x="151" y="133"/>
                  </a:cubicBezTo>
                  <a:cubicBezTo>
                    <a:pt x="152" y="133"/>
                    <a:pt x="153" y="134"/>
                    <a:pt x="153" y="134"/>
                  </a:cubicBezTo>
                  <a:cubicBezTo>
                    <a:pt x="154" y="135"/>
                    <a:pt x="155" y="135"/>
                    <a:pt x="156" y="136"/>
                  </a:cubicBezTo>
                  <a:cubicBezTo>
                    <a:pt x="156" y="137"/>
                    <a:pt x="157" y="139"/>
                    <a:pt x="158" y="139"/>
                  </a:cubicBezTo>
                  <a:cubicBezTo>
                    <a:pt x="158" y="139"/>
                    <a:pt x="159" y="139"/>
                    <a:pt x="160" y="139"/>
                  </a:cubicBezTo>
                  <a:cubicBezTo>
                    <a:pt x="161" y="139"/>
                    <a:pt x="162" y="139"/>
                    <a:pt x="163" y="138"/>
                  </a:cubicBezTo>
                  <a:cubicBezTo>
                    <a:pt x="163" y="138"/>
                    <a:pt x="164" y="138"/>
                    <a:pt x="164" y="137"/>
                  </a:cubicBezTo>
                  <a:cubicBezTo>
                    <a:pt x="166" y="136"/>
                    <a:pt x="168" y="135"/>
                    <a:pt x="170" y="135"/>
                  </a:cubicBezTo>
                  <a:cubicBezTo>
                    <a:pt x="171" y="134"/>
                    <a:pt x="172" y="134"/>
                    <a:pt x="174" y="134"/>
                  </a:cubicBezTo>
                  <a:cubicBezTo>
                    <a:pt x="174" y="135"/>
                    <a:pt x="175" y="135"/>
                    <a:pt x="176" y="135"/>
                  </a:cubicBezTo>
                  <a:cubicBezTo>
                    <a:pt x="176" y="135"/>
                    <a:pt x="176" y="136"/>
                    <a:pt x="177" y="136"/>
                  </a:cubicBezTo>
                  <a:cubicBezTo>
                    <a:pt x="177" y="137"/>
                    <a:pt x="177" y="139"/>
                    <a:pt x="179" y="139"/>
                  </a:cubicBezTo>
                  <a:cubicBezTo>
                    <a:pt x="179" y="140"/>
                    <a:pt x="180" y="140"/>
                    <a:pt x="180" y="140"/>
                  </a:cubicBezTo>
                  <a:cubicBezTo>
                    <a:pt x="181" y="140"/>
                    <a:pt x="181" y="140"/>
                    <a:pt x="182" y="141"/>
                  </a:cubicBezTo>
                  <a:cubicBezTo>
                    <a:pt x="182" y="141"/>
                    <a:pt x="183" y="140"/>
                    <a:pt x="183" y="140"/>
                  </a:cubicBezTo>
                  <a:cubicBezTo>
                    <a:pt x="183" y="140"/>
                    <a:pt x="184" y="139"/>
                    <a:pt x="184" y="139"/>
                  </a:cubicBezTo>
                  <a:cubicBezTo>
                    <a:pt x="185" y="138"/>
                    <a:pt x="187" y="138"/>
                    <a:pt x="188" y="137"/>
                  </a:cubicBezTo>
                  <a:cubicBezTo>
                    <a:pt x="190" y="137"/>
                    <a:pt x="192" y="138"/>
                    <a:pt x="194" y="139"/>
                  </a:cubicBezTo>
                  <a:cubicBezTo>
                    <a:pt x="194" y="139"/>
                    <a:pt x="194" y="140"/>
                    <a:pt x="195" y="139"/>
                  </a:cubicBezTo>
                  <a:cubicBezTo>
                    <a:pt x="196" y="139"/>
                    <a:pt x="196" y="139"/>
                    <a:pt x="197" y="139"/>
                  </a:cubicBezTo>
                  <a:cubicBezTo>
                    <a:pt x="197" y="140"/>
                    <a:pt x="197" y="140"/>
                    <a:pt x="197" y="140"/>
                  </a:cubicBezTo>
                  <a:cubicBezTo>
                    <a:pt x="198" y="140"/>
                    <a:pt x="198" y="139"/>
                    <a:pt x="199" y="139"/>
                  </a:cubicBezTo>
                  <a:cubicBezTo>
                    <a:pt x="200" y="139"/>
                    <a:pt x="201" y="138"/>
                    <a:pt x="202" y="138"/>
                  </a:cubicBezTo>
                  <a:cubicBezTo>
                    <a:pt x="203" y="137"/>
                    <a:pt x="204" y="137"/>
                    <a:pt x="206" y="137"/>
                  </a:cubicBezTo>
                  <a:cubicBezTo>
                    <a:pt x="207" y="137"/>
                    <a:pt x="207" y="136"/>
                    <a:pt x="207" y="135"/>
                  </a:cubicBezTo>
                  <a:cubicBezTo>
                    <a:pt x="208" y="135"/>
                    <a:pt x="209" y="134"/>
                    <a:pt x="210" y="134"/>
                  </a:cubicBezTo>
                  <a:cubicBezTo>
                    <a:pt x="211" y="134"/>
                    <a:pt x="212" y="134"/>
                    <a:pt x="212" y="135"/>
                  </a:cubicBezTo>
                  <a:cubicBezTo>
                    <a:pt x="213" y="135"/>
                    <a:pt x="213" y="135"/>
                    <a:pt x="213" y="135"/>
                  </a:cubicBezTo>
                  <a:cubicBezTo>
                    <a:pt x="214" y="135"/>
                    <a:pt x="214" y="135"/>
                    <a:pt x="215" y="135"/>
                  </a:cubicBezTo>
                  <a:cubicBezTo>
                    <a:pt x="216" y="134"/>
                    <a:pt x="217" y="134"/>
                    <a:pt x="218" y="135"/>
                  </a:cubicBezTo>
                  <a:cubicBezTo>
                    <a:pt x="219" y="136"/>
                    <a:pt x="219" y="135"/>
                    <a:pt x="220" y="135"/>
                  </a:cubicBezTo>
                  <a:cubicBezTo>
                    <a:pt x="221" y="135"/>
                    <a:pt x="222" y="135"/>
                    <a:pt x="223" y="135"/>
                  </a:cubicBezTo>
                  <a:cubicBezTo>
                    <a:pt x="224" y="135"/>
                    <a:pt x="225" y="135"/>
                    <a:pt x="226" y="135"/>
                  </a:cubicBezTo>
                  <a:cubicBezTo>
                    <a:pt x="226" y="136"/>
                    <a:pt x="226" y="136"/>
                    <a:pt x="227" y="137"/>
                  </a:cubicBezTo>
                  <a:cubicBezTo>
                    <a:pt x="228" y="137"/>
                    <a:pt x="229" y="137"/>
                    <a:pt x="230" y="136"/>
                  </a:cubicBezTo>
                  <a:cubicBezTo>
                    <a:pt x="232" y="136"/>
                    <a:pt x="234" y="137"/>
                    <a:pt x="235" y="135"/>
                  </a:cubicBezTo>
                  <a:cubicBezTo>
                    <a:pt x="235" y="134"/>
                    <a:pt x="235" y="134"/>
                    <a:pt x="236" y="133"/>
                  </a:cubicBezTo>
                  <a:cubicBezTo>
                    <a:pt x="236" y="133"/>
                    <a:pt x="238" y="133"/>
                    <a:pt x="239" y="133"/>
                  </a:cubicBezTo>
                  <a:cubicBezTo>
                    <a:pt x="238" y="133"/>
                    <a:pt x="237" y="133"/>
                    <a:pt x="237" y="133"/>
                  </a:cubicBezTo>
                  <a:cubicBezTo>
                    <a:pt x="237" y="134"/>
                    <a:pt x="237" y="134"/>
                    <a:pt x="237" y="135"/>
                  </a:cubicBezTo>
                  <a:cubicBezTo>
                    <a:pt x="236" y="136"/>
                    <a:pt x="237" y="136"/>
                    <a:pt x="238" y="136"/>
                  </a:cubicBezTo>
                  <a:cubicBezTo>
                    <a:pt x="239" y="136"/>
                    <a:pt x="240" y="135"/>
                    <a:pt x="240" y="135"/>
                  </a:cubicBezTo>
                  <a:cubicBezTo>
                    <a:pt x="241" y="134"/>
                    <a:pt x="242" y="135"/>
                    <a:pt x="243" y="134"/>
                  </a:cubicBezTo>
                  <a:cubicBezTo>
                    <a:pt x="244" y="134"/>
                    <a:pt x="243" y="133"/>
                    <a:pt x="244" y="132"/>
                  </a:cubicBezTo>
                  <a:cubicBezTo>
                    <a:pt x="244" y="132"/>
                    <a:pt x="244" y="132"/>
                    <a:pt x="244" y="132"/>
                  </a:cubicBezTo>
                  <a:cubicBezTo>
                    <a:pt x="245" y="132"/>
                    <a:pt x="245" y="132"/>
                    <a:pt x="245" y="132"/>
                  </a:cubicBezTo>
                  <a:cubicBezTo>
                    <a:pt x="246" y="132"/>
                    <a:pt x="246" y="132"/>
                    <a:pt x="246" y="132"/>
                  </a:cubicBezTo>
                  <a:cubicBezTo>
                    <a:pt x="246" y="132"/>
                    <a:pt x="247" y="133"/>
                    <a:pt x="247" y="132"/>
                  </a:cubicBezTo>
                  <a:cubicBezTo>
                    <a:pt x="248" y="132"/>
                    <a:pt x="247" y="131"/>
                    <a:pt x="248" y="131"/>
                  </a:cubicBezTo>
                  <a:cubicBezTo>
                    <a:pt x="248" y="131"/>
                    <a:pt x="249" y="131"/>
                    <a:pt x="249" y="131"/>
                  </a:cubicBezTo>
                  <a:cubicBezTo>
                    <a:pt x="250" y="131"/>
                    <a:pt x="250" y="131"/>
                    <a:pt x="250" y="131"/>
                  </a:cubicBezTo>
                  <a:cubicBezTo>
                    <a:pt x="250" y="131"/>
                    <a:pt x="251" y="131"/>
                    <a:pt x="251" y="131"/>
                  </a:cubicBezTo>
                  <a:cubicBezTo>
                    <a:pt x="252" y="130"/>
                    <a:pt x="253" y="130"/>
                    <a:pt x="253" y="130"/>
                  </a:cubicBezTo>
                  <a:cubicBezTo>
                    <a:pt x="254" y="130"/>
                    <a:pt x="255" y="130"/>
                    <a:pt x="256" y="131"/>
                  </a:cubicBezTo>
                  <a:cubicBezTo>
                    <a:pt x="256" y="131"/>
                    <a:pt x="255" y="131"/>
                    <a:pt x="254" y="131"/>
                  </a:cubicBezTo>
                  <a:cubicBezTo>
                    <a:pt x="254" y="132"/>
                    <a:pt x="254" y="132"/>
                    <a:pt x="254" y="132"/>
                  </a:cubicBezTo>
                  <a:cubicBezTo>
                    <a:pt x="255" y="133"/>
                    <a:pt x="256" y="133"/>
                    <a:pt x="257" y="132"/>
                  </a:cubicBezTo>
                  <a:cubicBezTo>
                    <a:pt x="257" y="132"/>
                    <a:pt x="258" y="132"/>
                    <a:pt x="259" y="132"/>
                  </a:cubicBezTo>
                  <a:cubicBezTo>
                    <a:pt x="259" y="132"/>
                    <a:pt x="258" y="132"/>
                    <a:pt x="258" y="133"/>
                  </a:cubicBezTo>
                  <a:cubicBezTo>
                    <a:pt x="259" y="133"/>
                    <a:pt x="259" y="133"/>
                    <a:pt x="259" y="133"/>
                  </a:cubicBezTo>
                  <a:cubicBezTo>
                    <a:pt x="259" y="134"/>
                    <a:pt x="259" y="135"/>
                    <a:pt x="258" y="136"/>
                  </a:cubicBezTo>
                  <a:cubicBezTo>
                    <a:pt x="258" y="136"/>
                    <a:pt x="258" y="137"/>
                    <a:pt x="258" y="137"/>
                  </a:cubicBezTo>
                  <a:cubicBezTo>
                    <a:pt x="258" y="138"/>
                    <a:pt x="258" y="138"/>
                    <a:pt x="258" y="139"/>
                  </a:cubicBezTo>
                  <a:cubicBezTo>
                    <a:pt x="258" y="140"/>
                    <a:pt x="257" y="140"/>
                    <a:pt x="257" y="140"/>
                  </a:cubicBezTo>
                  <a:cubicBezTo>
                    <a:pt x="256" y="141"/>
                    <a:pt x="254" y="141"/>
                    <a:pt x="253" y="141"/>
                  </a:cubicBezTo>
                  <a:cubicBezTo>
                    <a:pt x="253" y="141"/>
                    <a:pt x="251" y="142"/>
                    <a:pt x="252" y="142"/>
                  </a:cubicBezTo>
                  <a:cubicBezTo>
                    <a:pt x="252" y="143"/>
                    <a:pt x="253" y="142"/>
                    <a:pt x="254" y="142"/>
                  </a:cubicBezTo>
                  <a:cubicBezTo>
                    <a:pt x="254" y="142"/>
                    <a:pt x="255" y="142"/>
                    <a:pt x="256" y="142"/>
                  </a:cubicBezTo>
                  <a:cubicBezTo>
                    <a:pt x="256" y="142"/>
                    <a:pt x="257" y="142"/>
                    <a:pt x="257" y="142"/>
                  </a:cubicBezTo>
                  <a:cubicBezTo>
                    <a:pt x="258" y="142"/>
                    <a:pt x="259" y="141"/>
                    <a:pt x="260" y="142"/>
                  </a:cubicBezTo>
                  <a:cubicBezTo>
                    <a:pt x="260" y="142"/>
                    <a:pt x="259" y="143"/>
                    <a:pt x="259" y="143"/>
                  </a:cubicBezTo>
                  <a:cubicBezTo>
                    <a:pt x="258" y="143"/>
                    <a:pt x="257" y="142"/>
                    <a:pt x="257" y="142"/>
                  </a:cubicBezTo>
                  <a:cubicBezTo>
                    <a:pt x="256" y="142"/>
                    <a:pt x="253" y="143"/>
                    <a:pt x="253" y="144"/>
                  </a:cubicBezTo>
                  <a:cubicBezTo>
                    <a:pt x="253" y="145"/>
                    <a:pt x="256" y="146"/>
                    <a:pt x="257" y="146"/>
                  </a:cubicBezTo>
                  <a:cubicBezTo>
                    <a:pt x="258" y="146"/>
                    <a:pt x="261" y="145"/>
                    <a:pt x="260" y="146"/>
                  </a:cubicBezTo>
                  <a:cubicBezTo>
                    <a:pt x="259" y="147"/>
                    <a:pt x="259" y="146"/>
                    <a:pt x="259" y="147"/>
                  </a:cubicBezTo>
                  <a:cubicBezTo>
                    <a:pt x="259" y="149"/>
                    <a:pt x="260" y="148"/>
                    <a:pt x="260" y="149"/>
                  </a:cubicBezTo>
                  <a:cubicBezTo>
                    <a:pt x="262" y="151"/>
                    <a:pt x="257" y="152"/>
                    <a:pt x="256" y="151"/>
                  </a:cubicBezTo>
                  <a:cubicBezTo>
                    <a:pt x="255" y="151"/>
                    <a:pt x="253" y="150"/>
                    <a:pt x="253" y="149"/>
                  </a:cubicBezTo>
                  <a:cubicBezTo>
                    <a:pt x="252" y="148"/>
                    <a:pt x="251" y="147"/>
                    <a:pt x="250" y="148"/>
                  </a:cubicBezTo>
                  <a:cubicBezTo>
                    <a:pt x="249" y="148"/>
                    <a:pt x="248" y="148"/>
                    <a:pt x="248" y="148"/>
                  </a:cubicBezTo>
                  <a:cubicBezTo>
                    <a:pt x="247" y="149"/>
                    <a:pt x="245" y="149"/>
                    <a:pt x="246" y="150"/>
                  </a:cubicBezTo>
                  <a:cubicBezTo>
                    <a:pt x="247" y="150"/>
                    <a:pt x="247" y="150"/>
                    <a:pt x="247" y="150"/>
                  </a:cubicBezTo>
                  <a:cubicBezTo>
                    <a:pt x="247" y="151"/>
                    <a:pt x="247" y="151"/>
                    <a:pt x="248" y="151"/>
                  </a:cubicBezTo>
                  <a:cubicBezTo>
                    <a:pt x="249" y="152"/>
                    <a:pt x="248" y="151"/>
                    <a:pt x="249" y="151"/>
                  </a:cubicBezTo>
                  <a:cubicBezTo>
                    <a:pt x="250" y="151"/>
                    <a:pt x="250" y="151"/>
                    <a:pt x="250" y="151"/>
                  </a:cubicBezTo>
                  <a:cubicBezTo>
                    <a:pt x="250" y="152"/>
                    <a:pt x="249" y="152"/>
                    <a:pt x="249" y="152"/>
                  </a:cubicBezTo>
                  <a:cubicBezTo>
                    <a:pt x="249" y="153"/>
                    <a:pt x="250" y="154"/>
                    <a:pt x="250" y="154"/>
                  </a:cubicBezTo>
                  <a:cubicBezTo>
                    <a:pt x="250" y="155"/>
                    <a:pt x="251" y="158"/>
                    <a:pt x="250" y="159"/>
                  </a:cubicBezTo>
                  <a:cubicBezTo>
                    <a:pt x="249" y="158"/>
                    <a:pt x="249" y="157"/>
                    <a:pt x="249" y="157"/>
                  </a:cubicBezTo>
                  <a:cubicBezTo>
                    <a:pt x="249" y="156"/>
                    <a:pt x="249" y="154"/>
                    <a:pt x="248" y="154"/>
                  </a:cubicBezTo>
                  <a:cubicBezTo>
                    <a:pt x="247" y="154"/>
                    <a:pt x="248" y="155"/>
                    <a:pt x="248" y="156"/>
                  </a:cubicBezTo>
                  <a:cubicBezTo>
                    <a:pt x="248" y="157"/>
                    <a:pt x="249" y="158"/>
                    <a:pt x="249" y="159"/>
                  </a:cubicBezTo>
                  <a:cubicBezTo>
                    <a:pt x="249" y="160"/>
                    <a:pt x="250" y="161"/>
                    <a:pt x="251" y="162"/>
                  </a:cubicBezTo>
                  <a:cubicBezTo>
                    <a:pt x="251" y="162"/>
                    <a:pt x="251" y="162"/>
                    <a:pt x="252" y="163"/>
                  </a:cubicBezTo>
                  <a:cubicBezTo>
                    <a:pt x="252" y="163"/>
                    <a:pt x="253" y="163"/>
                    <a:pt x="253" y="163"/>
                  </a:cubicBezTo>
                  <a:cubicBezTo>
                    <a:pt x="252" y="163"/>
                    <a:pt x="251" y="163"/>
                    <a:pt x="251" y="163"/>
                  </a:cubicBezTo>
                  <a:cubicBezTo>
                    <a:pt x="250" y="163"/>
                    <a:pt x="250" y="162"/>
                    <a:pt x="249" y="162"/>
                  </a:cubicBezTo>
                  <a:cubicBezTo>
                    <a:pt x="249" y="161"/>
                    <a:pt x="249" y="160"/>
                    <a:pt x="248" y="159"/>
                  </a:cubicBezTo>
                  <a:cubicBezTo>
                    <a:pt x="247" y="158"/>
                    <a:pt x="246" y="157"/>
                    <a:pt x="246" y="156"/>
                  </a:cubicBezTo>
                  <a:cubicBezTo>
                    <a:pt x="246" y="155"/>
                    <a:pt x="246" y="154"/>
                    <a:pt x="245" y="153"/>
                  </a:cubicBezTo>
                  <a:cubicBezTo>
                    <a:pt x="244" y="154"/>
                    <a:pt x="244" y="154"/>
                    <a:pt x="244" y="154"/>
                  </a:cubicBezTo>
                  <a:cubicBezTo>
                    <a:pt x="244" y="155"/>
                    <a:pt x="244" y="155"/>
                    <a:pt x="244" y="155"/>
                  </a:cubicBezTo>
                  <a:cubicBezTo>
                    <a:pt x="244" y="156"/>
                    <a:pt x="243" y="156"/>
                    <a:pt x="243" y="157"/>
                  </a:cubicBezTo>
                  <a:cubicBezTo>
                    <a:pt x="243" y="159"/>
                    <a:pt x="243" y="159"/>
                    <a:pt x="243" y="160"/>
                  </a:cubicBezTo>
                  <a:cubicBezTo>
                    <a:pt x="243" y="161"/>
                    <a:pt x="243" y="162"/>
                    <a:pt x="243" y="163"/>
                  </a:cubicBezTo>
                  <a:cubicBezTo>
                    <a:pt x="243" y="164"/>
                    <a:pt x="242" y="165"/>
                    <a:pt x="242" y="165"/>
                  </a:cubicBezTo>
                  <a:cubicBezTo>
                    <a:pt x="242" y="166"/>
                    <a:pt x="241" y="166"/>
                    <a:pt x="241" y="167"/>
                  </a:cubicBezTo>
                  <a:cubicBezTo>
                    <a:pt x="241" y="166"/>
                    <a:pt x="241" y="166"/>
                    <a:pt x="241" y="166"/>
                  </a:cubicBezTo>
                  <a:cubicBezTo>
                    <a:pt x="241" y="165"/>
                    <a:pt x="241" y="165"/>
                    <a:pt x="241" y="164"/>
                  </a:cubicBezTo>
                  <a:cubicBezTo>
                    <a:pt x="242" y="163"/>
                    <a:pt x="241" y="162"/>
                    <a:pt x="241" y="160"/>
                  </a:cubicBezTo>
                  <a:cubicBezTo>
                    <a:pt x="241" y="159"/>
                    <a:pt x="242" y="158"/>
                    <a:pt x="241" y="156"/>
                  </a:cubicBezTo>
                  <a:cubicBezTo>
                    <a:pt x="240" y="156"/>
                    <a:pt x="240" y="156"/>
                    <a:pt x="239" y="155"/>
                  </a:cubicBezTo>
                  <a:cubicBezTo>
                    <a:pt x="238" y="155"/>
                    <a:pt x="238" y="155"/>
                    <a:pt x="237" y="156"/>
                  </a:cubicBezTo>
                  <a:cubicBezTo>
                    <a:pt x="237" y="156"/>
                    <a:pt x="237" y="156"/>
                    <a:pt x="237" y="156"/>
                  </a:cubicBezTo>
                  <a:cubicBezTo>
                    <a:pt x="236" y="157"/>
                    <a:pt x="236" y="157"/>
                    <a:pt x="236" y="157"/>
                  </a:cubicBezTo>
                  <a:cubicBezTo>
                    <a:pt x="236" y="158"/>
                    <a:pt x="236" y="158"/>
                    <a:pt x="236" y="159"/>
                  </a:cubicBezTo>
                  <a:cubicBezTo>
                    <a:pt x="235" y="159"/>
                    <a:pt x="235" y="159"/>
                    <a:pt x="235" y="158"/>
                  </a:cubicBezTo>
                  <a:cubicBezTo>
                    <a:pt x="235" y="157"/>
                    <a:pt x="235" y="157"/>
                    <a:pt x="235" y="157"/>
                  </a:cubicBezTo>
                  <a:cubicBezTo>
                    <a:pt x="235" y="157"/>
                    <a:pt x="235" y="157"/>
                    <a:pt x="235" y="157"/>
                  </a:cubicBezTo>
                  <a:cubicBezTo>
                    <a:pt x="235" y="157"/>
                    <a:pt x="234" y="156"/>
                    <a:pt x="234" y="156"/>
                  </a:cubicBezTo>
                  <a:cubicBezTo>
                    <a:pt x="233" y="156"/>
                    <a:pt x="233" y="156"/>
                    <a:pt x="233" y="156"/>
                  </a:cubicBezTo>
                  <a:cubicBezTo>
                    <a:pt x="233" y="157"/>
                    <a:pt x="233" y="157"/>
                    <a:pt x="233" y="157"/>
                  </a:cubicBezTo>
                  <a:cubicBezTo>
                    <a:pt x="233" y="158"/>
                    <a:pt x="233" y="158"/>
                    <a:pt x="233" y="158"/>
                  </a:cubicBezTo>
                  <a:cubicBezTo>
                    <a:pt x="233" y="159"/>
                    <a:pt x="234" y="159"/>
                    <a:pt x="234" y="159"/>
                  </a:cubicBezTo>
                  <a:cubicBezTo>
                    <a:pt x="234" y="159"/>
                    <a:pt x="233" y="160"/>
                    <a:pt x="233" y="160"/>
                  </a:cubicBezTo>
                  <a:cubicBezTo>
                    <a:pt x="232" y="160"/>
                    <a:pt x="233" y="160"/>
                    <a:pt x="232" y="159"/>
                  </a:cubicBezTo>
                  <a:cubicBezTo>
                    <a:pt x="232" y="159"/>
                    <a:pt x="231" y="160"/>
                    <a:pt x="230" y="159"/>
                  </a:cubicBezTo>
                  <a:cubicBezTo>
                    <a:pt x="231" y="159"/>
                    <a:pt x="232" y="159"/>
                    <a:pt x="232" y="158"/>
                  </a:cubicBezTo>
                  <a:cubicBezTo>
                    <a:pt x="232" y="158"/>
                    <a:pt x="231" y="158"/>
                    <a:pt x="231" y="157"/>
                  </a:cubicBezTo>
                  <a:cubicBezTo>
                    <a:pt x="231" y="157"/>
                    <a:pt x="231" y="156"/>
                    <a:pt x="230" y="156"/>
                  </a:cubicBezTo>
                  <a:cubicBezTo>
                    <a:pt x="230" y="155"/>
                    <a:pt x="230" y="154"/>
                    <a:pt x="230" y="154"/>
                  </a:cubicBezTo>
                  <a:cubicBezTo>
                    <a:pt x="229" y="153"/>
                    <a:pt x="229" y="155"/>
                    <a:pt x="229" y="156"/>
                  </a:cubicBezTo>
                  <a:cubicBezTo>
                    <a:pt x="229" y="157"/>
                    <a:pt x="229" y="158"/>
                    <a:pt x="229" y="159"/>
                  </a:cubicBezTo>
                  <a:cubicBezTo>
                    <a:pt x="230" y="160"/>
                    <a:pt x="230" y="160"/>
                    <a:pt x="230" y="160"/>
                  </a:cubicBezTo>
                  <a:cubicBezTo>
                    <a:pt x="230" y="161"/>
                    <a:pt x="230" y="161"/>
                    <a:pt x="230" y="161"/>
                  </a:cubicBezTo>
                  <a:cubicBezTo>
                    <a:pt x="231" y="161"/>
                    <a:pt x="230" y="163"/>
                    <a:pt x="230" y="163"/>
                  </a:cubicBezTo>
                  <a:cubicBezTo>
                    <a:pt x="229" y="162"/>
                    <a:pt x="229" y="162"/>
                    <a:pt x="229" y="162"/>
                  </a:cubicBezTo>
                  <a:cubicBezTo>
                    <a:pt x="229" y="161"/>
                    <a:pt x="229" y="161"/>
                    <a:pt x="229" y="161"/>
                  </a:cubicBezTo>
                  <a:cubicBezTo>
                    <a:pt x="228" y="161"/>
                    <a:pt x="228" y="160"/>
                    <a:pt x="228" y="159"/>
                  </a:cubicBezTo>
                  <a:cubicBezTo>
                    <a:pt x="228" y="158"/>
                    <a:pt x="228" y="157"/>
                    <a:pt x="228" y="155"/>
                  </a:cubicBezTo>
                  <a:cubicBezTo>
                    <a:pt x="228" y="155"/>
                    <a:pt x="228" y="154"/>
                    <a:pt x="228" y="154"/>
                  </a:cubicBezTo>
                  <a:cubicBezTo>
                    <a:pt x="227" y="153"/>
                    <a:pt x="227" y="153"/>
                    <a:pt x="227" y="153"/>
                  </a:cubicBezTo>
                  <a:cubicBezTo>
                    <a:pt x="226" y="153"/>
                    <a:pt x="225" y="155"/>
                    <a:pt x="225" y="156"/>
                  </a:cubicBezTo>
                  <a:cubicBezTo>
                    <a:pt x="225" y="156"/>
                    <a:pt x="226" y="156"/>
                    <a:pt x="226" y="157"/>
                  </a:cubicBezTo>
                  <a:cubicBezTo>
                    <a:pt x="225" y="157"/>
                    <a:pt x="225" y="158"/>
                    <a:pt x="225" y="158"/>
                  </a:cubicBezTo>
                  <a:cubicBezTo>
                    <a:pt x="224" y="159"/>
                    <a:pt x="225" y="161"/>
                    <a:pt x="225" y="162"/>
                  </a:cubicBezTo>
                  <a:cubicBezTo>
                    <a:pt x="225" y="163"/>
                    <a:pt x="225" y="164"/>
                    <a:pt x="223" y="164"/>
                  </a:cubicBezTo>
                  <a:cubicBezTo>
                    <a:pt x="223" y="164"/>
                    <a:pt x="223" y="163"/>
                    <a:pt x="223" y="162"/>
                  </a:cubicBezTo>
                  <a:cubicBezTo>
                    <a:pt x="223" y="162"/>
                    <a:pt x="223" y="161"/>
                    <a:pt x="223" y="160"/>
                  </a:cubicBezTo>
                  <a:cubicBezTo>
                    <a:pt x="223" y="158"/>
                    <a:pt x="224" y="156"/>
                    <a:pt x="223" y="154"/>
                  </a:cubicBezTo>
                  <a:cubicBezTo>
                    <a:pt x="223" y="153"/>
                    <a:pt x="222" y="152"/>
                    <a:pt x="221" y="152"/>
                  </a:cubicBezTo>
                  <a:cubicBezTo>
                    <a:pt x="221" y="152"/>
                    <a:pt x="220" y="153"/>
                    <a:pt x="219" y="153"/>
                  </a:cubicBezTo>
                  <a:cubicBezTo>
                    <a:pt x="219" y="152"/>
                    <a:pt x="219" y="151"/>
                    <a:pt x="219" y="150"/>
                  </a:cubicBezTo>
                  <a:cubicBezTo>
                    <a:pt x="219" y="149"/>
                    <a:pt x="218" y="149"/>
                    <a:pt x="217" y="148"/>
                  </a:cubicBezTo>
                  <a:cubicBezTo>
                    <a:pt x="216" y="148"/>
                    <a:pt x="215" y="148"/>
                    <a:pt x="214" y="148"/>
                  </a:cubicBezTo>
                  <a:cubicBezTo>
                    <a:pt x="213" y="148"/>
                    <a:pt x="212" y="148"/>
                    <a:pt x="210" y="148"/>
                  </a:cubicBezTo>
                  <a:cubicBezTo>
                    <a:pt x="208" y="149"/>
                    <a:pt x="206" y="150"/>
                    <a:pt x="205" y="152"/>
                  </a:cubicBezTo>
                  <a:cubicBezTo>
                    <a:pt x="204" y="153"/>
                    <a:pt x="203" y="154"/>
                    <a:pt x="202" y="155"/>
                  </a:cubicBezTo>
                  <a:cubicBezTo>
                    <a:pt x="201" y="156"/>
                    <a:pt x="200" y="158"/>
                    <a:pt x="199" y="159"/>
                  </a:cubicBezTo>
                  <a:cubicBezTo>
                    <a:pt x="198" y="161"/>
                    <a:pt x="197" y="162"/>
                    <a:pt x="195" y="163"/>
                  </a:cubicBezTo>
                  <a:cubicBezTo>
                    <a:pt x="194" y="164"/>
                    <a:pt x="194" y="165"/>
                    <a:pt x="192" y="166"/>
                  </a:cubicBezTo>
                  <a:cubicBezTo>
                    <a:pt x="191" y="167"/>
                    <a:pt x="190" y="168"/>
                    <a:pt x="189" y="169"/>
                  </a:cubicBezTo>
                  <a:cubicBezTo>
                    <a:pt x="188" y="169"/>
                    <a:pt x="187" y="170"/>
                    <a:pt x="186" y="170"/>
                  </a:cubicBezTo>
                  <a:cubicBezTo>
                    <a:pt x="186" y="170"/>
                    <a:pt x="185" y="171"/>
                    <a:pt x="184" y="171"/>
                  </a:cubicBezTo>
                  <a:cubicBezTo>
                    <a:pt x="183" y="171"/>
                    <a:pt x="182" y="169"/>
                    <a:pt x="181" y="169"/>
                  </a:cubicBezTo>
                  <a:cubicBezTo>
                    <a:pt x="180" y="168"/>
                    <a:pt x="178" y="166"/>
                    <a:pt x="176" y="165"/>
                  </a:cubicBezTo>
                  <a:cubicBezTo>
                    <a:pt x="175" y="165"/>
                    <a:pt x="173" y="164"/>
                    <a:pt x="172" y="164"/>
                  </a:cubicBezTo>
                  <a:cubicBezTo>
                    <a:pt x="171" y="164"/>
                    <a:pt x="169" y="164"/>
                    <a:pt x="169" y="164"/>
                  </a:cubicBezTo>
                  <a:cubicBezTo>
                    <a:pt x="168" y="165"/>
                    <a:pt x="168" y="165"/>
                    <a:pt x="168" y="166"/>
                  </a:cubicBezTo>
                  <a:cubicBezTo>
                    <a:pt x="168" y="166"/>
                    <a:pt x="166" y="167"/>
                    <a:pt x="166" y="167"/>
                  </a:cubicBezTo>
                  <a:cubicBezTo>
                    <a:pt x="166" y="165"/>
                    <a:pt x="166" y="165"/>
                    <a:pt x="166" y="165"/>
                  </a:cubicBezTo>
                  <a:cubicBezTo>
                    <a:pt x="166" y="165"/>
                    <a:pt x="166" y="164"/>
                    <a:pt x="166" y="164"/>
                  </a:cubicBezTo>
                  <a:cubicBezTo>
                    <a:pt x="165" y="164"/>
                    <a:pt x="165" y="164"/>
                    <a:pt x="164" y="164"/>
                  </a:cubicBezTo>
                  <a:cubicBezTo>
                    <a:pt x="164" y="164"/>
                    <a:pt x="164" y="164"/>
                    <a:pt x="164" y="164"/>
                  </a:cubicBezTo>
                  <a:cubicBezTo>
                    <a:pt x="163" y="163"/>
                    <a:pt x="162" y="164"/>
                    <a:pt x="161" y="163"/>
                  </a:cubicBezTo>
                  <a:cubicBezTo>
                    <a:pt x="159" y="163"/>
                    <a:pt x="157" y="163"/>
                    <a:pt x="156" y="163"/>
                  </a:cubicBezTo>
                  <a:cubicBezTo>
                    <a:pt x="154" y="162"/>
                    <a:pt x="152" y="162"/>
                    <a:pt x="150" y="163"/>
                  </a:cubicBezTo>
                  <a:cubicBezTo>
                    <a:pt x="149" y="163"/>
                    <a:pt x="147" y="163"/>
                    <a:pt x="147" y="164"/>
                  </a:cubicBezTo>
                  <a:cubicBezTo>
                    <a:pt x="147" y="164"/>
                    <a:pt x="148" y="165"/>
                    <a:pt x="148" y="165"/>
                  </a:cubicBezTo>
                  <a:cubicBezTo>
                    <a:pt x="149" y="165"/>
                    <a:pt x="150" y="165"/>
                    <a:pt x="151" y="165"/>
                  </a:cubicBezTo>
                  <a:cubicBezTo>
                    <a:pt x="150" y="165"/>
                    <a:pt x="150" y="165"/>
                    <a:pt x="150" y="165"/>
                  </a:cubicBezTo>
                  <a:cubicBezTo>
                    <a:pt x="149" y="166"/>
                    <a:pt x="149" y="166"/>
                    <a:pt x="148" y="166"/>
                  </a:cubicBezTo>
                  <a:cubicBezTo>
                    <a:pt x="148" y="166"/>
                    <a:pt x="147" y="167"/>
                    <a:pt x="146" y="167"/>
                  </a:cubicBezTo>
                  <a:cubicBezTo>
                    <a:pt x="146" y="167"/>
                    <a:pt x="146" y="167"/>
                    <a:pt x="145" y="167"/>
                  </a:cubicBezTo>
                  <a:cubicBezTo>
                    <a:pt x="145" y="166"/>
                    <a:pt x="144" y="167"/>
                    <a:pt x="144" y="167"/>
                  </a:cubicBezTo>
                  <a:cubicBezTo>
                    <a:pt x="142" y="167"/>
                    <a:pt x="141" y="168"/>
                    <a:pt x="139" y="168"/>
                  </a:cubicBezTo>
                  <a:cubicBezTo>
                    <a:pt x="139" y="168"/>
                    <a:pt x="137" y="168"/>
                    <a:pt x="137" y="169"/>
                  </a:cubicBezTo>
                  <a:cubicBezTo>
                    <a:pt x="137" y="169"/>
                    <a:pt x="137" y="170"/>
                    <a:pt x="137" y="170"/>
                  </a:cubicBezTo>
                  <a:cubicBezTo>
                    <a:pt x="139" y="170"/>
                    <a:pt x="141" y="169"/>
                    <a:pt x="143" y="170"/>
                  </a:cubicBezTo>
                  <a:cubicBezTo>
                    <a:pt x="143" y="171"/>
                    <a:pt x="142" y="172"/>
                    <a:pt x="141" y="172"/>
                  </a:cubicBezTo>
                  <a:cubicBezTo>
                    <a:pt x="140" y="172"/>
                    <a:pt x="139" y="172"/>
                    <a:pt x="139" y="173"/>
                  </a:cubicBezTo>
                  <a:cubicBezTo>
                    <a:pt x="140" y="173"/>
                    <a:pt x="140" y="173"/>
                    <a:pt x="141" y="173"/>
                  </a:cubicBezTo>
                  <a:cubicBezTo>
                    <a:pt x="142" y="174"/>
                    <a:pt x="141" y="174"/>
                    <a:pt x="141" y="175"/>
                  </a:cubicBezTo>
                  <a:cubicBezTo>
                    <a:pt x="141" y="175"/>
                    <a:pt x="141" y="176"/>
                    <a:pt x="140" y="176"/>
                  </a:cubicBezTo>
                  <a:cubicBezTo>
                    <a:pt x="139" y="176"/>
                    <a:pt x="138" y="176"/>
                    <a:pt x="138" y="176"/>
                  </a:cubicBezTo>
                  <a:cubicBezTo>
                    <a:pt x="138" y="176"/>
                    <a:pt x="138" y="177"/>
                    <a:pt x="138" y="177"/>
                  </a:cubicBezTo>
                  <a:cubicBezTo>
                    <a:pt x="139" y="177"/>
                    <a:pt x="139" y="177"/>
                    <a:pt x="140" y="177"/>
                  </a:cubicBezTo>
                  <a:cubicBezTo>
                    <a:pt x="141" y="177"/>
                    <a:pt x="141" y="177"/>
                    <a:pt x="141" y="178"/>
                  </a:cubicBezTo>
                  <a:cubicBezTo>
                    <a:pt x="141" y="178"/>
                    <a:pt x="141" y="178"/>
                    <a:pt x="141" y="178"/>
                  </a:cubicBezTo>
                  <a:cubicBezTo>
                    <a:pt x="142" y="179"/>
                    <a:pt x="142" y="178"/>
                    <a:pt x="143" y="178"/>
                  </a:cubicBezTo>
                  <a:cubicBezTo>
                    <a:pt x="144" y="178"/>
                    <a:pt x="144" y="179"/>
                    <a:pt x="144" y="179"/>
                  </a:cubicBezTo>
                  <a:cubicBezTo>
                    <a:pt x="144" y="180"/>
                    <a:pt x="144" y="180"/>
                    <a:pt x="144" y="181"/>
                  </a:cubicBezTo>
                  <a:cubicBezTo>
                    <a:pt x="145" y="181"/>
                    <a:pt x="145" y="180"/>
                    <a:pt x="145" y="180"/>
                  </a:cubicBezTo>
                  <a:cubicBezTo>
                    <a:pt x="146" y="179"/>
                    <a:pt x="146" y="180"/>
                    <a:pt x="147" y="180"/>
                  </a:cubicBezTo>
                  <a:cubicBezTo>
                    <a:pt x="147" y="180"/>
                    <a:pt x="149" y="179"/>
                    <a:pt x="149" y="179"/>
                  </a:cubicBezTo>
                  <a:cubicBezTo>
                    <a:pt x="150" y="179"/>
                    <a:pt x="151" y="178"/>
                    <a:pt x="152" y="179"/>
                  </a:cubicBezTo>
                  <a:cubicBezTo>
                    <a:pt x="154" y="179"/>
                    <a:pt x="156" y="179"/>
                    <a:pt x="158" y="179"/>
                  </a:cubicBezTo>
                  <a:cubicBezTo>
                    <a:pt x="159" y="179"/>
                    <a:pt x="159" y="179"/>
                    <a:pt x="159" y="179"/>
                  </a:cubicBezTo>
                  <a:cubicBezTo>
                    <a:pt x="160" y="180"/>
                    <a:pt x="160" y="180"/>
                    <a:pt x="160" y="180"/>
                  </a:cubicBezTo>
                  <a:cubicBezTo>
                    <a:pt x="161" y="181"/>
                    <a:pt x="161" y="181"/>
                    <a:pt x="161" y="181"/>
                  </a:cubicBezTo>
                  <a:cubicBezTo>
                    <a:pt x="162" y="181"/>
                    <a:pt x="162" y="181"/>
                    <a:pt x="162" y="181"/>
                  </a:cubicBezTo>
                  <a:cubicBezTo>
                    <a:pt x="162" y="182"/>
                    <a:pt x="163" y="182"/>
                    <a:pt x="163" y="182"/>
                  </a:cubicBezTo>
                  <a:cubicBezTo>
                    <a:pt x="165" y="183"/>
                    <a:pt x="166" y="183"/>
                    <a:pt x="167" y="184"/>
                  </a:cubicBezTo>
                  <a:cubicBezTo>
                    <a:pt x="169" y="185"/>
                    <a:pt x="170" y="187"/>
                    <a:pt x="172" y="188"/>
                  </a:cubicBezTo>
                  <a:cubicBezTo>
                    <a:pt x="173" y="190"/>
                    <a:pt x="174" y="192"/>
                    <a:pt x="175" y="193"/>
                  </a:cubicBezTo>
                  <a:cubicBezTo>
                    <a:pt x="176" y="194"/>
                    <a:pt x="177" y="194"/>
                    <a:pt x="177" y="195"/>
                  </a:cubicBezTo>
                  <a:cubicBezTo>
                    <a:pt x="178" y="195"/>
                    <a:pt x="178" y="195"/>
                    <a:pt x="179" y="196"/>
                  </a:cubicBezTo>
                  <a:cubicBezTo>
                    <a:pt x="179" y="196"/>
                    <a:pt x="178" y="197"/>
                    <a:pt x="177" y="197"/>
                  </a:cubicBezTo>
                  <a:cubicBezTo>
                    <a:pt x="177" y="197"/>
                    <a:pt x="176" y="197"/>
                    <a:pt x="176" y="197"/>
                  </a:cubicBezTo>
                  <a:cubicBezTo>
                    <a:pt x="175" y="198"/>
                    <a:pt x="176" y="199"/>
                    <a:pt x="177" y="199"/>
                  </a:cubicBezTo>
                  <a:cubicBezTo>
                    <a:pt x="177" y="200"/>
                    <a:pt x="178" y="200"/>
                    <a:pt x="179" y="200"/>
                  </a:cubicBezTo>
                  <a:cubicBezTo>
                    <a:pt x="179" y="201"/>
                    <a:pt x="179" y="202"/>
                    <a:pt x="179" y="203"/>
                  </a:cubicBezTo>
                  <a:cubicBezTo>
                    <a:pt x="180" y="203"/>
                    <a:pt x="181" y="203"/>
                    <a:pt x="181" y="203"/>
                  </a:cubicBezTo>
                  <a:cubicBezTo>
                    <a:pt x="182" y="204"/>
                    <a:pt x="183" y="204"/>
                    <a:pt x="183" y="204"/>
                  </a:cubicBezTo>
                  <a:cubicBezTo>
                    <a:pt x="184" y="204"/>
                    <a:pt x="184" y="204"/>
                    <a:pt x="184" y="203"/>
                  </a:cubicBezTo>
                  <a:cubicBezTo>
                    <a:pt x="184" y="202"/>
                    <a:pt x="183" y="201"/>
                    <a:pt x="184" y="201"/>
                  </a:cubicBezTo>
                  <a:cubicBezTo>
                    <a:pt x="185" y="200"/>
                    <a:pt x="186" y="200"/>
                    <a:pt x="186" y="200"/>
                  </a:cubicBezTo>
                  <a:cubicBezTo>
                    <a:pt x="187" y="200"/>
                    <a:pt x="187" y="199"/>
                    <a:pt x="188" y="200"/>
                  </a:cubicBezTo>
                  <a:cubicBezTo>
                    <a:pt x="189" y="200"/>
                    <a:pt x="188" y="201"/>
                    <a:pt x="189" y="202"/>
                  </a:cubicBezTo>
                  <a:cubicBezTo>
                    <a:pt x="189" y="202"/>
                    <a:pt x="190" y="203"/>
                    <a:pt x="190" y="203"/>
                  </a:cubicBezTo>
                  <a:cubicBezTo>
                    <a:pt x="190" y="204"/>
                    <a:pt x="190" y="204"/>
                    <a:pt x="189" y="204"/>
                  </a:cubicBezTo>
                  <a:cubicBezTo>
                    <a:pt x="189" y="204"/>
                    <a:pt x="188" y="205"/>
                    <a:pt x="188" y="206"/>
                  </a:cubicBezTo>
                  <a:cubicBezTo>
                    <a:pt x="188" y="207"/>
                    <a:pt x="189" y="207"/>
                    <a:pt x="189" y="207"/>
                  </a:cubicBezTo>
                  <a:cubicBezTo>
                    <a:pt x="189" y="208"/>
                    <a:pt x="189" y="208"/>
                    <a:pt x="189" y="208"/>
                  </a:cubicBezTo>
                  <a:cubicBezTo>
                    <a:pt x="189" y="209"/>
                    <a:pt x="189" y="210"/>
                    <a:pt x="189" y="210"/>
                  </a:cubicBezTo>
                  <a:cubicBezTo>
                    <a:pt x="190" y="211"/>
                    <a:pt x="190" y="211"/>
                    <a:pt x="190" y="211"/>
                  </a:cubicBezTo>
                  <a:cubicBezTo>
                    <a:pt x="190" y="212"/>
                    <a:pt x="190" y="212"/>
                    <a:pt x="191" y="212"/>
                  </a:cubicBezTo>
                  <a:cubicBezTo>
                    <a:pt x="191" y="213"/>
                    <a:pt x="192" y="212"/>
                    <a:pt x="193" y="213"/>
                  </a:cubicBezTo>
                  <a:cubicBezTo>
                    <a:pt x="194" y="214"/>
                    <a:pt x="194" y="215"/>
                    <a:pt x="195" y="216"/>
                  </a:cubicBezTo>
                  <a:cubicBezTo>
                    <a:pt x="195" y="217"/>
                    <a:pt x="196" y="217"/>
                    <a:pt x="196" y="218"/>
                  </a:cubicBezTo>
                  <a:cubicBezTo>
                    <a:pt x="196" y="219"/>
                    <a:pt x="195" y="219"/>
                    <a:pt x="195" y="220"/>
                  </a:cubicBezTo>
                  <a:cubicBezTo>
                    <a:pt x="194" y="220"/>
                    <a:pt x="194" y="220"/>
                    <a:pt x="194" y="221"/>
                  </a:cubicBezTo>
                  <a:cubicBezTo>
                    <a:pt x="195" y="222"/>
                    <a:pt x="195" y="222"/>
                    <a:pt x="194" y="223"/>
                  </a:cubicBezTo>
                  <a:cubicBezTo>
                    <a:pt x="193" y="223"/>
                    <a:pt x="192" y="223"/>
                    <a:pt x="191" y="223"/>
                  </a:cubicBezTo>
                  <a:cubicBezTo>
                    <a:pt x="190" y="223"/>
                    <a:pt x="190" y="223"/>
                    <a:pt x="189" y="223"/>
                  </a:cubicBezTo>
                  <a:cubicBezTo>
                    <a:pt x="188" y="223"/>
                    <a:pt x="187" y="222"/>
                    <a:pt x="187" y="222"/>
                  </a:cubicBezTo>
                  <a:cubicBezTo>
                    <a:pt x="186" y="222"/>
                    <a:pt x="185" y="222"/>
                    <a:pt x="185" y="222"/>
                  </a:cubicBezTo>
                  <a:cubicBezTo>
                    <a:pt x="184" y="223"/>
                    <a:pt x="185" y="225"/>
                    <a:pt x="185" y="226"/>
                  </a:cubicBezTo>
                  <a:cubicBezTo>
                    <a:pt x="185" y="228"/>
                    <a:pt x="186" y="229"/>
                    <a:pt x="187" y="231"/>
                  </a:cubicBezTo>
                  <a:cubicBezTo>
                    <a:pt x="187" y="232"/>
                    <a:pt x="187" y="233"/>
                    <a:pt x="188" y="233"/>
                  </a:cubicBezTo>
                  <a:cubicBezTo>
                    <a:pt x="188" y="234"/>
                    <a:pt x="188" y="235"/>
                    <a:pt x="188" y="235"/>
                  </a:cubicBezTo>
                  <a:cubicBezTo>
                    <a:pt x="189" y="236"/>
                    <a:pt x="189" y="237"/>
                    <a:pt x="189" y="238"/>
                  </a:cubicBezTo>
                  <a:cubicBezTo>
                    <a:pt x="190" y="239"/>
                    <a:pt x="191" y="239"/>
                    <a:pt x="190" y="240"/>
                  </a:cubicBezTo>
                  <a:cubicBezTo>
                    <a:pt x="189" y="240"/>
                    <a:pt x="189" y="240"/>
                    <a:pt x="189" y="240"/>
                  </a:cubicBezTo>
                  <a:cubicBezTo>
                    <a:pt x="189" y="241"/>
                    <a:pt x="189" y="241"/>
                    <a:pt x="189" y="241"/>
                  </a:cubicBezTo>
                  <a:cubicBezTo>
                    <a:pt x="189" y="242"/>
                    <a:pt x="189" y="242"/>
                    <a:pt x="190" y="243"/>
                  </a:cubicBezTo>
                  <a:cubicBezTo>
                    <a:pt x="190" y="243"/>
                    <a:pt x="190" y="243"/>
                    <a:pt x="190" y="244"/>
                  </a:cubicBezTo>
                  <a:cubicBezTo>
                    <a:pt x="191" y="244"/>
                    <a:pt x="191" y="245"/>
                    <a:pt x="192" y="245"/>
                  </a:cubicBezTo>
                  <a:cubicBezTo>
                    <a:pt x="192" y="246"/>
                    <a:pt x="194" y="246"/>
                    <a:pt x="194" y="247"/>
                  </a:cubicBezTo>
                  <a:cubicBezTo>
                    <a:pt x="195" y="249"/>
                    <a:pt x="195" y="249"/>
                    <a:pt x="195" y="250"/>
                  </a:cubicBezTo>
                  <a:cubicBezTo>
                    <a:pt x="196" y="251"/>
                    <a:pt x="197" y="251"/>
                    <a:pt x="198" y="251"/>
                  </a:cubicBezTo>
                  <a:cubicBezTo>
                    <a:pt x="199" y="252"/>
                    <a:pt x="199" y="252"/>
                    <a:pt x="200" y="252"/>
                  </a:cubicBezTo>
                  <a:cubicBezTo>
                    <a:pt x="200" y="252"/>
                    <a:pt x="201" y="251"/>
                    <a:pt x="201" y="251"/>
                  </a:cubicBezTo>
                  <a:cubicBezTo>
                    <a:pt x="202" y="250"/>
                    <a:pt x="203" y="249"/>
                    <a:pt x="204" y="249"/>
                  </a:cubicBezTo>
                  <a:cubicBezTo>
                    <a:pt x="205" y="248"/>
                    <a:pt x="206" y="249"/>
                    <a:pt x="207" y="249"/>
                  </a:cubicBezTo>
                  <a:cubicBezTo>
                    <a:pt x="208" y="249"/>
                    <a:pt x="209" y="249"/>
                    <a:pt x="210" y="250"/>
                  </a:cubicBezTo>
                  <a:cubicBezTo>
                    <a:pt x="211" y="250"/>
                    <a:pt x="212" y="249"/>
                    <a:pt x="212" y="249"/>
                  </a:cubicBezTo>
                  <a:cubicBezTo>
                    <a:pt x="213" y="249"/>
                    <a:pt x="214" y="250"/>
                    <a:pt x="215" y="249"/>
                  </a:cubicBezTo>
                  <a:cubicBezTo>
                    <a:pt x="216" y="249"/>
                    <a:pt x="216" y="248"/>
                    <a:pt x="217" y="247"/>
                  </a:cubicBezTo>
                  <a:cubicBezTo>
                    <a:pt x="218" y="246"/>
                    <a:pt x="219" y="246"/>
                    <a:pt x="220" y="245"/>
                  </a:cubicBezTo>
                  <a:cubicBezTo>
                    <a:pt x="220" y="244"/>
                    <a:pt x="220" y="244"/>
                    <a:pt x="221" y="244"/>
                  </a:cubicBezTo>
                  <a:cubicBezTo>
                    <a:pt x="221" y="243"/>
                    <a:pt x="221" y="243"/>
                    <a:pt x="222" y="242"/>
                  </a:cubicBezTo>
                  <a:cubicBezTo>
                    <a:pt x="222" y="242"/>
                    <a:pt x="223" y="240"/>
                    <a:pt x="223" y="240"/>
                  </a:cubicBezTo>
                  <a:cubicBezTo>
                    <a:pt x="224" y="240"/>
                    <a:pt x="224" y="240"/>
                    <a:pt x="224" y="240"/>
                  </a:cubicBezTo>
                  <a:cubicBezTo>
                    <a:pt x="224" y="239"/>
                    <a:pt x="224" y="239"/>
                    <a:pt x="224" y="239"/>
                  </a:cubicBezTo>
                  <a:cubicBezTo>
                    <a:pt x="223" y="238"/>
                    <a:pt x="223" y="239"/>
                    <a:pt x="222" y="239"/>
                  </a:cubicBezTo>
                  <a:cubicBezTo>
                    <a:pt x="222" y="239"/>
                    <a:pt x="221" y="238"/>
                    <a:pt x="220" y="238"/>
                  </a:cubicBezTo>
                  <a:cubicBezTo>
                    <a:pt x="220" y="238"/>
                    <a:pt x="220" y="237"/>
                    <a:pt x="220" y="236"/>
                  </a:cubicBezTo>
                  <a:cubicBezTo>
                    <a:pt x="221" y="237"/>
                    <a:pt x="221" y="238"/>
                    <a:pt x="222" y="238"/>
                  </a:cubicBezTo>
                  <a:cubicBezTo>
                    <a:pt x="223" y="238"/>
                    <a:pt x="223" y="238"/>
                    <a:pt x="223" y="238"/>
                  </a:cubicBezTo>
                  <a:cubicBezTo>
                    <a:pt x="224" y="237"/>
                    <a:pt x="224" y="237"/>
                    <a:pt x="224" y="237"/>
                  </a:cubicBezTo>
                  <a:cubicBezTo>
                    <a:pt x="224" y="237"/>
                    <a:pt x="224" y="237"/>
                    <a:pt x="224" y="237"/>
                  </a:cubicBezTo>
                  <a:cubicBezTo>
                    <a:pt x="225" y="237"/>
                    <a:pt x="226" y="237"/>
                    <a:pt x="227" y="237"/>
                  </a:cubicBezTo>
                  <a:cubicBezTo>
                    <a:pt x="227" y="237"/>
                    <a:pt x="228" y="236"/>
                    <a:pt x="228" y="235"/>
                  </a:cubicBezTo>
                  <a:cubicBezTo>
                    <a:pt x="228" y="234"/>
                    <a:pt x="228" y="234"/>
                    <a:pt x="227" y="233"/>
                  </a:cubicBezTo>
                  <a:cubicBezTo>
                    <a:pt x="227" y="233"/>
                    <a:pt x="226" y="233"/>
                    <a:pt x="226" y="232"/>
                  </a:cubicBezTo>
                  <a:cubicBezTo>
                    <a:pt x="225" y="232"/>
                    <a:pt x="225" y="232"/>
                    <a:pt x="225" y="231"/>
                  </a:cubicBezTo>
                  <a:cubicBezTo>
                    <a:pt x="225" y="230"/>
                    <a:pt x="225" y="230"/>
                    <a:pt x="225" y="229"/>
                  </a:cubicBezTo>
                  <a:cubicBezTo>
                    <a:pt x="225" y="228"/>
                    <a:pt x="224" y="227"/>
                    <a:pt x="224" y="226"/>
                  </a:cubicBezTo>
                  <a:cubicBezTo>
                    <a:pt x="224" y="225"/>
                    <a:pt x="225" y="223"/>
                    <a:pt x="225" y="222"/>
                  </a:cubicBezTo>
                  <a:cubicBezTo>
                    <a:pt x="224" y="221"/>
                    <a:pt x="224" y="221"/>
                    <a:pt x="223" y="220"/>
                  </a:cubicBezTo>
                  <a:cubicBezTo>
                    <a:pt x="222" y="220"/>
                    <a:pt x="221" y="220"/>
                    <a:pt x="221" y="219"/>
                  </a:cubicBezTo>
                  <a:cubicBezTo>
                    <a:pt x="221" y="219"/>
                    <a:pt x="221" y="219"/>
                    <a:pt x="222" y="219"/>
                  </a:cubicBezTo>
                  <a:cubicBezTo>
                    <a:pt x="223" y="219"/>
                    <a:pt x="224" y="220"/>
                    <a:pt x="225" y="220"/>
                  </a:cubicBezTo>
                  <a:cubicBezTo>
                    <a:pt x="226" y="220"/>
                    <a:pt x="226" y="220"/>
                    <a:pt x="227" y="219"/>
                  </a:cubicBezTo>
                  <a:cubicBezTo>
                    <a:pt x="227" y="219"/>
                    <a:pt x="227" y="218"/>
                    <a:pt x="228" y="218"/>
                  </a:cubicBezTo>
                  <a:cubicBezTo>
                    <a:pt x="228" y="219"/>
                    <a:pt x="227" y="220"/>
                    <a:pt x="226" y="221"/>
                  </a:cubicBezTo>
                  <a:cubicBezTo>
                    <a:pt x="226" y="222"/>
                    <a:pt x="226" y="222"/>
                    <a:pt x="226" y="223"/>
                  </a:cubicBezTo>
                  <a:cubicBezTo>
                    <a:pt x="226" y="223"/>
                    <a:pt x="226" y="224"/>
                    <a:pt x="226" y="224"/>
                  </a:cubicBezTo>
                  <a:cubicBezTo>
                    <a:pt x="225" y="226"/>
                    <a:pt x="226" y="225"/>
                    <a:pt x="227" y="225"/>
                  </a:cubicBezTo>
                  <a:cubicBezTo>
                    <a:pt x="229" y="224"/>
                    <a:pt x="230" y="222"/>
                    <a:pt x="232" y="221"/>
                  </a:cubicBezTo>
                  <a:cubicBezTo>
                    <a:pt x="233" y="220"/>
                    <a:pt x="234" y="220"/>
                    <a:pt x="235" y="219"/>
                  </a:cubicBezTo>
                  <a:cubicBezTo>
                    <a:pt x="235" y="219"/>
                    <a:pt x="236" y="218"/>
                    <a:pt x="236" y="218"/>
                  </a:cubicBezTo>
                  <a:cubicBezTo>
                    <a:pt x="237" y="217"/>
                    <a:pt x="237" y="216"/>
                    <a:pt x="236" y="215"/>
                  </a:cubicBezTo>
                  <a:cubicBezTo>
                    <a:pt x="236" y="214"/>
                    <a:pt x="235" y="213"/>
                    <a:pt x="234" y="212"/>
                  </a:cubicBezTo>
                  <a:cubicBezTo>
                    <a:pt x="233" y="211"/>
                    <a:pt x="231" y="211"/>
                    <a:pt x="230" y="211"/>
                  </a:cubicBezTo>
                  <a:cubicBezTo>
                    <a:pt x="229" y="211"/>
                    <a:pt x="229" y="210"/>
                    <a:pt x="228" y="210"/>
                  </a:cubicBezTo>
                  <a:cubicBezTo>
                    <a:pt x="227" y="210"/>
                    <a:pt x="226" y="209"/>
                    <a:pt x="226" y="208"/>
                  </a:cubicBezTo>
                  <a:cubicBezTo>
                    <a:pt x="225" y="208"/>
                    <a:pt x="226" y="207"/>
                    <a:pt x="225" y="206"/>
                  </a:cubicBezTo>
                  <a:cubicBezTo>
                    <a:pt x="225" y="206"/>
                    <a:pt x="225" y="206"/>
                    <a:pt x="225" y="205"/>
                  </a:cubicBezTo>
                  <a:cubicBezTo>
                    <a:pt x="225" y="205"/>
                    <a:pt x="225" y="205"/>
                    <a:pt x="225" y="205"/>
                  </a:cubicBezTo>
                  <a:cubicBezTo>
                    <a:pt x="227" y="205"/>
                    <a:pt x="226" y="206"/>
                    <a:pt x="226" y="207"/>
                  </a:cubicBezTo>
                  <a:cubicBezTo>
                    <a:pt x="227" y="208"/>
                    <a:pt x="229" y="210"/>
                    <a:pt x="230" y="210"/>
                  </a:cubicBezTo>
                  <a:cubicBezTo>
                    <a:pt x="231" y="210"/>
                    <a:pt x="232" y="210"/>
                    <a:pt x="232" y="209"/>
                  </a:cubicBezTo>
                  <a:cubicBezTo>
                    <a:pt x="232" y="208"/>
                    <a:pt x="231" y="208"/>
                    <a:pt x="231" y="207"/>
                  </a:cubicBezTo>
                  <a:cubicBezTo>
                    <a:pt x="231" y="206"/>
                    <a:pt x="231" y="206"/>
                    <a:pt x="231" y="205"/>
                  </a:cubicBezTo>
                  <a:cubicBezTo>
                    <a:pt x="232" y="204"/>
                    <a:pt x="232" y="205"/>
                    <a:pt x="232" y="206"/>
                  </a:cubicBezTo>
                  <a:cubicBezTo>
                    <a:pt x="233" y="206"/>
                    <a:pt x="233" y="206"/>
                    <a:pt x="233" y="207"/>
                  </a:cubicBezTo>
                  <a:cubicBezTo>
                    <a:pt x="233" y="207"/>
                    <a:pt x="233" y="209"/>
                    <a:pt x="234" y="209"/>
                  </a:cubicBezTo>
                  <a:cubicBezTo>
                    <a:pt x="234" y="210"/>
                    <a:pt x="236" y="209"/>
                    <a:pt x="236" y="209"/>
                  </a:cubicBezTo>
                  <a:cubicBezTo>
                    <a:pt x="237" y="209"/>
                    <a:pt x="238" y="209"/>
                    <a:pt x="239" y="209"/>
                  </a:cubicBezTo>
                  <a:cubicBezTo>
                    <a:pt x="240" y="208"/>
                    <a:pt x="240" y="208"/>
                    <a:pt x="241" y="207"/>
                  </a:cubicBezTo>
                  <a:cubicBezTo>
                    <a:pt x="241" y="206"/>
                    <a:pt x="241" y="205"/>
                    <a:pt x="241" y="204"/>
                  </a:cubicBezTo>
                  <a:cubicBezTo>
                    <a:pt x="241" y="203"/>
                    <a:pt x="241" y="202"/>
                    <a:pt x="241" y="201"/>
                  </a:cubicBezTo>
                  <a:cubicBezTo>
                    <a:pt x="241" y="200"/>
                    <a:pt x="240" y="199"/>
                    <a:pt x="240" y="198"/>
                  </a:cubicBezTo>
                  <a:cubicBezTo>
                    <a:pt x="240" y="197"/>
                    <a:pt x="241" y="197"/>
                    <a:pt x="242" y="196"/>
                  </a:cubicBezTo>
                  <a:cubicBezTo>
                    <a:pt x="242" y="195"/>
                    <a:pt x="242" y="195"/>
                    <a:pt x="241" y="194"/>
                  </a:cubicBezTo>
                  <a:cubicBezTo>
                    <a:pt x="241" y="194"/>
                    <a:pt x="240" y="192"/>
                    <a:pt x="240" y="192"/>
                  </a:cubicBezTo>
                  <a:cubicBezTo>
                    <a:pt x="240" y="191"/>
                    <a:pt x="241" y="190"/>
                    <a:pt x="242" y="190"/>
                  </a:cubicBezTo>
                  <a:cubicBezTo>
                    <a:pt x="243" y="189"/>
                    <a:pt x="243" y="188"/>
                    <a:pt x="244" y="187"/>
                  </a:cubicBezTo>
                  <a:cubicBezTo>
                    <a:pt x="244" y="187"/>
                    <a:pt x="245" y="186"/>
                    <a:pt x="245" y="185"/>
                  </a:cubicBezTo>
                  <a:cubicBezTo>
                    <a:pt x="246" y="185"/>
                    <a:pt x="247" y="185"/>
                    <a:pt x="248" y="185"/>
                  </a:cubicBezTo>
                  <a:cubicBezTo>
                    <a:pt x="249" y="185"/>
                    <a:pt x="249" y="185"/>
                    <a:pt x="249" y="185"/>
                  </a:cubicBezTo>
                  <a:cubicBezTo>
                    <a:pt x="249" y="184"/>
                    <a:pt x="249" y="184"/>
                    <a:pt x="249" y="184"/>
                  </a:cubicBezTo>
                  <a:cubicBezTo>
                    <a:pt x="249" y="183"/>
                    <a:pt x="250" y="183"/>
                    <a:pt x="250" y="183"/>
                  </a:cubicBezTo>
                  <a:cubicBezTo>
                    <a:pt x="250" y="182"/>
                    <a:pt x="250" y="180"/>
                    <a:pt x="251" y="180"/>
                  </a:cubicBezTo>
                  <a:cubicBezTo>
                    <a:pt x="252" y="180"/>
                    <a:pt x="252" y="180"/>
                    <a:pt x="252" y="181"/>
                  </a:cubicBezTo>
                  <a:cubicBezTo>
                    <a:pt x="252" y="182"/>
                    <a:pt x="253" y="182"/>
                    <a:pt x="253" y="183"/>
                  </a:cubicBezTo>
                  <a:cubicBezTo>
                    <a:pt x="253" y="184"/>
                    <a:pt x="253" y="185"/>
                    <a:pt x="254" y="186"/>
                  </a:cubicBezTo>
                  <a:cubicBezTo>
                    <a:pt x="254" y="187"/>
                    <a:pt x="255" y="188"/>
                    <a:pt x="255" y="189"/>
                  </a:cubicBezTo>
                  <a:cubicBezTo>
                    <a:pt x="254" y="189"/>
                    <a:pt x="254" y="189"/>
                    <a:pt x="254" y="189"/>
                  </a:cubicBezTo>
                  <a:cubicBezTo>
                    <a:pt x="254" y="188"/>
                    <a:pt x="254" y="188"/>
                    <a:pt x="254" y="188"/>
                  </a:cubicBezTo>
                  <a:cubicBezTo>
                    <a:pt x="254" y="187"/>
                    <a:pt x="254" y="187"/>
                    <a:pt x="254" y="187"/>
                  </a:cubicBezTo>
                  <a:cubicBezTo>
                    <a:pt x="253" y="187"/>
                    <a:pt x="253" y="187"/>
                    <a:pt x="252" y="186"/>
                  </a:cubicBezTo>
                  <a:cubicBezTo>
                    <a:pt x="252" y="185"/>
                    <a:pt x="251" y="185"/>
                    <a:pt x="251" y="186"/>
                  </a:cubicBezTo>
                  <a:cubicBezTo>
                    <a:pt x="251" y="187"/>
                    <a:pt x="251" y="188"/>
                    <a:pt x="251" y="189"/>
                  </a:cubicBezTo>
                  <a:cubicBezTo>
                    <a:pt x="251" y="189"/>
                    <a:pt x="250" y="190"/>
                    <a:pt x="250" y="190"/>
                  </a:cubicBezTo>
                  <a:cubicBezTo>
                    <a:pt x="249" y="191"/>
                    <a:pt x="248" y="190"/>
                    <a:pt x="248" y="190"/>
                  </a:cubicBezTo>
                  <a:cubicBezTo>
                    <a:pt x="247" y="191"/>
                    <a:pt x="249" y="194"/>
                    <a:pt x="247" y="194"/>
                  </a:cubicBezTo>
                  <a:cubicBezTo>
                    <a:pt x="247" y="195"/>
                    <a:pt x="245" y="193"/>
                    <a:pt x="244" y="195"/>
                  </a:cubicBezTo>
                  <a:cubicBezTo>
                    <a:pt x="244" y="195"/>
                    <a:pt x="244" y="195"/>
                    <a:pt x="244" y="195"/>
                  </a:cubicBezTo>
                  <a:cubicBezTo>
                    <a:pt x="244" y="197"/>
                    <a:pt x="244" y="197"/>
                    <a:pt x="244" y="197"/>
                  </a:cubicBezTo>
                  <a:cubicBezTo>
                    <a:pt x="244" y="197"/>
                    <a:pt x="243" y="197"/>
                    <a:pt x="242" y="198"/>
                  </a:cubicBezTo>
                  <a:cubicBezTo>
                    <a:pt x="242" y="198"/>
                    <a:pt x="242" y="199"/>
                    <a:pt x="242" y="199"/>
                  </a:cubicBezTo>
                  <a:cubicBezTo>
                    <a:pt x="242" y="200"/>
                    <a:pt x="242" y="201"/>
                    <a:pt x="242" y="201"/>
                  </a:cubicBezTo>
                  <a:cubicBezTo>
                    <a:pt x="242" y="203"/>
                    <a:pt x="242" y="204"/>
                    <a:pt x="242" y="205"/>
                  </a:cubicBezTo>
                  <a:cubicBezTo>
                    <a:pt x="243" y="206"/>
                    <a:pt x="243" y="207"/>
                    <a:pt x="243" y="208"/>
                  </a:cubicBezTo>
                  <a:cubicBezTo>
                    <a:pt x="243" y="209"/>
                    <a:pt x="243" y="210"/>
                    <a:pt x="242" y="210"/>
                  </a:cubicBezTo>
                  <a:cubicBezTo>
                    <a:pt x="242" y="210"/>
                    <a:pt x="241" y="210"/>
                    <a:pt x="240" y="211"/>
                  </a:cubicBezTo>
                  <a:cubicBezTo>
                    <a:pt x="240" y="211"/>
                    <a:pt x="240" y="212"/>
                    <a:pt x="239" y="212"/>
                  </a:cubicBezTo>
                  <a:cubicBezTo>
                    <a:pt x="239" y="213"/>
                    <a:pt x="239" y="213"/>
                    <a:pt x="239" y="213"/>
                  </a:cubicBezTo>
                  <a:cubicBezTo>
                    <a:pt x="239" y="214"/>
                    <a:pt x="240" y="214"/>
                    <a:pt x="240" y="215"/>
                  </a:cubicBezTo>
                  <a:cubicBezTo>
                    <a:pt x="241" y="217"/>
                    <a:pt x="243" y="218"/>
                    <a:pt x="244" y="220"/>
                  </a:cubicBezTo>
                  <a:cubicBezTo>
                    <a:pt x="244" y="221"/>
                    <a:pt x="243" y="222"/>
                    <a:pt x="243" y="223"/>
                  </a:cubicBezTo>
                  <a:cubicBezTo>
                    <a:pt x="243" y="223"/>
                    <a:pt x="243" y="225"/>
                    <a:pt x="243" y="225"/>
                  </a:cubicBezTo>
                  <a:cubicBezTo>
                    <a:pt x="244" y="225"/>
                    <a:pt x="245" y="224"/>
                    <a:pt x="246" y="223"/>
                  </a:cubicBezTo>
                  <a:cubicBezTo>
                    <a:pt x="246" y="223"/>
                    <a:pt x="247" y="223"/>
                    <a:pt x="247" y="224"/>
                  </a:cubicBezTo>
                  <a:cubicBezTo>
                    <a:pt x="248" y="225"/>
                    <a:pt x="248" y="226"/>
                    <a:pt x="249" y="226"/>
                  </a:cubicBezTo>
                  <a:cubicBezTo>
                    <a:pt x="249" y="227"/>
                    <a:pt x="250" y="227"/>
                    <a:pt x="251" y="227"/>
                  </a:cubicBezTo>
                  <a:cubicBezTo>
                    <a:pt x="250" y="226"/>
                    <a:pt x="250" y="225"/>
                    <a:pt x="250" y="225"/>
                  </a:cubicBezTo>
                  <a:cubicBezTo>
                    <a:pt x="249" y="224"/>
                    <a:pt x="248" y="223"/>
                    <a:pt x="249" y="222"/>
                  </a:cubicBezTo>
                  <a:cubicBezTo>
                    <a:pt x="249" y="220"/>
                    <a:pt x="250" y="219"/>
                    <a:pt x="251" y="217"/>
                  </a:cubicBezTo>
                  <a:cubicBezTo>
                    <a:pt x="252" y="218"/>
                    <a:pt x="252" y="220"/>
                    <a:pt x="252" y="221"/>
                  </a:cubicBezTo>
                  <a:cubicBezTo>
                    <a:pt x="252" y="222"/>
                    <a:pt x="252" y="222"/>
                    <a:pt x="253" y="223"/>
                  </a:cubicBezTo>
                  <a:cubicBezTo>
                    <a:pt x="253" y="224"/>
                    <a:pt x="254" y="225"/>
                    <a:pt x="255" y="225"/>
                  </a:cubicBezTo>
                  <a:cubicBezTo>
                    <a:pt x="255" y="226"/>
                    <a:pt x="256" y="227"/>
                    <a:pt x="256" y="227"/>
                  </a:cubicBezTo>
                  <a:cubicBezTo>
                    <a:pt x="257" y="228"/>
                    <a:pt x="257" y="229"/>
                    <a:pt x="257" y="230"/>
                  </a:cubicBezTo>
                  <a:cubicBezTo>
                    <a:pt x="258" y="230"/>
                    <a:pt x="257" y="231"/>
                    <a:pt x="257" y="231"/>
                  </a:cubicBezTo>
                  <a:cubicBezTo>
                    <a:pt x="257" y="231"/>
                    <a:pt x="257" y="232"/>
                    <a:pt x="257" y="232"/>
                  </a:cubicBezTo>
                  <a:cubicBezTo>
                    <a:pt x="257" y="233"/>
                    <a:pt x="258" y="234"/>
                    <a:pt x="258" y="235"/>
                  </a:cubicBezTo>
                  <a:cubicBezTo>
                    <a:pt x="259" y="236"/>
                    <a:pt x="259" y="236"/>
                    <a:pt x="259" y="236"/>
                  </a:cubicBezTo>
                  <a:cubicBezTo>
                    <a:pt x="260" y="235"/>
                    <a:pt x="260" y="235"/>
                    <a:pt x="260" y="235"/>
                  </a:cubicBezTo>
                  <a:cubicBezTo>
                    <a:pt x="260" y="235"/>
                    <a:pt x="261" y="235"/>
                    <a:pt x="261" y="235"/>
                  </a:cubicBezTo>
                  <a:cubicBezTo>
                    <a:pt x="262" y="235"/>
                    <a:pt x="262" y="235"/>
                    <a:pt x="262" y="235"/>
                  </a:cubicBezTo>
                  <a:cubicBezTo>
                    <a:pt x="263" y="236"/>
                    <a:pt x="263" y="235"/>
                    <a:pt x="264" y="234"/>
                  </a:cubicBezTo>
                  <a:cubicBezTo>
                    <a:pt x="264" y="233"/>
                    <a:pt x="263" y="234"/>
                    <a:pt x="262" y="234"/>
                  </a:cubicBezTo>
                  <a:cubicBezTo>
                    <a:pt x="261" y="233"/>
                    <a:pt x="264" y="232"/>
                    <a:pt x="264" y="232"/>
                  </a:cubicBezTo>
                  <a:cubicBezTo>
                    <a:pt x="264" y="232"/>
                    <a:pt x="264" y="233"/>
                    <a:pt x="265" y="233"/>
                  </a:cubicBezTo>
                  <a:cubicBezTo>
                    <a:pt x="265" y="234"/>
                    <a:pt x="266" y="234"/>
                    <a:pt x="266" y="234"/>
                  </a:cubicBezTo>
                  <a:cubicBezTo>
                    <a:pt x="267" y="234"/>
                    <a:pt x="268" y="233"/>
                    <a:pt x="268" y="232"/>
                  </a:cubicBezTo>
                  <a:cubicBezTo>
                    <a:pt x="268" y="231"/>
                    <a:pt x="268" y="230"/>
                    <a:pt x="268" y="230"/>
                  </a:cubicBezTo>
                  <a:cubicBezTo>
                    <a:pt x="269" y="230"/>
                    <a:pt x="270" y="229"/>
                    <a:pt x="271" y="230"/>
                  </a:cubicBezTo>
                  <a:cubicBezTo>
                    <a:pt x="271" y="230"/>
                    <a:pt x="272" y="231"/>
                    <a:pt x="272" y="232"/>
                  </a:cubicBezTo>
                  <a:cubicBezTo>
                    <a:pt x="273" y="233"/>
                    <a:pt x="273" y="233"/>
                    <a:pt x="273" y="234"/>
                  </a:cubicBezTo>
                  <a:cubicBezTo>
                    <a:pt x="272" y="235"/>
                    <a:pt x="271" y="236"/>
                    <a:pt x="271" y="236"/>
                  </a:cubicBezTo>
                  <a:cubicBezTo>
                    <a:pt x="270" y="237"/>
                    <a:pt x="269" y="237"/>
                    <a:pt x="269" y="238"/>
                  </a:cubicBezTo>
                  <a:cubicBezTo>
                    <a:pt x="268" y="239"/>
                    <a:pt x="269" y="239"/>
                    <a:pt x="270" y="239"/>
                  </a:cubicBezTo>
                  <a:cubicBezTo>
                    <a:pt x="271" y="239"/>
                    <a:pt x="271" y="239"/>
                    <a:pt x="271" y="239"/>
                  </a:cubicBezTo>
                  <a:cubicBezTo>
                    <a:pt x="272" y="240"/>
                    <a:pt x="272" y="240"/>
                    <a:pt x="273" y="241"/>
                  </a:cubicBezTo>
                  <a:cubicBezTo>
                    <a:pt x="273" y="242"/>
                    <a:pt x="274" y="242"/>
                    <a:pt x="274" y="242"/>
                  </a:cubicBezTo>
                  <a:cubicBezTo>
                    <a:pt x="275" y="243"/>
                    <a:pt x="276" y="243"/>
                    <a:pt x="277" y="244"/>
                  </a:cubicBezTo>
                  <a:cubicBezTo>
                    <a:pt x="277" y="244"/>
                    <a:pt x="278" y="245"/>
                    <a:pt x="279" y="246"/>
                  </a:cubicBezTo>
                  <a:cubicBezTo>
                    <a:pt x="279" y="246"/>
                    <a:pt x="279" y="247"/>
                    <a:pt x="280" y="248"/>
                  </a:cubicBezTo>
                  <a:cubicBezTo>
                    <a:pt x="281" y="248"/>
                    <a:pt x="282" y="247"/>
                    <a:pt x="282" y="246"/>
                  </a:cubicBezTo>
                  <a:cubicBezTo>
                    <a:pt x="282" y="246"/>
                    <a:pt x="282" y="245"/>
                    <a:pt x="282" y="245"/>
                  </a:cubicBezTo>
                  <a:cubicBezTo>
                    <a:pt x="281" y="244"/>
                    <a:pt x="281" y="244"/>
                    <a:pt x="281" y="243"/>
                  </a:cubicBezTo>
                  <a:cubicBezTo>
                    <a:pt x="280" y="243"/>
                    <a:pt x="280" y="243"/>
                    <a:pt x="280" y="243"/>
                  </a:cubicBezTo>
                  <a:cubicBezTo>
                    <a:pt x="280" y="242"/>
                    <a:pt x="280" y="242"/>
                    <a:pt x="281" y="242"/>
                  </a:cubicBezTo>
                  <a:cubicBezTo>
                    <a:pt x="281" y="242"/>
                    <a:pt x="281" y="243"/>
                    <a:pt x="282" y="243"/>
                  </a:cubicBezTo>
                  <a:cubicBezTo>
                    <a:pt x="283" y="243"/>
                    <a:pt x="284" y="243"/>
                    <a:pt x="284" y="242"/>
                  </a:cubicBezTo>
                  <a:cubicBezTo>
                    <a:pt x="283" y="241"/>
                    <a:pt x="283" y="241"/>
                    <a:pt x="283" y="241"/>
                  </a:cubicBezTo>
                  <a:cubicBezTo>
                    <a:pt x="283" y="240"/>
                    <a:pt x="283" y="240"/>
                    <a:pt x="283" y="240"/>
                  </a:cubicBezTo>
                  <a:cubicBezTo>
                    <a:pt x="283" y="240"/>
                    <a:pt x="282" y="239"/>
                    <a:pt x="282" y="238"/>
                  </a:cubicBezTo>
                  <a:cubicBezTo>
                    <a:pt x="283" y="238"/>
                    <a:pt x="283" y="239"/>
                    <a:pt x="284" y="239"/>
                  </a:cubicBezTo>
                  <a:cubicBezTo>
                    <a:pt x="285" y="239"/>
                    <a:pt x="286" y="240"/>
                    <a:pt x="286" y="240"/>
                  </a:cubicBezTo>
                  <a:cubicBezTo>
                    <a:pt x="288" y="240"/>
                    <a:pt x="288" y="240"/>
                    <a:pt x="289" y="241"/>
                  </a:cubicBezTo>
                  <a:cubicBezTo>
                    <a:pt x="289" y="241"/>
                    <a:pt x="291" y="242"/>
                    <a:pt x="291" y="243"/>
                  </a:cubicBezTo>
                  <a:cubicBezTo>
                    <a:pt x="290" y="243"/>
                    <a:pt x="289" y="243"/>
                    <a:pt x="289" y="244"/>
                  </a:cubicBezTo>
                  <a:cubicBezTo>
                    <a:pt x="289" y="245"/>
                    <a:pt x="290" y="245"/>
                    <a:pt x="290" y="245"/>
                  </a:cubicBezTo>
                  <a:cubicBezTo>
                    <a:pt x="291" y="246"/>
                    <a:pt x="292" y="246"/>
                    <a:pt x="293" y="247"/>
                  </a:cubicBezTo>
                  <a:cubicBezTo>
                    <a:pt x="293" y="247"/>
                    <a:pt x="293" y="247"/>
                    <a:pt x="294" y="247"/>
                  </a:cubicBezTo>
                  <a:cubicBezTo>
                    <a:pt x="295" y="247"/>
                    <a:pt x="295" y="246"/>
                    <a:pt x="296" y="245"/>
                  </a:cubicBezTo>
                  <a:cubicBezTo>
                    <a:pt x="297" y="245"/>
                    <a:pt x="298" y="245"/>
                    <a:pt x="299" y="244"/>
                  </a:cubicBezTo>
                  <a:cubicBezTo>
                    <a:pt x="299" y="244"/>
                    <a:pt x="299" y="244"/>
                    <a:pt x="299" y="243"/>
                  </a:cubicBezTo>
                  <a:cubicBezTo>
                    <a:pt x="300" y="243"/>
                    <a:pt x="300" y="243"/>
                    <a:pt x="300" y="243"/>
                  </a:cubicBezTo>
                  <a:cubicBezTo>
                    <a:pt x="302" y="242"/>
                    <a:pt x="302" y="241"/>
                    <a:pt x="303" y="241"/>
                  </a:cubicBezTo>
                  <a:cubicBezTo>
                    <a:pt x="304" y="240"/>
                    <a:pt x="305" y="240"/>
                    <a:pt x="306" y="241"/>
                  </a:cubicBezTo>
                  <a:cubicBezTo>
                    <a:pt x="306" y="241"/>
                    <a:pt x="307" y="240"/>
                    <a:pt x="307" y="240"/>
                  </a:cubicBezTo>
                  <a:cubicBezTo>
                    <a:pt x="308" y="240"/>
                    <a:pt x="308" y="241"/>
                    <a:pt x="308" y="241"/>
                  </a:cubicBezTo>
                  <a:cubicBezTo>
                    <a:pt x="310" y="241"/>
                    <a:pt x="312" y="241"/>
                    <a:pt x="314" y="241"/>
                  </a:cubicBezTo>
                  <a:cubicBezTo>
                    <a:pt x="315" y="241"/>
                    <a:pt x="316" y="241"/>
                    <a:pt x="316" y="241"/>
                  </a:cubicBezTo>
                  <a:cubicBezTo>
                    <a:pt x="317" y="241"/>
                    <a:pt x="318" y="241"/>
                    <a:pt x="318" y="241"/>
                  </a:cubicBezTo>
                  <a:cubicBezTo>
                    <a:pt x="318" y="242"/>
                    <a:pt x="318" y="242"/>
                    <a:pt x="318" y="242"/>
                  </a:cubicBezTo>
                  <a:cubicBezTo>
                    <a:pt x="318" y="242"/>
                    <a:pt x="318" y="242"/>
                    <a:pt x="318" y="242"/>
                  </a:cubicBezTo>
                  <a:cubicBezTo>
                    <a:pt x="319" y="242"/>
                    <a:pt x="320" y="242"/>
                    <a:pt x="321" y="243"/>
                  </a:cubicBezTo>
                  <a:cubicBezTo>
                    <a:pt x="319" y="244"/>
                    <a:pt x="317" y="244"/>
                    <a:pt x="315" y="243"/>
                  </a:cubicBezTo>
                  <a:cubicBezTo>
                    <a:pt x="315" y="243"/>
                    <a:pt x="314" y="243"/>
                    <a:pt x="314" y="243"/>
                  </a:cubicBezTo>
                  <a:cubicBezTo>
                    <a:pt x="313" y="243"/>
                    <a:pt x="313" y="243"/>
                    <a:pt x="313" y="243"/>
                  </a:cubicBezTo>
                  <a:cubicBezTo>
                    <a:pt x="313" y="242"/>
                    <a:pt x="312" y="242"/>
                    <a:pt x="312" y="242"/>
                  </a:cubicBezTo>
                  <a:cubicBezTo>
                    <a:pt x="311" y="242"/>
                    <a:pt x="311" y="242"/>
                    <a:pt x="311" y="242"/>
                  </a:cubicBezTo>
                  <a:cubicBezTo>
                    <a:pt x="310" y="241"/>
                    <a:pt x="308" y="241"/>
                    <a:pt x="307" y="241"/>
                  </a:cubicBezTo>
                  <a:cubicBezTo>
                    <a:pt x="306" y="241"/>
                    <a:pt x="304" y="241"/>
                    <a:pt x="304" y="242"/>
                  </a:cubicBezTo>
                  <a:cubicBezTo>
                    <a:pt x="304" y="243"/>
                    <a:pt x="304" y="243"/>
                    <a:pt x="304" y="243"/>
                  </a:cubicBezTo>
                  <a:cubicBezTo>
                    <a:pt x="304" y="243"/>
                    <a:pt x="304" y="243"/>
                    <a:pt x="304" y="243"/>
                  </a:cubicBezTo>
                  <a:cubicBezTo>
                    <a:pt x="303" y="244"/>
                    <a:pt x="303" y="244"/>
                    <a:pt x="302" y="244"/>
                  </a:cubicBezTo>
                  <a:cubicBezTo>
                    <a:pt x="302" y="245"/>
                    <a:pt x="303" y="245"/>
                    <a:pt x="303" y="245"/>
                  </a:cubicBezTo>
                  <a:cubicBezTo>
                    <a:pt x="303" y="246"/>
                    <a:pt x="302" y="246"/>
                    <a:pt x="303" y="247"/>
                  </a:cubicBezTo>
                  <a:cubicBezTo>
                    <a:pt x="303" y="247"/>
                    <a:pt x="303" y="247"/>
                    <a:pt x="304" y="248"/>
                  </a:cubicBezTo>
                  <a:cubicBezTo>
                    <a:pt x="304" y="248"/>
                    <a:pt x="305" y="248"/>
                    <a:pt x="305" y="248"/>
                  </a:cubicBezTo>
                  <a:cubicBezTo>
                    <a:pt x="305" y="249"/>
                    <a:pt x="304" y="249"/>
                    <a:pt x="304" y="250"/>
                  </a:cubicBezTo>
                  <a:cubicBezTo>
                    <a:pt x="303" y="250"/>
                    <a:pt x="302" y="250"/>
                    <a:pt x="302" y="250"/>
                  </a:cubicBezTo>
                  <a:cubicBezTo>
                    <a:pt x="301" y="251"/>
                    <a:pt x="301" y="251"/>
                    <a:pt x="301" y="251"/>
                  </a:cubicBezTo>
                  <a:cubicBezTo>
                    <a:pt x="301" y="251"/>
                    <a:pt x="301" y="252"/>
                    <a:pt x="301" y="252"/>
                  </a:cubicBezTo>
                  <a:cubicBezTo>
                    <a:pt x="301" y="253"/>
                    <a:pt x="302" y="253"/>
                    <a:pt x="302" y="253"/>
                  </a:cubicBezTo>
                  <a:cubicBezTo>
                    <a:pt x="303" y="252"/>
                    <a:pt x="303" y="252"/>
                    <a:pt x="303" y="252"/>
                  </a:cubicBezTo>
                  <a:cubicBezTo>
                    <a:pt x="304" y="252"/>
                    <a:pt x="305" y="253"/>
                    <a:pt x="305" y="253"/>
                  </a:cubicBezTo>
                  <a:cubicBezTo>
                    <a:pt x="306" y="254"/>
                    <a:pt x="306" y="255"/>
                    <a:pt x="306" y="256"/>
                  </a:cubicBezTo>
                  <a:cubicBezTo>
                    <a:pt x="305" y="257"/>
                    <a:pt x="306" y="257"/>
                    <a:pt x="307" y="257"/>
                  </a:cubicBezTo>
                  <a:cubicBezTo>
                    <a:pt x="308" y="258"/>
                    <a:pt x="308" y="258"/>
                    <a:pt x="309" y="259"/>
                  </a:cubicBezTo>
                  <a:cubicBezTo>
                    <a:pt x="310" y="260"/>
                    <a:pt x="312" y="259"/>
                    <a:pt x="314" y="260"/>
                  </a:cubicBezTo>
                  <a:cubicBezTo>
                    <a:pt x="314" y="260"/>
                    <a:pt x="315" y="260"/>
                    <a:pt x="315" y="261"/>
                  </a:cubicBezTo>
                  <a:cubicBezTo>
                    <a:pt x="320" y="255"/>
                    <a:pt x="320" y="255"/>
                    <a:pt x="320" y="255"/>
                  </a:cubicBezTo>
                  <a:lnTo>
                    <a:pt x="339" y="22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9" name="Freeform 11">
              <a:extLst>
                <a:ext uri="{FF2B5EF4-FFF2-40B4-BE49-F238E27FC236}">
                  <a16:creationId xmlns:a16="http://schemas.microsoft.com/office/drawing/2014/main" id="{0AEFDC04-2D79-262A-02BE-3C723C6E7774}"/>
                </a:ext>
              </a:extLst>
            </p:cNvPr>
            <p:cNvSpPr>
              <a:spLocks noEditPoints="1"/>
            </p:cNvSpPr>
            <p:nvPr/>
          </p:nvSpPr>
          <p:spPr bwMode="auto">
            <a:xfrm>
              <a:off x="5451475" y="5718175"/>
              <a:ext cx="796925" cy="239712"/>
            </a:xfrm>
            <a:custGeom>
              <a:avLst/>
              <a:gdLst>
                <a:gd name="T0" fmla="*/ 51 w 209"/>
                <a:gd name="T1" fmla="*/ 32 h 63"/>
                <a:gd name="T2" fmla="*/ 42 w 209"/>
                <a:gd name="T3" fmla="*/ 48 h 63"/>
                <a:gd name="T4" fmla="*/ 42 w 209"/>
                <a:gd name="T5" fmla="*/ 51 h 63"/>
                <a:gd name="T6" fmla="*/ 36 w 209"/>
                <a:gd name="T7" fmla="*/ 49 h 63"/>
                <a:gd name="T8" fmla="*/ 30 w 209"/>
                <a:gd name="T9" fmla="*/ 51 h 63"/>
                <a:gd name="T10" fmla="*/ 21 w 209"/>
                <a:gd name="T11" fmla="*/ 49 h 63"/>
                <a:gd name="T12" fmla="*/ 13 w 209"/>
                <a:gd name="T13" fmla="*/ 49 h 63"/>
                <a:gd name="T14" fmla="*/ 1 w 209"/>
                <a:gd name="T15" fmla="*/ 44 h 63"/>
                <a:gd name="T16" fmla="*/ 11 w 209"/>
                <a:gd name="T17" fmla="*/ 41 h 63"/>
                <a:gd name="T18" fmla="*/ 16 w 209"/>
                <a:gd name="T19" fmla="*/ 28 h 63"/>
                <a:gd name="T20" fmla="*/ 19 w 209"/>
                <a:gd name="T21" fmla="*/ 17 h 63"/>
                <a:gd name="T22" fmla="*/ 43 w 209"/>
                <a:gd name="T23" fmla="*/ 10 h 63"/>
                <a:gd name="T24" fmla="*/ 57 w 209"/>
                <a:gd name="T25" fmla="*/ 18 h 63"/>
                <a:gd name="T26" fmla="*/ 181 w 209"/>
                <a:gd name="T27" fmla="*/ 43 h 63"/>
                <a:gd name="T28" fmla="*/ 182 w 209"/>
                <a:gd name="T29" fmla="*/ 38 h 63"/>
                <a:gd name="T30" fmla="*/ 192 w 209"/>
                <a:gd name="T31" fmla="*/ 37 h 63"/>
                <a:gd name="T32" fmla="*/ 203 w 209"/>
                <a:gd name="T33" fmla="*/ 41 h 63"/>
                <a:gd name="T34" fmla="*/ 207 w 209"/>
                <a:gd name="T35" fmla="*/ 34 h 63"/>
                <a:gd name="T36" fmla="*/ 203 w 209"/>
                <a:gd name="T37" fmla="*/ 35 h 63"/>
                <a:gd name="T38" fmla="*/ 199 w 209"/>
                <a:gd name="T39" fmla="*/ 26 h 63"/>
                <a:gd name="T40" fmla="*/ 196 w 209"/>
                <a:gd name="T41" fmla="*/ 14 h 63"/>
                <a:gd name="T42" fmla="*/ 181 w 209"/>
                <a:gd name="T43" fmla="*/ 16 h 63"/>
                <a:gd name="T44" fmla="*/ 176 w 209"/>
                <a:gd name="T45" fmla="*/ 27 h 63"/>
                <a:gd name="T46" fmla="*/ 174 w 209"/>
                <a:gd name="T47" fmla="*/ 12 h 63"/>
                <a:gd name="T48" fmla="*/ 162 w 209"/>
                <a:gd name="T49" fmla="*/ 12 h 63"/>
                <a:gd name="T50" fmla="*/ 146 w 209"/>
                <a:gd name="T51" fmla="*/ 10 h 63"/>
                <a:gd name="T52" fmla="*/ 139 w 209"/>
                <a:gd name="T53" fmla="*/ 1 h 63"/>
                <a:gd name="T54" fmla="*/ 125 w 209"/>
                <a:gd name="T55" fmla="*/ 2 h 63"/>
                <a:gd name="T56" fmla="*/ 122 w 209"/>
                <a:gd name="T57" fmla="*/ 14 h 63"/>
                <a:gd name="T58" fmla="*/ 147 w 209"/>
                <a:gd name="T59" fmla="*/ 28 h 63"/>
                <a:gd name="T60" fmla="*/ 141 w 209"/>
                <a:gd name="T61" fmla="*/ 36 h 63"/>
                <a:gd name="T62" fmla="*/ 130 w 209"/>
                <a:gd name="T63" fmla="*/ 40 h 63"/>
                <a:gd name="T64" fmla="*/ 120 w 209"/>
                <a:gd name="T65" fmla="*/ 35 h 63"/>
                <a:gd name="T66" fmla="*/ 112 w 209"/>
                <a:gd name="T67" fmla="*/ 26 h 63"/>
                <a:gd name="T68" fmla="*/ 108 w 209"/>
                <a:gd name="T69" fmla="*/ 22 h 63"/>
                <a:gd name="T70" fmla="*/ 93 w 209"/>
                <a:gd name="T71" fmla="*/ 22 h 63"/>
                <a:gd name="T72" fmla="*/ 75 w 209"/>
                <a:gd name="T73" fmla="*/ 23 h 63"/>
                <a:gd name="T74" fmla="*/ 63 w 209"/>
                <a:gd name="T75" fmla="*/ 29 h 63"/>
                <a:gd name="T76" fmla="*/ 60 w 209"/>
                <a:gd name="T77" fmla="*/ 39 h 63"/>
                <a:gd name="T78" fmla="*/ 58 w 209"/>
                <a:gd name="T79" fmla="*/ 48 h 63"/>
                <a:gd name="T80" fmla="*/ 57 w 209"/>
                <a:gd name="T81" fmla="*/ 57 h 63"/>
                <a:gd name="T82" fmla="*/ 74 w 209"/>
                <a:gd name="T83" fmla="*/ 63 h 63"/>
                <a:gd name="T84" fmla="*/ 93 w 209"/>
                <a:gd name="T85" fmla="*/ 60 h 63"/>
                <a:gd name="T86" fmla="*/ 117 w 209"/>
                <a:gd name="T87" fmla="*/ 52 h 63"/>
                <a:gd name="T88" fmla="*/ 128 w 209"/>
                <a:gd name="T89" fmla="*/ 53 h 63"/>
                <a:gd name="T90" fmla="*/ 139 w 209"/>
                <a:gd name="T91" fmla="*/ 47 h 63"/>
                <a:gd name="T92" fmla="*/ 151 w 209"/>
                <a:gd name="T93" fmla="*/ 43 h 63"/>
                <a:gd name="T94" fmla="*/ 160 w 209"/>
                <a:gd name="T95" fmla="*/ 32 h 63"/>
                <a:gd name="T96" fmla="*/ 159 w 209"/>
                <a:gd name="T97" fmla="*/ 43 h 63"/>
                <a:gd name="T98" fmla="*/ 172 w 209"/>
                <a:gd name="T99" fmla="*/ 46 h 63"/>
                <a:gd name="T100" fmla="*/ 190 w 209"/>
                <a:gd name="T101" fmla="*/ 47 h 63"/>
                <a:gd name="T102" fmla="*/ 104 w 209"/>
                <a:gd name="T103" fmla="*/ 12 h 63"/>
                <a:gd name="T104" fmla="*/ 109 w 209"/>
                <a:gd name="T105" fmla="*/ 13 h 63"/>
                <a:gd name="T106" fmla="*/ 113 w 209"/>
                <a:gd name="T107" fmla="*/ 4 h 63"/>
                <a:gd name="T108" fmla="*/ 103 w 209"/>
                <a:gd name="T109" fmla="*/ 8 h 63"/>
                <a:gd name="T110" fmla="*/ 204 w 209"/>
                <a:gd name="T111" fmla="*/ 8 h 63"/>
                <a:gd name="T112" fmla="*/ 199 w 209"/>
                <a:gd name="T113" fmla="*/ 3 h 63"/>
                <a:gd name="T114" fmla="*/ 198 w 209"/>
                <a:gd name="T11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63">
                  <a:moveTo>
                    <a:pt x="57" y="18"/>
                  </a:moveTo>
                  <a:cubicBezTo>
                    <a:pt x="56" y="19"/>
                    <a:pt x="56" y="20"/>
                    <a:pt x="55" y="22"/>
                  </a:cubicBezTo>
                  <a:cubicBezTo>
                    <a:pt x="54" y="25"/>
                    <a:pt x="53" y="26"/>
                    <a:pt x="52" y="27"/>
                  </a:cubicBezTo>
                  <a:cubicBezTo>
                    <a:pt x="52" y="28"/>
                    <a:pt x="52" y="30"/>
                    <a:pt x="52" y="31"/>
                  </a:cubicBezTo>
                  <a:cubicBezTo>
                    <a:pt x="52" y="31"/>
                    <a:pt x="52" y="30"/>
                    <a:pt x="51" y="32"/>
                  </a:cubicBezTo>
                  <a:cubicBezTo>
                    <a:pt x="50" y="33"/>
                    <a:pt x="49" y="34"/>
                    <a:pt x="48" y="36"/>
                  </a:cubicBezTo>
                  <a:cubicBezTo>
                    <a:pt x="47" y="37"/>
                    <a:pt x="47" y="37"/>
                    <a:pt x="46" y="39"/>
                  </a:cubicBezTo>
                  <a:cubicBezTo>
                    <a:pt x="46" y="41"/>
                    <a:pt x="45" y="43"/>
                    <a:pt x="44" y="43"/>
                  </a:cubicBezTo>
                  <a:cubicBezTo>
                    <a:pt x="42" y="44"/>
                    <a:pt x="42" y="45"/>
                    <a:pt x="42" y="46"/>
                  </a:cubicBezTo>
                  <a:cubicBezTo>
                    <a:pt x="42" y="47"/>
                    <a:pt x="41" y="48"/>
                    <a:pt x="42" y="48"/>
                  </a:cubicBezTo>
                  <a:cubicBezTo>
                    <a:pt x="44" y="48"/>
                    <a:pt x="43" y="47"/>
                    <a:pt x="44" y="47"/>
                  </a:cubicBezTo>
                  <a:cubicBezTo>
                    <a:pt x="46" y="48"/>
                    <a:pt x="47" y="48"/>
                    <a:pt x="47" y="49"/>
                  </a:cubicBezTo>
                  <a:cubicBezTo>
                    <a:pt x="47" y="50"/>
                    <a:pt x="45" y="51"/>
                    <a:pt x="45" y="51"/>
                  </a:cubicBezTo>
                  <a:cubicBezTo>
                    <a:pt x="44" y="51"/>
                    <a:pt x="44" y="50"/>
                    <a:pt x="44" y="50"/>
                  </a:cubicBezTo>
                  <a:cubicBezTo>
                    <a:pt x="44" y="50"/>
                    <a:pt x="43" y="51"/>
                    <a:pt x="42" y="51"/>
                  </a:cubicBezTo>
                  <a:cubicBezTo>
                    <a:pt x="41" y="52"/>
                    <a:pt x="40" y="52"/>
                    <a:pt x="39" y="52"/>
                  </a:cubicBezTo>
                  <a:cubicBezTo>
                    <a:pt x="39" y="51"/>
                    <a:pt x="40" y="50"/>
                    <a:pt x="40" y="49"/>
                  </a:cubicBezTo>
                  <a:cubicBezTo>
                    <a:pt x="40" y="49"/>
                    <a:pt x="40" y="47"/>
                    <a:pt x="40" y="47"/>
                  </a:cubicBezTo>
                  <a:cubicBezTo>
                    <a:pt x="39" y="47"/>
                    <a:pt x="38" y="47"/>
                    <a:pt x="37" y="47"/>
                  </a:cubicBezTo>
                  <a:cubicBezTo>
                    <a:pt x="37" y="48"/>
                    <a:pt x="36" y="48"/>
                    <a:pt x="36" y="49"/>
                  </a:cubicBezTo>
                  <a:cubicBezTo>
                    <a:pt x="36" y="49"/>
                    <a:pt x="36" y="50"/>
                    <a:pt x="36" y="51"/>
                  </a:cubicBezTo>
                  <a:cubicBezTo>
                    <a:pt x="36" y="52"/>
                    <a:pt x="35" y="53"/>
                    <a:pt x="35" y="53"/>
                  </a:cubicBezTo>
                  <a:cubicBezTo>
                    <a:pt x="34" y="52"/>
                    <a:pt x="34" y="52"/>
                    <a:pt x="34" y="52"/>
                  </a:cubicBezTo>
                  <a:cubicBezTo>
                    <a:pt x="34" y="52"/>
                    <a:pt x="34" y="51"/>
                    <a:pt x="33" y="51"/>
                  </a:cubicBezTo>
                  <a:cubicBezTo>
                    <a:pt x="32" y="51"/>
                    <a:pt x="30" y="51"/>
                    <a:pt x="30" y="51"/>
                  </a:cubicBezTo>
                  <a:cubicBezTo>
                    <a:pt x="29" y="51"/>
                    <a:pt x="28" y="50"/>
                    <a:pt x="28" y="51"/>
                  </a:cubicBezTo>
                  <a:cubicBezTo>
                    <a:pt x="27" y="51"/>
                    <a:pt x="27" y="51"/>
                    <a:pt x="26" y="51"/>
                  </a:cubicBezTo>
                  <a:cubicBezTo>
                    <a:pt x="25" y="51"/>
                    <a:pt x="23" y="50"/>
                    <a:pt x="23" y="51"/>
                  </a:cubicBezTo>
                  <a:cubicBezTo>
                    <a:pt x="22" y="51"/>
                    <a:pt x="22" y="51"/>
                    <a:pt x="22" y="51"/>
                  </a:cubicBezTo>
                  <a:cubicBezTo>
                    <a:pt x="21" y="51"/>
                    <a:pt x="21" y="49"/>
                    <a:pt x="21" y="49"/>
                  </a:cubicBezTo>
                  <a:cubicBezTo>
                    <a:pt x="18" y="49"/>
                    <a:pt x="18" y="49"/>
                    <a:pt x="18" y="49"/>
                  </a:cubicBezTo>
                  <a:cubicBezTo>
                    <a:pt x="18" y="49"/>
                    <a:pt x="17" y="50"/>
                    <a:pt x="16" y="50"/>
                  </a:cubicBezTo>
                  <a:cubicBezTo>
                    <a:pt x="16" y="50"/>
                    <a:pt x="15" y="50"/>
                    <a:pt x="15" y="49"/>
                  </a:cubicBezTo>
                  <a:cubicBezTo>
                    <a:pt x="15" y="48"/>
                    <a:pt x="16" y="48"/>
                    <a:pt x="15" y="48"/>
                  </a:cubicBezTo>
                  <a:cubicBezTo>
                    <a:pt x="13" y="48"/>
                    <a:pt x="13" y="48"/>
                    <a:pt x="13" y="49"/>
                  </a:cubicBezTo>
                  <a:cubicBezTo>
                    <a:pt x="12" y="49"/>
                    <a:pt x="14" y="50"/>
                    <a:pt x="13" y="51"/>
                  </a:cubicBezTo>
                  <a:cubicBezTo>
                    <a:pt x="12" y="51"/>
                    <a:pt x="12" y="51"/>
                    <a:pt x="11" y="50"/>
                  </a:cubicBezTo>
                  <a:cubicBezTo>
                    <a:pt x="10" y="49"/>
                    <a:pt x="9" y="47"/>
                    <a:pt x="8" y="47"/>
                  </a:cubicBezTo>
                  <a:cubicBezTo>
                    <a:pt x="6" y="47"/>
                    <a:pt x="6" y="47"/>
                    <a:pt x="5" y="47"/>
                  </a:cubicBezTo>
                  <a:cubicBezTo>
                    <a:pt x="4" y="46"/>
                    <a:pt x="2" y="46"/>
                    <a:pt x="1" y="44"/>
                  </a:cubicBezTo>
                  <a:cubicBezTo>
                    <a:pt x="0" y="42"/>
                    <a:pt x="0" y="42"/>
                    <a:pt x="1" y="41"/>
                  </a:cubicBezTo>
                  <a:cubicBezTo>
                    <a:pt x="2" y="40"/>
                    <a:pt x="2" y="39"/>
                    <a:pt x="3" y="40"/>
                  </a:cubicBezTo>
                  <a:cubicBezTo>
                    <a:pt x="3" y="41"/>
                    <a:pt x="5" y="43"/>
                    <a:pt x="6" y="43"/>
                  </a:cubicBezTo>
                  <a:cubicBezTo>
                    <a:pt x="6" y="42"/>
                    <a:pt x="10" y="40"/>
                    <a:pt x="10" y="40"/>
                  </a:cubicBezTo>
                  <a:cubicBezTo>
                    <a:pt x="10" y="40"/>
                    <a:pt x="11" y="40"/>
                    <a:pt x="11" y="41"/>
                  </a:cubicBezTo>
                  <a:cubicBezTo>
                    <a:pt x="12" y="41"/>
                    <a:pt x="13" y="42"/>
                    <a:pt x="13" y="41"/>
                  </a:cubicBezTo>
                  <a:cubicBezTo>
                    <a:pt x="13" y="41"/>
                    <a:pt x="14" y="42"/>
                    <a:pt x="14" y="42"/>
                  </a:cubicBezTo>
                  <a:cubicBezTo>
                    <a:pt x="15" y="42"/>
                    <a:pt x="15" y="42"/>
                    <a:pt x="15" y="42"/>
                  </a:cubicBezTo>
                  <a:cubicBezTo>
                    <a:pt x="15" y="42"/>
                    <a:pt x="16" y="40"/>
                    <a:pt x="16" y="38"/>
                  </a:cubicBezTo>
                  <a:cubicBezTo>
                    <a:pt x="16" y="37"/>
                    <a:pt x="16" y="30"/>
                    <a:pt x="16" y="28"/>
                  </a:cubicBezTo>
                  <a:cubicBezTo>
                    <a:pt x="16" y="27"/>
                    <a:pt x="14" y="26"/>
                    <a:pt x="14" y="25"/>
                  </a:cubicBezTo>
                  <a:cubicBezTo>
                    <a:pt x="14" y="23"/>
                    <a:pt x="14" y="21"/>
                    <a:pt x="15" y="21"/>
                  </a:cubicBezTo>
                  <a:cubicBezTo>
                    <a:pt x="15" y="20"/>
                    <a:pt x="16" y="20"/>
                    <a:pt x="17" y="20"/>
                  </a:cubicBezTo>
                  <a:cubicBezTo>
                    <a:pt x="17" y="19"/>
                    <a:pt x="18" y="18"/>
                    <a:pt x="18" y="18"/>
                  </a:cubicBezTo>
                  <a:cubicBezTo>
                    <a:pt x="18" y="17"/>
                    <a:pt x="19" y="17"/>
                    <a:pt x="19" y="17"/>
                  </a:cubicBezTo>
                  <a:cubicBezTo>
                    <a:pt x="20" y="17"/>
                    <a:pt x="20" y="17"/>
                    <a:pt x="22" y="15"/>
                  </a:cubicBezTo>
                  <a:cubicBezTo>
                    <a:pt x="24" y="13"/>
                    <a:pt x="26" y="11"/>
                    <a:pt x="29" y="10"/>
                  </a:cubicBezTo>
                  <a:cubicBezTo>
                    <a:pt x="32" y="8"/>
                    <a:pt x="33" y="7"/>
                    <a:pt x="35" y="8"/>
                  </a:cubicBezTo>
                  <a:cubicBezTo>
                    <a:pt x="38" y="8"/>
                    <a:pt x="39" y="8"/>
                    <a:pt x="40" y="9"/>
                  </a:cubicBezTo>
                  <a:cubicBezTo>
                    <a:pt x="42" y="9"/>
                    <a:pt x="41" y="10"/>
                    <a:pt x="43" y="10"/>
                  </a:cubicBezTo>
                  <a:cubicBezTo>
                    <a:pt x="44" y="10"/>
                    <a:pt x="45" y="10"/>
                    <a:pt x="45" y="11"/>
                  </a:cubicBezTo>
                  <a:cubicBezTo>
                    <a:pt x="46" y="11"/>
                    <a:pt x="47" y="12"/>
                    <a:pt x="48" y="12"/>
                  </a:cubicBezTo>
                  <a:cubicBezTo>
                    <a:pt x="50" y="12"/>
                    <a:pt x="50" y="11"/>
                    <a:pt x="52" y="12"/>
                  </a:cubicBezTo>
                  <a:cubicBezTo>
                    <a:pt x="53" y="13"/>
                    <a:pt x="54" y="14"/>
                    <a:pt x="55" y="15"/>
                  </a:cubicBezTo>
                  <a:cubicBezTo>
                    <a:pt x="56" y="16"/>
                    <a:pt x="57" y="17"/>
                    <a:pt x="57" y="18"/>
                  </a:cubicBezTo>
                  <a:close/>
                  <a:moveTo>
                    <a:pt x="193" y="43"/>
                  </a:moveTo>
                  <a:cubicBezTo>
                    <a:pt x="192" y="43"/>
                    <a:pt x="191" y="43"/>
                    <a:pt x="191" y="43"/>
                  </a:cubicBezTo>
                  <a:cubicBezTo>
                    <a:pt x="190" y="43"/>
                    <a:pt x="188" y="43"/>
                    <a:pt x="187" y="43"/>
                  </a:cubicBezTo>
                  <a:cubicBezTo>
                    <a:pt x="185" y="42"/>
                    <a:pt x="183" y="42"/>
                    <a:pt x="182" y="42"/>
                  </a:cubicBezTo>
                  <a:cubicBezTo>
                    <a:pt x="181" y="42"/>
                    <a:pt x="182" y="43"/>
                    <a:pt x="181" y="43"/>
                  </a:cubicBezTo>
                  <a:cubicBezTo>
                    <a:pt x="180" y="44"/>
                    <a:pt x="179" y="43"/>
                    <a:pt x="179" y="42"/>
                  </a:cubicBezTo>
                  <a:cubicBezTo>
                    <a:pt x="179" y="42"/>
                    <a:pt x="178" y="42"/>
                    <a:pt x="178" y="41"/>
                  </a:cubicBezTo>
                  <a:cubicBezTo>
                    <a:pt x="178" y="41"/>
                    <a:pt x="179" y="41"/>
                    <a:pt x="179" y="41"/>
                  </a:cubicBezTo>
                  <a:cubicBezTo>
                    <a:pt x="180" y="40"/>
                    <a:pt x="180" y="40"/>
                    <a:pt x="181" y="39"/>
                  </a:cubicBezTo>
                  <a:cubicBezTo>
                    <a:pt x="182" y="39"/>
                    <a:pt x="182" y="38"/>
                    <a:pt x="182" y="38"/>
                  </a:cubicBezTo>
                  <a:cubicBezTo>
                    <a:pt x="182" y="38"/>
                    <a:pt x="183" y="38"/>
                    <a:pt x="184" y="38"/>
                  </a:cubicBezTo>
                  <a:cubicBezTo>
                    <a:pt x="184" y="39"/>
                    <a:pt x="186" y="39"/>
                    <a:pt x="187" y="40"/>
                  </a:cubicBezTo>
                  <a:cubicBezTo>
                    <a:pt x="188" y="40"/>
                    <a:pt x="188" y="40"/>
                    <a:pt x="189" y="39"/>
                  </a:cubicBezTo>
                  <a:cubicBezTo>
                    <a:pt x="189" y="39"/>
                    <a:pt x="189" y="38"/>
                    <a:pt x="190" y="38"/>
                  </a:cubicBezTo>
                  <a:cubicBezTo>
                    <a:pt x="191" y="38"/>
                    <a:pt x="191" y="37"/>
                    <a:pt x="192" y="37"/>
                  </a:cubicBezTo>
                  <a:cubicBezTo>
                    <a:pt x="192" y="37"/>
                    <a:pt x="193" y="39"/>
                    <a:pt x="193" y="39"/>
                  </a:cubicBezTo>
                  <a:cubicBezTo>
                    <a:pt x="193" y="39"/>
                    <a:pt x="194" y="40"/>
                    <a:pt x="195" y="41"/>
                  </a:cubicBezTo>
                  <a:cubicBezTo>
                    <a:pt x="195" y="41"/>
                    <a:pt x="197" y="41"/>
                    <a:pt x="198" y="41"/>
                  </a:cubicBezTo>
                  <a:cubicBezTo>
                    <a:pt x="200" y="41"/>
                    <a:pt x="200" y="41"/>
                    <a:pt x="201" y="40"/>
                  </a:cubicBezTo>
                  <a:cubicBezTo>
                    <a:pt x="202" y="40"/>
                    <a:pt x="202" y="41"/>
                    <a:pt x="203" y="41"/>
                  </a:cubicBezTo>
                  <a:cubicBezTo>
                    <a:pt x="203" y="42"/>
                    <a:pt x="204" y="41"/>
                    <a:pt x="204" y="40"/>
                  </a:cubicBezTo>
                  <a:cubicBezTo>
                    <a:pt x="204" y="40"/>
                    <a:pt x="204" y="41"/>
                    <a:pt x="205" y="41"/>
                  </a:cubicBezTo>
                  <a:cubicBezTo>
                    <a:pt x="205" y="42"/>
                    <a:pt x="207" y="40"/>
                    <a:pt x="207" y="40"/>
                  </a:cubicBezTo>
                  <a:cubicBezTo>
                    <a:pt x="208" y="39"/>
                    <a:pt x="208" y="37"/>
                    <a:pt x="208" y="37"/>
                  </a:cubicBezTo>
                  <a:cubicBezTo>
                    <a:pt x="207" y="36"/>
                    <a:pt x="207" y="35"/>
                    <a:pt x="207" y="34"/>
                  </a:cubicBezTo>
                  <a:cubicBezTo>
                    <a:pt x="207" y="33"/>
                    <a:pt x="208" y="33"/>
                    <a:pt x="208" y="32"/>
                  </a:cubicBezTo>
                  <a:cubicBezTo>
                    <a:pt x="209" y="32"/>
                    <a:pt x="208" y="31"/>
                    <a:pt x="208" y="31"/>
                  </a:cubicBezTo>
                  <a:cubicBezTo>
                    <a:pt x="207" y="31"/>
                    <a:pt x="206" y="31"/>
                    <a:pt x="205" y="31"/>
                  </a:cubicBezTo>
                  <a:cubicBezTo>
                    <a:pt x="204" y="32"/>
                    <a:pt x="204" y="32"/>
                    <a:pt x="204" y="33"/>
                  </a:cubicBezTo>
                  <a:cubicBezTo>
                    <a:pt x="204" y="34"/>
                    <a:pt x="204" y="34"/>
                    <a:pt x="203" y="35"/>
                  </a:cubicBezTo>
                  <a:cubicBezTo>
                    <a:pt x="202" y="35"/>
                    <a:pt x="201" y="35"/>
                    <a:pt x="200" y="35"/>
                  </a:cubicBezTo>
                  <a:cubicBezTo>
                    <a:pt x="200" y="34"/>
                    <a:pt x="199" y="33"/>
                    <a:pt x="199" y="32"/>
                  </a:cubicBezTo>
                  <a:cubicBezTo>
                    <a:pt x="199" y="31"/>
                    <a:pt x="199" y="31"/>
                    <a:pt x="198" y="31"/>
                  </a:cubicBezTo>
                  <a:cubicBezTo>
                    <a:pt x="198" y="30"/>
                    <a:pt x="198" y="29"/>
                    <a:pt x="198" y="28"/>
                  </a:cubicBezTo>
                  <a:cubicBezTo>
                    <a:pt x="198" y="27"/>
                    <a:pt x="199" y="27"/>
                    <a:pt x="199" y="26"/>
                  </a:cubicBezTo>
                  <a:cubicBezTo>
                    <a:pt x="200" y="26"/>
                    <a:pt x="200" y="24"/>
                    <a:pt x="200" y="24"/>
                  </a:cubicBezTo>
                  <a:cubicBezTo>
                    <a:pt x="200" y="24"/>
                    <a:pt x="199" y="23"/>
                    <a:pt x="199" y="22"/>
                  </a:cubicBezTo>
                  <a:cubicBezTo>
                    <a:pt x="198" y="21"/>
                    <a:pt x="197" y="20"/>
                    <a:pt x="197" y="19"/>
                  </a:cubicBezTo>
                  <a:cubicBezTo>
                    <a:pt x="196" y="18"/>
                    <a:pt x="197" y="17"/>
                    <a:pt x="196" y="16"/>
                  </a:cubicBezTo>
                  <a:cubicBezTo>
                    <a:pt x="196" y="15"/>
                    <a:pt x="197" y="14"/>
                    <a:pt x="196" y="14"/>
                  </a:cubicBezTo>
                  <a:cubicBezTo>
                    <a:pt x="196" y="13"/>
                    <a:pt x="195" y="13"/>
                    <a:pt x="194" y="13"/>
                  </a:cubicBezTo>
                  <a:cubicBezTo>
                    <a:pt x="193" y="13"/>
                    <a:pt x="191" y="13"/>
                    <a:pt x="189" y="13"/>
                  </a:cubicBezTo>
                  <a:cubicBezTo>
                    <a:pt x="186" y="13"/>
                    <a:pt x="187" y="12"/>
                    <a:pt x="186" y="12"/>
                  </a:cubicBezTo>
                  <a:cubicBezTo>
                    <a:pt x="186" y="12"/>
                    <a:pt x="185" y="13"/>
                    <a:pt x="184" y="13"/>
                  </a:cubicBezTo>
                  <a:cubicBezTo>
                    <a:pt x="183" y="14"/>
                    <a:pt x="182" y="15"/>
                    <a:pt x="181" y="16"/>
                  </a:cubicBezTo>
                  <a:cubicBezTo>
                    <a:pt x="181" y="16"/>
                    <a:pt x="180" y="18"/>
                    <a:pt x="180" y="19"/>
                  </a:cubicBezTo>
                  <a:cubicBezTo>
                    <a:pt x="179" y="19"/>
                    <a:pt x="180" y="21"/>
                    <a:pt x="180" y="22"/>
                  </a:cubicBezTo>
                  <a:cubicBezTo>
                    <a:pt x="180" y="22"/>
                    <a:pt x="179" y="24"/>
                    <a:pt x="179" y="25"/>
                  </a:cubicBezTo>
                  <a:cubicBezTo>
                    <a:pt x="179" y="26"/>
                    <a:pt x="178" y="27"/>
                    <a:pt x="178" y="28"/>
                  </a:cubicBezTo>
                  <a:cubicBezTo>
                    <a:pt x="177" y="29"/>
                    <a:pt x="177" y="28"/>
                    <a:pt x="176" y="27"/>
                  </a:cubicBezTo>
                  <a:cubicBezTo>
                    <a:pt x="176" y="27"/>
                    <a:pt x="176" y="26"/>
                    <a:pt x="177" y="25"/>
                  </a:cubicBezTo>
                  <a:cubicBezTo>
                    <a:pt x="177" y="23"/>
                    <a:pt x="177" y="23"/>
                    <a:pt x="178" y="21"/>
                  </a:cubicBezTo>
                  <a:cubicBezTo>
                    <a:pt x="178" y="18"/>
                    <a:pt x="178" y="17"/>
                    <a:pt x="178" y="16"/>
                  </a:cubicBezTo>
                  <a:cubicBezTo>
                    <a:pt x="177" y="15"/>
                    <a:pt x="177" y="14"/>
                    <a:pt x="176" y="13"/>
                  </a:cubicBezTo>
                  <a:cubicBezTo>
                    <a:pt x="175" y="12"/>
                    <a:pt x="176" y="13"/>
                    <a:pt x="174" y="12"/>
                  </a:cubicBezTo>
                  <a:cubicBezTo>
                    <a:pt x="172" y="11"/>
                    <a:pt x="173" y="12"/>
                    <a:pt x="170" y="11"/>
                  </a:cubicBezTo>
                  <a:cubicBezTo>
                    <a:pt x="168" y="11"/>
                    <a:pt x="167" y="11"/>
                    <a:pt x="167" y="11"/>
                  </a:cubicBezTo>
                  <a:cubicBezTo>
                    <a:pt x="167" y="11"/>
                    <a:pt x="167" y="10"/>
                    <a:pt x="166" y="10"/>
                  </a:cubicBezTo>
                  <a:cubicBezTo>
                    <a:pt x="165" y="10"/>
                    <a:pt x="164" y="10"/>
                    <a:pt x="164" y="10"/>
                  </a:cubicBezTo>
                  <a:cubicBezTo>
                    <a:pt x="163" y="11"/>
                    <a:pt x="162" y="12"/>
                    <a:pt x="162" y="12"/>
                  </a:cubicBezTo>
                  <a:cubicBezTo>
                    <a:pt x="161" y="13"/>
                    <a:pt x="159" y="15"/>
                    <a:pt x="158" y="16"/>
                  </a:cubicBezTo>
                  <a:cubicBezTo>
                    <a:pt x="157" y="17"/>
                    <a:pt x="156" y="17"/>
                    <a:pt x="153" y="17"/>
                  </a:cubicBezTo>
                  <a:cubicBezTo>
                    <a:pt x="151" y="17"/>
                    <a:pt x="151" y="16"/>
                    <a:pt x="150" y="16"/>
                  </a:cubicBezTo>
                  <a:cubicBezTo>
                    <a:pt x="149" y="15"/>
                    <a:pt x="149" y="13"/>
                    <a:pt x="148" y="12"/>
                  </a:cubicBezTo>
                  <a:cubicBezTo>
                    <a:pt x="148" y="11"/>
                    <a:pt x="147" y="11"/>
                    <a:pt x="146" y="10"/>
                  </a:cubicBezTo>
                  <a:cubicBezTo>
                    <a:pt x="145" y="9"/>
                    <a:pt x="146" y="9"/>
                    <a:pt x="145" y="8"/>
                  </a:cubicBezTo>
                  <a:cubicBezTo>
                    <a:pt x="145" y="8"/>
                    <a:pt x="145" y="8"/>
                    <a:pt x="144" y="7"/>
                  </a:cubicBezTo>
                  <a:cubicBezTo>
                    <a:pt x="144" y="6"/>
                    <a:pt x="144" y="4"/>
                    <a:pt x="144" y="3"/>
                  </a:cubicBezTo>
                  <a:cubicBezTo>
                    <a:pt x="143" y="2"/>
                    <a:pt x="143" y="2"/>
                    <a:pt x="142" y="2"/>
                  </a:cubicBezTo>
                  <a:cubicBezTo>
                    <a:pt x="141" y="1"/>
                    <a:pt x="140" y="1"/>
                    <a:pt x="139" y="1"/>
                  </a:cubicBezTo>
                  <a:cubicBezTo>
                    <a:pt x="139" y="1"/>
                    <a:pt x="138" y="1"/>
                    <a:pt x="137" y="1"/>
                  </a:cubicBezTo>
                  <a:cubicBezTo>
                    <a:pt x="136" y="0"/>
                    <a:pt x="136" y="1"/>
                    <a:pt x="134" y="1"/>
                  </a:cubicBezTo>
                  <a:cubicBezTo>
                    <a:pt x="133" y="1"/>
                    <a:pt x="133" y="1"/>
                    <a:pt x="133" y="0"/>
                  </a:cubicBezTo>
                  <a:cubicBezTo>
                    <a:pt x="133" y="0"/>
                    <a:pt x="132" y="0"/>
                    <a:pt x="131" y="0"/>
                  </a:cubicBezTo>
                  <a:cubicBezTo>
                    <a:pt x="130" y="1"/>
                    <a:pt x="127" y="2"/>
                    <a:pt x="125" y="2"/>
                  </a:cubicBezTo>
                  <a:cubicBezTo>
                    <a:pt x="123" y="2"/>
                    <a:pt x="121" y="3"/>
                    <a:pt x="120" y="3"/>
                  </a:cubicBezTo>
                  <a:cubicBezTo>
                    <a:pt x="118" y="4"/>
                    <a:pt x="118" y="5"/>
                    <a:pt x="118" y="5"/>
                  </a:cubicBezTo>
                  <a:cubicBezTo>
                    <a:pt x="118" y="6"/>
                    <a:pt x="118" y="8"/>
                    <a:pt x="117" y="9"/>
                  </a:cubicBezTo>
                  <a:cubicBezTo>
                    <a:pt x="116" y="10"/>
                    <a:pt x="117" y="10"/>
                    <a:pt x="118" y="11"/>
                  </a:cubicBezTo>
                  <a:cubicBezTo>
                    <a:pt x="119" y="11"/>
                    <a:pt x="121" y="13"/>
                    <a:pt x="122" y="14"/>
                  </a:cubicBezTo>
                  <a:cubicBezTo>
                    <a:pt x="122" y="15"/>
                    <a:pt x="124" y="17"/>
                    <a:pt x="125" y="17"/>
                  </a:cubicBezTo>
                  <a:cubicBezTo>
                    <a:pt x="127" y="18"/>
                    <a:pt x="130" y="21"/>
                    <a:pt x="132" y="22"/>
                  </a:cubicBezTo>
                  <a:cubicBezTo>
                    <a:pt x="133" y="23"/>
                    <a:pt x="136" y="23"/>
                    <a:pt x="139" y="23"/>
                  </a:cubicBezTo>
                  <a:cubicBezTo>
                    <a:pt x="142" y="22"/>
                    <a:pt x="141" y="23"/>
                    <a:pt x="142" y="24"/>
                  </a:cubicBezTo>
                  <a:cubicBezTo>
                    <a:pt x="142" y="25"/>
                    <a:pt x="145" y="27"/>
                    <a:pt x="147" y="28"/>
                  </a:cubicBezTo>
                  <a:cubicBezTo>
                    <a:pt x="149" y="30"/>
                    <a:pt x="150" y="29"/>
                    <a:pt x="151" y="30"/>
                  </a:cubicBezTo>
                  <a:cubicBezTo>
                    <a:pt x="152" y="31"/>
                    <a:pt x="152" y="32"/>
                    <a:pt x="152" y="33"/>
                  </a:cubicBezTo>
                  <a:cubicBezTo>
                    <a:pt x="153" y="34"/>
                    <a:pt x="152" y="36"/>
                    <a:pt x="150" y="36"/>
                  </a:cubicBezTo>
                  <a:cubicBezTo>
                    <a:pt x="149" y="37"/>
                    <a:pt x="148" y="36"/>
                    <a:pt x="147" y="36"/>
                  </a:cubicBezTo>
                  <a:cubicBezTo>
                    <a:pt x="146" y="36"/>
                    <a:pt x="144" y="36"/>
                    <a:pt x="141" y="36"/>
                  </a:cubicBezTo>
                  <a:cubicBezTo>
                    <a:pt x="138" y="36"/>
                    <a:pt x="139" y="37"/>
                    <a:pt x="136" y="38"/>
                  </a:cubicBezTo>
                  <a:cubicBezTo>
                    <a:pt x="133" y="39"/>
                    <a:pt x="134" y="40"/>
                    <a:pt x="134" y="40"/>
                  </a:cubicBezTo>
                  <a:cubicBezTo>
                    <a:pt x="133" y="41"/>
                    <a:pt x="132" y="41"/>
                    <a:pt x="132" y="41"/>
                  </a:cubicBezTo>
                  <a:cubicBezTo>
                    <a:pt x="131" y="40"/>
                    <a:pt x="131" y="40"/>
                    <a:pt x="131" y="40"/>
                  </a:cubicBezTo>
                  <a:cubicBezTo>
                    <a:pt x="131" y="40"/>
                    <a:pt x="131" y="40"/>
                    <a:pt x="130" y="40"/>
                  </a:cubicBezTo>
                  <a:cubicBezTo>
                    <a:pt x="129" y="40"/>
                    <a:pt x="129" y="39"/>
                    <a:pt x="129" y="39"/>
                  </a:cubicBezTo>
                  <a:cubicBezTo>
                    <a:pt x="129" y="38"/>
                    <a:pt x="127" y="39"/>
                    <a:pt x="126" y="40"/>
                  </a:cubicBezTo>
                  <a:cubicBezTo>
                    <a:pt x="124" y="40"/>
                    <a:pt x="123" y="40"/>
                    <a:pt x="122" y="39"/>
                  </a:cubicBezTo>
                  <a:cubicBezTo>
                    <a:pt x="120" y="39"/>
                    <a:pt x="121" y="37"/>
                    <a:pt x="121" y="36"/>
                  </a:cubicBezTo>
                  <a:cubicBezTo>
                    <a:pt x="121" y="36"/>
                    <a:pt x="121" y="36"/>
                    <a:pt x="120" y="35"/>
                  </a:cubicBezTo>
                  <a:cubicBezTo>
                    <a:pt x="120" y="34"/>
                    <a:pt x="120" y="33"/>
                    <a:pt x="120" y="32"/>
                  </a:cubicBezTo>
                  <a:cubicBezTo>
                    <a:pt x="120" y="31"/>
                    <a:pt x="119" y="30"/>
                    <a:pt x="118" y="30"/>
                  </a:cubicBezTo>
                  <a:cubicBezTo>
                    <a:pt x="118" y="30"/>
                    <a:pt x="116" y="30"/>
                    <a:pt x="116" y="30"/>
                  </a:cubicBezTo>
                  <a:cubicBezTo>
                    <a:pt x="116" y="30"/>
                    <a:pt x="113" y="29"/>
                    <a:pt x="112" y="29"/>
                  </a:cubicBezTo>
                  <a:cubicBezTo>
                    <a:pt x="112" y="28"/>
                    <a:pt x="112" y="27"/>
                    <a:pt x="112" y="26"/>
                  </a:cubicBezTo>
                  <a:cubicBezTo>
                    <a:pt x="112" y="25"/>
                    <a:pt x="112" y="24"/>
                    <a:pt x="112" y="23"/>
                  </a:cubicBezTo>
                  <a:cubicBezTo>
                    <a:pt x="112" y="22"/>
                    <a:pt x="110" y="22"/>
                    <a:pt x="110" y="22"/>
                  </a:cubicBezTo>
                  <a:cubicBezTo>
                    <a:pt x="110" y="26"/>
                    <a:pt x="110" y="26"/>
                    <a:pt x="110" y="26"/>
                  </a:cubicBezTo>
                  <a:cubicBezTo>
                    <a:pt x="109" y="26"/>
                    <a:pt x="109" y="26"/>
                    <a:pt x="109" y="26"/>
                  </a:cubicBezTo>
                  <a:cubicBezTo>
                    <a:pt x="109" y="26"/>
                    <a:pt x="108" y="23"/>
                    <a:pt x="108" y="22"/>
                  </a:cubicBezTo>
                  <a:cubicBezTo>
                    <a:pt x="108" y="20"/>
                    <a:pt x="108" y="20"/>
                    <a:pt x="107" y="20"/>
                  </a:cubicBezTo>
                  <a:cubicBezTo>
                    <a:pt x="106" y="20"/>
                    <a:pt x="104" y="20"/>
                    <a:pt x="102" y="20"/>
                  </a:cubicBezTo>
                  <a:cubicBezTo>
                    <a:pt x="99" y="20"/>
                    <a:pt x="100" y="20"/>
                    <a:pt x="99" y="21"/>
                  </a:cubicBezTo>
                  <a:cubicBezTo>
                    <a:pt x="98" y="22"/>
                    <a:pt x="98" y="23"/>
                    <a:pt x="97" y="24"/>
                  </a:cubicBezTo>
                  <a:cubicBezTo>
                    <a:pt x="96" y="24"/>
                    <a:pt x="95" y="23"/>
                    <a:pt x="93" y="22"/>
                  </a:cubicBezTo>
                  <a:cubicBezTo>
                    <a:pt x="92" y="22"/>
                    <a:pt x="89" y="21"/>
                    <a:pt x="87" y="20"/>
                  </a:cubicBezTo>
                  <a:cubicBezTo>
                    <a:pt x="86" y="20"/>
                    <a:pt x="85" y="20"/>
                    <a:pt x="84" y="18"/>
                  </a:cubicBezTo>
                  <a:cubicBezTo>
                    <a:pt x="84" y="17"/>
                    <a:pt x="83" y="18"/>
                    <a:pt x="81" y="19"/>
                  </a:cubicBezTo>
                  <a:cubicBezTo>
                    <a:pt x="78" y="20"/>
                    <a:pt x="79" y="20"/>
                    <a:pt x="79" y="21"/>
                  </a:cubicBezTo>
                  <a:cubicBezTo>
                    <a:pt x="78" y="21"/>
                    <a:pt x="76" y="23"/>
                    <a:pt x="75" y="23"/>
                  </a:cubicBezTo>
                  <a:cubicBezTo>
                    <a:pt x="75" y="24"/>
                    <a:pt x="75" y="25"/>
                    <a:pt x="74" y="25"/>
                  </a:cubicBezTo>
                  <a:cubicBezTo>
                    <a:pt x="73" y="26"/>
                    <a:pt x="73" y="26"/>
                    <a:pt x="72" y="25"/>
                  </a:cubicBezTo>
                  <a:cubicBezTo>
                    <a:pt x="72" y="25"/>
                    <a:pt x="71" y="26"/>
                    <a:pt x="70" y="26"/>
                  </a:cubicBezTo>
                  <a:cubicBezTo>
                    <a:pt x="69" y="27"/>
                    <a:pt x="67" y="27"/>
                    <a:pt x="66" y="28"/>
                  </a:cubicBezTo>
                  <a:cubicBezTo>
                    <a:pt x="65" y="28"/>
                    <a:pt x="64" y="28"/>
                    <a:pt x="63" y="29"/>
                  </a:cubicBezTo>
                  <a:cubicBezTo>
                    <a:pt x="63" y="30"/>
                    <a:pt x="62" y="30"/>
                    <a:pt x="61" y="31"/>
                  </a:cubicBezTo>
                  <a:cubicBezTo>
                    <a:pt x="60" y="32"/>
                    <a:pt x="60" y="31"/>
                    <a:pt x="60" y="32"/>
                  </a:cubicBezTo>
                  <a:cubicBezTo>
                    <a:pt x="60" y="33"/>
                    <a:pt x="59" y="35"/>
                    <a:pt x="59" y="35"/>
                  </a:cubicBezTo>
                  <a:cubicBezTo>
                    <a:pt x="59" y="35"/>
                    <a:pt x="58" y="36"/>
                    <a:pt x="58" y="36"/>
                  </a:cubicBezTo>
                  <a:cubicBezTo>
                    <a:pt x="58" y="37"/>
                    <a:pt x="60" y="38"/>
                    <a:pt x="60" y="39"/>
                  </a:cubicBezTo>
                  <a:cubicBezTo>
                    <a:pt x="61" y="39"/>
                    <a:pt x="60" y="40"/>
                    <a:pt x="60" y="40"/>
                  </a:cubicBezTo>
                  <a:cubicBezTo>
                    <a:pt x="59" y="40"/>
                    <a:pt x="60" y="41"/>
                    <a:pt x="60" y="41"/>
                  </a:cubicBezTo>
                  <a:cubicBezTo>
                    <a:pt x="60" y="41"/>
                    <a:pt x="61" y="43"/>
                    <a:pt x="61" y="43"/>
                  </a:cubicBezTo>
                  <a:cubicBezTo>
                    <a:pt x="62" y="44"/>
                    <a:pt x="61" y="45"/>
                    <a:pt x="61" y="46"/>
                  </a:cubicBezTo>
                  <a:cubicBezTo>
                    <a:pt x="61" y="46"/>
                    <a:pt x="58" y="48"/>
                    <a:pt x="58" y="48"/>
                  </a:cubicBezTo>
                  <a:cubicBezTo>
                    <a:pt x="58" y="48"/>
                    <a:pt x="57" y="49"/>
                    <a:pt x="58" y="50"/>
                  </a:cubicBezTo>
                  <a:cubicBezTo>
                    <a:pt x="58" y="50"/>
                    <a:pt x="57" y="50"/>
                    <a:pt x="57" y="51"/>
                  </a:cubicBezTo>
                  <a:cubicBezTo>
                    <a:pt x="56" y="52"/>
                    <a:pt x="57" y="52"/>
                    <a:pt x="58" y="53"/>
                  </a:cubicBezTo>
                  <a:cubicBezTo>
                    <a:pt x="58" y="54"/>
                    <a:pt x="57" y="54"/>
                    <a:pt x="57" y="55"/>
                  </a:cubicBezTo>
                  <a:cubicBezTo>
                    <a:pt x="56" y="56"/>
                    <a:pt x="57" y="56"/>
                    <a:pt x="57" y="57"/>
                  </a:cubicBezTo>
                  <a:cubicBezTo>
                    <a:pt x="57" y="57"/>
                    <a:pt x="58" y="58"/>
                    <a:pt x="59" y="58"/>
                  </a:cubicBezTo>
                  <a:cubicBezTo>
                    <a:pt x="60" y="59"/>
                    <a:pt x="62" y="59"/>
                    <a:pt x="64" y="60"/>
                  </a:cubicBezTo>
                  <a:cubicBezTo>
                    <a:pt x="66" y="60"/>
                    <a:pt x="66" y="61"/>
                    <a:pt x="67" y="61"/>
                  </a:cubicBezTo>
                  <a:cubicBezTo>
                    <a:pt x="68" y="61"/>
                    <a:pt x="69" y="61"/>
                    <a:pt x="71" y="61"/>
                  </a:cubicBezTo>
                  <a:cubicBezTo>
                    <a:pt x="72" y="61"/>
                    <a:pt x="73" y="63"/>
                    <a:pt x="74" y="63"/>
                  </a:cubicBezTo>
                  <a:cubicBezTo>
                    <a:pt x="74" y="63"/>
                    <a:pt x="76" y="63"/>
                    <a:pt x="79" y="63"/>
                  </a:cubicBezTo>
                  <a:cubicBezTo>
                    <a:pt x="81" y="63"/>
                    <a:pt x="81" y="61"/>
                    <a:pt x="82" y="61"/>
                  </a:cubicBezTo>
                  <a:cubicBezTo>
                    <a:pt x="83" y="60"/>
                    <a:pt x="84" y="59"/>
                    <a:pt x="85" y="58"/>
                  </a:cubicBezTo>
                  <a:cubicBezTo>
                    <a:pt x="87" y="58"/>
                    <a:pt x="87" y="59"/>
                    <a:pt x="89" y="59"/>
                  </a:cubicBezTo>
                  <a:cubicBezTo>
                    <a:pt x="90" y="60"/>
                    <a:pt x="92" y="60"/>
                    <a:pt x="93" y="60"/>
                  </a:cubicBezTo>
                  <a:cubicBezTo>
                    <a:pt x="94" y="60"/>
                    <a:pt x="97" y="60"/>
                    <a:pt x="98" y="60"/>
                  </a:cubicBezTo>
                  <a:cubicBezTo>
                    <a:pt x="98" y="60"/>
                    <a:pt x="100" y="59"/>
                    <a:pt x="102" y="58"/>
                  </a:cubicBezTo>
                  <a:cubicBezTo>
                    <a:pt x="103" y="58"/>
                    <a:pt x="105" y="57"/>
                    <a:pt x="107" y="57"/>
                  </a:cubicBezTo>
                  <a:cubicBezTo>
                    <a:pt x="108" y="57"/>
                    <a:pt x="109" y="56"/>
                    <a:pt x="110" y="56"/>
                  </a:cubicBezTo>
                  <a:cubicBezTo>
                    <a:pt x="111" y="55"/>
                    <a:pt x="115" y="53"/>
                    <a:pt x="117" y="52"/>
                  </a:cubicBezTo>
                  <a:cubicBezTo>
                    <a:pt x="118" y="52"/>
                    <a:pt x="119" y="52"/>
                    <a:pt x="120" y="53"/>
                  </a:cubicBezTo>
                  <a:cubicBezTo>
                    <a:pt x="120" y="53"/>
                    <a:pt x="122" y="53"/>
                    <a:pt x="122" y="52"/>
                  </a:cubicBezTo>
                  <a:cubicBezTo>
                    <a:pt x="123" y="52"/>
                    <a:pt x="123" y="52"/>
                    <a:pt x="123" y="51"/>
                  </a:cubicBezTo>
                  <a:cubicBezTo>
                    <a:pt x="124" y="51"/>
                    <a:pt x="125" y="52"/>
                    <a:pt x="126" y="52"/>
                  </a:cubicBezTo>
                  <a:cubicBezTo>
                    <a:pt x="126" y="53"/>
                    <a:pt x="127" y="53"/>
                    <a:pt x="128" y="53"/>
                  </a:cubicBezTo>
                  <a:cubicBezTo>
                    <a:pt x="129" y="53"/>
                    <a:pt x="129" y="53"/>
                    <a:pt x="129" y="52"/>
                  </a:cubicBezTo>
                  <a:cubicBezTo>
                    <a:pt x="130" y="52"/>
                    <a:pt x="132" y="51"/>
                    <a:pt x="133" y="51"/>
                  </a:cubicBezTo>
                  <a:cubicBezTo>
                    <a:pt x="134" y="50"/>
                    <a:pt x="134" y="49"/>
                    <a:pt x="135" y="49"/>
                  </a:cubicBezTo>
                  <a:cubicBezTo>
                    <a:pt x="135" y="48"/>
                    <a:pt x="136" y="48"/>
                    <a:pt x="136" y="48"/>
                  </a:cubicBezTo>
                  <a:cubicBezTo>
                    <a:pt x="137" y="48"/>
                    <a:pt x="138" y="48"/>
                    <a:pt x="139" y="47"/>
                  </a:cubicBezTo>
                  <a:cubicBezTo>
                    <a:pt x="141" y="47"/>
                    <a:pt x="141" y="48"/>
                    <a:pt x="142" y="49"/>
                  </a:cubicBezTo>
                  <a:cubicBezTo>
                    <a:pt x="143" y="49"/>
                    <a:pt x="143" y="49"/>
                    <a:pt x="144" y="49"/>
                  </a:cubicBezTo>
                  <a:cubicBezTo>
                    <a:pt x="144" y="49"/>
                    <a:pt x="145" y="48"/>
                    <a:pt x="146" y="48"/>
                  </a:cubicBezTo>
                  <a:cubicBezTo>
                    <a:pt x="146" y="48"/>
                    <a:pt x="148" y="47"/>
                    <a:pt x="149" y="46"/>
                  </a:cubicBezTo>
                  <a:cubicBezTo>
                    <a:pt x="149" y="45"/>
                    <a:pt x="150" y="44"/>
                    <a:pt x="151" y="43"/>
                  </a:cubicBezTo>
                  <a:cubicBezTo>
                    <a:pt x="152" y="42"/>
                    <a:pt x="155" y="39"/>
                    <a:pt x="156" y="39"/>
                  </a:cubicBezTo>
                  <a:cubicBezTo>
                    <a:pt x="157" y="38"/>
                    <a:pt x="158" y="38"/>
                    <a:pt x="159" y="38"/>
                  </a:cubicBezTo>
                  <a:cubicBezTo>
                    <a:pt x="160" y="37"/>
                    <a:pt x="160" y="37"/>
                    <a:pt x="160" y="36"/>
                  </a:cubicBezTo>
                  <a:cubicBezTo>
                    <a:pt x="160" y="35"/>
                    <a:pt x="159" y="35"/>
                    <a:pt x="159" y="34"/>
                  </a:cubicBezTo>
                  <a:cubicBezTo>
                    <a:pt x="158" y="33"/>
                    <a:pt x="159" y="33"/>
                    <a:pt x="160" y="32"/>
                  </a:cubicBezTo>
                  <a:cubicBezTo>
                    <a:pt x="160" y="32"/>
                    <a:pt x="161" y="33"/>
                    <a:pt x="161" y="34"/>
                  </a:cubicBezTo>
                  <a:cubicBezTo>
                    <a:pt x="162" y="34"/>
                    <a:pt x="162" y="36"/>
                    <a:pt x="162" y="38"/>
                  </a:cubicBezTo>
                  <a:cubicBezTo>
                    <a:pt x="162" y="39"/>
                    <a:pt x="162" y="39"/>
                    <a:pt x="162" y="40"/>
                  </a:cubicBezTo>
                  <a:cubicBezTo>
                    <a:pt x="161" y="40"/>
                    <a:pt x="160" y="42"/>
                    <a:pt x="160" y="42"/>
                  </a:cubicBezTo>
                  <a:cubicBezTo>
                    <a:pt x="159" y="42"/>
                    <a:pt x="159" y="43"/>
                    <a:pt x="159" y="43"/>
                  </a:cubicBezTo>
                  <a:cubicBezTo>
                    <a:pt x="159" y="43"/>
                    <a:pt x="159" y="45"/>
                    <a:pt x="159" y="46"/>
                  </a:cubicBezTo>
                  <a:cubicBezTo>
                    <a:pt x="159" y="47"/>
                    <a:pt x="160" y="48"/>
                    <a:pt x="161" y="48"/>
                  </a:cubicBezTo>
                  <a:cubicBezTo>
                    <a:pt x="162" y="49"/>
                    <a:pt x="163" y="50"/>
                    <a:pt x="165" y="50"/>
                  </a:cubicBezTo>
                  <a:cubicBezTo>
                    <a:pt x="166" y="50"/>
                    <a:pt x="167" y="48"/>
                    <a:pt x="169" y="48"/>
                  </a:cubicBezTo>
                  <a:cubicBezTo>
                    <a:pt x="170" y="48"/>
                    <a:pt x="171" y="47"/>
                    <a:pt x="172" y="46"/>
                  </a:cubicBezTo>
                  <a:cubicBezTo>
                    <a:pt x="173" y="46"/>
                    <a:pt x="174" y="46"/>
                    <a:pt x="176" y="45"/>
                  </a:cubicBezTo>
                  <a:cubicBezTo>
                    <a:pt x="177" y="45"/>
                    <a:pt x="179" y="45"/>
                    <a:pt x="180" y="45"/>
                  </a:cubicBezTo>
                  <a:cubicBezTo>
                    <a:pt x="181" y="45"/>
                    <a:pt x="182" y="45"/>
                    <a:pt x="183" y="46"/>
                  </a:cubicBezTo>
                  <a:cubicBezTo>
                    <a:pt x="184" y="46"/>
                    <a:pt x="185" y="47"/>
                    <a:pt x="186" y="47"/>
                  </a:cubicBezTo>
                  <a:cubicBezTo>
                    <a:pt x="187" y="47"/>
                    <a:pt x="189" y="47"/>
                    <a:pt x="190" y="47"/>
                  </a:cubicBezTo>
                  <a:cubicBezTo>
                    <a:pt x="192" y="48"/>
                    <a:pt x="192" y="47"/>
                    <a:pt x="193" y="47"/>
                  </a:cubicBezTo>
                  <a:cubicBezTo>
                    <a:pt x="193" y="46"/>
                    <a:pt x="194" y="45"/>
                    <a:pt x="194" y="44"/>
                  </a:cubicBezTo>
                  <a:cubicBezTo>
                    <a:pt x="194" y="43"/>
                    <a:pt x="193" y="43"/>
                    <a:pt x="193" y="43"/>
                  </a:cubicBezTo>
                  <a:close/>
                  <a:moveTo>
                    <a:pt x="104" y="10"/>
                  </a:moveTo>
                  <a:cubicBezTo>
                    <a:pt x="105" y="11"/>
                    <a:pt x="104" y="12"/>
                    <a:pt x="104" y="12"/>
                  </a:cubicBezTo>
                  <a:cubicBezTo>
                    <a:pt x="104" y="13"/>
                    <a:pt x="104" y="14"/>
                    <a:pt x="103" y="15"/>
                  </a:cubicBezTo>
                  <a:cubicBezTo>
                    <a:pt x="103" y="15"/>
                    <a:pt x="103" y="17"/>
                    <a:pt x="104" y="17"/>
                  </a:cubicBezTo>
                  <a:cubicBezTo>
                    <a:pt x="105" y="18"/>
                    <a:pt x="105" y="18"/>
                    <a:pt x="106" y="19"/>
                  </a:cubicBezTo>
                  <a:cubicBezTo>
                    <a:pt x="106" y="19"/>
                    <a:pt x="108" y="17"/>
                    <a:pt x="109" y="17"/>
                  </a:cubicBezTo>
                  <a:cubicBezTo>
                    <a:pt x="109" y="16"/>
                    <a:pt x="109" y="15"/>
                    <a:pt x="109" y="13"/>
                  </a:cubicBezTo>
                  <a:cubicBezTo>
                    <a:pt x="109" y="12"/>
                    <a:pt x="110" y="12"/>
                    <a:pt x="110" y="11"/>
                  </a:cubicBezTo>
                  <a:cubicBezTo>
                    <a:pt x="111" y="10"/>
                    <a:pt x="111" y="9"/>
                    <a:pt x="113" y="8"/>
                  </a:cubicBezTo>
                  <a:cubicBezTo>
                    <a:pt x="114" y="8"/>
                    <a:pt x="115" y="8"/>
                    <a:pt x="115" y="7"/>
                  </a:cubicBezTo>
                  <a:cubicBezTo>
                    <a:pt x="115" y="6"/>
                    <a:pt x="115" y="5"/>
                    <a:pt x="115" y="4"/>
                  </a:cubicBezTo>
                  <a:cubicBezTo>
                    <a:pt x="115" y="4"/>
                    <a:pt x="114" y="4"/>
                    <a:pt x="113" y="4"/>
                  </a:cubicBezTo>
                  <a:cubicBezTo>
                    <a:pt x="113" y="4"/>
                    <a:pt x="111" y="4"/>
                    <a:pt x="110" y="4"/>
                  </a:cubicBezTo>
                  <a:cubicBezTo>
                    <a:pt x="109" y="3"/>
                    <a:pt x="109" y="4"/>
                    <a:pt x="108" y="4"/>
                  </a:cubicBezTo>
                  <a:cubicBezTo>
                    <a:pt x="107" y="4"/>
                    <a:pt x="106" y="5"/>
                    <a:pt x="105" y="5"/>
                  </a:cubicBezTo>
                  <a:cubicBezTo>
                    <a:pt x="105" y="6"/>
                    <a:pt x="104" y="6"/>
                    <a:pt x="103" y="7"/>
                  </a:cubicBezTo>
                  <a:cubicBezTo>
                    <a:pt x="103" y="7"/>
                    <a:pt x="103" y="8"/>
                    <a:pt x="103" y="8"/>
                  </a:cubicBezTo>
                  <a:cubicBezTo>
                    <a:pt x="103" y="9"/>
                    <a:pt x="103" y="10"/>
                    <a:pt x="104" y="10"/>
                  </a:cubicBezTo>
                  <a:close/>
                  <a:moveTo>
                    <a:pt x="198" y="11"/>
                  </a:moveTo>
                  <a:cubicBezTo>
                    <a:pt x="199" y="11"/>
                    <a:pt x="200" y="11"/>
                    <a:pt x="201" y="11"/>
                  </a:cubicBezTo>
                  <a:cubicBezTo>
                    <a:pt x="202" y="11"/>
                    <a:pt x="203" y="10"/>
                    <a:pt x="203" y="10"/>
                  </a:cubicBezTo>
                  <a:cubicBezTo>
                    <a:pt x="204" y="8"/>
                    <a:pt x="204" y="8"/>
                    <a:pt x="204" y="8"/>
                  </a:cubicBezTo>
                  <a:cubicBezTo>
                    <a:pt x="205" y="8"/>
                    <a:pt x="205" y="7"/>
                    <a:pt x="204" y="6"/>
                  </a:cubicBezTo>
                  <a:cubicBezTo>
                    <a:pt x="204" y="6"/>
                    <a:pt x="204" y="5"/>
                    <a:pt x="204" y="5"/>
                  </a:cubicBezTo>
                  <a:cubicBezTo>
                    <a:pt x="203" y="5"/>
                    <a:pt x="203" y="4"/>
                    <a:pt x="202" y="3"/>
                  </a:cubicBezTo>
                  <a:cubicBezTo>
                    <a:pt x="202" y="3"/>
                    <a:pt x="202" y="3"/>
                    <a:pt x="202" y="3"/>
                  </a:cubicBezTo>
                  <a:cubicBezTo>
                    <a:pt x="202" y="3"/>
                    <a:pt x="200" y="3"/>
                    <a:pt x="199" y="3"/>
                  </a:cubicBezTo>
                  <a:cubicBezTo>
                    <a:pt x="199" y="3"/>
                    <a:pt x="199" y="3"/>
                    <a:pt x="199" y="3"/>
                  </a:cubicBezTo>
                  <a:cubicBezTo>
                    <a:pt x="198" y="5"/>
                    <a:pt x="198" y="5"/>
                    <a:pt x="198" y="5"/>
                  </a:cubicBezTo>
                  <a:cubicBezTo>
                    <a:pt x="198" y="5"/>
                    <a:pt x="197" y="5"/>
                    <a:pt x="197" y="6"/>
                  </a:cubicBezTo>
                  <a:cubicBezTo>
                    <a:pt x="197" y="6"/>
                    <a:pt x="197" y="8"/>
                    <a:pt x="197" y="8"/>
                  </a:cubicBezTo>
                  <a:lnTo>
                    <a:pt x="198" y="1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0" name="Freeform 13">
              <a:extLst>
                <a:ext uri="{FF2B5EF4-FFF2-40B4-BE49-F238E27FC236}">
                  <a16:creationId xmlns:a16="http://schemas.microsoft.com/office/drawing/2014/main" id="{AB0E5ADF-AEB1-2ACB-A25B-ACF386AB0850}"/>
                </a:ext>
              </a:extLst>
            </p:cNvPr>
            <p:cNvSpPr>
              <a:spLocks/>
            </p:cNvSpPr>
            <p:nvPr/>
          </p:nvSpPr>
          <p:spPr bwMode="auto">
            <a:xfrm>
              <a:off x="3879850" y="3351213"/>
              <a:ext cx="1244600" cy="1181100"/>
            </a:xfrm>
            <a:custGeom>
              <a:avLst/>
              <a:gdLst>
                <a:gd name="T0" fmla="*/ 133 w 327"/>
                <a:gd name="T1" fmla="*/ 261 h 310"/>
                <a:gd name="T2" fmla="*/ 130 w 327"/>
                <a:gd name="T3" fmla="*/ 238 h 310"/>
                <a:gd name="T4" fmla="*/ 123 w 327"/>
                <a:gd name="T5" fmla="*/ 223 h 310"/>
                <a:gd name="T6" fmla="*/ 139 w 327"/>
                <a:gd name="T7" fmla="*/ 212 h 310"/>
                <a:gd name="T8" fmla="*/ 165 w 327"/>
                <a:gd name="T9" fmla="*/ 191 h 310"/>
                <a:gd name="T10" fmla="*/ 187 w 327"/>
                <a:gd name="T11" fmla="*/ 176 h 310"/>
                <a:gd name="T12" fmla="*/ 201 w 327"/>
                <a:gd name="T13" fmla="*/ 168 h 310"/>
                <a:gd name="T14" fmla="*/ 219 w 327"/>
                <a:gd name="T15" fmla="*/ 165 h 310"/>
                <a:gd name="T16" fmla="*/ 237 w 327"/>
                <a:gd name="T17" fmla="*/ 161 h 310"/>
                <a:gd name="T18" fmla="*/ 262 w 327"/>
                <a:gd name="T19" fmla="*/ 151 h 310"/>
                <a:gd name="T20" fmla="*/ 275 w 327"/>
                <a:gd name="T21" fmla="*/ 137 h 310"/>
                <a:gd name="T22" fmla="*/ 270 w 327"/>
                <a:gd name="T23" fmla="*/ 110 h 310"/>
                <a:gd name="T24" fmla="*/ 298 w 327"/>
                <a:gd name="T25" fmla="*/ 91 h 310"/>
                <a:gd name="T26" fmla="*/ 308 w 327"/>
                <a:gd name="T27" fmla="*/ 70 h 310"/>
                <a:gd name="T28" fmla="*/ 323 w 327"/>
                <a:gd name="T29" fmla="*/ 45 h 310"/>
                <a:gd name="T30" fmla="*/ 312 w 327"/>
                <a:gd name="T31" fmla="*/ 36 h 310"/>
                <a:gd name="T32" fmla="*/ 298 w 327"/>
                <a:gd name="T33" fmla="*/ 47 h 310"/>
                <a:gd name="T34" fmla="*/ 289 w 327"/>
                <a:gd name="T35" fmla="*/ 47 h 310"/>
                <a:gd name="T36" fmla="*/ 273 w 327"/>
                <a:gd name="T37" fmla="*/ 40 h 310"/>
                <a:gd name="T38" fmla="*/ 253 w 327"/>
                <a:gd name="T39" fmla="*/ 39 h 310"/>
                <a:gd name="T40" fmla="*/ 257 w 327"/>
                <a:gd name="T41" fmla="*/ 30 h 310"/>
                <a:gd name="T42" fmla="*/ 239 w 327"/>
                <a:gd name="T43" fmla="*/ 29 h 310"/>
                <a:gd name="T44" fmla="*/ 225 w 327"/>
                <a:gd name="T45" fmla="*/ 28 h 310"/>
                <a:gd name="T46" fmla="*/ 205 w 327"/>
                <a:gd name="T47" fmla="*/ 39 h 310"/>
                <a:gd name="T48" fmla="*/ 202 w 327"/>
                <a:gd name="T49" fmla="*/ 50 h 310"/>
                <a:gd name="T50" fmla="*/ 185 w 327"/>
                <a:gd name="T51" fmla="*/ 60 h 310"/>
                <a:gd name="T52" fmla="*/ 170 w 327"/>
                <a:gd name="T53" fmla="*/ 62 h 310"/>
                <a:gd name="T54" fmla="*/ 163 w 327"/>
                <a:gd name="T55" fmla="*/ 64 h 310"/>
                <a:gd name="T56" fmla="*/ 141 w 327"/>
                <a:gd name="T57" fmla="*/ 60 h 310"/>
                <a:gd name="T58" fmla="*/ 118 w 327"/>
                <a:gd name="T59" fmla="*/ 68 h 310"/>
                <a:gd name="T60" fmla="*/ 98 w 327"/>
                <a:gd name="T61" fmla="*/ 70 h 310"/>
                <a:gd name="T62" fmla="*/ 88 w 327"/>
                <a:gd name="T63" fmla="*/ 62 h 310"/>
                <a:gd name="T64" fmla="*/ 75 w 327"/>
                <a:gd name="T65" fmla="*/ 51 h 310"/>
                <a:gd name="T66" fmla="*/ 60 w 327"/>
                <a:gd name="T67" fmla="*/ 34 h 310"/>
                <a:gd name="T68" fmla="*/ 45 w 327"/>
                <a:gd name="T69" fmla="*/ 15 h 310"/>
                <a:gd name="T70" fmla="*/ 43 w 327"/>
                <a:gd name="T71" fmla="*/ 6 h 310"/>
                <a:gd name="T72" fmla="*/ 41 w 327"/>
                <a:gd name="T73" fmla="*/ 4 h 310"/>
                <a:gd name="T74" fmla="*/ 29 w 327"/>
                <a:gd name="T75" fmla="*/ 13 h 310"/>
                <a:gd name="T76" fmla="*/ 14 w 327"/>
                <a:gd name="T77" fmla="*/ 29 h 310"/>
                <a:gd name="T78" fmla="*/ 9 w 327"/>
                <a:gd name="T79" fmla="*/ 51 h 310"/>
                <a:gd name="T80" fmla="*/ 5 w 327"/>
                <a:gd name="T81" fmla="*/ 70 h 310"/>
                <a:gd name="T82" fmla="*/ 3 w 327"/>
                <a:gd name="T83" fmla="*/ 93 h 310"/>
                <a:gd name="T84" fmla="*/ 17 w 327"/>
                <a:gd name="T85" fmla="*/ 115 h 310"/>
                <a:gd name="T86" fmla="*/ 19 w 327"/>
                <a:gd name="T87" fmla="*/ 125 h 310"/>
                <a:gd name="T88" fmla="*/ 17 w 327"/>
                <a:gd name="T89" fmla="*/ 143 h 310"/>
                <a:gd name="T90" fmla="*/ 24 w 327"/>
                <a:gd name="T91" fmla="*/ 161 h 310"/>
                <a:gd name="T92" fmla="*/ 29 w 327"/>
                <a:gd name="T93" fmla="*/ 168 h 310"/>
                <a:gd name="T94" fmla="*/ 34 w 327"/>
                <a:gd name="T95" fmla="*/ 181 h 310"/>
                <a:gd name="T96" fmla="*/ 46 w 327"/>
                <a:gd name="T97" fmla="*/ 185 h 310"/>
                <a:gd name="T98" fmla="*/ 34 w 327"/>
                <a:gd name="T99" fmla="*/ 202 h 310"/>
                <a:gd name="T100" fmla="*/ 56 w 327"/>
                <a:gd name="T101" fmla="*/ 194 h 310"/>
                <a:gd name="T102" fmla="*/ 66 w 327"/>
                <a:gd name="T103" fmla="*/ 194 h 310"/>
                <a:gd name="T104" fmla="*/ 74 w 327"/>
                <a:gd name="T105" fmla="*/ 208 h 310"/>
                <a:gd name="T106" fmla="*/ 64 w 327"/>
                <a:gd name="T107" fmla="*/ 233 h 310"/>
                <a:gd name="T108" fmla="*/ 77 w 327"/>
                <a:gd name="T109" fmla="*/ 263 h 310"/>
                <a:gd name="T110" fmla="*/ 82 w 327"/>
                <a:gd name="T111" fmla="*/ 280 h 310"/>
                <a:gd name="T112" fmla="*/ 85 w 327"/>
                <a:gd name="T113" fmla="*/ 299 h 310"/>
                <a:gd name="T114" fmla="*/ 94 w 327"/>
                <a:gd name="T115" fmla="*/ 303 h 310"/>
                <a:gd name="T116" fmla="*/ 111 w 327"/>
                <a:gd name="T1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10">
                  <a:moveTo>
                    <a:pt x="139" y="292"/>
                  </a:moveTo>
                  <a:cubicBezTo>
                    <a:pt x="141" y="290"/>
                    <a:pt x="141" y="290"/>
                    <a:pt x="141" y="290"/>
                  </a:cubicBezTo>
                  <a:cubicBezTo>
                    <a:pt x="139" y="286"/>
                    <a:pt x="139" y="286"/>
                    <a:pt x="139" y="286"/>
                  </a:cubicBezTo>
                  <a:cubicBezTo>
                    <a:pt x="139" y="283"/>
                    <a:pt x="139" y="283"/>
                    <a:pt x="139" y="283"/>
                  </a:cubicBezTo>
                  <a:cubicBezTo>
                    <a:pt x="136" y="264"/>
                    <a:pt x="136" y="264"/>
                    <a:pt x="136" y="264"/>
                  </a:cubicBezTo>
                  <a:cubicBezTo>
                    <a:pt x="133" y="261"/>
                    <a:pt x="133" y="261"/>
                    <a:pt x="133" y="261"/>
                  </a:cubicBezTo>
                  <a:cubicBezTo>
                    <a:pt x="135" y="258"/>
                    <a:pt x="135" y="258"/>
                    <a:pt x="135" y="258"/>
                  </a:cubicBezTo>
                  <a:cubicBezTo>
                    <a:pt x="135" y="251"/>
                    <a:pt x="135" y="251"/>
                    <a:pt x="135" y="251"/>
                  </a:cubicBezTo>
                  <a:cubicBezTo>
                    <a:pt x="136" y="247"/>
                    <a:pt x="136" y="247"/>
                    <a:pt x="136" y="247"/>
                  </a:cubicBezTo>
                  <a:cubicBezTo>
                    <a:pt x="133" y="244"/>
                    <a:pt x="133" y="244"/>
                    <a:pt x="133" y="244"/>
                  </a:cubicBezTo>
                  <a:cubicBezTo>
                    <a:pt x="130" y="242"/>
                    <a:pt x="130" y="242"/>
                    <a:pt x="130" y="242"/>
                  </a:cubicBezTo>
                  <a:cubicBezTo>
                    <a:pt x="130" y="238"/>
                    <a:pt x="130" y="238"/>
                    <a:pt x="130" y="238"/>
                  </a:cubicBezTo>
                  <a:cubicBezTo>
                    <a:pt x="131" y="234"/>
                    <a:pt x="131" y="234"/>
                    <a:pt x="131" y="234"/>
                  </a:cubicBezTo>
                  <a:cubicBezTo>
                    <a:pt x="131" y="234"/>
                    <a:pt x="132" y="232"/>
                    <a:pt x="132" y="232"/>
                  </a:cubicBezTo>
                  <a:cubicBezTo>
                    <a:pt x="132" y="231"/>
                    <a:pt x="131" y="227"/>
                    <a:pt x="131" y="227"/>
                  </a:cubicBezTo>
                  <a:cubicBezTo>
                    <a:pt x="125" y="229"/>
                    <a:pt x="125" y="229"/>
                    <a:pt x="125" y="229"/>
                  </a:cubicBezTo>
                  <a:cubicBezTo>
                    <a:pt x="123" y="227"/>
                    <a:pt x="123" y="227"/>
                    <a:pt x="123" y="227"/>
                  </a:cubicBezTo>
                  <a:cubicBezTo>
                    <a:pt x="123" y="223"/>
                    <a:pt x="123" y="223"/>
                    <a:pt x="123" y="223"/>
                  </a:cubicBezTo>
                  <a:cubicBezTo>
                    <a:pt x="130" y="219"/>
                    <a:pt x="130" y="219"/>
                    <a:pt x="130" y="219"/>
                  </a:cubicBezTo>
                  <a:cubicBezTo>
                    <a:pt x="133" y="220"/>
                    <a:pt x="133" y="220"/>
                    <a:pt x="133" y="220"/>
                  </a:cubicBezTo>
                  <a:cubicBezTo>
                    <a:pt x="135" y="218"/>
                    <a:pt x="135" y="218"/>
                    <a:pt x="135" y="218"/>
                  </a:cubicBezTo>
                  <a:cubicBezTo>
                    <a:pt x="137" y="219"/>
                    <a:pt x="137" y="219"/>
                    <a:pt x="137" y="219"/>
                  </a:cubicBezTo>
                  <a:cubicBezTo>
                    <a:pt x="138" y="219"/>
                    <a:pt x="138" y="219"/>
                    <a:pt x="138" y="219"/>
                  </a:cubicBezTo>
                  <a:cubicBezTo>
                    <a:pt x="139" y="212"/>
                    <a:pt x="139" y="212"/>
                    <a:pt x="139" y="212"/>
                  </a:cubicBezTo>
                  <a:cubicBezTo>
                    <a:pt x="142" y="212"/>
                    <a:pt x="142" y="212"/>
                    <a:pt x="142" y="212"/>
                  </a:cubicBezTo>
                  <a:cubicBezTo>
                    <a:pt x="146" y="211"/>
                    <a:pt x="146" y="211"/>
                    <a:pt x="146" y="211"/>
                  </a:cubicBezTo>
                  <a:cubicBezTo>
                    <a:pt x="150" y="209"/>
                    <a:pt x="150" y="209"/>
                    <a:pt x="150" y="209"/>
                  </a:cubicBezTo>
                  <a:cubicBezTo>
                    <a:pt x="156" y="200"/>
                    <a:pt x="156" y="200"/>
                    <a:pt x="156" y="200"/>
                  </a:cubicBezTo>
                  <a:cubicBezTo>
                    <a:pt x="164" y="198"/>
                    <a:pt x="164" y="198"/>
                    <a:pt x="164" y="198"/>
                  </a:cubicBezTo>
                  <a:cubicBezTo>
                    <a:pt x="165" y="191"/>
                    <a:pt x="165" y="191"/>
                    <a:pt x="165" y="191"/>
                  </a:cubicBezTo>
                  <a:cubicBezTo>
                    <a:pt x="169" y="187"/>
                    <a:pt x="169" y="187"/>
                    <a:pt x="169" y="187"/>
                  </a:cubicBezTo>
                  <a:cubicBezTo>
                    <a:pt x="169" y="184"/>
                    <a:pt x="169" y="184"/>
                    <a:pt x="169" y="184"/>
                  </a:cubicBezTo>
                  <a:cubicBezTo>
                    <a:pt x="178" y="180"/>
                    <a:pt x="178" y="180"/>
                    <a:pt x="178" y="180"/>
                  </a:cubicBezTo>
                  <a:cubicBezTo>
                    <a:pt x="182" y="180"/>
                    <a:pt x="182" y="180"/>
                    <a:pt x="182" y="180"/>
                  </a:cubicBezTo>
                  <a:cubicBezTo>
                    <a:pt x="184" y="177"/>
                    <a:pt x="184" y="177"/>
                    <a:pt x="184" y="177"/>
                  </a:cubicBezTo>
                  <a:cubicBezTo>
                    <a:pt x="187" y="176"/>
                    <a:pt x="187" y="176"/>
                    <a:pt x="187" y="176"/>
                  </a:cubicBezTo>
                  <a:cubicBezTo>
                    <a:pt x="187" y="172"/>
                    <a:pt x="187" y="172"/>
                    <a:pt x="187" y="172"/>
                  </a:cubicBezTo>
                  <a:cubicBezTo>
                    <a:pt x="191" y="174"/>
                    <a:pt x="191" y="174"/>
                    <a:pt x="191" y="174"/>
                  </a:cubicBezTo>
                  <a:cubicBezTo>
                    <a:pt x="193" y="173"/>
                    <a:pt x="193" y="173"/>
                    <a:pt x="193" y="173"/>
                  </a:cubicBezTo>
                  <a:cubicBezTo>
                    <a:pt x="194" y="168"/>
                    <a:pt x="194" y="168"/>
                    <a:pt x="194" y="168"/>
                  </a:cubicBezTo>
                  <a:cubicBezTo>
                    <a:pt x="195" y="167"/>
                    <a:pt x="195" y="167"/>
                    <a:pt x="195" y="167"/>
                  </a:cubicBezTo>
                  <a:cubicBezTo>
                    <a:pt x="201" y="168"/>
                    <a:pt x="201" y="168"/>
                    <a:pt x="201" y="168"/>
                  </a:cubicBezTo>
                  <a:cubicBezTo>
                    <a:pt x="202" y="164"/>
                    <a:pt x="202" y="164"/>
                    <a:pt x="202" y="164"/>
                  </a:cubicBezTo>
                  <a:cubicBezTo>
                    <a:pt x="204" y="161"/>
                    <a:pt x="204" y="161"/>
                    <a:pt x="204" y="161"/>
                  </a:cubicBezTo>
                  <a:cubicBezTo>
                    <a:pt x="208" y="164"/>
                    <a:pt x="208" y="164"/>
                    <a:pt x="208" y="164"/>
                  </a:cubicBezTo>
                  <a:cubicBezTo>
                    <a:pt x="210" y="169"/>
                    <a:pt x="210" y="169"/>
                    <a:pt x="210" y="169"/>
                  </a:cubicBezTo>
                  <a:cubicBezTo>
                    <a:pt x="216" y="167"/>
                    <a:pt x="216" y="167"/>
                    <a:pt x="216" y="167"/>
                  </a:cubicBezTo>
                  <a:cubicBezTo>
                    <a:pt x="219" y="165"/>
                    <a:pt x="219" y="165"/>
                    <a:pt x="219" y="165"/>
                  </a:cubicBezTo>
                  <a:cubicBezTo>
                    <a:pt x="222" y="169"/>
                    <a:pt x="222" y="169"/>
                    <a:pt x="222" y="169"/>
                  </a:cubicBezTo>
                  <a:cubicBezTo>
                    <a:pt x="223" y="166"/>
                    <a:pt x="223" y="166"/>
                    <a:pt x="223" y="166"/>
                  </a:cubicBezTo>
                  <a:cubicBezTo>
                    <a:pt x="227" y="167"/>
                    <a:pt x="227" y="167"/>
                    <a:pt x="227" y="167"/>
                  </a:cubicBezTo>
                  <a:cubicBezTo>
                    <a:pt x="230" y="164"/>
                    <a:pt x="230" y="164"/>
                    <a:pt x="230" y="164"/>
                  </a:cubicBezTo>
                  <a:cubicBezTo>
                    <a:pt x="235" y="164"/>
                    <a:pt x="235" y="164"/>
                    <a:pt x="235" y="164"/>
                  </a:cubicBezTo>
                  <a:cubicBezTo>
                    <a:pt x="237" y="161"/>
                    <a:pt x="237" y="161"/>
                    <a:pt x="237" y="161"/>
                  </a:cubicBezTo>
                  <a:cubicBezTo>
                    <a:pt x="238" y="158"/>
                    <a:pt x="238" y="158"/>
                    <a:pt x="238" y="158"/>
                  </a:cubicBezTo>
                  <a:cubicBezTo>
                    <a:pt x="243" y="159"/>
                    <a:pt x="243" y="159"/>
                    <a:pt x="243" y="159"/>
                  </a:cubicBezTo>
                  <a:cubicBezTo>
                    <a:pt x="247" y="156"/>
                    <a:pt x="247" y="156"/>
                    <a:pt x="247" y="156"/>
                  </a:cubicBezTo>
                  <a:cubicBezTo>
                    <a:pt x="251" y="155"/>
                    <a:pt x="251" y="155"/>
                    <a:pt x="251" y="155"/>
                  </a:cubicBezTo>
                  <a:cubicBezTo>
                    <a:pt x="257" y="154"/>
                    <a:pt x="257" y="154"/>
                    <a:pt x="257" y="154"/>
                  </a:cubicBezTo>
                  <a:cubicBezTo>
                    <a:pt x="262" y="151"/>
                    <a:pt x="262" y="151"/>
                    <a:pt x="262" y="151"/>
                  </a:cubicBezTo>
                  <a:cubicBezTo>
                    <a:pt x="266" y="155"/>
                    <a:pt x="266" y="155"/>
                    <a:pt x="266" y="155"/>
                  </a:cubicBezTo>
                  <a:cubicBezTo>
                    <a:pt x="269" y="149"/>
                    <a:pt x="269" y="149"/>
                    <a:pt x="269" y="149"/>
                  </a:cubicBezTo>
                  <a:cubicBezTo>
                    <a:pt x="267" y="146"/>
                    <a:pt x="267" y="146"/>
                    <a:pt x="267" y="146"/>
                  </a:cubicBezTo>
                  <a:cubicBezTo>
                    <a:pt x="268" y="142"/>
                    <a:pt x="268" y="142"/>
                    <a:pt x="268" y="142"/>
                  </a:cubicBezTo>
                  <a:cubicBezTo>
                    <a:pt x="271" y="138"/>
                    <a:pt x="271" y="138"/>
                    <a:pt x="271" y="138"/>
                  </a:cubicBezTo>
                  <a:cubicBezTo>
                    <a:pt x="275" y="137"/>
                    <a:pt x="275" y="137"/>
                    <a:pt x="275" y="137"/>
                  </a:cubicBezTo>
                  <a:cubicBezTo>
                    <a:pt x="278" y="133"/>
                    <a:pt x="278" y="133"/>
                    <a:pt x="278" y="133"/>
                  </a:cubicBezTo>
                  <a:cubicBezTo>
                    <a:pt x="279" y="125"/>
                    <a:pt x="279" y="125"/>
                    <a:pt x="279" y="125"/>
                  </a:cubicBezTo>
                  <a:cubicBezTo>
                    <a:pt x="279" y="125"/>
                    <a:pt x="278" y="121"/>
                    <a:pt x="278" y="120"/>
                  </a:cubicBezTo>
                  <a:cubicBezTo>
                    <a:pt x="278" y="120"/>
                    <a:pt x="278" y="116"/>
                    <a:pt x="278" y="116"/>
                  </a:cubicBezTo>
                  <a:cubicBezTo>
                    <a:pt x="272" y="112"/>
                    <a:pt x="272" y="112"/>
                    <a:pt x="272" y="112"/>
                  </a:cubicBezTo>
                  <a:cubicBezTo>
                    <a:pt x="270" y="110"/>
                    <a:pt x="270" y="110"/>
                    <a:pt x="270" y="110"/>
                  </a:cubicBezTo>
                  <a:cubicBezTo>
                    <a:pt x="273" y="108"/>
                    <a:pt x="273" y="108"/>
                    <a:pt x="273" y="108"/>
                  </a:cubicBezTo>
                  <a:cubicBezTo>
                    <a:pt x="280" y="108"/>
                    <a:pt x="280" y="108"/>
                    <a:pt x="280" y="108"/>
                  </a:cubicBezTo>
                  <a:cubicBezTo>
                    <a:pt x="292" y="98"/>
                    <a:pt x="292" y="98"/>
                    <a:pt x="292" y="98"/>
                  </a:cubicBezTo>
                  <a:cubicBezTo>
                    <a:pt x="294" y="94"/>
                    <a:pt x="294" y="94"/>
                    <a:pt x="294" y="94"/>
                  </a:cubicBezTo>
                  <a:cubicBezTo>
                    <a:pt x="296" y="92"/>
                    <a:pt x="296" y="92"/>
                    <a:pt x="296" y="92"/>
                  </a:cubicBezTo>
                  <a:cubicBezTo>
                    <a:pt x="298" y="91"/>
                    <a:pt x="298" y="91"/>
                    <a:pt x="298" y="91"/>
                  </a:cubicBezTo>
                  <a:cubicBezTo>
                    <a:pt x="302" y="86"/>
                    <a:pt x="302" y="86"/>
                    <a:pt x="302" y="86"/>
                  </a:cubicBezTo>
                  <a:cubicBezTo>
                    <a:pt x="304" y="84"/>
                    <a:pt x="304" y="84"/>
                    <a:pt x="304" y="84"/>
                  </a:cubicBezTo>
                  <a:cubicBezTo>
                    <a:pt x="305" y="81"/>
                    <a:pt x="305" y="81"/>
                    <a:pt x="305" y="81"/>
                  </a:cubicBezTo>
                  <a:cubicBezTo>
                    <a:pt x="308" y="78"/>
                    <a:pt x="308" y="78"/>
                    <a:pt x="308" y="78"/>
                  </a:cubicBezTo>
                  <a:cubicBezTo>
                    <a:pt x="307" y="74"/>
                    <a:pt x="307" y="74"/>
                    <a:pt x="307" y="74"/>
                  </a:cubicBezTo>
                  <a:cubicBezTo>
                    <a:pt x="308" y="70"/>
                    <a:pt x="308" y="70"/>
                    <a:pt x="308" y="70"/>
                  </a:cubicBezTo>
                  <a:cubicBezTo>
                    <a:pt x="308" y="62"/>
                    <a:pt x="308" y="62"/>
                    <a:pt x="308" y="62"/>
                  </a:cubicBezTo>
                  <a:cubicBezTo>
                    <a:pt x="311" y="57"/>
                    <a:pt x="311" y="57"/>
                    <a:pt x="311" y="57"/>
                  </a:cubicBezTo>
                  <a:cubicBezTo>
                    <a:pt x="316" y="54"/>
                    <a:pt x="316" y="54"/>
                    <a:pt x="316" y="54"/>
                  </a:cubicBezTo>
                  <a:cubicBezTo>
                    <a:pt x="319" y="54"/>
                    <a:pt x="319" y="54"/>
                    <a:pt x="319" y="54"/>
                  </a:cubicBezTo>
                  <a:cubicBezTo>
                    <a:pt x="323" y="51"/>
                    <a:pt x="323" y="51"/>
                    <a:pt x="323" y="51"/>
                  </a:cubicBezTo>
                  <a:cubicBezTo>
                    <a:pt x="323" y="51"/>
                    <a:pt x="323" y="45"/>
                    <a:pt x="323" y="45"/>
                  </a:cubicBezTo>
                  <a:cubicBezTo>
                    <a:pt x="323" y="44"/>
                    <a:pt x="323" y="42"/>
                    <a:pt x="323" y="42"/>
                  </a:cubicBezTo>
                  <a:cubicBezTo>
                    <a:pt x="327" y="38"/>
                    <a:pt x="327" y="38"/>
                    <a:pt x="327" y="38"/>
                  </a:cubicBezTo>
                  <a:cubicBezTo>
                    <a:pt x="326" y="38"/>
                    <a:pt x="325" y="37"/>
                    <a:pt x="324" y="37"/>
                  </a:cubicBezTo>
                  <a:cubicBezTo>
                    <a:pt x="324" y="36"/>
                    <a:pt x="323" y="35"/>
                    <a:pt x="323" y="35"/>
                  </a:cubicBezTo>
                  <a:cubicBezTo>
                    <a:pt x="321" y="35"/>
                    <a:pt x="320" y="35"/>
                    <a:pt x="318" y="35"/>
                  </a:cubicBezTo>
                  <a:cubicBezTo>
                    <a:pt x="316" y="35"/>
                    <a:pt x="314" y="35"/>
                    <a:pt x="312" y="36"/>
                  </a:cubicBezTo>
                  <a:cubicBezTo>
                    <a:pt x="311" y="36"/>
                    <a:pt x="310" y="38"/>
                    <a:pt x="309" y="38"/>
                  </a:cubicBezTo>
                  <a:cubicBezTo>
                    <a:pt x="308" y="39"/>
                    <a:pt x="307" y="39"/>
                    <a:pt x="305" y="39"/>
                  </a:cubicBezTo>
                  <a:cubicBezTo>
                    <a:pt x="304" y="40"/>
                    <a:pt x="303" y="40"/>
                    <a:pt x="303" y="41"/>
                  </a:cubicBezTo>
                  <a:cubicBezTo>
                    <a:pt x="303" y="42"/>
                    <a:pt x="304" y="43"/>
                    <a:pt x="303" y="44"/>
                  </a:cubicBezTo>
                  <a:cubicBezTo>
                    <a:pt x="303" y="45"/>
                    <a:pt x="302" y="45"/>
                    <a:pt x="301" y="46"/>
                  </a:cubicBezTo>
                  <a:cubicBezTo>
                    <a:pt x="300" y="46"/>
                    <a:pt x="299" y="46"/>
                    <a:pt x="298" y="47"/>
                  </a:cubicBezTo>
                  <a:cubicBezTo>
                    <a:pt x="297" y="47"/>
                    <a:pt x="297" y="48"/>
                    <a:pt x="296" y="48"/>
                  </a:cubicBezTo>
                  <a:cubicBezTo>
                    <a:pt x="295" y="49"/>
                    <a:pt x="295" y="49"/>
                    <a:pt x="294" y="50"/>
                  </a:cubicBezTo>
                  <a:cubicBezTo>
                    <a:pt x="293" y="50"/>
                    <a:pt x="294" y="50"/>
                    <a:pt x="293" y="50"/>
                  </a:cubicBezTo>
                  <a:cubicBezTo>
                    <a:pt x="292" y="50"/>
                    <a:pt x="291" y="49"/>
                    <a:pt x="291" y="49"/>
                  </a:cubicBezTo>
                  <a:cubicBezTo>
                    <a:pt x="291" y="48"/>
                    <a:pt x="291" y="48"/>
                    <a:pt x="290" y="48"/>
                  </a:cubicBezTo>
                  <a:cubicBezTo>
                    <a:pt x="290" y="47"/>
                    <a:pt x="289" y="48"/>
                    <a:pt x="289" y="47"/>
                  </a:cubicBezTo>
                  <a:cubicBezTo>
                    <a:pt x="289" y="46"/>
                    <a:pt x="289" y="45"/>
                    <a:pt x="288" y="45"/>
                  </a:cubicBezTo>
                  <a:cubicBezTo>
                    <a:pt x="288" y="44"/>
                    <a:pt x="286" y="44"/>
                    <a:pt x="285" y="44"/>
                  </a:cubicBezTo>
                  <a:cubicBezTo>
                    <a:pt x="284" y="45"/>
                    <a:pt x="283" y="45"/>
                    <a:pt x="282" y="45"/>
                  </a:cubicBezTo>
                  <a:cubicBezTo>
                    <a:pt x="281" y="45"/>
                    <a:pt x="280" y="46"/>
                    <a:pt x="279" y="46"/>
                  </a:cubicBezTo>
                  <a:cubicBezTo>
                    <a:pt x="278" y="45"/>
                    <a:pt x="278" y="45"/>
                    <a:pt x="277" y="44"/>
                  </a:cubicBezTo>
                  <a:cubicBezTo>
                    <a:pt x="276" y="43"/>
                    <a:pt x="274" y="41"/>
                    <a:pt x="273" y="40"/>
                  </a:cubicBezTo>
                  <a:cubicBezTo>
                    <a:pt x="271" y="39"/>
                    <a:pt x="269" y="39"/>
                    <a:pt x="268" y="40"/>
                  </a:cubicBezTo>
                  <a:cubicBezTo>
                    <a:pt x="266" y="40"/>
                    <a:pt x="264" y="41"/>
                    <a:pt x="262" y="40"/>
                  </a:cubicBezTo>
                  <a:cubicBezTo>
                    <a:pt x="262" y="39"/>
                    <a:pt x="261" y="39"/>
                    <a:pt x="260" y="38"/>
                  </a:cubicBezTo>
                  <a:cubicBezTo>
                    <a:pt x="260" y="38"/>
                    <a:pt x="260" y="38"/>
                    <a:pt x="260" y="37"/>
                  </a:cubicBezTo>
                  <a:cubicBezTo>
                    <a:pt x="259" y="36"/>
                    <a:pt x="257" y="37"/>
                    <a:pt x="256" y="38"/>
                  </a:cubicBezTo>
                  <a:cubicBezTo>
                    <a:pt x="255" y="38"/>
                    <a:pt x="254" y="38"/>
                    <a:pt x="253" y="39"/>
                  </a:cubicBezTo>
                  <a:cubicBezTo>
                    <a:pt x="252" y="39"/>
                    <a:pt x="251" y="39"/>
                    <a:pt x="251" y="38"/>
                  </a:cubicBezTo>
                  <a:cubicBezTo>
                    <a:pt x="251" y="37"/>
                    <a:pt x="252" y="37"/>
                    <a:pt x="252" y="36"/>
                  </a:cubicBezTo>
                  <a:cubicBezTo>
                    <a:pt x="253" y="36"/>
                    <a:pt x="254" y="36"/>
                    <a:pt x="254" y="35"/>
                  </a:cubicBezTo>
                  <a:cubicBezTo>
                    <a:pt x="255" y="35"/>
                    <a:pt x="255" y="34"/>
                    <a:pt x="255" y="34"/>
                  </a:cubicBezTo>
                  <a:cubicBezTo>
                    <a:pt x="255" y="33"/>
                    <a:pt x="256" y="33"/>
                    <a:pt x="256" y="32"/>
                  </a:cubicBezTo>
                  <a:cubicBezTo>
                    <a:pt x="257" y="32"/>
                    <a:pt x="257" y="31"/>
                    <a:pt x="257" y="30"/>
                  </a:cubicBezTo>
                  <a:cubicBezTo>
                    <a:pt x="256" y="29"/>
                    <a:pt x="255" y="29"/>
                    <a:pt x="254" y="29"/>
                  </a:cubicBezTo>
                  <a:cubicBezTo>
                    <a:pt x="253" y="28"/>
                    <a:pt x="252" y="28"/>
                    <a:pt x="252" y="29"/>
                  </a:cubicBezTo>
                  <a:cubicBezTo>
                    <a:pt x="251" y="29"/>
                    <a:pt x="250" y="29"/>
                    <a:pt x="249" y="28"/>
                  </a:cubicBezTo>
                  <a:cubicBezTo>
                    <a:pt x="248" y="28"/>
                    <a:pt x="248" y="27"/>
                    <a:pt x="247" y="28"/>
                  </a:cubicBezTo>
                  <a:cubicBezTo>
                    <a:pt x="246" y="29"/>
                    <a:pt x="245" y="31"/>
                    <a:pt x="242" y="30"/>
                  </a:cubicBezTo>
                  <a:cubicBezTo>
                    <a:pt x="241" y="30"/>
                    <a:pt x="240" y="29"/>
                    <a:pt x="239" y="29"/>
                  </a:cubicBezTo>
                  <a:cubicBezTo>
                    <a:pt x="238" y="29"/>
                    <a:pt x="238" y="29"/>
                    <a:pt x="237" y="29"/>
                  </a:cubicBezTo>
                  <a:cubicBezTo>
                    <a:pt x="236" y="29"/>
                    <a:pt x="234" y="30"/>
                    <a:pt x="233" y="29"/>
                  </a:cubicBezTo>
                  <a:cubicBezTo>
                    <a:pt x="232" y="29"/>
                    <a:pt x="232" y="29"/>
                    <a:pt x="232" y="29"/>
                  </a:cubicBezTo>
                  <a:cubicBezTo>
                    <a:pt x="232" y="28"/>
                    <a:pt x="232" y="28"/>
                    <a:pt x="232" y="28"/>
                  </a:cubicBezTo>
                  <a:cubicBezTo>
                    <a:pt x="231" y="28"/>
                    <a:pt x="229" y="28"/>
                    <a:pt x="228" y="28"/>
                  </a:cubicBezTo>
                  <a:cubicBezTo>
                    <a:pt x="227" y="28"/>
                    <a:pt x="226" y="28"/>
                    <a:pt x="225" y="28"/>
                  </a:cubicBezTo>
                  <a:cubicBezTo>
                    <a:pt x="224" y="28"/>
                    <a:pt x="221" y="28"/>
                    <a:pt x="220" y="29"/>
                  </a:cubicBezTo>
                  <a:cubicBezTo>
                    <a:pt x="219" y="31"/>
                    <a:pt x="218" y="31"/>
                    <a:pt x="216" y="31"/>
                  </a:cubicBezTo>
                  <a:cubicBezTo>
                    <a:pt x="214" y="31"/>
                    <a:pt x="212" y="32"/>
                    <a:pt x="210" y="33"/>
                  </a:cubicBezTo>
                  <a:cubicBezTo>
                    <a:pt x="210" y="34"/>
                    <a:pt x="209" y="35"/>
                    <a:pt x="207" y="35"/>
                  </a:cubicBezTo>
                  <a:cubicBezTo>
                    <a:pt x="207" y="36"/>
                    <a:pt x="206" y="35"/>
                    <a:pt x="205" y="36"/>
                  </a:cubicBezTo>
                  <a:cubicBezTo>
                    <a:pt x="204" y="37"/>
                    <a:pt x="205" y="38"/>
                    <a:pt x="205" y="39"/>
                  </a:cubicBezTo>
                  <a:cubicBezTo>
                    <a:pt x="205" y="39"/>
                    <a:pt x="206" y="39"/>
                    <a:pt x="206" y="39"/>
                  </a:cubicBezTo>
                  <a:cubicBezTo>
                    <a:pt x="207" y="41"/>
                    <a:pt x="206" y="42"/>
                    <a:pt x="205" y="43"/>
                  </a:cubicBezTo>
                  <a:cubicBezTo>
                    <a:pt x="205" y="43"/>
                    <a:pt x="204" y="44"/>
                    <a:pt x="203" y="45"/>
                  </a:cubicBezTo>
                  <a:cubicBezTo>
                    <a:pt x="203" y="45"/>
                    <a:pt x="203" y="46"/>
                    <a:pt x="203" y="47"/>
                  </a:cubicBezTo>
                  <a:cubicBezTo>
                    <a:pt x="202" y="47"/>
                    <a:pt x="202" y="48"/>
                    <a:pt x="202" y="48"/>
                  </a:cubicBezTo>
                  <a:cubicBezTo>
                    <a:pt x="202" y="49"/>
                    <a:pt x="202" y="49"/>
                    <a:pt x="202" y="50"/>
                  </a:cubicBezTo>
                  <a:cubicBezTo>
                    <a:pt x="202" y="51"/>
                    <a:pt x="201" y="51"/>
                    <a:pt x="201" y="52"/>
                  </a:cubicBezTo>
                  <a:cubicBezTo>
                    <a:pt x="200" y="53"/>
                    <a:pt x="201" y="54"/>
                    <a:pt x="200" y="55"/>
                  </a:cubicBezTo>
                  <a:cubicBezTo>
                    <a:pt x="199" y="55"/>
                    <a:pt x="197" y="55"/>
                    <a:pt x="196" y="55"/>
                  </a:cubicBezTo>
                  <a:cubicBezTo>
                    <a:pt x="195" y="55"/>
                    <a:pt x="193" y="55"/>
                    <a:pt x="191" y="55"/>
                  </a:cubicBezTo>
                  <a:cubicBezTo>
                    <a:pt x="189" y="55"/>
                    <a:pt x="189" y="56"/>
                    <a:pt x="188" y="57"/>
                  </a:cubicBezTo>
                  <a:cubicBezTo>
                    <a:pt x="187" y="58"/>
                    <a:pt x="185" y="58"/>
                    <a:pt x="185" y="60"/>
                  </a:cubicBezTo>
                  <a:cubicBezTo>
                    <a:pt x="184" y="61"/>
                    <a:pt x="185" y="62"/>
                    <a:pt x="184" y="63"/>
                  </a:cubicBezTo>
                  <a:cubicBezTo>
                    <a:pt x="184" y="63"/>
                    <a:pt x="182" y="64"/>
                    <a:pt x="182" y="64"/>
                  </a:cubicBezTo>
                  <a:cubicBezTo>
                    <a:pt x="180" y="65"/>
                    <a:pt x="179" y="63"/>
                    <a:pt x="178" y="63"/>
                  </a:cubicBezTo>
                  <a:cubicBezTo>
                    <a:pt x="177" y="62"/>
                    <a:pt x="176" y="62"/>
                    <a:pt x="175" y="62"/>
                  </a:cubicBezTo>
                  <a:cubicBezTo>
                    <a:pt x="174" y="62"/>
                    <a:pt x="174" y="62"/>
                    <a:pt x="172" y="61"/>
                  </a:cubicBezTo>
                  <a:cubicBezTo>
                    <a:pt x="171" y="61"/>
                    <a:pt x="171" y="61"/>
                    <a:pt x="170" y="62"/>
                  </a:cubicBezTo>
                  <a:cubicBezTo>
                    <a:pt x="169" y="62"/>
                    <a:pt x="169" y="62"/>
                    <a:pt x="169" y="63"/>
                  </a:cubicBezTo>
                  <a:cubicBezTo>
                    <a:pt x="168" y="64"/>
                    <a:pt x="168" y="64"/>
                    <a:pt x="168" y="64"/>
                  </a:cubicBezTo>
                  <a:cubicBezTo>
                    <a:pt x="167" y="65"/>
                    <a:pt x="166" y="65"/>
                    <a:pt x="166" y="66"/>
                  </a:cubicBezTo>
                  <a:cubicBezTo>
                    <a:pt x="165" y="66"/>
                    <a:pt x="165" y="66"/>
                    <a:pt x="165" y="66"/>
                  </a:cubicBezTo>
                  <a:cubicBezTo>
                    <a:pt x="164" y="66"/>
                    <a:pt x="164" y="66"/>
                    <a:pt x="164" y="66"/>
                  </a:cubicBezTo>
                  <a:cubicBezTo>
                    <a:pt x="163" y="65"/>
                    <a:pt x="163" y="64"/>
                    <a:pt x="163" y="64"/>
                  </a:cubicBezTo>
                  <a:cubicBezTo>
                    <a:pt x="162" y="63"/>
                    <a:pt x="162" y="62"/>
                    <a:pt x="161" y="62"/>
                  </a:cubicBezTo>
                  <a:cubicBezTo>
                    <a:pt x="159" y="63"/>
                    <a:pt x="157" y="63"/>
                    <a:pt x="155" y="63"/>
                  </a:cubicBezTo>
                  <a:cubicBezTo>
                    <a:pt x="154" y="62"/>
                    <a:pt x="153" y="61"/>
                    <a:pt x="152" y="61"/>
                  </a:cubicBezTo>
                  <a:cubicBezTo>
                    <a:pt x="150" y="60"/>
                    <a:pt x="149" y="60"/>
                    <a:pt x="148" y="59"/>
                  </a:cubicBezTo>
                  <a:cubicBezTo>
                    <a:pt x="147" y="59"/>
                    <a:pt x="146" y="58"/>
                    <a:pt x="145" y="58"/>
                  </a:cubicBezTo>
                  <a:cubicBezTo>
                    <a:pt x="144" y="59"/>
                    <a:pt x="142" y="60"/>
                    <a:pt x="141" y="60"/>
                  </a:cubicBezTo>
                  <a:cubicBezTo>
                    <a:pt x="138" y="60"/>
                    <a:pt x="136" y="60"/>
                    <a:pt x="133" y="61"/>
                  </a:cubicBezTo>
                  <a:cubicBezTo>
                    <a:pt x="131" y="61"/>
                    <a:pt x="127" y="60"/>
                    <a:pt x="126" y="62"/>
                  </a:cubicBezTo>
                  <a:cubicBezTo>
                    <a:pt x="125" y="64"/>
                    <a:pt x="124" y="65"/>
                    <a:pt x="122" y="66"/>
                  </a:cubicBezTo>
                  <a:cubicBezTo>
                    <a:pt x="122" y="66"/>
                    <a:pt x="120" y="66"/>
                    <a:pt x="120" y="67"/>
                  </a:cubicBezTo>
                  <a:cubicBezTo>
                    <a:pt x="119" y="67"/>
                    <a:pt x="120" y="68"/>
                    <a:pt x="119" y="69"/>
                  </a:cubicBezTo>
                  <a:cubicBezTo>
                    <a:pt x="119" y="69"/>
                    <a:pt x="118" y="68"/>
                    <a:pt x="118" y="68"/>
                  </a:cubicBezTo>
                  <a:cubicBezTo>
                    <a:pt x="117" y="69"/>
                    <a:pt x="117" y="69"/>
                    <a:pt x="116" y="69"/>
                  </a:cubicBezTo>
                  <a:cubicBezTo>
                    <a:pt x="115" y="69"/>
                    <a:pt x="115" y="69"/>
                    <a:pt x="114" y="70"/>
                  </a:cubicBezTo>
                  <a:cubicBezTo>
                    <a:pt x="113" y="72"/>
                    <a:pt x="111" y="70"/>
                    <a:pt x="110" y="70"/>
                  </a:cubicBezTo>
                  <a:cubicBezTo>
                    <a:pt x="110" y="70"/>
                    <a:pt x="110" y="72"/>
                    <a:pt x="109" y="72"/>
                  </a:cubicBezTo>
                  <a:cubicBezTo>
                    <a:pt x="108" y="73"/>
                    <a:pt x="105" y="72"/>
                    <a:pt x="104" y="72"/>
                  </a:cubicBezTo>
                  <a:cubicBezTo>
                    <a:pt x="102" y="73"/>
                    <a:pt x="100" y="71"/>
                    <a:pt x="98" y="70"/>
                  </a:cubicBezTo>
                  <a:cubicBezTo>
                    <a:pt x="97" y="69"/>
                    <a:pt x="98" y="68"/>
                    <a:pt x="97" y="67"/>
                  </a:cubicBezTo>
                  <a:cubicBezTo>
                    <a:pt x="97" y="66"/>
                    <a:pt x="97" y="67"/>
                    <a:pt x="96" y="66"/>
                  </a:cubicBezTo>
                  <a:cubicBezTo>
                    <a:pt x="95" y="66"/>
                    <a:pt x="95" y="66"/>
                    <a:pt x="95" y="65"/>
                  </a:cubicBezTo>
                  <a:cubicBezTo>
                    <a:pt x="94" y="64"/>
                    <a:pt x="94" y="63"/>
                    <a:pt x="93" y="64"/>
                  </a:cubicBezTo>
                  <a:cubicBezTo>
                    <a:pt x="92" y="62"/>
                    <a:pt x="91" y="64"/>
                    <a:pt x="89" y="64"/>
                  </a:cubicBezTo>
                  <a:cubicBezTo>
                    <a:pt x="87" y="65"/>
                    <a:pt x="88" y="63"/>
                    <a:pt x="88" y="62"/>
                  </a:cubicBezTo>
                  <a:cubicBezTo>
                    <a:pt x="88" y="61"/>
                    <a:pt x="87" y="61"/>
                    <a:pt x="86" y="60"/>
                  </a:cubicBezTo>
                  <a:cubicBezTo>
                    <a:pt x="86" y="59"/>
                    <a:pt x="86" y="58"/>
                    <a:pt x="85" y="57"/>
                  </a:cubicBezTo>
                  <a:cubicBezTo>
                    <a:pt x="82" y="59"/>
                    <a:pt x="82" y="54"/>
                    <a:pt x="82" y="53"/>
                  </a:cubicBezTo>
                  <a:cubicBezTo>
                    <a:pt x="82" y="51"/>
                    <a:pt x="80" y="53"/>
                    <a:pt x="78" y="52"/>
                  </a:cubicBezTo>
                  <a:cubicBezTo>
                    <a:pt x="77" y="52"/>
                    <a:pt x="77" y="52"/>
                    <a:pt x="77" y="51"/>
                  </a:cubicBezTo>
                  <a:cubicBezTo>
                    <a:pt x="76" y="51"/>
                    <a:pt x="75" y="52"/>
                    <a:pt x="75" y="51"/>
                  </a:cubicBezTo>
                  <a:cubicBezTo>
                    <a:pt x="74" y="50"/>
                    <a:pt x="75" y="48"/>
                    <a:pt x="74" y="48"/>
                  </a:cubicBezTo>
                  <a:cubicBezTo>
                    <a:pt x="73" y="47"/>
                    <a:pt x="71" y="47"/>
                    <a:pt x="70" y="47"/>
                  </a:cubicBezTo>
                  <a:cubicBezTo>
                    <a:pt x="68" y="46"/>
                    <a:pt x="69" y="44"/>
                    <a:pt x="69" y="43"/>
                  </a:cubicBezTo>
                  <a:cubicBezTo>
                    <a:pt x="69" y="41"/>
                    <a:pt x="67" y="38"/>
                    <a:pt x="65" y="38"/>
                  </a:cubicBezTo>
                  <a:cubicBezTo>
                    <a:pt x="64" y="38"/>
                    <a:pt x="61" y="38"/>
                    <a:pt x="61" y="37"/>
                  </a:cubicBezTo>
                  <a:cubicBezTo>
                    <a:pt x="60" y="36"/>
                    <a:pt x="61" y="35"/>
                    <a:pt x="60" y="34"/>
                  </a:cubicBezTo>
                  <a:cubicBezTo>
                    <a:pt x="59" y="34"/>
                    <a:pt x="58" y="35"/>
                    <a:pt x="57" y="34"/>
                  </a:cubicBezTo>
                  <a:cubicBezTo>
                    <a:pt x="56" y="32"/>
                    <a:pt x="55" y="31"/>
                    <a:pt x="53" y="29"/>
                  </a:cubicBezTo>
                  <a:cubicBezTo>
                    <a:pt x="52" y="28"/>
                    <a:pt x="51" y="27"/>
                    <a:pt x="50" y="25"/>
                  </a:cubicBezTo>
                  <a:cubicBezTo>
                    <a:pt x="50" y="24"/>
                    <a:pt x="50" y="23"/>
                    <a:pt x="50" y="22"/>
                  </a:cubicBezTo>
                  <a:cubicBezTo>
                    <a:pt x="50" y="20"/>
                    <a:pt x="50" y="19"/>
                    <a:pt x="51" y="18"/>
                  </a:cubicBezTo>
                  <a:cubicBezTo>
                    <a:pt x="51" y="14"/>
                    <a:pt x="47" y="16"/>
                    <a:pt x="45" y="15"/>
                  </a:cubicBezTo>
                  <a:cubicBezTo>
                    <a:pt x="45" y="14"/>
                    <a:pt x="45" y="13"/>
                    <a:pt x="45" y="13"/>
                  </a:cubicBezTo>
                  <a:cubicBezTo>
                    <a:pt x="44" y="12"/>
                    <a:pt x="44" y="12"/>
                    <a:pt x="44" y="12"/>
                  </a:cubicBezTo>
                  <a:cubicBezTo>
                    <a:pt x="44" y="11"/>
                    <a:pt x="44" y="11"/>
                    <a:pt x="44" y="11"/>
                  </a:cubicBezTo>
                  <a:cubicBezTo>
                    <a:pt x="43" y="10"/>
                    <a:pt x="43" y="11"/>
                    <a:pt x="42" y="10"/>
                  </a:cubicBezTo>
                  <a:cubicBezTo>
                    <a:pt x="42" y="9"/>
                    <a:pt x="42" y="8"/>
                    <a:pt x="42" y="7"/>
                  </a:cubicBezTo>
                  <a:cubicBezTo>
                    <a:pt x="42" y="7"/>
                    <a:pt x="43" y="7"/>
                    <a:pt x="43" y="6"/>
                  </a:cubicBezTo>
                  <a:cubicBezTo>
                    <a:pt x="44" y="6"/>
                    <a:pt x="43" y="5"/>
                    <a:pt x="44" y="5"/>
                  </a:cubicBezTo>
                  <a:cubicBezTo>
                    <a:pt x="45" y="4"/>
                    <a:pt x="46" y="4"/>
                    <a:pt x="48" y="4"/>
                  </a:cubicBezTo>
                  <a:cubicBezTo>
                    <a:pt x="48" y="3"/>
                    <a:pt x="48" y="2"/>
                    <a:pt x="48" y="1"/>
                  </a:cubicBezTo>
                  <a:cubicBezTo>
                    <a:pt x="48" y="0"/>
                    <a:pt x="48" y="0"/>
                    <a:pt x="48" y="0"/>
                  </a:cubicBezTo>
                  <a:cubicBezTo>
                    <a:pt x="47" y="1"/>
                    <a:pt x="45" y="2"/>
                    <a:pt x="44" y="3"/>
                  </a:cubicBezTo>
                  <a:cubicBezTo>
                    <a:pt x="43" y="3"/>
                    <a:pt x="42" y="3"/>
                    <a:pt x="41" y="4"/>
                  </a:cubicBezTo>
                  <a:cubicBezTo>
                    <a:pt x="39" y="4"/>
                    <a:pt x="38" y="5"/>
                    <a:pt x="37" y="5"/>
                  </a:cubicBezTo>
                  <a:cubicBezTo>
                    <a:pt x="35" y="5"/>
                    <a:pt x="34" y="5"/>
                    <a:pt x="32" y="5"/>
                  </a:cubicBezTo>
                  <a:cubicBezTo>
                    <a:pt x="31" y="5"/>
                    <a:pt x="29" y="5"/>
                    <a:pt x="30" y="7"/>
                  </a:cubicBezTo>
                  <a:cubicBezTo>
                    <a:pt x="30" y="8"/>
                    <a:pt x="30" y="8"/>
                    <a:pt x="30" y="9"/>
                  </a:cubicBezTo>
                  <a:cubicBezTo>
                    <a:pt x="30" y="10"/>
                    <a:pt x="29" y="10"/>
                    <a:pt x="29" y="11"/>
                  </a:cubicBezTo>
                  <a:cubicBezTo>
                    <a:pt x="29" y="12"/>
                    <a:pt x="29" y="12"/>
                    <a:pt x="29" y="13"/>
                  </a:cubicBezTo>
                  <a:cubicBezTo>
                    <a:pt x="29" y="13"/>
                    <a:pt x="30" y="13"/>
                    <a:pt x="30" y="14"/>
                  </a:cubicBezTo>
                  <a:cubicBezTo>
                    <a:pt x="30" y="15"/>
                    <a:pt x="29" y="16"/>
                    <a:pt x="28" y="16"/>
                  </a:cubicBezTo>
                  <a:cubicBezTo>
                    <a:pt x="27" y="18"/>
                    <a:pt x="26" y="20"/>
                    <a:pt x="25" y="22"/>
                  </a:cubicBezTo>
                  <a:cubicBezTo>
                    <a:pt x="24" y="23"/>
                    <a:pt x="23" y="24"/>
                    <a:pt x="22" y="25"/>
                  </a:cubicBezTo>
                  <a:cubicBezTo>
                    <a:pt x="21" y="26"/>
                    <a:pt x="20" y="26"/>
                    <a:pt x="19" y="27"/>
                  </a:cubicBezTo>
                  <a:cubicBezTo>
                    <a:pt x="18" y="27"/>
                    <a:pt x="16" y="28"/>
                    <a:pt x="14" y="29"/>
                  </a:cubicBezTo>
                  <a:cubicBezTo>
                    <a:pt x="12" y="31"/>
                    <a:pt x="12" y="32"/>
                    <a:pt x="12" y="35"/>
                  </a:cubicBezTo>
                  <a:cubicBezTo>
                    <a:pt x="12" y="37"/>
                    <a:pt x="12" y="39"/>
                    <a:pt x="12" y="41"/>
                  </a:cubicBezTo>
                  <a:cubicBezTo>
                    <a:pt x="11" y="42"/>
                    <a:pt x="11" y="43"/>
                    <a:pt x="11" y="44"/>
                  </a:cubicBezTo>
                  <a:cubicBezTo>
                    <a:pt x="11" y="44"/>
                    <a:pt x="10" y="46"/>
                    <a:pt x="10" y="47"/>
                  </a:cubicBezTo>
                  <a:cubicBezTo>
                    <a:pt x="10" y="48"/>
                    <a:pt x="7" y="48"/>
                    <a:pt x="7" y="50"/>
                  </a:cubicBezTo>
                  <a:cubicBezTo>
                    <a:pt x="7" y="51"/>
                    <a:pt x="9" y="51"/>
                    <a:pt x="9" y="51"/>
                  </a:cubicBezTo>
                  <a:cubicBezTo>
                    <a:pt x="10" y="52"/>
                    <a:pt x="8" y="53"/>
                    <a:pt x="8" y="53"/>
                  </a:cubicBezTo>
                  <a:cubicBezTo>
                    <a:pt x="6" y="54"/>
                    <a:pt x="5" y="51"/>
                    <a:pt x="4" y="53"/>
                  </a:cubicBezTo>
                  <a:cubicBezTo>
                    <a:pt x="3" y="54"/>
                    <a:pt x="5" y="58"/>
                    <a:pt x="5" y="59"/>
                  </a:cubicBezTo>
                  <a:cubicBezTo>
                    <a:pt x="6" y="60"/>
                    <a:pt x="7" y="61"/>
                    <a:pt x="8" y="63"/>
                  </a:cubicBezTo>
                  <a:cubicBezTo>
                    <a:pt x="8" y="64"/>
                    <a:pt x="8" y="66"/>
                    <a:pt x="7" y="66"/>
                  </a:cubicBezTo>
                  <a:cubicBezTo>
                    <a:pt x="7" y="68"/>
                    <a:pt x="6" y="69"/>
                    <a:pt x="5" y="70"/>
                  </a:cubicBezTo>
                  <a:cubicBezTo>
                    <a:pt x="5" y="71"/>
                    <a:pt x="5" y="71"/>
                    <a:pt x="4" y="72"/>
                  </a:cubicBezTo>
                  <a:cubicBezTo>
                    <a:pt x="2" y="73"/>
                    <a:pt x="0" y="73"/>
                    <a:pt x="1" y="76"/>
                  </a:cubicBezTo>
                  <a:cubicBezTo>
                    <a:pt x="1" y="77"/>
                    <a:pt x="2" y="78"/>
                    <a:pt x="2" y="79"/>
                  </a:cubicBezTo>
                  <a:cubicBezTo>
                    <a:pt x="2" y="80"/>
                    <a:pt x="2" y="80"/>
                    <a:pt x="2" y="81"/>
                  </a:cubicBezTo>
                  <a:cubicBezTo>
                    <a:pt x="3" y="83"/>
                    <a:pt x="5" y="84"/>
                    <a:pt x="5" y="86"/>
                  </a:cubicBezTo>
                  <a:cubicBezTo>
                    <a:pt x="6" y="88"/>
                    <a:pt x="3" y="90"/>
                    <a:pt x="3" y="93"/>
                  </a:cubicBezTo>
                  <a:cubicBezTo>
                    <a:pt x="3" y="94"/>
                    <a:pt x="3" y="95"/>
                    <a:pt x="4" y="96"/>
                  </a:cubicBezTo>
                  <a:cubicBezTo>
                    <a:pt x="5" y="97"/>
                    <a:pt x="6" y="98"/>
                    <a:pt x="6" y="99"/>
                  </a:cubicBezTo>
                  <a:cubicBezTo>
                    <a:pt x="6" y="101"/>
                    <a:pt x="4" y="102"/>
                    <a:pt x="5" y="104"/>
                  </a:cubicBezTo>
                  <a:cubicBezTo>
                    <a:pt x="5" y="106"/>
                    <a:pt x="9" y="105"/>
                    <a:pt x="11" y="106"/>
                  </a:cubicBezTo>
                  <a:cubicBezTo>
                    <a:pt x="12" y="107"/>
                    <a:pt x="14" y="109"/>
                    <a:pt x="15" y="110"/>
                  </a:cubicBezTo>
                  <a:cubicBezTo>
                    <a:pt x="16" y="111"/>
                    <a:pt x="17" y="113"/>
                    <a:pt x="17" y="115"/>
                  </a:cubicBezTo>
                  <a:cubicBezTo>
                    <a:pt x="18" y="117"/>
                    <a:pt x="18" y="119"/>
                    <a:pt x="19" y="120"/>
                  </a:cubicBezTo>
                  <a:cubicBezTo>
                    <a:pt x="20" y="121"/>
                    <a:pt x="23" y="121"/>
                    <a:pt x="24" y="122"/>
                  </a:cubicBezTo>
                  <a:cubicBezTo>
                    <a:pt x="25" y="122"/>
                    <a:pt x="26" y="122"/>
                    <a:pt x="25" y="123"/>
                  </a:cubicBezTo>
                  <a:cubicBezTo>
                    <a:pt x="25" y="124"/>
                    <a:pt x="24" y="124"/>
                    <a:pt x="24" y="123"/>
                  </a:cubicBezTo>
                  <a:cubicBezTo>
                    <a:pt x="23" y="123"/>
                    <a:pt x="22" y="122"/>
                    <a:pt x="21" y="122"/>
                  </a:cubicBezTo>
                  <a:cubicBezTo>
                    <a:pt x="19" y="122"/>
                    <a:pt x="19" y="124"/>
                    <a:pt x="19" y="125"/>
                  </a:cubicBezTo>
                  <a:cubicBezTo>
                    <a:pt x="19" y="125"/>
                    <a:pt x="19" y="126"/>
                    <a:pt x="19" y="127"/>
                  </a:cubicBezTo>
                  <a:cubicBezTo>
                    <a:pt x="19" y="128"/>
                    <a:pt x="20" y="130"/>
                    <a:pt x="20" y="131"/>
                  </a:cubicBezTo>
                  <a:cubicBezTo>
                    <a:pt x="19" y="132"/>
                    <a:pt x="19" y="135"/>
                    <a:pt x="19" y="136"/>
                  </a:cubicBezTo>
                  <a:cubicBezTo>
                    <a:pt x="17" y="137"/>
                    <a:pt x="12" y="136"/>
                    <a:pt x="12" y="139"/>
                  </a:cubicBezTo>
                  <a:cubicBezTo>
                    <a:pt x="12" y="139"/>
                    <a:pt x="14" y="140"/>
                    <a:pt x="15" y="141"/>
                  </a:cubicBezTo>
                  <a:cubicBezTo>
                    <a:pt x="15" y="141"/>
                    <a:pt x="16" y="143"/>
                    <a:pt x="17" y="143"/>
                  </a:cubicBezTo>
                  <a:cubicBezTo>
                    <a:pt x="17" y="144"/>
                    <a:pt x="18" y="145"/>
                    <a:pt x="18" y="146"/>
                  </a:cubicBezTo>
                  <a:cubicBezTo>
                    <a:pt x="18" y="147"/>
                    <a:pt x="17" y="147"/>
                    <a:pt x="16" y="146"/>
                  </a:cubicBezTo>
                  <a:cubicBezTo>
                    <a:pt x="16" y="147"/>
                    <a:pt x="17" y="151"/>
                    <a:pt x="17" y="153"/>
                  </a:cubicBezTo>
                  <a:cubicBezTo>
                    <a:pt x="17" y="154"/>
                    <a:pt x="17" y="157"/>
                    <a:pt x="19" y="158"/>
                  </a:cubicBezTo>
                  <a:cubicBezTo>
                    <a:pt x="20" y="160"/>
                    <a:pt x="19" y="159"/>
                    <a:pt x="20" y="158"/>
                  </a:cubicBezTo>
                  <a:cubicBezTo>
                    <a:pt x="24" y="158"/>
                    <a:pt x="23" y="160"/>
                    <a:pt x="24" y="161"/>
                  </a:cubicBezTo>
                  <a:cubicBezTo>
                    <a:pt x="27" y="163"/>
                    <a:pt x="29" y="161"/>
                    <a:pt x="31" y="160"/>
                  </a:cubicBezTo>
                  <a:cubicBezTo>
                    <a:pt x="33" y="160"/>
                    <a:pt x="35" y="162"/>
                    <a:pt x="36" y="162"/>
                  </a:cubicBezTo>
                  <a:cubicBezTo>
                    <a:pt x="38" y="164"/>
                    <a:pt x="40" y="165"/>
                    <a:pt x="42" y="167"/>
                  </a:cubicBezTo>
                  <a:cubicBezTo>
                    <a:pt x="45" y="170"/>
                    <a:pt x="40" y="170"/>
                    <a:pt x="37" y="170"/>
                  </a:cubicBezTo>
                  <a:cubicBezTo>
                    <a:pt x="36" y="170"/>
                    <a:pt x="34" y="169"/>
                    <a:pt x="32" y="169"/>
                  </a:cubicBezTo>
                  <a:cubicBezTo>
                    <a:pt x="31" y="169"/>
                    <a:pt x="29" y="169"/>
                    <a:pt x="29" y="168"/>
                  </a:cubicBezTo>
                  <a:cubicBezTo>
                    <a:pt x="28" y="168"/>
                    <a:pt x="27" y="167"/>
                    <a:pt x="27" y="166"/>
                  </a:cubicBezTo>
                  <a:cubicBezTo>
                    <a:pt x="26" y="165"/>
                    <a:pt x="26" y="165"/>
                    <a:pt x="25" y="165"/>
                  </a:cubicBezTo>
                  <a:cubicBezTo>
                    <a:pt x="23" y="166"/>
                    <a:pt x="24" y="169"/>
                    <a:pt x="24" y="170"/>
                  </a:cubicBezTo>
                  <a:cubicBezTo>
                    <a:pt x="24" y="172"/>
                    <a:pt x="24" y="176"/>
                    <a:pt x="26" y="177"/>
                  </a:cubicBezTo>
                  <a:cubicBezTo>
                    <a:pt x="27" y="179"/>
                    <a:pt x="29" y="179"/>
                    <a:pt x="30" y="179"/>
                  </a:cubicBezTo>
                  <a:cubicBezTo>
                    <a:pt x="32" y="180"/>
                    <a:pt x="33" y="183"/>
                    <a:pt x="34" y="181"/>
                  </a:cubicBezTo>
                  <a:cubicBezTo>
                    <a:pt x="35" y="180"/>
                    <a:pt x="35" y="178"/>
                    <a:pt x="36" y="177"/>
                  </a:cubicBezTo>
                  <a:cubicBezTo>
                    <a:pt x="37" y="177"/>
                    <a:pt x="40" y="178"/>
                    <a:pt x="41" y="179"/>
                  </a:cubicBezTo>
                  <a:cubicBezTo>
                    <a:pt x="42" y="179"/>
                    <a:pt x="45" y="179"/>
                    <a:pt x="46" y="180"/>
                  </a:cubicBezTo>
                  <a:cubicBezTo>
                    <a:pt x="46" y="180"/>
                    <a:pt x="46" y="182"/>
                    <a:pt x="47" y="183"/>
                  </a:cubicBezTo>
                  <a:cubicBezTo>
                    <a:pt x="48" y="183"/>
                    <a:pt x="51" y="185"/>
                    <a:pt x="50" y="186"/>
                  </a:cubicBezTo>
                  <a:cubicBezTo>
                    <a:pt x="49" y="186"/>
                    <a:pt x="47" y="186"/>
                    <a:pt x="46" y="185"/>
                  </a:cubicBezTo>
                  <a:cubicBezTo>
                    <a:pt x="45" y="184"/>
                    <a:pt x="45" y="184"/>
                    <a:pt x="44" y="185"/>
                  </a:cubicBezTo>
                  <a:cubicBezTo>
                    <a:pt x="42" y="186"/>
                    <a:pt x="42" y="186"/>
                    <a:pt x="40" y="185"/>
                  </a:cubicBezTo>
                  <a:cubicBezTo>
                    <a:pt x="39" y="185"/>
                    <a:pt x="38" y="184"/>
                    <a:pt x="37" y="185"/>
                  </a:cubicBezTo>
                  <a:cubicBezTo>
                    <a:pt x="36" y="186"/>
                    <a:pt x="36" y="190"/>
                    <a:pt x="36" y="192"/>
                  </a:cubicBezTo>
                  <a:cubicBezTo>
                    <a:pt x="36" y="194"/>
                    <a:pt x="36" y="197"/>
                    <a:pt x="35" y="199"/>
                  </a:cubicBezTo>
                  <a:cubicBezTo>
                    <a:pt x="34" y="200"/>
                    <a:pt x="33" y="201"/>
                    <a:pt x="34" y="202"/>
                  </a:cubicBezTo>
                  <a:cubicBezTo>
                    <a:pt x="34" y="203"/>
                    <a:pt x="36" y="203"/>
                    <a:pt x="36" y="204"/>
                  </a:cubicBezTo>
                  <a:cubicBezTo>
                    <a:pt x="38" y="205"/>
                    <a:pt x="40" y="204"/>
                    <a:pt x="42" y="203"/>
                  </a:cubicBezTo>
                  <a:cubicBezTo>
                    <a:pt x="44" y="202"/>
                    <a:pt x="46" y="200"/>
                    <a:pt x="48" y="200"/>
                  </a:cubicBezTo>
                  <a:cubicBezTo>
                    <a:pt x="49" y="199"/>
                    <a:pt x="50" y="199"/>
                    <a:pt x="51" y="199"/>
                  </a:cubicBezTo>
                  <a:cubicBezTo>
                    <a:pt x="51" y="199"/>
                    <a:pt x="52" y="198"/>
                    <a:pt x="53" y="197"/>
                  </a:cubicBezTo>
                  <a:cubicBezTo>
                    <a:pt x="54" y="196"/>
                    <a:pt x="55" y="196"/>
                    <a:pt x="56" y="194"/>
                  </a:cubicBezTo>
                  <a:cubicBezTo>
                    <a:pt x="56" y="193"/>
                    <a:pt x="56" y="190"/>
                    <a:pt x="56" y="189"/>
                  </a:cubicBezTo>
                  <a:cubicBezTo>
                    <a:pt x="56" y="188"/>
                    <a:pt x="56" y="188"/>
                    <a:pt x="56" y="188"/>
                  </a:cubicBezTo>
                  <a:cubicBezTo>
                    <a:pt x="57" y="187"/>
                    <a:pt x="59" y="189"/>
                    <a:pt x="59" y="190"/>
                  </a:cubicBezTo>
                  <a:cubicBezTo>
                    <a:pt x="59" y="190"/>
                    <a:pt x="59" y="190"/>
                    <a:pt x="59" y="191"/>
                  </a:cubicBezTo>
                  <a:cubicBezTo>
                    <a:pt x="60" y="191"/>
                    <a:pt x="61" y="191"/>
                    <a:pt x="62" y="191"/>
                  </a:cubicBezTo>
                  <a:cubicBezTo>
                    <a:pt x="63" y="192"/>
                    <a:pt x="66" y="192"/>
                    <a:pt x="66" y="194"/>
                  </a:cubicBezTo>
                  <a:cubicBezTo>
                    <a:pt x="67" y="195"/>
                    <a:pt x="66" y="196"/>
                    <a:pt x="65" y="197"/>
                  </a:cubicBezTo>
                  <a:cubicBezTo>
                    <a:pt x="65" y="197"/>
                    <a:pt x="64" y="198"/>
                    <a:pt x="64" y="198"/>
                  </a:cubicBezTo>
                  <a:cubicBezTo>
                    <a:pt x="65" y="199"/>
                    <a:pt x="65" y="199"/>
                    <a:pt x="66" y="199"/>
                  </a:cubicBezTo>
                  <a:cubicBezTo>
                    <a:pt x="67" y="200"/>
                    <a:pt x="67" y="201"/>
                    <a:pt x="68" y="201"/>
                  </a:cubicBezTo>
                  <a:cubicBezTo>
                    <a:pt x="69" y="202"/>
                    <a:pt x="70" y="202"/>
                    <a:pt x="72" y="203"/>
                  </a:cubicBezTo>
                  <a:cubicBezTo>
                    <a:pt x="73" y="205"/>
                    <a:pt x="74" y="206"/>
                    <a:pt x="74" y="208"/>
                  </a:cubicBezTo>
                  <a:cubicBezTo>
                    <a:pt x="74" y="210"/>
                    <a:pt x="74" y="213"/>
                    <a:pt x="73" y="215"/>
                  </a:cubicBezTo>
                  <a:cubicBezTo>
                    <a:pt x="73" y="216"/>
                    <a:pt x="72" y="217"/>
                    <a:pt x="72" y="218"/>
                  </a:cubicBezTo>
                  <a:cubicBezTo>
                    <a:pt x="72" y="219"/>
                    <a:pt x="72" y="220"/>
                    <a:pt x="72" y="221"/>
                  </a:cubicBezTo>
                  <a:cubicBezTo>
                    <a:pt x="72" y="223"/>
                    <a:pt x="72" y="225"/>
                    <a:pt x="71" y="227"/>
                  </a:cubicBezTo>
                  <a:cubicBezTo>
                    <a:pt x="71" y="229"/>
                    <a:pt x="70" y="230"/>
                    <a:pt x="68" y="231"/>
                  </a:cubicBezTo>
                  <a:cubicBezTo>
                    <a:pt x="67" y="232"/>
                    <a:pt x="65" y="232"/>
                    <a:pt x="64" y="233"/>
                  </a:cubicBezTo>
                  <a:cubicBezTo>
                    <a:pt x="64" y="235"/>
                    <a:pt x="64" y="237"/>
                    <a:pt x="65" y="238"/>
                  </a:cubicBezTo>
                  <a:cubicBezTo>
                    <a:pt x="69" y="240"/>
                    <a:pt x="72" y="241"/>
                    <a:pt x="75" y="244"/>
                  </a:cubicBezTo>
                  <a:cubicBezTo>
                    <a:pt x="77" y="246"/>
                    <a:pt x="77" y="249"/>
                    <a:pt x="77" y="252"/>
                  </a:cubicBezTo>
                  <a:cubicBezTo>
                    <a:pt x="76" y="254"/>
                    <a:pt x="76" y="257"/>
                    <a:pt x="75" y="259"/>
                  </a:cubicBezTo>
                  <a:cubicBezTo>
                    <a:pt x="75" y="260"/>
                    <a:pt x="74" y="261"/>
                    <a:pt x="74" y="261"/>
                  </a:cubicBezTo>
                  <a:cubicBezTo>
                    <a:pt x="75" y="262"/>
                    <a:pt x="77" y="262"/>
                    <a:pt x="77" y="263"/>
                  </a:cubicBezTo>
                  <a:cubicBezTo>
                    <a:pt x="79" y="264"/>
                    <a:pt x="79" y="266"/>
                    <a:pt x="79" y="267"/>
                  </a:cubicBezTo>
                  <a:cubicBezTo>
                    <a:pt x="80" y="269"/>
                    <a:pt x="80" y="270"/>
                    <a:pt x="79" y="271"/>
                  </a:cubicBezTo>
                  <a:cubicBezTo>
                    <a:pt x="79" y="272"/>
                    <a:pt x="79" y="272"/>
                    <a:pt x="80" y="273"/>
                  </a:cubicBezTo>
                  <a:cubicBezTo>
                    <a:pt x="80" y="274"/>
                    <a:pt x="81" y="274"/>
                    <a:pt x="81" y="274"/>
                  </a:cubicBezTo>
                  <a:cubicBezTo>
                    <a:pt x="82" y="275"/>
                    <a:pt x="82" y="276"/>
                    <a:pt x="82" y="276"/>
                  </a:cubicBezTo>
                  <a:cubicBezTo>
                    <a:pt x="82" y="277"/>
                    <a:pt x="82" y="279"/>
                    <a:pt x="82" y="280"/>
                  </a:cubicBezTo>
                  <a:cubicBezTo>
                    <a:pt x="82" y="281"/>
                    <a:pt x="81" y="282"/>
                    <a:pt x="80" y="284"/>
                  </a:cubicBezTo>
                  <a:cubicBezTo>
                    <a:pt x="80" y="285"/>
                    <a:pt x="82" y="285"/>
                    <a:pt x="83" y="286"/>
                  </a:cubicBezTo>
                  <a:cubicBezTo>
                    <a:pt x="84" y="288"/>
                    <a:pt x="83" y="289"/>
                    <a:pt x="83" y="291"/>
                  </a:cubicBezTo>
                  <a:cubicBezTo>
                    <a:pt x="84" y="292"/>
                    <a:pt x="85" y="293"/>
                    <a:pt x="85" y="294"/>
                  </a:cubicBezTo>
                  <a:cubicBezTo>
                    <a:pt x="85" y="295"/>
                    <a:pt x="85" y="296"/>
                    <a:pt x="85" y="297"/>
                  </a:cubicBezTo>
                  <a:cubicBezTo>
                    <a:pt x="85" y="297"/>
                    <a:pt x="85" y="298"/>
                    <a:pt x="85" y="299"/>
                  </a:cubicBezTo>
                  <a:cubicBezTo>
                    <a:pt x="84" y="299"/>
                    <a:pt x="84" y="300"/>
                    <a:pt x="84" y="301"/>
                  </a:cubicBezTo>
                  <a:cubicBezTo>
                    <a:pt x="84" y="301"/>
                    <a:pt x="84" y="301"/>
                    <a:pt x="85" y="302"/>
                  </a:cubicBezTo>
                  <a:cubicBezTo>
                    <a:pt x="85" y="302"/>
                    <a:pt x="85" y="303"/>
                    <a:pt x="86" y="304"/>
                  </a:cubicBezTo>
                  <a:cubicBezTo>
                    <a:pt x="86" y="304"/>
                    <a:pt x="86" y="305"/>
                    <a:pt x="86" y="305"/>
                  </a:cubicBezTo>
                  <a:cubicBezTo>
                    <a:pt x="87" y="306"/>
                    <a:pt x="87" y="306"/>
                    <a:pt x="87" y="307"/>
                  </a:cubicBezTo>
                  <a:cubicBezTo>
                    <a:pt x="88" y="309"/>
                    <a:pt x="93" y="304"/>
                    <a:pt x="94" y="303"/>
                  </a:cubicBezTo>
                  <a:cubicBezTo>
                    <a:pt x="96" y="301"/>
                    <a:pt x="99" y="299"/>
                    <a:pt x="102" y="299"/>
                  </a:cubicBezTo>
                  <a:cubicBezTo>
                    <a:pt x="103" y="299"/>
                    <a:pt x="104" y="299"/>
                    <a:pt x="105" y="299"/>
                  </a:cubicBezTo>
                  <a:cubicBezTo>
                    <a:pt x="105" y="300"/>
                    <a:pt x="106" y="300"/>
                    <a:pt x="106" y="301"/>
                  </a:cubicBezTo>
                  <a:cubicBezTo>
                    <a:pt x="108" y="303"/>
                    <a:pt x="109" y="304"/>
                    <a:pt x="109" y="306"/>
                  </a:cubicBezTo>
                  <a:cubicBezTo>
                    <a:pt x="108" y="307"/>
                    <a:pt x="108" y="308"/>
                    <a:pt x="108" y="309"/>
                  </a:cubicBezTo>
                  <a:cubicBezTo>
                    <a:pt x="109" y="309"/>
                    <a:pt x="110" y="310"/>
                    <a:pt x="111" y="310"/>
                  </a:cubicBezTo>
                  <a:cubicBezTo>
                    <a:pt x="112" y="309"/>
                    <a:pt x="114" y="308"/>
                    <a:pt x="115" y="307"/>
                  </a:cubicBezTo>
                  <a:cubicBezTo>
                    <a:pt x="116" y="304"/>
                    <a:pt x="116" y="304"/>
                    <a:pt x="116" y="304"/>
                  </a:cubicBezTo>
                  <a:lnTo>
                    <a:pt x="139" y="292"/>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1" name="Freeform 15">
              <a:extLst>
                <a:ext uri="{FF2B5EF4-FFF2-40B4-BE49-F238E27FC236}">
                  <a16:creationId xmlns:a16="http://schemas.microsoft.com/office/drawing/2014/main" id="{5B9C8E9F-6BB5-7D76-673E-FB4967FFC50A}"/>
                </a:ext>
              </a:extLst>
            </p:cNvPr>
            <p:cNvSpPr>
              <a:spLocks/>
            </p:cNvSpPr>
            <p:nvPr/>
          </p:nvSpPr>
          <p:spPr bwMode="auto">
            <a:xfrm>
              <a:off x="4084638" y="5588000"/>
              <a:ext cx="195263" cy="157162"/>
            </a:xfrm>
            <a:custGeom>
              <a:avLst/>
              <a:gdLst>
                <a:gd name="T0" fmla="*/ 49 w 51"/>
                <a:gd name="T1" fmla="*/ 38 h 41"/>
                <a:gd name="T2" fmla="*/ 48 w 51"/>
                <a:gd name="T3" fmla="*/ 36 h 41"/>
                <a:gd name="T4" fmla="*/ 46 w 51"/>
                <a:gd name="T5" fmla="*/ 31 h 41"/>
                <a:gd name="T6" fmla="*/ 46 w 51"/>
                <a:gd name="T7" fmla="*/ 28 h 41"/>
                <a:gd name="T8" fmla="*/ 47 w 51"/>
                <a:gd name="T9" fmla="*/ 24 h 41"/>
                <a:gd name="T10" fmla="*/ 47 w 51"/>
                <a:gd name="T11" fmla="*/ 21 h 41"/>
                <a:gd name="T12" fmla="*/ 48 w 51"/>
                <a:gd name="T13" fmla="*/ 17 h 41"/>
                <a:gd name="T14" fmla="*/ 40 w 51"/>
                <a:gd name="T15" fmla="*/ 16 h 41"/>
                <a:gd name="T16" fmla="*/ 37 w 51"/>
                <a:gd name="T17" fmla="*/ 16 h 41"/>
                <a:gd name="T18" fmla="*/ 34 w 51"/>
                <a:gd name="T19" fmla="*/ 15 h 41"/>
                <a:gd name="T20" fmla="*/ 31 w 51"/>
                <a:gd name="T21" fmla="*/ 15 h 41"/>
                <a:gd name="T22" fmla="*/ 30 w 51"/>
                <a:gd name="T23" fmla="*/ 13 h 41"/>
                <a:gd name="T24" fmla="*/ 30 w 51"/>
                <a:gd name="T25" fmla="*/ 11 h 41"/>
                <a:gd name="T26" fmla="*/ 29 w 51"/>
                <a:gd name="T27" fmla="*/ 6 h 41"/>
                <a:gd name="T28" fmla="*/ 27 w 51"/>
                <a:gd name="T29" fmla="*/ 0 h 41"/>
                <a:gd name="T30" fmla="*/ 24 w 51"/>
                <a:gd name="T31" fmla="*/ 3 h 41"/>
                <a:gd name="T32" fmla="*/ 20 w 51"/>
                <a:gd name="T33" fmla="*/ 5 h 41"/>
                <a:gd name="T34" fmla="*/ 16 w 51"/>
                <a:gd name="T35" fmla="*/ 11 h 41"/>
                <a:gd name="T36" fmla="*/ 16 w 51"/>
                <a:gd name="T37" fmla="*/ 9 h 41"/>
                <a:gd name="T38" fmla="*/ 15 w 51"/>
                <a:gd name="T39" fmla="*/ 7 h 41"/>
                <a:gd name="T40" fmla="*/ 13 w 51"/>
                <a:gd name="T41" fmla="*/ 7 h 41"/>
                <a:gd name="T42" fmla="*/ 10 w 51"/>
                <a:gd name="T43" fmla="*/ 7 h 41"/>
                <a:gd name="T44" fmla="*/ 8 w 51"/>
                <a:gd name="T45" fmla="*/ 7 h 41"/>
                <a:gd name="T46" fmla="*/ 8 w 51"/>
                <a:gd name="T47" fmla="*/ 9 h 41"/>
                <a:gd name="T48" fmla="*/ 6 w 51"/>
                <a:gd name="T49" fmla="*/ 14 h 41"/>
                <a:gd name="T50" fmla="*/ 2 w 51"/>
                <a:gd name="T51" fmla="*/ 19 h 41"/>
                <a:gd name="T52" fmla="*/ 0 w 51"/>
                <a:gd name="T53" fmla="*/ 22 h 41"/>
                <a:gd name="T54" fmla="*/ 1 w 51"/>
                <a:gd name="T55" fmla="*/ 22 h 41"/>
                <a:gd name="T56" fmla="*/ 9 w 51"/>
                <a:gd name="T57" fmla="*/ 26 h 41"/>
                <a:gd name="T58" fmla="*/ 15 w 51"/>
                <a:gd name="T59" fmla="*/ 29 h 41"/>
                <a:gd name="T60" fmla="*/ 21 w 51"/>
                <a:gd name="T61" fmla="*/ 31 h 41"/>
                <a:gd name="T62" fmla="*/ 28 w 51"/>
                <a:gd name="T63" fmla="*/ 35 h 41"/>
                <a:gd name="T64" fmla="*/ 41 w 51"/>
                <a:gd name="T65" fmla="*/ 40 h 41"/>
                <a:gd name="T66" fmla="*/ 46 w 51"/>
                <a:gd name="T67" fmla="*/ 41 h 41"/>
                <a:gd name="T68" fmla="*/ 51 w 51"/>
                <a:gd name="T69" fmla="*/ 41 h 41"/>
                <a:gd name="T70" fmla="*/ 50 w 51"/>
                <a:gd name="T71" fmla="*/ 39 h 41"/>
                <a:gd name="T72" fmla="*/ 49 w 51"/>
                <a:gd name="T73"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41">
                  <a:moveTo>
                    <a:pt x="49" y="38"/>
                  </a:moveTo>
                  <a:cubicBezTo>
                    <a:pt x="48" y="37"/>
                    <a:pt x="48" y="36"/>
                    <a:pt x="48" y="36"/>
                  </a:cubicBezTo>
                  <a:cubicBezTo>
                    <a:pt x="48" y="34"/>
                    <a:pt x="47" y="32"/>
                    <a:pt x="46" y="31"/>
                  </a:cubicBezTo>
                  <a:cubicBezTo>
                    <a:pt x="46" y="30"/>
                    <a:pt x="46" y="29"/>
                    <a:pt x="46" y="28"/>
                  </a:cubicBezTo>
                  <a:cubicBezTo>
                    <a:pt x="46" y="27"/>
                    <a:pt x="46" y="25"/>
                    <a:pt x="47" y="24"/>
                  </a:cubicBezTo>
                  <a:cubicBezTo>
                    <a:pt x="47" y="23"/>
                    <a:pt x="47" y="22"/>
                    <a:pt x="47" y="21"/>
                  </a:cubicBezTo>
                  <a:cubicBezTo>
                    <a:pt x="47" y="19"/>
                    <a:pt x="48" y="18"/>
                    <a:pt x="48" y="17"/>
                  </a:cubicBezTo>
                  <a:cubicBezTo>
                    <a:pt x="45" y="17"/>
                    <a:pt x="43" y="17"/>
                    <a:pt x="40" y="16"/>
                  </a:cubicBezTo>
                  <a:cubicBezTo>
                    <a:pt x="39" y="16"/>
                    <a:pt x="38" y="16"/>
                    <a:pt x="37" y="16"/>
                  </a:cubicBezTo>
                  <a:cubicBezTo>
                    <a:pt x="36" y="15"/>
                    <a:pt x="35" y="15"/>
                    <a:pt x="34" y="15"/>
                  </a:cubicBezTo>
                  <a:cubicBezTo>
                    <a:pt x="33" y="15"/>
                    <a:pt x="32" y="15"/>
                    <a:pt x="31" y="15"/>
                  </a:cubicBezTo>
                  <a:cubicBezTo>
                    <a:pt x="31" y="14"/>
                    <a:pt x="30" y="14"/>
                    <a:pt x="30" y="13"/>
                  </a:cubicBezTo>
                  <a:cubicBezTo>
                    <a:pt x="30" y="13"/>
                    <a:pt x="30" y="12"/>
                    <a:pt x="30" y="11"/>
                  </a:cubicBezTo>
                  <a:cubicBezTo>
                    <a:pt x="29" y="10"/>
                    <a:pt x="29" y="8"/>
                    <a:pt x="29" y="6"/>
                  </a:cubicBezTo>
                  <a:cubicBezTo>
                    <a:pt x="28" y="4"/>
                    <a:pt x="28" y="2"/>
                    <a:pt x="27" y="0"/>
                  </a:cubicBezTo>
                  <a:cubicBezTo>
                    <a:pt x="26" y="1"/>
                    <a:pt x="25" y="2"/>
                    <a:pt x="24" y="3"/>
                  </a:cubicBezTo>
                  <a:cubicBezTo>
                    <a:pt x="22" y="3"/>
                    <a:pt x="21" y="4"/>
                    <a:pt x="20" y="5"/>
                  </a:cubicBezTo>
                  <a:cubicBezTo>
                    <a:pt x="18" y="6"/>
                    <a:pt x="17" y="9"/>
                    <a:pt x="16" y="11"/>
                  </a:cubicBezTo>
                  <a:cubicBezTo>
                    <a:pt x="16" y="10"/>
                    <a:pt x="16" y="9"/>
                    <a:pt x="16" y="9"/>
                  </a:cubicBezTo>
                  <a:cubicBezTo>
                    <a:pt x="15" y="8"/>
                    <a:pt x="16" y="7"/>
                    <a:pt x="15" y="7"/>
                  </a:cubicBezTo>
                  <a:cubicBezTo>
                    <a:pt x="15" y="6"/>
                    <a:pt x="13" y="7"/>
                    <a:pt x="13" y="7"/>
                  </a:cubicBezTo>
                  <a:cubicBezTo>
                    <a:pt x="12" y="7"/>
                    <a:pt x="11" y="7"/>
                    <a:pt x="10" y="7"/>
                  </a:cubicBezTo>
                  <a:cubicBezTo>
                    <a:pt x="9" y="7"/>
                    <a:pt x="8" y="7"/>
                    <a:pt x="8" y="7"/>
                  </a:cubicBezTo>
                  <a:cubicBezTo>
                    <a:pt x="7" y="7"/>
                    <a:pt x="8" y="9"/>
                    <a:pt x="8" y="9"/>
                  </a:cubicBezTo>
                  <a:cubicBezTo>
                    <a:pt x="8" y="11"/>
                    <a:pt x="8" y="12"/>
                    <a:pt x="6" y="14"/>
                  </a:cubicBezTo>
                  <a:cubicBezTo>
                    <a:pt x="5" y="15"/>
                    <a:pt x="3" y="17"/>
                    <a:pt x="2" y="19"/>
                  </a:cubicBezTo>
                  <a:cubicBezTo>
                    <a:pt x="1" y="20"/>
                    <a:pt x="1" y="21"/>
                    <a:pt x="0" y="22"/>
                  </a:cubicBezTo>
                  <a:cubicBezTo>
                    <a:pt x="1" y="22"/>
                    <a:pt x="1" y="22"/>
                    <a:pt x="1" y="22"/>
                  </a:cubicBezTo>
                  <a:cubicBezTo>
                    <a:pt x="4" y="23"/>
                    <a:pt x="8" y="25"/>
                    <a:pt x="9" y="26"/>
                  </a:cubicBezTo>
                  <a:cubicBezTo>
                    <a:pt x="10" y="26"/>
                    <a:pt x="14" y="28"/>
                    <a:pt x="15" y="29"/>
                  </a:cubicBezTo>
                  <a:cubicBezTo>
                    <a:pt x="16" y="29"/>
                    <a:pt x="18" y="29"/>
                    <a:pt x="21" y="31"/>
                  </a:cubicBezTo>
                  <a:cubicBezTo>
                    <a:pt x="23" y="32"/>
                    <a:pt x="26" y="34"/>
                    <a:pt x="28" y="35"/>
                  </a:cubicBezTo>
                  <a:cubicBezTo>
                    <a:pt x="31" y="36"/>
                    <a:pt x="39" y="39"/>
                    <a:pt x="41" y="40"/>
                  </a:cubicBezTo>
                  <a:cubicBezTo>
                    <a:pt x="44" y="41"/>
                    <a:pt x="42" y="41"/>
                    <a:pt x="46" y="41"/>
                  </a:cubicBezTo>
                  <a:cubicBezTo>
                    <a:pt x="50" y="41"/>
                    <a:pt x="49" y="41"/>
                    <a:pt x="51" y="41"/>
                  </a:cubicBezTo>
                  <a:cubicBezTo>
                    <a:pt x="51" y="40"/>
                    <a:pt x="51" y="39"/>
                    <a:pt x="50" y="39"/>
                  </a:cubicBezTo>
                  <a:cubicBezTo>
                    <a:pt x="50" y="38"/>
                    <a:pt x="49" y="38"/>
                    <a:pt x="49" y="3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2" name="Freeform 17">
              <a:extLst>
                <a:ext uri="{FF2B5EF4-FFF2-40B4-BE49-F238E27FC236}">
                  <a16:creationId xmlns:a16="http://schemas.microsoft.com/office/drawing/2014/main" id="{99C492DF-C277-1642-94CD-F9259B0F4B3E}"/>
                </a:ext>
              </a:extLst>
            </p:cNvPr>
            <p:cNvSpPr>
              <a:spLocks/>
            </p:cNvSpPr>
            <p:nvPr/>
          </p:nvSpPr>
          <p:spPr bwMode="auto">
            <a:xfrm>
              <a:off x="6175375" y="4022725"/>
              <a:ext cx="263525" cy="631825"/>
            </a:xfrm>
            <a:custGeom>
              <a:avLst/>
              <a:gdLst>
                <a:gd name="T0" fmla="*/ 43 w 69"/>
                <a:gd name="T1" fmla="*/ 150 h 166"/>
                <a:gd name="T2" fmla="*/ 39 w 69"/>
                <a:gd name="T3" fmla="*/ 145 h 166"/>
                <a:gd name="T4" fmla="*/ 45 w 69"/>
                <a:gd name="T5" fmla="*/ 144 h 166"/>
                <a:gd name="T6" fmla="*/ 54 w 69"/>
                <a:gd name="T7" fmla="*/ 139 h 166"/>
                <a:gd name="T8" fmla="*/ 51 w 69"/>
                <a:gd name="T9" fmla="*/ 133 h 166"/>
                <a:gd name="T10" fmla="*/ 49 w 69"/>
                <a:gd name="T11" fmla="*/ 124 h 166"/>
                <a:gd name="T12" fmla="*/ 50 w 69"/>
                <a:gd name="T13" fmla="*/ 117 h 166"/>
                <a:gd name="T14" fmla="*/ 56 w 69"/>
                <a:gd name="T15" fmla="*/ 116 h 166"/>
                <a:gd name="T16" fmla="*/ 62 w 69"/>
                <a:gd name="T17" fmla="*/ 112 h 166"/>
                <a:gd name="T18" fmla="*/ 61 w 69"/>
                <a:gd name="T19" fmla="*/ 107 h 166"/>
                <a:gd name="T20" fmla="*/ 60 w 69"/>
                <a:gd name="T21" fmla="*/ 100 h 166"/>
                <a:gd name="T22" fmla="*/ 60 w 69"/>
                <a:gd name="T23" fmla="*/ 95 h 166"/>
                <a:gd name="T24" fmla="*/ 59 w 69"/>
                <a:gd name="T25" fmla="*/ 90 h 166"/>
                <a:gd name="T26" fmla="*/ 54 w 69"/>
                <a:gd name="T27" fmla="*/ 87 h 166"/>
                <a:gd name="T28" fmla="*/ 58 w 69"/>
                <a:gd name="T29" fmla="*/ 83 h 166"/>
                <a:gd name="T30" fmla="*/ 64 w 69"/>
                <a:gd name="T31" fmla="*/ 78 h 166"/>
                <a:gd name="T32" fmla="*/ 66 w 69"/>
                <a:gd name="T33" fmla="*/ 73 h 166"/>
                <a:gd name="T34" fmla="*/ 68 w 69"/>
                <a:gd name="T35" fmla="*/ 57 h 166"/>
                <a:gd name="T36" fmla="*/ 60 w 69"/>
                <a:gd name="T37" fmla="*/ 46 h 166"/>
                <a:gd name="T38" fmla="*/ 56 w 69"/>
                <a:gd name="T39" fmla="*/ 40 h 166"/>
                <a:gd name="T40" fmla="*/ 55 w 69"/>
                <a:gd name="T41" fmla="*/ 34 h 166"/>
                <a:gd name="T42" fmla="*/ 48 w 69"/>
                <a:gd name="T43" fmla="*/ 35 h 166"/>
                <a:gd name="T44" fmla="*/ 43 w 69"/>
                <a:gd name="T45" fmla="*/ 31 h 166"/>
                <a:gd name="T46" fmla="*/ 46 w 69"/>
                <a:gd name="T47" fmla="*/ 26 h 166"/>
                <a:gd name="T48" fmla="*/ 51 w 69"/>
                <a:gd name="T49" fmla="*/ 21 h 166"/>
                <a:gd name="T50" fmla="*/ 52 w 69"/>
                <a:gd name="T51" fmla="*/ 17 h 166"/>
                <a:gd name="T52" fmla="*/ 50 w 69"/>
                <a:gd name="T53" fmla="*/ 10 h 166"/>
                <a:gd name="T54" fmla="*/ 48 w 69"/>
                <a:gd name="T55" fmla="*/ 1 h 166"/>
                <a:gd name="T56" fmla="*/ 45 w 69"/>
                <a:gd name="T57" fmla="*/ 10 h 166"/>
                <a:gd name="T58" fmla="*/ 41 w 69"/>
                <a:gd name="T59" fmla="*/ 18 h 166"/>
                <a:gd name="T60" fmla="*/ 36 w 69"/>
                <a:gd name="T61" fmla="*/ 23 h 166"/>
                <a:gd name="T62" fmla="*/ 35 w 69"/>
                <a:gd name="T63" fmla="*/ 32 h 166"/>
                <a:gd name="T64" fmla="*/ 35 w 69"/>
                <a:gd name="T65" fmla="*/ 39 h 166"/>
                <a:gd name="T66" fmla="*/ 34 w 69"/>
                <a:gd name="T67" fmla="*/ 54 h 166"/>
                <a:gd name="T68" fmla="*/ 36 w 69"/>
                <a:gd name="T69" fmla="*/ 69 h 166"/>
                <a:gd name="T70" fmla="*/ 25 w 69"/>
                <a:gd name="T71" fmla="*/ 81 h 166"/>
                <a:gd name="T72" fmla="*/ 22 w 69"/>
                <a:gd name="T73" fmla="*/ 90 h 166"/>
                <a:gd name="T74" fmla="*/ 21 w 69"/>
                <a:gd name="T75" fmla="*/ 100 h 166"/>
                <a:gd name="T76" fmla="*/ 14 w 69"/>
                <a:gd name="T77" fmla="*/ 109 h 166"/>
                <a:gd name="T78" fmla="*/ 4 w 69"/>
                <a:gd name="T79" fmla="*/ 110 h 166"/>
                <a:gd name="T80" fmla="*/ 1 w 69"/>
                <a:gd name="T81" fmla="*/ 120 h 166"/>
                <a:gd name="T82" fmla="*/ 7 w 69"/>
                <a:gd name="T83" fmla="*/ 126 h 166"/>
                <a:gd name="T84" fmla="*/ 3 w 69"/>
                <a:gd name="T85" fmla="*/ 137 h 166"/>
                <a:gd name="T86" fmla="*/ 4 w 69"/>
                <a:gd name="T87" fmla="*/ 150 h 166"/>
                <a:gd name="T88" fmla="*/ 14 w 69"/>
                <a:gd name="T89" fmla="*/ 164 h 166"/>
                <a:gd name="T90" fmla="*/ 24 w 69"/>
                <a:gd name="T91" fmla="*/ 162 h 166"/>
                <a:gd name="T92" fmla="*/ 31 w 69"/>
                <a:gd name="T93" fmla="*/ 160 h 166"/>
                <a:gd name="T94" fmla="*/ 40 w 69"/>
                <a:gd name="T95" fmla="*/ 159 h 166"/>
                <a:gd name="T96" fmla="*/ 45 w 69"/>
                <a:gd name="T97"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166">
                  <a:moveTo>
                    <a:pt x="44" y="154"/>
                  </a:moveTo>
                  <a:cubicBezTo>
                    <a:pt x="43" y="150"/>
                    <a:pt x="43" y="150"/>
                    <a:pt x="43" y="150"/>
                  </a:cubicBezTo>
                  <a:cubicBezTo>
                    <a:pt x="42" y="147"/>
                    <a:pt x="42" y="147"/>
                    <a:pt x="42" y="147"/>
                  </a:cubicBezTo>
                  <a:cubicBezTo>
                    <a:pt x="39" y="145"/>
                    <a:pt x="39" y="145"/>
                    <a:pt x="39" y="145"/>
                  </a:cubicBezTo>
                  <a:cubicBezTo>
                    <a:pt x="40" y="143"/>
                    <a:pt x="40" y="143"/>
                    <a:pt x="40" y="143"/>
                  </a:cubicBezTo>
                  <a:cubicBezTo>
                    <a:pt x="45" y="144"/>
                    <a:pt x="45" y="144"/>
                    <a:pt x="45" y="144"/>
                  </a:cubicBezTo>
                  <a:cubicBezTo>
                    <a:pt x="48" y="141"/>
                    <a:pt x="48" y="141"/>
                    <a:pt x="48" y="141"/>
                  </a:cubicBezTo>
                  <a:cubicBezTo>
                    <a:pt x="54" y="139"/>
                    <a:pt x="54" y="139"/>
                    <a:pt x="54" y="139"/>
                  </a:cubicBezTo>
                  <a:cubicBezTo>
                    <a:pt x="54" y="137"/>
                    <a:pt x="54" y="137"/>
                    <a:pt x="54" y="137"/>
                  </a:cubicBezTo>
                  <a:cubicBezTo>
                    <a:pt x="51" y="133"/>
                    <a:pt x="51" y="133"/>
                    <a:pt x="51" y="133"/>
                  </a:cubicBezTo>
                  <a:cubicBezTo>
                    <a:pt x="50" y="128"/>
                    <a:pt x="50" y="128"/>
                    <a:pt x="50" y="128"/>
                  </a:cubicBezTo>
                  <a:cubicBezTo>
                    <a:pt x="49" y="124"/>
                    <a:pt x="49" y="124"/>
                    <a:pt x="49" y="124"/>
                  </a:cubicBezTo>
                  <a:cubicBezTo>
                    <a:pt x="50" y="123"/>
                    <a:pt x="50" y="123"/>
                    <a:pt x="50" y="123"/>
                  </a:cubicBezTo>
                  <a:cubicBezTo>
                    <a:pt x="50" y="117"/>
                    <a:pt x="50" y="117"/>
                    <a:pt x="50" y="117"/>
                  </a:cubicBezTo>
                  <a:cubicBezTo>
                    <a:pt x="52" y="116"/>
                    <a:pt x="52" y="116"/>
                    <a:pt x="52" y="116"/>
                  </a:cubicBezTo>
                  <a:cubicBezTo>
                    <a:pt x="56" y="116"/>
                    <a:pt x="56" y="116"/>
                    <a:pt x="56" y="116"/>
                  </a:cubicBezTo>
                  <a:cubicBezTo>
                    <a:pt x="61" y="115"/>
                    <a:pt x="61" y="115"/>
                    <a:pt x="61" y="115"/>
                  </a:cubicBezTo>
                  <a:cubicBezTo>
                    <a:pt x="62" y="112"/>
                    <a:pt x="62" y="112"/>
                    <a:pt x="62" y="112"/>
                  </a:cubicBezTo>
                  <a:cubicBezTo>
                    <a:pt x="64" y="110"/>
                    <a:pt x="64" y="110"/>
                    <a:pt x="64" y="110"/>
                  </a:cubicBezTo>
                  <a:cubicBezTo>
                    <a:pt x="61" y="107"/>
                    <a:pt x="61" y="107"/>
                    <a:pt x="61" y="107"/>
                  </a:cubicBezTo>
                  <a:cubicBezTo>
                    <a:pt x="58" y="103"/>
                    <a:pt x="58" y="103"/>
                    <a:pt x="58" y="103"/>
                  </a:cubicBezTo>
                  <a:cubicBezTo>
                    <a:pt x="60" y="100"/>
                    <a:pt x="60" y="100"/>
                    <a:pt x="60" y="100"/>
                  </a:cubicBezTo>
                  <a:cubicBezTo>
                    <a:pt x="58" y="97"/>
                    <a:pt x="58" y="97"/>
                    <a:pt x="58" y="97"/>
                  </a:cubicBezTo>
                  <a:cubicBezTo>
                    <a:pt x="60" y="95"/>
                    <a:pt x="60" y="95"/>
                    <a:pt x="60" y="95"/>
                  </a:cubicBezTo>
                  <a:cubicBezTo>
                    <a:pt x="59" y="92"/>
                    <a:pt x="59" y="92"/>
                    <a:pt x="59" y="92"/>
                  </a:cubicBezTo>
                  <a:cubicBezTo>
                    <a:pt x="59" y="90"/>
                    <a:pt x="59" y="90"/>
                    <a:pt x="59" y="90"/>
                  </a:cubicBezTo>
                  <a:cubicBezTo>
                    <a:pt x="56" y="89"/>
                    <a:pt x="56" y="89"/>
                    <a:pt x="56" y="89"/>
                  </a:cubicBezTo>
                  <a:cubicBezTo>
                    <a:pt x="54" y="87"/>
                    <a:pt x="54" y="87"/>
                    <a:pt x="54" y="87"/>
                  </a:cubicBezTo>
                  <a:cubicBezTo>
                    <a:pt x="55" y="85"/>
                    <a:pt x="55" y="85"/>
                    <a:pt x="55" y="85"/>
                  </a:cubicBezTo>
                  <a:cubicBezTo>
                    <a:pt x="58" y="83"/>
                    <a:pt x="58" y="83"/>
                    <a:pt x="58" y="83"/>
                  </a:cubicBezTo>
                  <a:cubicBezTo>
                    <a:pt x="60" y="81"/>
                    <a:pt x="60" y="81"/>
                    <a:pt x="60" y="81"/>
                  </a:cubicBezTo>
                  <a:cubicBezTo>
                    <a:pt x="64" y="78"/>
                    <a:pt x="64" y="78"/>
                    <a:pt x="64" y="78"/>
                  </a:cubicBezTo>
                  <a:cubicBezTo>
                    <a:pt x="66" y="75"/>
                    <a:pt x="66" y="75"/>
                    <a:pt x="66" y="75"/>
                  </a:cubicBezTo>
                  <a:cubicBezTo>
                    <a:pt x="66" y="73"/>
                    <a:pt x="66" y="73"/>
                    <a:pt x="66" y="73"/>
                  </a:cubicBezTo>
                  <a:cubicBezTo>
                    <a:pt x="69" y="72"/>
                    <a:pt x="69" y="72"/>
                    <a:pt x="69" y="72"/>
                  </a:cubicBezTo>
                  <a:cubicBezTo>
                    <a:pt x="68" y="57"/>
                    <a:pt x="68" y="57"/>
                    <a:pt x="68" y="57"/>
                  </a:cubicBezTo>
                  <a:cubicBezTo>
                    <a:pt x="66" y="56"/>
                    <a:pt x="66" y="56"/>
                    <a:pt x="66" y="56"/>
                  </a:cubicBezTo>
                  <a:cubicBezTo>
                    <a:pt x="60" y="46"/>
                    <a:pt x="60" y="46"/>
                    <a:pt x="60" y="46"/>
                  </a:cubicBezTo>
                  <a:cubicBezTo>
                    <a:pt x="57" y="43"/>
                    <a:pt x="57" y="43"/>
                    <a:pt x="57" y="43"/>
                  </a:cubicBezTo>
                  <a:cubicBezTo>
                    <a:pt x="56" y="40"/>
                    <a:pt x="56" y="40"/>
                    <a:pt x="56" y="40"/>
                  </a:cubicBezTo>
                  <a:cubicBezTo>
                    <a:pt x="58" y="38"/>
                    <a:pt x="58" y="38"/>
                    <a:pt x="58" y="38"/>
                  </a:cubicBezTo>
                  <a:cubicBezTo>
                    <a:pt x="55" y="34"/>
                    <a:pt x="55" y="34"/>
                    <a:pt x="55" y="34"/>
                  </a:cubicBezTo>
                  <a:cubicBezTo>
                    <a:pt x="52" y="35"/>
                    <a:pt x="52" y="35"/>
                    <a:pt x="52" y="35"/>
                  </a:cubicBezTo>
                  <a:cubicBezTo>
                    <a:pt x="48" y="35"/>
                    <a:pt x="48" y="35"/>
                    <a:pt x="48" y="35"/>
                  </a:cubicBezTo>
                  <a:cubicBezTo>
                    <a:pt x="45" y="33"/>
                    <a:pt x="45" y="33"/>
                    <a:pt x="45" y="33"/>
                  </a:cubicBezTo>
                  <a:cubicBezTo>
                    <a:pt x="43" y="31"/>
                    <a:pt x="43" y="31"/>
                    <a:pt x="43" y="31"/>
                  </a:cubicBezTo>
                  <a:cubicBezTo>
                    <a:pt x="46" y="28"/>
                    <a:pt x="46" y="28"/>
                    <a:pt x="46" y="28"/>
                  </a:cubicBezTo>
                  <a:cubicBezTo>
                    <a:pt x="46" y="26"/>
                    <a:pt x="46" y="26"/>
                    <a:pt x="46" y="26"/>
                  </a:cubicBezTo>
                  <a:cubicBezTo>
                    <a:pt x="49" y="22"/>
                    <a:pt x="49" y="22"/>
                    <a:pt x="49" y="22"/>
                  </a:cubicBezTo>
                  <a:cubicBezTo>
                    <a:pt x="51" y="21"/>
                    <a:pt x="51" y="21"/>
                    <a:pt x="51" y="21"/>
                  </a:cubicBezTo>
                  <a:cubicBezTo>
                    <a:pt x="51" y="18"/>
                    <a:pt x="51" y="18"/>
                    <a:pt x="51" y="18"/>
                  </a:cubicBezTo>
                  <a:cubicBezTo>
                    <a:pt x="52" y="17"/>
                    <a:pt x="52" y="17"/>
                    <a:pt x="52" y="17"/>
                  </a:cubicBezTo>
                  <a:cubicBezTo>
                    <a:pt x="51" y="12"/>
                    <a:pt x="51" y="12"/>
                    <a:pt x="51" y="12"/>
                  </a:cubicBezTo>
                  <a:cubicBezTo>
                    <a:pt x="50" y="10"/>
                    <a:pt x="50" y="10"/>
                    <a:pt x="50" y="10"/>
                  </a:cubicBezTo>
                  <a:cubicBezTo>
                    <a:pt x="50" y="0"/>
                    <a:pt x="50" y="0"/>
                    <a:pt x="50" y="0"/>
                  </a:cubicBezTo>
                  <a:cubicBezTo>
                    <a:pt x="50" y="0"/>
                    <a:pt x="49" y="0"/>
                    <a:pt x="48" y="1"/>
                  </a:cubicBezTo>
                  <a:cubicBezTo>
                    <a:pt x="47" y="2"/>
                    <a:pt x="47" y="4"/>
                    <a:pt x="47" y="6"/>
                  </a:cubicBezTo>
                  <a:cubicBezTo>
                    <a:pt x="46" y="7"/>
                    <a:pt x="45" y="8"/>
                    <a:pt x="45" y="10"/>
                  </a:cubicBezTo>
                  <a:cubicBezTo>
                    <a:pt x="44" y="12"/>
                    <a:pt x="42" y="15"/>
                    <a:pt x="41" y="17"/>
                  </a:cubicBezTo>
                  <a:cubicBezTo>
                    <a:pt x="41" y="18"/>
                    <a:pt x="41" y="18"/>
                    <a:pt x="41" y="18"/>
                  </a:cubicBezTo>
                  <a:cubicBezTo>
                    <a:pt x="40" y="18"/>
                    <a:pt x="40" y="19"/>
                    <a:pt x="39" y="19"/>
                  </a:cubicBezTo>
                  <a:cubicBezTo>
                    <a:pt x="38" y="20"/>
                    <a:pt x="36" y="22"/>
                    <a:pt x="36" y="23"/>
                  </a:cubicBezTo>
                  <a:cubicBezTo>
                    <a:pt x="35" y="26"/>
                    <a:pt x="37" y="28"/>
                    <a:pt x="36" y="30"/>
                  </a:cubicBezTo>
                  <a:cubicBezTo>
                    <a:pt x="36" y="31"/>
                    <a:pt x="35" y="31"/>
                    <a:pt x="35" y="32"/>
                  </a:cubicBezTo>
                  <a:cubicBezTo>
                    <a:pt x="34" y="32"/>
                    <a:pt x="34" y="33"/>
                    <a:pt x="34" y="34"/>
                  </a:cubicBezTo>
                  <a:cubicBezTo>
                    <a:pt x="34" y="36"/>
                    <a:pt x="35" y="37"/>
                    <a:pt x="35" y="39"/>
                  </a:cubicBezTo>
                  <a:cubicBezTo>
                    <a:pt x="35" y="41"/>
                    <a:pt x="35" y="44"/>
                    <a:pt x="34" y="47"/>
                  </a:cubicBezTo>
                  <a:cubicBezTo>
                    <a:pt x="34" y="49"/>
                    <a:pt x="33" y="51"/>
                    <a:pt x="34" y="54"/>
                  </a:cubicBezTo>
                  <a:cubicBezTo>
                    <a:pt x="34" y="56"/>
                    <a:pt x="35" y="59"/>
                    <a:pt x="36" y="61"/>
                  </a:cubicBezTo>
                  <a:cubicBezTo>
                    <a:pt x="38" y="64"/>
                    <a:pt x="39" y="67"/>
                    <a:pt x="36" y="69"/>
                  </a:cubicBezTo>
                  <a:cubicBezTo>
                    <a:pt x="32" y="70"/>
                    <a:pt x="29" y="71"/>
                    <a:pt x="27" y="75"/>
                  </a:cubicBezTo>
                  <a:cubicBezTo>
                    <a:pt x="26" y="77"/>
                    <a:pt x="27" y="79"/>
                    <a:pt x="25" y="81"/>
                  </a:cubicBezTo>
                  <a:cubicBezTo>
                    <a:pt x="23" y="83"/>
                    <a:pt x="24" y="85"/>
                    <a:pt x="23" y="87"/>
                  </a:cubicBezTo>
                  <a:cubicBezTo>
                    <a:pt x="23" y="88"/>
                    <a:pt x="22" y="89"/>
                    <a:pt x="22" y="90"/>
                  </a:cubicBezTo>
                  <a:cubicBezTo>
                    <a:pt x="22" y="91"/>
                    <a:pt x="22" y="92"/>
                    <a:pt x="22" y="93"/>
                  </a:cubicBezTo>
                  <a:cubicBezTo>
                    <a:pt x="23" y="95"/>
                    <a:pt x="23" y="98"/>
                    <a:pt x="21" y="100"/>
                  </a:cubicBezTo>
                  <a:cubicBezTo>
                    <a:pt x="19" y="101"/>
                    <a:pt x="17" y="101"/>
                    <a:pt x="17" y="103"/>
                  </a:cubicBezTo>
                  <a:cubicBezTo>
                    <a:pt x="16" y="106"/>
                    <a:pt x="16" y="108"/>
                    <a:pt x="14" y="109"/>
                  </a:cubicBezTo>
                  <a:cubicBezTo>
                    <a:pt x="12" y="110"/>
                    <a:pt x="9" y="112"/>
                    <a:pt x="8" y="111"/>
                  </a:cubicBezTo>
                  <a:cubicBezTo>
                    <a:pt x="6" y="111"/>
                    <a:pt x="6" y="108"/>
                    <a:pt x="4" y="110"/>
                  </a:cubicBezTo>
                  <a:cubicBezTo>
                    <a:pt x="2" y="110"/>
                    <a:pt x="2" y="113"/>
                    <a:pt x="1" y="114"/>
                  </a:cubicBezTo>
                  <a:cubicBezTo>
                    <a:pt x="1" y="116"/>
                    <a:pt x="1" y="118"/>
                    <a:pt x="1" y="120"/>
                  </a:cubicBezTo>
                  <a:cubicBezTo>
                    <a:pt x="1" y="122"/>
                    <a:pt x="3" y="121"/>
                    <a:pt x="5" y="122"/>
                  </a:cubicBezTo>
                  <a:cubicBezTo>
                    <a:pt x="7" y="123"/>
                    <a:pt x="8" y="123"/>
                    <a:pt x="7" y="126"/>
                  </a:cubicBezTo>
                  <a:cubicBezTo>
                    <a:pt x="7" y="128"/>
                    <a:pt x="6" y="131"/>
                    <a:pt x="6" y="134"/>
                  </a:cubicBezTo>
                  <a:cubicBezTo>
                    <a:pt x="7" y="137"/>
                    <a:pt x="5" y="136"/>
                    <a:pt x="3" y="137"/>
                  </a:cubicBezTo>
                  <a:cubicBezTo>
                    <a:pt x="0" y="138"/>
                    <a:pt x="4" y="140"/>
                    <a:pt x="5" y="141"/>
                  </a:cubicBezTo>
                  <a:cubicBezTo>
                    <a:pt x="7" y="144"/>
                    <a:pt x="4" y="147"/>
                    <a:pt x="4" y="150"/>
                  </a:cubicBezTo>
                  <a:cubicBezTo>
                    <a:pt x="4" y="156"/>
                    <a:pt x="10" y="158"/>
                    <a:pt x="11" y="163"/>
                  </a:cubicBezTo>
                  <a:cubicBezTo>
                    <a:pt x="11" y="166"/>
                    <a:pt x="11" y="166"/>
                    <a:pt x="14" y="164"/>
                  </a:cubicBezTo>
                  <a:cubicBezTo>
                    <a:pt x="16" y="163"/>
                    <a:pt x="18" y="163"/>
                    <a:pt x="21" y="163"/>
                  </a:cubicBezTo>
                  <a:cubicBezTo>
                    <a:pt x="22" y="163"/>
                    <a:pt x="23" y="163"/>
                    <a:pt x="24" y="162"/>
                  </a:cubicBezTo>
                  <a:cubicBezTo>
                    <a:pt x="24" y="162"/>
                    <a:pt x="24" y="162"/>
                    <a:pt x="25" y="161"/>
                  </a:cubicBezTo>
                  <a:cubicBezTo>
                    <a:pt x="26" y="160"/>
                    <a:pt x="29" y="161"/>
                    <a:pt x="31" y="160"/>
                  </a:cubicBezTo>
                  <a:cubicBezTo>
                    <a:pt x="33" y="159"/>
                    <a:pt x="32" y="158"/>
                    <a:pt x="35" y="158"/>
                  </a:cubicBezTo>
                  <a:cubicBezTo>
                    <a:pt x="37" y="158"/>
                    <a:pt x="38" y="159"/>
                    <a:pt x="40" y="159"/>
                  </a:cubicBezTo>
                  <a:cubicBezTo>
                    <a:pt x="41" y="160"/>
                    <a:pt x="43" y="161"/>
                    <a:pt x="44" y="163"/>
                  </a:cubicBezTo>
                  <a:cubicBezTo>
                    <a:pt x="45" y="162"/>
                    <a:pt x="45" y="162"/>
                    <a:pt x="45" y="162"/>
                  </a:cubicBezTo>
                  <a:lnTo>
                    <a:pt x="44" y="154"/>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3" name="Freeform 19">
              <a:extLst>
                <a:ext uri="{FF2B5EF4-FFF2-40B4-BE49-F238E27FC236}">
                  <a16:creationId xmlns:a16="http://schemas.microsoft.com/office/drawing/2014/main" id="{B7513190-9E23-FAFC-3D0B-F1148C510316}"/>
                </a:ext>
              </a:extLst>
            </p:cNvPr>
            <p:cNvSpPr>
              <a:spLocks noEditPoints="1"/>
            </p:cNvSpPr>
            <p:nvPr/>
          </p:nvSpPr>
          <p:spPr bwMode="auto">
            <a:xfrm>
              <a:off x="1430338" y="3614738"/>
              <a:ext cx="762000" cy="993775"/>
            </a:xfrm>
            <a:custGeom>
              <a:avLst/>
              <a:gdLst>
                <a:gd name="T0" fmla="*/ 40 w 200"/>
                <a:gd name="T1" fmla="*/ 159 h 261"/>
                <a:gd name="T2" fmla="*/ 37 w 200"/>
                <a:gd name="T3" fmla="*/ 164 h 261"/>
                <a:gd name="T4" fmla="*/ 17 w 200"/>
                <a:gd name="T5" fmla="*/ 158 h 261"/>
                <a:gd name="T6" fmla="*/ 11 w 200"/>
                <a:gd name="T7" fmla="*/ 146 h 261"/>
                <a:gd name="T8" fmla="*/ 0 w 200"/>
                <a:gd name="T9" fmla="*/ 129 h 261"/>
                <a:gd name="T10" fmla="*/ 4 w 200"/>
                <a:gd name="T11" fmla="*/ 116 h 261"/>
                <a:gd name="T12" fmla="*/ 18 w 200"/>
                <a:gd name="T13" fmla="*/ 112 h 261"/>
                <a:gd name="T14" fmla="*/ 21 w 200"/>
                <a:gd name="T15" fmla="*/ 118 h 261"/>
                <a:gd name="T16" fmla="*/ 26 w 200"/>
                <a:gd name="T17" fmla="*/ 128 h 261"/>
                <a:gd name="T18" fmla="*/ 30 w 200"/>
                <a:gd name="T19" fmla="*/ 137 h 261"/>
                <a:gd name="T20" fmla="*/ 35 w 200"/>
                <a:gd name="T21" fmla="*/ 145 h 261"/>
                <a:gd name="T22" fmla="*/ 36 w 200"/>
                <a:gd name="T23" fmla="*/ 151 h 261"/>
                <a:gd name="T24" fmla="*/ 39 w 200"/>
                <a:gd name="T25" fmla="*/ 153 h 261"/>
                <a:gd name="T26" fmla="*/ 75 w 200"/>
                <a:gd name="T27" fmla="*/ 197 h 261"/>
                <a:gd name="T28" fmla="*/ 64 w 200"/>
                <a:gd name="T29" fmla="*/ 182 h 261"/>
                <a:gd name="T30" fmla="*/ 58 w 200"/>
                <a:gd name="T31" fmla="*/ 191 h 261"/>
                <a:gd name="T32" fmla="*/ 63 w 200"/>
                <a:gd name="T33" fmla="*/ 195 h 261"/>
                <a:gd name="T34" fmla="*/ 74 w 200"/>
                <a:gd name="T35" fmla="*/ 200 h 261"/>
                <a:gd name="T36" fmla="*/ 98 w 200"/>
                <a:gd name="T37" fmla="*/ 223 h 261"/>
                <a:gd name="T38" fmla="*/ 88 w 200"/>
                <a:gd name="T39" fmla="*/ 211 h 261"/>
                <a:gd name="T40" fmla="*/ 83 w 200"/>
                <a:gd name="T41" fmla="*/ 210 h 261"/>
                <a:gd name="T42" fmla="*/ 85 w 200"/>
                <a:gd name="T43" fmla="*/ 219 h 261"/>
                <a:gd name="T44" fmla="*/ 87 w 200"/>
                <a:gd name="T45" fmla="*/ 230 h 261"/>
                <a:gd name="T46" fmla="*/ 98 w 200"/>
                <a:gd name="T47" fmla="*/ 225 h 261"/>
                <a:gd name="T48" fmla="*/ 106 w 200"/>
                <a:gd name="T49" fmla="*/ 233 h 261"/>
                <a:gd name="T50" fmla="*/ 96 w 200"/>
                <a:gd name="T51" fmla="*/ 227 h 261"/>
                <a:gd name="T52" fmla="*/ 97 w 200"/>
                <a:gd name="T53" fmla="*/ 239 h 261"/>
                <a:gd name="T54" fmla="*/ 103 w 200"/>
                <a:gd name="T55" fmla="*/ 244 h 261"/>
                <a:gd name="T56" fmla="*/ 106 w 200"/>
                <a:gd name="T57" fmla="*/ 253 h 261"/>
                <a:gd name="T58" fmla="*/ 112 w 200"/>
                <a:gd name="T59" fmla="*/ 255 h 261"/>
                <a:gd name="T60" fmla="*/ 110 w 200"/>
                <a:gd name="T61" fmla="*/ 248 h 261"/>
                <a:gd name="T62" fmla="*/ 112 w 200"/>
                <a:gd name="T63" fmla="*/ 239 h 261"/>
                <a:gd name="T64" fmla="*/ 163 w 200"/>
                <a:gd name="T65" fmla="*/ 187 h 261"/>
                <a:gd name="T66" fmla="*/ 155 w 200"/>
                <a:gd name="T67" fmla="*/ 160 h 261"/>
                <a:gd name="T68" fmla="*/ 173 w 200"/>
                <a:gd name="T69" fmla="*/ 159 h 261"/>
                <a:gd name="T70" fmla="*/ 189 w 200"/>
                <a:gd name="T71" fmla="*/ 142 h 261"/>
                <a:gd name="T72" fmla="*/ 200 w 200"/>
                <a:gd name="T73" fmla="*/ 126 h 261"/>
                <a:gd name="T74" fmla="*/ 188 w 200"/>
                <a:gd name="T75" fmla="*/ 110 h 261"/>
                <a:gd name="T76" fmla="*/ 165 w 200"/>
                <a:gd name="T77" fmla="*/ 95 h 261"/>
                <a:gd name="T78" fmla="*/ 142 w 200"/>
                <a:gd name="T79" fmla="*/ 76 h 261"/>
                <a:gd name="T80" fmla="*/ 132 w 200"/>
                <a:gd name="T81" fmla="*/ 58 h 261"/>
                <a:gd name="T82" fmla="*/ 135 w 200"/>
                <a:gd name="T83" fmla="*/ 47 h 261"/>
                <a:gd name="T84" fmla="*/ 126 w 200"/>
                <a:gd name="T85" fmla="*/ 44 h 261"/>
                <a:gd name="T86" fmla="*/ 101 w 200"/>
                <a:gd name="T87" fmla="*/ 29 h 261"/>
                <a:gd name="T88" fmla="*/ 100 w 200"/>
                <a:gd name="T89" fmla="*/ 11 h 261"/>
                <a:gd name="T90" fmla="*/ 75 w 200"/>
                <a:gd name="T91" fmla="*/ 3 h 261"/>
                <a:gd name="T92" fmla="*/ 81 w 200"/>
                <a:gd name="T93" fmla="*/ 22 h 261"/>
                <a:gd name="T94" fmla="*/ 63 w 200"/>
                <a:gd name="T95" fmla="*/ 24 h 261"/>
                <a:gd name="T96" fmla="*/ 51 w 200"/>
                <a:gd name="T97" fmla="*/ 26 h 261"/>
                <a:gd name="T98" fmla="*/ 42 w 200"/>
                <a:gd name="T99" fmla="*/ 36 h 261"/>
                <a:gd name="T100" fmla="*/ 41 w 200"/>
                <a:gd name="T101" fmla="*/ 42 h 261"/>
                <a:gd name="T102" fmla="*/ 60 w 200"/>
                <a:gd name="T103" fmla="*/ 51 h 261"/>
                <a:gd name="T104" fmla="*/ 73 w 200"/>
                <a:gd name="T105" fmla="*/ 70 h 261"/>
                <a:gd name="T106" fmla="*/ 90 w 200"/>
                <a:gd name="T107" fmla="*/ 89 h 261"/>
                <a:gd name="T108" fmla="*/ 106 w 200"/>
                <a:gd name="T109" fmla="*/ 115 h 261"/>
                <a:gd name="T110" fmla="*/ 108 w 200"/>
                <a:gd name="T111" fmla="*/ 122 h 261"/>
                <a:gd name="T112" fmla="*/ 110 w 200"/>
                <a:gd name="T113" fmla="*/ 132 h 261"/>
                <a:gd name="T114" fmla="*/ 120 w 200"/>
                <a:gd name="T115" fmla="*/ 144 h 261"/>
                <a:gd name="T116" fmla="*/ 136 w 200"/>
                <a:gd name="T117" fmla="*/ 171 h 261"/>
                <a:gd name="T118" fmla="*/ 136 w 200"/>
                <a:gd name="T119" fmla="*/ 185 h 261"/>
                <a:gd name="T120" fmla="*/ 140 w 200"/>
                <a:gd name="T121" fmla="*/ 199 h 261"/>
                <a:gd name="T122" fmla="*/ 153 w 200"/>
                <a:gd name="T123" fmla="*/ 20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 h="261">
                  <a:moveTo>
                    <a:pt x="42" y="161"/>
                  </a:moveTo>
                  <a:cubicBezTo>
                    <a:pt x="42" y="161"/>
                    <a:pt x="42" y="162"/>
                    <a:pt x="42" y="162"/>
                  </a:cubicBezTo>
                  <a:cubicBezTo>
                    <a:pt x="41" y="163"/>
                    <a:pt x="41" y="162"/>
                    <a:pt x="40" y="162"/>
                  </a:cubicBezTo>
                  <a:cubicBezTo>
                    <a:pt x="40" y="161"/>
                    <a:pt x="40" y="160"/>
                    <a:pt x="40" y="159"/>
                  </a:cubicBezTo>
                  <a:cubicBezTo>
                    <a:pt x="40" y="159"/>
                    <a:pt x="39" y="158"/>
                    <a:pt x="39" y="158"/>
                  </a:cubicBezTo>
                  <a:cubicBezTo>
                    <a:pt x="38" y="159"/>
                    <a:pt x="39" y="161"/>
                    <a:pt x="39" y="162"/>
                  </a:cubicBezTo>
                  <a:cubicBezTo>
                    <a:pt x="39" y="163"/>
                    <a:pt x="41" y="165"/>
                    <a:pt x="39" y="165"/>
                  </a:cubicBezTo>
                  <a:cubicBezTo>
                    <a:pt x="38" y="165"/>
                    <a:pt x="38" y="165"/>
                    <a:pt x="37" y="164"/>
                  </a:cubicBezTo>
                  <a:cubicBezTo>
                    <a:pt x="36" y="164"/>
                    <a:pt x="34" y="164"/>
                    <a:pt x="33" y="165"/>
                  </a:cubicBezTo>
                  <a:cubicBezTo>
                    <a:pt x="33" y="165"/>
                    <a:pt x="32" y="166"/>
                    <a:pt x="31" y="166"/>
                  </a:cubicBezTo>
                  <a:cubicBezTo>
                    <a:pt x="30" y="166"/>
                    <a:pt x="29" y="165"/>
                    <a:pt x="28" y="164"/>
                  </a:cubicBezTo>
                  <a:cubicBezTo>
                    <a:pt x="24" y="162"/>
                    <a:pt x="19" y="162"/>
                    <a:pt x="17" y="158"/>
                  </a:cubicBezTo>
                  <a:cubicBezTo>
                    <a:pt x="16" y="157"/>
                    <a:pt x="16" y="156"/>
                    <a:pt x="15" y="155"/>
                  </a:cubicBezTo>
                  <a:cubicBezTo>
                    <a:pt x="14" y="155"/>
                    <a:pt x="14" y="154"/>
                    <a:pt x="14" y="154"/>
                  </a:cubicBezTo>
                  <a:cubicBezTo>
                    <a:pt x="14" y="153"/>
                    <a:pt x="14" y="152"/>
                    <a:pt x="14" y="151"/>
                  </a:cubicBezTo>
                  <a:cubicBezTo>
                    <a:pt x="13" y="149"/>
                    <a:pt x="12" y="148"/>
                    <a:pt x="11" y="146"/>
                  </a:cubicBezTo>
                  <a:cubicBezTo>
                    <a:pt x="10" y="145"/>
                    <a:pt x="8" y="143"/>
                    <a:pt x="7" y="141"/>
                  </a:cubicBezTo>
                  <a:cubicBezTo>
                    <a:pt x="6" y="139"/>
                    <a:pt x="4" y="138"/>
                    <a:pt x="3" y="136"/>
                  </a:cubicBezTo>
                  <a:cubicBezTo>
                    <a:pt x="2" y="135"/>
                    <a:pt x="2" y="133"/>
                    <a:pt x="1" y="132"/>
                  </a:cubicBezTo>
                  <a:cubicBezTo>
                    <a:pt x="1" y="131"/>
                    <a:pt x="0" y="130"/>
                    <a:pt x="0" y="129"/>
                  </a:cubicBezTo>
                  <a:cubicBezTo>
                    <a:pt x="0" y="128"/>
                    <a:pt x="0" y="127"/>
                    <a:pt x="1" y="127"/>
                  </a:cubicBezTo>
                  <a:cubicBezTo>
                    <a:pt x="2" y="125"/>
                    <a:pt x="3" y="124"/>
                    <a:pt x="4" y="122"/>
                  </a:cubicBezTo>
                  <a:cubicBezTo>
                    <a:pt x="4" y="121"/>
                    <a:pt x="4" y="120"/>
                    <a:pt x="4" y="119"/>
                  </a:cubicBezTo>
                  <a:cubicBezTo>
                    <a:pt x="4" y="118"/>
                    <a:pt x="4" y="116"/>
                    <a:pt x="4" y="116"/>
                  </a:cubicBezTo>
                  <a:cubicBezTo>
                    <a:pt x="4" y="115"/>
                    <a:pt x="5" y="114"/>
                    <a:pt x="6" y="114"/>
                  </a:cubicBezTo>
                  <a:cubicBezTo>
                    <a:pt x="7" y="114"/>
                    <a:pt x="9" y="114"/>
                    <a:pt x="10" y="114"/>
                  </a:cubicBezTo>
                  <a:cubicBezTo>
                    <a:pt x="12" y="114"/>
                    <a:pt x="14" y="114"/>
                    <a:pt x="15" y="113"/>
                  </a:cubicBezTo>
                  <a:cubicBezTo>
                    <a:pt x="16" y="113"/>
                    <a:pt x="18" y="111"/>
                    <a:pt x="18" y="112"/>
                  </a:cubicBezTo>
                  <a:cubicBezTo>
                    <a:pt x="18" y="113"/>
                    <a:pt x="18" y="113"/>
                    <a:pt x="19" y="114"/>
                  </a:cubicBezTo>
                  <a:cubicBezTo>
                    <a:pt x="19" y="114"/>
                    <a:pt x="19" y="114"/>
                    <a:pt x="20" y="114"/>
                  </a:cubicBezTo>
                  <a:cubicBezTo>
                    <a:pt x="21" y="115"/>
                    <a:pt x="21" y="115"/>
                    <a:pt x="21" y="116"/>
                  </a:cubicBezTo>
                  <a:cubicBezTo>
                    <a:pt x="21" y="116"/>
                    <a:pt x="21" y="117"/>
                    <a:pt x="21" y="118"/>
                  </a:cubicBezTo>
                  <a:cubicBezTo>
                    <a:pt x="20" y="119"/>
                    <a:pt x="20" y="120"/>
                    <a:pt x="21" y="121"/>
                  </a:cubicBezTo>
                  <a:cubicBezTo>
                    <a:pt x="21" y="122"/>
                    <a:pt x="22" y="122"/>
                    <a:pt x="22" y="123"/>
                  </a:cubicBezTo>
                  <a:cubicBezTo>
                    <a:pt x="23" y="123"/>
                    <a:pt x="24" y="124"/>
                    <a:pt x="24" y="125"/>
                  </a:cubicBezTo>
                  <a:cubicBezTo>
                    <a:pt x="25" y="126"/>
                    <a:pt x="26" y="127"/>
                    <a:pt x="26" y="128"/>
                  </a:cubicBezTo>
                  <a:cubicBezTo>
                    <a:pt x="26" y="129"/>
                    <a:pt x="26" y="130"/>
                    <a:pt x="26" y="130"/>
                  </a:cubicBezTo>
                  <a:cubicBezTo>
                    <a:pt x="26" y="131"/>
                    <a:pt x="27" y="131"/>
                    <a:pt x="27" y="131"/>
                  </a:cubicBezTo>
                  <a:cubicBezTo>
                    <a:pt x="28" y="133"/>
                    <a:pt x="27" y="134"/>
                    <a:pt x="28" y="135"/>
                  </a:cubicBezTo>
                  <a:cubicBezTo>
                    <a:pt x="29" y="136"/>
                    <a:pt x="29" y="136"/>
                    <a:pt x="30" y="137"/>
                  </a:cubicBezTo>
                  <a:cubicBezTo>
                    <a:pt x="30" y="138"/>
                    <a:pt x="30" y="138"/>
                    <a:pt x="30" y="139"/>
                  </a:cubicBezTo>
                  <a:cubicBezTo>
                    <a:pt x="30" y="140"/>
                    <a:pt x="31" y="141"/>
                    <a:pt x="31" y="141"/>
                  </a:cubicBezTo>
                  <a:cubicBezTo>
                    <a:pt x="33" y="141"/>
                    <a:pt x="33" y="141"/>
                    <a:pt x="34" y="142"/>
                  </a:cubicBezTo>
                  <a:cubicBezTo>
                    <a:pt x="34" y="143"/>
                    <a:pt x="35" y="144"/>
                    <a:pt x="35" y="145"/>
                  </a:cubicBezTo>
                  <a:cubicBezTo>
                    <a:pt x="34" y="146"/>
                    <a:pt x="33" y="144"/>
                    <a:pt x="32" y="144"/>
                  </a:cubicBezTo>
                  <a:cubicBezTo>
                    <a:pt x="31" y="145"/>
                    <a:pt x="34" y="147"/>
                    <a:pt x="35" y="147"/>
                  </a:cubicBezTo>
                  <a:cubicBezTo>
                    <a:pt x="35" y="148"/>
                    <a:pt x="36" y="148"/>
                    <a:pt x="36" y="149"/>
                  </a:cubicBezTo>
                  <a:cubicBezTo>
                    <a:pt x="37" y="150"/>
                    <a:pt x="35" y="150"/>
                    <a:pt x="36" y="151"/>
                  </a:cubicBezTo>
                  <a:cubicBezTo>
                    <a:pt x="37" y="152"/>
                    <a:pt x="37" y="152"/>
                    <a:pt x="37" y="152"/>
                  </a:cubicBezTo>
                  <a:cubicBezTo>
                    <a:pt x="37" y="152"/>
                    <a:pt x="37" y="152"/>
                    <a:pt x="37" y="152"/>
                  </a:cubicBezTo>
                  <a:cubicBezTo>
                    <a:pt x="38" y="153"/>
                    <a:pt x="37" y="153"/>
                    <a:pt x="38" y="154"/>
                  </a:cubicBezTo>
                  <a:cubicBezTo>
                    <a:pt x="38" y="154"/>
                    <a:pt x="39" y="153"/>
                    <a:pt x="39" y="153"/>
                  </a:cubicBezTo>
                  <a:cubicBezTo>
                    <a:pt x="40" y="153"/>
                    <a:pt x="41" y="155"/>
                    <a:pt x="41" y="156"/>
                  </a:cubicBezTo>
                  <a:cubicBezTo>
                    <a:pt x="42" y="157"/>
                    <a:pt x="42" y="159"/>
                    <a:pt x="42" y="161"/>
                  </a:cubicBezTo>
                  <a:close/>
                  <a:moveTo>
                    <a:pt x="76" y="198"/>
                  </a:moveTo>
                  <a:cubicBezTo>
                    <a:pt x="75" y="198"/>
                    <a:pt x="75" y="197"/>
                    <a:pt x="75" y="197"/>
                  </a:cubicBezTo>
                  <a:cubicBezTo>
                    <a:pt x="73" y="196"/>
                    <a:pt x="72" y="195"/>
                    <a:pt x="71" y="194"/>
                  </a:cubicBezTo>
                  <a:cubicBezTo>
                    <a:pt x="70" y="193"/>
                    <a:pt x="69" y="192"/>
                    <a:pt x="69" y="190"/>
                  </a:cubicBezTo>
                  <a:cubicBezTo>
                    <a:pt x="67" y="188"/>
                    <a:pt x="67" y="186"/>
                    <a:pt x="67" y="183"/>
                  </a:cubicBezTo>
                  <a:cubicBezTo>
                    <a:pt x="66" y="183"/>
                    <a:pt x="65" y="182"/>
                    <a:pt x="64" y="182"/>
                  </a:cubicBezTo>
                  <a:cubicBezTo>
                    <a:pt x="63" y="181"/>
                    <a:pt x="61" y="180"/>
                    <a:pt x="59" y="180"/>
                  </a:cubicBezTo>
                  <a:cubicBezTo>
                    <a:pt x="58" y="181"/>
                    <a:pt x="58" y="183"/>
                    <a:pt x="58" y="184"/>
                  </a:cubicBezTo>
                  <a:cubicBezTo>
                    <a:pt x="58" y="186"/>
                    <a:pt x="59" y="188"/>
                    <a:pt x="57" y="187"/>
                  </a:cubicBezTo>
                  <a:cubicBezTo>
                    <a:pt x="57" y="188"/>
                    <a:pt x="57" y="190"/>
                    <a:pt x="58" y="191"/>
                  </a:cubicBezTo>
                  <a:cubicBezTo>
                    <a:pt x="59" y="191"/>
                    <a:pt x="60" y="191"/>
                    <a:pt x="61" y="192"/>
                  </a:cubicBezTo>
                  <a:cubicBezTo>
                    <a:pt x="60" y="193"/>
                    <a:pt x="60" y="193"/>
                    <a:pt x="60" y="193"/>
                  </a:cubicBezTo>
                  <a:cubicBezTo>
                    <a:pt x="60" y="194"/>
                    <a:pt x="60" y="196"/>
                    <a:pt x="62" y="195"/>
                  </a:cubicBezTo>
                  <a:cubicBezTo>
                    <a:pt x="62" y="195"/>
                    <a:pt x="62" y="195"/>
                    <a:pt x="63" y="195"/>
                  </a:cubicBezTo>
                  <a:cubicBezTo>
                    <a:pt x="63" y="195"/>
                    <a:pt x="64" y="195"/>
                    <a:pt x="64" y="195"/>
                  </a:cubicBezTo>
                  <a:cubicBezTo>
                    <a:pt x="66" y="196"/>
                    <a:pt x="67" y="197"/>
                    <a:pt x="69" y="198"/>
                  </a:cubicBezTo>
                  <a:cubicBezTo>
                    <a:pt x="70" y="199"/>
                    <a:pt x="71" y="198"/>
                    <a:pt x="72" y="199"/>
                  </a:cubicBezTo>
                  <a:cubicBezTo>
                    <a:pt x="72" y="199"/>
                    <a:pt x="73" y="200"/>
                    <a:pt x="74" y="200"/>
                  </a:cubicBezTo>
                  <a:cubicBezTo>
                    <a:pt x="74" y="201"/>
                    <a:pt x="74" y="201"/>
                    <a:pt x="75" y="202"/>
                  </a:cubicBezTo>
                  <a:cubicBezTo>
                    <a:pt x="77" y="202"/>
                    <a:pt x="76" y="201"/>
                    <a:pt x="76" y="200"/>
                  </a:cubicBezTo>
                  <a:cubicBezTo>
                    <a:pt x="76" y="200"/>
                    <a:pt x="76" y="199"/>
                    <a:pt x="76" y="198"/>
                  </a:cubicBezTo>
                  <a:close/>
                  <a:moveTo>
                    <a:pt x="98" y="223"/>
                  </a:moveTo>
                  <a:cubicBezTo>
                    <a:pt x="98" y="222"/>
                    <a:pt x="98" y="221"/>
                    <a:pt x="98" y="221"/>
                  </a:cubicBezTo>
                  <a:cubicBezTo>
                    <a:pt x="97" y="219"/>
                    <a:pt x="96" y="218"/>
                    <a:pt x="95" y="216"/>
                  </a:cubicBezTo>
                  <a:cubicBezTo>
                    <a:pt x="94" y="215"/>
                    <a:pt x="93" y="215"/>
                    <a:pt x="91" y="214"/>
                  </a:cubicBezTo>
                  <a:cubicBezTo>
                    <a:pt x="90" y="214"/>
                    <a:pt x="89" y="212"/>
                    <a:pt x="88" y="211"/>
                  </a:cubicBezTo>
                  <a:cubicBezTo>
                    <a:pt x="87" y="211"/>
                    <a:pt x="87" y="210"/>
                    <a:pt x="87" y="209"/>
                  </a:cubicBezTo>
                  <a:cubicBezTo>
                    <a:pt x="86" y="209"/>
                    <a:pt x="86" y="209"/>
                    <a:pt x="85" y="208"/>
                  </a:cubicBezTo>
                  <a:cubicBezTo>
                    <a:pt x="84" y="209"/>
                    <a:pt x="84" y="208"/>
                    <a:pt x="83" y="209"/>
                  </a:cubicBezTo>
                  <a:cubicBezTo>
                    <a:pt x="83" y="210"/>
                    <a:pt x="83" y="210"/>
                    <a:pt x="83" y="210"/>
                  </a:cubicBezTo>
                  <a:cubicBezTo>
                    <a:pt x="83" y="211"/>
                    <a:pt x="83" y="211"/>
                    <a:pt x="83" y="212"/>
                  </a:cubicBezTo>
                  <a:cubicBezTo>
                    <a:pt x="82" y="213"/>
                    <a:pt x="83" y="213"/>
                    <a:pt x="83" y="213"/>
                  </a:cubicBezTo>
                  <a:cubicBezTo>
                    <a:pt x="84" y="214"/>
                    <a:pt x="84" y="215"/>
                    <a:pt x="84" y="216"/>
                  </a:cubicBezTo>
                  <a:cubicBezTo>
                    <a:pt x="83" y="217"/>
                    <a:pt x="84" y="218"/>
                    <a:pt x="85" y="219"/>
                  </a:cubicBezTo>
                  <a:cubicBezTo>
                    <a:pt x="86" y="220"/>
                    <a:pt x="86" y="222"/>
                    <a:pt x="85" y="223"/>
                  </a:cubicBezTo>
                  <a:cubicBezTo>
                    <a:pt x="85" y="224"/>
                    <a:pt x="84" y="225"/>
                    <a:pt x="84" y="225"/>
                  </a:cubicBezTo>
                  <a:cubicBezTo>
                    <a:pt x="84" y="226"/>
                    <a:pt x="85" y="226"/>
                    <a:pt x="85" y="227"/>
                  </a:cubicBezTo>
                  <a:cubicBezTo>
                    <a:pt x="85" y="228"/>
                    <a:pt x="85" y="230"/>
                    <a:pt x="87" y="230"/>
                  </a:cubicBezTo>
                  <a:cubicBezTo>
                    <a:pt x="88" y="230"/>
                    <a:pt x="87" y="228"/>
                    <a:pt x="89" y="228"/>
                  </a:cubicBezTo>
                  <a:cubicBezTo>
                    <a:pt x="90" y="228"/>
                    <a:pt x="92" y="228"/>
                    <a:pt x="93" y="228"/>
                  </a:cubicBezTo>
                  <a:cubicBezTo>
                    <a:pt x="94" y="228"/>
                    <a:pt x="94" y="227"/>
                    <a:pt x="95" y="226"/>
                  </a:cubicBezTo>
                  <a:cubicBezTo>
                    <a:pt x="95" y="226"/>
                    <a:pt x="97" y="226"/>
                    <a:pt x="98" y="225"/>
                  </a:cubicBezTo>
                  <a:cubicBezTo>
                    <a:pt x="98" y="225"/>
                    <a:pt x="99" y="224"/>
                    <a:pt x="98" y="223"/>
                  </a:cubicBezTo>
                  <a:close/>
                  <a:moveTo>
                    <a:pt x="112" y="239"/>
                  </a:moveTo>
                  <a:cubicBezTo>
                    <a:pt x="111" y="239"/>
                    <a:pt x="111" y="238"/>
                    <a:pt x="110" y="237"/>
                  </a:cubicBezTo>
                  <a:cubicBezTo>
                    <a:pt x="109" y="236"/>
                    <a:pt x="108" y="234"/>
                    <a:pt x="106" y="233"/>
                  </a:cubicBezTo>
                  <a:cubicBezTo>
                    <a:pt x="105" y="232"/>
                    <a:pt x="105" y="232"/>
                    <a:pt x="104" y="231"/>
                  </a:cubicBezTo>
                  <a:cubicBezTo>
                    <a:pt x="104" y="231"/>
                    <a:pt x="103" y="230"/>
                    <a:pt x="103" y="230"/>
                  </a:cubicBezTo>
                  <a:cubicBezTo>
                    <a:pt x="101" y="229"/>
                    <a:pt x="102" y="227"/>
                    <a:pt x="100" y="226"/>
                  </a:cubicBezTo>
                  <a:cubicBezTo>
                    <a:pt x="99" y="226"/>
                    <a:pt x="97" y="226"/>
                    <a:pt x="96" y="227"/>
                  </a:cubicBezTo>
                  <a:cubicBezTo>
                    <a:pt x="96" y="228"/>
                    <a:pt x="96" y="230"/>
                    <a:pt x="97" y="231"/>
                  </a:cubicBezTo>
                  <a:cubicBezTo>
                    <a:pt x="97" y="232"/>
                    <a:pt x="98" y="234"/>
                    <a:pt x="98" y="235"/>
                  </a:cubicBezTo>
                  <a:cubicBezTo>
                    <a:pt x="97" y="236"/>
                    <a:pt x="97" y="236"/>
                    <a:pt x="97" y="237"/>
                  </a:cubicBezTo>
                  <a:cubicBezTo>
                    <a:pt x="97" y="238"/>
                    <a:pt x="97" y="238"/>
                    <a:pt x="97" y="239"/>
                  </a:cubicBezTo>
                  <a:cubicBezTo>
                    <a:pt x="98" y="240"/>
                    <a:pt x="98" y="240"/>
                    <a:pt x="98" y="241"/>
                  </a:cubicBezTo>
                  <a:cubicBezTo>
                    <a:pt x="98" y="241"/>
                    <a:pt x="99" y="242"/>
                    <a:pt x="99" y="242"/>
                  </a:cubicBezTo>
                  <a:cubicBezTo>
                    <a:pt x="100" y="243"/>
                    <a:pt x="100" y="244"/>
                    <a:pt x="101" y="244"/>
                  </a:cubicBezTo>
                  <a:cubicBezTo>
                    <a:pt x="102" y="245"/>
                    <a:pt x="102" y="244"/>
                    <a:pt x="103" y="244"/>
                  </a:cubicBezTo>
                  <a:cubicBezTo>
                    <a:pt x="103" y="244"/>
                    <a:pt x="104" y="245"/>
                    <a:pt x="105" y="246"/>
                  </a:cubicBezTo>
                  <a:cubicBezTo>
                    <a:pt x="105" y="246"/>
                    <a:pt x="105" y="247"/>
                    <a:pt x="106" y="248"/>
                  </a:cubicBezTo>
                  <a:cubicBezTo>
                    <a:pt x="106" y="249"/>
                    <a:pt x="106" y="251"/>
                    <a:pt x="106" y="252"/>
                  </a:cubicBezTo>
                  <a:cubicBezTo>
                    <a:pt x="106" y="252"/>
                    <a:pt x="105" y="253"/>
                    <a:pt x="106" y="253"/>
                  </a:cubicBezTo>
                  <a:cubicBezTo>
                    <a:pt x="106" y="254"/>
                    <a:pt x="107" y="254"/>
                    <a:pt x="107" y="254"/>
                  </a:cubicBezTo>
                  <a:cubicBezTo>
                    <a:pt x="109" y="255"/>
                    <a:pt x="109" y="256"/>
                    <a:pt x="110" y="257"/>
                  </a:cubicBezTo>
                  <a:cubicBezTo>
                    <a:pt x="110" y="258"/>
                    <a:pt x="112" y="261"/>
                    <a:pt x="113" y="259"/>
                  </a:cubicBezTo>
                  <a:cubicBezTo>
                    <a:pt x="113" y="259"/>
                    <a:pt x="113" y="256"/>
                    <a:pt x="112" y="255"/>
                  </a:cubicBezTo>
                  <a:cubicBezTo>
                    <a:pt x="111" y="254"/>
                    <a:pt x="110" y="254"/>
                    <a:pt x="109" y="253"/>
                  </a:cubicBezTo>
                  <a:cubicBezTo>
                    <a:pt x="109" y="252"/>
                    <a:pt x="110" y="251"/>
                    <a:pt x="110" y="250"/>
                  </a:cubicBezTo>
                  <a:cubicBezTo>
                    <a:pt x="109" y="249"/>
                    <a:pt x="109" y="249"/>
                    <a:pt x="109" y="249"/>
                  </a:cubicBezTo>
                  <a:cubicBezTo>
                    <a:pt x="108" y="248"/>
                    <a:pt x="110" y="248"/>
                    <a:pt x="110" y="248"/>
                  </a:cubicBezTo>
                  <a:cubicBezTo>
                    <a:pt x="112" y="248"/>
                    <a:pt x="113" y="248"/>
                    <a:pt x="113" y="247"/>
                  </a:cubicBezTo>
                  <a:cubicBezTo>
                    <a:pt x="113" y="245"/>
                    <a:pt x="113" y="244"/>
                    <a:pt x="113" y="243"/>
                  </a:cubicBezTo>
                  <a:cubicBezTo>
                    <a:pt x="113" y="242"/>
                    <a:pt x="113" y="241"/>
                    <a:pt x="113" y="241"/>
                  </a:cubicBezTo>
                  <a:cubicBezTo>
                    <a:pt x="113" y="240"/>
                    <a:pt x="113" y="240"/>
                    <a:pt x="112" y="239"/>
                  </a:cubicBezTo>
                  <a:close/>
                  <a:moveTo>
                    <a:pt x="153" y="204"/>
                  </a:moveTo>
                  <a:cubicBezTo>
                    <a:pt x="155" y="203"/>
                    <a:pt x="156" y="202"/>
                    <a:pt x="157" y="201"/>
                  </a:cubicBezTo>
                  <a:cubicBezTo>
                    <a:pt x="158" y="200"/>
                    <a:pt x="160" y="199"/>
                    <a:pt x="161" y="198"/>
                  </a:cubicBezTo>
                  <a:cubicBezTo>
                    <a:pt x="163" y="195"/>
                    <a:pt x="163" y="190"/>
                    <a:pt x="163" y="187"/>
                  </a:cubicBezTo>
                  <a:cubicBezTo>
                    <a:pt x="162" y="182"/>
                    <a:pt x="158" y="180"/>
                    <a:pt x="156" y="175"/>
                  </a:cubicBezTo>
                  <a:cubicBezTo>
                    <a:pt x="155" y="174"/>
                    <a:pt x="155" y="173"/>
                    <a:pt x="156" y="172"/>
                  </a:cubicBezTo>
                  <a:cubicBezTo>
                    <a:pt x="156" y="170"/>
                    <a:pt x="156" y="169"/>
                    <a:pt x="155" y="168"/>
                  </a:cubicBezTo>
                  <a:cubicBezTo>
                    <a:pt x="155" y="165"/>
                    <a:pt x="153" y="162"/>
                    <a:pt x="155" y="160"/>
                  </a:cubicBezTo>
                  <a:cubicBezTo>
                    <a:pt x="157" y="161"/>
                    <a:pt x="157" y="159"/>
                    <a:pt x="158" y="159"/>
                  </a:cubicBezTo>
                  <a:cubicBezTo>
                    <a:pt x="159" y="159"/>
                    <a:pt x="160" y="159"/>
                    <a:pt x="161" y="160"/>
                  </a:cubicBezTo>
                  <a:cubicBezTo>
                    <a:pt x="163" y="161"/>
                    <a:pt x="164" y="160"/>
                    <a:pt x="166" y="159"/>
                  </a:cubicBezTo>
                  <a:cubicBezTo>
                    <a:pt x="168" y="159"/>
                    <a:pt x="170" y="159"/>
                    <a:pt x="173" y="159"/>
                  </a:cubicBezTo>
                  <a:cubicBezTo>
                    <a:pt x="177" y="160"/>
                    <a:pt x="178" y="156"/>
                    <a:pt x="181" y="152"/>
                  </a:cubicBezTo>
                  <a:cubicBezTo>
                    <a:pt x="182" y="151"/>
                    <a:pt x="183" y="149"/>
                    <a:pt x="185" y="148"/>
                  </a:cubicBezTo>
                  <a:cubicBezTo>
                    <a:pt x="186" y="147"/>
                    <a:pt x="189" y="146"/>
                    <a:pt x="189" y="145"/>
                  </a:cubicBezTo>
                  <a:cubicBezTo>
                    <a:pt x="190" y="144"/>
                    <a:pt x="189" y="143"/>
                    <a:pt x="189" y="142"/>
                  </a:cubicBezTo>
                  <a:cubicBezTo>
                    <a:pt x="189" y="141"/>
                    <a:pt x="190" y="140"/>
                    <a:pt x="190" y="139"/>
                  </a:cubicBezTo>
                  <a:cubicBezTo>
                    <a:pt x="190" y="137"/>
                    <a:pt x="188" y="136"/>
                    <a:pt x="189" y="134"/>
                  </a:cubicBezTo>
                  <a:cubicBezTo>
                    <a:pt x="190" y="130"/>
                    <a:pt x="193" y="131"/>
                    <a:pt x="196" y="130"/>
                  </a:cubicBezTo>
                  <a:cubicBezTo>
                    <a:pt x="197" y="129"/>
                    <a:pt x="200" y="127"/>
                    <a:pt x="200" y="126"/>
                  </a:cubicBezTo>
                  <a:cubicBezTo>
                    <a:pt x="199" y="124"/>
                    <a:pt x="197" y="124"/>
                    <a:pt x="197" y="122"/>
                  </a:cubicBezTo>
                  <a:cubicBezTo>
                    <a:pt x="196" y="120"/>
                    <a:pt x="197" y="118"/>
                    <a:pt x="197" y="116"/>
                  </a:cubicBezTo>
                  <a:cubicBezTo>
                    <a:pt x="194" y="116"/>
                    <a:pt x="191" y="116"/>
                    <a:pt x="189" y="114"/>
                  </a:cubicBezTo>
                  <a:cubicBezTo>
                    <a:pt x="188" y="112"/>
                    <a:pt x="189" y="111"/>
                    <a:pt x="188" y="110"/>
                  </a:cubicBezTo>
                  <a:cubicBezTo>
                    <a:pt x="188" y="109"/>
                    <a:pt x="186" y="108"/>
                    <a:pt x="186" y="108"/>
                  </a:cubicBezTo>
                  <a:cubicBezTo>
                    <a:pt x="183" y="106"/>
                    <a:pt x="180" y="107"/>
                    <a:pt x="177" y="106"/>
                  </a:cubicBezTo>
                  <a:cubicBezTo>
                    <a:pt x="174" y="105"/>
                    <a:pt x="173" y="102"/>
                    <a:pt x="171" y="100"/>
                  </a:cubicBezTo>
                  <a:cubicBezTo>
                    <a:pt x="169" y="98"/>
                    <a:pt x="167" y="96"/>
                    <a:pt x="165" y="95"/>
                  </a:cubicBezTo>
                  <a:cubicBezTo>
                    <a:pt x="161" y="94"/>
                    <a:pt x="157" y="91"/>
                    <a:pt x="154" y="88"/>
                  </a:cubicBezTo>
                  <a:cubicBezTo>
                    <a:pt x="152" y="87"/>
                    <a:pt x="150" y="85"/>
                    <a:pt x="149" y="83"/>
                  </a:cubicBezTo>
                  <a:cubicBezTo>
                    <a:pt x="148" y="81"/>
                    <a:pt x="149" y="79"/>
                    <a:pt x="147" y="77"/>
                  </a:cubicBezTo>
                  <a:cubicBezTo>
                    <a:pt x="146" y="74"/>
                    <a:pt x="144" y="75"/>
                    <a:pt x="142" y="76"/>
                  </a:cubicBezTo>
                  <a:cubicBezTo>
                    <a:pt x="140" y="77"/>
                    <a:pt x="138" y="78"/>
                    <a:pt x="137" y="76"/>
                  </a:cubicBezTo>
                  <a:cubicBezTo>
                    <a:pt x="136" y="73"/>
                    <a:pt x="134" y="72"/>
                    <a:pt x="133" y="70"/>
                  </a:cubicBezTo>
                  <a:cubicBezTo>
                    <a:pt x="132" y="68"/>
                    <a:pt x="132" y="66"/>
                    <a:pt x="131" y="64"/>
                  </a:cubicBezTo>
                  <a:cubicBezTo>
                    <a:pt x="132" y="62"/>
                    <a:pt x="130" y="60"/>
                    <a:pt x="132" y="58"/>
                  </a:cubicBezTo>
                  <a:cubicBezTo>
                    <a:pt x="133" y="57"/>
                    <a:pt x="135" y="58"/>
                    <a:pt x="136" y="56"/>
                  </a:cubicBezTo>
                  <a:cubicBezTo>
                    <a:pt x="137" y="55"/>
                    <a:pt x="136" y="53"/>
                    <a:pt x="134" y="53"/>
                  </a:cubicBezTo>
                  <a:cubicBezTo>
                    <a:pt x="133" y="52"/>
                    <a:pt x="132" y="52"/>
                    <a:pt x="132" y="50"/>
                  </a:cubicBezTo>
                  <a:cubicBezTo>
                    <a:pt x="132" y="48"/>
                    <a:pt x="134" y="48"/>
                    <a:pt x="135" y="47"/>
                  </a:cubicBezTo>
                  <a:cubicBezTo>
                    <a:pt x="136" y="46"/>
                    <a:pt x="136" y="45"/>
                    <a:pt x="136" y="43"/>
                  </a:cubicBezTo>
                  <a:cubicBezTo>
                    <a:pt x="135" y="41"/>
                    <a:pt x="135" y="41"/>
                    <a:pt x="132" y="41"/>
                  </a:cubicBezTo>
                  <a:cubicBezTo>
                    <a:pt x="131" y="41"/>
                    <a:pt x="129" y="41"/>
                    <a:pt x="128" y="42"/>
                  </a:cubicBezTo>
                  <a:cubicBezTo>
                    <a:pt x="127" y="42"/>
                    <a:pt x="127" y="43"/>
                    <a:pt x="126" y="44"/>
                  </a:cubicBezTo>
                  <a:cubicBezTo>
                    <a:pt x="124" y="44"/>
                    <a:pt x="122" y="41"/>
                    <a:pt x="121" y="40"/>
                  </a:cubicBezTo>
                  <a:cubicBezTo>
                    <a:pt x="120" y="38"/>
                    <a:pt x="118" y="36"/>
                    <a:pt x="116" y="34"/>
                  </a:cubicBezTo>
                  <a:cubicBezTo>
                    <a:pt x="115" y="33"/>
                    <a:pt x="115" y="31"/>
                    <a:pt x="113" y="31"/>
                  </a:cubicBezTo>
                  <a:cubicBezTo>
                    <a:pt x="110" y="30"/>
                    <a:pt x="102" y="34"/>
                    <a:pt x="101" y="29"/>
                  </a:cubicBezTo>
                  <a:cubicBezTo>
                    <a:pt x="100" y="28"/>
                    <a:pt x="101" y="26"/>
                    <a:pt x="101" y="25"/>
                  </a:cubicBezTo>
                  <a:cubicBezTo>
                    <a:pt x="100" y="22"/>
                    <a:pt x="97" y="24"/>
                    <a:pt x="96" y="22"/>
                  </a:cubicBezTo>
                  <a:cubicBezTo>
                    <a:pt x="95" y="19"/>
                    <a:pt x="97" y="16"/>
                    <a:pt x="99" y="14"/>
                  </a:cubicBezTo>
                  <a:cubicBezTo>
                    <a:pt x="100" y="13"/>
                    <a:pt x="101" y="13"/>
                    <a:pt x="100" y="11"/>
                  </a:cubicBezTo>
                  <a:cubicBezTo>
                    <a:pt x="99" y="10"/>
                    <a:pt x="97" y="10"/>
                    <a:pt x="96" y="9"/>
                  </a:cubicBezTo>
                  <a:cubicBezTo>
                    <a:pt x="93" y="8"/>
                    <a:pt x="91" y="7"/>
                    <a:pt x="88" y="7"/>
                  </a:cubicBezTo>
                  <a:cubicBezTo>
                    <a:pt x="87" y="6"/>
                    <a:pt x="84" y="5"/>
                    <a:pt x="83" y="4"/>
                  </a:cubicBezTo>
                  <a:cubicBezTo>
                    <a:pt x="81" y="3"/>
                    <a:pt x="78" y="0"/>
                    <a:pt x="75" y="3"/>
                  </a:cubicBezTo>
                  <a:cubicBezTo>
                    <a:pt x="75" y="4"/>
                    <a:pt x="75" y="6"/>
                    <a:pt x="75" y="7"/>
                  </a:cubicBezTo>
                  <a:cubicBezTo>
                    <a:pt x="75" y="9"/>
                    <a:pt x="74" y="10"/>
                    <a:pt x="74" y="11"/>
                  </a:cubicBezTo>
                  <a:cubicBezTo>
                    <a:pt x="74" y="14"/>
                    <a:pt x="77" y="15"/>
                    <a:pt x="79" y="16"/>
                  </a:cubicBezTo>
                  <a:cubicBezTo>
                    <a:pt x="81" y="17"/>
                    <a:pt x="80" y="19"/>
                    <a:pt x="81" y="22"/>
                  </a:cubicBezTo>
                  <a:cubicBezTo>
                    <a:pt x="82" y="23"/>
                    <a:pt x="82" y="25"/>
                    <a:pt x="80" y="27"/>
                  </a:cubicBezTo>
                  <a:cubicBezTo>
                    <a:pt x="78" y="28"/>
                    <a:pt x="76" y="27"/>
                    <a:pt x="74" y="27"/>
                  </a:cubicBezTo>
                  <a:cubicBezTo>
                    <a:pt x="71" y="27"/>
                    <a:pt x="69" y="30"/>
                    <a:pt x="67" y="28"/>
                  </a:cubicBezTo>
                  <a:cubicBezTo>
                    <a:pt x="65" y="26"/>
                    <a:pt x="65" y="24"/>
                    <a:pt x="63" y="24"/>
                  </a:cubicBezTo>
                  <a:cubicBezTo>
                    <a:pt x="61" y="23"/>
                    <a:pt x="60" y="25"/>
                    <a:pt x="58" y="25"/>
                  </a:cubicBezTo>
                  <a:cubicBezTo>
                    <a:pt x="58" y="24"/>
                    <a:pt x="58" y="24"/>
                    <a:pt x="58" y="24"/>
                  </a:cubicBezTo>
                  <a:cubicBezTo>
                    <a:pt x="56" y="24"/>
                    <a:pt x="56" y="22"/>
                    <a:pt x="54" y="23"/>
                  </a:cubicBezTo>
                  <a:cubicBezTo>
                    <a:pt x="53" y="24"/>
                    <a:pt x="53" y="25"/>
                    <a:pt x="51" y="26"/>
                  </a:cubicBezTo>
                  <a:cubicBezTo>
                    <a:pt x="50" y="27"/>
                    <a:pt x="49" y="26"/>
                    <a:pt x="48" y="28"/>
                  </a:cubicBezTo>
                  <a:cubicBezTo>
                    <a:pt x="47" y="29"/>
                    <a:pt x="47" y="30"/>
                    <a:pt x="46" y="31"/>
                  </a:cubicBezTo>
                  <a:cubicBezTo>
                    <a:pt x="45" y="32"/>
                    <a:pt x="45" y="33"/>
                    <a:pt x="45" y="34"/>
                  </a:cubicBezTo>
                  <a:cubicBezTo>
                    <a:pt x="44" y="36"/>
                    <a:pt x="44" y="36"/>
                    <a:pt x="42" y="36"/>
                  </a:cubicBezTo>
                  <a:cubicBezTo>
                    <a:pt x="38" y="36"/>
                    <a:pt x="38" y="38"/>
                    <a:pt x="36" y="40"/>
                  </a:cubicBezTo>
                  <a:cubicBezTo>
                    <a:pt x="35" y="40"/>
                    <a:pt x="35" y="41"/>
                    <a:pt x="34" y="41"/>
                  </a:cubicBezTo>
                  <a:cubicBezTo>
                    <a:pt x="35" y="42"/>
                    <a:pt x="35" y="42"/>
                    <a:pt x="36" y="42"/>
                  </a:cubicBezTo>
                  <a:cubicBezTo>
                    <a:pt x="38" y="43"/>
                    <a:pt x="40" y="43"/>
                    <a:pt x="41" y="42"/>
                  </a:cubicBezTo>
                  <a:cubicBezTo>
                    <a:pt x="42" y="41"/>
                    <a:pt x="44" y="41"/>
                    <a:pt x="45" y="41"/>
                  </a:cubicBezTo>
                  <a:cubicBezTo>
                    <a:pt x="46" y="41"/>
                    <a:pt x="48" y="45"/>
                    <a:pt x="49" y="46"/>
                  </a:cubicBezTo>
                  <a:cubicBezTo>
                    <a:pt x="49" y="47"/>
                    <a:pt x="50" y="47"/>
                    <a:pt x="54" y="48"/>
                  </a:cubicBezTo>
                  <a:cubicBezTo>
                    <a:pt x="57" y="49"/>
                    <a:pt x="59" y="50"/>
                    <a:pt x="60" y="51"/>
                  </a:cubicBezTo>
                  <a:cubicBezTo>
                    <a:pt x="62" y="51"/>
                    <a:pt x="65" y="55"/>
                    <a:pt x="67" y="57"/>
                  </a:cubicBezTo>
                  <a:cubicBezTo>
                    <a:pt x="69" y="58"/>
                    <a:pt x="70" y="60"/>
                    <a:pt x="70" y="62"/>
                  </a:cubicBezTo>
                  <a:cubicBezTo>
                    <a:pt x="71" y="64"/>
                    <a:pt x="70" y="64"/>
                    <a:pt x="70" y="66"/>
                  </a:cubicBezTo>
                  <a:cubicBezTo>
                    <a:pt x="70" y="68"/>
                    <a:pt x="71" y="68"/>
                    <a:pt x="73" y="70"/>
                  </a:cubicBezTo>
                  <a:cubicBezTo>
                    <a:pt x="74" y="72"/>
                    <a:pt x="73" y="74"/>
                    <a:pt x="74" y="75"/>
                  </a:cubicBezTo>
                  <a:cubicBezTo>
                    <a:pt x="75" y="76"/>
                    <a:pt x="77" y="77"/>
                    <a:pt x="78" y="78"/>
                  </a:cubicBezTo>
                  <a:cubicBezTo>
                    <a:pt x="80" y="80"/>
                    <a:pt x="81" y="81"/>
                    <a:pt x="83" y="83"/>
                  </a:cubicBezTo>
                  <a:cubicBezTo>
                    <a:pt x="85" y="84"/>
                    <a:pt x="89" y="87"/>
                    <a:pt x="90" y="89"/>
                  </a:cubicBezTo>
                  <a:cubicBezTo>
                    <a:pt x="92" y="91"/>
                    <a:pt x="91" y="92"/>
                    <a:pt x="92" y="94"/>
                  </a:cubicBezTo>
                  <a:cubicBezTo>
                    <a:pt x="93" y="96"/>
                    <a:pt x="100" y="102"/>
                    <a:pt x="101" y="103"/>
                  </a:cubicBezTo>
                  <a:cubicBezTo>
                    <a:pt x="102" y="103"/>
                    <a:pt x="104" y="107"/>
                    <a:pt x="105" y="108"/>
                  </a:cubicBezTo>
                  <a:cubicBezTo>
                    <a:pt x="106" y="110"/>
                    <a:pt x="106" y="113"/>
                    <a:pt x="106" y="115"/>
                  </a:cubicBezTo>
                  <a:cubicBezTo>
                    <a:pt x="106" y="117"/>
                    <a:pt x="107" y="117"/>
                    <a:pt x="108" y="117"/>
                  </a:cubicBezTo>
                  <a:cubicBezTo>
                    <a:pt x="108" y="118"/>
                    <a:pt x="108" y="118"/>
                    <a:pt x="109" y="119"/>
                  </a:cubicBezTo>
                  <a:cubicBezTo>
                    <a:pt x="110" y="120"/>
                    <a:pt x="109" y="121"/>
                    <a:pt x="109" y="121"/>
                  </a:cubicBezTo>
                  <a:cubicBezTo>
                    <a:pt x="109" y="121"/>
                    <a:pt x="108" y="122"/>
                    <a:pt x="108" y="122"/>
                  </a:cubicBezTo>
                  <a:cubicBezTo>
                    <a:pt x="108" y="122"/>
                    <a:pt x="108" y="124"/>
                    <a:pt x="108" y="124"/>
                  </a:cubicBezTo>
                  <a:cubicBezTo>
                    <a:pt x="108" y="125"/>
                    <a:pt x="108" y="126"/>
                    <a:pt x="108" y="127"/>
                  </a:cubicBezTo>
                  <a:cubicBezTo>
                    <a:pt x="108" y="127"/>
                    <a:pt x="109" y="128"/>
                    <a:pt x="110" y="129"/>
                  </a:cubicBezTo>
                  <a:cubicBezTo>
                    <a:pt x="111" y="130"/>
                    <a:pt x="111" y="131"/>
                    <a:pt x="110" y="132"/>
                  </a:cubicBezTo>
                  <a:cubicBezTo>
                    <a:pt x="110" y="133"/>
                    <a:pt x="111" y="133"/>
                    <a:pt x="112" y="133"/>
                  </a:cubicBezTo>
                  <a:cubicBezTo>
                    <a:pt x="114" y="133"/>
                    <a:pt x="114" y="134"/>
                    <a:pt x="117" y="135"/>
                  </a:cubicBezTo>
                  <a:cubicBezTo>
                    <a:pt x="120" y="137"/>
                    <a:pt x="120" y="137"/>
                    <a:pt x="120" y="139"/>
                  </a:cubicBezTo>
                  <a:cubicBezTo>
                    <a:pt x="121" y="141"/>
                    <a:pt x="119" y="143"/>
                    <a:pt x="120" y="144"/>
                  </a:cubicBezTo>
                  <a:cubicBezTo>
                    <a:pt x="120" y="145"/>
                    <a:pt x="122" y="148"/>
                    <a:pt x="122" y="150"/>
                  </a:cubicBezTo>
                  <a:cubicBezTo>
                    <a:pt x="122" y="151"/>
                    <a:pt x="123" y="153"/>
                    <a:pt x="124" y="155"/>
                  </a:cubicBezTo>
                  <a:cubicBezTo>
                    <a:pt x="126" y="156"/>
                    <a:pt x="130" y="162"/>
                    <a:pt x="131" y="164"/>
                  </a:cubicBezTo>
                  <a:cubicBezTo>
                    <a:pt x="133" y="166"/>
                    <a:pt x="135" y="169"/>
                    <a:pt x="136" y="171"/>
                  </a:cubicBezTo>
                  <a:cubicBezTo>
                    <a:pt x="137" y="172"/>
                    <a:pt x="138" y="175"/>
                    <a:pt x="138" y="175"/>
                  </a:cubicBezTo>
                  <a:cubicBezTo>
                    <a:pt x="138" y="176"/>
                    <a:pt x="138" y="179"/>
                    <a:pt x="138" y="180"/>
                  </a:cubicBezTo>
                  <a:cubicBezTo>
                    <a:pt x="138" y="181"/>
                    <a:pt x="138" y="182"/>
                    <a:pt x="138" y="183"/>
                  </a:cubicBezTo>
                  <a:cubicBezTo>
                    <a:pt x="138" y="183"/>
                    <a:pt x="137" y="185"/>
                    <a:pt x="136" y="185"/>
                  </a:cubicBezTo>
                  <a:cubicBezTo>
                    <a:pt x="136" y="186"/>
                    <a:pt x="135" y="188"/>
                    <a:pt x="135" y="188"/>
                  </a:cubicBezTo>
                  <a:cubicBezTo>
                    <a:pt x="135" y="189"/>
                    <a:pt x="137" y="190"/>
                    <a:pt x="137" y="191"/>
                  </a:cubicBezTo>
                  <a:cubicBezTo>
                    <a:pt x="138" y="191"/>
                    <a:pt x="139" y="195"/>
                    <a:pt x="139" y="196"/>
                  </a:cubicBezTo>
                  <a:cubicBezTo>
                    <a:pt x="139" y="196"/>
                    <a:pt x="140" y="198"/>
                    <a:pt x="140" y="199"/>
                  </a:cubicBezTo>
                  <a:cubicBezTo>
                    <a:pt x="141" y="199"/>
                    <a:pt x="143" y="202"/>
                    <a:pt x="144" y="203"/>
                  </a:cubicBezTo>
                  <a:cubicBezTo>
                    <a:pt x="144" y="203"/>
                    <a:pt x="146" y="205"/>
                    <a:pt x="147" y="207"/>
                  </a:cubicBezTo>
                  <a:cubicBezTo>
                    <a:pt x="148" y="207"/>
                    <a:pt x="148" y="207"/>
                    <a:pt x="149" y="207"/>
                  </a:cubicBezTo>
                  <a:cubicBezTo>
                    <a:pt x="150" y="206"/>
                    <a:pt x="152" y="205"/>
                    <a:pt x="153" y="20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4" name="Freeform 21">
              <a:extLst>
                <a:ext uri="{FF2B5EF4-FFF2-40B4-BE49-F238E27FC236}">
                  <a16:creationId xmlns:a16="http://schemas.microsoft.com/office/drawing/2014/main" id="{F63D0B4F-6891-11C3-886E-0274A3971199}"/>
                </a:ext>
              </a:extLst>
            </p:cNvPr>
            <p:cNvSpPr>
              <a:spLocks/>
            </p:cNvSpPr>
            <p:nvPr/>
          </p:nvSpPr>
          <p:spPr bwMode="auto">
            <a:xfrm>
              <a:off x="3228975" y="5203825"/>
              <a:ext cx="582613" cy="449262"/>
            </a:xfrm>
            <a:custGeom>
              <a:avLst/>
              <a:gdLst>
                <a:gd name="T0" fmla="*/ 148 w 153"/>
                <a:gd name="T1" fmla="*/ 108 h 118"/>
                <a:gd name="T2" fmla="*/ 145 w 153"/>
                <a:gd name="T3" fmla="*/ 98 h 118"/>
                <a:gd name="T4" fmla="*/ 144 w 153"/>
                <a:gd name="T5" fmla="*/ 93 h 118"/>
                <a:gd name="T6" fmla="*/ 138 w 153"/>
                <a:gd name="T7" fmla="*/ 89 h 118"/>
                <a:gd name="T8" fmla="*/ 135 w 153"/>
                <a:gd name="T9" fmla="*/ 87 h 118"/>
                <a:gd name="T10" fmla="*/ 137 w 153"/>
                <a:gd name="T11" fmla="*/ 81 h 118"/>
                <a:gd name="T12" fmla="*/ 140 w 153"/>
                <a:gd name="T13" fmla="*/ 76 h 118"/>
                <a:gd name="T14" fmla="*/ 146 w 153"/>
                <a:gd name="T15" fmla="*/ 74 h 118"/>
                <a:gd name="T16" fmla="*/ 148 w 153"/>
                <a:gd name="T17" fmla="*/ 67 h 118"/>
                <a:gd name="T18" fmla="*/ 152 w 153"/>
                <a:gd name="T19" fmla="*/ 55 h 118"/>
                <a:gd name="T20" fmla="*/ 150 w 153"/>
                <a:gd name="T21" fmla="*/ 54 h 118"/>
                <a:gd name="T22" fmla="*/ 140 w 153"/>
                <a:gd name="T23" fmla="*/ 53 h 118"/>
                <a:gd name="T24" fmla="*/ 135 w 153"/>
                <a:gd name="T25" fmla="*/ 35 h 118"/>
                <a:gd name="T26" fmla="*/ 123 w 153"/>
                <a:gd name="T27" fmla="*/ 23 h 118"/>
                <a:gd name="T28" fmla="*/ 118 w 153"/>
                <a:gd name="T29" fmla="*/ 24 h 118"/>
                <a:gd name="T30" fmla="*/ 113 w 153"/>
                <a:gd name="T31" fmla="*/ 20 h 118"/>
                <a:gd name="T32" fmla="*/ 96 w 153"/>
                <a:gd name="T33" fmla="*/ 20 h 118"/>
                <a:gd name="T34" fmla="*/ 92 w 153"/>
                <a:gd name="T35" fmla="*/ 18 h 118"/>
                <a:gd name="T36" fmla="*/ 80 w 153"/>
                <a:gd name="T37" fmla="*/ 19 h 118"/>
                <a:gd name="T38" fmla="*/ 65 w 153"/>
                <a:gd name="T39" fmla="*/ 9 h 118"/>
                <a:gd name="T40" fmla="*/ 51 w 153"/>
                <a:gd name="T41" fmla="*/ 4 h 118"/>
                <a:gd name="T42" fmla="*/ 41 w 153"/>
                <a:gd name="T43" fmla="*/ 0 h 118"/>
                <a:gd name="T44" fmla="*/ 39 w 153"/>
                <a:gd name="T45" fmla="*/ 5 h 118"/>
                <a:gd name="T46" fmla="*/ 37 w 153"/>
                <a:gd name="T47" fmla="*/ 10 h 118"/>
                <a:gd name="T48" fmla="*/ 36 w 153"/>
                <a:gd name="T49" fmla="*/ 19 h 118"/>
                <a:gd name="T50" fmla="*/ 31 w 153"/>
                <a:gd name="T51" fmla="*/ 26 h 118"/>
                <a:gd name="T52" fmla="*/ 17 w 153"/>
                <a:gd name="T53" fmla="*/ 27 h 118"/>
                <a:gd name="T54" fmla="*/ 10 w 153"/>
                <a:gd name="T55" fmla="*/ 26 h 118"/>
                <a:gd name="T56" fmla="*/ 6 w 153"/>
                <a:gd name="T57" fmla="*/ 24 h 118"/>
                <a:gd name="T58" fmla="*/ 4 w 153"/>
                <a:gd name="T59" fmla="*/ 33 h 118"/>
                <a:gd name="T60" fmla="*/ 7 w 153"/>
                <a:gd name="T61" fmla="*/ 51 h 118"/>
                <a:gd name="T62" fmla="*/ 3 w 153"/>
                <a:gd name="T63" fmla="*/ 59 h 118"/>
                <a:gd name="T64" fmla="*/ 2 w 153"/>
                <a:gd name="T65" fmla="*/ 66 h 118"/>
                <a:gd name="T66" fmla="*/ 11 w 153"/>
                <a:gd name="T67" fmla="*/ 67 h 118"/>
                <a:gd name="T68" fmla="*/ 5 w 153"/>
                <a:gd name="T69" fmla="*/ 77 h 118"/>
                <a:gd name="T70" fmla="*/ 0 w 153"/>
                <a:gd name="T71" fmla="*/ 84 h 118"/>
                <a:gd name="T72" fmla="*/ 6 w 153"/>
                <a:gd name="T73" fmla="*/ 90 h 118"/>
                <a:gd name="T74" fmla="*/ 27 w 153"/>
                <a:gd name="T75" fmla="*/ 94 h 118"/>
                <a:gd name="T76" fmla="*/ 54 w 153"/>
                <a:gd name="T77" fmla="*/ 98 h 118"/>
                <a:gd name="T78" fmla="*/ 70 w 153"/>
                <a:gd name="T79" fmla="*/ 101 h 118"/>
                <a:gd name="T80" fmla="*/ 81 w 153"/>
                <a:gd name="T81" fmla="*/ 107 h 118"/>
                <a:gd name="T82" fmla="*/ 91 w 153"/>
                <a:gd name="T83" fmla="*/ 113 h 118"/>
                <a:gd name="T84" fmla="*/ 105 w 153"/>
                <a:gd name="T85" fmla="*/ 115 h 118"/>
                <a:gd name="T86" fmla="*/ 132 w 153"/>
                <a:gd name="T87" fmla="*/ 116 h 118"/>
                <a:gd name="T88" fmla="*/ 140 w 153"/>
                <a:gd name="T89" fmla="*/ 110 h 118"/>
                <a:gd name="T90" fmla="*/ 150 w 153"/>
                <a:gd name="T91" fmla="*/ 112 h 118"/>
                <a:gd name="T92" fmla="*/ 150 w 153"/>
                <a:gd name="T93"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18">
                  <a:moveTo>
                    <a:pt x="150" y="110"/>
                  </a:moveTo>
                  <a:cubicBezTo>
                    <a:pt x="150" y="110"/>
                    <a:pt x="150" y="109"/>
                    <a:pt x="150" y="109"/>
                  </a:cubicBezTo>
                  <a:cubicBezTo>
                    <a:pt x="149" y="109"/>
                    <a:pt x="149" y="108"/>
                    <a:pt x="148" y="108"/>
                  </a:cubicBezTo>
                  <a:cubicBezTo>
                    <a:pt x="148" y="107"/>
                    <a:pt x="147" y="106"/>
                    <a:pt x="147" y="105"/>
                  </a:cubicBezTo>
                  <a:cubicBezTo>
                    <a:pt x="147" y="103"/>
                    <a:pt x="147" y="102"/>
                    <a:pt x="147" y="101"/>
                  </a:cubicBezTo>
                  <a:cubicBezTo>
                    <a:pt x="146" y="100"/>
                    <a:pt x="145" y="99"/>
                    <a:pt x="145" y="98"/>
                  </a:cubicBezTo>
                  <a:cubicBezTo>
                    <a:pt x="145" y="97"/>
                    <a:pt x="146" y="96"/>
                    <a:pt x="145" y="95"/>
                  </a:cubicBezTo>
                  <a:cubicBezTo>
                    <a:pt x="145" y="95"/>
                    <a:pt x="145" y="94"/>
                    <a:pt x="145" y="94"/>
                  </a:cubicBezTo>
                  <a:cubicBezTo>
                    <a:pt x="144" y="93"/>
                    <a:pt x="144" y="93"/>
                    <a:pt x="144" y="93"/>
                  </a:cubicBezTo>
                  <a:cubicBezTo>
                    <a:pt x="143" y="92"/>
                    <a:pt x="143" y="92"/>
                    <a:pt x="143" y="91"/>
                  </a:cubicBezTo>
                  <a:cubicBezTo>
                    <a:pt x="142" y="90"/>
                    <a:pt x="142" y="90"/>
                    <a:pt x="141" y="90"/>
                  </a:cubicBezTo>
                  <a:cubicBezTo>
                    <a:pt x="140" y="90"/>
                    <a:pt x="139" y="90"/>
                    <a:pt x="138" y="89"/>
                  </a:cubicBezTo>
                  <a:cubicBezTo>
                    <a:pt x="137" y="89"/>
                    <a:pt x="137" y="88"/>
                    <a:pt x="137" y="88"/>
                  </a:cubicBezTo>
                  <a:cubicBezTo>
                    <a:pt x="136" y="88"/>
                    <a:pt x="136" y="88"/>
                    <a:pt x="136" y="88"/>
                  </a:cubicBezTo>
                  <a:cubicBezTo>
                    <a:pt x="135" y="88"/>
                    <a:pt x="135" y="88"/>
                    <a:pt x="135" y="87"/>
                  </a:cubicBezTo>
                  <a:cubicBezTo>
                    <a:pt x="135" y="86"/>
                    <a:pt x="135" y="86"/>
                    <a:pt x="135" y="85"/>
                  </a:cubicBezTo>
                  <a:cubicBezTo>
                    <a:pt x="135" y="84"/>
                    <a:pt x="136" y="84"/>
                    <a:pt x="136" y="83"/>
                  </a:cubicBezTo>
                  <a:cubicBezTo>
                    <a:pt x="137" y="82"/>
                    <a:pt x="137" y="81"/>
                    <a:pt x="137" y="81"/>
                  </a:cubicBezTo>
                  <a:cubicBezTo>
                    <a:pt x="136" y="80"/>
                    <a:pt x="136" y="79"/>
                    <a:pt x="136" y="78"/>
                  </a:cubicBezTo>
                  <a:cubicBezTo>
                    <a:pt x="137" y="77"/>
                    <a:pt x="137" y="77"/>
                    <a:pt x="138" y="77"/>
                  </a:cubicBezTo>
                  <a:cubicBezTo>
                    <a:pt x="138" y="77"/>
                    <a:pt x="139" y="76"/>
                    <a:pt x="140" y="76"/>
                  </a:cubicBezTo>
                  <a:cubicBezTo>
                    <a:pt x="141" y="76"/>
                    <a:pt x="141" y="77"/>
                    <a:pt x="142" y="77"/>
                  </a:cubicBezTo>
                  <a:cubicBezTo>
                    <a:pt x="142" y="77"/>
                    <a:pt x="143" y="77"/>
                    <a:pt x="144" y="76"/>
                  </a:cubicBezTo>
                  <a:cubicBezTo>
                    <a:pt x="145" y="76"/>
                    <a:pt x="146" y="75"/>
                    <a:pt x="146" y="74"/>
                  </a:cubicBezTo>
                  <a:cubicBezTo>
                    <a:pt x="147" y="74"/>
                    <a:pt x="148" y="74"/>
                    <a:pt x="149" y="73"/>
                  </a:cubicBezTo>
                  <a:cubicBezTo>
                    <a:pt x="149" y="72"/>
                    <a:pt x="149" y="71"/>
                    <a:pt x="149" y="70"/>
                  </a:cubicBezTo>
                  <a:cubicBezTo>
                    <a:pt x="149" y="69"/>
                    <a:pt x="149" y="68"/>
                    <a:pt x="148" y="67"/>
                  </a:cubicBezTo>
                  <a:cubicBezTo>
                    <a:pt x="148" y="67"/>
                    <a:pt x="147" y="66"/>
                    <a:pt x="147" y="65"/>
                  </a:cubicBezTo>
                  <a:cubicBezTo>
                    <a:pt x="148" y="63"/>
                    <a:pt x="148" y="62"/>
                    <a:pt x="149" y="60"/>
                  </a:cubicBezTo>
                  <a:cubicBezTo>
                    <a:pt x="150" y="59"/>
                    <a:pt x="151" y="57"/>
                    <a:pt x="152" y="55"/>
                  </a:cubicBezTo>
                  <a:cubicBezTo>
                    <a:pt x="152" y="54"/>
                    <a:pt x="153" y="53"/>
                    <a:pt x="153" y="52"/>
                  </a:cubicBezTo>
                  <a:cubicBezTo>
                    <a:pt x="152" y="52"/>
                    <a:pt x="152" y="52"/>
                    <a:pt x="151" y="52"/>
                  </a:cubicBezTo>
                  <a:cubicBezTo>
                    <a:pt x="150" y="52"/>
                    <a:pt x="151" y="53"/>
                    <a:pt x="150" y="54"/>
                  </a:cubicBezTo>
                  <a:cubicBezTo>
                    <a:pt x="149" y="56"/>
                    <a:pt x="147" y="55"/>
                    <a:pt x="144" y="55"/>
                  </a:cubicBezTo>
                  <a:cubicBezTo>
                    <a:pt x="141" y="54"/>
                    <a:pt x="143" y="53"/>
                    <a:pt x="142" y="52"/>
                  </a:cubicBezTo>
                  <a:cubicBezTo>
                    <a:pt x="141" y="50"/>
                    <a:pt x="142" y="52"/>
                    <a:pt x="140" y="53"/>
                  </a:cubicBezTo>
                  <a:cubicBezTo>
                    <a:pt x="138" y="53"/>
                    <a:pt x="139" y="52"/>
                    <a:pt x="137" y="51"/>
                  </a:cubicBezTo>
                  <a:cubicBezTo>
                    <a:pt x="136" y="50"/>
                    <a:pt x="136" y="49"/>
                    <a:pt x="135" y="45"/>
                  </a:cubicBezTo>
                  <a:cubicBezTo>
                    <a:pt x="134" y="42"/>
                    <a:pt x="135" y="35"/>
                    <a:pt x="135" y="35"/>
                  </a:cubicBezTo>
                  <a:cubicBezTo>
                    <a:pt x="135" y="35"/>
                    <a:pt x="135" y="35"/>
                    <a:pt x="133" y="35"/>
                  </a:cubicBezTo>
                  <a:cubicBezTo>
                    <a:pt x="131" y="34"/>
                    <a:pt x="131" y="34"/>
                    <a:pt x="129" y="32"/>
                  </a:cubicBezTo>
                  <a:cubicBezTo>
                    <a:pt x="126" y="31"/>
                    <a:pt x="124" y="25"/>
                    <a:pt x="123" y="23"/>
                  </a:cubicBezTo>
                  <a:cubicBezTo>
                    <a:pt x="122" y="21"/>
                    <a:pt x="121" y="21"/>
                    <a:pt x="120" y="20"/>
                  </a:cubicBezTo>
                  <a:cubicBezTo>
                    <a:pt x="119" y="20"/>
                    <a:pt x="119" y="20"/>
                    <a:pt x="120" y="23"/>
                  </a:cubicBezTo>
                  <a:cubicBezTo>
                    <a:pt x="121" y="25"/>
                    <a:pt x="119" y="24"/>
                    <a:pt x="118" y="24"/>
                  </a:cubicBezTo>
                  <a:cubicBezTo>
                    <a:pt x="116" y="24"/>
                    <a:pt x="116" y="23"/>
                    <a:pt x="116" y="21"/>
                  </a:cubicBezTo>
                  <a:cubicBezTo>
                    <a:pt x="116" y="19"/>
                    <a:pt x="116" y="20"/>
                    <a:pt x="115" y="20"/>
                  </a:cubicBezTo>
                  <a:cubicBezTo>
                    <a:pt x="114" y="20"/>
                    <a:pt x="114" y="19"/>
                    <a:pt x="113" y="20"/>
                  </a:cubicBezTo>
                  <a:cubicBezTo>
                    <a:pt x="113" y="21"/>
                    <a:pt x="114" y="22"/>
                    <a:pt x="113" y="24"/>
                  </a:cubicBezTo>
                  <a:cubicBezTo>
                    <a:pt x="111" y="26"/>
                    <a:pt x="109" y="25"/>
                    <a:pt x="106" y="25"/>
                  </a:cubicBezTo>
                  <a:cubicBezTo>
                    <a:pt x="102" y="25"/>
                    <a:pt x="97" y="21"/>
                    <a:pt x="96" y="20"/>
                  </a:cubicBezTo>
                  <a:cubicBezTo>
                    <a:pt x="94" y="19"/>
                    <a:pt x="95" y="19"/>
                    <a:pt x="95" y="18"/>
                  </a:cubicBezTo>
                  <a:cubicBezTo>
                    <a:pt x="95" y="17"/>
                    <a:pt x="95" y="16"/>
                    <a:pt x="94" y="16"/>
                  </a:cubicBezTo>
                  <a:cubicBezTo>
                    <a:pt x="94" y="16"/>
                    <a:pt x="93" y="17"/>
                    <a:pt x="92" y="18"/>
                  </a:cubicBezTo>
                  <a:cubicBezTo>
                    <a:pt x="91" y="18"/>
                    <a:pt x="91" y="16"/>
                    <a:pt x="90" y="17"/>
                  </a:cubicBezTo>
                  <a:cubicBezTo>
                    <a:pt x="88" y="17"/>
                    <a:pt x="87" y="18"/>
                    <a:pt x="85" y="19"/>
                  </a:cubicBezTo>
                  <a:cubicBezTo>
                    <a:pt x="82" y="20"/>
                    <a:pt x="80" y="20"/>
                    <a:pt x="80" y="19"/>
                  </a:cubicBezTo>
                  <a:cubicBezTo>
                    <a:pt x="80" y="19"/>
                    <a:pt x="77" y="17"/>
                    <a:pt x="76" y="16"/>
                  </a:cubicBezTo>
                  <a:cubicBezTo>
                    <a:pt x="76" y="16"/>
                    <a:pt x="70" y="15"/>
                    <a:pt x="68" y="14"/>
                  </a:cubicBezTo>
                  <a:cubicBezTo>
                    <a:pt x="66" y="12"/>
                    <a:pt x="65" y="10"/>
                    <a:pt x="65" y="9"/>
                  </a:cubicBezTo>
                  <a:cubicBezTo>
                    <a:pt x="64" y="7"/>
                    <a:pt x="63" y="5"/>
                    <a:pt x="62" y="4"/>
                  </a:cubicBezTo>
                  <a:cubicBezTo>
                    <a:pt x="60" y="3"/>
                    <a:pt x="59" y="3"/>
                    <a:pt x="55" y="3"/>
                  </a:cubicBezTo>
                  <a:cubicBezTo>
                    <a:pt x="51" y="2"/>
                    <a:pt x="54" y="3"/>
                    <a:pt x="51" y="4"/>
                  </a:cubicBezTo>
                  <a:cubicBezTo>
                    <a:pt x="48" y="5"/>
                    <a:pt x="49" y="4"/>
                    <a:pt x="48" y="3"/>
                  </a:cubicBezTo>
                  <a:cubicBezTo>
                    <a:pt x="47" y="3"/>
                    <a:pt x="46" y="1"/>
                    <a:pt x="45" y="1"/>
                  </a:cubicBezTo>
                  <a:cubicBezTo>
                    <a:pt x="44" y="0"/>
                    <a:pt x="42" y="0"/>
                    <a:pt x="41" y="0"/>
                  </a:cubicBezTo>
                  <a:cubicBezTo>
                    <a:pt x="41" y="0"/>
                    <a:pt x="39" y="0"/>
                    <a:pt x="38" y="1"/>
                  </a:cubicBezTo>
                  <a:cubicBezTo>
                    <a:pt x="38" y="2"/>
                    <a:pt x="39" y="3"/>
                    <a:pt x="40" y="4"/>
                  </a:cubicBezTo>
                  <a:cubicBezTo>
                    <a:pt x="40" y="5"/>
                    <a:pt x="39" y="5"/>
                    <a:pt x="39" y="5"/>
                  </a:cubicBezTo>
                  <a:cubicBezTo>
                    <a:pt x="39" y="7"/>
                    <a:pt x="39" y="7"/>
                    <a:pt x="39" y="7"/>
                  </a:cubicBezTo>
                  <a:cubicBezTo>
                    <a:pt x="37" y="8"/>
                    <a:pt x="37" y="8"/>
                    <a:pt x="37" y="8"/>
                  </a:cubicBezTo>
                  <a:cubicBezTo>
                    <a:pt x="37" y="10"/>
                    <a:pt x="37" y="10"/>
                    <a:pt x="37" y="10"/>
                  </a:cubicBezTo>
                  <a:cubicBezTo>
                    <a:pt x="37" y="10"/>
                    <a:pt x="37" y="10"/>
                    <a:pt x="37" y="10"/>
                  </a:cubicBezTo>
                  <a:cubicBezTo>
                    <a:pt x="37" y="11"/>
                    <a:pt x="37" y="12"/>
                    <a:pt x="37" y="13"/>
                  </a:cubicBezTo>
                  <a:cubicBezTo>
                    <a:pt x="37" y="15"/>
                    <a:pt x="37" y="17"/>
                    <a:pt x="36" y="19"/>
                  </a:cubicBezTo>
                  <a:cubicBezTo>
                    <a:pt x="35" y="20"/>
                    <a:pt x="35" y="21"/>
                    <a:pt x="35" y="22"/>
                  </a:cubicBezTo>
                  <a:cubicBezTo>
                    <a:pt x="34" y="23"/>
                    <a:pt x="35" y="23"/>
                    <a:pt x="34" y="24"/>
                  </a:cubicBezTo>
                  <a:cubicBezTo>
                    <a:pt x="34" y="26"/>
                    <a:pt x="33" y="26"/>
                    <a:pt x="31" y="26"/>
                  </a:cubicBezTo>
                  <a:cubicBezTo>
                    <a:pt x="30" y="27"/>
                    <a:pt x="28" y="26"/>
                    <a:pt x="27" y="26"/>
                  </a:cubicBezTo>
                  <a:cubicBezTo>
                    <a:pt x="26" y="27"/>
                    <a:pt x="25" y="27"/>
                    <a:pt x="23" y="27"/>
                  </a:cubicBezTo>
                  <a:cubicBezTo>
                    <a:pt x="21" y="27"/>
                    <a:pt x="19" y="27"/>
                    <a:pt x="17" y="27"/>
                  </a:cubicBezTo>
                  <a:cubicBezTo>
                    <a:pt x="16" y="28"/>
                    <a:pt x="15" y="28"/>
                    <a:pt x="14" y="28"/>
                  </a:cubicBezTo>
                  <a:cubicBezTo>
                    <a:pt x="14" y="27"/>
                    <a:pt x="14" y="27"/>
                    <a:pt x="13" y="27"/>
                  </a:cubicBezTo>
                  <a:cubicBezTo>
                    <a:pt x="12" y="26"/>
                    <a:pt x="11" y="26"/>
                    <a:pt x="10" y="26"/>
                  </a:cubicBezTo>
                  <a:cubicBezTo>
                    <a:pt x="9" y="26"/>
                    <a:pt x="9" y="26"/>
                    <a:pt x="9" y="27"/>
                  </a:cubicBezTo>
                  <a:cubicBezTo>
                    <a:pt x="8" y="27"/>
                    <a:pt x="8" y="28"/>
                    <a:pt x="7" y="28"/>
                  </a:cubicBezTo>
                  <a:cubicBezTo>
                    <a:pt x="7" y="27"/>
                    <a:pt x="7" y="25"/>
                    <a:pt x="6" y="24"/>
                  </a:cubicBezTo>
                  <a:cubicBezTo>
                    <a:pt x="6" y="24"/>
                    <a:pt x="5" y="25"/>
                    <a:pt x="5" y="26"/>
                  </a:cubicBezTo>
                  <a:cubicBezTo>
                    <a:pt x="4" y="26"/>
                    <a:pt x="4" y="27"/>
                    <a:pt x="4" y="28"/>
                  </a:cubicBezTo>
                  <a:cubicBezTo>
                    <a:pt x="4" y="30"/>
                    <a:pt x="5" y="31"/>
                    <a:pt x="4" y="33"/>
                  </a:cubicBezTo>
                  <a:cubicBezTo>
                    <a:pt x="2" y="33"/>
                    <a:pt x="3" y="35"/>
                    <a:pt x="3" y="36"/>
                  </a:cubicBezTo>
                  <a:cubicBezTo>
                    <a:pt x="3" y="38"/>
                    <a:pt x="4" y="39"/>
                    <a:pt x="4" y="41"/>
                  </a:cubicBezTo>
                  <a:cubicBezTo>
                    <a:pt x="4" y="44"/>
                    <a:pt x="4" y="48"/>
                    <a:pt x="7" y="51"/>
                  </a:cubicBezTo>
                  <a:cubicBezTo>
                    <a:pt x="7" y="52"/>
                    <a:pt x="9" y="53"/>
                    <a:pt x="9" y="54"/>
                  </a:cubicBezTo>
                  <a:cubicBezTo>
                    <a:pt x="8" y="55"/>
                    <a:pt x="7" y="56"/>
                    <a:pt x="7" y="56"/>
                  </a:cubicBezTo>
                  <a:cubicBezTo>
                    <a:pt x="5" y="57"/>
                    <a:pt x="4" y="58"/>
                    <a:pt x="3" y="59"/>
                  </a:cubicBezTo>
                  <a:cubicBezTo>
                    <a:pt x="2" y="60"/>
                    <a:pt x="2" y="60"/>
                    <a:pt x="2" y="62"/>
                  </a:cubicBezTo>
                  <a:cubicBezTo>
                    <a:pt x="2" y="62"/>
                    <a:pt x="2" y="63"/>
                    <a:pt x="2" y="64"/>
                  </a:cubicBezTo>
                  <a:cubicBezTo>
                    <a:pt x="2" y="65"/>
                    <a:pt x="2" y="65"/>
                    <a:pt x="2" y="66"/>
                  </a:cubicBezTo>
                  <a:cubicBezTo>
                    <a:pt x="3" y="65"/>
                    <a:pt x="3" y="65"/>
                    <a:pt x="3" y="65"/>
                  </a:cubicBezTo>
                  <a:cubicBezTo>
                    <a:pt x="4" y="65"/>
                    <a:pt x="4" y="65"/>
                    <a:pt x="5" y="65"/>
                  </a:cubicBezTo>
                  <a:cubicBezTo>
                    <a:pt x="6" y="65"/>
                    <a:pt x="10" y="67"/>
                    <a:pt x="11" y="67"/>
                  </a:cubicBezTo>
                  <a:cubicBezTo>
                    <a:pt x="12" y="68"/>
                    <a:pt x="11" y="70"/>
                    <a:pt x="11" y="71"/>
                  </a:cubicBezTo>
                  <a:cubicBezTo>
                    <a:pt x="10" y="71"/>
                    <a:pt x="7" y="74"/>
                    <a:pt x="6" y="75"/>
                  </a:cubicBezTo>
                  <a:cubicBezTo>
                    <a:pt x="5" y="75"/>
                    <a:pt x="5" y="76"/>
                    <a:pt x="5" y="77"/>
                  </a:cubicBezTo>
                  <a:cubicBezTo>
                    <a:pt x="5" y="77"/>
                    <a:pt x="5" y="78"/>
                    <a:pt x="3" y="79"/>
                  </a:cubicBezTo>
                  <a:cubicBezTo>
                    <a:pt x="2" y="79"/>
                    <a:pt x="2" y="80"/>
                    <a:pt x="1" y="81"/>
                  </a:cubicBezTo>
                  <a:cubicBezTo>
                    <a:pt x="0" y="82"/>
                    <a:pt x="0" y="83"/>
                    <a:pt x="0" y="84"/>
                  </a:cubicBezTo>
                  <a:cubicBezTo>
                    <a:pt x="1" y="86"/>
                    <a:pt x="0" y="88"/>
                    <a:pt x="0" y="88"/>
                  </a:cubicBezTo>
                  <a:cubicBezTo>
                    <a:pt x="1" y="89"/>
                    <a:pt x="1" y="90"/>
                    <a:pt x="3" y="90"/>
                  </a:cubicBezTo>
                  <a:cubicBezTo>
                    <a:pt x="4" y="90"/>
                    <a:pt x="3" y="90"/>
                    <a:pt x="6" y="90"/>
                  </a:cubicBezTo>
                  <a:cubicBezTo>
                    <a:pt x="9" y="90"/>
                    <a:pt x="8" y="92"/>
                    <a:pt x="10" y="93"/>
                  </a:cubicBezTo>
                  <a:cubicBezTo>
                    <a:pt x="11" y="94"/>
                    <a:pt x="13" y="93"/>
                    <a:pt x="16" y="93"/>
                  </a:cubicBezTo>
                  <a:cubicBezTo>
                    <a:pt x="19" y="94"/>
                    <a:pt x="23" y="93"/>
                    <a:pt x="27" y="94"/>
                  </a:cubicBezTo>
                  <a:cubicBezTo>
                    <a:pt x="31" y="94"/>
                    <a:pt x="38" y="95"/>
                    <a:pt x="42" y="95"/>
                  </a:cubicBezTo>
                  <a:cubicBezTo>
                    <a:pt x="46" y="96"/>
                    <a:pt x="46" y="95"/>
                    <a:pt x="48" y="96"/>
                  </a:cubicBezTo>
                  <a:cubicBezTo>
                    <a:pt x="49" y="96"/>
                    <a:pt x="51" y="97"/>
                    <a:pt x="54" y="98"/>
                  </a:cubicBezTo>
                  <a:cubicBezTo>
                    <a:pt x="57" y="98"/>
                    <a:pt x="57" y="98"/>
                    <a:pt x="61" y="98"/>
                  </a:cubicBezTo>
                  <a:cubicBezTo>
                    <a:pt x="65" y="98"/>
                    <a:pt x="65" y="98"/>
                    <a:pt x="68" y="100"/>
                  </a:cubicBezTo>
                  <a:cubicBezTo>
                    <a:pt x="70" y="100"/>
                    <a:pt x="70" y="101"/>
                    <a:pt x="70" y="101"/>
                  </a:cubicBezTo>
                  <a:cubicBezTo>
                    <a:pt x="70" y="101"/>
                    <a:pt x="70" y="101"/>
                    <a:pt x="70" y="101"/>
                  </a:cubicBezTo>
                  <a:cubicBezTo>
                    <a:pt x="71" y="101"/>
                    <a:pt x="74" y="102"/>
                    <a:pt x="74" y="102"/>
                  </a:cubicBezTo>
                  <a:cubicBezTo>
                    <a:pt x="75" y="102"/>
                    <a:pt x="79" y="106"/>
                    <a:pt x="81" y="107"/>
                  </a:cubicBezTo>
                  <a:cubicBezTo>
                    <a:pt x="82" y="108"/>
                    <a:pt x="82" y="108"/>
                    <a:pt x="83" y="109"/>
                  </a:cubicBezTo>
                  <a:cubicBezTo>
                    <a:pt x="85" y="110"/>
                    <a:pt x="87" y="110"/>
                    <a:pt x="89" y="110"/>
                  </a:cubicBezTo>
                  <a:cubicBezTo>
                    <a:pt x="90" y="111"/>
                    <a:pt x="91" y="112"/>
                    <a:pt x="91" y="113"/>
                  </a:cubicBezTo>
                  <a:cubicBezTo>
                    <a:pt x="91" y="114"/>
                    <a:pt x="94" y="113"/>
                    <a:pt x="96" y="113"/>
                  </a:cubicBezTo>
                  <a:cubicBezTo>
                    <a:pt x="97" y="113"/>
                    <a:pt x="101" y="114"/>
                    <a:pt x="103" y="115"/>
                  </a:cubicBezTo>
                  <a:cubicBezTo>
                    <a:pt x="104" y="115"/>
                    <a:pt x="103" y="115"/>
                    <a:pt x="105" y="115"/>
                  </a:cubicBezTo>
                  <a:cubicBezTo>
                    <a:pt x="107" y="116"/>
                    <a:pt x="113" y="117"/>
                    <a:pt x="116" y="117"/>
                  </a:cubicBezTo>
                  <a:cubicBezTo>
                    <a:pt x="119" y="118"/>
                    <a:pt x="123" y="118"/>
                    <a:pt x="127" y="118"/>
                  </a:cubicBezTo>
                  <a:cubicBezTo>
                    <a:pt x="132" y="118"/>
                    <a:pt x="131" y="117"/>
                    <a:pt x="132" y="116"/>
                  </a:cubicBezTo>
                  <a:cubicBezTo>
                    <a:pt x="132" y="116"/>
                    <a:pt x="132" y="114"/>
                    <a:pt x="132" y="112"/>
                  </a:cubicBezTo>
                  <a:cubicBezTo>
                    <a:pt x="131" y="110"/>
                    <a:pt x="134" y="110"/>
                    <a:pt x="135" y="110"/>
                  </a:cubicBezTo>
                  <a:cubicBezTo>
                    <a:pt x="136" y="109"/>
                    <a:pt x="140" y="110"/>
                    <a:pt x="140" y="110"/>
                  </a:cubicBezTo>
                  <a:cubicBezTo>
                    <a:pt x="143" y="110"/>
                    <a:pt x="143" y="110"/>
                    <a:pt x="143" y="110"/>
                  </a:cubicBezTo>
                  <a:cubicBezTo>
                    <a:pt x="143" y="110"/>
                    <a:pt x="145" y="110"/>
                    <a:pt x="147" y="110"/>
                  </a:cubicBezTo>
                  <a:cubicBezTo>
                    <a:pt x="148" y="110"/>
                    <a:pt x="149" y="111"/>
                    <a:pt x="150" y="112"/>
                  </a:cubicBezTo>
                  <a:cubicBezTo>
                    <a:pt x="150" y="112"/>
                    <a:pt x="149" y="113"/>
                    <a:pt x="150" y="113"/>
                  </a:cubicBezTo>
                  <a:cubicBezTo>
                    <a:pt x="150" y="113"/>
                    <a:pt x="150" y="113"/>
                    <a:pt x="150" y="113"/>
                  </a:cubicBezTo>
                  <a:cubicBezTo>
                    <a:pt x="150" y="113"/>
                    <a:pt x="150" y="113"/>
                    <a:pt x="150" y="113"/>
                  </a:cubicBezTo>
                  <a:cubicBezTo>
                    <a:pt x="150" y="112"/>
                    <a:pt x="150" y="111"/>
                    <a:pt x="150" y="11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5" name="Freeform 23">
              <a:extLst>
                <a:ext uri="{FF2B5EF4-FFF2-40B4-BE49-F238E27FC236}">
                  <a16:creationId xmlns:a16="http://schemas.microsoft.com/office/drawing/2014/main" id="{6C503518-6537-A981-A62B-9451045BE9B7}"/>
                </a:ext>
              </a:extLst>
            </p:cNvPr>
            <p:cNvSpPr>
              <a:spLocks/>
            </p:cNvSpPr>
            <p:nvPr/>
          </p:nvSpPr>
          <p:spPr bwMode="auto">
            <a:xfrm>
              <a:off x="2238375" y="4205288"/>
              <a:ext cx="928688" cy="769937"/>
            </a:xfrm>
            <a:custGeom>
              <a:avLst/>
              <a:gdLst>
                <a:gd name="T0" fmla="*/ 242 w 244"/>
                <a:gd name="T1" fmla="*/ 84 h 202"/>
                <a:gd name="T2" fmla="*/ 232 w 244"/>
                <a:gd name="T3" fmla="*/ 81 h 202"/>
                <a:gd name="T4" fmla="*/ 226 w 244"/>
                <a:gd name="T5" fmla="*/ 65 h 202"/>
                <a:gd name="T6" fmla="*/ 216 w 244"/>
                <a:gd name="T7" fmla="*/ 51 h 202"/>
                <a:gd name="T8" fmla="*/ 209 w 244"/>
                <a:gd name="T9" fmla="*/ 47 h 202"/>
                <a:gd name="T10" fmla="*/ 191 w 244"/>
                <a:gd name="T11" fmla="*/ 43 h 202"/>
                <a:gd name="T12" fmla="*/ 183 w 244"/>
                <a:gd name="T13" fmla="*/ 45 h 202"/>
                <a:gd name="T14" fmla="*/ 177 w 244"/>
                <a:gd name="T15" fmla="*/ 43 h 202"/>
                <a:gd name="T16" fmla="*/ 172 w 244"/>
                <a:gd name="T17" fmla="*/ 42 h 202"/>
                <a:gd name="T18" fmla="*/ 168 w 244"/>
                <a:gd name="T19" fmla="*/ 44 h 202"/>
                <a:gd name="T20" fmla="*/ 159 w 244"/>
                <a:gd name="T21" fmla="*/ 45 h 202"/>
                <a:gd name="T22" fmla="*/ 160 w 244"/>
                <a:gd name="T23" fmla="*/ 44 h 202"/>
                <a:gd name="T24" fmla="*/ 171 w 244"/>
                <a:gd name="T25" fmla="*/ 34 h 202"/>
                <a:gd name="T26" fmla="*/ 162 w 244"/>
                <a:gd name="T27" fmla="*/ 23 h 202"/>
                <a:gd name="T28" fmla="*/ 154 w 244"/>
                <a:gd name="T29" fmla="*/ 22 h 202"/>
                <a:gd name="T30" fmla="*/ 150 w 244"/>
                <a:gd name="T31" fmla="*/ 17 h 202"/>
                <a:gd name="T32" fmla="*/ 149 w 244"/>
                <a:gd name="T33" fmla="*/ 10 h 202"/>
                <a:gd name="T34" fmla="*/ 141 w 244"/>
                <a:gd name="T35" fmla="*/ 1 h 202"/>
                <a:gd name="T36" fmla="*/ 132 w 244"/>
                <a:gd name="T37" fmla="*/ 5 h 202"/>
                <a:gd name="T38" fmla="*/ 89 w 244"/>
                <a:gd name="T39" fmla="*/ 24 h 202"/>
                <a:gd name="T40" fmla="*/ 84 w 244"/>
                <a:gd name="T41" fmla="*/ 34 h 202"/>
                <a:gd name="T42" fmla="*/ 66 w 244"/>
                <a:gd name="T43" fmla="*/ 36 h 202"/>
                <a:gd name="T44" fmla="*/ 57 w 244"/>
                <a:gd name="T45" fmla="*/ 44 h 202"/>
                <a:gd name="T46" fmla="*/ 47 w 244"/>
                <a:gd name="T47" fmla="*/ 50 h 202"/>
                <a:gd name="T48" fmla="*/ 33 w 244"/>
                <a:gd name="T49" fmla="*/ 61 h 202"/>
                <a:gd name="T50" fmla="*/ 18 w 244"/>
                <a:gd name="T51" fmla="*/ 64 h 202"/>
                <a:gd name="T52" fmla="*/ 7 w 244"/>
                <a:gd name="T53" fmla="*/ 65 h 202"/>
                <a:gd name="T54" fmla="*/ 3 w 244"/>
                <a:gd name="T55" fmla="*/ 77 h 202"/>
                <a:gd name="T56" fmla="*/ 15 w 244"/>
                <a:gd name="T57" fmla="*/ 88 h 202"/>
                <a:gd name="T58" fmla="*/ 34 w 244"/>
                <a:gd name="T59" fmla="*/ 105 h 202"/>
                <a:gd name="T60" fmla="*/ 41 w 244"/>
                <a:gd name="T61" fmla="*/ 102 h 202"/>
                <a:gd name="T62" fmla="*/ 53 w 244"/>
                <a:gd name="T63" fmla="*/ 117 h 202"/>
                <a:gd name="T64" fmla="*/ 40 w 244"/>
                <a:gd name="T65" fmla="*/ 127 h 202"/>
                <a:gd name="T66" fmla="*/ 56 w 244"/>
                <a:gd name="T67" fmla="*/ 147 h 202"/>
                <a:gd name="T68" fmla="*/ 62 w 244"/>
                <a:gd name="T69" fmla="*/ 161 h 202"/>
                <a:gd name="T70" fmla="*/ 81 w 244"/>
                <a:gd name="T71" fmla="*/ 170 h 202"/>
                <a:gd name="T72" fmla="*/ 93 w 244"/>
                <a:gd name="T73" fmla="*/ 182 h 202"/>
                <a:gd name="T74" fmla="*/ 108 w 244"/>
                <a:gd name="T75" fmla="*/ 200 h 202"/>
                <a:gd name="T76" fmla="*/ 125 w 244"/>
                <a:gd name="T77" fmla="*/ 201 h 202"/>
                <a:gd name="T78" fmla="*/ 136 w 244"/>
                <a:gd name="T79" fmla="*/ 193 h 202"/>
                <a:gd name="T80" fmla="*/ 139 w 244"/>
                <a:gd name="T81" fmla="*/ 172 h 202"/>
                <a:gd name="T82" fmla="*/ 157 w 244"/>
                <a:gd name="T83" fmla="*/ 159 h 202"/>
                <a:gd name="T84" fmla="*/ 178 w 244"/>
                <a:gd name="T85" fmla="*/ 152 h 202"/>
                <a:gd name="T86" fmla="*/ 189 w 244"/>
                <a:gd name="T87" fmla="*/ 136 h 202"/>
                <a:gd name="T88" fmla="*/ 198 w 244"/>
                <a:gd name="T89" fmla="*/ 130 h 202"/>
                <a:gd name="T90" fmla="*/ 207 w 244"/>
                <a:gd name="T91" fmla="*/ 134 h 202"/>
                <a:gd name="T92" fmla="*/ 216 w 244"/>
                <a:gd name="T93" fmla="*/ 148 h 202"/>
                <a:gd name="T94" fmla="*/ 229 w 244"/>
                <a:gd name="T95" fmla="*/ 154 h 202"/>
                <a:gd name="T96" fmla="*/ 235 w 244"/>
                <a:gd name="T97" fmla="*/ 138 h 202"/>
                <a:gd name="T98" fmla="*/ 228 w 244"/>
                <a:gd name="T99" fmla="*/ 122 h 202"/>
                <a:gd name="T100" fmla="*/ 244 w 244"/>
                <a:gd name="T101" fmla="*/ 9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244" y="97"/>
                  </a:moveTo>
                  <a:cubicBezTo>
                    <a:pt x="244" y="96"/>
                    <a:pt x="244" y="95"/>
                    <a:pt x="243" y="94"/>
                  </a:cubicBezTo>
                  <a:cubicBezTo>
                    <a:pt x="242" y="93"/>
                    <a:pt x="242" y="90"/>
                    <a:pt x="242" y="88"/>
                  </a:cubicBezTo>
                  <a:cubicBezTo>
                    <a:pt x="242" y="87"/>
                    <a:pt x="242" y="85"/>
                    <a:pt x="242" y="84"/>
                  </a:cubicBezTo>
                  <a:cubicBezTo>
                    <a:pt x="242" y="82"/>
                    <a:pt x="240" y="82"/>
                    <a:pt x="240" y="82"/>
                  </a:cubicBezTo>
                  <a:cubicBezTo>
                    <a:pt x="239" y="81"/>
                    <a:pt x="238" y="82"/>
                    <a:pt x="237" y="81"/>
                  </a:cubicBezTo>
                  <a:cubicBezTo>
                    <a:pt x="237" y="80"/>
                    <a:pt x="236" y="80"/>
                    <a:pt x="235" y="81"/>
                  </a:cubicBezTo>
                  <a:cubicBezTo>
                    <a:pt x="235" y="82"/>
                    <a:pt x="233" y="81"/>
                    <a:pt x="232" y="81"/>
                  </a:cubicBezTo>
                  <a:cubicBezTo>
                    <a:pt x="232" y="81"/>
                    <a:pt x="230" y="81"/>
                    <a:pt x="229" y="80"/>
                  </a:cubicBezTo>
                  <a:cubicBezTo>
                    <a:pt x="228" y="79"/>
                    <a:pt x="226" y="76"/>
                    <a:pt x="226" y="75"/>
                  </a:cubicBezTo>
                  <a:cubicBezTo>
                    <a:pt x="226" y="74"/>
                    <a:pt x="225" y="71"/>
                    <a:pt x="226" y="70"/>
                  </a:cubicBezTo>
                  <a:cubicBezTo>
                    <a:pt x="227" y="68"/>
                    <a:pt x="226" y="66"/>
                    <a:pt x="226" y="65"/>
                  </a:cubicBezTo>
                  <a:cubicBezTo>
                    <a:pt x="226" y="64"/>
                    <a:pt x="225" y="64"/>
                    <a:pt x="225" y="64"/>
                  </a:cubicBezTo>
                  <a:cubicBezTo>
                    <a:pt x="225" y="64"/>
                    <a:pt x="224" y="64"/>
                    <a:pt x="221" y="65"/>
                  </a:cubicBezTo>
                  <a:cubicBezTo>
                    <a:pt x="213" y="63"/>
                    <a:pt x="215" y="55"/>
                    <a:pt x="215" y="53"/>
                  </a:cubicBezTo>
                  <a:cubicBezTo>
                    <a:pt x="215" y="52"/>
                    <a:pt x="215" y="52"/>
                    <a:pt x="216" y="51"/>
                  </a:cubicBezTo>
                  <a:cubicBezTo>
                    <a:pt x="216" y="51"/>
                    <a:pt x="216" y="48"/>
                    <a:pt x="216" y="48"/>
                  </a:cubicBezTo>
                  <a:cubicBezTo>
                    <a:pt x="216" y="47"/>
                    <a:pt x="215" y="46"/>
                    <a:pt x="215" y="46"/>
                  </a:cubicBezTo>
                  <a:cubicBezTo>
                    <a:pt x="213" y="48"/>
                    <a:pt x="213" y="48"/>
                    <a:pt x="213" y="48"/>
                  </a:cubicBezTo>
                  <a:cubicBezTo>
                    <a:pt x="213" y="48"/>
                    <a:pt x="210" y="47"/>
                    <a:pt x="209" y="47"/>
                  </a:cubicBezTo>
                  <a:cubicBezTo>
                    <a:pt x="209" y="48"/>
                    <a:pt x="204" y="47"/>
                    <a:pt x="204" y="47"/>
                  </a:cubicBezTo>
                  <a:cubicBezTo>
                    <a:pt x="197" y="45"/>
                    <a:pt x="197" y="45"/>
                    <a:pt x="197" y="45"/>
                  </a:cubicBezTo>
                  <a:cubicBezTo>
                    <a:pt x="193" y="44"/>
                    <a:pt x="193" y="44"/>
                    <a:pt x="193" y="44"/>
                  </a:cubicBezTo>
                  <a:cubicBezTo>
                    <a:pt x="191" y="43"/>
                    <a:pt x="191" y="43"/>
                    <a:pt x="191" y="43"/>
                  </a:cubicBezTo>
                  <a:cubicBezTo>
                    <a:pt x="189" y="43"/>
                    <a:pt x="189" y="43"/>
                    <a:pt x="189" y="43"/>
                  </a:cubicBezTo>
                  <a:cubicBezTo>
                    <a:pt x="189" y="43"/>
                    <a:pt x="187" y="45"/>
                    <a:pt x="186" y="45"/>
                  </a:cubicBezTo>
                  <a:cubicBezTo>
                    <a:pt x="186" y="46"/>
                    <a:pt x="185" y="46"/>
                    <a:pt x="185" y="46"/>
                  </a:cubicBezTo>
                  <a:cubicBezTo>
                    <a:pt x="184" y="46"/>
                    <a:pt x="184" y="45"/>
                    <a:pt x="183" y="45"/>
                  </a:cubicBezTo>
                  <a:cubicBezTo>
                    <a:pt x="182" y="44"/>
                    <a:pt x="181" y="46"/>
                    <a:pt x="181" y="46"/>
                  </a:cubicBezTo>
                  <a:cubicBezTo>
                    <a:pt x="180" y="46"/>
                    <a:pt x="180" y="46"/>
                    <a:pt x="180" y="46"/>
                  </a:cubicBezTo>
                  <a:cubicBezTo>
                    <a:pt x="179" y="44"/>
                    <a:pt x="179" y="44"/>
                    <a:pt x="179" y="44"/>
                  </a:cubicBezTo>
                  <a:cubicBezTo>
                    <a:pt x="177" y="43"/>
                    <a:pt x="177" y="43"/>
                    <a:pt x="177" y="43"/>
                  </a:cubicBezTo>
                  <a:cubicBezTo>
                    <a:pt x="177" y="43"/>
                    <a:pt x="175" y="44"/>
                    <a:pt x="175" y="44"/>
                  </a:cubicBezTo>
                  <a:cubicBezTo>
                    <a:pt x="175" y="45"/>
                    <a:pt x="173" y="46"/>
                    <a:pt x="173" y="46"/>
                  </a:cubicBezTo>
                  <a:cubicBezTo>
                    <a:pt x="172" y="45"/>
                    <a:pt x="172" y="45"/>
                    <a:pt x="172" y="45"/>
                  </a:cubicBezTo>
                  <a:cubicBezTo>
                    <a:pt x="172" y="45"/>
                    <a:pt x="172" y="43"/>
                    <a:pt x="172" y="42"/>
                  </a:cubicBezTo>
                  <a:cubicBezTo>
                    <a:pt x="172" y="42"/>
                    <a:pt x="172" y="40"/>
                    <a:pt x="172" y="40"/>
                  </a:cubicBezTo>
                  <a:cubicBezTo>
                    <a:pt x="172" y="40"/>
                    <a:pt x="170" y="40"/>
                    <a:pt x="169" y="40"/>
                  </a:cubicBezTo>
                  <a:cubicBezTo>
                    <a:pt x="169" y="40"/>
                    <a:pt x="168" y="40"/>
                    <a:pt x="168" y="40"/>
                  </a:cubicBezTo>
                  <a:cubicBezTo>
                    <a:pt x="168" y="44"/>
                    <a:pt x="168" y="44"/>
                    <a:pt x="168" y="44"/>
                  </a:cubicBezTo>
                  <a:cubicBezTo>
                    <a:pt x="168" y="44"/>
                    <a:pt x="165" y="46"/>
                    <a:pt x="164" y="46"/>
                  </a:cubicBezTo>
                  <a:cubicBezTo>
                    <a:pt x="163" y="47"/>
                    <a:pt x="162" y="47"/>
                    <a:pt x="162" y="47"/>
                  </a:cubicBezTo>
                  <a:cubicBezTo>
                    <a:pt x="160" y="45"/>
                    <a:pt x="160" y="45"/>
                    <a:pt x="160" y="45"/>
                  </a:cubicBezTo>
                  <a:cubicBezTo>
                    <a:pt x="159" y="45"/>
                    <a:pt x="159" y="45"/>
                    <a:pt x="159" y="45"/>
                  </a:cubicBezTo>
                  <a:cubicBezTo>
                    <a:pt x="154" y="47"/>
                    <a:pt x="154" y="47"/>
                    <a:pt x="154" y="47"/>
                  </a:cubicBezTo>
                  <a:cubicBezTo>
                    <a:pt x="154" y="47"/>
                    <a:pt x="155" y="46"/>
                    <a:pt x="155" y="46"/>
                  </a:cubicBezTo>
                  <a:cubicBezTo>
                    <a:pt x="156" y="45"/>
                    <a:pt x="156" y="44"/>
                    <a:pt x="156" y="44"/>
                  </a:cubicBezTo>
                  <a:cubicBezTo>
                    <a:pt x="156" y="44"/>
                    <a:pt x="159" y="44"/>
                    <a:pt x="160" y="44"/>
                  </a:cubicBezTo>
                  <a:cubicBezTo>
                    <a:pt x="161" y="44"/>
                    <a:pt x="162" y="44"/>
                    <a:pt x="162" y="44"/>
                  </a:cubicBezTo>
                  <a:cubicBezTo>
                    <a:pt x="162" y="43"/>
                    <a:pt x="164" y="41"/>
                    <a:pt x="164" y="40"/>
                  </a:cubicBezTo>
                  <a:cubicBezTo>
                    <a:pt x="165" y="40"/>
                    <a:pt x="166" y="38"/>
                    <a:pt x="167" y="37"/>
                  </a:cubicBezTo>
                  <a:cubicBezTo>
                    <a:pt x="169" y="37"/>
                    <a:pt x="171" y="34"/>
                    <a:pt x="171" y="34"/>
                  </a:cubicBezTo>
                  <a:cubicBezTo>
                    <a:pt x="172" y="34"/>
                    <a:pt x="171" y="31"/>
                    <a:pt x="171" y="29"/>
                  </a:cubicBezTo>
                  <a:cubicBezTo>
                    <a:pt x="171" y="28"/>
                    <a:pt x="170" y="26"/>
                    <a:pt x="168" y="24"/>
                  </a:cubicBezTo>
                  <a:cubicBezTo>
                    <a:pt x="167" y="22"/>
                    <a:pt x="167" y="24"/>
                    <a:pt x="166" y="23"/>
                  </a:cubicBezTo>
                  <a:cubicBezTo>
                    <a:pt x="164" y="23"/>
                    <a:pt x="164" y="23"/>
                    <a:pt x="162" y="23"/>
                  </a:cubicBezTo>
                  <a:cubicBezTo>
                    <a:pt x="159" y="22"/>
                    <a:pt x="160" y="23"/>
                    <a:pt x="160" y="23"/>
                  </a:cubicBezTo>
                  <a:cubicBezTo>
                    <a:pt x="160" y="23"/>
                    <a:pt x="159" y="23"/>
                    <a:pt x="158" y="22"/>
                  </a:cubicBezTo>
                  <a:cubicBezTo>
                    <a:pt x="158" y="21"/>
                    <a:pt x="156" y="21"/>
                    <a:pt x="156" y="21"/>
                  </a:cubicBezTo>
                  <a:cubicBezTo>
                    <a:pt x="156" y="21"/>
                    <a:pt x="155" y="22"/>
                    <a:pt x="154" y="22"/>
                  </a:cubicBezTo>
                  <a:cubicBezTo>
                    <a:pt x="154" y="21"/>
                    <a:pt x="155" y="20"/>
                    <a:pt x="156" y="18"/>
                  </a:cubicBezTo>
                  <a:cubicBezTo>
                    <a:pt x="157" y="17"/>
                    <a:pt x="154" y="17"/>
                    <a:pt x="153" y="16"/>
                  </a:cubicBezTo>
                  <a:cubicBezTo>
                    <a:pt x="152" y="15"/>
                    <a:pt x="151" y="14"/>
                    <a:pt x="151" y="14"/>
                  </a:cubicBezTo>
                  <a:cubicBezTo>
                    <a:pt x="151" y="14"/>
                    <a:pt x="150" y="16"/>
                    <a:pt x="150" y="17"/>
                  </a:cubicBezTo>
                  <a:cubicBezTo>
                    <a:pt x="149" y="19"/>
                    <a:pt x="148" y="19"/>
                    <a:pt x="147" y="19"/>
                  </a:cubicBezTo>
                  <a:cubicBezTo>
                    <a:pt x="146" y="19"/>
                    <a:pt x="146" y="17"/>
                    <a:pt x="146" y="16"/>
                  </a:cubicBezTo>
                  <a:cubicBezTo>
                    <a:pt x="145" y="15"/>
                    <a:pt x="146" y="14"/>
                    <a:pt x="146" y="13"/>
                  </a:cubicBezTo>
                  <a:cubicBezTo>
                    <a:pt x="147" y="12"/>
                    <a:pt x="148" y="11"/>
                    <a:pt x="149" y="10"/>
                  </a:cubicBezTo>
                  <a:cubicBezTo>
                    <a:pt x="150" y="10"/>
                    <a:pt x="149" y="8"/>
                    <a:pt x="149" y="7"/>
                  </a:cubicBezTo>
                  <a:cubicBezTo>
                    <a:pt x="149" y="7"/>
                    <a:pt x="147" y="4"/>
                    <a:pt x="147" y="3"/>
                  </a:cubicBezTo>
                  <a:cubicBezTo>
                    <a:pt x="146" y="3"/>
                    <a:pt x="144" y="1"/>
                    <a:pt x="144" y="1"/>
                  </a:cubicBezTo>
                  <a:cubicBezTo>
                    <a:pt x="143" y="0"/>
                    <a:pt x="141" y="1"/>
                    <a:pt x="141" y="1"/>
                  </a:cubicBezTo>
                  <a:cubicBezTo>
                    <a:pt x="141" y="1"/>
                    <a:pt x="140" y="0"/>
                    <a:pt x="140" y="0"/>
                  </a:cubicBezTo>
                  <a:cubicBezTo>
                    <a:pt x="139" y="0"/>
                    <a:pt x="139" y="0"/>
                    <a:pt x="139" y="1"/>
                  </a:cubicBezTo>
                  <a:cubicBezTo>
                    <a:pt x="138" y="1"/>
                    <a:pt x="137" y="2"/>
                    <a:pt x="137" y="3"/>
                  </a:cubicBezTo>
                  <a:cubicBezTo>
                    <a:pt x="135" y="4"/>
                    <a:pt x="133" y="4"/>
                    <a:pt x="132" y="5"/>
                  </a:cubicBezTo>
                  <a:cubicBezTo>
                    <a:pt x="126" y="6"/>
                    <a:pt x="120" y="8"/>
                    <a:pt x="115" y="9"/>
                  </a:cubicBezTo>
                  <a:cubicBezTo>
                    <a:pt x="109" y="11"/>
                    <a:pt x="103" y="11"/>
                    <a:pt x="98" y="13"/>
                  </a:cubicBezTo>
                  <a:cubicBezTo>
                    <a:pt x="94" y="14"/>
                    <a:pt x="88" y="14"/>
                    <a:pt x="87" y="18"/>
                  </a:cubicBezTo>
                  <a:cubicBezTo>
                    <a:pt x="86" y="21"/>
                    <a:pt x="89" y="21"/>
                    <a:pt x="89" y="24"/>
                  </a:cubicBezTo>
                  <a:cubicBezTo>
                    <a:pt x="89" y="27"/>
                    <a:pt x="87" y="28"/>
                    <a:pt x="86" y="30"/>
                  </a:cubicBezTo>
                  <a:cubicBezTo>
                    <a:pt x="86" y="31"/>
                    <a:pt x="86" y="31"/>
                    <a:pt x="86" y="31"/>
                  </a:cubicBezTo>
                  <a:cubicBezTo>
                    <a:pt x="88" y="31"/>
                    <a:pt x="90" y="31"/>
                    <a:pt x="88" y="33"/>
                  </a:cubicBezTo>
                  <a:cubicBezTo>
                    <a:pt x="87" y="34"/>
                    <a:pt x="85" y="33"/>
                    <a:pt x="84" y="34"/>
                  </a:cubicBezTo>
                  <a:cubicBezTo>
                    <a:pt x="82" y="36"/>
                    <a:pt x="86" y="43"/>
                    <a:pt x="83" y="44"/>
                  </a:cubicBezTo>
                  <a:cubicBezTo>
                    <a:pt x="80" y="44"/>
                    <a:pt x="77" y="38"/>
                    <a:pt x="75" y="37"/>
                  </a:cubicBezTo>
                  <a:cubicBezTo>
                    <a:pt x="74" y="35"/>
                    <a:pt x="72" y="33"/>
                    <a:pt x="70" y="32"/>
                  </a:cubicBezTo>
                  <a:cubicBezTo>
                    <a:pt x="68" y="31"/>
                    <a:pt x="66" y="33"/>
                    <a:pt x="66" y="36"/>
                  </a:cubicBezTo>
                  <a:cubicBezTo>
                    <a:pt x="66" y="38"/>
                    <a:pt x="68" y="40"/>
                    <a:pt x="68" y="42"/>
                  </a:cubicBezTo>
                  <a:cubicBezTo>
                    <a:pt x="69" y="44"/>
                    <a:pt x="66" y="45"/>
                    <a:pt x="63" y="45"/>
                  </a:cubicBezTo>
                  <a:cubicBezTo>
                    <a:pt x="62" y="45"/>
                    <a:pt x="61" y="43"/>
                    <a:pt x="60" y="43"/>
                  </a:cubicBezTo>
                  <a:cubicBezTo>
                    <a:pt x="59" y="42"/>
                    <a:pt x="58" y="43"/>
                    <a:pt x="57" y="44"/>
                  </a:cubicBezTo>
                  <a:cubicBezTo>
                    <a:pt x="54" y="44"/>
                    <a:pt x="53" y="43"/>
                    <a:pt x="50" y="42"/>
                  </a:cubicBezTo>
                  <a:cubicBezTo>
                    <a:pt x="48" y="41"/>
                    <a:pt x="46" y="42"/>
                    <a:pt x="46" y="44"/>
                  </a:cubicBezTo>
                  <a:cubicBezTo>
                    <a:pt x="46" y="46"/>
                    <a:pt x="47" y="45"/>
                    <a:pt x="48" y="46"/>
                  </a:cubicBezTo>
                  <a:cubicBezTo>
                    <a:pt x="48" y="47"/>
                    <a:pt x="47" y="49"/>
                    <a:pt x="47" y="50"/>
                  </a:cubicBezTo>
                  <a:cubicBezTo>
                    <a:pt x="46" y="51"/>
                    <a:pt x="44" y="51"/>
                    <a:pt x="44" y="52"/>
                  </a:cubicBezTo>
                  <a:cubicBezTo>
                    <a:pt x="43" y="53"/>
                    <a:pt x="44" y="54"/>
                    <a:pt x="44" y="55"/>
                  </a:cubicBezTo>
                  <a:cubicBezTo>
                    <a:pt x="43" y="57"/>
                    <a:pt x="38" y="58"/>
                    <a:pt x="35" y="59"/>
                  </a:cubicBezTo>
                  <a:cubicBezTo>
                    <a:pt x="34" y="60"/>
                    <a:pt x="34" y="60"/>
                    <a:pt x="33" y="61"/>
                  </a:cubicBezTo>
                  <a:cubicBezTo>
                    <a:pt x="32" y="62"/>
                    <a:pt x="32" y="63"/>
                    <a:pt x="31" y="64"/>
                  </a:cubicBezTo>
                  <a:cubicBezTo>
                    <a:pt x="30" y="65"/>
                    <a:pt x="27" y="65"/>
                    <a:pt x="26" y="65"/>
                  </a:cubicBezTo>
                  <a:cubicBezTo>
                    <a:pt x="24" y="66"/>
                    <a:pt x="22" y="67"/>
                    <a:pt x="20" y="65"/>
                  </a:cubicBezTo>
                  <a:cubicBezTo>
                    <a:pt x="19" y="65"/>
                    <a:pt x="19" y="65"/>
                    <a:pt x="18" y="64"/>
                  </a:cubicBezTo>
                  <a:cubicBezTo>
                    <a:pt x="18" y="63"/>
                    <a:pt x="18" y="63"/>
                    <a:pt x="18" y="62"/>
                  </a:cubicBezTo>
                  <a:cubicBezTo>
                    <a:pt x="17" y="62"/>
                    <a:pt x="15" y="64"/>
                    <a:pt x="13" y="63"/>
                  </a:cubicBezTo>
                  <a:cubicBezTo>
                    <a:pt x="12" y="62"/>
                    <a:pt x="13" y="59"/>
                    <a:pt x="11" y="61"/>
                  </a:cubicBezTo>
                  <a:cubicBezTo>
                    <a:pt x="9" y="63"/>
                    <a:pt x="9" y="64"/>
                    <a:pt x="7" y="65"/>
                  </a:cubicBezTo>
                  <a:cubicBezTo>
                    <a:pt x="4" y="66"/>
                    <a:pt x="2" y="67"/>
                    <a:pt x="1" y="69"/>
                  </a:cubicBezTo>
                  <a:cubicBezTo>
                    <a:pt x="0" y="70"/>
                    <a:pt x="0" y="70"/>
                    <a:pt x="0" y="70"/>
                  </a:cubicBezTo>
                  <a:cubicBezTo>
                    <a:pt x="0" y="71"/>
                    <a:pt x="1" y="71"/>
                    <a:pt x="1" y="72"/>
                  </a:cubicBezTo>
                  <a:cubicBezTo>
                    <a:pt x="2" y="73"/>
                    <a:pt x="3" y="75"/>
                    <a:pt x="3" y="77"/>
                  </a:cubicBezTo>
                  <a:cubicBezTo>
                    <a:pt x="4" y="79"/>
                    <a:pt x="5" y="78"/>
                    <a:pt x="7" y="80"/>
                  </a:cubicBezTo>
                  <a:cubicBezTo>
                    <a:pt x="9" y="81"/>
                    <a:pt x="9" y="82"/>
                    <a:pt x="9" y="84"/>
                  </a:cubicBezTo>
                  <a:cubicBezTo>
                    <a:pt x="10" y="86"/>
                    <a:pt x="11" y="86"/>
                    <a:pt x="13" y="87"/>
                  </a:cubicBezTo>
                  <a:cubicBezTo>
                    <a:pt x="14" y="87"/>
                    <a:pt x="14" y="88"/>
                    <a:pt x="15" y="88"/>
                  </a:cubicBezTo>
                  <a:cubicBezTo>
                    <a:pt x="16" y="88"/>
                    <a:pt x="16" y="87"/>
                    <a:pt x="17" y="87"/>
                  </a:cubicBezTo>
                  <a:cubicBezTo>
                    <a:pt x="19" y="87"/>
                    <a:pt x="20" y="87"/>
                    <a:pt x="22" y="89"/>
                  </a:cubicBezTo>
                  <a:cubicBezTo>
                    <a:pt x="25" y="92"/>
                    <a:pt x="24" y="95"/>
                    <a:pt x="25" y="99"/>
                  </a:cubicBezTo>
                  <a:cubicBezTo>
                    <a:pt x="26" y="102"/>
                    <a:pt x="31" y="105"/>
                    <a:pt x="34" y="105"/>
                  </a:cubicBezTo>
                  <a:cubicBezTo>
                    <a:pt x="34" y="105"/>
                    <a:pt x="34" y="104"/>
                    <a:pt x="35" y="104"/>
                  </a:cubicBezTo>
                  <a:cubicBezTo>
                    <a:pt x="36" y="103"/>
                    <a:pt x="36" y="103"/>
                    <a:pt x="37" y="103"/>
                  </a:cubicBezTo>
                  <a:cubicBezTo>
                    <a:pt x="38" y="103"/>
                    <a:pt x="39" y="103"/>
                    <a:pt x="40" y="103"/>
                  </a:cubicBezTo>
                  <a:cubicBezTo>
                    <a:pt x="40" y="103"/>
                    <a:pt x="41" y="102"/>
                    <a:pt x="41" y="102"/>
                  </a:cubicBezTo>
                  <a:cubicBezTo>
                    <a:pt x="43" y="101"/>
                    <a:pt x="44" y="104"/>
                    <a:pt x="44" y="104"/>
                  </a:cubicBezTo>
                  <a:cubicBezTo>
                    <a:pt x="46" y="105"/>
                    <a:pt x="48" y="104"/>
                    <a:pt x="50" y="105"/>
                  </a:cubicBezTo>
                  <a:cubicBezTo>
                    <a:pt x="50" y="108"/>
                    <a:pt x="54" y="107"/>
                    <a:pt x="55" y="109"/>
                  </a:cubicBezTo>
                  <a:cubicBezTo>
                    <a:pt x="57" y="112"/>
                    <a:pt x="55" y="115"/>
                    <a:pt x="53" y="117"/>
                  </a:cubicBezTo>
                  <a:cubicBezTo>
                    <a:pt x="52" y="119"/>
                    <a:pt x="52" y="119"/>
                    <a:pt x="50" y="119"/>
                  </a:cubicBezTo>
                  <a:cubicBezTo>
                    <a:pt x="49" y="118"/>
                    <a:pt x="48" y="117"/>
                    <a:pt x="48" y="117"/>
                  </a:cubicBezTo>
                  <a:cubicBezTo>
                    <a:pt x="45" y="116"/>
                    <a:pt x="44" y="118"/>
                    <a:pt x="43" y="120"/>
                  </a:cubicBezTo>
                  <a:cubicBezTo>
                    <a:pt x="42" y="122"/>
                    <a:pt x="41" y="125"/>
                    <a:pt x="40" y="127"/>
                  </a:cubicBezTo>
                  <a:cubicBezTo>
                    <a:pt x="39" y="130"/>
                    <a:pt x="37" y="129"/>
                    <a:pt x="35" y="131"/>
                  </a:cubicBezTo>
                  <a:cubicBezTo>
                    <a:pt x="30" y="134"/>
                    <a:pt x="40" y="141"/>
                    <a:pt x="42" y="142"/>
                  </a:cubicBezTo>
                  <a:cubicBezTo>
                    <a:pt x="45" y="143"/>
                    <a:pt x="48" y="142"/>
                    <a:pt x="51" y="144"/>
                  </a:cubicBezTo>
                  <a:cubicBezTo>
                    <a:pt x="52" y="145"/>
                    <a:pt x="55" y="146"/>
                    <a:pt x="56" y="147"/>
                  </a:cubicBezTo>
                  <a:cubicBezTo>
                    <a:pt x="54" y="148"/>
                    <a:pt x="52" y="147"/>
                    <a:pt x="51" y="148"/>
                  </a:cubicBezTo>
                  <a:cubicBezTo>
                    <a:pt x="49" y="150"/>
                    <a:pt x="51" y="150"/>
                    <a:pt x="52" y="152"/>
                  </a:cubicBezTo>
                  <a:cubicBezTo>
                    <a:pt x="54" y="155"/>
                    <a:pt x="56" y="157"/>
                    <a:pt x="59" y="159"/>
                  </a:cubicBezTo>
                  <a:cubicBezTo>
                    <a:pt x="60" y="159"/>
                    <a:pt x="61" y="161"/>
                    <a:pt x="62" y="161"/>
                  </a:cubicBezTo>
                  <a:cubicBezTo>
                    <a:pt x="63" y="161"/>
                    <a:pt x="65" y="160"/>
                    <a:pt x="66" y="159"/>
                  </a:cubicBezTo>
                  <a:cubicBezTo>
                    <a:pt x="68" y="159"/>
                    <a:pt x="71" y="160"/>
                    <a:pt x="73" y="161"/>
                  </a:cubicBezTo>
                  <a:cubicBezTo>
                    <a:pt x="76" y="162"/>
                    <a:pt x="77" y="164"/>
                    <a:pt x="79" y="165"/>
                  </a:cubicBezTo>
                  <a:cubicBezTo>
                    <a:pt x="82" y="167"/>
                    <a:pt x="83" y="167"/>
                    <a:pt x="81" y="170"/>
                  </a:cubicBezTo>
                  <a:cubicBezTo>
                    <a:pt x="80" y="172"/>
                    <a:pt x="78" y="174"/>
                    <a:pt x="79" y="176"/>
                  </a:cubicBezTo>
                  <a:cubicBezTo>
                    <a:pt x="80" y="177"/>
                    <a:pt x="84" y="178"/>
                    <a:pt x="85" y="179"/>
                  </a:cubicBezTo>
                  <a:cubicBezTo>
                    <a:pt x="88" y="180"/>
                    <a:pt x="88" y="179"/>
                    <a:pt x="90" y="178"/>
                  </a:cubicBezTo>
                  <a:cubicBezTo>
                    <a:pt x="94" y="176"/>
                    <a:pt x="92" y="180"/>
                    <a:pt x="93" y="182"/>
                  </a:cubicBezTo>
                  <a:cubicBezTo>
                    <a:pt x="97" y="183"/>
                    <a:pt x="98" y="185"/>
                    <a:pt x="98" y="189"/>
                  </a:cubicBezTo>
                  <a:cubicBezTo>
                    <a:pt x="101" y="189"/>
                    <a:pt x="102" y="191"/>
                    <a:pt x="101" y="192"/>
                  </a:cubicBezTo>
                  <a:cubicBezTo>
                    <a:pt x="103" y="193"/>
                    <a:pt x="105" y="193"/>
                    <a:pt x="106" y="194"/>
                  </a:cubicBezTo>
                  <a:cubicBezTo>
                    <a:pt x="107" y="196"/>
                    <a:pt x="107" y="198"/>
                    <a:pt x="108" y="200"/>
                  </a:cubicBezTo>
                  <a:cubicBezTo>
                    <a:pt x="110" y="200"/>
                    <a:pt x="110" y="199"/>
                    <a:pt x="112" y="199"/>
                  </a:cubicBezTo>
                  <a:cubicBezTo>
                    <a:pt x="114" y="200"/>
                    <a:pt x="114" y="201"/>
                    <a:pt x="116" y="200"/>
                  </a:cubicBezTo>
                  <a:cubicBezTo>
                    <a:pt x="118" y="198"/>
                    <a:pt x="119" y="199"/>
                    <a:pt x="121" y="200"/>
                  </a:cubicBezTo>
                  <a:cubicBezTo>
                    <a:pt x="122" y="201"/>
                    <a:pt x="124" y="202"/>
                    <a:pt x="125" y="201"/>
                  </a:cubicBezTo>
                  <a:cubicBezTo>
                    <a:pt x="125" y="200"/>
                    <a:pt x="126" y="199"/>
                    <a:pt x="126" y="198"/>
                  </a:cubicBezTo>
                  <a:cubicBezTo>
                    <a:pt x="127" y="196"/>
                    <a:pt x="128" y="198"/>
                    <a:pt x="130" y="198"/>
                  </a:cubicBezTo>
                  <a:cubicBezTo>
                    <a:pt x="132" y="198"/>
                    <a:pt x="139" y="199"/>
                    <a:pt x="139" y="196"/>
                  </a:cubicBezTo>
                  <a:cubicBezTo>
                    <a:pt x="138" y="194"/>
                    <a:pt x="137" y="193"/>
                    <a:pt x="136" y="193"/>
                  </a:cubicBezTo>
                  <a:cubicBezTo>
                    <a:pt x="135" y="192"/>
                    <a:pt x="135" y="190"/>
                    <a:pt x="135" y="189"/>
                  </a:cubicBezTo>
                  <a:cubicBezTo>
                    <a:pt x="135" y="187"/>
                    <a:pt x="136" y="186"/>
                    <a:pt x="136" y="185"/>
                  </a:cubicBezTo>
                  <a:cubicBezTo>
                    <a:pt x="136" y="183"/>
                    <a:pt x="136" y="181"/>
                    <a:pt x="137" y="180"/>
                  </a:cubicBezTo>
                  <a:cubicBezTo>
                    <a:pt x="137" y="177"/>
                    <a:pt x="138" y="174"/>
                    <a:pt x="139" y="172"/>
                  </a:cubicBezTo>
                  <a:cubicBezTo>
                    <a:pt x="140" y="169"/>
                    <a:pt x="141" y="165"/>
                    <a:pt x="144" y="163"/>
                  </a:cubicBezTo>
                  <a:cubicBezTo>
                    <a:pt x="145" y="162"/>
                    <a:pt x="148" y="163"/>
                    <a:pt x="150" y="162"/>
                  </a:cubicBezTo>
                  <a:cubicBezTo>
                    <a:pt x="152" y="160"/>
                    <a:pt x="152" y="159"/>
                    <a:pt x="155" y="160"/>
                  </a:cubicBezTo>
                  <a:cubicBezTo>
                    <a:pt x="156" y="160"/>
                    <a:pt x="156" y="160"/>
                    <a:pt x="157" y="159"/>
                  </a:cubicBezTo>
                  <a:cubicBezTo>
                    <a:pt x="159" y="159"/>
                    <a:pt x="159" y="159"/>
                    <a:pt x="160" y="159"/>
                  </a:cubicBezTo>
                  <a:cubicBezTo>
                    <a:pt x="163" y="159"/>
                    <a:pt x="164" y="158"/>
                    <a:pt x="167" y="157"/>
                  </a:cubicBezTo>
                  <a:cubicBezTo>
                    <a:pt x="169" y="156"/>
                    <a:pt x="170" y="155"/>
                    <a:pt x="172" y="154"/>
                  </a:cubicBezTo>
                  <a:cubicBezTo>
                    <a:pt x="174" y="153"/>
                    <a:pt x="176" y="153"/>
                    <a:pt x="178" y="152"/>
                  </a:cubicBezTo>
                  <a:cubicBezTo>
                    <a:pt x="180" y="151"/>
                    <a:pt x="179" y="149"/>
                    <a:pt x="181" y="147"/>
                  </a:cubicBezTo>
                  <a:cubicBezTo>
                    <a:pt x="182" y="146"/>
                    <a:pt x="182" y="146"/>
                    <a:pt x="183" y="144"/>
                  </a:cubicBezTo>
                  <a:cubicBezTo>
                    <a:pt x="184" y="142"/>
                    <a:pt x="185" y="141"/>
                    <a:pt x="186" y="139"/>
                  </a:cubicBezTo>
                  <a:cubicBezTo>
                    <a:pt x="187" y="137"/>
                    <a:pt x="187" y="136"/>
                    <a:pt x="189" y="136"/>
                  </a:cubicBezTo>
                  <a:cubicBezTo>
                    <a:pt x="191" y="136"/>
                    <a:pt x="193" y="137"/>
                    <a:pt x="193" y="135"/>
                  </a:cubicBezTo>
                  <a:cubicBezTo>
                    <a:pt x="193" y="133"/>
                    <a:pt x="193" y="132"/>
                    <a:pt x="193" y="130"/>
                  </a:cubicBezTo>
                  <a:cubicBezTo>
                    <a:pt x="193" y="129"/>
                    <a:pt x="194" y="127"/>
                    <a:pt x="195" y="127"/>
                  </a:cubicBezTo>
                  <a:cubicBezTo>
                    <a:pt x="197" y="127"/>
                    <a:pt x="198" y="129"/>
                    <a:pt x="198" y="130"/>
                  </a:cubicBezTo>
                  <a:cubicBezTo>
                    <a:pt x="199" y="130"/>
                    <a:pt x="201" y="130"/>
                    <a:pt x="201" y="130"/>
                  </a:cubicBezTo>
                  <a:cubicBezTo>
                    <a:pt x="202" y="131"/>
                    <a:pt x="202" y="131"/>
                    <a:pt x="203" y="132"/>
                  </a:cubicBezTo>
                  <a:cubicBezTo>
                    <a:pt x="203" y="133"/>
                    <a:pt x="204" y="132"/>
                    <a:pt x="205" y="132"/>
                  </a:cubicBezTo>
                  <a:cubicBezTo>
                    <a:pt x="207" y="133"/>
                    <a:pt x="207" y="134"/>
                    <a:pt x="207" y="134"/>
                  </a:cubicBezTo>
                  <a:cubicBezTo>
                    <a:pt x="208" y="136"/>
                    <a:pt x="210" y="135"/>
                    <a:pt x="210" y="137"/>
                  </a:cubicBezTo>
                  <a:cubicBezTo>
                    <a:pt x="210" y="139"/>
                    <a:pt x="211" y="140"/>
                    <a:pt x="212" y="141"/>
                  </a:cubicBezTo>
                  <a:cubicBezTo>
                    <a:pt x="213" y="143"/>
                    <a:pt x="213" y="143"/>
                    <a:pt x="213" y="145"/>
                  </a:cubicBezTo>
                  <a:cubicBezTo>
                    <a:pt x="214" y="147"/>
                    <a:pt x="215" y="147"/>
                    <a:pt x="216" y="148"/>
                  </a:cubicBezTo>
                  <a:cubicBezTo>
                    <a:pt x="217" y="149"/>
                    <a:pt x="219" y="150"/>
                    <a:pt x="220" y="151"/>
                  </a:cubicBezTo>
                  <a:cubicBezTo>
                    <a:pt x="221" y="151"/>
                    <a:pt x="223" y="151"/>
                    <a:pt x="224" y="151"/>
                  </a:cubicBezTo>
                  <a:cubicBezTo>
                    <a:pt x="225" y="152"/>
                    <a:pt x="227" y="153"/>
                    <a:pt x="228" y="153"/>
                  </a:cubicBezTo>
                  <a:cubicBezTo>
                    <a:pt x="228" y="153"/>
                    <a:pt x="229" y="154"/>
                    <a:pt x="229" y="154"/>
                  </a:cubicBezTo>
                  <a:cubicBezTo>
                    <a:pt x="230" y="153"/>
                    <a:pt x="230" y="153"/>
                    <a:pt x="230" y="153"/>
                  </a:cubicBezTo>
                  <a:cubicBezTo>
                    <a:pt x="230" y="152"/>
                    <a:pt x="230" y="150"/>
                    <a:pt x="230" y="148"/>
                  </a:cubicBezTo>
                  <a:cubicBezTo>
                    <a:pt x="231" y="146"/>
                    <a:pt x="231" y="145"/>
                    <a:pt x="231" y="144"/>
                  </a:cubicBezTo>
                  <a:cubicBezTo>
                    <a:pt x="232" y="143"/>
                    <a:pt x="234" y="139"/>
                    <a:pt x="235" y="138"/>
                  </a:cubicBezTo>
                  <a:cubicBezTo>
                    <a:pt x="235" y="137"/>
                    <a:pt x="236" y="134"/>
                    <a:pt x="236" y="133"/>
                  </a:cubicBezTo>
                  <a:cubicBezTo>
                    <a:pt x="236" y="133"/>
                    <a:pt x="234" y="131"/>
                    <a:pt x="233" y="130"/>
                  </a:cubicBezTo>
                  <a:cubicBezTo>
                    <a:pt x="232" y="129"/>
                    <a:pt x="230" y="129"/>
                    <a:pt x="229" y="127"/>
                  </a:cubicBezTo>
                  <a:cubicBezTo>
                    <a:pt x="228" y="125"/>
                    <a:pt x="228" y="123"/>
                    <a:pt x="228" y="122"/>
                  </a:cubicBezTo>
                  <a:cubicBezTo>
                    <a:pt x="228" y="121"/>
                    <a:pt x="228" y="119"/>
                    <a:pt x="228" y="119"/>
                  </a:cubicBezTo>
                  <a:cubicBezTo>
                    <a:pt x="228" y="119"/>
                    <a:pt x="230" y="114"/>
                    <a:pt x="231" y="111"/>
                  </a:cubicBezTo>
                  <a:cubicBezTo>
                    <a:pt x="233" y="104"/>
                    <a:pt x="244" y="100"/>
                    <a:pt x="244" y="100"/>
                  </a:cubicBezTo>
                  <a:cubicBezTo>
                    <a:pt x="244" y="99"/>
                    <a:pt x="244" y="98"/>
                    <a:pt x="244" y="9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6" name="Freeform 25">
              <a:extLst>
                <a:ext uri="{FF2B5EF4-FFF2-40B4-BE49-F238E27FC236}">
                  <a16:creationId xmlns:a16="http://schemas.microsoft.com/office/drawing/2014/main" id="{1AD37E3F-B734-0039-6028-5AFB5648A054}"/>
                </a:ext>
              </a:extLst>
            </p:cNvPr>
            <p:cNvSpPr>
              <a:spLocks noEditPoints="1"/>
            </p:cNvSpPr>
            <p:nvPr/>
          </p:nvSpPr>
          <p:spPr bwMode="auto">
            <a:xfrm>
              <a:off x="6667500" y="4471988"/>
              <a:ext cx="558800" cy="677862"/>
            </a:xfrm>
            <a:custGeom>
              <a:avLst/>
              <a:gdLst>
                <a:gd name="T0" fmla="*/ 58 w 147"/>
                <a:gd name="T1" fmla="*/ 150 h 178"/>
                <a:gd name="T2" fmla="*/ 62 w 147"/>
                <a:gd name="T3" fmla="*/ 140 h 178"/>
                <a:gd name="T4" fmla="*/ 72 w 147"/>
                <a:gd name="T5" fmla="*/ 149 h 178"/>
                <a:gd name="T6" fmla="*/ 85 w 147"/>
                <a:gd name="T7" fmla="*/ 155 h 178"/>
                <a:gd name="T8" fmla="*/ 98 w 147"/>
                <a:gd name="T9" fmla="*/ 159 h 178"/>
                <a:gd name="T10" fmla="*/ 101 w 147"/>
                <a:gd name="T11" fmla="*/ 161 h 178"/>
                <a:gd name="T12" fmla="*/ 108 w 147"/>
                <a:gd name="T13" fmla="*/ 156 h 178"/>
                <a:gd name="T14" fmla="*/ 107 w 147"/>
                <a:gd name="T15" fmla="*/ 142 h 178"/>
                <a:gd name="T16" fmla="*/ 115 w 147"/>
                <a:gd name="T17" fmla="*/ 126 h 178"/>
                <a:gd name="T18" fmla="*/ 103 w 147"/>
                <a:gd name="T19" fmla="*/ 116 h 178"/>
                <a:gd name="T20" fmla="*/ 90 w 147"/>
                <a:gd name="T21" fmla="*/ 130 h 178"/>
                <a:gd name="T22" fmla="*/ 89 w 147"/>
                <a:gd name="T23" fmla="*/ 145 h 178"/>
                <a:gd name="T24" fmla="*/ 109 w 147"/>
                <a:gd name="T25" fmla="*/ 161 h 178"/>
                <a:gd name="T26" fmla="*/ 114 w 147"/>
                <a:gd name="T27" fmla="*/ 177 h 178"/>
                <a:gd name="T28" fmla="*/ 124 w 147"/>
                <a:gd name="T29" fmla="*/ 167 h 178"/>
                <a:gd name="T30" fmla="*/ 132 w 147"/>
                <a:gd name="T31" fmla="*/ 163 h 178"/>
                <a:gd name="T32" fmla="*/ 140 w 147"/>
                <a:gd name="T33" fmla="*/ 151 h 178"/>
                <a:gd name="T34" fmla="*/ 127 w 147"/>
                <a:gd name="T35" fmla="*/ 145 h 178"/>
                <a:gd name="T36" fmla="*/ 131 w 147"/>
                <a:gd name="T37" fmla="*/ 129 h 178"/>
                <a:gd name="T38" fmla="*/ 133 w 147"/>
                <a:gd name="T39" fmla="*/ 124 h 178"/>
                <a:gd name="T40" fmla="*/ 143 w 147"/>
                <a:gd name="T41" fmla="*/ 121 h 178"/>
                <a:gd name="T42" fmla="*/ 139 w 147"/>
                <a:gd name="T43" fmla="*/ 105 h 178"/>
                <a:gd name="T44" fmla="*/ 134 w 147"/>
                <a:gd name="T45" fmla="*/ 101 h 178"/>
                <a:gd name="T46" fmla="*/ 120 w 147"/>
                <a:gd name="T47" fmla="*/ 114 h 178"/>
                <a:gd name="T48" fmla="*/ 119 w 147"/>
                <a:gd name="T49" fmla="*/ 132 h 178"/>
                <a:gd name="T50" fmla="*/ 117 w 147"/>
                <a:gd name="T51" fmla="*/ 141 h 178"/>
                <a:gd name="T52" fmla="*/ 117 w 147"/>
                <a:gd name="T53" fmla="*/ 150 h 178"/>
                <a:gd name="T54" fmla="*/ 146 w 147"/>
                <a:gd name="T55" fmla="*/ 78 h 178"/>
                <a:gd name="T56" fmla="*/ 127 w 147"/>
                <a:gd name="T57" fmla="*/ 79 h 178"/>
                <a:gd name="T58" fmla="*/ 88 w 147"/>
                <a:gd name="T59" fmla="*/ 22 h 178"/>
                <a:gd name="T60" fmla="*/ 74 w 147"/>
                <a:gd name="T61" fmla="*/ 11 h 178"/>
                <a:gd name="T62" fmla="*/ 54 w 147"/>
                <a:gd name="T63" fmla="*/ 9 h 178"/>
                <a:gd name="T64" fmla="*/ 32 w 147"/>
                <a:gd name="T65" fmla="*/ 13 h 178"/>
                <a:gd name="T66" fmla="*/ 21 w 147"/>
                <a:gd name="T67" fmla="*/ 4 h 178"/>
                <a:gd name="T68" fmla="*/ 10 w 147"/>
                <a:gd name="T69" fmla="*/ 4 h 178"/>
                <a:gd name="T70" fmla="*/ 12 w 147"/>
                <a:gd name="T71" fmla="*/ 15 h 178"/>
                <a:gd name="T72" fmla="*/ 9 w 147"/>
                <a:gd name="T73" fmla="*/ 28 h 178"/>
                <a:gd name="T74" fmla="*/ 5 w 147"/>
                <a:gd name="T75" fmla="*/ 52 h 178"/>
                <a:gd name="T76" fmla="*/ 19 w 147"/>
                <a:gd name="T77" fmla="*/ 64 h 178"/>
                <a:gd name="T78" fmla="*/ 26 w 147"/>
                <a:gd name="T79" fmla="*/ 67 h 178"/>
                <a:gd name="T80" fmla="*/ 45 w 147"/>
                <a:gd name="T81" fmla="*/ 80 h 178"/>
                <a:gd name="T82" fmla="*/ 40 w 147"/>
                <a:gd name="T83" fmla="*/ 92 h 178"/>
                <a:gd name="T84" fmla="*/ 39 w 147"/>
                <a:gd name="T85" fmla="*/ 118 h 178"/>
                <a:gd name="T86" fmla="*/ 50 w 147"/>
                <a:gd name="T87" fmla="*/ 126 h 178"/>
                <a:gd name="T88" fmla="*/ 69 w 147"/>
                <a:gd name="T89" fmla="*/ 128 h 178"/>
                <a:gd name="T90" fmla="*/ 74 w 147"/>
                <a:gd name="T91" fmla="*/ 122 h 178"/>
                <a:gd name="T92" fmla="*/ 82 w 147"/>
                <a:gd name="T93" fmla="*/ 105 h 178"/>
                <a:gd name="T94" fmla="*/ 95 w 147"/>
                <a:gd name="T95" fmla="*/ 102 h 178"/>
                <a:gd name="T96" fmla="*/ 108 w 147"/>
                <a:gd name="T97" fmla="*/ 101 h 178"/>
                <a:gd name="T98" fmla="*/ 114 w 147"/>
                <a:gd name="T99" fmla="*/ 105 h 178"/>
                <a:gd name="T100" fmla="*/ 114 w 147"/>
                <a:gd name="T101" fmla="*/ 96 h 178"/>
                <a:gd name="T102" fmla="*/ 124 w 147"/>
                <a:gd name="T103" fmla="*/ 92 h 178"/>
                <a:gd name="T104" fmla="*/ 116 w 147"/>
                <a:gd name="T105" fmla="*/ 78 h 178"/>
                <a:gd name="T106" fmla="*/ 110 w 147"/>
                <a:gd name="T107" fmla="*/ 77 h 178"/>
                <a:gd name="T108" fmla="*/ 110 w 147"/>
                <a:gd name="T109" fmla="*/ 69 h 178"/>
                <a:gd name="T110" fmla="*/ 98 w 147"/>
                <a:gd name="T111" fmla="*/ 63 h 178"/>
                <a:gd name="T112" fmla="*/ 87 w 147"/>
                <a:gd name="T113" fmla="*/ 55 h 178"/>
                <a:gd name="T114" fmla="*/ 86 w 147"/>
                <a:gd name="T115" fmla="*/ 46 h 178"/>
                <a:gd name="T116" fmla="*/ 88 w 147"/>
                <a:gd name="T117" fmla="*/ 36 h 178"/>
                <a:gd name="T118" fmla="*/ 88 w 147"/>
                <a:gd name="T1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7" h="178">
                  <a:moveTo>
                    <a:pt x="67" y="165"/>
                  </a:moveTo>
                  <a:cubicBezTo>
                    <a:pt x="66" y="164"/>
                    <a:pt x="65" y="163"/>
                    <a:pt x="65" y="162"/>
                  </a:cubicBezTo>
                  <a:cubicBezTo>
                    <a:pt x="64" y="161"/>
                    <a:pt x="63" y="160"/>
                    <a:pt x="63" y="159"/>
                  </a:cubicBezTo>
                  <a:cubicBezTo>
                    <a:pt x="61" y="157"/>
                    <a:pt x="56" y="155"/>
                    <a:pt x="57" y="152"/>
                  </a:cubicBezTo>
                  <a:cubicBezTo>
                    <a:pt x="58" y="151"/>
                    <a:pt x="58" y="150"/>
                    <a:pt x="58" y="150"/>
                  </a:cubicBezTo>
                  <a:cubicBezTo>
                    <a:pt x="58" y="149"/>
                    <a:pt x="58" y="148"/>
                    <a:pt x="58" y="147"/>
                  </a:cubicBezTo>
                  <a:cubicBezTo>
                    <a:pt x="59" y="147"/>
                    <a:pt x="59" y="146"/>
                    <a:pt x="60" y="145"/>
                  </a:cubicBezTo>
                  <a:cubicBezTo>
                    <a:pt x="61" y="144"/>
                    <a:pt x="62" y="144"/>
                    <a:pt x="61" y="143"/>
                  </a:cubicBezTo>
                  <a:cubicBezTo>
                    <a:pt x="61" y="142"/>
                    <a:pt x="60" y="142"/>
                    <a:pt x="60" y="141"/>
                  </a:cubicBezTo>
                  <a:cubicBezTo>
                    <a:pt x="62" y="140"/>
                    <a:pt x="62" y="140"/>
                    <a:pt x="62" y="140"/>
                  </a:cubicBezTo>
                  <a:cubicBezTo>
                    <a:pt x="63" y="139"/>
                    <a:pt x="64" y="141"/>
                    <a:pt x="65" y="141"/>
                  </a:cubicBezTo>
                  <a:cubicBezTo>
                    <a:pt x="66" y="142"/>
                    <a:pt x="66" y="141"/>
                    <a:pt x="68" y="140"/>
                  </a:cubicBezTo>
                  <a:cubicBezTo>
                    <a:pt x="68" y="142"/>
                    <a:pt x="68" y="144"/>
                    <a:pt x="69" y="145"/>
                  </a:cubicBezTo>
                  <a:cubicBezTo>
                    <a:pt x="70" y="146"/>
                    <a:pt x="72" y="145"/>
                    <a:pt x="72" y="146"/>
                  </a:cubicBezTo>
                  <a:cubicBezTo>
                    <a:pt x="72" y="147"/>
                    <a:pt x="72" y="149"/>
                    <a:pt x="72" y="149"/>
                  </a:cubicBezTo>
                  <a:cubicBezTo>
                    <a:pt x="71" y="151"/>
                    <a:pt x="73" y="153"/>
                    <a:pt x="73" y="155"/>
                  </a:cubicBezTo>
                  <a:cubicBezTo>
                    <a:pt x="72" y="157"/>
                    <a:pt x="72" y="159"/>
                    <a:pt x="72" y="161"/>
                  </a:cubicBezTo>
                  <a:cubicBezTo>
                    <a:pt x="72" y="162"/>
                    <a:pt x="72" y="164"/>
                    <a:pt x="71" y="164"/>
                  </a:cubicBezTo>
                  <a:cubicBezTo>
                    <a:pt x="70" y="165"/>
                    <a:pt x="68" y="165"/>
                    <a:pt x="67" y="165"/>
                  </a:cubicBezTo>
                  <a:close/>
                  <a:moveTo>
                    <a:pt x="85" y="155"/>
                  </a:moveTo>
                  <a:cubicBezTo>
                    <a:pt x="85" y="156"/>
                    <a:pt x="85" y="159"/>
                    <a:pt x="86" y="159"/>
                  </a:cubicBezTo>
                  <a:cubicBezTo>
                    <a:pt x="86" y="160"/>
                    <a:pt x="90" y="159"/>
                    <a:pt x="91" y="158"/>
                  </a:cubicBezTo>
                  <a:cubicBezTo>
                    <a:pt x="92" y="158"/>
                    <a:pt x="92" y="157"/>
                    <a:pt x="93" y="156"/>
                  </a:cubicBezTo>
                  <a:cubicBezTo>
                    <a:pt x="94" y="156"/>
                    <a:pt x="94" y="158"/>
                    <a:pt x="94" y="159"/>
                  </a:cubicBezTo>
                  <a:cubicBezTo>
                    <a:pt x="95" y="161"/>
                    <a:pt x="97" y="161"/>
                    <a:pt x="98" y="159"/>
                  </a:cubicBezTo>
                  <a:cubicBezTo>
                    <a:pt x="99" y="159"/>
                    <a:pt x="99" y="157"/>
                    <a:pt x="99" y="156"/>
                  </a:cubicBezTo>
                  <a:cubicBezTo>
                    <a:pt x="99" y="156"/>
                    <a:pt x="98" y="155"/>
                    <a:pt x="98" y="155"/>
                  </a:cubicBezTo>
                  <a:cubicBezTo>
                    <a:pt x="99" y="154"/>
                    <a:pt x="101" y="153"/>
                    <a:pt x="102" y="152"/>
                  </a:cubicBezTo>
                  <a:cubicBezTo>
                    <a:pt x="102" y="153"/>
                    <a:pt x="102" y="154"/>
                    <a:pt x="102" y="155"/>
                  </a:cubicBezTo>
                  <a:cubicBezTo>
                    <a:pt x="102" y="157"/>
                    <a:pt x="101" y="159"/>
                    <a:pt x="101" y="161"/>
                  </a:cubicBezTo>
                  <a:cubicBezTo>
                    <a:pt x="101" y="163"/>
                    <a:pt x="102" y="163"/>
                    <a:pt x="103" y="162"/>
                  </a:cubicBezTo>
                  <a:cubicBezTo>
                    <a:pt x="104" y="161"/>
                    <a:pt x="104" y="161"/>
                    <a:pt x="104" y="161"/>
                  </a:cubicBezTo>
                  <a:cubicBezTo>
                    <a:pt x="105" y="161"/>
                    <a:pt x="105" y="161"/>
                    <a:pt x="106" y="160"/>
                  </a:cubicBezTo>
                  <a:cubicBezTo>
                    <a:pt x="106" y="160"/>
                    <a:pt x="106" y="159"/>
                    <a:pt x="107" y="158"/>
                  </a:cubicBezTo>
                  <a:cubicBezTo>
                    <a:pt x="107" y="157"/>
                    <a:pt x="108" y="157"/>
                    <a:pt x="108" y="156"/>
                  </a:cubicBezTo>
                  <a:cubicBezTo>
                    <a:pt x="108" y="155"/>
                    <a:pt x="109" y="154"/>
                    <a:pt x="108" y="153"/>
                  </a:cubicBezTo>
                  <a:cubicBezTo>
                    <a:pt x="108" y="151"/>
                    <a:pt x="108" y="152"/>
                    <a:pt x="107" y="151"/>
                  </a:cubicBezTo>
                  <a:cubicBezTo>
                    <a:pt x="105" y="150"/>
                    <a:pt x="109" y="148"/>
                    <a:pt x="105" y="148"/>
                  </a:cubicBezTo>
                  <a:cubicBezTo>
                    <a:pt x="105" y="147"/>
                    <a:pt x="106" y="146"/>
                    <a:pt x="106" y="146"/>
                  </a:cubicBezTo>
                  <a:cubicBezTo>
                    <a:pt x="107" y="145"/>
                    <a:pt x="107" y="143"/>
                    <a:pt x="107" y="142"/>
                  </a:cubicBezTo>
                  <a:cubicBezTo>
                    <a:pt x="108" y="140"/>
                    <a:pt x="110" y="139"/>
                    <a:pt x="111" y="137"/>
                  </a:cubicBezTo>
                  <a:cubicBezTo>
                    <a:pt x="112" y="136"/>
                    <a:pt x="114" y="135"/>
                    <a:pt x="115" y="134"/>
                  </a:cubicBezTo>
                  <a:cubicBezTo>
                    <a:pt x="116" y="133"/>
                    <a:pt x="117" y="130"/>
                    <a:pt x="116" y="129"/>
                  </a:cubicBezTo>
                  <a:cubicBezTo>
                    <a:pt x="115" y="129"/>
                    <a:pt x="114" y="129"/>
                    <a:pt x="114" y="128"/>
                  </a:cubicBezTo>
                  <a:cubicBezTo>
                    <a:pt x="114" y="127"/>
                    <a:pt x="114" y="126"/>
                    <a:pt x="115" y="126"/>
                  </a:cubicBezTo>
                  <a:cubicBezTo>
                    <a:pt x="115" y="124"/>
                    <a:pt x="114" y="122"/>
                    <a:pt x="114" y="120"/>
                  </a:cubicBezTo>
                  <a:cubicBezTo>
                    <a:pt x="113" y="118"/>
                    <a:pt x="114" y="117"/>
                    <a:pt x="114" y="115"/>
                  </a:cubicBezTo>
                  <a:cubicBezTo>
                    <a:pt x="114" y="113"/>
                    <a:pt x="113" y="113"/>
                    <a:pt x="111" y="112"/>
                  </a:cubicBezTo>
                  <a:cubicBezTo>
                    <a:pt x="110" y="112"/>
                    <a:pt x="108" y="112"/>
                    <a:pt x="107" y="114"/>
                  </a:cubicBezTo>
                  <a:cubicBezTo>
                    <a:pt x="106" y="115"/>
                    <a:pt x="104" y="115"/>
                    <a:pt x="103" y="116"/>
                  </a:cubicBezTo>
                  <a:cubicBezTo>
                    <a:pt x="102" y="117"/>
                    <a:pt x="100" y="119"/>
                    <a:pt x="99" y="119"/>
                  </a:cubicBezTo>
                  <a:cubicBezTo>
                    <a:pt x="97" y="120"/>
                    <a:pt x="96" y="120"/>
                    <a:pt x="94" y="120"/>
                  </a:cubicBezTo>
                  <a:cubicBezTo>
                    <a:pt x="93" y="120"/>
                    <a:pt x="92" y="120"/>
                    <a:pt x="91" y="121"/>
                  </a:cubicBezTo>
                  <a:cubicBezTo>
                    <a:pt x="91" y="122"/>
                    <a:pt x="90" y="123"/>
                    <a:pt x="90" y="123"/>
                  </a:cubicBezTo>
                  <a:cubicBezTo>
                    <a:pt x="89" y="125"/>
                    <a:pt x="89" y="128"/>
                    <a:pt x="90" y="130"/>
                  </a:cubicBezTo>
                  <a:cubicBezTo>
                    <a:pt x="91" y="132"/>
                    <a:pt x="94" y="133"/>
                    <a:pt x="93" y="136"/>
                  </a:cubicBezTo>
                  <a:cubicBezTo>
                    <a:pt x="92" y="137"/>
                    <a:pt x="92" y="137"/>
                    <a:pt x="92" y="138"/>
                  </a:cubicBezTo>
                  <a:cubicBezTo>
                    <a:pt x="92" y="139"/>
                    <a:pt x="93" y="140"/>
                    <a:pt x="92" y="141"/>
                  </a:cubicBezTo>
                  <a:cubicBezTo>
                    <a:pt x="91" y="141"/>
                    <a:pt x="90" y="141"/>
                    <a:pt x="89" y="142"/>
                  </a:cubicBezTo>
                  <a:cubicBezTo>
                    <a:pt x="89" y="143"/>
                    <a:pt x="89" y="144"/>
                    <a:pt x="89" y="145"/>
                  </a:cubicBezTo>
                  <a:cubicBezTo>
                    <a:pt x="88" y="146"/>
                    <a:pt x="89" y="147"/>
                    <a:pt x="89" y="148"/>
                  </a:cubicBezTo>
                  <a:cubicBezTo>
                    <a:pt x="88" y="149"/>
                    <a:pt x="88" y="151"/>
                    <a:pt x="87" y="152"/>
                  </a:cubicBezTo>
                  <a:cubicBezTo>
                    <a:pt x="86" y="153"/>
                    <a:pt x="86" y="154"/>
                    <a:pt x="85" y="155"/>
                  </a:cubicBezTo>
                  <a:close/>
                  <a:moveTo>
                    <a:pt x="110" y="158"/>
                  </a:moveTo>
                  <a:cubicBezTo>
                    <a:pt x="109" y="159"/>
                    <a:pt x="109" y="160"/>
                    <a:pt x="109" y="161"/>
                  </a:cubicBezTo>
                  <a:cubicBezTo>
                    <a:pt x="109" y="163"/>
                    <a:pt x="106" y="163"/>
                    <a:pt x="105" y="164"/>
                  </a:cubicBezTo>
                  <a:cubicBezTo>
                    <a:pt x="103" y="167"/>
                    <a:pt x="106" y="169"/>
                    <a:pt x="107" y="172"/>
                  </a:cubicBezTo>
                  <a:cubicBezTo>
                    <a:pt x="107" y="173"/>
                    <a:pt x="106" y="178"/>
                    <a:pt x="109" y="177"/>
                  </a:cubicBezTo>
                  <a:cubicBezTo>
                    <a:pt x="111" y="177"/>
                    <a:pt x="111" y="174"/>
                    <a:pt x="113" y="175"/>
                  </a:cubicBezTo>
                  <a:cubicBezTo>
                    <a:pt x="114" y="175"/>
                    <a:pt x="113" y="176"/>
                    <a:pt x="114" y="177"/>
                  </a:cubicBezTo>
                  <a:cubicBezTo>
                    <a:pt x="115" y="177"/>
                    <a:pt x="116" y="176"/>
                    <a:pt x="116" y="177"/>
                  </a:cubicBezTo>
                  <a:cubicBezTo>
                    <a:pt x="117" y="177"/>
                    <a:pt x="117" y="178"/>
                    <a:pt x="117" y="178"/>
                  </a:cubicBezTo>
                  <a:cubicBezTo>
                    <a:pt x="118" y="178"/>
                    <a:pt x="120" y="176"/>
                    <a:pt x="120" y="175"/>
                  </a:cubicBezTo>
                  <a:cubicBezTo>
                    <a:pt x="121" y="173"/>
                    <a:pt x="122" y="172"/>
                    <a:pt x="123" y="171"/>
                  </a:cubicBezTo>
                  <a:cubicBezTo>
                    <a:pt x="124" y="170"/>
                    <a:pt x="125" y="168"/>
                    <a:pt x="124" y="167"/>
                  </a:cubicBezTo>
                  <a:cubicBezTo>
                    <a:pt x="123" y="166"/>
                    <a:pt x="121" y="167"/>
                    <a:pt x="120" y="166"/>
                  </a:cubicBezTo>
                  <a:cubicBezTo>
                    <a:pt x="121" y="165"/>
                    <a:pt x="122" y="163"/>
                    <a:pt x="124" y="163"/>
                  </a:cubicBezTo>
                  <a:cubicBezTo>
                    <a:pt x="125" y="162"/>
                    <a:pt x="126" y="163"/>
                    <a:pt x="128" y="162"/>
                  </a:cubicBezTo>
                  <a:cubicBezTo>
                    <a:pt x="128" y="162"/>
                    <a:pt x="128" y="161"/>
                    <a:pt x="129" y="161"/>
                  </a:cubicBezTo>
                  <a:cubicBezTo>
                    <a:pt x="131" y="160"/>
                    <a:pt x="131" y="162"/>
                    <a:pt x="132" y="163"/>
                  </a:cubicBezTo>
                  <a:cubicBezTo>
                    <a:pt x="134" y="163"/>
                    <a:pt x="137" y="160"/>
                    <a:pt x="139" y="160"/>
                  </a:cubicBezTo>
                  <a:cubicBezTo>
                    <a:pt x="140" y="159"/>
                    <a:pt x="142" y="158"/>
                    <a:pt x="142" y="156"/>
                  </a:cubicBezTo>
                  <a:cubicBezTo>
                    <a:pt x="143" y="155"/>
                    <a:pt x="143" y="153"/>
                    <a:pt x="143" y="153"/>
                  </a:cubicBezTo>
                  <a:cubicBezTo>
                    <a:pt x="142" y="152"/>
                    <a:pt x="142" y="152"/>
                    <a:pt x="142" y="152"/>
                  </a:cubicBezTo>
                  <a:cubicBezTo>
                    <a:pt x="141" y="152"/>
                    <a:pt x="141" y="152"/>
                    <a:pt x="140" y="151"/>
                  </a:cubicBezTo>
                  <a:cubicBezTo>
                    <a:pt x="138" y="150"/>
                    <a:pt x="137" y="149"/>
                    <a:pt x="136" y="147"/>
                  </a:cubicBezTo>
                  <a:cubicBezTo>
                    <a:pt x="136" y="146"/>
                    <a:pt x="133" y="144"/>
                    <a:pt x="131" y="144"/>
                  </a:cubicBezTo>
                  <a:cubicBezTo>
                    <a:pt x="131" y="144"/>
                    <a:pt x="131" y="145"/>
                    <a:pt x="130" y="145"/>
                  </a:cubicBezTo>
                  <a:cubicBezTo>
                    <a:pt x="130" y="146"/>
                    <a:pt x="129" y="147"/>
                    <a:pt x="128" y="147"/>
                  </a:cubicBezTo>
                  <a:cubicBezTo>
                    <a:pt x="126" y="147"/>
                    <a:pt x="126" y="147"/>
                    <a:pt x="127" y="145"/>
                  </a:cubicBezTo>
                  <a:cubicBezTo>
                    <a:pt x="128" y="144"/>
                    <a:pt x="129" y="143"/>
                    <a:pt x="129" y="141"/>
                  </a:cubicBezTo>
                  <a:cubicBezTo>
                    <a:pt x="129" y="139"/>
                    <a:pt x="128" y="139"/>
                    <a:pt x="128" y="138"/>
                  </a:cubicBezTo>
                  <a:cubicBezTo>
                    <a:pt x="127" y="137"/>
                    <a:pt x="127" y="136"/>
                    <a:pt x="128" y="135"/>
                  </a:cubicBezTo>
                  <a:cubicBezTo>
                    <a:pt x="128" y="134"/>
                    <a:pt x="129" y="133"/>
                    <a:pt x="130" y="132"/>
                  </a:cubicBezTo>
                  <a:cubicBezTo>
                    <a:pt x="131" y="131"/>
                    <a:pt x="131" y="130"/>
                    <a:pt x="131" y="129"/>
                  </a:cubicBezTo>
                  <a:cubicBezTo>
                    <a:pt x="131" y="128"/>
                    <a:pt x="130" y="127"/>
                    <a:pt x="130" y="126"/>
                  </a:cubicBezTo>
                  <a:cubicBezTo>
                    <a:pt x="131" y="125"/>
                    <a:pt x="131" y="125"/>
                    <a:pt x="132" y="124"/>
                  </a:cubicBezTo>
                  <a:cubicBezTo>
                    <a:pt x="134" y="122"/>
                    <a:pt x="132" y="120"/>
                    <a:pt x="133" y="118"/>
                  </a:cubicBezTo>
                  <a:cubicBezTo>
                    <a:pt x="135" y="117"/>
                    <a:pt x="133" y="122"/>
                    <a:pt x="135" y="121"/>
                  </a:cubicBezTo>
                  <a:cubicBezTo>
                    <a:pt x="135" y="122"/>
                    <a:pt x="135" y="124"/>
                    <a:pt x="133" y="124"/>
                  </a:cubicBezTo>
                  <a:cubicBezTo>
                    <a:pt x="132" y="126"/>
                    <a:pt x="135" y="126"/>
                    <a:pt x="136" y="126"/>
                  </a:cubicBezTo>
                  <a:cubicBezTo>
                    <a:pt x="138" y="126"/>
                    <a:pt x="137" y="122"/>
                    <a:pt x="138" y="120"/>
                  </a:cubicBezTo>
                  <a:cubicBezTo>
                    <a:pt x="138" y="118"/>
                    <a:pt x="140" y="120"/>
                    <a:pt x="141" y="121"/>
                  </a:cubicBezTo>
                  <a:cubicBezTo>
                    <a:pt x="141" y="123"/>
                    <a:pt x="141" y="126"/>
                    <a:pt x="143" y="126"/>
                  </a:cubicBezTo>
                  <a:cubicBezTo>
                    <a:pt x="143" y="125"/>
                    <a:pt x="143" y="123"/>
                    <a:pt x="143" y="121"/>
                  </a:cubicBezTo>
                  <a:cubicBezTo>
                    <a:pt x="143" y="120"/>
                    <a:pt x="143" y="118"/>
                    <a:pt x="143" y="116"/>
                  </a:cubicBezTo>
                  <a:cubicBezTo>
                    <a:pt x="142" y="115"/>
                    <a:pt x="142" y="115"/>
                    <a:pt x="142" y="114"/>
                  </a:cubicBezTo>
                  <a:cubicBezTo>
                    <a:pt x="142" y="113"/>
                    <a:pt x="143" y="113"/>
                    <a:pt x="143" y="111"/>
                  </a:cubicBezTo>
                  <a:cubicBezTo>
                    <a:pt x="142" y="110"/>
                    <a:pt x="140" y="109"/>
                    <a:pt x="140" y="108"/>
                  </a:cubicBezTo>
                  <a:cubicBezTo>
                    <a:pt x="139" y="107"/>
                    <a:pt x="139" y="106"/>
                    <a:pt x="139" y="105"/>
                  </a:cubicBezTo>
                  <a:cubicBezTo>
                    <a:pt x="139" y="103"/>
                    <a:pt x="139" y="103"/>
                    <a:pt x="137" y="103"/>
                  </a:cubicBezTo>
                  <a:cubicBezTo>
                    <a:pt x="137" y="103"/>
                    <a:pt x="136" y="103"/>
                    <a:pt x="136" y="103"/>
                  </a:cubicBezTo>
                  <a:cubicBezTo>
                    <a:pt x="135" y="102"/>
                    <a:pt x="135" y="103"/>
                    <a:pt x="135" y="102"/>
                  </a:cubicBezTo>
                  <a:cubicBezTo>
                    <a:pt x="135" y="102"/>
                    <a:pt x="135" y="101"/>
                    <a:pt x="135" y="101"/>
                  </a:cubicBezTo>
                  <a:cubicBezTo>
                    <a:pt x="134" y="101"/>
                    <a:pt x="134" y="100"/>
                    <a:pt x="134" y="101"/>
                  </a:cubicBezTo>
                  <a:cubicBezTo>
                    <a:pt x="134" y="100"/>
                    <a:pt x="135" y="99"/>
                    <a:pt x="135" y="98"/>
                  </a:cubicBezTo>
                  <a:cubicBezTo>
                    <a:pt x="134" y="97"/>
                    <a:pt x="134" y="97"/>
                    <a:pt x="133" y="98"/>
                  </a:cubicBezTo>
                  <a:cubicBezTo>
                    <a:pt x="132" y="98"/>
                    <a:pt x="131" y="99"/>
                    <a:pt x="130" y="99"/>
                  </a:cubicBezTo>
                  <a:cubicBezTo>
                    <a:pt x="129" y="100"/>
                    <a:pt x="128" y="100"/>
                    <a:pt x="127" y="101"/>
                  </a:cubicBezTo>
                  <a:cubicBezTo>
                    <a:pt x="123" y="103"/>
                    <a:pt x="121" y="109"/>
                    <a:pt x="120" y="114"/>
                  </a:cubicBezTo>
                  <a:cubicBezTo>
                    <a:pt x="120" y="116"/>
                    <a:pt x="120" y="118"/>
                    <a:pt x="121" y="120"/>
                  </a:cubicBezTo>
                  <a:cubicBezTo>
                    <a:pt x="121" y="121"/>
                    <a:pt x="122" y="124"/>
                    <a:pt x="121" y="125"/>
                  </a:cubicBezTo>
                  <a:cubicBezTo>
                    <a:pt x="120" y="125"/>
                    <a:pt x="119" y="125"/>
                    <a:pt x="119" y="126"/>
                  </a:cubicBezTo>
                  <a:cubicBezTo>
                    <a:pt x="119" y="126"/>
                    <a:pt x="119" y="127"/>
                    <a:pt x="119" y="128"/>
                  </a:cubicBezTo>
                  <a:cubicBezTo>
                    <a:pt x="119" y="129"/>
                    <a:pt x="119" y="130"/>
                    <a:pt x="119" y="132"/>
                  </a:cubicBezTo>
                  <a:cubicBezTo>
                    <a:pt x="119" y="133"/>
                    <a:pt x="119" y="135"/>
                    <a:pt x="117" y="136"/>
                  </a:cubicBezTo>
                  <a:cubicBezTo>
                    <a:pt x="116" y="137"/>
                    <a:pt x="114" y="137"/>
                    <a:pt x="115" y="138"/>
                  </a:cubicBezTo>
                  <a:cubicBezTo>
                    <a:pt x="116" y="139"/>
                    <a:pt x="117" y="137"/>
                    <a:pt x="117" y="138"/>
                  </a:cubicBezTo>
                  <a:cubicBezTo>
                    <a:pt x="117" y="138"/>
                    <a:pt x="117" y="139"/>
                    <a:pt x="117" y="139"/>
                  </a:cubicBezTo>
                  <a:cubicBezTo>
                    <a:pt x="117" y="140"/>
                    <a:pt x="117" y="141"/>
                    <a:pt x="117" y="141"/>
                  </a:cubicBezTo>
                  <a:cubicBezTo>
                    <a:pt x="117" y="142"/>
                    <a:pt x="117" y="142"/>
                    <a:pt x="117" y="142"/>
                  </a:cubicBezTo>
                  <a:cubicBezTo>
                    <a:pt x="117" y="142"/>
                    <a:pt x="116" y="143"/>
                    <a:pt x="116" y="143"/>
                  </a:cubicBezTo>
                  <a:cubicBezTo>
                    <a:pt x="115" y="144"/>
                    <a:pt x="114" y="148"/>
                    <a:pt x="115" y="149"/>
                  </a:cubicBezTo>
                  <a:cubicBezTo>
                    <a:pt x="116" y="148"/>
                    <a:pt x="116" y="147"/>
                    <a:pt x="118" y="148"/>
                  </a:cubicBezTo>
                  <a:cubicBezTo>
                    <a:pt x="119" y="149"/>
                    <a:pt x="118" y="150"/>
                    <a:pt x="117" y="150"/>
                  </a:cubicBezTo>
                  <a:cubicBezTo>
                    <a:pt x="113" y="153"/>
                    <a:pt x="111" y="155"/>
                    <a:pt x="110" y="158"/>
                  </a:cubicBezTo>
                  <a:close/>
                  <a:moveTo>
                    <a:pt x="139" y="90"/>
                  </a:moveTo>
                  <a:cubicBezTo>
                    <a:pt x="139" y="89"/>
                    <a:pt x="140" y="88"/>
                    <a:pt x="140" y="87"/>
                  </a:cubicBezTo>
                  <a:cubicBezTo>
                    <a:pt x="141" y="86"/>
                    <a:pt x="142" y="85"/>
                    <a:pt x="143" y="85"/>
                  </a:cubicBezTo>
                  <a:cubicBezTo>
                    <a:pt x="146" y="83"/>
                    <a:pt x="147" y="81"/>
                    <a:pt x="146" y="78"/>
                  </a:cubicBezTo>
                  <a:cubicBezTo>
                    <a:pt x="144" y="75"/>
                    <a:pt x="141" y="75"/>
                    <a:pt x="138" y="76"/>
                  </a:cubicBezTo>
                  <a:cubicBezTo>
                    <a:pt x="137" y="76"/>
                    <a:pt x="136" y="76"/>
                    <a:pt x="135" y="75"/>
                  </a:cubicBezTo>
                  <a:cubicBezTo>
                    <a:pt x="134" y="74"/>
                    <a:pt x="132" y="73"/>
                    <a:pt x="131" y="73"/>
                  </a:cubicBezTo>
                  <a:cubicBezTo>
                    <a:pt x="130" y="73"/>
                    <a:pt x="130" y="75"/>
                    <a:pt x="129" y="76"/>
                  </a:cubicBezTo>
                  <a:cubicBezTo>
                    <a:pt x="129" y="77"/>
                    <a:pt x="128" y="78"/>
                    <a:pt x="127" y="79"/>
                  </a:cubicBezTo>
                  <a:cubicBezTo>
                    <a:pt x="126" y="80"/>
                    <a:pt x="127" y="81"/>
                    <a:pt x="128" y="82"/>
                  </a:cubicBezTo>
                  <a:cubicBezTo>
                    <a:pt x="128" y="84"/>
                    <a:pt x="129" y="86"/>
                    <a:pt x="130" y="87"/>
                  </a:cubicBezTo>
                  <a:cubicBezTo>
                    <a:pt x="132" y="88"/>
                    <a:pt x="133" y="89"/>
                    <a:pt x="135" y="90"/>
                  </a:cubicBezTo>
                  <a:cubicBezTo>
                    <a:pt x="136" y="91"/>
                    <a:pt x="137" y="91"/>
                    <a:pt x="139" y="90"/>
                  </a:cubicBezTo>
                  <a:close/>
                  <a:moveTo>
                    <a:pt x="88" y="22"/>
                  </a:moveTo>
                  <a:cubicBezTo>
                    <a:pt x="84" y="22"/>
                    <a:pt x="84" y="22"/>
                    <a:pt x="84" y="22"/>
                  </a:cubicBezTo>
                  <a:cubicBezTo>
                    <a:pt x="80" y="19"/>
                    <a:pt x="80" y="19"/>
                    <a:pt x="80" y="19"/>
                  </a:cubicBezTo>
                  <a:cubicBezTo>
                    <a:pt x="80" y="15"/>
                    <a:pt x="80" y="15"/>
                    <a:pt x="80" y="15"/>
                  </a:cubicBezTo>
                  <a:cubicBezTo>
                    <a:pt x="76" y="14"/>
                    <a:pt x="76" y="14"/>
                    <a:pt x="76" y="14"/>
                  </a:cubicBezTo>
                  <a:cubicBezTo>
                    <a:pt x="74" y="11"/>
                    <a:pt x="74" y="11"/>
                    <a:pt x="74" y="11"/>
                  </a:cubicBezTo>
                  <a:cubicBezTo>
                    <a:pt x="69" y="11"/>
                    <a:pt x="69" y="11"/>
                    <a:pt x="69" y="11"/>
                  </a:cubicBezTo>
                  <a:cubicBezTo>
                    <a:pt x="67" y="12"/>
                    <a:pt x="67" y="12"/>
                    <a:pt x="67" y="12"/>
                  </a:cubicBezTo>
                  <a:cubicBezTo>
                    <a:pt x="63" y="13"/>
                    <a:pt x="63" y="13"/>
                    <a:pt x="63" y="13"/>
                  </a:cubicBezTo>
                  <a:cubicBezTo>
                    <a:pt x="59" y="11"/>
                    <a:pt x="59" y="11"/>
                    <a:pt x="59" y="11"/>
                  </a:cubicBezTo>
                  <a:cubicBezTo>
                    <a:pt x="54" y="9"/>
                    <a:pt x="54" y="9"/>
                    <a:pt x="54" y="9"/>
                  </a:cubicBezTo>
                  <a:cubicBezTo>
                    <a:pt x="49" y="7"/>
                    <a:pt x="49" y="7"/>
                    <a:pt x="49" y="7"/>
                  </a:cubicBezTo>
                  <a:cubicBezTo>
                    <a:pt x="44" y="7"/>
                    <a:pt x="44" y="7"/>
                    <a:pt x="44" y="7"/>
                  </a:cubicBezTo>
                  <a:cubicBezTo>
                    <a:pt x="41" y="11"/>
                    <a:pt x="41" y="11"/>
                    <a:pt x="41" y="11"/>
                  </a:cubicBezTo>
                  <a:cubicBezTo>
                    <a:pt x="37" y="14"/>
                    <a:pt x="37" y="14"/>
                    <a:pt x="37" y="14"/>
                  </a:cubicBezTo>
                  <a:cubicBezTo>
                    <a:pt x="32" y="13"/>
                    <a:pt x="32" y="13"/>
                    <a:pt x="32" y="13"/>
                  </a:cubicBezTo>
                  <a:cubicBezTo>
                    <a:pt x="28" y="10"/>
                    <a:pt x="28" y="10"/>
                    <a:pt x="28" y="10"/>
                  </a:cubicBezTo>
                  <a:cubicBezTo>
                    <a:pt x="31" y="6"/>
                    <a:pt x="31" y="6"/>
                    <a:pt x="31" y="6"/>
                  </a:cubicBezTo>
                  <a:cubicBezTo>
                    <a:pt x="28" y="1"/>
                    <a:pt x="28" y="1"/>
                    <a:pt x="28" y="1"/>
                  </a:cubicBezTo>
                  <a:cubicBezTo>
                    <a:pt x="24" y="2"/>
                    <a:pt x="24" y="2"/>
                    <a:pt x="24" y="2"/>
                  </a:cubicBezTo>
                  <a:cubicBezTo>
                    <a:pt x="21" y="4"/>
                    <a:pt x="21" y="4"/>
                    <a:pt x="21" y="4"/>
                  </a:cubicBezTo>
                  <a:cubicBezTo>
                    <a:pt x="18" y="2"/>
                    <a:pt x="18" y="2"/>
                    <a:pt x="18" y="2"/>
                  </a:cubicBezTo>
                  <a:cubicBezTo>
                    <a:pt x="14" y="0"/>
                    <a:pt x="14" y="0"/>
                    <a:pt x="14" y="0"/>
                  </a:cubicBezTo>
                  <a:cubicBezTo>
                    <a:pt x="7" y="3"/>
                    <a:pt x="7" y="3"/>
                    <a:pt x="7" y="3"/>
                  </a:cubicBezTo>
                  <a:cubicBezTo>
                    <a:pt x="7" y="4"/>
                    <a:pt x="7" y="4"/>
                    <a:pt x="7" y="4"/>
                  </a:cubicBezTo>
                  <a:cubicBezTo>
                    <a:pt x="8" y="4"/>
                    <a:pt x="9" y="3"/>
                    <a:pt x="10" y="4"/>
                  </a:cubicBezTo>
                  <a:cubicBezTo>
                    <a:pt x="10" y="4"/>
                    <a:pt x="11" y="5"/>
                    <a:pt x="11" y="6"/>
                  </a:cubicBezTo>
                  <a:cubicBezTo>
                    <a:pt x="12" y="7"/>
                    <a:pt x="13" y="7"/>
                    <a:pt x="13" y="8"/>
                  </a:cubicBezTo>
                  <a:cubicBezTo>
                    <a:pt x="14" y="9"/>
                    <a:pt x="12" y="10"/>
                    <a:pt x="12" y="11"/>
                  </a:cubicBezTo>
                  <a:cubicBezTo>
                    <a:pt x="11" y="13"/>
                    <a:pt x="14" y="12"/>
                    <a:pt x="13" y="14"/>
                  </a:cubicBezTo>
                  <a:cubicBezTo>
                    <a:pt x="13" y="15"/>
                    <a:pt x="13" y="15"/>
                    <a:pt x="12" y="15"/>
                  </a:cubicBezTo>
                  <a:cubicBezTo>
                    <a:pt x="12" y="16"/>
                    <a:pt x="12" y="16"/>
                    <a:pt x="12" y="16"/>
                  </a:cubicBezTo>
                  <a:cubicBezTo>
                    <a:pt x="11" y="18"/>
                    <a:pt x="11" y="19"/>
                    <a:pt x="11" y="20"/>
                  </a:cubicBezTo>
                  <a:cubicBezTo>
                    <a:pt x="11" y="21"/>
                    <a:pt x="12" y="23"/>
                    <a:pt x="12" y="24"/>
                  </a:cubicBezTo>
                  <a:cubicBezTo>
                    <a:pt x="12" y="24"/>
                    <a:pt x="12" y="25"/>
                    <a:pt x="11" y="26"/>
                  </a:cubicBezTo>
                  <a:cubicBezTo>
                    <a:pt x="10" y="27"/>
                    <a:pt x="9" y="28"/>
                    <a:pt x="9" y="28"/>
                  </a:cubicBezTo>
                  <a:cubicBezTo>
                    <a:pt x="7" y="30"/>
                    <a:pt x="6" y="30"/>
                    <a:pt x="5" y="32"/>
                  </a:cubicBezTo>
                  <a:cubicBezTo>
                    <a:pt x="5" y="33"/>
                    <a:pt x="4" y="34"/>
                    <a:pt x="3" y="35"/>
                  </a:cubicBezTo>
                  <a:cubicBezTo>
                    <a:pt x="2" y="37"/>
                    <a:pt x="1" y="39"/>
                    <a:pt x="0" y="41"/>
                  </a:cubicBezTo>
                  <a:cubicBezTo>
                    <a:pt x="0" y="43"/>
                    <a:pt x="1" y="47"/>
                    <a:pt x="2" y="49"/>
                  </a:cubicBezTo>
                  <a:cubicBezTo>
                    <a:pt x="3" y="50"/>
                    <a:pt x="4" y="51"/>
                    <a:pt x="5" y="52"/>
                  </a:cubicBezTo>
                  <a:cubicBezTo>
                    <a:pt x="7" y="53"/>
                    <a:pt x="8" y="54"/>
                    <a:pt x="9" y="55"/>
                  </a:cubicBezTo>
                  <a:cubicBezTo>
                    <a:pt x="11" y="56"/>
                    <a:pt x="12" y="56"/>
                    <a:pt x="13" y="57"/>
                  </a:cubicBezTo>
                  <a:cubicBezTo>
                    <a:pt x="14" y="58"/>
                    <a:pt x="15" y="58"/>
                    <a:pt x="16" y="59"/>
                  </a:cubicBezTo>
                  <a:cubicBezTo>
                    <a:pt x="16" y="60"/>
                    <a:pt x="17" y="60"/>
                    <a:pt x="17" y="61"/>
                  </a:cubicBezTo>
                  <a:cubicBezTo>
                    <a:pt x="18" y="62"/>
                    <a:pt x="18" y="63"/>
                    <a:pt x="19" y="64"/>
                  </a:cubicBezTo>
                  <a:cubicBezTo>
                    <a:pt x="20" y="64"/>
                    <a:pt x="23" y="63"/>
                    <a:pt x="23" y="64"/>
                  </a:cubicBezTo>
                  <a:cubicBezTo>
                    <a:pt x="24" y="65"/>
                    <a:pt x="22" y="67"/>
                    <a:pt x="23" y="68"/>
                  </a:cubicBezTo>
                  <a:cubicBezTo>
                    <a:pt x="24" y="69"/>
                    <a:pt x="24" y="69"/>
                    <a:pt x="24" y="69"/>
                  </a:cubicBezTo>
                  <a:cubicBezTo>
                    <a:pt x="24" y="68"/>
                    <a:pt x="24" y="68"/>
                    <a:pt x="24" y="68"/>
                  </a:cubicBezTo>
                  <a:cubicBezTo>
                    <a:pt x="25" y="68"/>
                    <a:pt x="25" y="67"/>
                    <a:pt x="26" y="67"/>
                  </a:cubicBezTo>
                  <a:cubicBezTo>
                    <a:pt x="27" y="67"/>
                    <a:pt x="27" y="69"/>
                    <a:pt x="28" y="70"/>
                  </a:cubicBezTo>
                  <a:cubicBezTo>
                    <a:pt x="29" y="73"/>
                    <a:pt x="31" y="74"/>
                    <a:pt x="33" y="75"/>
                  </a:cubicBezTo>
                  <a:cubicBezTo>
                    <a:pt x="36" y="76"/>
                    <a:pt x="38" y="75"/>
                    <a:pt x="41" y="76"/>
                  </a:cubicBezTo>
                  <a:cubicBezTo>
                    <a:pt x="42" y="77"/>
                    <a:pt x="43" y="77"/>
                    <a:pt x="44" y="77"/>
                  </a:cubicBezTo>
                  <a:cubicBezTo>
                    <a:pt x="45" y="78"/>
                    <a:pt x="45" y="79"/>
                    <a:pt x="45" y="80"/>
                  </a:cubicBezTo>
                  <a:cubicBezTo>
                    <a:pt x="45" y="81"/>
                    <a:pt x="45" y="82"/>
                    <a:pt x="45" y="83"/>
                  </a:cubicBezTo>
                  <a:cubicBezTo>
                    <a:pt x="45" y="84"/>
                    <a:pt x="45" y="85"/>
                    <a:pt x="44" y="86"/>
                  </a:cubicBezTo>
                  <a:cubicBezTo>
                    <a:pt x="44" y="87"/>
                    <a:pt x="44" y="88"/>
                    <a:pt x="43" y="89"/>
                  </a:cubicBezTo>
                  <a:cubicBezTo>
                    <a:pt x="43" y="90"/>
                    <a:pt x="42" y="90"/>
                    <a:pt x="42" y="90"/>
                  </a:cubicBezTo>
                  <a:cubicBezTo>
                    <a:pt x="41" y="91"/>
                    <a:pt x="41" y="91"/>
                    <a:pt x="40" y="92"/>
                  </a:cubicBezTo>
                  <a:cubicBezTo>
                    <a:pt x="40" y="94"/>
                    <a:pt x="40" y="96"/>
                    <a:pt x="40" y="98"/>
                  </a:cubicBezTo>
                  <a:cubicBezTo>
                    <a:pt x="40" y="100"/>
                    <a:pt x="40" y="102"/>
                    <a:pt x="39" y="104"/>
                  </a:cubicBezTo>
                  <a:cubicBezTo>
                    <a:pt x="38" y="107"/>
                    <a:pt x="37" y="110"/>
                    <a:pt x="37" y="113"/>
                  </a:cubicBezTo>
                  <a:cubicBezTo>
                    <a:pt x="37" y="114"/>
                    <a:pt x="37" y="115"/>
                    <a:pt x="37" y="116"/>
                  </a:cubicBezTo>
                  <a:cubicBezTo>
                    <a:pt x="37" y="116"/>
                    <a:pt x="38" y="117"/>
                    <a:pt x="39" y="118"/>
                  </a:cubicBezTo>
                  <a:cubicBezTo>
                    <a:pt x="39" y="118"/>
                    <a:pt x="40" y="119"/>
                    <a:pt x="40" y="119"/>
                  </a:cubicBezTo>
                  <a:cubicBezTo>
                    <a:pt x="41" y="120"/>
                    <a:pt x="41" y="121"/>
                    <a:pt x="41" y="121"/>
                  </a:cubicBezTo>
                  <a:cubicBezTo>
                    <a:pt x="42" y="122"/>
                    <a:pt x="44" y="122"/>
                    <a:pt x="45" y="123"/>
                  </a:cubicBezTo>
                  <a:cubicBezTo>
                    <a:pt x="45" y="123"/>
                    <a:pt x="49" y="124"/>
                    <a:pt x="49" y="125"/>
                  </a:cubicBezTo>
                  <a:cubicBezTo>
                    <a:pt x="50" y="125"/>
                    <a:pt x="50" y="126"/>
                    <a:pt x="50" y="126"/>
                  </a:cubicBezTo>
                  <a:cubicBezTo>
                    <a:pt x="51" y="126"/>
                    <a:pt x="52" y="127"/>
                    <a:pt x="52" y="127"/>
                  </a:cubicBezTo>
                  <a:cubicBezTo>
                    <a:pt x="55" y="127"/>
                    <a:pt x="58" y="126"/>
                    <a:pt x="61" y="127"/>
                  </a:cubicBezTo>
                  <a:cubicBezTo>
                    <a:pt x="62" y="127"/>
                    <a:pt x="63" y="128"/>
                    <a:pt x="64" y="128"/>
                  </a:cubicBezTo>
                  <a:cubicBezTo>
                    <a:pt x="64" y="129"/>
                    <a:pt x="66" y="128"/>
                    <a:pt x="67" y="128"/>
                  </a:cubicBezTo>
                  <a:cubicBezTo>
                    <a:pt x="67" y="128"/>
                    <a:pt x="68" y="128"/>
                    <a:pt x="69" y="128"/>
                  </a:cubicBezTo>
                  <a:cubicBezTo>
                    <a:pt x="70" y="128"/>
                    <a:pt x="71" y="128"/>
                    <a:pt x="71" y="128"/>
                  </a:cubicBezTo>
                  <a:cubicBezTo>
                    <a:pt x="72" y="128"/>
                    <a:pt x="72" y="127"/>
                    <a:pt x="72" y="127"/>
                  </a:cubicBezTo>
                  <a:cubicBezTo>
                    <a:pt x="73" y="127"/>
                    <a:pt x="74" y="126"/>
                    <a:pt x="74" y="126"/>
                  </a:cubicBezTo>
                  <a:cubicBezTo>
                    <a:pt x="75" y="125"/>
                    <a:pt x="76" y="124"/>
                    <a:pt x="76" y="123"/>
                  </a:cubicBezTo>
                  <a:cubicBezTo>
                    <a:pt x="75" y="123"/>
                    <a:pt x="74" y="122"/>
                    <a:pt x="74" y="122"/>
                  </a:cubicBezTo>
                  <a:cubicBezTo>
                    <a:pt x="72" y="121"/>
                    <a:pt x="70" y="120"/>
                    <a:pt x="71" y="118"/>
                  </a:cubicBezTo>
                  <a:cubicBezTo>
                    <a:pt x="71" y="117"/>
                    <a:pt x="72" y="115"/>
                    <a:pt x="72" y="113"/>
                  </a:cubicBezTo>
                  <a:cubicBezTo>
                    <a:pt x="73" y="112"/>
                    <a:pt x="74" y="110"/>
                    <a:pt x="75" y="109"/>
                  </a:cubicBezTo>
                  <a:cubicBezTo>
                    <a:pt x="76" y="108"/>
                    <a:pt x="77" y="107"/>
                    <a:pt x="78" y="107"/>
                  </a:cubicBezTo>
                  <a:cubicBezTo>
                    <a:pt x="80" y="107"/>
                    <a:pt x="81" y="105"/>
                    <a:pt x="82" y="105"/>
                  </a:cubicBezTo>
                  <a:cubicBezTo>
                    <a:pt x="83" y="104"/>
                    <a:pt x="83" y="104"/>
                    <a:pt x="84" y="104"/>
                  </a:cubicBezTo>
                  <a:cubicBezTo>
                    <a:pt x="84" y="104"/>
                    <a:pt x="85" y="104"/>
                    <a:pt x="85" y="104"/>
                  </a:cubicBezTo>
                  <a:cubicBezTo>
                    <a:pt x="87" y="105"/>
                    <a:pt x="87" y="104"/>
                    <a:pt x="88" y="103"/>
                  </a:cubicBezTo>
                  <a:cubicBezTo>
                    <a:pt x="90" y="103"/>
                    <a:pt x="92" y="103"/>
                    <a:pt x="93" y="103"/>
                  </a:cubicBezTo>
                  <a:cubicBezTo>
                    <a:pt x="94" y="102"/>
                    <a:pt x="95" y="102"/>
                    <a:pt x="95" y="102"/>
                  </a:cubicBezTo>
                  <a:cubicBezTo>
                    <a:pt x="95" y="102"/>
                    <a:pt x="95" y="101"/>
                    <a:pt x="96" y="101"/>
                  </a:cubicBezTo>
                  <a:cubicBezTo>
                    <a:pt x="97" y="101"/>
                    <a:pt x="99" y="102"/>
                    <a:pt x="99" y="102"/>
                  </a:cubicBezTo>
                  <a:cubicBezTo>
                    <a:pt x="101" y="102"/>
                    <a:pt x="102" y="102"/>
                    <a:pt x="103" y="101"/>
                  </a:cubicBezTo>
                  <a:cubicBezTo>
                    <a:pt x="104" y="100"/>
                    <a:pt x="105" y="99"/>
                    <a:pt x="106" y="99"/>
                  </a:cubicBezTo>
                  <a:cubicBezTo>
                    <a:pt x="107" y="99"/>
                    <a:pt x="108" y="100"/>
                    <a:pt x="108" y="101"/>
                  </a:cubicBezTo>
                  <a:cubicBezTo>
                    <a:pt x="109" y="102"/>
                    <a:pt x="109" y="102"/>
                    <a:pt x="109" y="102"/>
                  </a:cubicBezTo>
                  <a:cubicBezTo>
                    <a:pt x="110" y="103"/>
                    <a:pt x="110" y="103"/>
                    <a:pt x="110" y="104"/>
                  </a:cubicBezTo>
                  <a:cubicBezTo>
                    <a:pt x="110" y="104"/>
                    <a:pt x="110" y="105"/>
                    <a:pt x="111" y="106"/>
                  </a:cubicBezTo>
                  <a:cubicBezTo>
                    <a:pt x="111" y="105"/>
                    <a:pt x="111" y="103"/>
                    <a:pt x="112" y="104"/>
                  </a:cubicBezTo>
                  <a:cubicBezTo>
                    <a:pt x="113" y="104"/>
                    <a:pt x="113" y="105"/>
                    <a:pt x="114" y="105"/>
                  </a:cubicBezTo>
                  <a:cubicBezTo>
                    <a:pt x="115" y="105"/>
                    <a:pt x="116" y="103"/>
                    <a:pt x="115" y="102"/>
                  </a:cubicBezTo>
                  <a:cubicBezTo>
                    <a:pt x="115" y="101"/>
                    <a:pt x="114" y="100"/>
                    <a:pt x="114" y="100"/>
                  </a:cubicBezTo>
                  <a:cubicBezTo>
                    <a:pt x="112" y="99"/>
                    <a:pt x="110" y="98"/>
                    <a:pt x="111" y="96"/>
                  </a:cubicBezTo>
                  <a:cubicBezTo>
                    <a:pt x="111" y="95"/>
                    <a:pt x="111" y="95"/>
                    <a:pt x="112" y="95"/>
                  </a:cubicBezTo>
                  <a:cubicBezTo>
                    <a:pt x="113" y="95"/>
                    <a:pt x="113" y="96"/>
                    <a:pt x="114" y="96"/>
                  </a:cubicBezTo>
                  <a:cubicBezTo>
                    <a:pt x="115" y="97"/>
                    <a:pt x="116" y="98"/>
                    <a:pt x="117" y="99"/>
                  </a:cubicBezTo>
                  <a:cubicBezTo>
                    <a:pt x="118" y="99"/>
                    <a:pt x="118" y="100"/>
                    <a:pt x="119" y="100"/>
                  </a:cubicBezTo>
                  <a:cubicBezTo>
                    <a:pt x="121" y="100"/>
                    <a:pt x="123" y="101"/>
                    <a:pt x="124" y="100"/>
                  </a:cubicBezTo>
                  <a:cubicBezTo>
                    <a:pt x="125" y="99"/>
                    <a:pt x="125" y="97"/>
                    <a:pt x="125" y="96"/>
                  </a:cubicBezTo>
                  <a:cubicBezTo>
                    <a:pt x="125" y="94"/>
                    <a:pt x="124" y="93"/>
                    <a:pt x="124" y="92"/>
                  </a:cubicBezTo>
                  <a:cubicBezTo>
                    <a:pt x="124" y="91"/>
                    <a:pt x="124" y="89"/>
                    <a:pt x="124" y="88"/>
                  </a:cubicBezTo>
                  <a:cubicBezTo>
                    <a:pt x="124" y="86"/>
                    <a:pt x="124" y="85"/>
                    <a:pt x="124" y="84"/>
                  </a:cubicBezTo>
                  <a:cubicBezTo>
                    <a:pt x="123" y="83"/>
                    <a:pt x="123" y="82"/>
                    <a:pt x="123" y="81"/>
                  </a:cubicBezTo>
                  <a:cubicBezTo>
                    <a:pt x="122" y="79"/>
                    <a:pt x="121" y="78"/>
                    <a:pt x="120" y="78"/>
                  </a:cubicBezTo>
                  <a:cubicBezTo>
                    <a:pt x="119" y="78"/>
                    <a:pt x="117" y="78"/>
                    <a:pt x="116" y="78"/>
                  </a:cubicBezTo>
                  <a:cubicBezTo>
                    <a:pt x="115" y="80"/>
                    <a:pt x="119" y="82"/>
                    <a:pt x="119" y="82"/>
                  </a:cubicBezTo>
                  <a:cubicBezTo>
                    <a:pt x="118" y="85"/>
                    <a:pt x="115" y="82"/>
                    <a:pt x="113" y="82"/>
                  </a:cubicBezTo>
                  <a:cubicBezTo>
                    <a:pt x="113" y="83"/>
                    <a:pt x="113" y="84"/>
                    <a:pt x="112" y="84"/>
                  </a:cubicBezTo>
                  <a:cubicBezTo>
                    <a:pt x="111" y="84"/>
                    <a:pt x="110" y="83"/>
                    <a:pt x="110" y="82"/>
                  </a:cubicBezTo>
                  <a:cubicBezTo>
                    <a:pt x="110" y="80"/>
                    <a:pt x="110" y="79"/>
                    <a:pt x="110" y="77"/>
                  </a:cubicBezTo>
                  <a:cubicBezTo>
                    <a:pt x="110" y="75"/>
                    <a:pt x="109" y="75"/>
                    <a:pt x="107" y="74"/>
                  </a:cubicBezTo>
                  <a:cubicBezTo>
                    <a:pt x="107" y="74"/>
                    <a:pt x="102" y="74"/>
                    <a:pt x="104" y="72"/>
                  </a:cubicBezTo>
                  <a:cubicBezTo>
                    <a:pt x="104" y="72"/>
                    <a:pt x="105" y="72"/>
                    <a:pt x="106" y="72"/>
                  </a:cubicBezTo>
                  <a:cubicBezTo>
                    <a:pt x="107" y="71"/>
                    <a:pt x="107" y="71"/>
                    <a:pt x="108" y="70"/>
                  </a:cubicBezTo>
                  <a:cubicBezTo>
                    <a:pt x="109" y="70"/>
                    <a:pt x="110" y="70"/>
                    <a:pt x="110" y="69"/>
                  </a:cubicBezTo>
                  <a:cubicBezTo>
                    <a:pt x="110" y="68"/>
                    <a:pt x="109" y="68"/>
                    <a:pt x="109" y="68"/>
                  </a:cubicBezTo>
                  <a:cubicBezTo>
                    <a:pt x="108" y="68"/>
                    <a:pt x="107" y="68"/>
                    <a:pt x="106" y="68"/>
                  </a:cubicBezTo>
                  <a:cubicBezTo>
                    <a:pt x="105" y="68"/>
                    <a:pt x="104" y="68"/>
                    <a:pt x="103" y="68"/>
                  </a:cubicBezTo>
                  <a:cubicBezTo>
                    <a:pt x="102" y="68"/>
                    <a:pt x="102" y="68"/>
                    <a:pt x="101" y="67"/>
                  </a:cubicBezTo>
                  <a:cubicBezTo>
                    <a:pt x="100" y="66"/>
                    <a:pt x="99" y="65"/>
                    <a:pt x="98" y="63"/>
                  </a:cubicBezTo>
                  <a:cubicBezTo>
                    <a:pt x="98" y="62"/>
                    <a:pt x="97" y="61"/>
                    <a:pt x="97" y="60"/>
                  </a:cubicBezTo>
                  <a:cubicBezTo>
                    <a:pt x="97" y="60"/>
                    <a:pt x="96" y="59"/>
                    <a:pt x="96" y="59"/>
                  </a:cubicBezTo>
                  <a:cubicBezTo>
                    <a:pt x="94" y="58"/>
                    <a:pt x="92" y="60"/>
                    <a:pt x="90" y="59"/>
                  </a:cubicBezTo>
                  <a:cubicBezTo>
                    <a:pt x="90" y="59"/>
                    <a:pt x="89" y="58"/>
                    <a:pt x="89" y="57"/>
                  </a:cubicBezTo>
                  <a:cubicBezTo>
                    <a:pt x="88" y="57"/>
                    <a:pt x="87" y="56"/>
                    <a:pt x="87" y="55"/>
                  </a:cubicBezTo>
                  <a:cubicBezTo>
                    <a:pt x="86" y="55"/>
                    <a:pt x="86" y="54"/>
                    <a:pt x="85" y="54"/>
                  </a:cubicBezTo>
                  <a:cubicBezTo>
                    <a:pt x="85" y="53"/>
                    <a:pt x="84" y="53"/>
                    <a:pt x="83" y="53"/>
                  </a:cubicBezTo>
                  <a:cubicBezTo>
                    <a:pt x="82" y="52"/>
                    <a:pt x="81" y="51"/>
                    <a:pt x="81" y="50"/>
                  </a:cubicBezTo>
                  <a:cubicBezTo>
                    <a:pt x="81" y="49"/>
                    <a:pt x="82" y="49"/>
                    <a:pt x="83" y="48"/>
                  </a:cubicBezTo>
                  <a:cubicBezTo>
                    <a:pt x="84" y="47"/>
                    <a:pt x="86" y="47"/>
                    <a:pt x="86" y="46"/>
                  </a:cubicBezTo>
                  <a:cubicBezTo>
                    <a:pt x="86" y="45"/>
                    <a:pt x="86" y="44"/>
                    <a:pt x="87" y="44"/>
                  </a:cubicBezTo>
                  <a:cubicBezTo>
                    <a:pt x="87" y="43"/>
                    <a:pt x="87" y="42"/>
                    <a:pt x="87" y="41"/>
                  </a:cubicBezTo>
                  <a:cubicBezTo>
                    <a:pt x="86" y="40"/>
                    <a:pt x="85" y="39"/>
                    <a:pt x="85" y="38"/>
                  </a:cubicBezTo>
                  <a:cubicBezTo>
                    <a:pt x="85" y="38"/>
                    <a:pt x="86" y="37"/>
                    <a:pt x="86" y="37"/>
                  </a:cubicBezTo>
                  <a:cubicBezTo>
                    <a:pt x="87" y="36"/>
                    <a:pt x="87" y="37"/>
                    <a:pt x="88" y="36"/>
                  </a:cubicBezTo>
                  <a:cubicBezTo>
                    <a:pt x="88" y="35"/>
                    <a:pt x="87" y="34"/>
                    <a:pt x="87" y="33"/>
                  </a:cubicBezTo>
                  <a:cubicBezTo>
                    <a:pt x="87" y="32"/>
                    <a:pt x="87" y="32"/>
                    <a:pt x="88" y="31"/>
                  </a:cubicBezTo>
                  <a:cubicBezTo>
                    <a:pt x="88" y="30"/>
                    <a:pt x="88" y="30"/>
                    <a:pt x="88" y="30"/>
                  </a:cubicBezTo>
                  <a:cubicBezTo>
                    <a:pt x="88" y="29"/>
                    <a:pt x="88" y="29"/>
                    <a:pt x="88" y="29"/>
                  </a:cubicBezTo>
                  <a:lnTo>
                    <a:pt x="88" y="22"/>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7" name="Freeform 27">
              <a:extLst>
                <a:ext uri="{FF2B5EF4-FFF2-40B4-BE49-F238E27FC236}">
                  <a16:creationId xmlns:a16="http://schemas.microsoft.com/office/drawing/2014/main" id="{76EEFE36-431D-95E5-AAA2-BB9D8753560C}"/>
                </a:ext>
              </a:extLst>
            </p:cNvPr>
            <p:cNvSpPr>
              <a:spLocks noEditPoints="1"/>
            </p:cNvSpPr>
            <p:nvPr/>
          </p:nvSpPr>
          <p:spPr bwMode="auto">
            <a:xfrm>
              <a:off x="6316663" y="4265613"/>
              <a:ext cx="566738" cy="1071562"/>
            </a:xfrm>
            <a:custGeom>
              <a:avLst/>
              <a:gdLst>
                <a:gd name="T0" fmla="*/ 67 w 149"/>
                <a:gd name="T1" fmla="*/ 244 h 281"/>
                <a:gd name="T2" fmla="*/ 72 w 149"/>
                <a:gd name="T3" fmla="*/ 261 h 281"/>
                <a:gd name="T4" fmla="*/ 68 w 149"/>
                <a:gd name="T5" fmla="*/ 279 h 281"/>
                <a:gd name="T6" fmla="*/ 149 w 149"/>
                <a:gd name="T7" fmla="*/ 46 h 281"/>
                <a:gd name="T8" fmla="*/ 137 w 149"/>
                <a:gd name="T9" fmla="*/ 35 h 281"/>
                <a:gd name="T10" fmla="*/ 107 w 149"/>
                <a:gd name="T11" fmla="*/ 24 h 281"/>
                <a:gd name="T12" fmla="*/ 85 w 149"/>
                <a:gd name="T13" fmla="*/ 21 h 281"/>
                <a:gd name="T14" fmla="*/ 59 w 149"/>
                <a:gd name="T15" fmla="*/ 10 h 281"/>
                <a:gd name="T16" fmla="*/ 40 w 149"/>
                <a:gd name="T17" fmla="*/ 3 h 281"/>
                <a:gd name="T18" fmla="*/ 29 w 149"/>
                <a:gd name="T19" fmla="*/ 9 h 281"/>
                <a:gd name="T20" fmla="*/ 21 w 149"/>
                <a:gd name="T21" fmla="*/ 19 h 281"/>
                <a:gd name="T22" fmla="*/ 22 w 149"/>
                <a:gd name="T23" fmla="*/ 26 h 281"/>
                <a:gd name="T24" fmla="*/ 23 w 149"/>
                <a:gd name="T25" fmla="*/ 36 h 281"/>
                <a:gd name="T26" fmla="*/ 25 w 149"/>
                <a:gd name="T27" fmla="*/ 48 h 281"/>
                <a:gd name="T28" fmla="*/ 13 w 149"/>
                <a:gd name="T29" fmla="*/ 53 h 281"/>
                <a:gd name="T30" fmla="*/ 14 w 149"/>
                <a:gd name="T31" fmla="*/ 69 h 281"/>
                <a:gd name="T32" fmla="*/ 8 w 149"/>
                <a:gd name="T33" fmla="*/ 80 h 281"/>
                <a:gd name="T34" fmla="*/ 6 w 149"/>
                <a:gd name="T35" fmla="*/ 86 h 281"/>
                <a:gd name="T36" fmla="*/ 9 w 149"/>
                <a:gd name="T37" fmla="*/ 104 h 281"/>
                <a:gd name="T38" fmla="*/ 15 w 149"/>
                <a:gd name="T39" fmla="*/ 130 h 281"/>
                <a:gd name="T40" fmla="*/ 17 w 149"/>
                <a:gd name="T41" fmla="*/ 141 h 281"/>
                <a:gd name="T42" fmla="*/ 15 w 149"/>
                <a:gd name="T43" fmla="*/ 158 h 281"/>
                <a:gd name="T44" fmla="*/ 9 w 149"/>
                <a:gd name="T45" fmla="*/ 180 h 281"/>
                <a:gd name="T46" fmla="*/ 8 w 149"/>
                <a:gd name="T47" fmla="*/ 190 h 281"/>
                <a:gd name="T48" fmla="*/ 1 w 149"/>
                <a:gd name="T49" fmla="*/ 206 h 281"/>
                <a:gd name="T50" fmla="*/ 9 w 149"/>
                <a:gd name="T51" fmla="*/ 223 h 281"/>
                <a:gd name="T52" fmla="*/ 15 w 149"/>
                <a:gd name="T53" fmla="*/ 227 h 281"/>
                <a:gd name="T54" fmla="*/ 28 w 149"/>
                <a:gd name="T55" fmla="*/ 232 h 281"/>
                <a:gd name="T56" fmla="*/ 33 w 149"/>
                <a:gd name="T57" fmla="*/ 226 h 281"/>
                <a:gd name="T58" fmla="*/ 55 w 149"/>
                <a:gd name="T59" fmla="*/ 222 h 281"/>
                <a:gd name="T60" fmla="*/ 65 w 149"/>
                <a:gd name="T61" fmla="*/ 216 h 281"/>
                <a:gd name="T62" fmla="*/ 59 w 149"/>
                <a:gd name="T63" fmla="*/ 206 h 281"/>
                <a:gd name="T64" fmla="*/ 58 w 149"/>
                <a:gd name="T65" fmla="*/ 192 h 281"/>
                <a:gd name="T66" fmla="*/ 63 w 149"/>
                <a:gd name="T67" fmla="*/ 176 h 281"/>
                <a:gd name="T68" fmla="*/ 65 w 149"/>
                <a:gd name="T69" fmla="*/ 166 h 281"/>
                <a:gd name="T70" fmla="*/ 62 w 149"/>
                <a:gd name="T71" fmla="*/ 156 h 281"/>
                <a:gd name="T72" fmla="*/ 63 w 149"/>
                <a:gd name="T73" fmla="*/ 139 h 281"/>
                <a:gd name="T74" fmla="*/ 61 w 149"/>
                <a:gd name="T75" fmla="*/ 126 h 281"/>
                <a:gd name="T76" fmla="*/ 65 w 149"/>
                <a:gd name="T77" fmla="*/ 116 h 281"/>
                <a:gd name="T78" fmla="*/ 64 w 149"/>
                <a:gd name="T79" fmla="*/ 102 h 281"/>
                <a:gd name="T80" fmla="*/ 64 w 149"/>
                <a:gd name="T81" fmla="*/ 88 h 281"/>
                <a:gd name="T82" fmla="*/ 61 w 149"/>
                <a:gd name="T83" fmla="*/ 79 h 281"/>
                <a:gd name="T84" fmla="*/ 56 w 149"/>
                <a:gd name="T85" fmla="*/ 72 h 281"/>
                <a:gd name="T86" fmla="*/ 59 w 149"/>
                <a:gd name="T87" fmla="*/ 61 h 281"/>
                <a:gd name="T88" fmla="*/ 74 w 149"/>
                <a:gd name="T89" fmla="*/ 49 h 281"/>
                <a:gd name="T90" fmla="*/ 86 w 149"/>
                <a:gd name="T91" fmla="*/ 45 h 281"/>
                <a:gd name="T92" fmla="*/ 95 w 149"/>
                <a:gd name="T93" fmla="*/ 46 h 281"/>
                <a:gd name="T94" fmla="*/ 103 w 149"/>
                <a:gd name="T95" fmla="*/ 47 h 281"/>
                <a:gd name="T96" fmla="*/ 102 w 149"/>
                <a:gd name="T97" fmla="*/ 55 h 281"/>
                <a:gd name="T98" fmla="*/ 110 w 149"/>
                <a:gd name="T99" fmla="*/ 56 h 281"/>
                <a:gd name="T100" fmla="*/ 123 w 149"/>
                <a:gd name="T101" fmla="*/ 60 h 281"/>
                <a:gd name="T102" fmla="*/ 133 w 149"/>
                <a:gd name="T103" fmla="*/ 65 h 281"/>
                <a:gd name="T104" fmla="*/ 142 w 149"/>
                <a:gd name="T105" fmla="*/ 5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281">
                  <a:moveTo>
                    <a:pt x="68" y="279"/>
                  </a:moveTo>
                  <a:cubicBezTo>
                    <a:pt x="68" y="275"/>
                    <a:pt x="68" y="270"/>
                    <a:pt x="67" y="267"/>
                  </a:cubicBezTo>
                  <a:cubicBezTo>
                    <a:pt x="66" y="265"/>
                    <a:pt x="66" y="263"/>
                    <a:pt x="67" y="260"/>
                  </a:cubicBezTo>
                  <a:cubicBezTo>
                    <a:pt x="68" y="255"/>
                    <a:pt x="66" y="250"/>
                    <a:pt x="67" y="244"/>
                  </a:cubicBezTo>
                  <a:cubicBezTo>
                    <a:pt x="67" y="243"/>
                    <a:pt x="68" y="242"/>
                    <a:pt x="68" y="241"/>
                  </a:cubicBezTo>
                  <a:cubicBezTo>
                    <a:pt x="68" y="240"/>
                    <a:pt x="68" y="238"/>
                    <a:pt x="68" y="238"/>
                  </a:cubicBezTo>
                  <a:cubicBezTo>
                    <a:pt x="71" y="235"/>
                    <a:pt x="71" y="242"/>
                    <a:pt x="71" y="243"/>
                  </a:cubicBezTo>
                  <a:cubicBezTo>
                    <a:pt x="74" y="249"/>
                    <a:pt x="74" y="255"/>
                    <a:pt x="72" y="261"/>
                  </a:cubicBezTo>
                  <a:cubicBezTo>
                    <a:pt x="71" y="265"/>
                    <a:pt x="73" y="269"/>
                    <a:pt x="71" y="272"/>
                  </a:cubicBezTo>
                  <a:cubicBezTo>
                    <a:pt x="71" y="274"/>
                    <a:pt x="70" y="275"/>
                    <a:pt x="70" y="276"/>
                  </a:cubicBezTo>
                  <a:cubicBezTo>
                    <a:pt x="69" y="277"/>
                    <a:pt x="70" y="281"/>
                    <a:pt x="68" y="280"/>
                  </a:cubicBezTo>
                  <a:cubicBezTo>
                    <a:pt x="68" y="280"/>
                    <a:pt x="68" y="279"/>
                    <a:pt x="68" y="279"/>
                  </a:cubicBezTo>
                  <a:close/>
                  <a:moveTo>
                    <a:pt x="144" y="56"/>
                  </a:moveTo>
                  <a:cubicBezTo>
                    <a:pt x="144" y="53"/>
                    <a:pt x="144" y="53"/>
                    <a:pt x="144" y="53"/>
                  </a:cubicBezTo>
                  <a:cubicBezTo>
                    <a:pt x="146" y="50"/>
                    <a:pt x="146" y="50"/>
                    <a:pt x="146" y="50"/>
                  </a:cubicBezTo>
                  <a:cubicBezTo>
                    <a:pt x="149" y="46"/>
                    <a:pt x="149" y="46"/>
                    <a:pt x="149" y="46"/>
                  </a:cubicBezTo>
                  <a:cubicBezTo>
                    <a:pt x="146" y="41"/>
                    <a:pt x="146" y="41"/>
                    <a:pt x="146" y="41"/>
                  </a:cubicBezTo>
                  <a:cubicBezTo>
                    <a:pt x="143" y="38"/>
                    <a:pt x="143" y="38"/>
                    <a:pt x="143" y="38"/>
                  </a:cubicBezTo>
                  <a:cubicBezTo>
                    <a:pt x="140" y="39"/>
                    <a:pt x="140" y="39"/>
                    <a:pt x="140" y="39"/>
                  </a:cubicBezTo>
                  <a:cubicBezTo>
                    <a:pt x="137" y="35"/>
                    <a:pt x="137" y="35"/>
                    <a:pt x="137" y="35"/>
                  </a:cubicBezTo>
                  <a:cubicBezTo>
                    <a:pt x="132" y="33"/>
                    <a:pt x="132" y="33"/>
                    <a:pt x="132" y="33"/>
                  </a:cubicBezTo>
                  <a:cubicBezTo>
                    <a:pt x="126" y="31"/>
                    <a:pt x="126" y="31"/>
                    <a:pt x="126" y="31"/>
                  </a:cubicBezTo>
                  <a:cubicBezTo>
                    <a:pt x="113" y="29"/>
                    <a:pt x="113" y="29"/>
                    <a:pt x="113" y="29"/>
                  </a:cubicBezTo>
                  <a:cubicBezTo>
                    <a:pt x="107" y="24"/>
                    <a:pt x="107" y="24"/>
                    <a:pt x="107" y="24"/>
                  </a:cubicBezTo>
                  <a:cubicBezTo>
                    <a:pt x="103" y="23"/>
                    <a:pt x="103" y="23"/>
                    <a:pt x="103" y="23"/>
                  </a:cubicBezTo>
                  <a:cubicBezTo>
                    <a:pt x="100" y="22"/>
                    <a:pt x="100" y="22"/>
                    <a:pt x="100" y="22"/>
                  </a:cubicBezTo>
                  <a:cubicBezTo>
                    <a:pt x="89" y="20"/>
                    <a:pt x="89" y="20"/>
                    <a:pt x="89" y="20"/>
                  </a:cubicBezTo>
                  <a:cubicBezTo>
                    <a:pt x="85" y="21"/>
                    <a:pt x="85" y="21"/>
                    <a:pt x="85" y="21"/>
                  </a:cubicBezTo>
                  <a:cubicBezTo>
                    <a:pt x="78" y="17"/>
                    <a:pt x="78" y="17"/>
                    <a:pt x="78" y="17"/>
                  </a:cubicBezTo>
                  <a:cubicBezTo>
                    <a:pt x="64" y="0"/>
                    <a:pt x="64" y="0"/>
                    <a:pt x="64" y="0"/>
                  </a:cubicBezTo>
                  <a:cubicBezTo>
                    <a:pt x="61" y="7"/>
                    <a:pt x="61" y="7"/>
                    <a:pt x="61" y="7"/>
                  </a:cubicBezTo>
                  <a:cubicBezTo>
                    <a:pt x="59" y="10"/>
                    <a:pt x="59" y="10"/>
                    <a:pt x="59" y="10"/>
                  </a:cubicBezTo>
                  <a:cubicBezTo>
                    <a:pt x="57" y="8"/>
                    <a:pt x="57" y="8"/>
                    <a:pt x="57" y="8"/>
                  </a:cubicBezTo>
                  <a:cubicBezTo>
                    <a:pt x="50" y="8"/>
                    <a:pt x="50" y="8"/>
                    <a:pt x="50" y="8"/>
                  </a:cubicBezTo>
                  <a:cubicBezTo>
                    <a:pt x="44" y="6"/>
                    <a:pt x="44" y="6"/>
                    <a:pt x="44" y="6"/>
                  </a:cubicBezTo>
                  <a:cubicBezTo>
                    <a:pt x="40" y="3"/>
                    <a:pt x="40" y="3"/>
                    <a:pt x="40" y="3"/>
                  </a:cubicBezTo>
                  <a:cubicBezTo>
                    <a:pt x="35" y="8"/>
                    <a:pt x="35" y="8"/>
                    <a:pt x="35" y="8"/>
                  </a:cubicBezTo>
                  <a:cubicBezTo>
                    <a:pt x="33" y="10"/>
                    <a:pt x="33" y="10"/>
                    <a:pt x="33" y="10"/>
                  </a:cubicBezTo>
                  <a:cubicBezTo>
                    <a:pt x="31" y="8"/>
                    <a:pt x="31" y="8"/>
                    <a:pt x="31" y="8"/>
                  </a:cubicBezTo>
                  <a:cubicBezTo>
                    <a:pt x="29" y="9"/>
                    <a:pt x="29" y="9"/>
                    <a:pt x="29" y="9"/>
                  </a:cubicBezTo>
                  <a:cubicBezTo>
                    <a:pt x="29" y="11"/>
                    <a:pt x="29" y="11"/>
                    <a:pt x="29" y="11"/>
                  </a:cubicBezTo>
                  <a:cubicBezTo>
                    <a:pt x="27" y="14"/>
                    <a:pt x="27" y="14"/>
                    <a:pt x="27" y="14"/>
                  </a:cubicBezTo>
                  <a:cubicBezTo>
                    <a:pt x="23" y="17"/>
                    <a:pt x="23" y="17"/>
                    <a:pt x="23" y="17"/>
                  </a:cubicBezTo>
                  <a:cubicBezTo>
                    <a:pt x="21" y="19"/>
                    <a:pt x="21" y="19"/>
                    <a:pt x="21" y="19"/>
                  </a:cubicBezTo>
                  <a:cubicBezTo>
                    <a:pt x="18" y="21"/>
                    <a:pt x="18" y="21"/>
                    <a:pt x="18" y="21"/>
                  </a:cubicBezTo>
                  <a:cubicBezTo>
                    <a:pt x="17" y="23"/>
                    <a:pt x="17" y="23"/>
                    <a:pt x="17" y="23"/>
                  </a:cubicBezTo>
                  <a:cubicBezTo>
                    <a:pt x="19" y="25"/>
                    <a:pt x="19" y="25"/>
                    <a:pt x="19" y="25"/>
                  </a:cubicBezTo>
                  <a:cubicBezTo>
                    <a:pt x="22" y="26"/>
                    <a:pt x="22" y="26"/>
                    <a:pt x="22" y="26"/>
                  </a:cubicBezTo>
                  <a:cubicBezTo>
                    <a:pt x="22" y="28"/>
                    <a:pt x="22" y="28"/>
                    <a:pt x="22" y="28"/>
                  </a:cubicBezTo>
                  <a:cubicBezTo>
                    <a:pt x="23" y="31"/>
                    <a:pt x="23" y="31"/>
                    <a:pt x="23" y="31"/>
                  </a:cubicBezTo>
                  <a:cubicBezTo>
                    <a:pt x="21" y="33"/>
                    <a:pt x="21" y="33"/>
                    <a:pt x="21" y="33"/>
                  </a:cubicBezTo>
                  <a:cubicBezTo>
                    <a:pt x="23" y="36"/>
                    <a:pt x="23" y="36"/>
                    <a:pt x="23" y="36"/>
                  </a:cubicBezTo>
                  <a:cubicBezTo>
                    <a:pt x="21" y="39"/>
                    <a:pt x="21" y="39"/>
                    <a:pt x="21" y="39"/>
                  </a:cubicBezTo>
                  <a:cubicBezTo>
                    <a:pt x="24" y="43"/>
                    <a:pt x="24" y="43"/>
                    <a:pt x="24" y="43"/>
                  </a:cubicBezTo>
                  <a:cubicBezTo>
                    <a:pt x="27" y="46"/>
                    <a:pt x="27" y="46"/>
                    <a:pt x="27" y="46"/>
                  </a:cubicBezTo>
                  <a:cubicBezTo>
                    <a:pt x="25" y="48"/>
                    <a:pt x="25" y="48"/>
                    <a:pt x="25" y="48"/>
                  </a:cubicBezTo>
                  <a:cubicBezTo>
                    <a:pt x="24" y="51"/>
                    <a:pt x="24" y="51"/>
                    <a:pt x="24" y="51"/>
                  </a:cubicBezTo>
                  <a:cubicBezTo>
                    <a:pt x="19" y="52"/>
                    <a:pt x="19" y="52"/>
                    <a:pt x="19" y="52"/>
                  </a:cubicBezTo>
                  <a:cubicBezTo>
                    <a:pt x="15" y="52"/>
                    <a:pt x="15" y="52"/>
                    <a:pt x="15" y="52"/>
                  </a:cubicBezTo>
                  <a:cubicBezTo>
                    <a:pt x="13" y="53"/>
                    <a:pt x="13" y="53"/>
                    <a:pt x="13" y="53"/>
                  </a:cubicBezTo>
                  <a:cubicBezTo>
                    <a:pt x="13" y="59"/>
                    <a:pt x="13" y="59"/>
                    <a:pt x="13" y="59"/>
                  </a:cubicBezTo>
                  <a:cubicBezTo>
                    <a:pt x="12" y="60"/>
                    <a:pt x="12" y="60"/>
                    <a:pt x="12" y="60"/>
                  </a:cubicBezTo>
                  <a:cubicBezTo>
                    <a:pt x="13" y="64"/>
                    <a:pt x="13" y="64"/>
                    <a:pt x="13" y="64"/>
                  </a:cubicBezTo>
                  <a:cubicBezTo>
                    <a:pt x="14" y="69"/>
                    <a:pt x="14" y="69"/>
                    <a:pt x="14" y="69"/>
                  </a:cubicBezTo>
                  <a:cubicBezTo>
                    <a:pt x="17" y="73"/>
                    <a:pt x="17" y="73"/>
                    <a:pt x="17" y="73"/>
                  </a:cubicBezTo>
                  <a:cubicBezTo>
                    <a:pt x="17" y="75"/>
                    <a:pt x="17" y="75"/>
                    <a:pt x="17" y="75"/>
                  </a:cubicBezTo>
                  <a:cubicBezTo>
                    <a:pt x="11" y="77"/>
                    <a:pt x="11" y="77"/>
                    <a:pt x="11" y="77"/>
                  </a:cubicBezTo>
                  <a:cubicBezTo>
                    <a:pt x="8" y="80"/>
                    <a:pt x="8" y="80"/>
                    <a:pt x="8" y="80"/>
                  </a:cubicBezTo>
                  <a:cubicBezTo>
                    <a:pt x="3" y="79"/>
                    <a:pt x="3" y="79"/>
                    <a:pt x="3" y="79"/>
                  </a:cubicBezTo>
                  <a:cubicBezTo>
                    <a:pt x="2" y="81"/>
                    <a:pt x="2" y="81"/>
                    <a:pt x="2" y="81"/>
                  </a:cubicBezTo>
                  <a:cubicBezTo>
                    <a:pt x="5" y="83"/>
                    <a:pt x="5" y="83"/>
                    <a:pt x="5" y="83"/>
                  </a:cubicBezTo>
                  <a:cubicBezTo>
                    <a:pt x="6" y="86"/>
                    <a:pt x="6" y="86"/>
                    <a:pt x="6" y="86"/>
                  </a:cubicBezTo>
                  <a:cubicBezTo>
                    <a:pt x="7" y="90"/>
                    <a:pt x="7" y="90"/>
                    <a:pt x="7" y="90"/>
                  </a:cubicBezTo>
                  <a:cubicBezTo>
                    <a:pt x="8" y="98"/>
                    <a:pt x="8" y="98"/>
                    <a:pt x="8" y="98"/>
                  </a:cubicBezTo>
                  <a:cubicBezTo>
                    <a:pt x="7" y="99"/>
                    <a:pt x="7" y="99"/>
                    <a:pt x="7" y="99"/>
                  </a:cubicBezTo>
                  <a:cubicBezTo>
                    <a:pt x="9" y="100"/>
                    <a:pt x="9" y="102"/>
                    <a:pt x="9" y="104"/>
                  </a:cubicBezTo>
                  <a:cubicBezTo>
                    <a:pt x="9" y="107"/>
                    <a:pt x="6" y="109"/>
                    <a:pt x="7" y="112"/>
                  </a:cubicBezTo>
                  <a:cubicBezTo>
                    <a:pt x="7" y="113"/>
                    <a:pt x="8" y="114"/>
                    <a:pt x="9" y="116"/>
                  </a:cubicBezTo>
                  <a:cubicBezTo>
                    <a:pt x="9" y="117"/>
                    <a:pt x="10" y="119"/>
                    <a:pt x="10" y="121"/>
                  </a:cubicBezTo>
                  <a:cubicBezTo>
                    <a:pt x="12" y="124"/>
                    <a:pt x="15" y="126"/>
                    <a:pt x="15" y="130"/>
                  </a:cubicBezTo>
                  <a:cubicBezTo>
                    <a:pt x="15" y="130"/>
                    <a:pt x="15" y="128"/>
                    <a:pt x="16" y="128"/>
                  </a:cubicBezTo>
                  <a:cubicBezTo>
                    <a:pt x="17" y="127"/>
                    <a:pt x="17" y="130"/>
                    <a:pt x="17" y="130"/>
                  </a:cubicBezTo>
                  <a:cubicBezTo>
                    <a:pt x="17" y="133"/>
                    <a:pt x="16" y="135"/>
                    <a:pt x="17" y="138"/>
                  </a:cubicBezTo>
                  <a:cubicBezTo>
                    <a:pt x="17" y="139"/>
                    <a:pt x="18" y="139"/>
                    <a:pt x="17" y="141"/>
                  </a:cubicBezTo>
                  <a:cubicBezTo>
                    <a:pt x="17" y="142"/>
                    <a:pt x="16" y="142"/>
                    <a:pt x="16" y="143"/>
                  </a:cubicBezTo>
                  <a:cubicBezTo>
                    <a:pt x="16" y="145"/>
                    <a:pt x="17" y="145"/>
                    <a:pt x="17" y="147"/>
                  </a:cubicBezTo>
                  <a:cubicBezTo>
                    <a:pt x="18" y="148"/>
                    <a:pt x="17" y="150"/>
                    <a:pt x="17" y="151"/>
                  </a:cubicBezTo>
                  <a:cubicBezTo>
                    <a:pt x="16" y="154"/>
                    <a:pt x="15" y="156"/>
                    <a:pt x="15" y="158"/>
                  </a:cubicBezTo>
                  <a:cubicBezTo>
                    <a:pt x="15" y="161"/>
                    <a:pt x="14" y="163"/>
                    <a:pt x="14" y="166"/>
                  </a:cubicBezTo>
                  <a:cubicBezTo>
                    <a:pt x="13" y="169"/>
                    <a:pt x="11" y="170"/>
                    <a:pt x="10" y="172"/>
                  </a:cubicBezTo>
                  <a:cubicBezTo>
                    <a:pt x="9" y="174"/>
                    <a:pt x="9" y="175"/>
                    <a:pt x="9" y="177"/>
                  </a:cubicBezTo>
                  <a:cubicBezTo>
                    <a:pt x="9" y="178"/>
                    <a:pt x="9" y="179"/>
                    <a:pt x="9" y="180"/>
                  </a:cubicBezTo>
                  <a:cubicBezTo>
                    <a:pt x="10" y="181"/>
                    <a:pt x="10" y="182"/>
                    <a:pt x="10" y="182"/>
                  </a:cubicBezTo>
                  <a:cubicBezTo>
                    <a:pt x="11" y="184"/>
                    <a:pt x="10" y="186"/>
                    <a:pt x="10" y="187"/>
                  </a:cubicBezTo>
                  <a:cubicBezTo>
                    <a:pt x="9" y="188"/>
                    <a:pt x="8" y="188"/>
                    <a:pt x="8" y="188"/>
                  </a:cubicBezTo>
                  <a:cubicBezTo>
                    <a:pt x="8" y="189"/>
                    <a:pt x="8" y="190"/>
                    <a:pt x="8" y="190"/>
                  </a:cubicBezTo>
                  <a:cubicBezTo>
                    <a:pt x="8" y="192"/>
                    <a:pt x="8" y="194"/>
                    <a:pt x="7" y="195"/>
                  </a:cubicBezTo>
                  <a:cubicBezTo>
                    <a:pt x="6" y="196"/>
                    <a:pt x="4" y="195"/>
                    <a:pt x="3" y="197"/>
                  </a:cubicBezTo>
                  <a:cubicBezTo>
                    <a:pt x="2" y="198"/>
                    <a:pt x="3" y="200"/>
                    <a:pt x="2" y="201"/>
                  </a:cubicBezTo>
                  <a:cubicBezTo>
                    <a:pt x="2" y="203"/>
                    <a:pt x="1" y="205"/>
                    <a:pt x="1" y="206"/>
                  </a:cubicBezTo>
                  <a:cubicBezTo>
                    <a:pt x="0" y="208"/>
                    <a:pt x="0" y="210"/>
                    <a:pt x="0" y="213"/>
                  </a:cubicBezTo>
                  <a:cubicBezTo>
                    <a:pt x="1" y="216"/>
                    <a:pt x="3" y="217"/>
                    <a:pt x="5" y="220"/>
                  </a:cubicBezTo>
                  <a:cubicBezTo>
                    <a:pt x="6" y="223"/>
                    <a:pt x="5" y="226"/>
                    <a:pt x="8" y="227"/>
                  </a:cubicBezTo>
                  <a:cubicBezTo>
                    <a:pt x="8" y="225"/>
                    <a:pt x="8" y="224"/>
                    <a:pt x="9" y="223"/>
                  </a:cubicBezTo>
                  <a:cubicBezTo>
                    <a:pt x="11" y="223"/>
                    <a:pt x="12" y="229"/>
                    <a:pt x="12" y="229"/>
                  </a:cubicBezTo>
                  <a:cubicBezTo>
                    <a:pt x="12" y="229"/>
                    <a:pt x="13" y="229"/>
                    <a:pt x="13" y="229"/>
                  </a:cubicBezTo>
                  <a:cubicBezTo>
                    <a:pt x="14" y="229"/>
                    <a:pt x="14" y="229"/>
                    <a:pt x="14" y="228"/>
                  </a:cubicBezTo>
                  <a:cubicBezTo>
                    <a:pt x="14" y="227"/>
                    <a:pt x="14" y="227"/>
                    <a:pt x="15" y="227"/>
                  </a:cubicBezTo>
                  <a:cubicBezTo>
                    <a:pt x="16" y="227"/>
                    <a:pt x="16" y="227"/>
                    <a:pt x="17" y="227"/>
                  </a:cubicBezTo>
                  <a:cubicBezTo>
                    <a:pt x="18" y="228"/>
                    <a:pt x="18" y="230"/>
                    <a:pt x="19" y="231"/>
                  </a:cubicBezTo>
                  <a:cubicBezTo>
                    <a:pt x="20" y="233"/>
                    <a:pt x="21" y="232"/>
                    <a:pt x="23" y="232"/>
                  </a:cubicBezTo>
                  <a:cubicBezTo>
                    <a:pt x="25" y="232"/>
                    <a:pt x="26" y="233"/>
                    <a:pt x="28" y="232"/>
                  </a:cubicBezTo>
                  <a:cubicBezTo>
                    <a:pt x="28" y="231"/>
                    <a:pt x="29" y="231"/>
                    <a:pt x="29" y="231"/>
                  </a:cubicBezTo>
                  <a:cubicBezTo>
                    <a:pt x="30" y="231"/>
                    <a:pt x="30" y="231"/>
                    <a:pt x="30" y="230"/>
                  </a:cubicBezTo>
                  <a:cubicBezTo>
                    <a:pt x="31" y="229"/>
                    <a:pt x="29" y="229"/>
                    <a:pt x="30" y="228"/>
                  </a:cubicBezTo>
                  <a:cubicBezTo>
                    <a:pt x="30" y="227"/>
                    <a:pt x="32" y="226"/>
                    <a:pt x="33" y="226"/>
                  </a:cubicBezTo>
                  <a:cubicBezTo>
                    <a:pt x="33" y="225"/>
                    <a:pt x="34" y="223"/>
                    <a:pt x="36" y="223"/>
                  </a:cubicBezTo>
                  <a:cubicBezTo>
                    <a:pt x="37" y="222"/>
                    <a:pt x="39" y="224"/>
                    <a:pt x="40" y="224"/>
                  </a:cubicBezTo>
                  <a:cubicBezTo>
                    <a:pt x="42" y="225"/>
                    <a:pt x="44" y="225"/>
                    <a:pt x="45" y="225"/>
                  </a:cubicBezTo>
                  <a:cubicBezTo>
                    <a:pt x="49" y="225"/>
                    <a:pt x="52" y="224"/>
                    <a:pt x="55" y="222"/>
                  </a:cubicBezTo>
                  <a:cubicBezTo>
                    <a:pt x="58" y="221"/>
                    <a:pt x="60" y="220"/>
                    <a:pt x="63" y="222"/>
                  </a:cubicBezTo>
                  <a:cubicBezTo>
                    <a:pt x="64" y="224"/>
                    <a:pt x="65" y="226"/>
                    <a:pt x="66" y="227"/>
                  </a:cubicBezTo>
                  <a:cubicBezTo>
                    <a:pt x="68" y="227"/>
                    <a:pt x="67" y="222"/>
                    <a:pt x="67" y="221"/>
                  </a:cubicBezTo>
                  <a:cubicBezTo>
                    <a:pt x="67" y="219"/>
                    <a:pt x="66" y="217"/>
                    <a:pt x="65" y="216"/>
                  </a:cubicBezTo>
                  <a:cubicBezTo>
                    <a:pt x="65" y="214"/>
                    <a:pt x="65" y="212"/>
                    <a:pt x="64" y="211"/>
                  </a:cubicBezTo>
                  <a:cubicBezTo>
                    <a:pt x="63" y="210"/>
                    <a:pt x="62" y="210"/>
                    <a:pt x="62" y="209"/>
                  </a:cubicBezTo>
                  <a:cubicBezTo>
                    <a:pt x="61" y="208"/>
                    <a:pt x="61" y="208"/>
                    <a:pt x="61" y="207"/>
                  </a:cubicBezTo>
                  <a:cubicBezTo>
                    <a:pt x="60" y="207"/>
                    <a:pt x="60" y="206"/>
                    <a:pt x="59" y="206"/>
                  </a:cubicBezTo>
                  <a:cubicBezTo>
                    <a:pt x="59" y="205"/>
                    <a:pt x="58" y="204"/>
                    <a:pt x="58" y="203"/>
                  </a:cubicBezTo>
                  <a:cubicBezTo>
                    <a:pt x="57" y="202"/>
                    <a:pt x="56" y="200"/>
                    <a:pt x="56" y="199"/>
                  </a:cubicBezTo>
                  <a:cubicBezTo>
                    <a:pt x="56" y="198"/>
                    <a:pt x="57" y="197"/>
                    <a:pt x="57" y="196"/>
                  </a:cubicBezTo>
                  <a:cubicBezTo>
                    <a:pt x="57" y="194"/>
                    <a:pt x="58" y="193"/>
                    <a:pt x="58" y="192"/>
                  </a:cubicBezTo>
                  <a:cubicBezTo>
                    <a:pt x="58" y="189"/>
                    <a:pt x="57" y="186"/>
                    <a:pt x="58" y="183"/>
                  </a:cubicBezTo>
                  <a:cubicBezTo>
                    <a:pt x="58" y="182"/>
                    <a:pt x="59" y="181"/>
                    <a:pt x="60" y="181"/>
                  </a:cubicBezTo>
                  <a:cubicBezTo>
                    <a:pt x="61" y="180"/>
                    <a:pt x="62" y="180"/>
                    <a:pt x="63" y="180"/>
                  </a:cubicBezTo>
                  <a:cubicBezTo>
                    <a:pt x="63" y="179"/>
                    <a:pt x="63" y="177"/>
                    <a:pt x="63" y="176"/>
                  </a:cubicBezTo>
                  <a:cubicBezTo>
                    <a:pt x="63" y="175"/>
                    <a:pt x="62" y="174"/>
                    <a:pt x="63" y="174"/>
                  </a:cubicBezTo>
                  <a:cubicBezTo>
                    <a:pt x="64" y="173"/>
                    <a:pt x="64" y="172"/>
                    <a:pt x="64" y="172"/>
                  </a:cubicBezTo>
                  <a:cubicBezTo>
                    <a:pt x="66" y="170"/>
                    <a:pt x="66" y="169"/>
                    <a:pt x="66" y="167"/>
                  </a:cubicBezTo>
                  <a:cubicBezTo>
                    <a:pt x="66" y="167"/>
                    <a:pt x="66" y="167"/>
                    <a:pt x="65" y="166"/>
                  </a:cubicBezTo>
                  <a:cubicBezTo>
                    <a:pt x="64" y="165"/>
                    <a:pt x="64" y="166"/>
                    <a:pt x="64" y="165"/>
                  </a:cubicBezTo>
                  <a:cubicBezTo>
                    <a:pt x="63" y="163"/>
                    <a:pt x="64" y="161"/>
                    <a:pt x="64" y="159"/>
                  </a:cubicBezTo>
                  <a:cubicBezTo>
                    <a:pt x="63" y="158"/>
                    <a:pt x="63" y="157"/>
                    <a:pt x="63" y="157"/>
                  </a:cubicBezTo>
                  <a:cubicBezTo>
                    <a:pt x="63" y="156"/>
                    <a:pt x="62" y="156"/>
                    <a:pt x="62" y="156"/>
                  </a:cubicBezTo>
                  <a:cubicBezTo>
                    <a:pt x="60" y="154"/>
                    <a:pt x="63" y="151"/>
                    <a:pt x="63" y="149"/>
                  </a:cubicBezTo>
                  <a:cubicBezTo>
                    <a:pt x="62" y="148"/>
                    <a:pt x="62" y="147"/>
                    <a:pt x="62" y="146"/>
                  </a:cubicBezTo>
                  <a:cubicBezTo>
                    <a:pt x="62" y="145"/>
                    <a:pt x="62" y="144"/>
                    <a:pt x="62" y="143"/>
                  </a:cubicBezTo>
                  <a:cubicBezTo>
                    <a:pt x="63" y="142"/>
                    <a:pt x="63" y="140"/>
                    <a:pt x="63" y="139"/>
                  </a:cubicBezTo>
                  <a:cubicBezTo>
                    <a:pt x="63" y="138"/>
                    <a:pt x="61" y="138"/>
                    <a:pt x="60" y="137"/>
                  </a:cubicBezTo>
                  <a:cubicBezTo>
                    <a:pt x="58" y="136"/>
                    <a:pt x="61" y="134"/>
                    <a:pt x="61" y="132"/>
                  </a:cubicBezTo>
                  <a:cubicBezTo>
                    <a:pt x="61" y="131"/>
                    <a:pt x="61" y="130"/>
                    <a:pt x="61" y="129"/>
                  </a:cubicBezTo>
                  <a:cubicBezTo>
                    <a:pt x="61" y="128"/>
                    <a:pt x="61" y="127"/>
                    <a:pt x="61" y="126"/>
                  </a:cubicBezTo>
                  <a:cubicBezTo>
                    <a:pt x="60" y="125"/>
                    <a:pt x="60" y="124"/>
                    <a:pt x="60" y="123"/>
                  </a:cubicBezTo>
                  <a:cubicBezTo>
                    <a:pt x="61" y="122"/>
                    <a:pt x="61" y="121"/>
                    <a:pt x="61" y="121"/>
                  </a:cubicBezTo>
                  <a:cubicBezTo>
                    <a:pt x="62" y="120"/>
                    <a:pt x="62" y="119"/>
                    <a:pt x="63" y="118"/>
                  </a:cubicBezTo>
                  <a:cubicBezTo>
                    <a:pt x="64" y="117"/>
                    <a:pt x="64" y="116"/>
                    <a:pt x="65" y="116"/>
                  </a:cubicBezTo>
                  <a:cubicBezTo>
                    <a:pt x="66" y="114"/>
                    <a:pt x="66" y="113"/>
                    <a:pt x="66" y="111"/>
                  </a:cubicBezTo>
                  <a:cubicBezTo>
                    <a:pt x="66" y="110"/>
                    <a:pt x="65" y="109"/>
                    <a:pt x="65" y="108"/>
                  </a:cubicBezTo>
                  <a:cubicBezTo>
                    <a:pt x="65" y="107"/>
                    <a:pt x="65" y="106"/>
                    <a:pt x="65" y="105"/>
                  </a:cubicBezTo>
                  <a:cubicBezTo>
                    <a:pt x="65" y="104"/>
                    <a:pt x="64" y="103"/>
                    <a:pt x="64" y="102"/>
                  </a:cubicBezTo>
                  <a:cubicBezTo>
                    <a:pt x="64" y="101"/>
                    <a:pt x="64" y="101"/>
                    <a:pt x="64" y="100"/>
                  </a:cubicBezTo>
                  <a:cubicBezTo>
                    <a:pt x="64" y="99"/>
                    <a:pt x="63" y="98"/>
                    <a:pt x="63" y="97"/>
                  </a:cubicBezTo>
                  <a:cubicBezTo>
                    <a:pt x="64" y="97"/>
                    <a:pt x="64" y="96"/>
                    <a:pt x="64" y="95"/>
                  </a:cubicBezTo>
                  <a:cubicBezTo>
                    <a:pt x="65" y="93"/>
                    <a:pt x="64" y="90"/>
                    <a:pt x="64" y="88"/>
                  </a:cubicBezTo>
                  <a:cubicBezTo>
                    <a:pt x="64" y="87"/>
                    <a:pt x="64" y="86"/>
                    <a:pt x="64" y="85"/>
                  </a:cubicBezTo>
                  <a:cubicBezTo>
                    <a:pt x="64" y="84"/>
                    <a:pt x="65" y="84"/>
                    <a:pt x="65" y="83"/>
                  </a:cubicBezTo>
                  <a:cubicBezTo>
                    <a:pt x="64" y="83"/>
                    <a:pt x="64" y="83"/>
                    <a:pt x="63" y="82"/>
                  </a:cubicBezTo>
                  <a:cubicBezTo>
                    <a:pt x="63" y="81"/>
                    <a:pt x="62" y="80"/>
                    <a:pt x="61" y="79"/>
                  </a:cubicBezTo>
                  <a:cubicBezTo>
                    <a:pt x="60" y="79"/>
                    <a:pt x="59" y="78"/>
                    <a:pt x="58" y="78"/>
                  </a:cubicBezTo>
                  <a:cubicBezTo>
                    <a:pt x="57" y="77"/>
                    <a:pt x="56" y="77"/>
                    <a:pt x="56" y="77"/>
                  </a:cubicBezTo>
                  <a:cubicBezTo>
                    <a:pt x="55" y="76"/>
                    <a:pt x="56" y="75"/>
                    <a:pt x="56" y="74"/>
                  </a:cubicBezTo>
                  <a:cubicBezTo>
                    <a:pt x="56" y="74"/>
                    <a:pt x="56" y="73"/>
                    <a:pt x="56" y="72"/>
                  </a:cubicBezTo>
                  <a:cubicBezTo>
                    <a:pt x="55" y="70"/>
                    <a:pt x="54" y="70"/>
                    <a:pt x="53" y="69"/>
                  </a:cubicBezTo>
                  <a:cubicBezTo>
                    <a:pt x="52" y="68"/>
                    <a:pt x="52" y="67"/>
                    <a:pt x="52" y="66"/>
                  </a:cubicBezTo>
                  <a:cubicBezTo>
                    <a:pt x="51" y="65"/>
                    <a:pt x="51" y="65"/>
                    <a:pt x="51" y="65"/>
                  </a:cubicBezTo>
                  <a:cubicBezTo>
                    <a:pt x="54" y="64"/>
                    <a:pt x="57" y="63"/>
                    <a:pt x="59" y="61"/>
                  </a:cubicBezTo>
                  <a:cubicBezTo>
                    <a:pt x="60" y="60"/>
                    <a:pt x="61" y="59"/>
                    <a:pt x="62" y="59"/>
                  </a:cubicBezTo>
                  <a:cubicBezTo>
                    <a:pt x="64" y="58"/>
                    <a:pt x="66" y="58"/>
                    <a:pt x="67" y="57"/>
                  </a:cubicBezTo>
                  <a:cubicBezTo>
                    <a:pt x="69" y="56"/>
                    <a:pt x="71" y="53"/>
                    <a:pt x="72" y="52"/>
                  </a:cubicBezTo>
                  <a:cubicBezTo>
                    <a:pt x="73" y="51"/>
                    <a:pt x="73" y="50"/>
                    <a:pt x="74" y="49"/>
                  </a:cubicBezTo>
                  <a:cubicBezTo>
                    <a:pt x="75" y="48"/>
                    <a:pt x="75" y="48"/>
                    <a:pt x="76" y="48"/>
                  </a:cubicBezTo>
                  <a:cubicBezTo>
                    <a:pt x="78" y="48"/>
                    <a:pt x="80" y="46"/>
                    <a:pt x="82" y="46"/>
                  </a:cubicBezTo>
                  <a:cubicBezTo>
                    <a:pt x="83" y="46"/>
                    <a:pt x="83" y="46"/>
                    <a:pt x="84" y="45"/>
                  </a:cubicBezTo>
                  <a:cubicBezTo>
                    <a:pt x="85" y="45"/>
                    <a:pt x="85" y="45"/>
                    <a:pt x="86" y="45"/>
                  </a:cubicBezTo>
                  <a:cubicBezTo>
                    <a:pt x="87" y="45"/>
                    <a:pt x="88" y="45"/>
                    <a:pt x="89" y="44"/>
                  </a:cubicBezTo>
                  <a:cubicBezTo>
                    <a:pt x="89" y="44"/>
                    <a:pt x="90" y="45"/>
                    <a:pt x="90" y="45"/>
                  </a:cubicBezTo>
                  <a:cubicBezTo>
                    <a:pt x="91" y="45"/>
                    <a:pt x="92" y="46"/>
                    <a:pt x="92" y="46"/>
                  </a:cubicBezTo>
                  <a:cubicBezTo>
                    <a:pt x="93" y="46"/>
                    <a:pt x="94" y="46"/>
                    <a:pt x="95" y="46"/>
                  </a:cubicBezTo>
                  <a:cubicBezTo>
                    <a:pt x="95" y="46"/>
                    <a:pt x="96" y="46"/>
                    <a:pt x="96" y="47"/>
                  </a:cubicBezTo>
                  <a:cubicBezTo>
                    <a:pt x="97" y="47"/>
                    <a:pt x="97" y="47"/>
                    <a:pt x="98" y="47"/>
                  </a:cubicBezTo>
                  <a:cubicBezTo>
                    <a:pt x="99" y="48"/>
                    <a:pt x="99" y="48"/>
                    <a:pt x="100" y="47"/>
                  </a:cubicBezTo>
                  <a:cubicBezTo>
                    <a:pt x="101" y="47"/>
                    <a:pt x="103" y="45"/>
                    <a:pt x="103" y="47"/>
                  </a:cubicBezTo>
                  <a:cubicBezTo>
                    <a:pt x="103" y="47"/>
                    <a:pt x="102" y="48"/>
                    <a:pt x="103" y="49"/>
                  </a:cubicBezTo>
                  <a:cubicBezTo>
                    <a:pt x="104" y="49"/>
                    <a:pt x="106" y="50"/>
                    <a:pt x="105" y="51"/>
                  </a:cubicBezTo>
                  <a:cubicBezTo>
                    <a:pt x="105" y="52"/>
                    <a:pt x="104" y="53"/>
                    <a:pt x="103" y="53"/>
                  </a:cubicBezTo>
                  <a:cubicBezTo>
                    <a:pt x="103" y="54"/>
                    <a:pt x="102" y="55"/>
                    <a:pt x="102" y="55"/>
                  </a:cubicBezTo>
                  <a:cubicBezTo>
                    <a:pt x="101" y="55"/>
                    <a:pt x="100" y="55"/>
                    <a:pt x="99" y="56"/>
                  </a:cubicBezTo>
                  <a:cubicBezTo>
                    <a:pt x="99" y="56"/>
                    <a:pt x="99" y="57"/>
                    <a:pt x="99" y="57"/>
                  </a:cubicBezTo>
                  <a:cubicBezTo>
                    <a:pt x="106" y="54"/>
                    <a:pt x="106" y="54"/>
                    <a:pt x="106" y="54"/>
                  </a:cubicBezTo>
                  <a:cubicBezTo>
                    <a:pt x="110" y="56"/>
                    <a:pt x="110" y="56"/>
                    <a:pt x="110" y="56"/>
                  </a:cubicBezTo>
                  <a:cubicBezTo>
                    <a:pt x="113" y="58"/>
                    <a:pt x="113" y="58"/>
                    <a:pt x="113" y="58"/>
                  </a:cubicBezTo>
                  <a:cubicBezTo>
                    <a:pt x="116" y="56"/>
                    <a:pt x="116" y="56"/>
                    <a:pt x="116" y="56"/>
                  </a:cubicBezTo>
                  <a:cubicBezTo>
                    <a:pt x="120" y="55"/>
                    <a:pt x="120" y="55"/>
                    <a:pt x="120" y="55"/>
                  </a:cubicBezTo>
                  <a:cubicBezTo>
                    <a:pt x="123" y="60"/>
                    <a:pt x="123" y="60"/>
                    <a:pt x="123" y="60"/>
                  </a:cubicBezTo>
                  <a:cubicBezTo>
                    <a:pt x="120" y="64"/>
                    <a:pt x="120" y="64"/>
                    <a:pt x="120" y="64"/>
                  </a:cubicBezTo>
                  <a:cubicBezTo>
                    <a:pt x="124" y="67"/>
                    <a:pt x="124" y="67"/>
                    <a:pt x="124" y="67"/>
                  </a:cubicBezTo>
                  <a:cubicBezTo>
                    <a:pt x="129" y="68"/>
                    <a:pt x="129" y="68"/>
                    <a:pt x="129" y="68"/>
                  </a:cubicBezTo>
                  <a:cubicBezTo>
                    <a:pt x="133" y="65"/>
                    <a:pt x="133" y="65"/>
                    <a:pt x="133" y="65"/>
                  </a:cubicBezTo>
                  <a:cubicBezTo>
                    <a:pt x="136" y="61"/>
                    <a:pt x="136" y="61"/>
                    <a:pt x="136" y="61"/>
                  </a:cubicBezTo>
                  <a:cubicBezTo>
                    <a:pt x="141" y="61"/>
                    <a:pt x="141" y="61"/>
                    <a:pt x="141" y="61"/>
                  </a:cubicBezTo>
                  <a:cubicBezTo>
                    <a:pt x="141" y="61"/>
                    <a:pt x="141" y="61"/>
                    <a:pt x="141" y="61"/>
                  </a:cubicBezTo>
                  <a:cubicBezTo>
                    <a:pt x="142" y="58"/>
                    <a:pt x="142" y="58"/>
                    <a:pt x="142" y="58"/>
                  </a:cubicBezTo>
                  <a:lnTo>
                    <a:pt x="144" y="5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8" name="Freeform 29">
              <a:extLst>
                <a:ext uri="{FF2B5EF4-FFF2-40B4-BE49-F238E27FC236}">
                  <a16:creationId xmlns:a16="http://schemas.microsoft.com/office/drawing/2014/main" id="{BA8AFB0F-FFBD-1CA0-7477-37D1400D0828}"/>
                </a:ext>
              </a:extLst>
            </p:cNvPr>
            <p:cNvSpPr>
              <a:spLocks noEditPoints="1"/>
            </p:cNvSpPr>
            <p:nvPr/>
          </p:nvSpPr>
          <p:spPr bwMode="auto">
            <a:xfrm>
              <a:off x="5154613" y="4132263"/>
              <a:ext cx="514350" cy="666750"/>
            </a:xfrm>
            <a:custGeom>
              <a:avLst/>
              <a:gdLst>
                <a:gd name="T0" fmla="*/ 102 w 135"/>
                <a:gd name="T1" fmla="*/ 143 h 175"/>
                <a:gd name="T2" fmla="*/ 106 w 135"/>
                <a:gd name="T3" fmla="*/ 129 h 175"/>
                <a:gd name="T4" fmla="*/ 114 w 135"/>
                <a:gd name="T5" fmla="*/ 118 h 175"/>
                <a:gd name="T6" fmla="*/ 116 w 135"/>
                <a:gd name="T7" fmla="*/ 126 h 175"/>
                <a:gd name="T8" fmla="*/ 118 w 135"/>
                <a:gd name="T9" fmla="*/ 138 h 175"/>
                <a:gd name="T10" fmla="*/ 119 w 135"/>
                <a:gd name="T11" fmla="*/ 150 h 175"/>
                <a:gd name="T12" fmla="*/ 120 w 135"/>
                <a:gd name="T13" fmla="*/ 156 h 175"/>
                <a:gd name="T14" fmla="*/ 116 w 135"/>
                <a:gd name="T15" fmla="*/ 160 h 175"/>
                <a:gd name="T16" fmla="*/ 108 w 135"/>
                <a:gd name="T17" fmla="*/ 166 h 175"/>
                <a:gd name="T18" fmla="*/ 104 w 135"/>
                <a:gd name="T19" fmla="*/ 163 h 175"/>
                <a:gd name="T20" fmla="*/ 123 w 135"/>
                <a:gd name="T21" fmla="*/ 141 h 175"/>
                <a:gd name="T22" fmla="*/ 127 w 135"/>
                <a:gd name="T23" fmla="*/ 126 h 175"/>
                <a:gd name="T24" fmla="*/ 121 w 135"/>
                <a:gd name="T25" fmla="*/ 135 h 175"/>
                <a:gd name="T26" fmla="*/ 115 w 135"/>
                <a:gd name="T27" fmla="*/ 61 h 175"/>
                <a:gd name="T28" fmla="*/ 92 w 135"/>
                <a:gd name="T29" fmla="*/ 65 h 175"/>
                <a:gd name="T30" fmla="*/ 89 w 135"/>
                <a:gd name="T31" fmla="*/ 49 h 175"/>
                <a:gd name="T32" fmla="*/ 85 w 135"/>
                <a:gd name="T33" fmla="*/ 40 h 175"/>
                <a:gd name="T34" fmla="*/ 84 w 135"/>
                <a:gd name="T35" fmla="*/ 29 h 175"/>
                <a:gd name="T36" fmla="*/ 81 w 135"/>
                <a:gd name="T37" fmla="*/ 21 h 175"/>
                <a:gd name="T38" fmla="*/ 85 w 135"/>
                <a:gd name="T39" fmla="*/ 2 h 175"/>
                <a:gd name="T40" fmla="*/ 65 w 135"/>
                <a:gd name="T41" fmla="*/ 7 h 175"/>
                <a:gd name="T42" fmla="*/ 65 w 135"/>
                <a:gd name="T43" fmla="*/ 37 h 175"/>
                <a:gd name="T44" fmla="*/ 60 w 135"/>
                <a:gd name="T45" fmla="*/ 46 h 175"/>
                <a:gd name="T46" fmla="*/ 39 w 135"/>
                <a:gd name="T47" fmla="*/ 67 h 175"/>
                <a:gd name="T48" fmla="*/ 25 w 135"/>
                <a:gd name="T49" fmla="*/ 85 h 175"/>
                <a:gd name="T50" fmla="*/ 16 w 135"/>
                <a:gd name="T51" fmla="*/ 95 h 175"/>
                <a:gd name="T52" fmla="*/ 10 w 135"/>
                <a:gd name="T53" fmla="*/ 104 h 175"/>
                <a:gd name="T54" fmla="*/ 2 w 135"/>
                <a:gd name="T55" fmla="*/ 118 h 175"/>
                <a:gd name="T56" fmla="*/ 8 w 135"/>
                <a:gd name="T57" fmla="*/ 133 h 175"/>
                <a:gd name="T58" fmla="*/ 10 w 135"/>
                <a:gd name="T59" fmla="*/ 120 h 175"/>
                <a:gd name="T60" fmla="*/ 11 w 135"/>
                <a:gd name="T61" fmla="*/ 133 h 175"/>
                <a:gd name="T62" fmla="*/ 16 w 135"/>
                <a:gd name="T63" fmla="*/ 153 h 175"/>
                <a:gd name="T64" fmla="*/ 18 w 135"/>
                <a:gd name="T65" fmla="*/ 175 h 175"/>
                <a:gd name="T66" fmla="*/ 36 w 135"/>
                <a:gd name="T67" fmla="*/ 166 h 175"/>
                <a:gd name="T68" fmla="*/ 63 w 135"/>
                <a:gd name="T69" fmla="*/ 155 h 175"/>
                <a:gd name="T70" fmla="*/ 98 w 135"/>
                <a:gd name="T71" fmla="*/ 140 h 175"/>
                <a:gd name="T72" fmla="*/ 105 w 135"/>
                <a:gd name="T73" fmla="*/ 122 h 175"/>
                <a:gd name="T74" fmla="*/ 110 w 135"/>
                <a:gd name="T75" fmla="*/ 113 h 175"/>
                <a:gd name="T76" fmla="*/ 114 w 135"/>
                <a:gd name="T77" fmla="*/ 111 h 175"/>
                <a:gd name="T78" fmla="*/ 112 w 135"/>
                <a:gd name="T79" fmla="*/ 105 h 175"/>
                <a:gd name="T80" fmla="*/ 107 w 135"/>
                <a:gd name="T81" fmla="*/ 102 h 175"/>
                <a:gd name="T82" fmla="*/ 110 w 135"/>
                <a:gd name="T83" fmla="*/ 96 h 175"/>
                <a:gd name="T84" fmla="*/ 114 w 135"/>
                <a:gd name="T85" fmla="*/ 102 h 175"/>
                <a:gd name="T86" fmla="*/ 123 w 135"/>
                <a:gd name="T87" fmla="*/ 89 h 175"/>
                <a:gd name="T88" fmla="*/ 123 w 135"/>
                <a:gd name="T89" fmla="*/ 76 h 175"/>
                <a:gd name="T90" fmla="*/ 119 w 135"/>
                <a:gd name="T91" fmla="*/ 78 h 175"/>
                <a:gd name="T92" fmla="*/ 121 w 135"/>
                <a:gd name="T93" fmla="*/ 75 h 175"/>
                <a:gd name="T94" fmla="*/ 125 w 135"/>
                <a:gd name="T95" fmla="*/ 73 h 175"/>
                <a:gd name="T96" fmla="*/ 129 w 135"/>
                <a:gd name="T97" fmla="*/ 72 h 175"/>
                <a:gd name="T98" fmla="*/ 133 w 135"/>
                <a:gd name="T99" fmla="*/ 75 h 175"/>
                <a:gd name="T100" fmla="*/ 135 w 135"/>
                <a:gd name="T101" fmla="*/ 6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 h="175">
                  <a:moveTo>
                    <a:pt x="105" y="153"/>
                  </a:moveTo>
                  <a:cubicBezTo>
                    <a:pt x="105" y="152"/>
                    <a:pt x="105" y="151"/>
                    <a:pt x="105" y="150"/>
                  </a:cubicBezTo>
                  <a:cubicBezTo>
                    <a:pt x="104" y="149"/>
                    <a:pt x="103" y="148"/>
                    <a:pt x="103" y="147"/>
                  </a:cubicBezTo>
                  <a:cubicBezTo>
                    <a:pt x="102" y="145"/>
                    <a:pt x="102" y="144"/>
                    <a:pt x="102" y="143"/>
                  </a:cubicBezTo>
                  <a:cubicBezTo>
                    <a:pt x="101" y="142"/>
                    <a:pt x="101" y="142"/>
                    <a:pt x="101" y="141"/>
                  </a:cubicBezTo>
                  <a:cubicBezTo>
                    <a:pt x="102" y="141"/>
                    <a:pt x="102" y="140"/>
                    <a:pt x="103" y="140"/>
                  </a:cubicBezTo>
                  <a:cubicBezTo>
                    <a:pt x="104" y="138"/>
                    <a:pt x="103" y="135"/>
                    <a:pt x="104" y="133"/>
                  </a:cubicBezTo>
                  <a:cubicBezTo>
                    <a:pt x="104" y="131"/>
                    <a:pt x="105" y="130"/>
                    <a:pt x="106" y="129"/>
                  </a:cubicBezTo>
                  <a:cubicBezTo>
                    <a:pt x="107" y="127"/>
                    <a:pt x="108" y="125"/>
                    <a:pt x="108" y="123"/>
                  </a:cubicBezTo>
                  <a:cubicBezTo>
                    <a:pt x="109" y="122"/>
                    <a:pt x="108" y="122"/>
                    <a:pt x="109" y="121"/>
                  </a:cubicBezTo>
                  <a:cubicBezTo>
                    <a:pt x="110" y="120"/>
                    <a:pt x="111" y="120"/>
                    <a:pt x="112" y="120"/>
                  </a:cubicBezTo>
                  <a:cubicBezTo>
                    <a:pt x="113" y="119"/>
                    <a:pt x="113" y="118"/>
                    <a:pt x="114" y="118"/>
                  </a:cubicBezTo>
                  <a:cubicBezTo>
                    <a:pt x="115" y="117"/>
                    <a:pt x="116" y="116"/>
                    <a:pt x="117" y="116"/>
                  </a:cubicBezTo>
                  <a:cubicBezTo>
                    <a:pt x="117" y="117"/>
                    <a:pt x="117" y="118"/>
                    <a:pt x="117" y="119"/>
                  </a:cubicBezTo>
                  <a:cubicBezTo>
                    <a:pt x="117" y="120"/>
                    <a:pt x="117" y="122"/>
                    <a:pt x="116" y="123"/>
                  </a:cubicBezTo>
                  <a:cubicBezTo>
                    <a:pt x="116" y="124"/>
                    <a:pt x="116" y="125"/>
                    <a:pt x="116" y="126"/>
                  </a:cubicBezTo>
                  <a:cubicBezTo>
                    <a:pt x="116" y="128"/>
                    <a:pt x="118" y="128"/>
                    <a:pt x="119" y="129"/>
                  </a:cubicBezTo>
                  <a:cubicBezTo>
                    <a:pt x="120" y="130"/>
                    <a:pt x="121" y="130"/>
                    <a:pt x="121" y="132"/>
                  </a:cubicBezTo>
                  <a:cubicBezTo>
                    <a:pt x="120" y="133"/>
                    <a:pt x="119" y="133"/>
                    <a:pt x="118" y="134"/>
                  </a:cubicBezTo>
                  <a:cubicBezTo>
                    <a:pt x="116" y="135"/>
                    <a:pt x="118" y="136"/>
                    <a:pt x="118" y="138"/>
                  </a:cubicBezTo>
                  <a:cubicBezTo>
                    <a:pt x="119" y="140"/>
                    <a:pt x="118" y="143"/>
                    <a:pt x="119" y="146"/>
                  </a:cubicBezTo>
                  <a:cubicBezTo>
                    <a:pt x="119" y="146"/>
                    <a:pt x="119" y="147"/>
                    <a:pt x="120" y="147"/>
                  </a:cubicBezTo>
                  <a:cubicBezTo>
                    <a:pt x="120" y="147"/>
                    <a:pt x="121" y="147"/>
                    <a:pt x="121" y="147"/>
                  </a:cubicBezTo>
                  <a:cubicBezTo>
                    <a:pt x="122" y="148"/>
                    <a:pt x="120" y="150"/>
                    <a:pt x="119" y="150"/>
                  </a:cubicBezTo>
                  <a:cubicBezTo>
                    <a:pt x="118" y="151"/>
                    <a:pt x="117" y="152"/>
                    <a:pt x="117" y="153"/>
                  </a:cubicBezTo>
                  <a:cubicBezTo>
                    <a:pt x="118" y="154"/>
                    <a:pt x="119" y="152"/>
                    <a:pt x="119" y="153"/>
                  </a:cubicBezTo>
                  <a:cubicBezTo>
                    <a:pt x="120" y="154"/>
                    <a:pt x="119" y="154"/>
                    <a:pt x="119" y="155"/>
                  </a:cubicBezTo>
                  <a:cubicBezTo>
                    <a:pt x="119" y="155"/>
                    <a:pt x="120" y="156"/>
                    <a:pt x="120" y="156"/>
                  </a:cubicBezTo>
                  <a:cubicBezTo>
                    <a:pt x="120" y="157"/>
                    <a:pt x="120" y="158"/>
                    <a:pt x="120" y="158"/>
                  </a:cubicBezTo>
                  <a:cubicBezTo>
                    <a:pt x="119" y="159"/>
                    <a:pt x="119" y="159"/>
                    <a:pt x="118" y="159"/>
                  </a:cubicBezTo>
                  <a:cubicBezTo>
                    <a:pt x="117" y="159"/>
                    <a:pt x="117" y="159"/>
                    <a:pt x="116" y="160"/>
                  </a:cubicBezTo>
                  <a:cubicBezTo>
                    <a:pt x="116" y="160"/>
                    <a:pt x="116" y="160"/>
                    <a:pt x="116" y="160"/>
                  </a:cubicBezTo>
                  <a:cubicBezTo>
                    <a:pt x="114" y="160"/>
                    <a:pt x="114" y="160"/>
                    <a:pt x="114" y="160"/>
                  </a:cubicBezTo>
                  <a:cubicBezTo>
                    <a:pt x="113" y="161"/>
                    <a:pt x="113" y="163"/>
                    <a:pt x="112" y="164"/>
                  </a:cubicBezTo>
                  <a:cubicBezTo>
                    <a:pt x="112" y="165"/>
                    <a:pt x="110" y="165"/>
                    <a:pt x="110" y="166"/>
                  </a:cubicBezTo>
                  <a:cubicBezTo>
                    <a:pt x="109" y="166"/>
                    <a:pt x="108" y="166"/>
                    <a:pt x="108" y="166"/>
                  </a:cubicBezTo>
                  <a:cubicBezTo>
                    <a:pt x="107" y="167"/>
                    <a:pt x="107" y="167"/>
                    <a:pt x="106" y="167"/>
                  </a:cubicBezTo>
                  <a:cubicBezTo>
                    <a:pt x="105" y="167"/>
                    <a:pt x="105" y="166"/>
                    <a:pt x="105" y="166"/>
                  </a:cubicBezTo>
                  <a:cubicBezTo>
                    <a:pt x="104" y="166"/>
                    <a:pt x="103" y="166"/>
                    <a:pt x="103" y="166"/>
                  </a:cubicBezTo>
                  <a:cubicBezTo>
                    <a:pt x="102" y="165"/>
                    <a:pt x="104" y="164"/>
                    <a:pt x="104" y="163"/>
                  </a:cubicBezTo>
                  <a:cubicBezTo>
                    <a:pt x="105" y="162"/>
                    <a:pt x="105" y="161"/>
                    <a:pt x="105" y="159"/>
                  </a:cubicBezTo>
                  <a:cubicBezTo>
                    <a:pt x="105" y="158"/>
                    <a:pt x="104" y="157"/>
                    <a:pt x="104" y="156"/>
                  </a:cubicBezTo>
                  <a:cubicBezTo>
                    <a:pt x="104" y="155"/>
                    <a:pt x="105" y="155"/>
                    <a:pt x="105" y="153"/>
                  </a:cubicBezTo>
                  <a:close/>
                  <a:moveTo>
                    <a:pt x="123" y="141"/>
                  </a:moveTo>
                  <a:cubicBezTo>
                    <a:pt x="125" y="141"/>
                    <a:pt x="125" y="139"/>
                    <a:pt x="125" y="138"/>
                  </a:cubicBezTo>
                  <a:cubicBezTo>
                    <a:pt x="125" y="136"/>
                    <a:pt x="126" y="135"/>
                    <a:pt x="126" y="133"/>
                  </a:cubicBezTo>
                  <a:cubicBezTo>
                    <a:pt x="126" y="132"/>
                    <a:pt x="126" y="130"/>
                    <a:pt x="127" y="129"/>
                  </a:cubicBezTo>
                  <a:cubicBezTo>
                    <a:pt x="127" y="128"/>
                    <a:pt x="127" y="127"/>
                    <a:pt x="127" y="126"/>
                  </a:cubicBezTo>
                  <a:cubicBezTo>
                    <a:pt x="126" y="124"/>
                    <a:pt x="125" y="126"/>
                    <a:pt x="125" y="127"/>
                  </a:cubicBezTo>
                  <a:cubicBezTo>
                    <a:pt x="125" y="128"/>
                    <a:pt x="124" y="128"/>
                    <a:pt x="123" y="129"/>
                  </a:cubicBezTo>
                  <a:cubicBezTo>
                    <a:pt x="122" y="130"/>
                    <a:pt x="122" y="131"/>
                    <a:pt x="122" y="132"/>
                  </a:cubicBezTo>
                  <a:cubicBezTo>
                    <a:pt x="122" y="133"/>
                    <a:pt x="121" y="134"/>
                    <a:pt x="121" y="135"/>
                  </a:cubicBezTo>
                  <a:cubicBezTo>
                    <a:pt x="120" y="136"/>
                    <a:pt x="121" y="136"/>
                    <a:pt x="121" y="137"/>
                  </a:cubicBezTo>
                  <a:cubicBezTo>
                    <a:pt x="122" y="138"/>
                    <a:pt x="122" y="141"/>
                    <a:pt x="123" y="141"/>
                  </a:cubicBezTo>
                  <a:close/>
                  <a:moveTo>
                    <a:pt x="120" y="63"/>
                  </a:moveTo>
                  <a:cubicBezTo>
                    <a:pt x="115" y="61"/>
                    <a:pt x="115" y="61"/>
                    <a:pt x="115" y="61"/>
                  </a:cubicBezTo>
                  <a:cubicBezTo>
                    <a:pt x="108" y="61"/>
                    <a:pt x="108" y="61"/>
                    <a:pt x="108" y="61"/>
                  </a:cubicBezTo>
                  <a:cubicBezTo>
                    <a:pt x="99" y="60"/>
                    <a:pt x="99" y="60"/>
                    <a:pt x="99" y="60"/>
                  </a:cubicBezTo>
                  <a:cubicBezTo>
                    <a:pt x="96" y="61"/>
                    <a:pt x="96" y="61"/>
                    <a:pt x="96" y="61"/>
                  </a:cubicBezTo>
                  <a:cubicBezTo>
                    <a:pt x="92" y="65"/>
                    <a:pt x="92" y="65"/>
                    <a:pt x="92" y="65"/>
                  </a:cubicBezTo>
                  <a:cubicBezTo>
                    <a:pt x="90" y="60"/>
                    <a:pt x="90" y="60"/>
                    <a:pt x="90" y="60"/>
                  </a:cubicBezTo>
                  <a:cubicBezTo>
                    <a:pt x="91" y="58"/>
                    <a:pt x="91" y="58"/>
                    <a:pt x="91" y="58"/>
                  </a:cubicBezTo>
                  <a:cubicBezTo>
                    <a:pt x="89" y="54"/>
                    <a:pt x="89" y="54"/>
                    <a:pt x="89" y="54"/>
                  </a:cubicBezTo>
                  <a:cubicBezTo>
                    <a:pt x="89" y="49"/>
                    <a:pt x="89" y="49"/>
                    <a:pt x="89" y="49"/>
                  </a:cubicBezTo>
                  <a:cubicBezTo>
                    <a:pt x="91" y="46"/>
                    <a:pt x="91" y="46"/>
                    <a:pt x="91" y="46"/>
                  </a:cubicBezTo>
                  <a:cubicBezTo>
                    <a:pt x="88" y="44"/>
                    <a:pt x="88" y="44"/>
                    <a:pt x="88" y="44"/>
                  </a:cubicBezTo>
                  <a:cubicBezTo>
                    <a:pt x="84" y="43"/>
                    <a:pt x="84" y="43"/>
                    <a:pt x="84" y="43"/>
                  </a:cubicBezTo>
                  <a:cubicBezTo>
                    <a:pt x="85" y="40"/>
                    <a:pt x="85" y="40"/>
                    <a:pt x="85" y="40"/>
                  </a:cubicBezTo>
                  <a:cubicBezTo>
                    <a:pt x="82" y="39"/>
                    <a:pt x="82" y="39"/>
                    <a:pt x="82" y="39"/>
                  </a:cubicBezTo>
                  <a:cubicBezTo>
                    <a:pt x="85" y="36"/>
                    <a:pt x="85" y="36"/>
                    <a:pt x="85" y="36"/>
                  </a:cubicBezTo>
                  <a:cubicBezTo>
                    <a:pt x="84" y="31"/>
                    <a:pt x="84" y="31"/>
                    <a:pt x="84" y="31"/>
                  </a:cubicBezTo>
                  <a:cubicBezTo>
                    <a:pt x="84" y="29"/>
                    <a:pt x="84" y="29"/>
                    <a:pt x="84" y="29"/>
                  </a:cubicBezTo>
                  <a:cubicBezTo>
                    <a:pt x="81" y="28"/>
                    <a:pt x="81" y="28"/>
                    <a:pt x="81" y="28"/>
                  </a:cubicBezTo>
                  <a:cubicBezTo>
                    <a:pt x="81" y="25"/>
                    <a:pt x="81" y="25"/>
                    <a:pt x="81" y="25"/>
                  </a:cubicBezTo>
                  <a:cubicBezTo>
                    <a:pt x="81" y="23"/>
                    <a:pt x="81" y="23"/>
                    <a:pt x="81" y="23"/>
                  </a:cubicBezTo>
                  <a:cubicBezTo>
                    <a:pt x="81" y="21"/>
                    <a:pt x="81" y="21"/>
                    <a:pt x="81" y="21"/>
                  </a:cubicBezTo>
                  <a:cubicBezTo>
                    <a:pt x="78" y="16"/>
                    <a:pt x="78" y="16"/>
                    <a:pt x="78" y="16"/>
                  </a:cubicBezTo>
                  <a:cubicBezTo>
                    <a:pt x="79" y="13"/>
                    <a:pt x="79" y="13"/>
                    <a:pt x="79" y="13"/>
                  </a:cubicBezTo>
                  <a:cubicBezTo>
                    <a:pt x="80" y="8"/>
                    <a:pt x="80" y="8"/>
                    <a:pt x="80" y="8"/>
                  </a:cubicBezTo>
                  <a:cubicBezTo>
                    <a:pt x="85" y="2"/>
                    <a:pt x="85" y="2"/>
                    <a:pt x="85" y="2"/>
                  </a:cubicBezTo>
                  <a:cubicBezTo>
                    <a:pt x="86" y="0"/>
                    <a:pt x="86" y="0"/>
                    <a:pt x="86" y="0"/>
                  </a:cubicBezTo>
                  <a:cubicBezTo>
                    <a:pt x="80" y="1"/>
                    <a:pt x="80" y="1"/>
                    <a:pt x="80" y="1"/>
                  </a:cubicBezTo>
                  <a:cubicBezTo>
                    <a:pt x="73" y="4"/>
                    <a:pt x="73" y="4"/>
                    <a:pt x="73" y="4"/>
                  </a:cubicBezTo>
                  <a:cubicBezTo>
                    <a:pt x="65" y="7"/>
                    <a:pt x="65" y="7"/>
                    <a:pt x="65" y="7"/>
                  </a:cubicBezTo>
                  <a:cubicBezTo>
                    <a:pt x="59" y="30"/>
                    <a:pt x="59" y="30"/>
                    <a:pt x="59" y="30"/>
                  </a:cubicBezTo>
                  <a:cubicBezTo>
                    <a:pt x="59" y="35"/>
                    <a:pt x="59" y="35"/>
                    <a:pt x="59" y="35"/>
                  </a:cubicBezTo>
                  <a:cubicBezTo>
                    <a:pt x="65" y="35"/>
                    <a:pt x="65" y="35"/>
                    <a:pt x="65" y="35"/>
                  </a:cubicBezTo>
                  <a:cubicBezTo>
                    <a:pt x="65" y="37"/>
                    <a:pt x="65" y="37"/>
                    <a:pt x="65" y="37"/>
                  </a:cubicBezTo>
                  <a:cubicBezTo>
                    <a:pt x="65" y="39"/>
                    <a:pt x="65" y="39"/>
                    <a:pt x="65" y="39"/>
                  </a:cubicBezTo>
                  <a:cubicBezTo>
                    <a:pt x="63" y="42"/>
                    <a:pt x="63" y="42"/>
                    <a:pt x="63" y="42"/>
                  </a:cubicBezTo>
                  <a:cubicBezTo>
                    <a:pt x="64" y="44"/>
                    <a:pt x="64" y="44"/>
                    <a:pt x="64" y="44"/>
                  </a:cubicBezTo>
                  <a:cubicBezTo>
                    <a:pt x="60" y="46"/>
                    <a:pt x="60" y="46"/>
                    <a:pt x="60" y="46"/>
                  </a:cubicBezTo>
                  <a:cubicBezTo>
                    <a:pt x="58" y="50"/>
                    <a:pt x="58" y="50"/>
                    <a:pt x="58" y="50"/>
                  </a:cubicBezTo>
                  <a:cubicBezTo>
                    <a:pt x="57" y="55"/>
                    <a:pt x="57" y="55"/>
                    <a:pt x="57" y="55"/>
                  </a:cubicBezTo>
                  <a:cubicBezTo>
                    <a:pt x="54" y="55"/>
                    <a:pt x="54" y="55"/>
                    <a:pt x="54" y="55"/>
                  </a:cubicBezTo>
                  <a:cubicBezTo>
                    <a:pt x="39" y="67"/>
                    <a:pt x="39" y="67"/>
                    <a:pt x="39" y="67"/>
                  </a:cubicBezTo>
                  <a:cubicBezTo>
                    <a:pt x="36" y="68"/>
                    <a:pt x="36" y="68"/>
                    <a:pt x="36" y="68"/>
                  </a:cubicBezTo>
                  <a:cubicBezTo>
                    <a:pt x="27" y="78"/>
                    <a:pt x="27" y="78"/>
                    <a:pt x="27" y="78"/>
                  </a:cubicBezTo>
                  <a:cubicBezTo>
                    <a:pt x="27" y="83"/>
                    <a:pt x="27" y="83"/>
                    <a:pt x="27" y="83"/>
                  </a:cubicBezTo>
                  <a:cubicBezTo>
                    <a:pt x="25" y="85"/>
                    <a:pt x="25" y="85"/>
                    <a:pt x="25" y="85"/>
                  </a:cubicBezTo>
                  <a:cubicBezTo>
                    <a:pt x="21" y="87"/>
                    <a:pt x="21" y="87"/>
                    <a:pt x="21" y="87"/>
                  </a:cubicBezTo>
                  <a:cubicBezTo>
                    <a:pt x="20" y="89"/>
                    <a:pt x="20" y="89"/>
                    <a:pt x="20" y="89"/>
                  </a:cubicBezTo>
                  <a:cubicBezTo>
                    <a:pt x="15" y="91"/>
                    <a:pt x="15" y="91"/>
                    <a:pt x="15" y="91"/>
                  </a:cubicBezTo>
                  <a:cubicBezTo>
                    <a:pt x="16" y="95"/>
                    <a:pt x="16" y="95"/>
                    <a:pt x="16" y="95"/>
                  </a:cubicBezTo>
                  <a:cubicBezTo>
                    <a:pt x="13" y="95"/>
                    <a:pt x="13" y="95"/>
                    <a:pt x="13" y="95"/>
                  </a:cubicBezTo>
                  <a:cubicBezTo>
                    <a:pt x="11" y="97"/>
                    <a:pt x="11" y="97"/>
                    <a:pt x="11" y="97"/>
                  </a:cubicBezTo>
                  <a:cubicBezTo>
                    <a:pt x="11" y="101"/>
                    <a:pt x="11" y="101"/>
                    <a:pt x="11" y="101"/>
                  </a:cubicBezTo>
                  <a:cubicBezTo>
                    <a:pt x="10" y="104"/>
                    <a:pt x="10" y="104"/>
                    <a:pt x="10" y="104"/>
                  </a:cubicBezTo>
                  <a:cubicBezTo>
                    <a:pt x="11" y="108"/>
                    <a:pt x="11" y="108"/>
                    <a:pt x="11" y="108"/>
                  </a:cubicBezTo>
                  <a:cubicBezTo>
                    <a:pt x="5" y="113"/>
                    <a:pt x="5" y="113"/>
                    <a:pt x="5" y="113"/>
                  </a:cubicBezTo>
                  <a:cubicBezTo>
                    <a:pt x="5" y="117"/>
                    <a:pt x="5" y="117"/>
                    <a:pt x="5" y="117"/>
                  </a:cubicBezTo>
                  <a:cubicBezTo>
                    <a:pt x="2" y="118"/>
                    <a:pt x="2" y="118"/>
                    <a:pt x="2" y="118"/>
                  </a:cubicBezTo>
                  <a:cubicBezTo>
                    <a:pt x="1" y="123"/>
                    <a:pt x="1" y="123"/>
                    <a:pt x="1" y="123"/>
                  </a:cubicBezTo>
                  <a:cubicBezTo>
                    <a:pt x="0" y="129"/>
                    <a:pt x="0" y="129"/>
                    <a:pt x="0" y="129"/>
                  </a:cubicBezTo>
                  <a:cubicBezTo>
                    <a:pt x="1" y="130"/>
                    <a:pt x="2" y="131"/>
                    <a:pt x="3" y="132"/>
                  </a:cubicBezTo>
                  <a:cubicBezTo>
                    <a:pt x="4" y="133"/>
                    <a:pt x="7" y="135"/>
                    <a:pt x="8" y="133"/>
                  </a:cubicBezTo>
                  <a:cubicBezTo>
                    <a:pt x="8" y="133"/>
                    <a:pt x="8" y="131"/>
                    <a:pt x="8" y="131"/>
                  </a:cubicBezTo>
                  <a:cubicBezTo>
                    <a:pt x="8" y="130"/>
                    <a:pt x="8" y="129"/>
                    <a:pt x="8" y="128"/>
                  </a:cubicBezTo>
                  <a:cubicBezTo>
                    <a:pt x="8" y="127"/>
                    <a:pt x="9" y="126"/>
                    <a:pt x="9" y="124"/>
                  </a:cubicBezTo>
                  <a:cubicBezTo>
                    <a:pt x="10" y="123"/>
                    <a:pt x="10" y="122"/>
                    <a:pt x="10" y="120"/>
                  </a:cubicBezTo>
                  <a:cubicBezTo>
                    <a:pt x="11" y="120"/>
                    <a:pt x="12" y="118"/>
                    <a:pt x="13" y="118"/>
                  </a:cubicBezTo>
                  <a:cubicBezTo>
                    <a:pt x="14" y="119"/>
                    <a:pt x="12" y="121"/>
                    <a:pt x="12" y="122"/>
                  </a:cubicBezTo>
                  <a:cubicBezTo>
                    <a:pt x="12" y="123"/>
                    <a:pt x="11" y="124"/>
                    <a:pt x="11" y="126"/>
                  </a:cubicBezTo>
                  <a:cubicBezTo>
                    <a:pt x="10" y="128"/>
                    <a:pt x="11" y="131"/>
                    <a:pt x="11" y="133"/>
                  </a:cubicBezTo>
                  <a:cubicBezTo>
                    <a:pt x="11" y="135"/>
                    <a:pt x="11" y="136"/>
                    <a:pt x="12" y="137"/>
                  </a:cubicBezTo>
                  <a:cubicBezTo>
                    <a:pt x="13" y="137"/>
                    <a:pt x="14" y="138"/>
                    <a:pt x="15" y="139"/>
                  </a:cubicBezTo>
                  <a:cubicBezTo>
                    <a:pt x="17" y="141"/>
                    <a:pt x="17" y="144"/>
                    <a:pt x="17" y="147"/>
                  </a:cubicBezTo>
                  <a:cubicBezTo>
                    <a:pt x="16" y="149"/>
                    <a:pt x="16" y="151"/>
                    <a:pt x="16" y="153"/>
                  </a:cubicBezTo>
                  <a:cubicBezTo>
                    <a:pt x="15" y="155"/>
                    <a:pt x="16" y="158"/>
                    <a:pt x="17" y="161"/>
                  </a:cubicBezTo>
                  <a:cubicBezTo>
                    <a:pt x="17" y="163"/>
                    <a:pt x="17" y="165"/>
                    <a:pt x="17" y="167"/>
                  </a:cubicBezTo>
                  <a:cubicBezTo>
                    <a:pt x="18" y="169"/>
                    <a:pt x="18" y="170"/>
                    <a:pt x="18" y="172"/>
                  </a:cubicBezTo>
                  <a:cubicBezTo>
                    <a:pt x="18" y="173"/>
                    <a:pt x="17" y="174"/>
                    <a:pt x="18" y="175"/>
                  </a:cubicBezTo>
                  <a:cubicBezTo>
                    <a:pt x="18" y="175"/>
                    <a:pt x="19" y="175"/>
                    <a:pt x="19" y="175"/>
                  </a:cubicBezTo>
                  <a:cubicBezTo>
                    <a:pt x="21" y="175"/>
                    <a:pt x="22" y="174"/>
                    <a:pt x="23" y="173"/>
                  </a:cubicBezTo>
                  <a:cubicBezTo>
                    <a:pt x="25" y="172"/>
                    <a:pt x="27" y="171"/>
                    <a:pt x="29" y="169"/>
                  </a:cubicBezTo>
                  <a:cubicBezTo>
                    <a:pt x="31" y="168"/>
                    <a:pt x="33" y="167"/>
                    <a:pt x="36" y="166"/>
                  </a:cubicBezTo>
                  <a:cubicBezTo>
                    <a:pt x="37" y="166"/>
                    <a:pt x="39" y="165"/>
                    <a:pt x="41" y="164"/>
                  </a:cubicBezTo>
                  <a:cubicBezTo>
                    <a:pt x="44" y="163"/>
                    <a:pt x="47" y="161"/>
                    <a:pt x="51" y="160"/>
                  </a:cubicBezTo>
                  <a:cubicBezTo>
                    <a:pt x="53" y="159"/>
                    <a:pt x="56" y="159"/>
                    <a:pt x="58" y="157"/>
                  </a:cubicBezTo>
                  <a:cubicBezTo>
                    <a:pt x="59" y="156"/>
                    <a:pt x="62" y="155"/>
                    <a:pt x="63" y="155"/>
                  </a:cubicBezTo>
                  <a:cubicBezTo>
                    <a:pt x="65" y="153"/>
                    <a:pt x="67" y="152"/>
                    <a:pt x="70" y="151"/>
                  </a:cubicBezTo>
                  <a:cubicBezTo>
                    <a:pt x="75" y="150"/>
                    <a:pt x="80" y="149"/>
                    <a:pt x="84" y="146"/>
                  </a:cubicBezTo>
                  <a:cubicBezTo>
                    <a:pt x="87" y="144"/>
                    <a:pt x="90" y="141"/>
                    <a:pt x="94" y="140"/>
                  </a:cubicBezTo>
                  <a:cubicBezTo>
                    <a:pt x="95" y="140"/>
                    <a:pt x="97" y="140"/>
                    <a:pt x="98" y="140"/>
                  </a:cubicBezTo>
                  <a:cubicBezTo>
                    <a:pt x="99" y="140"/>
                    <a:pt x="100" y="139"/>
                    <a:pt x="100" y="138"/>
                  </a:cubicBezTo>
                  <a:cubicBezTo>
                    <a:pt x="100" y="137"/>
                    <a:pt x="100" y="136"/>
                    <a:pt x="100" y="134"/>
                  </a:cubicBezTo>
                  <a:cubicBezTo>
                    <a:pt x="101" y="133"/>
                    <a:pt x="101" y="131"/>
                    <a:pt x="101" y="130"/>
                  </a:cubicBezTo>
                  <a:cubicBezTo>
                    <a:pt x="102" y="127"/>
                    <a:pt x="103" y="125"/>
                    <a:pt x="105" y="122"/>
                  </a:cubicBezTo>
                  <a:cubicBezTo>
                    <a:pt x="106" y="120"/>
                    <a:pt x="108" y="119"/>
                    <a:pt x="110" y="118"/>
                  </a:cubicBezTo>
                  <a:cubicBezTo>
                    <a:pt x="111" y="118"/>
                    <a:pt x="111" y="118"/>
                    <a:pt x="112" y="117"/>
                  </a:cubicBezTo>
                  <a:cubicBezTo>
                    <a:pt x="112" y="116"/>
                    <a:pt x="112" y="116"/>
                    <a:pt x="111" y="115"/>
                  </a:cubicBezTo>
                  <a:cubicBezTo>
                    <a:pt x="111" y="114"/>
                    <a:pt x="111" y="113"/>
                    <a:pt x="110" y="113"/>
                  </a:cubicBezTo>
                  <a:cubicBezTo>
                    <a:pt x="109" y="112"/>
                    <a:pt x="109" y="112"/>
                    <a:pt x="108" y="112"/>
                  </a:cubicBezTo>
                  <a:cubicBezTo>
                    <a:pt x="107" y="112"/>
                    <a:pt x="107" y="112"/>
                    <a:pt x="106" y="112"/>
                  </a:cubicBezTo>
                  <a:cubicBezTo>
                    <a:pt x="107" y="110"/>
                    <a:pt x="110" y="111"/>
                    <a:pt x="112" y="111"/>
                  </a:cubicBezTo>
                  <a:cubicBezTo>
                    <a:pt x="113" y="112"/>
                    <a:pt x="113" y="111"/>
                    <a:pt x="114" y="111"/>
                  </a:cubicBezTo>
                  <a:cubicBezTo>
                    <a:pt x="115" y="110"/>
                    <a:pt x="116" y="111"/>
                    <a:pt x="117" y="110"/>
                  </a:cubicBezTo>
                  <a:cubicBezTo>
                    <a:pt x="117" y="109"/>
                    <a:pt x="116" y="109"/>
                    <a:pt x="116" y="109"/>
                  </a:cubicBezTo>
                  <a:cubicBezTo>
                    <a:pt x="115" y="109"/>
                    <a:pt x="114" y="108"/>
                    <a:pt x="113" y="107"/>
                  </a:cubicBezTo>
                  <a:cubicBezTo>
                    <a:pt x="112" y="107"/>
                    <a:pt x="112" y="106"/>
                    <a:pt x="112" y="105"/>
                  </a:cubicBezTo>
                  <a:cubicBezTo>
                    <a:pt x="111" y="105"/>
                    <a:pt x="112" y="104"/>
                    <a:pt x="111" y="103"/>
                  </a:cubicBezTo>
                  <a:cubicBezTo>
                    <a:pt x="111" y="103"/>
                    <a:pt x="111" y="103"/>
                    <a:pt x="111" y="103"/>
                  </a:cubicBezTo>
                  <a:cubicBezTo>
                    <a:pt x="110" y="102"/>
                    <a:pt x="110" y="101"/>
                    <a:pt x="109" y="101"/>
                  </a:cubicBezTo>
                  <a:cubicBezTo>
                    <a:pt x="108" y="101"/>
                    <a:pt x="107" y="103"/>
                    <a:pt x="107" y="102"/>
                  </a:cubicBezTo>
                  <a:cubicBezTo>
                    <a:pt x="107" y="100"/>
                    <a:pt x="108" y="101"/>
                    <a:pt x="107" y="100"/>
                  </a:cubicBezTo>
                  <a:cubicBezTo>
                    <a:pt x="106" y="98"/>
                    <a:pt x="108" y="98"/>
                    <a:pt x="108" y="97"/>
                  </a:cubicBezTo>
                  <a:cubicBezTo>
                    <a:pt x="109" y="95"/>
                    <a:pt x="106" y="91"/>
                    <a:pt x="109" y="91"/>
                  </a:cubicBezTo>
                  <a:cubicBezTo>
                    <a:pt x="110" y="92"/>
                    <a:pt x="110" y="95"/>
                    <a:pt x="110" y="96"/>
                  </a:cubicBezTo>
                  <a:cubicBezTo>
                    <a:pt x="110" y="97"/>
                    <a:pt x="110" y="98"/>
                    <a:pt x="111" y="98"/>
                  </a:cubicBezTo>
                  <a:cubicBezTo>
                    <a:pt x="111" y="99"/>
                    <a:pt x="111" y="99"/>
                    <a:pt x="112" y="99"/>
                  </a:cubicBezTo>
                  <a:cubicBezTo>
                    <a:pt x="112" y="99"/>
                    <a:pt x="112" y="99"/>
                    <a:pt x="112" y="98"/>
                  </a:cubicBezTo>
                  <a:cubicBezTo>
                    <a:pt x="114" y="98"/>
                    <a:pt x="114" y="101"/>
                    <a:pt x="114" y="102"/>
                  </a:cubicBezTo>
                  <a:cubicBezTo>
                    <a:pt x="114" y="103"/>
                    <a:pt x="116" y="103"/>
                    <a:pt x="117" y="102"/>
                  </a:cubicBezTo>
                  <a:cubicBezTo>
                    <a:pt x="119" y="101"/>
                    <a:pt x="121" y="98"/>
                    <a:pt x="122" y="96"/>
                  </a:cubicBezTo>
                  <a:cubicBezTo>
                    <a:pt x="122" y="95"/>
                    <a:pt x="123" y="94"/>
                    <a:pt x="123" y="93"/>
                  </a:cubicBezTo>
                  <a:cubicBezTo>
                    <a:pt x="123" y="91"/>
                    <a:pt x="123" y="90"/>
                    <a:pt x="123" y="89"/>
                  </a:cubicBezTo>
                  <a:cubicBezTo>
                    <a:pt x="122" y="86"/>
                    <a:pt x="123" y="84"/>
                    <a:pt x="124" y="81"/>
                  </a:cubicBezTo>
                  <a:cubicBezTo>
                    <a:pt x="125" y="80"/>
                    <a:pt x="126" y="79"/>
                    <a:pt x="125" y="77"/>
                  </a:cubicBezTo>
                  <a:cubicBezTo>
                    <a:pt x="125" y="76"/>
                    <a:pt x="124" y="77"/>
                    <a:pt x="124" y="76"/>
                  </a:cubicBezTo>
                  <a:cubicBezTo>
                    <a:pt x="123" y="76"/>
                    <a:pt x="123" y="76"/>
                    <a:pt x="123" y="76"/>
                  </a:cubicBezTo>
                  <a:cubicBezTo>
                    <a:pt x="122" y="76"/>
                    <a:pt x="122" y="76"/>
                    <a:pt x="122" y="76"/>
                  </a:cubicBezTo>
                  <a:cubicBezTo>
                    <a:pt x="121" y="76"/>
                    <a:pt x="121" y="76"/>
                    <a:pt x="121" y="77"/>
                  </a:cubicBezTo>
                  <a:cubicBezTo>
                    <a:pt x="121" y="78"/>
                    <a:pt x="120" y="78"/>
                    <a:pt x="120" y="78"/>
                  </a:cubicBezTo>
                  <a:cubicBezTo>
                    <a:pt x="119" y="78"/>
                    <a:pt x="119" y="78"/>
                    <a:pt x="119" y="78"/>
                  </a:cubicBezTo>
                  <a:cubicBezTo>
                    <a:pt x="120" y="78"/>
                    <a:pt x="120" y="78"/>
                    <a:pt x="120" y="78"/>
                  </a:cubicBezTo>
                  <a:cubicBezTo>
                    <a:pt x="120" y="77"/>
                    <a:pt x="120" y="77"/>
                    <a:pt x="120" y="77"/>
                  </a:cubicBezTo>
                  <a:cubicBezTo>
                    <a:pt x="120" y="77"/>
                    <a:pt x="120" y="76"/>
                    <a:pt x="120" y="76"/>
                  </a:cubicBezTo>
                  <a:cubicBezTo>
                    <a:pt x="120" y="76"/>
                    <a:pt x="120" y="75"/>
                    <a:pt x="121" y="75"/>
                  </a:cubicBezTo>
                  <a:cubicBezTo>
                    <a:pt x="121" y="74"/>
                    <a:pt x="121" y="74"/>
                    <a:pt x="121" y="74"/>
                  </a:cubicBezTo>
                  <a:cubicBezTo>
                    <a:pt x="122" y="73"/>
                    <a:pt x="122" y="73"/>
                    <a:pt x="122" y="73"/>
                  </a:cubicBezTo>
                  <a:cubicBezTo>
                    <a:pt x="122" y="73"/>
                    <a:pt x="123" y="73"/>
                    <a:pt x="123" y="73"/>
                  </a:cubicBezTo>
                  <a:cubicBezTo>
                    <a:pt x="124" y="73"/>
                    <a:pt x="124" y="73"/>
                    <a:pt x="125" y="73"/>
                  </a:cubicBezTo>
                  <a:cubicBezTo>
                    <a:pt x="126" y="73"/>
                    <a:pt x="126" y="73"/>
                    <a:pt x="126" y="73"/>
                  </a:cubicBezTo>
                  <a:cubicBezTo>
                    <a:pt x="126" y="73"/>
                    <a:pt x="126" y="72"/>
                    <a:pt x="127" y="72"/>
                  </a:cubicBezTo>
                  <a:cubicBezTo>
                    <a:pt x="128" y="72"/>
                    <a:pt x="128" y="72"/>
                    <a:pt x="128" y="72"/>
                  </a:cubicBezTo>
                  <a:cubicBezTo>
                    <a:pt x="129" y="72"/>
                    <a:pt x="129" y="72"/>
                    <a:pt x="129" y="72"/>
                  </a:cubicBezTo>
                  <a:cubicBezTo>
                    <a:pt x="130" y="73"/>
                    <a:pt x="130" y="74"/>
                    <a:pt x="130" y="74"/>
                  </a:cubicBezTo>
                  <a:cubicBezTo>
                    <a:pt x="130" y="75"/>
                    <a:pt x="130" y="76"/>
                    <a:pt x="130" y="76"/>
                  </a:cubicBezTo>
                  <a:cubicBezTo>
                    <a:pt x="132" y="76"/>
                    <a:pt x="132" y="76"/>
                    <a:pt x="132" y="76"/>
                  </a:cubicBezTo>
                  <a:cubicBezTo>
                    <a:pt x="132" y="76"/>
                    <a:pt x="132" y="75"/>
                    <a:pt x="133" y="75"/>
                  </a:cubicBezTo>
                  <a:cubicBezTo>
                    <a:pt x="133" y="74"/>
                    <a:pt x="133" y="74"/>
                    <a:pt x="133" y="74"/>
                  </a:cubicBezTo>
                  <a:cubicBezTo>
                    <a:pt x="133" y="73"/>
                    <a:pt x="133" y="72"/>
                    <a:pt x="133" y="71"/>
                  </a:cubicBezTo>
                  <a:cubicBezTo>
                    <a:pt x="134" y="70"/>
                    <a:pt x="134" y="69"/>
                    <a:pt x="134" y="68"/>
                  </a:cubicBezTo>
                  <a:cubicBezTo>
                    <a:pt x="135" y="67"/>
                    <a:pt x="135" y="67"/>
                    <a:pt x="135" y="66"/>
                  </a:cubicBezTo>
                  <a:cubicBezTo>
                    <a:pt x="127" y="64"/>
                    <a:pt x="127" y="64"/>
                    <a:pt x="127" y="64"/>
                  </a:cubicBezTo>
                  <a:lnTo>
                    <a:pt x="120" y="63"/>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9" name="Freeform 31">
              <a:extLst>
                <a:ext uri="{FF2B5EF4-FFF2-40B4-BE49-F238E27FC236}">
                  <a16:creationId xmlns:a16="http://schemas.microsoft.com/office/drawing/2014/main" id="{3D4D13F0-6FD9-A3FF-A45D-2B5F028F54AD}"/>
                </a:ext>
              </a:extLst>
            </p:cNvPr>
            <p:cNvSpPr>
              <a:spLocks noEditPoints="1"/>
            </p:cNvSpPr>
            <p:nvPr/>
          </p:nvSpPr>
          <p:spPr bwMode="auto">
            <a:xfrm>
              <a:off x="2619375" y="2844800"/>
              <a:ext cx="1249363" cy="1139825"/>
            </a:xfrm>
            <a:custGeom>
              <a:avLst/>
              <a:gdLst>
                <a:gd name="T0" fmla="*/ 37 w 328"/>
                <a:gd name="T1" fmla="*/ 281 h 299"/>
                <a:gd name="T2" fmla="*/ 46 w 328"/>
                <a:gd name="T3" fmla="*/ 279 h 299"/>
                <a:gd name="T4" fmla="*/ 45 w 328"/>
                <a:gd name="T5" fmla="*/ 296 h 299"/>
                <a:gd name="T6" fmla="*/ 40 w 328"/>
                <a:gd name="T7" fmla="*/ 276 h 299"/>
                <a:gd name="T8" fmla="*/ 60 w 328"/>
                <a:gd name="T9" fmla="*/ 265 h 299"/>
                <a:gd name="T10" fmla="*/ 54 w 328"/>
                <a:gd name="T11" fmla="*/ 259 h 299"/>
                <a:gd name="T12" fmla="*/ 47 w 328"/>
                <a:gd name="T13" fmla="*/ 266 h 299"/>
                <a:gd name="T14" fmla="*/ 48 w 328"/>
                <a:gd name="T15" fmla="*/ 275 h 299"/>
                <a:gd name="T16" fmla="*/ 61 w 328"/>
                <a:gd name="T17" fmla="*/ 271 h 299"/>
                <a:gd name="T18" fmla="*/ 70 w 328"/>
                <a:gd name="T19" fmla="*/ 277 h 299"/>
                <a:gd name="T20" fmla="*/ 72 w 328"/>
                <a:gd name="T21" fmla="*/ 271 h 299"/>
                <a:gd name="T22" fmla="*/ 47 w 328"/>
                <a:gd name="T23" fmla="*/ 243 h 299"/>
                <a:gd name="T24" fmla="*/ 59 w 328"/>
                <a:gd name="T25" fmla="*/ 256 h 299"/>
                <a:gd name="T26" fmla="*/ 48 w 328"/>
                <a:gd name="T27" fmla="*/ 243 h 299"/>
                <a:gd name="T28" fmla="*/ 40 w 328"/>
                <a:gd name="T29" fmla="*/ 248 h 299"/>
                <a:gd name="T30" fmla="*/ 45 w 328"/>
                <a:gd name="T31" fmla="*/ 256 h 299"/>
                <a:gd name="T32" fmla="*/ 37 w 328"/>
                <a:gd name="T33" fmla="*/ 236 h 299"/>
                <a:gd name="T34" fmla="*/ 49 w 328"/>
                <a:gd name="T35" fmla="*/ 235 h 299"/>
                <a:gd name="T36" fmla="*/ 5 w 328"/>
                <a:gd name="T37" fmla="*/ 212 h 299"/>
                <a:gd name="T38" fmla="*/ 1 w 328"/>
                <a:gd name="T39" fmla="*/ 207 h 299"/>
                <a:gd name="T40" fmla="*/ 7 w 328"/>
                <a:gd name="T41" fmla="*/ 204 h 299"/>
                <a:gd name="T42" fmla="*/ 3 w 328"/>
                <a:gd name="T43" fmla="*/ 196 h 299"/>
                <a:gd name="T44" fmla="*/ 14 w 328"/>
                <a:gd name="T45" fmla="*/ 198 h 299"/>
                <a:gd name="T46" fmla="*/ 7 w 328"/>
                <a:gd name="T47" fmla="*/ 197 h 299"/>
                <a:gd name="T48" fmla="*/ 22 w 328"/>
                <a:gd name="T49" fmla="*/ 196 h 299"/>
                <a:gd name="T50" fmla="*/ 24 w 328"/>
                <a:gd name="T51" fmla="*/ 186 h 299"/>
                <a:gd name="T52" fmla="*/ 17 w 328"/>
                <a:gd name="T53" fmla="*/ 188 h 299"/>
                <a:gd name="T54" fmla="*/ 26 w 328"/>
                <a:gd name="T55" fmla="*/ 207 h 299"/>
                <a:gd name="T56" fmla="*/ 33 w 328"/>
                <a:gd name="T57" fmla="*/ 215 h 299"/>
                <a:gd name="T58" fmla="*/ 29 w 328"/>
                <a:gd name="T59" fmla="*/ 209 h 299"/>
                <a:gd name="T60" fmla="*/ 27 w 328"/>
                <a:gd name="T61" fmla="*/ 203 h 299"/>
                <a:gd name="T62" fmla="*/ 26 w 328"/>
                <a:gd name="T63" fmla="*/ 201 h 299"/>
                <a:gd name="T64" fmla="*/ 23 w 328"/>
                <a:gd name="T65" fmla="*/ 204 h 299"/>
                <a:gd name="T66" fmla="*/ 38 w 328"/>
                <a:gd name="T67" fmla="*/ 197 h 299"/>
                <a:gd name="T68" fmla="*/ 45 w 328"/>
                <a:gd name="T69" fmla="*/ 196 h 299"/>
                <a:gd name="T70" fmla="*/ 44 w 328"/>
                <a:gd name="T71" fmla="*/ 202 h 299"/>
                <a:gd name="T72" fmla="*/ 55 w 328"/>
                <a:gd name="T73" fmla="*/ 207 h 299"/>
                <a:gd name="T74" fmla="*/ 59 w 328"/>
                <a:gd name="T75" fmla="*/ 203 h 299"/>
                <a:gd name="T76" fmla="*/ 57 w 328"/>
                <a:gd name="T77" fmla="*/ 202 h 299"/>
                <a:gd name="T78" fmla="*/ 55 w 328"/>
                <a:gd name="T79" fmla="*/ 190 h 299"/>
                <a:gd name="T80" fmla="*/ 50 w 328"/>
                <a:gd name="T81" fmla="*/ 185 h 299"/>
                <a:gd name="T82" fmla="*/ 43 w 328"/>
                <a:gd name="T83" fmla="*/ 185 h 299"/>
                <a:gd name="T84" fmla="*/ 36 w 328"/>
                <a:gd name="T85" fmla="*/ 189 h 299"/>
                <a:gd name="T86" fmla="*/ 67 w 328"/>
                <a:gd name="T87" fmla="*/ 197 h 299"/>
                <a:gd name="T88" fmla="*/ 67 w 328"/>
                <a:gd name="T89" fmla="*/ 197 h 299"/>
                <a:gd name="T90" fmla="*/ 60 w 328"/>
                <a:gd name="T91" fmla="*/ 210 h 299"/>
                <a:gd name="T92" fmla="*/ 54 w 328"/>
                <a:gd name="T93" fmla="*/ 214 h 299"/>
                <a:gd name="T94" fmla="*/ 28 w 328"/>
                <a:gd name="T95" fmla="*/ 92 h 299"/>
                <a:gd name="T96" fmla="*/ 123 w 328"/>
                <a:gd name="T97" fmla="*/ 86 h 299"/>
                <a:gd name="T98" fmla="*/ 127 w 328"/>
                <a:gd name="T99" fmla="*/ 76 h 299"/>
                <a:gd name="T100" fmla="*/ 123 w 328"/>
                <a:gd name="T101" fmla="*/ 86 h 299"/>
                <a:gd name="T102" fmla="*/ 152 w 328"/>
                <a:gd name="T103" fmla="*/ 56 h 299"/>
                <a:gd name="T104" fmla="*/ 156 w 328"/>
                <a:gd name="T105" fmla="*/ 56 h 299"/>
                <a:gd name="T106" fmla="*/ 260 w 328"/>
                <a:gd name="T107" fmla="*/ 18 h 299"/>
                <a:gd name="T108" fmla="*/ 276 w 328"/>
                <a:gd name="T109" fmla="*/ 28 h 299"/>
                <a:gd name="T110" fmla="*/ 271 w 328"/>
                <a:gd name="T111" fmla="*/ 37 h 299"/>
                <a:gd name="T112" fmla="*/ 284 w 328"/>
                <a:gd name="T113" fmla="*/ 22 h 299"/>
                <a:gd name="T114" fmla="*/ 275 w 328"/>
                <a:gd name="T115" fmla="*/ 4 h 299"/>
                <a:gd name="T116" fmla="*/ 259 w 328"/>
                <a:gd name="T117" fmla="*/ 14 h 299"/>
                <a:gd name="T118" fmla="*/ 312 w 328"/>
                <a:gd name="T119" fmla="*/ 75 h 299"/>
                <a:gd name="T120" fmla="*/ 327 w 328"/>
                <a:gd name="T121" fmla="*/ 10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299">
                  <a:moveTo>
                    <a:pt x="34" y="289"/>
                  </a:moveTo>
                  <a:cubicBezTo>
                    <a:pt x="33" y="288"/>
                    <a:pt x="32" y="287"/>
                    <a:pt x="32" y="286"/>
                  </a:cubicBezTo>
                  <a:cubicBezTo>
                    <a:pt x="33" y="286"/>
                    <a:pt x="33" y="285"/>
                    <a:pt x="33" y="285"/>
                  </a:cubicBezTo>
                  <a:cubicBezTo>
                    <a:pt x="33" y="284"/>
                    <a:pt x="33" y="283"/>
                    <a:pt x="34" y="283"/>
                  </a:cubicBezTo>
                  <a:cubicBezTo>
                    <a:pt x="34" y="282"/>
                    <a:pt x="34" y="282"/>
                    <a:pt x="35" y="282"/>
                  </a:cubicBezTo>
                  <a:cubicBezTo>
                    <a:pt x="36" y="281"/>
                    <a:pt x="36" y="281"/>
                    <a:pt x="36" y="281"/>
                  </a:cubicBezTo>
                  <a:cubicBezTo>
                    <a:pt x="36" y="280"/>
                    <a:pt x="36" y="280"/>
                    <a:pt x="36" y="280"/>
                  </a:cubicBezTo>
                  <a:cubicBezTo>
                    <a:pt x="37" y="280"/>
                    <a:pt x="37" y="281"/>
                    <a:pt x="37" y="281"/>
                  </a:cubicBezTo>
                  <a:cubicBezTo>
                    <a:pt x="37" y="282"/>
                    <a:pt x="36" y="282"/>
                    <a:pt x="36" y="283"/>
                  </a:cubicBezTo>
                  <a:cubicBezTo>
                    <a:pt x="36" y="284"/>
                    <a:pt x="36" y="284"/>
                    <a:pt x="37" y="284"/>
                  </a:cubicBezTo>
                  <a:cubicBezTo>
                    <a:pt x="38" y="285"/>
                    <a:pt x="38" y="285"/>
                    <a:pt x="38" y="284"/>
                  </a:cubicBezTo>
                  <a:cubicBezTo>
                    <a:pt x="38" y="283"/>
                    <a:pt x="38" y="282"/>
                    <a:pt x="39" y="283"/>
                  </a:cubicBezTo>
                  <a:cubicBezTo>
                    <a:pt x="40" y="283"/>
                    <a:pt x="40" y="283"/>
                    <a:pt x="41" y="283"/>
                  </a:cubicBezTo>
                  <a:cubicBezTo>
                    <a:pt x="42" y="283"/>
                    <a:pt x="43" y="282"/>
                    <a:pt x="43" y="280"/>
                  </a:cubicBezTo>
                  <a:cubicBezTo>
                    <a:pt x="43" y="280"/>
                    <a:pt x="43" y="279"/>
                    <a:pt x="44" y="279"/>
                  </a:cubicBezTo>
                  <a:cubicBezTo>
                    <a:pt x="44" y="279"/>
                    <a:pt x="45" y="278"/>
                    <a:pt x="46" y="279"/>
                  </a:cubicBezTo>
                  <a:cubicBezTo>
                    <a:pt x="46" y="279"/>
                    <a:pt x="47" y="280"/>
                    <a:pt x="47" y="280"/>
                  </a:cubicBezTo>
                  <a:cubicBezTo>
                    <a:pt x="48" y="280"/>
                    <a:pt x="49" y="281"/>
                    <a:pt x="49" y="281"/>
                  </a:cubicBezTo>
                  <a:cubicBezTo>
                    <a:pt x="50" y="282"/>
                    <a:pt x="51" y="283"/>
                    <a:pt x="51" y="284"/>
                  </a:cubicBezTo>
                  <a:cubicBezTo>
                    <a:pt x="52" y="285"/>
                    <a:pt x="53" y="285"/>
                    <a:pt x="53" y="286"/>
                  </a:cubicBezTo>
                  <a:cubicBezTo>
                    <a:pt x="54" y="287"/>
                    <a:pt x="53" y="287"/>
                    <a:pt x="52" y="288"/>
                  </a:cubicBezTo>
                  <a:cubicBezTo>
                    <a:pt x="51" y="289"/>
                    <a:pt x="50" y="290"/>
                    <a:pt x="49" y="291"/>
                  </a:cubicBezTo>
                  <a:cubicBezTo>
                    <a:pt x="48" y="293"/>
                    <a:pt x="48" y="295"/>
                    <a:pt x="48" y="297"/>
                  </a:cubicBezTo>
                  <a:cubicBezTo>
                    <a:pt x="47" y="297"/>
                    <a:pt x="46" y="297"/>
                    <a:pt x="45" y="296"/>
                  </a:cubicBezTo>
                  <a:cubicBezTo>
                    <a:pt x="44" y="295"/>
                    <a:pt x="43" y="294"/>
                    <a:pt x="42" y="295"/>
                  </a:cubicBezTo>
                  <a:cubicBezTo>
                    <a:pt x="40" y="296"/>
                    <a:pt x="41" y="297"/>
                    <a:pt x="40" y="298"/>
                  </a:cubicBezTo>
                  <a:cubicBezTo>
                    <a:pt x="40" y="299"/>
                    <a:pt x="39" y="299"/>
                    <a:pt x="39" y="299"/>
                  </a:cubicBezTo>
                  <a:cubicBezTo>
                    <a:pt x="38" y="299"/>
                    <a:pt x="38" y="299"/>
                    <a:pt x="38" y="298"/>
                  </a:cubicBezTo>
                  <a:cubicBezTo>
                    <a:pt x="38" y="297"/>
                    <a:pt x="37" y="296"/>
                    <a:pt x="37" y="295"/>
                  </a:cubicBezTo>
                  <a:cubicBezTo>
                    <a:pt x="36" y="294"/>
                    <a:pt x="36" y="292"/>
                    <a:pt x="36" y="291"/>
                  </a:cubicBezTo>
                  <a:cubicBezTo>
                    <a:pt x="36" y="290"/>
                    <a:pt x="34" y="290"/>
                    <a:pt x="34" y="289"/>
                  </a:cubicBezTo>
                  <a:close/>
                  <a:moveTo>
                    <a:pt x="40" y="276"/>
                  </a:moveTo>
                  <a:cubicBezTo>
                    <a:pt x="40" y="277"/>
                    <a:pt x="41" y="277"/>
                    <a:pt x="42" y="277"/>
                  </a:cubicBezTo>
                  <a:cubicBezTo>
                    <a:pt x="43" y="277"/>
                    <a:pt x="43" y="278"/>
                    <a:pt x="44" y="278"/>
                  </a:cubicBezTo>
                  <a:cubicBezTo>
                    <a:pt x="45" y="278"/>
                    <a:pt x="46" y="277"/>
                    <a:pt x="46" y="276"/>
                  </a:cubicBezTo>
                  <a:cubicBezTo>
                    <a:pt x="46" y="275"/>
                    <a:pt x="45" y="276"/>
                    <a:pt x="45" y="276"/>
                  </a:cubicBezTo>
                  <a:cubicBezTo>
                    <a:pt x="44" y="276"/>
                    <a:pt x="43" y="276"/>
                    <a:pt x="42" y="275"/>
                  </a:cubicBezTo>
                  <a:cubicBezTo>
                    <a:pt x="41" y="275"/>
                    <a:pt x="41" y="276"/>
                    <a:pt x="40" y="276"/>
                  </a:cubicBezTo>
                  <a:close/>
                  <a:moveTo>
                    <a:pt x="62" y="267"/>
                  </a:moveTo>
                  <a:cubicBezTo>
                    <a:pt x="61" y="266"/>
                    <a:pt x="61" y="266"/>
                    <a:pt x="60" y="265"/>
                  </a:cubicBezTo>
                  <a:cubicBezTo>
                    <a:pt x="60" y="264"/>
                    <a:pt x="59" y="264"/>
                    <a:pt x="59" y="263"/>
                  </a:cubicBezTo>
                  <a:cubicBezTo>
                    <a:pt x="58" y="263"/>
                    <a:pt x="58" y="263"/>
                    <a:pt x="58" y="263"/>
                  </a:cubicBezTo>
                  <a:cubicBezTo>
                    <a:pt x="57" y="263"/>
                    <a:pt x="57" y="263"/>
                    <a:pt x="57" y="263"/>
                  </a:cubicBezTo>
                  <a:cubicBezTo>
                    <a:pt x="57" y="264"/>
                    <a:pt x="57" y="264"/>
                    <a:pt x="56" y="264"/>
                  </a:cubicBezTo>
                  <a:cubicBezTo>
                    <a:pt x="56" y="263"/>
                    <a:pt x="56" y="263"/>
                    <a:pt x="56" y="263"/>
                  </a:cubicBezTo>
                  <a:cubicBezTo>
                    <a:pt x="55" y="263"/>
                    <a:pt x="56" y="263"/>
                    <a:pt x="56" y="263"/>
                  </a:cubicBezTo>
                  <a:cubicBezTo>
                    <a:pt x="57" y="263"/>
                    <a:pt x="58" y="262"/>
                    <a:pt x="57" y="261"/>
                  </a:cubicBezTo>
                  <a:cubicBezTo>
                    <a:pt x="56" y="260"/>
                    <a:pt x="55" y="259"/>
                    <a:pt x="54" y="259"/>
                  </a:cubicBezTo>
                  <a:cubicBezTo>
                    <a:pt x="53" y="258"/>
                    <a:pt x="52" y="257"/>
                    <a:pt x="52" y="257"/>
                  </a:cubicBezTo>
                  <a:cubicBezTo>
                    <a:pt x="50" y="257"/>
                    <a:pt x="50" y="257"/>
                    <a:pt x="50" y="257"/>
                  </a:cubicBezTo>
                  <a:cubicBezTo>
                    <a:pt x="50" y="258"/>
                    <a:pt x="50" y="258"/>
                    <a:pt x="50" y="258"/>
                  </a:cubicBezTo>
                  <a:cubicBezTo>
                    <a:pt x="50" y="258"/>
                    <a:pt x="48" y="258"/>
                    <a:pt x="48" y="258"/>
                  </a:cubicBezTo>
                  <a:cubicBezTo>
                    <a:pt x="47" y="259"/>
                    <a:pt x="47" y="260"/>
                    <a:pt x="48" y="261"/>
                  </a:cubicBezTo>
                  <a:cubicBezTo>
                    <a:pt x="48" y="261"/>
                    <a:pt x="48" y="262"/>
                    <a:pt x="48" y="263"/>
                  </a:cubicBezTo>
                  <a:cubicBezTo>
                    <a:pt x="48" y="263"/>
                    <a:pt x="48" y="264"/>
                    <a:pt x="48" y="265"/>
                  </a:cubicBezTo>
                  <a:cubicBezTo>
                    <a:pt x="48" y="265"/>
                    <a:pt x="48" y="266"/>
                    <a:pt x="47" y="266"/>
                  </a:cubicBezTo>
                  <a:cubicBezTo>
                    <a:pt x="46" y="266"/>
                    <a:pt x="45" y="267"/>
                    <a:pt x="45" y="268"/>
                  </a:cubicBezTo>
                  <a:cubicBezTo>
                    <a:pt x="45" y="269"/>
                    <a:pt x="45" y="269"/>
                    <a:pt x="44" y="270"/>
                  </a:cubicBezTo>
                  <a:cubicBezTo>
                    <a:pt x="44" y="270"/>
                    <a:pt x="43" y="271"/>
                    <a:pt x="43" y="272"/>
                  </a:cubicBezTo>
                  <a:cubicBezTo>
                    <a:pt x="42" y="273"/>
                    <a:pt x="43" y="273"/>
                    <a:pt x="44" y="273"/>
                  </a:cubicBezTo>
                  <a:cubicBezTo>
                    <a:pt x="45" y="273"/>
                    <a:pt x="46" y="273"/>
                    <a:pt x="46" y="273"/>
                  </a:cubicBezTo>
                  <a:cubicBezTo>
                    <a:pt x="47" y="273"/>
                    <a:pt x="47" y="273"/>
                    <a:pt x="47" y="274"/>
                  </a:cubicBezTo>
                  <a:cubicBezTo>
                    <a:pt x="47" y="274"/>
                    <a:pt x="47" y="274"/>
                    <a:pt x="47" y="274"/>
                  </a:cubicBezTo>
                  <a:cubicBezTo>
                    <a:pt x="47" y="275"/>
                    <a:pt x="47" y="275"/>
                    <a:pt x="48" y="275"/>
                  </a:cubicBezTo>
                  <a:cubicBezTo>
                    <a:pt x="49" y="275"/>
                    <a:pt x="49" y="275"/>
                    <a:pt x="50" y="274"/>
                  </a:cubicBezTo>
                  <a:cubicBezTo>
                    <a:pt x="50" y="274"/>
                    <a:pt x="51" y="273"/>
                    <a:pt x="51" y="273"/>
                  </a:cubicBezTo>
                  <a:cubicBezTo>
                    <a:pt x="52" y="273"/>
                    <a:pt x="53" y="273"/>
                    <a:pt x="53" y="273"/>
                  </a:cubicBezTo>
                  <a:cubicBezTo>
                    <a:pt x="54" y="273"/>
                    <a:pt x="54" y="273"/>
                    <a:pt x="54" y="272"/>
                  </a:cubicBezTo>
                  <a:cubicBezTo>
                    <a:pt x="55" y="272"/>
                    <a:pt x="55" y="272"/>
                    <a:pt x="55" y="271"/>
                  </a:cubicBezTo>
                  <a:cubicBezTo>
                    <a:pt x="56" y="271"/>
                    <a:pt x="57" y="271"/>
                    <a:pt x="57" y="271"/>
                  </a:cubicBezTo>
                  <a:cubicBezTo>
                    <a:pt x="58" y="270"/>
                    <a:pt x="59" y="270"/>
                    <a:pt x="59" y="270"/>
                  </a:cubicBezTo>
                  <a:cubicBezTo>
                    <a:pt x="60" y="271"/>
                    <a:pt x="60" y="271"/>
                    <a:pt x="61" y="271"/>
                  </a:cubicBezTo>
                  <a:cubicBezTo>
                    <a:pt x="61" y="272"/>
                    <a:pt x="62" y="272"/>
                    <a:pt x="62" y="272"/>
                  </a:cubicBezTo>
                  <a:cubicBezTo>
                    <a:pt x="62" y="272"/>
                    <a:pt x="63" y="273"/>
                    <a:pt x="63" y="273"/>
                  </a:cubicBezTo>
                  <a:cubicBezTo>
                    <a:pt x="63" y="274"/>
                    <a:pt x="64" y="273"/>
                    <a:pt x="65" y="274"/>
                  </a:cubicBezTo>
                  <a:cubicBezTo>
                    <a:pt x="65" y="275"/>
                    <a:pt x="65" y="275"/>
                    <a:pt x="65" y="275"/>
                  </a:cubicBezTo>
                  <a:cubicBezTo>
                    <a:pt x="66" y="275"/>
                    <a:pt x="66" y="275"/>
                    <a:pt x="66" y="275"/>
                  </a:cubicBezTo>
                  <a:cubicBezTo>
                    <a:pt x="66" y="275"/>
                    <a:pt x="67" y="276"/>
                    <a:pt x="67" y="276"/>
                  </a:cubicBezTo>
                  <a:cubicBezTo>
                    <a:pt x="68" y="277"/>
                    <a:pt x="68" y="277"/>
                    <a:pt x="68" y="277"/>
                  </a:cubicBezTo>
                  <a:cubicBezTo>
                    <a:pt x="69" y="277"/>
                    <a:pt x="69" y="277"/>
                    <a:pt x="70" y="277"/>
                  </a:cubicBezTo>
                  <a:cubicBezTo>
                    <a:pt x="71" y="278"/>
                    <a:pt x="72" y="278"/>
                    <a:pt x="73" y="278"/>
                  </a:cubicBezTo>
                  <a:cubicBezTo>
                    <a:pt x="72" y="277"/>
                    <a:pt x="72" y="277"/>
                    <a:pt x="72" y="277"/>
                  </a:cubicBezTo>
                  <a:cubicBezTo>
                    <a:pt x="72" y="276"/>
                    <a:pt x="72" y="276"/>
                    <a:pt x="72" y="276"/>
                  </a:cubicBezTo>
                  <a:cubicBezTo>
                    <a:pt x="72" y="275"/>
                    <a:pt x="72" y="275"/>
                    <a:pt x="73" y="275"/>
                  </a:cubicBezTo>
                  <a:cubicBezTo>
                    <a:pt x="75" y="275"/>
                    <a:pt x="76" y="277"/>
                    <a:pt x="78" y="276"/>
                  </a:cubicBezTo>
                  <a:cubicBezTo>
                    <a:pt x="78" y="276"/>
                    <a:pt x="78" y="275"/>
                    <a:pt x="77" y="275"/>
                  </a:cubicBezTo>
                  <a:cubicBezTo>
                    <a:pt x="76" y="275"/>
                    <a:pt x="75" y="275"/>
                    <a:pt x="74" y="274"/>
                  </a:cubicBezTo>
                  <a:cubicBezTo>
                    <a:pt x="73" y="273"/>
                    <a:pt x="72" y="272"/>
                    <a:pt x="72" y="271"/>
                  </a:cubicBezTo>
                  <a:cubicBezTo>
                    <a:pt x="71" y="270"/>
                    <a:pt x="70" y="269"/>
                    <a:pt x="69" y="269"/>
                  </a:cubicBezTo>
                  <a:cubicBezTo>
                    <a:pt x="69" y="268"/>
                    <a:pt x="68" y="267"/>
                    <a:pt x="67" y="267"/>
                  </a:cubicBezTo>
                  <a:cubicBezTo>
                    <a:pt x="67" y="266"/>
                    <a:pt x="67" y="267"/>
                    <a:pt x="67" y="268"/>
                  </a:cubicBezTo>
                  <a:cubicBezTo>
                    <a:pt x="67" y="268"/>
                    <a:pt x="67" y="269"/>
                    <a:pt x="67" y="270"/>
                  </a:cubicBezTo>
                  <a:cubicBezTo>
                    <a:pt x="66" y="270"/>
                    <a:pt x="65" y="270"/>
                    <a:pt x="64" y="270"/>
                  </a:cubicBezTo>
                  <a:cubicBezTo>
                    <a:pt x="64" y="270"/>
                    <a:pt x="63" y="269"/>
                    <a:pt x="62" y="268"/>
                  </a:cubicBezTo>
                  <a:cubicBezTo>
                    <a:pt x="62" y="268"/>
                    <a:pt x="62" y="267"/>
                    <a:pt x="62" y="267"/>
                  </a:cubicBezTo>
                  <a:close/>
                  <a:moveTo>
                    <a:pt x="47" y="243"/>
                  </a:moveTo>
                  <a:cubicBezTo>
                    <a:pt x="47" y="244"/>
                    <a:pt x="47" y="244"/>
                    <a:pt x="47" y="244"/>
                  </a:cubicBezTo>
                  <a:cubicBezTo>
                    <a:pt x="47" y="245"/>
                    <a:pt x="48" y="247"/>
                    <a:pt x="48" y="247"/>
                  </a:cubicBezTo>
                  <a:cubicBezTo>
                    <a:pt x="49" y="248"/>
                    <a:pt x="50" y="249"/>
                    <a:pt x="51" y="250"/>
                  </a:cubicBezTo>
                  <a:cubicBezTo>
                    <a:pt x="52" y="251"/>
                    <a:pt x="53" y="252"/>
                    <a:pt x="54" y="253"/>
                  </a:cubicBezTo>
                  <a:cubicBezTo>
                    <a:pt x="55" y="254"/>
                    <a:pt x="55" y="254"/>
                    <a:pt x="56" y="254"/>
                  </a:cubicBezTo>
                  <a:cubicBezTo>
                    <a:pt x="57" y="255"/>
                    <a:pt x="57" y="255"/>
                    <a:pt x="57" y="255"/>
                  </a:cubicBezTo>
                  <a:cubicBezTo>
                    <a:pt x="57" y="256"/>
                    <a:pt x="58" y="256"/>
                    <a:pt x="58" y="256"/>
                  </a:cubicBezTo>
                  <a:cubicBezTo>
                    <a:pt x="58" y="257"/>
                    <a:pt x="59" y="256"/>
                    <a:pt x="59" y="256"/>
                  </a:cubicBezTo>
                  <a:cubicBezTo>
                    <a:pt x="59" y="256"/>
                    <a:pt x="60" y="255"/>
                    <a:pt x="60" y="255"/>
                  </a:cubicBezTo>
                  <a:cubicBezTo>
                    <a:pt x="59" y="254"/>
                    <a:pt x="59" y="254"/>
                    <a:pt x="58" y="254"/>
                  </a:cubicBezTo>
                  <a:cubicBezTo>
                    <a:pt x="58" y="254"/>
                    <a:pt x="58" y="254"/>
                    <a:pt x="58" y="254"/>
                  </a:cubicBezTo>
                  <a:cubicBezTo>
                    <a:pt x="57" y="253"/>
                    <a:pt x="57" y="253"/>
                    <a:pt x="57" y="253"/>
                  </a:cubicBezTo>
                  <a:cubicBezTo>
                    <a:pt x="57" y="253"/>
                    <a:pt x="56" y="252"/>
                    <a:pt x="56" y="252"/>
                  </a:cubicBezTo>
                  <a:cubicBezTo>
                    <a:pt x="56" y="251"/>
                    <a:pt x="55" y="251"/>
                    <a:pt x="55" y="250"/>
                  </a:cubicBezTo>
                  <a:cubicBezTo>
                    <a:pt x="53" y="248"/>
                    <a:pt x="52" y="247"/>
                    <a:pt x="50" y="245"/>
                  </a:cubicBezTo>
                  <a:cubicBezTo>
                    <a:pt x="50" y="244"/>
                    <a:pt x="49" y="244"/>
                    <a:pt x="48" y="243"/>
                  </a:cubicBezTo>
                  <a:cubicBezTo>
                    <a:pt x="48" y="243"/>
                    <a:pt x="47" y="243"/>
                    <a:pt x="47" y="243"/>
                  </a:cubicBezTo>
                  <a:close/>
                  <a:moveTo>
                    <a:pt x="45" y="251"/>
                  </a:moveTo>
                  <a:cubicBezTo>
                    <a:pt x="44" y="250"/>
                    <a:pt x="44" y="250"/>
                    <a:pt x="43" y="249"/>
                  </a:cubicBezTo>
                  <a:cubicBezTo>
                    <a:pt x="43" y="249"/>
                    <a:pt x="42" y="249"/>
                    <a:pt x="42" y="249"/>
                  </a:cubicBezTo>
                  <a:cubicBezTo>
                    <a:pt x="42" y="250"/>
                    <a:pt x="43" y="251"/>
                    <a:pt x="42" y="251"/>
                  </a:cubicBezTo>
                  <a:cubicBezTo>
                    <a:pt x="41" y="252"/>
                    <a:pt x="41" y="250"/>
                    <a:pt x="41" y="250"/>
                  </a:cubicBezTo>
                  <a:cubicBezTo>
                    <a:pt x="40" y="249"/>
                    <a:pt x="40" y="249"/>
                    <a:pt x="40" y="249"/>
                  </a:cubicBezTo>
                  <a:cubicBezTo>
                    <a:pt x="40" y="249"/>
                    <a:pt x="40" y="248"/>
                    <a:pt x="40" y="248"/>
                  </a:cubicBezTo>
                  <a:cubicBezTo>
                    <a:pt x="39" y="248"/>
                    <a:pt x="39" y="248"/>
                    <a:pt x="39" y="248"/>
                  </a:cubicBezTo>
                  <a:cubicBezTo>
                    <a:pt x="38" y="248"/>
                    <a:pt x="39" y="248"/>
                    <a:pt x="39" y="248"/>
                  </a:cubicBezTo>
                  <a:cubicBezTo>
                    <a:pt x="39" y="249"/>
                    <a:pt x="40" y="250"/>
                    <a:pt x="40" y="251"/>
                  </a:cubicBezTo>
                  <a:cubicBezTo>
                    <a:pt x="41" y="251"/>
                    <a:pt x="41" y="252"/>
                    <a:pt x="41" y="252"/>
                  </a:cubicBezTo>
                  <a:cubicBezTo>
                    <a:pt x="42" y="253"/>
                    <a:pt x="42" y="253"/>
                    <a:pt x="43" y="254"/>
                  </a:cubicBezTo>
                  <a:cubicBezTo>
                    <a:pt x="44" y="255"/>
                    <a:pt x="44" y="255"/>
                    <a:pt x="44" y="255"/>
                  </a:cubicBezTo>
                  <a:cubicBezTo>
                    <a:pt x="44" y="255"/>
                    <a:pt x="45" y="255"/>
                    <a:pt x="45" y="256"/>
                  </a:cubicBezTo>
                  <a:cubicBezTo>
                    <a:pt x="45" y="256"/>
                    <a:pt x="45" y="256"/>
                    <a:pt x="45" y="256"/>
                  </a:cubicBezTo>
                  <a:cubicBezTo>
                    <a:pt x="46" y="256"/>
                    <a:pt x="46" y="256"/>
                    <a:pt x="46" y="256"/>
                  </a:cubicBezTo>
                  <a:cubicBezTo>
                    <a:pt x="46" y="255"/>
                    <a:pt x="46" y="255"/>
                    <a:pt x="47" y="254"/>
                  </a:cubicBezTo>
                  <a:cubicBezTo>
                    <a:pt x="47" y="254"/>
                    <a:pt x="46" y="253"/>
                    <a:pt x="46" y="252"/>
                  </a:cubicBezTo>
                  <a:cubicBezTo>
                    <a:pt x="45" y="252"/>
                    <a:pt x="45" y="251"/>
                    <a:pt x="45" y="251"/>
                  </a:cubicBezTo>
                  <a:close/>
                  <a:moveTo>
                    <a:pt x="41" y="237"/>
                  </a:moveTo>
                  <a:cubicBezTo>
                    <a:pt x="40" y="237"/>
                    <a:pt x="40" y="237"/>
                    <a:pt x="39" y="236"/>
                  </a:cubicBezTo>
                  <a:cubicBezTo>
                    <a:pt x="38" y="235"/>
                    <a:pt x="38" y="235"/>
                    <a:pt x="38" y="235"/>
                  </a:cubicBezTo>
                  <a:cubicBezTo>
                    <a:pt x="38" y="235"/>
                    <a:pt x="38" y="235"/>
                    <a:pt x="37" y="236"/>
                  </a:cubicBezTo>
                  <a:cubicBezTo>
                    <a:pt x="37" y="236"/>
                    <a:pt x="38" y="236"/>
                    <a:pt x="38" y="237"/>
                  </a:cubicBezTo>
                  <a:cubicBezTo>
                    <a:pt x="38" y="238"/>
                    <a:pt x="38" y="238"/>
                    <a:pt x="38" y="238"/>
                  </a:cubicBezTo>
                  <a:cubicBezTo>
                    <a:pt x="39" y="239"/>
                    <a:pt x="39" y="239"/>
                    <a:pt x="39" y="239"/>
                  </a:cubicBezTo>
                  <a:cubicBezTo>
                    <a:pt x="40" y="239"/>
                    <a:pt x="41" y="240"/>
                    <a:pt x="42" y="240"/>
                  </a:cubicBezTo>
                  <a:cubicBezTo>
                    <a:pt x="42" y="239"/>
                    <a:pt x="42" y="239"/>
                    <a:pt x="42" y="239"/>
                  </a:cubicBezTo>
                  <a:cubicBezTo>
                    <a:pt x="42" y="239"/>
                    <a:pt x="42" y="239"/>
                    <a:pt x="42" y="238"/>
                  </a:cubicBezTo>
                  <a:cubicBezTo>
                    <a:pt x="42" y="238"/>
                    <a:pt x="41" y="238"/>
                    <a:pt x="41" y="237"/>
                  </a:cubicBezTo>
                  <a:close/>
                  <a:moveTo>
                    <a:pt x="49" y="235"/>
                  </a:moveTo>
                  <a:cubicBezTo>
                    <a:pt x="50" y="234"/>
                    <a:pt x="50" y="234"/>
                    <a:pt x="50" y="234"/>
                  </a:cubicBezTo>
                  <a:cubicBezTo>
                    <a:pt x="50" y="233"/>
                    <a:pt x="50" y="233"/>
                    <a:pt x="50" y="233"/>
                  </a:cubicBezTo>
                  <a:cubicBezTo>
                    <a:pt x="50" y="233"/>
                    <a:pt x="48" y="232"/>
                    <a:pt x="48" y="233"/>
                  </a:cubicBezTo>
                  <a:cubicBezTo>
                    <a:pt x="48" y="233"/>
                    <a:pt x="48" y="233"/>
                    <a:pt x="48" y="233"/>
                  </a:cubicBezTo>
                  <a:cubicBezTo>
                    <a:pt x="49" y="233"/>
                    <a:pt x="49" y="234"/>
                    <a:pt x="49" y="234"/>
                  </a:cubicBezTo>
                  <a:lnTo>
                    <a:pt x="49" y="235"/>
                  </a:lnTo>
                  <a:close/>
                  <a:moveTo>
                    <a:pt x="2" y="209"/>
                  </a:moveTo>
                  <a:cubicBezTo>
                    <a:pt x="3" y="210"/>
                    <a:pt x="4" y="211"/>
                    <a:pt x="5" y="212"/>
                  </a:cubicBezTo>
                  <a:cubicBezTo>
                    <a:pt x="6" y="212"/>
                    <a:pt x="6" y="212"/>
                    <a:pt x="7" y="211"/>
                  </a:cubicBezTo>
                  <a:cubicBezTo>
                    <a:pt x="7" y="211"/>
                    <a:pt x="7" y="210"/>
                    <a:pt x="7" y="210"/>
                  </a:cubicBezTo>
                  <a:cubicBezTo>
                    <a:pt x="7" y="209"/>
                    <a:pt x="7" y="208"/>
                    <a:pt x="6" y="208"/>
                  </a:cubicBezTo>
                  <a:cubicBezTo>
                    <a:pt x="6" y="207"/>
                    <a:pt x="5" y="206"/>
                    <a:pt x="4" y="205"/>
                  </a:cubicBezTo>
                  <a:cubicBezTo>
                    <a:pt x="4" y="204"/>
                    <a:pt x="4" y="204"/>
                    <a:pt x="4" y="204"/>
                  </a:cubicBezTo>
                  <a:cubicBezTo>
                    <a:pt x="3" y="204"/>
                    <a:pt x="2" y="204"/>
                    <a:pt x="1" y="204"/>
                  </a:cubicBezTo>
                  <a:cubicBezTo>
                    <a:pt x="1" y="204"/>
                    <a:pt x="1" y="205"/>
                    <a:pt x="0" y="205"/>
                  </a:cubicBezTo>
                  <a:cubicBezTo>
                    <a:pt x="0" y="206"/>
                    <a:pt x="0" y="207"/>
                    <a:pt x="1" y="207"/>
                  </a:cubicBezTo>
                  <a:cubicBezTo>
                    <a:pt x="1" y="208"/>
                    <a:pt x="2" y="208"/>
                    <a:pt x="2" y="209"/>
                  </a:cubicBezTo>
                  <a:close/>
                  <a:moveTo>
                    <a:pt x="7" y="206"/>
                  </a:moveTo>
                  <a:cubicBezTo>
                    <a:pt x="8" y="207"/>
                    <a:pt x="8" y="207"/>
                    <a:pt x="9" y="208"/>
                  </a:cubicBezTo>
                  <a:cubicBezTo>
                    <a:pt x="9" y="209"/>
                    <a:pt x="11" y="210"/>
                    <a:pt x="12" y="211"/>
                  </a:cubicBezTo>
                  <a:cubicBezTo>
                    <a:pt x="12" y="211"/>
                    <a:pt x="13" y="211"/>
                    <a:pt x="13" y="211"/>
                  </a:cubicBezTo>
                  <a:cubicBezTo>
                    <a:pt x="14" y="210"/>
                    <a:pt x="13" y="210"/>
                    <a:pt x="13" y="209"/>
                  </a:cubicBezTo>
                  <a:cubicBezTo>
                    <a:pt x="12" y="207"/>
                    <a:pt x="10" y="206"/>
                    <a:pt x="9" y="205"/>
                  </a:cubicBezTo>
                  <a:cubicBezTo>
                    <a:pt x="8" y="204"/>
                    <a:pt x="8" y="204"/>
                    <a:pt x="7" y="204"/>
                  </a:cubicBezTo>
                  <a:cubicBezTo>
                    <a:pt x="6" y="204"/>
                    <a:pt x="6" y="204"/>
                    <a:pt x="6" y="204"/>
                  </a:cubicBezTo>
                  <a:cubicBezTo>
                    <a:pt x="6" y="205"/>
                    <a:pt x="6" y="205"/>
                    <a:pt x="6" y="205"/>
                  </a:cubicBezTo>
                  <a:cubicBezTo>
                    <a:pt x="6" y="205"/>
                    <a:pt x="7" y="206"/>
                    <a:pt x="7" y="206"/>
                  </a:cubicBezTo>
                  <a:close/>
                  <a:moveTo>
                    <a:pt x="5" y="198"/>
                  </a:moveTo>
                  <a:cubicBezTo>
                    <a:pt x="5" y="197"/>
                    <a:pt x="5" y="197"/>
                    <a:pt x="4" y="196"/>
                  </a:cubicBezTo>
                  <a:cubicBezTo>
                    <a:pt x="4" y="196"/>
                    <a:pt x="4" y="195"/>
                    <a:pt x="4" y="195"/>
                  </a:cubicBezTo>
                  <a:cubicBezTo>
                    <a:pt x="4" y="194"/>
                    <a:pt x="3" y="194"/>
                    <a:pt x="3" y="195"/>
                  </a:cubicBezTo>
                  <a:cubicBezTo>
                    <a:pt x="2" y="195"/>
                    <a:pt x="2" y="196"/>
                    <a:pt x="3" y="196"/>
                  </a:cubicBezTo>
                  <a:cubicBezTo>
                    <a:pt x="3" y="197"/>
                    <a:pt x="4" y="198"/>
                    <a:pt x="5" y="198"/>
                  </a:cubicBezTo>
                  <a:close/>
                  <a:moveTo>
                    <a:pt x="7" y="198"/>
                  </a:moveTo>
                  <a:cubicBezTo>
                    <a:pt x="8" y="199"/>
                    <a:pt x="8" y="199"/>
                    <a:pt x="9" y="200"/>
                  </a:cubicBezTo>
                  <a:cubicBezTo>
                    <a:pt x="10" y="200"/>
                    <a:pt x="11" y="201"/>
                    <a:pt x="12" y="201"/>
                  </a:cubicBezTo>
                  <a:cubicBezTo>
                    <a:pt x="12" y="202"/>
                    <a:pt x="13" y="203"/>
                    <a:pt x="14" y="202"/>
                  </a:cubicBezTo>
                  <a:cubicBezTo>
                    <a:pt x="14" y="202"/>
                    <a:pt x="14" y="201"/>
                    <a:pt x="14" y="201"/>
                  </a:cubicBezTo>
                  <a:cubicBezTo>
                    <a:pt x="15" y="200"/>
                    <a:pt x="15" y="200"/>
                    <a:pt x="15" y="200"/>
                  </a:cubicBezTo>
                  <a:cubicBezTo>
                    <a:pt x="15" y="199"/>
                    <a:pt x="14" y="198"/>
                    <a:pt x="14" y="198"/>
                  </a:cubicBezTo>
                  <a:cubicBezTo>
                    <a:pt x="13" y="197"/>
                    <a:pt x="12" y="197"/>
                    <a:pt x="11" y="196"/>
                  </a:cubicBezTo>
                  <a:cubicBezTo>
                    <a:pt x="11" y="196"/>
                    <a:pt x="10" y="195"/>
                    <a:pt x="10" y="195"/>
                  </a:cubicBezTo>
                  <a:cubicBezTo>
                    <a:pt x="9" y="194"/>
                    <a:pt x="9" y="194"/>
                    <a:pt x="9" y="194"/>
                  </a:cubicBezTo>
                  <a:cubicBezTo>
                    <a:pt x="9" y="194"/>
                    <a:pt x="8" y="193"/>
                    <a:pt x="8" y="194"/>
                  </a:cubicBezTo>
                  <a:cubicBezTo>
                    <a:pt x="7" y="194"/>
                    <a:pt x="7" y="194"/>
                    <a:pt x="7" y="194"/>
                  </a:cubicBezTo>
                  <a:cubicBezTo>
                    <a:pt x="7" y="195"/>
                    <a:pt x="8" y="195"/>
                    <a:pt x="8" y="196"/>
                  </a:cubicBezTo>
                  <a:cubicBezTo>
                    <a:pt x="8" y="196"/>
                    <a:pt x="7" y="196"/>
                    <a:pt x="7" y="197"/>
                  </a:cubicBezTo>
                  <a:cubicBezTo>
                    <a:pt x="7" y="197"/>
                    <a:pt x="7" y="197"/>
                    <a:pt x="7" y="197"/>
                  </a:cubicBezTo>
                  <a:lnTo>
                    <a:pt x="7" y="198"/>
                  </a:lnTo>
                  <a:close/>
                  <a:moveTo>
                    <a:pt x="13" y="193"/>
                  </a:moveTo>
                  <a:cubicBezTo>
                    <a:pt x="13" y="194"/>
                    <a:pt x="13" y="194"/>
                    <a:pt x="13" y="195"/>
                  </a:cubicBezTo>
                  <a:cubicBezTo>
                    <a:pt x="14" y="195"/>
                    <a:pt x="15" y="195"/>
                    <a:pt x="16" y="196"/>
                  </a:cubicBezTo>
                  <a:cubicBezTo>
                    <a:pt x="16" y="196"/>
                    <a:pt x="17" y="196"/>
                    <a:pt x="17" y="197"/>
                  </a:cubicBezTo>
                  <a:cubicBezTo>
                    <a:pt x="18" y="197"/>
                    <a:pt x="18" y="197"/>
                    <a:pt x="18" y="197"/>
                  </a:cubicBezTo>
                  <a:cubicBezTo>
                    <a:pt x="19" y="197"/>
                    <a:pt x="19" y="197"/>
                    <a:pt x="20" y="197"/>
                  </a:cubicBezTo>
                  <a:cubicBezTo>
                    <a:pt x="21" y="198"/>
                    <a:pt x="22" y="197"/>
                    <a:pt x="22" y="196"/>
                  </a:cubicBezTo>
                  <a:cubicBezTo>
                    <a:pt x="22" y="195"/>
                    <a:pt x="21" y="195"/>
                    <a:pt x="21" y="195"/>
                  </a:cubicBezTo>
                  <a:cubicBezTo>
                    <a:pt x="21" y="194"/>
                    <a:pt x="20" y="194"/>
                    <a:pt x="20" y="193"/>
                  </a:cubicBezTo>
                  <a:cubicBezTo>
                    <a:pt x="20" y="193"/>
                    <a:pt x="21" y="192"/>
                    <a:pt x="21" y="192"/>
                  </a:cubicBezTo>
                  <a:cubicBezTo>
                    <a:pt x="22" y="193"/>
                    <a:pt x="23" y="193"/>
                    <a:pt x="23" y="194"/>
                  </a:cubicBezTo>
                  <a:cubicBezTo>
                    <a:pt x="24" y="194"/>
                    <a:pt x="25" y="194"/>
                    <a:pt x="25" y="194"/>
                  </a:cubicBezTo>
                  <a:cubicBezTo>
                    <a:pt x="25" y="193"/>
                    <a:pt x="25" y="193"/>
                    <a:pt x="25" y="192"/>
                  </a:cubicBezTo>
                  <a:cubicBezTo>
                    <a:pt x="25" y="191"/>
                    <a:pt x="26" y="190"/>
                    <a:pt x="25" y="189"/>
                  </a:cubicBezTo>
                  <a:cubicBezTo>
                    <a:pt x="25" y="188"/>
                    <a:pt x="24" y="187"/>
                    <a:pt x="24" y="186"/>
                  </a:cubicBezTo>
                  <a:cubicBezTo>
                    <a:pt x="23" y="186"/>
                    <a:pt x="23" y="186"/>
                    <a:pt x="22" y="186"/>
                  </a:cubicBezTo>
                  <a:cubicBezTo>
                    <a:pt x="21" y="186"/>
                    <a:pt x="21" y="186"/>
                    <a:pt x="22" y="186"/>
                  </a:cubicBezTo>
                  <a:cubicBezTo>
                    <a:pt x="22" y="187"/>
                    <a:pt x="22" y="188"/>
                    <a:pt x="22" y="188"/>
                  </a:cubicBezTo>
                  <a:cubicBezTo>
                    <a:pt x="21" y="189"/>
                    <a:pt x="21" y="188"/>
                    <a:pt x="20" y="188"/>
                  </a:cubicBezTo>
                  <a:cubicBezTo>
                    <a:pt x="20" y="188"/>
                    <a:pt x="20" y="187"/>
                    <a:pt x="19" y="187"/>
                  </a:cubicBezTo>
                  <a:cubicBezTo>
                    <a:pt x="19" y="186"/>
                    <a:pt x="19" y="186"/>
                    <a:pt x="19" y="186"/>
                  </a:cubicBezTo>
                  <a:cubicBezTo>
                    <a:pt x="17" y="186"/>
                    <a:pt x="17" y="186"/>
                    <a:pt x="17" y="186"/>
                  </a:cubicBezTo>
                  <a:cubicBezTo>
                    <a:pt x="17" y="186"/>
                    <a:pt x="17" y="187"/>
                    <a:pt x="17" y="188"/>
                  </a:cubicBezTo>
                  <a:cubicBezTo>
                    <a:pt x="17" y="189"/>
                    <a:pt x="16" y="189"/>
                    <a:pt x="16" y="189"/>
                  </a:cubicBezTo>
                  <a:cubicBezTo>
                    <a:pt x="15" y="189"/>
                    <a:pt x="15" y="189"/>
                    <a:pt x="14" y="189"/>
                  </a:cubicBezTo>
                  <a:cubicBezTo>
                    <a:pt x="13" y="189"/>
                    <a:pt x="13" y="189"/>
                    <a:pt x="13" y="190"/>
                  </a:cubicBezTo>
                  <a:cubicBezTo>
                    <a:pt x="13" y="190"/>
                    <a:pt x="13" y="191"/>
                    <a:pt x="13" y="191"/>
                  </a:cubicBezTo>
                  <a:cubicBezTo>
                    <a:pt x="13" y="192"/>
                    <a:pt x="12" y="192"/>
                    <a:pt x="13" y="193"/>
                  </a:cubicBezTo>
                  <a:close/>
                  <a:moveTo>
                    <a:pt x="23" y="204"/>
                  </a:moveTo>
                  <a:cubicBezTo>
                    <a:pt x="23" y="205"/>
                    <a:pt x="24" y="205"/>
                    <a:pt x="25" y="206"/>
                  </a:cubicBezTo>
                  <a:cubicBezTo>
                    <a:pt x="25" y="206"/>
                    <a:pt x="26" y="207"/>
                    <a:pt x="26" y="207"/>
                  </a:cubicBezTo>
                  <a:cubicBezTo>
                    <a:pt x="27" y="207"/>
                    <a:pt x="27" y="208"/>
                    <a:pt x="27" y="209"/>
                  </a:cubicBezTo>
                  <a:cubicBezTo>
                    <a:pt x="27" y="210"/>
                    <a:pt x="28" y="210"/>
                    <a:pt x="28" y="211"/>
                  </a:cubicBezTo>
                  <a:cubicBezTo>
                    <a:pt x="28" y="213"/>
                    <a:pt x="29" y="214"/>
                    <a:pt x="30" y="216"/>
                  </a:cubicBezTo>
                  <a:cubicBezTo>
                    <a:pt x="30" y="217"/>
                    <a:pt x="31" y="217"/>
                    <a:pt x="32" y="218"/>
                  </a:cubicBezTo>
                  <a:cubicBezTo>
                    <a:pt x="32" y="219"/>
                    <a:pt x="33" y="220"/>
                    <a:pt x="34" y="220"/>
                  </a:cubicBezTo>
                  <a:cubicBezTo>
                    <a:pt x="35" y="220"/>
                    <a:pt x="33" y="217"/>
                    <a:pt x="33" y="217"/>
                  </a:cubicBezTo>
                  <a:cubicBezTo>
                    <a:pt x="32" y="216"/>
                    <a:pt x="30" y="215"/>
                    <a:pt x="31" y="214"/>
                  </a:cubicBezTo>
                  <a:cubicBezTo>
                    <a:pt x="32" y="214"/>
                    <a:pt x="32" y="215"/>
                    <a:pt x="33" y="215"/>
                  </a:cubicBezTo>
                  <a:cubicBezTo>
                    <a:pt x="33" y="215"/>
                    <a:pt x="34" y="215"/>
                    <a:pt x="35" y="215"/>
                  </a:cubicBezTo>
                  <a:cubicBezTo>
                    <a:pt x="35" y="215"/>
                    <a:pt x="35" y="215"/>
                    <a:pt x="35" y="214"/>
                  </a:cubicBezTo>
                  <a:cubicBezTo>
                    <a:pt x="34" y="213"/>
                    <a:pt x="33" y="213"/>
                    <a:pt x="33" y="212"/>
                  </a:cubicBezTo>
                  <a:cubicBezTo>
                    <a:pt x="33" y="211"/>
                    <a:pt x="32" y="211"/>
                    <a:pt x="32" y="210"/>
                  </a:cubicBezTo>
                  <a:cubicBezTo>
                    <a:pt x="32" y="210"/>
                    <a:pt x="32" y="209"/>
                    <a:pt x="32" y="209"/>
                  </a:cubicBezTo>
                  <a:cubicBezTo>
                    <a:pt x="31" y="209"/>
                    <a:pt x="31" y="209"/>
                    <a:pt x="31" y="209"/>
                  </a:cubicBezTo>
                  <a:cubicBezTo>
                    <a:pt x="30" y="210"/>
                    <a:pt x="30" y="210"/>
                    <a:pt x="30" y="210"/>
                  </a:cubicBezTo>
                  <a:cubicBezTo>
                    <a:pt x="29" y="209"/>
                    <a:pt x="29" y="209"/>
                    <a:pt x="29" y="209"/>
                  </a:cubicBezTo>
                  <a:cubicBezTo>
                    <a:pt x="29" y="209"/>
                    <a:pt x="29" y="209"/>
                    <a:pt x="29" y="209"/>
                  </a:cubicBezTo>
                  <a:cubicBezTo>
                    <a:pt x="29" y="208"/>
                    <a:pt x="30" y="208"/>
                    <a:pt x="31" y="208"/>
                  </a:cubicBezTo>
                  <a:cubicBezTo>
                    <a:pt x="31" y="207"/>
                    <a:pt x="31" y="207"/>
                    <a:pt x="31" y="207"/>
                  </a:cubicBezTo>
                  <a:cubicBezTo>
                    <a:pt x="32" y="207"/>
                    <a:pt x="32" y="207"/>
                    <a:pt x="32" y="207"/>
                  </a:cubicBezTo>
                  <a:cubicBezTo>
                    <a:pt x="33" y="207"/>
                    <a:pt x="32" y="206"/>
                    <a:pt x="32" y="206"/>
                  </a:cubicBezTo>
                  <a:cubicBezTo>
                    <a:pt x="31" y="205"/>
                    <a:pt x="31" y="204"/>
                    <a:pt x="30" y="204"/>
                  </a:cubicBezTo>
                  <a:cubicBezTo>
                    <a:pt x="29" y="204"/>
                    <a:pt x="28" y="205"/>
                    <a:pt x="28" y="204"/>
                  </a:cubicBezTo>
                  <a:cubicBezTo>
                    <a:pt x="27" y="203"/>
                    <a:pt x="27" y="203"/>
                    <a:pt x="27" y="203"/>
                  </a:cubicBezTo>
                  <a:cubicBezTo>
                    <a:pt x="27" y="203"/>
                    <a:pt x="26" y="202"/>
                    <a:pt x="26" y="202"/>
                  </a:cubicBezTo>
                  <a:cubicBezTo>
                    <a:pt x="25" y="201"/>
                    <a:pt x="27" y="201"/>
                    <a:pt x="27" y="201"/>
                  </a:cubicBezTo>
                  <a:cubicBezTo>
                    <a:pt x="28" y="201"/>
                    <a:pt x="29" y="201"/>
                    <a:pt x="29" y="200"/>
                  </a:cubicBezTo>
                  <a:cubicBezTo>
                    <a:pt x="29" y="199"/>
                    <a:pt x="27" y="200"/>
                    <a:pt x="27" y="199"/>
                  </a:cubicBezTo>
                  <a:cubicBezTo>
                    <a:pt x="27" y="198"/>
                    <a:pt x="27" y="198"/>
                    <a:pt x="27" y="198"/>
                  </a:cubicBezTo>
                  <a:cubicBezTo>
                    <a:pt x="26" y="198"/>
                    <a:pt x="26" y="198"/>
                    <a:pt x="26" y="198"/>
                  </a:cubicBezTo>
                  <a:cubicBezTo>
                    <a:pt x="26" y="199"/>
                    <a:pt x="25" y="199"/>
                    <a:pt x="26" y="200"/>
                  </a:cubicBezTo>
                  <a:cubicBezTo>
                    <a:pt x="26" y="200"/>
                    <a:pt x="26" y="201"/>
                    <a:pt x="26" y="201"/>
                  </a:cubicBezTo>
                  <a:cubicBezTo>
                    <a:pt x="25" y="201"/>
                    <a:pt x="24" y="200"/>
                    <a:pt x="24" y="200"/>
                  </a:cubicBezTo>
                  <a:cubicBezTo>
                    <a:pt x="23" y="200"/>
                    <a:pt x="23" y="199"/>
                    <a:pt x="23" y="199"/>
                  </a:cubicBezTo>
                  <a:cubicBezTo>
                    <a:pt x="22" y="199"/>
                    <a:pt x="22" y="200"/>
                    <a:pt x="21" y="200"/>
                  </a:cubicBezTo>
                  <a:cubicBezTo>
                    <a:pt x="20" y="199"/>
                    <a:pt x="20" y="199"/>
                    <a:pt x="20" y="199"/>
                  </a:cubicBezTo>
                  <a:cubicBezTo>
                    <a:pt x="21" y="201"/>
                    <a:pt x="21" y="201"/>
                    <a:pt x="21" y="201"/>
                  </a:cubicBezTo>
                  <a:cubicBezTo>
                    <a:pt x="21" y="202"/>
                    <a:pt x="22" y="201"/>
                    <a:pt x="23" y="202"/>
                  </a:cubicBezTo>
                  <a:cubicBezTo>
                    <a:pt x="23" y="202"/>
                    <a:pt x="23" y="202"/>
                    <a:pt x="23" y="203"/>
                  </a:cubicBezTo>
                  <a:cubicBezTo>
                    <a:pt x="23" y="203"/>
                    <a:pt x="23" y="204"/>
                    <a:pt x="23" y="204"/>
                  </a:cubicBezTo>
                  <a:close/>
                  <a:moveTo>
                    <a:pt x="30" y="195"/>
                  </a:moveTo>
                  <a:cubicBezTo>
                    <a:pt x="31" y="196"/>
                    <a:pt x="32" y="196"/>
                    <a:pt x="33" y="197"/>
                  </a:cubicBezTo>
                  <a:cubicBezTo>
                    <a:pt x="34" y="197"/>
                    <a:pt x="34" y="196"/>
                    <a:pt x="35" y="197"/>
                  </a:cubicBezTo>
                  <a:cubicBezTo>
                    <a:pt x="36" y="197"/>
                    <a:pt x="36" y="197"/>
                    <a:pt x="36" y="197"/>
                  </a:cubicBezTo>
                  <a:cubicBezTo>
                    <a:pt x="36" y="198"/>
                    <a:pt x="36" y="198"/>
                    <a:pt x="36" y="198"/>
                  </a:cubicBezTo>
                  <a:cubicBezTo>
                    <a:pt x="37" y="197"/>
                    <a:pt x="37" y="197"/>
                    <a:pt x="37" y="197"/>
                  </a:cubicBezTo>
                  <a:cubicBezTo>
                    <a:pt x="37" y="196"/>
                    <a:pt x="38" y="196"/>
                    <a:pt x="38" y="196"/>
                  </a:cubicBezTo>
                  <a:cubicBezTo>
                    <a:pt x="38" y="196"/>
                    <a:pt x="38" y="197"/>
                    <a:pt x="38" y="197"/>
                  </a:cubicBezTo>
                  <a:cubicBezTo>
                    <a:pt x="39" y="198"/>
                    <a:pt x="39" y="198"/>
                    <a:pt x="40" y="198"/>
                  </a:cubicBezTo>
                  <a:cubicBezTo>
                    <a:pt x="40" y="198"/>
                    <a:pt x="41" y="198"/>
                    <a:pt x="41" y="198"/>
                  </a:cubicBezTo>
                  <a:cubicBezTo>
                    <a:pt x="41" y="196"/>
                    <a:pt x="41" y="196"/>
                    <a:pt x="41" y="196"/>
                  </a:cubicBezTo>
                  <a:cubicBezTo>
                    <a:pt x="41" y="196"/>
                    <a:pt x="41" y="194"/>
                    <a:pt x="42" y="194"/>
                  </a:cubicBezTo>
                  <a:cubicBezTo>
                    <a:pt x="42" y="194"/>
                    <a:pt x="43" y="194"/>
                    <a:pt x="44" y="194"/>
                  </a:cubicBezTo>
                  <a:cubicBezTo>
                    <a:pt x="44" y="194"/>
                    <a:pt x="44" y="194"/>
                    <a:pt x="45" y="194"/>
                  </a:cubicBezTo>
                  <a:cubicBezTo>
                    <a:pt x="46" y="195"/>
                    <a:pt x="46" y="195"/>
                    <a:pt x="46" y="195"/>
                  </a:cubicBezTo>
                  <a:cubicBezTo>
                    <a:pt x="46" y="196"/>
                    <a:pt x="45" y="196"/>
                    <a:pt x="45" y="196"/>
                  </a:cubicBezTo>
                  <a:cubicBezTo>
                    <a:pt x="44" y="196"/>
                    <a:pt x="44" y="196"/>
                    <a:pt x="44" y="197"/>
                  </a:cubicBezTo>
                  <a:cubicBezTo>
                    <a:pt x="44" y="197"/>
                    <a:pt x="45" y="198"/>
                    <a:pt x="44" y="198"/>
                  </a:cubicBezTo>
                  <a:cubicBezTo>
                    <a:pt x="44" y="198"/>
                    <a:pt x="44" y="198"/>
                    <a:pt x="44" y="198"/>
                  </a:cubicBezTo>
                  <a:cubicBezTo>
                    <a:pt x="43" y="198"/>
                    <a:pt x="43" y="198"/>
                    <a:pt x="43" y="198"/>
                  </a:cubicBezTo>
                  <a:cubicBezTo>
                    <a:pt x="43" y="199"/>
                    <a:pt x="42" y="199"/>
                    <a:pt x="42" y="199"/>
                  </a:cubicBezTo>
                  <a:cubicBezTo>
                    <a:pt x="42" y="200"/>
                    <a:pt x="43" y="200"/>
                    <a:pt x="44" y="200"/>
                  </a:cubicBezTo>
                  <a:cubicBezTo>
                    <a:pt x="44" y="200"/>
                    <a:pt x="45" y="201"/>
                    <a:pt x="45" y="202"/>
                  </a:cubicBezTo>
                  <a:cubicBezTo>
                    <a:pt x="45" y="202"/>
                    <a:pt x="44" y="202"/>
                    <a:pt x="44" y="202"/>
                  </a:cubicBezTo>
                  <a:cubicBezTo>
                    <a:pt x="44" y="203"/>
                    <a:pt x="45" y="203"/>
                    <a:pt x="46" y="204"/>
                  </a:cubicBezTo>
                  <a:cubicBezTo>
                    <a:pt x="46" y="204"/>
                    <a:pt x="46" y="205"/>
                    <a:pt x="46" y="205"/>
                  </a:cubicBezTo>
                  <a:cubicBezTo>
                    <a:pt x="46" y="206"/>
                    <a:pt x="46" y="206"/>
                    <a:pt x="46" y="207"/>
                  </a:cubicBezTo>
                  <a:cubicBezTo>
                    <a:pt x="47" y="207"/>
                    <a:pt x="48" y="207"/>
                    <a:pt x="49" y="207"/>
                  </a:cubicBezTo>
                  <a:cubicBezTo>
                    <a:pt x="50" y="207"/>
                    <a:pt x="50" y="208"/>
                    <a:pt x="51" y="208"/>
                  </a:cubicBezTo>
                  <a:cubicBezTo>
                    <a:pt x="52" y="208"/>
                    <a:pt x="52" y="208"/>
                    <a:pt x="53" y="208"/>
                  </a:cubicBezTo>
                  <a:cubicBezTo>
                    <a:pt x="54" y="208"/>
                    <a:pt x="54" y="208"/>
                    <a:pt x="55" y="208"/>
                  </a:cubicBezTo>
                  <a:cubicBezTo>
                    <a:pt x="55" y="207"/>
                    <a:pt x="55" y="207"/>
                    <a:pt x="55" y="207"/>
                  </a:cubicBezTo>
                  <a:cubicBezTo>
                    <a:pt x="55" y="207"/>
                    <a:pt x="55" y="206"/>
                    <a:pt x="55" y="206"/>
                  </a:cubicBezTo>
                  <a:cubicBezTo>
                    <a:pt x="56" y="206"/>
                    <a:pt x="55" y="208"/>
                    <a:pt x="56" y="208"/>
                  </a:cubicBezTo>
                  <a:cubicBezTo>
                    <a:pt x="57" y="208"/>
                    <a:pt x="57" y="208"/>
                    <a:pt x="57" y="208"/>
                  </a:cubicBezTo>
                  <a:cubicBezTo>
                    <a:pt x="57" y="207"/>
                    <a:pt x="57" y="207"/>
                    <a:pt x="57" y="207"/>
                  </a:cubicBezTo>
                  <a:cubicBezTo>
                    <a:pt x="57" y="207"/>
                    <a:pt x="57" y="205"/>
                    <a:pt x="58" y="205"/>
                  </a:cubicBezTo>
                  <a:cubicBezTo>
                    <a:pt x="58" y="205"/>
                    <a:pt x="59" y="207"/>
                    <a:pt x="59" y="206"/>
                  </a:cubicBezTo>
                  <a:cubicBezTo>
                    <a:pt x="59" y="204"/>
                    <a:pt x="59" y="204"/>
                    <a:pt x="59" y="204"/>
                  </a:cubicBezTo>
                  <a:cubicBezTo>
                    <a:pt x="59" y="204"/>
                    <a:pt x="59" y="204"/>
                    <a:pt x="59" y="203"/>
                  </a:cubicBezTo>
                  <a:cubicBezTo>
                    <a:pt x="59" y="203"/>
                    <a:pt x="59" y="203"/>
                    <a:pt x="59" y="203"/>
                  </a:cubicBezTo>
                  <a:cubicBezTo>
                    <a:pt x="58" y="204"/>
                    <a:pt x="58" y="204"/>
                    <a:pt x="58" y="204"/>
                  </a:cubicBezTo>
                  <a:cubicBezTo>
                    <a:pt x="58" y="204"/>
                    <a:pt x="58" y="204"/>
                    <a:pt x="58" y="204"/>
                  </a:cubicBezTo>
                  <a:cubicBezTo>
                    <a:pt x="57" y="205"/>
                    <a:pt x="57" y="204"/>
                    <a:pt x="57" y="204"/>
                  </a:cubicBezTo>
                  <a:cubicBezTo>
                    <a:pt x="57" y="203"/>
                    <a:pt x="57" y="203"/>
                    <a:pt x="57" y="203"/>
                  </a:cubicBezTo>
                  <a:cubicBezTo>
                    <a:pt x="56" y="203"/>
                    <a:pt x="56" y="203"/>
                    <a:pt x="56" y="203"/>
                  </a:cubicBezTo>
                  <a:cubicBezTo>
                    <a:pt x="57" y="203"/>
                    <a:pt x="57" y="203"/>
                    <a:pt x="57" y="203"/>
                  </a:cubicBezTo>
                  <a:cubicBezTo>
                    <a:pt x="57" y="202"/>
                    <a:pt x="57" y="202"/>
                    <a:pt x="57" y="202"/>
                  </a:cubicBezTo>
                  <a:cubicBezTo>
                    <a:pt x="57" y="201"/>
                    <a:pt x="56" y="201"/>
                    <a:pt x="56" y="200"/>
                  </a:cubicBezTo>
                  <a:cubicBezTo>
                    <a:pt x="56" y="200"/>
                    <a:pt x="55" y="199"/>
                    <a:pt x="56" y="199"/>
                  </a:cubicBezTo>
                  <a:cubicBezTo>
                    <a:pt x="56" y="198"/>
                    <a:pt x="56" y="198"/>
                    <a:pt x="56" y="198"/>
                  </a:cubicBezTo>
                  <a:cubicBezTo>
                    <a:pt x="56" y="198"/>
                    <a:pt x="56" y="197"/>
                    <a:pt x="56" y="197"/>
                  </a:cubicBezTo>
                  <a:cubicBezTo>
                    <a:pt x="56" y="197"/>
                    <a:pt x="57" y="197"/>
                    <a:pt x="57" y="196"/>
                  </a:cubicBezTo>
                  <a:cubicBezTo>
                    <a:pt x="57" y="195"/>
                    <a:pt x="57" y="195"/>
                    <a:pt x="57" y="195"/>
                  </a:cubicBezTo>
                  <a:cubicBezTo>
                    <a:pt x="56" y="194"/>
                    <a:pt x="57" y="193"/>
                    <a:pt x="56" y="193"/>
                  </a:cubicBezTo>
                  <a:cubicBezTo>
                    <a:pt x="56" y="192"/>
                    <a:pt x="56" y="191"/>
                    <a:pt x="55" y="190"/>
                  </a:cubicBezTo>
                  <a:cubicBezTo>
                    <a:pt x="55" y="190"/>
                    <a:pt x="54" y="189"/>
                    <a:pt x="53" y="189"/>
                  </a:cubicBezTo>
                  <a:cubicBezTo>
                    <a:pt x="53" y="188"/>
                    <a:pt x="52" y="188"/>
                    <a:pt x="52" y="187"/>
                  </a:cubicBezTo>
                  <a:cubicBezTo>
                    <a:pt x="52" y="186"/>
                    <a:pt x="52" y="186"/>
                    <a:pt x="52" y="186"/>
                  </a:cubicBezTo>
                  <a:cubicBezTo>
                    <a:pt x="52" y="186"/>
                    <a:pt x="52" y="186"/>
                    <a:pt x="52" y="186"/>
                  </a:cubicBezTo>
                  <a:cubicBezTo>
                    <a:pt x="52" y="185"/>
                    <a:pt x="52" y="185"/>
                    <a:pt x="52" y="184"/>
                  </a:cubicBezTo>
                  <a:cubicBezTo>
                    <a:pt x="52" y="184"/>
                    <a:pt x="52" y="184"/>
                    <a:pt x="52" y="183"/>
                  </a:cubicBezTo>
                  <a:cubicBezTo>
                    <a:pt x="51" y="183"/>
                    <a:pt x="51" y="183"/>
                    <a:pt x="50" y="183"/>
                  </a:cubicBezTo>
                  <a:cubicBezTo>
                    <a:pt x="50" y="184"/>
                    <a:pt x="51" y="184"/>
                    <a:pt x="50" y="185"/>
                  </a:cubicBezTo>
                  <a:cubicBezTo>
                    <a:pt x="50" y="185"/>
                    <a:pt x="49" y="185"/>
                    <a:pt x="49" y="186"/>
                  </a:cubicBezTo>
                  <a:cubicBezTo>
                    <a:pt x="49" y="186"/>
                    <a:pt x="49" y="186"/>
                    <a:pt x="49" y="186"/>
                  </a:cubicBezTo>
                  <a:cubicBezTo>
                    <a:pt x="48" y="187"/>
                    <a:pt x="48" y="187"/>
                    <a:pt x="48" y="187"/>
                  </a:cubicBezTo>
                  <a:cubicBezTo>
                    <a:pt x="48" y="187"/>
                    <a:pt x="47" y="187"/>
                    <a:pt x="46" y="186"/>
                  </a:cubicBezTo>
                  <a:cubicBezTo>
                    <a:pt x="46" y="186"/>
                    <a:pt x="46" y="186"/>
                    <a:pt x="45" y="186"/>
                  </a:cubicBezTo>
                  <a:cubicBezTo>
                    <a:pt x="45" y="186"/>
                    <a:pt x="44" y="186"/>
                    <a:pt x="44" y="185"/>
                  </a:cubicBezTo>
                  <a:cubicBezTo>
                    <a:pt x="44" y="185"/>
                    <a:pt x="44" y="185"/>
                    <a:pt x="44" y="185"/>
                  </a:cubicBezTo>
                  <a:cubicBezTo>
                    <a:pt x="43" y="185"/>
                    <a:pt x="43" y="185"/>
                    <a:pt x="43" y="185"/>
                  </a:cubicBezTo>
                  <a:cubicBezTo>
                    <a:pt x="42" y="185"/>
                    <a:pt x="42" y="184"/>
                    <a:pt x="41" y="184"/>
                  </a:cubicBezTo>
                  <a:cubicBezTo>
                    <a:pt x="41" y="185"/>
                    <a:pt x="41" y="185"/>
                    <a:pt x="41" y="185"/>
                  </a:cubicBezTo>
                  <a:cubicBezTo>
                    <a:pt x="40" y="186"/>
                    <a:pt x="40" y="186"/>
                    <a:pt x="40" y="186"/>
                  </a:cubicBezTo>
                  <a:cubicBezTo>
                    <a:pt x="39" y="186"/>
                    <a:pt x="38" y="186"/>
                    <a:pt x="38" y="186"/>
                  </a:cubicBezTo>
                  <a:cubicBezTo>
                    <a:pt x="37" y="186"/>
                    <a:pt x="37" y="186"/>
                    <a:pt x="37" y="186"/>
                  </a:cubicBezTo>
                  <a:cubicBezTo>
                    <a:pt x="37" y="187"/>
                    <a:pt x="37" y="187"/>
                    <a:pt x="37" y="188"/>
                  </a:cubicBezTo>
                  <a:cubicBezTo>
                    <a:pt x="37" y="188"/>
                    <a:pt x="37" y="188"/>
                    <a:pt x="37" y="188"/>
                  </a:cubicBezTo>
                  <a:cubicBezTo>
                    <a:pt x="36" y="189"/>
                    <a:pt x="36" y="189"/>
                    <a:pt x="36" y="189"/>
                  </a:cubicBezTo>
                  <a:cubicBezTo>
                    <a:pt x="35" y="189"/>
                    <a:pt x="35" y="189"/>
                    <a:pt x="35" y="189"/>
                  </a:cubicBezTo>
                  <a:cubicBezTo>
                    <a:pt x="34" y="189"/>
                    <a:pt x="34" y="189"/>
                    <a:pt x="34" y="189"/>
                  </a:cubicBezTo>
                  <a:cubicBezTo>
                    <a:pt x="33" y="190"/>
                    <a:pt x="33" y="189"/>
                    <a:pt x="32" y="190"/>
                  </a:cubicBezTo>
                  <a:cubicBezTo>
                    <a:pt x="31" y="190"/>
                    <a:pt x="31" y="190"/>
                    <a:pt x="31" y="191"/>
                  </a:cubicBezTo>
                  <a:cubicBezTo>
                    <a:pt x="31" y="192"/>
                    <a:pt x="30" y="192"/>
                    <a:pt x="30" y="192"/>
                  </a:cubicBezTo>
                  <a:cubicBezTo>
                    <a:pt x="30" y="193"/>
                    <a:pt x="30" y="194"/>
                    <a:pt x="30" y="194"/>
                  </a:cubicBezTo>
                  <a:cubicBezTo>
                    <a:pt x="30" y="194"/>
                    <a:pt x="30" y="195"/>
                    <a:pt x="30" y="195"/>
                  </a:cubicBezTo>
                  <a:close/>
                  <a:moveTo>
                    <a:pt x="67" y="197"/>
                  </a:moveTo>
                  <a:cubicBezTo>
                    <a:pt x="67" y="198"/>
                    <a:pt x="67" y="199"/>
                    <a:pt x="68" y="199"/>
                  </a:cubicBezTo>
                  <a:cubicBezTo>
                    <a:pt x="69" y="199"/>
                    <a:pt x="69" y="198"/>
                    <a:pt x="69" y="198"/>
                  </a:cubicBezTo>
                  <a:cubicBezTo>
                    <a:pt x="68" y="196"/>
                    <a:pt x="68" y="196"/>
                    <a:pt x="68" y="196"/>
                  </a:cubicBezTo>
                  <a:cubicBezTo>
                    <a:pt x="67" y="196"/>
                    <a:pt x="67" y="196"/>
                    <a:pt x="67" y="196"/>
                  </a:cubicBezTo>
                  <a:cubicBezTo>
                    <a:pt x="67" y="196"/>
                    <a:pt x="67" y="196"/>
                    <a:pt x="67" y="196"/>
                  </a:cubicBezTo>
                  <a:cubicBezTo>
                    <a:pt x="66" y="196"/>
                    <a:pt x="65" y="196"/>
                    <a:pt x="65" y="196"/>
                  </a:cubicBezTo>
                  <a:cubicBezTo>
                    <a:pt x="65" y="196"/>
                    <a:pt x="65" y="196"/>
                    <a:pt x="66" y="197"/>
                  </a:cubicBezTo>
                  <a:cubicBezTo>
                    <a:pt x="66" y="197"/>
                    <a:pt x="66" y="197"/>
                    <a:pt x="67" y="197"/>
                  </a:cubicBezTo>
                  <a:close/>
                  <a:moveTo>
                    <a:pt x="60" y="214"/>
                  </a:moveTo>
                  <a:cubicBezTo>
                    <a:pt x="61" y="214"/>
                    <a:pt x="61" y="214"/>
                    <a:pt x="61" y="214"/>
                  </a:cubicBezTo>
                  <a:cubicBezTo>
                    <a:pt x="62" y="214"/>
                    <a:pt x="63" y="214"/>
                    <a:pt x="63" y="214"/>
                  </a:cubicBezTo>
                  <a:cubicBezTo>
                    <a:pt x="63" y="213"/>
                    <a:pt x="61" y="213"/>
                    <a:pt x="61" y="212"/>
                  </a:cubicBezTo>
                  <a:cubicBezTo>
                    <a:pt x="62" y="212"/>
                    <a:pt x="62" y="212"/>
                    <a:pt x="63" y="212"/>
                  </a:cubicBezTo>
                  <a:cubicBezTo>
                    <a:pt x="63" y="211"/>
                    <a:pt x="63" y="211"/>
                    <a:pt x="62" y="211"/>
                  </a:cubicBezTo>
                  <a:cubicBezTo>
                    <a:pt x="61" y="210"/>
                    <a:pt x="61" y="210"/>
                    <a:pt x="61" y="210"/>
                  </a:cubicBezTo>
                  <a:cubicBezTo>
                    <a:pt x="61" y="210"/>
                    <a:pt x="60" y="210"/>
                    <a:pt x="60" y="210"/>
                  </a:cubicBezTo>
                  <a:cubicBezTo>
                    <a:pt x="60" y="210"/>
                    <a:pt x="60" y="211"/>
                    <a:pt x="59" y="211"/>
                  </a:cubicBezTo>
                  <a:cubicBezTo>
                    <a:pt x="59" y="212"/>
                    <a:pt x="59" y="212"/>
                    <a:pt x="60" y="213"/>
                  </a:cubicBezTo>
                  <a:lnTo>
                    <a:pt x="60" y="214"/>
                  </a:lnTo>
                  <a:close/>
                  <a:moveTo>
                    <a:pt x="55" y="215"/>
                  </a:moveTo>
                  <a:cubicBezTo>
                    <a:pt x="55" y="215"/>
                    <a:pt x="56" y="214"/>
                    <a:pt x="56" y="214"/>
                  </a:cubicBezTo>
                  <a:cubicBezTo>
                    <a:pt x="56" y="213"/>
                    <a:pt x="57" y="213"/>
                    <a:pt x="56" y="212"/>
                  </a:cubicBezTo>
                  <a:cubicBezTo>
                    <a:pt x="56" y="212"/>
                    <a:pt x="55" y="213"/>
                    <a:pt x="55" y="213"/>
                  </a:cubicBezTo>
                  <a:cubicBezTo>
                    <a:pt x="54" y="213"/>
                    <a:pt x="54" y="214"/>
                    <a:pt x="54" y="214"/>
                  </a:cubicBezTo>
                  <a:cubicBezTo>
                    <a:pt x="54" y="215"/>
                    <a:pt x="54" y="216"/>
                    <a:pt x="55" y="215"/>
                  </a:cubicBezTo>
                  <a:close/>
                  <a:moveTo>
                    <a:pt x="53" y="210"/>
                  </a:moveTo>
                  <a:cubicBezTo>
                    <a:pt x="52" y="211"/>
                    <a:pt x="52" y="211"/>
                    <a:pt x="52" y="211"/>
                  </a:cubicBezTo>
                  <a:cubicBezTo>
                    <a:pt x="52" y="211"/>
                    <a:pt x="53" y="212"/>
                    <a:pt x="53" y="212"/>
                  </a:cubicBezTo>
                  <a:cubicBezTo>
                    <a:pt x="54" y="212"/>
                    <a:pt x="54" y="211"/>
                    <a:pt x="54" y="211"/>
                  </a:cubicBezTo>
                  <a:cubicBezTo>
                    <a:pt x="54" y="210"/>
                    <a:pt x="54" y="210"/>
                    <a:pt x="53" y="210"/>
                  </a:cubicBezTo>
                  <a:close/>
                  <a:moveTo>
                    <a:pt x="25" y="90"/>
                  </a:moveTo>
                  <a:cubicBezTo>
                    <a:pt x="26" y="91"/>
                    <a:pt x="27" y="91"/>
                    <a:pt x="28" y="92"/>
                  </a:cubicBezTo>
                  <a:cubicBezTo>
                    <a:pt x="30" y="92"/>
                    <a:pt x="30" y="91"/>
                    <a:pt x="30" y="90"/>
                  </a:cubicBezTo>
                  <a:cubicBezTo>
                    <a:pt x="29" y="88"/>
                    <a:pt x="28" y="87"/>
                    <a:pt x="28" y="85"/>
                  </a:cubicBezTo>
                  <a:cubicBezTo>
                    <a:pt x="28" y="84"/>
                    <a:pt x="29" y="83"/>
                    <a:pt x="28" y="82"/>
                  </a:cubicBezTo>
                  <a:cubicBezTo>
                    <a:pt x="28" y="82"/>
                    <a:pt x="27" y="81"/>
                    <a:pt x="26" y="82"/>
                  </a:cubicBezTo>
                  <a:cubicBezTo>
                    <a:pt x="26" y="83"/>
                    <a:pt x="26" y="84"/>
                    <a:pt x="26" y="84"/>
                  </a:cubicBezTo>
                  <a:cubicBezTo>
                    <a:pt x="26" y="85"/>
                    <a:pt x="26" y="86"/>
                    <a:pt x="25" y="86"/>
                  </a:cubicBezTo>
                  <a:cubicBezTo>
                    <a:pt x="25" y="87"/>
                    <a:pt x="24" y="90"/>
                    <a:pt x="25" y="90"/>
                  </a:cubicBezTo>
                  <a:close/>
                  <a:moveTo>
                    <a:pt x="123" y="86"/>
                  </a:moveTo>
                  <a:cubicBezTo>
                    <a:pt x="123" y="86"/>
                    <a:pt x="124" y="85"/>
                    <a:pt x="123" y="84"/>
                  </a:cubicBezTo>
                  <a:cubicBezTo>
                    <a:pt x="123" y="84"/>
                    <a:pt x="122" y="84"/>
                    <a:pt x="123" y="83"/>
                  </a:cubicBezTo>
                  <a:cubicBezTo>
                    <a:pt x="124" y="83"/>
                    <a:pt x="124" y="83"/>
                    <a:pt x="124" y="82"/>
                  </a:cubicBezTo>
                  <a:cubicBezTo>
                    <a:pt x="125" y="81"/>
                    <a:pt x="125" y="81"/>
                    <a:pt x="125" y="81"/>
                  </a:cubicBezTo>
                  <a:cubicBezTo>
                    <a:pt x="126" y="81"/>
                    <a:pt x="127" y="81"/>
                    <a:pt x="128" y="80"/>
                  </a:cubicBezTo>
                  <a:cubicBezTo>
                    <a:pt x="128" y="79"/>
                    <a:pt x="127" y="79"/>
                    <a:pt x="127" y="79"/>
                  </a:cubicBezTo>
                  <a:cubicBezTo>
                    <a:pt x="128" y="78"/>
                    <a:pt x="128" y="78"/>
                    <a:pt x="128" y="78"/>
                  </a:cubicBezTo>
                  <a:cubicBezTo>
                    <a:pt x="129" y="77"/>
                    <a:pt x="129" y="76"/>
                    <a:pt x="127" y="76"/>
                  </a:cubicBezTo>
                  <a:cubicBezTo>
                    <a:pt x="126" y="77"/>
                    <a:pt x="126" y="77"/>
                    <a:pt x="124" y="77"/>
                  </a:cubicBezTo>
                  <a:cubicBezTo>
                    <a:pt x="123" y="77"/>
                    <a:pt x="123" y="75"/>
                    <a:pt x="123" y="74"/>
                  </a:cubicBezTo>
                  <a:cubicBezTo>
                    <a:pt x="122" y="73"/>
                    <a:pt x="121" y="72"/>
                    <a:pt x="120" y="74"/>
                  </a:cubicBezTo>
                  <a:cubicBezTo>
                    <a:pt x="120" y="75"/>
                    <a:pt x="121" y="75"/>
                    <a:pt x="121" y="76"/>
                  </a:cubicBezTo>
                  <a:cubicBezTo>
                    <a:pt x="121" y="76"/>
                    <a:pt x="121" y="77"/>
                    <a:pt x="121" y="78"/>
                  </a:cubicBezTo>
                  <a:cubicBezTo>
                    <a:pt x="121" y="79"/>
                    <a:pt x="120" y="79"/>
                    <a:pt x="120" y="80"/>
                  </a:cubicBezTo>
                  <a:cubicBezTo>
                    <a:pt x="120" y="81"/>
                    <a:pt x="120" y="82"/>
                    <a:pt x="120" y="83"/>
                  </a:cubicBezTo>
                  <a:cubicBezTo>
                    <a:pt x="120" y="84"/>
                    <a:pt x="121" y="87"/>
                    <a:pt x="123" y="86"/>
                  </a:cubicBezTo>
                  <a:close/>
                  <a:moveTo>
                    <a:pt x="152" y="61"/>
                  </a:moveTo>
                  <a:cubicBezTo>
                    <a:pt x="152" y="62"/>
                    <a:pt x="152" y="62"/>
                    <a:pt x="151" y="63"/>
                  </a:cubicBezTo>
                  <a:cubicBezTo>
                    <a:pt x="152" y="65"/>
                    <a:pt x="151" y="68"/>
                    <a:pt x="154" y="69"/>
                  </a:cubicBezTo>
                  <a:cubicBezTo>
                    <a:pt x="156" y="70"/>
                    <a:pt x="156" y="65"/>
                    <a:pt x="155" y="64"/>
                  </a:cubicBezTo>
                  <a:cubicBezTo>
                    <a:pt x="154" y="62"/>
                    <a:pt x="153" y="61"/>
                    <a:pt x="152" y="61"/>
                  </a:cubicBezTo>
                  <a:close/>
                  <a:moveTo>
                    <a:pt x="151" y="56"/>
                  </a:moveTo>
                  <a:cubicBezTo>
                    <a:pt x="151" y="56"/>
                    <a:pt x="151" y="56"/>
                    <a:pt x="151" y="56"/>
                  </a:cubicBezTo>
                  <a:cubicBezTo>
                    <a:pt x="152" y="56"/>
                    <a:pt x="152" y="56"/>
                    <a:pt x="152" y="56"/>
                  </a:cubicBezTo>
                  <a:cubicBezTo>
                    <a:pt x="152" y="56"/>
                    <a:pt x="153" y="52"/>
                    <a:pt x="152" y="52"/>
                  </a:cubicBezTo>
                  <a:cubicBezTo>
                    <a:pt x="150" y="54"/>
                    <a:pt x="150" y="54"/>
                    <a:pt x="150" y="54"/>
                  </a:cubicBezTo>
                  <a:cubicBezTo>
                    <a:pt x="150" y="54"/>
                    <a:pt x="150" y="55"/>
                    <a:pt x="150" y="56"/>
                  </a:cubicBezTo>
                  <a:cubicBezTo>
                    <a:pt x="150" y="56"/>
                    <a:pt x="151" y="56"/>
                    <a:pt x="151" y="56"/>
                  </a:cubicBezTo>
                  <a:close/>
                  <a:moveTo>
                    <a:pt x="155" y="60"/>
                  </a:moveTo>
                  <a:cubicBezTo>
                    <a:pt x="155" y="60"/>
                    <a:pt x="155" y="59"/>
                    <a:pt x="155" y="58"/>
                  </a:cubicBezTo>
                  <a:cubicBezTo>
                    <a:pt x="155" y="59"/>
                    <a:pt x="156" y="60"/>
                    <a:pt x="156" y="60"/>
                  </a:cubicBezTo>
                  <a:cubicBezTo>
                    <a:pt x="157" y="59"/>
                    <a:pt x="156" y="57"/>
                    <a:pt x="156" y="56"/>
                  </a:cubicBezTo>
                  <a:cubicBezTo>
                    <a:pt x="156" y="55"/>
                    <a:pt x="156" y="55"/>
                    <a:pt x="156" y="54"/>
                  </a:cubicBezTo>
                  <a:cubicBezTo>
                    <a:pt x="156" y="53"/>
                    <a:pt x="156" y="53"/>
                    <a:pt x="156" y="52"/>
                  </a:cubicBezTo>
                  <a:cubicBezTo>
                    <a:pt x="155" y="52"/>
                    <a:pt x="155" y="52"/>
                    <a:pt x="155" y="53"/>
                  </a:cubicBezTo>
                  <a:cubicBezTo>
                    <a:pt x="155" y="54"/>
                    <a:pt x="154" y="54"/>
                    <a:pt x="154" y="55"/>
                  </a:cubicBezTo>
                  <a:cubicBezTo>
                    <a:pt x="154" y="56"/>
                    <a:pt x="154" y="57"/>
                    <a:pt x="153" y="59"/>
                  </a:cubicBezTo>
                  <a:cubicBezTo>
                    <a:pt x="153" y="60"/>
                    <a:pt x="154" y="61"/>
                    <a:pt x="155" y="60"/>
                  </a:cubicBezTo>
                  <a:close/>
                  <a:moveTo>
                    <a:pt x="260" y="16"/>
                  </a:moveTo>
                  <a:cubicBezTo>
                    <a:pt x="260" y="16"/>
                    <a:pt x="260" y="17"/>
                    <a:pt x="260" y="18"/>
                  </a:cubicBezTo>
                  <a:cubicBezTo>
                    <a:pt x="261" y="19"/>
                    <a:pt x="261" y="19"/>
                    <a:pt x="261" y="19"/>
                  </a:cubicBezTo>
                  <a:cubicBezTo>
                    <a:pt x="262" y="20"/>
                    <a:pt x="262" y="20"/>
                    <a:pt x="262" y="20"/>
                  </a:cubicBezTo>
                  <a:cubicBezTo>
                    <a:pt x="262" y="21"/>
                    <a:pt x="262" y="21"/>
                    <a:pt x="262" y="21"/>
                  </a:cubicBezTo>
                  <a:cubicBezTo>
                    <a:pt x="262" y="22"/>
                    <a:pt x="263" y="22"/>
                    <a:pt x="264" y="22"/>
                  </a:cubicBezTo>
                  <a:cubicBezTo>
                    <a:pt x="264" y="23"/>
                    <a:pt x="264" y="24"/>
                    <a:pt x="265" y="24"/>
                  </a:cubicBezTo>
                  <a:cubicBezTo>
                    <a:pt x="266" y="25"/>
                    <a:pt x="267" y="25"/>
                    <a:pt x="269" y="25"/>
                  </a:cubicBezTo>
                  <a:cubicBezTo>
                    <a:pt x="270" y="26"/>
                    <a:pt x="271" y="26"/>
                    <a:pt x="273" y="26"/>
                  </a:cubicBezTo>
                  <a:cubicBezTo>
                    <a:pt x="274" y="26"/>
                    <a:pt x="276" y="27"/>
                    <a:pt x="276" y="28"/>
                  </a:cubicBezTo>
                  <a:cubicBezTo>
                    <a:pt x="276" y="29"/>
                    <a:pt x="277" y="30"/>
                    <a:pt x="277" y="30"/>
                  </a:cubicBezTo>
                  <a:cubicBezTo>
                    <a:pt x="277" y="32"/>
                    <a:pt x="276" y="31"/>
                    <a:pt x="275" y="30"/>
                  </a:cubicBezTo>
                  <a:cubicBezTo>
                    <a:pt x="274" y="30"/>
                    <a:pt x="273" y="28"/>
                    <a:pt x="272" y="28"/>
                  </a:cubicBezTo>
                  <a:cubicBezTo>
                    <a:pt x="271" y="28"/>
                    <a:pt x="271" y="29"/>
                    <a:pt x="270" y="29"/>
                  </a:cubicBezTo>
                  <a:cubicBezTo>
                    <a:pt x="269" y="29"/>
                    <a:pt x="268" y="29"/>
                    <a:pt x="268" y="30"/>
                  </a:cubicBezTo>
                  <a:cubicBezTo>
                    <a:pt x="267" y="30"/>
                    <a:pt x="267" y="32"/>
                    <a:pt x="267" y="33"/>
                  </a:cubicBezTo>
                  <a:cubicBezTo>
                    <a:pt x="267" y="34"/>
                    <a:pt x="269" y="34"/>
                    <a:pt x="269" y="35"/>
                  </a:cubicBezTo>
                  <a:cubicBezTo>
                    <a:pt x="270" y="36"/>
                    <a:pt x="270" y="37"/>
                    <a:pt x="271" y="37"/>
                  </a:cubicBezTo>
                  <a:cubicBezTo>
                    <a:pt x="273" y="36"/>
                    <a:pt x="274" y="35"/>
                    <a:pt x="276" y="35"/>
                  </a:cubicBezTo>
                  <a:cubicBezTo>
                    <a:pt x="278" y="35"/>
                    <a:pt x="279" y="36"/>
                    <a:pt x="279" y="34"/>
                  </a:cubicBezTo>
                  <a:cubicBezTo>
                    <a:pt x="280" y="32"/>
                    <a:pt x="280" y="30"/>
                    <a:pt x="281" y="29"/>
                  </a:cubicBezTo>
                  <a:cubicBezTo>
                    <a:pt x="282" y="29"/>
                    <a:pt x="282" y="29"/>
                    <a:pt x="283" y="28"/>
                  </a:cubicBezTo>
                  <a:cubicBezTo>
                    <a:pt x="284" y="28"/>
                    <a:pt x="284" y="27"/>
                    <a:pt x="284" y="27"/>
                  </a:cubicBezTo>
                  <a:cubicBezTo>
                    <a:pt x="284" y="25"/>
                    <a:pt x="286" y="24"/>
                    <a:pt x="286" y="23"/>
                  </a:cubicBezTo>
                  <a:cubicBezTo>
                    <a:pt x="285" y="21"/>
                    <a:pt x="285" y="21"/>
                    <a:pt x="285" y="21"/>
                  </a:cubicBezTo>
                  <a:cubicBezTo>
                    <a:pt x="285" y="21"/>
                    <a:pt x="285" y="22"/>
                    <a:pt x="284" y="22"/>
                  </a:cubicBezTo>
                  <a:cubicBezTo>
                    <a:pt x="283" y="22"/>
                    <a:pt x="282" y="21"/>
                    <a:pt x="282" y="20"/>
                  </a:cubicBezTo>
                  <a:cubicBezTo>
                    <a:pt x="283" y="19"/>
                    <a:pt x="284" y="20"/>
                    <a:pt x="285" y="20"/>
                  </a:cubicBezTo>
                  <a:cubicBezTo>
                    <a:pt x="285" y="19"/>
                    <a:pt x="285" y="17"/>
                    <a:pt x="284" y="16"/>
                  </a:cubicBezTo>
                  <a:cubicBezTo>
                    <a:pt x="284" y="15"/>
                    <a:pt x="283" y="15"/>
                    <a:pt x="282" y="14"/>
                  </a:cubicBezTo>
                  <a:cubicBezTo>
                    <a:pt x="281" y="13"/>
                    <a:pt x="280" y="12"/>
                    <a:pt x="279" y="12"/>
                  </a:cubicBezTo>
                  <a:cubicBezTo>
                    <a:pt x="279" y="11"/>
                    <a:pt x="279" y="10"/>
                    <a:pt x="278" y="9"/>
                  </a:cubicBezTo>
                  <a:cubicBezTo>
                    <a:pt x="277" y="9"/>
                    <a:pt x="277" y="8"/>
                    <a:pt x="276" y="8"/>
                  </a:cubicBezTo>
                  <a:cubicBezTo>
                    <a:pt x="275" y="7"/>
                    <a:pt x="275" y="6"/>
                    <a:pt x="275" y="4"/>
                  </a:cubicBezTo>
                  <a:cubicBezTo>
                    <a:pt x="275" y="4"/>
                    <a:pt x="275" y="2"/>
                    <a:pt x="275" y="1"/>
                  </a:cubicBezTo>
                  <a:cubicBezTo>
                    <a:pt x="275" y="0"/>
                    <a:pt x="273" y="1"/>
                    <a:pt x="273" y="1"/>
                  </a:cubicBezTo>
                  <a:cubicBezTo>
                    <a:pt x="272" y="2"/>
                    <a:pt x="272" y="3"/>
                    <a:pt x="271" y="4"/>
                  </a:cubicBezTo>
                  <a:cubicBezTo>
                    <a:pt x="270" y="6"/>
                    <a:pt x="268" y="7"/>
                    <a:pt x="267" y="8"/>
                  </a:cubicBezTo>
                  <a:cubicBezTo>
                    <a:pt x="266" y="8"/>
                    <a:pt x="265" y="9"/>
                    <a:pt x="265" y="10"/>
                  </a:cubicBezTo>
                  <a:cubicBezTo>
                    <a:pt x="264" y="11"/>
                    <a:pt x="264" y="11"/>
                    <a:pt x="263" y="11"/>
                  </a:cubicBezTo>
                  <a:cubicBezTo>
                    <a:pt x="262" y="11"/>
                    <a:pt x="261" y="12"/>
                    <a:pt x="261" y="12"/>
                  </a:cubicBezTo>
                  <a:cubicBezTo>
                    <a:pt x="260" y="13"/>
                    <a:pt x="259" y="13"/>
                    <a:pt x="259" y="14"/>
                  </a:cubicBezTo>
                  <a:cubicBezTo>
                    <a:pt x="259" y="14"/>
                    <a:pt x="260" y="15"/>
                    <a:pt x="260" y="15"/>
                  </a:cubicBezTo>
                  <a:cubicBezTo>
                    <a:pt x="260" y="15"/>
                    <a:pt x="260" y="15"/>
                    <a:pt x="260" y="16"/>
                  </a:cubicBezTo>
                  <a:close/>
                  <a:moveTo>
                    <a:pt x="311" y="85"/>
                  </a:moveTo>
                  <a:cubicBezTo>
                    <a:pt x="312" y="85"/>
                    <a:pt x="313" y="84"/>
                    <a:pt x="314" y="83"/>
                  </a:cubicBezTo>
                  <a:cubicBezTo>
                    <a:pt x="314" y="82"/>
                    <a:pt x="315" y="79"/>
                    <a:pt x="314" y="77"/>
                  </a:cubicBezTo>
                  <a:cubicBezTo>
                    <a:pt x="314" y="76"/>
                    <a:pt x="313" y="76"/>
                    <a:pt x="313" y="75"/>
                  </a:cubicBezTo>
                  <a:cubicBezTo>
                    <a:pt x="313" y="74"/>
                    <a:pt x="314" y="72"/>
                    <a:pt x="313" y="72"/>
                  </a:cubicBezTo>
                  <a:cubicBezTo>
                    <a:pt x="312" y="73"/>
                    <a:pt x="312" y="74"/>
                    <a:pt x="312" y="75"/>
                  </a:cubicBezTo>
                  <a:cubicBezTo>
                    <a:pt x="312" y="76"/>
                    <a:pt x="312" y="77"/>
                    <a:pt x="311" y="77"/>
                  </a:cubicBezTo>
                  <a:cubicBezTo>
                    <a:pt x="311" y="79"/>
                    <a:pt x="309" y="80"/>
                    <a:pt x="309" y="82"/>
                  </a:cubicBezTo>
                  <a:cubicBezTo>
                    <a:pt x="309" y="83"/>
                    <a:pt x="310" y="85"/>
                    <a:pt x="311" y="85"/>
                  </a:cubicBezTo>
                  <a:close/>
                  <a:moveTo>
                    <a:pt x="322" y="105"/>
                  </a:moveTo>
                  <a:cubicBezTo>
                    <a:pt x="323" y="106"/>
                    <a:pt x="322" y="107"/>
                    <a:pt x="323" y="107"/>
                  </a:cubicBezTo>
                  <a:cubicBezTo>
                    <a:pt x="324" y="107"/>
                    <a:pt x="325" y="106"/>
                    <a:pt x="325" y="106"/>
                  </a:cubicBezTo>
                  <a:cubicBezTo>
                    <a:pt x="325" y="106"/>
                    <a:pt x="326" y="106"/>
                    <a:pt x="327" y="106"/>
                  </a:cubicBezTo>
                  <a:cubicBezTo>
                    <a:pt x="328" y="106"/>
                    <a:pt x="328" y="104"/>
                    <a:pt x="327" y="104"/>
                  </a:cubicBezTo>
                  <a:cubicBezTo>
                    <a:pt x="327" y="103"/>
                    <a:pt x="326" y="104"/>
                    <a:pt x="326" y="104"/>
                  </a:cubicBezTo>
                  <a:cubicBezTo>
                    <a:pt x="325" y="104"/>
                    <a:pt x="325" y="103"/>
                    <a:pt x="324" y="103"/>
                  </a:cubicBezTo>
                  <a:cubicBezTo>
                    <a:pt x="323" y="102"/>
                    <a:pt x="321" y="102"/>
                    <a:pt x="321" y="103"/>
                  </a:cubicBezTo>
                  <a:cubicBezTo>
                    <a:pt x="319" y="104"/>
                    <a:pt x="322" y="105"/>
                    <a:pt x="322" y="10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0" name="Freeform 32">
              <a:extLst>
                <a:ext uri="{FF2B5EF4-FFF2-40B4-BE49-F238E27FC236}">
                  <a16:creationId xmlns:a16="http://schemas.microsoft.com/office/drawing/2014/main" id="{FF54FC2A-27CB-8A82-A20E-5BB17D214FC0}"/>
                </a:ext>
              </a:extLst>
            </p:cNvPr>
            <p:cNvSpPr>
              <a:spLocks noEditPoints="1"/>
            </p:cNvSpPr>
            <p:nvPr/>
          </p:nvSpPr>
          <p:spPr bwMode="auto">
            <a:xfrm>
              <a:off x="1762125" y="3240088"/>
              <a:ext cx="879475" cy="846137"/>
            </a:xfrm>
            <a:custGeom>
              <a:avLst/>
              <a:gdLst>
                <a:gd name="T0" fmla="*/ 98 w 231"/>
                <a:gd name="T1" fmla="*/ 25 h 222"/>
                <a:gd name="T2" fmla="*/ 103 w 231"/>
                <a:gd name="T3" fmla="*/ 47 h 222"/>
                <a:gd name="T4" fmla="*/ 84 w 231"/>
                <a:gd name="T5" fmla="*/ 41 h 222"/>
                <a:gd name="T6" fmla="*/ 147 w 231"/>
                <a:gd name="T7" fmla="*/ 61 h 222"/>
                <a:gd name="T8" fmla="*/ 139 w 231"/>
                <a:gd name="T9" fmla="*/ 94 h 222"/>
                <a:gd name="T10" fmla="*/ 148 w 231"/>
                <a:gd name="T11" fmla="*/ 83 h 222"/>
                <a:gd name="T12" fmla="*/ 133 w 231"/>
                <a:gd name="T13" fmla="*/ 74 h 222"/>
                <a:gd name="T14" fmla="*/ 172 w 231"/>
                <a:gd name="T15" fmla="*/ 95 h 222"/>
                <a:gd name="T16" fmla="*/ 187 w 231"/>
                <a:gd name="T17" fmla="*/ 95 h 222"/>
                <a:gd name="T18" fmla="*/ 161 w 231"/>
                <a:gd name="T19" fmla="*/ 88 h 222"/>
                <a:gd name="T20" fmla="*/ 145 w 231"/>
                <a:gd name="T21" fmla="*/ 101 h 222"/>
                <a:gd name="T22" fmla="*/ 181 w 231"/>
                <a:gd name="T23" fmla="*/ 102 h 222"/>
                <a:gd name="T24" fmla="*/ 155 w 231"/>
                <a:gd name="T25" fmla="*/ 86 h 222"/>
                <a:gd name="T26" fmla="*/ 199 w 231"/>
                <a:gd name="T27" fmla="*/ 120 h 222"/>
                <a:gd name="T28" fmla="*/ 207 w 231"/>
                <a:gd name="T29" fmla="*/ 98 h 222"/>
                <a:gd name="T30" fmla="*/ 204 w 231"/>
                <a:gd name="T31" fmla="*/ 112 h 222"/>
                <a:gd name="T32" fmla="*/ 210 w 231"/>
                <a:gd name="T33" fmla="*/ 105 h 222"/>
                <a:gd name="T34" fmla="*/ 201 w 231"/>
                <a:gd name="T35" fmla="*/ 92 h 222"/>
                <a:gd name="T36" fmla="*/ 200 w 231"/>
                <a:gd name="T37" fmla="*/ 87 h 222"/>
                <a:gd name="T38" fmla="*/ 212 w 231"/>
                <a:gd name="T39" fmla="*/ 168 h 222"/>
                <a:gd name="T40" fmla="*/ 198 w 231"/>
                <a:gd name="T41" fmla="*/ 172 h 222"/>
                <a:gd name="T42" fmla="*/ 227 w 231"/>
                <a:gd name="T43" fmla="*/ 172 h 222"/>
                <a:gd name="T44" fmla="*/ 210 w 231"/>
                <a:gd name="T45" fmla="*/ 173 h 222"/>
                <a:gd name="T46" fmla="*/ 205 w 231"/>
                <a:gd name="T47" fmla="*/ 182 h 222"/>
                <a:gd name="T48" fmla="*/ 215 w 231"/>
                <a:gd name="T49" fmla="*/ 183 h 222"/>
                <a:gd name="T50" fmla="*/ 202 w 231"/>
                <a:gd name="T51" fmla="*/ 178 h 222"/>
                <a:gd name="T52" fmla="*/ 183 w 231"/>
                <a:gd name="T53" fmla="*/ 116 h 222"/>
                <a:gd name="T54" fmla="*/ 228 w 231"/>
                <a:gd name="T55" fmla="*/ 147 h 222"/>
                <a:gd name="T56" fmla="*/ 207 w 231"/>
                <a:gd name="T57" fmla="*/ 123 h 222"/>
                <a:gd name="T58" fmla="*/ 173 w 231"/>
                <a:gd name="T59" fmla="*/ 138 h 222"/>
                <a:gd name="T60" fmla="*/ 158 w 231"/>
                <a:gd name="T61" fmla="*/ 140 h 222"/>
                <a:gd name="T62" fmla="*/ 181 w 231"/>
                <a:gd name="T63" fmla="*/ 115 h 222"/>
                <a:gd name="T64" fmla="*/ 142 w 231"/>
                <a:gd name="T65" fmla="*/ 101 h 222"/>
                <a:gd name="T66" fmla="*/ 130 w 231"/>
                <a:gd name="T67" fmla="*/ 82 h 222"/>
                <a:gd name="T68" fmla="*/ 122 w 231"/>
                <a:gd name="T69" fmla="*/ 67 h 222"/>
                <a:gd name="T70" fmla="*/ 85 w 231"/>
                <a:gd name="T71" fmla="*/ 51 h 222"/>
                <a:gd name="T72" fmla="*/ 64 w 231"/>
                <a:gd name="T73" fmla="*/ 18 h 222"/>
                <a:gd name="T74" fmla="*/ 42 w 231"/>
                <a:gd name="T75" fmla="*/ 17 h 222"/>
                <a:gd name="T76" fmla="*/ 56 w 231"/>
                <a:gd name="T77" fmla="*/ 44 h 222"/>
                <a:gd name="T78" fmla="*/ 45 w 231"/>
                <a:gd name="T79" fmla="*/ 28 h 222"/>
                <a:gd name="T80" fmla="*/ 18 w 231"/>
                <a:gd name="T81" fmla="*/ 0 h 222"/>
                <a:gd name="T82" fmla="*/ 20 w 231"/>
                <a:gd name="T83" fmla="*/ 45 h 222"/>
                <a:gd name="T84" fmla="*/ 17 w 231"/>
                <a:gd name="T85" fmla="*/ 66 h 222"/>
                <a:gd name="T86" fmla="*/ 6 w 231"/>
                <a:gd name="T87" fmla="*/ 87 h 222"/>
                <a:gd name="T88" fmla="*/ 13 w 231"/>
                <a:gd name="T89" fmla="*/ 109 h 222"/>
                <a:gd name="T90" fmla="*/ 34 w 231"/>
                <a:gd name="T91" fmla="*/ 138 h 222"/>
                <a:gd name="T92" fmla="*/ 47 w 231"/>
                <a:gd name="T93" fmla="*/ 151 h 222"/>
                <a:gd name="T94" fmla="*/ 60 w 231"/>
                <a:gd name="T95" fmla="*/ 175 h 222"/>
                <a:gd name="T96" fmla="*/ 101 w 231"/>
                <a:gd name="T97" fmla="*/ 208 h 222"/>
                <a:gd name="T98" fmla="*/ 138 w 231"/>
                <a:gd name="T99" fmla="*/ 211 h 222"/>
                <a:gd name="T100" fmla="*/ 166 w 231"/>
                <a:gd name="T101" fmla="*/ 218 h 222"/>
                <a:gd name="T102" fmla="*/ 209 w 231"/>
                <a:gd name="T103" fmla="*/ 199 h 222"/>
                <a:gd name="T104" fmla="*/ 206 w 231"/>
                <a:gd name="T105" fmla="*/ 185 h 222"/>
                <a:gd name="T106" fmla="*/ 195 w 231"/>
                <a:gd name="T107" fmla="*/ 171 h 222"/>
                <a:gd name="T108" fmla="*/ 211 w 231"/>
                <a:gd name="T109" fmla="*/ 161 h 222"/>
                <a:gd name="T110" fmla="*/ 223 w 231"/>
                <a:gd name="T111" fmla="*/ 15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222">
                  <a:moveTo>
                    <a:pt x="84" y="41"/>
                  </a:moveTo>
                  <a:cubicBezTo>
                    <a:pt x="83" y="39"/>
                    <a:pt x="83" y="37"/>
                    <a:pt x="83" y="35"/>
                  </a:cubicBezTo>
                  <a:cubicBezTo>
                    <a:pt x="84" y="34"/>
                    <a:pt x="84" y="32"/>
                    <a:pt x="85" y="31"/>
                  </a:cubicBezTo>
                  <a:cubicBezTo>
                    <a:pt x="85" y="30"/>
                    <a:pt x="85" y="29"/>
                    <a:pt x="86" y="28"/>
                  </a:cubicBezTo>
                  <a:cubicBezTo>
                    <a:pt x="88" y="28"/>
                    <a:pt x="89" y="28"/>
                    <a:pt x="90" y="29"/>
                  </a:cubicBezTo>
                  <a:cubicBezTo>
                    <a:pt x="91" y="30"/>
                    <a:pt x="92" y="30"/>
                    <a:pt x="93" y="29"/>
                  </a:cubicBezTo>
                  <a:cubicBezTo>
                    <a:pt x="95" y="28"/>
                    <a:pt x="95" y="25"/>
                    <a:pt x="98" y="25"/>
                  </a:cubicBezTo>
                  <a:cubicBezTo>
                    <a:pt x="101" y="24"/>
                    <a:pt x="102" y="27"/>
                    <a:pt x="103" y="29"/>
                  </a:cubicBezTo>
                  <a:cubicBezTo>
                    <a:pt x="103" y="30"/>
                    <a:pt x="103" y="30"/>
                    <a:pt x="104" y="30"/>
                  </a:cubicBezTo>
                  <a:cubicBezTo>
                    <a:pt x="105" y="30"/>
                    <a:pt x="105" y="30"/>
                    <a:pt x="106" y="31"/>
                  </a:cubicBezTo>
                  <a:cubicBezTo>
                    <a:pt x="106" y="32"/>
                    <a:pt x="107" y="34"/>
                    <a:pt x="107" y="35"/>
                  </a:cubicBezTo>
                  <a:cubicBezTo>
                    <a:pt x="107" y="36"/>
                    <a:pt x="106" y="37"/>
                    <a:pt x="105" y="39"/>
                  </a:cubicBezTo>
                  <a:cubicBezTo>
                    <a:pt x="105" y="40"/>
                    <a:pt x="105" y="42"/>
                    <a:pt x="105" y="44"/>
                  </a:cubicBezTo>
                  <a:cubicBezTo>
                    <a:pt x="104" y="45"/>
                    <a:pt x="104" y="46"/>
                    <a:pt x="103" y="47"/>
                  </a:cubicBezTo>
                  <a:cubicBezTo>
                    <a:pt x="101" y="48"/>
                    <a:pt x="100" y="48"/>
                    <a:pt x="99" y="49"/>
                  </a:cubicBezTo>
                  <a:cubicBezTo>
                    <a:pt x="99" y="50"/>
                    <a:pt x="98" y="50"/>
                    <a:pt x="97" y="51"/>
                  </a:cubicBezTo>
                  <a:cubicBezTo>
                    <a:pt x="96" y="51"/>
                    <a:pt x="94" y="51"/>
                    <a:pt x="92" y="50"/>
                  </a:cubicBezTo>
                  <a:cubicBezTo>
                    <a:pt x="90" y="50"/>
                    <a:pt x="89" y="50"/>
                    <a:pt x="87" y="49"/>
                  </a:cubicBezTo>
                  <a:cubicBezTo>
                    <a:pt x="87" y="48"/>
                    <a:pt x="87" y="48"/>
                    <a:pt x="86" y="47"/>
                  </a:cubicBezTo>
                  <a:cubicBezTo>
                    <a:pt x="85" y="46"/>
                    <a:pt x="86" y="45"/>
                    <a:pt x="85" y="44"/>
                  </a:cubicBezTo>
                  <a:cubicBezTo>
                    <a:pt x="85" y="43"/>
                    <a:pt x="85" y="42"/>
                    <a:pt x="84" y="41"/>
                  </a:cubicBezTo>
                  <a:close/>
                  <a:moveTo>
                    <a:pt x="126" y="64"/>
                  </a:moveTo>
                  <a:cubicBezTo>
                    <a:pt x="129" y="66"/>
                    <a:pt x="132" y="67"/>
                    <a:pt x="136" y="67"/>
                  </a:cubicBezTo>
                  <a:cubicBezTo>
                    <a:pt x="138" y="67"/>
                    <a:pt x="140" y="68"/>
                    <a:pt x="141" y="70"/>
                  </a:cubicBezTo>
                  <a:cubicBezTo>
                    <a:pt x="143" y="71"/>
                    <a:pt x="144" y="73"/>
                    <a:pt x="145" y="74"/>
                  </a:cubicBezTo>
                  <a:cubicBezTo>
                    <a:pt x="147" y="75"/>
                    <a:pt x="149" y="76"/>
                    <a:pt x="150" y="77"/>
                  </a:cubicBezTo>
                  <a:cubicBezTo>
                    <a:pt x="150" y="74"/>
                    <a:pt x="150" y="71"/>
                    <a:pt x="150" y="68"/>
                  </a:cubicBezTo>
                  <a:cubicBezTo>
                    <a:pt x="149" y="66"/>
                    <a:pt x="149" y="63"/>
                    <a:pt x="147" y="61"/>
                  </a:cubicBezTo>
                  <a:cubicBezTo>
                    <a:pt x="145" y="59"/>
                    <a:pt x="142" y="60"/>
                    <a:pt x="139" y="60"/>
                  </a:cubicBezTo>
                  <a:cubicBezTo>
                    <a:pt x="135" y="60"/>
                    <a:pt x="132" y="58"/>
                    <a:pt x="128" y="58"/>
                  </a:cubicBezTo>
                  <a:cubicBezTo>
                    <a:pt x="126" y="57"/>
                    <a:pt x="123" y="56"/>
                    <a:pt x="121" y="56"/>
                  </a:cubicBezTo>
                  <a:cubicBezTo>
                    <a:pt x="120" y="58"/>
                    <a:pt x="122" y="59"/>
                    <a:pt x="123" y="60"/>
                  </a:cubicBezTo>
                  <a:cubicBezTo>
                    <a:pt x="124" y="62"/>
                    <a:pt x="125" y="63"/>
                    <a:pt x="126" y="64"/>
                  </a:cubicBezTo>
                  <a:close/>
                  <a:moveTo>
                    <a:pt x="137" y="92"/>
                  </a:moveTo>
                  <a:cubicBezTo>
                    <a:pt x="137" y="93"/>
                    <a:pt x="138" y="94"/>
                    <a:pt x="139" y="94"/>
                  </a:cubicBezTo>
                  <a:cubicBezTo>
                    <a:pt x="139" y="95"/>
                    <a:pt x="140" y="95"/>
                    <a:pt x="141" y="96"/>
                  </a:cubicBezTo>
                  <a:cubicBezTo>
                    <a:pt x="142" y="97"/>
                    <a:pt x="143" y="98"/>
                    <a:pt x="145" y="98"/>
                  </a:cubicBezTo>
                  <a:cubicBezTo>
                    <a:pt x="145" y="97"/>
                    <a:pt x="146" y="97"/>
                    <a:pt x="146" y="96"/>
                  </a:cubicBezTo>
                  <a:cubicBezTo>
                    <a:pt x="147" y="96"/>
                    <a:pt x="148" y="96"/>
                    <a:pt x="149" y="96"/>
                  </a:cubicBezTo>
                  <a:cubicBezTo>
                    <a:pt x="149" y="95"/>
                    <a:pt x="149" y="93"/>
                    <a:pt x="148" y="93"/>
                  </a:cubicBezTo>
                  <a:cubicBezTo>
                    <a:pt x="148" y="91"/>
                    <a:pt x="146" y="90"/>
                    <a:pt x="147" y="88"/>
                  </a:cubicBezTo>
                  <a:cubicBezTo>
                    <a:pt x="147" y="87"/>
                    <a:pt x="148" y="84"/>
                    <a:pt x="148" y="83"/>
                  </a:cubicBezTo>
                  <a:cubicBezTo>
                    <a:pt x="148" y="83"/>
                    <a:pt x="148" y="82"/>
                    <a:pt x="148" y="82"/>
                  </a:cubicBezTo>
                  <a:cubicBezTo>
                    <a:pt x="148" y="81"/>
                    <a:pt x="148" y="80"/>
                    <a:pt x="148" y="80"/>
                  </a:cubicBezTo>
                  <a:cubicBezTo>
                    <a:pt x="148" y="78"/>
                    <a:pt x="147" y="78"/>
                    <a:pt x="146" y="77"/>
                  </a:cubicBezTo>
                  <a:cubicBezTo>
                    <a:pt x="143" y="76"/>
                    <a:pt x="141" y="73"/>
                    <a:pt x="139" y="71"/>
                  </a:cubicBezTo>
                  <a:cubicBezTo>
                    <a:pt x="138" y="70"/>
                    <a:pt x="135" y="67"/>
                    <a:pt x="133" y="68"/>
                  </a:cubicBezTo>
                  <a:cubicBezTo>
                    <a:pt x="132" y="69"/>
                    <a:pt x="133" y="70"/>
                    <a:pt x="133" y="71"/>
                  </a:cubicBezTo>
                  <a:cubicBezTo>
                    <a:pt x="134" y="72"/>
                    <a:pt x="134" y="73"/>
                    <a:pt x="133" y="74"/>
                  </a:cubicBezTo>
                  <a:cubicBezTo>
                    <a:pt x="132" y="75"/>
                    <a:pt x="132" y="76"/>
                    <a:pt x="133" y="77"/>
                  </a:cubicBezTo>
                  <a:cubicBezTo>
                    <a:pt x="133" y="78"/>
                    <a:pt x="134" y="78"/>
                    <a:pt x="135" y="79"/>
                  </a:cubicBezTo>
                  <a:cubicBezTo>
                    <a:pt x="136" y="81"/>
                    <a:pt x="135" y="84"/>
                    <a:pt x="135" y="86"/>
                  </a:cubicBezTo>
                  <a:cubicBezTo>
                    <a:pt x="135" y="88"/>
                    <a:pt x="135" y="90"/>
                    <a:pt x="137" y="92"/>
                  </a:cubicBezTo>
                  <a:close/>
                  <a:moveTo>
                    <a:pt x="162" y="92"/>
                  </a:moveTo>
                  <a:cubicBezTo>
                    <a:pt x="164" y="92"/>
                    <a:pt x="166" y="91"/>
                    <a:pt x="168" y="92"/>
                  </a:cubicBezTo>
                  <a:cubicBezTo>
                    <a:pt x="170" y="93"/>
                    <a:pt x="171" y="94"/>
                    <a:pt x="172" y="95"/>
                  </a:cubicBezTo>
                  <a:cubicBezTo>
                    <a:pt x="174" y="95"/>
                    <a:pt x="175" y="96"/>
                    <a:pt x="177" y="97"/>
                  </a:cubicBezTo>
                  <a:cubicBezTo>
                    <a:pt x="178" y="98"/>
                    <a:pt x="178" y="99"/>
                    <a:pt x="180" y="100"/>
                  </a:cubicBezTo>
                  <a:cubicBezTo>
                    <a:pt x="181" y="101"/>
                    <a:pt x="183" y="101"/>
                    <a:pt x="184" y="102"/>
                  </a:cubicBezTo>
                  <a:cubicBezTo>
                    <a:pt x="184" y="103"/>
                    <a:pt x="185" y="105"/>
                    <a:pt x="186" y="105"/>
                  </a:cubicBezTo>
                  <a:cubicBezTo>
                    <a:pt x="187" y="106"/>
                    <a:pt x="188" y="104"/>
                    <a:pt x="189" y="103"/>
                  </a:cubicBezTo>
                  <a:cubicBezTo>
                    <a:pt x="190" y="103"/>
                    <a:pt x="191" y="102"/>
                    <a:pt x="191" y="101"/>
                  </a:cubicBezTo>
                  <a:cubicBezTo>
                    <a:pt x="191" y="98"/>
                    <a:pt x="188" y="97"/>
                    <a:pt x="187" y="95"/>
                  </a:cubicBezTo>
                  <a:cubicBezTo>
                    <a:pt x="185" y="94"/>
                    <a:pt x="183" y="91"/>
                    <a:pt x="181" y="89"/>
                  </a:cubicBezTo>
                  <a:cubicBezTo>
                    <a:pt x="180" y="87"/>
                    <a:pt x="177" y="86"/>
                    <a:pt x="175" y="85"/>
                  </a:cubicBezTo>
                  <a:cubicBezTo>
                    <a:pt x="174" y="85"/>
                    <a:pt x="173" y="85"/>
                    <a:pt x="171" y="84"/>
                  </a:cubicBezTo>
                  <a:cubicBezTo>
                    <a:pt x="170" y="84"/>
                    <a:pt x="169" y="83"/>
                    <a:pt x="168" y="83"/>
                  </a:cubicBezTo>
                  <a:cubicBezTo>
                    <a:pt x="167" y="83"/>
                    <a:pt x="166" y="84"/>
                    <a:pt x="165" y="84"/>
                  </a:cubicBezTo>
                  <a:cubicBezTo>
                    <a:pt x="164" y="85"/>
                    <a:pt x="163" y="85"/>
                    <a:pt x="162" y="86"/>
                  </a:cubicBezTo>
                  <a:cubicBezTo>
                    <a:pt x="161" y="86"/>
                    <a:pt x="161" y="87"/>
                    <a:pt x="161" y="88"/>
                  </a:cubicBezTo>
                  <a:cubicBezTo>
                    <a:pt x="160" y="89"/>
                    <a:pt x="160" y="90"/>
                    <a:pt x="159" y="91"/>
                  </a:cubicBezTo>
                  <a:cubicBezTo>
                    <a:pt x="160" y="92"/>
                    <a:pt x="161" y="92"/>
                    <a:pt x="162" y="92"/>
                  </a:cubicBezTo>
                  <a:close/>
                  <a:moveTo>
                    <a:pt x="149" y="87"/>
                  </a:moveTo>
                  <a:cubicBezTo>
                    <a:pt x="148" y="89"/>
                    <a:pt x="150" y="91"/>
                    <a:pt x="150" y="93"/>
                  </a:cubicBezTo>
                  <a:cubicBezTo>
                    <a:pt x="151" y="94"/>
                    <a:pt x="150" y="97"/>
                    <a:pt x="148" y="98"/>
                  </a:cubicBezTo>
                  <a:cubicBezTo>
                    <a:pt x="147" y="98"/>
                    <a:pt x="146" y="98"/>
                    <a:pt x="146" y="99"/>
                  </a:cubicBezTo>
                  <a:cubicBezTo>
                    <a:pt x="146" y="100"/>
                    <a:pt x="145" y="101"/>
                    <a:pt x="145" y="101"/>
                  </a:cubicBezTo>
                  <a:cubicBezTo>
                    <a:pt x="145" y="103"/>
                    <a:pt x="149" y="105"/>
                    <a:pt x="150" y="105"/>
                  </a:cubicBezTo>
                  <a:cubicBezTo>
                    <a:pt x="153" y="107"/>
                    <a:pt x="155" y="107"/>
                    <a:pt x="158" y="107"/>
                  </a:cubicBezTo>
                  <a:cubicBezTo>
                    <a:pt x="162" y="106"/>
                    <a:pt x="165" y="106"/>
                    <a:pt x="169" y="106"/>
                  </a:cubicBezTo>
                  <a:cubicBezTo>
                    <a:pt x="171" y="106"/>
                    <a:pt x="172" y="106"/>
                    <a:pt x="173" y="107"/>
                  </a:cubicBezTo>
                  <a:cubicBezTo>
                    <a:pt x="174" y="107"/>
                    <a:pt x="176" y="107"/>
                    <a:pt x="177" y="108"/>
                  </a:cubicBezTo>
                  <a:cubicBezTo>
                    <a:pt x="178" y="109"/>
                    <a:pt x="182" y="116"/>
                    <a:pt x="183" y="110"/>
                  </a:cubicBezTo>
                  <a:cubicBezTo>
                    <a:pt x="184" y="107"/>
                    <a:pt x="185" y="103"/>
                    <a:pt x="181" y="102"/>
                  </a:cubicBezTo>
                  <a:cubicBezTo>
                    <a:pt x="179" y="102"/>
                    <a:pt x="178" y="101"/>
                    <a:pt x="177" y="100"/>
                  </a:cubicBezTo>
                  <a:cubicBezTo>
                    <a:pt x="176" y="99"/>
                    <a:pt x="176" y="98"/>
                    <a:pt x="174" y="98"/>
                  </a:cubicBezTo>
                  <a:cubicBezTo>
                    <a:pt x="172" y="96"/>
                    <a:pt x="170" y="95"/>
                    <a:pt x="168" y="94"/>
                  </a:cubicBezTo>
                  <a:cubicBezTo>
                    <a:pt x="167" y="94"/>
                    <a:pt x="165" y="94"/>
                    <a:pt x="164" y="93"/>
                  </a:cubicBezTo>
                  <a:cubicBezTo>
                    <a:pt x="162" y="93"/>
                    <a:pt x="161" y="94"/>
                    <a:pt x="160" y="94"/>
                  </a:cubicBezTo>
                  <a:cubicBezTo>
                    <a:pt x="158" y="94"/>
                    <a:pt x="158" y="94"/>
                    <a:pt x="157" y="92"/>
                  </a:cubicBezTo>
                  <a:cubicBezTo>
                    <a:pt x="157" y="91"/>
                    <a:pt x="155" y="87"/>
                    <a:pt x="155" y="86"/>
                  </a:cubicBezTo>
                  <a:cubicBezTo>
                    <a:pt x="153" y="84"/>
                    <a:pt x="150" y="85"/>
                    <a:pt x="149" y="87"/>
                  </a:cubicBezTo>
                  <a:close/>
                  <a:moveTo>
                    <a:pt x="190" y="115"/>
                  </a:moveTo>
                  <a:cubicBezTo>
                    <a:pt x="190" y="116"/>
                    <a:pt x="190" y="117"/>
                    <a:pt x="189" y="118"/>
                  </a:cubicBezTo>
                  <a:cubicBezTo>
                    <a:pt x="189" y="119"/>
                    <a:pt x="190" y="120"/>
                    <a:pt x="190" y="121"/>
                  </a:cubicBezTo>
                  <a:cubicBezTo>
                    <a:pt x="190" y="124"/>
                    <a:pt x="193" y="123"/>
                    <a:pt x="194" y="122"/>
                  </a:cubicBezTo>
                  <a:cubicBezTo>
                    <a:pt x="195" y="122"/>
                    <a:pt x="196" y="122"/>
                    <a:pt x="197" y="122"/>
                  </a:cubicBezTo>
                  <a:cubicBezTo>
                    <a:pt x="198" y="121"/>
                    <a:pt x="198" y="121"/>
                    <a:pt x="199" y="120"/>
                  </a:cubicBezTo>
                  <a:cubicBezTo>
                    <a:pt x="200" y="118"/>
                    <a:pt x="199" y="116"/>
                    <a:pt x="198" y="114"/>
                  </a:cubicBezTo>
                  <a:cubicBezTo>
                    <a:pt x="197" y="113"/>
                    <a:pt x="196" y="113"/>
                    <a:pt x="195" y="112"/>
                  </a:cubicBezTo>
                  <a:cubicBezTo>
                    <a:pt x="194" y="111"/>
                    <a:pt x="194" y="111"/>
                    <a:pt x="193" y="111"/>
                  </a:cubicBezTo>
                  <a:cubicBezTo>
                    <a:pt x="192" y="112"/>
                    <a:pt x="191" y="112"/>
                    <a:pt x="191" y="113"/>
                  </a:cubicBezTo>
                  <a:cubicBezTo>
                    <a:pt x="190" y="114"/>
                    <a:pt x="190" y="114"/>
                    <a:pt x="190" y="115"/>
                  </a:cubicBezTo>
                  <a:close/>
                  <a:moveTo>
                    <a:pt x="207" y="96"/>
                  </a:moveTo>
                  <a:cubicBezTo>
                    <a:pt x="206" y="97"/>
                    <a:pt x="206" y="97"/>
                    <a:pt x="207" y="98"/>
                  </a:cubicBezTo>
                  <a:cubicBezTo>
                    <a:pt x="207" y="99"/>
                    <a:pt x="208" y="100"/>
                    <a:pt x="207" y="100"/>
                  </a:cubicBezTo>
                  <a:cubicBezTo>
                    <a:pt x="206" y="100"/>
                    <a:pt x="205" y="99"/>
                    <a:pt x="204" y="100"/>
                  </a:cubicBezTo>
                  <a:cubicBezTo>
                    <a:pt x="204" y="100"/>
                    <a:pt x="203" y="101"/>
                    <a:pt x="203" y="101"/>
                  </a:cubicBezTo>
                  <a:cubicBezTo>
                    <a:pt x="203" y="102"/>
                    <a:pt x="202" y="103"/>
                    <a:pt x="202" y="103"/>
                  </a:cubicBezTo>
                  <a:cubicBezTo>
                    <a:pt x="202" y="104"/>
                    <a:pt x="202" y="105"/>
                    <a:pt x="202" y="106"/>
                  </a:cubicBezTo>
                  <a:cubicBezTo>
                    <a:pt x="202" y="107"/>
                    <a:pt x="202" y="108"/>
                    <a:pt x="202" y="109"/>
                  </a:cubicBezTo>
                  <a:cubicBezTo>
                    <a:pt x="203" y="110"/>
                    <a:pt x="203" y="111"/>
                    <a:pt x="204" y="112"/>
                  </a:cubicBezTo>
                  <a:cubicBezTo>
                    <a:pt x="205" y="113"/>
                    <a:pt x="205" y="114"/>
                    <a:pt x="206" y="114"/>
                  </a:cubicBezTo>
                  <a:cubicBezTo>
                    <a:pt x="206" y="115"/>
                    <a:pt x="207" y="115"/>
                    <a:pt x="208" y="115"/>
                  </a:cubicBezTo>
                  <a:cubicBezTo>
                    <a:pt x="210" y="116"/>
                    <a:pt x="209" y="114"/>
                    <a:pt x="210" y="113"/>
                  </a:cubicBezTo>
                  <a:cubicBezTo>
                    <a:pt x="210" y="112"/>
                    <a:pt x="210" y="112"/>
                    <a:pt x="211" y="111"/>
                  </a:cubicBezTo>
                  <a:cubicBezTo>
                    <a:pt x="211" y="111"/>
                    <a:pt x="211" y="110"/>
                    <a:pt x="212" y="110"/>
                  </a:cubicBezTo>
                  <a:cubicBezTo>
                    <a:pt x="212" y="109"/>
                    <a:pt x="212" y="109"/>
                    <a:pt x="212" y="109"/>
                  </a:cubicBezTo>
                  <a:cubicBezTo>
                    <a:pt x="211" y="107"/>
                    <a:pt x="209" y="107"/>
                    <a:pt x="210" y="105"/>
                  </a:cubicBezTo>
                  <a:cubicBezTo>
                    <a:pt x="210" y="104"/>
                    <a:pt x="211" y="105"/>
                    <a:pt x="212" y="106"/>
                  </a:cubicBezTo>
                  <a:cubicBezTo>
                    <a:pt x="212" y="106"/>
                    <a:pt x="213" y="107"/>
                    <a:pt x="214" y="107"/>
                  </a:cubicBezTo>
                  <a:cubicBezTo>
                    <a:pt x="215" y="107"/>
                    <a:pt x="213" y="105"/>
                    <a:pt x="212" y="104"/>
                  </a:cubicBezTo>
                  <a:cubicBezTo>
                    <a:pt x="211" y="103"/>
                    <a:pt x="210" y="102"/>
                    <a:pt x="210" y="100"/>
                  </a:cubicBezTo>
                  <a:cubicBezTo>
                    <a:pt x="210" y="98"/>
                    <a:pt x="210" y="97"/>
                    <a:pt x="209" y="96"/>
                  </a:cubicBezTo>
                  <a:cubicBezTo>
                    <a:pt x="209" y="95"/>
                    <a:pt x="208" y="95"/>
                    <a:pt x="207" y="96"/>
                  </a:cubicBezTo>
                  <a:close/>
                  <a:moveTo>
                    <a:pt x="201" y="92"/>
                  </a:moveTo>
                  <a:cubicBezTo>
                    <a:pt x="202" y="92"/>
                    <a:pt x="203" y="93"/>
                    <a:pt x="204" y="93"/>
                  </a:cubicBezTo>
                  <a:cubicBezTo>
                    <a:pt x="205" y="93"/>
                    <a:pt x="206" y="94"/>
                    <a:pt x="207" y="93"/>
                  </a:cubicBezTo>
                  <a:cubicBezTo>
                    <a:pt x="208" y="92"/>
                    <a:pt x="207" y="91"/>
                    <a:pt x="206" y="90"/>
                  </a:cubicBezTo>
                  <a:cubicBezTo>
                    <a:pt x="205" y="89"/>
                    <a:pt x="204" y="89"/>
                    <a:pt x="204" y="87"/>
                  </a:cubicBezTo>
                  <a:cubicBezTo>
                    <a:pt x="204" y="86"/>
                    <a:pt x="204" y="85"/>
                    <a:pt x="203" y="85"/>
                  </a:cubicBezTo>
                  <a:cubicBezTo>
                    <a:pt x="202" y="85"/>
                    <a:pt x="202" y="86"/>
                    <a:pt x="202" y="86"/>
                  </a:cubicBezTo>
                  <a:cubicBezTo>
                    <a:pt x="201" y="87"/>
                    <a:pt x="201" y="87"/>
                    <a:pt x="200" y="87"/>
                  </a:cubicBezTo>
                  <a:cubicBezTo>
                    <a:pt x="200" y="88"/>
                    <a:pt x="200" y="88"/>
                    <a:pt x="200" y="89"/>
                  </a:cubicBezTo>
                  <a:cubicBezTo>
                    <a:pt x="200" y="90"/>
                    <a:pt x="201" y="91"/>
                    <a:pt x="201" y="92"/>
                  </a:cubicBezTo>
                  <a:close/>
                  <a:moveTo>
                    <a:pt x="205" y="175"/>
                  </a:moveTo>
                  <a:cubicBezTo>
                    <a:pt x="206" y="175"/>
                    <a:pt x="207" y="175"/>
                    <a:pt x="208" y="174"/>
                  </a:cubicBezTo>
                  <a:cubicBezTo>
                    <a:pt x="208" y="173"/>
                    <a:pt x="209" y="172"/>
                    <a:pt x="210" y="171"/>
                  </a:cubicBezTo>
                  <a:cubicBezTo>
                    <a:pt x="210" y="171"/>
                    <a:pt x="210" y="170"/>
                    <a:pt x="210" y="169"/>
                  </a:cubicBezTo>
                  <a:cubicBezTo>
                    <a:pt x="211" y="169"/>
                    <a:pt x="211" y="169"/>
                    <a:pt x="212" y="168"/>
                  </a:cubicBezTo>
                  <a:cubicBezTo>
                    <a:pt x="212" y="167"/>
                    <a:pt x="213" y="166"/>
                    <a:pt x="213" y="166"/>
                  </a:cubicBezTo>
                  <a:cubicBezTo>
                    <a:pt x="214" y="165"/>
                    <a:pt x="212" y="165"/>
                    <a:pt x="212" y="165"/>
                  </a:cubicBezTo>
                  <a:cubicBezTo>
                    <a:pt x="211" y="165"/>
                    <a:pt x="210" y="166"/>
                    <a:pt x="210" y="167"/>
                  </a:cubicBezTo>
                  <a:cubicBezTo>
                    <a:pt x="209" y="167"/>
                    <a:pt x="208" y="168"/>
                    <a:pt x="207" y="168"/>
                  </a:cubicBezTo>
                  <a:cubicBezTo>
                    <a:pt x="205" y="169"/>
                    <a:pt x="204" y="170"/>
                    <a:pt x="202" y="170"/>
                  </a:cubicBezTo>
                  <a:cubicBezTo>
                    <a:pt x="201" y="170"/>
                    <a:pt x="199" y="170"/>
                    <a:pt x="198" y="171"/>
                  </a:cubicBezTo>
                  <a:cubicBezTo>
                    <a:pt x="197" y="171"/>
                    <a:pt x="198" y="171"/>
                    <a:pt x="198" y="172"/>
                  </a:cubicBezTo>
                  <a:cubicBezTo>
                    <a:pt x="199" y="173"/>
                    <a:pt x="200" y="174"/>
                    <a:pt x="202" y="175"/>
                  </a:cubicBezTo>
                  <a:cubicBezTo>
                    <a:pt x="203" y="176"/>
                    <a:pt x="204" y="176"/>
                    <a:pt x="205" y="175"/>
                  </a:cubicBezTo>
                  <a:close/>
                  <a:moveTo>
                    <a:pt x="221" y="176"/>
                  </a:moveTo>
                  <a:cubicBezTo>
                    <a:pt x="222" y="176"/>
                    <a:pt x="224" y="176"/>
                    <a:pt x="225" y="176"/>
                  </a:cubicBezTo>
                  <a:cubicBezTo>
                    <a:pt x="226" y="175"/>
                    <a:pt x="227" y="175"/>
                    <a:pt x="228" y="175"/>
                  </a:cubicBezTo>
                  <a:cubicBezTo>
                    <a:pt x="228" y="174"/>
                    <a:pt x="228" y="173"/>
                    <a:pt x="228" y="173"/>
                  </a:cubicBezTo>
                  <a:cubicBezTo>
                    <a:pt x="228" y="172"/>
                    <a:pt x="227" y="172"/>
                    <a:pt x="227" y="172"/>
                  </a:cubicBezTo>
                  <a:cubicBezTo>
                    <a:pt x="226" y="171"/>
                    <a:pt x="226" y="171"/>
                    <a:pt x="225" y="170"/>
                  </a:cubicBezTo>
                  <a:cubicBezTo>
                    <a:pt x="224" y="170"/>
                    <a:pt x="223" y="170"/>
                    <a:pt x="222" y="169"/>
                  </a:cubicBezTo>
                  <a:cubicBezTo>
                    <a:pt x="222" y="169"/>
                    <a:pt x="221" y="169"/>
                    <a:pt x="220" y="169"/>
                  </a:cubicBezTo>
                  <a:cubicBezTo>
                    <a:pt x="219" y="168"/>
                    <a:pt x="217" y="168"/>
                    <a:pt x="216" y="168"/>
                  </a:cubicBezTo>
                  <a:cubicBezTo>
                    <a:pt x="215" y="167"/>
                    <a:pt x="214" y="168"/>
                    <a:pt x="213" y="169"/>
                  </a:cubicBezTo>
                  <a:cubicBezTo>
                    <a:pt x="212" y="170"/>
                    <a:pt x="212" y="171"/>
                    <a:pt x="211" y="172"/>
                  </a:cubicBezTo>
                  <a:cubicBezTo>
                    <a:pt x="211" y="172"/>
                    <a:pt x="210" y="172"/>
                    <a:pt x="210" y="173"/>
                  </a:cubicBezTo>
                  <a:cubicBezTo>
                    <a:pt x="209" y="174"/>
                    <a:pt x="209" y="175"/>
                    <a:pt x="210" y="176"/>
                  </a:cubicBezTo>
                  <a:cubicBezTo>
                    <a:pt x="211" y="176"/>
                    <a:pt x="212" y="176"/>
                    <a:pt x="213" y="176"/>
                  </a:cubicBezTo>
                  <a:cubicBezTo>
                    <a:pt x="214" y="176"/>
                    <a:pt x="215" y="177"/>
                    <a:pt x="216" y="177"/>
                  </a:cubicBezTo>
                  <a:cubicBezTo>
                    <a:pt x="216" y="177"/>
                    <a:pt x="217" y="177"/>
                    <a:pt x="218" y="177"/>
                  </a:cubicBezTo>
                  <a:cubicBezTo>
                    <a:pt x="219" y="177"/>
                    <a:pt x="220" y="177"/>
                    <a:pt x="221" y="176"/>
                  </a:cubicBezTo>
                  <a:close/>
                  <a:moveTo>
                    <a:pt x="203" y="180"/>
                  </a:moveTo>
                  <a:cubicBezTo>
                    <a:pt x="204" y="181"/>
                    <a:pt x="204" y="181"/>
                    <a:pt x="205" y="182"/>
                  </a:cubicBezTo>
                  <a:cubicBezTo>
                    <a:pt x="205" y="182"/>
                    <a:pt x="205" y="182"/>
                    <a:pt x="205" y="183"/>
                  </a:cubicBezTo>
                  <a:cubicBezTo>
                    <a:pt x="205" y="184"/>
                    <a:pt x="206" y="184"/>
                    <a:pt x="207" y="184"/>
                  </a:cubicBezTo>
                  <a:cubicBezTo>
                    <a:pt x="207" y="185"/>
                    <a:pt x="208" y="185"/>
                    <a:pt x="208" y="185"/>
                  </a:cubicBezTo>
                  <a:cubicBezTo>
                    <a:pt x="209" y="185"/>
                    <a:pt x="209" y="185"/>
                    <a:pt x="210" y="185"/>
                  </a:cubicBezTo>
                  <a:cubicBezTo>
                    <a:pt x="211" y="185"/>
                    <a:pt x="212" y="185"/>
                    <a:pt x="213" y="185"/>
                  </a:cubicBezTo>
                  <a:cubicBezTo>
                    <a:pt x="213" y="185"/>
                    <a:pt x="214" y="185"/>
                    <a:pt x="214" y="184"/>
                  </a:cubicBezTo>
                  <a:cubicBezTo>
                    <a:pt x="215" y="184"/>
                    <a:pt x="215" y="183"/>
                    <a:pt x="215" y="183"/>
                  </a:cubicBezTo>
                  <a:cubicBezTo>
                    <a:pt x="216" y="183"/>
                    <a:pt x="217" y="182"/>
                    <a:pt x="217" y="182"/>
                  </a:cubicBezTo>
                  <a:cubicBezTo>
                    <a:pt x="217" y="182"/>
                    <a:pt x="217" y="181"/>
                    <a:pt x="217" y="181"/>
                  </a:cubicBezTo>
                  <a:cubicBezTo>
                    <a:pt x="217" y="180"/>
                    <a:pt x="216" y="179"/>
                    <a:pt x="216" y="179"/>
                  </a:cubicBezTo>
                  <a:cubicBezTo>
                    <a:pt x="214" y="179"/>
                    <a:pt x="213" y="179"/>
                    <a:pt x="212" y="178"/>
                  </a:cubicBezTo>
                  <a:cubicBezTo>
                    <a:pt x="211" y="177"/>
                    <a:pt x="211" y="177"/>
                    <a:pt x="210" y="177"/>
                  </a:cubicBezTo>
                  <a:cubicBezTo>
                    <a:pt x="208" y="177"/>
                    <a:pt x="207" y="177"/>
                    <a:pt x="206" y="177"/>
                  </a:cubicBezTo>
                  <a:cubicBezTo>
                    <a:pt x="205" y="177"/>
                    <a:pt x="202" y="176"/>
                    <a:pt x="202" y="178"/>
                  </a:cubicBezTo>
                  <a:cubicBezTo>
                    <a:pt x="202" y="178"/>
                    <a:pt x="202" y="179"/>
                    <a:pt x="202" y="180"/>
                  </a:cubicBezTo>
                  <a:cubicBezTo>
                    <a:pt x="203" y="180"/>
                    <a:pt x="203" y="180"/>
                    <a:pt x="203" y="180"/>
                  </a:cubicBezTo>
                  <a:close/>
                  <a:moveTo>
                    <a:pt x="185" y="116"/>
                  </a:moveTo>
                  <a:cubicBezTo>
                    <a:pt x="185" y="116"/>
                    <a:pt x="185" y="115"/>
                    <a:pt x="185" y="115"/>
                  </a:cubicBezTo>
                  <a:cubicBezTo>
                    <a:pt x="185" y="114"/>
                    <a:pt x="184" y="114"/>
                    <a:pt x="183" y="114"/>
                  </a:cubicBezTo>
                  <a:cubicBezTo>
                    <a:pt x="183" y="114"/>
                    <a:pt x="182" y="115"/>
                    <a:pt x="183" y="115"/>
                  </a:cubicBezTo>
                  <a:cubicBezTo>
                    <a:pt x="183" y="115"/>
                    <a:pt x="183" y="116"/>
                    <a:pt x="183" y="116"/>
                  </a:cubicBezTo>
                  <a:cubicBezTo>
                    <a:pt x="184" y="117"/>
                    <a:pt x="184" y="117"/>
                    <a:pt x="184" y="117"/>
                  </a:cubicBezTo>
                  <a:cubicBezTo>
                    <a:pt x="184" y="118"/>
                    <a:pt x="185" y="119"/>
                    <a:pt x="185" y="119"/>
                  </a:cubicBezTo>
                  <a:cubicBezTo>
                    <a:pt x="186" y="118"/>
                    <a:pt x="186" y="118"/>
                    <a:pt x="186" y="118"/>
                  </a:cubicBezTo>
                  <a:cubicBezTo>
                    <a:pt x="186" y="118"/>
                    <a:pt x="186" y="118"/>
                    <a:pt x="186" y="117"/>
                  </a:cubicBezTo>
                  <a:cubicBezTo>
                    <a:pt x="186" y="117"/>
                    <a:pt x="185" y="116"/>
                    <a:pt x="185" y="116"/>
                  </a:cubicBezTo>
                  <a:close/>
                  <a:moveTo>
                    <a:pt x="229" y="152"/>
                  </a:moveTo>
                  <a:cubicBezTo>
                    <a:pt x="229" y="151"/>
                    <a:pt x="228" y="149"/>
                    <a:pt x="228" y="147"/>
                  </a:cubicBezTo>
                  <a:cubicBezTo>
                    <a:pt x="228" y="145"/>
                    <a:pt x="227" y="143"/>
                    <a:pt x="227" y="143"/>
                  </a:cubicBezTo>
                  <a:cubicBezTo>
                    <a:pt x="227" y="143"/>
                    <a:pt x="225" y="138"/>
                    <a:pt x="224" y="136"/>
                  </a:cubicBezTo>
                  <a:cubicBezTo>
                    <a:pt x="224" y="134"/>
                    <a:pt x="222" y="134"/>
                    <a:pt x="222" y="134"/>
                  </a:cubicBezTo>
                  <a:cubicBezTo>
                    <a:pt x="221" y="134"/>
                    <a:pt x="219" y="133"/>
                    <a:pt x="218" y="132"/>
                  </a:cubicBezTo>
                  <a:cubicBezTo>
                    <a:pt x="217" y="131"/>
                    <a:pt x="216" y="129"/>
                    <a:pt x="215" y="128"/>
                  </a:cubicBezTo>
                  <a:cubicBezTo>
                    <a:pt x="213" y="127"/>
                    <a:pt x="212" y="126"/>
                    <a:pt x="211" y="126"/>
                  </a:cubicBezTo>
                  <a:cubicBezTo>
                    <a:pt x="210" y="126"/>
                    <a:pt x="208" y="124"/>
                    <a:pt x="207" y="123"/>
                  </a:cubicBezTo>
                  <a:cubicBezTo>
                    <a:pt x="206" y="123"/>
                    <a:pt x="202" y="121"/>
                    <a:pt x="200" y="122"/>
                  </a:cubicBezTo>
                  <a:cubicBezTo>
                    <a:pt x="199" y="123"/>
                    <a:pt x="198" y="123"/>
                    <a:pt x="196" y="124"/>
                  </a:cubicBezTo>
                  <a:cubicBezTo>
                    <a:pt x="195" y="124"/>
                    <a:pt x="194" y="125"/>
                    <a:pt x="193" y="126"/>
                  </a:cubicBezTo>
                  <a:cubicBezTo>
                    <a:pt x="192" y="127"/>
                    <a:pt x="191" y="129"/>
                    <a:pt x="190" y="129"/>
                  </a:cubicBezTo>
                  <a:cubicBezTo>
                    <a:pt x="188" y="130"/>
                    <a:pt x="187" y="130"/>
                    <a:pt x="187" y="130"/>
                  </a:cubicBezTo>
                  <a:cubicBezTo>
                    <a:pt x="187" y="130"/>
                    <a:pt x="182" y="134"/>
                    <a:pt x="179" y="136"/>
                  </a:cubicBezTo>
                  <a:cubicBezTo>
                    <a:pt x="176" y="137"/>
                    <a:pt x="174" y="138"/>
                    <a:pt x="173" y="138"/>
                  </a:cubicBezTo>
                  <a:cubicBezTo>
                    <a:pt x="172" y="138"/>
                    <a:pt x="168" y="139"/>
                    <a:pt x="167" y="139"/>
                  </a:cubicBezTo>
                  <a:cubicBezTo>
                    <a:pt x="167" y="139"/>
                    <a:pt x="161" y="141"/>
                    <a:pt x="160" y="141"/>
                  </a:cubicBezTo>
                  <a:cubicBezTo>
                    <a:pt x="159" y="142"/>
                    <a:pt x="157" y="143"/>
                    <a:pt x="157" y="144"/>
                  </a:cubicBezTo>
                  <a:cubicBezTo>
                    <a:pt x="157" y="144"/>
                    <a:pt x="152" y="144"/>
                    <a:pt x="152" y="143"/>
                  </a:cubicBezTo>
                  <a:cubicBezTo>
                    <a:pt x="152" y="142"/>
                    <a:pt x="154" y="142"/>
                    <a:pt x="154" y="142"/>
                  </a:cubicBezTo>
                  <a:cubicBezTo>
                    <a:pt x="155" y="142"/>
                    <a:pt x="156" y="142"/>
                    <a:pt x="156" y="141"/>
                  </a:cubicBezTo>
                  <a:cubicBezTo>
                    <a:pt x="156" y="141"/>
                    <a:pt x="158" y="140"/>
                    <a:pt x="158" y="140"/>
                  </a:cubicBezTo>
                  <a:cubicBezTo>
                    <a:pt x="159" y="140"/>
                    <a:pt x="162" y="138"/>
                    <a:pt x="163" y="138"/>
                  </a:cubicBezTo>
                  <a:cubicBezTo>
                    <a:pt x="164" y="138"/>
                    <a:pt x="167" y="137"/>
                    <a:pt x="167" y="136"/>
                  </a:cubicBezTo>
                  <a:cubicBezTo>
                    <a:pt x="167" y="136"/>
                    <a:pt x="175" y="134"/>
                    <a:pt x="176" y="133"/>
                  </a:cubicBezTo>
                  <a:cubicBezTo>
                    <a:pt x="177" y="132"/>
                    <a:pt x="187" y="127"/>
                    <a:pt x="187" y="127"/>
                  </a:cubicBezTo>
                  <a:cubicBezTo>
                    <a:pt x="188" y="126"/>
                    <a:pt x="187" y="125"/>
                    <a:pt x="187" y="124"/>
                  </a:cubicBezTo>
                  <a:cubicBezTo>
                    <a:pt x="187" y="123"/>
                    <a:pt x="185" y="122"/>
                    <a:pt x="184" y="122"/>
                  </a:cubicBezTo>
                  <a:cubicBezTo>
                    <a:pt x="184" y="121"/>
                    <a:pt x="181" y="116"/>
                    <a:pt x="181" y="115"/>
                  </a:cubicBezTo>
                  <a:cubicBezTo>
                    <a:pt x="180" y="115"/>
                    <a:pt x="175" y="111"/>
                    <a:pt x="173" y="109"/>
                  </a:cubicBezTo>
                  <a:cubicBezTo>
                    <a:pt x="171" y="108"/>
                    <a:pt x="172" y="109"/>
                    <a:pt x="170" y="109"/>
                  </a:cubicBezTo>
                  <a:cubicBezTo>
                    <a:pt x="169" y="110"/>
                    <a:pt x="165" y="109"/>
                    <a:pt x="165" y="109"/>
                  </a:cubicBezTo>
                  <a:cubicBezTo>
                    <a:pt x="164" y="108"/>
                    <a:pt x="163" y="108"/>
                    <a:pt x="162" y="108"/>
                  </a:cubicBezTo>
                  <a:cubicBezTo>
                    <a:pt x="162" y="108"/>
                    <a:pt x="156" y="109"/>
                    <a:pt x="155" y="109"/>
                  </a:cubicBezTo>
                  <a:cubicBezTo>
                    <a:pt x="154" y="109"/>
                    <a:pt x="149" y="108"/>
                    <a:pt x="148" y="107"/>
                  </a:cubicBezTo>
                  <a:cubicBezTo>
                    <a:pt x="146" y="106"/>
                    <a:pt x="142" y="102"/>
                    <a:pt x="142" y="101"/>
                  </a:cubicBezTo>
                  <a:cubicBezTo>
                    <a:pt x="141" y="100"/>
                    <a:pt x="140" y="98"/>
                    <a:pt x="140" y="98"/>
                  </a:cubicBezTo>
                  <a:cubicBezTo>
                    <a:pt x="140" y="98"/>
                    <a:pt x="137" y="96"/>
                    <a:pt x="135" y="94"/>
                  </a:cubicBezTo>
                  <a:cubicBezTo>
                    <a:pt x="133" y="92"/>
                    <a:pt x="133" y="90"/>
                    <a:pt x="133" y="89"/>
                  </a:cubicBezTo>
                  <a:cubicBezTo>
                    <a:pt x="132" y="88"/>
                    <a:pt x="132" y="85"/>
                    <a:pt x="132" y="84"/>
                  </a:cubicBezTo>
                  <a:cubicBezTo>
                    <a:pt x="132" y="84"/>
                    <a:pt x="132" y="82"/>
                    <a:pt x="132" y="81"/>
                  </a:cubicBezTo>
                  <a:cubicBezTo>
                    <a:pt x="132" y="80"/>
                    <a:pt x="131" y="79"/>
                    <a:pt x="131" y="79"/>
                  </a:cubicBezTo>
                  <a:cubicBezTo>
                    <a:pt x="130" y="82"/>
                    <a:pt x="130" y="82"/>
                    <a:pt x="130" y="82"/>
                  </a:cubicBezTo>
                  <a:cubicBezTo>
                    <a:pt x="130" y="85"/>
                    <a:pt x="130" y="85"/>
                    <a:pt x="130" y="85"/>
                  </a:cubicBezTo>
                  <a:cubicBezTo>
                    <a:pt x="130" y="85"/>
                    <a:pt x="128" y="86"/>
                    <a:pt x="128" y="85"/>
                  </a:cubicBezTo>
                  <a:cubicBezTo>
                    <a:pt x="129" y="85"/>
                    <a:pt x="130" y="83"/>
                    <a:pt x="129" y="82"/>
                  </a:cubicBezTo>
                  <a:cubicBezTo>
                    <a:pt x="129" y="81"/>
                    <a:pt x="129" y="77"/>
                    <a:pt x="129" y="77"/>
                  </a:cubicBezTo>
                  <a:cubicBezTo>
                    <a:pt x="129" y="76"/>
                    <a:pt x="129" y="71"/>
                    <a:pt x="129" y="71"/>
                  </a:cubicBezTo>
                  <a:cubicBezTo>
                    <a:pt x="129" y="71"/>
                    <a:pt x="129" y="70"/>
                    <a:pt x="129" y="70"/>
                  </a:cubicBezTo>
                  <a:cubicBezTo>
                    <a:pt x="128" y="70"/>
                    <a:pt x="123" y="67"/>
                    <a:pt x="122" y="67"/>
                  </a:cubicBezTo>
                  <a:cubicBezTo>
                    <a:pt x="121" y="66"/>
                    <a:pt x="115" y="62"/>
                    <a:pt x="114" y="61"/>
                  </a:cubicBezTo>
                  <a:cubicBezTo>
                    <a:pt x="114" y="61"/>
                    <a:pt x="106" y="54"/>
                    <a:pt x="105" y="53"/>
                  </a:cubicBezTo>
                  <a:cubicBezTo>
                    <a:pt x="104" y="53"/>
                    <a:pt x="102" y="53"/>
                    <a:pt x="101" y="53"/>
                  </a:cubicBezTo>
                  <a:cubicBezTo>
                    <a:pt x="99" y="53"/>
                    <a:pt x="97" y="54"/>
                    <a:pt x="96" y="54"/>
                  </a:cubicBezTo>
                  <a:cubicBezTo>
                    <a:pt x="95" y="54"/>
                    <a:pt x="93" y="54"/>
                    <a:pt x="93" y="54"/>
                  </a:cubicBezTo>
                  <a:cubicBezTo>
                    <a:pt x="92" y="54"/>
                    <a:pt x="89" y="52"/>
                    <a:pt x="89" y="52"/>
                  </a:cubicBezTo>
                  <a:cubicBezTo>
                    <a:pt x="88" y="52"/>
                    <a:pt x="88" y="53"/>
                    <a:pt x="85" y="51"/>
                  </a:cubicBezTo>
                  <a:cubicBezTo>
                    <a:pt x="81" y="49"/>
                    <a:pt x="81" y="45"/>
                    <a:pt x="81" y="44"/>
                  </a:cubicBezTo>
                  <a:cubicBezTo>
                    <a:pt x="81" y="43"/>
                    <a:pt x="81" y="42"/>
                    <a:pt x="80" y="41"/>
                  </a:cubicBezTo>
                  <a:cubicBezTo>
                    <a:pt x="80" y="40"/>
                    <a:pt x="79" y="38"/>
                    <a:pt x="79" y="36"/>
                  </a:cubicBezTo>
                  <a:cubicBezTo>
                    <a:pt x="78" y="34"/>
                    <a:pt x="78" y="33"/>
                    <a:pt x="78" y="30"/>
                  </a:cubicBezTo>
                  <a:cubicBezTo>
                    <a:pt x="77" y="28"/>
                    <a:pt x="76" y="28"/>
                    <a:pt x="75" y="27"/>
                  </a:cubicBezTo>
                  <a:cubicBezTo>
                    <a:pt x="74" y="26"/>
                    <a:pt x="70" y="24"/>
                    <a:pt x="68" y="23"/>
                  </a:cubicBezTo>
                  <a:cubicBezTo>
                    <a:pt x="66" y="22"/>
                    <a:pt x="65" y="20"/>
                    <a:pt x="64" y="18"/>
                  </a:cubicBezTo>
                  <a:cubicBezTo>
                    <a:pt x="64" y="16"/>
                    <a:pt x="62" y="15"/>
                    <a:pt x="61" y="15"/>
                  </a:cubicBezTo>
                  <a:cubicBezTo>
                    <a:pt x="61" y="15"/>
                    <a:pt x="59" y="15"/>
                    <a:pt x="58" y="14"/>
                  </a:cubicBezTo>
                  <a:cubicBezTo>
                    <a:pt x="56" y="14"/>
                    <a:pt x="53" y="14"/>
                    <a:pt x="52" y="14"/>
                  </a:cubicBezTo>
                  <a:cubicBezTo>
                    <a:pt x="52" y="14"/>
                    <a:pt x="50" y="14"/>
                    <a:pt x="49" y="15"/>
                  </a:cubicBezTo>
                  <a:cubicBezTo>
                    <a:pt x="49" y="15"/>
                    <a:pt x="47" y="17"/>
                    <a:pt x="47" y="17"/>
                  </a:cubicBezTo>
                  <a:cubicBezTo>
                    <a:pt x="47" y="17"/>
                    <a:pt x="45" y="18"/>
                    <a:pt x="44" y="17"/>
                  </a:cubicBezTo>
                  <a:cubicBezTo>
                    <a:pt x="44" y="16"/>
                    <a:pt x="42" y="17"/>
                    <a:pt x="42" y="17"/>
                  </a:cubicBezTo>
                  <a:cubicBezTo>
                    <a:pt x="41" y="17"/>
                    <a:pt x="41" y="20"/>
                    <a:pt x="41" y="20"/>
                  </a:cubicBezTo>
                  <a:cubicBezTo>
                    <a:pt x="42" y="20"/>
                    <a:pt x="43" y="22"/>
                    <a:pt x="45" y="24"/>
                  </a:cubicBezTo>
                  <a:cubicBezTo>
                    <a:pt x="47" y="25"/>
                    <a:pt x="49" y="27"/>
                    <a:pt x="50" y="27"/>
                  </a:cubicBezTo>
                  <a:cubicBezTo>
                    <a:pt x="52" y="28"/>
                    <a:pt x="53" y="31"/>
                    <a:pt x="54" y="32"/>
                  </a:cubicBezTo>
                  <a:cubicBezTo>
                    <a:pt x="54" y="33"/>
                    <a:pt x="55" y="37"/>
                    <a:pt x="55" y="38"/>
                  </a:cubicBezTo>
                  <a:cubicBezTo>
                    <a:pt x="55" y="39"/>
                    <a:pt x="55" y="40"/>
                    <a:pt x="56" y="41"/>
                  </a:cubicBezTo>
                  <a:cubicBezTo>
                    <a:pt x="56" y="41"/>
                    <a:pt x="56" y="43"/>
                    <a:pt x="56" y="44"/>
                  </a:cubicBezTo>
                  <a:cubicBezTo>
                    <a:pt x="56" y="44"/>
                    <a:pt x="55" y="44"/>
                    <a:pt x="55" y="44"/>
                  </a:cubicBezTo>
                  <a:cubicBezTo>
                    <a:pt x="54" y="43"/>
                    <a:pt x="54" y="43"/>
                    <a:pt x="54" y="43"/>
                  </a:cubicBezTo>
                  <a:cubicBezTo>
                    <a:pt x="53" y="41"/>
                    <a:pt x="53" y="41"/>
                    <a:pt x="53" y="41"/>
                  </a:cubicBezTo>
                  <a:cubicBezTo>
                    <a:pt x="53" y="41"/>
                    <a:pt x="54" y="40"/>
                    <a:pt x="54" y="39"/>
                  </a:cubicBezTo>
                  <a:cubicBezTo>
                    <a:pt x="54" y="38"/>
                    <a:pt x="53" y="36"/>
                    <a:pt x="52" y="35"/>
                  </a:cubicBezTo>
                  <a:cubicBezTo>
                    <a:pt x="52" y="34"/>
                    <a:pt x="50" y="32"/>
                    <a:pt x="49" y="31"/>
                  </a:cubicBezTo>
                  <a:cubicBezTo>
                    <a:pt x="49" y="30"/>
                    <a:pt x="45" y="28"/>
                    <a:pt x="45" y="28"/>
                  </a:cubicBezTo>
                  <a:cubicBezTo>
                    <a:pt x="44" y="28"/>
                    <a:pt x="39" y="26"/>
                    <a:pt x="38" y="25"/>
                  </a:cubicBezTo>
                  <a:cubicBezTo>
                    <a:pt x="38" y="25"/>
                    <a:pt x="33" y="22"/>
                    <a:pt x="32" y="22"/>
                  </a:cubicBezTo>
                  <a:cubicBezTo>
                    <a:pt x="31" y="22"/>
                    <a:pt x="27" y="18"/>
                    <a:pt x="27" y="18"/>
                  </a:cubicBezTo>
                  <a:cubicBezTo>
                    <a:pt x="26" y="17"/>
                    <a:pt x="23" y="13"/>
                    <a:pt x="22" y="12"/>
                  </a:cubicBezTo>
                  <a:cubicBezTo>
                    <a:pt x="21" y="10"/>
                    <a:pt x="20" y="7"/>
                    <a:pt x="20" y="5"/>
                  </a:cubicBezTo>
                  <a:cubicBezTo>
                    <a:pt x="19" y="3"/>
                    <a:pt x="19" y="1"/>
                    <a:pt x="18" y="0"/>
                  </a:cubicBezTo>
                  <a:cubicBezTo>
                    <a:pt x="18" y="0"/>
                    <a:pt x="18" y="0"/>
                    <a:pt x="18" y="0"/>
                  </a:cubicBezTo>
                  <a:cubicBezTo>
                    <a:pt x="18" y="2"/>
                    <a:pt x="16" y="5"/>
                    <a:pt x="16" y="7"/>
                  </a:cubicBezTo>
                  <a:cubicBezTo>
                    <a:pt x="16" y="11"/>
                    <a:pt x="17" y="13"/>
                    <a:pt x="18" y="16"/>
                  </a:cubicBezTo>
                  <a:cubicBezTo>
                    <a:pt x="19" y="20"/>
                    <a:pt x="20" y="22"/>
                    <a:pt x="19" y="26"/>
                  </a:cubicBezTo>
                  <a:cubicBezTo>
                    <a:pt x="18" y="29"/>
                    <a:pt x="17" y="32"/>
                    <a:pt x="17" y="36"/>
                  </a:cubicBezTo>
                  <a:cubicBezTo>
                    <a:pt x="16" y="38"/>
                    <a:pt x="15" y="40"/>
                    <a:pt x="15" y="42"/>
                  </a:cubicBezTo>
                  <a:cubicBezTo>
                    <a:pt x="15" y="43"/>
                    <a:pt x="16" y="44"/>
                    <a:pt x="17" y="45"/>
                  </a:cubicBezTo>
                  <a:cubicBezTo>
                    <a:pt x="17" y="46"/>
                    <a:pt x="19" y="45"/>
                    <a:pt x="20" y="45"/>
                  </a:cubicBezTo>
                  <a:cubicBezTo>
                    <a:pt x="20" y="47"/>
                    <a:pt x="19" y="48"/>
                    <a:pt x="19" y="49"/>
                  </a:cubicBezTo>
                  <a:cubicBezTo>
                    <a:pt x="20" y="51"/>
                    <a:pt x="21" y="50"/>
                    <a:pt x="22" y="52"/>
                  </a:cubicBezTo>
                  <a:cubicBezTo>
                    <a:pt x="23" y="53"/>
                    <a:pt x="22" y="55"/>
                    <a:pt x="22" y="56"/>
                  </a:cubicBezTo>
                  <a:cubicBezTo>
                    <a:pt x="22" y="58"/>
                    <a:pt x="23" y="59"/>
                    <a:pt x="23" y="60"/>
                  </a:cubicBezTo>
                  <a:cubicBezTo>
                    <a:pt x="23" y="62"/>
                    <a:pt x="23" y="63"/>
                    <a:pt x="22" y="64"/>
                  </a:cubicBezTo>
                  <a:cubicBezTo>
                    <a:pt x="21" y="66"/>
                    <a:pt x="21" y="64"/>
                    <a:pt x="19" y="64"/>
                  </a:cubicBezTo>
                  <a:cubicBezTo>
                    <a:pt x="17" y="64"/>
                    <a:pt x="18" y="65"/>
                    <a:pt x="17" y="66"/>
                  </a:cubicBezTo>
                  <a:cubicBezTo>
                    <a:pt x="16" y="68"/>
                    <a:pt x="15" y="68"/>
                    <a:pt x="14" y="69"/>
                  </a:cubicBezTo>
                  <a:cubicBezTo>
                    <a:pt x="11" y="69"/>
                    <a:pt x="8" y="69"/>
                    <a:pt x="5" y="69"/>
                  </a:cubicBezTo>
                  <a:cubicBezTo>
                    <a:pt x="2" y="69"/>
                    <a:pt x="0" y="69"/>
                    <a:pt x="0" y="73"/>
                  </a:cubicBezTo>
                  <a:cubicBezTo>
                    <a:pt x="0" y="75"/>
                    <a:pt x="1" y="75"/>
                    <a:pt x="3" y="76"/>
                  </a:cubicBezTo>
                  <a:cubicBezTo>
                    <a:pt x="4" y="77"/>
                    <a:pt x="4" y="78"/>
                    <a:pt x="5" y="79"/>
                  </a:cubicBezTo>
                  <a:cubicBezTo>
                    <a:pt x="5" y="81"/>
                    <a:pt x="6" y="82"/>
                    <a:pt x="7" y="83"/>
                  </a:cubicBezTo>
                  <a:cubicBezTo>
                    <a:pt x="9" y="85"/>
                    <a:pt x="8" y="85"/>
                    <a:pt x="6" y="87"/>
                  </a:cubicBezTo>
                  <a:cubicBezTo>
                    <a:pt x="6" y="88"/>
                    <a:pt x="5" y="89"/>
                    <a:pt x="5" y="91"/>
                  </a:cubicBezTo>
                  <a:cubicBezTo>
                    <a:pt x="6" y="91"/>
                    <a:pt x="7" y="92"/>
                    <a:pt x="7" y="93"/>
                  </a:cubicBezTo>
                  <a:cubicBezTo>
                    <a:pt x="7" y="93"/>
                    <a:pt x="7" y="94"/>
                    <a:pt x="7" y="95"/>
                  </a:cubicBezTo>
                  <a:cubicBezTo>
                    <a:pt x="6" y="97"/>
                    <a:pt x="6" y="100"/>
                    <a:pt x="5" y="102"/>
                  </a:cubicBezTo>
                  <a:cubicBezTo>
                    <a:pt x="5" y="103"/>
                    <a:pt x="5" y="104"/>
                    <a:pt x="5" y="106"/>
                  </a:cubicBezTo>
                  <a:cubicBezTo>
                    <a:pt x="7" y="106"/>
                    <a:pt x="8" y="106"/>
                    <a:pt x="9" y="107"/>
                  </a:cubicBezTo>
                  <a:cubicBezTo>
                    <a:pt x="10" y="108"/>
                    <a:pt x="12" y="108"/>
                    <a:pt x="13" y="109"/>
                  </a:cubicBezTo>
                  <a:cubicBezTo>
                    <a:pt x="14" y="111"/>
                    <a:pt x="13" y="111"/>
                    <a:pt x="12" y="112"/>
                  </a:cubicBezTo>
                  <a:cubicBezTo>
                    <a:pt x="10" y="114"/>
                    <a:pt x="8" y="117"/>
                    <a:pt x="9" y="120"/>
                  </a:cubicBezTo>
                  <a:cubicBezTo>
                    <a:pt x="10" y="122"/>
                    <a:pt x="13" y="120"/>
                    <a:pt x="14" y="123"/>
                  </a:cubicBezTo>
                  <a:cubicBezTo>
                    <a:pt x="14" y="124"/>
                    <a:pt x="13" y="126"/>
                    <a:pt x="14" y="127"/>
                  </a:cubicBezTo>
                  <a:cubicBezTo>
                    <a:pt x="15" y="132"/>
                    <a:pt x="23" y="128"/>
                    <a:pt x="26" y="129"/>
                  </a:cubicBezTo>
                  <a:cubicBezTo>
                    <a:pt x="28" y="129"/>
                    <a:pt x="28" y="131"/>
                    <a:pt x="29" y="132"/>
                  </a:cubicBezTo>
                  <a:cubicBezTo>
                    <a:pt x="31" y="134"/>
                    <a:pt x="33" y="136"/>
                    <a:pt x="34" y="138"/>
                  </a:cubicBezTo>
                  <a:cubicBezTo>
                    <a:pt x="35" y="139"/>
                    <a:pt x="37" y="142"/>
                    <a:pt x="39" y="142"/>
                  </a:cubicBezTo>
                  <a:cubicBezTo>
                    <a:pt x="40" y="141"/>
                    <a:pt x="40" y="140"/>
                    <a:pt x="41" y="140"/>
                  </a:cubicBezTo>
                  <a:cubicBezTo>
                    <a:pt x="42" y="139"/>
                    <a:pt x="44" y="139"/>
                    <a:pt x="45" y="139"/>
                  </a:cubicBezTo>
                  <a:cubicBezTo>
                    <a:pt x="48" y="139"/>
                    <a:pt x="48" y="139"/>
                    <a:pt x="49" y="141"/>
                  </a:cubicBezTo>
                  <a:cubicBezTo>
                    <a:pt x="49" y="143"/>
                    <a:pt x="49" y="144"/>
                    <a:pt x="48" y="145"/>
                  </a:cubicBezTo>
                  <a:cubicBezTo>
                    <a:pt x="47" y="146"/>
                    <a:pt x="45" y="146"/>
                    <a:pt x="45" y="148"/>
                  </a:cubicBezTo>
                  <a:cubicBezTo>
                    <a:pt x="45" y="150"/>
                    <a:pt x="46" y="150"/>
                    <a:pt x="47" y="151"/>
                  </a:cubicBezTo>
                  <a:cubicBezTo>
                    <a:pt x="49" y="151"/>
                    <a:pt x="50" y="153"/>
                    <a:pt x="49" y="154"/>
                  </a:cubicBezTo>
                  <a:cubicBezTo>
                    <a:pt x="48" y="156"/>
                    <a:pt x="46" y="155"/>
                    <a:pt x="45" y="156"/>
                  </a:cubicBezTo>
                  <a:cubicBezTo>
                    <a:pt x="43" y="158"/>
                    <a:pt x="45" y="160"/>
                    <a:pt x="44" y="162"/>
                  </a:cubicBezTo>
                  <a:cubicBezTo>
                    <a:pt x="45" y="164"/>
                    <a:pt x="45" y="166"/>
                    <a:pt x="46" y="168"/>
                  </a:cubicBezTo>
                  <a:cubicBezTo>
                    <a:pt x="47" y="170"/>
                    <a:pt x="49" y="171"/>
                    <a:pt x="50" y="174"/>
                  </a:cubicBezTo>
                  <a:cubicBezTo>
                    <a:pt x="51" y="176"/>
                    <a:pt x="53" y="175"/>
                    <a:pt x="55" y="174"/>
                  </a:cubicBezTo>
                  <a:cubicBezTo>
                    <a:pt x="57" y="173"/>
                    <a:pt x="59" y="172"/>
                    <a:pt x="60" y="175"/>
                  </a:cubicBezTo>
                  <a:cubicBezTo>
                    <a:pt x="62" y="177"/>
                    <a:pt x="61" y="179"/>
                    <a:pt x="62" y="181"/>
                  </a:cubicBezTo>
                  <a:cubicBezTo>
                    <a:pt x="63" y="183"/>
                    <a:pt x="65" y="185"/>
                    <a:pt x="67" y="186"/>
                  </a:cubicBezTo>
                  <a:cubicBezTo>
                    <a:pt x="70" y="189"/>
                    <a:pt x="74" y="192"/>
                    <a:pt x="78" y="193"/>
                  </a:cubicBezTo>
                  <a:cubicBezTo>
                    <a:pt x="80" y="194"/>
                    <a:pt x="82" y="196"/>
                    <a:pt x="84" y="198"/>
                  </a:cubicBezTo>
                  <a:cubicBezTo>
                    <a:pt x="86" y="200"/>
                    <a:pt x="87" y="203"/>
                    <a:pt x="90" y="204"/>
                  </a:cubicBezTo>
                  <a:cubicBezTo>
                    <a:pt x="93" y="205"/>
                    <a:pt x="96" y="204"/>
                    <a:pt x="99" y="206"/>
                  </a:cubicBezTo>
                  <a:cubicBezTo>
                    <a:pt x="99" y="206"/>
                    <a:pt x="101" y="207"/>
                    <a:pt x="101" y="208"/>
                  </a:cubicBezTo>
                  <a:cubicBezTo>
                    <a:pt x="102" y="209"/>
                    <a:pt x="101" y="210"/>
                    <a:pt x="102" y="212"/>
                  </a:cubicBezTo>
                  <a:cubicBezTo>
                    <a:pt x="104" y="214"/>
                    <a:pt x="108" y="214"/>
                    <a:pt x="111" y="213"/>
                  </a:cubicBezTo>
                  <a:cubicBezTo>
                    <a:pt x="115" y="213"/>
                    <a:pt x="116" y="209"/>
                    <a:pt x="120" y="209"/>
                  </a:cubicBezTo>
                  <a:cubicBezTo>
                    <a:pt x="123" y="208"/>
                    <a:pt x="126" y="211"/>
                    <a:pt x="129" y="210"/>
                  </a:cubicBezTo>
                  <a:cubicBezTo>
                    <a:pt x="130" y="210"/>
                    <a:pt x="130" y="210"/>
                    <a:pt x="131" y="210"/>
                  </a:cubicBezTo>
                  <a:cubicBezTo>
                    <a:pt x="132" y="210"/>
                    <a:pt x="132" y="211"/>
                    <a:pt x="133" y="211"/>
                  </a:cubicBezTo>
                  <a:cubicBezTo>
                    <a:pt x="135" y="212"/>
                    <a:pt x="136" y="210"/>
                    <a:pt x="138" y="211"/>
                  </a:cubicBezTo>
                  <a:cubicBezTo>
                    <a:pt x="140" y="212"/>
                    <a:pt x="142" y="213"/>
                    <a:pt x="143" y="214"/>
                  </a:cubicBezTo>
                  <a:cubicBezTo>
                    <a:pt x="144" y="215"/>
                    <a:pt x="144" y="216"/>
                    <a:pt x="144" y="216"/>
                  </a:cubicBezTo>
                  <a:cubicBezTo>
                    <a:pt x="145" y="218"/>
                    <a:pt x="145" y="217"/>
                    <a:pt x="147" y="217"/>
                  </a:cubicBezTo>
                  <a:cubicBezTo>
                    <a:pt x="148" y="217"/>
                    <a:pt x="148" y="218"/>
                    <a:pt x="149" y="219"/>
                  </a:cubicBezTo>
                  <a:cubicBezTo>
                    <a:pt x="150" y="220"/>
                    <a:pt x="151" y="220"/>
                    <a:pt x="153" y="220"/>
                  </a:cubicBezTo>
                  <a:cubicBezTo>
                    <a:pt x="155" y="221"/>
                    <a:pt x="158" y="222"/>
                    <a:pt x="160" y="221"/>
                  </a:cubicBezTo>
                  <a:cubicBezTo>
                    <a:pt x="162" y="221"/>
                    <a:pt x="165" y="219"/>
                    <a:pt x="166" y="218"/>
                  </a:cubicBezTo>
                  <a:cubicBezTo>
                    <a:pt x="167" y="217"/>
                    <a:pt x="167" y="216"/>
                    <a:pt x="167" y="216"/>
                  </a:cubicBezTo>
                  <a:cubicBezTo>
                    <a:pt x="168" y="214"/>
                    <a:pt x="169" y="214"/>
                    <a:pt x="170" y="214"/>
                  </a:cubicBezTo>
                  <a:cubicBezTo>
                    <a:pt x="174" y="212"/>
                    <a:pt x="177" y="209"/>
                    <a:pt x="179" y="206"/>
                  </a:cubicBezTo>
                  <a:cubicBezTo>
                    <a:pt x="180" y="203"/>
                    <a:pt x="182" y="200"/>
                    <a:pt x="186" y="200"/>
                  </a:cubicBezTo>
                  <a:cubicBezTo>
                    <a:pt x="189" y="200"/>
                    <a:pt x="192" y="200"/>
                    <a:pt x="195" y="201"/>
                  </a:cubicBezTo>
                  <a:cubicBezTo>
                    <a:pt x="198" y="201"/>
                    <a:pt x="201" y="202"/>
                    <a:pt x="204" y="202"/>
                  </a:cubicBezTo>
                  <a:cubicBezTo>
                    <a:pt x="206" y="201"/>
                    <a:pt x="208" y="201"/>
                    <a:pt x="209" y="199"/>
                  </a:cubicBezTo>
                  <a:cubicBezTo>
                    <a:pt x="209" y="199"/>
                    <a:pt x="208" y="198"/>
                    <a:pt x="208" y="198"/>
                  </a:cubicBezTo>
                  <a:cubicBezTo>
                    <a:pt x="207" y="197"/>
                    <a:pt x="204" y="195"/>
                    <a:pt x="204" y="195"/>
                  </a:cubicBezTo>
                  <a:cubicBezTo>
                    <a:pt x="206" y="195"/>
                    <a:pt x="206" y="195"/>
                    <a:pt x="206" y="195"/>
                  </a:cubicBezTo>
                  <a:cubicBezTo>
                    <a:pt x="206" y="193"/>
                    <a:pt x="206" y="193"/>
                    <a:pt x="206" y="193"/>
                  </a:cubicBezTo>
                  <a:cubicBezTo>
                    <a:pt x="205" y="193"/>
                    <a:pt x="206" y="192"/>
                    <a:pt x="206" y="191"/>
                  </a:cubicBezTo>
                  <a:cubicBezTo>
                    <a:pt x="207" y="190"/>
                    <a:pt x="207" y="188"/>
                    <a:pt x="207" y="188"/>
                  </a:cubicBezTo>
                  <a:cubicBezTo>
                    <a:pt x="207" y="187"/>
                    <a:pt x="206" y="185"/>
                    <a:pt x="206" y="185"/>
                  </a:cubicBezTo>
                  <a:cubicBezTo>
                    <a:pt x="206" y="185"/>
                    <a:pt x="204" y="184"/>
                    <a:pt x="203" y="184"/>
                  </a:cubicBezTo>
                  <a:cubicBezTo>
                    <a:pt x="203" y="184"/>
                    <a:pt x="203" y="183"/>
                    <a:pt x="203" y="182"/>
                  </a:cubicBezTo>
                  <a:cubicBezTo>
                    <a:pt x="203" y="182"/>
                    <a:pt x="201" y="180"/>
                    <a:pt x="201" y="180"/>
                  </a:cubicBezTo>
                  <a:cubicBezTo>
                    <a:pt x="200" y="180"/>
                    <a:pt x="200" y="179"/>
                    <a:pt x="200" y="179"/>
                  </a:cubicBezTo>
                  <a:cubicBezTo>
                    <a:pt x="200" y="179"/>
                    <a:pt x="202" y="177"/>
                    <a:pt x="201" y="177"/>
                  </a:cubicBezTo>
                  <a:cubicBezTo>
                    <a:pt x="200" y="176"/>
                    <a:pt x="197" y="174"/>
                    <a:pt x="196" y="173"/>
                  </a:cubicBezTo>
                  <a:cubicBezTo>
                    <a:pt x="195" y="172"/>
                    <a:pt x="195" y="171"/>
                    <a:pt x="195" y="171"/>
                  </a:cubicBezTo>
                  <a:cubicBezTo>
                    <a:pt x="195" y="170"/>
                    <a:pt x="197" y="169"/>
                    <a:pt x="197" y="169"/>
                  </a:cubicBezTo>
                  <a:cubicBezTo>
                    <a:pt x="197" y="169"/>
                    <a:pt x="200" y="168"/>
                    <a:pt x="201" y="168"/>
                  </a:cubicBezTo>
                  <a:cubicBezTo>
                    <a:pt x="202" y="168"/>
                    <a:pt x="204" y="167"/>
                    <a:pt x="207" y="166"/>
                  </a:cubicBezTo>
                  <a:cubicBezTo>
                    <a:pt x="211" y="165"/>
                    <a:pt x="209" y="164"/>
                    <a:pt x="210" y="164"/>
                  </a:cubicBezTo>
                  <a:cubicBezTo>
                    <a:pt x="212" y="164"/>
                    <a:pt x="211" y="163"/>
                    <a:pt x="211" y="163"/>
                  </a:cubicBezTo>
                  <a:cubicBezTo>
                    <a:pt x="210" y="160"/>
                    <a:pt x="210" y="160"/>
                    <a:pt x="210" y="160"/>
                  </a:cubicBezTo>
                  <a:cubicBezTo>
                    <a:pt x="211" y="161"/>
                    <a:pt x="211" y="161"/>
                    <a:pt x="211" y="161"/>
                  </a:cubicBezTo>
                  <a:cubicBezTo>
                    <a:pt x="211" y="161"/>
                    <a:pt x="217" y="160"/>
                    <a:pt x="217" y="160"/>
                  </a:cubicBezTo>
                  <a:cubicBezTo>
                    <a:pt x="218" y="159"/>
                    <a:pt x="216" y="159"/>
                    <a:pt x="215" y="158"/>
                  </a:cubicBezTo>
                  <a:cubicBezTo>
                    <a:pt x="214" y="157"/>
                    <a:pt x="216" y="158"/>
                    <a:pt x="217" y="157"/>
                  </a:cubicBezTo>
                  <a:cubicBezTo>
                    <a:pt x="218" y="157"/>
                    <a:pt x="217" y="156"/>
                    <a:pt x="216" y="155"/>
                  </a:cubicBezTo>
                  <a:cubicBezTo>
                    <a:pt x="216" y="155"/>
                    <a:pt x="218" y="155"/>
                    <a:pt x="218" y="155"/>
                  </a:cubicBezTo>
                  <a:cubicBezTo>
                    <a:pt x="218" y="155"/>
                    <a:pt x="221" y="157"/>
                    <a:pt x="221" y="156"/>
                  </a:cubicBezTo>
                  <a:cubicBezTo>
                    <a:pt x="222" y="156"/>
                    <a:pt x="222" y="156"/>
                    <a:pt x="223" y="156"/>
                  </a:cubicBezTo>
                  <a:cubicBezTo>
                    <a:pt x="223" y="156"/>
                    <a:pt x="227" y="155"/>
                    <a:pt x="228" y="155"/>
                  </a:cubicBezTo>
                  <a:cubicBezTo>
                    <a:pt x="228" y="155"/>
                    <a:pt x="231" y="155"/>
                    <a:pt x="231" y="155"/>
                  </a:cubicBezTo>
                  <a:cubicBezTo>
                    <a:pt x="231" y="155"/>
                    <a:pt x="230" y="153"/>
                    <a:pt x="229" y="15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1" name="Freeform 34">
              <a:extLst>
                <a:ext uri="{FF2B5EF4-FFF2-40B4-BE49-F238E27FC236}">
                  <a16:creationId xmlns:a16="http://schemas.microsoft.com/office/drawing/2014/main" id="{BD6C5ABF-1C26-C84E-F6D5-5E7D501F3E4B}"/>
                </a:ext>
              </a:extLst>
            </p:cNvPr>
            <p:cNvSpPr>
              <a:spLocks noEditPoints="1"/>
            </p:cNvSpPr>
            <p:nvPr/>
          </p:nvSpPr>
          <p:spPr bwMode="auto">
            <a:xfrm>
              <a:off x="9858375" y="3968750"/>
              <a:ext cx="1500188" cy="1997075"/>
            </a:xfrm>
            <a:custGeom>
              <a:avLst/>
              <a:gdLst>
                <a:gd name="T0" fmla="*/ 263 w 394"/>
                <a:gd name="T1" fmla="*/ 456 h 524"/>
                <a:gd name="T2" fmla="*/ 247 w 394"/>
                <a:gd name="T3" fmla="*/ 416 h 524"/>
                <a:gd name="T4" fmla="*/ 222 w 394"/>
                <a:gd name="T5" fmla="*/ 478 h 524"/>
                <a:gd name="T6" fmla="*/ 76 w 394"/>
                <a:gd name="T7" fmla="*/ 33 h 524"/>
                <a:gd name="T8" fmla="*/ 90 w 394"/>
                <a:gd name="T9" fmla="*/ 18 h 524"/>
                <a:gd name="T10" fmla="*/ 61 w 394"/>
                <a:gd name="T11" fmla="*/ 4 h 524"/>
                <a:gd name="T12" fmla="*/ 69 w 394"/>
                <a:gd name="T13" fmla="*/ 12 h 524"/>
                <a:gd name="T14" fmla="*/ 94 w 394"/>
                <a:gd name="T15" fmla="*/ 64 h 524"/>
                <a:gd name="T16" fmla="*/ 68 w 394"/>
                <a:gd name="T17" fmla="*/ 66 h 524"/>
                <a:gd name="T18" fmla="*/ 113 w 394"/>
                <a:gd name="T19" fmla="*/ 78 h 524"/>
                <a:gd name="T20" fmla="*/ 17 w 394"/>
                <a:gd name="T21" fmla="*/ 32 h 524"/>
                <a:gd name="T22" fmla="*/ 265 w 394"/>
                <a:gd name="T23" fmla="*/ 402 h 524"/>
                <a:gd name="T24" fmla="*/ 277 w 394"/>
                <a:gd name="T25" fmla="*/ 390 h 524"/>
                <a:gd name="T26" fmla="*/ 250 w 394"/>
                <a:gd name="T27" fmla="*/ 382 h 524"/>
                <a:gd name="T28" fmla="*/ 258 w 394"/>
                <a:gd name="T29" fmla="*/ 375 h 524"/>
                <a:gd name="T30" fmla="*/ 183 w 394"/>
                <a:gd name="T31" fmla="*/ 59 h 524"/>
                <a:gd name="T32" fmla="*/ 383 w 394"/>
                <a:gd name="T33" fmla="*/ 373 h 524"/>
                <a:gd name="T34" fmla="*/ 388 w 394"/>
                <a:gd name="T35" fmla="*/ 359 h 524"/>
                <a:gd name="T36" fmla="*/ 393 w 394"/>
                <a:gd name="T37" fmla="*/ 122 h 524"/>
                <a:gd name="T38" fmla="*/ 359 w 394"/>
                <a:gd name="T39" fmla="*/ 111 h 524"/>
                <a:gd name="T40" fmla="*/ 313 w 394"/>
                <a:gd name="T41" fmla="*/ 106 h 524"/>
                <a:gd name="T42" fmla="*/ 254 w 394"/>
                <a:gd name="T43" fmla="*/ 76 h 524"/>
                <a:gd name="T44" fmla="*/ 202 w 394"/>
                <a:gd name="T45" fmla="*/ 54 h 524"/>
                <a:gd name="T46" fmla="*/ 157 w 394"/>
                <a:gd name="T47" fmla="*/ 76 h 524"/>
                <a:gd name="T48" fmla="*/ 135 w 394"/>
                <a:gd name="T49" fmla="*/ 99 h 524"/>
                <a:gd name="T50" fmla="*/ 83 w 394"/>
                <a:gd name="T51" fmla="*/ 134 h 524"/>
                <a:gd name="T52" fmla="*/ 43 w 394"/>
                <a:gd name="T53" fmla="*/ 170 h 524"/>
                <a:gd name="T54" fmla="*/ 16 w 394"/>
                <a:gd name="T55" fmla="*/ 156 h 524"/>
                <a:gd name="T56" fmla="*/ 6 w 394"/>
                <a:gd name="T57" fmla="*/ 140 h 524"/>
                <a:gd name="T58" fmla="*/ 22 w 394"/>
                <a:gd name="T59" fmla="*/ 218 h 524"/>
                <a:gd name="T60" fmla="*/ 69 w 394"/>
                <a:gd name="T61" fmla="*/ 238 h 524"/>
                <a:gd name="T62" fmla="*/ 95 w 394"/>
                <a:gd name="T63" fmla="*/ 246 h 524"/>
                <a:gd name="T64" fmla="*/ 131 w 394"/>
                <a:gd name="T65" fmla="*/ 261 h 524"/>
                <a:gd name="T66" fmla="*/ 137 w 394"/>
                <a:gd name="T67" fmla="*/ 264 h 524"/>
                <a:gd name="T68" fmla="*/ 151 w 394"/>
                <a:gd name="T69" fmla="*/ 265 h 524"/>
                <a:gd name="T70" fmla="*/ 156 w 394"/>
                <a:gd name="T71" fmla="*/ 267 h 524"/>
                <a:gd name="T72" fmla="*/ 162 w 394"/>
                <a:gd name="T73" fmla="*/ 269 h 524"/>
                <a:gd name="T74" fmla="*/ 169 w 394"/>
                <a:gd name="T75" fmla="*/ 273 h 524"/>
                <a:gd name="T76" fmla="*/ 181 w 394"/>
                <a:gd name="T77" fmla="*/ 275 h 524"/>
                <a:gd name="T78" fmla="*/ 187 w 394"/>
                <a:gd name="T79" fmla="*/ 273 h 524"/>
                <a:gd name="T80" fmla="*/ 194 w 394"/>
                <a:gd name="T81" fmla="*/ 288 h 524"/>
                <a:gd name="T82" fmla="*/ 211 w 394"/>
                <a:gd name="T83" fmla="*/ 284 h 524"/>
                <a:gd name="T84" fmla="*/ 209 w 394"/>
                <a:gd name="T85" fmla="*/ 294 h 524"/>
                <a:gd name="T86" fmla="*/ 212 w 394"/>
                <a:gd name="T87" fmla="*/ 299 h 524"/>
                <a:gd name="T88" fmla="*/ 226 w 394"/>
                <a:gd name="T89" fmla="*/ 295 h 524"/>
                <a:gd name="T90" fmla="*/ 212 w 394"/>
                <a:gd name="T91" fmla="*/ 306 h 524"/>
                <a:gd name="T92" fmla="*/ 240 w 394"/>
                <a:gd name="T93" fmla="*/ 305 h 524"/>
                <a:gd name="T94" fmla="*/ 233 w 394"/>
                <a:gd name="T95" fmla="*/ 317 h 524"/>
                <a:gd name="T96" fmla="*/ 231 w 394"/>
                <a:gd name="T97" fmla="*/ 322 h 524"/>
                <a:gd name="T98" fmla="*/ 243 w 394"/>
                <a:gd name="T99" fmla="*/ 360 h 524"/>
                <a:gd name="T100" fmla="*/ 284 w 394"/>
                <a:gd name="T101" fmla="*/ 393 h 524"/>
                <a:gd name="T102" fmla="*/ 318 w 394"/>
                <a:gd name="T103" fmla="*/ 400 h 524"/>
                <a:gd name="T104" fmla="*/ 299 w 394"/>
                <a:gd name="T105" fmla="*/ 408 h 524"/>
                <a:gd name="T106" fmla="*/ 272 w 394"/>
                <a:gd name="T107" fmla="*/ 408 h 524"/>
                <a:gd name="T108" fmla="*/ 263 w 394"/>
                <a:gd name="T109" fmla="*/ 415 h 524"/>
                <a:gd name="T110" fmla="*/ 265 w 394"/>
                <a:gd name="T111" fmla="*/ 454 h 524"/>
                <a:gd name="T112" fmla="*/ 272 w 394"/>
                <a:gd name="T113" fmla="*/ 465 h 524"/>
                <a:gd name="T114" fmla="*/ 291 w 394"/>
                <a:gd name="T115" fmla="*/ 467 h 524"/>
                <a:gd name="T116" fmla="*/ 335 w 394"/>
                <a:gd name="T117" fmla="*/ 451 h 524"/>
                <a:gd name="T118" fmla="*/ 339 w 394"/>
                <a:gd name="T119" fmla="*/ 473 h 524"/>
                <a:gd name="T120" fmla="*/ 354 w 394"/>
                <a:gd name="T121" fmla="*/ 48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524">
                  <a:moveTo>
                    <a:pt x="261" y="470"/>
                  </a:moveTo>
                  <a:cubicBezTo>
                    <a:pt x="261" y="471"/>
                    <a:pt x="262" y="472"/>
                    <a:pt x="263" y="472"/>
                  </a:cubicBezTo>
                  <a:cubicBezTo>
                    <a:pt x="265" y="473"/>
                    <a:pt x="265" y="475"/>
                    <a:pt x="265" y="476"/>
                  </a:cubicBezTo>
                  <a:cubicBezTo>
                    <a:pt x="264" y="480"/>
                    <a:pt x="258" y="478"/>
                    <a:pt x="255" y="477"/>
                  </a:cubicBezTo>
                  <a:cubicBezTo>
                    <a:pt x="253" y="477"/>
                    <a:pt x="249" y="477"/>
                    <a:pt x="246" y="477"/>
                  </a:cubicBezTo>
                  <a:cubicBezTo>
                    <a:pt x="244" y="477"/>
                    <a:pt x="241" y="476"/>
                    <a:pt x="243" y="474"/>
                  </a:cubicBezTo>
                  <a:cubicBezTo>
                    <a:pt x="244" y="473"/>
                    <a:pt x="245" y="472"/>
                    <a:pt x="246" y="472"/>
                  </a:cubicBezTo>
                  <a:cubicBezTo>
                    <a:pt x="246" y="471"/>
                    <a:pt x="248" y="471"/>
                    <a:pt x="248" y="470"/>
                  </a:cubicBezTo>
                  <a:cubicBezTo>
                    <a:pt x="250" y="469"/>
                    <a:pt x="249" y="466"/>
                    <a:pt x="251" y="465"/>
                  </a:cubicBezTo>
                  <a:cubicBezTo>
                    <a:pt x="253" y="464"/>
                    <a:pt x="253" y="465"/>
                    <a:pt x="255" y="465"/>
                  </a:cubicBezTo>
                  <a:cubicBezTo>
                    <a:pt x="256" y="465"/>
                    <a:pt x="256" y="464"/>
                    <a:pt x="257" y="464"/>
                  </a:cubicBezTo>
                  <a:cubicBezTo>
                    <a:pt x="259" y="466"/>
                    <a:pt x="259" y="469"/>
                    <a:pt x="261" y="470"/>
                  </a:cubicBezTo>
                  <a:close/>
                  <a:moveTo>
                    <a:pt x="263" y="458"/>
                  </a:moveTo>
                  <a:cubicBezTo>
                    <a:pt x="263" y="458"/>
                    <a:pt x="263" y="457"/>
                    <a:pt x="263" y="456"/>
                  </a:cubicBezTo>
                  <a:cubicBezTo>
                    <a:pt x="262" y="455"/>
                    <a:pt x="263" y="453"/>
                    <a:pt x="263" y="451"/>
                  </a:cubicBezTo>
                  <a:cubicBezTo>
                    <a:pt x="263" y="448"/>
                    <a:pt x="265" y="448"/>
                    <a:pt x="267" y="447"/>
                  </a:cubicBezTo>
                  <a:cubicBezTo>
                    <a:pt x="268" y="446"/>
                    <a:pt x="269" y="446"/>
                    <a:pt x="270" y="445"/>
                  </a:cubicBezTo>
                  <a:cubicBezTo>
                    <a:pt x="270" y="444"/>
                    <a:pt x="270" y="443"/>
                    <a:pt x="269" y="442"/>
                  </a:cubicBezTo>
                  <a:cubicBezTo>
                    <a:pt x="269" y="440"/>
                    <a:pt x="270" y="438"/>
                    <a:pt x="271" y="436"/>
                  </a:cubicBezTo>
                  <a:cubicBezTo>
                    <a:pt x="271" y="435"/>
                    <a:pt x="272" y="435"/>
                    <a:pt x="272" y="434"/>
                  </a:cubicBezTo>
                  <a:cubicBezTo>
                    <a:pt x="273" y="433"/>
                    <a:pt x="272" y="432"/>
                    <a:pt x="273" y="431"/>
                  </a:cubicBezTo>
                  <a:cubicBezTo>
                    <a:pt x="273" y="430"/>
                    <a:pt x="275" y="429"/>
                    <a:pt x="274" y="428"/>
                  </a:cubicBezTo>
                  <a:cubicBezTo>
                    <a:pt x="274" y="427"/>
                    <a:pt x="272" y="427"/>
                    <a:pt x="271" y="427"/>
                  </a:cubicBezTo>
                  <a:cubicBezTo>
                    <a:pt x="270" y="427"/>
                    <a:pt x="269" y="427"/>
                    <a:pt x="268" y="427"/>
                  </a:cubicBezTo>
                  <a:cubicBezTo>
                    <a:pt x="267" y="426"/>
                    <a:pt x="267" y="426"/>
                    <a:pt x="266" y="425"/>
                  </a:cubicBezTo>
                  <a:cubicBezTo>
                    <a:pt x="265" y="424"/>
                    <a:pt x="264" y="423"/>
                    <a:pt x="263" y="422"/>
                  </a:cubicBezTo>
                  <a:cubicBezTo>
                    <a:pt x="261" y="420"/>
                    <a:pt x="260" y="418"/>
                    <a:pt x="257" y="417"/>
                  </a:cubicBezTo>
                  <a:cubicBezTo>
                    <a:pt x="254" y="415"/>
                    <a:pt x="251" y="416"/>
                    <a:pt x="247" y="416"/>
                  </a:cubicBezTo>
                  <a:cubicBezTo>
                    <a:pt x="242" y="416"/>
                    <a:pt x="237" y="418"/>
                    <a:pt x="232" y="418"/>
                  </a:cubicBezTo>
                  <a:cubicBezTo>
                    <a:pt x="227" y="419"/>
                    <a:pt x="224" y="421"/>
                    <a:pt x="220" y="424"/>
                  </a:cubicBezTo>
                  <a:cubicBezTo>
                    <a:pt x="217" y="426"/>
                    <a:pt x="214" y="428"/>
                    <a:pt x="212" y="431"/>
                  </a:cubicBezTo>
                  <a:cubicBezTo>
                    <a:pt x="210" y="433"/>
                    <a:pt x="208" y="435"/>
                    <a:pt x="206" y="437"/>
                  </a:cubicBezTo>
                  <a:cubicBezTo>
                    <a:pt x="203" y="442"/>
                    <a:pt x="200" y="447"/>
                    <a:pt x="198" y="452"/>
                  </a:cubicBezTo>
                  <a:cubicBezTo>
                    <a:pt x="197" y="454"/>
                    <a:pt x="197" y="456"/>
                    <a:pt x="196" y="458"/>
                  </a:cubicBezTo>
                  <a:cubicBezTo>
                    <a:pt x="195" y="460"/>
                    <a:pt x="193" y="461"/>
                    <a:pt x="192" y="462"/>
                  </a:cubicBezTo>
                  <a:cubicBezTo>
                    <a:pt x="191" y="464"/>
                    <a:pt x="190" y="467"/>
                    <a:pt x="189" y="469"/>
                  </a:cubicBezTo>
                  <a:cubicBezTo>
                    <a:pt x="189" y="471"/>
                    <a:pt x="188" y="472"/>
                    <a:pt x="188" y="474"/>
                  </a:cubicBezTo>
                  <a:cubicBezTo>
                    <a:pt x="188" y="476"/>
                    <a:pt x="186" y="479"/>
                    <a:pt x="187" y="481"/>
                  </a:cubicBezTo>
                  <a:cubicBezTo>
                    <a:pt x="188" y="482"/>
                    <a:pt x="190" y="481"/>
                    <a:pt x="191" y="480"/>
                  </a:cubicBezTo>
                  <a:cubicBezTo>
                    <a:pt x="193" y="479"/>
                    <a:pt x="196" y="479"/>
                    <a:pt x="198" y="478"/>
                  </a:cubicBezTo>
                  <a:cubicBezTo>
                    <a:pt x="201" y="478"/>
                    <a:pt x="203" y="478"/>
                    <a:pt x="206" y="478"/>
                  </a:cubicBezTo>
                  <a:cubicBezTo>
                    <a:pt x="211" y="478"/>
                    <a:pt x="216" y="478"/>
                    <a:pt x="222" y="478"/>
                  </a:cubicBezTo>
                  <a:cubicBezTo>
                    <a:pt x="225" y="479"/>
                    <a:pt x="229" y="478"/>
                    <a:pt x="232" y="477"/>
                  </a:cubicBezTo>
                  <a:cubicBezTo>
                    <a:pt x="234" y="477"/>
                    <a:pt x="237" y="475"/>
                    <a:pt x="239" y="474"/>
                  </a:cubicBezTo>
                  <a:cubicBezTo>
                    <a:pt x="241" y="472"/>
                    <a:pt x="243" y="471"/>
                    <a:pt x="245" y="470"/>
                  </a:cubicBezTo>
                  <a:cubicBezTo>
                    <a:pt x="247" y="469"/>
                    <a:pt x="247" y="468"/>
                    <a:pt x="248" y="466"/>
                  </a:cubicBezTo>
                  <a:cubicBezTo>
                    <a:pt x="249" y="464"/>
                    <a:pt x="250" y="463"/>
                    <a:pt x="252" y="463"/>
                  </a:cubicBezTo>
                  <a:cubicBezTo>
                    <a:pt x="254" y="463"/>
                    <a:pt x="256" y="463"/>
                    <a:pt x="257" y="461"/>
                  </a:cubicBezTo>
                  <a:cubicBezTo>
                    <a:pt x="258" y="460"/>
                    <a:pt x="259" y="458"/>
                    <a:pt x="261" y="459"/>
                  </a:cubicBezTo>
                  <a:cubicBezTo>
                    <a:pt x="262" y="459"/>
                    <a:pt x="263" y="459"/>
                    <a:pt x="263" y="458"/>
                  </a:cubicBezTo>
                  <a:close/>
                  <a:moveTo>
                    <a:pt x="69" y="12"/>
                  </a:moveTo>
                  <a:cubicBezTo>
                    <a:pt x="70" y="12"/>
                    <a:pt x="70" y="12"/>
                    <a:pt x="70" y="12"/>
                  </a:cubicBezTo>
                  <a:cubicBezTo>
                    <a:pt x="70" y="14"/>
                    <a:pt x="72" y="16"/>
                    <a:pt x="72" y="18"/>
                  </a:cubicBezTo>
                  <a:cubicBezTo>
                    <a:pt x="73" y="20"/>
                    <a:pt x="73" y="21"/>
                    <a:pt x="74" y="23"/>
                  </a:cubicBezTo>
                  <a:cubicBezTo>
                    <a:pt x="74" y="25"/>
                    <a:pt x="75" y="27"/>
                    <a:pt x="75" y="28"/>
                  </a:cubicBezTo>
                  <a:cubicBezTo>
                    <a:pt x="75" y="30"/>
                    <a:pt x="74" y="32"/>
                    <a:pt x="76" y="33"/>
                  </a:cubicBezTo>
                  <a:cubicBezTo>
                    <a:pt x="77" y="35"/>
                    <a:pt x="80" y="35"/>
                    <a:pt x="82" y="34"/>
                  </a:cubicBezTo>
                  <a:cubicBezTo>
                    <a:pt x="83" y="33"/>
                    <a:pt x="87" y="33"/>
                    <a:pt x="89" y="33"/>
                  </a:cubicBezTo>
                  <a:cubicBezTo>
                    <a:pt x="91" y="34"/>
                    <a:pt x="92" y="36"/>
                    <a:pt x="94" y="36"/>
                  </a:cubicBezTo>
                  <a:cubicBezTo>
                    <a:pt x="95" y="36"/>
                    <a:pt x="97" y="36"/>
                    <a:pt x="98" y="35"/>
                  </a:cubicBezTo>
                  <a:cubicBezTo>
                    <a:pt x="99" y="35"/>
                    <a:pt x="101" y="35"/>
                    <a:pt x="102" y="35"/>
                  </a:cubicBezTo>
                  <a:cubicBezTo>
                    <a:pt x="103" y="34"/>
                    <a:pt x="104" y="34"/>
                    <a:pt x="105" y="33"/>
                  </a:cubicBezTo>
                  <a:cubicBezTo>
                    <a:pt x="106" y="32"/>
                    <a:pt x="108" y="32"/>
                    <a:pt x="109" y="31"/>
                  </a:cubicBezTo>
                  <a:cubicBezTo>
                    <a:pt x="112" y="28"/>
                    <a:pt x="105" y="28"/>
                    <a:pt x="104" y="27"/>
                  </a:cubicBezTo>
                  <a:cubicBezTo>
                    <a:pt x="104" y="26"/>
                    <a:pt x="105" y="25"/>
                    <a:pt x="103" y="24"/>
                  </a:cubicBezTo>
                  <a:cubicBezTo>
                    <a:pt x="102" y="24"/>
                    <a:pt x="100" y="25"/>
                    <a:pt x="99" y="26"/>
                  </a:cubicBezTo>
                  <a:cubicBezTo>
                    <a:pt x="97" y="26"/>
                    <a:pt x="96" y="26"/>
                    <a:pt x="95" y="24"/>
                  </a:cubicBezTo>
                  <a:cubicBezTo>
                    <a:pt x="94" y="24"/>
                    <a:pt x="94" y="23"/>
                    <a:pt x="94" y="22"/>
                  </a:cubicBezTo>
                  <a:cubicBezTo>
                    <a:pt x="93" y="22"/>
                    <a:pt x="92" y="22"/>
                    <a:pt x="92" y="21"/>
                  </a:cubicBezTo>
                  <a:cubicBezTo>
                    <a:pt x="91" y="20"/>
                    <a:pt x="91" y="19"/>
                    <a:pt x="90" y="18"/>
                  </a:cubicBezTo>
                  <a:cubicBezTo>
                    <a:pt x="90" y="17"/>
                    <a:pt x="89" y="17"/>
                    <a:pt x="89" y="17"/>
                  </a:cubicBezTo>
                  <a:cubicBezTo>
                    <a:pt x="88" y="16"/>
                    <a:pt x="89" y="16"/>
                    <a:pt x="88" y="15"/>
                  </a:cubicBezTo>
                  <a:cubicBezTo>
                    <a:pt x="88" y="14"/>
                    <a:pt x="86" y="13"/>
                    <a:pt x="84" y="12"/>
                  </a:cubicBezTo>
                  <a:cubicBezTo>
                    <a:pt x="83" y="11"/>
                    <a:pt x="82" y="11"/>
                    <a:pt x="81" y="10"/>
                  </a:cubicBezTo>
                  <a:cubicBezTo>
                    <a:pt x="81" y="10"/>
                    <a:pt x="81" y="9"/>
                    <a:pt x="80" y="8"/>
                  </a:cubicBezTo>
                  <a:cubicBezTo>
                    <a:pt x="79" y="7"/>
                    <a:pt x="78" y="7"/>
                    <a:pt x="78" y="6"/>
                  </a:cubicBezTo>
                  <a:cubicBezTo>
                    <a:pt x="76" y="5"/>
                    <a:pt x="75" y="5"/>
                    <a:pt x="74" y="6"/>
                  </a:cubicBezTo>
                  <a:cubicBezTo>
                    <a:pt x="73" y="6"/>
                    <a:pt x="72" y="7"/>
                    <a:pt x="71" y="7"/>
                  </a:cubicBezTo>
                  <a:cubicBezTo>
                    <a:pt x="70" y="7"/>
                    <a:pt x="70" y="7"/>
                    <a:pt x="69" y="7"/>
                  </a:cubicBezTo>
                  <a:cubicBezTo>
                    <a:pt x="69" y="6"/>
                    <a:pt x="68" y="7"/>
                    <a:pt x="67" y="6"/>
                  </a:cubicBezTo>
                  <a:cubicBezTo>
                    <a:pt x="66" y="6"/>
                    <a:pt x="66" y="5"/>
                    <a:pt x="65" y="5"/>
                  </a:cubicBezTo>
                  <a:cubicBezTo>
                    <a:pt x="65" y="4"/>
                    <a:pt x="65" y="4"/>
                    <a:pt x="64" y="4"/>
                  </a:cubicBezTo>
                  <a:cubicBezTo>
                    <a:pt x="63" y="3"/>
                    <a:pt x="63" y="4"/>
                    <a:pt x="62" y="4"/>
                  </a:cubicBezTo>
                  <a:cubicBezTo>
                    <a:pt x="61" y="4"/>
                    <a:pt x="61" y="4"/>
                    <a:pt x="61" y="4"/>
                  </a:cubicBezTo>
                  <a:cubicBezTo>
                    <a:pt x="60" y="4"/>
                    <a:pt x="59" y="4"/>
                    <a:pt x="59" y="4"/>
                  </a:cubicBezTo>
                  <a:cubicBezTo>
                    <a:pt x="57" y="4"/>
                    <a:pt x="55" y="3"/>
                    <a:pt x="53" y="3"/>
                  </a:cubicBezTo>
                  <a:cubicBezTo>
                    <a:pt x="51" y="3"/>
                    <a:pt x="50" y="2"/>
                    <a:pt x="49" y="1"/>
                  </a:cubicBezTo>
                  <a:cubicBezTo>
                    <a:pt x="48" y="1"/>
                    <a:pt x="46" y="0"/>
                    <a:pt x="46" y="2"/>
                  </a:cubicBezTo>
                  <a:cubicBezTo>
                    <a:pt x="46" y="2"/>
                    <a:pt x="47" y="2"/>
                    <a:pt x="47" y="3"/>
                  </a:cubicBezTo>
                  <a:cubicBezTo>
                    <a:pt x="48" y="4"/>
                    <a:pt x="48" y="5"/>
                    <a:pt x="48" y="6"/>
                  </a:cubicBezTo>
                  <a:cubicBezTo>
                    <a:pt x="49" y="8"/>
                    <a:pt x="52" y="9"/>
                    <a:pt x="53" y="10"/>
                  </a:cubicBezTo>
                  <a:cubicBezTo>
                    <a:pt x="54" y="11"/>
                    <a:pt x="55" y="13"/>
                    <a:pt x="55" y="14"/>
                  </a:cubicBezTo>
                  <a:cubicBezTo>
                    <a:pt x="56" y="15"/>
                    <a:pt x="57" y="15"/>
                    <a:pt x="57" y="16"/>
                  </a:cubicBezTo>
                  <a:cubicBezTo>
                    <a:pt x="59" y="15"/>
                    <a:pt x="58" y="14"/>
                    <a:pt x="57" y="13"/>
                  </a:cubicBezTo>
                  <a:cubicBezTo>
                    <a:pt x="57" y="12"/>
                    <a:pt x="56" y="10"/>
                    <a:pt x="55" y="9"/>
                  </a:cubicBezTo>
                  <a:cubicBezTo>
                    <a:pt x="58" y="11"/>
                    <a:pt x="59" y="13"/>
                    <a:pt x="62" y="14"/>
                  </a:cubicBezTo>
                  <a:cubicBezTo>
                    <a:pt x="63" y="15"/>
                    <a:pt x="64" y="16"/>
                    <a:pt x="66" y="15"/>
                  </a:cubicBezTo>
                  <a:cubicBezTo>
                    <a:pt x="67" y="15"/>
                    <a:pt x="68" y="13"/>
                    <a:pt x="69" y="12"/>
                  </a:cubicBezTo>
                  <a:close/>
                  <a:moveTo>
                    <a:pt x="134" y="74"/>
                  </a:moveTo>
                  <a:cubicBezTo>
                    <a:pt x="135" y="74"/>
                    <a:pt x="140" y="75"/>
                    <a:pt x="140" y="73"/>
                  </a:cubicBezTo>
                  <a:cubicBezTo>
                    <a:pt x="141" y="72"/>
                    <a:pt x="138" y="71"/>
                    <a:pt x="138" y="71"/>
                  </a:cubicBezTo>
                  <a:cubicBezTo>
                    <a:pt x="137" y="70"/>
                    <a:pt x="136" y="70"/>
                    <a:pt x="136" y="70"/>
                  </a:cubicBezTo>
                  <a:cubicBezTo>
                    <a:pt x="134" y="69"/>
                    <a:pt x="133" y="70"/>
                    <a:pt x="132" y="69"/>
                  </a:cubicBezTo>
                  <a:cubicBezTo>
                    <a:pt x="130" y="69"/>
                    <a:pt x="128" y="69"/>
                    <a:pt x="127" y="69"/>
                  </a:cubicBezTo>
                  <a:cubicBezTo>
                    <a:pt x="124" y="69"/>
                    <a:pt x="122" y="68"/>
                    <a:pt x="119" y="68"/>
                  </a:cubicBezTo>
                  <a:cubicBezTo>
                    <a:pt x="118" y="68"/>
                    <a:pt x="117" y="67"/>
                    <a:pt x="116" y="67"/>
                  </a:cubicBezTo>
                  <a:cubicBezTo>
                    <a:pt x="116" y="67"/>
                    <a:pt x="115" y="66"/>
                    <a:pt x="114" y="66"/>
                  </a:cubicBezTo>
                  <a:cubicBezTo>
                    <a:pt x="113" y="67"/>
                    <a:pt x="112" y="67"/>
                    <a:pt x="110" y="67"/>
                  </a:cubicBezTo>
                  <a:cubicBezTo>
                    <a:pt x="109" y="67"/>
                    <a:pt x="107" y="67"/>
                    <a:pt x="106" y="67"/>
                  </a:cubicBezTo>
                  <a:cubicBezTo>
                    <a:pt x="104" y="66"/>
                    <a:pt x="104" y="65"/>
                    <a:pt x="102" y="65"/>
                  </a:cubicBezTo>
                  <a:cubicBezTo>
                    <a:pt x="101" y="65"/>
                    <a:pt x="99" y="64"/>
                    <a:pt x="98" y="64"/>
                  </a:cubicBezTo>
                  <a:cubicBezTo>
                    <a:pt x="96" y="64"/>
                    <a:pt x="95" y="64"/>
                    <a:pt x="94" y="64"/>
                  </a:cubicBezTo>
                  <a:cubicBezTo>
                    <a:pt x="92" y="64"/>
                    <a:pt x="91" y="64"/>
                    <a:pt x="90" y="64"/>
                  </a:cubicBezTo>
                  <a:cubicBezTo>
                    <a:pt x="85" y="64"/>
                    <a:pt x="81" y="64"/>
                    <a:pt x="76" y="63"/>
                  </a:cubicBezTo>
                  <a:cubicBezTo>
                    <a:pt x="75" y="63"/>
                    <a:pt x="73" y="63"/>
                    <a:pt x="71" y="63"/>
                  </a:cubicBezTo>
                  <a:cubicBezTo>
                    <a:pt x="70" y="63"/>
                    <a:pt x="69" y="62"/>
                    <a:pt x="67" y="62"/>
                  </a:cubicBezTo>
                  <a:cubicBezTo>
                    <a:pt x="65" y="62"/>
                    <a:pt x="64" y="62"/>
                    <a:pt x="62" y="62"/>
                  </a:cubicBezTo>
                  <a:cubicBezTo>
                    <a:pt x="61" y="62"/>
                    <a:pt x="60" y="62"/>
                    <a:pt x="58" y="62"/>
                  </a:cubicBezTo>
                  <a:cubicBezTo>
                    <a:pt x="57" y="62"/>
                    <a:pt x="56" y="62"/>
                    <a:pt x="55" y="61"/>
                  </a:cubicBezTo>
                  <a:cubicBezTo>
                    <a:pt x="54" y="61"/>
                    <a:pt x="52" y="60"/>
                    <a:pt x="52" y="61"/>
                  </a:cubicBezTo>
                  <a:cubicBezTo>
                    <a:pt x="53" y="62"/>
                    <a:pt x="53" y="64"/>
                    <a:pt x="54" y="65"/>
                  </a:cubicBezTo>
                  <a:cubicBezTo>
                    <a:pt x="55" y="66"/>
                    <a:pt x="56" y="66"/>
                    <a:pt x="57" y="66"/>
                  </a:cubicBezTo>
                  <a:cubicBezTo>
                    <a:pt x="58" y="66"/>
                    <a:pt x="58" y="65"/>
                    <a:pt x="59" y="65"/>
                  </a:cubicBezTo>
                  <a:cubicBezTo>
                    <a:pt x="61" y="64"/>
                    <a:pt x="63" y="65"/>
                    <a:pt x="64" y="66"/>
                  </a:cubicBezTo>
                  <a:cubicBezTo>
                    <a:pt x="65" y="66"/>
                    <a:pt x="65" y="67"/>
                    <a:pt x="67" y="67"/>
                  </a:cubicBezTo>
                  <a:cubicBezTo>
                    <a:pt x="67" y="67"/>
                    <a:pt x="67" y="66"/>
                    <a:pt x="68" y="66"/>
                  </a:cubicBezTo>
                  <a:cubicBezTo>
                    <a:pt x="69" y="66"/>
                    <a:pt x="70" y="67"/>
                    <a:pt x="72" y="68"/>
                  </a:cubicBezTo>
                  <a:cubicBezTo>
                    <a:pt x="73" y="68"/>
                    <a:pt x="73" y="68"/>
                    <a:pt x="74" y="69"/>
                  </a:cubicBezTo>
                  <a:cubicBezTo>
                    <a:pt x="76" y="70"/>
                    <a:pt x="76" y="69"/>
                    <a:pt x="78" y="70"/>
                  </a:cubicBezTo>
                  <a:cubicBezTo>
                    <a:pt x="78" y="70"/>
                    <a:pt x="79" y="71"/>
                    <a:pt x="79" y="71"/>
                  </a:cubicBezTo>
                  <a:cubicBezTo>
                    <a:pt x="80" y="72"/>
                    <a:pt x="80" y="71"/>
                    <a:pt x="81" y="71"/>
                  </a:cubicBezTo>
                  <a:cubicBezTo>
                    <a:pt x="82" y="71"/>
                    <a:pt x="83" y="71"/>
                    <a:pt x="84" y="72"/>
                  </a:cubicBezTo>
                  <a:cubicBezTo>
                    <a:pt x="85" y="73"/>
                    <a:pt x="85" y="74"/>
                    <a:pt x="87" y="74"/>
                  </a:cubicBezTo>
                  <a:cubicBezTo>
                    <a:pt x="90" y="75"/>
                    <a:pt x="92" y="76"/>
                    <a:pt x="95" y="77"/>
                  </a:cubicBezTo>
                  <a:cubicBezTo>
                    <a:pt x="96" y="77"/>
                    <a:pt x="97" y="77"/>
                    <a:pt x="98" y="77"/>
                  </a:cubicBezTo>
                  <a:cubicBezTo>
                    <a:pt x="99" y="77"/>
                    <a:pt x="100" y="78"/>
                    <a:pt x="101" y="78"/>
                  </a:cubicBezTo>
                  <a:cubicBezTo>
                    <a:pt x="102" y="79"/>
                    <a:pt x="103" y="78"/>
                    <a:pt x="104" y="77"/>
                  </a:cubicBezTo>
                  <a:cubicBezTo>
                    <a:pt x="105" y="77"/>
                    <a:pt x="106" y="77"/>
                    <a:pt x="107" y="77"/>
                  </a:cubicBezTo>
                  <a:cubicBezTo>
                    <a:pt x="108" y="77"/>
                    <a:pt x="109" y="77"/>
                    <a:pt x="110" y="77"/>
                  </a:cubicBezTo>
                  <a:cubicBezTo>
                    <a:pt x="111" y="77"/>
                    <a:pt x="112" y="78"/>
                    <a:pt x="113" y="78"/>
                  </a:cubicBezTo>
                  <a:cubicBezTo>
                    <a:pt x="115" y="78"/>
                    <a:pt x="118" y="79"/>
                    <a:pt x="119" y="79"/>
                  </a:cubicBezTo>
                  <a:cubicBezTo>
                    <a:pt x="119" y="78"/>
                    <a:pt x="118" y="77"/>
                    <a:pt x="118" y="77"/>
                  </a:cubicBezTo>
                  <a:cubicBezTo>
                    <a:pt x="119" y="76"/>
                    <a:pt x="120" y="77"/>
                    <a:pt x="121" y="77"/>
                  </a:cubicBezTo>
                  <a:cubicBezTo>
                    <a:pt x="122" y="77"/>
                    <a:pt x="123" y="77"/>
                    <a:pt x="123" y="77"/>
                  </a:cubicBezTo>
                  <a:cubicBezTo>
                    <a:pt x="124" y="77"/>
                    <a:pt x="125" y="77"/>
                    <a:pt x="125" y="77"/>
                  </a:cubicBezTo>
                  <a:cubicBezTo>
                    <a:pt x="127" y="77"/>
                    <a:pt x="128" y="74"/>
                    <a:pt x="130" y="74"/>
                  </a:cubicBezTo>
                  <a:cubicBezTo>
                    <a:pt x="132" y="74"/>
                    <a:pt x="133" y="74"/>
                    <a:pt x="134" y="74"/>
                  </a:cubicBezTo>
                  <a:close/>
                  <a:moveTo>
                    <a:pt x="19" y="21"/>
                  </a:moveTo>
                  <a:cubicBezTo>
                    <a:pt x="19" y="21"/>
                    <a:pt x="18" y="20"/>
                    <a:pt x="17" y="20"/>
                  </a:cubicBezTo>
                  <a:cubicBezTo>
                    <a:pt x="17" y="20"/>
                    <a:pt x="16" y="20"/>
                    <a:pt x="15" y="20"/>
                  </a:cubicBezTo>
                  <a:cubicBezTo>
                    <a:pt x="14" y="21"/>
                    <a:pt x="13" y="21"/>
                    <a:pt x="13" y="22"/>
                  </a:cubicBezTo>
                  <a:cubicBezTo>
                    <a:pt x="13" y="23"/>
                    <a:pt x="13" y="23"/>
                    <a:pt x="13" y="24"/>
                  </a:cubicBezTo>
                  <a:cubicBezTo>
                    <a:pt x="13" y="26"/>
                    <a:pt x="14" y="27"/>
                    <a:pt x="15" y="28"/>
                  </a:cubicBezTo>
                  <a:cubicBezTo>
                    <a:pt x="16" y="29"/>
                    <a:pt x="16" y="31"/>
                    <a:pt x="17" y="32"/>
                  </a:cubicBezTo>
                  <a:cubicBezTo>
                    <a:pt x="18" y="33"/>
                    <a:pt x="19" y="32"/>
                    <a:pt x="20" y="32"/>
                  </a:cubicBezTo>
                  <a:cubicBezTo>
                    <a:pt x="22" y="31"/>
                    <a:pt x="23" y="30"/>
                    <a:pt x="23" y="29"/>
                  </a:cubicBezTo>
                  <a:cubicBezTo>
                    <a:pt x="23" y="28"/>
                    <a:pt x="24" y="26"/>
                    <a:pt x="23" y="25"/>
                  </a:cubicBezTo>
                  <a:cubicBezTo>
                    <a:pt x="22" y="25"/>
                    <a:pt x="20" y="31"/>
                    <a:pt x="21" y="26"/>
                  </a:cubicBezTo>
                  <a:cubicBezTo>
                    <a:pt x="21" y="23"/>
                    <a:pt x="20" y="22"/>
                    <a:pt x="19" y="21"/>
                  </a:cubicBezTo>
                  <a:close/>
                  <a:moveTo>
                    <a:pt x="253" y="386"/>
                  </a:moveTo>
                  <a:cubicBezTo>
                    <a:pt x="252" y="387"/>
                    <a:pt x="252" y="386"/>
                    <a:pt x="251" y="386"/>
                  </a:cubicBezTo>
                  <a:cubicBezTo>
                    <a:pt x="250" y="386"/>
                    <a:pt x="249" y="386"/>
                    <a:pt x="249" y="386"/>
                  </a:cubicBezTo>
                  <a:cubicBezTo>
                    <a:pt x="247" y="386"/>
                    <a:pt x="246" y="385"/>
                    <a:pt x="245" y="386"/>
                  </a:cubicBezTo>
                  <a:cubicBezTo>
                    <a:pt x="244" y="387"/>
                    <a:pt x="243" y="388"/>
                    <a:pt x="244" y="389"/>
                  </a:cubicBezTo>
                  <a:cubicBezTo>
                    <a:pt x="244" y="390"/>
                    <a:pt x="245" y="391"/>
                    <a:pt x="246" y="392"/>
                  </a:cubicBezTo>
                  <a:cubicBezTo>
                    <a:pt x="247" y="394"/>
                    <a:pt x="248" y="394"/>
                    <a:pt x="250" y="395"/>
                  </a:cubicBezTo>
                  <a:cubicBezTo>
                    <a:pt x="253" y="397"/>
                    <a:pt x="256" y="400"/>
                    <a:pt x="259" y="402"/>
                  </a:cubicBezTo>
                  <a:cubicBezTo>
                    <a:pt x="261" y="403"/>
                    <a:pt x="263" y="402"/>
                    <a:pt x="265" y="402"/>
                  </a:cubicBezTo>
                  <a:cubicBezTo>
                    <a:pt x="267" y="402"/>
                    <a:pt x="269" y="403"/>
                    <a:pt x="270" y="403"/>
                  </a:cubicBezTo>
                  <a:cubicBezTo>
                    <a:pt x="273" y="404"/>
                    <a:pt x="278" y="407"/>
                    <a:pt x="280" y="405"/>
                  </a:cubicBezTo>
                  <a:cubicBezTo>
                    <a:pt x="281" y="403"/>
                    <a:pt x="283" y="402"/>
                    <a:pt x="285" y="402"/>
                  </a:cubicBezTo>
                  <a:cubicBezTo>
                    <a:pt x="286" y="402"/>
                    <a:pt x="287" y="403"/>
                    <a:pt x="287" y="404"/>
                  </a:cubicBezTo>
                  <a:cubicBezTo>
                    <a:pt x="288" y="404"/>
                    <a:pt x="288" y="405"/>
                    <a:pt x="289" y="405"/>
                  </a:cubicBezTo>
                  <a:cubicBezTo>
                    <a:pt x="289" y="405"/>
                    <a:pt x="290" y="406"/>
                    <a:pt x="291" y="406"/>
                  </a:cubicBezTo>
                  <a:cubicBezTo>
                    <a:pt x="292" y="406"/>
                    <a:pt x="292" y="405"/>
                    <a:pt x="291" y="404"/>
                  </a:cubicBezTo>
                  <a:cubicBezTo>
                    <a:pt x="291" y="403"/>
                    <a:pt x="290" y="403"/>
                    <a:pt x="291" y="402"/>
                  </a:cubicBezTo>
                  <a:cubicBezTo>
                    <a:pt x="291" y="401"/>
                    <a:pt x="292" y="400"/>
                    <a:pt x="292" y="399"/>
                  </a:cubicBezTo>
                  <a:cubicBezTo>
                    <a:pt x="291" y="398"/>
                    <a:pt x="290" y="397"/>
                    <a:pt x="289" y="397"/>
                  </a:cubicBezTo>
                  <a:cubicBezTo>
                    <a:pt x="288" y="396"/>
                    <a:pt x="287" y="395"/>
                    <a:pt x="286" y="395"/>
                  </a:cubicBezTo>
                  <a:cubicBezTo>
                    <a:pt x="284" y="394"/>
                    <a:pt x="282" y="393"/>
                    <a:pt x="281" y="393"/>
                  </a:cubicBezTo>
                  <a:cubicBezTo>
                    <a:pt x="280" y="392"/>
                    <a:pt x="280" y="392"/>
                    <a:pt x="279" y="391"/>
                  </a:cubicBezTo>
                  <a:cubicBezTo>
                    <a:pt x="278" y="391"/>
                    <a:pt x="277" y="390"/>
                    <a:pt x="277" y="390"/>
                  </a:cubicBezTo>
                  <a:cubicBezTo>
                    <a:pt x="275" y="389"/>
                    <a:pt x="273" y="388"/>
                    <a:pt x="272" y="386"/>
                  </a:cubicBezTo>
                  <a:cubicBezTo>
                    <a:pt x="270" y="385"/>
                    <a:pt x="268" y="383"/>
                    <a:pt x="266" y="383"/>
                  </a:cubicBezTo>
                  <a:cubicBezTo>
                    <a:pt x="263" y="382"/>
                    <a:pt x="260" y="383"/>
                    <a:pt x="258" y="383"/>
                  </a:cubicBezTo>
                  <a:cubicBezTo>
                    <a:pt x="256" y="384"/>
                    <a:pt x="254" y="386"/>
                    <a:pt x="253" y="386"/>
                  </a:cubicBezTo>
                  <a:close/>
                  <a:moveTo>
                    <a:pt x="257" y="381"/>
                  </a:moveTo>
                  <a:cubicBezTo>
                    <a:pt x="257" y="381"/>
                    <a:pt x="256" y="380"/>
                    <a:pt x="256" y="380"/>
                  </a:cubicBezTo>
                  <a:cubicBezTo>
                    <a:pt x="255" y="379"/>
                    <a:pt x="255" y="379"/>
                    <a:pt x="255" y="379"/>
                  </a:cubicBezTo>
                  <a:cubicBezTo>
                    <a:pt x="254" y="378"/>
                    <a:pt x="254" y="378"/>
                    <a:pt x="253" y="377"/>
                  </a:cubicBezTo>
                  <a:cubicBezTo>
                    <a:pt x="253" y="377"/>
                    <a:pt x="252" y="377"/>
                    <a:pt x="251" y="377"/>
                  </a:cubicBezTo>
                  <a:cubicBezTo>
                    <a:pt x="251" y="377"/>
                    <a:pt x="250" y="377"/>
                    <a:pt x="249" y="377"/>
                  </a:cubicBezTo>
                  <a:cubicBezTo>
                    <a:pt x="249" y="377"/>
                    <a:pt x="248" y="376"/>
                    <a:pt x="248" y="376"/>
                  </a:cubicBezTo>
                  <a:cubicBezTo>
                    <a:pt x="246" y="376"/>
                    <a:pt x="246" y="378"/>
                    <a:pt x="247" y="379"/>
                  </a:cubicBezTo>
                  <a:cubicBezTo>
                    <a:pt x="247" y="380"/>
                    <a:pt x="248" y="380"/>
                    <a:pt x="248" y="380"/>
                  </a:cubicBezTo>
                  <a:cubicBezTo>
                    <a:pt x="249" y="381"/>
                    <a:pt x="249" y="381"/>
                    <a:pt x="250" y="382"/>
                  </a:cubicBezTo>
                  <a:cubicBezTo>
                    <a:pt x="250" y="382"/>
                    <a:pt x="250" y="383"/>
                    <a:pt x="250" y="383"/>
                  </a:cubicBezTo>
                  <a:cubicBezTo>
                    <a:pt x="250" y="384"/>
                    <a:pt x="250" y="384"/>
                    <a:pt x="250" y="384"/>
                  </a:cubicBezTo>
                  <a:cubicBezTo>
                    <a:pt x="251" y="385"/>
                    <a:pt x="252" y="385"/>
                    <a:pt x="253" y="385"/>
                  </a:cubicBezTo>
                  <a:cubicBezTo>
                    <a:pt x="253" y="385"/>
                    <a:pt x="254" y="385"/>
                    <a:pt x="254" y="384"/>
                  </a:cubicBezTo>
                  <a:cubicBezTo>
                    <a:pt x="255" y="384"/>
                    <a:pt x="255" y="384"/>
                    <a:pt x="255" y="383"/>
                  </a:cubicBezTo>
                  <a:cubicBezTo>
                    <a:pt x="256" y="383"/>
                    <a:pt x="256" y="383"/>
                    <a:pt x="257" y="382"/>
                  </a:cubicBezTo>
                  <a:lnTo>
                    <a:pt x="257" y="381"/>
                  </a:lnTo>
                  <a:close/>
                  <a:moveTo>
                    <a:pt x="261" y="382"/>
                  </a:moveTo>
                  <a:cubicBezTo>
                    <a:pt x="261" y="382"/>
                    <a:pt x="262" y="382"/>
                    <a:pt x="263" y="382"/>
                  </a:cubicBezTo>
                  <a:cubicBezTo>
                    <a:pt x="263" y="382"/>
                    <a:pt x="264" y="381"/>
                    <a:pt x="264" y="381"/>
                  </a:cubicBezTo>
                  <a:cubicBezTo>
                    <a:pt x="264" y="380"/>
                    <a:pt x="262" y="380"/>
                    <a:pt x="261" y="380"/>
                  </a:cubicBezTo>
                  <a:cubicBezTo>
                    <a:pt x="260" y="380"/>
                    <a:pt x="259" y="380"/>
                    <a:pt x="259" y="379"/>
                  </a:cubicBezTo>
                  <a:cubicBezTo>
                    <a:pt x="259" y="378"/>
                    <a:pt x="259" y="377"/>
                    <a:pt x="259" y="377"/>
                  </a:cubicBezTo>
                  <a:cubicBezTo>
                    <a:pt x="258" y="376"/>
                    <a:pt x="258" y="375"/>
                    <a:pt x="258" y="375"/>
                  </a:cubicBezTo>
                  <a:cubicBezTo>
                    <a:pt x="258" y="374"/>
                    <a:pt x="258" y="374"/>
                    <a:pt x="257" y="373"/>
                  </a:cubicBezTo>
                  <a:cubicBezTo>
                    <a:pt x="256" y="372"/>
                    <a:pt x="255" y="372"/>
                    <a:pt x="254" y="371"/>
                  </a:cubicBezTo>
                  <a:cubicBezTo>
                    <a:pt x="253" y="371"/>
                    <a:pt x="252" y="371"/>
                    <a:pt x="252" y="371"/>
                  </a:cubicBezTo>
                  <a:cubicBezTo>
                    <a:pt x="251" y="370"/>
                    <a:pt x="251" y="370"/>
                    <a:pt x="250" y="371"/>
                  </a:cubicBezTo>
                  <a:cubicBezTo>
                    <a:pt x="250" y="371"/>
                    <a:pt x="250" y="372"/>
                    <a:pt x="250" y="373"/>
                  </a:cubicBezTo>
                  <a:cubicBezTo>
                    <a:pt x="250" y="374"/>
                    <a:pt x="250" y="374"/>
                    <a:pt x="250" y="375"/>
                  </a:cubicBezTo>
                  <a:cubicBezTo>
                    <a:pt x="250" y="376"/>
                    <a:pt x="251" y="376"/>
                    <a:pt x="251" y="376"/>
                  </a:cubicBezTo>
                  <a:cubicBezTo>
                    <a:pt x="253" y="376"/>
                    <a:pt x="254" y="376"/>
                    <a:pt x="255" y="377"/>
                  </a:cubicBezTo>
                  <a:cubicBezTo>
                    <a:pt x="256" y="378"/>
                    <a:pt x="257" y="378"/>
                    <a:pt x="257" y="379"/>
                  </a:cubicBezTo>
                  <a:cubicBezTo>
                    <a:pt x="258" y="380"/>
                    <a:pt x="258" y="380"/>
                    <a:pt x="258" y="380"/>
                  </a:cubicBezTo>
                  <a:cubicBezTo>
                    <a:pt x="259" y="381"/>
                    <a:pt x="259" y="381"/>
                    <a:pt x="260" y="381"/>
                  </a:cubicBezTo>
                  <a:cubicBezTo>
                    <a:pt x="260" y="381"/>
                    <a:pt x="260" y="382"/>
                    <a:pt x="261" y="382"/>
                  </a:cubicBezTo>
                  <a:close/>
                  <a:moveTo>
                    <a:pt x="183" y="59"/>
                  </a:moveTo>
                  <a:cubicBezTo>
                    <a:pt x="183" y="59"/>
                    <a:pt x="183" y="59"/>
                    <a:pt x="183" y="59"/>
                  </a:cubicBezTo>
                  <a:cubicBezTo>
                    <a:pt x="183" y="59"/>
                    <a:pt x="183" y="59"/>
                    <a:pt x="183" y="59"/>
                  </a:cubicBezTo>
                  <a:cubicBezTo>
                    <a:pt x="183" y="59"/>
                    <a:pt x="183" y="59"/>
                    <a:pt x="183" y="59"/>
                  </a:cubicBezTo>
                  <a:close/>
                  <a:moveTo>
                    <a:pt x="393" y="387"/>
                  </a:moveTo>
                  <a:cubicBezTo>
                    <a:pt x="393" y="388"/>
                    <a:pt x="391" y="386"/>
                    <a:pt x="391" y="386"/>
                  </a:cubicBezTo>
                  <a:cubicBezTo>
                    <a:pt x="391" y="386"/>
                    <a:pt x="390" y="387"/>
                    <a:pt x="390" y="386"/>
                  </a:cubicBezTo>
                  <a:cubicBezTo>
                    <a:pt x="390" y="385"/>
                    <a:pt x="390" y="384"/>
                    <a:pt x="390" y="384"/>
                  </a:cubicBezTo>
                  <a:cubicBezTo>
                    <a:pt x="388" y="385"/>
                    <a:pt x="388" y="385"/>
                    <a:pt x="388" y="385"/>
                  </a:cubicBezTo>
                  <a:cubicBezTo>
                    <a:pt x="386" y="383"/>
                    <a:pt x="386" y="383"/>
                    <a:pt x="386" y="383"/>
                  </a:cubicBezTo>
                  <a:cubicBezTo>
                    <a:pt x="387" y="381"/>
                    <a:pt x="387" y="381"/>
                    <a:pt x="387" y="381"/>
                  </a:cubicBezTo>
                  <a:cubicBezTo>
                    <a:pt x="386" y="380"/>
                    <a:pt x="386" y="380"/>
                    <a:pt x="386" y="380"/>
                  </a:cubicBezTo>
                  <a:cubicBezTo>
                    <a:pt x="385" y="380"/>
                    <a:pt x="385" y="380"/>
                    <a:pt x="385" y="380"/>
                  </a:cubicBezTo>
                  <a:cubicBezTo>
                    <a:pt x="386" y="377"/>
                    <a:pt x="386" y="377"/>
                    <a:pt x="386" y="377"/>
                  </a:cubicBezTo>
                  <a:cubicBezTo>
                    <a:pt x="383" y="375"/>
                    <a:pt x="383" y="375"/>
                    <a:pt x="383" y="375"/>
                  </a:cubicBezTo>
                  <a:cubicBezTo>
                    <a:pt x="383" y="373"/>
                    <a:pt x="383" y="373"/>
                    <a:pt x="383" y="373"/>
                  </a:cubicBezTo>
                  <a:cubicBezTo>
                    <a:pt x="385" y="373"/>
                    <a:pt x="385" y="373"/>
                    <a:pt x="385" y="373"/>
                  </a:cubicBezTo>
                  <a:cubicBezTo>
                    <a:pt x="385" y="373"/>
                    <a:pt x="384" y="371"/>
                    <a:pt x="384" y="371"/>
                  </a:cubicBezTo>
                  <a:cubicBezTo>
                    <a:pt x="384" y="371"/>
                    <a:pt x="385" y="371"/>
                    <a:pt x="385" y="370"/>
                  </a:cubicBezTo>
                  <a:cubicBezTo>
                    <a:pt x="385" y="369"/>
                    <a:pt x="384" y="369"/>
                    <a:pt x="384" y="369"/>
                  </a:cubicBezTo>
                  <a:cubicBezTo>
                    <a:pt x="383" y="368"/>
                    <a:pt x="383" y="368"/>
                    <a:pt x="383" y="368"/>
                  </a:cubicBezTo>
                  <a:cubicBezTo>
                    <a:pt x="386" y="368"/>
                    <a:pt x="386" y="368"/>
                    <a:pt x="386" y="368"/>
                  </a:cubicBezTo>
                  <a:cubicBezTo>
                    <a:pt x="387" y="367"/>
                    <a:pt x="387" y="367"/>
                    <a:pt x="387" y="367"/>
                  </a:cubicBezTo>
                  <a:cubicBezTo>
                    <a:pt x="387" y="366"/>
                    <a:pt x="387" y="366"/>
                    <a:pt x="387" y="366"/>
                  </a:cubicBezTo>
                  <a:cubicBezTo>
                    <a:pt x="386" y="365"/>
                    <a:pt x="386" y="365"/>
                    <a:pt x="386" y="365"/>
                  </a:cubicBezTo>
                  <a:cubicBezTo>
                    <a:pt x="386" y="365"/>
                    <a:pt x="388" y="365"/>
                    <a:pt x="388" y="364"/>
                  </a:cubicBezTo>
                  <a:cubicBezTo>
                    <a:pt x="388" y="364"/>
                    <a:pt x="388" y="361"/>
                    <a:pt x="388" y="361"/>
                  </a:cubicBezTo>
                  <a:cubicBezTo>
                    <a:pt x="390" y="361"/>
                    <a:pt x="390" y="361"/>
                    <a:pt x="390" y="361"/>
                  </a:cubicBezTo>
                  <a:cubicBezTo>
                    <a:pt x="390" y="359"/>
                    <a:pt x="390" y="359"/>
                    <a:pt x="390" y="359"/>
                  </a:cubicBezTo>
                  <a:cubicBezTo>
                    <a:pt x="388" y="359"/>
                    <a:pt x="388" y="359"/>
                    <a:pt x="388" y="359"/>
                  </a:cubicBezTo>
                  <a:cubicBezTo>
                    <a:pt x="388" y="358"/>
                    <a:pt x="388" y="358"/>
                    <a:pt x="388" y="358"/>
                  </a:cubicBezTo>
                  <a:cubicBezTo>
                    <a:pt x="388" y="357"/>
                    <a:pt x="388" y="357"/>
                    <a:pt x="388" y="357"/>
                  </a:cubicBezTo>
                  <a:cubicBezTo>
                    <a:pt x="390" y="358"/>
                    <a:pt x="390" y="358"/>
                    <a:pt x="390" y="358"/>
                  </a:cubicBezTo>
                  <a:cubicBezTo>
                    <a:pt x="390" y="358"/>
                    <a:pt x="390" y="357"/>
                    <a:pt x="390" y="357"/>
                  </a:cubicBezTo>
                  <a:cubicBezTo>
                    <a:pt x="390" y="356"/>
                    <a:pt x="390" y="356"/>
                    <a:pt x="390" y="356"/>
                  </a:cubicBezTo>
                  <a:cubicBezTo>
                    <a:pt x="391" y="355"/>
                    <a:pt x="391" y="355"/>
                    <a:pt x="391" y="355"/>
                  </a:cubicBezTo>
                  <a:cubicBezTo>
                    <a:pt x="389" y="354"/>
                    <a:pt x="389" y="354"/>
                    <a:pt x="389" y="354"/>
                  </a:cubicBezTo>
                  <a:cubicBezTo>
                    <a:pt x="391" y="353"/>
                    <a:pt x="391" y="353"/>
                    <a:pt x="391" y="353"/>
                  </a:cubicBezTo>
                  <a:cubicBezTo>
                    <a:pt x="391" y="352"/>
                    <a:pt x="391" y="352"/>
                    <a:pt x="391" y="352"/>
                  </a:cubicBezTo>
                  <a:cubicBezTo>
                    <a:pt x="390" y="351"/>
                    <a:pt x="390" y="351"/>
                    <a:pt x="390" y="351"/>
                  </a:cubicBezTo>
                  <a:cubicBezTo>
                    <a:pt x="390" y="351"/>
                    <a:pt x="390" y="351"/>
                    <a:pt x="390" y="351"/>
                  </a:cubicBezTo>
                  <a:cubicBezTo>
                    <a:pt x="392" y="351"/>
                    <a:pt x="392" y="351"/>
                    <a:pt x="392" y="351"/>
                  </a:cubicBezTo>
                  <a:cubicBezTo>
                    <a:pt x="392" y="271"/>
                    <a:pt x="392" y="271"/>
                    <a:pt x="392" y="271"/>
                  </a:cubicBezTo>
                  <a:cubicBezTo>
                    <a:pt x="393" y="122"/>
                    <a:pt x="393" y="122"/>
                    <a:pt x="393" y="122"/>
                  </a:cubicBezTo>
                  <a:cubicBezTo>
                    <a:pt x="392" y="123"/>
                    <a:pt x="390" y="123"/>
                    <a:pt x="389" y="123"/>
                  </a:cubicBezTo>
                  <a:cubicBezTo>
                    <a:pt x="388" y="123"/>
                    <a:pt x="387" y="123"/>
                    <a:pt x="386" y="123"/>
                  </a:cubicBezTo>
                  <a:cubicBezTo>
                    <a:pt x="385" y="122"/>
                    <a:pt x="384" y="123"/>
                    <a:pt x="383" y="123"/>
                  </a:cubicBezTo>
                  <a:cubicBezTo>
                    <a:pt x="382" y="122"/>
                    <a:pt x="381" y="122"/>
                    <a:pt x="380" y="123"/>
                  </a:cubicBezTo>
                  <a:cubicBezTo>
                    <a:pt x="379" y="123"/>
                    <a:pt x="378" y="124"/>
                    <a:pt x="377" y="124"/>
                  </a:cubicBezTo>
                  <a:cubicBezTo>
                    <a:pt x="376" y="124"/>
                    <a:pt x="374" y="124"/>
                    <a:pt x="374" y="122"/>
                  </a:cubicBezTo>
                  <a:cubicBezTo>
                    <a:pt x="373" y="122"/>
                    <a:pt x="374" y="121"/>
                    <a:pt x="374" y="120"/>
                  </a:cubicBezTo>
                  <a:cubicBezTo>
                    <a:pt x="375" y="119"/>
                    <a:pt x="378" y="117"/>
                    <a:pt x="376" y="116"/>
                  </a:cubicBezTo>
                  <a:cubicBezTo>
                    <a:pt x="375" y="114"/>
                    <a:pt x="374" y="114"/>
                    <a:pt x="372" y="114"/>
                  </a:cubicBezTo>
                  <a:cubicBezTo>
                    <a:pt x="372" y="114"/>
                    <a:pt x="371" y="114"/>
                    <a:pt x="370" y="114"/>
                  </a:cubicBezTo>
                  <a:cubicBezTo>
                    <a:pt x="370" y="113"/>
                    <a:pt x="370" y="113"/>
                    <a:pt x="369" y="113"/>
                  </a:cubicBezTo>
                  <a:cubicBezTo>
                    <a:pt x="369" y="112"/>
                    <a:pt x="367" y="112"/>
                    <a:pt x="366" y="112"/>
                  </a:cubicBezTo>
                  <a:cubicBezTo>
                    <a:pt x="365" y="112"/>
                    <a:pt x="363" y="112"/>
                    <a:pt x="362" y="112"/>
                  </a:cubicBezTo>
                  <a:cubicBezTo>
                    <a:pt x="361" y="112"/>
                    <a:pt x="360" y="112"/>
                    <a:pt x="359" y="111"/>
                  </a:cubicBezTo>
                  <a:cubicBezTo>
                    <a:pt x="358" y="111"/>
                    <a:pt x="357" y="110"/>
                    <a:pt x="356" y="110"/>
                  </a:cubicBezTo>
                  <a:cubicBezTo>
                    <a:pt x="355" y="110"/>
                    <a:pt x="354" y="110"/>
                    <a:pt x="353" y="111"/>
                  </a:cubicBezTo>
                  <a:cubicBezTo>
                    <a:pt x="354" y="112"/>
                    <a:pt x="354" y="112"/>
                    <a:pt x="354" y="112"/>
                  </a:cubicBezTo>
                  <a:cubicBezTo>
                    <a:pt x="354" y="112"/>
                    <a:pt x="354" y="113"/>
                    <a:pt x="354" y="113"/>
                  </a:cubicBezTo>
                  <a:cubicBezTo>
                    <a:pt x="353" y="113"/>
                    <a:pt x="352" y="112"/>
                    <a:pt x="351" y="112"/>
                  </a:cubicBezTo>
                  <a:cubicBezTo>
                    <a:pt x="350" y="112"/>
                    <a:pt x="349" y="112"/>
                    <a:pt x="348" y="111"/>
                  </a:cubicBezTo>
                  <a:cubicBezTo>
                    <a:pt x="347" y="111"/>
                    <a:pt x="347" y="111"/>
                    <a:pt x="346" y="110"/>
                  </a:cubicBezTo>
                  <a:cubicBezTo>
                    <a:pt x="345" y="110"/>
                    <a:pt x="344" y="110"/>
                    <a:pt x="344" y="109"/>
                  </a:cubicBezTo>
                  <a:cubicBezTo>
                    <a:pt x="343" y="109"/>
                    <a:pt x="343" y="108"/>
                    <a:pt x="342" y="108"/>
                  </a:cubicBezTo>
                  <a:cubicBezTo>
                    <a:pt x="341" y="107"/>
                    <a:pt x="340" y="106"/>
                    <a:pt x="338" y="106"/>
                  </a:cubicBezTo>
                  <a:cubicBezTo>
                    <a:pt x="336" y="106"/>
                    <a:pt x="334" y="107"/>
                    <a:pt x="332" y="107"/>
                  </a:cubicBezTo>
                  <a:cubicBezTo>
                    <a:pt x="330" y="108"/>
                    <a:pt x="328" y="108"/>
                    <a:pt x="326" y="108"/>
                  </a:cubicBezTo>
                  <a:cubicBezTo>
                    <a:pt x="323" y="108"/>
                    <a:pt x="320" y="109"/>
                    <a:pt x="317" y="108"/>
                  </a:cubicBezTo>
                  <a:cubicBezTo>
                    <a:pt x="316" y="107"/>
                    <a:pt x="314" y="106"/>
                    <a:pt x="313" y="106"/>
                  </a:cubicBezTo>
                  <a:cubicBezTo>
                    <a:pt x="312" y="105"/>
                    <a:pt x="312" y="103"/>
                    <a:pt x="310" y="103"/>
                  </a:cubicBezTo>
                  <a:cubicBezTo>
                    <a:pt x="309" y="102"/>
                    <a:pt x="307" y="102"/>
                    <a:pt x="305" y="101"/>
                  </a:cubicBezTo>
                  <a:cubicBezTo>
                    <a:pt x="304" y="101"/>
                    <a:pt x="303" y="100"/>
                    <a:pt x="302" y="100"/>
                  </a:cubicBezTo>
                  <a:cubicBezTo>
                    <a:pt x="301" y="99"/>
                    <a:pt x="300" y="98"/>
                    <a:pt x="299" y="97"/>
                  </a:cubicBezTo>
                  <a:cubicBezTo>
                    <a:pt x="295" y="96"/>
                    <a:pt x="291" y="94"/>
                    <a:pt x="288" y="93"/>
                  </a:cubicBezTo>
                  <a:cubicBezTo>
                    <a:pt x="284" y="91"/>
                    <a:pt x="281" y="89"/>
                    <a:pt x="277" y="87"/>
                  </a:cubicBezTo>
                  <a:cubicBezTo>
                    <a:pt x="276" y="86"/>
                    <a:pt x="274" y="86"/>
                    <a:pt x="273" y="85"/>
                  </a:cubicBezTo>
                  <a:cubicBezTo>
                    <a:pt x="272" y="85"/>
                    <a:pt x="272" y="84"/>
                    <a:pt x="271" y="84"/>
                  </a:cubicBezTo>
                  <a:cubicBezTo>
                    <a:pt x="271" y="84"/>
                    <a:pt x="270" y="84"/>
                    <a:pt x="269" y="83"/>
                  </a:cubicBezTo>
                  <a:cubicBezTo>
                    <a:pt x="268" y="83"/>
                    <a:pt x="266" y="82"/>
                    <a:pt x="265" y="83"/>
                  </a:cubicBezTo>
                  <a:cubicBezTo>
                    <a:pt x="264" y="83"/>
                    <a:pt x="263" y="83"/>
                    <a:pt x="261" y="83"/>
                  </a:cubicBezTo>
                  <a:cubicBezTo>
                    <a:pt x="260" y="82"/>
                    <a:pt x="259" y="81"/>
                    <a:pt x="257" y="80"/>
                  </a:cubicBezTo>
                  <a:cubicBezTo>
                    <a:pt x="256" y="79"/>
                    <a:pt x="256" y="79"/>
                    <a:pt x="256" y="77"/>
                  </a:cubicBezTo>
                  <a:cubicBezTo>
                    <a:pt x="255" y="76"/>
                    <a:pt x="255" y="76"/>
                    <a:pt x="254" y="76"/>
                  </a:cubicBezTo>
                  <a:cubicBezTo>
                    <a:pt x="253" y="75"/>
                    <a:pt x="253" y="75"/>
                    <a:pt x="252" y="74"/>
                  </a:cubicBezTo>
                  <a:cubicBezTo>
                    <a:pt x="250" y="73"/>
                    <a:pt x="249" y="73"/>
                    <a:pt x="248" y="73"/>
                  </a:cubicBezTo>
                  <a:cubicBezTo>
                    <a:pt x="246" y="72"/>
                    <a:pt x="245" y="72"/>
                    <a:pt x="244" y="71"/>
                  </a:cubicBezTo>
                  <a:cubicBezTo>
                    <a:pt x="242" y="71"/>
                    <a:pt x="240" y="71"/>
                    <a:pt x="239" y="70"/>
                  </a:cubicBezTo>
                  <a:cubicBezTo>
                    <a:pt x="235" y="69"/>
                    <a:pt x="232" y="69"/>
                    <a:pt x="229" y="67"/>
                  </a:cubicBezTo>
                  <a:cubicBezTo>
                    <a:pt x="227" y="66"/>
                    <a:pt x="226" y="65"/>
                    <a:pt x="224" y="64"/>
                  </a:cubicBezTo>
                  <a:cubicBezTo>
                    <a:pt x="224" y="64"/>
                    <a:pt x="222" y="64"/>
                    <a:pt x="221" y="63"/>
                  </a:cubicBezTo>
                  <a:cubicBezTo>
                    <a:pt x="219" y="63"/>
                    <a:pt x="216" y="62"/>
                    <a:pt x="214" y="61"/>
                  </a:cubicBezTo>
                  <a:cubicBezTo>
                    <a:pt x="213" y="60"/>
                    <a:pt x="211" y="60"/>
                    <a:pt x="210" y="59"/>
                  </a:cubicBezTo>
                  <a:cubicBezTo>
                    <a:pt x="209" y="59"/>
                    <a:pt x="210" y="58"/>
                    <a:pt x="209" y="57"/>
                  </a:cubicBezTo>
                  <a:cubicBezTo>
                    <a:pt x="209" y="58"/>
                    <a:pt x="208" y="58"/>
                    <a:pt x="208" y="58"/>
                  </a:cubicBezTo>
                  <a:cubicBezTo>
                    <a:pt x="207" y="58"/>
                    <a:pt x="207" y="56"/>
                    <a:pt x="206" y="56"/>
                  </a:cubicBezTo>
                  <a:cubicBezTo>
                    <a:pt x="206" y="55"/>
                    <a:pt x="205" y="53"/>
                    <a:pt x="204" y="52"/>
                  </a:cubicBezTo>
                  <a:cubicBezTo>
                    <a:pt x="203" y="53"/>
                    <a:pt x="203" y="54"/>
                    <a:pt x="202" y="54"/>
                  </a:cubicBezTo>
                  <a:cubicBezTo>
                    <a:pt x="202" y="54"/>
                    <a:pt x="202" y="53"/>
                    <a:pt x="202" y="52"/>
                  </a:cubicBezTo>
                  <a:cubicBezTo>
                    <a:pt x="201" y="52"/>
                    <a:pt x="199" y="53"/>
                    <a:pt x="197" y="53"/>
                  </a:cubicBezTo>
                  <a:cubicBezTo>
                    <a:pt x="195" y="53"/>
                    <a:pt x="193" y="54"/>
                    <a:pt x="191" y="55"/>
                  </a:cubicBezTo>
                  <a:cubicBezTo>
                    <a:pt x="188" y="56"/>
                    <a:pt x="186" y="57"/>
                    <a:pt x="183" y="59"/>
                  </a:cubicBezTo>
                  <a:cubicBezTo>
                    <a:pt x="182" y="60"/>
                    <a:pt x="180" y="60"/>
                    <a:pt x="179" y="61"/>
                  </a:cubicBezTo>
                  <a:cubicBezTo>
                    <a:pt x="177" y="61"/>
                    <a:pt x="176" y="62"/>
                    <a:pt x="174" y="63"/>
                  </a:cubicBezTo>
                  <a:cubicBezTo>
                    <a:pt x="172" y="65"/>
                    <a:pt x="169" y="66"/>
                    <a:pt x="166" y="67"/>
                  </a:cubicBezTo>
                  <a:cubicBezTo>
                    <a:pt x="165" y="68"/>
                    <a:pt x="163" y="68"/>
                    <a:pt x="164" y="70"/>
                  </a:cubicBezTo>
                  <a:cubicBezTo>
                    <a:pt x="165" y="72"/>
                    <a:pt x="170" y="70"/>
                    <a:pt x="169" y="73"/>
                  </a:cubicBezTo>
                  <a:cubicBezTo>
                    <a:pt x="168" y="73"/>
                    <a:pt x="166" y="73"/>
                    <a:pt x="165" y="73"/>
                  </a:cubicBezTo>
                  <a:cubicBezTo>
                    <a:pt x="163" y="72"/>
                    <a:pt x="162" y="69"/>
                    <a:pt x="161" y="69"/>
                  </a:cubicBezTo>
                  <a:cubicBezTo>
                    <a:pt x="159" y="69"/>
                    <a:pt x="159" y="71"/>
                    <a:pt x="159" y="72"/>
                  </a:cubicBezTo>
                  <a:cubicBezTo>
                    <a:pt x="159" y="72"/>
                    <a:pt x="159" y="73"/>
                    <a:pt x="159" y="74"/>
                  </a:cubicBezTo>
                  <a:cubicBezTo>
                    <a:pt x="158" y="74"/>
                    <a:pt x="157" y="76"/>
                    <a:pt x="157" y="76"/>
                  </a:cubicBezTo>
                  <a:cubicBezTo>
                    <a:pt x="156" y="76"/>
                    <a:pt x="156" y="74"/>
                    <a:pt x="156" y="73"/>
                  </a:cubicBezTo>
                  <a:cubicBezTo>
                    <a:pt x="156" y="72"/>
                    <a:pt x="157" y="71"/>
                    <a:pt x="155" y="71"/>
                  </a:cubicBezTo>
                  <a:cubicBezTo>
                    <a:pt x="153" y="72"/>
                    <a:pt x="153" y="76"/>
                    <a:pt x="152" y="77"/>
                  </a:cubicBezTo>
                  <a:cubicBezTo>
                    <a:pt x="152" y="78"/>
                    <a:pt x="154" y="79"/>
                    <a:pt x="154" y="79"/>
                  </a:cubicBezTo>
                  <a:cubicBezTo>
                    <a:pt x="155" y="79"/>
                    <a:pt x="155" y="78"/>
                    <a:pt x="155" y="78"/>
                  </a:cubicBezTo>
                  <a:cubicBezTo>
                    <a:pt x="156" y="78"/>
                    <a:pt x="157" y="80"/>
                    <a:pt x="158" y="81"/>
                  </a:cubicBezTo>
                  <a:cubicBezTo>
                    <a:pt x="159" y="82"/>
                    <a:pt x="161" y="83"/>
                    <a:pt x="161" y="85"/>
                  </a:cubicBezTo>
                  <a:cubicBezTo>
                    <a:pt x="162" y="87"/>
                    <a:pt x="162" y="88"/>
                    <a:pt x="162" y="90"/>
                  </a:cubicBezTo>
                  <a:cubicBezTo>
                    <a:pt x="160" y="91"/>
                    <a:pt x="160" y="90"/>
                    <a:pt x="158" y="90"/>
                  </a:cubicBezTo>
                  <a:cubicBezTo>
                    <a:pt x="157" y="91"/>
                    <a:pt x="156" y="91"/>
                    <a:pt x="155" y="92"/>
                  </a:cubicBezTo>
                  <a:cubicBezTo>
                    <a:pt x="152" y="92"/>
                    <a:pt x="150" y="92"/>
                    <a:pt x="148" y="92"/>
                  </a:cubicBezTo>
                  <a:cubicBezTo>
                    <a:pt x="145" y="92"/>
                    <a:pt x="143" y="95"/>
                    <a:pt x="141" y="96"/>
                  </a:cubicBezTo>
                  <a:cubicBezTo>
                    <a:pt x="139" y="97"/>
                    <a:pt x="137" y="95"/>
                    <a:pt x="136" y="97"/>
                  </a:cubicBezTo>
                  <a:cubicBezTo>
                    <a:pt x="135" y="98"/>
                    <a:pt x="135" y="98"/>
                    <a:pt x="135" y="99"/>
                  </a:cubicBezTo>
                  <a:cubicBezTo>
                    <a:pt x="134" y="99"/>
                    <a:pt x="133" y="100"/>
                    <a:pt x="133" y="100"/>
                  </a:cubicBezTo>
                  <a:cubicBezTo>
                    <a:pt x="131" y="99"/>
                    <a:pt x="130" y="100"/>
                    <a:pt x="129" y="100"/>
                  </a:cubicBezTo>
                  <a:cubicBezTo>
                    <a:pt x="127" y="101"/>
                    <a:pt x="127" y="101"/>
                    <a:pt x="126" y="100"/>
                  </a:cubicBezTo>
                  <a:cubicBezTo>
                    <a:pt x="124" y="100"/>
                    <a:pt x="123" y="100"/>
                    <a:pt x="122" y="99"/>
                  </a:cubicBezTo>
                  <a:cubicBezTo>
                    <a:pt x="121" y="98"/>
                    <a:pt x="121" y="98"/>
                    <a:pt x="120" y="98"/>
                  </a:cubicBezTo>
                  <a:cubicBezTo>
                    <a:pt x="119" y="98"/>
                    <a:pt x="118" y="98"/>
                    <a:pt x="117" y="98"/>
                  </a:cubicBezTo>
                  <a:cubicBezTo>
                    <a:pt x="115" y="98"/>
                    <a:pt x="112" y="97"/>
                    <a:pt x="110" y="98"/>
                  </a:cubicBezTo>
                  <a:cubicBezTo>
                    <a:pt x="109" y="99"/>
                    <a:pt x="107" y="101"/>
                    <a:pt x="107" y="103"/>
                  </a:cubicBezTo>
                  <a:cubicBezTo>
                    <a:pt x="108" y="105"/>
                    <a:pt x="108" y="105"/>
                    <a:pt x="106" y="107"/>
                  </a:cubicBezTo>
                  <a:cubicBezTo>
                    <a:pt x="105" y="109"/>
                    <a:pt x="105" y="111"/>
                    <a:pt x="105" y="113"/>
                  </a:cubicBezTo>
                  <a:cubicBezTo>
                    <a:pt x="103" y="117"/>
                    <a:pt x="103" y="121"/>
                    <a:pt x="99" y="123"/>
                  </a:cubicBezTo>
                  <a:cubicBezTo>
                    <a:pt x="95" y="125"/>
                    <a:pt x="89" y="124"/>
                    <a:pt x="88" y="128"/>
                  </a:cubicBezTo>
                  <a:cubicBezTo>
                    <a:pt x="87" y="130"/>
                    <a:pt x="87" y="130"/>
                    <a:pt x="86" y="131"/>
                  </a:cubicBezTo>
                  <a:cubicBezTo>
                    <a:pt x="85" y="132"/>
                    <a:pt x="84" y="132"/>
                    <a:pt x="83" y="134"/>
                  </a:cubicBezTo>
                  <a:cubicBezTo>
                    <a:pt x="83" y="134"/>
                    <a:pt x="83" y="135"/>
                    <a:pt x="83" y="136"/>
                  </a:cubicBezTo>
                  <a:cubicBezTo>
                    <a:pt x="82" y="136"/>
                    <a:pt x="81" y="137"/>
                    <a:pt x="81" y="138"/>
                  </a:cubicBezTo>
                  <a:cubicBezTo>
                    <a:pt x="79" y="140"/>
                    <a:pt x="82" y="140"/>
                    <a:pt x="82" y="142"/>
                  </a:cubicBezTo>
                  <a:cubicBezTo>
                    <a:pt x="82" y="143"/>
                    <a:pt x="80" y="145"/>
                    <a:pt x="79" y="146"/>
                  </a:cubicBezTo>
                  <a:cubicBezTo>
                    <a:pt x="78" y="147"/>
                    <a:pt x="77" y="147"/>
                    <a:pt x="75" y="148"/>
                  </a:cubicBezTo>
                  <a:cubicBezTo>
                    <a:pt x="74" y="148"/>
                    <a:pt x="70" y="149"/>
                    <a:pt x="71" y="151"/>
                  </a:cubicBezTo>
                  <a:cubicBezTo>
                    <a:pt x="71" y="152"/>
                    <a:pt x="71" y="152"/>
                    <a:pt x="71" y="153"/>
                  </a:cubicBezTo>
                  <a:cubicBezTo>
                    <a:pt x="71" y="154"/>
                    <a:pt x="71" y="154"/>
                    <a:pt x="71" y="154"/>
                  </a:cubicBezTo>
                  <a:cubicBezTo>
                    <a:pt x="69" y="156"/>
                    <a:pt x="65" y="157"/>
                    <a:pt x="63" y="158"/>
                  </a:cubicBezTo>
                  <a:cubicBezTo>
                    <a:pt x="61" y="160"/>
                    <a:pt x="60" y="162"/>
                    <a:pt x="58" y="165"/>
                  </a:cubicBezTo>
                  <a:cubicBezTo>
                    <a:pt x="57" y="167"/>
                    <a:pt x="56" y="168"/>
                    <a:pt x="54" y="169"/>
                  </a:cubicBezTo>
                  <a:cubicBezTo>
                    <a:pt x="53" y="169"/>
                    <a:pt x="52" y="169"/>
                    <a:pt x="51" y="169"/>
                  </a:cubicBezTo>
                  <a:cubicBezTo>
                    <a:pt x="50" y="169"/>
                    <a:pt x="50" y="170"/>
                    <a:pt x="49" y="170"/>
                  </a:cubicBezTo>
                  <a:cubicBezTo>
                    <a:pt x="47" y="171"/>
                    <a:pt x="45" y="171"/>
                    <a:pt x="43" y="170"/>
                  </a:cubicBezTo>
                  <a:cubicBezTo>
                    <a:pt x="42" y="170"/>
                    <a:pt x="40" y="170"/>
                    <a:pt x="39" y="170"/>
                  </a:cubicBezTo>
                  <a:cubicBezTo>
                    <a:pt x="38" y="170"/>
                    <a:pt x="37" y="170"/>
                    <a:pt x="35" y="170"/>
                  </a:cubicBezTo>
                  <a:cubicBezTo>
                    <a:pt x="34" y="170"/>
                    <a:pt x="34" y="170"/>
                    <a:pt x="33" y="169"/>
                  </a:cubicBezTo>
                  <a:cubicBezTo>
                    <a:pt x="31" y="169"/>
                    <a:pt x="30" y="168"/>
                    <a:pt x="29" y="167"/>
                  </a:cubicBezTo>
                  <a:cubicBezTo>
                    <a:pt x="28" y="167"/>
                    <a:pt x="27" y="167"/>
                    <a:pt x="25" y="167"/>
                  </a:cubicBezTo>
                  <a:cubicBezTo>
                    <a:pt x="25" y="166"/>
                    <a:pt x="24" y="166"/>
                    <a:pt x="23" y="165"/>
                  </a:cubicBezTo>
                  <a:cubicBezTo>
                    <a:pt x="22" y="165"/>
                    <a:pt x="22" y="164"/>
                    <a:pt x="22" y="164"/>
                  </a:cubicBezTo>
                  <a:cubicBezTo>
                    <a:pt x="22" y="163"/>
                    <a:pt x="22" y="163"/>
                    <a:pt x="22" y="163"/>
                  </a:cubicBezTo>
                  <a:cubicBezTo>
                    <a:pt x="21" y="162"/>
                    <a:pt x="20" y="162"/>
                    <a:pt x="20" y="163"/>
                  </a:cubicBezTo>
                  <a:cubicBezTo>
                    <a:pt x="19" y="162"/>
                    <a:pt x="18" y="162"/>
                    <a:pt x="18" y="162"/>
                  </a:cubicBezTo>
                  <a:cubicBezTo>
                    <a:pt x="17" y="161"/>
                    <a:pt x="18" y="161"/>
                    <a:pt x="17" y="160"/>
                  </a:cubicBezTo>
                  <a:cubicBezTo>
                    <a:pt x="17" y="160"/>
                    <a:pt x="17" y="160"/>
                    <a:pt x="16" y="160"/>
                  </a:cubicBezTo>
                  <a:cubicBezTo>
                    <a:pt x="16" y="159"/>
                    <a:pt x="16" y="159"/>
                    <a:pt x="16" y="158"/>
                  </a:cubicBezTo>
                  <a:cubicBezTo>
                    <a:pt x="16" y="157"/>
                    <a:pt x="16" y="156"/>
                    <a:pt x="16" y="156"/>
                  </a:cubicBezTo>
                  <a:cubicBezTo>
                    <a:pt x="15" y="155"/>
                    <a:pt x="14" y="156"/>
                    <a:pt x="14" y="155"/>
                  </a:cubicBezTo>
                  <a:cubicBezTo>
                    <a:pt x="13" y="154"/>
                    <a:pt x="13" y="153"/>
                    <a:pt x="14" y="152"/>
                  </a:cubicBezTo>
                  <a:cubicBezTo>
                    <a:pt x="14" y="151"/>
                    <a:pt x="14" y="150"/>
                    <a:pt x="14" y="149"/>
                  </a:cubicBezTo>
                  <a:cubicBezTo>
                    <a:pt x="13" y="147"/>
                    <a:pt x="14" y="148"/>
                    <a:pt x="15" y="147"/>
                  </a:cubicBezTo>
                  <a:cubicBezTo>
                    <a:pt x="16" y="146"/>
                    <a:pt x="15" y="145"/>
                    <a:pt x="15" y="145"/>
                  </a:cubicBezTo>
                  <a:cubicBezTo>
                    <a:pt x="15" y="144"/>
                    <a:pt x="16" y="143"/>
                    <a:pt x="16" y="142"/>
                  </a:cubicBezTo>
                  <a:cubicBezTo>
                    <a:pt x="16" y="141"/>
                    <a:pt x="15" y="140"/>
                    <a:pt x="14" y="140"/>
                  </a:cubicBezTo>
                  <a:cubicBezTo>
                    <a:pt x="14" y="141"/>
                    <a:pt x="14" y="142"/>
                    <a:pt x="14" y="142"/>
                  </a:cubicBezTo>
                  <a:cubicBezTo>
                    <a:pt x="14" y="143"/>
                    <a:pt x="14" y="143"/>
                    <a:pt x="13" y="143"/>
                  </a:cubicBezTo>
                  <a:cubicBezTo>
                    <a:pt x="11" y="143"/>
                    <a:pt x="11" y="143"/>
                    <a:pt x="11" y="143"/>
                  </a:cubicBezTo>
                  <a:cubicBezTo>
                    <a:pt x="11" y="144"/>
                    <a:pt x="12" y="146"/>
                    <a:pt x="10" y="146"/>
                  </a:cubicBezTo>
                  <a:cubicBezTo>
                    <a:pt x="10" y="146"/>
                    <a:pt x="8" y="146"/>
                    <a:pt x="7" y="145"/>
                  </a:cubicBezTo>
                  <a:cubicBezTo>
                    <a:pt x="6" y="145"/>
                    <a:pt x="6" y="143"/>
                    <a:pt x="5" y="143"/>
                  </a:cubicBezTo>
                  <a:cubicBezTo>
                    <a:pt x="5" y="142"/>
                    <a:pt x="6" y="141"/>
                    <a:pt x="6" y="140"/>
                  </a:cubicBezTo>
                  <a:cubicBezTo>
                    <a:pt x="6" y="140"/>
                    <a:pt x="5" y="139"/>
                    <a:pt x="5" y="138"/>
                  </a:cubicBezTo>
                  <a:cubicBezTo>
                    <a:pt x="4" y="137"/>
                    <a:pt x="5" y="135"/>
                    <a:pt x="4" y="134"/>
                  </a:cubicBezTo>
                  <a:cubicBezTo>
                    <a:pt x="4" y="132"/>
                    <a:pt x="4" y="130"/>
                    <a:pt x="4" y="128"/>
                  </a:cubicBezTo>
                  <a:cubicBezTo>
                    <a:pt x="4" y="126"/>
                    <a:pt x="4" y="124"/>
                    <a:pt x="4" y="121"/>
                  </a:cubicBezTo>
                  <a:cubicBezTo>
                    <a:pt x="4" y="120"/>
                    <a:pt x="4" y="118"/>
                    <a:pt x="4" y="116"/>
                  </a:cubicBezTo>
                  <a:cubicBezTo>
                    <a:pt x="3" y="115"/>
                    <a:pt x="2" y="115"/>
                    <a:pt x="0" y="115"/>
                  </a:cubicBezTo>
                  <a:cubicBezTo>
                    <a:pt x="7" y="165"/>
                    <a:pt x="7" y="165"/>
                    <a:pt x="7" y="165"/>
                  </a:cubicBezTo>
                  <a:cubicBezTo>
                    <a:pt x="8" y="168"/>
                    <a:pt x="8" y="168"/>
                    <a:pt x="8" y="168"/>
                  </a:cubicBezTo>
                  <a:cubicBezTo>
                    <a:pt x="8" y="171"/>
                    <a:pt x="8" y="171"/>
                    <a:pt x="8" y="171"/>
                  </a:cubicBezTo>
                  <a:cubicBezTo>
                    <a:pt x="3" y="179"/>
                    <a:pt x="3" y="179"/>
                    <a:pt x="3" y="179"/>
                  </a:cubicBezTo>
                  <a:cubicBezTo>
                    <a:pt x="3" y="180"/>
                    <a:pt x="3" y="180"/>
                    <a:pt x="3" y="180"/>
                  </a:cubicBezTo>
                  <a:cubicBezTo>
                    <a:pt x="20" y="185"/>
                    <a:pt x="20" y="185"/>
                    <a:pt x="20" y="185"/>
                  </a:cubicBezTo>
                  <a:cubicBezTo>
                    <a:pt x="41" y="192"/>
                    <a:pt x="41" y="192"/>
                    <a:pt x="41" y="192"/>
                  </a:cubicBezTo>
                  <a:cubicBezTo>
                    <a:pt x="22" y="218"/>
                    <a:pt x="22" y="218"/>
                    <a:pt x="22" y="218"/>
                  </a:cubicBezTo>
                  <a:cubicBezTo>
                    <a:pt x="17" y="224"/>
                    <a:pt x="17" y="224"/>
                    <a:pt x="17" y="224"/>
                  </a:cubicBezTo>
                  <a:cubicBezTo>
                    <a:pt x="17" y="224"/>
                    <a:pt x="17" y="224"/>
                    <a:pt x="17" y="224"/>
                  </a:cubicBezTo>
                  <a:cubicBezTo>
                    <a:pt x="18" y="224"/>
                    <a:pt x="18" y="224"/>
                    <a:pt x="19" y="225"/>
                  </a:cubicBezTo>
                  <a:cubicBezTo>
                    <a:pt x="20" y="225"/>
                    <a:pt x="21" y="225"/>
                    <a:pt x="21" y="226"/>
                  </a:cubicBezTo>
                  <a:cubicBezTo>
                    <a:pt x="22" y="226"/>
                    <a:pt x="23" y="226"/>
                    <a:pt x="23" y="227"/>
                  </a:cubicBezTo>
                  <a:cubicBezTo>
                    <a:pt x="24" y="227"/>
                    <a:pt x="24" y="228"/>
                    <a:pt x="25" y="229"/>
                  </a:cubicBezTo>
                  <a:cubicBezTo>
                    <a:pt x="25" y="229"/>
                    <a:pt x="26" y="229"/>
                    <a:pt x="26" y="230"/>
                  </a:cubicBezTo>
                  <a:cubicBezTo>
                    <a:pt x="28" y="231"/>
                    <a:pt x="29" y="232"/>
                    <a:pt x="31" y="233"/>
                  </a:cubicBezTo>
                  <a:cubicBezTo>
                    <a:pt x="32" y="234"/>
                    <a:pt x="33" y="234"/>
                    <a:pt x="34" y="235"/>
                  </a:cubicBezTo>
                  <a:cubicBezTo>
                    <a:pt x="35" y="235"/>
                    <a:pt x="36" y="236"/>
                    <a:pt x="37" y="236"/>
                  </a:cubicBezTo>
                  <a:cubicBezTo>
                    <a:pt x="39" y="236"/>
                    <a:pt x="41" y="236"/>
                    <a:pt x="43" y="235"/>
                  </a:cubicBezTo>
                  <a:cubicBezTo>
                    <a:pt x="48" y="234"/>
                    <a:pt x="52" y="234"/>
                    <a:pt x="57" y="235"/>
                  </a:cubicBezTo>
                  <a:cubicBezTo>
                    <a:pt x="59" y="236"/>
                    <a:pt x="61" y="236"/>
                    <a:pt x="63" y="237"/>
                  </a:cubicBezTo>
                  <a:cubicBezTo>
                    <a:pt x="65" y="237"/>
                    <a:pt x="67" y="238"/>
                    <a:pt x="69" y="238"/>
                  </a:cubicBezTo>
                  <a:cubicBezTo>
                    <a:pt x="71" y="238"/>
                    <a:pt x="72" y="238"/>
                    <a:pt x="74" y="237"/>
                  </a:cubicBezTo>
                  <a:cubicBezTo>
                    <a:pt x="75" y="237"/>
                    <a:pt x="76" y="237"/>
                    <a:pt x="77" y="237"/>
                  </a:cubicBezTo>
                  <a:cubicBezTo>
                    <a:pt x="78" y="238"/>
                    <a:pt x="80" y="238"/>
                    <a:pt x="80" y="238"/>
                  </a:cubicBezTo>
                  <a:cubicBezTo>
                    <a:pt x="81" y="239"/>
                    <a:pt x="82" y="239"/>
                    <a:pt x="83" y="240"/>
                  </a:cubicBezTo>
                  <a:cubicBezTo>
                    <a:pt x="83" y="240"/>
                    <a:pt x="84" y="240"/>
                    <a:pt x="85" y="240"/>
                  </a:cubicBezTo>
                  <a:cubicBezTo>
                    <a:pt x="85" y="239"/>
                    <a:pt x="85" y="239"/>
                    <a:pt x="85" y="239"/>
                  </a:cubicBezTo>
                  <a:cubicBezTo>
                    <a:pt x="86" y="240"/>
                    <a:pt x="86" y="240"/>
                    <a:pt x="86" y="240"/>
                  </a:cubicBezTo>
                  <a:cubicBezTo>
                    <a:pt x="86" y="240"/>
                    <a:pt x="86" y="240"/>
                    <a:pt x="86" y="240"/>
                  </a:cubicBezTo>
                  <a:cubicBezTo>
                    <a:pt x="86" y="241"/>
                    <a:pt x="86" y="241"/>
                    <a:pt x="86" y="241"/>
                  </a:cubicBezTo>
                  <a:cubicBezTo>
                    <a:pt x="87" y="242"/>
                    <a:pt x="88" y="242"/>
                    <a:pt x="89" y="243"/>
                  </a:cubicBezTo>
                  <a:cubicBezTo>
                    <a:pt x="89" y="244"/>
                    <a:pt x="90" y="244"/>
                    <a:pt x="91" y="244"/>
                  </a:cubicBezTo>
                  <a:cubicBezTo>
                    <a:pt x="91" y="245"/>
                    <a:pt x="92" y="245"/>
                    <a:pt x="92" y="246"/>
                  </a:cubicBezTo>
                  <a:cubicBezTo>
                    <a:pt x="93" y="246"/>
                    <a:pt x="94" y="245"/>
                    <a:pt x="95" y="245"/>
                  </a:cubicBezTo>
                  <a:cubicBezTo>
                    <a:pt x="95" y="245"/>
                    <a:pt x="95" y="246"/>
                    <a:pt x="95" y="246"/>
                  </a:cubicBezTo>
                  <a:cubicBezTo>
                    <a:pt x="95" y="247"/>
                    <a:pt x="96" y="247"/>
                    <a:pt x="97" y="248"/>
                  </a:cubicBezTo>
                  <a:cubicBezTo>
                    <a:pt x="99" y="248"/>
                    <a:pt x="101" y="249"/>
                    <a:pt x="103" y="249"/>
                  </a:cubicBezTo>
                  <a:cubicBezTo>
                    <a:pt x="105" y="249"/>
                    <a:pt x="107" y="249"/>
                    <a:pt x="108" y="250"/>
                  </a:cubicBezTo>
                  <a:cubicBezTo>
                    <a:pt x="109" y="250"/>
                    <a:pt x="109" y="250"/>
                    <a:pt x="109" y="250"/>
                  </a:cubicBezTo>
                  <a:cubicBezTo>
                    <a:pt x="110" y="251"/>
                    <a:pt x="110" y="251"/>
                    <a:pt x="111" y="251"/>
                  </a:cubicBezTo>
                  <a:cubicBezTo>
                    <a:pt x="111" y="252"/>
                    <a:pt x="112" y="252"/>
                    <a:pt x="112" y="252"/>
                  </a:cubicBezTo>
                  <a:cubicBezTo>
                    <a:pt x="113" y="253"/>
                    <a:pt x="113" y="253"/>
                    <a:pt x="114" y="253"/>
                  </a:cubicBezTo>
                  <a:cubicBezTo>
                    <a:pt x="115" y="253"/>
                    <a:pt x="116" y="253"/>
                    <a:pt x="117" y="254"/>
                  </a:cubicBezTo>
                  <a:cubicBezTo>
                    <a:pt x="117" y="254"/>
                    <a:pt x="118" y="255"/>
                    <a:pt x="118" y="255"/>
                  </a:cubicBezTo>
                  <a:cubicBezTo>
                    <a:pt x="119" y="256"/>
                    <a:pt x="119" y="256"/>
                    <a:pt x="119" y="256"/>
                  </a:cubicBezTo>
                  <a:cubicBezTo>
                    <a:pt x="121" y="256"/>
                    <a:pt x="121" y="257"/>
                    <a:pt x="122" y="258"/>
                  </a:cubicBezTo>
                  <a:cubicBezTo>
                    <a:pt x="124" y="258"/>
                    <a:pt x="125" y="258"/>
                    <a:pt x="127" y="258"/>
                  </a:cubicBezTo>
                  <a:cubicBezTo>
                    <a:pt x="128" y="258"/>
                    <a:pt x="128" y="259"/>
                    <a:pt x="129" y="260"/>
                  </a:cubicBezTo>
                  <a:cubicBezTo>
                    <a:pt x="130" y="260"/>
                    <a:pt x="131" y="260"/>
                    <a:pt x="131" y="261"/>
                  </a:cubicBezTo>
                  <a:cubicBezTo>
                    <a:pt x="132" y="261"/>
                    <a:pt x="132" y="262"/>
                    <a:pt x="133" y="261"/>
                  </a:cubicBezTo>
                  <a:cubicBezTo>
                    <a:pt x="133" y="261"/>
                    <a:pt x="133" y="261"/>
                    <a:pt x="133" y="261"/>
                  </a:cubicBezTo>
                  <a:cubicBezTo>
                    <a:pt x="133" y="260"/>
                    <a:pt x="133" y="260"/>
                    <a:pt x="133" y="260"/>
                  </a:cubicBezTo>
                  <a:cubicBezTo>
                    <a:pt x="133" y="260"/>
                    <a:pt x="133" y="259"/>
                    <a:pt x="133" y="259"/>
                  </a:cubicBezTo>
                  <a:cubicBezTo>
                    <a:pt x="133" y="258"/>
                    <a:pt x="132" y="256"/>
                    <a:pt x="133" y="257"/>
                  </a:cubicBezTo>
                  <a:cubicBezTo>
                    <a:pt x="134" y="257"/>
                    <a:pt x="134" y="257"/>
                    <a:pt x="134" y="258"/>
                  </a:cubicBezTo>
                  <a:cubicBezTo>
                    <a:pt x="134" y="258"/>
                    <a:pt x="134" y="258"/>
                    <a:pt x="135" y="258"/>
                  </a:cubicBezTo>
                  <a:cubicBezTo>
                    <a:pt x="136" y="259"/>
                    <a:pt x="136" y="259"/>
                    <a:pt x="137" y="258"/>
                  </a:cubicBezTo>
                  <a:cubicBezTo>
                    <a:pt x="138" y="258"/>
                    <a:pt x="138" y="258"/>
                    <a:pt x="139" y="258"/>
                  </a:cubicBezTo>
                  <a:cubicBezTo>
                    <a:pt x="140" y="260"/>
                    <a:pt x="137" y="259"/>
                    <a:pt x="136" y="260"/>
                  </a:cubicBezTo>
                  <a:cubicBezTo>
                    <a:pt x="136" y="260"/>
                    <a:pt x="135" y="260"/>
                    <a:pt x="135" y="261"/>
                  </a:cubicBezTo>
                  <a:cubicBezTo>
                    <a:pt x="135" y="261"/>
                    <a:pt x="135" y="262"/>
                    <a:pt x="135" y="262"/>
                  </a:cubicBezTo>
                  <a:cubicBezTo>
                    <a:pt x="135" y="263"/>
                    <a:pt x="135" y="263"/>
                    <a:pt x="136" y="263"/>
                  </a:cubicBezTo>
                  <a:cubicBezTo>
                    <a:pt x="136" y="264"/>
                    <a:pt x="136" y="264"/>
                    <a:pt x="137" y="264"/>
                  </a:cubicBezTo>
                  <a:cubicBezTo>
                    <a:pt x="138" y="264"/>
                    <a:pt x="138" y="264"/>
                    <a:pt x="139" y="263"/>
                  </a:cubicBezTo>
                  <a:cubicBezTo>
                    <a:pt x="140" y="263"/>
                    <a:pt x="140" y="263"/>
                    <a:pt x="141" y="262"/>
                  </a:cubicBezTo>
                  <a:cubicBezTo>
                    <a:pt x="141" y="262"/>
                    <a:pt x="141" y="261"/>
                    <a:pt x="142" y="261"/>
                  </a:cubicBezTo>
                  <a:cubicBezTo>
                    <a:pt x="143" y="261"/>
                    <a:pt x="144" y="261"/>
                    <a:pt x="144" y="261"/>
                  </a:cubicBezTo>
                  <a:cubicBezTo>
                    <a:pt x="145" y="261"/>
                    <a:pt x="145" y="261"/>
                    <a:pt x="146" y="260"/>
                  </a:cubicBezTo>
                  <a:cubicBezTo>
                    <a:pt x="146" y="260"/>
                    <a:pt x="147" y="260"/>
                    <a:pt x="147" y="261"/>
                  </a:cubicBezTo>
                  <a:cubicBezTo>
                    <a:pt x="147" y="262"/>
                    <a:pt x="147" y="262"/>
                    <a:pt x="147" y="262"/>
                  </a:cubicBezTo>
                  <a:cubicBezTo>
                    <a:pt x="147" y="262"/>
                    <a:pt x="147" y="262"/>
                    <a:pt x="147" y="262"/>
                  </a:cubicBezTo>
                  <a:cubicBezTo>
                    <a:pt x="147" y="263"/>
                    <a:pt x="147" y="263"/>
                    <a:pt x="146" y="263"/>
                  </a:cubicBezTo>
                  <a:cubicBezTo>
                    <a:pt x="146" y="263"/>
                    <a:pt x="146" y="262"/>
                    <a:pt x="146" y="261"/>
                  </a:cubicBezTo>
                  <a:cubicBezTo>
                    <a:pt x="145" y="261"/>
                    <a:pt x="143" y="262"/>
                    <a:pt x="143" y="263"/>
                  </a:cubicBezTo>
                  <a:cubicBezTo>
                    <a:pt x="143" y="264"/>
                    <a:pt x="144" y="264"/>
                    <a:pt x="144" y="264"/>
                  </a:cubicBezTo>
                  <a:cubicBezTo>
                    <a:pt x="145" y="264"/>
                    <a:pt x="146" y="265"/>
                    <a:pt x="146" y="265"/>
                  </a:cubicBezTo>
                  <a:cubicBezTo>
                    <a:pt x="148" y="265"/>
                    <a:pt x="149" y="265"/>
                    <a:pt x="151" y="265"/>
                  </a:cubicBezTo>
                  <a:cubicBezTo>
                    <a:pt x="152" y="264"/>
                    <a:pt x="152" y="262"/>
                    <a:pt x="152" y="261"/>
                  </a:cubicBezTo>
                  <a:cubicBezTo>
                    <a:pt x="152" y="261"/>
                    <a:pt x="153" y="260"/>
                    <a:pt x="153" y="260"/>
                  </a:cubicBezTo>
                  <a:cubicBezTo>
                    <a:pt x="154" y="260"/>
                    <a:pt x="153" y="260"/>
                    <a:pt x="153" y="261"/>
                  </a:cubicBezTo>
                  <a:cubicBezTo>
                    <a:pt x="153" y="262"/>
                    <a:pt x="153" y="263"/>
                    <a:pt x="152" y="264"/>
                  </a:cubicBezTo>
                  <a:cubicBezTo>
                    <a:pt x="152" y="264"/>
                    <a:pt x="151" y="265"/>
                    <a:pt x="151" y="266"/>
                  </a:cubicBezTo>
                  <a:cubicBezTo>
                    <a:pt x="152" y="267"/>
                    <a:pt x="153" y="268"/>
                    <a:pt x="154" y="268"/>
                  </a:cubicBezTo>
                  <a:cubicBezTo>
                    <a:pt x="155" y="268"/>
                    <a:pt x="156" y="266"/>
                    <a:pt x="155" y="265"/>
                  </a:cubicBezTo>
                  <a:cubicBezTo>
                    <a:pt x="155" y="264"/>
                    <a:pt x="155" y="263"/>
                    <a:pt x="155" y="262"/>
                  </a:cubicBezTo>
                  <a:cubicBezTo>
                    <a:pt x="156" y="262"/>
                    <a:pt x="156" y="261"/>
                    <a:pt x="156" y="260"/>
                  </a:cubicBezTo>
                  <a:cubicBezTo>
                    <a:pt x="157" y="260"/>
                    <a:pt x="157" y="261"/>
                    <a:pt x="157" y="261"/>
                  </a:cubicBezTo>
                  <a:cubicBezTo>
                    <a:pt x="157" y="262"/>
                    <a:pt x="156" y="262"/>
                    <a:pt x="156" y="263"/>
                  </a:cubicBezTo>
                  <a:cubicBezTo>
                    <a:pt x="156" y="263"/>
                    <a:pt x="156" y="263"/>
                    <a:pt x="156" y="264"/>
                  </a:cubicBezTo>
                  <a:cubicBezTo>
                    <a:pt x="156" y="265"/>
                    <a:pt x="157" y="265"/>
                    <a:pt x="157" y="266"/>
                  </a:cubicBezTo>
                  <a:cubicBezTo>
                    <a:pt x="156" y="266"/>
                    <a:pt x="156" y="266"/>
                    <a:pt x="156" y="267"/>
                  </a:cubicBezTo>
                  <a:cubicBezTo>
                    <a:pt x="156" y="267"/>
                    <a:pt x="156" y="267"/>
                    <a:pt x="156" y="267"/>
                  </a:cubicBezTo>
                  <a:cubicBezTo>
                    <a:pt x="157" y="268"/>
                    <a:pt x="157" y="268"/>
                    <a:pt x="157" y="268"/>
                  </a:cubicBezTo>
                  <a:cubicBezTo>
                    <a:pt x="157" y="268"/>
                    <a:pt x="157" y="268"/>
                    <a:pt x="157" y="268"/>
                  </a:cubicBezTo>
                  <a:cubicBezTo>
                    <a:pt x="157" y="269"/>
                    <a:pt x="158" y="269"/>
                    <a:pt x="158" y="269"/>
                  </a:cubicBezTo>
                  <a:cubicBezTo>
                    <a:pt x="159" y="269"/>
                    <a:pt x="159" y="269"/>
                    <a:pt x="159" y="269"/>
                  </a:cubicBezTo>
                  <a:cubicBezTo>
                    <a:pt x="160" y="268"/>
                    <a:pt x="160" y="268"/>
                    <a:pt x="160" y="268"/>
                  </a:cubicBezTo>
                  <a:cubicBezTo>
                    <a:pt x="161" y="268"/>
                    <a:pt x="161" y="267"/>
                    <a:pt x="162" y="267"/>
                  </a:cubicBezTo>
                  <a:cubicBezTo>
                    <a:pt x="162" y="266"/>
                    <a:pt x="162" y="266"/>
                    <a:pt x="162" y="265"/>
                  </a:cubicBezTo>
                  <a:cubicBezTo>
                    <a:pt x="163" y="264"/>
                    <a:pt x="163" y="264"/>
                    <a:pt x="164" y="264"/>
                  </a:cubicBezTo>
                  <a:cubicBezTo>
                    <a:pt x="165" y="264"/>
                    <a:pt x="166" y="264"/>
                    <a:pt x="166" y="264"/>
                  </a:cubicBezTo>
                  <a:cubicBezTo>
                    <a:pt x="166" y="265"/>
                    <a:pt x="165" y="264"/>
                    <a:pt x="164" y="265"/>
                  </a:cubicBezTo>
                  <a:cubicBezTo>
                    <a:pt x="163" y="265"/>
                    <a:pt x="163" y="266"/>
                    <a:pt x="163" y="267"/>
                  </a:cubicBezTo>
                  <a:cubicBezTo>
                    <a:pt x="163" y="267"/>
                    <a:pt x="163" y="268"/>
                    <a:pt x="163" y="268"/>
                  </a:cubicBezTo>
                  <a:cubicBezTo>
                    <a:pt x="162" y="269"/>
                    <a:pt x="162" y="269"/>
                    <a:pt x="162" y="269"/>
                  </a:cubicBezTo>
                  <a:cubicBezTo>
                    <a:pt x="162" y="270"/>
                    <a:pt x="164" y="270"/>
                    <a:pt x="164" y="270"/>
                  </a:cubicBezTo>
                  <a:cubicBezTo>
                    <a:pt x="165" y="270"/>
                    <a:pt x="165" y="270"/>
                    <a:pt x="165" y="269"/>
                  </a:cubicBezTo>
                  <a:cubicBezTo>
                    <a:pt x="165" y="269"/>
                    <a:pt x="165" y="268"/>
                    <a:pt x="165" y="268"/>
                  </a:cubicBezTo>
                  <a:cubicBezTo>
                    <a:pt x="167" y="267"/>
                    <a:pt x="167" y="267"/>
                    <a:pt x="167" y="267"/>
                  </a:cubicBezTo>
                  <a:cubicBezTo>
                    <a:pt x="167" y="267"/>
                    <a:pt x="168" y="267"/>
                    <a:pt x="168" y="267"/>
                  </a:cubicBezTo>
                  <a:cubicBezTo>
                    <a:pt x="169" y="267"/>
                    <a:pt x="168" y="268"/>
                    <a:pt x="168" y="268"/>
                  </a:cubicBezTo>
                  <a:cubicBezTo>
                    <a:pt x="167" y="268"/>
                    <a:pt x="166" y="268"/>
                    <a:pt x="166" y="269"/>
                  </a:cubicBezTo>
                  <a:cubicBezTo>
                    <a:pt x="166" y="270"/>
                    <a:pt x="167" y="270"/>
                    <a:pt x="167" y="270"/>
                  </a:cubicBezTo>
                  <a:cubicBezTo>
                    <a:pt x="167" y="271"/>
                    <a:pt x="168" y="271"/>
                    <a:pt x="168" y="270"/>
                  </a:cubicBezTo>
                  <a:cubicBezTo>
                    <a:pt x="168" y="270"/>
                    <a:pt x="169" y="269"/>
                    <a:pt x="169" y="269"/>
                  </a:cubicBezTo>
                  <a:cubicBezTo>
                    <a:pt x="170" y="268"/>
                    <a:pt x="171" y="267"/>
                    <a:pt x="171" y="267"/>
                  </a:cubicBezTo>
                  <a:cubicBezTo>
                    <a:pt x="172" y="267"/>
                    <a:pt x="171" y="269"/>
                    <a:pt x="171" y="270"/>
                  </a:cubicBezTo>
                  <a:cubicBezTo>
                    <a:pt x="170" y="270"/>
                    <a:pt x="169" y="271"/>
                    <a:pt x="169" y="272"/>
                  </a:cubicBezTo>
                  <a:cubicBezTo>
                    <a:pt x="169" y="273"/>
                    <a:pt x="169" y="273"/>
                    <a:pt x="169" y="273"/>
                  </a:cubicBezTo>
                  <a:cubicBezTo>
                    <a:pt x="170" y="274"/>
                    <a:pt x="170" y="274"/>
                    <a:pt x="170" y="274"/>
                  </a:cubicBezTo>
                  <a:cubicBezTo>
                    <a:pt x="170" y="275"/>
                    <a:pt x="170" y="275"/>
                    <a:pt x="171" y="275"/>
                  </a:cubicBezTo>
                  <a:cubicBezTo>
                    <a:pt x="171" y="275"/>
                    <a:pt x="172" y="276"/>
                    <a:pt x="172" y="276"/>
                  </a:cubicBezTo>
                  <a:cubicBezTo>
                    <a:pt x="173" y="276"/>
                    <a:pt x="173" y="276"/>
                    <a:pt x="174" y="277"/>
                  </a:cubicBezTo>
                  <a:cubicBezTo>
                    <a:pt x="175" y="276"/>
                    <a:pt x="175" y="274"/>
                    <a:pt x="175" y="274"/>
                  </a:cubicBezTo>
                  <a:cubicBezTo>
                    <a:pt x="175" y="272"/>
                    <a:pt x="176" y="270"/>
                    <a:pt x="178" y="271"/>
                  </a:cubicBezTo>
                  <a:cubicBezTo>
                    <a:pt x="178" y="271"/>
                    <a:pt x="178" y="271"/>
                    <a:pt x="178" y="272"/>
                  </a:cubicBezTo>
                  <a:cubicBezTo>
                    <a:pt x="177" y="272"/>
                    <a:pt x="177" y="272"/>
                    <a:pt x="177" y="272"/>
                  </a:cubicBezTo>
                  <a:cubicBezTo>
                    <a:pt x="177" y="273"/>
                    <a:pt x="176" y="273"/>
                    <a:pt x="176" y="273"/>
                  </a:cubicBezTo>
                  <a:cubicBezTo>
                    <a:pt x="176" y="274"/>
                    <a:pt x="176" y="275"/>
                    <a:pt x="176" y="276"/>
                  </a:cubicBezTo>
                  <a:cubicBezTo>
                    <a:pt x="177" y="276"/>
                    <a:pt x="177" y="276"/>
                    <a:pt x="177" y="276"/>
                  </a:cubicBezTo>
                  <a:cubicBezTo>
                    <a:pt x="177" y="277"/>
                    <a:pt x="177" y="277"/>
                    <a:pt x="178" y="278"/>
                  </a:cubicBezTo>
                  <a:cubicBezTo>
                    <a:pt x="179" y="278"/>
                    <a:pt x="179" y="278"/>
                    <a:pt x="180" y="277"/>
                  </a:cubicBezTo>
                  <a:cubicBezTo>
                    <a:pt x="180" y="277"/>
                    <a:pt x="181" y="276"/>
                    <a:pt x="181" y="275"/>
                  </a:cubicBezTo>
                  <a:cubicBezTo>
                    <a:pt x="182" y="275"/>
                    <a:pt x="181" y="274"/>
                    <a:pt x="181" y="273"/>
                  </a:cubicBezTo>
                  <a:cubicBezTo>
                    <a:pt x="182" y="272"/>
                    <a:pt x="182" y="270"/>
                    <a:pt x="183" y="270"/>
                  </a:cubicBezTo>
                  <a:cubicBezTo>
                    <a:pt x="183" y="270"/>
                    <a:pt x="184" y="270"/>
                    <a:pt x="185" y="269"/>
                  </a:cubicBezTo>
                  <a:cubicBezTo>
                    <a:pt x="185" y="269"/>
                    <a:pt x="185" y="269"/>
                    <a:pt x="185" y="269"/>
                  </a:cubicBezTo>
                  <a:cubicBezTo>
                    <a:pt x="185" y="269"/>
                    <a:pt x="185" y="268"/>
                    <a:pt x="186" y="269"/>
                  </a:cubicBezTo>
                  <a:cubicBezTo>
                    <a:pt x="186" y="271"/>
                    <a:pt x="186" y="271"/>
                    <a:pt x="186" y="271"/>
                  </a:cubicBezTo>
                  <a:cubicBezTo>
                    <a:pt x="185" y="271"/>
                    <a:pt x="185" y="271"/>
                    <a:pt x="184" y="272"/>
                  </a:cubicBezTo>
                  <a:cubicBezTo>
                    <a:pt x="183" y="272"/>
                    <a:pt x="183" y="273"/>
                    <a:pt x="183" y="274"/>
                  </a:cubicBezTo>
                  <a:cubicBezTo>
                    <a:pt x="182" y="275"/>
                    <a:pt x="182" y="275"/>
                    <a:pt x="182" y="276"/>
                  </a:cubicBezTo>
                  <a:cubicBezTo>
                    <a:pt x="182" y="277"/>
                    <a:pt x="182" y="278"/>
                    <a:pt x="182" y="278"/>
                  </a:cubicBezTo>
                  <a:cubicBezTo>
                    <a:pt x="183" y="279"/>
                    <a:pt x="185" y="278"/>
                    <a:pt x="185" y="276"/>
                  </a:cubicBezTo>
                  <a:cubicBezTo>
                    <a:pt x="185" y="276"/>
                    <a:pt x="185" y="275"/>
                    <a:pt x="185" y="275"/>
                  </a:cubicBezTo>
                  <a:cubicBezTo>
                    <a:pt x="185" y="274"/>
                    <a:pt x="185" y="274"/>
                    <a:pt x="186" y="273"/>
                  </a:cubicBezTo>
                  <a:cubicBezTo>
                    <a:pt x="186" y="273"/>
                    <a:pt x="187" y="273"/>
                    <a:pt x="187" y="273"/>
                  </a:cubicBezTo>
                  <a:cubicBezTo>
                    <a:pt x="186" y="274"/>
                    <a:pt x="186" y="274"/>
                    <a:pt x="186" y="274"/>
                  </a:cubicBezTo>
                  <a:cubicBezTo>
                    <a:pt x="186" y="275"/>
                    <a:pt x="186" y="275"/>
                    <a:pt x="186" y="276"/>
                  </a:cubicBezTo>
                  <a:cubicBezTo>
                    <a:pt x="187" y="277"/>
                    <a:pt x="186" y="278"/>
                    <a:pt x="185" y="278"/>
                  </a:cubicBezTo>
                  <a:cubicBezTo>
                    <a:pt x="184" y="278"/>
                    <a:pt x="183" y="278"/>
                    <a:pt x="182" y="279"/>
                  </a:cubicBezTo>
                  <a:cubicBezTo>
                    <a:pt x="181" y="281"/>
                    <a:pt x="187" y="282"/>
                    <a:pt x="188" y="282"/>
                  </a:cubicBezTo>
                  <a:cubicBezTo>
                    <a:pt x="189" y="282"/>
                    <a:pt x="189" y="281"/>
                    <a:pt x="189" y="280"/>
                  </a:cubicBezTo>
                  <a:cubicBezTo>
                    <a:pt x="190" y="280"/>
                    <a:pt x="191" y="277"/>
                    <a:pt x="192" y="278"/>
                  </a:cubicBezTo>
                  <a:cubicBezTo>
                    <a:pt x="192" y="278"/>
                    <a:pt x="192" y="279"/>
                    <a:pt x="191" y="280"/>
                  </a:cubicBezTo>
                  <a:cubicBezTo>
                    <a:pt x="191" y="280"/>
                    <a:pt x="191" y="280"/>
                    <a:pt x="192" y="281"/>
                  </a:cubicBezTo>
                  <a:cubicBezTo>
                    <a:pt x="192" y="282"/>
                    <a:pt x="190" y="282"/>
                    <a:pt x="190" y="283"/>
                  </a:cubicBezTo>
                  <a:cubicBezTo>
                    <a:pt x="190" y="284"/>
                    <a:pt x="190" y="285"/>
                    <a:pt x="191" y="286"/>
                  </a:cubicBezTo>
                  <a:cubicBezTo>
                    <a:pt x="191" y="286"/>
                    <a:pt x="192" y="287"/>
                    <a:pt x="193" y="287"/>
                  </a:cubicBezTo>
                  <a:cubicBezTo>
                    <a:pt x="193" y="287"/>
                    <a:pt x="194" y="287"/>
                    <a:pt x="194" y="286"/>
                  </a:cubicBezTo>
                  <a:cubicBezTo>
                    <a:pt x="195" y="286"/>
                    <a:pt x="195" y="287"/>
                    <a:pt x="194" y="288"/>
                  </a:cubicBezTo>
                  <a:cubicBezTo>
                    <a:pt x="194" y="288"/>
                    <a:pt x="193" y="288"/>
                    <a:pt x="192" y="289"/>
                  </a:cubicBezTo>
                  <a:cubicBezTo>
                    <a:pt x="192" y="290"/>
                    <a:pt x="191" y="291"/>
                    <a:pt x="192" y="292"/>
                  </a:cubicBezTo>
                  <a:cubicBezTo>
                    <a:pt x="193" y="292"/>
                    <a:pt x="193" y="292"/>
                    <a:pt x="193" y="292"/>
                  </a:cubicBezTo>
                  <a:cubicBezTo>
                    <a:pt x="194" y="291"/>
                    <a:pt x="194" y="291"/>
                    <a:pt x="194" y="291"/>
                  </a:cubicBezTo>
                  <a:cubicBezTo>
                    <a:pt x="194" y="290"/>
                    <a:pt x="194" y="290"/>
                    <a:pt x="195" y="289"/>
                  </a:cubicBezTo>
                  <a:cubicBezTo>
                    <a:pt x="196" y="289"/>
                    <a:pt x="197" y="288"/>
                    <a:pt x="198" y="288"/>
                  </a:cubicBezTo>
                  <a:cubicBezTo>
                    <a:pt x="197" y="289"/>
                    <a:pt x="195" y="290"/>
                    <a:pt x="196" y="291"/>
                  </a:cubicBezTo>
                  <a:cubicBezTo>
                    <a:pt x="196" y="292"/>
                    <a:pt x="196" y="293"/>
                    <a:pt x="197" y="293"/>
                  </a:cubicBezTo>
                  <a:cubicBezTo>
                    <a:pt x="198" y="293"/>
                    <a:pt x="199" y="292"/>
                    <a:pt x="200" y="292"/>
                  </a:cubicBezTo>
                  <a:cubicBezTo>
                    <a:pt x="201" y="291"/>
                    <a:pt x="201" y="290"/>
                    <a:pt x="202" y="290"/>
                  </a:cubicBezTo>
                  <a:cubicBezTo>
                    <a:pt x="202" y="289"/>
                    <a:pt x="203" y="289"/>
                    <a:pt x="204" y="288"/>
                  </a:cubicBezTo>
                  <a:cubicBezTo>
                    <a:pt x="204" y="288"/>
                    <a:pt x="205" y="287"/>
                    <a:pt x="205" y="287"/>
                  </a:cubicBezTo>
                  <a:cubicBezTo>
                    <a:pt x="206" y="286"/>
                    <a:pt x="207" y="286"/>
                    <a:pt x="207" y="286"/>
                  </a:cubicBezTo>
                  <a:cubicBezTo>
                    <a:pt x="209" y="286"/>
                    <a:pt x="210" y="284"/>
                    <a:pt x="211" y="284"/>
                  </a:cubicBezTo>
                  <a:cubicBezTo>
                    <a:pt x="211" y="285"/>
                    <a:pt x="210" y="285"/>
                    <a:pt x="209" y="286"/>
                  </a:cubicBezTo>
                  <a:cubicBezTo>
                    <a:pt x="208" y="286"/>
                    <a:pt x="208" y="287"/>
                    <a:pt x="207" y="287"/>
                  </a:cubicBezTo>
                  <a:cubicBezTo>
                    <a:pt x="206" y="287"/>
                    <a:pt x="206" y="288"/>
                    <a:pt x="205" y="288"/>
                  </a:cubicBezTo>
                  <a:cubicBezTo>
                    <a:pt x="205" y="289"/>
                    <a:pt x="205" y="289"/>
                    <a:pt x="204" y="290"/>
                  </a:cubicBezTo>
                  <a:cubicBezTo>
                    <a:pt x="203" y="290"/>
                    <a:pt x="202" y="290"/>
                    <a:pt x="202" y="291"/>
                  </a:cubicBezTo>
                  <a:cubicBezTo>
                    <a:pt x="201" y="292"/>
                    <a:pt x="202" y="292"/>
                    <a:pt x="202" y="292"/>
                  </a:cubicBezTo>
                  <a:cubicBezTo>
                    <a:pt x="203" y="294"/>
                    <a:pt x="205" y="295"/>
                    <a:pt x="206" y="296"/>
                  </a:cubicBezTo>
                  <a:cubicBezTo>
                    <a:pt x="207" y="297"/>
                    <a:pt x="207" y="297"/>
                    <a:pt x="208" y="297"/>
                  </a:cubicBezTo>
                  <a:cubicBezTo>
                    <a:pt x="208" y="298"/>
                    <a:pt x="208" y="298"/>
                    <a:pt x="208" y="298"/>
                  </a:cubicBezTo>
                  <a:cubicBezTo>
                    <a:pt x="209" y="299"/>
                    <a:pt x="209" y="299"/>
                    <a:pt x="210" y="299"/>
                  </a:cubicBezTo>
                  <a:cubicBezTo>
                    <a:pt x="210" y="298"/>
                    <a:pt x="210" y="298"/>
                    <a:pt x="210" y="297"/>
                  </a:cubicBezTo>
                  <a:cubicBezTo>
                    <a:pt x="210" y="296"/>
                    <a:pt x="209" y="296"/>
                    <a:pt x="209" y="295"/>
                  </a:cubicBezTo>
                  <a:cubicBezTo>
                    <a:pt x="208" y="295"/>
                    <a:pt x="208" y="294"/>
                    <a:pt x="208" y="293"/>
                  </a:cubicBezTo>
                  <a:cubicBezTo>
                    <a:pt x="209" y="293"/>
                    <a:pt x="209" y="294"/>
                    <a:pt x="209" y="294"/>
                  </a:cubicBezTo>
                  <a:cubicBezTo>
                    <a:pt x="209" y="295"/>
                    <a:pt x="210" y="295"/>
                    <a:pt x="210" y="295"/>
                  </a:cubicBezTo>
                  <a:cubicBezTo>
                    <a:pt x="211" y="295"/>
                    <a:pt x="211" y="295"/>
                    <a:pt x="212" y="295"/>
                  </a:cubicBezTo>
                  <a:cubicBezTo>
                    <a:pt x="212" y="294"/>
                    <a:pt x="212" y="294"/>
                    <a:pt x="212" y="294"/>
                  </a:cubicBezTo>
                  <a:cubicBezTo>
                    <a:pt x="212" y="293"/>
                    <a:pt x="212" y="293"/>
                    <a:pt x="212" y="293"/>
                  </a:cubicBezTo>
                  <a:cubicBezTo>
                    <a:pt x="213" y="292"/>
                    <a:pt x="213" y="292"/>
                    <a:pt x="214" y="292"/>
                  </a:cubicBezTo>
                  <a:cubicBezTo>
                    <a:pt x="214" y="292"/>
                    <a:pt x="214" y="292"/>
                    <a:pt x="215" y="291"/>
                  </a:cubicBezTo>
                  <a:cubicBezTo>
                    <a:pt x="216" y="291"/>
                    <a:pt x="217" y="291"/>
                    <a:pt x="218" y="291"/>
                  </a:cubicBezTo>
                  <a:cubicBezTo>
                    <a:pt x="218" y="291"/>
                    <a:pt x="219" y="290"/>
                    <a:pt x="219" y="290"/>
                  </a:cubicBezTo>
                  <a:cubicBezTo>
                    <a:pt x="220" y="289"/>
                    <a:pt x="220" y="290"/>
                    <a:pt x="220" y="291"/>
                  </a:cubicBezTo>
                  <a:cubicBezTo>
                    <a:pt x="220" y="291"/>
                    <a:pt x="220" y="292"/>
                    <a:pt x="219" y="292"/>
                  </a:cubicBezTo>
                  <a:cubicBezTo>
                    <a:pt x="219" y="293"/>
                    <a:pt x="219" y="293"/>
                    <a:pt x="219" y="293"/>
                  </a:cubicBezTo>
                  <a:cubicBezTo>
                    <a:pt x="217" y="293"/>
                    <a:pt x="215" y="293"/>
                    <a:pt x="214" y="294"/>
                  </a:cubicBezTo>
                  <a:cubicBezTo>
                    <a:pt x="213" y="295"/>
                    <a:pt x="213" y="295"/>
                    <a:pt x="213" y="296"/>
                  </a:cubicBezTo>
                  <a:cubicBezTo>
                    <a:pt x="213" y="297"/>
                    <a:pt x="212" y="298"/>
                    <a:pt x="212" y="299"/>
                  </a:cubicBezTo>
                  <a:cubicBezTo>
                    <a:pt x="212" y="300"/>
                    <a:pt x="212" y="301"/>
                    <a:pt x="213" y="301"/>
                  </a:cubicBezTo>
                  <a:cubicBezTo>
                    <a:pt x="213" y="301"/>
                    <a:pt x="214" y="302"/>
                    <a:pt x="214" y="302"/>
                  </a:cubicBezTo>
                  <a:cubicBezTo>
                    <a:pt x="215" y="303"/>
                    <a:pt x="216" y="301"/>
                    <a:pt x="216" y="301"/>
                  </a:cubicBezTo>
                  <a:cubicBezTo>
                    <a:pt x="216" y="299"/>
                    <a:pt x="217" y="298"/>
                    <a:pt x="218" y="297"/>
                  </a:cubicBezTo>
                  <a:cubicBezTo>
                    <a:pt x="218" y="297"/>
                    <a:pt x="219" y="296"/>
                    <a:pt x="219" y="296"/>
                  </a:cubicBezTo>
                  <a:cubicBezTo>
                    <a:pt x="220" y="296"/>
                    <a:pt x="221" y="297"/>
                    <a:pt x="221" y="298"/>
                  </a:cubicBezTo>
                  <a:cubicBezTo>
                    <a:pt x="222" y="297"/>
                    <a:pt x="224" y="296"/>
                    <a:pt x="225" y="295"/>
                  </a:cubicBezTo>
                  <a:cubicBezTo>
                    <a:pt x="226" y="294"/>
                    <a:pt x="226" y="292"/>
                    <a:pt x="227" y="292"/>
                  </a:cubicBezTo>
                  <a:cubicBezTo>
                    <a:pt x="228" y="292"/>
                    <a:pt x="228" y="293"/>
                    <a:pt x="229" y="293"/>
                  </a:cubicBezTo>
                  <a:cubicBezTo>
                    <a:pt x="229" y="294"/>
                    <a:pt x="230" y="294"/>
                    <a:pt x="230" y="295"/>
                  </a:cubicBezTo>
                  <a:cubicBezTo>
                    <a:pt x="229" y="295"/>
                    <a:pt x="229" y="295"/>
                    <a:pt x="229" y="295"/>
                  </a:cubicBezTo>
                  <a:cubicBezTo>
                    <a:pt x="229" y="295"/>
                    <a:pt x="229" y="295"/>
                    <a:pt x="229" y="295"/>
                  </a:cubicBezTo>
                  <a:cubicBezTo>
                    <a:pt x="229" y="294"/>
                    <a:pt x="228" y="294"/>
                    <a:pt x="228" y="293"/>
                  </a:cubicBezTo>
                  <a:cubicBezTo>
                    <a:pt x="227" y="293"/>
                    <a:pt x="227" y="294"/>
                    <a:pt x="226" y="295"/>
                  </a:cubicBezTo>
                  <a:cubicBezTo>
                    <a:pt x="226" y="295"/>
                    <a:pt x="226" y="295"/>
                    <a:pt x="225" y="296"/>
                  </a:cubicBezTo>
                  <a:cubicBezTo>
                    <a:pt x="225" y="296"/>
                    <a:pt x="224" y="296"/>
                    <a:pt x="224" y="297"/>
                  </a:cubicBezTo>
                  <a:cubicBezTo>
                    <a:pt x="224" y="298"/>
                    <a:pt x="224" y="298"/>
                    <a:pt x="224" y="298"/>
                  </a:cubicBezTo>
                  <a:cubicBezTo>
                    <a:pt x="224" y="298"/>
                    <a:pt x="225" y="299"/>
                    <a:pt x="226" y="299"/>
                  </a:cubicBezTo>
                  <a:cubicBezTo>
                    <a:pt x="226" y="299"/>
                    <a:pt x="227" y="299"/>
                    <a:pt x="226" y="300"/>
                  </a:cubicBezTo>
                  <a:cubicBezTo>
                    <a:pt x="225" y="301"/>
                    <a:pt x="225" y="300"/>
                    <a:pt x="224" y="300"/>
                  </a:cubicBezTo>
                  <a:cubicBezTo>
                    <a:pt x="224" y="299"/>
                    <a:pt x="224" y="299"/>
                    <a:pt x="223" y="299"/>
                  </a:cubicBezTo>
                  <a:cubicBezTo>
                    <a:pt x="223" y="298"/>
                    <a:pt x="223" y="298"/>
                    <a:pt x="223" y="298"/>
                  </a:cubicBezTo>
                  <a:cubicBezTo>
                    <a:pt x="222" y="299"/>
                    <a:pt x="222" y="299"/>
                    <a:pt x="222" y="299"/>
                  </a:cubicBezTo>
                  <a:cubicBezTo>
                    <a:pt x="221" y="300"/>
                    <a:pt x="220" y="299"/>
                    <a:pt x="219" y="299"/>
                  </a:cubicBezTo>
                  <a:cubicBezTo>
                    <a:pt x="218" y="298"/>
                    <a:pt x="218" y="299"/>
                    <a:pt x="218" y="300"/>
                  </a:cubicBezTo>
                  <a:cubicBezTo>
                    <a:pt x="217" y="301"/>
                    <a:pt x="217" y="302"/>
                    <a:pt x="216" y="303"/>
                  </a:cubicBezTo>
                  <a:cubicBezTo>
                    <a:pt x="216" y="303"/>
                    <a:pt x="215" y="303"/>
                    <a:pt x="215" y="303"/>
                  </a:cubicBezTo>
                  <a:cubicBezTo>
                    <a:pt x="213" y="304"/>
                    <a:pt x="212" y="304"/>
                    <a:pt x="212" y="306"/>
                  </a:cubicBezTo>
                  <a:cubicBezTo>
                    <a:pt x="212" y="308"/>
                    <a:pt x="212" y="310"/>
                    <a:pt x="212" y="311"/>
                  </a:cubicBezTo>
                  <a:cubicBezTo>
                    <a:pt x="212" y="312"/>
                    <a:pt x="213" y="314"/>
                    <a:pt x="213" y="314"/>
                  </a:cubicBezTo>
                  <a:cubicBezTo>
                    <a:pt x="214" y="315"/>
                    <a:pt x="215" y="314"/>
                    <a:pt x="217" y="313"/>
                  </a:cubicBezTo>
                  <a:cubicBezTo>
                    <a:pt x="218" y="313"/>
                    <a:pt x="218" y="314"/>
                    <a:pt x="219" y="314"/>
                  </a:cubicBezTo>
                  <a:cubicBezTo>
                    <a:pt x="220" y="314"/>
                    <a:pt x="220" y="313"/>
                    <a:pt x="220" y="313"/>
                  </a:cubicBezTo>
                  <a:cubicBezTo>
                    <a:pt x="221" y="312"/>
                    <a:pt x="221" y="312"/>
                    <a:pt x="222" y="311"/>
                  </a:cubicBezTo>
                  <a:cubicBezTo>
                    <a:pt x="222" y="311"/>
                    <a:pt x="222" y="310"/>
                    <a:pt x="223" y="310"/>
                  </a:cubicBezTo>
                  <a:cubicBezTo>
                    <a:pt x="223" y="309"/>
                    <a:pt x="225" y="308"/>
                    <a:pt x="224" y="310"/>
                  </a:cubicBezTo>
                  <a:cubicBezTo>
                    <a:pt x="224" y="310"/>
                    <a:pt x="223" y="311"/>
                    <a:pt x="223" y="311"/>
                  </a:cubicBezTo>
                  <a:cubicBezTo>
                    <a:pt x="223" y="312"/>
                    <a:pt x="222" y="312"/>
                    <a:pt x="222" y="312"/>
                  </a:cubicBezTo>
                  <a:cubicBezTo>
                    <a:pt x="224" y="312"/>
                    <a:pt x="226" y="310"/>
                    <a:pt x="228" y="310"/>
                  </a:cubicBezTo>
                  <a:cubicBezTo>
                    <a:pt x="230" y="310"/>
                    <a:pt x="234" y="311"/>
                    <a:pt x="236" y="309"/>
                  </a:cubicBezTo>
                  <a:cubicBezTo>
                    <a:pt x="237" y="308"/>
                    <a:pt x="237" y="307"/>
                    <a:pt x="237" y="306"/>
                  </a:cubicBezTo>
                  <a:cubicBezTo>
                    <a:pt x="238" y="305"/>
                    <a:pt x="239" y="305"/>
                    <a:pt x="240" y="305"/>
                  </a:cubicBezTo>
                  <a:cubicBezTo>
                    <a:pt x="242" y="306"/>
                    <a:pt x="245" y="306"/>
                    <a:pt x="246" y="307"/>
                  </a:cubicBezTo>
                  <a:cubicBezTo>
                    <a:pt x="246" y="308"/>
                    <a:pt x="245" y="307"/>
                    <a:pt x="245" y="307"/>
                  </a:cubicBezTo>
                  <a:cubicBezTo>
                    <a:pt x="244" y="307"/>
                    <a:pt x="242" y="307"/>
                    <a:pt x="241" y="306"/>
                  </a:cubicBezTo>
                  <a:cubicBezTo>
                    <a:pt x="240" y="306"/>
                    <a:pt x="239" y="306"/>
                    <a:pt x="239" y="306"/>
                  </a:cubicBezTo>
                  <a:cubicBezTo>
                    <a:pt x="238" y="306"/>
                    <a:pt x="238" y="307"/>
                    <a:pt x="237" y="308"/>
                  </a:cubicBezTo>
                  <a:cubicBezTo>
                    <a:pt x="237" y="309"/>
                    <a:pt x="236" y="310"/>
                    <a:pt x="234" y="310"/>
                  </a:cubicBezTo>
                  <a:cubicBezTo>
                    <a:pt x="232" y="311"/>
                    <a:pt x="231" y="311"/>
                    <a:pt x="229" y="311"/>
                  </a:cubicBezTo>
                  <a:cubicBezTo>
                    <a:pt x="228" y="311"/>
                    <a:pt x="227" y="312"/>
                    <a:pt x="225" y="312"/>
                  </a:cubicBezTo>
                  <a:cubicBezTo>
                    <a:pt x="224" y="313"/>
                    <a:pt x="223" y="313"/>
                    <a:pt x="222" y="314"/>
                  </a:cubicBezTo>
                  <a:cubicBezTo>
                    <a:pt x="221" y="314"/>
                    <a:pt x="220" y="314"/>
                    <a:pt x="219" y="316"/>
                  </a:cubicBezTo>
                  <a:cubicBezTo>
                    <a:pt x="219" y="316"/>
                    <a:pt x="218" y="317"/>
                    <a:pt x="219" y="318"/>
                  </a:cubicBezTo>
                  <a:cubicBezTo>
                    <a:pt x="220" y="321"/>
                    <a:pt x="224" y="320"/>
                    <a:pt x="226" y="321"/>
                  </a:cubicBezTo>
                  <a:cubicBezTo>
                    <a:pt x="228" y="322"/>
                    <a:pt x="232" y="322"/>
                    <a:pt x="233" y="319"/>
                  </a:cubicBezTo>
                  <a:cubicBezTo>
                    <a:pt x="233" y="318"/>
                    <a:pt x="233" y="317"/>
                    <a:pt x="233" y="317"/>
                  </a:cubicBezTo>
                  <a:cubicBezTo>
                    <a:pt x="233" y="316"/>
                    <a:pt x="232" y="316"/>
                    <a:pt x="232" y="315"/>
                  </a:cubicBezTo>
                  <a:cubicBezTo>
                    <a:pt x="232" y="314"/>
                    <a:pt x="232" y="313"/>
                    <a:pt x="233" y="313"/>
                  </a:cubicBezTo>
                  <a:cubicBezTo>
                    <a:pt x="233" y="312"/>
                    <a:pt x="234" y="312"/>
                    <a:pt x="235" y="312"/>
                  </a:cubicBezTo>
                  <a:cubicBezTo>
                    <a:pt x="236" y="312"/>
                    <a:pt x="236" y="311"/>
                    <a:pt x="237" y="311"/>
                  </a:cubicBezTo>
                  <a:cubicBezTo>
                    <a:pt x="238" y="310"/>
                    <a:pt x="239" y="310"/>
                    <a:pt x="240" y="310"/>
                  </a:cubicBezTo>
                  <a:cubicBezTo>
                    <a:pt x="240" y="309"/>
                    <a:pt x="243" y="309"/>
                    <a:pt x="243" y="310"/>
                  </a:cubicBezTo>
                  <a:cubicBezTo>
                    <a:pt x="243" y="310"/>
                    <a:pt x="242" y="310"/>
                    <a:pt x="241" y="310"/>
                  </a:cubicBezTo>
                  <a:cubicBezTo>
                    <a:pt x="240" y="311"/>
                    <a:pt x="239" y="311"/>
                    <a:pt x="238" y="311"/>
                  </a:cubicBezTo>
                  <a:cubicBezTo>
                    <a:pt x="237" y="312"/>
                    <a:pt x="237" y="312"/>
                    <a:pt x="236" y="313"/>
                  </a:cubicBezTo>
                  <a:cubicBezTo>
                    <a:pt x="235" y="313"/>
                    <a:pt x="234" y="313"/>
                    <a:pt x="233" y="314"/>
                  </a:cubicBezTo>
                  <a:cubicBezTo>
                    <a:pt x="233" y="314"/>
                    <a:pt x="233" y="315"/>
                    <a:pt x="234" y="315"/>
                  </a:cubicBezTo>
                  <a:cubicBezTo>
                    <a:pt x="234" y="316"/>
                    <a:pt x="234" y="316"/>
                    <a:pt x="234" y="316"/>
                  </a:cubicBezTo>
                  <a:cubicBezTo>
                    <a:pt x="234" y="317"/>
                    <a:pt x="234" y="318"/>
                    <a:pt x="234" y="319"/>
                  </a:cubicBezTo>
                  <a:cubicBezTo>
                    <a:pt x="234" y="321"/>
                    <a:pt x="232" y="322"/>
                    <a:pt x="231" y="322"/>
                  </a:cubicBezTo>
                  <a:cubicBezTo>
                    <a:pt x="230" y="322"/>
                    <a:pt x="229" y="322"/>
                    <a:pt x="228" y="322"/>
                  </a:cubicBezTo>
                  <a:cubicBezTo>
                    <a:pt x="227" y="322"/>
                    <a:pt x="225" y="322"/>
                    <a:pt x="224" y="324"/>
                  </a:cubicBezTo>
                  <a:cubicBezTo>
                    <a:pt x="224" y="324"/>
                    <a:pt x="224" y="325"/>
                    <a:pt x="224" y="325"/>
                  </a:cubicBezTo>
                  <a:cubicBezTo>
                    <a:pt x="225" y="327"/>
                    <a:pt x="226" y="329"/>
                    <a:pt x="227" y="331"/>
                  </a:cubicBezTo>
                  <a:cubicBezTo>
                    <a:pt x="228" y="332"/>
                    <a:pt x="229" y="332"/>
                    <a:pt x="229" y="333"/>
                  </a:cubicBezTo>
                  <a:cubicBezTo>
                    <a:pt x="230" y="334"/>
                    <a:pt x="230" y="334"/>
                    <a:pt x="230" y="335"/>
                  </a:cubicBezTo>
                  <a:cubicBezTo>
                    <a:pt x="231" y="337"/>
                    <a:pt x="231" y="338"/>
                    <a:pt x="232" y="340"/>
                  </a:cubicBezTo>
                  <a:cubicBezTo>
                    <a:pt x="232" y="340"/>
                    <a:pt x="233" y="341"/>
                    <a:pt x="233" y="342"/>
                  </a:cubicBezTo>
                  <a:cubicBezTo>
                    <a:pt x="233" y="342"/>
                    <a:pt x="233" y="343"/>
                    <a:pt x="233" y="344"/>
                  </a:cubicBezTo>
                  <a:cubicBezTo>
                    <a:pt x="233" y="345"/>
                    <a:pt x="233" y="346"/>
                    <a:pt x="233" y="347"/>
                  </a:cubicBezTo>
                  <a:cubicBezTo>
                    <a:pt x="233" y="348"/>
                    <a:pt x="234" y="349"/>
                    <a:pt x="234" y="350"/>
                  </a:cubicBezTo>
                  <a:cubicBezTo>
                    <a:pt x="235" y="350"/>
                    <a:pt x="234" y="352"/>
                    <a:pt x="234" y="353"/>
                  </a:cubicBezTo>
                  <a:cubicBezTo>
                    <a:pt x="234" y="354"/>
                    <a:pt x="236" y="355"/>
                    <a:pt x="237" y="355"/>
                  </a:cubicBezTo>
                  <a:cubicBezTo>
                    <a:pt x="239" y="357"/>
                    <a:pt x="241" y="358"/>
                    <a:pt x="243" y="360"/>
                  </a:cubicBezTo>
                  <a:cubicBezTo>
                    <a:pt x="244" y="361"/>
                    <a:pt x="246" y="363"/>
                    <a:pt x="247" y="365"/>
                  </a:cubicBezTo>
                  <a:cubicBezTo>
                    <a:pt x="249" y="367"/>
                    <a:pt x="251" y="368"/>
                    <a:pt x="253" y="369"/>
                  </a:cubicBezTo>
                  <a:cubicBezTo>
                    <a:pt x="255" y="370"/>
                    <a:pt x="256" y="371"/>
                    <a:pt x="258" y="372"/>
                  </a:cubicBezTo>
                  <a:cubicBezTo>
                    <a:pt x="259" y="373"/>
                    <a:pt x="260" y="375"/>
                    <a:pt x="260" y="377"/>
                  </a:cubicBezTo>
                  <a:cubicBezTo>
                    <a:pt x="260" y="377"/>
                    <a:pt x="260" y="378"/>
                    <a:pt x="260" y="378"/>
                  </a:cubicBezTo>
                  <a:cubicBezTo>
                    <a:pt x="260" y="379"/>
                    <a:pt x="261" y="379"/>
                    <a:pt x="261" y="379"/>
                  </a:cubicBezTo>
                  <a:cubicBezTo>
                    <a:pt x="262" y="379"/>
                    <a:pt x="264" y="379"/>
                    <a:pt x="265" y="380"/>
                  </a:cubicBezTo>
                  <a:cubicBezTo>
                    <a:pt x="266" y="380"/>
                    <a:pt x="266" y="380"/>
                    <a:pt x="267" y="381"/>
                  </a:cubicBezTo>
                  <a:cubicBezTo>
                    <a:pt x="268" y="381"/>
                    <a:pt x="269" y="381"/>
                    <a:pt x="269" y="382"/>
                  </a:cubicBezTo>
                  <a:cubicBezTo>
                    <a:pt x="270" y="382"/>
                    <a:pt x="271" y="383"/>
                    <a:pt x="271" y="384"/>
                  </a:cubicBezTo>
                  <a:cubicBezTo>
                    <a:pt x="273" y="385"/>
                    <a:pt x="274" y="385"/>
                    <a:pt x="275" y="386"/>
                  </a:cubicBezTo>
                  <a:cubicBezTo>
                    <a:pt x="276" y="387"/>
                    <a:pt x="276" y="388"/>
                    <a:pt x="277" y="389"/>
                  </a:cubicBezTo>
                  <a:cubicBezTo>
                    <a:pt x="278" y="389"/>
                    <a:pt x="280" y="390"/>
                    <a:pt x="281" y="390"/>
                  </a:cubicBezTo>
                  <a:cubicBezTo>
                    <a:pt x="282" y="391"/>
                    <a:pt x="283" y="392"/>
                    <a:pt x="284" y="393"/>
                  </a:cubicBezTo>
                  <a:cubicBezTo>
                    <a:pt x="285" y="393"/>
                    <a:pt x="286" y="393"/>
                    <a:pt x="287" y="394"/>
                  </a:cubicBezTo>
                  <a:cubicBezTo>
                    <a:pt x="290" y="395"/>
                    <a:pt x="291" y="397"/>
                    <a:pt x="293" y="398"/>
                  </a:cubicBezTo>
                  <a:cubicBezTo>
                    <a:pt x="294" y="399"/>
                    <a:pt x="295" y="400"/>
                    <a:pt x="296" y="400"/>
                  </a:cubicBezTo>
                  <a:cubicBezTo>
                    <a:pt x="297" y="401"/>
                    <a:pt x="298" y="401"/>
                    <a:pt x="299" y="401"/>
                  </a:cubicBezTo>
                  <a:cubicBezTo>
                    <a:pt x="299" y="402"/>
                    <a:pt x="300" y="403"/>
                    <a:pt x="300" y="404"/>
                  </a:cubicBezTo>
                  <a:cubicBezTo>
                    <a:pt x="300" y="404"/>
                    <a:pt x="300" y="405"/>
                    <a:pt x="300" y="406"/>
                  </a:cubicBezTo>
                  <a:cubicBezTo>
                    <a:pt x="300" y="407"/>
                    <a:pt x="301" y="408"/>
                    <a:pt x="302" y="408"/>
                  </a:cubicBezTo>
                  <a:cubicBezTo>
                    <a:pt x="302" y="408"/>
                    <a:pt x="303" y="408"/>
                    <a:pt x="304" y="407"/>
                  </a:cubicBezTo>
                  <a:cubicBezTo>
                    <a:pt x="305" y="406"/>
                    <a:pt x="304" y="404"/>
                    <a:pt x="306" y="403"/>
                  </a:cubicBezTo>
                  <a:cubicBezTo>
                    <a:pt x="308" y="403"/>
                    <a:pt x="309" y="403"/>
                    <a:pt x="310" y="404"/>
                  </a:cubicBezTo>
                  <a:cubicBezTo>
                    <a:pt x="310" y="406"/>
                    <a:pt x="311" y="409"/>
                    <a:pt x="313" y="408"/>
                  </a:cubicBezTo>
                  <a:cubicBezTo>
                    <a:pt x="314" y="407"/>
                    <a:pt x="315" y="406"/>
                    <a:pt x="316" y="405"/>
                  </a:cubicBezTo>
                  <a:cubicBezTo>
                    <a:pt x="316" y="404"/>
                    <a:pt x="316" y="403"/>
                    <a:pt x="317" y="402"/>
                  </a:cubicBezTo>
                  <a:cubicBezTo>
                    <a:pt x="317" y="401"/>
                    <a:pt x="317" y="400"/>
                    <a:pt x="318" y="400"/>
                  </a:cubicBezTo>
                  <a:cubicBezTo>
                    <a:pt x="318" y="399"/>
                    <a:pt x="319" y="398"/>
                    <a:pt x="320" y="398"/>
                  </a:cubicBezTo>
                  <a:cubicBezTo>
                    <a:pt x="320" y="398"/>
                    <a:pt x="321" y="398"/>
                    <a:pt x="321" y="398"/>
                  </a:cubicBezTo>
                  <a:cubicBezTo>
                    <a:pt x="322" y="399"/>
                    <a:pt x="319" y="400"/>
                    <a:pt x="319" y="400"/>
                  </a:cubicBezTo>
                  <a:cubicBezTo>
                    <a:pt x="318" y="401"/>
                    <a:pt x="318" y="403"/>
                    <a:pt x="317" y="404"/>
                  </a:cubicBezTo>
                  <a:cubicBezTo>
                    <a:pt x="317" y="405"/>
                    <a:pt x="316" y="406"/>
                    <a:pt x="315" y="407"/>
                  </a:cubicBezTo>
                  <a:cubicBezTo>
                    <a:pt x="315" y="408"/>
                    <a:pt x="314" y="409"/>
                    <a:pt x="313" y="410"/>
                  </a:cubicBezTo>
                  <a:cubicBezTo>
                    <a:pt x="313" y="411"/>
                    <a:pt x="312" y="411"/>
                    <a:pt x="311" y="411"/>
                  </a:cubicBezTo>
                  <a:cubicBezTo>
                    <a:pt x="311" y="411"/>
                    <a:pt x="310" y="410"/>
                    <a:pt x="310" y="409"/>
                  </a:cubicBezTo>
                  <a:cubicBezTo>
                    <a:pt x="309" y="408"/>
                    <a:pt x="309" y="407"/>
                    <a:pt x="309" y="407"/>
                  </a:cubicBezTo>
                  <a:cubicBezTo>
                    <a:pt x="309" y="406"/>
                    <a:pt x="308" y="405"/>
                    <a:pt x="308" y="404"/>
                  </a:cubicBezTo>
                  <a:cubicBezTo>
                    <a:pt x="306" y="404"/>
                    <a:pt x="306" y="407"/>
                    <a:pt x="306" y="408"/>
                  </a:cubicBezTo>
                  <a:cubicBezTo>
                    <a:pt x="306" y="409"/>
                    <a:pt x="305" y="410"/>
                    <a:pt x="304" y="410"/>
                  </a:cubicBezTo>
                  <a:cubicBezTo>
                    <a:pt x="304" y="410"/>
                    <a:pt x="303" y="410"/>
                    <a:pt x="302" y="410"/>
                  </a:cubicBezTo>
                  <a:cubicBezTo>
                    <a:pt x="301" y="410"/>
                    <a:pt x="300" y="409"/>
                    <a:pt x="299" y="408"/>
                  </a:cubicBezTo>
                  <a:cubicBezTo>
                    <a:pt x="298" y="407"/>
                    <a:pt x="299" y="406"/>
                    <a:pt x="299" y="405"/>
                  </a:cubicBezTo>
                  <a:cubicBezTo>
                    <a:pt x="299" y="404"/>
                    <a:pt x="298" y="403"/>
                    <a:pt x="298" y="402"/>
                  </a:cubicBezTo>
                  <a:cubicBezTo>
                    <a:pt x="296" y="401"/>
                    <a:pt x="293" y="401"/>
                    <a:pt x="292" y="402"/>
                  </a:cubicBezTo>
                  <a:cubicBezTo>
                    <a:pt x="291" y="404"/>
                    <a:pt x="295" y="405"/>
                    <a:pt x="296" y="405"/>
                  </a:cubicBezTo>
                  <a:cubicBezTo>
                    <a:pt x="297" y="405"/>
                    <a:pt x="297" y="406"/>
                    <a:pt x="297" y="406"/>
                  </a:cubicBezTo>
                  <a:cubicBezTo>
                    <a:pt x="297" y="407"/>
                    <a:pt x="297" y="407"/>
                    <a:pt x="296" y="407"/>
                  </a:cubicBezTo>
                  <a:cubicBezTo>
                    <a:pt x="295" y="407"/>
                    <a:pt x="293" y="407"/>
                    <a:pt x="292" y="407"/>
                  </a:cubicBezTo>
                  <a:cubicBezTo>
                    <a:pt x="291" y="407"/>
                    <a:pt x="289" y="407"/>
                    <a:pt x="288" y="407"/>
                  </a:cubicBezTo>
                  <a:cubicBezTo>
                    <a:pt x="287" y="407"/>
                    <a:pt x="286" y="406"/>
                    <a:pt x="286" y="405"/>
                  </a:cubicBezTo>
                  <a:cubicBezTo>
                    <a:pt x="286" y="405"/>
                    <a:pt x="286" y="405"/>
                    <a:pt x="286" y="404"/>
                  </a:cubicBezTo>
                  <a:cubicBezTo>
                    <a:pt x="286" y="404"/>
                    <a:pt x="285" y="403"/>
                    <a:pt x="285" y="403"/>
                  </a:cubicBezTo>
                  <a:cubicBezTo>
                    <a:pt x="284" y="402"/>
                    <a:pt x="283" y="405"/>
                    <a:pt x="283" y="406"/>
                  </a:cubicBezTo>
                  <a:cubicBezTo>
                    <a:pt x="282" y="407"/>
                    <a:pt x="280" y="407"/>
                    <a:pt x="279" y="407"/>
                  </a:cubicBezTo>
                  <a:cubicBezTo>
                    <a:pt x="277" y="408"/>
                    <a:pt x="275" y="408"/>
                    <a:pt x="272" y="408"/>
                  </a:cubicBezTo>
                  <a:cubicBezTo>
                    <a:pt x="271" y="407"/>
                    <a:pt x="270" y="407"/>
                    <a:pt x="269" y="406"/>
                  </a:cubicBezTo>
                  <a:cubicBezTo>
                    <a:pt x="268" y="406"/>
                    <a:pt x="268" y="406"/>
                    <a:pt x="267" y="405"/>
                  </a:cubicBezTo>
                  <a:cubicBezTo>
                    <a:pt x="267" y="405"/>
                    <a:pt x="266" y="405"/>
                    <a:pt x="266" y="405"/>
                  </a:cubicBezTo>
                  <a:cubicBezTo>
                    <a:pt x="264" y="405"/>
                    <a:pt x="263" y="405"/>
                    <a:pt x="262" y="405"/>
                  </a:cubicBezTo>
                  <a:cubicBezTo>
                    <a:pt x="261" y="405"/>
                    <a:pt x="259" y="405"/>
                    <a:pt x="258" y="405"/>
                  </a:cubicBezTo>
                  <a:cubicBezTo>
                    <a:pt x="257" y="405"/>
                    <a:pt x="257" y="405"/>
                    <a:pt x="256" y="405"/>
                  </a:cubicBezTo>
                  <a:cubicBezTo>
                    <a:pt x="256" y="405"/>
                    <a:pt x="255" y="405"/>
                    <a:pt x="255" y="405"/>
                  </a:cubicBezTo>
                  <a:cubicBezTo>
                    <a:pt x="254" y="405"/>
                    <a:pt x="253" y="405"/>
                    <a:pt x="252" y="405"/>
                  </a:cubicBezTo>
                  <a:cubicBezTo>
                    <a:pt x="251" y="405"/>
                    <a:pt x="250" y="405"/>
                    <a:pt x="250" y="405"/>
                  </a:cubicBezTo>
                  <a:cubicBezTo>
                    <a:pt x="249" y="406"/>
                    <a:pt x="250" y="406"/>
                    <a:pt x="251" y="406"/>
                  </a:cubicBezTo>
                  <a:cubicBezTo>
                    <a:pt x="252" y="407"/>
                    <a:pt x="253" y="407"/>
                    <a:pt x="254" y="408"/>
                  </a:cubicBezTo>
                  <a:cubicBezTo>
                    <a:pt x="256" y="408"/>
                    <a:pt x="257" y="409"/>
                    <a:pt x="258" y="410"/>
                  </a:cubicBezTo>
                  <a:cubicBezTo>
                    <a:pt x="259" y="411"/>
                    <a:pt x="260" y="411"/>
                    <a:pt x="261" y="412"/>
                  </a:cubicBezTo>
                  <a:cubicBezTo>
                    <a:pt x="262" y="413"/>
                    <a:pt x="262" y="414"/>
                    <a:pt x="263" y="415"/>
                  </a:cubicBezTo>
                  <a:cubicBezTo>
                    <a:pt x="265" y="418"/>
                    <a:pt x="267" y="421"/>
                    <a:pt x="268" y="424"/>
                  </a:cubicBezTo>
                  <a:cubicBezTo>
                    <a:pt x="268" y="425"/>
                    <a:pt x="268" y="425"/>
                    <a:pt x="269" y="425"/>
                  </a:cubicBezTo>
                  <a:cubicBezTo>
                    <a:pt x="271" y="425"/>
                    <a:pt x="272" y="425"/>
                    <a:pt x="273" y="425"/>
                  </a:cubicBezTo>
                  <a:cubicBezTo>
                    <a:pt x="274" y="425"/>
                    <a:pt x="275" y="425"/>
                    <a:pt x="276" y="426"/>
                  </a:cubicBezTo>
                  <a:cubicBezTo>
                    <a:pt x="277" y="426"/>
                    <a:pt x="277" y="427"/>
                    <a:pt x="277" y="428"/>
                  </a:cubicBezTo>
                  <a:cubicBezTo>
                    <a:pt x="277" y="430"/>
                    <a:pt x="275" y="431"/>
                    <a:pt x="275" y="432"/>
                  </a:cubicBezTo>
                  <a:cubicBezTo>
                    <a:pt x="274" y="433"/>
                    <a:pt x="274" y="434"/>
                    <a:pt x="274" y="435"/>
                  </a:cubicBezTo>
                  <a:cubicBezTo>
                    <a:pt x="273" y="435"/>
                    <a:pt x="273" y="436"/>
                    <a:pt x="273" y="437"/>
                  </a:cubicBezTo>
                  <a:cubicBezTo>
                    <a:pt x="272" y="438"/>
                    <a:pt x="271" y="439"/>
                    <a:pt x="271" y="441"/>
                  </a:cubicBezTo>
                  <a:cubicBezTo>
                    <a:pt x="271" y="442"/>
                    <a:pt x="272" y="444"/>
                    <a:pt x="271" y="445"/>
                  </a:cubicBezTo>
                  <a:cubicBezTo>
                    <a:pt x="270" y="446"/>
                    <a:pt x="269" y="446"/>
                    <a:pt x="268" y="447"/>
                  </a:cubicBezTo>
                  <a:cubicBezTo>
                    <a:pt x="267" y="448"/>
                    <a:pt x="265" y="449"/>
                    <a:pt x="265" y="450"/>
                  </a:cubicBezTo>
                  <a:cubicBezTo>
                    <a:pt x="265" y="451"/>
                    <a:pt x="266" y="452"/>
                    <a:pt x="266" y="452"/>
                  </a:cubicBezTo>
                  <a:cubicBezTo>
                    <a:pt x="266" y="453"/>
                    <a:pt x="266" y="453"/>
                    <a:pt x="265" y="454"/>
                  </a:cubicBezTo>
                  <a:cubicBezTo>
                    <a:pt x="265" y="455"/>
                    <a:pt x="265" y="455"/>
                    <a:pt x="264" y="456"/>
                  </a:cubicBezTo>
                  <a:cubicBezTo>
                    <a:pt x="265" y="456"/>
                    <a:pt x="265" y="457"/>
                    <a:pt x="265" y="457"/>
                  </a:cubicBezTo>
                  <a:cubicBezTo>
                    <a:pt x="266" y="458"/>
                    <a:pt x="266" y="459"/>
                    <a:pt x="265" y="460"/>
                  </a:cubicBezTo>
                  <a:cubicBezTo>
                    <a:pt x="263" y="461"/>
                    <a:pt x="261" y="459"/>
                    <a:pt x="260" y="462"/>
                  </a:cubicBezTo>
                  <a:cubicBezTo>
                    <a:pt x="259" y="463"/>
                    <a:pt x="260" y="465"/>
                    <a:pt x="261" y="466"/>
                  </a:cubicBezTo>
                  <a:cubicBezTo>
                    <a:pt x="262" y="468"/>
                    <a:pt x="264" y="469"/>
                    <a:pt x="265" y="471"/>
                  </a:cubicBezTo>
                  <a:cubicBezTo>
                    <a:pt x="266" y="472"/>
                    <a:pt x="266" y="476"/>
                    <a:pt x="269" y="474"/>
                  </a:cubicBezTo>
                  <a:cubicBezTo>
                    <a:pt x="270" y="474"/>
                    <a:pt x="269" y="473"/>
                    <a:pt x="270" y="472"/>
                  </a:cubicBezTo>
                  <a:cubicBezTo>
                    <a:pt x="270" y="472"/>
                    <a:pt x="270" y="471"/>
                    <a:pt x="270" y="471"/>
                  </a:cubicBezTo>
                  <a:cubicBezTo>
                    <a:pt x="270" y="470"/>
                    <a:pt x="269" y="470"/>
                    <a:pt x="269" y="469"/>
                  </a:cubicBezTo>
                  <a:cubicBezTo>
                    <a:pt x="269" y="469"/>
                    <a:pt x="270" y="468"/>
                    <a:pt x="270" y="468"/>
                  </a:cubicBezTo>
                  <a:cubicBezTo>
                    <a:pt x="269" y="468"/>
                    <a:pt x="268" y="468"/>
                    <a:pt x="268" y="467"/>
                  </a:cubicBezTo>
                  <a:cubicBezTo>
                    <a:pt x="269" y="466"/>
                    <a:pt x="270" y="466"/>
                    <a:pt x="270" y="466"/>
                  </a:cubicBezTo>
                  <a:cubicBezTo>
                    <a:pt x="271" y="465"/>
                    <a:pt x="272" y="465"/>
                    <a:pt x="272" y="465"/>
                  </a:cubicBezTo>
                  <a:cubicBezTo>
                    <a:pt x="273" y="464"/>
                    <a:pt x="273" y="464"/>
                    <a:pt x="273" y="463"/>
                  </a:cubicBezTo>
                  <a:cubicBezTo>
                    <a:pt x="273" y="463"/>
                    <a:pt x="274" y="463"/>
                    <a:pt x="274" y="463"/>
                  </a:cubicBezTo>
                  <a:cubicBezTo>
                    <a:pt x="276" y="463"/>
                    <a:pt x="278" y="462"/>
                    <a:pt x="280" y="462"/>
                  </a:cubicBezTo>
                  <a:cubicBezTo>
                    <a:pt x="281" y="462"/>
                    <a:pt x="282" y="461"/>
                    <a:pt x="283" y="461"/>
                  </a:cubicBezTo>
                  <a:cubicBezTo>
                    <a:pt x="283" y="460"/>
                    <a:pt x="284" y="460"/>
                    <a:pt x="284" y="459"/>
                  </a:cubicBezTo>
                  <a:cubicBezTo>
                    <a:pt x="284" y="458"/>
                    <a:pt x="284" y="457"/>
                    <a:pt x="284" y="456"/>
                  </a:cubicBezTo>
                  <a:cubicBezTo>
                    <a:pt x="284" y="456"/>
                    <a:pt x="284" y="455"/>
                    <a:pt x="285" y="456"/>
                  </a:cubicBezTo>
                  <a:cubicBezTo>
                    <a:pt x="285" y="456"/>
                    <a:pt x="285" y="456"/>
                    <a:pt x="285" y="457"/>
                  </a:cubicBezTo>
                  <a:cubicBezTo>
                    <a:pt x="285" y="458"/>
                    <a:pt x="285" y="459"/>
                    <a:pt x="285" y="459"/>
                  </a:cubicBezTo>
                  <a:cubicBezTo>
                    <a:pt x="285" y="460"/>
                    <a:pt x="284" y="461"/>
                    <a:pt x="284" y="462"/>
                  </a:cubicBezTo>
                  <a:cubicBezTo>
                    <a:pt x="285" y="463"/>
                    <a:pt x="285" y="464"/>
                    <a:pt x="286" y="464"/>
                  </a:cubicBezTo>
                  <a:cubicBezTo>
                    <a:pt x="287" y="465"/>
                    <a:pt x="288" y="465"/>
                    <a:pt x="289" y="466"/>
                  </a:cubicBezTo>
                  <a:cubicBezTo>
                    <a:pt x="289" y="466"/>
                    <a:pt x="289" y="466"/>
                    <a:pt x="290" y="467"/>
                  </a:cubicBezTo>
                  <a:cubicBezTo>
                    <a:pt x="290" y="467"/>
                    <a:pt x="291" y="467"/>
                    <a:pt x="291" y="467"/>
                  </a:cubicBezTo>
                  <a:cubicBezTo>
                    <a:pt x="293" y="467"/>
                    <a:pt x="295" y="467"/>
                    <a:pt x="297" y="466"/>
                  </a:cubicBezTo>
                  <a:cubicBezTo>
                    <a:pt x="298" y="466"/>
                    <a:pt x="300" y="465"/>
                    <a:pt x="301" y="465"/>
                  </a:cubicBezTo>
                  <a:cubicBezTo>
                    <a:pt x="302" y="464"/>
                    <a:pt x="303" y="464"/>
                    <a:pt x="304" y="464"/>
                  </a:cubicBezTo>
                  <a:cubicBezTo>
                    <a:pt x="305" y="463"/>
                    <a:pt x="306" y="463"/>
                    <a:pt x="307" y="462"/>
                  </a:cubicBezTo>
                  <a:cubicBezTo>
                    <a:pt x="308" y="461"/>
                    <a:pt x="309" y="461"/>
                    <a:pt x="311" y="461"/>
                  </a:cubicBezTo>
                  <a:cubicBezTo>
                    <a:pt x="314" y="460"/>
                    <a:pt x="318" y="460"/>
                    <a:pt x="321" y="461"/>
                  </a:cubicBezTo>
                  <a:cubicBezTo>
                    <a:pt x="322" y="461"/>
                    <a:pt x="323" y="461"/>
                    <a:pt x="325" y="461"/>
                  </a:cubicBezTo>
                  <a:cubicBezTo>
                    <a:pt x="326" y="461"/>
                    <a:pt x="327" y="461"/>
                    <a:pt x="328" y="461"/>
                  </a:cubicBezTo>
                  <a:cubicBezTo>
                    <a:pt x="329" y="461"/>
                    <a:pt x="329" y="460"/>
                    <a:pt x="330" y="459"/>
                  </a:cubicBezTo>
                  <a:cubicBezTo>
                    <a:pt x="331" y="459"/>
                    <a:pt x="332" y="459"/>
                    <a:pt x="334" y="458"/>
                  </a:cubicBezTo>
                  <a:cubicBezTo>
                    <a:pt x="335" y="458"/>
                    <a:pt x="334" y="458"/>
                    <a:pt x="334" y="457"/>
                  </a:cubicBezTo>
                  <a:cubicBezTo>
                    <a:pt x="334" y="456"/>
                    <a:pt x="334" y="455"/>
                    <a:pt x="334" y="455"/>
                  </a:cubicBezTo>
                  <a:cubicBezTo>
                    <a:pt x="334" y="454"/>
                    <a:pt x="334" y="453"/>
                    <a:pt x="334" y="452"/>
                  </a:cubicBezTo>
                  <a:cubicBezTo>
                    <a:pt x="335" y="451"/>
                    <a:pt x="335" y="451"/>
                    <a:pt x="335" y="451"/>
                  </a:cubicBezTo>
                  <a:cubicBezTo>
                    <a:pt x="336" y="451"/>
                    <a:pt x="336" y="451"/>
                    <a:pt x="336" y="451"/>
                  </a:cubicBezTo>
                  <a:cubicBezTo>
                    <a:pt x="336" y="452"/>
                    <a:pt x="335" y="453"/>
                    <a:pt x="335" y="454"/>
                  </a:cubicBezTo>
                  <a:cubicBezTo>
                    <a:pt x="335" y="454"/>
                    <a:pt x="335" y="455"/>
                    <a:pt x="335" y="455"/>
                  </a:cubicBezTo>
                  <a:cubicBezTo>
                    <a:pt x="335" y="456"/>
                    <a:pt x="335" y="457"/>
                    <a:pt x="335" y="457"/>
                  </a:cubicBezTo>
                  <a:cubicBezTo>
                    <a:pt x="335" y="458"/>
                    <a:pt x="336" y="459"/>
                    <a:pt x="335" y="459"/>
                  </a:cubicBezTo>
                  <a:cubicBezTo>
                    <a:pt x="335" y="459"/>
                    <a:pt x="334" y="459"/>
                    <a:pt x="334" y="459"/>
                  </a:cubicBezTo>
                  <a:cubicBezTo>
                    <a:pt x="333" y="459"/>
                    <a:pt x="333" y="459"/>
                    <a:pt x="332" y="460"/>
                  </a:cubicBezTo>
                  <a:cubicBezTo>
                    <a:pt x="332" y="460"/>
                    <a:pt x="331" y="460"/>
                    <a:pt x="331" y="461"/>
                  </a:cubicBezTo>
                  <a:cubicBezTo>
                    <a:pt x="331" y="461"/>
                    <a:pt x="330" y="461"/>
                    <a:pt x="330" y="461"/>
                  </a:cubicBezTo>
                  <a:cubicBezTo>
                    <a:pt x="329" y="461"/>
                    <a:pt x="329" y="462"/>
                    <a:pt x="329" y="462"/>
                  </a:cubicBezTo>
                  <a:cubicBezTo>
                    <a:pt x="329" y="463"/>
                    <a:pt x="329" y="463"/>
                    <a:pt x="329" y="464"/>
                  </a:cubicBezTo>
                  <a:cubicBezTo>
                    <a:pt x="330" y="465"/>
                    <a:pt x="331" y="466"/>
                    <a:pt x="332" y="467"/>
                  </a:cubicBezTo>
                  <a:cubicBezTo>
                    <a:pt x="333" y="468"/>
                    <a:pt x="334" y="469"/>
                    <a:pt x="335" y="470"/>
                  </a:cubicBezTo>
                  <a:cubicBezTo>
                    <a:pt x="336" y="471"/>
                    <a:pt x="338" y="472"/>
                    <a:pt x="339" y="473"/>
                  </a:cubicBezTo>
                  <a:cubicBezTo>
                    <a:pt x="340" y="473"/>
                    <a:pt x="341" y="474"/>
                    <a:pt x="342" y="475"/>
                  </a:cubicBezTo>
                  <a:cubicBezTo>
                    <a:pt x="342" y="475"/>
                    <a:pt x="342" y="475"/>
                    <a:pt x="343" y="476"/>
                  </a:cubicBezTo>
                  <a:cubicBezTo>
                    <a:pt x="343" y="476"/>
                    <a:pt x="344" y="476"/>
                    <a:pt x="345" y="477"/>
                  </a:cubicBezTo>
                  <a:cubicBezTo>
                    <a:pt x="345" y="477"/>
                    <a:pt x="345" y="477"/>
                    <a:pt x="345" y="477"/>
                  </a:cubicBezTo>
                  <a:cubicBezTo>
                    <a:pt x="346" y="478"/>
                    <a:pt x="347" y="479"/>
                    <a:pt x="347" y="479"/>
                  </a:cubicBezTo>
                  <a:cubicBezTo>
                    <a:pt x="348" y="480"/>
                    <a:pt x="348" y="481"/>
                    <a:pt x="349" y="482"/>
                  </a:cubicBezTo>
                  <a:cubicBezTo>
                    <a:pt x="350" y="482"/>
                    <a:pt x="351" y="483"/>
                    <a:pt x="352" y="483"/>
                  </a:cubicBezTo>
                  <a:cubicBezTo>
                    <a:pt x="353" y="483"/>
                    <a:pt x="353" y="483"/>
                    <a:pt x="354" y="482"/>
                  </a:cubicBezTo>
                  <a:cubicBezTo>
                    <a:pt x="355" y="482"/>
                    <a:pt x="356" y="482"/>
                    <a:pt x="356" y="483"/>
                  </a:cubicBezTo>
                  <a:cubicBezTo>
                    <a:pt x="357" y="483"/>
                    <a:pt x="357" y="483"/>
                    <a:pt x="358" y="484"/>
                  </a:cubicBezTo>
                  <a:cubicBezTo>
                    <a:pt x="358" y="484"/>
                    <a:pt x="359" y="483"/>
                    <a:pt x="359" y="483"/>
                  </a:cubicBezTo>
                  <a:cubicBezTo>
                    <a:pt x="359" y="484"/>
                    <a:pt x="359" y="484"/>
                    <a:pt x="359" y="484"/>
                  </a:cubicBezTo>
                  <a:cubicBezTo>
                    <a:pt x="357" y="484"/>
                    <a:pt x="357" y="483"/>
                    <a:pt x="356" y="483"/>
                  </a:cubicBezTo>
                  <a:cubicBezTo>
                    <a:pt x="355" y="484"/>
                    <a:pt x="354" y="484"/>
                    <a:pt x="354" y="485"/>
                  </a:cubicBezTo>
                  <a:cubicBezTo>
                    <a:pt x="355" y="486"/>
                    <a:pt x="356" y="488"/>
                    <a:pt x="358" y="489"/>
                  </a:cubicBezTo>
                  <a:cubicBezTo>
                    <a:pt x="360" y="490"/>
                    <a:pt x="362" y="492"/>
                    <a:pt x="363" y="495"/>
                  </a:cubicBezTo>
                  <a:cubicBezTo>
                    <a:pt x="364" y="497"/>
                    <a:pt x="365" y="498"/>
                    <a:pt x="366" y="499"/>
                  </a:cubicBezTo>
                  <a:cubicBezTo>
                    <a:pt x="368" y="501"/>
                    <a:pt x="369" y="504"/>
                    <a:pt x="370" y="506"/>
                  </a:cubicBezTo>
                  <a:cubicBezTo>
                    <a:pt x="372" y="508"/>
                    <a:pt x="373" y="509"/>
                    <a:pt x="375" y="510"/>
                  </a:cubicBezTo>
                  <a:cubicBezTo>
                    <a:pt x="377" y="512"/>
                    <a:pt x="378" y="514"/>
                    <a:pt x="380" y="515"/>
                  </a:cubicBezTo>
                  <a:cubicBezTo>
                    <a:pt x="382" y="517"/>
                    <a:pt x="383" y="518"/>
                    <a:pt x="384" y="519"/>
                  </a:cubicBezTo>
                  <a:cubicBezTo>
                    <a:pt x="385" y="521"/>
                    <a:pt x="386" y="521"/>
                    <a:pt x="387" y="522"/>
                  </a:cubicBezTo>
                  <a:cubicBezTo>
                    <a:pt x="390" y="523"/>
                    <a:pt x="392" y="523"/>
                    <a:pt x="394" y="524"/>
                  </a:cubicBezTo>
                  <a:cubicBezTo>
                    <a:pt x="394" y="386"/>
                    <a:pt x="394" y="386"/>
                    <a:pt x="394" y="386"/>
                  </a:cubicBezTo>
                  <a:cubicBezTo>
                    <a:pt x="394" y="386"/>
                    <a:pt x="393" y="387"/>
                    <a:pt x="393" y="38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2" name="Freeform 36">
              <a:extLst>
                <a:ext uri="{FF2B5EF4-FFF2-40B4-BE49-F238E27FC236}">
                  <a16:creationId xmlns:a16="http://schemas.microsoft.com/office/drawing/2014/main" id="{1DF9E75C-D80A-8F2C-5941-4C3F5FE6D0AC}"/>
                </a:ext>
              </a:extLst>
            </p:cNvPr>
            <p:cNvSpPr>
              <a:spLocks noEditPoints="1"/>
            </p:cNvSpPr>
            <p:nvPr/>
          </p:nvSpPr>
          <p:spPr bwMode="auto">
            <a:xfrm>
              <a:off x="1076325" y="2828925"/>
              <a:ext cx="773113" cy="1136650"/>
            </a:xfrm>
            <a:custGeom>
              <a:avLst/>
              <a:gdLst>
                <a:gd name="T0" fmla="*/ 51 w 203"/>
                <a:gd name="T1" fmla="*/ 213 h 298"/>
                <a:gd name="T2" fmla="*/ 48 w 203"/>
                <a:gd name="T3" fmla="*/ 227 h 298"/>
                <a:gd name="T4" fmla="*/ 37 w 203"/>
                <a:gd name="T5" fmla="*/ 227 h 298"/>
                <a:gd name="T6" fmla="*/ 26 w 203"/>
                <a:gd name="T7" fmla="*/ 206 h 298"/>
                <a:gd name="T8" fmla="*/ 15 w 203"/>
                <a:gd name="T9" fmla="*/ 191 h 298"/>
                <a:gd name="T10" fmla="*/ 3 w 203"/>
                <a:gd name="T11" fmla="*/ 178 h 298"/>
                <a:gd name="T12" fmla="*/ 13 w 203"/>
                <a:gd name="T13" fmla="*/ 174 h 298"/>
                <a:gd name="T14" fmla="*/ 20 w 203"/>
                <a:gd name="T15" fmla="*/ 170 h 298"/>
                <a:gd name="T16" fmla="*/ 29 w 203"/>
                <a:gd name="T17" fmla="*/ 176 h 298"/>
                <a:gd name="T18" fmla="*/ 37 w 203"/>
                <a:gd name="T19" fmla="*/ 189 h 298"/>
                <a:gd name="T20" fmla="*/ 52 w 203"/>
                <a:gd name="T21" fmla="*/ 201 h 298"/>
                <a:gd name="T22" fmla="*/ 79 w 203"/>
                <a:gd name="T23" fmla="*/ 284 h 298"/>
                <a:gd name="T24" fmla="*/ 76 w 203"/>
                <a:gd name="T25" fmla="*/ 293 h 298"/>
                <a:gd name="T26" fmla="*/ 81 w 203"/>
                <a:gd name="T27" fmla="*/ 297 h 298"/>
                <a:gd name="T28" fmla="*/ 86 w 203"/>
                <a:gd name="T29" fmla="*/ 294 h 298"/>
                <a:gd name="T30" fmla="*/ 83 w 203"/>
                <a:gd name="T31" fmla="*/ 277 h 298"/>
                <a:gd name="T32" fmla="*/ 86 w 203"/>
                <a:gd name="T33" fmla="*/ 270 h 298"/>
                <a:gd name="T34" fmla="*/ 77 w 203"/>
                <a:gd name="T35" fmla="*/ 262 h 298"/>
                <a:gd name="T36" fmla="*/ 80 w 203"/>
                <a:gd name="T37" fmla="*/ 271 h 298"/>
                <a:gd name="T38" fmla="*/ 88 w 203"/>
                <a:gd name="T39" fmla="*/ 280 h 298"/>
                <a:gd name="T40" fmla="*/ 102 w 203"/>
                <a:gd name="T41" fmla="*/ 257 h 298"/>
                <a:gd name="T42" fmla="*/ 106 w 203"/>
                <a:gd name="T43" fmla="*/ 253 h 298"/>
                <a:gd name="T44" fmla="*/ 97 w 203"/>
                <a:gd name="T45" fmla="*/ 251 h 298"/>
                <a:gd name="T46" fmla="*/ 92 w 203"/>
                <a:gd name="T47" fmla="*/ 256 h 298"/>
                <a:gd name="T48" fmla="*/ 47 w 203"/>
                <a:gd name="T49" fmla="*/ 266 h 298"/>
                <a:gd name="T50" fmla="*/ 187 w 203"/>
                <a:gd name="T51" fmla="*/ 201 h 298"/>
                <a:gd name="T52" fmla="*/ 183 w 203"/>
                <a:gd name="T53" fmla="*/ 184 h 298"/>
                <a:gd name="T54" fmla="*/ 199 w 203"/>
                <a:gd name="T55" fmla="*/ 172 h 298"/>
                <a:gd name="T56" fmla="*/ 199 w 203"/>
                <a:gd name="T57" fmla="*/ 157 h 298"/>
                <a:gd name="T58" fmla="*/ 199 w 203"/>
                <a:gd name="T59" fmla="*/ 134 h 298"/>
                <a:gd name="T60" fmla="*/ 193 w 203"/>
                <a:gd name="T61" fmla="*/ 102 h 298"/>
                <a:gd name="T62" fmla="*/ 186 w 203"/>
                <a:gd name="T63" fmla="*/ 104 h 298"/>
                <a:gd name="T64" fmla="*/ 184 w 203"/>
                <a:gd name="T65" fmla="*/ 102 h 298"/>
                <a:gd name="T66" fmla="*/ 173 w 203"/>
                <a:gd name="T67" fmla="*/ 80 h 298"/>
                <a:gd name="T68" fmla="*/ 160 w 203"/>
                <a:gd name="T69" fmla="*/ 67 h 298"/>
                <a:gd name="T70" fmla="*/ 137 w 203"/>
                <a:gd name="T71" fmla="*/ 52 h 298"/>
                <a:gd name="T72" fmla="*/ 106 w 203"/>
                <a:gd name="T73" fmla="*/ 36 h 298"/>
                <a:gd name="T74" fmla="*/ 99 w 203"/>
                <a:gd name="T75" fmla="*/ 30 h 298"/>
                <a:gd name="T76" fmla="*/ 89 w 203"/>
                <a:gd name="T77" fmla="*/ 17 h 298"/>
                <a:gd name="T78" fmla="*/ 75 w 203"/>
                <a:gd name="T79" fmla="*/ 13 h 298"/>
                <a:gd name="T80" fmla="*/ 71 w 203"/>
                <a:gd name="T81" fmla="*/ 6 h 298"/>
                <a:gd name="T82" fmla="*/ 61 w 203"/>
                <a:gd name="T83" fmla="*/ 5 h 298"/>
                <a:gd name="T84" fmla="*/ 46 w 203"/>
                <a:gd name="T85" fmla="*/ 33 h 298"/>
                <a:gd name="T86" fmla="*/ 53 w 203"/>
                <a:gd name="T87" fmla="*/ 50 h 298"/>
                <a:gd name="T88" fmla="*/ 52 w 203"/>
                <a:gd name="T89" fmla="*/ 66 h 298"/>
                <a:gd name="T90" fmla="*/ 58 w 203"/>
                <a:gd name="T91" fmla="*/ 88 h 298"/>
                <a:gd name="T92" fmla="*/ 63 w 203"/>
                <a:gd name="T93" fmla="*/ 113 h 298"/>
                <a:gd name="T94" fmla="*/ 74 w 203"/>
                <a:gd name="T95" fmla="*/ 137 h 298"/>
                <a:gd name="T96" fmla="*/ 86 w 203"/>
                <a:gd name="T97" fmla="*/ 144 h 298"/>
                <a:gd name="T98" fmla="*/ 100 w 203"/>
                <a:gd name="T99" fmla="*/ 153 h 298"/>
                <a:gd name="T100" fmla="*/ 106 w 203"/>
                <a:gd name="T101" fmla="*/ 164 h 298"/>
                <a:gd name="T102" fmla="*/ 100 w 203"/>
                <a:gd name="T103" fmla="*/ 167 h 298"/>
                <a:gd name="T104" fmla="*/ 110 w 203"/>
                <a:gd name="T105" fmla="*/ 190 h 298"/>
                <a:gd name="T106" fmla="*/ 119 w 203"/>
                <a:gd name="T107" fmla="*/ 214 h 298"/>
                <a:gd name="T108" fmla="*/ 124 w 203"/>
                <a:gd name="T109" fmla="*/ 231 h 298"/>
                <a:gd name="T110" fmla="*/ 129 w 203"/>
                <a:gd name="T111" fmla="*/ 246 h 298"/>
                <a:gd name="T112" fmla="*/ 144 w 203"/>
                <a:gd name="T113" fmla="*/ 232 h 298"/>
                <a:gd name="T114" fmla="*/ 160 w 203"/>
                <a:gd name="T115" fmla="*/ 234 h 298"/>
                <a:gd name="T116" fmla="*/ 167 w 203"/>
                <a:gd name="T117" fmla="*/ 217 h 298"/>
                <a:gd name="T118" fmla="*/ 185 w 203"/>
                <a:gd name="T119" fmla="*/ 2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298">
                  <a:moveTo>
                    <a:pt x="52" y="201"/>
                  </a:moveTo>
                  <a:cubicBezTo>
                    <a:pt x="53" y="202"/>
                    <a:pt x="54" y="204"/>
                    <a:pt x="53" y="206"/>
                  </a:cubicBezTo>
                  <a:cubicBezTo>
                    <a:pt x="52" y="207"/>
                    <a:pt x="51" y="208"/>
                    <a:pt x="51" y="209"/>
                  </a:cubicBezTo>
                  <a:cubicBezTo>
                    <a:pt x="50" y="209"/>
                    <a:pt x="49" y="211"/>
                    <a:pt x="50" y="212"/>
                  </a:cubicBezTo>
                  <a:cubicBezTo>
                    <a:pt x="50" y="212"/>
                    <a:pt x="51" y="212"/>
                    <a:pt x="51" y="213"/>
                  </a:cubicBezTo>
                  <a:cubicBezTo>
                    <a:pt x="51" y="214"/>
                    <a:pt x="50" y="214"/>
                    <a:pt x="50" y="215"/>
                  </a:cubicBezTo>
                  <a:cubicBezTo>
                    <a:pt x="50" y="215"/>
                    <a:pt x="50" y="216"/>
                    <a:pt x="49" y="217"/>
                  </a:cubicBezTo>
                  <a:cubicBezTo>
                    <a:pt x="49" y="218"/>
                    <a:pt x="50" y="219"/>
                    <a:pt x="50" y="220"/>
                  </a:cubicBezTo>
                  <a:cubicBezTo>
                    <a:pt x="50" y="222"/>
                    <a:pt x="50" y="224"/>
                    <a:pt x="50" y="225"/>
                  </a:cubicBezTo>
                  <a:cubicBezTo>
                    <a:pt x="49" y="226"/>
                    <a:pt x="49" y="226"/>
                    <a:pt x="48" y="227"/>
                  </a:cubicBezTo>
                  <a:cubicBezTo>
                    <a:pt x="47" y="228"/>
                    <a:pt x="46" y="229"/>
                    <a:pt x="45" y="229"/>
                  </a:cubicBezTo>
                  <a:cubicBezTo>
                    <a:pt x="44" y="228"/>
                    <a:pt x="44" y="227"/>
                    <a:pt x="43" y="227"/>
                  </a:cubicBezTo>
                  <a:cubicBezTo>
                    <a:pt x="43" y="227"/>
                    <a:pt x="42" y="228"/>
                    <a:pt x="42" y="228"/>
                  </a:cubicBezTo>
                  <a:cubicBezTo>
                    <a:pt x="41" y="228"/>
                    <a:pt x="41" y="228"/>
                    <a:pt x="41" y="228"/>
                  </a:cubicBezTo>
                  <a:cubicBezTo>
                    <a:pt x="40" y="227"/>
                    <a:pt x="38" y="228"/>
                    <a:pt x="37" y="227"/>
                  </a:cubicBezTo>
                  <a:cubicBezTo>
                    <a:pt x="37" y="227"/>
                    <a:pt x="37" y="226"/>
                    <a:pt x="37" y="225"/>
                  </a:cubicBezTo>
                  <a:cubicBezTo>
                    <a:pt x="37" y="223"/>
                    <a:pt x="37" y="223"/>
                    <a:pt x="36" y="222"/>
                  </a:cubicBezTo>
                  <a:cubicBezTo>
                    <a:pt x="36" y="220"/>
                    <a:pt x="35" y="219"/>
                    <a:pt x="34" y="217"/>
                  </a:cubicBezTo>
                  <a:cubicBezTo>
                    <a:pt x="34" y="214"/>
                    <a:pt x="33" y="212"/>
                    <a:pt x="30" y="209"/>
                  </a:cubicBezTo>
                  <a:cubicBezTo>
                    <a:pt x="29" y="208"/>
                    <a:pt x="27" y="207"/>
                    <a:pt x="26" y="206"/>
                  </a:cubicBezTo>
                  <a:cubicBezTo>
                    <a:pt x="24" y="205"/>
                    <a:pt x="22" y="205"/>
                    <a:pt x="20" y="204"/>
                  </a:cubicBezTo>
                  <a:cubicBezTo>
                    <a:pt x="20" y="204"/>
                    <a:pt x="20" y="203"/>
                    <a:pt x="20" y="203"/>
                  </a:cubicBezTo>
                  <a:cubicBezTo>
                    <a:pt x="20" y="202"/>
                    <a:pt x="20" y="202"/>
                    <a:pt x="20" y="202"/>
                  </a:cubicBezTo>
                  <a:cubicBezTo>
                    <a:pt x="20" y="200"/>
                    <a:pt x="19" y="198"/>
                    <a:pt x="18" y="196"/>
                  </a:cubicBezTo>
                  <a:cubicBezTo>
                    <a:pt x="17" y="194"/>
                    <a:pt x="17" y="192"/>
                    <a:pt x="15" y="191"/>
                  </a:cubicBezTo>
                  <a:cubicBezTo>
                    <a:pt x="14" y="190"/>
                    <a:pt x="12" y="189"/>
                    <a:pt x="12" y="188"/>
                  </a:cubicBezTo>
                  <a:cubicBezTo>
                    <a:pt x="11" y="188"/>
                    <a:pt x="11" y="186"/>
                    <a:pt x="10" y="185"/>
                  </a:cubicBezTo>
                  <a:cubicBezTo>
                    <a:pt x="10" y="184"/>
                    <a:pt x="9" y="184"/>
                    <a:pt x="8" y="183"/>
                  </a:cubicBezTo>
                  <a:cubicBezTo>
                    <a:pt x="7" y="182"/>
                    <a:pt x="6" y="181"/>
                    <a:pt x="5" y="180"/>
                  </a:cubicBezTo>
                  <a:cubicBezTo>
                    <a:pt x="5" y="179"/>
                    <a:pt x="4" y="178"/>
                    <a:pt x="3" y="178"/>
                  </a:cubicBezTo>
                  <a:cubicBezTo>
                    <a:pt x="2" y="177"/>
                    <a:pt x="1" y="176"/>
                    <a:pt x="0" y="175"/>
                  </a:cubicBezTo>
                  <a:cubicBezTo>
                    <a:pt x="1" y="174"/>
                    <a:pt x="3" y="175"/>
                    <a:pt x="4" y="175"/>
                  </a:cubicBezTo>
                  <a:cubicBezTo>
                    <a:pt x="6" y="176"/>
                    <a:pt x="7" y="176"/>
                    <a:pt x="9" y="176"/>
                  </a:cubicBezTo>
                  <a:cubicBezTo>
                    <a:pt x="10" y="176"/>
                    <a:pt x="12" y="176"/>
                    <a:pt x="12" y="175"/>
                  </a:cubicBezTo>
                  <a:cubicBezTo>
                    <a:pt x="13" y="174"/>
                    <a:pt x="13" y="174"/>
                    <a:pt x="13" y="174"/>
                  </a:cubicBezTo>
                  <a:cubicBezTo>
                    <a:pt x="14" y="173"/>
                    <a:pt x="15" y="173"/>
                    <a:pt x="15" y="173"/>
                  </a:cubicBezTo>
                  <a:cubicBezTo>
                    <a:pt x="16" y="172"/>
                    <a:pt x="16" y="171"/>
                    <a:pt x="17" y="171"/>
                  </a:cubicBezTo>
                  <a:cubicBezTo>
                    <a:pt x="17" y="170"/>
                    <a:pt x="16" y="169"/>
                    <a:pt x="17" y="168"/>
                  </a:cubicBezTo>
                  <a:cubicBezTo>
                    <a:pt x="18" y="168"/>
                    <a:pt x="18" y="169"/>
                    <a:pt x="19" y="170"/>
                  </a:cubicBezTo>
                  <a:cubicBezTo>
                    <a:pt x="19" y="170"/>
                    <a:pt x="19" y="170"/>
                    <a:pt x="20" y="170"/>
                  </a:cubicBezTo>
                  <a:cubicBezTo>
                    <a:pt x="21" y="169"/>
                    <a:pt x="22" y="170"/>
                    <a:pt x="22" y="171"/>
                  </a:cubicBezTo>
                  <a:cubicBezTo>
                    <a:pt x="23" y="172"/>
                    <a:pt x="24" y="172"/>
                    <a:pt x="25" y="172"/>
                  </a:cubicBezTo>
                  <a:cubicBezTo>
                    <a:pt x="25" y="172"/>
                    <a:pt x="25" y="172"/>
                    <a:pt x="25" y="172"/>
                  </a:cubicBezTo>
                  <a:cubicBezTo>
                    <a:pt x="26" y="173"/>
                    <a:pt x="26" y="174"/>
                    <a:pt x="27" y="174"/>
                  </a:cubicBezTo>
                  <a:cubicBezTo>
                    <a:pt x="27" y="175"/>
                    <a:pt x="28" y="175"/>
                    <a:pt x="29" y="176"/>
                  </a:cubicBezTo>
                  <a:cubicBezTo>
                    <a:pt x="29" y="176"/>
                    <a:pt x="29" y="177"/>
                    <a:pt x="29" y="178"/>
                  </a:cubicBezTo>
                  <a:cubicBezTo>
                    <a:pt x="29" y="178"/>
                    <a:pt x="29" y="178"/>
                    <a:pt x="30" y="179"/>
                  </a:cubicBezTo>
                  <a:cubicBezTo>
                    <a:pt x="31" y="180"/>
                    <a:pt x="31" y="181"/>
                    <a:pt x="32" y="182"/>
                  </a:cubicBezTo>
                  <a:cubicBezTo>
                    <a:pt x="33" y="183"/>
                    <a:pt x="34" y="184"/>
                    <a:pt x="34" y="185"/>
                  </a:cubicBezTo>
                  <a:cubicBezTo>
                    <a:pt x="35" y="187"/>
                    <a:pt x="36" y="188"/>
                    <a:pt x="37" y="189"/>
                  </a:cubicBezTo>
                  <a:cubicBezTo>
                    <a:pt x="38" y="190"/>
                    <a:pt x="39" y="191"/>
                    <a:pt x="40" y="191"/>
                  </a:cubicBezTo>
                  <a:cubicBezTo>
                    <a:pt x="42" y="192"/>
                    <a:pt x="43" y="192"/>
                    <a:pt x="45" y="193"/>
                  </a:cubicBezTo>
                  <a:cubicBezTo>
                    <a:pt x="47" y="194"/>
                    <a:pt x="47" y="196"/>
                    <a:pt x="49" y="197"/>
                  </a:cubicBezTo>
                  <a:cubicBezTo>
                    <a:pt x="49" y="198"/>
                    <a:pt x="50" y="198"/>
                    <a:pt x="50" y="198"/>
                  </a:cubicBezTo>
                  <a:cubicBezTo>
                    <a:pt x="51" y="199"/>
                    <a:pt x="51" y="200"/>
                    <a:pt x="52" y="201"/>
                  </a:cubicBezTo>
                  <a:close/>
                  <a:moveTo>
                    <a:pt x="83" y="277"/>
                  </a:moveTo>
                  <a:cubicBezTo>
                    <a:pt x="83" y="277"/>
                    <a:pt x="83" y="277"/>
                    <a:pt x="82" y="277"/>
                  </a:cubicBezTo>
                  <a:cubicBezTo>
                    <a:pt x="82" y="277"/>
                    <a:pt x="82" y="279"/>
                    <a:pt x="82" y="279"/>
                  </a:cubicBezTo>
                  <a:cubicBezTo>
                    <a:pt x="82" y="280"/>
                    <a:pt x="81" y="281"/>
                    <a:pt x="81" y="282"/>
                  </a:cubicBezTo>
                  <a:cubicBezTo>
                    <a:pt x="80" y="282"/>
                    <a:pt x="80" y="283"/>
                    <a:pt x="79" y="284"/>
                  </a:cubicBezTo>
                  <a:cubicBezTo>
                    <a:pt x="79" y="285"/>
                    <a:pt x="79" y="286"/>
                    <a:pt x="79" y="287"/>
                  </a:cubicBezTo>
                  <a:cubicBezTo>
                    <a:pt x="79" y="288"/>
                    <a:pt x="79" y="289"/>
                    <a:pt x="79" y="289"/>
                  </a:cubicBezTo>
                  <a:cubicBezTo>
                    <a:pt x="79" y="290"/>
                    <a:pt x="78" y="290"/>
                    <a:pt x="78" y="291"/>
                  </a:cubicBezTo>
                  <a:cubicBezTo>
                    <a:pt x="78" y="292"/>
                    <a:pt x="78" y="292"/>
                    <a:pt x="77" y="293"/>
                  </a:cubicBezTo>
                  <a:cubicBezTo>
                    <a:pt x="77" y="293"/>
                    <a:pt x="76" y="293"/>
                    <a:pt x="76" y="293"/>
                  </a:cubicBezTo>
                  <a:cubicBezTo>
                    <a:pt x="75" y="293"/>
                    <a:pt x="74" y="293"/>
                    <a:pt x="74" y="294"/>
                  </a:cubicBezTo>
                  <a:cubicBezTo>
                    <a:pt x="73" y="294"/>
                    <a:pt x="75" y="295"/>
                    <a:pt x="75" y="295"/>
                  </a:cubicBezTo>
                  <a:cubicBezTo>
                    <a:pt x="76" y="295"/>
                    <a:pt x="77" y="295"/>
                    <a:pt x="78" y="295"/>
                  </a:cubicBezTo>
                  <a:cubicBezTo>
                    <a:pt x="79" y="296"/>
                    <a:pt x="79" y="296"/>
                    <a:pt x="79" y="296"/>
                  </a:cubicBezTo>
                  <a:cubicBezTo>
                    <a:pt x="80" y="297"/>
                    <a:pt x="81" y="298"/>
                    <a:pt x="81" y="297"/>
                  </a:cubicBezTo>
                  <a:cubicBezTo>
                    <a:pt x="82" y="296"/>
                    <a:pt x="82" y="296"/>
                    <a:pt x="82" y="296"/>
                  </a:cubicBezTo>
                  <a:cubicBezTo>
                    <a:pt x="82" y="295"/>
                    <a:pt x="83" y="294"/>
                    <a:pt x="84" y="295"/>
                  </a:cubicBezTo>
                  <a:cubicBezTo>
                    <a:pt x="85" y="295"/>
                    <a:pt x="85" y="297"/>
                    <a:pt x="86" y="297"/>
                  </a:cubicBezTo>
                  <a:cubicBezTo>
                    <a:pt x="86" y="297"/>
                    <a:pt x="87" y="296"/>
                    <a:pt x="87" y="295"/>
                  </a:cubicBezTo>
                  <a:cubicBezTo>
                    <a:pt x="87" y="294"/>
                    <a:pt x="86" y="294"/>
                    <a:pt x="86" y="294"/>
                  </a:cubicBezTo>
                  <a:cubicBezTo>
                    <a:pt x="86" y="293"/>
                    <a:pt x="87" y="292"/>
                    <a:pt x="87" y="292"/>
                  </a:cubicBezTo>
                  <a:cubicBezTo>
                    <a:pt x="87" y="291"/>
                    <a:pt x="87" y="289"/>
                    <a:pt x="87" y="288"/>
                  </a:cubicBezTo>
                  <a:cubicBezTo>
                    <a:pt x="87" y="288"/>
                    <a:pt x="87" y="287"/>
                    <a:pt x="88" y="286"/>
                  </a:cubicBezTo>
                  <a:cubicBezTo>
                    <a:pt x="88" y="285"/>
                    <a:pt x="88" y="284"/>
                    <a:pt x="87" y="283"/>
                  </a:cubicBezTo>
                  <a:cubicBezTo>
                    <a:pt x="86" y="281"/>
                    <a:pt x="84" y="279"/>
                    <a:pt x="83" y="277"/>
                  </a:cubicBezTo>
                  <a:close/>
                  <a:moveTo>
                    <a:pt x="90" y="279"/>
                  </a:moveTo>
                  <a:cubicBezTo>
                    <a:pt x="90" y="278"/>
                    <a:pt x="90" y="278"/>
                    <a:pt x="90" y="277"/>
                  </a:cubicBezTo>
                  <a:cubicBezTo>
                    <a:pt x="90" y="276"/>
                    <a:pt x="89" y="276"/>
                    <a:pt x="88" y="276"/>
                  </a:cubicBezTo>
                  <a:cubicBezTo>
                    <a:pt x="87" y="275"/>
                    <a:pt x="87" y="274"/>
                    <a:pt x="86" y="273"/>
                  </a:cubicBezTo>
                  <a:cubicBezTo>
                    <a:pt x="86" y="272"/>
                    <a:pt x="86" y="271"/>
                    <a:pt x="86" y="270"/>
                  </a:cubicBezTo>
                  <a:cubicBezTo>
                    <a:pt x="86" y="269"/>
                    <a:pt x="86" y="268"/>
                    <a:pt x="85" y="267"/>
                  </a:cubicBezTo>
                  <a:cubicBezTo>
                    <a:pt x="84" y="267"/>
                    <a:pt x="83" y="266"/>
                    <a:pt x="83" y="266"/>
                  </a:cubicBezTo>
                  <a:cubicBezTo>
                    <a:pt x="82" y="265"/>
                    <a:pt x="82" y="264"/>
                    <a:pt x="81" y="263"/>
                  </a:cubicBezTo>
                  <a:cubicBezTo>
                    <a:pt x="81" y="263"/>
                    <a:pt x="81" y="262"/>
                    <a:pt x="80" y="262"/>
                  </a:cubicBezTo>
                  <a:cubicBezTo>
                    <a:pt x="79" y="262"/>
                    <a:pt x="78" y="262"/>
                    <a:pt x="77" y="262"/>
                  </a:cubicBezTo>
                  <a:cubicBezTo>
                    <a:pt x="77" y="263"/>
                    <a:pt x="75" y="263"/>
                    <a:pt x="75" y="263"/>
                  </a:cubicBezTo>
                  <a:cubicBezTo>
                    <a:pt x="74" y="264"/>
                    <a:pt x="76" y="264"/>
                    <a:pt x="77" y="264"/>
                  </a:cubicBezTo>
                  <a:cubicBezTo>
                    <a:pt x="78" y="264"/>
                    <a:pt x="79" y="265"/>
                    <a:pt x="79" y="267"/>
                  </a:cubicBezTo>
                  <a:cubicBezTo>
                    <a:pt x="79" y="267"/>
                    <a:pt x="79" y="268"/>
                    <a:pt x="79" y="269"/>
                  </a:cubicBezTo>
                  <a:cubicBezTo>
                    <a:pt x="79" y="270"/>
                    <a:pt x="80" y="270"/>
                    <a:pt x="80" y="271"/>
                  </a:cubicBezTo>
                  <a:cubicBezTo>
                    <a:pt x="81" y="272"/>
                    <a:pt x="82" y="273"/>
                    <a:pt x="83" y="274"/>
                  </a:cubicBezTo>
                  <a:cubicBezTo>
                    <a:pt x="83" y="275"/>
                    <a:pt x="83" y="275"/>
                    <a:pt x="83" y="275"/>
                  </a:cubicBezTo>
                  <a:cubicBezTo>
                    <a:pt x="84" y="275"/>
                    <a:pt x="84" y="276"/>
                    <a:pt x="85" y="276"/>
                  </a:cubicBezTo>
                  <a:cubicBezTo>
                    <a:pt x="85" y="277"/>
                    <a:pt x="86" y="277"/>
                    <a:pt x="86" y="278"/>
                  </a:cubicBezTo>
                  <a:cubicBezTo>
                    <a:pt x="87" y="279"/>
                    <a:pt x="87" y="279"/>
                    <a:pt x="88" y="280"/>
                  </a:cubicBezTo>
                  <a:cubicBezTo>
                    <a:pt x="88" y="281"/>
                    <a:pt x="89" y="282"/>
                    <a:pt x="89" y="282"/>
                  </a:cubicBezTo>
                  <a:cubicBezTo>
                    <a:pt x="91" y="283"/>
                    <a:pt x="91" y="281"/>
                    <a:pt x="91" y="280"/>
                  </a:cubicBezTo>
                  <a:cubicBezTo>
                    <a:pt x="91" y="280"/>
                    <a:pt x="91" y="279"/>
                    <a:pt x="90" y="279"/>
                  </a:cubicBezTo>
                  <a:close/>
                  <a:moveTo>
                    <a:pt x="97" y="257"/>
                  </a:moveTo>
                  <a:cubicBezTo>
                    <a:pt x="99" y="257"/>
                    <a:pt x="100" y="257"/>
                    <a:pt x="102" y="257"/>
                  </a:cubicBezTo>
                  <a:cubicBezTo>
                    <a:pt x="102" y="257"/>
                    <a:pt x="103" y="256"/>
                    <a:pt x="104" y="256"/>
                  </a:cubicBezTo>
                  <a:cubicBezTo>
                    <a:pt x="104" y="256"/>
                    <a:pt x="105" y="257"/>
                    <a:pt x="106" y="257"/>
                  </a:cubicBezTo>
                  <a:cubicBezTo>
                    <a:pt x="107" y="257"/>
                    <a:pt x="108" y="257"/>
                    <a:pt x="108" y="256"/>
                  </a:cubicBezTo>
                  <a:cubicBezTo>
                    <a:pt x="108" y="256"/>
                    <a:pt x="108" y="255"/>
                    <a:pt x="108" y="254"/>
                  </a:cubicBezTo>
                  <a:cubicBezTo>
                    <a:pt x="107" y="254"/>
                    <a:pt x="107" y="253"/>
                    <a:pt x="106" y="253"/>
                  </a:cubicBezTo>
                  <a:cubicBezTo>
                    <a:pt x="106" y="252"/>
                    <a:pt x="106" y="251"/>
                    <a:pt x="105" y="251"/>
                  </a:cubicBezTo>
                  <a:cubicBezTo>
                    <a:pt x="104" y="251"/>
                    <a:pt x="103" y="252"/>
                    <a:pt x="103" y="252"/>
                  </a:cubicBezTo>
                  <a:cubicBezTo>
                    <a:pt x="102" y="252"/>
                    <a:pt x="101" y="252"/>
                    <a:pt x="101" y="252"/>
                  </a:cubicBezTo>
                  <a:cubicBezTo>
                    <a:pt x="100" y="252"/>
                    <a:pt x="99" y="252"/>
                    <a:pt x="99" y="252"/>
                  </a:cubicBezTo>
                  <a:cubicBezTo>
                    <a:pt x="98" y="251"/>
                    <a:pt x="97" y="252"/>
                    <a:pt x="97" y="251"/>
                  </a:cubicBezTo>
                  <a:cubicBezTo>
                    <a:pt x="96" y="251"/>
                    <a:pt x="95" y="251"/>
                    <a:pt x="95" y="251"/>
                  </a:cubicBezTo>
                  <a:cubicBezTo>
                    <a:pt x="94" y="251"/>
                    <a:pt x="94" y="251"/>
                    <a:pt x="93" y="251"/>
                  </a:cubicBezTo>
                  <a:cubicBezTo>
                    <a:pt x="91" y="251"/>
                    <a:pt x="88" y="252"/>
                    <a:pt x="89" y="254"/>
                  </a:cubicBezTo>
                  <a:cubicBezTo>
                    <a:pt x="90" y="255"/>
                    <a:pt x="90" y="256"/>
                    <a:pt x="91" y="256"/>
                  </a:cubicBezTo>
                  <a:cubicBezTo>
                    <a:pt x="91" y="256"/>
                    <a:pt x="92" y="256"/>
                    <a:pt x="92" y="256"/>
                  </a:cubicBezTo>
                  <a:cubicBezTo>
                    <a:pt x="93" y="256"/>
                    <a:pt x="94" y="256"/>
                    <a:pt x="94" y="257"/>
                  </a:cubicBezTo>
                  <a:cubicBezTo>
                    <a:pt x="95" y="257"/>
                    <a:pt x="96" y="257"/>
                    <a:pt x="97" y="257"/>
                  </a:cubicBezTo>
                  <a:close/>
                  <a:moveTo>
                    <a:pt x="49" y="266"/>
                  </a:moveTo>
                  <a:cubicBezTo>
                    <a:pt x="48" y="266"/>
                    <a:pt x="47" y="266"/>
                    <a:pt x="47" y="266"/>
                  </a:cubicBezTo>
                  <a:cubicBezTo>
                    <a:pt x="47" y="266"/>
                    <a:pt x="47" y="266"/>
                    <a:pt x="47" y="266"/>
                  </a:cubicBezTo>
                  <a:cubicBezTo>
                    <a:pt x="47" y="267"/>
                    <a:pt x="48" y="268"/>
                    <a:pt x="49" y="268"/>
                  </a:cubicBezTo>
                  <a:cubicBezTo>
                    <a:pt x="49" y="268"/>
                    <a:pt x="50" y="268"/>
                    <a:pt x="50" y="267"/>
                  </a:cubicBezTo>
                  <a:cubicBezTo>
                    <a:pt x="50" y="266"/>
                    <a:pt x="50" y="266"/>
                    <a:pt x="49" y="266"/>
                  </a:cubicBezTo>
                  <a:close/>
                  <a:moveTo>
                    <a:pt x="187" y="203"/>
                  </a:moveTo>
                  <a:cubicBezTo>
                    <a:pt x="187" y="202"/>
                    <a:pt x="187" y="201"/>
                    <a:pt x="187" y="201"/>
                  </a:cubicBezTo>
                  <a:cubicBezTo>
                    <a:pt x="187" y="200"/>
                    <a:pt x="186" y="199"/>
                    <a:pt x="185" y="199"/>
                  </a:cubicBezTo>
                  <a:cubicBezTo>
                    <a:pt x="185" y="197"/>
                    <a:pt x="186" y="196"/>
                    <a:pt x="186" y="195"/>
                  </a:cubicBezTo>
                  <a:cubicBezTo>
                    <a:pt x="188" y="193"/>
                    <a:pt x="189" y="193"/>
                    <a:pt x="187" y="191"/>
                  </a:cubicBezTo>
                  <a:cubicBezTo>
                    <a:pt x="186" y="190"/>
                    <a:pt x="185" y="189"/>
                    <a:pt x="185" y="187"/>
                  </a:cubicBezTo>
                  <a:cubicBezTo>
                    <a:pt x="184" y="186"/>
                    <a:pt x="184" y="185"/>
                    <a:pt x="183" y="184"/>
                  </a:cubicBezTo>
                  <a:cubicBezTo>
                    <a:pt x="181" y="183"/>
                    <a:pt x="180" y="183"/>
                    <a:pt x="180" y="181"/>
                  </a:cubicBezTo>
                  <a:cubicBezTo>
                    <a:pt x="180" y="177"/>
                    <a:pt x="182" y="177"/>
                    <a:pt x="185" y="177"/>
                  </a:cubicBezTo>
                  <a:cubicBezTo>
                    <a:pt x="188" y="177"/>
                    <a:pt x="191" y="177"/>
                    <a:pt x="194" y="177"/>
                  </a:cubicBezTo>
                  <a:cubicBezTo>
                    <a:pt x="195" y="176"/>
                    <a:pt x="196" y="176"/>
                    <a:pt x="197" y="174"/>
                  </a:cubicBezTo>
                  <a:cubicBezTo>
                    <a:pt x="198" y="173"/>
                    <a:pt x="197" y="172"/>
                    <a:pt x="199" y="172"/>
                  </a:cubicBezTo>
                  <a:cubicBezTo>
                    <a:pt x="201" y="172"/>
                    <a:pt x="201" y="174"/>
                    <a:pt x="202" y="172"/>
                  </a:cubicBezTo>
                  <a:cubicBezTo>
                    <a:pt x="203" y="171"/>
                    <a:pt x="203" y="170"/>
                    <a:pt x="203" y="168"/>
                  </a:cubicBezTo>
                  <a:cubicBezTo>
                    <a:pt x="203" y="167"/>
                    <a:pt x="202" y="166"/>
                    <a:pt x="202" y="164"/>
                  </a:cubicBezTo>
                  <a:cubicBezTo>
                    <a:pt x="202" y="163"/>
                    <a:pt x="203" y="161"/>
                    <a:pt x="202" y="160"/>
                  </a:cubicBezTo>
                  <a:cubicBezTo>
                    <a:pt x="201" y="158"/>
                    <a:pt x="200" y="159"/>
                    <a:pt x="199" y="157"/>
                  </a:cubicBezTo>
                  <a:cubicBezTo>
                    <a:pt x="199" y="156"/>
                    <a:pt x="200" y="155"/>
                    <a:pt x="200" y="153"/>
                  </a:cubicBezTo>
                  <a:cubicBezTo>
                    <a:pt x="199" y="153"/>
                    <a:pt x="197" y="154"/>
                    <a:pt x="197" y="153"/>
                  </a:cubicBezTo>
                  <a:cubicBezTo>
                    <a:pt x="196" y="152"/>
                    <a:pt x="195" y="151"/>
                    <a:pt x="195" y="150"/>
                  </a:cubicBezTo>
                  <a:cubicBezTo>
                    <a:pt x="195" y="148"/>
                    <a:pt x="196" y="146"/>
                    <a:pt x="197" y="144"/>
                  </a:cubicBezTo>
                  <a:cubicBezTo>
                    <a:pt x="197" y="140"/>
                    <a:pt x="198" y="137"/>
                    <a:pt x="199" y="134"/>
                  </a:cubicBezTo>
                  <a:cubicBezTo>
                    <a:pt x="200" y="130"/>
                    <a:pt x="199" y="128"/>
                    <a:pt x="198" y="124"/>
                  </a:cubicBezTo>
                  <a:cubicBezTo>
                    <a:pt x="197" y="121"/>
                    <a:pt x="196" y="119"/>
                    <a:pt x="196" y="115"/>
                  </a:cubicBezTo>
                  <a:cubicBezTo>
                    <a:pt x="196" y="113"/>
                    <a:pt x="198" y="110"/>
                    <a:pt x="198" y="108"/>
                  </a:cubicBezTo>
                  <a:cubicBezTo>
                    <a:pt x="198" y="107"/>
                    <a:pt x="196" y="105"/>
                    <a:pt x="196" y="104"/>
                  </a:cubicBezTo>
                  <a:cubicBezTo>
                    <a:pt x="195" y="104"/>
                    <a:pt x="194" y="102"/>
                    <a:pt x="193" y="102"/>
                  </a:cubicBezTo>
                  <a:cubicBezTo>
                    <a:pt x="192" y="101"/>
                    <a:pt x="192" y="100"/>
                    <a:pt x="192" y="99"/>
                  </a:cubicBezTo>
                  <a:cubicBezTo>
                    <a:pt x="192" y="99"/>
                    <a:pt x="191" y="97"/>
                    <a:pt x="190" y="97"/>
                  </a:cubicBezTo>
                  <a:cubicBezTo>
                    <a:pt x="190" y="97"/>
                    <a:pt x="188" y="97"/>
                    <a:pt x="188" y="97"/>
                  </a:cubicBezTo>
                  <a:cubicBezTo>
                    <a:pt x="187" y="97"/>
                    <a:pt x="186" y="99"/>
                    <a:pt x="186" y="100"/>
                  </a:cubicBezTo>
                  <a:cubicBezTo>
                    <a:pt x="186" y="101"/>
                    <a:pt x="186" y="103"/>
                    <a:pt x="186" y="104"/>
                  </a:cubicBezTo>
                  <a:cubicBezTo>
                    <a:pt x="186" y="105"/>
                    <a:pt x="187" y="108"/>
                    <a:pt x="187" y="108"/>
                  </a:cubicBezTo>
                  <a:cubicBezTo>
                    <a:pt x="186" y="109"/>
                    <a:pt x="186" y="109"/>
                    <a:pt x="186" y="109"/>
                  </a:cubicBezTo>
                  <a:cubicBezTo>
                    <a:pt x="186" y="109"/>
                    <a:pt x="185" y="107"/>
                    <a:pt x="185" y="107"/>
                  </a:cubicBezTo>
                  <a:cubicBezTo>
                    <a:pt x="185" y="107"/>
                    <a:pt x="184" y="105"/>
                    <a:pt x="184" y="104"/>
                  </a:cubicBezTo>
                  <a:cubicBezTo>
                    <a:pt x="184" y="104"/>
                    <a:pt x="184" y="102"/>
                    <a:pt x="184" y="102"/>
                  </a:cubicBezTo>
                  <a:cubicBezTo>
                    <a:pt x="184" y="102"/>
                    <a:pt x="183" y="100"/>
                    <a:pt x="183" y="99"/>
                  </a:cubicBezTo>
                  <a:cubicBezTo>
                    <a:pt x="183" y="98"/>
                    <a:pt x="182" y="96"/>
                    <a:pt x="182" y="95"/>
                  </a:cubicBezTo>
                  <a:cubicBezTo>
                    <a:pt x="181" y="94"/>
                    <a:pt x="177" y="93"/>
                    <a:pt x="177" y="93"/>
                  </a:cubicBezTo>
                  <a:cubicBezTo>
                    <a:pt x="177" y="83"/>
                    <a:pt x="177" y="83"/>
                    <a:pt x="177" y="83"/>
                  </a:cubicBezTo>
                  <a:cubicBezTo>
                    <a:pt x="177" y="83"/>
                    <a:pt x="174" y="80"/>
                    <a:pt x="173" y="80"/>
                  </a:cubicBezTo>
                  <a:cubicBezTo>
                    <a:pt x="172" y="79"/>
                    <a:pt x="171" y="77"/>
                    <a:pt x="171" y="77"/>
                  </a:cubicBezTo>
                  <a:cubicBezTo>
                    <a:pt x="170" y="80"/>
                    <a:pt x="170" y="80"/>
                    <a:pt x="170" y="80"/>
                  </a:cubicBezTo>
                  <a:cubicBezTo>
                    <a:pt x="168" y="75"/>
                    <a:pt x="168" y="75"/>
                    <a:pt x="168" y="75"/>
                  </a:cubicBezTo>
                  <a:cubicBezTo>
                    <a:pt x="168" y="75"/>
                    <a:pt x="166" y="72"/>
                    <a:pt x="165" y="71"/>
                  </a:cubicBezTo>
                  <a:cubicBezTo>
                    <a:pt x="164" y="70"/>
                    <a:pt x="161" y="68"/>
                    <a:pt x="160" y="67"/>
                  </a:cubicBezTo>
                  <a:cubicBezTo>
                    <a:pt x="159" y="66"/>
                    <a:pt x="156" y="66"/>
                    <a:pt x="155" y="66"/>
                  </a:cubicBezTo>
                  <a:cubicBezTo>
                    <a:pt x="154" y="66"/>
                    <a:pt x="152" y="65"/>
                    <a:pt x="150" y="63"/>
                  </a:cubicBezTo>
                  <a:cubicBezTo>
                    <a:pt x="148" y="62"/>
                    <a:pt x="147" y="60"/>
                    <a:pt x="146" y="59"/>
                  </a:cubicBezTo>
                  <a:cubicBezTo>
                    <a:pt x="146" y="58"/>
                    <a:pt x="143" y="56"/>
                    <a:pt x="142" y="55"/>
                  </a:cubicBezTo>
                  <a:cubicBezTo>
                    <a:pt x="141" y="55"/>
                    <a:pt x="138" y="54"/>
                    <a:pt x="137" y="52"/>
                  </a:cubicBezTo>
                  <a:cubicBezTo>
                    <a:pt x="135" y="50"/>
                    <a:pt x="134" y="50"/>
                    <a:pt x="134" y="49"/>
                  </a:cubicBezTo>
                  <a:cubicBezTo>
                    <a:pt x="134" y="49"/>
                    <a:pt x="128" y="46"/>
                    <a:pt x="127" y="46"/>
                  </a:cubicBezTo>
                  <a:cubicBezTo>
                    <a:pt x="127" y="45"/>
                    <a:pt x="123" y="42"/>
                    <a:pt x="122" y="42"/>
                  </a:cubicBezTo>
                  <a:cubicBezTo>
                    <a:pt x="122" y="42"/>
                    <a:pt x="115" y="39"/>
                    <a:pt x="114" y="39"/>
                  </a:cubicBezTo>
                  <a:cubicBezTo>
                    <a:pt x="113" y="38"/>
                    <a:pt x="107" y="36"/>
                    <a:pt x="106" y="36"/>
                  </a:cubicBezTo>
                  <a:cubicBezTo>
                    <a:pt x="105" y="36"/>
                    <a:pt x="102" y="33"/>
                    <a:pt x="102" y="33"/>
                  </a:cubicBezTo>
                  <a:cubicBezTo>
                    <a:pt x="98" y="31"/>
                    <a:pt x="98" y="31"/>
                    <a:pt x="98" y="31"/>
                  </a:cubicBezTo>
                  <a:cubicBezTo>
                    <a:pt x="96" y="31"/>
                    <a:pt x="96" y="31"/>
                    <a:pt x="96" y="31"/>
                  </a:cubicBezTo>
                  <a:cubicBezTo>
                    <a:pt x="96" y="29"/>
                    <a:pt x="96" y="29"/>
                    <a:pt x="96" y="29"/>
                  </a:cubicBezTo>
                  <a:cubicBezTo>
                    <a:pt x="96" y="29"/>
                    <a:pt x="98" y="30"/>
                    <a:pt x="99" y="30"/>
                  </a:cubicBezTo>
                  <a:cubicBezTo>
                    <a:pt x="100" y="30"/>
                    <a:pt x="99" y="29"/>
                    <a:pt x="99" y="28"/>
                  </a:cubicBezTo>
                  <a:cubicBezTo>
                    <a:pt x="99" y="27"/>
                    <a:pt x="97" y="24"/>
                    <a:pt x="97" y="24"/>
                  </a:cubicBezTo>
                  <a:cubicBezTo>
                    <a:pt x="97" y="23"/>
                    <a:pt x="93" y="22"/>
                    <a:pt x="93" y="22"/>
                  </a:cubicBezTo>
                  <a:cubicBezTo>
                    <a:pt x="93" y="22"/>
                    <a:pt x="91" y="22"/>
                    <a:pt x="90" y="21"/>
                  </a:cubicBezTo>
                  <a:cubicBezTo>
                    <a:pt x="89" y="20"/>
                    <a:pt x="89" y="17"/>
                    <a:pt x="89" y="17"/>
                  </a:cubicBezTo>
                  <a:cubicBezTo>
                    <a:pt x="88" y="16"/>
                    <a:pt x="87" y="17"/>
                    <a:pt x="87" y="17"/>
                  </a:cubicBezTo>
                  <a:cubicBezTo>
                    <a:pt x="85" y="16"/>
                    <a:pt x="85" y="16"/>
                    <a:pt x="85" y="16"/>
                  </a:cubicBezTo>
                  <a:cubicBezTo>
                    <a:pt x="85" y="16"/>
                    <a:pt x="81" y="14"/>
                    <a:pt x="81" y="13"/>
                  </a:cubicBezTo>
                  <a:cubicBezTo>
                    <a:pt x="80" y="13"/>
                    <a:pt x="78" y="13"/>
                    <a:pt x="78" y="13"/>
                  </a:cubicBezTo>
                  <a:cubicBezTo>
                    <a:pt x="75" y="13"/>
                    <a:pt x="75" y="13"/>
                    <a:pt x="75" y="13"/>
                  </a:cubicBezTo>
                  <a:cubicBezTo>
                    <a:pt x="73" y="11"/>
                    <a:pt x="73" y="11"/>
                    <a:pt x="73" y="11"/>
                  </a:cubicBezTo>
                  <a:cubicBezTo>
                    <a:pt x="70" y="10"/>
                    <a:pt x="70" y="10"/>
                    <a:pt x="70" y="10"/>
                  </a:cubicBezTo>
                  <a:cubicBezTo>
                    <a:pt x="67" y="11"/>
                    <a:pt x="67" y="11"/>
                    <a:pt x="67" y="11"/>
                  </a:cubicBezTo>
                  <a:cubicBezTo>
                    <a:pt x="67" y="11"/>
                    <a:pt x="66" y="9"/>
                    <a:pt x="66" y="8"/>
                  </a:cubicBezTo>
                  <a:cubicBezTo>
                    <a:pt x="66" y="8"/>
                    <a:pt x="71" y="6"/>
                    <a:pt x="71" y="6"/>
                  </a:cubicBezTo>
                  <a:cubicBezTo>
                    <a:pt x="72" y="5"/>
                    <a:pt x="71" y="3"/>
                    <a:pt x="71" y="2"/>
                  </a:cubicBezTo>
                  <a:cubicBezTo>
                    <a:pt x="71" y="2"/>
                    <a:pt x="71" y="1"/>
                    <a:pt x="72" y="1"/>
                  </a:cubicBezTo>
                  <a:cubicBezTo>
                    <a:pt x="71" y="0"/>
                    <a:pt x="70" y="0"/>
                    <a:pt x="70" y="0"/>
                  </a:cubicBezTo>
                  <a:cubicBezTo>
                    <a:pt x="68" y="0"/>
                    <a:pt x="68" y="0"/>
                    <a:pt x="67" y="1"/>
                  </a:cubicBezTo>
                  <a:cubicBezTo>
                    <a:pt x="64" y="2"/>
                    <a:pt x="62" y="2"/>
                    <a:pt x="61" y="5"/>
                  </a:cubicBezTo>
                  <a:cubicBezTo>
                    <a:pt x="60" y="8"/>
                    <a:pt x="59" y="11"/>
                    <a:pt x="58" y="13"/>
                  </a:cubicBezTo>
                  <a:cubicBezTo>
                    <a:pt x="57" y="16"/>
                    <a:pt x="58" y="18"/>
                    <a:pt x="57" y="20"/>
                  </a:cubicBezTo>
                  <a:cubicBezTo>
                    <a:pt x="55" y="23"/>
                    <a:pt x="53" y="24"/>
                    <a:pt x="51" y="24"/>
                  </a:cubicBezTo>
                  <a:cubicBezTo>
                    <a:pt x="51" y="26"/>
                    <a:pt x="51" y="28"/>
                    <a:pt x="50" y="29"/>
                  </a:cubicBezTo>
                  <a:cubicBezTo>
                    <a:pt x="49" y="31"/>
                    <a:pt x="48" y="32"/>
                    <a:pt x="46" y="33"/>
                  </a:cubicBezTo>
                  <a:cubicBezTo>
                    <a:pt x="44" y="34"/>
                    <a:pt x="43" y="35"/>
                    <a:pt x="44" y="37"/>
                  </a:cubicBezTo>
                  <a:cubicBezTo>
                    <a:pt x="45" y="39"/>
                    <a:pt x="45" y="41"/>
                    <a:pt x="47" y="43"/>
                  </a:cubicBezTo>
                  <a:cubicBezTo>
                    <a:pt x="47" y="44"/>
                    <a:pt x="49" y="44"/>
                    <a:pt x="50" y="46"/>
                  </a:cubicBezTo>
                  <a:cubicBezTo>
                    <a:pt x="51" y="47"/>
                    <a:pt x="51" y="47"/>
                    <a:pt x="52" y="48"/>
                  </a:cubicBezTo>
                  <a:cubicBezTo>
                    <a:pt x="53" y="49"/>
                    <a:pt x="54" y="49"/>
                    <a:pt x="53" y="50"/>
                  </a:cubicBezTo>
                  <a:cubicBezTo>
                    <a:pt x="53" y="52"/>
                    <a:pt x="50" y="52"/>
                    <a:pt x="50" y="54"/>
                  </a:cubicBezTo>
                  <a:cubicBezTo>
                    <a:pt x="51" y="56"/>
                    <a:pt x="55" y="56"/>
                    <a:pt x="56" y="57"/>
                  </a:cubicBezTo>
                  <a:cubicBezTo>
                    <a:pt x="58" y="59"/>
                    <a:pt x="56" y="61"/>
                    <a:pt x="55" y="62"/>
                  </a:cubicBezTo>
                  <a:cubicBezTo>
                    <a:pt x="54" y="62"/>
                    <a:pt x="53" y="63"/>
                    <a:pt x="52" y="63"/>
                  </a:cubicBezTo>
                  <a:cubicBezTo>
                    <a:pt x="51" y="64"/>
                    <a:pt x="52" y="65"/>
                    <a:pt x="52" y="66"/>
                  </a:cubicBezTo>
                  <a:cubicBezTo>
                    <a:pt x="53" y="67"/>
                    <a:pt x="53" y="69"/>
                    <a:pt x="53" y="70"/>
                  </a:cubicBezTo>
                  <a:cubicBezTo>
                    <a:pt x="54" y="71"/>
                    <a:pt x="54" y="71"/>
                    <a:pt x="54" y="72"/>
                  </a:cubicBezTo>
                  <a:cubicBezTo>
                    <a:pt x="55" y="73"/>
                    <a:pt x="54" y="74"/>
                    <a:pt x="53" y="75"/>
                  </a:cubicBezTo>
                  <a:cubicBezTo>
                    <a:pt x="53" y="76"/>
                    <a:pt x="53" y="77"/>
                    <a:pt x="53" y="78"/>
                  </a:cubicBezTo>
                  <a:cubicBezTo>
                    <a:pt x="53" y="82"/>
                    <a:pt x="53" y="86"/>
                    <a:pt x="58" y="88"/>
                  </a:cubicBezTo>
                  <a:cubicBezTo>
                    <a:pt x="59" y="89"/>
                    <a:pt x="60" y="89"/>
                    <a:pt x="61" y="90"/>
                  </a:cubicBezTo>
                  <a:cubicBezTo>
                    <a:pt x="61" y="91"/>
                    <a:pt x="62" y="91"/>
                    <a:pt x="62" y="92"/>
                  </a:cubicBezTo>
                  <a:cubicBezTo>
                    <a:pt x="62" y="93"/>
                    <a:pt x="61" y="92"/>
                    <a:pt x="61" y="93"/>
                  </a:cubicBezTo>
                  <a:cubicBezTo>
                    <a:pt x="60" y="95"/>
                    <a:pt x="62" y="98"/>
                    <a:pt x="62" y="100"/>
                  </a:cubicBezTo>
                  <a:cubicBezTo>
                    <a:pt x="62" y="104"/>
                    <a:pt x="60" y="109"/>
                    <a:pt x="63" y="113"/>
                  </a:cubicBezTo>
                  <a:cubicBezTo>
                    <a:pt x="65" y="115"/>
                    <a:pt x="66" y="117"/>
                    <a:pt x="66" y="119"/>
                  </a:cubicBezTo>
                  <a:cubicBezTo>
                    <a:pt x="67" y="122"/>
                    <a:pt x="66" y="124"/>
                    <a:pt x="66" y="127"/>
                  </a:cubicBezTo>
                  <a:cubicBezTo>
                    <a:pt x="66" y="129"/>
                    <a:pt x="65" y="129"/>
                    <a:pt x="65" y="130"/>
                  </a:cubicBezTo>
                  <a:cubicBezTo>
                    <a:pt x="67" y="132"/>
                    <a:pt x="68" y="133"/>
                    <a:pt x="69" y="134"/>
                  </a:cubicBezTo>
                  <a:cubicBezTo>
                    <a:pt x="70" y="135"/>
                    <a:pt x="72" y="137"/>
                    <a:pt x="74" y="137"/>
                  </a:cubicBezTo>
                  <a:cubicBezTo>
                    <a:pt x="75" y="138"/>
                    <a:pt x="76" y="138"/>
                    <a:pt x="77" y="138"/>
                  </a:cubicBezTo>
                  <a:cubicBezTo>
                    <a:pt x="78" y="138"/>
                    <a:pt x="78" y="139"/>
                    <a:pt x="78" y="139"/>
                  </a:cubicBezTo>
                  <a:cubicBezTo>
                    <a:pt x="78" y="140"/>
                    <a:pt x="80" y="140"/>
                    <a:pt x="81" y="139"/>
                  </a:cubicBezTo>
                  <a:cubicBezTo>
                    <a:pt x="83" y="139"/>
                    <a:pt x="83" y="140"/>
                    <a:pt x="84" y="141"/>
                  </a:cubicBezTo>
                  <a:cubicBezTo>
                    <a:pt x="85" y="142"/>
                    <a:pt x="86" y="143"/>
                    <a:pt x="86" y="144"/>
                  </a:cubicBezTo>
                  <a:cubicBezTo>
                    <a:pt x="86" y="145"/>
                    <a:pt x="87" y="144"/>
                    <a:pt x="89" y="146"/>
                  </a:cubicBezTo>
                  <a:cubicBezTo>
                    <a:pt x="90" y="148"/>
                    <a:pt x="93" y="150"/>
                    <a:pt x="94" y="151"/>
                  </a:cubicBezTo>
                  <a:cubicBezTo>
                    <a:pt x="95" y="153"/>
                    <a:pt x="96" y="154"/>
                    <a:pt x="97" y="154"/>
                  </a:cubicBezTo>
                  <a:cubicBezTo>
                    <a:pt x="98" y="155"/>
                    <a:pt x="100" y="157"/>
                    <a:pt x="101" y="157"/>
                  </a:cubicBezTo>
                  <a:cubicBezTo>
                    <a:pt x="101" y="157"/>
                    <a:pt x="100" y="155"/>
                    <a:pt x="100" y="153"/>
                  </a:cubicBezTo>
                  <a:cubicBezTo>
                    <a:pt x="100" y="151"/>
                    <a:pt x="101" y="153"/>
                    <a:pt x="103" y="154"/>
                  </a:cubicBezTo>
                  <a:cubicBezTo>
                    <a:pt x="104" y="155"/>
                    <a:pt x="105" y="156"/>
                    <a:pt x="105" y="158"/>
                  </a:cubicBezTo>
                  <a:cubicBezTo>
                    <a:pt x="105" y="159"/>
                    <a:pt x="106" y="159"/>
                    <a:pt x="106" y="160"/>
                  </a:cubicBezTo>
                  <a:cubicBezTo>
                    <a:pt x="107" y="161"/>
                    <a:pt x="107" y="162"/>
                    <a:pt x="107" y="162"/>
                  </a:cubicBezTo>
                  <a:cubicBezTo>
                    <a:pt x="106" y="164"/>
                    <a:pt x="106" y="164"/>
                    <a:pt x="106" y="164"/>
                  </a:cubicBezTo>
                  <a:cubicBezTo>
                    <a:pt x="106" y="164"/>
                    <a:pt x="106" y="164"/>
                    <a:pt x="106" y="165"/>
                  </a:cubicBezTo>
                  <a:cubicBezTo>
                    <a:pt x="106" y="166"/>
                    <a:pt x="105" y="167"/>
                    <a:pt x="105" y="167"/>
                  </a:cubicBezTo>
                  <a:cubicBezTo>
                    <a:pt x="103" y="167"/>
                    <a:pt x="103" y="167"/>
                    <a:pt x="103" y="167"/>
                  </a:cubicBezTo>
                  <a:cubicBezTo>
                    <a:pt x="103" y="167"/>
                    <a:pt x="102" y="168"/>
                    <a:pt x="102" y="167"/>
                  </a:cubicBezTo>
                  <a:cubicBezTo>
                    <a:pt x="101" y="167"/>
                    <a:pt x="100" y="167"/>
                    <a:pt x="100" y="167"/>
                  </a:cubicBezTo>
                  <a:cubicBezTo>
                    <a:pt x="100" y="167"/>
                    <a:pt x="101" y="169"/>
                    <a:pt x="102" y="171"/>
                  </a:cubicBezTo>
                  <a:cubicBezTo>
                    <a:pt x="104" y="172"/>
                    <a:pt x="103" y="173"/>
                    <a:pt x="104" y="175"/>
                  </a:cubicBezTo>
                  <a:cubicBezTo>
                    <a:pt x="105" y="177"/>
                    <a:pt x="107" y="179"/>
                    <a:pt x="108" y="181"/>
                  </a:cubicBezTo>
                  <a:cubicBezTo>
                    <a:pt x="109" y="183"/>
                    <a:pt x="108" y="184"/>
                    <a:pt x="108" y="186"/>
                  </a:cubicBezTo>
                  <a:cubicBezTo>
                    <a:pt x="108" y="188"/>
                    <a:pt x="109" y="189"/>
                    <a:pt x="110" y="190"/>
                  </a:cubicBezTo>
                  <a:cubicBezTo>
                    <a:pt x="112" y="192"/>
                    <a:pt x="111" y="193"/>
                    <a:pt x="112" y="196"/>
                  </a:cubicBezTo>
                  <a:cubicBezTo>
                    <a:pt x="113" y="199"/>
                    <a:pt x="114" y="201"/>
                    <a:pt x="115" y="203"/>
                  </a:cubicBezTo>
                  <a:cubicBezTo>
                    <a:pt x="115" y="205"/>
                    <a:pt x="116" y="208"/>
                    <a:pt x="116" y="209"/>
                  </a:cubicBezTo>
                  <a:cubicBezTo>
                    <a:pt x="116" y="210"/>
                    <a:pt x="117" y="211"/>
                    <a:pt x="118" y="212"/>
                  </a:cubicBezTo>
                  <a:cubicBezTo>
                    <a:pt x="119" y="213"/>
                    <a:pt x="119" y="214"/>
                    <a:pt x="119" y="214"/>
                  </a:cubicBezTo>
                  <a:cubicBezTo>
                    <a:pt x="119" y="215"/>
                    <a:pt x="120" y="217"/>
                    <a:pt x="121" y="218"/>
                  </a:cubicBezTo>
                  <a:cubicBezTo>
                    <a:pt x="121" y="218"/>
                    <a:pt x="121" y="221"/>
                    <a:pt x="120" y="222"/>
                  </a:cubicBezTo>
                  <a:cubicBezTo>
                    <a:pt x="120" y="224"/>
                    <a:pt x="121" y="223"/>
                    <a:pt x="122" y="225"/>
                  </a:cubicBezTo>
                  <a:cubicBezTo>
                    <a:pt x="124" y="226"/>
                    <a:pt x="123" y="229"/>
                    <a:pt x="123" y="229"/>
                  </a:cubicBezTo>
                  <a:cubicBezTo>
                    <a:pt x="123" y="229"/>
                    <a:pt x="123" y="231"/>
                    <a:pt x="124" y="231"/>
                  </a:cubicBezTo>
                  <a:cubicBezTo>
                    <a:pt x="125" y="232"/>
                    <a:pt x="125" y="235"/>
                    <a:pt x="125" y="236"/>
                  </a:cubicBezTo>
                  <a:cubicBezTo>
                    <a:pt x="125" y="238"/>
                    <a:pt x="123" y="240"/>
                    <a:pt x="124" y="241"/>
                  </a:cubicBezTo>
                  <a:cubicBezTo>
                    <a:pt x="124" y="241"/>
                    <a:pt x="126" y="243"/>
                    <a:pt x="126" y="244"/>
                  </a:cubicBezTo>
                  <a:cubicBezTo>
                    <a:pt x="126" y="245"/>
                    <a:pt x="127" y="246"/>
                    <a:pt x="127" y="247"/>
                  </a:cubicBezTo>
                  <a:cubicBezTo>
                    <a:pt x="128" y="247"/>
                    <a:pt x="128" y="246"/>
                    <a:pt x="129" y="246"/>
                  </a:cubicBezTo>
                  <a:cubicBezTo>
                    <a:pt x="131" y="244"/>
                    <a:pt x="131" y="242"/>
                    <a:pt x="135" y="242"/>
                  </a:cubicBezTo>
                  <a:cubicBezTo>
                    <a:pt x="137" y="242"/>
                    <a:pt x="137" y="242"/>
                    <a:pt x="138" y="240"/>
                  </a:cubicBezTo>
                  <a:cubicBezTo>
                    <a:pt x="138" y="239"/>
                    <a:pt x="138" y="238"/>
                    <a:pt x="139" y="237"/>
                  </a:cubicBezTo>
                  <a:cubicBezTo>
                    <a:pt x="140" y="236"/>
                    <a:pt x="140" y="235"/>
                    <a:pt x="141" y="234"/>
                  </a:cubicBezTo>
                  <a:cubicBezTo>
                    <a:pt x="142" y="232"/>
                    <a:pt x="143" y="233"/>
                    <a:pt x="144" y="232"/>
                  </a:cubicBezTo>
                  <a:cubicBezTo>
                    <a:pt x="146" y="231"/>
                    <a:pt x="146" y="230"/>
                    <a:pt x="147" y="229"/>
                  </a:cubicBezTo>
                  <a:cubicBezTo>
                    <a:pt x="149" y="228"/>
                    <a:pt x="149" y="230"/>
                    <a:pt x="151" y="230"/>
                  </a:cubicBezTo>
                  <a:cubicBezTo>
                    <a:pt x="151" y="231"/>
                    <a:pt x="151" y="231"/>
                    <a:pt x="151" y="231"/>
                  </a:cubicBezTo>
                  <a:cubicBezTo>
                    <a:pt x="153" y="231"/>
                    <a:pt x="154" y="229"/>
                    <a:pt x="156" y="230"/>
                  </a:cubicBezTo>
                  <a:cubicBezTo>
                    <a:pt x="158" y="230"/>
                    <a:pt x="158" y="232"/>
                    <a:pt x="160" y="234"/>
                  </a:cubicBezTo>
                  <a:cubicBezTo>
                    <a:pt x="162" y="236"/>
                    <a:pt x="164" y="233"/>
                    <a:pt x="167" y="233"/>
                  </a:cubicBezTo>
                  <a:cubicBezTo>
                    <a:pt x="169" y="233"/>
                    <a:pt x="171" y="234"/>
                    <a:pt x="173" y="233"/>
                  </a:cubicBezTo>
                  <a:cubicBezTo>
                    <a:pt x="175" y="231"/>
                    <a:pt x="175" y="229"/>
                    <a:pt x="174" y="228"/>
                  </a:cubicBezTo>
                  <a:cubicBezTo>
                    <a:pt x="173" y="225"/>
                    <a:pt x="174" y="223"/>
                    <a:pt x="172" y="222"/>
                  </a:cubicBezTo>
                  <a:cubicBezTo>
                    <a:pt x="170" y="221"/>
                    <a:pt x="167" y="220"/>
                    <a:pt x="167" y="217"/>
                  </a:cubicBezTo>
                  <a:cubicBezTo>
                    <a:pt x="167" y="216"/>
                    <a:pt x="168" y="215"/>
                    <a:pt x="168" y="213"/>
                  </a:cubicBezTo>
                  <a:cubicBezTo>
                    <a:pt x="168" y="212"/>
                    <a:pt x="168" y="210"/>
                    <a:pt x="168" y="209"/>
                  </a:cubicBezTo>
                  <a:cubicBezTo>
                    <a:pt x="171" y="206"/>
                    <a:pt x="174" y="209"/>
                    <a:pt x="176" y="210"/>
                  </a:cubicBezTo>
                  <a:cubicBezTo>
                    <a:pt x="177" y="211"/>
                    <a:pt x="180" y="212"/>
                    <a:pt x="181" y="213"/>
                  </a:cubicBezTo>
                  <a:cubicBezTo>
                    <a:pt x="183" y="213"/>
                    <a:pt x="184" y="213"/>
                    <a:pt x="185" y="214"/>
                  </a:cubicBezTo>
                  <a:cubicBezTo>
                    <a:pt x="185" y="212"/>
                    <a:pt x="185" y="211"/>
                    <a:pt x="185" y="210"/>
                  </a:cubicBezTo>
                  <a:cubicBezTo>
                    <a:pt x="186" y="208"/>
                    <a:pt x="186" y="205"/>
                    <a:pt x="187" y="203"/>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3" name="Freeform 38">
              <a:extLst>
                <a:ext uri="{FF2B5EF4-FFF2-40B4-BE49-F238E27FC236}">
                  <a16:creationId xmlns:a16="http://schemas.microsoft.com/office/drawing/2014/main" id="{D79B8C3F-97C7-E9B1-AE82-C6988C5BC38F}"/>
                </a:ext>
              </a:extLst>
            </p:cNvPr>
            <p:cNvSpPr>
              <a:spLocks noEditPoints="1"/>
            </p:cNvSpPr>
            <p:nvPr/>
          </p:nvSpPr>
          <p:spPr bwMode="auto">
            <a:xfrm>
              <a:off x="7180263" y="2763838"/>
              <a:ext cx="892175" cy="995362"/>
            </a:xfrm>
            <a:custGeom>
              <a:avLst/>
              <a:gdLst>
                <a:gd name="T0" fmla="*/ 123 w 234"/>
                <a:gd name="T1" fmla="*/ 195 h 261"/>
                <a:gd name="T2" fmla="*/ 117 w 234"/>
                <a:gd name="T3" fmla="*/ 210 h 261"/>
                <a:gd name="T4" fmla="*/ 105 w 234"/>
                <a:gd name="T5" fmla="*/ 221 h 261"/>
                <a:gd name="T6" fmla="*/ 95 w 234"/>
                <a:gd name="T7" fmla="*/ 231 h 261"/>
                <a:gd name="T8" fmla="*/ 91 w 234"/>
                <a:gd name="T9" fmla="*/ 238 h 261"/>
                <a:gd name="T10" fmla="*/ 87 w 234"/>
                <a:gd name="T11" fmla="*/ 245 h 261"/>
                <a:gd name="T12" fmla="*/ 85 w 234"/>
                <a:gd name="T13" fmla="*/ 250 h 261"/>
                <a:gd name="T14" fmla="*/ 75 w 234"/>
                <a:gd name="T15" fmla="*/ 252 h 261"/>
                <a:gd name="T16" fmla="*/ 63 w 234"/>
                <a:gd name="T17" fmla="*/ 255 h 261"/>
                <a:gd name="T18" fmla="*/ 49 w 234"/>
                <a:gd name="T19" fmla="*/ 257 h 261"/>
                <a:gd name="T20" fmla="*/ 34 w 234"/>
                <a:gd name="T21" fmla="*/ 261 h 261"/>
                <a:gd name="T22" fmla="*/ 24 w 234"/>
                <a:gd name="T23" fmla="*/ 257 h 261"/>
                <a:gd name="T24" fmla="*/ 20 w 234"/>
                <a:gd name="T25" fmla="*/ 241 h 261"/>
                <a:gd name="T26" fmla="*/ 12 w 234"/>
                <a:gd name="T27" fmla="*/ 237 h 261"/>
                <a:gd name="T28" fmla="*/ 8 w 234"/>
                <a:gd name="T29" fmla="*/ 228 h 261"/>
                <a:gd name="T30" fmla="*/ 0 w 234"/>
                <a:gd name="T31" fmla="*/ 222 h 261"/>
                <a:gd name="T32" fmla="*/ 7 w 234"/>
                <a:gd name="T33" fmla="*/ 221 h 261"/>
                <a:gd name="T34" fmla="*/ 18 w 234"/>
                <a:gd name="T35" fmla="*/ 222 h 261"/>
                <a:gd name="T36" fmla="*/ 29 w 234"/>
                <a:gd name="T37" fmla="*/ 224 h 261"/>
                <a:gd name="T38" fmla="*/ 43 w 234"/>
                <a:gd name="T39" fmla="*/ 228 h 261"/>
                <a:gd name="T40" fmla="*/ 49 w 234"/>
                <a:gd name="T41" fmla="*/ 227 h 261"/>
                <a:gd name="T42" fmla="*/ 60 w 234"/>
                <a:gd name="T43" fmla="*/ 223 h 261"/>
                <a:gd name="T44" fmla="*/ 75 w 234"/>
                <a:gd name="T45" fmla="*/ 217 h 261"/>
                <a:gd name="T46" fmla="*/ 81 w 234"/>
                <a:gd name="T47" fmla="*/ 207 h 261"/>
                <a:gd name="T48" fmla="*/ 89 w 234"/>
                <a:gd name="T49" fmla="*/ 205 h 261"/>
                <a:gd name="T50" fmla="*/ 94 w 234"/>
                <a:gd name="T51" fmla="*/ 202 h 261"/>
                <a:gd name="T52" fmla="*/ 89 w 234"/>
                <a:gd name="T53" fmla="*/ 199 h 261"/>
                <a:gd name="T54" fmla="*/ 91 w 234"/>
                <a:gd name="T55" fmla="*/ 193 h 261"/>
                <a:gd name="T56" fmla="*/ 101 w 234"/>
                <a:gd name="T57" fmla="*/ 191 h 261"/>
                <a:gd name="T58" fmla="*/ 107 w 234"/>
                <a:gd name="T59" fmla="*/ 188 h 261"/>
                <a:gd name="T60" fmla="*/ 105 w 234"/>
                <a:gd name="T61" fmla="*/ 183 h 261"/>
                <a:gd name="T62" fmla="*/ 112 w 234"/>
                <a:gd name="T63" fmla="*/ 177 h 261"/>
                <a:gd name="T64" fmla="*/ 117 w 234"/>
                <a:gd name="T65" fmla="*/ 173 h 261"/>
                <a:gd name="T66" fmla="*/ 125 w 234"/>
                <a:gd name="T67" fmla="*/ 177 h 261"/>
                <a:gd name="T68" fmla="*/ 128 w 234"/>
                <a:gd name="T69" fmla="*/ 182 h 261"/>
                <a:gd name="T70" fmla="*/ 158 w 234"/>
                <a:gd name="T71" fmla="*/ 66 h 261"/>
                <a:gd name="T72" fmla="*/ 147 w 234"/>
                <a:gd name="T73" fmla="*/ 51 h 261"/>
                <a:gd name="T74" fmla="*/ 148 w 234"/>
                <a:gd name="T75" fmla="*/ 60 h 261"/>
                <a:gd name="T76" fmla="*/ 154 w 234"/>
                <a:gd name="T77" fmla="*/ 70 h 261"/>
                <a:gd name="T78" fmla="*/ 228 w 234"/>
                <a:gd name="T79" fmla="*/ 29 h 261"/>
                <a:gd name="T80" fmla="*/ 233 w 234"/>
                <a:gd name="T81" fmla="*/ 17 h 261"/>
                <a:gd name="T82" fmla="*/ 227 w 234"/>
                <a:gd name="T83" fmla="*/ 1 h 261"/>
                <a:gd name="T84" fmla="*/ 222 w 234"/>
                <a:gd name="T85" fmla="*/ 9 h 261"/>
                <a:gd name="T86" fmla="*/ 226 w 234"/>
                <a:gd name="T87" fmla="*/ 21 h 261"/>
                <a:gd name="T88" fmla="*/ 223 w 234"/>
                <a:gd name="T89" fmla="*/ 34 h 261"/>
                <a:gd name="T90" fmla="*/ 229 w 234"/>
                <a:gd name="T91" fmla="*/ 50 h 261"/>
                <a:gd name="T92" fmla="*/ 222 w 234"/>
                <a:gd name="T93" fmla="*/ 44 h 261"/>
                <a:gd name="T94" fmla="*/ 216 w 234"/>
                <a:gd name="T95" fmla="*/ 33 h 261"/>
                <a:gd name="T96" fmla="*/ 143 w 234"/>
                <a:gd name="T97" fmla="*/ 117 h 261"/>
                <a:gd name="T98" fmla="*/ 145 w 234"/>
                <a:gd name="T99" fmla="*/ 110 h 261"/>
                <a:gd name="T100" fmla="*/ 141 w 234"/>
                <a:gd name="T101"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4" h="261">
                  <a:moveTo>
                    <a:pt x="130" y="190"/>
                  </a:moveTo>
                  <a:cubicBezTo>
                    <a:pt x="129" y="191"/>
                    <a:pt x="127" y="191"/>
                    <a:pt x="126" y="192"/>
                  </a:cubicBezTo>
                  <a:cubicBezTo>
                    <a:pt x="124" y="193"/>
                    <a:pt x="123" y="194"/>
                    <a:pt x="123" y="195"/>
                  </a:cubicBezTo>
                  <a:cubicBezTo>
                    <a:pt x="122" y="196"/>
                    <a:pt x="121" y="197"/>
                    <a:pt x="121" y="198"/>
                  </a:cubicBezTo>
                  <a:cubicBezTo>
                    <a:pt x="121" y="200"/>
                    <a:pt x="121" y="202"/>
                    <a:pt x="120" y="204"/>
                  </a:cubicBezTo>
                  <a:cubicBezTo>
                    <a:pt x="120" y="206"/>
                    <a:pt x="119" y="208"/>
                    <a:pt x="117" y="210"/>
                  </a:cubicBezTo>
                  <a:cubicBezTo>
                    <a:pt x="116" y="212"/>
                    <a:pt x="115" y="214"/>
                    <a:pt x="113" y="215"/>
                  </a:cubicBezTo>
                  <a:cubicBezTo>
                    <a:pt x="111" y="216"/>
                    <a:pt x="110" y="218"/>
                    <a:pt x="108" y="219"/>
                  </a:cubicBezTo>
                  <a:cubicBezTo>
                    <a:pt x="107" y="220"/>
                    <a:pt x="106" y="220"/>
                    <a:pt x="105" y="221"/>
                  </a:cubicBezTo>
                  <a:cubicBezTo>
                    <a:pt x="104" y="223"/>
                    <a:pt x="102" y="223"/>
                    <a:pt x="100" y="225"/>
                  </a:cubicBezTo>
                  <a:cubicBezTo>
                    <a:pt x="99" y="226"/>
                    <a:pt x="99" y="227"/>
                    <a:pt x="98" y="228"/>
                  </a:cubicBezTo>
                  <a:cubicBezTo>
                    <a:pt x="97" y="229"/>
                    <a:pt x="96" y="230"/>
                    <a:pt x="95" y="231"/>
                  </a:cubicBezTo>
                  <a:cubicBezTo>
                    <a:pt x="95" y="232"/>
                    <a:pt x="95" y="233"/>
                    <a:pt x="95" y="234"/>
                  </a:cubicBezTo>
                  <a:cubicBezTo>
                    <a:pt x="94" y="235"/>
                    <a:pt x="94" y="235"/>
                    <a:pt x="93" y="236"/>
                  </a:cubicBezTo>
                  <a:cubicBezTo>
                    <a:pt x="92" y="236"/>
                    <a:pt x="91" y="237"/>
                    <a:pt x="91" y="238"/>
                  </a:cubicBezTo>
                  <a:cubicBezTo>
                    <a:pt x="90" y="239"/>
                    <a:pt x="90" y="239"/>
                    <a:pt x="90" y="240"/>
                  </a:cubicBezTo>
                  <a:cubicBezTo>
                    <a:pt x="89" y="241"/>
                    <a:pt x="90" y="242"/>
                    <a:pt x="90" y="243"/>
                  </a:cubicBezTo>
                  <a:cubicBezTo>
                    <a:pt x="89" y="244"/>
                    <a:pt x="88" y="244"/>
                    <a:pt x="87" y="245"/>
                  </a:cubicBezTo>
                  <a:cubicBezTo>
                    <a:pt x="86" y="245"/>
                    <a:pt x="86" y="246"/>
                    <a:pt x="86" y="247"/>
                  </a:cubicBezTo>
                  <a:cubicBezTo>
                    <a:pt x="86" y="248"/>
                    <a:pt x="86" y="249"/>
                    <a:pt x="86" y="250"/>
                  </a:cubicBezTo>
                  <a:cubicBezTo>
                    <a:pt x="85" y="250"/>
                    <a:pt x="85" y="250"/>
                    <a:pt x="85" y="250"/>
                  </a:cubicBezTo>
                  <a:cubicBezTo>
                    <a:pt x="84" y="250"/>
                    <a:pt x="84" y="250"/>
                    <a:pt x="84" y="251"/>
                  </a:cubicBezTo>
                  <a:cubicBezTo>
                    <a:pt x="82" y="251"/>
                    <a:pt x="81" y="252"/>
                    <a:pt x="79" y="252"/>
                  </a:cubicBezTo>
                  <a:cubicBezTo>
                    <a:pt x="78" y="252"/>
                    <a:pt x="76" y="251"/>
                    <a:pt x="75" y="252"/>
                  </a:cubicBezTo>
                  <a:cubicBezTo>
                    <a:pt x="75" y="252"/>
                    <a:pt x="74" y="253"/>
                    <a:pt x="73" y="253"/>
                  </a:cubicBezTo>
                  <a:cubicBezTo>
                    <a:pt x="72" y="254"/>
                    <a:pt x="72" y="254"/>
                    <a:pt x="71" y="254"/>
                  </a:cubicBezTo>
                  <a:cubicBezTo>
                    <a:pt x="68" y="254"/>
                    <a:pt x="66" y="255"/>
                    <a:pt x="63" y="255"/>
                  </a:cubicBezTo>
                  <a:cubicBezTo>
                    <a:pt x="61" y="255"/>
                    <a:pt x="58" y="255"/>
                    <a:pt x="55" y="256"/>
                  </a:cubicBezTo>
                  <a:cubicBezTo>
                    <a:pt x="54" y="256"/>
                    <a:pt x="53" y="257"/>
                    <a:pt x="52" y="257"/>
                  </a:cubicBezTo>
                  <a:cubicBezTo>
                    <a:pt x="52" y="257"/>
                    <a:pt x="50" y="257"/>
                    <a:pt x="49" y="257"/>
                  </a:cubicBezTo>
                  <a:cubicBezTo>
                    <a:pt x="47" y="258"/>
                    <a:pt x="45" y="259"/>
                    <a:pt x="43" y="259"/>
                  </a:cubicBezTo>
                  <a:cubicBezTo>
                    <a:pt x="41" y="259"/>
                    <a:pt x="39" y="259"/>
                    <a:pt x="37" y="260"/>
                  </a:cubicBezTo>
                  <a:cubicBezTo>
                    <a:pt x="36" y="261"/>
                    <a:pt x="35" y="261"/>
                    <a:pt x="34" y="261"/>
                  </a:cubicBezTo>
                  <a:cubicBezTo>
                    <a:pt x="33" y="261"/>
                    <a:pt x="32" y="260"/>
                    <a:pt x="31" y="260"/>
                  </a:cubicBezTo>
                  <a:cubicBezTo>
                    <a:pt x="29" y="259"/>
                    <a:pt x="26" y="259"/>
                    <a:pt x="23" y="259"/>
                  </a:cubicBezTo>
                  <a:cubicBezTo>
                    <a:pt x="23" y="258"/>
                    <a:pt x="24" y="257"/>
                    <a:pt x="24" y="257"/>
                  </a:cubicBezTo>
                  <a:cubicBezTo>
                    <a:pt x="25" y="256"/>
                    <a:pt x="26" y="254"/>
                    <a:pt x="26" y="253"/>
                  </a:cubicBezTo>
                  <a:cubicBezTo>
                    <a:pt x="26" y="252"/>
                    <a:pt x="26" y="251"/>
                    <a:pt x="26" y="249"/>
                  </a:cubicBezTo>
                  <a:cubicBezTo>
                    <a:pt x="26" y="246"/>
                    <a:pt x="24" y="243"/>
                    <a:pt x="20" y="241"/>
                  </a:cubicBezTo>
                  <a:cubicBezTo>
                    <a:pt x="20" y="241"/>
                    <a:pt x="19" y="241"/>
                    <a:pt x="18" y="241"/>
                  </a:cubicBezTo>
                  <a:cubicBezTo>
                    <a:pt x="17" y="240"/>
                    <a:pt x="16" y="240"/>
                    <a:pt x="15" y="239"/>
                  </a:cubicBezTo>
                  <a:cubicBezTo>
                    <a:pt x="14" y="238"/>
                    <a:pt x="13" y="238"/>
                    <a:pt x="12" y="237"/>
                  </a:cubicBezTo>
                  <a:cubicBezTo>
                    <a:pt x="11" y="236"/>
                    <a:pt x="9" y="235"/>
                    <a:pt x="9" y="235"/>
                  </a:cubicBezTo>
                  <a:cubicBezTo>
                    <a:pt x="9" y="234"/>
                    <a:pt x="9" y="232"/>
                    <a:pt x="9" y="231"/>
                  </a:cubicBezTo>
                  <a:cubicBezTo>
                    <a:pt x="9" y="230"/>
                    <a:pt x="9" y="229"/>
                    <a:pt x="8" y="228"/>
                  </a:cubicBezTo>
                  <a:cubicBezTo>
                    <a:pt x="6" y="227"/>
                    <a:pt x="3" y="227"/>
                    <a:pt x="2" y="225"/>
                  </a:cubicBezTo>
                  <a:cubicBezTo>
                    <a:pt x="1" y="224"/>
                    <a:pt x="0" y="223"/>
                    <a:pt x="0" y="222"/>
                  </a:cubicBezTo>
                  <a:cubicBezTo>
                    <a:pt x="0" y="222"/>
                    <a:pt x="0" y="222"/>
                    <a:pt x="0" y="222"/>
                  </a:cubicBezTo>
                  <a:cubicBezTo>
                    <a:pt x="1" y="222"/>
                    <a:pt x="2" y="222"/>
                    <a:pt x="4" y="222"/>
                  </a:cubicBezTo>
                  <a:cubicBezTo>
                    <a:pt x="4" y="222"/>
                    <a:pt x="5" y="223"/>
                    <a:pt x="6" y="223"/>
                  </a:cubicBezTo>
                  <a:cubicBezTo>
                    <a:pt x="7" y="223"/>
                    <a:pt x="7" y="222"/>
                    <a:pt x="7" y="221"/>
                  </a:cubicBezTo>
                  <a:cubicBezTo>
                    <a:pt x="7" y="221"/>
                    <a:pt x="11" y="222"/>
                    <a:pt x="12" y="222"/>
                  </a:cubicBezTo>
                  <a:cubicBezTo>
                    <a:pt x="13" y="222"/>
                    <a:pt x="13" y="223"/>
                    <a:pt x="14" y="223"/>
                  </a:cubicBezTo>
                  <a:cubicBezTo>
                    <a:pt x="15" y="223"/>
                    <a:pt x="17" y="223"/>
                    <a:pt x="18" y="222"/>
                  </a:cubicBezTo>
                  <a:cubicBezTo>
                    <a:pt x="19" y="222"/>
                    <a:pt x="20" y="223"/>
                    <a:pt x="21" y="224"/>
                  </a:cubicBezTo>
                  <a:cubicBezTo>
                    <a:pt x="23" y="224"/>
                    <a:pt x="24" y="224"/>
                    <a:pt x="26" y="224"/>
                  </a:cubicBezTo>
                  <a:cubicBezTo>
                    <a:pt x="27" y="224"/>
                    <a:pt x="28" y="224"/>
                    <a:pt x="29" y="224"/>
                  </a:cubicBezTo>
                  <a:cubicBezTo>
                    <a:pt x="30" y="224"/>
                    <a:pt x="31" y="224"/>
                    <a:pt x="32" y="224"/>
                  </a:cubicBezTo>
                  <a:cubicBezTo>
                    <a:pt x="35" y="223"/>
                    <a:pt x="37" y="225"/>
                    <a:pt x="39" y="226"/>
                  </a:cubicBezTo>
                  <a:cubicBezTo>
                    <a:pt x="40" y="227"/>
                    <a:pt x="42" y="228"/>
                    <a:pt x="43" y="228"/>
                  </a:cubicBezTo>
                  <a:cubicBezTo>
                    <a:pt x="44" y="228"/>
                    <a:pt x="45" y="227"/>
                    <a:pt x="46" y="227"/>
                  </a:cubicBezTo>
                  <a:cubicBezTo>
                    <a:pt x="46" y="227"/>
                    <a:pt x="47" y="227"/>
                    <a:pt x="47" y="227"/>
                  </a:cubicBezTo>
                  <a:cubicBezTo>
                    <a:pt x="48" y="228"/>
                    <a:pt x="48" y="227"/>
                    <a:pt x="49" y="227"/>
                  </a:cubicBezTo>
                  <a:cubicBezTo>
                    <a:pt x="50" y="227"/>
                    <a:pt x="51" y="227"/>
                    <a:pt x="53" y="227"/>
                  </a:cubicBezTo>
                  <a:cubicBezTo>
                    <a:pt x="54" y="226"/>
                    <a:pt x="55" y="225"/>
                    <a:pt x="56" y="225"/>
                  </a:cubicBezTo>
                  <a:cubicBezTo>
                    <a:pt x="57" y="224"/>
                    <a:pt x="59" y="223"/>
                    <a:pt x="60" y="223"/>
                  </a:cubicBezTo>
                  <a:cubicBezTo>
                    <a:pt x="62" y="223"/>
                    <a:pt x="64" y="223"/>
                    <a:pt x="65" y="221"/>
                  </a:cubicBezTo>
                  <a:cubicBezTo>
                    <a:pt x="67" y="220"/>
                    <a:pt x="68" y="219"/>
                    <a:pt x="70" y="218"/>
                  </a:cubicBezTo>
                  <a:cubicBezTo>
                    <a:pt x="71" y="218"/>
                    <a:pt x="73" y="218"/>
                    <a:pt x="75" y="217"/>
                  </a:cubicBezTo>
                  <a:cubicBezTo>
                    <a:pt x="76" y="216"/>
                    <a:pt x="77" y="213"/>
                    <a:pt x="77" y="211"/>
                  </a:cubicBezTo>
                  <a:cubicBezTo>
                    <a:pt x="77" y="211"/>
                    <a:pt x="78" y="210"/>
                    <a:pt x="78" y="209"/>
                  </a:cubicBezTo>
                  <a:cubicBezTo>
                    <a:pt x="79" y="208"/>
                    <a:pt x="80" y="207"/>
                    <a:pt x="81" y="207"/>
                  </a:cubicBezTo>
                  <a:cubicBezTo>
                    <a:pt x="82" y="206"/>
                    <a:pt x="83" y="206"/>
                    <a:pt x="85" y="206"/>
                  </a:cubicBezTo>
                  <a:cubicBezTo>
                    <a:pt x="86" y="206"/>
                    <a:pt x="87" y="206"/>
                    <a:pt x="88" y="206"/>
                  </a:cubicBezTo>
                  <a:cubicBezTo>
                    <a:pt x="88" y="205"/>
                    <a:pt x="89" y="205"/>
                    <a:pt x="89" y="205"/>
                  </a:cubicBezTo>
                  <a:cubicBezTo>
                    <a:pt x="90" y="205"/>
                    <a:pt x="90" y="205"/>
                    <a:pt x="90" y="205"/>
                  </a:cubicBezTo>
                  <a:cubicBezTo>
                    <a:pt x="91" y="205"/>
                    <a:pt x="92" y="205"/>
                    <a:pt x="93" y="204"/>
                  </a:cubicBezTo>
                  <a:cubicBezTo>
                    <a:pt x="94" y="204"/>
                    <a:pt x="94" y="203"/>
                    <a:pt x="94" y="202"/>
                  </a:cubicBezTo>
                  <a:cubicBezTo>
                    <a:pt x="93" y="201"/>
                    <a:pt x="93" y="200"/>
                    <a:pt x="92" y="201"/>
                  </a:cubicBezTo>
                  <a:cubicBezTo>
                    <a:pt x="91" y="201"/>
                    <a:pt x="91" y="201"/>
                    <a:pt x="90" y="201"/>
                  </a:cubicBezTo>
                  <a:cubicBezTo>
                    <a:pt x="89" y="201"/>
                    <a:pt x="89" y="200"/>
                    <a:pt x="89" y="199"/>
                  </a:cubicBezTo>
                  <a:cubicBezTo>
                    <a:pt x="89" y="199"/>
                    <a:pt x="88" y="197"/>
                    <a:pt x="88" y="196"/>
                  </a:cubicBezTo>
                  <a:cubicBezTo>
                    <a:pt x="89" y="196"/>
                    <a:pt x="90" y="195"/>
                    <a:pt x="90" y="195"/>
                  </a:cubicBezTo>
                  <a:cubicBezTo>
                    <a:pt x="91" y="194"/>
                    <a:pt x="91" y="194"/>
                    <a:pt x="91" y="193"/>
                  </a:cubicBezTo>
                  <a:cubicBezTo>
                    <a:pt x="92" y="193"/>
                    <a:pt x="93" y="193"/>
                    <a:pt x="93" y="192"/>
                  </a:cubicBezTo>
                  <a:cubicBezTo>
                    <a:pt x="94" y="192"/>
                    <a:pt x="95" y="192"/>
                    <a:pt x="95" y="193"/>
                  </a:cubicBezTo>
                  <a:cubicBezTo>
                    <a:pt x="97" y="193"/>
                    <a:pt x="100" y="193"/>
                    <a:pt x="101" y="191"/>
                  </a:cubicBezTo>
                  <a:cubicBezTo>
                    <a:pt x="102" y="191"/>
                    <a:pt x="102" y="190"/>
                    <a:pt x="103" y="190"/>
                  </a:cubicBezTo>
                  <a:cubicBezTo>
                    <a:pt x="103" y="189"/>
                    <a:pt x="104" y="189"/>
                    <a:pt x="104" y="189"/>
                  </a:cubicBezTo>
                  <a:cubicBezTo>
                    <a:pt x="105" y="189"/>
                    <a:pt x="106" y="189"/>
                    <a:pt x="107" y="188"/>
                  </a:cubicBezTo>
                  <a:cubicBezTo>
                    <a:pt x="107" y="188"/>
                    <a:pt x="108" y="187"/>
                    <a:pt x="108" y="186"/>
                  </a:cubicBezTo>
                  <a:cubicBezTo>
                    <a:pt x="107" y="185"/>
                    <a:pt x="106" y="184"/>
                    <a:pt x="106" y="183"/>
                  </a:cubicBezTo>
                  <a:cubicBezTo>
                    <a:pt x="106" y="183"/>
                    <a:pt x="105" y="183"/>
                    <a:pt x="105" y="183"/>
                  </a:cubicBezTo>
                  <a:cubicBezTo>
                    <a:pt x="105" y="182"/>
                    <a:pt x="106" y="182"/>
                    <a:pt x="107" y="181"/>
                  </a:cubicBezTo>
                  <a:cubicBezTo>
                    <a:pt x="108" y="181"/>
                    <a:pt x="109" y="180"/>
                    <a:pt x="110" y="180"/>
                  </a:cubicBezTo>
                  <a:cubicBezTo>
                    <a:pt x="111" y="179"/>
                    <a:pt x="111" y="178"/>
                    <a:pt x="112" y="177"/>
                  </a:cubicBezTo>
                  <a:cubicBezTo>
                    <a:pt x="113" y="176"/>
                    <a:pt x="114" y="176"/>
                    <a:pt x="114" y="176"/>
                  </a:cubicBezTo>
                  <a:cubicBezTo>
                    <a:pt x="115" y="175"/>
                    <a:pt x="115" y="175"/>
                    <a:pt x="115" y="174"/>
                  </a:cubicBezTo>
                  <a:cubicBezTo>
                    <a:pt x="115" y="173"/>
                    <a:pt x="117" y="173"/>
                    <a:pt x="117" y="173"/>
                  </a:cubicBezTo>
                  <a:cubicBezTo>
                    <a:pt x="119" y="173"/>
                    <a:pt x="119" y="174"/>
                    <a:pt x="119" y="175"/>
                  </a:cubicBezTo>
                  <a:cubicBezTo>
                    <a:pt x="120" y="176"/>
                    <a:pt x="120" y="176"/>
                    <a:pt x="121" y="176"/>
                  </a:cubicBezTo>
                  <a:cubicBezTo>
                    <a:pt x="123" y="176"/>
                    <a:pt x="124" y="177"/>
                    <a:pt x="125" y="177"/>
                  </a:cubicBezTo>
                  <a:cubicBezTo>
                    <a:pt x="126" y="177"/>
                    <a:pt x="126" y="176"/>
                    <a:pt x="127" y="176"/>
                  </a:cubicBezTo>
                  <a:cubicBezTo>
                    <a:pt x="128" y="178"/>
                    <a:pt x="126" y="179"/>
                    <a:pt x="126" y="180"/>
                  </a:cubicBezTo>
                  <a:cubicBezTo>
                    <a:pt x="126" y="181"/>
                    <a:pt x="127" y="182"/>
                    <a:pt x="128" y="182"/>
                  </a:cubicBezTo>
                  <a:cubicBezTo>
                    <a:pt x="129" y="183"/>
                    <a:pt x="130" y="184"/>
                    <a:pt x="131" y="185"/>
                  </a:cubicBezTo>
                  <a:cubicBezTo>
                    <a:pt x="133" y="187"/>
                    <a:pt x="132" y="188"/>
                    <a:pt x="130" y="190"/>
                  </a:cubicBezTo>
                  <a:close/>
                  <a:moveTo>
                    <a:pt x="158" y="66"/>
                  </a:moveTo>
                  <a:cubicBezTo>
                    <a:pt x="157" y="65"/>
                    <a:pt x="156" y="65"/>
                    <a:pt x="155" y="64"/>
                  </a:cubicBezTo>
                  <a:cubicBezTo>
                    <a:pt x="155" y="63"/>
                    <a:pt x="154" y="62"/>
                    <a:pt x="153" y="60"/>
                  </a:cubicBezTo>
                  <a:cubicBezTo>
                    <a:pt x="152" y="57"/>
                    <a:pt x="152" y="52"/>
                    <a:pt x="147" y="51"/>
                  </a:cubicBezTo>
                  <a:cubicBezTo>
                    <a:pt x="146" y="50"/>
                    <a:pt x="143" y="50"/>
                    <a:pt x="143" y="52"/>
                  </a:cubicBezTo>
                  <a:cubicBezTo>
                    <a:pt x="142" y="53"/>
                    <a:pt x="144" y="55"/>
                    <a:pt x="145" y="56"/>
                  </a:cubicBezTo>
                  <a:cubicBezTo>
                    <a:pt x="146" y="57"/>
                    <a:pt x="148" y="58"/>
                    <a:pt x="148" y="60"/>
                  </a:cubicBezTo>
                  <a:cubicBezTo>
                    <a:pt x="148" y="62"/>
                    <a:pt x="147" y="64"/>
                    <a:pt x="148" y="66"/>
                  </a:cubicBezTo>
                  <a:cubicBezTo>
                    <a:pt x="148" y="67"/>
                    <a:pt x="150" y="69"/>
                    <a:pt x="151" y="69"/>
                  </a:cubicBezTo>
                  <a:cubicBezTo>
                    <a:pt x="152" y="70"/>
                    <a:pt x="153" y="69"/>
                    <a:pt x="154" y="70"/>
                  </a:cubicBezTo>
                  <a:cubicBezTo>
                    <a:pt x="154" y="70"/>
                    <a:pt x="154" y="71"/>
                    <a:pt x="155" y="72"/>
                  </a:cubicBezTo>
                  <a:cubicBezTo>
                    <a:pt x="159" y="72"/>
                    <a:pt x="159" y="68"/>
                    <a:pt x="158" y="66"/>
                  </a:cubicBezTo>
                  <a:close/>
                  <a:moveTo>
                    <a:pt x="228" y="29"/>
                  </a:moveTo>
                  <a:cubicBezTo>
                    <a:pt x="228" y="28"/>
                    <a:pt x="227" y="26"/>
                    <a:pt x="228" y="25"/>
                  </a:cubicBezTo>
                  <a:cubicBezTo>
                    <a:pt x="228" y="24"/>
                    <a:pt x="229" y="24"/>
                    <a:pt x="230" y="23"/>
                  </a:cubicBezTo>
                  <a:cubicBezTo>
                    <a:pt x="232" y="22"/>
                    <a:pt x="233" y="19"/>
                    <a:pt x="233" y="17"/>
                  </a:cubicBezTo>
                  <a:cubicBezTo>
                    <a:pt x="234" y="15"/>
                    <a:pt x="232" y="14"/>
                    <a:pt x="232" y="12"/>
                  </a:cubicBezTo>
                  <a:cubicBezTo>
                    <a:pt x="231" y="9"/>
                    <a:pt x="232" y="7"/>
                    <a:pt x="231" y="5"/>
                  </a:cubicBezTo>
                  <a:cubicBezTo>
                    <a:pt x="231" y="4"/>
                    <a:pt x="229" y="2"/>
                    <a:pt x="227" y="1"/>
                  </a:cubicBezTo>
                  <a:cubicBezTo>
                    <a:pt x="226" y="1"/>
                    <a:pt x="224" y="0"/>
                    <a:pt x="224" y="1"/>
                  </a:cubicBezTo>
                  <a:cubicBezTo>
                    <a:pt x="223" y="1"/>
                    <a:pt x="223" y="3"/>
                    <a:pt x="223" y="4"/>
                  </a:cubicBezTo>
                  <a:cubicBezTo>
                    <a:pt x="223" y="6"/>
                    <a:pt x="222" y="7"/>
                    <a:pt x="222" y="9"/>
                  </a:cubicBezTo>
                  <a:cubicBezTo>
                    <a:pt x="221" y="11"/>
                    <a:pt x="221" y="12"/>
                    <a:pt x="222" y="14"/>
                  </a:cubicBezTo>
                  <a:cubicBezTo>
                    <a:pt x="222" y="15"/>
                    <a:pt x="223" y="17"/>
                    <a:pt x="224" y="18"/>
                  </a:cubicBezTo>
                  <a:cubicBezTo>
                    <a:pt x="225" y="18"/>
                    <a:pt x="226" y="19"/>
                    <a:pt x="226" y="21"/>
                  </a:cubicBezTo>
                  <a:cubicBezTo>
                    <a:pt x="226" y="23"/>
                    <a:pt x="224" y="25"/>
                    <a:pt x="222" y="27"/>
                  </a:cubicBezTo>
                  <a:cubicBezTo>
                    <a:pt x="221" y="29"/>
                    <a:pt x="220" y="30"/>
                    <a:pt x="220" y="31"/>
                  </a:cubicBezTo>
                  <a:cubicBezTo>
                    <a:pt x="221" y="33"/>
                    <a:pt x="222" y="33"/>
                    <a:pt x="223" y="34"/>
                  </a:cubicBezTo>
                  <a:cubicBezTo>
                    <a:pt x="226" y="34"/>
                    <a:pt x="227" y="32"/>
                    <a:pt x="228" y="29"/>
                  </a:cubicBezTo>
                  <a:close/>
                  <a:moveTo>
                    <a:pt x="225" y="43"/>
                  </a:moveTo>
                  <a:cubicBezTo>
                    <a:pt x="225" y="45"/>
                    <a:pt x="226" y="48"/>
                    <a:pt x="229" y="50"/>
                  </a:cubicBezTo>
                  <a:cubicBezTo>
                    <a:pt x="230" y="49"/>
                    <a:pt x="230" y="47"/>
                    <a:pt x="230" y="45"/>
                  </a:cubicBezTo>
                  <a:cubicBezTo>
                    <a:pt x="229" y="43"/>
                    <a:pt x="228" y="43"/>
                    <a:pt x="225" y="43"/>
                  </a:cubicBezTo>
                  <a:close/>
                  <a:moveTo>
                    <a:pt x="222" y="44"/>
                  </a:moveTo>
                  <a:cubicBezTo>
                    <a:pt x="221" y="42"/>
                    <a:pt x="222" y="41"/>
                    <a:pt x="222" y="39"/>
                  </a:cubicBezTo>
                  <a:cubicBezTo>
                    <a:pt x="221" y="37"/>
                    <a:pt x="219" y="36"/>
                    <a:pt x="219" y="34"/>
                  </a:cubicBezTo>
                  <a:cubicBezTo>
                    <a:pt x="218" y="32"/>
                    <a:pt x="216" y="30"/>
                    <a:pt x="216" y="33"/>
                  </a:cubicBezTo>
                  <a:cubicBezTo>
                    <a:pt x="216" y="35"/>
                    <a:pt x="218" y="36"/>
                    <a:pt x="219" y="38"/>
                  </a:cubicBezTo>
                  <a:cubicBezTo>
                    <a:pt x="220" y="40"/>
                    <a:pt x="219" y="44"/>
                    <a:pt x="222" y="44"/>
                  </a:cubicBezTo>
                  <a:close/>
                  <a:moveTo>
                    <a:pt x="143" y="117"/>
                  </a:moveTo>
                  <a:cubicBezTo>
                    <a:pt x="143" y="116"/>
                    <a:pt x="142" y="116"/>
                    <a:pt x="142" y="115"/>
                  </a:cubicBezTo>
                  <a:cubicBezTo>
                    <a:pt x="141" y="114"/>
                    <a:pt x="142" y="113"/>
                    <a:pt x="142" y="113"/>
                  </a:cubicBezTo>
                  <a:cubicBezTo>
                    <a:pt x="143" y="112"/>
                    <a:pt x="145" y="111"/>
                    <a:pt x="145" y="110"/>
                  </a:cubicBezTo>
                  <a:cubicBezTo>
                    <a:pt x="145" y="108"/>
                    <a:pt x="142" y="107"/>
                    <a:pt x="141" y="108"/>
                  </a:cubicBezTo>
                  <a:cubicBezTo>
                    <a:pt x="139" y="109"/>
                    <a:pt x="140" y="111"/>
                    <a:pt x="140" y="112"/>
                  </a:cubicBezTo>
                  <a:cubicBezTo>
                    <a:pt x="140" y="114"/>
                    <a:pt x="140" y="115"/>
                    <a:pt x="141" y="117"/>
                  </a:cubicBezTo>
                  <a:cubicBezTo>
                    <a:pt x="142" y="117"/>
                    <a:pt x="142" y="117"/>
                    <a:pt x="143" y="11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 name="Freeform 40">
              <a:extLst>
                <a:ext uri="{FF2B5EF4-FFF2-40B4-BE49-F238E27FC236}">
                  <a16:creationId xmlns:a16="http://schemas.microsoft.com/office/drawing/2014/main" id="{F9EB9BE6-E99F-FD62-F2B2-1F4C095F4467}"/>
                </a:ext>
              </a:extLst>
            </p:cNvPr>
            <p:cNvSpPr>
              <a:spLocks noEditPoints="1"/>
            </p:cNvSpPr>
            <p:nvPr/>
          </p:nvSpPr>
          <p:spPr bwMode="auto">
            <a:xfrm>
              <a:off x="7481888" y="3217863"/>
              <a:ext cx="1023938" cy="1177925"/>
            </a:xfrm>
            <a:custGeom>
              <a:avLst/>
              <a:gdLst>
                <a:gd name="T0" fmla="*/ 97 w 269"/>
                <a:gd name="T1" fmla="*/ 301 h 309"/>
                <a:gd name="T2" fmla="*/ 96 w 269"/>
                <a:gd name="T3" fmla="*/ 290 h 309"/>
                <a:gd name="T4" fmla="*/ 61 w 269"/>
                <a:gd name="T5" fmla="*/ 272 h 309"/>
                <a:gd name="T6" fmla="*/ 79 w 269"/>
                <a:gd name="T7" fmla="*/ 276 h 309"/>
                <a:gd name="T8" fmla="*/ 106 w 269"/>
                <a:gd name="T9" fmla="*/ 273 h 309"/>
                <a:gd name="T10" fmla="*/ 109 w 269"/>
                <a:gd name="T11" fmla="*/ 271 h 309"/>
                <a:gd name="T12" fmla="*/ 72 w 269"/>
                <a:gd name="T13" fmla="*/ 270 h 309"/>
                <a:gd name="T14" fmla="*/ 45 w 269"/>
                <a:gd name="T15" fmla="*/ 263 h 309"/>
                <a:gd name="T16" fmla="*/ 7 w 269"/>
                <a:gd name="T17" fmla="*/ 282 h 309"/>
                <a:gd name="T18" fmla="*/ 44 w 269"/>
                <a:gd name="T19" fmla="*/ 274 h 309"/>
                <a:gd name="T20" fmla="*/ 57 w 269"/>
                <a:gd name="T21" fmla="*/ 271 h 309"/>
                <a:gd name="T22" fmla="*/ 53 w 269"/>
                <a:gd name="T23" fmla="*/ 269 h 309"/>
                <a:gd name="T24" fmla="*/ 45 w 269"/>
                <a:gd name="T25" fmla="*/ 263 h 309"/>
                <a:gd name="T26" fmla="*/ 30 w 269"/>
                <a:gd name="T27" fmla="*/ 263 h 309"/>
                <a:gd name="T28" fmla="*/ 190 w 269"/>
                <a:gd name="T29" fmla="*/ 248 h 309"/>
                <a:gd name="T30" fmla="*/ 195 w 269"/>
                <a:gd name="T31" fmla="*/ 263 h 309"/>
                <a:gd name="T32" fmla="*/ 230 w 269"/>
                <a:gd name="T33" fmla="*/ 258 h 309"/>
                <a:gd name="T34" fmla="*/ 206 w 269"/>
                <a:gd name="T35" fmla="*/ 242 h 309"/>
                <a:gd name="T36" fmla="*/ 174 w 269"/>
                <a:gd name="T37" fmla="*/ 205 h 309"/>
                <a:gd name="T38" fmla="*/ 175 w 269"/>
                <a:gd name="T39" fmla="*/ 198 h 309"/>
                <a:gd name="T40" fmla="*/ 182 w 269"/>
                <a:gd name="T41" fmla="*/ 181 h 309"/>
                <a:gd name="T42" fmla="*/ 190 w 269"/>
                <a:gd name="T43" fmla="*/ 199 h 309"/>
                <a:gd name="T44" fmla="*/ 203 w 269"/>
                <a:gd name="T45" fmla="*/ 210 h 309"/>
                <a:gd name="T46" fmla="*/ 202 w 269"/>
                <a:gd name="T47" fmla="*/ 203 h 309"/>
                <a:gd name="T48" fmla="*/ 197 w 269"/>
                <a:gd name="T49" fmla="*/ 185 h 309"/>
                <a:gd name="T50" fmla="*/ 168 w 269"/>
                <a:gd name="T51" fmla="*/ 184 h 309"/>
                <a:gd name="T52" fmla="*/ 174 w 269"/>
                <a:gd name="T53" fmla="*/ 189 h 309"/>
                <a:gd name="T54" fmla="*/ 267 w 269"/>
                <a:gd name="T55" fmla="*/ 141 h 309"/>
                <a:gd name="T56" fmla="*/ 208 w 269"/>
                <a:gd name="T57" fmla="*/ 39 h 309"/>
                <a:gd name="T58" fmla="*/ 194 w 269"/>
                <a:gd name="T59" fmla="*/ 63 h 309"/>
                <a:gd name="T60" fmla="*/ 185 w 269"/>
                <a:gd name="T61" fmla="*/ 94 h 309"/>
                <a:gd name="T62" fmla="*/ 198 w 269"/>
                <a:gd name="T63" fmla="*/ 106 h 309"/>
                <a:gd name="T64" fmla="*/ 200 w 269"/>
                <a:gd name="T65" fmla="*/ 137 h 309"/>
                <a:gd name="T66" fmla="*/ 210 w 269"/>
                <a:gd name="T67" fmla="*/ 179 h 309"/>
                <a:gd name="T68" fmla="*/ 237 w 269"/>
                <a:gd name="T69" fmla="*/ 210 h 309"/>
                <a:gd name="T70" fmla="*/ 240 w 269"/>
                <a:gd name="T71" fmla="*/ 208 h 309"/>
                <a:gd name="T72" fmla="*/ 213 w 269"/>
                <a:gd name="T73" fmla="*/ 159 h 309"/>
                <a:gd name="T74" fmla="*/ 214 w 269"/>
                <a:gd name="T75" fmla="*/ 143 h 309"/>
                <a:gd name="T76" fmla="*/ 226 w 269"/>
                <a:gd name="T77" fmla="*/ 130 h 309"/>
                <a:gd name="T78" fmla="*/ 255 w 269"/>
                <a:gd name="T79" fmla="*/ 139 h 309"/>
                <a:gd name="T80" fmla="*/ 257 w 269"/>
                <a:gd name="T81" fmla="*/ 126 h 309"/>
                <a:gd name="T82" fmla="*/ 239 w 269"/>
                <a:gd name="T83" fmla="*/ 118 h 309"/>
                <a:gd name="T84" fmla="*/ 237 w 269"/>
                <a:gd name="T85" fmla="*/ 108 h 309"/>
                <a:gd name="T86" fmla="*/ 257 w 269"/>
                <a:gd name="T87" fmla="*/ 96 h 309"/>
                <a:gd name="T88" fmla="*/ 262 w 269"/>
                <a:gd name="T89" fmla="*/ 90 h 309"/>
                <a:gd name="T90" fmla="*/ 265 w 269"/>
                <a:gd name="T91" fmla="*/ 79 h 309"/>
                <a:gd name="T92" fmla="*/ 262 w 269"/>
                <a:gd name="T93" fmla="*/ 69 h 309"/>
                <a:gd name="T94" fmla="*/ 256 w 269"/>
                <a:gd name="T95" fmla="*/ 65 h 309"/>
                <a:gd name="T96" fmla="*/ 234 w 269"/>
                <a:gd name="T97" fmla="*/ 76 h 309"/>
                <a:gd name="T98" fmla="*/ 230 w 269"/>
                <a:gd name="T99" fmla="*/ 92 h 309"/>
                <a:gd name="T100" fmla="*/ 211 w 269"/>
                <a:gd name="T101" fmla="*/ 111 h 309"/>
                <a:gd name="T102" fmla="*/ 202 w 269"/>
                <a:gd name="T103" fmla="*/ 107 h 309"/>
                <a:gd name="T104" fmla="*/ 204 w 269"/>
                <a:gd name="T105" fmla="*/ 94 h 309"/>
                <a:gd name="T106" fmla="*/ 214 w 269"/>
                <a:gd name="T107" fmla="*/ 88 h 309"/>
                <a:gd name="T108" fmla="*/ 219 w 269"/>
                <a:gd name="T109" fmla="*/ 75 h 309"/>
                <a:gd name="T110" fmla="*/ 222 w 269"/>
                <a:gd name="T111" fmla="*/ 66 h 309"/>
                <a:gd name="T112" fmla="*/ 220 w 269"/>
                <a:gd name="T113" fmla="*/ 53 h 309"/>
                <a:gd name="T114" fmla="*/ 211 w 269"/>
                <a:gd name="T115" fmla="*/ 47 h 309"/>
                <a:gd name="T116" fmla="*/ 255 w 269"/>
                <a:gd name="T117" fmla="*/ 1 h 309"/>
                <a:gd name="T118" fmla="*/ 237 w 269"/>
                <a:gd name="T119" fmla="*/ 24 h 309"/>
                <a:gd name="T120" fmla="*/ 251 w 269"/>
                <a:gd name="T121" fmla="*/ 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 h="309">
                  <a:moveTo>
                    <a:pt x="94" y="281"/>
                  </a:moveTo>
                  <a:cubicBezTo>
                    <a:pt x="94" y="281"/>
                    <a:pt x="94" y="281"/>
                    <a:pt x="94" y="281"/>
                  </a:cubicBezTo>
                  <a:cubicBezTo>
                    <a:pt x="94" y="281"/>
                    <a:pt x="94" y="281"/>
                    <a:pt x="94" y="281"/>
                  </a:cubicBezTo>
                  <a:cubicBezTo>
                    <a:pt x="94" y="281"/>
                    <a:pt x="94" y="281"/>
                    <a:pt x="94" y="281"/>
                  </a:cubicBezTo>
                  <a:cubicBezTo>
                    <a:pt x="94" y="282"/>
                    <a:pt x="94" y="282"/>
                    <a:pt x="94" y="282"/>
                  </a:cubicBezTo>
                  <a:cubicBezTo>
                    <a:pt x="93" y="283"/>
                    <a:pt x="93" y="283"/>
                    <a:pt x="92" y="284"/>
                  </a:cubicBezTo>
                  <a:cubicBezTo>
                    <a:pt x="92" y="284"/>
                    <a:pt x="92" y="285"/>
                    <a:pt x="92" y="285"/>
                  </a:cubicBezTo>
                  <a:cubicBezTo>
                    <a:pt x="92" y="285"/>
                    <a:pt x="92" y="285"/>
                    <a:pt x="92" y="285"/>
                  </a:cubicBezTo>
                  <a:cubicBezTo>
                    <a:pt x="92" y="285"/>
                    <a:pt x="92" y="286"/>
                    <a:pt x="92" y="286"/>
                  </a:cubicBezTo>
                  <a:cubicBezTo>
                    <a:pt x="92" y="287"/>
                    <a:pt x="92" y="287"/>
                    <a:pt x="92" y="287"/>
                  </a:cubicBezTo>
                  <a:cubicBezTo>
                    <a:pt x="92" y="288"/>
                    <a:pt x="92" y="289"/>
                    <a:pt x="92" y="289"/>
                  </a:cubicBezTo>
                  <a:cubicBezTo>
                    <a:pt x="93" y="290"/>
                    <a:pt x="93" y="292"/>
                    <a:pt x="93" y="293"/>
                  </a:cubicBezTo>
                  <a:cubicBezTo>
                    <a:pt x="93" y="294"/>
                    <a:pt x="93" y="295"/>
                    <a:pt x="94" y="295"/>
                  </a:cubicBezTo>
                  <a:cubicBezTo>
                    <a:pt x="94" y="296"/>
                    <a:pt x="95" y="297"/>
                    <a:pt x="96" y="298"/>
                  </a:cubicBezTo>
                  <a:cubicBezTo>
                    <a:pt x="96" y="299"/>
                    <a:pt x="97" y="300"/>
                    <a:pt x="97" y="301"/>
                  </a:cubicBezTo>
                  <a:cubicBezTo>
                    <a:pt x="98" y="303"/>
                    <a:pt x="97" y="304"/>
                    <a:pt x="98" y="305"/>
                  </a:cubicBezTo>
                  <a:cubicBezTo>
                    <a:pt x="98" y="305"/>
                    <a:pt x="98" y="305"/>
                    <a:pt x="98" y="306"/>
                  </a:cubicBezTo>
                  <a:cubicBezTo>
                    <a:pt x="98" y="306"/>
                    <a:pt x="98" y="306"/>
                    <a:pt x="98" y="306"/>
                  </a:cubicBezTo>
                  <a:cubicBezTo>
                    <a:pt x="99" y="306"/>
                    <a:pt x="99" y="306"/>
                    <a:pt x="99" y="306"/>
                  </a:cubicBezTo>
                  <a:cubicBezTo>
                    <a:pt x="100" y="307"/>
                    <a:pt x="101" y="307"/>
                    <a:pt x="102" y="309"/>
                  </a:cubicBezTo>
                  <a:cubicBezTo>
                    <a:pt x="102" y="309"/>
                    <a:pt x="102" y="309"/>
                    <a:pt x="102" y="309"/>
                  </a:cubicBezTo>
                  <a:cubicBezTo>
                    <a:pt x="102" y="309"/>
                    <a:pt x="102" y="309"/>
                    <a:pt x="102" y="309"/>
                  </a:cubicBezTo>
                  <a:cubicBezTo>
                    <a:pt x="102" y="309"/>
                    <a:pt x="102" y="309"/>
                    <a:pt x="102" y="309"/>
                  </a:cubicBezTo>
                  <a:cubicBezTo>
                    <a:pt x="102" y="308"/>
                    <a:pt x="102" y="308"/>
                    <a:pt x="102" y="308"/>
                  </a:cubicBezTo>
                  <a:cubicBezTo>
                    <a:pt x="102" y="307"/>
                    <a:pt x="102" y="307"/>
                    <a:pt x="102" y="306"/>
                  </a:cubicBezTo>
                  <a:cubicBezTo>
                    <a:pt x="101" y="305"/>
                    <a:pt x="101" y="304"/>
                    <a:pt x="100" y="303"/>
                  </a:cubicBezTo>
                  <a:cubicBezTo>
                    <a:pt x="99" y="300"/>
                    <a:pt x="98" y="297"/>
                    <a:pt x="97" y="294"/>
                  </a:cubicBezTo>
                  <a:cubicBezTo>
                    <a:pt x="96" y="293"/>
                    <a:pt x="96" y="292"/>
                    <a:pt x="95" y="291"/>
                  </a:cubicBezTo>
                  <a:cubicBezTo>
                    <a:pt x="96" y="290"/>
                    <a:pt x="96" y="290"/>
                    <a:pt x="96" y="290"/>
                  </a:cubicBezTo>
                  <a:cubicBezTo>
                    <a:pt x="96" y="290"/>
                    <a:pt x="96" y="290"/>
                    <a:pt x="96" y="290"/>
                  </a:cubicBezTo>
                  <a:cubicBezTo>
                    <a:pt x="96" y="289"/>
                    <a:pt x="96" y="288"/>
                    <a:pt x="96" y="287"/>
                  </a:cubicBezTo>
                  <a:cubicBezTo>
                    <a:pt x="97" y="286"/>
                    <a:pt x="97" y="285"/>
                    <a:pt x="97" y="284"/>
                  </a:cubicBezTo>
                  <a:cubicBezTo>
                    <a:pt x="97" y="284"/>
                    <a:pt x="97" y="284"/>
                    <a:pt x="97" y="284"/>
                  </a:cubicBezTo>
                  <a:cubicBezTo>
                    <a:pt x="97" y="283"/>
                    <a:pt x="97" y="283"/>
                    <a:pt x="97" y="283"/>
                  </a:cubicBezTo>
                  <a:cubicBezTo>
                    <a:pt x="97" y="283"/>
                    <a:pt x="97" y="283"/>
                    <a:pt x="97" y="283"/>
                  </a:cubicBezTo>
                  <a:cubicBezTo>
                    <a:pt x="96" y="283"/>
                    <a:pt x="96" y="282"/>
                    <a:pt x="96" y="282"/>
                  </a:cubicBezTo>
                  <a:cubicBezTo>
                    <a:pt x="95" y="282"/>
                    <a:pt x="95" y="281"/>
                    <a:pt x="94" y="281"/>
                  </a:cubicBezTo>
                  <a:cubicBezTo>
                    <a:pt x="94" y="281"/>
                    <a:pt x="94" y="281"/>
                    <a:pt x="94" y="281"/>
                  </a:cubicBezTo>
                  <a:moveTo>
                    <a:pt x="61" y="269"/>
                  </a:moveTo>
                  <a:cubicBezTo>
                    <a:pt x="61" y="269"/>
                    <a:pt x="61" y="269"/>
                    <a:pt x="61" y="269"/>
                  </a:cubicBezTo>
                  <a:cubicBezTo>
                    <a:pt x="61" y="269"/>
                    <a:pt x="61" y="270"/>
                    <a:pt x="60" y="270"/>
                  </a:cubicBezTo>
                  <a:cubicBezTo>
                    <a:pt x="60" y="271"/>
                    <a:pt x="60" y="271"/>
                    <a:pt x="60" y="272"/>
                  </a:cubicBezTo>
                  <a:cubicBezTo>
                    <a:pt x="60" y="272"/>
                    <a:pt x="60" y="272"/>
                    <a:pt x="60" y="272"/>
                  </a:cubicBezTo>
                  <a:cubicBezTo>
                    <a:pt x="60" y="272"/>
                    <a:pt x="60" y="272"/>
                    <a:pt x="60" y="272"/>
                  </a:cubicBezTo>
                  <a:cubicBezTo>
                    <a:pt x="61" y="272"/>
                    <a:pt x="61" y="272"/>
                    <a:pt x="61" y="272"/>
                  </a:cubicBezTo>
                  <a:cubicBezTo>
                    <a:pt x="61" y="272"/>
                    <a:pt x="61" y="272"/>
                    <a:pt x="61" y="272"/>
                  </a:cubicBezTo>
                  <a:cubicBezTo>
                    <a:pt x="63" y="272"/>
                    <a:pt x="64" y="273"/>
                    <a:pt x="65" y="274"/>
                  </a:cubicBezTo>
                  <a:cubicBezTo>
                    <a:pt x="65" y="274"/>
                    <a:pt x="66" y="275"/>
                    <a:pt x="66" y="276"/>
                  </a:cubicBezTo>
                  <a:cubicBezTo>
                    <a:pt x="66" y="276"/>
                    <a:pt x="66" y="276"/>
                    <a:pt x="66" y="277"/>
                  </a:cubicBezTo>
                  <a:cubicBezTo>
                    <a:pt x="66" y="277"/>
                    <a:pt x="66" y="277"/>
                    <a:pt x="66" y="277"/>
                  </a:cubicBezTo>
                  <a:cubicBezTo>
                    <a:pt x="66" y="276"/>
                    <a:pt x="66" y="276"/>
                    <a:pt x="67" y="276"/>
                  </a:cubicBezTo>
                  <a:cubicBezTo>
                    <a:pt x="67" y="276"/>
                    <a:pt x="67" y="276"/>
                    <a:pt x="67" y="276"/>
                  </a:cubicBezTo>
                  <a:cubicBezTo>
                    <a:pt x="67" y="276"/>
                    <a:pt x="68" y="276"/>
                    <a:pt x="68" y="276"/>
                  </a:cubicBezTo>
                  <a:cubicBezTo>
                    <a:pt x="69" y="277"/>
                    <a:pt x="69" y="277"/>
                    <a:pt x="69" y="277"/>
                  </a:cubicBezTo>
                  <a:cubicBezTo>
                    <a:pt x="69" y="277"/>
                    <a:pt x="69" y="277"/>
                    <a:pt x="69" y="277"/>
                  </a:cubicBezTo>
                  <a:cubicBezTo>
                    <a:pt x="70" y="277"/>
                    <a:pt x="70" y="277"/>
                    <a:pt x="70" y="277"/>
                  </a:cubicBezTo>
                  <a:cubicBezTo>
                    <a:pt x="70" y="277"/>
                    <a:pt x="70" y="277"/>
                    <a:pt x="70" y="277"/>
                  </a:cubicBezTo>
                  <a:cubicBezTo>
                    <a:pt x="70" y="277"/>
                    <a:pt x="71" y="277"/>
                    <a:pt x="72" y="276"/>
                  </a:cubicBezTo>
                  <a:cubicBezTo>
                    <a:pt x="73" y="276"/>
                    <a:pt x="74" y="276"/>
                    <a:pt x="75" y="276"/>
                  </a:cubicBezTo>
                  <a:cubicBezTo>
                    <a:pt x="76" y="276"/>
                    <a:pt x="77" y="276"/>
                    <a:pt x="79" y="276"/>
                  </a:cubicBezTo>
                  <a:cubicBezTo>
                    <a:pt x="80" y="276"/>
                    <a:pt x="80" y="276"/>
                    <a:pt x="80" y="276"/>
                  </a:cubicBezTo>
                  <a:cubicBezTo>
                    <a:pt x="81" y="276"/>
                    <a:pt x="82" y="276"/>
                    <a:pt x="83" y="276"/>
                  </a:cubicBezTo>
                  <a:cubicBezTo>
                    <a:pt x="83" y="276"/>
                    <a:pt x="84" y="276"/>
                    <a:pt x="84" y="276"/>
                  </a:cubicBezTo>
                  <a:cubicBezTo>
                    <a:pt x="85" y="276"/>
                    <a:pt x="85" y="276"/>
                    <a:pt x="86" y="276"/>
                  </a:cubicBezTo>
                  <a:cubicBezTo>
                    <a:pt x="87" y="275"/>
                    <a:pt x="87" y="275"/>
                    <a:pt x="88" y="275"/>
                  </a:cubicBezTo>
                  <a:cubicBezTo>
                    <a:pt x="88" y="275"/>
                    <a:pt x="88" y="275"/>
                    <a:pt x="89" y="275"/>
                  </a:cubicBezTo>
                  <a:cubicBezTo>
                    <a:pt x="90" y="275"/>
                    <a:pt x="90" y="275"/>
                    <a:pt x="90" y="275"/>
                  </a:cubicBezTo>
                  <a:cubicBezTo>
                    <a:pt x="91" y="275"/>
                    <a:pt x="92" y="275"/>
                    <a:pt x="92" y="276"/>
                  </a:cubicBezTo>
                  <a:cubicBezTo>
                    <a:pt x="93" y="276"/>
                    <a:pt x="93" y="277"/>
                    <a:pt x="94" y="277"/>
                  </a:cubicBezTo>
                  <a:cubicBezTo>
                    <a:pt x="94" y="277"/>
                    <a:pt x="94" y="277"/>
                    <a:pt x="94" y="277"/>
                  </a:cubicBezTo>
                  <a:cubicBezTo>
                    <a:pt x="94" y="277"/>
                    <a:pt x="94" y="277"/>
                    <a:pt x="94" y="277"/>
                  </a:cubicBezTo>
                  <a:cubicBezTo>
                    <a:pt x="94" y="277"/>
                    <a:pt x="94" y="277"/>
                    <a:pt x="94" y="277"/>
                  </a:cubicBezTo>
                  <a:cubicBezTo>
                    <a:pt x="94" y="277"/>
                    <a:pt x="95" y="277"/>
                    <a:pt x="95" y="276"/>
                  </a:cubicBezTo>
                  <a:cubicBezTo>
                    <a:pt x="96" y="276"/>
                    <a:pt x="97" y="275"/>
                    <a:pt x="98" y="275"/>
                  </a:cubicBezTo>
                  <a:cubicBezTo>
                    <a:pt x="101" y="273"/>
                    <a:pt x="104" y="274"/>
                    <a:pt x="106" y="273"/>
                  </a:cubicBezTo>
                  <a:cubicBezTo>
                    <a:pt x="107" y="273"/>
                    <a:pt x="108" y="273"/>
                    <a:pt x="110" y="273"/>
                  </a:cubicBezTo>
                  <a:cubicBezTo>
                    <a:pt x="110" y="273"/>
                    <a:pt x="111" y="273"/>
                    <a:pt x="112" y="273"/>
                  </a:cubicBezTo>
                  <a:cubicBezTo>
                    <a:pt x="112" y="273"/>
                    <a:pt x="112" y="273"/>
                    <a:pt x="112" y="273"/>
                  </a:cubicBezTo>
                  <a:cubicBezTo>
                    <a:pt x="112" y="273"/>
                    <a:pt x="113" y="273"/>
                    <a:pt x="113" y="273"/>
                  </a:cubicBezTo>
                  <a:cubicBezTo>
                    <a:pt x="114" y="273"/>
                    <a:pt x="114" y="273"/>
                    <a:pt x="114" y="273"/>
                  </a:cubicBezTo>
                  <a:cubicBezTo>
                    <a:pt x="115" y="273"/>
                    <a:pt x="115" y="273"/>
                    <a:pt x="116" y="272"/>
                  </a:cubicBezTo>
                  <a:cubicBezTo>
                    <a:pt x="117" y="272"/>
                    <a:pt x="117" y="272"/>
                    <a:pt x="118" y="272"/>
                  </a:cubicBezTo>
                  <a:cubicBezTo>
                    <a:pt x="118" y="271"/>
                    <a:pt x="118" y="271"/>
                    <a:pt x="118" y="271"/>
                  </a:cubicBezTo>
                  <a:cubicBezTo>
                    <a:pt x="117" y="272"/>
                    <a:pt x="116" y="272"/>
                    <a:pt x="115" y="272"/>
                  </a:cubicBezTo>
                  <a:cubicBezTo>
                    <a:pt x="114" y="272"/>
                    <a:pt x="113" y="272"/>
                    <a:pt x="112" y="271"/>
                  </a:cubicBezTo>
                  <a:cubicBezTo>
                    <a:pt x="111" y="271"/>
                    <a:pt x="111" y="271"/>
                    <a:pt x="110" y="271"/>
                  </a:cubicBezTo>
                  <a:cubicBezTo>
                    <a:pt x="110" y="271"/>
                    <a:pt x="109" y="271"/>
                    <a:pt x="109" y="271"/>
                  </a:cubicBezTo>
                  <a:cubicBezTo>
                    <a:pt x="109" y="271"/>
                    <a:pt x="109" y="271"/>
                    <a:pt x="109" y="271"/>
                  </a:cubicBezTo>
                  <a:cubicBezTo>
                    <a:pt x="109" y="271"/>
                    <a:pt x="109" y="271"/>
                    <a:pt x="109" y="271"/>
                  </a:cubicBezTo>
                  <a:cubicBezTo>
                    <a:pt x="109" y="271"/>
                    <a:pt x="109" y="271"/>
                    <a:pt x="109" y="271"/>
                  </a:cubicBezTo>
                  <a:cubicBezTo>
                    <a:pt x="108" y="271"/>
                    <a:pt x="107" y="271"/>
                    <a:pt x="107" y="271"/>
                  </a:cubicBezTo>
                  <a:cubicBezTo>
                    <a:pt x="104" y="271"/>
                    <a:pt x="102" y="270"/>
                    <a:pt x="100" y="270"/>
                  </a:cubicBezTo>
                  <a:cubicBezTo>
                    <a:pt x="99" y="270"/>
                    <a:pt x="99" y="270"/>
                    <a:pt x="98" y="270"/>
                  </a:cubicBezTo>
                  <a:cubicBezTo>
                    <a:pt x="97" y="270"/>
                    <a:pt x="95" y="270"/>
                    <a:pt x="94" y="270"/>
                  </a:cubicBezTo>
                  <a:cubicBezTo>
                    <a:pt x="94" y="270"/>
                    <a:pt x="93" y="270"/>
                    <a:pt x="92" y="271"/>
                  </a:cubicBezTo>
                  <a:cubicBezTo>
                    <a:pt x="92" y="271"/>
                    <a:pt x="91" y="271"/>
                    <a:pt x="91" y="271"/>
                  </a:cubicBezTo>
                  <a:cubicBezTo>
                    <a:pt x="89" y="271"/>
                    <a:pt x="88" y="270"/>
                    <a:pt x="86" y="270"/>
                  </a:cubicBezTo>
                  <a:cubicBezTo>
                    <a:pt x="86" y="270"/>
                    <a:pt x="85" y="270"/>
                    <a:pt x="85" y="270"/>
                  </a:cubicBezTo>
                  <a:cubicBezTo>
                    <a:pt x="84" y="271"/>
                    <a:pt x="82" y="271"/>
                    <a:pt x="81" y="271"/>
                  </a:cubicBezTo>
                  <a:cubicBezTo>
                    <a:pt x="80" y="271"/>
                    <a:pt x="79" y="271"/>
                    <a:pt x="78" y="271"/>
                  </a:cubicBezTo>
                  <a:cubicBezTo>
                    <a:pt x="78" y="271"/>
                    <a:pt x="78" y="271"/>
                    <a:pt x="78" y="271"/>
                  </a:cubicBezTo>
                  <a:cubicBezTo>
                    <a:pt x="78" y="271"/>
                    <a:pt x="78" y="271"/>
                    <a:pt x="78" y="271"/>
                  </a:cubicBezTo>
                  <a:cubicBezTo>
                    <a:pt x="76" y="271"/>
                    <a:pt x="75" y="271"/>
                    <a:pt x="74" y="271"/>
                  </a:cubicBezTo>
                  <a:cubicBezTo>
                    <a:pt x="73" y="270"/>
                    <a:pt x="73" y="270"/>
                    <a:pt x="72" y="270"/>
                  </a:cubicBezTo>
                  <a:cubicBezTo>
                    <a:pt x="72" y="270"/>
                    <a:pt x="72" y="270"/>
                    <a:pt x="72" y="270"/>
                  </a:cubicBezTo>
                  <a:cubicBezTo>
                    <a:pt x="72" y="270"/>
                    <a:pt x="72" y="270"/>
                    <a:pt x="72" y="270"/>
                  </a:cubicBezTo>
                  <a:cubicBezTo>
                    <a:pt x="72" y="270"/>
                    <a:pt x="72" y="270"/>
                    <a:pt x="72" y="270"/>
                  </a:cubicBezTo>
                  <a:cubicBezTo>
                    <a:pt x="71" y="270"/>
                    <a:pt x="71" y="270"/>
                    <a:pt x="70" y="270"/>
                  </a:cubicBezTo>
                  <a:cubicBezTo>
                    <a:pt x="69" y="270"/>
                    <a:pt x="69" y="270"/>
                    <a:pt x="69" y="270"/>
                  </a:cubicBezTo>
                  <a:cubicBezTo>
                    <a:pt x="68" y="270"/>
                    <a:pt x="68" y="270"/>
                    <a:pt x="68" y="270"/>
                  </a:cubicBezTo>
                  <a:cubicBezTo>
                    <a:pt x="67" y="270"/>
                    <a:pt x="67" y="270"/>
                    <a:pt x="67" y="269"/>
                  </a:cubicBezTo>
                  <a:cubicBezTo>
                    <a:pt x="66" y="270"/>
                    <a:pt x="66" y="270"/>
                    <a:pt x="66" y="270"/>
                  </a:cubicBezTo>
                  <a:cubicBezTo>
                    <a:pt x="66" y="270"/>
                    <a:pt x="66" y="271"/>
                    <a:pt x="65" y="271"/>
                  </a:cubicBezTo>
                  <a:cubicBezTo>
                    <a:pt x="65" y="271"/>
                    <a:pt x="65" y="271"/>
                    <a:pt x="65" y="271"/>
                  </a:cubicBezTo>
                  <a:cubicBezTo>
                    <a:pt x="64" y="270"/>
                    <a:pt x="64" y="270"/>
                    <a:pt x="64" y="270"/>
                  </a:cubicBezTo>
                  <a:cubicBezTo>
                    <a:pt x="64" y="270"/>
                    <a:pt x="64" y="270"/>
                    <a:pt x="64" y="270"/>
                  </a:cubicBezTo>
                  <a:cubicBezTo>
                    <a:pt x="63" y="270"/>
                    <a:pt x="62" y="269"/>
                    <a:pt x="61" y="269"/>
                  </a:cubicBezTo>
                  <a:cubicBezTo>
                    <a:pt x="61" y="269"/>
                    <a:pt x="61" y="269"/>
                    <a:pt x="61" y="269"/>
                  </a:cubicBezTo>
                  <a:moveTo>
                    <a:pt x="45" y="263"/>
                  </a:moveTo>
                  <a:cubicBezTo>
                    <a:pt x="45" y="263"/>
                    <a:pt x="45" y="263"/>
                    <a:pt x="45" y="263"/>
                  </a:cubicBezTo>
                  <a:moveTo>
                    <a:pt x="14" y="261"/>
                  </a:moveTo>
                  <a:cubicBezTo>
                    <a:pt x="12" y="261"/>
                    <a:pt x="10" y="261"/>
                    <a:pt x="8" y="261"/>
                  </a:cubicBezTo>
                  <a:cubicBezTo>
                    <a:pt x="7" y="261"/>
                    <a:pt x="6" y="261"/>
                    <a:pt x="4" y="261"/>
                  </a:cubicBezTo>
                  <a:cubicBezTo>
                    <a:pt x="4" y="261"/>
                    <a:pt x="3" y="262"/>
                    <a:pt x="3" y="262"/>
                  </a:cubicBezTo>
                  <a:cubicBezTo>
                    <a:pt x="2" y="262"/>
                    <a:pt x="2" y="262"/>
                    <a:pt x="1" y="262"/>
                  </a:cubicBezTo>
                  <a:cubicBezTo>
                    <a:pt x="1" y="263"/>
                    <a:pt x="1" y="264"/>
                    <a:pt x="1" y="265"/>
                  </a:cubicBezTo>
                  <a:cubicBezTo>
                    <a:pt x="1" y="266"/>
                    <a:pt x="0" y="266"/>
                    <a:pt x="0" y="267"/>
                  </a:cubicBezTo>
                  <a:cubicBezTo>
                    <a:pt x="0" y="269"/>
                    <a:pt x="0" y="270"/>
                    <a:pt x="0" y="272"/>
                  </a:cubicBezTo>
                  <a:cubicBezTo>
                    <a:pt x="0" y="272"/>
                    <a:pt x="0" y="273"/>
                    <a:pt x="0" y="273"/>
                  </a:cubicBezTo>
                  <a:cubicBezTo>
                    <a:pt x="0" y="274"/>
                    <a:pt x="0" y="275"/>
                    <a:pt x="0" y="276"/>
                  </a:cubicBezTo>
                  <a:cubicBezTo>
                    <a:pt x="0" y="276"/>
                    <a:pt x="0" y="277"/>
                    <a:pt x="1" y="277"/>
                  </a:cubicBezTo>
                  <a:cubicBezTo>
                    <a:pt x="2" y="278"/>
                    <a:pt x="3" y="280"/>
                    <a:pt x="3" y="281"/>
                  </a:cubicBezTo>
                  <a:cubicBezTo>
                    <a:pt x="3" y="281"/>
                    <a:pt x="3" y="281"/>
                    <a:pt x="3" y="282"/>
                  </a:cubicBezTo>
                  <a:cubicBezTo>
                    <a:pt x="3" y="282"/>
                    <a:pt x="3" y="282"/>
                    <a:pt x="4" y="282"/>
                  </a:cubicBezTo>
                  <a:cubicBezTo>
                    <a:pt x="5" y="282"/>
                    <a:pt x="6" y="282"/>
                    <a:pt x="7" y="282"/>
                  </a:cubicBezTo>
                  <a:cubicBezTo>
                    <a:pt x="8" y="282"/>
                    <a:pt x="9" y="282"/>
                    <a:pt x="9" y="281"/>
                  </a:cubicBezTo>
                  <a:cubicBezTo>
                    <a:pt x="12" y="281"/>
                    <a:pt x="15" y="281"/>
                    <a:pt x="17" y="279"/>
                  </a:cubicBezTo>
                  <a:cubicBezTo>
                    <a:pt x="18" y="278"/>
                    <a:pt x="19" y="278"/>
                    <a:pt x="21" y="277"/>
                  </a:cubicBezTo>
                  <a:cubicBezTo>
                    <a:pt x="22" y="276"/>
                    <a:pt x="24" y="275"/>
                    <a:pt x="25" y="275"/>
                  </a:cubicBezTo>
                  <a:cubicBezTo>
                    <a:pt x="26" y="274"/>
                    <a:pt x="27" y="274"/>
                    <a:pt x="28" y="274"/>
                  </a:cubicBezTo>
                  <a:cubicBezTo>
                    <a:pt x="29" y="274"/>
                    <a:pt x="30" y="275"/>
                    <a:pt x="31" y="275"/>
                  </a:cubicBezTo>
                  <a:cubicBezTo>
                    <a:pt x="32" y="276"/>
                    <a:pt x="32" y="276"/>
                    <a:pt x="32" y="276"/>
                  </a:cubicBezTo>
                  <a:cubicBezTo>
                    <a:pt x="33" y="276"/>
                    <a:pt x="33" y="276"/>
                    <a:pt x="34" y="276"/>
                  </a:cubicBezTo>
                  <a:cubicBezTo>
                    <a:pt x="34" y="277"/>
                    <a:pt x="35" y="277"/>
                    <a:pt x="35" y="277"/>
                  </a:cubicBezTo>
                  <a:cubicBezTo>
                    <a:pt x="36" y="277"/>
                    <a:pt x="37" y="276"/>
                    <a:pt x="38" y="275"/>
                  </a:cubicBezTo>
                  <a:cubicBezTo>
                    <a:pt x="39" y="275"/>
                    <a:pt x="39" y="275"/>
                    <a:pt x="40" y="274"/>
                  </a:cubicBezTo>
                  <a:cubicBezTo>
                    <a:pt x="40" y="274"/>
                    <a:pt x="41" y="274"/>
                    <a:pt x="41" y="274"/>
                  </a:cubicBezTo>
                  <a:cubicBezTo>
                    <a:pt x="41" y="274"/>
                    <a:pt x="41" y="274"/>
                    <a:pt x="41" y="274"/>
                  </a:cubicBezTo>
                  <a:cubicBezTo>
                    <a:pt x="42" y="274"/>
                    <a:pt x="42" y="274"/>
                    <a:pt x="42" y="274"/>
                  </a:cubicBezTo>
                  <a:cubicBezTo>
                    <a:pt x="42" y="274"/>
                    <a:pt x="43" y="274"/>
                    <a:pt x="44" y="274"/>
                  </a:cubicBezTo>
                  <a:cubicBezTo>
                    <a:pt x="44" y="274"/>
                    <a:pt x="44" y="275"/>
                    <a:pt x="44" y="275"/>
                  </a:cubicBezTo>
                  <a:cubicBezTo>
                    <a:pt x="44" y="275"/>
                    <a:pt x="44" y="275"/>
                    <a:pt x="44" y="275"/>
                  </a:cubicBezTo>
                  <a:cubicBezTo>
                    <a:pt x="44" y="275"/>
                    <a:pt x="44" y="275"/>
                    <a:pt x="44" y="275"/>
                  </a:cubicBezTo>
                  <a:cubicBezTo>
                    <a:pt x="45" y="275"/>
                    <a:pt x="45" y="275"/>
                    <a:pt x="45" y="274"/>
                  </a:cubicBezTo>
                  <a:cubicBezTo>
                    <a:pt x="46" y="274"/>
                    <a:pt x="46" y="274"/>
                    <a:pt x="47" y="273"/>
                  </a:cubicBezTo>
                  <a:cubicBezTo>
                    <a:pt x="47" y="273"/>
                    <a:pt x="48" y="273"/>
                    <a:pt x="49" y="273"/>
                  </a:cubicBezTo>
                  <a:cubicBezTo>
                    <a:pt x="49" y="273"/>
                    <a:pt x="49" y="273"/>
                    <a:pt x="49" y="273"/>
                  </a:cubicBezTo>
                  <a:cubicBezTo>
                    <a:pt x="50" y="273"/>
                    <a:pt x="51" y="273"/>
                    <a:pt x="53" y="273"/>
                  </a:cubicBezTo>
                  <a:cubicBezTo>
                    <a:pt x="53" y="273"/>
                    <a:pt x="53" y="273"/>
                    <a:pt x="53" y="273"/>
                  </a:cubicBezTo>
                  <a:cubicBezTo>
                    <a:pt x="53" y="273"/>
                    <a:pt x="54" y="273"/>
                    <a:pt x="54" y="273"/>
                  </a:cubicBezTo>
                  <a:cubicBezTo>
                    <a:pt x="55" y="273"/>
                    <a:pt x="56" y="274"/>
                    <a:pt x="56" y="274"/>
                  </a:cubicBezTo>
                  <a:cubicBezTo>
                    <a:pt x="56" y="274"/>
                    <a:pt x="56" y="274"/>
                    <a:pt x="56" y="274"/>
                  </a:cubicBezTo>
                  <a:cubicBezTo>
                    <a:pt x="56" y="274"/>
                    <a:pt x="56" y="274"/>
                    <a:pt x="56" y="274"/>
                  </a:cubicBezTo>
                  <a:cubicBezTo>
                    <a:pt x="56" y="274"/>
                    <a:pt x="56" y="274"/>
                    <a:pt x="56" y="273"/>
                  </a:cubicBezTo>
                  <a:cubicBezTo>
                    <a:pt x="57" y="273"/>
                    <a:pt x="57" y="272"/>
                    <a:pt x="57" y="271"/>
                  </a:cubicBezTo>
                  <a:cubicBezTo>
                    <a:pt x="57" y="271"/>
                    <a:pt x="57" y="270"/>
                    <a:pt x="57" y="269"/>
                  </a:cubicBezTo>
                  <a:cubicBezTo>
                    <a:pt x="56" y="269"/>
                    <a:pt x="56" y="270"/>
                    <a:pt x="56" y="270"/>
                  </a:cubicBezTo>
                  <a:cubicBezTo>
                    <a:pt x="56" y="270"/>
                    <a:pt x="56" y="270"/>
                    <a:pt x="56" y="270"/>
                  </a:cubicBezTo>
                  <a:cubicBezTo>
                    <a:pt x="55" y="270"/>
                    <a:pt x="55" y="269"/>
                    <a:pt x="55" y="269"/>
                  </a:cubicBezTo>
                  <a:cubicBezTo>
                    <a:pt x="54" y="269"/>
                    <a:pt x="54" y="268"/>
                    <a:pt x="54" y="268"/>
                  </a:cubicBezTo>
                  <a:cubicBezTo>
                    <a:pt x="54" y="267"/>
                    <a:pt x="54" y="267"/>
                    <a:pt x="55" y="267"/>
                  </a:cubicBezTo>
                  <a:cubicBezTo>
                    <a:pt x="55" y="266"/>
                    <a:pt x="55" y="266"/>
                    <a:pt x="55" y="266"/>
                  </a:cubicBezTo>
                  <a:cubicBezTo>
                    <a:pt x="55" y="266"/>
                    <a:pt x="55" y="266"/>
                    <a:pt x="55" y="266"/>
                  </a:cubicBezTo>
                  <a:cubicBezTo>
                    <a:pt x="54" y="266"/>
                    <a:pt x="54" y="266"/>
                    <a:pt x="54" y="266"/>
                  </a:cubicBezTo>
                  <a:cubicBezTo>
                    <a:pt x="54" y="266"/>
                    <a:pt x="54" y="266"/>
                    <a:pt x="54" y="266"/>
                  </a:cubicBezTo>
                  <a:cubicBezTo>
                    <a:pt x="53" y="266"/>
                    <a:pt x="53" y="266"/>
                    <a:pt x="53" y="266"/>
                  </a:cubicBezTo>
                  <a:cubicBezTo>
                    <a:pt x="53" y="266"/>
                    <a:pt x="53" y="266"/>
                    <a:pt x="53" y="266"/>
                  </a:cubicBezTo>
                  <a:cubicBezTo>
                    <a:pt x="53" y="266"/>
                    <a:pt x="53" y="266"/>
                    <a:pt x="53" y="266"/>
                  </a:cubicBezTo>
                  <a:cubicBezTo>
                    <a:pt x="53" y="267"/>
                    <a:pt x="53" y="267"/>
                    <a:pt x="53" y="267"/>
                  </a:cubicBezTo>
                  <a:cubicBezTo>
                    <a:pt x="53" y="267"/>
                    <a:pt x="53" y="268"/>
                    <a:pt x="53" y="269"/>
                  </a:cubicBezTo>
                  <a:cubicBezTo>
                    <a:pt x="52" y="269"/>
                    <a:pt x="52" y="269"/>
                    <a:pt x="51" y="270"/>
                  </a:cubicBezTo>
                  <a:cubicBezTo>
                    <a:pt x="51" y="270"/>
                    <a:pt x="51" y="270"/>
                    <a:pt x="51" y="270"/>
                  </a:cubicBezTo>
                  <a:cubicBezTo>
                    <a:pt x="51" y="270"/>
                    <a:pt x="51" y="270"/>
                    <a:pt x="51" y="270"/>
                  </a:cubicBezTo>
                  <a:cubicBezTo>
                    <a:pt x="51" y="270"/>
                    <a:pt x="51" y="270"/>
                    <a:pt x="51" y="270"/>
                  </a:cubicBezTo>
                  <a:cubicBezTo>
                    <a:pt x="50" y="270"/>
                    <a:pt x="49" y="269"/>
                    <a:pt x="49" y="269"/>
                  </a:cubicBezTo>
                  <a:cubicBezTo>
                    <a:pt x="49" y="268"/>
                    <a:pt x="49" y="268"/>
                    <a:pt x="49" y="267"/>
                  </a:cubicBezTo>
                  <a:cubicBezTo>
                    <a:pt x="49" y="267"/>
                    <a:pt x="49" y="267"/>
                    <a:pt x="49" y="266"/>
                  </a:cubicBezTo>
                  <a:cubicBezTo>
                    <a:pt x="49" y="266"/>
                    <a:pt x="49" y="265"/>
                    <a:pt x="49" y="265"/>
                  </a:cubicBezTo>
                  <a:cubicBezTo>
                    <a:pt x="49" y="265"/>
                    <a:pt x="49" y="265"/>
                    <a:pt x="49" y="265"/>
                  </a:cubicBezTo>
                  <a:cubicBezTo>
                    <a:pt x="49" y="265"/>
                    <a:pt x="48" y="264"/>
                    <a:pt x="48" y="264"/>
                  </a:cubicBezTo>
                  <a:cubicBezTo>
                    <a:pt x="47" y="264"/>
                    <a:pt x="47" y="264"/>
                    <a:pt x="46" y="263"/>
                  </a:cubicBezTo>
                  <a:cubicBezTo>
                    <a:pt x="46" y="263"/>
                    <a:pt x="46" y="263"/>
                    <a:pt x="46" y="263"/>
                  </a:cubicBezTo>
                  <a:cubicBezTo>
                    <a:pt x="46" y="263"/>
                    <a:pt x="46" y="263"/>
                    <a:pt x="46" y="263"/>
                  </a:cubicBezTo>
                  <a:cubicBezTo>
                    <a:pt x="46" y="263"/>
                    <a:pt x="46" y="263"/>
                    <a:pt x="45" y="263"/>
                  </a:cubicBezTo>
                  <a:cubicBezTo>
                    <a:pt x="45" y="263"/>
                    <a:pt x="45" y="263"/>
                    <a:pt x="45" y="263"/>
                  </a:cubicBezTo>
                  <a:cubicBezTo>
                    <a:pt x="45" y="264"/>
                    <a:pt x="45" y="264"/>
                    <a:pt x="46" y="265"/>
                  </a:cubicBezTo>
                  <a:cubicBezTo>
                    <a:pt x="45" y="265"/>
                    <a:pt x="45" y="265"/>
                    <a:pt x="45" y="265"/>
                  </a:cubicBezTo>
                  <a:cubicBezTo>
                    <a:pt x="45" y="266"/>
                    <a:pt x="45" y="266"/>
                    <a:pt x="45" y="267"/>
                  </a:cubicBezTo>
                  <a:cubicBezTo>
                    <a:pt x="44" y="268"/>
                    <a:pt x="43" y="268"/>
                    <a:pt x="42" y="268"/>
                  </a:cubicBezTo>
                  <a:cubicBezTo>
                    <a:pt x="42" y="268"/>
                    <a:pt x="42" y="268"/>
                    <a:pt x="42" y="268"/>
                  </a:cubicBezTo>
                  <a:cubicBezTo>
                    <a:pt x="41" y="268"/>
                    <a:pt x="41" y="268"/>
                    <a:pt x="40" y="267"/>
                  </a:cubicBezTo>
                  <a:cubicBezTo>
                    <a:pt x="39" y="267"/>
                    <a:pt x="38" y="266"/>
                    <a:pt x="38" y="265"/>
                  </a:cubicBezTo>
                  <a:cubicBezTo>
                    <a:pt x="38" y="265"/>
                    <a:pt x="38" y="265"/>
                    <a:pt x="38" y="265"/>
                  </a:cubicBezTo>
                  <a:cubicBezTo>
                    <a:pt x="38" y="265"/>
                    <a:pt x="38" y="265"/>
                    <a:pt x="38" y="265"/>
                  </a:cubicBezTo>
                  <a:cubicBezTo>
                    <a:pt x="37" y="265"/>
                    <a:pt x="37" y="265"/>
                    <a:pt x="36" y="264"/>
                  </a:cubicBezTo>
                  <a:cubicBezTo>
                    <a:pt x="36" y="264"/>
                    <a:pt x="35" y="264"/>
                    <a:pt x="35" y="264"/>
                  </a:cubicBezTo>
                  <a:cubicBezTo>
                    <a:pt x="35" y="264"/>
                    <a:pt x="35" y="264"/>
                    <a:pt x="35" y="264"/>
                  </a:cubicBezTo>
                  <a:cubicBezTo>
                    <a:pt x="35" y="264"/>
                    <a:pt x="35" y="264"/>
                    <a:pt x="35" y="264"/>
                  </a:cubicBezTo>
                  <a:cubicBezTo>
                    <a:pt x="34" y="264"/>
                    <a:pt x="33" y="264"/>
                    <a:pt x="33" y="264"/>
                  </a:cubicBezTo>
                  <a:cubicBezTo>
                    <a:pt x="32" y="264"/>
                    <a:pt x="31" y="264"/>
                    <a:pt x="30" y="263"/>
                  </a:cubicBezTo>
                  <a:cubicBezTo>
                    <a:pt x="30" y="263"/>
                    <a:pt x="30" y="263"/>
                    <a:pt x="30" y="263"/>
                  </a:cubicBezTo>
                  <a:cubicBezTo>
                    <a:pt x="30" y="263"/>
                    <a:pt x="30" y="263"/>
                    <a:pt x="30" y="263"/>
                  </a:cubicBezTo>
                  <a:cubicBezTo>
                    <a:pt x="29" y="263"/>
                    <a:pt x="29" y="263"/>
                    <a:pt x="28" y="263"/>
                  </a:cubicBezTo>
                  <a:cubicBezTo>
                    <a:pt x="28" y="263"/>
                    <a:pt x="28" y="263"/>
                    <a:pt x="28" y="263"/>
                  </a:cubicBezTo>
                  <a:cubicBezTo>
                    <a:pt x="28" y="263"/>
                    <a:pt x="28" y="263"/>
                    <a:pt x="28" y="263"/>
                  </a:cubicBezTo>
                  <a:cubicBezTo>
                    <a:pt x="24" y="263"/>
                    <a:pt x="21" y="261"/>
                    <a:pt x="17" y="261"/>
                  </a:cubicBezTo>
                  <a:cubicBezTo>
                    <a:pt x="16" y="261"/>
                    <a:pt x="15" y="261"/>
                    <a:pt x="14" y="261"/>
                  </a:cubicBezTo>
                  <a:moveTo>
                    <a:pt x="205" y="242"/>
                  </a:moveTo>
                  <a:cubicBezTo>
                    <a:pt x="205" y="242"/>
                    <a:pt x="205" y="242"/>
                    <a:pt x="204" y="242"/>
                  </a:cubicBezTo>
                  <a:cubicBezTo>
                    <a:pt x="203" y="242"/>
                    <a:pt x="203" y="242"/>
                    <a:pt x="203" y="242"/>
                  </a:cubicBezTo>
                  <a:cubicBezTo>
                    <a:pt x="202" y="242"/>
                    <a:pt x="202" y="242"/>
                    <a:pt x="201" y="242"/>
                  </a:cubicBezTo>
                  <a:cubicBezTo>
                    <a:pt x="200" y="242"/>
                    <a:pt x="200" y="242"/>
                    <a:pt x="199" y="242"/>
                  </a:cubicBezTo>
                  <a:cubicBezTo>
                    <a:pt x="198" y="242"/>
                    <a:pt x="196" y="244"/>
                    <a:pt x="195" y="245"/>
                  </a:cubicBezTo>
                  <a:cubicBezTo>
                    <a:pt x="194" y="246"/>
                    <a:pt x="193" y="247"/>
                    <a:pt x="191" y="248"/>
                  </a:cubicBezTo>
                  <a:cubicBezTo>
                    <a:pt x="191" y="248"/>
                    <a:pt x="190" y="248"/>
                    <a:pt x="190" y="248"/>
                  </a:cubicBezTo>
                  <a:cubicBezTo>
                    <a:pt x="189" y="248"/>
                    <a:pt x="189" y="248"/>
                    <a:pt x="188" y="248"/>
                  </a:cubicBezTo>
                  <a:cubicBezTo>
                    <a:pt x="188" y="248"/>
                    <a:pt x="188" y="248"/>
                    <a:pt x="188" y="248"/>
                  </a:cubicBezTo>
                  <a:cubicBezTo>
                    <a:pt x="188" y="248"/>
                    <a:pt x="188" y="248"/>
                    <a:pt x="188" y="248"/>
                  </a:cubicBezTo>
                  <a:cubicBezTo>
                    <a:pt x="187" y="248"/>
                    <a:pt x="187" y="248"/>
                    <a:pt x="187" y="248"/>
                  </a:cubicBezTo>
                  <a:cubicBezTo>
                    <a:pt x="187" y="249"/>
                    <a:pt x="187" y="249"/>
                    <a:pt x="187" y="249"/>
                  </a:cubicBezTo>
                  <a:cubicBezTo>
                    <a:pt x="187" y="250"/>
                    <a:pt x="187" y="251"/>
                    <a:pt x="187" y="251"/>
                  </a:cubicBezTo>
                  <a:cubicBezTo>
                    <a:pt x="186" y="253"/>
                    <a:pt x="186" y="254"/>
                    <a:pt x="186" y="255"/>
                  </a:cubicBezTo>
                  <a:cubicBezTo>
                    <a:pt x="185" y="256"/>
                    <a:pt x="185" y="257"/>
                    <a:pt x="185" y="258"/>
                  </a:cubicBezTo>
                  <a:cubicBezTo>
                    <a:pt x="185" y="258"/>
                    <a:pt x="185" y="259"/>
                    <a:pt x="186" y="260"/>
                  </a:cubicBezTo>
                  <a:cubicBezTo>
                    <a:pt x="186" y="260"/>
                    <a:pt x="187" y="260"/>
                    <a:pt x="187" y="260"/>
                  </a:cubicBezTo>
                  <a:cubicBezTo>
                    <a:pt x="188" y="261"/>
                    <a:pt x="188" y="261"/>
                    <a:pt x="189" y="262"/>
                  </a:cubicBezTo>
                  <a:cubicBezTo>
                    <a:pt x="189" y="262"/>
                    <a:pt x="189" y="262"/>
                    <a:pt x="189" y="262"/>
                  </a:cubicBezTo>
                  <a:cubicBezTo>
                    <a:pt x="189" y="262"/>
                    <a:pt x="190" y="263"/>
                    <a:pt x="190" y="263"/>
                  </a:cubicBezTo>
                  <a:cubicBezTo>
                    <a:pt x="190" y="263"/>
                    <a:pt x="190" y="263"/>
                    <a:pt x="190" y="263"/>
                  </a:cubicBezTo>
                  <a:cubicBezTo>
                    <a:pt x="191" y="263"/>
                    <a:pt x="193" y="263"/>
                    <a:pt x="195" y="263"/>
                  </a:cubicBezTo>
                  <a:cubicBezTo>
                    <a:pt x="195" y="263"/>
                    <a:pt x="195" y="263"/>
                    <a:pt x="195" y="263"/>
                  </a:cubicBezTo>
                  <a:cubicBezTo>
                    <a:pt x="196" y="263"/>
                    <a:pt x="198" y="263"/>
                    <a:pt x="199" y="263"/>
                  </a:cubicBezTo>
                  <a:cubicBezTo>
                    <a:pt x="200" y="263"/>
                    <a:pt x="201" y="262"/>
                    <a:pt x="203" y="262"/>
                  </a:cubicBezTo>
                  <a:cubicBezTo>
                    <a:pt x="204" y="262"/>
                    <a:pt x="204" y="262"/>
                    <a:pt x="205" y="262"/>
                  </a:cubicBezTo>
                  <a:cubicBezTo>
                    <a:pt x="206" y="262"/>
                    <a:pt x="207" y="262"/>
                    <a:pt x="207" y="262"/>
                  </a:cubicBezTo>
                  <a:cubicBezTo>
                    <a:pt x="207" y="262"/>
                    <a:pt x="207" y="262"/>
                    <a:pt x="207" y="262"/>
                  </a:cubicBezTo>
                  <a:cubicBezTo>
                    <a:pt x="209" y="262"/>
                    <a:pt x="211" y="261"/>
                    <a:pt x="214" y="261"/>
                  </a:cubicBezTo>
                  <a:cubicBezTo>
                    <a:pt x="215" y="261"/>
                    <a:pt x="217" y="261"/>
                    <a:pt x="218" y="262"/>
                  </a:cubicBezTo>
                  <a:cubicBezTo>
                    <a:pt x="219" y="263"/>
                    <a:pt x="220" y="263"/>
                    <a:pt x="221" y="264"/>
                  </a:cubicBezTo>
                  <a:cubicBezTo>
                    <a:pt x="222" y="264"/>
                    <a:pt x="223" y="264"/>
                    <a:pt x="224" y="264"/>
                  </a:cubicBezTo>
                  <a:cubicBezTo>
                    <a:pt x="224" y="264"/>
                    <a:pt x="224" y="264"/>
                    <a:pt x="224" y="264"/>
                  </a:cubicBezTo>
                  <a:cubicBezTo>
                    <a:pt x="224" y="264"/>
                    <a:pt x="224" y="264"/>
                    <a:pt x="224" y="264"/>
                  </a:cubicBezTo>
                  <a:cubicBezTo>
                    <a:pt x="226" y="264"/>
                    <a:pt x="228" y="264"/>
                    <a:pt x="229" y="262"/>
                  </a:cubicBezTo>
                  <a:cubicBezTo>
                    <a:pt x="230" y="262"/>
                    <a:pt x="230" y="261"/>
                    <a:pt x="230" y="260"/>
                  </a:cubicBezTo>
                  <a:cubicBezTo>
                    <a:pt x="230" y="259"/>
                    <a:pt x="230" y="259"/>
                    <a:pt x="230" y="258"/>
                  </a:cubicBezTo>
                  <a:cubicBezTo>
                    <a:pt x="230" y="258"/>
                    <a:pt x="229" y="257"/>
                    <a:pt x="229" y="257"/>
                  </a:cubicBezTo>
                  <a:cubicBezTo>
                    <a:pt x="228" y="257"/>
                    <a:pt x="228" y="257"/>
                    <a:pt x="228" y="257"/>
                  </a:cubicBezTo>
                  <a:cubicBezTo>
                    <a:pt x="228" y="257"/>
                    <a:pt x="228" y="257"/>
                    <a:pt x="228" y="257"/>
                  </a:cubicBezTo>
                  <a:cubicBezTo>
                    <a:pt x="228" y="257"/>
                    <a:pt x="228" y="257"/>
                    <a:pt x="227" y="257"/>
                  </a:cubicBezTo>
                  <a:cubicBezTo>
                    <a:pt x="226" y="257"/>
                    <a:pt x="226" y="257"/>
                    <a:pt x="226" y="257"/>
                  </a:cubicBezTo>
                  <a:cubicBezTo>
                    <a:pt x="226" y="257"/>
                    <a:pt x="226" y="257"/>
                    <a:pt x="226" y="257"/>
                  </a:cubicBezTo>
                  <a:cubicBezTo>
                    <a:pt x="225" y="256"/>
                    <a:pt x="225" y="256"/>
                    <a:pt x="224" y="256"/>
                  </a:cubicBezTo>
                  <a:cubicBezTo>
                    <a:pt x="224" y="255"/>
                    <a:pt x="224" y="255"/>
                    <a:pt x="223" y="254"/>
                  </a:cubicBezTo>
                  <a:cubicBezTo>
                    <a:pt x="222" y="254"/>
                    <a:pt x="222" y="253"/>
                    <a:pt x="221" y="252"/>
                  </a:cubicBezTo>
                  <a:cubicBezTo>
                    <a:pt x="219" y="251"/>
                    <a:pt x="217" y="249"/>
                    <a:pt x="215" y="248"/>
                  </a:cubicBezTo>
                  <a:cubicBezTo>
                    <a:pt x="215" y="248"/>
                    <a:pt x="215" y="248"/>
                    <a:pt x="214" y="248"/>
                  </a:cubicBezTo>
                  <a:cubicBezTo>
                    <a:pt x="214" y="247"/>
                    <a:pt x="214" y="247"/>
                    <a:pt x="214" y="247"/>
                  </a:cubicBezTo>
                  <a:cubicBezTo>
                    <a:pt x="213" y="247"/>
                    <a:pt x="212" y="247"/>
                    <a:pt x="211" y="247"/>
                  </a:cubicBezTo>
                  <a:cubicBezTo>
                    <a:pt x="210" y="246"/>
                    <a:pt x="209" y="245"/>
                    <a:pt x="208" y="244"/>
                  </a:cubicBezTo>
                  <a:cubicBezTo>
                    <a:pt x="207" y="243"/>
                    <a:pt x="207" y="243"/>
                    <a:pt x="206" y="242"/>
                  </a:cubicBezTo>
                  <a:cubicBezTo>
                    <a:pt x="205" y="242"/>
                    <a:pt x="205" y="242"/>
                    <a:pt x="205" y="242"/>
                  </a:cubicBezTo>
                  <a:cubicBezTo>
                    <a:pt x="205" y="242"/>
                    <a:pt x="205" y="242"/>
                    <a:pt x="205" y="242"/>
                  </a:cubicBezTo>
                  <a:moveTo>
                    <a:pt x="174" y="197"/>
                  </a:moveTo>
                  <a:cubicBezTo>
                    <a:pt x="174" y="197"/>
                    <a:pt x="174" y="197"/>
                    <a:pt x="174" y="197"/>
                  </a:cubicBezTo>
                  <a:cubicBezTo>
                    <a:pt x="174" y="198"/>
                    <a:pt x="174" y="198"/>
                    <a:pt x="174" y="199"/>
                  </a:cubicBezTo>
                  <a:cubicBezTo>
                    <a:pt x="174" y="199"/>
                    <a:pt x="174" y="199"/>
                    <a:pt x="174" y="199"/>
                  </a:cubicBezTo>
                  <a:cubicBezTo>
                    <a:pt x="174" y="200"/>
                    <a:pt x="173" y="201"/>
                    <a:pt x="173" y="201"/>
                  </a:cubicBezTo>
                  <a:cubicBezTo>
                    <a:pt x="173" y="202"/>
                    <a:pt x="172" y="202"/>
                    <a:pt x="172" y="203"/>
                  </a:cubicBezTo>
                  <a:cubicBezTo>
                    <a:pt x="172" y="203"/>
                    <a:pt x="172" y="203"/>
                    <a:pt x="172" y="204"/>
                  </a:cubicBezTo>
                  <a:cubicBezTo>
                    <a:pt x="172" y="204"/>
                    <a:pt x="172" y="204"/>
                    <a:pt x="172" y="204"/>
                  </a:cubicBezTo>
                  <a:cubicBezTo>
                    <a:pt x="172" y="204"/>
                    <a:pt x="172" y="204"/>
                    <a:pt x="172" y="204"/>
                  </a:cubicBezTo>
                  <a:cubicBezTo>
                    <a:pt x="172" y="205"/>
                    <a:pt x="172" y="205"/>
                    <a:pt x="172" y="205"/>
                  </a:cubicBezTo>
                  <a:cubicBezTo>
                    <a:pt x="173" y="205"/>
                    <a:pt x="173" y="205"/>
                    <a:pt x="173" y="205"/>
                  </a:cubicBezTo>
                  <a:cubicBezTo>
                    <a:pt x="173" y="205"/>
                    <a:pt x="174" y="205"/>
                    <a:pt x="174" y="205"/>
                  </a:cubicBezTo>
                  <a:cubicBezTo>
                    <a:pt x="174" y="205"/>
                    <a:pt x="174" y="205"/>
                    <a:pt x="174" y="205"/>
                  </a:cubicBezTo>
                  <a:cubicBezTo>
                    <a:pt x="174" y="205"/>
                    <a:pt x="174" y="205"/>
                    <a:pt x="174" y="205"/>
                  </a:cubicBezTo>
                  <a:cubicBezTo>
                    <a:pt x="174" y="205"/>
                    <a:pt x="174" y="205"/>
                    <a:pt x="174" y="205"/>
                  </a:cubicBezTo>
                  <a:cubicBezTo>
                    <a:pt x="175" y="205"/>
                    <a:pt x="175" y="205"/>
                    <a:pt x="175" y="205"/>
                  </a:cubicBezTo>
                  <a:cubicBezTo>
                    <a:pt x="176" y="205"/>
                    <a:pt x="176" y="205"/>
                    <a:pt x="176" y="205"/>
                  </a:cubicBezTo>
                  <a:cubicBezTo>
                    <a:pt x="176" y="205"/>
                    <a:pt x="176" y="205"/>
                    <a:pt x="176" y="205"/>
                  </a:cubicBezTo>
                  <a:cubicBezTo>
                    <a:pt x="176" y="205"/>
                    <a:pt x="177" y="206"/>
                    <a:pt x="177" y="206"/>
                  </a:cubicBezTo>
                  <a:cubicBezTo>
                    <a:pt x="177" y="206"/>
                    <a:pt x="177" y="206"/>
                    <a:pt x="178" y="206"/>
                  </a:cubicBezTo>
                  <a:cubicBezTo>
                    <a:pt x="177" y="205"/>
                    <a:pt x="177" y="204"/>
                    <a:pt x="177" y="203"/>
                  </a:cubicBezTo>
                  <a:cubicBezTo>
                    <a:pt x="177" y="202"/>
                    <a:pt x="177" y="202"/>
                    <a:pt x="177" y="202"/>
                  </a:cubicBezTo>
                  <a:cubicBezTo>
                    <a:pt x="177" y="202"/>
                    <a:pt x="177" y="202"/>
                    <a:pt x="177" y="202"/>
                  </a:cubicBezTo>
                  <a:cubicBezTo>
                    <a:pt x="177" y="202"/>
                    <a:pt x="177" y="202"/>
                    <a:pt x="177" y="202"/>
                  </a:cubicBezTo>
                  <a:cubicBezTo>
                    <a:pt x="177" y="201"/>
                    <a:pt x="177" y="201"/>
                    <a:pt x="177" y="201"/>
                  </a:cubicBezTo>
                  <a:cubicBezTo>
                    <a:pt x="177" y="201"/>
                    <a:pt x="177" y="201"/>
                    <a:pt x="177" y="201"/>
                  </a:cubicBezTo>
                  <a:cubicBezTo>
                    <a:pt x="176" y="201"/>
                    <a:pt x="176" y="201"/>
                    <a:pt x="175" y="201"/>
                  </a:cubicBezTo>
                  <a:cubicBezTo>
                    <a:pt x="175" y="200"/>
                    <a:pt x="175" y="199"/>
                    <a:pt x="175" y="198"/>
                  </a:cubicBezTo>
                  <a:cubicBezTo>
                    <a:pt x="175" y="198"/>
                    <a:pt x="175" y="198"/>
                    <a:pt x="175" y="198"/>
                  </a:cubicBezTo>
                  <a:cubicBezTo>
                    <a:pt x="175" y="198"/>
                    <a:pt x="175" y="198"/>
                    <a:pt x="175" y="198"/>
                  </a:cubicBezTo>
                  <a:cubicBezTo>
                    <a:pt x="174" y="198"/>
                    <a:pt x="174" y="197"/>
                    <a:pt x="174" y="197"/>
                  </a:cubicBezTo>
                  <a:moveTo>
                    <a:pt x="192" y="179"/>
                  </a:moveTo>
                  <a:cubicBezTo>
                    <a:pt x="192" y="180"/>
                    <a:pt x="192" y="180"/>
                    <a:pt x="192" y="180"/>
                  </a:cubicBezTo>
                  <a:cubicBezTo>
                    <a:pt x="192" y="180"/>
                    <a:pt x="192" y="181"/>
                    <a:pt x="192" y="182"/>
                  </a:cubicBezTo>
                  <a:cubicBezTo>
                    <a:pt x="191" y="182"/>
                    <a:pt x="191" y="183"/>
                    <a:pt x="190" y="184"/>
                  </a:cubicBezTo>
                  <a:cubicBezTo>
                    <a:pt x="190" y="185"/>
                    <a:pt x="189" y="186"/>
                    <a:pt x="188" y="186"/>
                  </a:cubicBezTo>
                  <a:cubicBezTo>
                    <a:pt x="187" y="186"/>
                    <a:pt x="187" y="186"/>
                    <a:pt x="187" y="186"/>
                  </a:cubicBezTo>
                  <a:cubicBezTo>
                    <a:pt x="187" y="186"/>
                    <a:pt x="187" y="186"/>
                    <a:pt x="187" y="186"/>
                  </a:cubicBezTo>
                  <a:cubicBezTo>
                    <a:pt x="186" y="185"/>
                    <a:pt x="186" y="185"/>
                    <a:pt x="185" y="184"/>
                  </a:cubicBezTo>
                  <a:cubicBezTo>
                    <a:pt x="184" y="184"/>
                    <a:pt x="184" y="183"/>
                    <a:pt x="183" y="183"/>
                  </a:cubicBezTo>
                  <a:cubicBezTo>
                    <a:pt x="183" y="182"/>
                    <a:pt x="183" y="182"/>
                    <a:pt x="182" y="181"/>
                  </a:cubicBezTo>
                  <a:cubicBezTo>
                    <a:pt x="182" y="181"/>
                    <a:pt x="182" y="181"/>
                    <a:pt x="181" y="180"/>
                  </a:cubicBezTo>
                  <a:cubicBezTo>
                    <a:pt x="181" y="181"/>
                    <a:pt x="181" y="181"/>
                    <a:pt x="182" y="181"/>
                  </a:cubicBezTo>
                  <a:cubicBezTo>
                    <a:pt x="182" y="182"/>
                    <a:pt x="182" y="182"/>
                    <a:pt x="182" y="183"/>
                  </a:cubicBezTo>
                  <a:cubicBezTo>
                    <a:pt x="182" y="183"/>
                    <a:pt x="182" y="183"/>
                    <a:pt x="182" y="183"/>
                  </a:cubicBezTo>
                  <a:cubicBezTo>
                    <a:pt x="182" y="183"/>
                    <a:pt x="182" y="183"/>
                    <a:pt x="182" y="183"/>
                  </a:cubicBezTo>
                  <a:cubicBezTo>
                    <a:pt x="182" y="184"/>
                    <a:pt x="181" y="185"/>
                    <a:pt x="180" y="185"/>
                  </a:cubicBezTo>
                  <a:cubicBezTo>
                    <a:pt x="180" y="186"/>
                    <a:pt x="179" y="187"/>
                    <a:pt x="179" y="187"/>
                  </a:cubicBezTo>
                  <a:cubicBezTo>
                    <a:pt x="179" y="188"/>
                    <a:pt x="179" y="188"/>
                    <a:pt x="179" y="188"/>
                  </a:cubicBezTo>
                  <a:cubicBezTo>
                    <a:pt x="179" y="189"/>
                    <a:pt x="179" y="189"/>
                    <a:pt x="180" y="190"/>
                  </a:cubicBezTo>
                  <a:cubicBezTo>
                    <a:pt x="181" y="191"/>
                    <a:pt x="182" y="192"/>
                    <a:pt x="183" y="193"/>
                  </a:cubicBezTo>
                  <a:cubicBezTo>
                    <a:pt x="183" y="193"/>
                    <a:pt x="183" y="193"/>
                    <a:pt x="183" y="193"/>
                  </a:cubicBezTo>
                  <a:cubicBezTo>
                    <a:pt x="184" y="194"/>
                    <a:pt x="184" y="195"/>
                    <a:pt x="184" y="195"/>
                  </a:cubicBezTo>
                  <a:cubicBezTo>
                    <a:pt x="185" y="195"/>
                    <a:pt x="185" y="195"/>
                    <a:pt x="186" y="196"/>
                  </a:cubicBezTo>
                  <a:cubicBezTo>
                    <a:pt x="186" y="196"/>
                    <a:pt x="186" y="196"/>
                    <a:pt x="186" y="196"/>
                  </a:cubicBezTo>
                  <a:cubicBezTo>
                    <a:pt x="186" y="196"/>
                    <a:pt x="187" y="196"/>
                    <a:pt x="188" y="196"/>
                  </a:cubicBezTo>
                  <a:cubicBezTo>
                    <a:pt x="188" y="196"/>
                    <a:pt x="189" y="196"/>
                    <a:pt x="190" y="197"/>
                  </a:cubicBezTo>
                  <a:cubicBezTo>
                    <a:pt x="190" y="198"/>
                    <a:pt x="190" y="198"/>
                    <a:pt x="190" y="199"/>
                  </a:cubicBezTo>
                  <a:cubicBezTo>
                    <a:pt x="190" y="199"/>
                    <a:pt x="190" y="199"/>
                    <a:pt x="190" y="199"/>
                  </a:cubicBezTo>
                  <a:cubicBezTo>
                    <a:pt x="190" y="202"/>
                    <a:pt x="188" y="203"/>
                    <a:pt x="188" y="204"/>
                  </a:cubicBezTo>
                  <a:cubicBezTo>
                    <a:pt x="188" y="205"/>
                    <a:pt x="188" y="205"/>
                    <a:pt x="188" y="205"/>
                  </a:cubicBezTo>
                  <a:cubicBezTo>
                    <a:pt x="188" y="206"/>
                    <a:pt x="189" y="207"/>
                    <a:pt x="189" y="208"/>
                  </a:cubicBezTo>
                  <a:cubicBezTo>
                    <a:pt x="189" y="208"/>
                    <a:pt x="190" y="208"/>
                    <a:pt x="190" y="208"/>
                  </a:cubicBezTo>
                  <a:cubicBezTo>
                    <a:pt x="191" y="207"/>
                    <a:pt x="192" y="207"/>
                    <a:pt x="193" y="207"/>
                  </a:cubicBezTo>
                  <a:cubicBezTo>
                    <a:pt x="193" y="207"/>
                    <a:pt x="194" y="206"/>
                    <a:pt x="195" y="205"/>
                  </a:cubicBezTo>
                  <a:cubicBezTo>
                    <a:pt x="196" y="205"/>
                    <a:pt x="197" y="204"/>
                    <a:pt x="198" y="204"/>
                  </a:cubicBezTo>
                  <a:cubicBezTo>
                    <a:pt x="199" y="204"/>
                    <a:pt x="199" y="204"/>
                    <a:pt x="199" y="204"/>
                  </a:cubicBezTo>
                  <a:cubicBezTo>
                    <a:pt x="199" y="204"/>
                    <a:pt x="201" y="205"/>
                    <a:pt x="201" y="206"/>
                  </a:cubicBezTo>
                  <a:cubicBezTo>
                    <a:pt x="201" y="206"/>
                    <a:pt x="201" y="207"/>
                    <a:pt x="201" y="207"/>
                  </a:cubicBezTo>
                  <a:cubicBezTo>
                    <a:pt x="201" y="207"/>
                    <a:pt x="201" y="208"/>
                    <a:pt x="201" y="208"/>
                  </a:cubicBezTo>
                  <a:cubicBezTo>
                    <a:pt x="201" y="209"/>
                    <a:pt x="201" y="209"/>
                    <a:pt x="201" y="209"/>
                  </a:cubicBezTo>
                  <a:cubicBezTo>
                    <a:pt x="202" y="209"/>
                    <a:pt x="202" y="209"/>
                    <a:pt x="202" y="209"/>
                  </a:cubicBezTo>
                  <a:cubicBezTo>
                    <a:pt x="202" y="209"/>
                    <a:pt x="202" y="209"/>
                    <a:pt x="203" y="210"/>
                  </a:cubicBezTo>
                  <a:cubicBezTo>
                    <a:pt x="203" y="210"/>
                    <a:pt x="204" y="210"/>
                    <a:pt x="205" y="210"/>
                  </a:cubicBezTo>
                  <a:cubicBezTo>
                    <a:pt x="206" y="211"/>
                    <a:pt x="206" y="211"/>
                    <a:pt x="207" y="211"/>
                  </a:cubicBezTo>
                  <a:cubicBezTo>
                    <a:pt x="207" y="212"/>
                    <a:pt x="207" y="212"/>
                    <a:pt x="207" y="212"/>
                  </a:cubicBezTo>
                  <a:cubicBezTo>
                    <a:pt x="207" y="211"/>
                    <a:pt x="207" y="211"/>
                    <a:pt x="207" y="211"/>
                  </a:cubicBezTo>
                  <a:cubicBezTo>
                    <a:pt x="208" y="211"/>
                    <a:pt x="208" y="211"/>
                    <a:pt x="208" y="210"/>
                  </a:cubicBezTo>
                  <a:cubicBezTo>
                    <a:pt x="210" y="209"/>
                    <a:pt x="211" y="209"/>
                    <a:pt x="212" y="209"/>
                  </a:cubicBezTo>
                  <a:cubicBezTo>
                    <a:pt x="213" y="209"/>
                    <a:pt x="213" y="209"/>
                    <a:pt x="213" y="209"/>
                  </a:cubicBezTo>
                  <a:cubicBezTo>
                    <a:pt x="213" y="209"/>
                    <a:pt x="213" y="209"/>
                    <a:pt x="213" y="209"/>
                  </a:cubicBezTo>
                  <a:cubicBezTo>
                    <a:pt x="213" y="208"/>
                    <a:pt x="213" y="208"/>
                    <a:pt x="213" y="208"/>
                  </a:cubicBezTo>
                  <a:cubicBezTo>
                    <a:pt x="213" y="205"/>
                    <a:pt x="212" y="204"/>
                    <a:pt x="211" y="203"/>
                  </a:cubicBezTo>
                  <a:cubicBezTo>
                    <a:pt x="210" y="202"/>
                    <a:pt x="210" y="202"/>
                    <a:pt x="209" y="202"/>
                  </a:cubicBezTo>
                  <a:cubicBezTo>
                    <a:pt x="209" y="202"/>
                    <a:pt x="209" y="202"/>
                    <a:pt x="209" y="202"/>
                  </a:cubicBezTo>
                  <a:cubicBezTo>
                    <a:pt x="209" y="202"/>
                    <a:pt x="209" y="202"/>
                    <a:pt x="209" y="202"/>
                  </a:cubicBezTo>
                  <a:cubicBezTo>
                    <a:pt x="207" y="202"/>
                    <a:pt x="205" y="203"/>
                    <a:pt x="204" y="203"/>
                  </a:cubicBezTo>
                  <a:cubicBezTo>
                    <a:pt x="203" y="203"/>
                    <a:pt x="203" y="203"/>
                    <a:pt x="202" y="203"/>
                  </a:cubicBezTo>
                  <a:cubicBezTo>
                    <a:pt x="202" y="203"/>
                    <a:pt x="201" y="203"/>
                    <a:pt x="201" y="203"/>
                  </a:cubicBezTo>
                  <a:cubicBezTo>
                    <a:pt x="200" y="203"/>
                    <a:pt x="199" y="202"/>
                    <a:pt x="199" y="202"/>
                  </a:cubicBezTo>
                  <a:cubicBezTo>
                    <a:pt x="199" y="201"/>
                    <a:pt x="199" y="201"/>
                    <a:pt x="199" y="200"/>
                  </a:cubicBezTo>
                  <a:cubicBezTo>
                    <a:pt x="199" y="200"/>
                    <a:pt x="199" y="200"/>
                    <a:pt x="199" y="200"/>
                  </a:cubicBezTo>
                  <a:cubicBezTo>
                    <a:pt x="199" y="199"/>
                    <a:pt x="199" y="199"/>
                    <a:pt x="199" y="199"/>
                  </a:cubicBezTo>
                  <a:cubicBezTo>
                    <a:pt x="199" y="199"/>
                    <a:pt x="198" y="199"/>
                    <a:pt x="198" y="199"/>
                  </a:cubicBezTo>
                  <a:cubicBezTo>
                    <a:pt x="197" y="198"/>
                    <a:pt x="197" y="198"/>
                    <a:pt x="196" y="197"/>
                  </a:cubicBezTo>
                  <a:cubicBezTo>
                    <a:pt x="196" y="197"/>
                    <a:pt x="196" y="197"/>
                    <a:pt x="196" y="196"/>
                  </a:cubicBezTo>
                  <a:cubicBezTo>
                    <a:pt x="196" y="196"/>
                    <a:pt x="196" y="196"/>
                    <a:pt x="196" y="196"/>
                  </a:cubicBezTo>
                  <a:cubicBezTo>
                    <a:pt x="196" y="194"/>
                    <a:pt x="197" y="193"/>
                    <a:pt x="198" y="192"/>
                  </a:cubicBezTo>
                  <a:cubicBezTo>
                    <a:pt x="199" y="191"/>
                    <a:pt x="200" y="190"/>
                    <a:pt x="201" y="190"/>
                  </a:cubicBezTo>
                  <a:cubicBezTo>
                    <a:pt x="201" y="189"/>
                    <a:pt x="201" y="189"/>
                    <a:pt x="201" y="189"/>
                  </a:cubicBezTo>
                  <a:cubicBezTo>
                    <a:pt x="201" y="188"/>
                    <a:pt x="201" y="188"/>
                    <a:pt x="201" y="188"/>
                  </a:cubicBezTo>
                  <a:cubicBezTo>
                    <a:pt x="201" y="188"/>
                    <a:pt x="200" y="188"/>
                    <a:pt x="200" y="187"/>
                  </a:cubicBezTo>
                  <a:cubicBezTo>
                    <a:pt x="199" y="187"/>
                    <a:pt x="198" y="187"/>
                    <a:pt x="197" y="185"/>
                  </a:cubicBezTo>
                  <a:cubicBezTo>
                    <a:pt x="196" y="184"/>
                    <a:pt x="196" y="184"/>
                    <a:pt x="196" y="184"/>
                  </a:cubicBezTo>
                  <a:cubicBezTo>
                    <a:pt x="195" y="183"/>
                    <a:pt x="195" y="182"/>
                    <a:pt x="194" y="182"/>
                  </a:cubicBezTo>
                  <a:cubicBezTo>
                    <a:pt x="193" y="181"/>
                    <a:pt x="193" y="180"/>
                    <a:pt x="192" y="180"/>
                  </a:cubicBezTo>
                  <a:cubicBezTo>
                    <a:pt x="192" y="179"/>
                    <a:pt x="192" y="179"/>
                    <a:pt x="192" y="179"/>
                  </a:cubicBezTo>
                  <a:moveTo>
                    <a:pt x="175" y="176"/>
                  </a:moveTo>
                  <a:cubicBezTo>
                    <a:pt x="174" y="176"/>
                    <a:pt x="174" y="176"/>
                    <a:pt x="174" y="176"/>
                  </a:cubicBezTo>
                  <a:cubicBezTo>
                    <a:pt x="174" y="176"/>
                    <a:pt x="174" y="176"/>
                    <a:pt x="174" y="176"/>
                  </a:cubicBezTo>
                  <a:cubicBezTo>
                    <a:pt x="173" y="176"/>
                    <a:pt x="172" y="176"/>
                    <a:pt x="172" y="176"/>
                  </a:cubicBezTo>
                  <a:cubicBezTo>
                    <a:pt x="171" y="177"/>
                    <a:pt x="170" y="177"/>
                    <a:pt x="169" y="177"/>
                  </a:cubicBezTo>
                  <a:cubicBezTo>
                    <a:pt x="169" y="177"/>
                    <a:pt x="169" y="177"/>
                    <a:pt x="169" y="178"/>
                  </a:cubicBezTo>
                  <a:cubicBezTo>
                    <a:pt x="168" y="178"/>
                    <a:pt x="168" y="178"/>
                    <a:pt x="168" y="178"/>
                  </a:cubicBezTo>
                  <a:cubicBezTo>
                    <a:pt x="169" y="179"/>
                    <a:pt x="169" y="179"/>
                    <a:pt x="169" y="179"/>
                  </a:cubicBezTo>
                  <a:cubicBezTo>
                    <a:pt x="169" y="180"/>
                    <a:pt x="169" y="180"/>
                    <a:pt x="169" y="180"/>
                  </a:cubicBezTo>
                  <a:cubicBezTo>
                    <a:pt x="169" y="181"/>
                    <a:pt x="168" y="182"/>
                    <a:pt x="168" y="182"/>
                  </a:cubicBezTo>
                  <a:cubicBezTo>
                    <a:pt x="168" y="183"/>
                    <a:pt x="168" y="183"/>
                    <a:pt x="168" y="184"/>
                  </a:cubicBezTo>
                  <a:cubicBezTo>
                    <a:pt x="168" y="184"/>
                    <a:pt x="168" y="184"/>
                    <a:pt x="168" y="184"/>
                  </a:cubicBezTo>
                  <a:cubicBezTo>
                    <a:pt x="168" y="185"/>
                    <a:pt x="168" y="185"/>
                    <a:pt x="169" y="187"/>
                  </a:cubicBezTo>
                  <a:cubicBezTo>
                    <a:pt x="169" y="187"/>
                    <a:pt x="169" y="187"/>
                    <a:pt x="169" y="187"/>
                  </a:cubicBezTo>
                  <a:cubicBezTo>
                    <a:pt x="169" y="188"/>
                    <a:pt x="169" y="188"/>
                    <a:pt x="169" y="188"/>
                  </a:cubicBezTo>
                  <a:cubicBezTo>
                    <a:pt x="169" y="189"/>
                    <a:pt x="169" y="189"/>
                    <a:pt x="169" y="189"/>
                  </a:cubicBezTo>
                  <a:cubicBezTo>
                    <a:pt x="169" y="189"/>
                    <a:pt x="169" y="189"/>
                    <a:pt x="169" y="189"/>
                  </a:cubicBezTo>
                  <a:cubicBezTo>
                    <a:pt x="169" y="189"/>
                    <a:pt x="169" y="189"/>
                    <a:pt x="169" y="189"/>
                  </a:cubicBezTo>
                  <a:cubicBezTo>
                    <a:pt x="169" y="190"/>
                    <a:pt x="169" y="190"/>
                    <a:pt x="169" y="190"/>
                  </a:cubicBezTo>
                  <a:cubicBezTo>
                    <a:pt x="169" y="190"/>
                    <a:pt x="169" y="190"/>
                    <a:pt x="169" y="190"/>
                  </a:cubicBezTo>
                  <a:cubicBezTo>
                    <a:pt x="170" y="190"/>
                    <a:pt x="170" y="190"/>
                    <a:pt x="170" y="190"/>
                  </a:cubicBezTo>
                  <a:cubicBezTo>
                    <a:pt x="170" y="190"/>
                    <a:pt x="170" y="190"/>
                    <a:pt x="170" y="190"/>
                  </a:cubicBezTo>
                  <a:cubicBezTo>
                    <a:pt x="170" y="190"/>
                    <a:pt x="170" y="190"/>
                    <a:pt x="170" y="190"/>
                  </a:cubicBezTo>
                  <a:cubicBezTo>
                    <a:pt x="170" y="190"/>
                    <a:pt x="170" y="190"/>
                    <a:pt x="170" y="190"/>
                  </a:cubicBezTo>
                  <a:cubicBezTo>
                    <a:pt x="171" y="190"/>
                    <a:pt x="172" y="190"/>
                    <a:pt x="173" y="189"/>
                  </a:cubicBezTo>
                  <a:cubicBezTo>
                    <a:pt x="173" y="189"/>
                    <a:pt x="174" y="189"/>
                    <a:pt x="174" y="189"/>
                  </a:cubicBezTo>
                  <a:cubicBezTo>
                    <a:pt x="175" y="189"/>
                    <a:pt x="175" y="189"/>
                    <a:pt x="175" y="189"/>
                  </a:cubicBezTo>
                  <a:cubicBezTo>
                    <a:pt x="175" y="189"/>
                    <a:pt x="175" y="188"/>
                    <a:pt x="175" y="188"/>
                  </a:cubicBezTo>
                  <a:cubicBezTo>
                    <a:pt x="175" y="187"/>
                    <a:pt x="175" y="187"/>
                    <a:pt x="176" y="186"/>
                  </a:cubicBezTo>
                  <a:cubicBezTo>
                    <a:pt x="176" y="185"/>
                    <a:pt x="176" y="185"/>
                    <a:pt x="176" y="184"/>
                  </a:cubicBezTo>
                  <a:cubicBezTo>
                    <a:pt x="176" y="184"/>
                    <a:pt x="176" y="184"/>
                    <a:pt x="176" y="184"/>
                  </a:cubicBezTo>
                  <a:cubicBezTo>
                    <a:pt x="176" y="184"/>
                    <a:pt x="176" y="183"/>
                    <a:pt x="176" y="183"/>
                  </a:cubicBezTo>
                  <a:cubicBezTo>
                    <a:pt x="176" y="182"/>
                    <a:pt x="176" y="181"/>
                    <a:pt x="176" y="180"/>
                  </a:cubicBezTo>
                  <a:cubicBezTo>
                    <a:pt x="176" y="179"/>
                    <a:pt x="176" y="179"/>
                    <a:pt x="176" y="178"/>
                  </a:cubicBezTo>
                  <a:cubicBezTo>
                    <a:pt x="176" y="178"/>
                    <a:pt x="176" y="178"/>
                    <a:pt x="176" y="178"/>
                  </a:cubicBezTo>
                  <a:cubicBezTo>
                    <a:pt x="176" y="177"/>
                    <a:pt x="175" y="177"/>
                    <a:pt x="175" y="177"/>
                  </a:cubicBezTo>
                  <a:cubicBezTo>
                    <a:pt x="175" y="176"/>
                    <a:pt x="175" y="176"/>
                    <a:pt x="175" y="176"/>
                  </a:cubicBezTo>
                  <a:moveTo>
                    <a:pt x="266" y="141"/>
                  </a:moveTo>
                  <a:cubicBezTo>
                    <a:pt x="267" y="141"/>
                    <a:pt x="268" y="141"/>
                    <a:pt x="269" y="142"/>
                  </a:cubicBezTo>
                  <a:cubicBezTo>
                    <a:pt x="269" y="141"/>
                    <a:pt x="268" y="141"/>
                    <a:pt x="267" y="141"/>
                  </a:cubicBezTo>
                  <a:cubicBezTo>
                    <a:pt x="267" y="141"/>
                    <a:pt x="267" y="141"/>
                    <a:pt x="267" y="141"/>
                  </a:cubicBezTo>
                  <a:cubicBezTo>
                    <a:pt x="267" y="141"/>
                    <a:pt x="266" y="141"/>
                    <a:pt x="266" y="141"/>
                  </a:cubicBezTo>
                  <a:moveTo>
                    <a:pt x="261" y="95"/>
                  </a:moveTo>
                  <a:cubicBezTo>
                    <a:pt x="261" y="95"/>
                    <a:pt x="261" y="95"/>
                    <a:pt x="261" y="95"/>
                  </a:cubicBezTo>
                  <a:moveTo>
                    <a:pt x="223" y="27"/>
                  </a:moveTo>
                  <a:cubicBezTo>
                    <a:pt x="223" y="27"/>
                    <a:pt x="223" y="27"/>
                    <a:pt x="223" y="27"/>
                  </a:cubicBezTo>
                  <a:cubicBezTo>
                    <a:pt x="223" y="27"/>
                    <a:pt x="222" y="27"/>
                    <a:pt x="221" y="27"/>
                  </a:cubicBezTo>
                  <a:cubicBezTo>
                    <a:pt x="221" y="27"/>
                    <a:pt x="221" y="27"/>
                    <a:pt x="221" y="27"/>
                  </a:cubicBezTo>
                  <a:cubicBezTo>
                    <a:pt x="221" y="27"/>
                    <a:pt x="221" y="27"/>
                    <a:pt x="221" y="27"/>
                  </a:cubicBezTo>
                  <a:cubicBezTo>
                    <a:pt x="220" y="27"/>
                    <a:pt x="220" y="27"/>
                    <a:pt x="219" y="27"/>
                  </a:cubicBezTo>
                  <a:cubicBezTo>
                    <a:pt x="219" y="27"/>
                    <a:pt x="219" y="27"/>
                    <a:pt x="219" y="27"/>
                  </a:cubicBezTo>
                  <a:cubicBezTo>
                    <a:pt x="218" y="27"/>
                    <a:pt x="218" y="27"/>
                    <a:pt x="218" y="27"/>
                  </a:cubicBezTo>
                  <a:cubicBezTo>
                    <a:pt x="218" y="28"/>
                    <a:pt x="217" y="29"/>
                    <a:pt x="217" y="29"/>
                  </a:cubicBezTo>
                  <a:cubicBezTo>
                    <a:pt x="216" y="30"/>
                    <a:pt x="215" y="31"/>
                    <a:pt x="215" y="31"/>
                  </a:cubicBezTo>
                  <a:cubicBezTo>
                    <a:pt x="213" y="32"/>
                    <a:pt x="212" y="33"/>
                    <a:pt x="211" y="34"/>
                  </a:cubicBezTo>
                  <a:cubicBezTo>
                    <a:pt x="210" y="36"/>
                    <a:pt x="209" y="37"/>
                    <a:pt x="208" y="39"/>
                  </a:cubicBezTo>
                  <a:cubicBezTo>
                    <a:pt x="207" y="40"/>
                    <a:pt x="206" y="42"/>
                    <a:pt x="204" y="43"/>
                  </a:cubicBezTo>
                  <a:cubicBezTo>
                    <a:pt x="203" y="44"/>
                    <a:pt x="203" y="45"/>
                    <a:pt x="202" y="46"/>
                  </a:cubicBezTo>
                  <a:cubicBezTo>
                    <a:pt x="201" y="47"/>
                    <a:pt x="201" y="48"/>
                    <a:pt x="200" y="49"/>
                  </a:cubicBezTo>
                  <a:cubicBezTo>
                    <a:pt x="198" y="51"/>
                    <a:pt x="197" y="52"/>
                    <a:pt x="196" y="54"/>
                  </a:cubicBezTo>
                  <a:cubicBezTo>
                    <a:pt x="196" y="54"/>
                    <a:pt x="196" y="54"/>
                    <a:pt x="196" y="55"/>
                  </a:cubicBezTo>
                  <a:cubicBezTo>
                    <a:pt x="196" y="56"/>
                    <a:pt x="196" y="56"/>
                    <a:pt x="196" y="56"/>
                  </a:cubicBezTo>
                  <a:cubicBezTo>
                    <a:pt x="196" y="56"/>
                    <a:pt x="196" y="56"/>
                    <a:pt x="196" y="57"/>
                  </a:cubicBezTo>
                  <a:cubicBezTo>
                    <a:pt x="196" y="58"/>
                    <a:pt x="196" y="58"/>
                    <a:pt x="196" y="59"/>
                  </a:cubicBezTo>
                  <a:cubicBezTo>
                    <a:pt x="196" y="59"/>
                    <a:pt x="195" y="59"/>
                    <a:pt x="195" y="59"/>
                  </a:cubicBezTo>
                  <a:cubicBezTo>
                    <a:pt x="195" y="59"/>
                    <a:pt x="195" y="59"/>
                    <a:pt x="195" y="59"/>
                  </a:cubicBezTo>
                  <a:cubicBezTo>
                    <a:pt x="195" y="59"/>
                    <a:pt x="194" y="59"/>
                    <a:pt x="194" y="59"/>
                  </a:cubicBezTo>
                  <a:cubicBezTo>
                    <a:pt x="194" y="59"/>
                    <a:pt x="194" y="59"/>
                    <a:pt x="194" y="59"/>
                  </a:cubicBezTo>
                  <a:cubicBezTo>
                    <a:pt x="194" y="60"/>
                    <a:pt x="194" y="60"/>
                    <a:pt x="194" y="60"/>
                  </a:cubicBezTo>
                  <a:cubicBezTo>
                    <a:pt x="195" y="60"/>
                    <a:pt x="195" y="60"/>
                    <a:pt x="195" y="61"/>
                  </a:cubicBezTo>
                  <a:cubicBezTo>
                    <a:pt x="195" y="62"/>
                    <a:pt x="194" y="62"/>
                    <a:pt x="194" y="63"/>
                  </a:cubicBezTo>
                  <a:cubicBezTo>
                    <a:pt x="193" y="63"/>
                    <a:pt x="193" y="63"/>
                    <a:pt x="193" y="64"/>
                  </a:cubicBezTo>
                  <a:cubicBezTo>
                    <a:pt x="193" y="64"/>
                    <a:pt x="193" y="64"/>
                    <a:pt x="193" y="64"/>
                  </a:cubicBezTo>
                  <a:cubicBezTo>
                    <a:pt x="193" y="65"/>
                    <a:pt x="193" y="66"/>
                    <a:pt x="194" y="67"/>
                  </a:cubicBezTo>
                  <a:cubicBezTo>
                    <a:pt x="194" y="68"/>
                    <a:pt x="194" y="69"/>
                    <a:pt x="194" y="69"/>
                  </a:cubicBezTo>
                  <a:cubicBezTo>
                    <a:pt x="194" y="70"/>
                    <a:pt x="194" y="70"/>
                    <a:pt x="194" y="71"/>
                  </a:cubicBezTo>
                  <a:cubicBezTo>
                    <a:pt x="194" y="71"/>
                    <a:pt x="194" y="72"/>
                    <a:pt x="193" y="73"/>
                  </a:cubicBezTo>
                  <a:cubicBezTo>
                    <a:pt x="193" y="74"/>
                    <a:pt x="192" y="74"/>
                    <a:pt x="192" y="75"/>
                  </a:cubicBezTo>
                  <a:cubicBezTo>
                    <a:pt x="190" y="77"/>
                    <a:pt x="189" y="80"/>
                    <a:pt x="187" y="83"/>
                  </a:cubicBezTo>
                  <a:cubicBezTo>
                    <a:pt x="186" y="84"/>
                    <a:pt x="186" y="84"/>
                    <a:pt x="186" y="85"/>
                  </a:cubicBezTo>
                  <a:cubicBezTo>
                    <a:pt x="186" y="86"/>
                    <a:pt x="187" y="88"/>
                    <a:pt x="187" y="90"/>
                  </a:cubicBezTo>
                  <a:cubicBezTo>
                    <a:pt x="187" y="91"/>
                    <a:pt x="187" y="91"/>
                    <a:pt x="187" y="91"/>
                  </a:cubicBezTo>
                  <a:cubicBezTo>
                    <a:pt x="187" y="91"/>
                    <a:pt x="187" y="92"/>
                    <a:pt x="186" y="93"/>
                  </a:cubicBezTo>
                  <a:cubicBezTo>
                    <a:pt x="186" y="93"/>
                    <a:pt x="186" y="94"/>
                    <a:pt x="186" y="94"/>
                  </a:cubicBezTo>
                  <a:cubicBezTo>
                    <a:pt x="185" y="94"/>
                    <a:pt x="185" y="94"/>
                    <a:pt x="185" y="94"/>
                  </a:cubicBezTo>
                  <a:cubicBezTo>
                    <a:pt x="185" y="94"/>
                    <a:pt x="185" y="94"/>
                    <a:pt x="185" y="94"/>
                  </a:cubicBezTo>
                  <a:cubicBezTo>
                    <a:pt x="185" y="94"/>
                    <a:pt x="185" y="94"/>
                    <a:pt x="185" y="94"/>
                  </a:cubicBezTo>
                  <a:cubicBezTo>
                    <a:pt x="185" y="95"/>
                    <a:pt x="185" y="95"/>
                    <a:pt x="185" y="95"/>
                  </a:cubicBezTo>
                  <a:cubicBezTo>
                    <a:pt x="186" y="95"/>
                    <a:pt x="186" y="95"/>
                    <a:pt x="186" y="95"/>
                  </a:cubicBezTo>
                  <a:cubicBezTo>
                    <a:pt x="187" y="95"/>
                    <a:pt x="187" y="95"/>
                    <a:pt x="187" y="95"/>
                  </a:cubicBezTo>
                  <a:cubicBezTo>
                    <a:pt x="188" y="94"/>
                    <a:pt x="188" y="94"/>
                    <a:pt x="189" y="94"/>
                  </a:cubicBezTo>
                  <a:cubicBezTo>
                    <a:pt x="189" y="94"/>
                    <a:pt x="189" y="94"/>
                    <a:pt x="189" y="94"/>
                  </a:cubicBezTo>
                  <a:cubicBezTo>
                    <a:pt x="189" y="94"/>
                    <a:pt x="190" y="94"/>
                    <a:pt x="190" y="95"/>
                  </a:cubicBezTo>
                  <a:cubicBezTo>
                    <a:pt x="190" y="95"/>
                    <a:pt x="191" y="96"/>
                    <a:pt x="191" y="96"/>
                  </a:cubicBezTo>
                  <a:cubicBezTo>
                    <a:pt x="191" y="97"/>
                    <a:pt x="191" y="98"/>
                    <a:pt x="191" y="99"/>
                  </a:cubicBezTo>
                  <a:cubicBezTo>
                    <a:pt x="192" y="99"/>
                    <a:pt x="192" y="100"/>
                    <a:pt x="192" y="100"/>
                  </a:cubicBezTo>
                  <a:cubicBezTo>
                    <a:pt x="192" y="101"/>
                    <a:pt x="191" y="102"/>
                    <a:pt x="191" y="103"/>
                  </a:cubicBezTo>
                  <a:cubicBezTo>
                    <a:pt x="191" y="103"/>
                    <a:pt x="191" y="104"/>
                    <a:pt x="192" y="104"/>
                  </a:cubicBezTo>
                  <a:cubicBezTo>
                    <a:pt x="192" y="104"/>
                    <a:pt x="192" y="104"/>
                    <a:pt x="192" y="105"/>
                  </a:cubicBezTo>
                  <a:cubicBezTo>
                    <a:pt x="193" y="105"/>
                    <a:pt x="194" y="105"/>
                    <a:pt x="195" y="105"/>
                  </a:cubicBezTo>
                  <a:cubicBezTo>
                    <a:pt x="196" y="105"/>
                    <a:pt x="197" y="106"/>
                    <a:pt x="198" y="106"/>
                  </a:cubicBezTo>
                  <a:cubicBezTo>
                    <a:pt x="199" y="107"/>
                    <a:pt x="199" y="107"/>
                    <a:pt x="200" y="108"/>
                  </a:cubicBezTo>
                  <a:cubicBezTo>
                    <a:pt x="200" y="108"/>
                    <a:pt x="200" y="109"/>
                    <a:pt x="200" y="109"/>
                  </a:cubicBezTo>
                  <a:cubicBezTo>
                    <a:pt x="200" y="110"/>
                    <a:pt x="199" y="111"/>
                    <a:pt x="199" y="111"/>
                  </a:cubicBezTo>
                  <a:cubicBezTo>
                    <a:pt x="199" y="112"/>
                    <a:pt x="198" y="112"/>
                    <a:pt x="198" y="113"/>
                  </a:cubicBezTo>
                  <a:cubicBezTo>
                    <a:pt x="196" y="113"/>
                    <a:pt x="195" y="114"/>
                    <a:pt x="195" y="114"/>
                  </a:cubicBezTo>
                  <a:cubicBezTo>
                    <a:pt x="194" y="114"/>
                    <a:pt x="194" y="115"/>
                    <a:pt x="194" y="116"/>
                  </a:cubicBezTo>
                  <a:cubicBezTo>
                    <a:pt x="194" y="118"/>
                    <a:pt x="194" y="119"/>
                    <a:pt x="194" y="120"/>
                  </a:cubicBezTo>
                  <a:cubicBezTo>
                    <a:pt x="193" y="121"/>
                    <a:pt x="193" y="122"/>
                    <a:pt x="193" y="123"/>
                  </a:cubicBezTo>
                  <a:cubicBezTo>
                    <a:pt x="193" y="124"/>
                    <a:pt x="194" y="125"/>
                    <a:pt x="195" y="127"/>
                  </a:cubicBezTo>
                  <a:cubicBezTo>
                    <a:pt x="195" y="128"/>
                    <a:pt x="196" y="129"/>
                    <a:pt x="196" y="130"/>
                  </a:cubicBezTo>
                  <a:cubicBezTo>
                    <a:pt x="196" y="131"/>
                    <a:pt x="196" y="132"/>
                    <a:pt x="196" y="132"/>
                  </a:cubicBezTo>
                  <a:cubicBezTo>
                    <a:pt x="196" y="132"/>
                    <a:pt x="196" y="133"/>
                    <a:pt x="196" y="133"/>
                  </a:cubicBezTo>
                  <a:cubicBezTo>
                    <a:pt x="197" y="134"/>
                    <a:pt x="197" y="134"/>
                    <a:pt x="198" y="135"/>
                  </a:cubicBezTo>
                  <a:cubicBezTo>
                    <a:pt x="199" y="136"/>
                    <a:pt x="199" y="136"/>
                    <a:pt x="199" y="137"/>
                  </a:cubicBezTo>
                  <a:cubicBezTo>
                    <a:pt x="200" y="137"/>
                    <a:pt x="200" y="137"/>
                    <a:pt x="200" y="137"/>
                  </a:cubicBezTo>
                  <a:cubicBezTo>
                    <a:pt x="201" y="137"/>
                    <a:pt x="203" y="137"/>
                    <a:pt x="204" y="138"/>
                  </a:cubicBezTo>
                  <a:cubicBezTo>
                    <a:pt x="205" y="139"/>
                    <a:pt x="205" y="140"/>
                    <a:pt x="205" y="141"/>
                  </a:cubicBezTo>
                  <a:cubicBezTo>
                    <a:pt x="205" y="142"/>
                    <a:pt x="205" y="142"/>
                    <a:pt x="205" y="142"/>
                  </a:cubicBezTo>
                  <a:cubicBezTo>
                    <a:pt x="205" y="144"/>
                    <a:pt x="204" y="147"/>
                    <a:pt x="204" y="149"/>
                  </a:cubicBezTo>
                  <a:cubicBezTo>
                    <a:pt x="203" y="150"/>
                    <a:pt x="203" y="151"/>
                    <a:pt x="203" y="152"/>
                  </a:cubicBezTo>
                  <a:cubicBezTo>
                    <a:pt x="203" y="152"/>
                    <a:pt x="203" y="152"/>
                    <a:pt x="203" y="152"/>
                  </a:cubicBezTo>
                  <a:cubicBezTo>
                    <a:pt x="204" y="153"/>
                    <a:pt x="204" y="153"/>
                    <a:pt x="204" y="153"/>
                  </a:cubicBezTo>
                  <a:cubicBezTo>
                    <a:pt x="204" y="153"/>
                    <a:pt x="204" y="153"/>
                    <a:pt x="205" y="154"/>
                  </a:cubicBezTo>
                  <a:cubicBezTo>
                    <a:pt x="205" y="155"/>
                    <a:pt x="205" y="155"/>
                    <a:pt x="205" y="156"/>
                  </a:cubicBezTo>
                  <a:cubicBezTo>
                    <a:pt x="205" y="158"/>
                    <a:pt x="204" y="159"/>
                    <a:pt x="204" y="161"/>
                  </a:cubicBezTo>
                  <a:cubicBezTo>
                    <a:pt x="204" y="163"/>
                    <a:pt x="204" y="165"/>
                    <a:pt x="203" y="167"/>
                  </a:cubicBezTo>
                  <a:cubicBezTo>
                    <a:pt x="203" y="169"/>
                    <a:pt x="202" y="170"/>
                    <a:pt x="202" y="172"/>
                  </a:cubicBezTo>
                  <a:cubicBezTo>
                    <a:pt x="202" y="172"/>
                    <a:pt x="202" y="173"/>
                    <a:pt x="202" y="173"/>
                  </a:cubicBezTo>
                  <a:cubicBezTo>
                    <a:pt x="203" y="174"/>
                    <a:pt x="203" y="175"/>
                    <a:pt x="205" y="177"/>
                  </a:cubicBezTo>
                  <a:cubicBezTo>
                    <a:pt x="206" y="178"/>
                    <a:pt x="208" y="178"/>
                    <a:pt x="210" y="179"/>
                  </a:cubicBezTo>
                  <a:cubicBezTo>
                    <a:pt x="212" y="180"/>
                    <a:pt x="213" y="182"/>
                    <a:pt x="214" y="183"/>
                  </a:cubicBezTo>
                  <a:cubicBezTo>
                    <a:pt x="214" y="184"/>
                    <a:pt x="215" y="184"/>
                    <a:pt x="215" y="185"/>
                  </a:cubicBezTo>
                  <a:cubicBezTo>
                    <a:pt x="215" y="185"/>
                    <a:pt x="215" y="185"/>
                    <a:pt x="215" y="185"/>
                  </a:cubicBezTo>
                  <a:cubicBezTo>
                    <a:pt x="216" y="186"/>
                    <a:pt x="216" y="187"/>
                    <a:pt x="216" y="187"/>
                  </a:cubicBezTo>
                  <a:cubicBezTo>
                    <a:pt x="216" y="187"/>
                    <a:pt x="217" y="188"/>
                    <a:pt x="217" y="188"/>
                  </a:cubicBezTo>
                  <a:cubicBezTo>
                    <a:pt x="217" y="189"/>
                    <a:pt x="218" y="189"/>
                    <a:pt x="218" y="190"/>
                  </a:cubicBezTo>
                  <a:cubicBezTo>
                    <a:pt x="219" y="192"/>
                    <a:pt x="219" y="194"/>
                    <a:pt x="220" y="196"/>
                  </a:cubicBezTo>
                  <a:cubicBezTo>
                    <a:pt x="221" y="197"/>
                    <a:pt x="221" y="198"/>
                    <a:pt x="222" y="199"/>
                  </a:cubicBezTo>
                  <a:cubicBezTo>
                    <a:pt x="223" y="201"/>
                    <a:pt x="224" y="201"/>
                    <a:pt x="226" y="202"/>
                  </a:cubicBezTo>
                  <a:cubicBezTo>
                    <a:pt x="229" y="203"/>
                    <a:pt x="232" y="203"/>
                    <a:pt x="235" y="205"/>
                  </a:cubicBezTo>
                  <a:cubicBezTo>
                    <a:pt x="235" y="206"/>
                    <a:pt x="236" y="206"/>
                    <a:pt x="236" y="206"/>
                  </a:cubicBezTo>
                  <a:cubicBezTo>
                    <a:pt x="237" y="207"/>
                    <a:pt x="237" y="207"/>
                    <a:pt x="237" y="208"/>
                  </a:cubicBezTo>
                  <a:cubicBezTo>
                    <a:pt x="237" y="208"/>
                    <a:pt x="237" y="208"/>
                    <a:pt x="238" y="209"/>
                  </a:cubicBezTo>
                  <a:cubicBezTo>
                    <a:pt x="238" y="209"/>
                    <a:pt x="237" y="210"/>
                    <a:pt x="237" y="210"/>
                  </a:cubicBezTo>
                  <a:cubicBezTo>
                    <a:pt x="237" y="210"/>
                    <a:pt x="237" y="210"/>
                    <a:pt x="237" y="210"/>
                  </a:cubicBezTo>
                  <a:cubicBezTo>
                    <a:pt x="237" y="211"/>
                    <a:pt x="237" y="211"/>
                    <a:pt x="236" y="211"/>
                  </a:cubicBezTo>
                  <a:cubicBezTo>
                    <a:pt x="237" y="211"/>
                    <a:pt x="237" y="211"/>
                    <a:pt x="237" y="211"/>
                  </a:cubicBezTo>
                  <a:cubicBezTo>
                    <a:pt x="237" y="211"/>
                    <a:pt x="238" y="211"/>
                    <a:pt x="239" y="212"/>
                  </a:cubicBezTo>
                  <a:cubicBezTo>
                    <a:pt x="239" y="212"/>
                    <a:pt x="239" y="212"/>
                    <a:pt x="239" y="212"/>
                  </a:cubicBezTo>
                  <a:cubicBezTo>
                    <a:pt x="240" y="211"/>
                    <a:pt x="240" y="211"/>
                    <a:pt x="240" y="211"/>
                  </a:cubicBezTo>
                  <a:cubicBezTo>
                    <a:pt x="240" y="211"/>
                    <a:pt x="240" y="211"/>
                    <a:pt x="241" y="211"/>
                  </a:cubicBezTo>
                  <a:cubicBezTo>
                    <a:pt x="241" y="211"/>
                    <a:pt x="241" y="211"/>
                    <a:pt x="241" y="211"/>
                  </a:cubicBezTo>
                  <a:cubicBezTo>
                    <a:pt x="241" y="211"/>
                    <a:pt x="242" y="211"/>
                    <a:pt x="242" y="212"/>
                  </a:cubicBezTo>
                  <a:cubicBezTo>
                    <a:pt x="242" y="212"/>
                    <a:pt x="242" y="212"/>
                    <a:pt x="242" y="212"/>
                  </a:cubicBezTo>
                  <a:cubicBezTo>
                    <a:pt x="243" y="213"/>
                    <a:pt x="243" y="213"/>
                    <a:pt x="243" y="213"/>
                  </a:cubicBezTo>
                  <a:cubicBezTo>
                    <a:pt x="243" y="213"/>
                    <a:pt x="243" y="213"/>
                    <a:pt x="243" y="213"/>
                  </a:cubicBezTo>
                  <a:cubicBezTo>
                    <a:pt x="243" y="213"/>
                    <a:pt x="243" y="213"/>
                    <a:pt x="243" y="213"/>
                  </a:cubicBezTo>
                  <a:cubicBezTo>
                    <a:pt x="244" y="213"/>
                    <a:pt x="244" y="213"/>
                    <a:pt x="244" y="213"/>
                  </a:cubicBezTo>
                  <a:cubicBezTo>
                    <a:pt x="244" y="212"/>
                    <a:pt x="243" y="211"/>
                    <a:pt x="242" y="211"/>
                  </a:cubicBezTo>
                  <a:cubicBezTo>
                    <a:pt x="241" y="210"/>
                    <a:pt x="241" y="209"/>
                    <a:pt x="240" y="208"/>
                  </a:cubicBezTo>
                  <a:cubicBezTo>
                    <a:pt x="239" y="208"/>
                    <a:pt x="239" y="207"/>
                    <a:pt x="238" y="207"/>
                  </a:cubicBezTo>
                  <a:cubicBezTo>
                    <a:pt x="237" y="206"/>
                    <a:pt x="236" y="206"/>
                    <a:pt x="236" y="205"/>
                  </a:cubicBezTo>
                  <a:cubicBezTo>
                    <a:pt x="236" y="205"/>
                    <a:pt x="235" y="205"/>
                    <a:pt x="234" y="204"/>
                  </a:cubicBezTo>
                  <a:cubicBezTo>
                    <a:pt x="234" y="203"/>
                    <a:pt x="234" y="203"/>
                    <a:pt x="233" y="202"/>
                  </a:cubicBezTo>
                  <a:cubicBezTo>
                    <a:pt x="233" y="201"/>
                    <a:pt x="232" y="200"/>
                    <a:pt x="232" y="200"/>
                  </a:cubicBezTo>
                  <a:cubicBezTo>
                    <a:pt x="231" y="199"/>
                    <a:pt x="230" y="198"/>
                    <a:pt x="230" y="197"/>
                  </a:cubicBezTo>
                  <a:cubicBezTo>
                    <a:pt x="228" y="194"/>
                    <a:pt x="226" y="190"/>
                    <a:pt x="224" y="187"/>
                  </a:cubicBezTo>
                  <a:cubicBezTo>
                    <a:pt x="224" y="185"/>
                    <a:pt x="222" y="184"/>
                    <a:pt x="222" y="182"/>
                  </a:cubicBezTo>
                  <a:cubicBezTo>
                    <a:pt x="221" y="181"/>
                    <a:pt x="220" y="179"/>
                    <a:pt x="220" y="177"/>
                  </a:cubicBezTo>
                  <a:cubicBezTo>
                    <a:pt x="219" y="177"/>
                    <a:pt x="219" y="176"/>
                    <a:pt x="219" y="175"/>
                  </a:cubicBezTo>
                  <a:cubicBezTo>
                    <a:pt x="219" y="173"/>
                    <a:pt x="219" y="172"/>
                    <a:pt x="218" y="172"/>
                  </a:cubicBezTo>
                  <a:cubicBezTo>
                    <a:pt x="218" y="169"/>
                    <a:pt x="217" y="167"/>
                    <a:pt x="216" y="165"/>
                  </a:cubicBezTo>
                  <a:cubicBezTo>
                    <a:pt x="215" y="164"/>
                    <a:pt x="215" y="163"/>
                    <a:pt x="214" y="162"/>
                  </a:cubicBezTo>
                  <a:cubicBezTo>
                    <a:pt x="213" y="161"/>
                    <a:pt x="213" y="160"/>
                    <a:pt x="213" y="159"/>
                  </a:cubicBezTo>
                  <a:cubicBezTo>
                    <a:pt x="213" y="159"/>
                    <a:pt x="213" y="159"/>
                    <a:pt x="213" y="159"/>
                  </a:cubicBezTo>
                  <a:cubicBezTo>
                    <a:pt x="213" y="157"/>
                    <a:pt x="214" y="156"/>
                    <a:pt x="214" y="156"/>
                  </a:cubicBezTo>
                  <a:cubicBezTo>
                    <a:pt x="213" y="155"/>
                    <a:pt x="213" y="155"/>
                    <a:pt x="213" y="155"/>
                  </a:cubicBezTo>
                  <a:cubicBezTo>
                    <a:pt x="213" y="154"/>
                    <a:pt x="213" y="154"/>
                    <a:pt x="213" y="154"/>
                  </a:cubicBezTo>
                  <a:cubicBezTo>
                    <a:pt x="213" y="154"/>
                    <a:pt x="214" y="153"/>
                    <a:pt x="214" y="153"/>
                  </a:cubicBezTo>
                  <a:cubicBezTo>
                    <a:pt x="214" y="153"/>
                    <a:pt x="214" y="153"/>
                    <a:pt x="214" y="153"/>
                  </a:cubicBezTo>
                  <a:cubicBezTo>
                    <a:pt x="215" y="152"/>
                    <a:pt x="215" y="152"/>
                    <a:pt x="215" y="152"/>
                  </a:cubicBezTo>
                  <a:cubicBezTo>
                    <a:pt x="215" y="152"/>
                    <a:pt x="215" y="151"/>
                    <a:pt x="215" y="151"/>
                  </a:cubicBezTo>
                  <a:cubicBezTo>
                    <a:pt x="215" y="150"/>
                    <a:pt x="215" y="149"/>
                    <a:pt x="215" y="148"/>
                  </a:cubicBezTo>
                  <a:cubicBezTo>
                    <a:pt x="215" y="147"/>
                    <a:pt x="215" y="147"/>
                    <a:pt x="215" y="147"/>
                  </a:cubicBezTo>
                  <a:cubicBezTo>
                    <a:pt x="215" y="147"/>
                    <a:pt x="215" y="147"/>
                    <a:pt x="215" y="147"/>
                  </a:cubicBezTo>
                  <a:cubicBezTo>
                    <a:pt x="215" y="146"/>
                    <a:pt x="216" y="145"/>
                    <a:pt x="216" y="145"/>
                  </a:cubicBezTo>
                  <a:cubicBezTo>
                    <a:pt x="215" y="144"/>
                    <a:pt x="215" y="144"/>
                    <a:pt x="215" y="144"/>
                  </a:cubicBezTo>
                  <a:cubicBezTo>
                    <a:pt x="215" y="144"/>
                    <a:pt x="215" y="144"/>
                    <a:pt x="215" y="144"/>
                  </a:cubicBezTo>
                  <a:cubicBezTo>
                    <a:pt x="215" y="143"/>
                    <a:pt x="215" y="143"/>
                    <a:pt x="215" y="143"/>
                  </a:cubicBezTo>
                  <a:cubicBezTo>
                    <a:pt x="215" y="143"/>
                    <a:pt x="215" y="143"/>
                    <a:pt x="214" y="143"/>
                  </a:cubicBezTo>
                  <a:cubicBezTo>
                    <a:pt x="214" y="142"/>
                    <a:pt x="212" y="142"/>
                    <a:pt x="212" y="140"/>
                  </a:cubicBezTo>
                  <a:cubicBezTo>
                    <a:pt x="212" y="139"/>
                    <a:pt x="212" y="139"/>
                    <a:pt x="212" y="139"/>
                  </a:cubicBezTo>
                  <a:cubicBezTo>
                    <a:pt x="212" y="139"/>
                    <a:pt x="212" y="139"/>
                    <a:pt x="212" y="138"/>
                  </a:cubicBezTo>
                  <a:cubicBezTo>
                    <a:pt x="213" y="138"/>
                    <a:pt x="213" y="138"/>
                    <a:pt x="213" y="138"/>
                  </a:cubicBezTo>
                  <a:cubicBezTo>
                    <a:pt x="213" y="137"/>
                    <a:pt x="214" y="137"/>
                    <a:pt x="214" y="136"/>
                  </a:cubicBezTo>
                  <a:cubicBezTo>
                    <a:pt x="214" y="136"/>
                    <a:pt x="214" y="136"/>
                    <a:pt x="214" y="136"/>
                  </a:cubicBezTo>
                  <a:cubicBezTo>
                    <a:pt x="214" y="135"/>
                    <a:pt x="214" y="135"/>
                    <a:pt x="214" y="134"/>
                  </a:cubicBezTo>
                  <a:cubicBezTo>
                    <a:pt x="214" y="133"/>
                    <a:pt x="214" y="133"/>
                    <a:pt x="214" y="132"/>
                  </a:cubicBezTo>
                  <a:cubicBezTo>
                    <a:pt x="215" y="131"/>
                    <a:pt x="216" y="131"/>
                    <a:pt x="216" y="130"/>
                  </a:cubicBezTo>
                  <a:cubicBezTo>
                    <a:pt x="217" y="130"/>
                    <a:pt x="218" y="130"/>
                    <a:pt x="219" y="130"/>
                  </a:cubicBezTo>
                  <a:cubicBezTo>
                    <a:pt x="219" y="130"/>
                    <a:pt x="220" y="130"/>
                    <a:pt x="221" y="130"/>
                  </a:cubicBezTo>
                  <a:cubicBezTo>
                    <a:pt x="222" y="129"/>
                    <a:pt x="223" y="129"/>
                    <a:pt x="224" y="129"/>
                  </a:cubicBezTo>
                  <a:cubicBezTo>
                    <a:pt x="224" y="129"/>
                    <a:pt x="225" y="129"/>
                    <a:pt x="225" y="129"/>
                  </a:cubicBezTo>
                  <a:cubicBezTo>
                    <a:pt x="226" y="130"/>
                    <a:pt x="226" y="130"/>
                    <a:pt x="226" y="130"/>
                  </a:cubicBezTo>
                  <a:cubicBezTo>
                    <a:pt x="226" y="130"/>
                    <a:pt x="226" y="130"/>
                    <a:pt x="226" y="130"/>
                  </a:cubicBezTo>
                  <a:cubicBezTo>
                    <a:pt x="226" y="130"/>
                    <a:pt x="227" y="130"/>
                    <a:pt x="228" y="130"/>
                  </a:cubicBezTo>
                  <a:cubicBezTo>
                    <a:pt x="229" y="130"/>
                    <a:pt x="229" y="130"/>
                    <a:pt x="230" y="130"/>
                  </a:cubicBezTo>
                  <a:cubicBezTo>
                    <a:pt x="231" y="130"/>
                    <a:pt x="232" y="131"/>
                    <a:pt x="232" y="131"/>
                  </a:cubicBezTo>
                  <a:cubicBezTo>
                    <a:pt x="232" y="132"/>
                    <a:pt x="233" y="132"/>
                    <a:pt x="233" y="133"/>
                  </a:cubicBezTo>
                  <a:cubicBezTo>
                    <a:pt x="233" y="133"/>
                    <a:pt x="234" y="133"/>
                    <a:pt x="234" y="133"/>
                  </a:cubicBezTo>
                  <a:cubicBezTo>
                    <a:pt x="235" y="134"/>
                    <a:pt x="236" y="134"/>
                    <a:pt x="236" y="134"/>
                  </a:cubicBezTo>
                  <a:cubicBezTo>
                    <a:pt x="238" y="134"/>
                    <a:pt x="239" y="134"/>
                    <a:pt x="240" y="134"/>
                  </a:cubicBezTo>
                  <a:cubicBezTo>
                    <a:pt x="240" y="134"/>
                    <a:pt x="240" y="134"/>
                    <a:pt x="240" y="134"/>
                  </a:cubicBezTo>
                  <a:cubicBezTo>
                    <a:pt x="240" y="134"/>
                    <a:pt x="240" y="134"/>
                    <a:pt x="240" y="134"/>
                  </a:cubicBezTo>
                  <a:cubicBezTo>
                    <a:pt x="241" y="134"/>
                    <a:pt x="242" y="134"/>
                    <a:pt x="243" y="134"/>
                  </a:cubicBezTo>
                  <a:cubicBezTo>
                    <a:pt x="244" y="134"/>
                    <a:pt x="245" y="134"/>
                    <a:pt x="246" y="134"/>
                  </a:cubicBezTo>
                  <a:cubicBezTo>
                    <a:pt x="247" y="134"/>
                    <a:pt x="247" y="134"/>
                    <a:pt x="248" y="134"/>
                  </a:cubicBezTo>
                  <a:cubicBezTo>
                    <a:pt x="249" y="134"/>
                    <a:pt x="249" y="134"/>
                    <a:pt x="250" y="134"/>
                  </a:cubicBezTo>
                  <a:cubicBezTo>
                    <a:pt x="250" y="134"/>
                    <a:pt x="251" y="135"/>
                    <a:pt x="251" y="135"/>
                  </a:cubicBezTo>
                  <a:cubicBezTo>
                    <a:pt x="253" y="137"/>
                    <a:pt x="253" y="138"/>
                    <a:pt x="255" y="139"/>
                  </a:cubicBezTo>
                  <a:cubicBezTo>
                    <a:pt x="257" y="139"/>
                    <a:pt x="259" y="139"/>
                    <a:pt x="261" y="140"/>
                  </a:cubicBezTo>
                  <a:cubicBezTo>
                    <a:pt x="261" y="140"/>
                    <a:pt x="262" y="140"/>
                    <a:pt x="262" y="140"/>
                  </a:cubicBezTo>
                  <a:cubicBezTo>
                    <a:pt x="262" y="140"/>
                    <a:pt x="262" y="140"/>
                    <a:pt x="261" y="139"/>
                  </a:cubicBezTo>
                  <a:cubicBezTo>
                    <a:pt x="261" y="139"/>
                    <a:pt x="261" y="138"/>
                    <a:pt x="261" y="138"/>
                  </a:cubicBezTo>
                  <a:cubicBezTo>
                    <a:pt x="261" y="137"/>
                    <a:pt x="261" y="137"/>
                    <a:pt x="261" y="136"/>
                  </a:cubicBezTo>
                  <a:cubicBezTo>
                    <a:pt x="261" y="136"/>
                    <a:pt x="261" y="136"/>
                    <a:pt x="261" y="136"/>
                  </a:cubicBezTo>
                  <a:cubicBezTo>
                    <a:pt x="262" y="135"/>
                    <a:pt x="261" y="135"/>
                    <a:pt x="262" y="134"/>
                  </a:cubicBezTo>
                  <a:cubicBezTo>
                    <a:pt x="262" y="133"/>
                    <a:pt x="262" y="132"/>
                    <a:pt x="262" y="132"/>
                  </a:cubicBezTo>
                  <a:cubicBezTo>
                    <a:pt x="262" y="132"/>
                    <a:pt x="262" y="132"/>
                    <a:pt x="262" y="132"/>
                  </a:cubicBezTo>
                  <a:cubicBezTo>
                    <a:pt x="262" y="131"/>
                    <a:pt x="262" y="130"/>
                    <a:pt x="261" y="129"/>
                  </a:cubicBezTo>
                  <a:cubicBezTo>
                    <a:pt x="261" y="128"/>
                    <a:pt x="261" y="128"/>
                    <a:pt x="261" y="128"/>
                  </a:cubicBezTo>
                  <a:cubicBezTo>
                    <a:pt x="261" y="127"/>
                    <a:pt x="261" y="127"/>
                    <a:pt x="261" y="127"/>
                  </a:cubicBezTo>
                  <a:cubicBezTo>
                    <a:pt x="261" y="127"/>
                    <a:pt x="261" y="127"/>
                    <a:pt x="261" y="127"/>
                  </a:cubicBezTo>
                  <a:cubicBezTo>
                    <a:pt x="260" y="127"/>
                    <a:pt x="260" y="127"/>
                    <a:pt x="259" y="127"/>
                  </a:cubicBezTo>
                  <a:cubicBezTo>
                    <a:pt x="258" y="127"/>
                    <a:pt x="258" y="126"/>
                    <a:pt x="257" y="126"/>
                  </a:cubicBezTo>
                  <a:cubicBezTo>
                    <a:pt x="255" y="126"/>
                    <a:pt x="254" y="125"/>
                    <a:pt x="252" y="125"/>
                  </a:cubicBezTo>
                  <a:cubicBezTo>
                    <a:pt x="252" y="125"/>
                    <a:pt x="251" y="125"/>
                    <a:pt x="250" y="124"/>
                  </a:cubicBezTo>
                  <a:cubicBezTo>
                    <a:pt x="250" y="124"/>
                    <a:pt x="250" y="124"/>
                    <a:pt x="250" y="124"/>
                  </a:cubicBezTo>
                  <a:cubicBezTo>
                    <a:pt x="250" y="123"/>
                    <a:pt x="250" y="123"/>
                    <a:pt x="250" y="123"/>
                  </a:cubicBezTo>
                  <a:cubicBezTo>
                    <a:pt x="249" y="123"/>
                    <a:pt x="249" y="123"/>
                    <a:pt x="248" y="123"/>
                  </a:cubicBezTo>
                  <a:cubicBezTo>
                    <a:pt x="248" y="122"/>
                    <a:pt x="247" y="122"/>
                    <a:pt x="247" y="122"/>
                  </a:cubicBezTo>
                  <a:cubicBezTo>
                    <a:pt x="246" y="122"/>
                    <a:pt x="245" y="122"/>
                    <a:pt x="244" y="122"/>
                  </a:cubicBezTo>
                  <a:cubicBezTo>
                    <a:pt x="244" y="122"/>
                    <a:pt x="244" y="122"/>
                    <a:pt x="244" y="122"/>
                  </a:cubicBezTo>
                  <a:cubicBezTo>
                    <a:pt x="243" y="122"/>
                    <a:pt x="243" y="122"/>
                    <a:pt x="243" y="122"/>
                  </a:cubicBezTo>
                  <a:cubicBezTo>
                    <a:pt x="243" y="122"/>
                    <a:pt x="242" y="122"/>
                    <a:pt x="242" y="121"/>
                  </a:cubicBezTo>
                  <a:cubicBezTo>
                    <a:pt x="241" y="121"/>
                    <a:pt x="241" y="121"/>
                    <a:pt x="241" y="121"/>
                  </a:cubicBezTo>
                  <a:cubicBezTo>
                    <a:pt x="241" y="121"/>
                    <a:pt x="241" y="121"/>
                    <a:pt x="241" y="121"/>
                  </a:cubicBezTo>
                  <a:cubicBezTo>
                    <a:pt x="240" y="120"/>
                    <a:pt x="240" y="120"/>
                    <a:pt x="240" y="120"/>
                  </a:cubicBezTo>
                  <a:cubicBezTo>
                    <a:pt x="239" y="120"/>
                    <a:pt x="239" y="120"/>
                    <a:pt x="239" y="120"/>
                  </a:cubicBezTo>
                  <a:cubicBezTo>
                    <a:pt x="239" y="118"/>
                    <a:pt x="239" y="118"/>
                    <a:pt x="239" y="118"/>
                  </a:cubicBezTo>
                  <a:cubicBezTo>
                    <a:pt x="238" y="118"/>
                    <a:pt x="238" y="118"/>
                    <a:pt x="238" y="118"/>
                  </a:cubicBezTo>
                  <a:cubicBezTo>
                    <a:pt x="238" y="117"/>
                    <a:pt x="238" y="117"/>
                    <a:pt x="238" y="117"/>
                  </a:cubicBezTo>
                  <a:cubicBezTo>
                    <a:pt x="237" y="117"/>
                    <a:pt x="237" y="117"/>
                    <a:pt x="237" y="117"/>
                  </a:cubicBezTo>
                  <a:cubicBezTo>
                    <a:pt x="237" y="116"/>
                    <a:pt x="237" y="116"/>
                    <a:pt x="237" y="116"/>
                  </a:cubicBezTo>
                  <a:cubicBezTo>
                    <a:pt x="237" y="116"/>
                    <a:pt x="236" y="116"/>
                    <a:pt x="236" y="116"/>
                  </a:cubicBezTo>
                  <a:cubicBezTo>
                    <a:pt x="235" y="116"/>
                    <a:pt x="235" y="116"/>
                    <a:pt x="234" y="115"/>
                  </a:cubicBezTo>
                  <a:cubicBezTo>
                    <a:pt x="233" y="114"/>
                    <a:pt x="233" y="113"/>
                    <a:pt x="233" y="113"/>
                  </a:cubicBezTo>
                  <a:cubicBezTo>
                    <a:pt x="233" y="112"/>
                    <a:pt x="233" y="112"/>
                    <a:pt x="233" y="111"/>
                  </a:cubicBezTo>
                  <a:cubicBezTo>
                    <a:pt x="233" y="110"/>
                    <a:pt x="233" y="110"/>
                    <a:pt x="233" y="110"/>
                  </a:cubicBezTo>
                  <a:cubicBezTo>
                    <a:pt x="233" y="110"/>
                    <a:pt x="233" y="110"/>
                    <a:pt x="233" y="110"/>
                  </a:cubicBezTo>
                  <a:cubicBezTo>
                    <a:pt x="234" y="109"/>
                    <a:pt x="234" y="109"/>
                    <a:pt x="234" y="109"/>
                  </a:cubicBezTo>
                  <a:cubicBezTo>
                    <a:pt x="235" y="109"/>
                    <a:pt x="235" y="109"/>
                    <a:pt x="235" y="109"/>
                  </a:cubicBezTo>
                  <a:cubicBezTo>
                    <a:pt x="236" y="108"/>
                    <a:pt x="236" y="108"/>
                    <a:pt x="236" y="108"/>
                  </a:cubicBezTo>
                  <a:cubicBezTo>
                    <a:pt x="236" y="108"/>
                    <a:pt x="237" y="108"/>
                    <a:pt x="237" y="108"/>
                  </a:cubicBezTo>
                  <a:cubicBezTo>
                    <a:pt x="237" y="108"/>
                    <a:pt x="237" y="108"/>
                    <a:pt x="237" y="108"/>
                  </a:cubicBezTo>
                  <a:cubicBezTo>
                    <a:pt x="237" y="108"/>
                    <a:pt x="237" y="108"/>
                    <a:pt x="238" y="108"/>
                  </a:cubicBezTo>
                  <a:cubicBezTo>
                    <a:pt x="238" y="108"/>
                    <a:pt x="237" y="107"/>
                    <a:pt x="237" y="107"/>
                  </a:cubicBezTo>
                  <a:cubicBezTo>
                    <a:pt x="237" y="107"/>
                    <a:pt x="237" y="107"/>
                    <a:pt x="237" y="107"/>
                  </a:cubicBezTo>
                  <a:cubicBezTo>
                    <a:pt x="238" y="107"/>
                    <a:pt x="238" y="107"/>
                    <a:pt x="238" y="107"/>
                  </a:cubicBezTo>
                  <a:cubicBezTo>
                    <a:pt x="238" y="106"/>
                    <a:pt x="238" y="105"/>
                    <a:pt x="239" y="105"/>
                  </a:cubicBezTo>
                  <a:cubicBezTo>
                    <a:pt x="240" y="104"/>
                    <a:pt x="240" y="103"/>
                    <a:pt x="242" y="103"/>
                  </a:cubicBezTo>
                  <a:cubicBezTo>
                    <a:pt x="243" y="103"/>
                    <a:pt x="244" y="102"/>
                    <a:pt x="245" y="102"/>
                  </a:cubicBezTo>
                  <a:cubicBezTo>
                    <a:pt x="247" y="102"/>
                    <a:pt x="249" y="101"/>
                    <a:pt x="250" y="100"/>
                  </a:cubicBezTo>
                  <a:cubicBezTo>
                    <a:pt x="251" y="100"/>
                    <a:pt x="252" y="99"/>
                    <a:pt x="252" y="99"/>
                  </a:cubicBezTo>
                  <a:cubicBezTo>
                    <a:pt x="253" y="99"/>
                    <a:pt x="254" y="99"/>
                    <a:pt x="254" y="98"/>
                  </a:cubicBezTo>
                  <a:cubicBezTo>
                    <a:pt x="254" y="98"/>
                    <a:pt x="255" y="97"/>
                    <a:pt x="256" y="96"/>
                  </a:cubicBezTo>
                  <a:cubicBezTo>
                    <a:pt x="257" y="96"/>
                    <a:pt x="257" y="96"/>
                    <a:pt x="257" y="96"/>
                  </a:cubicBezTo>
                  <a:cubicBezTo>
                    <a:pt x="257" y="96"/>
                    <a:pt x="257" y="96"/>
                    <a:pt x="257" y="96"/>
                  </a:cubicBezTo>
                  <a:cubicBezTo>
                    <a:pt x="257" y="96"/>
                    <a:pt x="257" y="96"/>
                    <a:pt x="257" y="96"/>
                  </a:cubicBezTo>
                  <a:cubicBezTo>
                    <a:pt x="257" y="96"/>
                    <a:pt x="257" y="96"/>
                    <a:pt x="257" y="96"/>
                  </a:cubicBezTo>
                  <a:cubicBezTo>
                    <a:pt x="257" y="95"/>
                    <a:pt x="258" y="95"/>
                    <a:pt x="258" y="95"/>
                  </a:cubicBezTo>
                  <a:cubicBezTo>
                    <a:pt x="259" y="95"/>
                    <a:pt x="259" y="94"/>
                    <a:pt x="260" y="94"/>
                  </a:cubicBezTo>
                  <a:cubicBezTo>
                    <a:pt x="260" y="94"/>
                    <a:pt x="260" y="94"/>
                    <a:pt x="260" y="94"/>
                  </a:cubicBezTo>
                  <a:cubicBezTo>
                    <a:pt x="260" y="94"/>
                    <a:pt x="260" y="95"/>
                    <a:pt x="261" y="95"/>
                  </a:cubicBezTo>
                  <a:cubicBezTo>
                    <a:pt x="261" y="95"/>
                    <a:pt x="261" y="95"/>
                    <a:pt x="261" y="95"/>
                  </a:cubicBezTo>
                  <a:cubicBezTo>
                    <a:pt x="261" y="95"/>
                    <a:pt x="261" y="95"/>
                    <a:pt x="261" y="95"/>
                  </a:cubicBezTo>
                  <a:cubicBezTo>
                    <a:pt x="261" y="95"/>
                    <a:pt x="261" y="95"/>
                    <a:pt x="261" y="95"/>
                  </a:cubicBezTo>
                  <a:cubicBezTo>
                    <a:pt x="261" y="94"/>
                    <a:pt x="261" y="94"/>
                    <a:pt x="261" y="94"/>
                  </a:cubicBezTo>
                  <a:cubicBezTo>
                    <a:pt x="262" y="94"/>
                    <a:pt x="262" y="94"/>
                    <a:pt x="262" y="94"/>
                  </a:cubicBezTo>
                  <a:cubicBezTo>
                    <a:pt x="262" y="94"/>
                    <a:pt x="262" y="94"/>
                    <a:pt x="262" y="94"/>
                  </a:cubicBezTo>
                  <a:cubicBezTo>
                    <a:pt x="262" y="93"/>
                    <a:pt x="262" y="93"/>
                    <a:pt x="262" y="93"/>
                  </a:cubicBezTo>
                  <a:cubicBezTo>
                    <a:pt x="262" y="93"/>
                    <a:pt x="262" y="92"/>
                    <a:pt x="262" y="92"/>
                  </a:cubicBezTo>
                  <a:cubicBezTo>
                    <a:pt x="262" y="92"/>
                    <a:pt x="262" y="92"/>
                    <a:pt x="262" y="92"/>
                  </a:cubicBezTo>
                  <a:cubicBezTo>
                    <a:pt x="262" y="91"/>
                    <a:pt x="262" y="91"/>
                    <a:pt x="262" y="91"/>
                  </a:cubicBezTo>
                  <a:cubicBezTo>
                    <a:pt x="262" y="91"/>
                    <a:pt x="262" y="91"/>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89"/>
                    <a:pt x="262" y="89"/>
                  </a:cubicBezTo>
                  <a:cubicBezTo>
                    <a:pt x="262" y="89"/>
                    <a:pt x="262" y="89"/>
                    <a:pt x="262" y="89"/>
                  </a:cubicBezTo>
                  <a:cubicBezTo>
                    <a:pt x="263" y="88"/>
                    <a:pt x="262" y="87"/>
                    <a:pt x="263" y="87"/>
                  </a:cubicBezTo>
                  <a:cubicBezTo>
                    <a:pt x="263" y="86"/>
                    <a:pt x="263" y="85"/>
                    <a:pt x="264" y="83"/>
                  </a:cubicBezTo>
                  <a:cubicBezTo>
                    <a:pt x="264" y="83"/>
                    <a:pt x="264" y="83"/>
                    <a:pt x="264" y="83"/>
                  </a:cubicBezTo>
                  <a:cubicBezTo>
                    <a:pt x="264" y="83"/>
                    <a:pt x="264" y="83"/>
                    <a:pt x="264" y="83"/>
                  </a:cubicBezTo>
                  <a:cubicBezTo>
                    <a:pt x="263" y="83"/>
                    <a:pt x="263" y="83"/>
                    <a:pt x="263" y="83"/>
                  </a:cubicBezTo>
                  <a:cubicBezTo>
                    <a:pt x="263" y="82"/>
                    <a:pt x="263" y="82"/>
                    <a:pt x="263" y="82"/>
                  </a:cubicBezTo>
                  <a:cubicBezTo>
                    <a:pt x="263" y="81"/>
                    <a:pt x="264" y="81"/>
                    <a:pt x="264" y="80"/>
                  </a:cubicBezTo>
                  <a:cubicBezTo>
                    <a:pt x="264" y="80"/>
                    <a:pt x="265" y="80"/>
                    <a:pt x="265" y="79"/>
                  </a:cubicBezTo>
                  <a:cubicBezTo>
                    <a:pt x="265" y="79"/>
                    <a:pt x="265" y="79"/>
                    <a:pt x="265" y="79"/>
                  </a:cubicBezTo>
                  <a:cubicBezTo>
                    <a:pt x="265" y="79"/>
                    <a:pt x="265" y="79"/>
                    <a:pt x="265" y="78"/>
                  </a:cubicBezTo>
                  <a:cubicBezTo>
                    <a:pt x="265" y="78"/>
                    <a:pt x="265" y="77"/>
                    <a:pt x="265" y="77"/>
                  </a:cubicBezTo>
                  <a:cubicBezTo>
                    <a:pt x="265" y="76"/>
                    <a:pt x="265" y="76"/>
                    <a:pt x="266" y="75"/>
                  </a:cubicBezTo>
                  <a:cubicBezTo>
                    <a:pt x="266" y="75"/>
                    <a:pt x="266" y="75"/>
                    <a:pt x="266" y="75"/>
                  </a:cubicBezTo>
                  <a:cubicBezTo>
                    <a:pt x="266" y="75"/>
                    <a:pt x="265" y="75"/>
                    <a:pt x="265" y="74"/>
                  </a:cubicBezTo>
                  <a:cubicBezTo>
                    <a:pt x="265" y="74"/>
                    <a:pt x="265" y="74"/>
                    <a:pt x="265" y="74"/>
                  </a:cubicBezTo>
                  <a:cubicBezTo>
                    <a:pt x="264" y="74"/>
                    <a:pt x="264" y="74"/>
                    <a:pt x="264" y="74"/>
                  </a:cubicBezTo>
                  <a:cubicBezTo>
                    <a:pt x="264" y="74"/>
                    <a:pt x="264" y="74"/>
                    <a:pt x="264" y="74"/>
                  </a:cubicBezTo>
                  <a:cubicBezTo>
                    <a:pt x="264" y="74"/>
                    <a:pt x="263" y="73"/>
                    <a:pt x="263" y="73"/>
                  </a:cubicBezTo>
                  <a:cubicBezTo>
                    <a:pt x="262" y="73"/>
                    <a:pt x="262" y="72"/>
                    <a:pt x="262" y="72"/>
                  </a:cubicBezTo>
                  <a:cubicBezTo>
                    <a:pt x="262" y="71"/>
                    <a:pt x="262" y="71"/>
                    <a:pt x="262" y="71"/>
                  </a:cubicBezTo>
                  <a:cubicBezTo>
                    <a:pt x="262" y="70"/>
                    <a:pt x="262" y="70"/>
                    <a:pt x="262" y="70"/>
                  </a:cubicBezTo>
                  <a:cubicBezTo>
                    <a:pt x="262" y="70"/>
                    <a:pt x="262" y="70"/>
                    <a:pt x="262" y="70"/>
                  </a:cubicBezTo>
                  <a:cubicBezTo>
                    <a:pt x="262" y="69"/>
                    <a:pt x="262" y="69"/>
                    <a:pt x="262" y="69"/>
                  </a:cubicBezTo>
                  <a:cubicBezTo>
                    <a:pt x="262" y="69"/>
                    <a:pt x="262" y="69"/>
                    <a:pt x="262" y="69"/>
                  </a:cubicBezTo>
                  <a:cubicBezTo>
                    <a:pt x="262" y="68"/>
                    <a:pt x="262" y="68"/>
                    <a:pt x="262" y="68"/>
                  </a:cubicBezTo>
                  <a:cubicBezTo>
                    <a:pt x="262" y="67"/>
                    <a:pt x="263" y="67"/>
                    <a:pt x="263" y="66"/>
                  </a:cubicBezTo>
                  <a:cubicBezTo>
                    <a:pt x="263" y="66"/>
                    <a:pt x="264" y="66"/>
                    <a:pt x="264" y="66"/>
                  </a:cubicBezTo>
                  <a:cubicBezTo>
                    <a:pt x="264" y="65"/>
                    <a:pt x="264" y="65"/>
                    <a:pt x="264" y="65"/>
                  </a:cubicBezTo>
                  <a:cubicBezTo>
                    <a:pt x="264" y="65"/>
                    <a:pt x="264" y="65"/>
                    <a:pt x="264" y="65"/>
                  </a:cubicBezTo>
                  <a:cubicBezTo>
                    <a:pt x="264" y="65"/>
                    <a:pt x="264" y="65"/>
                    <a:pt x="264" y="65"/>
                  </a:cubicBezTo>
                  <a:cubicBezTo>
                    <a:pt x="264" y="65"/>
                    <a:pt x="263" y="64"/>
                    <a:pt x="263" y="64"/>
                  </a:cubicBezTo>
                  <a:cubicBezTo>
                    <a:pt x="262" y="64"/>
                    <a:pt x="262" y="64"/>
                    <a:pt x="262" y="64"/>
                  </a:cubicBezTo>
                  <a:cubicBezTo>
                    <a:pt x="261" y="64"/>
                    <a:pt x="261" y="64"/>
                    <a:pt x="261" y="64"/>
                  </a:cubicBezTo>
                  <a:cubicBezTo>
                    <a:pt x="261" y="64"/>
                    <a:pt x="260" y="64"/>
                    <a:pt x="260" y="64"/>
                  </a:cubicBezTo>
                  <a:cubicBezTo>
                    <a:pt x="260" y="64"/>
                    <a:pt x="259" y="65"/>
                    <a:pt x="258" y="65"/>
                  </a:cubicBezTo>
                  <a:cubicBezTo>
                    <a:pt x="258" y="65"/>
                    <a:pt x="258" y="65"/>
                    <a:pt x="258" y="65"/>
                  </a:cubicBezTo>
                  <a:cubicBezTo>
                    <a:pt x="257" y="65"/>
                    <a:pt x="257" y="65"/>
                    <a:pt x="256" y="65"/>
                  </a:cubicBezTo>
                  <a:cubicBezTo>
                    <a:pt x="256" y="65"/>
                    <a:pt x="256" y="65"/>
                    <a:pt x="256" y="65"/>
                  </a:cubicBezTo>
                  <a:cubicBezTo>
                    <a:pt x="256" y="65"/>
                    <a:pt x="256" y="65"/>
                    <a:pt x="256" y="65"/>
                  </a:cubicBezTo>
                  <a:cubicBezTo>
                    <a:pt x="256" y="65"/>
                    <a:pt x="256" y="65"/>
                    <a:pt x="256" y="65"/>
                  </a:cubicBezTo>
                  <a:cubicBezTo>
                    <a:pt x="255" y="65"/>
                    <a:pt x="255" y="65"/>
                    <a:pt x="255" y="65"/>
                  </a:cubicBezTo>
                  <a:cubicBezTo>
                    <a:pt x="255" y="65"/>
                    <a:pt x="255" y="65"/>
                    <a:pt x="254" y="66"/>
                  </a:cubicBezTo>
                  <a:cubicBezTo>
                    <a:pt x="254" y="66"/>
                    <a:pt x="254" y="66"/>
                    <a:pt x="253" y="67"/>
                  </a:cubicBezTo>
                  <a:cubicBezTo>
                    <a:pt x="252" y="67"/>
                    <a:pt x="252" y="67"/>
                    <a:pt x="252" y="67"/>
                  </a:cubicBezTo>
                  <a:cubicBezTo>
                    <a:pt x="251" y="67"/>
                    <a:pt x="251" y="67"/>
                    <a:pt x="250" y="66"/>
                  </a:cubicBezTo>
                  <a:cubicBezTo>
                    <a:pt x="250" y="66"/>
                    <a:pt x="250" y="66"/>
                    <a:pt x="250" y="66"/>
                  </a:cubicBezTo>
                  <a:cubicBezTo>
                    <a:pt x="249" y="66"/>
                    <a:pt x="249" y="66"/>
                    <a:pt x="249" y="66"/>
                  </a:cubicBezTo>
                  <a:cubicBezTo>
                    <a:pt x="249" y="66"/>
                    <a:pt x="249" y="66"/>
                    <a:pt x="249" y="66"/>
                  </a:cubicBezTo>
                  <a:cubicBezTo>
                    <a:pt x="249" y="66"/>
                    <a:pt x="248" y="66"/>
                    <a:pt x="247" y="67"/>
                  </a:cubicBezTo>
                  <a:cubicBezTo>
                    <a:pt x="245" y="68"/>
                    <a:pt x="244" y="71"/>
                    <a:pt x="242" y="72"/>
                  </a:cubicBezTo>
                  <a:cubicBezTo>
                    <a:pt x="240" y="73"/>
                    <a:pt x="239" y="73"/>
                    <a:pt x="238" y="74"/>
                  </a:cubicBezTo>
                  <a:cubicBezTo>
                    <a:pt x="237" y="74"/>
                    <a:pt x="237" y="74"/>
                    <a:pt x="236" y="74"/>
                  </a:cubicBezTo>
                  <a:cubicBezTo>
                    <a:pt x="236" y="75"/>
                    <a:pt x="235" y="75"/>
                    <a:pt x="234" y="76"/>
                  </a:cubicBezTo>
                  <a:cubicBezTo>
                    <a:pt x="234" y="76"/>
                    <a:pt x="233" y="76"/>
                    <a:pt x="233" y="76"/>
                  </a:cubicBezTo>
                  <a:cubicBezTo>
                    <a:pt x="233" y="76"/>
                    <a:pt x="232" y="76"/>
                    <a:pt x="232" y="77"/>
                  </a:cubicBezTo>
                  <a:cubicBezTo>
                    <a:pt x="232" y="77"/>
                    <a:pt x="232" y="78"/>
                    <a:pt x="231" y="79"/>
                  </a:cubicBezTo>
                  <a:cubicBezTo>
                    <a:pt x="230" y="80"/>
                    <a:pt x="230" y="81"/>
                    <a:pt x="229" y="81"/>
                  </a:cubicBezTo>
                  <a:cubicBezTo>
                    <a:pt x="229" y="82"/>
                    <a:pt x="228" y="82"/>
                    <a:pt x="228" y="82"/>
                  </a:cubicBezTo>
                  <a:cubicBezTo>
                    <a:pt x="227" y="82"/>
                    <a:pt x="227" y="82"/>
                    <a:pt x="227" y="82"/>
                  </a:cubicBezTo>
                  <a:cubicBezTo>
                    <a:pt x="227" y="82"/>
                    <a:pt x="227" y="82"/>
                    <a:pt x="227" y="82"/>
                  </a:cubicBezTo>
                  <a:cubicBezTo>
                    <a:pt x="227" y="83"/>
                    <a:pt x="227" y="83"/>
                    <a:pt x="227" y="83"/>
                  </a:cubicBezTo>
                  <a:cubicBezTo>
                    <a:pt x="228" y="83"/>
                    <a:pt x="229" y="82"/>
                    <a:pt x="230" y="82"/>
                  </a:cubicBezTo>
                  <a:cubicBezTo>
                    <a:pt x="230" y="82"/>
                    <a:pt x="230" y="82"/>
                    <a:pt x="230" y="82"/>
                  </a:cubicBezTo>
                  <a:cubicBezTo>
                    <a:pt x="230" y="82"/>
                    <a:pt x="231" y="82"/>
                    <a:pt x="232" y="83"/>
                  </a:cubicBezTo>
                  <a:cubicBezTo>
                    <a:pt x="232" y="83"/>
                    <a:pt x="233" y="83"/>
                    <a:pt x="233" y="84"/>
                  </a:cubicBezTo>
                  <a:cubicBezTo>
                    <a:pt x="234" y="85"/>
                    <a:pt x="234" y="85"/>
                    <a:pt x="234" y="86"/>
                  </a:cubicBezTo>
                  <a:cubicBezTo>
                    <a:pt x="234" y="88"/>
                    <a:pt x="234" y="88"/>
                    <a:pt x="233" y="89"/>
                  </a:cubicBezTo>
                  <a:cubicBezTo>
                    <a:pt x="233" y="91"/>
                    <a:pt x="231" y="92"/>
                    <a:pt x="230" y="92"/>
                  </a:cubicBezTo>
                  <a:cubicBezTo>
                    <a:pt x="229" y="92"/>
                    <a:pt x="227" y="92"/>
                    <a:pt x="226" y="92"/>
                  </a:cubicBezTo>
                  <a:cubicBezTo>
                    <a:pt x="226" y="92"/>
                    <a:pt x="226" y="92"/>
                    <a:pt x="226" y="92"/>
                  </a:cubicBezTo>
                  <a:cubicBezTo>
                    <a:pt x="225" y="92"/>
                    <a:pt x="225" y="92"/>
                    <a:pt x="225" y="92"/>
                  </a:cubicBezTo>
                  <a:cubicBezTo>
                    <a:pt x="224" y="92"/>
                    <a:pt x="224" y="92"/>
                    <a:pt x="223" y="93"/>
                  </a:cubicBezTo>
                  <a:cubicBezTo>
                    <a:pt x="222" y="93"/>
                    <a:pt x="222" y="93"/>
                    <a:pt x="221" y="94"/>
                  </a:cubicBezTo>
                  <a:cubicBezTo>
                    <a:pt x="220" y="95"/>
                    <a:pt x="220" y="95"/>
                    <a:pt x="219" y="96"/>
                  </a:cubicBezTo>
                  <a:cubicBezTo>
                    <a:pt x="219" y="97"/>
                    <a:pt x="218" y="98"/>
                    <a:pt x="218" y="99"/>
                  </a:cubicBezTo>
                  <a:cubicBezTo>
                    <a:pt x="218" y="100"/>
                    <a:pt x="217" y="101"/>
                    <a:pt x="217" y="101"/>
                  </a:cubicBezTo>
                  <a:cubicBezTo>
                    <a:pt x="217" y="102"/>
                    <a:pt x="218" y="103"/>
                    <a:pt x="218" y="104"/>
                  </a:cubicBezTo>
                  <a:cubicBezTo>
                    <a:pt x="218" y="105"/>
                    <a:pt x="218" y="105"/>
                    <a:pt x="218" y="105"/>
                  </a:cubicBezTo>
                  <a:cubicBezTo>
                    <a:pt x="218" y="105"/>
                    <a:pt x="218" y="106"/>
                    <a:pt x="217" y="107"/>
                  </a:cubicBezTo>
                  <a:cubicBezTo>
                    <a:pt x="216" y="107"/>
                    <a:pt x="216" y="107"/>
                    <a:pt x="215" y="108"/>
                  </a:cubicBezTo>
                  <a:cubicBezTo>
                    <a:pt x="215" y="108"/>
                    <a:pt x="215" y="109"/>
                    <a:pt x="214" y="110"/>
                  </a:cubicBezTo>
                  <a:cubicBezTo>
                    <a:pt x="214" y="110"/>
                    <a:pt x="213" y="110"/>
                    <a:pt x="213" y="110"/>
                  </a:cubicBezTo>
                  <a:cubicBezTo>
                    <a:pt x="213" y="111"/>
                    <a:pt x="212" y="111"/>
                    <a:pt x="211" y="111"/>
                  </a:cubicBezTo>
                  <a:cubicBezTo>
                    <a:pt x="211" y="111"/>
                    <a:pt x="211" y="111"/>
                    <a:pt x="211" y="111"/>
                  </a:cubicBezTo>
                  <a:cubicBezTo>
                    <a:pt x="210" y="111"/>
                    <a:pt x="210" y="111"/>
                    <a:pt x="209" y="111"/>
                  </a:cubicBezTo>
                  <a:cubicBezTo>
                    <a:pt x="209" y="111"/>
                    <a:pt x="209" y="111"/>
                    <a:pt x="209" y="111"/>
                  </a:cubicBezTo>
                  <a:cubicBezTo>
                    <a:pt x="209" y="111"/>
                    <a:pt x="209" y="111"/>
                    <a:pt x="209" y="111"/>
                  </a:cubicBezTo>
                  <a:cubicBezTo>
                    <a:pt x="209" y="111"/>
                    <a:pt x="208" y="111"/>
                    <a:pt x="208" y="111"/>
                  </a:cubicBezTo>
                  <a:cubicBezTo>
                    <a:pt x="207" y="111"/>
                    <a:pt x="207" y="111"/>
                    <a:pt x="207" y="111"/>
                  </a:cubicBezTo>
                  <a:cubicBezTo>
                    <a:pt x="207" y="111"/>
                    <a:pt x="207" y="111"/>
                    <a:pt x="207" y="111"/>
                  </a:cubicBezTo>
                  <a:cubicBezTo>
                    <a:pt x="206" y="111"/>
                    <a:pt x="206" y="110"/>
                    <a:pt x="205" y="110"/>
                  </a:cubicBezTo>
                  <a:cubicBezTo>
                    <a:pt x="205" y="110"/>
                    <a:pt x="204" y="109"/>
                    <a:pt x="204" y="108"/>
                  </a:cubicBezTo>
                  <a:cubicBezTo>
                    <a:pt x="204" y="108"/>
                    <a:pt x="204" y="108"/>
                    <a:pt x="204" y="108"/>
                  </a:cubicBezTo>
                  <a:cubicBezTo>
                    <a:pt x="203" y="108"/>
                    <a:pt x="203" y="108"/>
                    <a:pt x="203" y="108"/>
                  </a:cubicBezTo>
                  <a:cubicBezTo>
                    <a:pt x="203" y="107"/>
                    <a:pt x="203" y="107"/>
                    <a:pt x="203" y="107"/>
                  </a:cubicBezTo>
                  <a:cubicBezTo>
                    <a:pt x="203" y="107"/>
                    <a:pt x="203" y="107"/>
                    <a:pt x="203" y="107"/>
                  </a:cubicBezTo>
                  <a:cubicBezTo>
                    <a:pt x="202" y="107"/>
                    <a:pt x="202" y="107"/>
                    <a:pt x="202" y="107"/>
                  </a:cubicBezTo>
                  <a:cubicBezTo>
                    <a:pt x="202" y="107"/>
                    <a:pt x="202" y="107"/>
                    <a:pt x="202" y="107"/>
                  </a:cubicBezTo>
                  <a:cubicBezTo>
                    <a:pt x="201" y="107"/>
                    <a:pt x="201" y="107"/>
                    <a:pt x="201" y="107"/>
                  </a:cubicBezTo>
                  <a:cubicBezTo>
                    <a:pt x="200" y="107"/>
                    <a:pt x="200" y="107"/>
                    <a:pt x="200" y="107"/>
                  </a:cubicBezTo>
                  <a:cubicBezTo>
                    <a:pt x="200" y="107"/>
                    <a:pt x="200" y="107"/>
                    <a:pt x="200" y="107"/>
                  </a:cubicBezTo>
                  <a:cubicBezTo>
                    <a:pt x="200" y="107"/>
                    <a:pt x="199" y="106"/>
                    <a:pt x="199" y="106"/>
                  </a:cubicBezTo>
                  <a:cubicBezTo>
                    <a:pt x="199" y="105"/>
                    <a:pt x="199" y="105"/>
                    <a:pt x="199" y="105"/>
                  </a:cubicBezTo>
                  <a:cubicBezTo>
                    <a:pt x="199" y="105"/>
                    <a:pt x="199" y="105"/>
                    <a:pt x="199" y="105"/>
                  </a:cubicBezTo>
                  <a:cubicBezTo>
                    <a:pt x="198" y="105"/>
                    <a:pt x="198" y="104"/>
                    <a:pt x="198" y="104"/>
                  </a:cubicBezTo>
                  <a:cubicBezTo>
                    <a:pt x="198" y="104"/>
                    <a:pt x="198" y="104"/>
                    <a:pt x="198" y="104"/>
                  </a:cubicBezTo>
                  <a:cubicBezTo>
                    <a:pt x="198" y="103"/>
                    <a:pt x="198" y="103"/>
                    <a:pt x="198" y="103"/>
                  </a:cubicBezTo>
                  <a:cubicBezTo>
                    <a:pt x="198" y="102"/>
                    <a:pt x="198" y="101"/>
                    <a:pt x="198" y="100"/>
                  </a:cubicBezTo>
                  <a:cubicBezTo>
                    <a:pt x="198" y="100"/>
                    <a:pt x="198" y="99"/>
                    <a:pt x="199" y="98"/>
                  </a:cubicBezTo>
                  <a:cubicBezTo>
                    <a:pt x="199" y="97"/>
                    <a:pt x="200" y="97"/>
                    <a:pt x="200" y="96"/>
                  </a:cubicBezTo>
                  <a:cubicBezTo>
                    <a:pt x="200" y="96"/>
                    <a:pt x="201" y="96"/>
                    <a:pt x="201" y="96"/>
                  </a:cubicBezTo>
                  <a:cubicBezTo>
                    <a:pt x="202" y="95"/>
                    <a:pt x="202" y="95"/>
                    <a:pt x="202" y="95"/>
                  </a:cubicBezTo>
                  <a:cubicBezTo>
                    <a:pt x="203" y="95"/>
                    <a:pt x="203" y="94"/>
                    <a:pt x="204" y="94"/>
                  </a:cubicBezTo>
                  <a:cubicBezTo>
                    <a:pt x="204" y="94"/>
                    <a:pt x="205" y="94"/>
                    <a:pt x="205" y="94"/>
                  </a:cubicBezTo>
                  <a:cubicBezTo>
                    <a:pt x="206" y="94"/>
                    <a:pt x="206" y="94"/>
                    <a:pt x="206" y="94"/>
                  </a:cubicBezTo>
                  <a:cubicBezTo>
                    <a:pt x="206" y="94"/>
                    <a:pt x="206" y="93"/>
                    <a:pt x="206" y="93"/>
                  </a:cubicBezTo>
                  <a:cubicBezTo>
                    <a:pt x="207" y="92"/>
                    <a:pt x="208" y="91"/>
                    <a:pt x="209" y="90"/>
                  </a:cubicBezTo>
                  <a:cubicBezTo>
                    <a:pt x="209" y="90"/>
                    <a:pt x="209" y="89"/>
                    <a:pt x="209" y="89"/>
                  </a:cubicBezTo>
                  <a:cubicBezTo>
                    <a:pt x="210" y="88"/>
                    <a:pt x="210" y="88"/>
                    <a:pt x="210"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2" y="88"/>
                    <a:pt x="213" y="88"/>
                    <a:pt x="214" y="88"/>
                  </a:cubicBezTo>
                  <a:cubicBezTo>
                    <a:pt x="214" y="88"/>
                    <a:pt x="214" y="88"/>
                    <a:pt x="214" y="88"/>
                  </a:cubicBezTo>
                  <a:cubicBezTo>
                    <a:pt x="214" y="88"/>
                    <a:pt x="214" y="88"/>
                    <a:pt x="214" y="88"/>
                  </a:cubicBezTo>
                  <a:cubicBezTo>
                    <a:pt x="214" y="88"/>
                    <a:pt x="214" y="88"/>
                    <a:pt x="214" y="88"/>
                  </a:cubicBezTo>
                  <a:cubicBezTo>
                    <a:pt x="214" y="88"/>
                    <a:pt x="214" y="88"/>
                    <a:pt x="214" y="88"/>
                  </a:cubicBezTo>
                  <a:cubicBezTo>
                    <a:pt x="214" y="87"/>
                    <a:pt x="214" y="87"/>
                    <a:pt x="214" y="87"/>
                  </a:cubicBezTo>
                  <a:cubicBezTo>
                    <a:pt x="214" y="87"/>
                    <a:pt x="214" y="87"/>
                    <a:pt x="214" y="87"/>
                  </a:cubicBezTo>
                  <a:cubicBezTo>
                    <a:pt x="214" y="86"/>
                    <a:pt x="214" y="85"/>
                    <a:pt x="215" y="84"/>
                  </a:cubicBezTo>
                  <a:cubicBezTo>
                    <a:pt x="216" y="83"/>
                    <a:pt x="216" y="82"/>
                    <a:pt x="217" y="82"/>
                  </a:cubicBezTo>
                  <a:cubicBezTo>
                    <a:pt x="218" y="81"/>
                    <a:pt x="218" y="81"/>
                    <a:pt x="218" y="81"/>
                  </a:cubicBezTo>
                  <a:cubicBezTo>
                    <a:pt x="219" y="80"/>
                    <a:pt x="219" y="80"/>
                    <a:pt x="220" y="79"/>
                  </a:cubicBezTo>
                  <a:cubicBezTo>
                    <a:pt x="220" y="79"/>
                    <a:pt x="220" y="79"/>
                    <a:pt x="220" y="79"/>
                  </a:cubicBezTo>
                  <a:cubicBezTo>
                    <a:pt x="220" y="79"/>
                    <a:pt x="220" y="79"/>
                    <a:pt x="220" y="79"/>
                  </a:cubicBezTo>
                  <a:cubicBezTo>
                    <a:pt x="219" y="78"/>
                    <a:pt x="219" y="78"/>
                    <a:pt x="219" y="77"/>
                  </a:cubicBezTo>
                  <a:cubicBezTo>
                    <a:pt x="219" y="77"/>
                    <a:pt x="219" y="77"/>
                    <a:pt x="219" y="77"/>
                  </a:cubicBezTo>
                  <a:cubicBezTo>
                    <a:pt x="219" y="76"/>
                    <a:pt x="219" y="76"/>
                    <a:pt x="219" y="76"/>
                  </a:cubicBezTo>
                  <a:cubicBezTo>
                    <a:pt x="219" y="76"/>
                    <a:pt x="219" y="76"/>
                    <a:pt x="219" y="76"/>
                  </a:cubicBezTo>
                  <a:cubicBezTo>
                    <a:pt x="219" y="75"/>
                    <a:pt x="219" y="75"/>
                    <a:pt x="219" y="75"/>
                  </a:cubicBezTo>
                  <a:cubicBezTo>
                    <a:pt x="219" y="75"/>
                    <a:pt x="219" y="75"/>
                    <a:pt x="219" y="75"/>
                  </a:cubicBezTo>
                  <a:cubicBezTo>
                    <a:pt x="219" y="75"/>
                    <a:pt x="219" y="75"/>
                    <a:pt x="219" y="75"/>
                  </a:cubicBezTo>
                  <a:cubicBezTo>
                    <a:pt x="219" y="75"/>
                    <a:pt x="219" y="75"/>
                    <a:pt x="219" y="75"/>
                  </a:cubicBezTo>
                  <a:cubicBezTo>
                    <a:pt x="220" y="74"/>
                    <a:pt x="220" y="74"/>
                    <a:pt x="221" y="74"/>
                  </a:cubicBezTo>
                  <a:cubicBezTo>
                    <a:pt x="221" y="74"/>
                    <a:pt x="221" y="74"/>
                    <a:pt x="221" y="74"/>
                  </a:cubicBezTo>
                  <a:cubicBezTo>
                    <a:pt x="221" y="73"/>
                    <a:pt x="221" y="73"/>
                    <a:pt x="221" y="73"/>
                  </a:cubicBezTo>
                  <a:cubicBezTo>
                    <a:pt x="221" y="73"/>
                    <a:pt x="221" y="72"/>
                    <a:pt x="221" y="71"/>
                  </a:cubicBezTo>
                  <a:cubicBezTo>
                    <a:pt x="221" y="71"/>
                    <a:pt x="221" y="71"/>
                    <a:pt x="221" y="71"/>
                  </a:cubicBezTo>
                  <a:cubicBezTo>
                    <a:pt x="221" y="71"/>
                    <a:pt x="221" y="71"/>
                    <a:pt x="221" y="71"/>
                  </a:cubicBezTo>
                  <a:cubicBezTo>
                    <a:pt x="221" y="70"/>
                    <a:pt x="221" y="70"/>
                    <a:pt x="221" y="70"/>
                  </a:cubicBezTo>
                  <a:cubicBezTo>
                    <a:pt x="221" y="69"/>
                    <a:pt x="221" y="69"/>
                    <a:pt x="221" y="69"/>
                  </a:cubicBezTo>
                  <a:cubicBezTo>
                    <a:pt x="221" y="68"/>
                    <a:pt x="221" y="68"/>
                    <a:pt x="221" y="68"/>
                  </a:cubicBezTo>
                  <a:cubicBezTo>
                    <a:pt x="221" y="68"/>
                    <a:pt x="221" y="68"/>
                    <a:pt x="221" y="68"/>
                  </a:cubicBezTo>
                  <a:cubicBezTo>
                    <a:pt x="222" y="68"/>
                    <a:pt x="222" y="68"/>
                    <a:pt x="222" y="68"/>
                  </a:cubicBezTo>
                  <a:cubicBezTo>
                    <a:pt x="222" y="68"/>
                    <a:pt x="222" y="67"/>
                    <a:pt x="222" y="67"/>
                  </a:cubicBezTo>
                  <a:cubicBezTo>
                    <a:pt x="222" y="66"/>
                    <a:pt x="222" y="66"/>
                    <a:pt x="222" y="66"/>
                  </a:cubicBezTo>
                  <a:cubicBezTo>
                    <a:pt x="222" y="66"/>
                    <a:pt x="222" y="66"/>
                    <a:pt x="222" y="66"/>
                  </a:cubicBezTo>
                  <a:cubicBezTo>
                    <a:pt x="222" y="65"/>
                    <a:pt x="222" y="65"/>
                    <a:pt x="222" y="65"/>
                  </a:cubicBezTo>
                  <a:cubicBezTo>
                    <a:pt x="222" y="64"/>
                    <a:pt x="222" y="64"/>
                    <a:pt x="221" y="64"/>
                  </a:cubicBezTo>
                  <a:cubicBezTo>
                    <a:pt x="221" y="63"/>
                    <a:pt x="220" y="62"/>
                    <a:pt x="220" y="61"/>
                  </a:cubicBezTo>
                  <a:cubicBezTo>
                    <a:pt x="220" y="61"/>
                    <a:pt x="220" y="61"/>
                    <a:pt x="220" y="61"/>
                  </a:cubicBezTo>
                  <a:cubicBezTo>
                    <a:pt x="220" y="60"/>
                    <a:pt x="220" y="60"/>
                    <a:pt x="220" y="60"/>
                  </a:cubicBezTo>
                  <a:cubicBezTo>
                    <a:pt x="220" y="60"/>
                    <a:pt x="220" y="60"/>
                    <a:pt x="220" y="60"/>
                  </a:cubicBezTo>
                  <a:cubicBezTo>
                    <a:pt x="220" y="59"/>
                    <a:pt x="220" y="59"/>
                    <a:pt x="220" y="59"/>
                  </a:cubicBezTo>
                  <a:cubicBezTo>
                    <a:pt x="220" y="59"/>
                    <a:pt x="220" y="58"/>
                    <a:pt x="220" y="58"/>
                  </a:cubicBezTo>
                  <a:cubicBezTo>
                    <a:pt x="220" y="57"/>
                    <a:pt x="221" y="57"/>
                    <a:pt x="221" y="57"/>
                  </a:cubicBezTo>
                  <a:cubicBezTo>
                    <a:pt x="221" y="57"/>
                    <a:pt x="221" y="57"/>
                    <a:pt x="221" y="57"/>
                  </a:cubicBezTo>
                  <a:cubicBezTo>
                    <a:pt x="221" y="56"/>
                    <a:pt x="221" y="56"/>
                    <a:pt x="221" y="56"/>
                  </a:cubicBezTo>
                  <a:cubicBezTo>
                    <a:pt x="221" y="56"/>
                    <a:pt x="221" y="56"/>
                    <a:pt x="221" y="56"/>
                  </a:cubicBezTo>
                  <a:cubicBezTo>
                    <a:pt x="221" y="55"/>
                    <a:pt x="221" y="55"/>
                    <a:pt x="221" y="55"/>
                  </a:cubicBezTo>
                  <a:cubicBezTo>
                    <a:pt x="221" y="55"/>
                    <a:pt x="220" y="54"/>
                    <a:pt x="220" y="53"/>
                  </a:cubicBezTo>
                  <a:cubicBezTo>
                    <a:pt x="219" y="52"/>
                    <a:pt x="218" y="51"/>
                    <a:pt x="217" y="51"/>
                  </a:cubicBezTo>
                  <a:cubicBezTo>
                    <a:pt x="217" y="50"/>
                    <a:pt x="217" y="50"/>
                    <a:pt x="217" y="50"/>
                  </a:cubicBezTo>
                  <a:cubicBezTo>
                    <a:pt x="217" y="50"/>
                    <a:pt x="217" y="50"/>
                    <a:pt x="217" y="50"/>
                  </a:cubicBezTo>
                  <a:cubicBezTo>
                    <a:pt x="217" y="50"/>
                    <a:pt x="217" y="50"/>
                    <a:pt x="217" y="50"/>
                  </a:cubicBezTo>
                  <a:cubicBezTo>
                    <a:pt x="217" y="50"/>
                    <a:pt x="217" y="50"/>
                    <a:pt x="217" y="50"/>
                  </a:cubicBezTo>
                  <a:cubicBezTo>
                    <a:pt x="216" y="50"/>
                    <a:pt x="216" y="50"/>
                    <a:pt x="216" y="50"/>
                  </a:cubicBezTo>
                  <a:cubicBezTo>
                    <a:pt x="216" y="50"/>
                    <a:pt x="216" y="51"/>
                    <a:pt x="215" y="51"/>
                  </a:cubicBezTo>
                  <a:cubicBezTo>
                    <a:pt x="215" y="51"/>
                    <a:pt x="215" y="51"/>
                    <a:pt x="215" y="51"/>
                  </a:cubicBezTo>
                  <a:cubicBezTo>
                    <a:pt x="215" y="51"/>
                    <a:pt x="215" y="51"/>
                    <a:pt x="215" y="51"/>
                  </a:cubicBezTo>
                  <a:cubicBezTo>
                    <a:pt x="214" y="51"/>
                    <a:pt x="214" y="51"/>
                    <a:pt x="213" y="50"/>
                  </a:cubicBezTo>
                  <a:cubicBezTo>
                    <a:pt x="213" y="50"/>
                    <a:pt x="213" y="50"/>
                    <a:pt x="212" y="50"/>
                  </a:cubicBezTo>
                  <a:cubicBezTo>
                    <a:pt x="212" y="50"/>
                    <a:pt x="212" y="50"/>
                    <a:pt x="212" y="50"/>
                  </a:cubicBezTo>
                  <a:cubicBezTo>
                    <a:pt x="212" y="49"/>
                    <a:pt x="211" y="49"/>
                    <a:pt x="211" y="49"/>
                  </a:cubicBezTo>
                  <a:cubicBezTo>
                    <a:pt x="211" y="48"/>
                    <a:pt x="211" y="48"/>
                    <a:pt x="211" y="48"/>
                  </a:cubicBezTo>
                  <a:cubicBezTo>
                    <a:pt x="211" y="47"/>
                    <a:pt x="211" y="47"/>
                    <a:pt x="211" y="47"/>
                  </a:cubicBezTo>
                  <a:cubicBezTo>
                    <a:pt x="211" y="47"/>
                    <a:pt x="211" y="47"/>
                    <a:pt x="211" y="47"/>
                  </a:cubicBezTo>
                  <a:cubicBezTo>
                    <a:pt x="211" y="47"/>
                    <a:pt x="211" y="46"/>
                    <a:pt x="211" y="45"/>
                  </a:cubicBezTo>
                  <a:cubicBezTo>
                    <a:pt x="211" y="44"/>
                    <a:pt x="211" y="43"/>
                    <a:pt x="211" y="42"/>
                  </a:cubicBezTo>
                  <a:cubicBezTo>
                    <a:pt x="211" y="41"/>
                    <a:pt x="212" y="40"/>
                    <a:pt x="213" y="39"/>
                  </a:cubicBezTo>
                  <a:cubicBezTo>
                    <a:pt x="214" y="39"/>
                    <a:pt x="214" y="39"/>
                    <a:pt x="215" y="39"/>
                  </a:cubicBezTo>
                  <a:cubicBezTo>
                    <a:pt x="215" y="39"/>
                    <a:pt x="215" y="39"/>
                    <a:pt x="215" y="39"/>
                  </a:cubicBezTo>
                  <a:cubicBezTo>
                    <a:pt x="216" y="39"/>
                    <a:pt x="216" y="39"/>
                    <a:pt x="216" y="38"/>
                  </a:cubicBezTo>
                  <a:cubicBezTo>
                    <a:pt x="217" y="38"/>
                    <a:pt x="217" y="38"/>
                    <a:pt x="217" y="37"/>
                  </a:cubicBezTo>
                  <a:cubicBezTo>
                    <a:pt x="217" y="36"/>
                    <a:pt x="217" y="36"/>
                    <a:pt x="217" y="35"/>
                  </a:cubicBezTo>
                  <a:cubicBezTo>
                    <a:pt x="218" y="33"/>
                    <a:pt x="219" y="32"/>
                    <a:pt x="220" y="32"/>
                  </a:cubicBezTo>
                  <a:cubicBezTo>
                    <a:pt x="221" y="31"/>
                    <a:pt x="221" y="31"/>
                    <a:pt x="222" y="30"/>
                  </a:cubicBezTo>
                  <a:cubicBezTo>
                    <a:pt x="222" y="29"/>
                    <a:pt x="223" y="29"/>
                    <a:pt x="223" y="28"/>
                  </a:cubicBezTo>
                  <a:cubicBezTo>
                    <a:pt x="223" y="28"/>
                    <a:pt x="223" y="27"/>
                    <a:pt x="223" y="27"/>
                  </a:cubicBezTo>
                  <a:moveTo>
                    <a:pt x="256" y="0"/>
                  </a:moveTo>
                  <a:cubicBezTo>
                    <a:pt x="256" y="0"/>
                    <a:pt x="256" y="0"/>
                    <a:pt x="255" y="1"/>
                  </a:cubicBezTo>
                  <a:cubicBezTo>
                    <a:pt x="255" y="1"/>
                    <a:pt x="254" y="2"/>
                    <a:pt x="254" y="2"/>
                  </a:cubicBezTo>
                  <a:cubicBezTo>
                    <a:pt x="253" y="2"/>
                    <a:pt x="253" y="2"/>
                    <a:pt x="252" y="2"/>
                  </a:cubicBezTo>
                  <a:cubicBezTo>
                    <a:pt x="251" y="2"/>
                    <a:pt x="251" y="2"/>
                    <a:pt x="251" y="2"/>
                  </a:cubicBezTo>
                  <a:cubicBezTo>
                    <a:pt x="251" y="2"/>
                    <a:pt x="251" y="2"/>
                    <a:pt x="251" y="2"/>
                  </a:cubicBezTo>
                  <a:cubicBezTo>
                    <a:pt x="251" y="2"/>
                    <a:pt x="250" y="2"/>
                    <a:pt x="250" y="2"/>
                  </a:cubicBezTo>
                  <a:cubicBezTo>
                    <a:pt x="249" y="2"/>
                    <a:pt x="248" y="4"/>
                    <a:pt x="247" y="5"/>
                  </a:cubicBezTo>
                  <a:cubicBezTo>
                    <a:pt x="246" y="7"/>
                    <a:pt x="244" y="7"/>
                    <a:pt x="243" y="8"/>
                  </a:cubicBezTo>
                  <a:cubicBezTo>
                    <a:pt x="242" y="9"/>
                    <a:pt x="240" y="10"/>
                    <a:pt x="240" y="11"/>
                  </a:cubicBezTo>
                  <a:cubicBezTo>
                    <a:pt x="239" y="12"/>
                    <a:pt x="239" y="14"/>
                    <a:pt x="239" y="16"/>
                  </a:cubicBezTo>
                  <a:cubicBezTo>
                    <a:pt x="237" y="17"/>
                    <a:pt x="236" y="18"/>
                    <a:pt x="235" y="19"/>
                  </a:cubicBezTo>
                  <a:cubicBezTo>
                    <a:pt x="234" y="20"/>
                    <a:pt x="234" y="20"/>
                    <a:pt x="234" y="20"/>
                  </a:cubicBezTo>
                  <a:cubicBezTo>
                    <a:pt x="234" y="20"/>
                    <a:pt x="235" y="20"/>
                    <a:pt x="235" y="20"/>
                  </a:cubicBezTo>
                  <a:cubicBezTo>
                    <a:pt x="236" y="21"/>
                    <a:pt x="236" y="21"/>
                    <a:pt x="237" y="22"/>
                  </a:cubicBezTo>
                  <a:cubicBezTo>
                    <a:pt x="237" y="22"/>
                    <a:pt x="237" y="23"/>
                    <a:pt x="237" y="24"/>
                  </a:cubicBezTo>
                  <a:cubicBezTo>
                    <a:pt x="237" y="24"/>
                    <a:pt x="237" y="24"/>
                    <a:pt x="237" y="24"/>
                  </a:cubicBezTo>
                  <a:cubicBezTo>
                    <a:pt x="237" y="25"/>
                    <a:pt x="237" y="26"/>
                    <a:pt x="237" y="27"/>
                  </a:cubicBezTo>
                  <a:cubicBezTo>
                    <a:pt x="237" y="29"/>
                    <a:pt x="237" y="30"/>
                    <a:pt x="238" y="31"/>
                  </a:cubicBezTo>
                  <a:cubicBezTo>
                    <a:pt x="238" y="31"/>
                    <a:pt x="238" y="32"/>
                    <a:pt x="239" y="32"/>
                  </a:cubicBezTo>
                  <a:cubicBezTo>
                    <a:pt x="239" y="33"/>
                    <a:pt x="240" y="33"/>
                    <a:pt x="239" y="34"/>
                  </a:cubicBezTo>
                  <a:cubicBezTo>
                    <a:pt x="239" y="34"/>
                    <a:pt x="239" y="34"/>
                    <a:pt x="239" y="34"/>
                  </a:cubicBezTo>
                  <a:cubicBezTo>
                    <a:pt x="239" y="34"/>
                    <a:pt x="239" y="34"/>
                    <a:pt x="239" y="34"/>
                  </a:cubicBezTo>
                  <a:cubicBezTo>
                    <a:pt x="239" y="35"/>
                    <a:pt x="239" y="35"/>
                    <a:pt x="239" y="36"/>
                  </a:cubicBezTo>
                  <a:cubicBezTo>
                    <a:pt x="239" y="36"/>
                    <a:pt x="239" y="36"/>
                    <a:pt x="239" y="36"/>
                  </a:cubicBezTo>
                  <a:cubicBezTo>
                    <a:pt x="240" y="36"/>
                    <a:pt x="240" y="35"/>
                    <a:pt x="240" y="35"/>
                  </a:cubicBezTo>
                  <a:cubicBezTo>
                    <a:pt x="240" y="35"/>
                    <a:pt x="240" y="35"/>
                    <a:pt x="240" y="35"/>
                  </a:cubicBezTo>
                  <a:cubicBezTo>
                    <a:pt x="242" y="33"/>
                    <a:pt x="244" y="33"/>
                    <a:pt x="246" y="33"/>
                  </a:cubicBezTo>
                  <a:cubicBezTo>
                    <a:pt x="246" y="33"/>
                    <a:pt x="246" y="33"/>
                    <a:pt x="247" y="33"/>
                  </a:cubicBezTo>
                  <a:cubicBezTo>
                    <a:pt x="247" y="33"/>
                    <a:pt x="248" y="33"/>
                    <a:pt x="248" y="33"/>
                  </a:cubicBezTo>
                  <a:cubicBezTo>
                    <a:pt x="248" y="33"/>
                    <a:pt x="249" y="33"/>
                    <a:pt x="249" y="33"/>
                  </a:cubicBezTo>
                  <a:cubicBezTo>
                    <a:pt x="250" y="33"/>
                    <a:pt x="251" y="33"/>
                    <a:pt x="251" y="33"/>
                  </a:cubicBezTo>
                  <a:cubicBezTo>
                    <a:pt x="251" y="33"/>
                    <a:pt x="252" y="33"/>
                    <a:pt x="252" y="32"/>
                  </a:cubicBezTo>
                  <a:cubicBezTo>
                    <a:pt x="253" y="31"/>
                    <a:pt x="254" y="31"/>
                    <a:pt x="255" y="30"/>
                  </a:cubicBezTo>
                  <a:cubicBezTo>
                    <a:pt x="256" y="29"/>
                    <a:pt x="256" y="28"/>
                    <a:pt x="257" y="26"/>
                  </a:cubicBezTo>
                  <a:cubicBezTo>
                    <a:pt x="257" y="25"/>
                    <a:pt x="258" y="24"/>
                    <a:pt x="258" y="23"/>
                  </a:cubicBezTo>
                  <a:cubicBezTo>
                    <a:pt x="259" y="21"/>
                    <a:pt x="259" y="20"/>
                    <a:pt x="259" y="19"/>
                  </a:cubicBezTo>
                  <a:cubicBezTo>
                    <a:pt x="259" y="18"/>
                    <a:pt x="259" y="17"/>
                    <a:pt x="259" y="16"/>
                  </a:cubicBezTo>
                  <a:cubicBezTo>
                    <a:pt x="260" y="13"/>
                    <a:pt x="262" y="11"/>
                    <a:pt x="263" y="9"/>
                  </a:cubicBezTo>
                  <a:cubicBezTo>
                    <a:pt x="263" y="9"/>
                    <a:pt x="263" y="9"/>
                    <a:pt x="263" y="9"/>
                  </a:cubicBezTo>
                  <a:cubicBezTo>
                    <a:pt x="263" y="8"/>
                    <a:pt x="263" y="8"/>
                    <a:pt x="262" y="7"/>
                  </a:cubicBezTo>
                  <a:cubicBezTo>
                    <a:pt x="262" y="7"/>
                    <a:pt x="261" y="6"/>
                    <a:pt x="261" y="6"/>
                  </a:cubicBezTo>
                  <a:cubicBezTo>
                    <a:pt x="260" y="5"/>
                    <a:pt x="259" y="5"/>
                    <a:pt x="258" y="4"/>
                  </a:cubicBezTo>
                  <a:cubicBezTo>
                    <a:pt x="257" y="2"/>
                    <a:pt x="257" y="1"/>
                    <a:pt x="256" y="0"/>
                  </a:cubicBezTo>
                  <a:cubicBezTo>
                    <a:pt x="256" y="0"/>
                    <a:pt x="256" y="0"/>
                    <a:pt x="256" y="0"/>
                  </a:cubicBezTo>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5" name="Freeform 42">
              <a:extLst>
                <a:ext uri="{FF2B5EF4-FFF2-40B4-BE49-F238E27FC236}">
                  <a16:creationId xmlns:a16="http://schemas.microsoft.com/office/drawing/2014/main" id="{E9403A90-50D6-2050-E4BC-199BBBF8EB40}"/>
                </a:ext>
              </a:extLst>
            </p:cNvPr>
            <p:cNvSpPr>
              <a:spLocks noEditPoints="1"/>
            </p:cNvSpPr>
            <p:nvPr/>
          </p:nvSpPr>
          <p:spPr bwMode="auto">
            <a:xfrm>
              <a:off x="5203825" y="2798763"/>
              <a:ext cx="792163" cy="781050"/>
            </a:xfrm>
            <a:custGeom>
              <a:avLst/>
              <a:gdLst>
                <a:gd name="T0" fmla="*/ 199 w 208"/>
                <a:gd name="T1" fmla="*/ 21 h 205"/>
                <a:gd name="T2" fmla="*/ 185 w 208"/>
                <a:gd name="T3" fmla="*/ 24 h 205"/>
                <a:gd name="T4" fmla="*/ 190 w 208"/>
                <a:gd name="T5" fmla="*/ 18 h 205"/>
                <a:gd name="T6" fmla="*/ 175 w 208"/>
                <a:gd name="T7" fmla="*/ 59 h 205"/>
                <a:gd name="T8" fmla="*/ 180 w 208"/>
                <a:gd name="T9" fmla="*/ 55 h 205"/>
                <a:gd name="T10" fmla="*/ 194 w 208"/>
                <a:gd name="T11" fmla="*/ 54 h 205"/>
                <a:gd name="T12" fmla="*/ 200 w 208"/>
                <a:gd name="T13" fmla="*/ 54 h 205"/>
                <a:gd name="T14" fmla="*/ 181 w 208"/>
                <a:gd name="T15" fmla="*/ 65 h 205"/>
                <a:gd name="T16" fmla="*/ 189 w 208"/>
                <a:gd name="T17" fmla="*/ 66 h 205"/>
                <a:gd name="T18" fmla="*/ 9 w 208"/>
                <a:gd name="T19" fmla="*/ 191 h 205"/>
                <a:gd name="T20" fmla="*/ 40 w 208"/>
                <a:gd name="T21" fmla="*/ 205 h 205"/>
                <a:gd name="T22" fmla="*/ 62 w 208"/>
                <a:gd name="T23" fmla="*/ 192 h 205"/>
                <a:gd name="T24" fmla="*/ 84 w 208"/>
                <a:gd name="T25" fmla="*/ 180 h 205"/>
                <a:gd name="T26" fmla="*/ 99 w 208"/>
                <a:gd name="T27" fmla="*/ 157 h 205"/>
                <a:gd name="T28" fmla="*/ 108 w 208"/>
                <a:gd name="T29" fmla="*/ 136 h 205"/>
                <a:gd name="T30" fmla="*/ 118 w 208"/>
                <a:gd name="T31" fmla="*/ 119 h 205"/>
                <a:gd name="T32" fmla="*/ 150 w 208"/>
                <a:gd name="T33" fmla="*/ 116 h 205"/>
                <a:gd name="T34" fmla="*/ 195 w 208"/>
                <a:gd name="T35" fmla="*/ 128 h 205"/>
                <a:gd name="T36" fmla="*/ 199 w 208"/>
                <a:gd name="T37" fmla="*/ 112 h 205"/>
                <a:gd name="T38" fmla="*/ 188 w 208"/>
                <a:gd name="T39" fmla="*/ 99 h 205"/>
                <a:gd name="T40" fmla="*/ 186 w 208"/>
                <a:gd name="T41" fmla="*/ 93 h 205"/>
                <a:gd name="T42" fmla="*/ 188 w 208"/>
                <a:gd name="T43" fmla="*/ 88 h 205"/>
                <a:gd name="T44" fmla="*/ 185 w 208"/>
                <a:gd name="T45" fmla="*/ 87 h 205"/>
                <a:gd name="T46" fmla="*/ 176 w 208"/>
                <a:gd name="T47" fmla="*/ 80 h 205"/>
                <a:gd name="T48" fmla="*/ 166 w 208"/>
                <a:gd name="T49" fmla="*/ 75 h 205"/>
                <a:gd name="T50" fmla="*/ 179 w 208"/>
                <a:gd name="T51" fmla="*/ 70 h 205"/>
                <a:gd name="T52" fmla="*/ 169 w 208"/>
                <a:gd name="T53" fmla="*/ 59 h 205"/>
                <a:gd name="T54" fmla="*/ 158 w 208"/>
                <a:gd name="T55" fmla="*/ 48 h 205"/>
                <a:gd name="T56" fmla="*/ 179 w 208"/>
                <a:gd name="T57" fmla="*/ 43 h 205"/>
                <a:gd name="T58" fmla="*/ 187 w 208"/>
                <a:gd name="T59" fmla="*/ 39 h 205"/>
                <a:gd name="T60" fmla="*/ 194 w 208"/>
                <a:gd name="T61" fmla="*/ 34 h 205"/>
                <a:gd name="T62" fmla="*/ 180 w 208"/>
                <a:gd name="T63" fmla="*/ 23 h 205"/>
                <a:gd name="T64" fmla="*/ 174 w 208"/>
                <a:gd name="T65" fmla="*/ 20 h 205"/>
                <a:gd name="T66" fmla="*/ 176 w 208"/>
                <a:gd name="T67" fmla="*/ 17 h 205"/>
                <a:gd name="T68" fmla="*/ 186 w 208"/>
                <a:gd name="T69" fmla="*/ 15 h 205"/>
                <a:gd name="T70" fmla="*/ 176 w 208"/>
                <a:gd name="T71" fmla="*/ 13 h 205"/>
                <a:gd name="T72" fmla="*/ 160 w 208"/>
                <a:gd name="T73" fmla="*/ 4 h 205"/>
                <a:gd name="T74" fmla="*/ 143 w 208"/>
                <a:gd name="T75" fmla="*/ 3 h 205"/>
                <a:gd name="T76" fmla="*/ 131 w 208"/>
                <a:gd name="T77" fmla="*/ 4 h 205"/>
                <a:gd name="T78" fmla="*/ 120 w 208"/>
                <a:gd name="T79" fmla="*/ 4 h 205"/>
                <a:gd name="T80" fmla="*/ 108 w 208"/>
                <a:gd name="T81" fmla="*/ 2 h 205"/>
                <a:gd name="T82" fmla="*/ 94 w 208"/>
                <a:gd name="T83" fmla="*/ 7 h 205"/>
                <a:gd name="T84" fmla="*/ 83 w 208"/>
                <a:gd name="T85" fmla="*/ 2 h 205"/>
                <a:gd name="T86" fmla="*/ 76 w 208"/>
                <a:gd name="T87" fmla="*/ 11 h 205"/>
                <a:gd name="T88" fmla="*/ 66 w 208"/>
                <a:gd name="T89" fmla="*/ 25 h 205"/>
                <a:gd name="T90" fmla="*/ 62 w 208"/>
                <a:gd name="T91" fmla="*/ 41 h 205"/>
                <a:gd name="T92" fmla="*/ 65 w 208"/>
                <a:gd name="T93" fmla="*/ 61 h 205"/>
                <a:gd name="T94" fmla="*/ 61 w 208"/>
                <a:gd name="T95" fmla="*/ 77 h 205"/>
                <a:gd name="T96" fmla="*/ 46 w 208"/>
                <a:gd name="T97" fmla="*/ 86 h 205"/>
                <a:gd name="T98" fmla="*/ 33 w 208"/>
                <a:gd name="T99" fmla="*/ 96 h 205"/>
                <a:gd name="T100" fmla="*/ 38 w 208"/>
                <a:gd name="T101" fmla="*/ 110 h 205"/>
                <a:gd name="T102" fmla="*/ 34 w 208"/>
                <a:gd name="T103" fmla="*/ 122 h 205"/>
                <a:gd name="T104" fmla="*/ 14 w 208"/>
                <a:gd name="T105" fmla="*/ 135 h 205"/>
                <a:gd name="T106" fmla="*/ 15 w 208"/>
                <a:gd name="T107" fmla="*/ 143 h 205"/>
                <a:gd name="T108" fmla="*/ 18 w 208"/>
                <a:gd name="T109" fmla="*/ 152 h 205"/>
                <a:gd name="T110" fmla="*/ 10 w 208"/>
                <a:gd name="T111" fmla="*/ 157 h 205"/>
                <a:gd name="T112" fmla="*/ 6 w 208"/>
                <a:gd name="T113" fmla="*/ 172 h 205"/>
                <a:gd name="T114" fmla="*/ 4 w 208"/>
                <a:gd name="T115" fmla="*/ 18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205">
                  <a:moveTo>
                    <a:pt x="191" y="16"/>
                  </a:moveTo>
                  <a:cubicBezTo>
                    <a:pt x="191" y="16"/>
                    <a:pt x="191" y="16"/>
                    <a:pt x="191" y="16"/>
                  </a:cubicBezTo>
                  <a:cubicBezTo>
                    <a:pt x="205" y="16"/>
                    <a:pt x="205" y="16"/>
                    <a:pt x="205" y="16"/>
                  </a:cubicBezTo>
                  <a:cubicBezTo>
                    <a:pt x="205" y="17"/>
                    <a:pt x="205" y="19"/>
                    <a:pt x="205" y="20"/>
                  </a:cubicBezTo>
                  <a:cubicBezTo>
                    <a:pt x="205" y="22"/>
                    <a:pt x="205" y="23"/>
                    <a:pt x="203" y="23"/>
                  </a:cubicBezTo>
                  <a:cubicBezTo>
                    <a:pt x="202" y="23"/>
                    <a:pt x="201" y="23"/>
                    <a:pt x="200" y="23"/>
                  </a:cubicBezTo>
                  <a:cubicBezTo>
                    <a:pt x="200" y="23"/>
                    <a:pt x="199" y="22"/>
                    <a:pt x="199" y="21"/>
                  </a:cubicBezTo>
                  <a:cubicBezTo>
                    <a:pt x="197" y="20"/>
                    <a:pt x="196" y="20"/>
                    <a:pt x="194" y="19"/>
                  </a:cubicBezTo>
                  <a:cubicBezTo>
                    <a:pt x="194" y="19"/>
                    <a:pt x="193" y="18"/>
                    <a:pt x="193" y="17"/>
                  </a:cubicBezTo>
                  <a:cubicBezTo>
                    <a:pt x="193" y="17"/>
                    <a:pt x="191" y="16"/>
                    <a:pt x="191" y="16"/>
                  </a:cubicBezTo>
                  <a:close/>
                  <a:moveTo>
                    <a:pt x="187" y="18"/>
                  </a:moveTo>
                  <a:cubicBezTo>
                    <a:pt x="186" y="19"/>
                    <a:pt x="186" y="19"/>
                    <a:pt x="186" y="19"/>
                  </a:cubicBezTo>
                  <a:cubicBezTo>
                    <a:pt x="185" y="19"/>
                    <a:pt x="185" y="20"/>
                    <a:pt x="185" y="20"/>
                  </a:cubicBezTo>
                  <a:cubicBezTo>
                    <a:pt x="185" y="21"/>
                    <a:pt x="185" y="23"/>
                    <a:pt x="185" y="24"/>
                  </a:cubicBezTo>
                  <a:cubicBezTo>
                    <a:pt x="185" y="25"/>
                    <a:pt x="186" y="25"/>
                    <a:pt x="187" y="26"/>
                  </a:cubicBezTo>
                  <a:cubicBezTo>
                    <a:pt x="188" y="26"/>
                    <a:pt x="188" y="27"/>
                    <a:pt x="189" y="28"/>
                  </a:cubicBezTo>
                  <a:cubicBezTo>
                    <a:pt x="190" y="28"/>
                    <a:pt x="191" y="28"/>
                    <a:pt x="192" y="27"/>
                  </a:cubicBezTo>
                  <a:cubicBezTo>
                    <a:pt x="193" y="26"/>
                    <a:pt x="193" y="25"/>
                    <a:pt x="193" y="24"/>
                  </a:cubicBezTo>
                  <a:cubicBezTo>
                    <a:pt x="194" y="24"/>
                    <a:pt x="195" y="23"/>
                    <a:pt x="194" y="22"/>
                  </a:cubicBezTo>
                  <a:cubicBezTo>
                    <a:pt x="194" y="21"/>
                    <a:pt x="193" y="21"/>
                    <a:pt x="192" y="20"/>
                  </a:cubicBezTo>
                  <a:cubicBezTo>
                    <a:pt x="191" y="19"/>
                    <a:pt x="191" y="18"/>
                    <a:pt x="190" y="18"/>
                  </a:cubicBezTo>
                  <a:cubicBezTo>
                    <a:pt x="189" y="17"/>
                    <a:pt x="188" y="17"/>
                    <a:pt x="187" y="18"/>
                  </a:cubicBezTo>
                  <a:close/>
                  <a:moveTo>
                    <a:pt x="164" y="51"/>
                  </a:moveTo>
                  <a:cubicBezTo>
                    <a:pt x="164" y="52"/>
                    <a:pt x="164" y="52"/>
                    <a:pt x="165" y="53"/>
                  </a:cubicBezTo>
                  <a:cubicBezTo>
                    <a:pt x="165" y="54"/>
                    <a:pt x="165" y="55"/>
                    <a:pt x="166" y="55"/>
                  </a:cubicBezTo>
                  <a:cubicBezTo>
                    <a:pt x="166" y="56"/>
                    <a:pt x="167" y="57"/>
                    <a:pt x="168" y="57"/>
                  </a:cubicBezTo>
                  <a:cubicBezTo>
                    <a:pt x="170" y="57"/>
                    <a:pt x="170" y="57"/>
                    <a:pt x="171" y="57"/>
                  </a:cubicBezTo>
                  <a:cubicBezTo>
                    <a:pt x="173" y="58"/>
                    <a:pt x="174" y="58"/>
                    <a:pt x="175" y="59"/>
                  </a:cubicBezTo>
                  <a:cubicBezTo>
                    <a:pt x="177" y="59"/>
                    <a:pt x="178" y="59"/>
                    <a:pt x="179" y="58"/>
                  </a:cubicBezTo>
                  <a:cubicBezTo>
                    <a:pt x="179" y="57"/>
                    <a:pt x="178" y="56"/>
                    <a:pt x="177" y="56"/>
                  </a:cubicBezTo>
                  <a:cubicBezTo>
                    <a:pt x="175" y="55"/>
                    <a:pt x="175" y="55"/>
                    <a:pt x="174" y="54"/>
                  </a:cubicBezTo>
                  <a:cubicBezTo>
                    <a:pt x="172" y="53"/>
                    <a:pt x="170" y="53"/>
                    <a:pt x="169" y="52"/>
                  </a:cubicBezTo>
                  <a:cubicBezTo>
                    <a:pt x="167" y="52"/>
                    <a:pt x="166" y="51"/>
                    <a:pt x="164" y="51"/>
                  </a:cubicBezTo>
                  <a:close/>
                  <a:moveTo>
                    <a:pt x="178" y="53"/>
                  </a:moveTo>
                  <a:cubicBezTo>
                    <a:pt x="178" y="54"/>
                    <a:pt x="179" y="54"/>
                    <a:pt x="180" y="55"/>
                  </a:cubicBezTo>
                  <a:cubicBezTo>
                    <a:pt x="181" y="56"/>
                    <a:pt x="181" y="57"/>
                    <a:pt x="182" y="57"/>
                  </a:cubicBezTo>
                  <a:cubicBezTo>
                    <a:pt x="183" y="58"/>
                    <a:pt x="185" y="57"/>
                    <a:pt x="185" y="56"/>
                  </a:cubicBezTo>
                  <a:cubicBezTo>
                    <a:pt x="184" y="55"/>
                    <a:pt x="183" y="54"/>
                    <a:pt x="183" y="54"/>
                  </a:cubicBezTo>
                  <a:cubicBezTo>
                    <a:pt x="182" y="53"/>
                    <a:pt x="181" y="53"/>
                    <a:pt x="180" y="53"/>
                  </a:cubicBezTo>
                  <a:cubicBezTo>
                    <a:pt x="179" y="53"/>
                    <a:pt x="178" y="53"/>
                    <a:pt x="178" y="53"/>
                  </a:cubicBezTo>
                  <a:close/>
                  <a:moveTo>
                    <a:pt x="195" y="53"/>
                  </a:moveTo>
                  <a:cubicBezTo>
                    <a:pt x="194" y="53"/>
                    <a:pt x="194" y="54"/>
                    <a:pt x="194" y="54"/>
                  </a:cubicBezTo>
                  <a:cubicBezTo>
                    <a:pt x="195" y="55"/>
                    <a:pt x="195" y="56"/>
                    <a:pt x="196" y="56"/>
                  </a:cubicBezTo>
                  <a:cubicBezTo>
                    <a:pt x="197" y="56"/>
                    <a:pt x="197" y="57"/>
                    <a:pt x="198" y="57"/>
                  </a:cubicBezTo>
                  <a:cubicBezTo>
                    <a:pt x="199" y="58"/>
                    <a:pt x="199" y="58"/>
                    <a:pt x="200" y="59"/>
                  </a:cubicBezTo>
                  <a:cubicBezTo>
                    <a:pt x="200" y="59"/>
                    <a:pt x="201" y="59"/>
                    <a:pt x="202" y="59"/>
                  </a:cubicBezTo>
                  <a:cubicBezTo>
                    <a:pt x="202" y="58"/>
                    <a:pt x="202" y="58"/>
                    <a:pt x="202" y="57"/>
                  </a:cubicBezTo>
                  <a:cubicBezTo>
                    <a:pt x="202" y="57"/>
                    <a:pt x="202" y="56"/>
                    <a:pt x="202" y="56"/>
                  </a:cubicBezTo>
                  <a:cubicBezTo>
                    <a:pt x="201" y="55"/>
                    <a:pt x="201" y="55"/>
                    <a:pt x="200" y="54"/>
                  </a:cubicBezTo>
                  <a:cubicBezTo>
                    <a:pt x="200" y="53"/>
                    <a:pt x="200" y="52"/>
                    <a:pt x="199" y="51"/>
                  </a:cubicBezTo>
                  <a:cubicBezTo>
                    <a:pt x="199" y="51"/>
                    <a:pt x="199" y="51"/>
                    <a:pt x="198" y="51"/>
                  </a:cubicBezTo>
                  <a:cubicBezTo>
                    <a:pt x="197" y="51"/>
                    <a:pt x="197" y="51"/>
                    <a:pt x="196" y="51"/>
                  </a:cubicBezTo>
                  <a:cubicBezTo>
                    <a:pt x="195" y="52"/>
                    <a:pt x="195" y="52"/>
                    <a:pt x="195" y="52"/>
                  </a:cubicBezTo>
                  <a:lnTo>
                    <a:pt x="195" y="53"/>
                  </a:lnTo>
                  <a:close/>
                  <a:moveTo>
                    <a:pt x="182" y="60"/>
                  </a:moveTo>
                  <a:cubicBezTo>
                    <a:pt x="180" y="61"/>
                    <a:pt x="180" y="63"/>
                    <a:pt x="181" y="65"/>
                  </a:cubicBezTo>
                  <a:cubicBezTo>
                    <a:pt x="182" y="66"/>
                    <a:pt x="182" y="66"/>
                    <a:pt x="183" y="67"/>
                  </a:cubicBezTo>
                  <a:cubicBezTo>
                    <a:pt x="184" y="68"/>
                    <a:pt x="184" y="68"/>
                    <a:pt x="185" y="68"/>
                  </a:cubicBezTo>
                  <a:cubicBezTo>
                    <a:pt x="186" y="69"/>
                    <a:pt x="186" y="69"/>
                    <a:pt x="186" y="69"/>
                  </a:cubicBezTo>
                  <a:cubicBezTo>
                    <a:pt x="187" y="70"/>
                    <a:pt x="187" y="72"/>
                    <a:pt x="188" y="72"/>
                  </a:cubicBezTo>
                  <a:cubicBezTo>
                    <a:pt x="189" y="71"/>
                    <a:pt x="189" y="70"/>
                    <a:pt x="189" y="69"/>
                  </a:cubicBezTo>
                  <a:cubicBezTo>
                    <a:pt x="189" y="69"/>
                    <a:pt x="189" y="68"/>
                    <a:pt x="188" y="67"/>
                  </a:cubicBezTo>
                  <a:cubicBezTo>
                    <a:pt x="188" y="67"/>
                    <a:pt x="189" y="67"/>
                    <a:pt x="189" y="66"/>
                  </a:cubicBezTo>
                  <a:cubicBezTo>
                    <a:pt x="189" y="65"/>
                    <a:pt x="190" y="64"/>
                    <a:pt x="190" y="63"/>
                  </a:cubicBezTo>
                  <a:cubicBezTo>
                    <a:pt x="190" y="62"/>
                    <a:pt x="190" y="62"/>
                    <a:pt x="189" y="61"/>
                  </a:cubicBezTo>
                  <a:cubicBezTo>
                    <a:pt x="189" y="61"/>
                    <a:pt x="188" y="60"/>
                    <a:pt x="187" y="60"/>
                  </a:cubicBezTo>
                  <a:cubicBezTo>
                    <a:pt x="186" y="60"/>
                    <a:pt x="184" y="60"/>
                    <a:pt x="182" y="60"/>
                  </a:cubicBezTo>
                  <a:close/>
                  <a:moveTo>
                    <a:pt x="4" y="186"/>
                  </a:moveTo>
                  <a:cubicBezTo>
                    <a:pt x="9" y="188"/>
                    <a:pt x="9" y="188"/>
                    <a:pt x="9" y="188"/>
                  </a:cubicBezTo>
                  <a:cubicBezTo>
                    <a:pt x="9" y="191"/>
                    <a:pt x="9" y="191"/>
                    <a:pt x="9" y="191"/>
                  </a:cubicBezTo>
                  <a:cubicBezTo>
                    <a:pt x="13" y="195"/>
                    <a:pt x="13" y="195"/>
                    <a:pt x="13" y="195"/>
                  </a:cubicBezTo>
                  <a:cubicBezTo>
                    <a:pt x="18" y="197"/>
                    <a:pt x="18" y="197"/>
                    <a:pt x="18" y="197"/>
                  </a:cubicBezTo>
                  <a:cubicBezTo>
                    <a:pt x="21" y="196"/>
                    <a:pt x="21" y="196"/>
                    <a:pt x="21" y="196"/>
                  </a:cubicBezTo>
                  <a:cubicBezTo>
                    <a:pt x="25" y="197"/>
                    <a:pt x="25" y="197"/>
                    <a:pt x="25" y="197"/>
                  </a:cubicBezTo>
                  <a:cubicBezTo>
                    <a:pt x="30" y="201"/>
                    <a:pt x="30" y="201"/>
                    <a:pt x="30" y="201"/>
                  </a:cubicBezTo>
                  <a:cubicBezTo>
                    <a:pt x="36" y="201"/>
                    <a:pt x="36" y="201"/>
                    <a:pt x="36" y="201"/>
                  </a:cubicBezTo>
                  <a:cubicBezTo>
                    <a:pt x="40" y="205"/>
                    <a:pt x="40" y="205"/>
                    <a:pt x="40" y="205"/>
                  </a:cubicBezTo>
                  <a:cubicBezTo>
                    <a:pt x="44" y="205"/>
                    <a:pt x="44" y="205"/>
                    <a:pt x="44" y="205"/>
                  </a:cubicBezTo>
                  <a:cubicBezTo>
                    <a:pt x="50" y="204"/>
                    <a:pt x="50" y="204"/>
                    <a:pt x="50" y="204"/>
                  </a:cubicBezTo>
                  <a:cubicBezTo>
                    <a:pt x="52" y="199"/>
                    <a:pt x="52" y="199"/>
                    <a:pt x="52" y="199"/>
                  </a:cubicBezTo>
                  <a:cubicBezTo>
                    <a:pt x="52" y="197"/>
                    <a:pt x="52" y="197"/>
                    <a:pt x="52" y="197"/>
                  </a:cubicBezTo>
                  <a:cubicBezTo>
                    <a:pt x="54" y="194"/>
                    <a:pt x="54" y="194"/>
                    <a:pt x="54" y="194"/>
                  </a:cubicBezTo>
                  <a:cubicBezTo>
                    <a:pt x="57" y="194"/>
                    <a:pt x="57" y="194"/>
                    <a:pt x="57" y="194"/>
                  </a:cubicBezTo>
                  <a:cubicBezTo>
                    <a:pt x="62" y="192"/>
                    <a:pt x="62" y="192"/>
                    <a:pt x="62" y="192"/>
                  </a:cubicBezTo>
                  <a:cubicBezTo>
                    <a:pt x="66" y="191"/>
                    <a:pt x="66" y="191"/>
                    <a:pt x="66" y="191"/>
                  </a:cubicBezTo>
                  <a:cubicBezTo>
                    <a:pt x="71" y="192"/>
                    <a:pt x="71" y="192"/>
                    <a:pt x="71" y="192"/>
                  </a:cubicBezTo>
                  <a:cubicBezTo>
                    <a:pt x="72" y="190"/>
                    <a:pt x="72" y="190"/>
                    <a:pt x="72" y="190"/>
                  </a:cubicBezTo>
                  <a:cubicBezTo>
                    <a:pt x="74" y="187"/>
                    <a:pt x="74" y="187"/>
                    <a:pt x="74" y="187"/>
                  </a:cubicBezTo>
                  <a:cubicBezTo>
                    <a:pt x="78" y="186"/>
                    <a:pt x="78" y="186"/>
                    <a:pt x="78" y="186"/>
                  </a:cubicBezTo>
                  <a:cubicBezTo>
                    <a:pt x="80" y="181"/>
                    <a:pt x="80" y="181"/>
                    <a:pt x="80" y="181"/>
                  </a:cubicBezTo>
                  <a:cubicBezTo>
                    <a:pt x="84" y="180"/>
                    <a:pt x="84" y="180"/>
                    <a:pt x="84" y="180"/>
                  </a:cubicBezTo>
                  <a:cubicBezTo>
                    <a:pt x="86" y="176"/>
                    <a:pt x="86" y="176"/>
                    <a:pt x="86" y="176"/>
                  </a:cubicBezTo>
                  <a:cubicBezTo>
                    <a:pt x="90" y="175"/>
                    <a:pt x="90" y="175"/>
                    <a:pt x="90" y="175"/>
                  </a:cubicBezTo>
                  <a:cubicBezTo>
                    <a:pt x="90" y="171"/>
                    <a:pt x="90" y="171"/>
                    <a:pt x="90" y="171"/>
                  </a:cubicBezTo>
                  <a:cubicBezTo>
                    <a:pt x="92" y="169"/>
                    <a:pt x="92" y="169"/>
                    <a:pt x="92" y="169"/>
                  </a:cubicBezTo>
                  <a:cubicBezTo>
                    <a:pt x="96" y="169"/>
                    <a:pt x="96" y="169"/>
                    <a:pt x="96" y="169"/>
                  </a:cubicBezTo>
                  <a:cubicBezTo>
                    <a:pt x="98" y="162"/>
                    <a:pt x="98" y="162"/>
                    <a:pt x="98" y="162"/>
                  </a:cubicBezTo>
                  <a:cubicBezTo>
                    <a:pt x="99" y="157"/>
                    <a:pt x="99" y="157"/>
                    <a:pt x="99" y="157"/>
                  </a:cubicBezTo>
                  <a:cubicBezTo>
                    <a:pt x="99" y="151"/>
                    <a:pt x="99" y="151"/>
                    <a:pt x="99" y="151"/>
                  </a:cubicBezTo>
                  <a:cubicBezTo>
                    <a:pt x="100" y="148"/>
                    <a:pt x="100" y="148"/>
                    <a:pt x="100" y="148"/>
                  </a:cubicBezTo>
                  <a:cubicBezTo>
                    <a:pt x="102" y="145"/>
                    <a:pt x="102" y="145"/>
                    <a:pt x="102" y="145"/>
                  </a:cubicBezTo>
                  <a:cubicBezTo>
                    <a:pt x="101" y="141"/>
                    <a:pt x="101" y="141"/>
                    <a:pt x="101" y="141"/>
                  </a:cubicBezTo>
                  <a:cubicBezTo>
                    <a:pt x="106" y="141"/>
                    <a:pt x="106" y="141"/>
                    <a:pt x="106" y="141"/>
                  </a:cubicBezTo>
                  <a:cubicBezTo>
                    <a:pt x="109" y="137"/>
                    <a:pt x="109" y="137"/>
                    <a:pt x="109" y="137"/>
                  </a:cubicBezTo>
                  <a:cubicBezTo>
                    <a:pt x="108" y="136"/>
                    <a:pt x="108" y="136"/>
                    <a:pt x="108" y="136"/>
                  </a:cubicBezTo>
                  <a:cubicBezTo>
                    <a:pt x="106" y="133"/>
                    <a:pt x="106" y="133"/>
                    <a:pt x="106" y="133"/>
                  </a:cubicBezTo>
                  <a:cubicBezTo>
                    <a:pt x="108" y="129"/>
                    <a:pt x="108" y="129"/>
                    <a:pt x="108" y="129"/>
                  </a:cubicBezTo>
                  <a:cubicBezTo>
                    <a:pt x="112" y="129"/>
                    <a:pt x="112" y="129"/>
                    <a:pt x="112" y="129"/>
                  </a:cubicBezTo>
                  <a:cubicBezTo>
                    <a:pt x="116" y="131"/>
                    <a:pt x="116" y="131"/>
                    <a:pt x="116" y="131"/>
                  </a:cubicBezTo>
                  <a:cubicBezTo>
                    <a:pt x="118" y="126"/>
                    <a:pt x="118" y="126"/>
                    <a:pt x="118" y="126"/>
                  </a:cubicBezTo>
                  <a:cubicBezTo>
                    <a:pt x="118" y="123"/>
                    <a:pt x="118" y="123"/>
                    <a:pt x="118" y="123"/>
                  </a:cubicBezTo>
                  <a:cubicBezTo>
                    <a:pt x="118" y="119"/>
                    <a:pt x="118" y="119"/>
                    <a:pt x="118" y="119"/>
                  </a:cubicBezTo>
                  <a:cubicBezTo>
                    <a:pt x="121" y="119"/>
                    <a:pt x="121" y="119"/>
                    <a:pt x="121" y="119"/>
                  </a:cubicBezTo>
                  <a:cubicBezTo>
                    <a:pt x="125" y="123"/>
                    <a:pt x="125" y="123"/>
                    <a:pt x="125" y="123"/>
                  </a:cubicBezTo>
                  <a:cubicBezTo>
                    <a:pt x="133" y="115"/>
                    <a:pt x="133" y="115"/>
                    <a:pt x="133" y="115"/>
                  </a:cubicBezTo>
                  <a:cubicBezTo>
                    <a:pt x="137" y="125"/>
                    <a:pt x="137" y="125"/>
                    <a:pt x="137" y="125"/>
                  </a:cubicBezTo>
                  <a:cubicBezTo>
                    <a:pt x="141" y="118"/>
                    <a:pt x="141" y="118"/>
                    <a:pt x="141" y="118"/>
                  </a:cubicBezTo>
                  <a:cubicBezTo>
                    <a:pt x="145" y="117"/>
                    <a:pt x="145" y="117"/>
                    <a:pt x="145" y="117"/>
                  </a:cubicBezTo>
                  <a:cubicBezTo>
                    <a:pt x="150" y="116"/>
                    <a:pt x="150" y="116"/>
                    <a:pt x="150" y="116"/>
                  </a:cubicBezTo>
                  <a:cubicBezTo>
                    <a:pt x="153" y="111"/>
                    <a:pt x="153" y="111"/>
                    <a:pt x="153" y="111"/>
                  </a:cubicBezTo>
                  <a:cubicBezTo>
                    <a:pt x="165" y="112"/>
                    <a:pt x="165" y="112"/>
                    <a:pt x="165" y="112"/>
                  </a:cubicBezTo>
                  <a:cubicBezTo>
                    <a:pt x="167" y="110"/>
                    <a:pt x="167" y="110"/>
                    <a:pt x="167" y="110"/>
                  </a:cubicBezTo>
                  <a:cubicBezTo>
                    <a:pt x="174" y="110"/>
                    <a:pt x="174" y="110"/>
                    <a:pt x="174" y="110"/>
                  </a:cubicBezTo>
                  <a:cubicBezTo>
                    <a:pt x="180" y="116"/>
                    <a:pt x="180" y="116"/>
                    <a:pt x="180" y="116"/>
                  </a:cubicBezTo>
                  <a:cubicBezTo>
                    <a:pt x="187" y="116"/>
                    <a:pt x="187" y="116"/>
                    <a:pt x="187" y="116"/>
                  </a:cubicBezTo>
                  <a:cubicBezTo>
                    <a:pt x="195" y="128"/>
                    <a:pt x="195" y="128"/>
                    <a:pt x="195" y="128"/>
                  </a:cubicBezTo>
                  <a:cubicBezTo>
                    <a:pt x="199" y="127"/>
                    <a:pt x="199" y="127"/>
                    <a:pt x="199" y="127"/>
                  </a:cubicBezTo>
                  <a:cubicBezTo>
                    <a:pt x="201" y="124"/>
                    <a:pt x="201" y="124"/>
                    <a:pt x="201" y="124"/>
                  </a:cubicBezTo>
                  <a:cubicBezTo>
                    <a:pt x="205" y="124"/>
                    <a:pt x="205" y="124"/>
                    <a:pt x="205" y="124"/>
                  </a:cubicBezTo>
                  <a:cubicBezTo>
                    <a:pt x="208" y="121"/>
                    <a:pt x="208" y="121"/>
                    <a:pt x="208" y="121"/>
                  </a:cubicBezTo>
                  <a:cubicBezTo>
                    <a:pt x="207" y="120"/>
                    <a:pt x="206" y="119"/>
                    <a:pt x="205" y="117"/>
                  </a:cubicBezTo>
                  <a:cubicBezTo>
                    <a:pt x="204" y="116"/>
                    <a:pt x="202" y="115"/>
                    <a:pt x="200" y="114"/>
                  </a:cubicBezTo>
                  <a:cubicBezTo>
                    <a:pt x="200" y="113"/>
                    <a:pt x="199" y="113"/>
                    <a:pt x="199" y="112"/>
                  </a:cubicBezTo>
                  <a:cubicBezTo>
                    <a:pt x="198" y="112"/>
                    <a:pt x="198" y="111"/>
                    <a:pt x="198" y="111"/>
                  </a:cubicBezTo>
                  <a:cubicBezTo>
                    <a:pt x="197" y="110"/>
                    <a:pt x="197" y="110"/>
                    <a:pt x="197" y="110"/>
                  </a:cubicBezTo>
                  <a:cubicBezTo>
                    <a:pt x="197" y="109"/>
                    <a:pt x="197" y="109"/>
                    <a:pt x="197" y="108"/>
                  </a:cubicBezTo>
                  <a:cubicBezTo>
                    <a:pt x="196" y="106"/>
                    <a:pt x="197" y="105"/>
                    <a:pt x="197" y="103"/>
                  </a:cubicBezTo>
                  <a:cubicBezTo>
                    <a:pt x="196" y="101"/>
                    <a:pt x="194" y="101"/>
                    <a:pt x="192" y="101"/>
                  </a:cubicBezTo>
                  <a:cubicBezTo>
                    <a:pt x="190" y="100"/>
                    <a:pt x="187" y="101"/>
                    <a:pt x="186" y="99"/>
                  </a:cubicBezTo>
                  <a:cubicBezTo>
                    <a:pt x="187" y="99"/>
                    <a:pt x="186" y="99"/>
                    <a:pt x="188" y="99"/>
                  </a:cubicBezTo>
                  <a:cubicBezTo>
                    <a:pt x="189" y="99"/>
                    <a:pt x="191" y="100"/>
                    <a:pt x="192" y="99"/>
                  </a:cubicBezTo>
                  <a:cubicBezTo>
                    <a:pt x="191" y="98"/>
                    <a:pt x="190" y="98"/>
                    <a:pt x="189" y="97"/>
                  </a:cubicBezTo>
                  <a:cubicBezTo>
                    <a:pt x="190" y="97"/>
                    <a:pt x="190" y="97"/>
                    <a:pt x="190" y="97"/>
                  </a:cubicBezTo>
                  <a:cubicBezTo>
                    <a:pt x="189" y="97"/>
                    <a:pt x="188" y="97"/>
                    <a:pt x="187" y="96"/>
                  </a:cubicBezTo>
                  <a:cubicBezTo>
                    <a:pt x="189" y="95"/>
                    <a:pt x="189" y="95"/>
                    <a:pt x="191" y="95"/>
                  </a:cubicBezTo>
                  <a:cubicBezTo>
                    <a:pt x="192" y="95"/>
                    <a:pt x="193" y="95"/>
                    <a:pt x="192" y="94"/>
                  </a:cubicBezTo>
                  <a:cubicBezTo>
                    <a:pt x="192" y="92"/>
                    <a:pt x="187" y="92"/>
                    <a:pt x="186" y="93"/>
                  </a:cubicBezTo>
                  <a:cubicBezTo>
                    <a:pt x="185" y="93"/>
                    <a:pt x="183" y="94"/>
                    <a:pt x="183" y="93"/>
                  </a:cubicBezTo>
                  <a:cubicBezTo>
                    <a:pt x="182" y="92"/>
                    <a:pt x="184" y="92"/>
                    <a:pt x="184" y="91"/>
                  </a:cubicBezTo>
                  <a:cubicBezTo>
                    <a:pt x="185" y="91"/>
                    <a:pt x="185" y="91"/>
                    <a:pt x="185" y="91"/>
                  </a:cubicBezTo>
                  <a:cubicBezTo>
                    <a:pt x="186" y="90"/>
                    <a:pt x="186" y="90"/>
                    <a:pt x="186" y="90"/>
                  </a:cubicBezTo>
                  <a:cubicBezTo>
                    <a:pt x="187" y="90"/>
                    <a:pt x="189" y="91"/>
                    <a:pt x="190" y="90"/>
                  </a:cubicBezTo>
                  <a:cubicBezTo>
                    <a:pt x="189" y="90"/>
                    <a:pt x="190" y="89"/>
                    <a:pt x="190" y="89"/>
                  </a:cubicBezTo>
                  <a:cubicBezTo>
                    <a:pt x="190" y="88"/>
                    <a:pt x="189" y="88"/>
                    <a:pt x="188" y="88"/>
                  </a:cubicBezTo>
                  <a:cubicBezTo>
                    <a:pt x="187" y="88"/>
                    <a:pt x="186" y="88"/>
                    <a:pt x="186" y="88"/>
                  </a:cubicBezTo>
                  <a:cubicBezTo>
                    <a:pt x="185" y="88"/>
                    <a:pt x="185" y="89"/>
                    <a:pt x="184" y="89"/>
                  </a:cubicBezTo>
                  <a:cubicBezTo>
                    <a:pt x="183" y="90"/>
                    <a:pt x="182" y="91"/>
                    <a:pt x="181" y="90"/>
                  </a:cubicBezTo>
                  <a:cubicBezTo>
                    <a:pt x="181" y="89"/>
                    <a:pt x="182" y="89"/>
                    <a:pt x="182" y="88"/>
                  </a:cubicBezTo>
                  <a:cubicBezTo>
                    <a:pt x="183" y="87"/>
                    <a:pt x="181" y="88"/>
                    <a:pt x="181" y="87"/>
                  </a:cubicBezTo>
                  <a:cubicBezTo>
                    <a:pt x="180" y="86"/>
                    <a:pt x="183" y="87"/>
                    <a:pt x="183" y="87"/>
                  </a:cubicBezTo>
                  <a:cubicBezTo>
                    <a:pt x="184" y="87"/>
                    <a:pt x="184" y="88"/>
                    <a:pt x="185" y="87"/>
                  </a:cubicBezTo>
                  <a:cubicBezTo>
                    <a:pt x="186" y="85"/>
                    <a:pt x="186" y="84"/>
                    <a:pt x="185" y="83"/>
                  </a:cubicBezTo>
                  <a:cubicBezTo>
                    <a:pt x="184" y="82"/>
                    <a:pt x="184" y="82"/>
                    <a:pt x="183" y="82"/>
                  </a:cubicBezTo>
                  <a:cubicBezTo>
                    <a:pt x="182" y="82"/>
                    <a:pt x="181" y="82"/>
                    <a:pt x="181" y="83"/>
                  </a:cubicBezTo>
                  <a:cubicBezTo>
                    <a:pt x="180" y="82"/>
                    <a:pt x="180" y="82"/>
                    <a:pt x="180" y="82"/>
                  </a:cubicBezTo>
                  <a:cubicBezTo>
                    <a:pt x="179" y="82"/>
                    <a:pt x="179" y="82"/>
                    <a:pt x="179" y="82"/>
                  </a:cubicBezTo>
                  <a:cubicBezTo>
                    <a:pt x="178" y="81"/>
                    <a:pt x="178" y="81"/>
                    <a:pt x="178" y="81"/>
                  </a:cubicBezTo>
                  <a:cubicBezTo>
                    <a:pt x="178" y="80"/>
                    <a:pt x="178" y="80"/>
                    <a:pt x="176" y="80"/>
                  </a:cubicBezTo>
                  <a:cubicBezTo>
                    <a:pt x="175" y="81"/>
                    <a:pt x="173" y="82"/>
                    <a:pt x="172" y="81"/>
                  </a:cubicBezTo>
                  <a:cubicBezTo>
                    <a:pt x="172" y="80"/>
                    <a:pt x="172" y="80"/>
                    <a:pt x="173" y="80"/>
                  </a:cubicBezTo>
                  <a:cubicBezTo>
                    <a:pt x="174" y="79"/>
                    <a:pt x="176" y="79"/>
                    <a:pt x="176" y="78"/>
                  </a:cubicBezTo>
                  <a:cubicBezTo>
                    <a:pt x="176" y="76"/>
                    <a:pt x="174" y="77"/>
                    <a:pt x="173" y="77"/>
                  </a:cubicBezTo>
                  <a:cubicBezTo>
                    <a:pt x="172" y="77"/>
                    <a:pt x="170" y="77"/>
                    <a:pt x="169" y="76"/>
                  </a:cubicBezTo>
                  <a:cubicBezTo>
                    <a:pt x="168" y="76"/>
                    <a:pt x="168" y="75"/>
                    <a:pt x="167" y="75"/>
                  </a:cubicBezTo>
                  <a:cubicBezTo>
                    <a:pt x="167" y="75"/>
                    <a:pt x="166" y="75"/>
                    <a:pt x="166" y="75"/>
                  </a:cubicBezTo>
                  <a:cubicBezTo>
                    <a:pt x="165" y="75"/>
                    <a:pt x="164" y="75"/>
                    <a:pt x="164" y="75"/>
                  </a:cubicBezTo>
                  <a:cubicBezTo>
                    <a:pt x="164" y="74"/>
                    <a:pt x="165" y="73"/>
                    <a:pt x="164" y="72"/>
                  </a:cubicBezTo>
                  <a:cubicBezTo>
                    <a:pt x="163" y="72"/>
                    <a:pt x="162" y="72"/>
                    <a:pt x="161" y="72"/>
                  </a:cubicBezTo>
                  <a:cubicBezTo>
                    <a:pt x="162" y="71"/>
                    <a:pt x="164" y="71"/>
                    <a:pt x="165" y="71"/>
                  </a:cubicBezTo>
                  <a:cubicBezTo>
                    <a:pt x="167" y="71"/>
                    <a:pt x="168" y="73"/>
                    <a:pt x="170" y="73"/>
                  </a:cubicBezTo>
                  <a:cubicBezTo>
                    <a:pt x="172" y="73"/>
                    <a:pt x="173" y="72"/>
                    <a:pt x="174" y="71"/>
                  </a:cubicBezTo>
                  <a:cubicBezTo>
                    <a:pt x="176" y="71"/>
                    <a:pt x="177" y="70"/>
                    <a:pt x="179" y="70"/>
                  </a:cubicBezTo>
                  <a:cubicBezTo>
                    <a:pt x="179" y="69"/>
                    <a:pt x="180" y="69"/>
                    <a:pt x="180" y="68"/>
                  </a:cubicBezTo>
                  <a:cubicBezTo>
                    <a:pt x="180" y="67"/>
                    <a:pt x="179" y="66"/>
                    <a:pt x="178" y="66"/>
                  </a:cubicBezTo>
                  <a:cubicBezTo>
                    <a:pt x="177" y="67"/>
                    <a:pt x="176" y="67"/>
                    <a:pt x="175" y="67"/>
                  </a:cubicBezTo>
                  <a:cubicBezTo>
                    <a:pt x="174" y="67"/>
                    <a:pt x="173" y="67"/>
                    <a:pt x="172" y="67"/>
                  </a:cubicBezTo>
                  <a:cubicBezTo>
                    <a:pt x="172" y="66"/>
                    <a:pt x="174" y="65"/>
                    <a:pt x="175" y="64"/>
                  </a:cubicBezTo>
                  <a:cubicBezTo>
                    <a:pt x="175" y="63"/>
                    <a:pt x="175" y="62"/>
                    <a:pt x="173" y="61"/>
                  </a:cubicBezTo>
                  <a:cubicBezTo>
                    <a:pt x="172" y="60"/>
                    <a:pt x="170" y="60"/>
                    <a:pt x="169" y="59"/>
                  </a:cubicBezTo>
                  <a:cubicBezTo>
                    <a:pt x="168" y="59"/>
                    <a:pt x="166" y="58"/>
                    <a:pt x="165" y="57"/>
                  </a:cubicBezTo>
                  <a:cubicBezTo>
                    <a:pt x="162" y="57"/>
                    <a:pt x="160" y="56"/>
                    <a:pt x="161" y="53"/>
                  </a:cubicBezTo>
                  <a:cubicBezTo>
                    <a:pt x="162" y="52"/>
                    <a:pt x="163" y="49"/>
                    <a:pt x="161" y="49"/>
                  </a:cubicBezTo>
                  <a:cubicBezTo>
                    <a:pt x="159" y="49"/>
                    <a:pt x="157" y="50"/>
                    <a:pt x="156" y="50"/>
                  </a:cubicBezTo>
                  <a:cubicBezTo>
                    <a:pt x="154" y="50"/>
                    <a:pt x="152" y="50"/>
                    <a:pt x="151" y="50"/>
                  </a:cubicBezTo>
                  <a:cubicBezTo>
                    <a:pt x="151" y="48"/>
                    <a:pt x="153" y="48"/>
                    <a:pt x="154" y="48"/>
                  </a:cubicBezTo>
                  <a:cubicBezTo>
                    <a:pt x="155" y="48"/>
                    <a:pt x="156" y="48"/>
                    <a:pt x="158" y="48"/>
                  </a:cubicBezTo>
                  <a:cubicBezTo>
                    <a:pt x="161" y="48"/>
                    <a:pt x="164" y="48"/>
                    <a:pt x="167" y="48"/>
                  </a:cubicBezTo>
                  <a:cubicBezTo>
                    <a:pt x="169" y="48"/>
                    <a:pt x="171" y="48"/>
                    <a:pt x="173" y="48"/>
                  </a:cubicBezTo>
                  <a:cubicBezTo>
                    <a:pt x="174" y="48"/>
                    <a:pt x="175" y="49"/>
                    <a:pt x="176" y="49"/>
                  </a:cubicBezTo>
                  <a:cubicBezTo>
                    <a:pt x="177" y="50"/>
                    <a:pt x="181" y="50"/>
                    <a:pt x="180" y="47"/>
                  </a:cubicBezTo>
                  <a:cubicBezTo>
                    <a:pt x="180" y="46"/>
                    <a:pt x="177" y="46"/>
                    <a:pt x="176" y="46"/>
                  </a:cubicBezTo>
                  <a:cubicBezTo>
                    <a:pt x="177" y="45"/>
                    <a:pt x="177" y="45"/>
                    <a:pt x="178" y="44"/>
                  </a:cubicBezTo>
                  <a:cubicBezTo>
                    <a:pt x="179" y="44"/>
                    <a:pt x="178" y="43"/>
                    <a:pt x="179" y="43"/>
                  </a:cubicBezTo>
                  <a:cubicBezTo>
                    <a:pt x="179" y="43"/>
                    <a:pt x="180" y="44"/>
                    <a:pt x="181" y="44"/>
                  </a:cubicBezTo>
                  <a:cubicBezTo>
                    <a:pt x="182" y="46"/>
                    <a:pt x="183" y="48"/>
                    <a:pt x="185" y="49"/>
                  </a:cubicBezTo>
                  <a:cubicBezTo>
                    <a:pt x="186" y="49"/>
                    <a:pt x="188" y="49"/>
                    <a:pt x="190" y="49"/>
                  </a:cubicBezTo>
                  <a:cubicBezTo>
                    <a:pt x="191" y="49"/>
                    <a:pt x="193" y="47"/>
                    <a:pt x="194" y="47"/>
                  </a:cubicBezTo>
                  <a:cubicBezTo>
                    <a:pt x="195" y="46"/>
                    <a:pt x="197" y="46"/>
                    <a:pt x="197" y="45"/>
                  </a:cubicBezTo>
                  <a:cubicBezTo>
                    <a:pt x="200" y="43"/>
                    <a:pt x="195" y="42"/>
                    <a:pt x="194" y="41"/>
                  </a:cubicBezTo>
                  <a:cubicBezTo>
                    <a:pt x="193" y="41"/>
                    <a:pt x="186" y="41"/>
                    <a:pt x="187" y="39"/>
                  </a:cubicBezTo>
                  <a:cubicBezTo>
                    <a:pt x="188" y="39"/>
                    <a:pt x="190" y="39"/>
                    <a:pt x="192" y="39"/>
                  </a:cubicBezTo>
                  <a:cubicBezTo>
                    <a:pt x="193" y="39"/>
                    <a:pt x="194" y="40"/>
                    <a:pt x="195" y="41"/>
                  </a:cubicBezTo>
                  <a:cubicBezTo>
                    <a:pt x="196" y="41"/>
                    <a:pt x="198" y="41"/>
                    <a:pt x="198" y="40"/>
                  </a:cubicBezTo>
                  <a:cubicBezTo>
                    <a:pt x="197" y="39"/>
                    <a:pt x="195" y="39"/>
                    <a:pt x="196" y="38"/>
                  </a:cubicBezTo>
                  <a:cubicBezTo>
                    <a:pt x="197" y="38"/>
                    <a:pt x="198" y="39"/>
                    <a:pt x="199" y="38"/>
                  </a:cubicBezTo>
                  <a:cubicBezTo>
                    <a:pt x="199" y="37"/>
                    <a:pt x="197" y="36"/>
                    <a:pt x="196" y="35"/>
                  </a:cubicBezTo>
                  <a:cubicBezTo>
                    <a:pt x="195" y="34"/>
                    <a:pt x="195" y="34"/>
                    <a:pt x="194" y="34"/>
                  </a:cubicBezTo>
                  <a:cubicBezTo>
                    <a:pt x="193" y="33"/>
                    <a:pt x="193" y="34"/>
                    <a:pt x="192" y="34"/>
                  </a:cubicBezTo>
                  <a:cubicBezTo>
                    <a:pt x="190" y="34"/>
                    <a:pt x="191" y="32"/>
                    <a:pt x="190" y="31"/>
                  </a:cubicBezTo>
                  <a:cubicBezTo>
                    <a:pt x="189" y="30"/>
                    <a:pt x="187" y="30"/>
                    <a:pt x="186" y="29"/>
                  </a:cubicBezTo>
                  <a:cubicBezTo>
                    <a:pt x="185" y="29"/>
                    <a:pt x="184" y="28"/>
                    <a:pt x="184" y="27"/>
                  </a:cubicBezTo>
                  <a:cubicBezTo>
                    <a:pt x="183" y="26"/>
                    <a:pt x="182" y="25"/>
                    <a:pt x="182" y="25"/>
                  </a:cubicBezTo>
                  <a:cubicBezTo>
                    <a:pt x="181" y="24"/>
                    <a:pt x="181" y="24"/>
                    <a:pt x="181" y="24"/>
                  </a:cubicBezTo>
                  <a:cubicBezTo>
                    <a:pt x="181" y="23"/>
                    <a:pt x="180" y="23"/>
                    <a:pt x="180" y="23"/>
                  </a:cubicBezTo>
                  <a:cubicBezTo>
                    <a:pt x="179" y="23"/>
                    <a:pt x="179" y="22"/>
                    <a:pt x="178" y="23"/>
                  </a:cubicBezTo>
                  <a:cubicBezTo>
                    <a:pt x="178" y="23"/>
                    <a:pt x="178" y="24"/>
                    <a:pt x="178" y="25"/>
                  </a:cubicBezTo>
                  <a:cubicBezTo>
                    <a:pt x="177" y="25"/>
                    <a:pt x="177" y="25"/>
                    <a:pt x="176" y="25"/>
                  </a:cubicBezTo>
                  <a:cubicBezTo>
                    <a:pt x="175" y="25"/>
                    <a:pt x="175" y="24"/>
                    <a:pt x="175" y="24"/>
                  </a:cubicBezTo>
                  <a:cubicBezTo>
                    <a:pt x="176" y="23"/>
                    <a:pt x="177" y="23"/>
                    <a:pt x="177" y="22"/>
                  </a:cubicBezTo>
                  <a:cubicBezTo>
                    <a:pt x="178" y="21"/>
                    <a:pt x="177" y="21"/>
                    <a:pt x="177" y="20"/>
                  </a:cubicBezTo>
                  <a:cubicBezTo>
                    <a:pt x="176" y="20"/>
                    <a:pt x="175" y="20"/>
                    <a:pt x="174" y="20"/>
                  </a:cubicBezTo>
                  <a:cubicBezTo>
                    <a:pt x="173" y="19"/>
                    <a:pt x="174" y="19"/>
                    <a:pt x="174" y="19"/>
                  </a:cubicBezTo>
                  <a:cubicBezTo>
                    <a:pt x="174" y="18"/>
                    <a:pt x="173" y="18"/>
                    <a:pt x="172" y="18"/>
                  </a:cubicBezTo>
                  <a:cubicBezTo>
                    <a:pt x="172" y="18"/>
                    <a:pt x="170" y="17"/>
                    <a:pt x="170" y="16"/>
                  </a:cubicBezTo>
                  <a:cubicBezTo>
                    <a:pt x="169" y="15"/>
                    <a:pt x="170" y="15"/>
                    <a:pt x="170" y="15"/>
                  </a:cubicBezTo>
                  <a:cubicBezTo>
                    <a:pt x="171" y="16"/>
                    <a:pt x="172" y="16"/>
                    <a:pt x="173" y="16"/>
                  </a:cubicBezTo>
                  <a:cubicBezTo>
                    <a:pt x="174" y="16"/>
                    <a:pt x="175" y="16"/>
                    <a:pt x="175" y="17"/>
                  </a:cubicBezTo>
                  <a:cubicBezTo>
                    <a:pt x="176" y="17"/>
                    <a:pt x="176" y="17"/>
                    <a:pt x="176" y="17"/>
                  </a:cubicBezTo>
                  <a:cubicBezTo>
                    <a:pt x="176" y="18"/>
                    <a:pt x="176" y="18"/>
                    <a:pt x="176" y="18"/>
                  </a:cubicBezTo>
                  <a:cubicBezTo>
                    <a:pt x="177" y="18"/>
                    <a:pt x="178" y="18"/>
                    <a:pt x="178" y="19"/>
                  </a:cubicBezTo>
                  <a:cubicBezTo>
                    <a:pt x="179" y="19"/>
                    <a:pt x="180" y="19"/>
                    <a:pt x="181" y="18"/>
                  </a:cubicBezTo>
                  <a:cubicBezTo>
                    <a:pt x="182" y="18"/>
                    <a:pt x="182" y="19"/>
                    <a:pt x="183" y="19"/>
                  </a:cubicBezTo>
                  <a:cubicBezTo>
                    <a:pt x="184" y="18"/>
                    <a:pt x="182" y="16"/>
                    <a:pt x="184" y="17"/>
                  </a:cubicBezTo>
                  <a:cubicBezTo>
                    <a:pt x="185" y="17"/>
                    <a:pt x="186" y="17"/>
                    <a:pt x="186" y="16"/>
                  </a:cubicBezTo>
                  <a:cubicBezTo>
                    <a:pt x="186" y="16"/>
                    <a:pt x="186" y="15"/>
                    <a:pt x="186" y="15"/>
                  </a:cubicBezTo>
                  <a:cubicBezTo>
                    <a:pt x="186" y="16"/>
                    <a:pt x="186" y="16"/>
                    <a:pt x="186" y="16"/>
                  </a:cubicBezTo>
                  <a:cubicBezTo>
                    <a:pt x="186" y="16"/>
                    <a:pt x="185" y="16"/>
                    <a:pt x="185" y="15"/>
                  </a:cubicBezTo>
                  <a:cubicBezTo>
                    <a:pt x="184" y="15"/>
                    <a:pt x="184" y="15"/>
                    <a:pt x="184" y="15"/>
                  </a:cubicBezTo>
                  <a:cubicBezTo>
                    <a:pt x="183" y="15"/>
                    <a:pt x="183" y="15"/>
                    <a:pt x="183" y="15"/>
                  </a:cubicBezTo>
                  <a:cubicBezTo>
                    <a:pt x="182" y="15"/>
                    <a:pt x="183" y="16"/>
                    <a:pt x="182" y="16"/>
                  </a:cubicBezTo>
                  <a:cubicBezTo>
                    <a:pt x="180" y="15"/>
                    <a:pt x="179" y="15"/>
                    <a:pt x="178" y="15"/>
                  </a:cubicBezTo>
                  <a:cubicBezTo>
                    <a:pt x="177" y="14"/>
                    <a:pt x="177" y="14"/>
                    <a:pt x="176" y="13"/>
                  </a:cubicBezTo>
                  <a:cubicBezTo>
                    <a:pt x="175" y="13"/>
                    <a:pt x="175" y="13"/>
                    <a:pt x="175" y="12"/>
                  </a:cubicBezTo>
                  <a:cubicBezTo>
                    <a:pt x="174" y="12"/>
                    <a:pt x="175" y="11"/>
                    <a:pt x="174" y="11"/>
                  </a:cubicBezTo>
                  <a:cubicBezTo>
                    <a:pt x="173" y="10"/>
                    <a:pt x="172" y="9"/>
                    <a:pt x="171" y="9"/>
                  </a:cubicBezTo>
                  <a:cubicBezTo>
                    <a:pt x="169" y="8"/>
                    <a:pt x="168" y="6"/>
                    <a:pt x="166" y="5"/>
                  </a:cubicBezTo>
                  <a:cubicBezTo>
                    <a:pt x="166" y="5"/>
                    <a:pt x="164" y="3"/>
                    <a:pt x="163" y="3"/>
                  </a:cubicBezTo>
                  <a:cubicBezTo>
                    <a:pt x="162" y="3"/>
                    <a:pt x="162" y="4"/>
                    <a:pt x="161" y="4"/>
                  </a:cubicBezTo>
                  <a:cubicBezTo>
                    <a:pt x="161" y="4"/>
                    <a:pt x="160" y="4"/>
                    <a:pt x="160" y="4"/>
                  </a:cubicBezTo>
                  <a:cubicBezTo>
                    <a:pt x="159" y="4"/>
                    <a:pt x="158" y="4"/>
                    <a:pt x="157" y="4"/>
                  </a:cubicBezTo>
                  <a:cubicBezTo>
                    <a:pt x="156" y="5"/>
                    <a:pt x="156" y="5"/>
                    <a:pt x="155" y="4"/>
                  </a:cubicBezTo>
                  <a:cubicBezTo>
                    <a:pt x="154" y="4"/>
                    <a:pt x="153" y="4"/>
                    <a:pt x="152" y="5"/>
                  </a:cubicBezTo>
                  <a:cubicBezTo>
                    <a:pt x="152" y="5"/>
                    <a:pt x="152" y="6"/>
                    <a:pt x="151" y="6"/>
                  </a:cubicBezTo>
                  <a:cubicBezTo>
                    <a:pt x="150" y="7"/>
                    <a:pt x="149" y="5"/>
                    <a:pt x="148" y="4"/>
                  </a:cubicBezTo>
                  <a:cubicBezTo>
                    <a:pt x="147" y="4"/>
                    <a:pt x="146" y="4"/>
                    <a:pt x="145" y="3"/>
                  </a:cubicBezTo>
                  <a:cubicBezTo>
                    <a:pt x="145" y="3"/>
                    <a:pt x="144" y="3"/>
                    <a:pt x="143" y="3"/>
                  </a:cubicBezTo>
                  <a:cubicBezTo>
                    <a:pt x="143" y="3"/>
                    <a:pt x="143" y="3"/>
                    <a:pt x="142" y="4"/>
                  </a:cubicBezTo>
                  <a:cubicBezTo>
                    <a:pt x="141" y="5"/>
                    <a:pt x="139" y="5"/>
                    <a:pt x="138" y="4"/>
                  </a:cubicBezTo>
                  <a:cubicBezTo>
                    <a:pt x="137" y="4"/>
                    <a:pt x="138" y="4"/>
                    <a:pt x="137" y="4"/>
                  </a:cubicBezTo>
                  <a:cubicBezTo>
                    <a:pt x="136" y="4"/>
                    <a:pt x="136" y="4"/>
                    <a:pt x="135" y="4"/>
                  </a:cubicBezTo>
                  <a:cubicBezTo>
                    <a:pt x="135" y="3"/>
                    <a:pt x="135" y="2"/>
                    <a:pt x="134" y="2"/>
                  </a:cubicBezTo>
                  <a:cubicBezTo>
                    <a:pt x="134" y="2"/>
                    <a:pt x="133" y="3"/>
                    <a:pt x="133" y="3"/>
                  </a:cubicBezTo>
                  <a:cubicBezTo>
                    <a:pt x="132" y="4"/>
                    <a:pt x="132" y="4"/>
                    <a:pt x="131" y="4"/>
                  </a:cubicBezTo>
                  <a:cubicBezTo>
                    <a:pt x="130" y="4"/>
                    <a:pt x="130" y="4"/>
                    <a:pt x="129" y="4"/>
                  </a:cubicBezTo>
                  <a:cubicBezTo>
                    <a:pt x="129" y="4"/>
                    <a:pt x="129" y="4"/>
                    <a:pt x="128" y="4"/>
                  </a:cubicBezTo>
                  <a:cubicBezTo>
                    <a:pt x="127" y="4"/>
                    <a:pt x="126" y="4"/>
                    <a:pt x="125" y="3"/>
                  </a:cubicBezTo>
                  <a:cubicBezTo>
                    <a:pt x="125" y="3"/>
                    <a:pt x="125" y="2"/>
                    <a:pt x="125" y="2"/>
                  </a:cubicBezTo>
                  <a:cubicBezTo>
                    <a:pt x="124" y="2"/>
                    <a:pt x="124" y="2"/>
                    <a:pt x="124" y="2"/>
                  </a:cubicBezTo>
                  <a:cubicBezTo>
                    <a:pt x="123" y="2"/>
                    <a:pt x="123" y="2"/>
                    <a:pt x="122" y="1"/>
                  </a:cubicBezTo>
                  <a:cubicBezTo>
                    <a:pt x="122" y="2"/>
                    <a:pt x="121" y="3"/>
                    <a:pt x="120" y="4"/>
                  </a:cubicBezTo>
                  <a:cubicBezTo>
                    <a:pt x="120" y="5"/>
                    <a:pt x="119" y="5"/>
                    <a:pt x="118" y="5"/>
                  </a:cubicBezTo>
                  <a:cubicBezTo>
                    <a:pt x="118" y="5"/>
                    <a:pt x="118" y="6"/>
                    <a:pt x="118" y="7"/>
                  </a:cubicBezTo>
                  <a:cubicBezTo>
                    <a:pt x="117" y="7"/>
                    <a:pt x="115" y="8"/>
                    <a:pt x="115" y="7"/>
                  </a:cubicBezTo>
                  <a:cubicBezTo>
                    <a:pt x="114" y="7"/>
                    <a:pt x="114" y="5"/>
                    <a:pt x="114" y="5"/>
                  </a:cubicBezTo>
                  <a:cubicBezTo>
                    <a:pt x="113" y="5"/>
                    <a:pt x="113" y="4"/>
                    <a:pt x="113" y="4"/>
                  </a:cubicBezTo>
                  <a:cubicBezTo>
                    <a:pt x="112" y="3"/>
                    <a:pt x="112" y="3"/>
                    <a:pt x="111" y="3"/>
                  </a:cubicBezTo>
                  <a:cubicBezTo>
                    <a:pt x="110" y="2"/>
                    <a:pt x="109" y="2"/>
                    <a:pt x="108" y="2"/>
                  </a:cubicBezTo>
                  <a:cubicBezTo>
                    <a:pt x="107" y="3"/>
                    <a:pt x="106" y="4"/>
                    <a:pt x="104" y="3"/>
                  </a:cubicBezTo>
                  <a:cubicBezTo>
                    <a:pt x="104" y="3"/>
                    <a:pt x="104" y="3"/>
                    <a:pt x="103" y="3"/>
                  </a:cubicBezTo>
                  <a:cubicBezTo>
                    <a:pt x="103" y="2"/>
                    <a:pt x="102" y="2"/>
                    <a:pt x="102" y="2"/>
                  </a:cubicBezTo>
                  <a:cubicBezTo>
                    <a:pt x="101" y="2"/>
                    <a:pt x="99" y="2"/>
                    <a:pt x="98" y="2"/>
                  </a:cubicBezTo>
                  <a:cubicBezTo>
                    <a:pt x="98" y="2"/>
                    <a:pt x="98" y="3"/>
                    <a:pt x="98" y="4"/>
                  </a:cubicBezTo>
                  <a:cubicBezTo>
                    <a:pt x="98" y="5"/>
                    <a:pt x="97" y="5"/>
                    <a:pt x="97" y="5"/>
                  </a:cubicBezTo>
                  <a:cubicBezTo>
                    <a:pt x="95" y="5"/>
                    <a:pt x="95" y="6"/>
                    <a:pt x="94" y="7"/>
                  </a:cubicBezTo>
                  <a:cubicBezTo>
                    <a:pt x="93" y="7"/>
                    <a:pt x="93" y="9"/>
                    <a:pt x="91" y="8"/>
                  </a:cubicBezTo>
                  <a:cubicBezTo>
                    <a:pt x="90" y="8"/>
                    <a:pt x="90" y="7"/>
                    <a:pt x="90" y="6"/>
                  </a:cubicBezTo>
                  <a:cubicBezTo>
                    <a:pt x="89" y="4"/>
                    <a:pt x="89" y="4"/>
                    <a:pt x="88" y="4"/>
                  </a:cubicBezTo>
                  <a:cubicBezTo>
                    <a:pt x="87" y="4"/>
                    <a:pt x="87" y="4"/>
                    <a:pt x="86" y="4"/>
                  </a:cubicBezTo>
                  <a:cubicBezTo>
                    <a:pt x="86" y="3"/>
                    <a:pt x="85" y="3"/>
                    <a:pt x="85" y="3"/>
                  </a:cubicBezTo>
                  <a:cubicBezTo>
                    <a:pt x="84" y="3"/>
                    <a:pt x="84" y="3"/>
                    <a:pt x="83" y="3"/>
                  </a:cubicBezTo>
                  <a:cubicBezTo>
                    <a:pt x="83" y="2"/>
                    <a:pt x="83" y="2"/>
                    <a:pt x="83" y="2"/>
                  </a:cubicBezTo>
                  <a:cubicBezTo>
                    <a:pt x="83" y="2"/>
                    <a:pt x="82" y="1"/>
                    <a:pt x="81" y="0"/>
                  </a:cubicBezTo>
                  <a:cubicBezTo>
                    <a:pt x="80" y="0"/>
                    <a:pt x="80" y="2"/>
                    <a:pt x="80" y="3"/>
                  </a:cubicBezTo>
                  <a:cubicBezTo>
                    <a:pt x="80" y="4"/>
                    <a:pt x="80" y="6"/>
                    <a:pt x="80" y="7"/>
                  </a:cubicBezTo>
                  <a:cubicBezTo>
                    <a:pt x="80" y="7"/>
                    <a:pt x="80" y="7"/>
                    <a:pt x="80" y="8"/>
                  </a:cubicBezTo>
                  <a:cubicBezTo>
                    <a:pt x="79" y="8"/>
                    <a:pt x="78" y="9"/>
                    <a:pt x="78" y="10"/>
                  </a:cubicBezTo>
                  <a:cubicBezTo>
                    <a:pt x="77" y="11"/>
                    <a:pt x="77" y="11"/>
                    <a:pt x="75" y="11"/>
                  </a:cubicBezTo>
                  <a:cubicBezTo>
                    <a:pt x="76" y="11"/>
                    <a:pt x="76" y="11"/>
                    <a:pt x="76" y="11"/>
                  </a:cubicBezTo>
                  <a:cubicBezTo>
                    <a:pt x="75" y="11"/>
                    <a:pt x="75" y="10"/>
                    <a:pt x="74" y="11"/>
                  </a:cubicBezTo>
                  <a:cubicBezTo>
                    <a:pt x="73" y="11"/>
                    <a:pt x="73" y="12"/>
                    <a:pt x="73" y="12"/>
                  </a:cubicBezTo>
                  <a:cubicBezTo>
                    <a:pt x="72" y="13"/>
                    <a:pt x="72" y="13"/>
                    <a:pt x="71" y="14"/>
                  </a:cubicBezTo>
                  <a:cubicBezTo>
                    <a:pt x="70" y="14"/>
                    <a:pt x="70" y="14"/>
                    <a:pt x="70" y="15"/>
                  </a:cubicBezTo>
                  <a:cubicBezTo>
                    <a:pt x="69" y="16"/>
                    <a:pt x="69" y="17"/>
                    <a:pt x="68" y="18"/>
                  </a:cubicBezTo>
                  <a:cubicBezTo>
                    <a:pt x="68" y="20"/>
                    <a:pt x="68" y="21"/>
                    <a:pt x="67" y="22"/>
                  </a:cubicBezTo>
                  <a:cubicBezTo>
                    <a:pt x="67" y="23"/>
                    <a:pt x="67" y="24"/>
                    <a:pt x="66" y="25"/>
                  </a:cubicBezTo>
                  <a:cubicBezTo>
                    <a:pt x="66" y="26"/>
                    <a:pt x="66" y="27"/>
                    <a:pt x="65" y="28"/>
                  </a:cubicBezTo>
                  <a:cubicBezTo>
                    <a:pt x="65" y="29"/>
                    <a:pt x="64" y="28"/>
                    <a:pt x="63" y="29"/>
                  </a:cubicBezTo>
                  <a:cubicBezTo>
                    <a:pt x="61" y="29"/>
                    <a:pt x="61" y="30"/>
                    <a:pt x="62" y="31"/>
                  </a:cubicBezTo>
                  <a:cubicBezTo>
                    <a:pt x="62" y="32"/>
                    <a:pt x="63" y="32"/>
                    <a:pt x="64" y="33"/>
                  </a:cubicBezTo>
                  <a:cubicBezTo>
                    <a:pt x="65" y="34"/>
                    <a:pt x="65" y="35"/>
                    <a:pt x="65" y="36"/>
                  </a:cubicBezTo>
                  <a:cubicBezTo>
                    <a:pt x="64" y="37"/>
                    <a:pt x="64" y="38"/>
                    <a:pt x="63" y="39"/>
                  </a:cubicBezTo>
                  <a:cubicBezTo>
                    <a:pt x="63" y="40"/>
                    <a:pt x="62" y="41"/>
                    <a:pt x="62" y="41"/>
                  </a:cubicBezTo>
                  <a:cubicBezTo>
                    <a:pt x="62" y="42"/>
                    <a:pt x="62" y="44"/>
                    <a:pt x="62" y="45"/>
                  </a:cubicBezTo>
                  <a:cubicBezTo>
                    <a:pt x="62" y="46"/>
                    <a:pt x="62" y="47"/>
                    <a:pt x="62" y="48"/>
                  </a:cubicBezTo>
                  <a:cubicBezTo>
                    <a:pt x="63" y="49"/>
                    <a:pt x="63" y="50"/>
                    <a:pt x="63" y="51"/>
                  </a:cubicBezTo>
                  <a:cubicBezTo>
                    <a:pt x="63" y="52"/>
                    <a:pt x="65" y="54"/>
                    <a:pt x="64" y="56"/>
                  </a:cubicBezTo>
                  <a:cubicBezTo>
                    <a:pt x="65" y="56"/>
                    <a:pt x="65" y="57"/>
                    <a:pt x="65" y="57"/>
                  </a:cubicBezTo>
                  <a:cubicBezTo>
                    <a:pt x="66" y="58"/>
                    <a:pt x="66" y="58"/>
                    <a:pt x="66" y="59"/>
                  </a:cubicBezTo>
                  <a:cubicBezTo>
                    <a:pt x="67" y="60"/>
                    <a:pt x="66" y="61"/>
                    <a:pt x="65" y="61"/>
                  </a:cubicBezTo>
                  <a:cubicBezTo>
                    <a:pt x="64" y="61"/>
                    <a:pt x="64" y="59"/>
                    <a:pt x="63" y="59"/>
                  </a:cubicBezTo>
                  <a:cubicBezTo>
                    <a:pt x="63" y="59"/>
                    <a:pt x="62" y="61"/>
                    <a:pt x="62" y="61"/>
                  </a:cubicBezTo>
                  <a:cubicBezTo>
                    <a:pt x="61" y="63"/>
                    <a:pt x="60" y="65"/>
                    <a:pt x="60" y="67"/>
                  </a:cubicBezTo>
                  <a:cubicBezTo>
                    <a:pt x="59" y="69"/>
                    <a:pt x="60" y="71"/>
                    <a:pt x="59" y="72"/>
                  </a:cubicBezTo>
                  <a:cubicBezTo>
                    <a:pt x="59" y="73"/>
                    <a:pt x="58" y="74"/>
                    <a:pt x="59" y="75"/>
                  </a:cubicBezTo>
                  <a:cubicBezTo>
                    <a:pt x="59" y="75"/>
                    <a:pt x="60" y="75"/>
                    <a:pt x="60" y="76"/>
                  </a:cubicBezTo>
                  <a:cubicBezTo>
                    <a:pt x="60" y="76"/>
                    <a:pt x="61" y="77"/>
                    <a:pt x="61" y="77"/>
                  </a:cubicBezTo>
                  <a:cubicBezTo>
                    <a:pt x="60" y="78"/>
                    <a:pt x="59" y="78"/>
                    <a:pt x="59" y="79"/>
                  </a:cubicBezTo>
                  <a:cubicBezTo>
                    <a:pt x="59" y="80"/>
                    <a:pt x="59" y="81"/>
                    <a:pt x="59" y="82"/>
                  </a:cubicBezTo>
                  <a:cubicBezTo>
                    <a:pt x="58" y="84"/>
                    <a:pt x="56" y="85"/>
                    <a:pt x="55" y="85"/>
                  </a:cubicBezTo>
                  <a:cubicBezTo>
                    <a:pt x="54" y="86"/>
                    <a:pt x="53" y="86"/>
                    <a:pt x="53" y="86"/>
                  </a:cubicBezTo>
                  <a:cubicBezTo>
                    <a:pt x="52" y="87"/>
                    <a:pt x="52" y="88"/>
                    <a:pt x="51" y="88"/>
                  </a:cubicBezTo>
                  <a:cubicBezTo>
                    <a:pt x="50" y="88"/>
                    <a:pt x="49" y="88"/>
                    <a:pt x="48" y="88"/>
                  </a:cubicBezTo>
                  <a:cubicBezTo>
                    <a:pt x="47" y="88"/>
                    <a:pt x="47" y="87"/>
                    <a:pt x="46" y="86"/>
                  </a:cubicBezTo>
                  <a:cubicBezTo>
                    <a:pt x="45" y="85"/>
                    <a:pt x="45" y="85"/>
                    <a:pt x="44" y="83"/>
                  </a:cubicBezTo>
                  <a:cubicBezTo>
                    <a:pt x="43" y="84"/>
                    <a:pt x="43" y="86"/>
                    <a:pt x="43" y="86"/>
                  </a:cubicBezTo>
                  <a:cubicBezTo>
                    <a:pt x="42" y="87"/>
                    <a:pt x="42" y="88"/>
                    <a:pt x="41" y="88"/>
                  </a:cubicBezTo>
                  <a:cubicBezTo>
                    <a:pt x="40" y="89"/>
                    <a:pt x="39" y="90"/>
                    <a:pt x="37" y="91"/>
                  </a:cubicBezTo>
                  <a:cubicBezTo>
                    <a:pt x="37" y="91"/>
                    <a:pt x="36" y="91"/>
                    <a:pt x="36" y="92"/>
                  </a:cubicBezTo>
                  <a:cubicBezTo>
                    <a:pt x="36" y="93"/>
                    <a:pt x="36" y="93"/>
                    <a:pt x="36" y="94"/>
                  </a:cubicBezTo>
                  <a:cubicBezTo>
                    <a:pt x="35" y="95"/>
                    <a:pt x="34" y="95"/>
                    <a:pt x="33" y="96"/>
                  </a:cubicBezTo>
                  <a:cubicBezTo>
                    <a:pt x="32" y="98"/>
                    <a:pt x="34" y="97"/>
                    <a:pt x="35" y="98"/>
                  </a:cubicBezTo>
                  <a:cubicBezTo>
                    <a:pt x="36" y="99"/>
                    <a:pt x="37" y="100"/>
                    <a:pt x="36" y="101"/>
                  </a:cubicBezTo>
                  <a:cubicBezTo>
                    <a:pt x="35" y="102"/>
                    <a:pt x="34" y="102"/>
                    <a:pt x="33" y="103"/>
                  </a:cubicBezTo>
                  <a:cubicBezTo>
                    <a:pt x="32" y="105"/>
                    <a:pt x="33" y="105"/>
                    <a:pt x="34" y="105"/>
                  </a:cubicBezTo>
                  <a:cubicBezTo>
                    <a:pt x="36" y="107"/>
                    <a:pt x="32" y="109"/>
                    <a:pt x="32" y="110"/>
                  </a:cubicBezTo>
                  <a:cubicBezTo>
                    <a:pt x="33" y="111"/>
                    <a:pt x="33" y="112"/>
                    <a:pt x="34" y="111"/>
                  </a:cubicBezTo>
                  <a:cubicBezTo>
                    <a:pt x="35" y="111"/>
                    <a:pt x="37" y="110"/>
                    <a:pt x="38" y="110"/>
                  </a:cubicBezTo>
                  <a:cubicBezTo>
                    <a:pt x="39" y="111"/>
                    <a:pt x="39" y="113"/>
                    <a:pt x="40" y="114"/>
                  </a:cubicBezTo>
                  <a:cubicBezTo>
                    <a:pt x="40" y="115"/>
                    <a:pt x="41" y="115"/>
                    <a:pt x="42" y="115"/>
                  </a:cubicBezTo>
                  <a:cubicBezTo>
                    <a:pt x="42" y="116"/>
                    <a:pt x="41" y="117"/>
                    <a:pt x="41" y="117"/>
                  </a:cubicBezTo>
                  <a:cubicBezTo>
                    <a:pt x="40" y="118"/>
                    <a:pt x="39" y="118"/>
                    <a:pt x="38" y="118"/>
                  </a:cubicBezTo>
                  <a:cubicBezTo>
                    <a:pt x="37" y="118"/>
                    <a:pt x="36" y="119"/>
                    <a:pt x="35" y="120"/>
                  </a:cubicBezTo>
                  <a:cubicBezTo>
                    <a:pt x="34" y="120"/>
                    <a:pt x="34" y="120"/>
                    <a:pt x="34" y="121"/>
                  </a:cubicBezTo>
                  <a:cubicBezTo>
                    <a:pt x="34" y="121"/>
                    <a:pt x="34" y="122"/>
                    <a:pt x="34" y="122"/>
                  </a:cubicBezTo>
                  <a:cubicBezTo>
                    <a:pt x="33" y="123"/>
                    <a:pt x="32" y="123"/>
                    <a:pt x="31" y="123"/>
                  </a:cubicBezTo>
                  <a:cubicBezTo>
                    <a:pt x="29" y="123"/>
                    <a:pt x="29" y="126"/>
                    <a:pt x="26" y="126"/>
                  </a:cubicBezTo>
                  <a:cubicBezTo>
                    <a:pt x="26" y="124"/>
                    <a:pt x="24" y="126"/>
                    <a:pt x="24" y="127"/>
                  </a:cubicBezTo>
                  <a:cubicBezTo>
                    <a:pt x="24" y="128"/>
                    <a:pt x="26" y="130"/>
                    <a:pt x="24" y="131"/>
                  </a:cubicBezTo>
                  <a:cubicBezTo>
                    <a:pt x="23" y="131"/>
                    <a:pt x="21" y="132"/>
                    <a:pt x="19" y="132"/>
                  </a:cubicBezTo>
                  <a:cubicBezTo>
                    <a:pt x="18" y="132"/>
                    <a:pt x="16" y="131"/>
                    <a:pt x="15" y="132"/>
                  </a:cubicBezTo>
                  <a:cubicBezTo>
                    <a:pt x="15" y="133"/>
                    <a:pt x="14" y="134"/>
                    <a:pt x="14" y="135"/>
                  </a:cubicBezTo>
                  <a:cubicBezTo>
                    <a:pt x="13" y="135"/>
                    <a:pt x="13" y="135"/>
                    <a:pt x="12" y="136"/>
                  </a:cubicBezTo>
                  <a:cubicBezTo>
                    <a:pt x="12" y="136"/>
                    <a:pt x="11" y="136"/>
                    <a:pt x="11" y="136"/>
                  </a:cubicBezTo>
                  <a:cubicBezTo>
                    <a:pt x="10" y="137"/>
                    <a:pt x="11" y="139"/>
                    <a:pt x="12" y="139"/>
                  </a:cubicBezTo>
                  <a:cubicBezTo>
                    <a:pt x="13" y="139"/>
                    <a:pt x="13" y="139"/>
                    <a:pt x="14" y="139"/>
                  </a:cubicBezTo>
                  <a:cubicBezTo>
                    <a:pt x="15" y="139"/>
                    <a:pt x="15" y="139"/>
                    <a:pt x="15" y="139"/>
                  </a:cubicBezTo>
                  <a:cubicBezTo>
                    <a:pt x="16" y="140"/>
                    <a:pt x="15" y="140"/>
                    <a:pt x="15" y="141"/>
                  </a:cubicBezTo>
                  <a:cubicBezTo>
                    <a:pt x="15" y="141"/>
                    <a:pt x="15" y="142"/>
                    <a:pt x="15" y="143"/>
                  </a:cubicBezTo>
                  <a:cubicBezTo>
                    <a:pt x="15" y="144"/>
                    <a:pt x="16" y="145"/>
                    <a:pt x="16" y="146"/>
                  </a:cubicBezTo>
                  <a:cubicBezTo>
                    <a:pt x="16" y="146"/>
                    <a:pt x="17" y="146"/>
                    <a:pt x="17" y="146"/>
                  </a:cubicBezTo>
                  <a:cubicBezTo>
                    <a:pt x="18" y="145"/>
                    <a:pt x="18" y="145"/>
                    <a:pt x="18" y="145"/>
                  </a:cubicBezTo>
                  <a:cubicBezTo>
                    <a:pt x="19" y="145"/>
                    <a:pt x="20" y="145"/>
                    <a:pt x="20" y="146"/>
                  </a:cubicBezTo>
                  <a:cubicBezTo>
                    <a:pt x="20" y="146"/>
                    <a:pt x="20" y="147"/>
                    <a:pt x="19" y="147"/>
                  </a:cubicBezTo>
                  <a:cubicBezTo>
                    <a:pt x="19" y="148"/>
                    <a:pt x="18" y="149"/>
                    <a:pt x="18" y="150"/>
                  </a:cubicBezTo>
                  <a:cubicBezTo>
                    <a:pt x="18" y="150"/>
                    <a:pt x="18" y="151"/>
                    <a:pt x="18" y="152"/>
                  </a:cubicBezTo>
                  <a:cubicBezTo>
                    <a:pt x="19" y="152"/>
                    <a:pt x="20" y="152"/>
                    <a:pt x="20" y="153"/>
                  </a:cubicBezTo>
                  <a:cubicBezTo>
                    <a:pt x="20" y="154"/>
                    <a:pt x="18" y="154"/>
                    <a:pt x="18" y="154"/>
                  </a:cubicBezTo>
                  <a:cubicBezTo>
                    <a:pt x="16" y="154"/>
                    <a:pt x="16" y="154"/>
                    <a:pt x="16" y="155"/>
                  </a:cubicBezTo>
                  <a:cubicBezTo>
                    <a:pt x="15" y="156"/>
                    <a:pt x="15" y="157"/>
                    <a:pt x="14" y="156"/>
                  </a:cubicBezTo>
                  <a:cubicBezTo>
                    <a:pt x="12" y="156"/>
                    <a:pt x="12" y="155"/>
                    <a:pt x="12" y="155"/>
                  </a:cubicBezTo>
                  <a:cubicBezTo>
                    <a:pt x="11" y="155"/>
                    <a:pt x="10" y="156"/>
                    <a:pt x="10" y="156"/>
                  </a:cubicBezTo>
                  <a:cubicBezTo>
                    <a:pt x="10" y="157"/>
                    <a:pt x="10" y="157"/>
                    <a:pt x="10" y="157"/>
                  </a:cubicBezTo>
                  <a:cubicBezTo>
                    <a:pt x="9" y="158"/>
                    <a:pt x="9" y="158"/>
                    <a:pt x="9" y="158"/>
                  </a:cubicBezTo>
                  <a:cubicBezTo>
                    <a:pt x="9" y="159"/>
                    <a:pt x="8" y="159"/>
                    <a:pt x="8" y="160"/>
                  </a:cubicBezTo>
                  <a:cubicBezTo>
                    <a:pt x="8" y="160"/>
                    <a:pt x="9" y="160"/>
                    <a:pt x="10" y="161"/>
                  </a:cubicBezTo>
                  <a:cubicBezTo>
                    <a:pt x="10" y="162"/>
                    <a:pt x="10" y="162"/>
                    <a:pt x="10" y="163"/>
                  </a:cubicBezTo>
                  <a:cubicBezTo>
                    <a:pt x="10" y="164"/>
                    <a:pt x="10" y="165"/>
                    <a:pt x="10" y="165"/>
                  </a:cubicBezTo>
                  <a:cubicBezTo>
                    <a:pt x="10" y="167"/>
                    <a:pt x="10" y="168"/>
                    <a:pt x="10" y="169"/>
                  </a:cubicBezTo>
                  <a:cubicBezTo>
                    <a:pt x="10" y="170"/>
                    <a:pt x="7" y="171"/>
                    <a:pt x="6" y="172"/>
                  </a:cubicBezTo>
                  <a:cubicBezTo>
                    <a:pt x="4" y="173"/>
                    <a:pt x="2" y="173"/>
                    <a:pt x="3" y="175"/>
                  </a:cubicBezTo>
                  <a:cubicBezTo>
                    <a:pt x="3" y="176"/>
                    <a:pt x="3" y="176"/>
                    <a:pt x="4" y="177"/>
                  </a:cubicBezTo>
                  <a:cubicBezTo>
                    <a:pt x="4" y="178"/>
                    <a:pt x="4" y="178"/>
                    <a:pt x="3" y="178"/>
                  </a:cubicBezTo>
                  <a:cubicBezTo>
                    <a:pt x="3" y="179"/>
                    <a:pt x="3" y="181"/>
                    <a:pt x="2" y="181"/>
                  </a:cubicBezTo>
                  <a:cubicBezTo>
                    <a:pt x="1" y="181"/>
                    <a:pt x="0" y="181"/>
                    <a:pt x="0" y="181"/>
                  </a:cubicBezTo>
                  <a:cubicBezTo>
                    <a:pt x="0" y="182"/>
                    <a:pt x="0" y="182"/>
                    <a:pt x="0" y="182"/>
                  </a:cubicBezTo>
                  <a:lnTo>
                    <a:pt x="4" y="18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6" name="Freeform 44">
              <a:extLst>
                <a:ext uri="{FF2B5EF4-FFF2-40B4-BE49-F238E27FC236}">
                  <a16:creationId xmlns:a16="http://schemas.microsoft.com/office/drawing/2014/main" id="{0A7A681B-2BA6-5A52-B51F-2989825B5DCA}"/>
                </a:ext>
              </a:extLst>
            </p:cNvPr>
            <p:cNvSpPr>
              <a:spLocks noEditPoints="1"/>
            </p:cNvSpPr>
            <p:nvPr/>
          </p:nvSpPr>
          <p:spPr bwMode="auto">
            <a:xfrm>
              <a:off x="7737475" y="4471988"/>
              <a:ext cx="2192338" cy="1311275"/>
            </a:xfrm>
            <a:custGeom>
              <a:avLst/>
              <a:gdLst>
                <a:gd name="T0" fmla="*/ 37 w 576"/>
                <a:gd name="T1" fmla="*/ 42 h 344"/>
                <a:gd name="T2" fmla="*/ 46 w 576"/>
                <a:gd name="T3" fmla="*/ 23 h 344"/>
                <a:gd name="T4" fmla="*/ 100 w 576"/>
                <a:gd name="T5" fmla="*/ 28 h 344"/>
                <a:gd name="T6" fmla="*/ 106 w 576"/>
                <a:gd name="T7" fmla="*/ 54 h 344"/>
                <a:gd name="T8" fmla="*/ 159 w 576"/>
                <a:gd name="T9" fmla="*/ 23 h 344"/>
                <a:gd name="T10" fmla="*/ 177 w 576"/>
                <a:gd name="T11" fmla="*/ 36 h 344"/>
                <a:gd name="T12" fmla="*/ 207 w 576"/>
                <a:gd name="T13" fmla="*/ 26 h 344"/>
                <a:gd name="T14" fmla="*/ 242 w 576"/>
                <a:gd name="T15" fmla="*/ 40 h 344"/>
                <a:gd name="T16" fmla="*/ 274 w 576"/>
                <a:gd name="T17" fmla="*/ 38 h 344"/>
                <a:gd name="T18" fmla="*/ 314 w 576"/>
                <a:gd name="T19" fmla="*/ 62 h 344"/>
                <a:gd name="T20" fmla="*/ 328 w 576"/>
                <a:gd name="T21" fmla="*/ 47 h 344"/>
                <a:gd name="T22" fmla="*/ 313 w 576"/>
                <a:gd name="T23" fmla="*/ 24 h 344"/>
                <a:gd name="T24" fmla="*/ 279 w 576"/>
                <a:gd name="T25" fmla="*/ 14 h 344"/>
                <a:gd name="T26" fmla="*/ 254 w 576"/>
                <a:gd name="T27" fmla="*/ 3 h 344"/>
                <a:gd name="T28" fmla="*/ 229 w 576"/>
                <a:gd name="T29" fmla="*/ 9 h 344"/>
                <a:gd name="T30" fmla="*/ 192 w 576"/>
                <a:gd name="T31" fmla="*/ 4 h 344"/>
                <a:gd name="T32" fmla="*/ 162 w 576"/>
                <a:gd name="T33" fmla="*/ 13 h 344"/>
                <a:gd name="T34" fmla="*/ 147 w 576"/>
                <a:gd name="T35" fmla="*/ 23 h 344"/>
                <a:gd name="T36" fmla="*/ 166 w 576"/>
                <a:gd name="T37" fmla="*/ 53 h 344"/>
                <a:gd name="T38" fmla="*/ 174 w 576"/>
                <a:gd name="T39" fmla="*/ 52 h 344"/>
                <a:gd name="T40" fmla="*/ 165 w 576"/>
                <a:gd name="T41" fmla="*/ 49 h 344"/>
                <a:gd name="T42" fmla="*/ 159 w 576"/>
                <a:gd name="T43" fmla="*/ 57 h 344"/>
                <a:gd name="T44" fmla="*/ 180 w 576"/>
                <a:gd name="T45" fmla="*/ 50 h 344"/>
                <a:gd name="T46" fmla="*/ 190 w 576"/>
                <a:gd name="T47" fmla="*/ 47 h 344"/>
                <a:gd name="T48" fmla="*/ 128 w 576"/>
                <a:gd name="T49" fmla="*/ 29 h 344"/>
                <a:gd name="T50" fmla="*/ 152 w 576"/>
                <a:gd name="T51" fmla="*/ 13 h 344"/>
                <a:gd name="T52" fmla="*/ 547 w 576"/>
                <a:gd name="T53" fmla="*/ 240 h 344"/>
                <a:gd name="T54" fmla="*/ 557 w 576"/>
                <a:gd name="T55" fmla="*/ 227 h 344"/>
                <a:gd name="T56" fmla="*/ 564 w 576"/>
                <a:gd name="T57" fmla="*/ 208 h 344"/>
                <a:gd name="T58" fmla="*/ 566 w 576"/>
                <a:gd name="T59" fmla="*/ 184 h 344"/>
                <a:gd name="T60" fmla="*/ 550 w 576"/>
                <a:gd name="T61" fmla="*/ 165 h 344"/>
                <a:gd name="T62" fmla="*/ 538 w 576"/>
                <a:gd name="T63" fmla="*/ 179 h 344"/>
                <a:gd name="T64" fmla="*/ 539 w 576"/>
                <a:gd name="T65" fmla="*/ 201 h 344"/>
                <a:gd name="T66" fmla="*/ 536 w 576"/>
                <a:gd name="T67" fmla="*/ 213 h 344"/>
                <a:gd name="T68" fmla="*/ 530 w 576"/>
                <a:gd name="T69" fmla="*/ 211 h 344"/>
                <a:gd name="T70" fmla="*/ 528 w 576"/>
                <a:gd name="T71" fmla="*/ 227 h 344"/>
                <a:gd name="T72" fmla="*/ 565 w 576"/>
                <a:gd name="T73" fmla="*/ 234 h 344"/>
                <a:gd name="T74" fmla="*/ 572 w 576"/>
                <a:gd name="T75" fmla="*/ 228 h 344"/>
                <a:gd name="T76" fmla="*/ 570 w 576"/>
                <a:gd name="T77" fmla="*/ 227 h 344"/>
                <a:gd name="T78" fmla="*/ 562 w 576"/>
                <a:gd name="T79" fmla="*/ 247 h 344"/>
                <a:gd name="T80" fmla="*/ 456 w 576"/>
                <a:gd name="T81" fmla="*/ 188 h 344"/>
                <a:gd name="T82" fmla="*/ 457 w 576"/>
                <a:gd name="T83" fmla="*/ 178 h 344"/>
                <a:gd name="T84" fmla="*/ 444 w 576"/>
                <a:gd name="T85" fmla="*/ 181 h 344"/>
                <a:gd name="T86" fmla="*/ 437 w 576"/>
                <a:gd name="T87" fmla="*/ 177 h 344"/>
                <a:gd name="T88" fmla="*/ 441 w 576"/>
                <a:gd name="T89" fmla="*/ 195 h 344"/>
                <a:gd name="T90" fmla="*/ 363 w 576"/>
                <a:gd name="T91" fmla="*/ 312 h 344"/>
                <a:gd name="T92" fmla="*/ 382 w 576"/>
                <a:gd name="T93" fmla="*/ 272 h 344"/>
                <a:gd name="T94" fmla="*/ 365 w 576"/>
                <a:gd name="T95" fmla="*/ 277 h 344"/>
                <a:gd name="T96" fmla="*/ 342 w 576"/>
                <a:gd name="T97" fmla="*/ 312 h 344"/>
                <a:gd name="T98" fmla="*/ 345 w 576"/>
                <a:gd name="T99" fmla="*/ 333 h 344"/>
                <a:gd name="T100" fmla="*/ 324 w 576"/>
                <a:gd name="T101" fmla="*/ 341 h 344"/>
                <a:gd name="T102" fmla="*/ 336 w 576"/>
                <a:gd name="T103" fmla="*/ 291 h 344"/>
                <a:gd name="T104" fmla="*/ 251 w 576"/>
                <a:gd name="T105" fmla="*/ 313 h 344"/>
                <a:gd name="T106" fmla="*/ 251 w 576"/>
                <a:gd name="T107" fmla="*/ 312 h 344"/>
                <a:gd name="T108" fmla="*/ 18 w 576"/>
                <a:gd name="T109" fmla="*/ 322 h 344"/>
                <a:gd name="T110" fmla="*/ 55 w 576"/>
                <a:gd name="T111" fmla="*/ 317 h 344"/>
                <a:gd name="T112" fmla="*/ 71 w 576"/>
                <a:gd name="T113" fmla="*/ 297 h 344"/>
                <a:gd name="T114" fmla="*/ 40 w 576"/>
                <a:gd name="T115" fmla="*/ 304 h 344"/>
                <a:gd name="T116" fmla="*/ 21 w 576"/>
                <a:gd name="T117" fmla="*/ 310 h 344"/>
                <a:gd name="T118" fmla="*/ 131 w 576"/>
                <a:gd name="T119" fmla="*/ 336 h 344"/>
                <a:gd name="T120" fmla="*/ 140 w 576"/>
                <a:gd name="T121" fmla="*/ 329 h 344"/>
                <a:gd name="T122" fmla="*/ 167 w 576"/>
                <a:gd name="T123" fmla="*/ 336 h 344"/>
                <a:gd name="T124" fmla="*/ 121 w 576"/>
                <a:gd name="T125" fmla="*/ 29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344">
                  <a:moveTo>
                    <a:pt x="74" y="66"/>
                  </a:moveTo>
                  <a:cubicBezTo>
                    <a:pt x="73" y="65"/>
                    <a:pt x="72" y="64"/>
                    <a:pt x="71" y="64"/>
                  </a:cubicBezTo>
                  <a:cubicBezTo>
                    <a:pt x="69" y="63"/>
                    <a:pt x="67" y="63"/>
                    <a:pt x="66" y="62"/>
                  </a:cubicBezTo>
                  <a:cubicBezTo>
                    <a:pt x="63" y="62"/>
                    <a:pt x="62" y="61"/>
                    <a:pt x="60" y="60"/>
                  </a:cubicBezTo>
                  <a:cubicBezTo>
                    <a:pt x="59" y="59"/>
                    <a:pt x="58" y="58"/>
                    <a:pt x="57" y="57"/>
                  </a:cubicBezTo>
                  <a:cubicBezTo>
                    <a:pt x="56" y="57"/>
                    <a:pt x="55" y="57"/>
                    <a:pt x="53" y="56"/>
                  </a:cubicBezTo>
                  <a:cubicBezTo>
                    <a:pt x="52" y="56"/>
                    <a:pt x="51" y="55"/>
                    <a:pt x="50" y="54"/>
                  </a:cubicBezTo>
                  <a:cubicBezTo>
                    <a:pt x="49" y="54"/>
                    <a:pt x="48" y="53"/>
                    <a:pt x="48" y="52"/>
                  </a:cubicBezTo>
                  <a:cubicBezTo>
                    <a:pt x="47" y="52"/>
                    <a:pt x="47" y="51"/>
                    <a:pt x="47" y="51"/>
                  </a:cubicBezTo>
                  <a:cubicBezTo>
                    <a:pt x="46" y="51"/>
                    <a:pt x="45" y="51"/>
                    <a:pt x="44" y="50"/>
                  </a:cubicBezTo>
                  <a:cubicBezTo>
                    <a:pt x="43" y="50"/>
                    <a:pt x="43" y="49"/>
                    <a:pt x="43" y="48"/>
                  </a:cubicBezTo>
                  <a:cubicBezTo>
                    <a:pt x="42" y="47"/>
                    <a:pt x="42" y="46"/>
                    <a:pt x="41" y="45"/>
                  </a:cubicBezTo>
                  <a:cubicBezTo>
                    <a:pt x="40" y="44"/>
                    <a:pt x="38" y="43"/>
                    <a:pt x="37" y="42"/>
                  </a:cubicBezTo>
                  <a:cubicBezTo>
                    <a:pt x="36" y="42"/>
                    <a:pt x="35" y="41"/>
                    <a:pt x="35" y="40"/>
                  </a:cubicBezTo>
                  <a:cubicBezTo>
                    <a:pt x="35" y="39"/>
                    <a:pt x="35" y="39"/>
                    <a:pt x="35" y="38"/>
                  </a:cubicBezTo>
                  <a:cubicBezTo>
                    <a:pt x="34" y="37"/>
                    <a:pt x="33" y="37"/>
                    <a:pt x="33" y="36"/>
                  </a:cubicBezTo>
                  <a:cubicBezTo>
                    <a:pt x="33" y="36"/>
                    <a:pt x="33" y="35"/>
                    <a:pt x="33" y="35"/>
                  </a:cubicBezTo>
                  <a:cubicBezTo>
                    <a:pt x="33" y="34"/>
                    <a:pt x="33" y="34"/>
                    <a:pt x="33" y="33"/>
                  </a:cubicBezTo>
                  <a:cubicBezTo>
                    <a:pt x="33" y="32"/>
                    <a:pt x="32" y="32"/>
                    <a:pt x="32" y="31"/>
                  </a:cubicBezTo>
                  <a:cubicBezTo>
                    <a:pt x="33" y="30"/>
                    <a:pt x="33" y="29"/>
                    <a:pt x="33" y="28"/>
                  </a:cubicBezTo>
                  <a:cubicBezTo>
                    <a:pt x="33" y="27"/>
                    <a:pt x="33" y="25"/>
                    <a:pt x="34" y="24"/>
                  </a:cubicBezTo>
                  <a:cubicBezTo>
                    <a:pt x="34" y="23"/>
                    <a:pt x="35" y="23"/>
                    <a:pt x="36" y="22"/>
                  </a:cubicBezTo>
                  <a:cubicBezTo>
                    <a:pt x="36" y="21"/>
                    <a:pt x="37" y="21"/>
                    <a:pt x="38" y="20"/>
                  </a:cubicBezTo>
                  <a:cubicBezTo>
                    <a:pt x="39" y="20"/>
                    <a:pt x="39" y="21"/>
                    <a:pt x="40" y="22"/>
                  </a:cubicBezTo>
                  <a:cubicBezTo>
                    <a:pt x="40" y="22"/>
                    <a:pt x="41" y="23"/>
                    <a:pt x="42" y="23"/>
                  </a:cubicBezTo>
                  <a:cubicBezTo>
                    <a:pt x="43" y="24"/>
                    <a:pt x="45" y="25"/>
                    <a:pt x="46" y="23"/>
                  </a:cubicBezTo>
                  <a:cubicBezTo>
                    <a:pt x="47" y="22"/>
                    <a:pt x="47" y="22"/>
                    <a:pt x="48" y="21"/>
                  </a:cubicBezTo>
                  <a:cubicBezTo>
                    <a:pt x="49" y="21"/>
                    <a:pt x="49" y="21"/>
                    <a:pt x="50" y="20"/>
                  </a:cubicBezTo>
                  <a:cubicBezTo>
                    <a:pt x="51" y="19"/>
                    <a:pt x="53" y="19"/>
                    <a:pt x="54" y="19"/>
                  </a:cubicBezTo>
                  <a:cubicBezTo>
                    <a:pt x="56" y="18"/>
                    <a:pt x="58" y="18"/>
                    <a:pt x="59" y="18"/>
                  </a:cubicBezTo>
                  <a:cubicBezTo>
                    <a:pt x="63" y="18"/>
                    <a:pt x="66" y="18"/>
                    <a:pt x="70" y="17"/>
                  </a:cubicBezTo>
                  <a:cubicBezTo>
                    <a:pt x="73" y="17"/>
                    <a:pt x="76" y="17"/>
                    <a:pt x="80" y="17"/>
                  </a:cubicBezTo>
                  <a:cubicBezTo>
                    <a:pt x="82" y="17"/>
                    <a:pt x="83" y="17"/>
                    <a:pt x="84" y="19"/>
                  </a:cubicBezTo>
                  <a:cubicBezTo>
                    <a:pt x="85" y="20"/>
                    <a:pt x="87" y="20"/>
                    <a:pt x="88" y="21"/>
                  </a:cubicBezTo>
                  <a:cubicBezTo>
                    <a:pt x="89" y="22"/>
                    <a:pt x="90" y="22"/>
                    <a:pt x="91" y="22"/>
                  </a:cubicBezTo>
                  <a:cubicBezTo>
                    <a:pt x="92" y="22"/>
                    <a:pt x="93" y="22"/>
                    <a:pt x="93" y="22"/>
                  </a:cubicBezTo>
                  <a:cubicBezTo>
                    <a:pt x="94" y="22"/>
                    <a:pt x="95" y="23"/>
                    <a:pt x="95" y="23"/>
                  </a:cubicBezTo>
                  <a:cubicBezTo>
                    <a:pt x="97" y="24"/>
                    <a:pt x="97" y="25"/>
                    <a:pt x="98" y="26"/>
                  </a:cubicBezTo>
                  <a:cubicBezTo>
                    <a:pt x="99" y="27"/>
                    <a:pt x="100" y="27"/>
                    <a:pt x="100" y="28"/>
                  </a:cubicBezTo>
                  <a:cubicBezTo>
                    <a:pt x="100" y="28"/>
                    <a:pt x="100" y="29"/>
                    <a:pt x="100" y="30"/>
                  </a:cubicBezTo>
                  <a:cubicBezTo>
                    <a:pt x="100" y="31"/>
                    <a:pt x="99" y="30"/>
                    <a:pt x="99" y="30"/>
                  </a:cubicBezTo>
                  <a:cubicBezTo>
                    <a:pt x="98" y="29"/>
                    <a:pt x="95" y="29"/>
                    <a:pt x="95" y="31"/>
                  </a:cubicBezTo>
                  <a:cubicBezTo>
                    <a:pt x="95" y="32"/>
                    <a:pt x="95" y="33"/>
                    <a:pt x="96" y="33"/>
                  </a:cubicBezTo>
                  <a:cubicBezTo>
                    <a:pt x="96" y="33"/>
                    <a:pt x="97" y="33"/>
                    <a:pt x="97" y="33"/>
                  </a:cubicBezTo>
                  <a:cubicBezTo>
                    <a:pt x="98" y="33"/>
                    <a:pt x="98" y="34"/>
                    <a:pt x="98" y="34"/>
                  </a:cubicBezTo>
                  <a:cubicBezTo>
                    <a:pt x="98" y="36"/>
                    <a:pt x="100" y="37"/>
                    <a:pt x="102" y="35"/>
                  </a:cubicBezTo>
                  <a:cubicBezTo>
                    <a:pt x="102" y="35"/>
                    <a:pt x="102" y="34"/>
                    <a:pt x="103" y="34"/>
                  </a:cubicBezTo>
                  <a:cubicBezTo>
                    <a:pt x="103" y="34"/>
                    <a:pt x="104" y="35"/>
                    <a:pt x="104" y="35"/>
                  </a:cubicBezTo>
                  <a:cubicBezTo>
                    <a:pt x="106" y="36"/>
                    <a:pt x="107" y="35"/>
                    <a:pt x="108" y="36"/>
                  </a:cubicBezTo>
                  <a:cubicBezTo>
                    <a:pt x="109" y="36"/>
                    <a:pt x="109" y="38"/>
                    <a:pt x="109" y="39"/>
                  </a:cubicBezTo>
                  <a:cubicBezTo>
                    <a:pt x="108" y="42"/>
                    <a:pt x="108" y="45"/>
                    <a:pt x="108" y="48"/>
                  </a:cubicBezTo>
                  <a:cubicBezTo>
                    <a:pt x="108" y="50"/>
                    <a:pt x="108" y="53"/>
                    <a:pt x="106" y="54"/>
                  </a:cubicBezTo>
                  <a:cubicBezTo>
                    <a:pt x="105" y="54"/>
                    <a:pt x="103" y="54"/>
                    <a:pt x="102" y="54"/>
                  </a:cubicBezTo>
                  <a:cubicBezTo>
                    <a:pt x="101" y="54"/>
                    <a:pt x="100" y="55"/>
                    <a:pt x="99" y="55"/>
                  </a:cubicBezTo>
                  <a:cubicBezTo>
                    <a:pt x="97" y="55"/>
                    <a:pt x="96" y="55"/>
                    <a:pt x="94" y="56"/>
                  </a:cubicBezTo>
                  <a:cubicBezTo>
                    <a:pt x="93" y="57"/>
                    <a:pt x="92" y="58"/>
                    <a:pt x="91" y="59"/>
                  </a:cubicBezTo>
                  <a:cubicBezTo>
                    <a:pt x="90" y="60"/>
                    <a:pt x="89" y="60"/>
                    <a:pt x="88" y="61"/>
                  </a:cubicBezTo>
                  <a:cubicBezTo>
                    <a:pt x="85" y="61"/>
                    <a:pt x="83" y="62"/>
                    <a:pt x="81" y="62"/>
                  </a:cubicBezTo>
                  <a:cubicBezTo>
                    <a:pt x="80" y="63"/>
                    <a:pt x="79" y="64"/>
                    <a:pt x="77" y="65"/>
                  </a:cubicBezTo>
                  <a:cubicBezTo>
                    <a:pt x="76" y="65"/>
                    <a:pt x="75" y="65"/>
                    <a:pt x="74" y="66"/>
                  </a:cubicBezTo>
                  <a:close/>
                  <a:moveTo>
                    <a:pt x="156" y="36"/>
                  </a:moveTo>
                  <a:cubicBezTo>
                    <a:pt x="157" y="35"/>
                    <a:pt x="157" y="34"/>
                    <a:pt x="157" y="33"/>
                  </a:cubicBezTo>
                  <a:cubicBezTo>
                    <a:pt x="157" y="32"/>
                    <a:pt x="158" y="30"/>
                    <a:pt x="158" y="29"/>
                  </a:cubicBezTo>
                  <a:cubicBezTo>
                    <a:pt x="158" y="28"/>
                    <a:pt x="158" y="27"/>
                    <a:pt x="158" y="26"/>
                  </a:cubicBezTo>
                  <a:cubicBezTo>
                    <a:pt x="158" y="25"/>
                    <a:pt x="158" y="24"/>
                    <a:pt x="159" y="23"/>
                  </a:cubicBezTo>
                  <a:cubicBezTo>
                    <a:pt x="159" y="22"/>
                    <a:pt x="160" y="21"/>
                    <a:pt x="161" y="21"/>
                  </a:cubicBezTo>
                  <a:cubicBezTo>
                    <a:pt x="162" y="20"/>
                    <a:pt x="163" y="19"/>
                    <a:pt x="163" y="18"/>
                  </a:cubicBezTo>
                  <a:cubicBezTo>
                    <a:pt x="164" y="18"/>
                    <a:pt x="164" y="18"/>
                    <a:pt x="164" y="17"/>
                  </a:cubicBezTo>
                  <a:cubicBezTo>
                    <a:pt x="165" y="17"/>
                    <a:pt x="166" y="18"/>
                    <a:pt x="166" y="18"/>
                  </a:cubicBezTo>
                  <a:cubicBezTo>
                    <a:pt x="166" y="18"/>
                    <a:pt x="166" y="20"/>
                    <a:pt x="166" y="20"/>
                  </a:cubicBezTo>
                  <a:cubicBezTo>
                    <a:pt x="166" y="22"/>
                    <a:pt x="164" y="23"/>
                    <a:pt x="164" y="25"/>
                  </a:cubicBezTo>
                  <a:cubicBezTo>
                    <a:pt x="164" y="26"/>
                    <a:pt x="164" y="27"/>
                    <a:pt x="165" y="27"/>
                  </a:cubicBezTo>
                  <a:cubicBezTo>
                    <a:pt x="166" y="27"/>
                    <a:pt x="168" y="26"/>
                    <a:pt x="169" y="26"/>
                  </a:cubicBezTo>
                  <a:cubicBezTo>
                    <a:pt x="170" y="26"/>
                    <a:pt x="170" y="27"/>
                    <a:pt x="171" y="28"/>
                  </a:cubicBezTo>
                  <a:cubicBezTo>
                    <a:pt x="172" y="29"/>
                    <a:pt x="172" y="30"/>
                    <a:pt x="173" y="31"/>
                  </a:cubicBezTo>
                  <a:cubicBezTo>
                    <a:pt x="173" y="31"/>
                    <a:pt x="174" y="32"/>
                    <a:pt x="174" y="33"/>
                  </a:cubicBezTo>
                  <a:cubicBezTo>
                    <a:pt x="175" y="33"/>
                    <a:pt x="175" y="34"/>
                    <a:pt x="176" y="35"/>
                  </a:cubicBezTo>
                  <a:cubicBezTo>
                    <a:pt x="176" y="35"/>
                    <a:pt x="176" y="36"/>
                    <a:pt x="177" y="36"/>
                  </a:cubicBezTo>
                  <a:cubicBezTo>
                    <a:pt x="177" y="38"/>
                    <a:pt x="178" y="38"/>
                    <a:pt x="179" y="39"/>
                  </a:cubicBezTo>
                  <a:cubicBezTo>
                    <a:pt x="179" y="40"/>
                    <a:pt x="180" y="41"/>
                    <a:pt x="180" y="41"/>
                  </a:cubicBezTo>
                  <a:cubicBezTo>
                    <a:pt x="182" y="42"/>
                    <a:pt x="184" y="41"/>
                    <a:pt x="185" y="41"/>
                  </a:cubicBezTo>
                  <a:cubicBezTo>
                    <a:pt x="187" y="41"/>
                    <a:pt x="188" y="40"/>
                    <a:pt x="189" y="40"/>
                  </a:cubicBezTo>
                  <a:cubicBezTo>
                    <a:pt x="190" y="40"/>
                    <a:pt x="191" y="40"/>
                    <a:pt x="193" y="40"/>
                  </a:cubicBezTo>
                  <a:cubicBezTo>
                    <a:pt x="194" y="40"/>
                    <a:pt x="195" y="40"/>
                    <a:pt x="196" y="39"/>
                  </a:cubicBezTo>
                  <a:cubicBezTo>
                    <a:pt x="197" y="39"/>
                    <a:pt x="196" y="38"/>
                    <a:pt x="196" y="38"/>
                  </a:cubicBezTo>
                  <a:cubicBezTo>
                    <a:pt x="195" y="37"/>
                    <a:pt x="195" y="36"/>
                    <a:pt x="196" y="35"/>
                  </a:cubicBezTo>
                  <a:cubicBezTo>
                    <a:pt x="196" y="34"/>
                    <a:pt x="198" y="33"/>
                    <a:pt x="200" y="32"/>
                  </a:cubicBezTo>
                  <a:cubicBezTo>
                    <a:pt x="201" y="31"/>
                    <a:pt x="202" y="30"/>
                    <a:pt x="203" y="29"/>
                  </a:cubicBezTo>
                  <a:cubicBezTo>
                    <a:pt x="204" y="28"/>
                    <a:pt x="204" y="28"/>
                    <a:pt x="205" y="28"/>
                  </a:cubicBezTo>
                  <a:cubicBezTo>
                    <a:pt x="205" y="28"/>
                    <a:pt x="205" y="27"/>
                    <a:pt x="206" y="27"/>
                  </a:cubicBezTo>
                  <a:cubicBezTo>
                    <a:pt x="206" y="27"/>
                    <a:pt x="206" y="26"/>
                    <a:pt x="207" y="26"/>
                  </a:cubicBezTo>
                  <a:cubicBezTo>
                    <a:pt x="207" y="26"/>
                    <a:pt x="208" y="26"/>
                    <a:pt x="209" y="26"/>
                  </a:cubicBezTo>
                  <a:cubicBezTo>
                    <a:pt x="210" y="26"/>
                    <a:pt x="211" y="26"/>
                    <a:pt x="211" y="26"/>
                  </a:cubicBezTo>
                  <a:cubicBezTo>
                    <a:pt x="211" y="26"/>
                    <a:pt x="212" y="27"/>
                    <a:pt x="212" y="27"/>
                  </a:cubicBezTo>
                  <a:cubicBezTo>
                    <a:pt x="212" y="28"/>
                    <a:pt x="213" y="29"/>
                    <a:pt x="213" y="30"/>
                  </a:cubicBezTo>
                  <a:cubicBezTo>
                    <a:pt x="213" y="32"/>
                    <a:pt x="211" y="32"/>
                    <a:pt x="211" y="33"/>
                  </a:cubicBezTo>
                  <a:cubicBezTo>
                    <a:pt x="210" y="33"/>
                    <a:pt x="210" y="34"/>
                    <a:pt x="210" y="35"/>
                  </a:cubicBezTo>
                  <a:cubicBezTo>
                    <a:pt x="210" y="36"/>
                    <a:pt x="212" y="35"/>
                    <a:pt x="213" y="35"/>
                  </a:cubicBezTo>
                  <a:cubicBezTo>
                    <a:pt x="214" y="35"/>
                    <a:pt x="215" y="35"/>
                    <a:pt x="217" y="35"/>
                  </a:cubicBezTo>
                  <a:cubicBezTo>
                    <a:pt x="218" y="35"/>
                    <a:pt x="219" y="34"/>
                    <a:pt x="220" y="35"/>
                  </a:cubicBezTo>
                  <a:cubicBezTo>
                    <a:pt x="221" y="35"/>
                    <a:pt x="222" y="35"/>
                    <a:pt x="223" y="36"/>
                  </a:cubicBezTo>
                  <a:cubicBezTo>
                    <a:pt x="225" y="37"/>
                    <a:pt x="228" y="38"/>
                    <a:pt x="231" y="38"/>
                  </a:cubicBezTo>
                  <a:cubicBezTo>
                    <a:pt x="233" y="39"/>
                    <a:pt x="236" y="38"/>
                    <a:pt x="239" y="39"/>
                  </a:cubicBezTo>
                  <a:cubicBezTo>
                    <a:pt x="240" y="39"/>
                    <a:pt x="241" y="40"/>
                    <a:pt x="242" y="40"/>
                  </a:cubicBezTo>
                  <a:cubicBezTo>
                    <a:pt x="243" y="40"/>
                    <a:pt x="244" y="40"/>
                    <a:pt x="245" y="41"/>
                  </a:cubicBezTo>
                  <a:cubicBezTo>
                    <a:pt x="246" y="42"/>
                    <a:pt x="248" y="42"/>
                    <a:pt x="249" y="41"/>
                  </a:cubicBezTo>
                  <a:cubicBezTo>
                    <a:pt x="251" y="40"/>
                    <a:pt x="250" y="37"/>
                    <a:pt x="248" y="36"/>
                  </a:cubicBezTo>
                  <a:cubicBezTo>
                    <a:pt x="248" y="35"/>
                    <a:pt x="248" y="35"/>
                    <a:pt x="247" y="34"/>
                  </a:cubicBezTo>
                  <a:cubicBezTo>
                    <a:pt x="247" y="34"/>
                    <a:pt x="246" y="34"/>
                    <a:pt x="246" y="33"/>
                  </a:cubicBezTo>
                  <a:cubicBezTo>
                    <a:pt x="245" y="32"/>
                    <a:pt x="246" y="32"/>
                    <a:pt x="247" y="32"/>
                  </a:cubicBezTo>
                  <a:cubicBezTo>
                    <a:pt x="248" y="32"/>
                    <a:pt x="249" y="32"/>
                    <a:pt x="250" y="32"/>
                  </a:cubicBezTo>
                  <a:cubicBezTo>
                    <a:pt x="252" y="32"/>
                    <a:pt x="254" y="32"/>
                    <a:pt x="256" y="33"/>
                  </a:cubicBezTo>
                  <a:cubicBezTo>
                    <a:pt x="258" y="33"/>
                    <a:pt x="261" y="33"/>
                    <a:pt x="264" y="33"/>
                  </a:cubicBezTo>
                  <a:cubicBezTo>
                    <a:pt x="265" y="33"/>
                    <a:pt x="266" y="34"/>
                    <a:pt x="267" y="34"/>
                  </a:cubicBezTo>
                  <a:cubicBezTo>
                    <a:pt x="269" y="34"/>
                    <a:pt x="270" y="34"/>
                    <a:pt x="271" y="34"/>
                  </a:cubicBezTo>
                  <a:cubicBezTo>
                    <a:pt x="272" y="35"/>
                    <a:pt x="273" y="35"/>
                    <a:pt x="273" y="36"/>
                  </a:cubicBezTo>
                  <a:cubicBezTo>
                    <a:pt x="274" y="37"/>
                    <a:pt x="274" y="37"/>
                    <a:pt x="274" y="38"/>
                  </a:cubicBezTo>
                  <a:cubicBezTo>
                    <a:pt x="275" y="39"/>
                    <a:pt x="275" y="40"/>
                    <a:pt x="275" y="40"/>
                  </a:cubicBezTo>
                  <a:cubicBezTo>
                    <a:pt x="276" y="42"/>
                    <a:pt x="277" y="42"/>
                    <a:pt x="279" y="43"/>
                  </a:cubicBezTo>
                  <a:cubicBezTo>
                    <a:pt x="281" y="43"/>
                    <a:pt x="282" y="44"/>
                    <a:pt x="284" y="45"/>
                  </a:cubicBezTo>
                  <a:cubicBezTo>
                    <a:pt x="285" y="45"/>
                    <a:pt x="286" y="46"/>
                    <a:pt x="287" y="47"/>
                  </a:cubicBezTo>
                  <a:cubicBezTo>
                    <a:pt x="288" y="47"/>
                    <a:pt x="289" y="48"/>
                    <a:pt x="290" y="48"/>
                  </a:cubicBezTo>
                  <a:cubicBezTo>
                    <a:pt x="291" y="49"/>
                    <a:pt x="293" y="49"/>
                    <a:pt x="294" y="50"/>
                  </a:cubicBezTo>
                  <a:cubicBezTo>
                    <a:pt x="295" y="50"/>
                    <a:pt x="297" y="51"/>
                    <a:pt x="298" y="51"/>
                  </a:cubicBezTo>
                  <a:cubicBezTo>
                    <a:pt x="300" y="52"/>
                    <a:pt x="301" y="53"/>
                    <a:pt x="303" y="53"/>
                  </a:cubicBezTo>
                  <a:cubicBezTo>
                    <a:pt x="303" y="54"/>
                    <a:pt x="304" y="54"/>
                    <a:pt x="304" y="55"/>
                  </a:cubicBezTo>
                  <a:cubicBezTo>
                    <a:pt x="305" y="56"/>
                    <a:pt x="305" y="56"/>
                    <a:pt x="305" y="56"/>
                  </a:cubicBezTo>
                  <a:cubicBezTo>
                    <a:pt x="306" y="57"/>
                    <a:pt x="309" y="56"/>
                    <a:pt x="310" y="58"/>
                  </a:cubicBezTo>
                  <a:cubicBezTo>
                    <a:pt x="311" y="59"/>
                    <a:pt x="311" y="60"/>
                    <a:pt x="311" y="61"/>
                  </a:cubicBezTo>
                  <a:cubicBezTo>
                    <a:pt x="312" y="61"/>
                    <a:pt x="313" y="61"/>
                    <a:pt x="314" y="62"/>
                  </a:cubicBezTo>
                  <a:cubicBezTo>
                    <a:pt x="315" y="63"/>
                    <a:pt x="318" y="63"/>
                    <a:pt x="320" y="64"/>
                  </a:cubicBezTo>
                  <a:cubicBezTo>
                    <a:pt x="321" y="64"/>
                    <a:pt x="322" y="64"/>
                    <a:pt x="323" y="64"/>
                  </a:cubicBezTo>
                  <a:cubicBezTo>
                    <a:pt x="323" y="64"/>
                    <a:pt x="324" y="65"/>
                    <a:pt x="324" y="65"/>
                  </a:cubicBezTo>
                  <a:cubicBezTo>
                    <a:pt x="325" y="66"/>
                    <a:pt x="326" y="67"/>
                    <a:pt x="327" y="66"/>
                  </a:cubicBezTo>
                  <a:cubicBezTo>
                    <a:pt x="327" y="65"/>
                    <a:pt x="326" y="64"/>
                    <a:pt x="326" y="64"/>
                  </a:cubicBezTo>
                  <a:cubicBezTo>
                    <a:pt x="326" y="63"/>
                    <a:pt x="326" y="62"/>
                    <a:pt x="326" y="61"/>
                  </a:cubicBezTo>
                  <a:cubicBezTo>
                    <a:pt x="326" y="60"/>
                    <a:pt x="327" y="59"/>
                    <a:pt x="326" y="58"/>
                  </a:cubicBezTo>
                  <a:cubicBezTo>
                    <a:pt x="326" y="57"/>
                    <a:pt x="326" y="57"/>
                    <a:pt x="326" y="56"/>
                  </a:cubicBezTo>
                  <a:cubicBezTo>
                    <a:pt x="326" y="56"/>
                    <a:pt x="326" y="55"/>
                    <a:pt x="326" y="54"/>
                  </a:cubicBezTo>
                  <a:cubicBezTo>
                    <a:pt x="327" y="53"/>
                    <a:pt x="328" y="53"/>
                    <a:pt x="329" y="52"/>
                  </a:cubicBezTo>
                  <a:cubicBezTo>
                    <a:pt x="329" y="51"/>
                    <a:pt x="330" y="50"/>
                    <a:pt x="330" y="50"/>
                  </a:cubicBezTo>
                  <a:cubicBezTo>
                    <a:pt x="330" y="49"/>
                    <a:pt x="329" y="49"/>
                    <a:pt x="329" y="48"/>
                  </a:cubicBezTo>
                  <a:cubicBezTo>
                    <a:pt x="329" y="48"/>
                    <a:pt x="328" y="47"/>
                    <a:pt x="328" y="47"/>
                  </a:cubicBezTo>
                  <a:cubicBezTo>
                    <a:pt x="328" y="46"/>
                    <a:pt x="328" y="46"/>
                    <a:pt x="327" y="46"/>
                  </a:cubicBezTo>
                  <a:cubicBezTo>
                    <a:pt x="327" y="45"/>
                    <a:pt x="326" y="44"/>
                    <a:pt x="325" y="43"/>
                  </a:cubicBezTo>
                  <a:cubicBezTo>
                    <a:pt x="326" y="42"/>
                    <a:pt x="326" y="42"/>
                    <a:pt x="326" y="42"/>
                  </a:cubicBezTo>
                  <a:cubicBezTo>
                    <a:pt x="326" y="42"/>
                    <a:pt x="327" y="42"/>
                    <a:pt x="327" y="42"/>
                  </a:cubicBezTo>
                  <a:cubicBezTo>
                    <a:pt x="327" y="41"/>
                    <a:pt x="327" y="41"/>
                    <a:pt x="326" y="40"/>
                  </a:cubicBezTo>
                  <a:cubicBezTo>
                    <a:pt x="326" y="40"/>
                    <a:pt x="325" y="39"/>
                    <a:pt x="325" y="39"/>
                  </a:cubicBezTo>
                  <a:cubicBezTo>
                    <a:pt x="324" y="38"/>
                    <a:pt x="324" y="38"/>
                    <a:pt x="323" y="38"/>
                  </a:cubicBezTo>
                  <a:cubicBezTo>
                    <a:pt x="322" y="38"/>
                    <a:pt x="321" y="38"/>
                    <a:pt x="321" y="38"/>
                  </a:cubicBezTo>
                  <a:cubicBezTo>
                    <a:pt x="319" y="38"/>
                    <a:pt x="318" y="38"/>
                    <a:pt x="317" y="38"/>
                  </a:cubicBezTo>
                  <a:cubicBezTo>
                    <a:pt x="316" y="38"/>
                    <a:pt x="316" y="38"/>
                    <a:pt x="316" y="37"/>
                  </a:cubicBezTo>
                  <a:cubicBezTo>
                    <a:pt x="316" y="36"/>
                    <a:pt x="315" y="36"/>
                    <a:pt x="315" y="35"/>
                  </a:cubicBezTo>
                  <a:cubicBezTo>
                    <a:pt x="315" y="34"/>
                    <a:pt x="315" y="33"/>
                    <a:pt x="314" y="32"/>
                  </a:cubicBezTo>
                  <a:cubicBezTo>
                    <a:pt x="314" y="29"/>
                    <a:pt x="313" y="27"/>
                    <a:pt x="313" y="24"/>
                  </a:cubicBezTo>
                  <a:cubicBezTo>
                    <a:pt x="313" y="23"/>
                    <a:pt x="312" y="22"/>
                    <a:pt x="312" y="21"/>
                  </a:cubicBezTo>
                  <a:cubicBezTo>
                    <a:pt x="311" y="21"/>
                    <a:pt x="310" y="21"/>
                    <a:pt x="309" y="20"/>
                  </a:cubicBezTo>
                  <a:cubicBezTo>
                    <a:pt x="308" y="20"/>
                    <a:pt x="307" y="20"/>
                    <a:pt x="306" y="19"/>
                  </a:cubicBezTo>
                  <a:cubicBezTo>
                    <a:pt x="305" y="19"/>
                    <a:pt x="306" y="18"/>
                    <a:pt x="305" y="18"/>
                  </a:cubicBezTo>
                  <a:cubicBezTo>
                    <a:pt x="304" y="17"/>
                    <a:pt x="304" y="17"/>
                    <a:pt x="303" y="16"/>
                  </a:cubicBezTo>
                  <a:cubicBezTo>
                    <a:pt x="302" y="15"/>
                    <a:pt x="301" y="15"/>
                    <a:pt x="300" y="14"/>
                  </a:cubicBezTo>
                  <a:cubicBezTo>
                    <a:pt x="298" y="11"/>
                    <a:pt x="293" y="11"/>
                    <a:pt x="290" y="13"/>
                  </a:cubicBezTo>
                  <a:cubicBezTo>
                    <a:pt x="289" y="14"/>
                    <a:pt x="288" y="14"/>
                    <a:pt x="286" y="13"/>
                  </a:cubicBezTo>
                  <a:cubicBezTo>
                    <a:pt x="286" y="12"/>
                    <a:pt x="286" y="12"/>
                    <a:pt x="285" y="13"/>
                  </a:cubicBezTo>
                  <a:cubicBezTo>
                    <a:pt x="284" y="13"/>
                    <a:pt x="283" y="13"/>
                    <a:pt x="283" y="13"/>
                  </a:cubicBezTo>
                  <a:cubicBezTo>
                    <a:pt x="282" y="13"/>
                    <a:pt x="281" y="13"/>
                    <a:pt x="281" y="13"/>
                  </a:cubicBezTo>
                  <a:cubicBezTo>
                    <a:pt x="280" y="14"/>
                    <a:pt x="280" y="14"/>
                    <a:pt x="280" y="14"/>
                  </a:cubicBezTo>
                  <a:cubicBezTo>
                    <a:pt x="279" y="14"/>
                    <a:pt x="279" y="14"/>
                    <a:pt x="279" y="14"/>
                  </a:cubicBezTo>
                  <a:cubicBezTo>
                    <a:pt x="278" y="14"/>
                    <a:pt x="278" y="13"/>
                    <a:pt x="277" y="13"/>
                  </a:cubicBezTo>
                  <a:cubicBezTo>
                    <a:pt x="276" y="12"/>
                    <a:pt x="275" y="12"/>
                    <a:pt x="274" y="11"/>
                  </a:cubicBezTo>
                  <a:cubicBezTo>
                    <a:pt x="273" y="11"/>
                    <a:pt x="272" y="11"/>
                    <a:pt x="271" y="10"/>
                  </a:cubicBezTo>
                  <a:cubicBezTo>
                    <a:pt x="271" y="10"/>
                    <a:pt x="270" y="10"/>
                    <a:pt x="269" y="9"/>
                  </a:cubicBezTo>
                  <a:cubicBezTo>
                    <a:pt x="269" y="9"/>
                    <a:pt x="269" y="7"/>
                    <a:pt x="268" y="7"/>
                  </a:cubicBezTo>
                  <a:cubicBezTo>
                    <a:pt x="267" y="7"/>
                    <a:pt x="267" y="8"/>
                    <a:pt x="266" y="8"/>
                  </a:cubicBezTo>
                  <a:cubicBezTo>
                    <a:pt x="265" y="8"/>
                    <a:pt x="265" y="8"/>
                    <a:pt x="265" y="8"/>
                  </a:cubicBezTo>
                  <a:cubicBezTo>
                    <a:pt x="265" y="8"/>
                    <a:pt x="265" y="8"/>
                    <a:pt x="265" y="8"/>
                  </a:cubicBezTo>
                  <a:cubicBezTo>
                    <a:pt x="264" y="7"/>
                    <a:pt x="264" y="7"/>
                    <a:pt x="263" y="7"/>
                  </a:cubicBezTo>
                  <a:cubicBezTo>
                    <a:pt x="263" y="6"/>
                    <a:pt x="263" y="6"/>
                    <a:pt x="262" y="5"/>
                  </a:cubicBezTo>
                  <a:cubicBezTo>
                    <a:pt x="261" y="4"/>
                    <a:pt x="260" y="4"/>
                    <a:pt x="259" y="4"/>
                  </a:cubicBezTo>
                  <a:cubicBezTo>
                    <a:pt x="258" y="4"/>
                    <a:pt x="257" y="3"/>
                    <a:pt x="256" y="3"/>
                  </a:cubicBezTo>
                  <a:cubicBezTo>
                    <a:pt x="255" y="3"/>
                    <a:pt x="255" y="3"/>
                    <a:pt x="254" y="3"/>
                  </a:cubicBezTo>
                  <a:cubicBezTo>
                    <a:pt x="253" y="2"/>
                    <a:pt x="252" y="2"/>
                    <a:pt x="251" y="2"/>
                  </a:cubicBezTo>
                  <a:cubicBezTo>
                    <a:pt x="251" y="2"/>
                    <a:pt x="250" y="2"/>
                    <a:pt x="249" y="2"/>
                  </a:cubicBezTo>
                  <a:cubicBezTo>
                    <a:pt x="249" y="2"/>
                    <a:pt x="249" y="1"/>
                    <a:pt x="249" y="1"/>
                  </a:cubicBezTo>
                  <a:cubicBezTo>
                    <a:pt x="248" y="0"/>
                    <a:pt x="247" y="0"/>
                    <a:pt x="246" y="1"/>
                  </a:cubicBezTo>
                  <a:cubicBezTo>
                    <a:pt x="246" y="1"/>
                    <a:pt x="245" y="1"/>
                    <a:pt x="245" y="1"/>
                  </a:cubicBezTo>
                  <a:cubicBezTo>
                    <a:pt x="244" y="0"/>
                    <a:pt x="244" y="0"/>
                    <a:pt x="244" y="0"/>
                  </a:cubicBezTo>
                  <a:cubicBezTo>
                    <a:pt x="244" y="0"/>
                    <a:pt x="243" y="0"/>
                    <a:pt x="242" y="0"/>
                  </a:cubicBezTo>
                  <a:cubicBezTo>
                    <a:pt x="241" y="0"/>
                    <a:pt x="239" y="0"/>
                    <a:pt x="238" y="1"/>
                  </a:cubicBezTo>
                  <a:cubicBezTo>
                    <a:pt x="237" y="1"/>
                    <a:pt x="238" y="2"/>
                    <a:pt x="238" y="2"/>
                  </a:cubicBezTo>
                  <a:cubicBezTo>
                    <a:pt x="238" y="3"/>
                    <a:pt x="237" y="3"/>
                    <a:pt x="237" y="4"/>
                  </a:cubicBezTo>
                  <a:cubicBezTo>
                    <a:pt x="236" y="5"/>
                    <a:pt x="235" y="5"/>
                    <a:pt x="234" y="5"/>
                  </a:cubicBezTo>
                  <a:cubicBezTo>
                    <a:pt x="233" y="6"/>
                    <a:pt x="233" y="6"/>
                    <a:pt x="232" y="7"/>
                  </a:cubicBezTo>
                  <a:cubicBezTo>
                    <a:pt x="231" y="7"/>
                    <a:pt x="230" y="8"/>
                    <a:pt x="229" y="9"/>
                  </a:cubicBezTo>
                  <a:cubicBezTo>
                    <a:pt x="228" y="9"/>
                    <a:pt x="227" y="9"/>
                    <a:pt x="226" y="9"/>
                  </a:cubicBezTo>
                  <a:cubicBezTo>
                    <a:pt x="225" y="10"/>
                    <a:pt x="223" y="10"/>
                    <a:pt x="222" y="9"/>
                  </a:cubicBezTo>
                  <a:cubicBezTo>
                    <a:pt x="221" y="9"/>
                    <a:pt x="219" y="6"/>
                    <a:pt x="219" y="5"/>
                  </a:cubicBezTo>
                  <a:cubicBezTo>
                    <a:pt x="219" y="4"/>
                    <a:pt x="219" y="4"/>
                    <a:pt x="219" y="3"/>
                  </a:cubicBezTo>
                  <a:cubicBezTo>
                    <a:pt x="219" y="2"/>
                    <a:pt x="219" y="2"/>
                    <a:pt x="218" y="1"/>
                  </a:cubicBezTo>
                  <a:cubicBezTo>
                    <a:pt x="217" y="1"/>
                    <a:pt x="216" y="2"/>
                    <a:pt x="215" y="2"/>
                  </a:cubicBezTo>
                  <a:cubicBezTo>
                    <a:pt x="213" y="3"/>
                    <a:pt x="212" y="4"/>
                    <a:pt x="210" y="4"/>
                  </a:cubicBezTo>
                  <a:cubicBezTo>
                    <a:pt x="208" y="4"/>
                    <a:pt x="207" y="4"/>
                    <a:pt x="205" y="5"/>
                  </a:cubicBezTo>
                  <a:cubicBezTo>
                    <a:pt x="204" y="5"/>
                    <a:pt x="201" y="5"/>
                    <a:pt x="200" y="4"/>
                  </a:cubicBezTo>
                  <a:cubicBezTo>
                    <a:pt x="199" y="4"/>
                    <a:pt x="198" y="4"/>
                    <a:pt x="197" y="5"/>
                  </a:cubicBezTo>
                  <a:cubicBezTo>
                    <a:pt x="197" y="5"/>
                    <a:pt x="196" y="5"/>
                    <a:pt x="195" y="5"/>
                  </a:cubicBezTo>
                  <a:cubicBezTo>
                    <a:pt x="195" y="4"/>
                    <a:pt x="195" y="4"/>
                    <a:pt x="195" y="4"/>
                  </a:cubicBezTo>
                  <a:cubicBezTo>
                    <a:pt x="194" y="3"/>
                    <a:pt x="193" y="4"/>
                    <a:pt x="192" y="4"/>
                  </a:cubicBezTo>
                  <a:cubicBezTo>
                    <a:pt x="190" y="4"/>
                    <a:pt x="189" y="4"/>
                    <a:pt x="187" y="4"/>
                  </a:cubicBezTo>
                  <a:cubicBezTo>
                    <a:pt x="186" y="4"/>
                    <a:pt x="185" y="4"/>
                    <a:pt x="184" y="4"/>
                  </a:cubicBezTo>
                  <a:cubicBezTo>
                    <a:pt x="183" y="4"/>
                    <a:pt x="183" y="4"/>
                    <a:pt x="182" y="4"/>
                  </a:cubicBezTo>
                  <a:cubicBezTo>
                    <a:pt x="181" y="5"/>
                    <a:pt x="180" y="5"/>
                    <a:pt x="179" y="6"/>
                  </a:cubicBezTo>
                  <a:cubicBezTo>
                    <a:pt x="178" y="6"/>
                    <a:pt x="178" y="5"/>
                    <a:pt x="177" y="5"/>
                  </a:cubicBezTo>
                  <a:cubicBezTo>
                    <a:pt x="176" y="5"/>
                    <a:pt x="174" y="5"/>
                    <a:pt x="174" y="5"/>
                  </a:cubicBezTo>
                  <a:cubicBezTo>
                    <a:pt x="173" y="5"/>
                    <a:pt x="172" y="5"/>
                    <a:pt x="171" y="5"/>
                  </a:cubicBezTo>
                  <a:cubicBezTo>
                    <a:pt x="169" y="5"/>
                    <a:pt x="166" y="5"/>
                    <a:pt x="164" y="6"/>
                  </a:cubicBezTo>
                  <a:cubicBezTo>
                    <a:pt x="162" y="6"/>
                    <a:pt x="162" y="8"/>
                    <a:pt x="162" y="9"/>
                  </a:cubicBezTo>
                  <a:cubicBezTo>
                    <a:pt x="161" y="10"/>
                    <a:pt x="161" y="10"/>
                    <a:pt x="160" y="11"/>
                  </a:cubicBezTo>
                  <a:cubicBezTo>
                    <a:pt x="160" y="11"/>
                    <a:pt x="159" y="11"/>
                    <a:pt x="159" y="12"/>
                  </a:cubicBezTo>
                  <a:cubicBezTo>
                    <a:pt x="159" y="13"/>
                    <a:pt x="161" y="12"/>
                    <a:pt x="161" y="12"/>
                  </a:cubicBezTo>
                  <a:cubicBezTo>
                    <a:pt x="162" y="12"/>
                    <a:pt x="162" y="13"/>
                    <a:pt x="162" y="13"/>
                  </a:cubicBezTo>
                  <a:cubicBezTo>
                    <a:pt x="161" y="14"/>
                    <a:pt x="161" y="14"/>
                    <a:pt x="161" y="14"/>
                  </a:cubicBezTo>
                  <a:cubicBezTo>
                    <a:pt x="161" y="14"/>
                    <a:pt x="161" y="14"/>
                    <a:pt x="161" y="15"/>
                  </a:cubicBezTo>
                  <a:cubicBezTo>
                    <a:pt x="160" y="15"/>
                    <a:pt x="161" y="16"/>
                    <a:pt x="161" y="17"/>
                  </a:cubicBezTo>
                  <a:cubicBezTo>
                    <a:pt x="161" y="17"/>
                    <a:pt x="160" y="17"/>
                    <a:pt x="159" y="17"/>
                  </a:cubicBezTo>
                  <a:cubicBezTo>
                    <a:pt x="158" y="17"/>
                    <a:pt x="156" y="17"/>
                    <a:pt x="155" y="18"/>
                  </a:cubicBezTo>
                  <a:cubicBezTo>
                    <a:pt x="154" y="18"/>
                    <a:pt x="154" y="18"/>
                    <a:pt x="153" y="18"/>
                  </a:cubicBezTo>
                  <a:cubicBezTo>
                    <a:pt x="153" y="19"/>
                    <a:pt x="153" y="19"/>
                    <a:pt x="153" y="19"/>
                  </a:cubicBezTo>
                  <a:cubicBezTo>
                    <a:pt x="153" y="19"/>
                    <a:pt x="153" y="19"/>
                    <a:pt x="153" y="19"/>
                  </a:cubicBezTo>
                  <a:cubicBezTo>
                    <a:pt x="152" y="20"/>
                    <a:pt x="152" y="20"/>
                    <a:pt x="152" y="20"/>
                  </a:cubicBezTo>
                  <a:cubicBezTo>
                    <a:pt x="152" y="20"/>
                    <a:pt x="152" y="20"/>
                    <a:pt x="152" y="20"/>
                  </a:cubicBezTo>
                  <a:cubicBezTo>
                    <a:pt x="151" y="21"/>
                    <a:pt x="150" y="21"/>
                    <a:pt x="150" y="21"/>
                  </a:cubicBezTo>
                  <a:cubicBezTo>
                    <a:pt x="150" y="22"/>
                    <a:pt x="150" y="22"/>
                    <a:pt x="149" y="22"/>
                  </a:cubicBezTo>
                  <a:cubicBezTo>
                    <a:pt x="149" y="23"/>
                    <a:pt x="148" y="23"/>
                    <a:pt x="147" y="23"/>
                  </a:cubicBezTo>
                  <a:cubicBezTo>
                    <a:pt x="146" y="23"/>
                    <a:pt x="145" y="22"/>
                    <a:pt x="145" y="24"/>
                  </a:cubicBezTo>
                  <a:cubicBezTo>
                    <a:pt x="146" y="25"/>
                    <a:pt x="146" y="25"/>
                    <a:pt x="147" y="26"/>
                  </a:cubicBezTo>
                  <a:cubicBezTo>
                    <a:pt x="147" y="27"/>
                    <a:pt x="147" y="29"/>
                    <a:pt x="147" y="30"/>
                  </a:cubicBezTo>
                  <a:cubicBezTo>
                    <a:pt x="148" y="31"/>
                    <a:pt x="149" y="32"/>
                    <a:pt x="149" y="33"/>
                  </a:cubicBezTo>
                  <a:cubicBezTo>
                    <a:pt x="150" y="34"/>
                    <a:pt x="151" y="36"/>
                    <a:pt x="150" y="38"/>
                  </a:cubicBezTo>
                  <a:cubicBezTo>
                    <a:pt x="149" y="39"/>
                    <a:pt x="148" y="41"/>
                    <a:pt x="147" y="42"/>
                  </a:cubicBezTo>
                  <a:cubicBezTo>
                    <a:pt x="147" y="44"/>
                    <a:pt x="148" y="47"/>
                    <a:pt x="149" y="47"/>
                  </a:cubicBezTo>
                  <a:cubicBezTo>
                    <a:pt x="151" y="47"/>
                    <a:pt x="150" y="46"/>
                    <a:pt x="150" y="45"/>
                  </a:cubicBezTo>
                  <a:cubicBezTo>
                    <a:pt x="150" y="45"/>
                    <a:pt x="150" y="44"/>
                    <a:pt x="150" y="43"/>
                  </a:cubicBezTo>
                  <a:cubicBezTo>
                    <a:pt x="151" y="41"/>
                    <a:pt x="152" y="40"/>
                    <a:pt x="152" y="39"/>
                  </a:cubicBezTo>
                  <a:cubicBezTo>
                    <a:pt x="153" y="38"/>
                    <a:pt x="153" y="35"/>
                    <a:pt x="155" y="36"/>
                  </a:cubicBezTo>
                  <a:cubicBezTo>
                    <a:pt x="155" y="36"/>
                    <a:pt x="156" y="36"/>
                    <a:pt x="156" y="36"/>
                  </a:cubicBezTo>
                  <a:close/>
                  <a:moveTo>
                    <a:pt x="166" y="53"/>
                  </a:moveTo>
                  <a:cubicBezTo>
                    <a:pt x="166" y="52"/>
                    <a:pt x="167" y="52"/>
                    <a:pt x="168" y="52"/>
                  </a:cubicBezTo>
                  <a:cubicBezTo>
                    <a:pt x="168" y="52"/>
                    <a:pt x="168" y="53"/>
                    <a:pt x="168" y="53"/>
                  </a:cubicBezTo>
                  <a:cubicBezTo>
                    <a:pt x="167" y="54"/>
                    <a:pt x="166" y="55"/>
                    <a:pt x="165" y="56"/>
                  </a:cubicBezTo>
                  <a:cubicBezTo>
                    <a:pt x="164" y="57"/>
                    <a:pt x="163" y="58"/>
                    <a:pt x="162" y="59"/>
                  </a:cubicBezTo>
                  <a:cubicBezTo>
                    <a:pt x="161" y="59"/>
                    <a:pt x="160" y="60"/>
                    <a:pt x="161" y="61"/>
                  </a:cubicBezTo>
                  <a:cubicBezTo>
                    <a:pt x="161" y="61"/>
                    <a:pt x="162" y="61"/>
                    <a:pt x="162" y="61"/>
                  </a:cubicBezTo>
                  <a:cubicBezTo>
                    <a:pt x="164" y="60"/>
                    <a:pt x="165" y="59"/>
                    <a:pt x="166" y="59"/>
                  </a:cubicBezTo>
                  <a:cubicBezTo>
                    <a:pt x="168" y="59"/>
                    <a:pt x="169" y="58"/>
                    <a:pt x="170" y="57"/>
                  </a:cubicBezTo>
                  <a:cubicBezTo>
                    <a:pt x="171" y="56"/>
                    <a:pt x="172" y="56"/>
                    <a:pt x="171" y="55"/>
                  </a:cubicBezTo>
                  <a:cubicBezTo>
                    <a:pt x="171" y="54"/>
                    <a:pt x="171" y="54"/>
                    <a:pt x="171" y="54"/>
                  </a:cubicBezTo>
                  <a:cubicBezTo>
                    <a:pt x="171" y="53"/>
                    <a:pt x="171" y="53"/>
                    <a:pt x="170" y="53"/>
                  </a:cubicBezTo>
                  <a:cubicBezTo>
                    <a:pt x="170" y="52"/>
                    <a:pt x="169" y="51"/>
                    <a:pt x="170" y="51"/>
                  </a:cubicBezTo>
                  <a:cubicBezTo>
                    <a:pt x="172" y="51"/>
                    <a:pt x="173" y="52"/>
                    <a:pt x="174" y="52"/>
                  </a:cubicBezTo>
                  <a:cubicBezTo>
                    <a:pt x="175" y="52"/>
                    <a:pt x="176" y="51"/>
                    <a:pt x="175" y="50"/>
                  </a:cubicBezTo>
                  <a:cubicBezTo>
                    <a:pt x="175" y="50"/>
                    <a:pt x="175" y="50"/>
                    <a:pt x="175" y="50"/>
                  </a:cubicBezTo>
                  <a:cubicBezTo>
                    <a:pt x="174" y="49"/>
                    <a:pt x="174" y="49"/>
                    <a:pt x="174" y="49"/>
                  </a:cubicBezTo>
                  <a:cubicBezTo>
                    <a:pt x="174" y="48"/>
                    <a:pt x="174" y="48"/>
                    <a:pt x="174" y="48"/>
                  </a:cubicBezTo>
                  <a:cubicBezTo>
                    <a:pt x="174" y="48"/>
                    <a:pt x="173" y="48"/>
                    <a:pt x="174" y="48"/>
                  </a:cubicBezTo>
                  <a:cubicBezTo>
                    <a:pt x="175" y="47"/>
                    <a:pt x="176" y="47"/>
                    <a:pt x="176" y="45"/>
                  </a:cubicBezTo>
                  <a:cubicBezTo>
                    <a:pt x="176" y="45"/>
                    <a:pt x="175" y="45"/>
                    <a:pt x="175" y="45"/>
                  </a:cubicBezTo>
                  <a:cubicBezTo>
                    <a:pt x="174" y="45"/>
                    <a:pt x="174" y="45"/>
                    <a:pt x="174" y="45"/>
                  </a:cubicBezTo>
                  <a:cubicBezTo>
                    <a:pt x="174" y="44"/>
                    <a:pt x="174" y="44"/>
                    <a:pt x="174" y="44"/>
                  </a:cubicBezTo>
                  <a:cubicBezTo>
                    <a:pt x="173" y="44"/>
                    <a:pt x="172" y="44"/>
                    <a:pt x="171" y="44"/>
                  </a:cubicBezTo>
                  <a:cubicBezTo>
                    <a:pt x="170" y="44"/>
                    <a:pt x="169" y="44"/>
                    <a:pt x="168" y="45"/>
                  </a:cubicBezTo>
                  <a:cubicBezTo>
                    <a:pt x="167" y="45"/>
                    <a:pt x="167" y="46"/>
                    <a:pt x="166" y="47"/>
                  </a:cubicBezTo>
                  <a:cubicBezTo>
                    <a:pt x="166" y="47"/>
                    <a:pt x="165" y="48"/>
                    <a:pt x="165" y="49"/>
                  </a:cubicBezTo>
                  <a:cubicBezTo>
                    <a:pt x="163" y="50"/>
                    <a:pt x="160" y="49"/>
                    <a:pt x="158" y="49"/>
                  </a:cubicBezTo>
                  <a:cubicBezTo>
                    <a:pt x="157" y="49"/>
                    <a:pt x="156" y="50"/>
                    <a:pt x="155" y="50"/>
                  </a:cubicBezTo>
                  <a:cubicBezTo>
                    <a:pt x="154" y="50"/>
                    <a:pt x="154" y="51"/>
                    <a:pt x="153" y="51"/>
                  </a:cubicBezTo>
                  <a:cubicBezTo>
                    <a:pt x="152" y="52"/>
                    <a:pt x="152" y="54"/>
                    <a:pt x="150" y="54"/>
                  </a:cubicBezTo>
                  <a:cubicBezTo>
                    <a:pt x="150" y="55"/>
                    <a:pt x="149" y="55"/>
                    <a:pt x="149" y="55"/>
                  </a:cubicBezTo>
                  <a:cubicBezTo>
                    <a:pt x="149" y="55"/>
                    <a:pt x="149" y="56"/>
                    <a:pt x="149" y="57"/>
                  </a:cubicBezTo>
                  <a:cubicBezTo>
                    <a:pt x="149" y="57"/>
                    <a:pt x="149" y="58"/>
                    <a:pt x="150" y="58"/>
                  </a:cubicBezTo>
                  <a:cubicBezTo>
                    <a:pt x="150" y="59"/>
                    <a:pt x="150" y="59"/>
                    <a:pt x="150" y="60"/>
                  </a:cubicBezTo>
                  <a:cubicBezTo>
                    <a:pt x="150" y="60"/>
                    <a:pt x="150" y="61"/>
                    <a:pt x="151" y="61"/>
                  </a:cubicBezTo>
                  <a:cubicBezTo>
                    <a:pt x="151" y="61"/>
                    <a:pt x="152" y="61"/>
                    <a:pt x="152" y="61"/>
                  </a:cubicBezTo>
                  <a:cubicBezTo>
                    <a:pt x="153" y="61"/>
                    <a:pt x="154" y="61"/>
                    <a:pt x="155" y="60"/>
                  </a:cubicBezTo>
                  <a:cubicBezTo>
                    <a:pt x="155" y="59"/>
                    <a:pt x="156" y="59"/>
                    <a:pt x="157" y="58"/>
                  </a:cubicBezTo>
                  <a:cubicBezTo>
                    <a:pt x="157" y="58"/>
                    <a:pt x="158" y="57"/>
                    <a:pt x="159" y="57"/>
                  </a:cubicBezTo>
                  <a:cubicBezTo>
                    <a:pt x="160" y="56"/>
                    <a:pt x="162" y="54"/>
                    <a:pt x="164" y="54"/>
                  </a:cubicBezTo>
                  <a:cubicBezTo>
                    <a:pt x="165" y="54"/>
                    <a:pt x="165" y="53"/>
                    <a:pt x="166" y="53"/>
                  </a:cubicBezTo>
                  <a:close/>
                  <a:moveTo>
                    <a:pt x="180" y="52"/>
                  </a:moveTo>
                  <a:cubicBezTo>
                    <a:pt x="180" y="52"/>
                    <a:pt x="181" y="52"/>
                    <a:pt x="182" y="51"/>
                  </a:cubicBezTo>
                  <a:cubicBezTo>
                    <a:pt x="182" y="51"/>
                    <a:pt x="183" y="51"/>
                    <a:pt x="184" y="51"/>
                  </a:cubicBezTo>
                  <a:cubicBezTo>
                    <a:pt x="185" y="51"/>
                    <a:pt x="186" y="51"/>
                    <a:pt x="187" y="51"/>
                  </a:cubicBezTo>
                  <a:cubicBezTo>
                    <a:pt x="188" y="51"/>
                    <a:pt x="189" y="50"/>
                    <a:pt x="189" y="49"/>
                  </a:cubicBezTo>
                  <a:cubicBezTo>
                    <a:pt x="189" y="48"/>
                    <a:pt x="188" y="48"/>
                    <a:pt x="188" y="47"/>
                  </a:cubicBezTo>
                  <a:cubicBezTo>
                    <a:pt x="187" y="47"/>
                    <a:pt x="186" y="46"/>
                    <a:pt x="186" y="46"/>
                  </a:cubicBezTo>
                  <a:cubicBezTo>
                    <a:pt x="185" y="45"/>
                    <a:pt x="185" y="45"/>
                    <a:pt x="184" y="45"/>
                  </a:cubicBezTo>
                  <a:cubicBezTo>
                    <a:pt x="182" y="45"/>
                    <a:pt x="180" y="45"/>
                    <a:pt x="180" y="46"/>
                  </a:cubicBezTo>
                  <a:cubicBezTo>
                    <a:pt x="179" y="47"/>
                    <a:pt x="179" y="47"/>
                    <a:pt x="180" y="48"/>
                  </a:cubicBezTo>
                  <a:cubicBezTo>
                    <a:pt x="180" y="48"/>
                    <a:pt x="180" y="49"/>
                    <a:pt x="180" y="50"/>
                  </a:cubicBezTo>
                  <a:cubicBezTo>
                    <a:pt x="179" y="51"/>
                    <a:pt x="180" y="51"/>
                    <a:pt x="180" y="52"/>
                  </a:cubicBezTo>
                  <a:close/>
                  <a:moveTo>
                    <a:pt x="194" y="50"/>
                  </a:moveTo>
                  <a:cubicBezTo>
                    <a:pt x="195" y="49"/>
                    <a:pt x="196" y="49"/>
                    <a:pt x="197" y="49"/>
                  </a:cubicBezTo>
                  <a:cubicBezTo>
                    <a:pt x="197" y="50"/>
                    <a:pt x="197" y="50"/>
                    <a:pt x="197" y="50"/>
                  </a:cubicBezTo>
                  <a:cubicBezTo>
                    <a:pt x="198" y="51"/>
                    <a:pt x="198" y="51"/>
                    <a:pt x="198" y="51"/>
                  </a:cubicBezTo>
                  <a:cubicBezTo>
                    <a:pt x="199" y="51"/>
                    <a:pt x="199" y="50"/>
                    <a:pt x="199" y="49"/>
                  </a:cubicBezTo>
                  <a:cubicBezTo>
                    <a:pt x="198" y="48"/>
                    <a:pt x="198" y="47"/>
                    <a:pt x="198" y="46"/>
                  </a:cubicBezTo>
                  <a:cubicBezTo>
                    <a:pt x="198" y="45"/>
                    <a:pt x="198" y="43"/>
                    <a:pt x="197" y="44"/>
                  </a:cubicBezTo>
                  <a:cubicBezTo>
                    <a:pt x="196" y="44"/>
                    <a:pt x="196" y="46"/>
                    <a:pt x="195" y="46"/>
                  </a:cubicBezTo>
                  <a:cubicBezTo>
                    <a:pt x="194" y="46"/>
                    <a:pt x="193" y="45"/>
                    <a:pt x="192" y="45"/>
                  </a:cubicBezTo>
                  <a:cubicBezTo>
                    <a:pt x="191" y="45"/>
                    <a:pt x="190" y="43"/>
                    <a:pt x="189" y="44"/>
                  </a:cubicBezTo>
                  <a:cubicBezTo>
                    <a:pt x="188" y="44"/>
                    <a:pt x="188" y="45"/>
                    <a:pt x="189" y="46"/>
                  </a:cubicBezTo>
                  <a:cubicBezTo>
                    <a:pt x="189" y="46"/>
                    <a:pt x="189" y="46"/>
                    <a:pt x="190" y="47"/>
                  </a:cubicBezTo>
                  <a:cubicBezTo>
                    <a:pt x="190" y="47"/>
                    <a:pt x="191" y="47"/>
                    <a:pt x="191" y="48"/>
                  </a:cubicBezTo>
                  <a:cubicBezTo>
                    <a:pt x="192" y="48"/>
                    <a:pt x="193" y="50"/>
                    <a:pt x="192" y="51"/>
                  </a:cubicBezTo>
                  <a:cubicBezTo>
                    <a:pt x="194" y="51"/>
                    <a:pt x="194" y="50"/>
                    <a:pt x="194" y="50"/>
                  </a:cubicBezTo>
                  <a:close/>
                  <a:moveTo>
                    <a:pt x="123" y="32"/>
                  </a:moveTo>
                  <a:cubicBezTo>
                    <a:pt x="123" y="33"/>
                    <a:pt x="124" y="34"/>
                    <a:pt x="125" y="34"/>
                  </a:cubicBezTo>
                  <a:cubicBezTo>
                    <a:pt x="126" y="34"/>
                    <a:pt x="127" y="34"/>
                    <a:pt x="128" y="34"/>
                  </a:cubicBezTo>
                  <a:cubicBezTo>
                    <a:pt x="129" y="34"/>
                    <a:pt x="129" y="35"/>
                    <a:pt x="130" y="35"/>
                  </a:cubicBezTo>
                  <a:cubicBezTo>
                    <a:pt x="132" y="36"/>
                    <a:pt x="132" y="36"/>
                    <a:pt x="132" y="36"/>
                  </a:cubicBezTo>
                  <a:cubicBezTo>
                    <a:pt x="132" y="34"/>
                    <a:pt x="132" y="34"/>
                    <a:pt x="132" y="34"/>
                  </a:cubicBezTo>
                  <a:cubicBezTo>
                    <a:pt x="132" y="33"/>
                    <a:pt x="132" y="33"/>
                    <a:pt x="131" y="32"/>
                  </a:cubicBezTo>
                  <a:cubicBezTo>
                    <a:pt x="131" y="32"/>
                    <a:pt x="130" y="31"/>
                    <a:pt x="129" y="31"/>
                  </a:cubicBezTo>
                  <a:cubicBezTo>
                    <a:pt x="129" y="30"/>
                    <a:pt x="129" y="30"/>
                    <a:pt x="129" y="30"/>
                  </a:cubicBezTo>
                  <a:cubicBezTo>
                    <a:pt x="128" y="30"/>
                    <a:pt x="128" y="30"/>
                    <a:pt x="128" y="29"/>
                  </a:cubicBezTo>
                  <a:cubicBezTo>
                    <a:pt x="126" y="30"/>
                    <a:pt x="122" y="30"/>
                    <a:pt x="123" y="32"/>
                  </a:cubicBezTo>
                  <a:close/>
                  <a:moveTo>
                    <a:pt x="133" y="27"/>
                  </a:moveTo>
                  <a:cubicBezTo>
                    <a:pt x="133" y="28"/>
                    <a:pt x="135" y="29"/>
                    <a:pt x="136" y="29"/>
                  </a:cubicBezTo>
                  <a:cubicBezTo>
                    <a:pt x="137" y="29"/>
                    <a:pt x="139" y="29"/>
                    <a:pt x="140" y="28"/>
                  </a:cubicBezTo>
                  <a:cubicBezTo>
                    <a:pt x="141" y="28"/>
                    <a:pt x="141" y="28"/>
                    <a:pt x="141" y="28"/>
                  </a:cubicBezTo>
                  <a:cubicBezTo>
                    <a:pt x="141" y="27"/>
                    <a:pt x="141" y="26"/>
                    <a:pt x="141" y="25"/>
                  </a:cubicBezTo>
                  <a:cubicBezTo>
                    <a:pt x="141" y="24"/>
                    <a:pt x="140" y="22"/>
                    <a:pt x="139" y="23"/>
                  </a:cubicBezTo>
                  <a:cubicBezTo>
                    <a:pt x="138" y="24"/>
                    <a:pt x="137" y="25"/>
                    <a:pt x="136" y="26"/>
                  </a:cubicBezTo>
                  <a:cubicBezTo>
                    <a:pt x="135" y="26"/>
                    <a:pt x="134" y="26"/>
                    <a:pt x="133" y="27"/>
                  </a:cubicBezTo>
                  <a:close/>
                  <a:moveTo>
                    <a:pt x="145" y="14"/>
                  </a:moveTo>
                  <a:cubicBezTo>
                    <a:pt x="144" y="15"/>
                    <a:pt x="145" y="15"/>
                    <a:pt x="146" y="15"/>
                  </a:cubicBezTo>
                  <a:cubicBezTo>
                    <a:pt x="146" y="16"/>
                    <a:pt x="147" y="16"/>
                    <a:pt x="148" y="16"/>
                  </a:cubicBezTo>
                  <a:cubicBezTo>
                    <a:pt x="149" y="16"/>
                    <a:pt x="151" y="14"/>
                    <a:pt x="152" y="13"/>
                  </a:cubicBezTo>
                  <a:cubicBezTo>
                    <a:pt x="152" y="12"/>
                    <a:pt x="152" y="12"/>
                    <a:pt x="153" y="11"/>
                  </a:cubicBezTo>
                  <a:cubicBezTo>
                    <a:pt x="153" y="10"/>
                    <a:pt x="153" y="10"/>
                    <a:pt x="153" y="9"/>
                  </a:cubicBezTo>
                  <a:cubicBezTo>
                    <a:pt x="152" y="8"/>
                    <a:pt x="152" y="8"/>
                    <a:pt x="151" y="9"/>
                  </a:cubicBezTo>
                  <a:cubicBezTo>
                    <a:pt x="150" y="9"/>
                    <a:pt x="149" y="9"/>
                    <a:pt x="148" y="10"/>
                  </a:cubicBezTo>
                  <a:cubicBezTo>
                    <a:pt x="147" y="10"/>
                    <a:pt x="147" y="12"/>
                    <a:pt x="146" y="12"/>
                  </a:cubicBezTo>
                  <a:cubicBezTo>
                    <a:pt x="146" y="13"/>
                    <a:pt x="146" y="14"/>
                    <a:pt x="145" y="14"/>
                  </a:cubicBezTo>
                  <a:close/>
                  <a:moveTo>
                    <a:pt x="542" y="248"/>
                  </a:moveTo>
                  <a:cubicBezTo>
                    <a:pt x="542" y="248"/>
                    <a:pt x="542" y="248"/>
                    <a:pt x="542" y="248"/>
                  </a:cubicBezTo>
                  <a:cubicBezTo>
                    <a:pt x="542" y="248"/>
                    <a:pt x="542" y="247"/>
                    <a:pt x="543" y="247"/>
                  </a:cubicBezTo>
                  <a:cubicBezTo>
                    <a:pt x="543" y="246"/>
                    <a:pt x="545" y="246"/>
                    <a:pt x="545" y="246"/>
                  </a:cubicBezTo>
                  <a:cubicBezTo>
                    <a:pt x="545" y="245"/>
                    <a:pt x="545" y="245"/>
                    <a:pt x="545" y="245"/>
                  </a:cubicBezTo>
                  <a:cubicBezTo>
                    <a:pt x="545" y="243"/>
                    <a:pt x="547" y="243"/>
                    <a:pt x="548" y="242"/>
                  </a:cubicBezTo>
                  <a:cubicBezTo>
                    <a:pt x="548" y="241"/>
                    <a:pt x="547" y="241"/>
                    <a:pt x="547" y="240"/>
                  </a:cubicBezTo>
                  <a:cubicBezTo>
                    <a:pt x="548" y="240"/>
                    <a:pt x="549" y="240"/>
                    <a:pt x="550" y="240"/>
                  </a:cubicBezTo>
                  <a:cubicBezTo>
                    <a:pt x="551" y="240"/>
                    <a:pt x="552" y="239"/>
                    <a:pt x="552" y="237"/>
                  </a:cubicBezTo>
                  <a:cubicBezTo>
                    <a:pt x="552" y="237"/>
                    <a:pt x="553" y="236"/>
                    <a:pt x="553" y="235"/>
                  </a:cubicBezTo>
                  <a:cubicBezTo>
                    <a:pt x="552" y="234"/>
                    <a:pt x="551" y="235"/>
                    <a:pt x="551" y="234"/>
                  </a:cubicBezTo>
                  <a:cubicBezTo>
                    <a:pt x="550" y="233"/>
                    <a:pt x="551" y="232"/>
                    <a:pt x="551" y="231"/>
                  </a:cubicBezTo>
                  <a:cubicBezTo>
                    <a:pt x="551" y="229"/>
                    <a:pt x="549" y="228"/>
                    <a:pt x="550" y="226"/>
                  </a:cubicBezTo>
                  <a:cubicBezTo>
                    <a:pt x="551" y="227"/>
                    <a:pt x="551" y="229"/>
                    <a:pt x="552" y="230"/>
                  </a:cubicBezTo>
                  <a:cubicBezTo>
                    <a:pt x="553" y="231"/>
                    <a:pt x="554" y="231"/>
                    <a:pt x="555" y="232"/>
                  </a:cubicBezTo>
                  <a:cubicBezTo>
                    <a:pt x="556" y="232"/>
                    <a:pt x="556" y="233"/>
                    <a:pt x="557" y="232"/>
                  </a:cubicBezTo>
                  <a:cubicBezTo>
                    <a:pt x="557" y="232"/>
                    <a:pt x="558" y="231"/>
                    <a:pt x="558" y="230"/>
                  </a:cubicBezTo>
                  <a:cubicBezTo>
                    <a:pt x="559" y="230"/>
                    <a:pt x="559" y="229"/>
                    <a:pt x="559" y="228"/>
                  </a:cubicBezTo>
                  <a:cubicBezTo>
                    <a:pt x="559" y="226"/>
                    <a:pt x="558" y="228"/>
                    <a:pt x="557" y="229"/>
                  </a:cubicBezTo>
                  <a:cubicBezTo>
                    <a:pt x="556" y="229"/>
                    <a:pt x="557" y="228"/>
                    <a:pt x="557" y="227"/>
                  </a:cubicBezTo>
                  <a:cubicBezTo>
                    <a:pt x="558" y="226"/>
                    <a:pt x="558" y="225"/>
                    <a:pt x="558" y="224"/>
                  </a:cubicBezTo>
                  <a:cubicBezTo>
                    <a:pt x="557" y="222"/>
                    <a:pt x="554" y="222"/>
                    <a:pt x="552" y="222"/>
                  </a:cubicBezTo>
                  <a:cubicBezTo>
                    <a:pt x="552" y="221"/>
                    <a:pt x="553" y="220"/>
                    <a:pt x="552" y="220"/>
                  </a:cubicBezTo>
                  <a:cubicBezTo>
                    <a:pt x="551" y="219"/>
                    <a:pt x="551" y="219"/>
                    <a:pt x="551" y="218"/>
                  </a:cubicBezTo>
                  <a:cubicBezTo>
                    <a:pt x="553" y="218"/>
                    <a:pt x="553" y="219"/>
                    <a:pt x="554" y="220"/>
                  </a:cubicBezTo>
                  <a:cubicBezTo>
                    <a:pt x="555" y="221"/>
                    <a:pt x="556" y="221"/>
                    <a:pt x="557" y="221"/>
                  </a:cubicBezTo>
                  <a:cubicBezTo>
                    <a:pt x="558" y="222"/>
                    <a:pt x="560" y="221"/>
                    <a:pt x="561" y="221"/>
                  </a:cubicBezTo>
                  <a:cubicBezTo>
                    <a:pt x="562" y="221"/>
                    <a:pt x="563" y="220"/>
                    <a:pt x="563" y="219"/>
                  </a:cubicBezTo>
                  <a:cubicBezTo>
                    <a:pt x="565" y="218"/>
                    <a:pt x="565" y="218"/>
                    <a:pt x="566" y="216"/>
                  </a:cubicBezTo>
                  <a:cubicBezTo>
                    <a:pt x="566" y="215"/>
                    <a:pt x="567" y="213"/>
                    <a:pt x="568" y="212"/>
                  </a:cubicBezTo>
                  <a:cubicBezTo>
                    <a:pt x="568" y="211"/>
                    <a:pt x="569" y="210"/>
                    <a:pt x="567" y="209"/>
                  </a:cubicBezTo>
                  <a:cubicBezTo>
                    <a:pt x="567" y="209"/>
                    <a:pt x="565" y="209"/>
                    <a:pt x="565" y="209"/>
                  </a:cubicBezTo>
                  <a:cubicBezTo>
                    <a:pt x="564" y="208"/>
                    <a:pt x="564" y="208"/>
                    <a:pt x="564" y="208"/>
                  </a:cubicBezTo>
                  <a:cubicBezTo>
                    <a:pt x="566" y="209"/>
                    <a:pt x="568" y="208"/>
                    <a:pt x="568" y="206"/>
                  </a:cubicBezTo>
                  <a:cubicBezTo>
                    <a:pt x="569" y="205"/>
                    <a:pt x="567" y="203"/>
                    <a:pt x="567" y="202"/>
                  </a:cubicBezTo>
                  <a:cubicBezTo>
                    <a:pt x="566" y="201"/>
                    <a:pt x="565" y="199"/>
                    <a:pt x="563" y="198"/>
                  </a:cubicBezTo>
                  <a:cubicBezTo>
                    <a:pt x="562" y="197"/>
                    <a:pt x="560" y="197"/>
                    <a:pt x="560" y="195"/>
                  </a:cubicBezTo>
                  <a:cubicBezTo>
                    <a:pt x="561" y="195"/>
                    <a:pt x="562" y="195"/>
                    <a:pt x="562" y="196"/>
                  </a:cubicBezTo>
                  <a:cubicBezTo>
                    <a:pt x="563" y="196"/>
                    <a:pt x="563" y="197"/>
                    <a:pt x="564" y="197"/>
                  </a:cubicBezTo>
                  <a:cubicBezTo>
                    <a:pt x="565" y="198"/>
                    <a:pt x="566" y="195"/>
                    <a:pt x="565" y="194"/>
                  </a:cubicBezTo>
                  <a:cubicBezTo>
                    <a:pt x="565" y="194"/>
                    <a:pt x="564" y="193"/>
                    <a:pt x="566" y="192"/>
                  </a:cubicBezTo>
                  <a:cubicBezTo>
                    <a:pt x="567" y="192"/>
                    <a:pt x="568" y="193"/>
                    <a:pt x="568" y="192"/>
                  </a:cubicBezTo>
                  <a:cubicBezTo>
                    <a:pt x="568" y="191"/>
                    <a:pt x="568" y="190"/>
                    <a:pt x="567" y="189"/>
                  </a:cubicBezTo>
                  <a:cubicBezTo>
                    <a:pt x="567" y="189"/>
                    <a:pt x="566" y="189"/>
                    <a:pt x="565" y="189"/>
                  </a:cubicBezTo>
                  <a:cubicBezTo>
                    <a:pt x="564" y="188"/>
                    <a:pt x="566" y="187"/>
                    <a:pt x="566" y="187"/>
                  </a:cubicBezTo>
                  <a:cubicBezTo>
                    <a:pt x="567" y="186"/>
                    <a:pt x="567" y="185"/>
                    <a:pt x="566" y="184"/>
                  </a:cubicBezTo>
                  <a:cubicBezTo>
                    <a:pt x="566" y="183"/>
                    <a:pt x="565" y="183"/>
                    <a:pt x="565" y="182"/>
                  </a:cubicBezTo>
                  <a:cubicBezTo>
                    <a:pt x="566" y="182"/>
                    <a:pt x="565" y="181"/>
                    <a:pt x="566" y="180"/>
                  </a:cubicBezTo>
                  <a:cubicBezTo>
                    <a:pt x="566" y="179"/>
                    <a:pt x="568" y="179"/>
                    <a:pt x="568" y="177"/>
                  </a:cubicBezTo>
                  <a:cubicBezTo>
                    <a:pt x="569" y="175"/>
                    <a:pt x="565" y="175"/>
                    <a:pt x="564" y="174"/>
                  </a:cubicBezTo>
                  <a:cubicBezTo>
                    <a:pt x="563" y="174"/>
                    <a:pt x="563" y="174"/>
                    <a:pt x="562" y="173"/>
                  </a:cubicBezTo>
                  <a:cubicBezTo>
                    <a:pt x="562" y="173"/>
                    <a:pt x="561" y="173"/>
                    <a:pt x="561" y="173"/>
                  </a:cubicBezTo>
                  <a:cubicBezTo>
                    <a:pt x="561" y="172"/>
                    <a:pt x="562" y="173"/>
                    <a:pt x="563" y="172"/>
                  </a:cubicBezTo>
                  <a:cubicBezTo>
                    <a:pt x="564" y="172"/>
                    <a:pt x="563" y="171"/>
                    <a:pt x="563" y="171"/>
                  </a:cubicBezTo>
                  <a:cubicBezTo>
                    <a:pt x="563" y="171"/>
                    <a:pt x="563" y="171"/>
                    <a:pt x="564" y="170"/>
                  </a:cubicBezTo>
                  <a:cubicBezTo>
                    <a:pt x="564" y="169"/>
                    <a:pt x="563" y="169"/>
                    <a:pt x="562" y="169"/>
                  </a:cubicBezTo>
                  <a:cubicBezTo>
                    <a:pt x="561" y="167"/>
                    <a:pt x="560" y="166"/>
                    <a:pt x="559" y="164"/>
                  </a:cubicBezTo>
                  <a:cubicBezTo>
                    <a:pt x="558" y="162"/>
                    <a:pt x="555" y="164"/>
                    <a:pt x="554" y="164"/>
                  </a:cubicBezTo>
                  <a:cubicBezTo>
                    <a:pt x="552" y="164"/>
                    <a:pt x="550" y="162"/>
                    <a:pt x="550" y="165"/>
                  </a:cubicBezTo>
                  <a:cubicBezTo>
                    <a:pt x="552" y="165"/>
                    <a:pt x="551" y="166"/>
                    <a:pt x="551" y="168"/>
                  </a:cubicBezTo>
                  <a:cubicBezTo>
                    <a:pt x="551" y="169"/>
                    <a:pt x="552" y="168"/>
                    <a:pt x="552" y="169"/>
                  </a:cubicBezTo>
                  <a:cubicBezTo>
                    <a:pt x="553" y="170"/>
                    <a:pt x="552" y="170"/>
                    <a:pt x="551" y="170"/>
                  </a:cubicBezTo>
                  <a:cubicBezTo>
                    <a:pt x="550" y="171"/>
                    <a:pt x="551" y="171"/>
                    <a:pt x="550" y="171"/>
                  </a:cubicBezTo>
                  <a:cubicBezTo>
                    <a:pt x="549" y="171"/>
                    <a:pt x="549" y="171"/>
                    <a:pt x="549" y="171"/>
                  </a:cubicBezTo>
                  <a:cubicBezTo>
                    <a:pt x="548" y="172"/>
                    <a:pt x="548" y="172"/>
                    <a:pt x="548" y="172"/>
                  </a:cubicBezTo>
                  <a:cubicBezTo>
                    <a:pt x="548" y="173"/>
                    <a:pt x="548" y="173"/>
                    <a:pt x="548" y="173"/>
                  </a:cubicBezTo>
                  <a:cubicBezTo>
                    <a:pt x="547" y="173"/>
                    <a:pt x="547" y="174"/>
                    <a:pt x="547" y="175"/>
                  </a:cubicBezTo>
                  <a:cubicBezTo>
                    <a:pt x="547" y="176"/>
                    <a:pt x="546" y="178"/>
                    <a:pt x="545" y="178"/>
                  </a:cubicBezTo>
                  <a:cubicBezTo>
                    <a:pt x="544" y="179"/>
                    <a:pt x="543" y="179"/>
                    <a:pt x="543" y="180"/>
                  </a:cubicBezTo>
                  <a:cubicBezTo>
                    <a:pt x="542" y="180"/>
                    <a:pt x="542" y="181"/>
                    <a:pt x="542" y="181"/>
                  </a:cubicBezTo>
                  <a:cubicBezTo>
                    <a:pt x="541" y="182"/>
                    <a:pt x="539" y="180"/>
                    <a:pt x="539" y="180"/>
                  </a:cubicBezTo>
                  <a:cubicBezTo>
                    <a:pt x="538" y="180"/>
                    <a:pt x="538" y="179"/>
                    <a:pt x="538" y="179"/>
                  </a:cubicBezTo>
                  <a:cubicBezTo>
                    <a:pt x="537" y="178"/>
                    <a:pt x="535" y="179"/>
                    <a:pt x="534" y="180"/>
                  </a:cubicBezTo>
                  <a:cubicBezTo>
                    <a:pt x="533" y="181"/>
                    <a:pt x="535" y="183"/>
                    <a:pt x="536" y="184"/>
                  </a:cubicBezTo>
                  <a:cubicBezTo>
                    <a:pt x="537" y="184"/>
                    <a:pt x="541" y="183"/>
                    <a:pt x="541" y="185"/>
                  </a:cubicBezTo>
                  <a:cubicBezTo>
                    <a:pt x="541" y="185"/>
                    <a:pt x="543" y="184"/>
                    <a:pt x="544" y="185"/>
                  </a:cubicBezTo>
                  <a:cubicBezTo>
                    <a:pt x="544" y="185"/>
                    <a:pt x="549" y="184"/>
                    <a:pt x="547" y="186"/>
                  </a:cubicBezTo>
                  <a:cubicBezTo>
                    <a:pt x="547" y="186"/>
                    <a:pt x="545" y="186"/>
                    <a:pt x="544" y="186"/>
                  </a:cubicBezTo>
                  <a:cubicBezTo>
                    <a:pt x="544" y="187"/>
                    <a:pt x="544" y="187"/>
                    <a:pt x="543" y="188"/>
                  </a:cubicBezTo>
                  <a:cubicBezTo>
                    <a:pt x="543" y="189"/>
                    <a:pt x="542" y="189"/>
                    <a:pt x="542" y="189"/>
                  </a:cubicBezTo>
                  <a:cubicBezTo>
                    <a:pt x="541" y="190"/>
                    <a:pt x="542" y="190"/>
                    <a:pt x="541" y="191"/>
                  </a:cubicBezTo>
                  <a:cubicBezTo>
                    <a:pt x="541" y="191"/>
                    <a:pt x="540" y="192"/>
                    <a:pt x="540" y="192"/>
                  </a:cubicBezTo>
                  <a:cubicBezTo>
                    <a:pt x="539" y="193"/>
                    <a:pt x="540" y="193"/>
                    <a:pt x="540" y="194"/>
                  </a:cubicBezTo>
                  <a:cubicBezTo>
                    <a:pt x="541" y="195"/>
                    <a:pt x="541" y="197"/>
                    <a:pt x="540" y="198"/>
                  </a:cubicBezTo>
                  <a:cubicBezTo>
                    <a:pt x="540" y="199"/>
                    <a:pt x="540" y="200"/>
                    <a:pt x="539" y="201"/>
                  </a:cubicBezTo>
                  <a:cubicBezTo>
                    <a:pt x="539" y="201"/>
                    <a:pt x="539" y="201"/>
                    <a:pt x="539" y="202"/>
                  </a:cubicBezTo>
                  <a:cubicBezTo>
                    <a:pt x="538" y="204"/>
                    <a:pt x="540" y="206"/>
                    <a:pt x="539" y="209"/>
                  </a:cubicBezTo>
                  <a:cubicBezTo>
                    <a:pt x="538" y="210"/>
                    <a:pt x="536" y="209"/>
                    <a:pt x="535" y="208"/>
                  </a:cubicBezTo>
                  <a:cubicBezTo>
                    <a:pt x="535" y="206"/>
                    <a:pt x="536" y="205"/>
                    <a:pt x="536" y="203"/>
                  </a:cubicBezTo>
                  <a:cubicBezTo>
                    <a:pt x="536" y="202"/>
                    <a:pt x="536" y="203"/>
                    <a:pt x="535" y="202"/>
                  </a:cubicBezTo>
                  <a:cubicBezTo>
                    <a:pt x="534" y="202"/>
                    <a:pt x="534" y="201"/>
                    <a:pt x="534" y="201"/>
                  </a:cubicBezTo>
                  <a:cubicBezTo>
                    <a:pt x="533" y="201"/>
                    <a:pt x="531" y="202"/>
                    <a:pt x="531" y="201"/>
                  </a:cubicBezTo>
                  <a:cubicBezTo>
                    <a:pt x="530" y="201"/>
                    <a:pt x="529" y="199"/>
                    <a:pt x="528" y="201"/>
                  </a:cubicBezTo>
                  <a:cubicBezTo>
                    <a:pt x="528" y="202"/>
                    <a:pt x="528" y="205"/>
                    <a:pt x="529" y="206"/>
                  </a:cubicBezTo>
                  <a:cubicBezTo>
                    <a:pt x="530" y="207"/>
                    <a:pt x="531" y="206"/>
                    <a:pt x="532" y="207"/>
                  </a:cubicBezTo>
                  <a:cubicBezTo>
                    <a:pt x="532" y="208"/>
                    <a:pt x="532" y="209"/>
                    <a:pt x="532" y="210"/>
                  </a:cubicBezTo>
                  <a:cubicBezTo>
                    <a:pt x="532" y="210"/>
                    <a:pt x="533" y="210"/>
                    <a:pt x="534" y="210"/>
                  </a:cubicBezTo>
                  <a:cubicBezTo>
                    <a:pt x="535" y="211"/>
                    <a:pt x="535" y="212"/>
                    <a:pt x="536" y="213"/>
                  </a:cubicBezTo>
                  <a:cubicBezTo>
                    <a:pt x="537" y="214"/>
                    <a:pt x="538" y="214"/>
                    <a:pt x="539" y="215"/>
                  </a:cubicBezTo>
                  <a:cubicBezTo>
                    <a:pt x="540" y="216"/>
                    <a:pt x="541" y="217"/>
                    <a:pt x="542" y="217"/>
                  </a:cubicBezTo>
                  <a:cubicBezTo>
                    <a:pt x="543" y="218"/>
                    <a:pt x="543" y="218"/>
                    <a:pt x="544" y="216"/>
                  </a:cubicBezTo>
                  <a:cubicBezTo>
                    <a:pt x="544" y="215"/>
                    <a:pt x="545" y="215"/>
                    <a:pt x="545" y="215"/>
                  </a:cubicBezTo>
                  <a:cubicBezTo>
                    <a:pt x="546" y="215"/>
                    <a:pt x="548" y="215"/>
                    <a:pt x="548" y="216"/>
                  </a:cubicBezTo>
                  <a:cubicBezTo>
                    <a:pt x="547" y="217"/>
                    <a:pt x="545" y="217"/>
                    <a:pt x="545" y="218"/>
                  </a:cubicBezTo>
                  <a:cubicBezTo>
                    <a:pt x="544" y="219"/>
                    <a:pt x="543" y="219"/>
                    <a:pt x="543" y="220"/>
                  </a:cubicBezTo>
                  <a:cubicBezTo>
                    <a:pt x="543" y="221"/>
                    <a:pt x="543" y="224"/>
                    <a:pt x="541" y="222"/>
                  </a:cubicBezTo>
                  <a:cubicBezTo>
                    <a:pt x="539" y="221"/>
                    <a:pt x="541" y="220"/>
                    <a:pt x="540" y="218"/>
                  </a:cubicBezTo>
                  <a:cubicBezTo>
                    <a:pt x="540" y="218"/>
                    <a:pt x="539" y="216"/>
                    <a:pt x="538" y="216"/>
                  </a:cubicBezTo>
                  <a:cubicBezTo>
                    <a:pt x="537" y="215"/>
                    <a:pt x="536" y="215"/>
                    <a:pt x="535" y="214"/>
                  </a:cubicBezTo>
                  <a:cubicBezTo>
                    <a:pt x="534" y="213"/>
                    <a:pt x="534" y="212"/>
                    <a:pt x="533" y="212"/>
                  </a:cubicBezTo>
                  <a:cubicBezTo>
                    <a:pt x="532" y="211"/>
                    <a:pt x="531" y="212"/>
                    <a:pt x="530" y="211"/>
                  </a:cubicBezTo>
                  <a:cubicBezTo>
                    <a:pt x="530" y="210"/>
                    <a:pt x="528" y="208"/>
                    <a:pt x="527" y="209"/>
                  </a:cubicBezTo>
                  <a:cubicBezTo>
                    <a:pt x="526" y="209"/>
                    <a:pt x="527" y="211"/>
                    <a:pt x="527" y="212"/>
                  </a:cubicBezTo>
                  <a:cubicBezTo>
                    <a:pt x="528" y="214"/>
                    <a:pt x="529" y="216"/>
                    <a:pt x="529" y="217"/>
                  </a:cubicBezTo>
                  <a:cubicBezTo>
                    <a:pt x="529" y="219"/>
                    <a:pt x="528" y="221"/>
                    <a:pt x="528" y="222"/>
                  </a:cubicBezTo>
                  <a:cubicBezTo>
                    <a:pt x="528" y="223"/>
                    <a:pt x="528" y="225"/>
                    <a:pt x="529" y="226"/>
                  </a:cubicBezTo>
                  <a:cubicBezTo>
                    <a:pt x="531" y="227"/>
                    <a:pt x="531" y="227"/>
                    <a:pt x="531" y="227"/>
                  </a:cubicBezTo>
                  <a:cubicBezTo>
                    <a:pt x="531" y="226"/>
                    <a:pt x="531" y="226"/>
                    <a:pt x="531" y="226"/>
                  </a:cubicBezTo>
                  <a:cubicBezTo>
                    <a:pt x="532" y="227"/>
                    <a:pt x="532" y="227"/>
                    <a:pt x="533" y="227"/>
                  </a:cubicBezTo>
                  <a:cubicBezTo>
                    <a:pt x="534" y="228"/>
                    <a:pt x="535" y="228"/>
                    <a:pt x="535" y="230"/>
                  </a:cubicBezTo>
                  <a:cubicBezTo>
                    <a:pt x="536" y="231"/>
                    <a:pt x="534" y="233"/>
                    <a:pt x="533" y="232"/>
                  </a:cubicBezTo>
                  <a:cubicBezTo>
                    <a:pt x="532" y="231"/>
                    <a:pt x="533" y="229"/>
                    <a:pt x="533" y="228"/>
                  </a:cubicBezTo>
                  <a:cubicBezTo>
                    <a:pt x="531" y="228"/>
                    <a:pt x="530" y="228"/>
                    <a:pt x="528" y="228"/>
                  </a:cubicBezTo>
                  <a:cubicBezTo>
                    <a:pt x="528" y="228"/>
                    <a:pt x="528" y="227"/>
                    <a:pt x="528" y="227"/>
                  </a:cubicBezTo>
                  <a:cubicBezTo>
                    <a:pt x="527" y="228"/>
                    <a:pt x="527" y="230"/>
                    <a:pt x="527" y="232"/>
                  </a:cubicBezTo>
                  <a:cubicBezTo>
                    <a:pt x="526" y="234"/>
                    <a:pt x="527" y="236"/>
                    <a:pt x="526" y="238"/>
                  </a:cubicBezTo>
                  <a:cubicBezTo>
                    <a:pt x="526" y="240"/>
                    <a:pt x="526" y="243"/>
                    <a:pt x="525" y="245"/>
                  </a:cubicBezTo>
                  <a:cubicBezTo>
                    <a:pt x="524" y="246"/>
                    <a:pt x="524" y="247"/>
                    <a:pt x="525" y="249"/>
                  </a:cubicBezTo>
                  <a:cubicBezTo>
                    <a:pt x="526" y="251"/>
                    <a:pt x="529" y="250"/>
                    <a:pt x="530" y="252"/>
                  </a:cubicBezTo>
                  <a:cubicBezTo>
                    <a:pt x="530" y="252"/>
                    <a:pt x="531" y="254"/>
                    <a:pt x="531" y="254"/>
                  </a:cubicBezTo>
                  <a:cubicBezTo>
                    <a:pt x="532" y="255"/>
                    <a:pt x="533" y="255"/>
                    <a:pt x="534" y="255"/>
                  </a:cubicBezTo>
                  <a:cubicBezTo>
                    <a:pt x="535" y="254"/>
                    <a:pt x="535" y="254"/>
                    <a:pt x="536" y="254"/>
                  </a:cubicBezTo>
                  <a:cubicBezTo>
                    <a:pt x="538" y="253"/>
                    <a:pt x="541" y="252"/>
                    <a:pt x="542" y="251"/>
                  </a:cubicBezTo>
                  <a:cubicBezTo>
                    <a:pt x="543" y="250"/>
                    <a:pt x="544" y="249"/>
                    <a:pt x="542" y="248"/>
                  </a:cubicBezTo>
                  <a:close/>
                  <a:moveTo>
                    <a:pt x="563" y="233"/>
                  </a:moveTo>
                  <a:cubicBezTo>
                    <a:pt x="564" y="233"/>
                    <a:pt x="564" y="233"/>
                    <a:pt x="564" y="233"/>
                  </a:cubicBezTo>
                  <a:cubicBezTo>
                    <a:pt x="565" y="234"/>
                    <a:pt x="565" y="234"/>
                    <a:pt x="565" y="234"/>
                  </a:cubicBezTo>
                  <a:cubicBezTo>
                    <a:pt x="565" y="234"/>
                    <a:pt x="565" y="233"/>
                    <a:pt x="565" y="233"/>
                  </a:cubicBezTo>
                  <a:cubicBezTo>
                    <a:pt x="566" y="233"/>
                    <a:pt x="566" y="232"/>
                    <a:pt x="566" y="232"/>
                  </a:cubicBezTo>
                  <a:cubicBezTo>
                    <a:pt x="567" y="232"/>
                    <a:pt x="567" y="232"/>
                    <a:pt x="568" y="231"/>
                  </a:cubicBezTo>
                  <a:cubicBezTo>
                    <a:pt x="567" y="231"/>
                    <a:pt x="567" y="231"/>
                    <a:pt x="567" y="231"/>
                  </a:cubicBezTo>
                  <a:cubicBezTo>
                    <a:pt x="567" y="230"/>
                    <a:pt x="567" y="229"/>
                    <a:pt x="566" y="229"/>
                  </a:cubicBezTo>
                  <a:cubicBezTo>
                    <a:pt x="565" y="228"/>
                    <a:pt x="565" y="227"/>
                    <a:pt x="564" y="227"/>
                  </a:cubicBezTo>
                  <a:cubicBezTo>
                    <a:pt x="563" y="226"/>
                    <a:pt x="563" y="227"/>
                    <a:pt x="563" y="227"/>
                  </a:cubicBezTo>
                  <a:cubicBezTo>
                    <a:pt x="562" y="228"/>
                    <a:pt x="559" y="228"/>
                    <a:pt x="561" y="230"/>
                  </a:cubicBezTo>
                  <a:cubicBezTo>
                    <a:pt x="561" y="230"/>
                    <a:pt x="561" y="230"/>
                    <a:pt x="562" y="231"/>
                  </a:cubicBezTo>
                  <a:cubicBezTo>
                    <a:pt x="562" y="231"/>
                    <a:pt x="562" y="232"/>
                    <a:pt x="562" y="233"/>
                  </a:cubicBezTo>
                  <a:cubicBezTo>
                    <a:pt x="562" y="233"/>
                    <a:pt x="563" y="233"/>
                    <a:pt x="563" y="233"/>
                  </a:cubicBezTo>
                  <a:close/>
                  <a:moveTo>
                    <a:pt x="571" y="227"/>
                  </a:moveTo>
                  <a:cubicBezTo>
                    <a:pt x="572" y="228"/>
                    <a:pt x="572" y="228"/>
                    <a:pt x="572" y="228"/>
                  </a:cubicBezTo>
                  <a:cubicBezTo>
                    <a:pt x="572" y="228"/>
                    <a:pt x="573" y="228"/>
                    <a:pt x="573" y="227"/>
                  </a:cubicBezTo>
                  <a:cubicBezTo>
                    <a:pt x="573" y="226"/>
                    <a:pt x="573" y="225"/>
                    <a:pt x="574" y="224"/>
                  </a:cubicBezTo>
                  <a:cubicBezTo>
                    <a:pt x="574" y="224"/>
                    <a:pt x="574" y="223"/>
                    <a:pt x="574" y="223"/>
                  </a:cubicBezTo>
                  <a:cubicBezTo>
                    <a:pt x="575" y="222"/>
                    <a:pt x="575" y="222"/>
                    <a:pt x="575" y="222"/>
                  </a:cubicBezTo>
                  <a:cubicBezTo>
                    <a:pt x="576" y="221"/>
                    <a:pt x="576" y="220"/>
                    <a:pt x="576" y="219"/>
                  </a:cubicBezTo>
                  <a:cubicBezTo>
                    <a:pt x="576" y="219"/>
                    <a:pt x="576" y="218"/>
                    <a:pt x="576" y="218"/>
                  </a:cubicBezTo>
                  <a:cubicBezTo>
                    <a:pt x="576" y="217"/>
                    <a:pt x="575" y="217"/>
                    <a:pt x="575" y="217"/>
                  </a:cubicBezTo>
                  <a:cubicBezTo>
                    <a:pt x="575" y="217"/>
                    <a:pt x="574" y="217"/>
                    <a:pt x="574" y="217"/>
                  </a:cubicBezTo>
                  <a:cubicBezTo>
                    <a:pt x="574" y="217"/>
                    <a:pt x="573" y="217"/>
                    <a:pt x="573" y="217"/>
                  </a:cubicBezTo>
                  <a:cubicBezTo>
                    <a:pt x="572" y="218"/>
                    <a:pt x="572" y="219"/>
                    <a:pt x="572" y="220"/>
                  </a:cubicBezTo>
                  <a:cubicBezTo>
                    <a:pt x="571" y="221"/>
                    <a:pt x="570" y="221"/>
                    <a:pt x="570" y="222"/>
                  </a:cubicBezTo>
                  <a:cubicBezTo>
                    <a:pt x="569" y="223"/>
                    <a:pt x="570" y="224"/>
                    <a:pt x="570" y="225"/>
                  </a:cubicBezTo>
                  <a:cubicBezTo>
                    <a:pt x="571" y="225"/>
                    <a:pt x="570" y="226"/>
                    <a:pt x="570" y="227"/>
                  </a:cubicBezTo>
                  <a:cubicBezTo>
                    <a:pt x="571" y="227"/>
                    <a:pt x="571" y="227"/>
                    <a:pt x="571" y="227"/>
                  </a:cubicBezTo>
                  <a:close/>
                  <a:moveTo>
                    <a:pt x="567" y="237"/>
                  </a:moveTo>
                  <a:cubicBezTo>
                    <a:pt x="566" y="236"/>
                    <a:pt x="566" y="236"/>
                    <a:pt x="566" y="236"/>
                  </a:cubicBezTo>
                  <a:cubicBezTo>
                    <a:pt x="566" y="236"/>
                    <a:pt x="566" y="235"/>
                    <a:pt x="565" y="235"/>
                  </a:cubicBezTo>
                  <a:cubicBezTo>
                    <a:pt x="565" y="235"/>
                    <a:pt x="564" y="235"/>
                    <a:pt x="563" y="236"/>
                  </a:cubicBezTo>
                  <a:cubicBezTo>
                    <a:pt x="563" y="236"/>
                    <a:pt x="563" y="237"/>
                    <a:pt x="563" y="237"/>
                  </a:cubicBezTo>
                  <a:cubicBezTo>
                    <a:pt x="563" y="239"/>
                    <a:pt x="562" y="240"/>
                    <a:pt x="561" y="241"/>
                  </a:cubicBezTo>
                  <a:cubicBezTo>
                    <a:pt x="560" y="242"/>
                    <a:pt x="559" y="243"/>
                    <a:pt x="559" y="244"/>
                  </a:cubicBezTo>
                  <a:cubicBezTo>
                    <a:pt x="559" y="244"/>
                    <a:pt x="559" y="245"/>
                    <a:pt x="560" y="245"/>
                  </a:cubicBezTo>
                  <a:cubicBezTo>
                    <a:pt x="560" y="246"/>
                    <a:pt x="560" y="246"/>
                    <a:pt x="560" y="246"/>
                  </a:cubicBezTo>
                  <a:cubicBezTo>
                    <a:pt x="561" y="246"/>
                    <a:pt x="561" y="246"/>
                    <a:pt x="561" y="246"/>
                  </a:cubicBezTo>
                  <a:cubicBezTo>
                    <a:pt x="561" y="247"/>
                    <a:pt x="561" y="247"/>
                    <a:pt x="561" y="247"/>
                  </a:cubicBezTo>
                  <a:cubicBezTo>
                    <a:pt x="562" y="247"/>
                    <a:pt x="562" y="247"/>
                    <a:pt x="562" y="247"/>
                  </a:cubicBezTo>
                  <a:cubicBezTo>
                    <a:pt x="563" y="247"/>
                    <a:pt x="563" y="247"/>
                    <a:pt x="563" y="247"/>
                  </a:cubicBezTo>
                  <a:cubicBezTo>
                    <a:pt x="563" y="246"/>
                    <a:pt x="563" y="246"/>
                    <a:pt x="564" y="245"/>
                  </a:cubicBezTo>
                  <a:cubicBezTo>
                    <a:pt x="564" y="244"/>
                    <a:pt x="565" y="243"/>
                    <a:pt x="565" y="243"/>
                  </a:cubicBezTo>
                  <a:cubicBezTo>
                    <a:pt x="566" y="242"/>
                    <a:pt x="565" y="241"/>
                    <a:pt x="566" y="240"/>
                  </a:cubicBezTo>
                  <a:cubicBezTo>
                    <a:pt x="566" y="239"/>
                    <a:pt x="566" y="239"/>
                    <a:pt x="566" y="239"/>
                  </a:cubicBezTo>
                  <a:cubicBezTo>
                    <a:pt x="567" y="239"/>
                    <a:pt x="567" y="238"/>
                    <a:pt x="567" y="238"/>
                  </a:cubicBezTo>
                  <a:cubicBezTo>
                    <a:pt x="567" y="237"/>
                    <a:pt x="567" y="237"/>
                    <a:pt x="567" y="237"/>
                  </a:cubicBezTo>
                  <a:close/>
                  <a:moveTo>
                    <a:pt x="450" y="198"/>
                  </a:moveTo>
                  <a:cubicBezTo>
                    <a:pt x="451" y="198"/>
                    <a:pt x="453" y="197"/>
                    <a:pt x="454" y="196"/>
                  </a:cubicBezTo>
                  <a:cubicBezTo>
                    <a:pt x="454" y="195"/>
                    <a:pt x="454" y="194"/>
                    <a:pt x="455" y="193"/>
                  </a:cubicBezTo>
                  <a:cubicBezTo>
                    <a:pt x="455" y="192"/>
                    <a:pt x="456" y="192"/>
                    <a:pt x="456" y="192"/>
                  </a:cubicBezTo>
                  <a:cubicBezTo>
                    <a:pt x="457" y="191"/>
                    <a:pt x="457" y="191"/>
                    <a:pt x="456" y="190"/>
                  </a:cubicBezTo>
                  <a:cubicBezTo>
                    <a:pt x="456" y="189"/>
                    <a:pt x="456" y="189"/>
                    <a:pt x="456" y="188"/>
                  </a:cubicBezTo>
                  <a:cubicBezTo>
                    <a:pt x="456" y="185"/>
                    <a:pt x="457" y="184"/>
                    <a:pt x="459" y="181"/>
                  </a:cubicBezTo>
                  <a:cubicBezTo>
                    <a:pt x="459" y="181"/>
                    <a:pt x="460" y="179"/>
                    <a:pt x="461" y="178"/>
                  </a:cubicBezTo>
                  <a:cubicBezTo>
                    <a:pt x="462" y="178"/>
                    <a:pt x="463" y="177"/>
                    <a:pt x="464" y="176"/>
                  </a:cubicBezTo>
                  <a:cubicBezTo>
                    <a:pt x="468" y="173"/>
                    <a:pt x="468" y="167"/>
                    <a:pt x="469" y="163"/>
                  </a:cubicBezTo>
                  <a:cubicBezTo>
                    <a:pt x="469" y="161"/>
                    <a:pt x="470" y="160"/>
                    <a:pt x="470" y="158"/>
                  </a:cubicBezTo>
                  <a:cubicBezTo>
                    <a:pt x="471" y="158"/>
                    <a:pt x="471" y="157"/>
                    <a:pt x="470" y="156"/>
                  </a:cubicBezTo>
                  <a:cubicBezTo>
                    <a:pt x="470" y="156"/>
                    <a:pt x="469" y="156"/>
                    <a:pt x="469" y="155"/>
                  </a:cubicBezTo>
                  <a:cubicBezTo>
                    <a:pt x="468" y="155"/>
                    <a:pt x="468" y="154"/>
                    <a:pt x="468" y="155"/>
                  </a:cubicBezTo>
                  <a:cubicBezTo>
                    <a:pt x="467" y="155"/>
                    <a:pt x="467" y="156"/>
                    <a:pt x="466" y="157"/>
                  </a:cubicBezTo>
                  <a:cubicBezTo>
                    <a:pt x="466" y="158"/>
                    <a:pt x="465" y="160"/>
                    <a:pt x="465" y="161"/>
                  </a:cubicBezTo>
                  <a:cubicBezTo>
                    <a:pt x="463" y="164"/>
                    <a:pt x="462" y="168"/>
                    <a:pt x="462" y="171"/>
                  </a:cubicBezTo>
                  <a:cubicBezTo>
                    <a:pt x="462" y="173"/>
                    <a:pt x="461" y="174"/>
                    <a:pt x="460" y="175"/>
                  </a:cubicBezTo>
                  <a:cubicBezTo>
                    <a:pt x="459" y="176"/>
                    <a:pt x="458" y="177"/>
                    <a:pt x="457" y="178"/>
                  </a:cubicBezTo>
                  <a:cubicBezTo>
                    <a:pt x="455" y="180"/>
                    <a:pt x="456" y="182"/>
                    <a:pt x="455" y="185"/>
                  </a:cubicBezTo>
                  <a:cubicBezTo>
                    <a:pt x="455" y="186"/>
                    <a:pt x="454" y="186"/>
                    <a:pt x="454" y="187"/>
                  </a:cubicBezTo>
                  <a:cubicBezTo>
                    <a:pt x="453" y="188"/>
                    <a:pt x="453" y="189"/>
                    <a:pt x="453" y="190"/>
                  </a:cubicBezTo>
                  <a:cubicBezTo>
                    <a:pt x="452" y="191"/>
                    <a:pt x="452" y="193"/>
                    <a:pt x="452" y="194"/>
                  </a:cubicBezTo>
                  <a:cubicBezTo>
                    <a:pt x="451" y="195"/>
                    <a:pt x="451" y="196"/>
                    <a:pt x="451" y="196"/>
                  </a:cubicBezTo>
                  <a:cubicBezTo>
                    <a:pt x="450" y="198"/>
                    <a:pt x="450" y="198"/>
                    <a:pt x="450" y="198"/>
                  </a:cubicBezTo>
                  <a:close/>
                  <a:moveTo>
                    <a:pt x="448" y="187"/>
                  </a:moveTo>
                  <a:cubicBezTo>
                    <a:pt x="447" y="186"/>
                    <a:pt x="446" y="186"/>
                    <a:pt x="446" y="185"/>
                  </a:cubicBezTo>
                  <a:cubicBezTo>
                    <a:pt x="446" y="184"/>
                    <a:pt x="446" y="183"/>
                    <a:pt x="446" y="183"/>
                  </a:cubicBezTo>
                  <a:cubicBezTo>
                    <a:pt x="445" y="183"/>
                    <a:pt x="445" y="183"/>
                    <a:pt x="445" y="183"/>
                  </a:cubicBezTo>
                  <a:cubicBezTo>
                    <a:pt x="445" y="182"/>
                    <a:pt x="445" y="182"/>
                    <a:pt x="445" y="182"/>
                  </a:cubicBezTo>
                  <a:cubicBezTo>
                    <a:pt x="445" y="182"/>
                    <a:pt x="445" y="182"/>
                    <a:pt x="445" y="182"/>
                  </a:cubicBezTo>
                  <a:cubicBezTo>
                    <a:pt x="444" y="182"/>
                    <a:pt x="444" y="181"/>
                    <a:pt x="444" y="181"/>
                  </a:cubicBezTo>
                  <a:cubicBezTo>
                    <a:pt x="444" y="180"/>
                    <a:pt x="443" y="179"/>
                    <a:pt x="444" y="178"/>
                  </a:cubicBezTo>
                  <a:cubicBezTo>
                    <a:pt x="445" y="178"/>
                    <a:pt x="446" y="179"/>
                    <a:pt x="446" y="180"/>
                  </a:cubicBezTo>
                  <a:cubicBezTo>
                    <a:pt x="446" y="180"/>
                    <a:pt x="447" y="180"/>
                    <a:pt x="447" y="180"/>
                  </a:cubicBezTo>
                  <a:cubicBezTo>
                    <a:pt x="448" y="179"/>
                    <a:pt x="447" y="177"/>
                    <a:pt x="447" y="176"/>
                  </a:cubicBezTo>
                  <a:cubicBezTo>
                    <a:pt x="447" y="175"/>
                    <a:pt x="448" y="174"/>
                    <a:pt x="448" y="172"/>
                  </a:cubicBezTo>
                  <a:cubicBezTo>
                    <a:pt x="448" y="172"/>
                    <a:pt x="448" y="171"/>
                    <a:pt x="448" y="171"/>
                  </a:cubicBezTo>
                  <a:cubicBezTo>
                    <a:pt x="447" y="169"/>
                    <a:pt x="446" y="172"/>
                    <a:pt x="445" y="172"/>
                  </a:cubicBezTo>
                  <a:cubicBezTo>
                    <a:pt x="444" y="174"/>
                    <a:pt x="443" y="177"/>
                    <a:pt x="441" y="177"/>
                  </a:cubicBezTo>
                  <a:cubicBezTo>
                    <a:pt x="441" y="177"/>
                    <a:pt x="442" y="176"/>
                    <a:pt x="441" y="176"/>
                  </a:cubicBezTo>
                  <a:cubicBezTo>
                    <a:pt x="441" y="175"/>
                    <a:pt x="440" y="176"/>
                    <a:pt x="440" y="176"/>
                  </a:cubicBezTo>
                  <a:cubicBezTo>
                    <a:pt x="439" y="176"/>
                    <a:pt x="439" y="176"/>
                    <a:pt x="438" y="176"/>
                  </a:cubicBezTo>
                  <a:cubicBezTo>
                    <a:pt x="438" y="176"/>
                    <a:pt x="437" y="175"/>
                    <a:pt x="437" y="175"/>
                  </a:cubicBezTo>
                  <a:cubicBezTo>
                    <a:pt x="437" y="176"/>
                    <a:pt x="437" y="176"/>
                    <a:pt x="437" y="177"/>
                  </a:cubicBezTo>
                  <a:cubicBezTo>
                    <a:pt x="437" y="178"/>
                    <a:pt x="437" y="178"/>
                    <a:pt x="438" y="179"/>
                  </a:cubicBezTo>
                  <a:cubicBezTo>
                    <a:pt x="439" y="180"/>
                    <a:pt x="438" y="181"/>
                    <a:pt x="439" y="181"/>
                  </a:cubicBezTo>
                  <a:cubicBezTo>
                    <a:pt x="439" y="182"/>
                    <a:pt x="440" y="182"/>
                    <a:pt x="440" y="182"/>
                  </a:cubicBezTo>
                  <a:cubicBezTo>
                    <a:pt x="440" y="183"/>
                    <a:pt x="441" y="183"/>
                    <a:pt x="441" y="184"/>
                  </a:cubicBezTo>
                  <a:cubicBezTo>
                    <a:pt x="442" y="185"/>
                    <a:pt x="442" y="185"/>
                    <a:pt x="442" y="186"/>
                  </a:cubicBezTo>
                  <a:cubicBezTo>
                    <a:pt x="442" y="187"/>
                    <a:pt x="442" y="189"/>
                    <a:pt x="441" y="189"/>
                  </a:cubicBezTo>
                  <a:cubicBezTo>
                    <a:pt x="441" y="188"/>
                    <a:pt x="441" y="185"/>
                    <a:pt x="440" y="185"/>
                  </a:cubicBezTo>
                  <a:cubicBezTo>
                    <a:pt x="440" y="185"/>
                    <a:pt x="440" y="186"/>
                    <a:pt x="440" y="187"/>
                  </a:cubicBezTo>
                  <a:cubicBezTo>
                    <a:pt x="440" y="188"/>
                    <a:pt x="440" y="188"/>
                    <a:pt x="440" y="189"/>
                  </a:cubicBezTo>
                  <a:cubicBezTo>
                    <a:pt x="439" y="189"/>
                    <a:pt x="439" y="189"/>
                    <a:pt x="439" y="190"/>
                  </a:cubicBezTo>
                  <a:cubicBezTo>
                    <a:pt x="439" y="191"/>
                    <a:pt x="439" y="192"/>
                    <a:pt x="439" y="193"/>
                  </a:cubicBezTo>
                  <a:cubicBezTo>
                    <a:pt x="439" y="194"/>
                    <a:pt x="440" y="193"/>
                    <a:pt x="441" y="194"/>
                  </a:cubicBezTo>
                  <a:cubicBezTo>
                    <a:pt x="441" y="195"/>
                    <a:pt x="441" y="196"/>
                    <a:pt x="441" y="195"/>
                  </a:cubicBezTo>
                  <a:cubicBezTo>
                    <a:pt x="441" y="194"/>
                    <a:pt x="441" y="194"/>
                    <a:pt x="441" y="194"/>
                  </a:cubicBezTo>
                  <a:cubicBezTo>
                    <a:pt x="441" y="194"/>
                    <a:pt x="441" y="192"/>
                    <a:pt x="442" y="192"/>
                  </a:cubicBezTo>
                  <a:cubicBezTo>
                    <a:pt x="443" y="192"/>
                    <a:pt x="443" y="194"/>
                    <a:pt x="443" y="194"/>
                  </a:cubicBezTo>
                  <a:cubicBezTo>
                    <a:pt x="444" y="196"/>
                    <a:pt x="444" y="196"/>
                    <a:pt x="445" y="196"/>
                  </a:cubicBezTo>
                  <a:cubicBezTo>
                    <a:pt x="446" y="195"/>
                    <a:pt x="446" y="195"/>
                    <a:pt x="446" y="194"/>
                  </a:cubicBezTo>
                  <a:cubicBezTo>
                    <a:pt x="446" y="193"/>
                    <a:pt x="447" y="193"/>
                    <a:pt x="447" y="192"/>
                  </a:cubicBezTo>
                  <a:cubicBezTo>
                    <a:pt x="448" y="190"/>
                    <a:pt x="448" y="188"/>
                    <a:pt x="448" y="187"/>
                  </a:cubicBezTo>
                  <a:close/>
                  <a:moveTo>
                    <a:pt x="351" y="322"/>
                  </a:moveTo>
                  <a:cubicBezTo>
                    <a:pt x="352" y="322"/>
                    <a:pt x="353" y="319"/>
                    <a:pt x="354" y="319"/>
                  </a:cubicBezTo>
                  <a:cubicBezTo>
                    <a:pt x="356" y="319"/>
                    <a:pt x="354" y="324"/>
                    <a:pt x="354" y="326"/>
                  </a:cubicBezTo>
                  <a:cubicBezTo>
                    <a:pt x="357" y="325"/>
                    <a:pt x="356" y="323"/>
                    <a:pt x="357" y="321"/>
                  </a:cubicBezTo>
                  <a:cubicBezTo>
                    <a:pt x="357" y="319"/>
                    <a:pt x="358" y="317"/>
                    <a:pt x="359" y="316"/>
                  </a:cubicBezTo>
                  <a:cubicBezTo>
                    <a:pt x="359" y="314"/>
                    <a:pt x="361" y="313"/>
                    <a:pt x="363" y="312"/>
                  </a:cubicBezTo>
                  <a:cubicBezTo>
                    <a:pt x="365" y="311"/>
                    <a:pt x="365" y="308"/>
                    <a:pt x="367" y="306"/>
                  </a:cubicBezTo>
                  <a:cubicBezTo>
                    <a:pt x="368" y="305"/>
                    <a:pt x="370" y="304"/>
                    <a:pt x="372" y="303"/>
                  </a:cubicBezTo>
                  <a:cubicBezTo>
                    <a:pt x="373" y="302"/>
                    <a:pt x="374" y="301"/>
                    <a:pt x="374" y="299"/>
                  </a:cubicBezTo>
                  <a:cubicBezTo>
                    <a:pt x="375" y="298"/>
                    <a:pt x="376" y="297"/>
                    <a:pt x="377" y="295"/>
                  </a:cubicBezTo>
                  <a:cubicBezTo>
                    <a:pt x="377" y="294"/>
                    <a:pt x="377" y="294"/>
                    <a:pt x="377" y="293"/>
                  </a:cubicBezTo>
                  <a:cubicBezTo>
                    <a:pt x="377" y="292"/>
                    <a:pt x="378" y="291"/>
                    <a:pt x="378" y="290"/>
                  </a:cubicBezTo>
                  <a:cubicBezTo>
                    <a:pt x="379" y="288"/>
                    <a:pt x="377" y="288"/>
                    <a:pt x="377" y="286"/>
                  </a:cubicBezTo>
                  <a:cubicBezTo>
                    <a:pt x="378" y="285"/>
                    <a:pt x="378" y="285"/>
                    <a:pt x="378" y="284"/>
                  </a:cubicBezTo>
                  <a:cubicBezTo>
                    <a:pt x="378" y="283"/>
                    <a:pt x="378" y="283"/>
                    <a:pt x="378" y="282"/>
                  </a:cubicBezTo>
                  <a:cubicBezTo>
                    <a:pt x="377" y="280"/>
                    <a:pt x="377" y="280"/>
                    <a:pt x="375" y="279"/>
                  </a:cubicBezTo>
                  <a:cubicBezTo>
                    <a:pt x="376" y="277"/>
                    <a:pt x="377" y="276"/>
                    <a:pt x="378" y="275"/>
                  </a:cubicBezTo>
                  <a:cubicBezTo>
                    <a:pt x="379" y="275"/>
                    <a:pt x="381" y="275"/>
                    <a:pt x="381" y="274"/>
                  </a:cubicBezTo>
                  <a:cubicBezTo>
                    <a:pt x="382" y="274"/>
                    <a:pt x="381" y="273"/>
                    <a:pt x="382" y="272"/>
                  </a:cubicBezTo>
                  <a:cubicBezTo>
                    <a:pt x="382" y="271"/>
                    <a:pt x="386" y="271"/>
                    <a:pt x="387" y="271"/>
                  </a:cubicBezTo>
                  <a:cubicBezTo>
                    <a:pt x="389" y="271"/>
                    <a:pt x="391" y="272"/>
                    <a:pt x="393" y="274"/>
                  </a:cubicBezTo>
                  <a:cubicBezTo>
                    <a:pt x="394" y="275"/>
                    <a:pt x="396" y="276"/>
                    <a:pt x="396" y="274"/>
                  </a:cubicBezTo>
                  <a:cubicBezTo>
                    <a:pt x="396" y="272"/>
                    <a:pt x="395" y="271"/>
                    <a:pt x="394" y="270"/>
                  </a:cubicBezTo>
                  <a:cubicBezTo>
                    <a:pt x="394" y="269"/>
                    <a:pt x="394" y="269"/>
                    <a:pt x="393" y="268"/>
                  </a:cubicBezTo>
                  <a:cubicBezTo>
                    <a:pt x="392" y="268"/>
                    <a:pt x="392" y="267"/>
                    <a:pt x="391" y="267"/>
                  </a:cubicBezTo>
                  <a:cubicBezTo>
                    <a:pt x="389" y="267"/>
                    <a:pt x="386" y="268"/>
                    <a:pt x="384" y="268"/>
                  </a:cubicBezTo>
                  <a:cubicBezTo>
                    <a:pt x="382" y="269"/>
                    <a:pt x="380" y="270"/>
                    <a:pt x="379" y="270"/>
                  </a:cubicBezTo>
                  <a:cubicBezTo>
                    <a:pt x="376" y="271"/>
                    <a:pt x="375" y="270"/>
                    <a:pt x="377" y="268"/>
                  </a:cubicBezTo>
                  <a:cubicBezTo>
                    <a:pt x="375" y="268"/>
                    <a:pt x="371" y="269"/>
                    <a:pt x="370" y="271"/>
                  </a:cubicBezTo>
                  <a:cubicBezTo>
                    <a:pt x="368" y="272"/>
                    <a:pt x="370" y="273"/>
                    <a:pt x="369" y="274"/>
                  </a:cubicBezTo>
                  <a:cubicBezTo>
                    <a:pt x="368" y="275"/>
                    <a:pt x="367" y="275"/>
                    <a:pt x="366" y="275"/>
                  </a:cubicBezTo>
                  <a:cubicBezTo>
                    <a:pt x="365" y="276"/>
                    <a:pt x="366" y="276"/>
                    <a:pt x="365" y="277"/>
                  </a:cubicBezTo>
                  <a:cubicBezTo>
                    <a:pt x="365" y="278"/>
                    <a:pt x="363" y="280"/>
                    <a:pt x="365" y="281"/>
                  </a:cubicBezTo>
                  <a:cubicBezTo>
                    <a:pt x="363" y="283"/>
                    <a:pt x="361" y="281"/>
                    <a:pt x="360" y="284"/>
                  </a:cubicBezTo>
                  <a:cubicBezTo>
                    <a:pt x="359" y="286"/>
                    <a:pt x="359" y="288"/>
                    <a:pt x="356" y="288"/>
                  </a:cubicBezTo>
                  <a:cubicBezTo>
                    <a:pt x="356" y="287"/>
                    <a:pt x="356" y="287"/>
                    <a:pt x="356" y="287"/>
                  </a:cubicBezTo>
                  <a:cubicBezTo>
                    <a:pt x="354" y="288"/>
                    <a:pt x="354" y="290"/>
                    <a:pt x="353" y="292"/>
                  </a:cubicBezTo>
                  <a:cubicBezTo>
                    <a:pt x="351" y="293"/>
                    <a:pt x="350" y="295"/>
                    <a:pt x="349" y="296"/>
                  </a:cubicBezTo>
                  <a:cubicBezTo>
                    <a:pt x="348" y="298"/>
                    <a:pt x="348" y="300"/>
                    <a:pt x="349" y="301"/>
                  </a:cubicBezTo>
                  <a:cubicBezTo>
                    <a:pt x="349" y="303"/>
                    <a:pt x="351" y="303"/>
                    <a:pt x="350" y="305"/>
                  </a:cubicBezTo>
                  <a:cubicBezTo>
                    <a:pt x="350" y="305"/>
                    <a:pt x="349" y="305"/>
                    <a:pt x="348" y="304"/>
                  </a:cubicBezTo>
                  <a:cubicBezTo>
                    <a:pt x="348" y="301"/>
                    <a:pt x="341" y="305"/>
                    <a:pt x="345" y="307"/>
                  </a:cubicBezTo>
                  <a:cubicBezTo>
                    <a:pt x="346" y="308"/>
                    <a:pt x="345" y="308"/>
                    <a:pt x="345" y="309"/>
                  </a:cubicBezTo>
                  <a:cubicBezTo>
                    <a:pt x="345" y="310"/>
                    <a:pt x="345" y="311"/>
                    <a:pt x="345" y="311"/>
                  </a:cubicBezTo>
                  <a:cubicBezTo>
                    <a:pt x="345" y="312"/>
                    <a:pt x="343" y="311"/>
                    <a:pt x="342" y="312"/>
                  </a:cubicBezTo>
                  <a:cubicBezTo>
                    <a:pt x="342" y="313"/>
                    <a:pt x="343" y="315"/>
                    <a:pt x="343" y="315"/>
                  </a:cubicBezTo>
                  <a:cubicBezTo>
                    <a:pt x="343" y="316"/>
                    <a:pt x="344" y="317"/>
                    <a:pt x="344" y="318"/>
                  </a:cubicBezTo>
                  <a:cubicBezTo>
                    <a:pt x="345" y="319"/>
                    <a:pt x="344" y="320"/>
                    <a:pt x="344" y="321"/>
                  </a:cubicBezTo>
                  <a:cubicBezTo>
                    <a:pt x="346" y="322"/>
                    <a:pt x="349" y="323"/>
                    <a:pt x="351" y="322"/>
                  </a:cubicBezTo>
                  <a:close/>
                  <a:moveTo>
                    <a:pt x="323" y="344"/>
                  </a:moveTo>
                  <a:cubicBezTo>
                    <a:pt x="324" y="344"/>
                    <a:pt x="325" y="344"/>
                    <a:pt x="325" y="343"/>
                  </a:cubicBezTo>
                  <a:cubicBezTo>
                    <a:pt x="326" y="343"/>
                    <a:pt x="326" y="343"/>
                    <a:pt x="326" y="342"/>
                  </a:cubicBezTo>
                  <a:cubicBezTo>
                    <a:pt x="327" y="342"/>
                    <a:pt x="327" y="342"/>
                    <a:pt x="328" y="342"/>
                  </a:cubicBezTo>
                  <a:cubicBezTo>
                    <a:pt x="329" y="341"/>
                    <a:pt x="330" y="340"/>
                    <a:pt x="331" y="339"/>
                  </a:cubicBezTo>
                  <a:cubicBezTo>
                    <a:pt x="331" y="338"/>
                    <a:pt x="331" y="337"/>
                    <a:pt x="332" y="337"/>
                  </a:cubicBezTo>
                  <a:cubicBezTo>
                    <a:pt x="334" y="336"/>
                    <a:pt x="335" y="337"/>
                    <a:pt x="337" y="337"/>
                  </a:cubicBezTo>
                  <a:cubicBezTo>
                    <a:pt x="338" y="336"/>
                    <a:pt x="339" y="336"/>
                    <a:pt x="340" y="335"/>
                  </a:cubicBezTo>
                  <a:cubicBezTo>
                    <a:pt x="341" y="334"/>
                    <a:pt x="343" y="334"/>
                    <a:pt x="345" y="333"/>
                  </a:cubicBezTo>
                  <a:cubicBezTo>
                    <a:pt x="346" y="332"/>
                    <a:pt x="347" y="331"/>
                    <a:pt x="347" y="330"/>
                  </a:cubicBezTo>
                  <a:cubicBezTo>
                    <a:pt x="347" y="329"/>
                    <a:pt x="345" y="329"/>
                    <a:pt x="344" y="330"/>
                  </a:cubicBezTo>
                  <a:cubicBezTo>
                    <a:pt x="343" y="331"/>
                    <a:pt x="343" y="332"/>
                    <a:pt x="341" y="332"/>
                  </a:cubicBezTo>
                  <a:cubicBezTo>
                    <a:pt x="341" y="331"/>
                    <a:pt x="342" y="331"/>
                    <a:pt x="342" y="330"/>
                  </a:cubicBezTo>
                  <a:cubicBezTo>
                    <a:pt x="341" y="329"/>
                    <a:pt x="341" y="329"/>
                    <a:pt x="340" y="329"/>
                  </a:cubicBezTo>
                  <a:cubicBezTo>
                    <a:pt x="340" y="328"/>
                    <a:pt x="338" y="328"/>
                    <a:pt x="337" y="328"/>
                  </a:cubicBezTo>
                  <a:cubicBezTo>
                    <a:pt x="336" y="329"/>
                    <a:pt x="337" y="330"/>
                    <a:pt x="335" y="330"/>
                  </a:cubicBezTo>
                  <a:cubicBezTo>
                    <a:pt x="334" y="330"/>
                    <a:pt x="333" y="330"/>
                    <a:pt x="332" y="331"/>
                  </a:cubicBezTo>
                  <a:cubicBezTo>
                    <a:pt x="332" y="331"/>
                    <a:pt x="332" y="332"/>
                    <a:pt x="332" y="333"/>
                  </a:cubicBezTo>
                  <a:cubicBezTo>
                    <a:pt x="332" y="334"/>
                    <a:pt x="333" y="335"/>
                    <a:pt x="332" y="335"/>
                  </a:cubicBezTo>
                  <a:cubicBezTo>
                    <a:pt x="331" y="336"/>
                    <a:pt x="330" y="336"/>
                    <a:pt x="329" y="336"/>
                  </a:cubicBezTo>
                  <a:cubicBezTo>
                    <a:pt x="327" y="337"/>
                    <a:pt x="327" y="338"/>
                    <a:pt x="325" y="339"/>
                  </a:cubicBezTo>
                  <a:cubicBezTo>
                    <a:pt x="325" y="340"/>
                    <a:pt x="324" y="341"/>
                    <a:pt x="324" y="341"/>
                  </a:cubicBezTo>
                  <a:cubicBezTo>
                    <a:pt x="323" y="342"/>
                    <a:pt x="323" y="342"/>
                    <a:pt x="322" y="343"/>
                  </a:cubicBezTo>
                  <a:cubicBezTo>
                    <a:pt x="322" y="343"/>
                    <a:pt x="322" y="344"/>
                    <a:pt x="323" y="344"/>
                  </a:cubicBezTo>
                  <a:close/>
                  <a:moveTo>
                    <a:pt x="336" y="291"/>
                  </a:moveTo>
                  <a:cubicBezTo>
                    <a:pt x="337" y="291"/>
                    <a:pt x="337" y="291"/>
                    <a:pt x="338" y="291"/>
                  </a:cubicBezTo>
                  <a:cubicBezTo>
                    <a:pt x="338" y="291"/>
                    <a:pt x="339" y="291"/>
                    <a:pt x="340" y="291"/>
                  </a:cubicBezTo>
                  <a:cubicBezTo>
                    <a:pt x="340" y="291"/>
                    <a:pt x="339" y="292"/>
                    <a:pt x="340" y="293"/>
                  </a:cubicBezTo>
                  <a:cubicBezTo>
                    <a:pt x="340" y="294"/>
                    <a:pt x="342" y="291"/>
                    <a:pt x="343" y="290"/>
                  </a:cubicBezTo>
                  <a:cubicBezTo>
                    <a:pt x="344" y="289"/>
                    <a:pt x="347" y="288"/>
                    <a:pt x="346" y="286"/>
                  </a:cubicBezTo>
                  <a:cubicBezTo>
                    <a:pt x="345" y="286"/>
                    <a:pt x="344" y="286"/>
                    <a:pt x="343" y="286"/>
                  </a:cubicBezTo>
                  <a:cubicBezTo>
                    <a:pt x="342" y="286"/>
                    <a:pt x="341" y="286"/>
                    <a:pt x="340" y="286"/>
                  </a:cubicBezTo>
                  <a:cubicBezTo>
                    <a:pt x="340" y="287"/>
                    <a:pt x="339" y="287"/>
                    <a:pt x="338" y="287"/>
                  </a:cubicBezTo>
                  <a:cubicBezTo>
                    <a:pt x="337" y="287"/>
                    <a:pt x="336" y="287"/>
                    <a:pt x="336" y="288"/>
                  </a:cubicBezTo>
                  <a:cubicBezTo>
                    <a:pt x="335" y="289"/>
                    <a:pt x="336" y="291"/>
                    <a:pt x="336" y="291"/>
                  </a:cubicBezTo>
                  <a:close/>
                  <a:moveTo>
                    <a:pt x="330" y="292"/>
                  </a:moveTo>
                  <a:cubicBezTo>
                    <a:pt x="329" y="292"/>
                    <a:pt x="328" y="292"/>
                    <a:pt x="328" y="293"/>
                  </a:cubicBezTo>
                  <a:cubicBezTo>
                    <a:pt x="327" y="293"/>
                    <a:pt x="327" y="294"/>
                    <a:pt x="327" y="295"/>
                  </a:cubicBezTo>
                  <a:cubicBezTo>
                    <a:pt x="327" y="296"/>
                    <a:pt x="328" y="296"/>
                    <a:pt x="329" y="296"/>
                  </a:cubicBezTo>
                  <a:cubicBezTo>
                    <a:pt x="330" y="296"/>
                    <a:pt x="331" y="296"/>
                    <a:pt x="332" y="296"/>
                  </a:cubicBezTo>
                  <a:cubicBezTo>
                    <a:pt x="332" y="296"/>
                    <a:pt x="333" y="295"/>
                    <a:pt x="333" y="295"/>
                  </a:cubicBezTo>
                  <a:cubicBezTo>
                    <a:pt x="334" y="295"/>
                    <a:pt x="334" y="295"/>
                    <a:pt x="334" y="294"/>
                  </a:cubicBezTo>
                  <a:cubicBezTo>
                    <a:pt x="335" y="294"/>
                    <a:pt x="336" y="294"/>
                    <a:pt x="335" y="293"/>
                  </a:cubicBezTo>
                  <a:cubicBezTo>
                    <a:pt x="335" y="293"/>
                    <a:pt x="334" y="293"/>
                    <a:pt x="334" y="293"/>
                  </a:cubicBezTo>
                  <a:cubicBezTo>
                    <a:pt x="333" y="293"/>
                    <a:pt x="333" y="292"/>
                    <a:pt x="332" y="292"/>
                  </a:cubicBezTo>
                  <a:cubicBezTo>
                    <a:pt x="331" y="293"/>
                    <a:pt x="330" y="293"/>
                    <a:pt x="330" y="292"/>
                  </a:cubicBezTo>
                  <a:close/>
                  <a:moveTo>
                    <a:pt x="251" y="312"/>
                  </a:moveTo>
                  <a:cubicBezTo>
                    <a:pt x="251" y="313"/>
                    <a:pt x="251" y="313"/>
                    <a:pt x="251" y="313"/>
                  </a:cubicBezTo>
                  <a:cubicBezTo>
                    <a:pt x="251" y="314"/>
                    <a:pt x="251" y="315"/>
                    <a:pt x="251" y="316"/>
                  </a:cubicBezTo>
                  <a:cubicBezTo>
                    <a:pt x="251" y="318"/>
                    <a:pt x="252" y="318"/>
                    <a:pt x="253" y="319"/>
                  </a:cubicBezTo>
                  <a:cubicBezTo>
                    <a:pt x="254" y="320"/>
                    <a:pt x="255" y="321"/>
                    <a:pt x="256" y="322"/>
                  </a:cubicBezTo>
                  <a:cubicBezTo>
                    <a:pt x="257" y="323"/>
                    <a:pt x="257" y="324"/>
                    <a:pt x="258" y="325"/>
                  </a:cubicBezTo>
                  <a:cubicBezTo>
                    <a:pt x="260" y="326"/>
                    <a:pt x="261" y="326"/>
                    <a:pt x="262" y="324"/>
                  </a:cubicBezTo>
                  <a:cubicBezTo>
                    <a:pt x="263" y="322"/>
                    <a:pt x="264" y="321"/>
                    <a:pt x="266" y="320"/>
                  </a:cubicBezTo>
                  <a:cubicBezTo>
                    <a:pt x="268" y="318"/>
                    <a:pt x="267" y="317"/>
                    <a:pt x="266" y="315"/>
                  </a:cubicBezTo>
                  <a:cubicBezTo>
                    <a:pt x="266" y="314"/>
                    <a:pt x="266" y="312"/>
                    <a:pt x="265" y="311"/>
                  </a:cubicBezTo>
                  <a:cubicBezTo>
                    <a:pt x="264" y="310"/>
                    <a:pt x="262" y="311"/>
                    <a:pt x="260" y="311"/>
                  </a:cubicBezTo>
                  <a:cubicBezTo>
                    <a:pt x="259" y="310"/>
                    <a:pt x="258" y="310"/>
                    <a:pt x="257" y="310"/>
                  </a:cubicBezTo>
                  <a:cubicBezTo>
                    <a:pt x="256" y="309"/>
                    <a:pt x="254" y="309"/>
                    <a:pt x="253" y="310"/>
                  </a:cubicBezTo>
                  <a:cubicBezTo>
                    <a:pt x="252" y="310"/>
                    <a:pt x="252" y="310"/>
                    <a:pt x="251" y="310"/>
                  </a:cubicBezTo>
                  <a:cubicBezTo>
                    <a:pt x="251" y="311"/>
                    <a:pt x="251" y="312"/>
                    <a:pt x="251" y="312"/>
                  </a:cubicBezTo>
                  <a:close/>
                  <a:moveTo>
                    <a:pt x="2" y="340"/>
                  </a:moveTo>
                  <a:cubicBezTo>
                    <a:pt x="2" y="340"/>
                    <a:pt x="3" y="340"/>
                    <a:pt x="3" y="340"/>
                  </a:cubicBezTo>
                  <a:cubicBezTo>
                    <a:pt x="4" y="341"/>
                    <a:pt x="4" y="341"/>
                    <a:pt x="4" y="340"/>
                  </a:cubicBezTo>
                  <a:cubicBezTo>
                    <a:pt x="5" y="340"/>
                    <a:pt x="5" y="339"/>
                    <a:pt x="6" y="338"/>
                  </a:cubicBezTo>
                  <a:cubicBezTo>
                    <a:pt x="6" y="337"/>
                    <a:pt x="7" y="335"/>
                    <a:pt x="7" y="333"/>
                  </a:cubicBezTo>
                  <a:cubicBezTo>
                    <a:pt x="7" y="333"/>
                    <a:pt x="8" y="331"/>
                    <a:pt x="7" y="330"/>
                  </a:cubicBezTo>
                  <a:cubicBezTo>
                    <a:pt x="7" y="330"/>
                    <a:pt x="6" y="330"/>
                    <a:pt x="6" y="331"/>
                  </a:cubicBezTo>
                  <a:cubicBezTo>
                    <a:pt x="5" y="332"/>
                    <a:pt x="4" y="332"/>
                    <a:pt x="4" y="333"/>
                  </a:cubicBezTo>
                  <a:cubicBezTo>
                    <a:pt x="3" y="334"/>
                    <a:pt x="2" y="335"/>
                    <a:pt x="1" y="336"/>
                  </a:cubicBezTo>
                  <a:cubicBezTo>
                    <a:pt x="1" y="336"/>
                    <a:pt x="0" y="336"/>
                    <a:pt x="0" y="337"/>
                  </a:cubicBezTo>
                  <a:cubicBezTo>
                    <a:pt x="0" y="337"/>
                    <a:pt x="0" y="338"/>
                    <a:pt x="0" y="339"/>
                  </a:cubicBezTo>
                  <a:cubicBezTo>
                    <a:pt x="0" y="339"/>
                    <a:pt x="1" y="339"/>
                    <a:pt x="2" y="340"/>
                  </a:cubicBezTo>
                  <a:close/>
                  <a:moveTo>
                    <a:pt x="18" y="322"/>
                  </a:moveTo>
                  <a:cubicBezTo>
                    <a:pt x="19" y="322"/>
                    <a:pt x="20" y="321"/>
                    <a:pt x="20" y="321"/>
                  </a:cubicBezTo>
                  <a:cubicBezTo>
                    <a:pt x="21" y="320"/>
                    <a:pt x="22" y="320"/>
                    <a:pt x="23" y="319"/>
                  </a:cubicBezTo>
                  <a:cubicBezTo>
                    <a:pt x="24" y="318"/>
                    <a:pt x="24" y="318"/>
                    <a:pt x="25" y="318"/>
                  </a:cubicBezTo>
                  <a:cubicBezTo>
                    <a:pt x="26" y="318"/>
                    <a:pt x="26" y="317"/>
                    <a:pt x="27" y="316"/>
                  </a:cubicBezTo>
                  <a:cubicBezTo>
                    <a:pt x="27" y="316"/>
                    <a:pt x="28" y="316"/>
                    <a:pt x="29" y="316"/>
                  </a:cubicBezTo>
                  <a:cubicBezTo>
                    <a:pt x="30" y="316"/>
                    <a:pt x="31" y="315"/>
                    <a:pt x="32" y="315"/>
                  </a:cubicBezTo>
                  <a:cubicBezTo>
                    <a:pt x="33" y="315"/>
                    <a:pt x="35" y="315"/>
                    <a:pt x="37" y="315"/>
                  </a:cubicBezTo>
                  <a:cubicBezTo>
                    <a:pt x="38" y="315"/>
                    <a:pt x="39" y="315"/>
                    <a:pt x="40" y="316"/>
                  </a:cubicBezTo>
                  <a:cubicBezTo>
                    <a:pt x="40" y="317"/>
                    <a:pt x="40" y="317"/>
                    <a:pt x="40" y="317"/>
                  </a:cubicBezTo>
                  <a:cubicBezTo>
                    <a:pt x="41" y="317"/>
                    <a:pt x="42" y="317"/>
                    <a:pt x="42" y="317"/>
                  </a:cubicBezTo>
                  <a:cubicBezTo>
                    <a:pt x="44" y="317"/>
                    <a:pt x="46" y="317"/>
                    <a:pt x="48" y="317"/>
                  </a:cubicBezTo>
                  <a:cubicBezTo>
                    <a:pt x="50" y="317"/>
                    <a:pt x="51" y="316"/>
                    <a:pt x="53" y="317"/>
                  </a:cubicBezTo>
                  <a:cubicBezTo>
                    <a:pt x="54" y="317"/>
                    <a:pt x="54" y="317"/>
                    <a:pt x="55" y="317"/>
                  </a:cubicBezTo>
                  <a:cubicBezTo>
                    <a:pt x="56" y="318"/>
                    <a:pt x="57" y="318"/>
                    <a:pt x="57" y="318"/>
                  </a:cubicBezTo>
                  <a:cubicBezTo>
                    <a:pt x="59" y="319"/>
                    <a:pt x="60" y="319"/>
                    <a:pt x="60" y="318"/>
                  </a:cubicBezTo>
                  <a:cubicBezTo>
                    <a:pt x="61" y="315"/>
                    <a:pt x="63" y="312"/>
                    <a:pt x="65" y="311"/>
                  </a:cubicBezTo>
                  <a:cubicBezTo>
                    <a:pt x="67" y="309"/>
                    <a:pt x="70" y="307"/>
                    <a:pt x="72" y="307"/>
                  </a:cubicBezTo>
                  <a:cubicBezTo>
                    <a:pt x="74" y="306"/>
                    <a:pt x="76" y="305"/>
                    <a:pt x="78" y="306"/>
                  </a:cubicBezTo>
                  <a:cubicBezTo>
                    <a:pt x="79" y="306"/>
                    <a:pt x="82" y="306"/>
                    <a:pt x="81" y="305"/>
                  </a:cubicBezTo>
                  <a:cubicBezTo>
                    <a:pt x="81" y="304"/>
                    <a:pt x="81" y="302"/>
                    <a:pt x="80" y="301"/>
                  </a:cubicBezTo>
                  <a:cubicBezTo>
                    <a:pt x="80" y="301"/>
                    <a:pt x="80" y="300"/>
                    <a:pt x="79" y="300"/>
                  </a:cubicBezTo>
                  <a:cubicBezTo>
                    <a:pt x="78" y="300"/>
                    <a:pt x="77" y="300"/>
                    <a:pt x="76" y="300"/>
                  </a:cubicBezTo>
                  <a:cubicBezTo>
                    <a:pt x="75" y="301"/>
                    <a:pt x="74" y="301"/>
                    <a:pt x="74" y="300"/>
                  </a:cubicBezTo>
                  <a:cubicBezTo>
                    <a:pt x="73" y="299"/>
                    <a:pt x="73" y="299"/>
                    <a:pt x="73" y="299"/>
                  </a:cubicBezTo>
                  <a:cubicBezTo>
                    <a:pt x="73" y="299"/>
                    <a:pt x="73" y="298"/>
                    <a:pt x="72" y="298"/>
                  </a:cubicBezTo>
                  <a:cubicBezTo>
                    <a:pt x="72" y="298"/>
                    <a:pt x="71" y="298"/>
                    <a:pt x="71" y="297"/>
                  </a:cubicBezTo>
                  <a:cubicBezTo>
                    <a:pt x="70" y="297"/>
                    <a:pt x="69" y="296"/>
                    <a:pt x="69" y="295"/>
                  </a:cubicBezTo>
                  <a:cubicBezTo>
                    <a:pt x="68" y="294"/>
                    <a:pt x="69" y="294"/>
                    <a:pt x="67" y="294"/>
                  </a:cubicBezTo>
                  <a:cubicBezTo>
                    <a:pt x="67" y="295"/>
                    <a:pt x="66" y="295"/>
                    <a:pt x="65" y="295"/>
                  </a:cubicBezTo>
                  <a:cubicBezTo>
                    <a:pt x="63" y="295"/>
                    <a:pt x="62" y="295"/>
                    <a:pt x="61" y="296"/>
                  </a:cubicBezTo>
                  <a:cubicBezTo>
                    <a:pt x="60" y="296"/>
                    <a:pt x="59" y="296"/>
                    <a:pt x="58" y="297"/>
                  </a:cubicBezTo>
                  <a:cubicBezTo>
                    <a:pt x="58" y="298"/>
                    <a:pt x="58" y="298"/>
                    <a:pt x="58" y="298"/>
                  </a:cubicBezTo>
                  <a:cubicBezTo>
                    <a:pt x="57" y="298"/>
                    <a:pt x="56" y="298"/>
                    <a:pt x="55" y="298"/>
                  </a:cubicBezTo>
                  <a:cubicBezTo>
                    <a:pt x="54" y="298"/>
                    <a:pt x="53" y="299"/>
                    <a:pt x="53" y="299"/>
                  </a:cubicBezTo>
                  <a:cubicBezTo>
                    <a:pt x="52" y="300"/>
                    <a:pt x="52" y="301"/>
                    <a:pt x="51" y="301"/>
                  </a:cubicBezTo>
                  <a:cubicBezTo>
                    <a:pt x="50" y="303"/>
                    <a:pt x="47" y="302"/>
                    <a:pt x="45" y="302"/>
                  </a:cubicBezTo>
                  <a:cubicBezTo>
                    <a:pt x="44" y="303"/>
                    <a:pt x="44" y="303"/>
                    <a:pt x="43" y="304"/>
                  </a:cubicBezTo>
                  <a:cubicBezTo>
                    <a:pt x="43" y="304"/>
                    <a:pt x="42" y="304"/>
                    <a:pt x="41" y="304"/>
                  </a:cubicBezTo>
                  <a:cubicBezTo>
                    <a:pt x="41" y="304"/>
                    <a:pt x="40" y="304"/>
                    <a:pt x="40" y="304"/>
                  </a:cubicBezTo>
                  <a:cubicBezTo>
                    <a:pt x="39" y="304"/>
                    <a:pt x="39" y="304"/>
                    <a:pt x="38" y="304"/>
                  </a:cubicBezTo>
                  <a:cubicBezTo>
                    <a:pt x="37" y="303"/>
                    <a:pt x="37" y="303"/>
                    <a:pt x="36" y="303"/>
                  </a:cubicBezTo>
                  <a:cubicBezTo>
                    <a:pt x="36" y="303"/>
                    <a:pt x="35" y="303"/>
                    <a:pt x="35" y="303"/>
                  </a:cubicBezTo>
                  <a:cubicBezTo>
                    <a:pt x="34" y="302"/>
                    <a:pt x="33" y="302"/>
                    <a:pt x="32" y="302"/>
                  </a:cubicBezTo>
                  <a:cubicBezTo>
                    <a:pt x="31" y="302"/>
                    <a:pt x="31" y="302"/>
                    <a:pt x="30" y="302"/>
                  </a:cubicBezTo>
                  <a:cubicBezTo>
                    <a:pt x="29" y="301"/>
                    <a:pt x="29" y="301"/>
                    <a:pt x="29" y="301"/>
                  </a:cubicBezTo>
                  <a:cubicBezTo>
                    <a:pt x="29" y="300"/>
                    <a:pt x="28" y="301"/>
                    <a:pt x="27" y="301"/>
                  </a:cubicBezTo>
                  <a:cubicBezTo>
                    <a:pt x="26" y="302"/>
                    <a:pt x="26" y="303"/>
                    <a:pt x="26" y="304"/>
                  </a:cubicBezTo>
                  <a:cubicBezTo>
                    <a:pt x="25" y="305"/>
                    <a:pt x="25" y="305"/>
                    <a:pt x="25" y="306"/>
                  </a:cubicBezTo>
                  <a:cubicBezTo>
                    <a:pt x="24" y="306"/>
                    <a:pt x="23" y="306"/>
                    <a:pt x="22" y="307"/>
                  </a:cubicBezTo>
                  <a:cubicBezTo>
                    <a:pt x="22" y="308"/>
                    <a:pt x="22" y="308"/>
                    <a:pt x="22" y="308"/>
                  </a:cubicBezTo>
                  <a:cubicBezTo>
                    <a:pt x="22" y="309"/>
                    <a:pt x="22" y="309"/>
                    <a:pt x="22" y="309"/>
                  </a:cubicBezTo>
                  <a:cubicBezTo>
                    <a:pt x="22" y="310"/>
                    <a:pt x="22" y="310"/>
                    <a:pt x="21" y="310"/>
                  </a:cubicBezTo>
                  <a:cubicBezTo>
                    <a:pt x="21" y="311"/>
                    <a:pt x="21" y="311"/>
                    <a:pt x="20" y="312"/>
                  </a:cubicBezTo>
                  <a:cubicBezTo>
                    <a:pt x="20" y="312"/>
                    <a:pt x="19" y="313"/>
                    <a:pt x="18" y="313"/>
                  </a:cubicBezTo>
                  <a:cubicBezTo>
                    <a:pt x="18" y="314"/>
                    <a:pt x="18" y="314"/>
                    <a:pt x="19" y="315"/>
                  </a:cubicBezTo>
                  <a:cubicBezTo>
                    <a:pt x="19" y="315"/>
                    <a:pt x="20" y="316"/>
                    <a:pt x="20" y="316"/>
                  </a:cubicBezTo>
                  <a:cubicBezTo>
                    <a:pt x="20" y="317"/>
                    <a:pt x="19" y="318"/>
                    <a:pt x="19" y="318"/>
                  </a:cubicBezTo>
                  <a:cubicBezTo>
                    <a:pt x="19" y="319"/>
                    <a:pt x="18" y="319"/>
                    <a:pt x="18" y="320"/>
                  </a:cubicBezTo>
                  <a:cubicBezTo>
                    <a:pt x="17" y="320"/>
                    <a:pt x="17" y="322"/>
                    <a:pt x="18" y="322"/>
                  </a:cubicBezTo>
                  <a:close/>
                  <a:moveTo>
                    <a:pt x="136" y="332"/>
                  </a:moveTo>
                  <a:cubicBezTo>
                    <a:pt x="135" y="332"/>
                    <a:pt x="135" y="331"/>
                    <a:pt x="134" y="331"/>
                  </a:cubicBezTo>
                  <a:cubicBezTo>
                    <a:pt x="134" y="331"/>
                    <a:pt x="133" y="332"/>
                    <a:pt x="133" y="332"/>
                  </a:cubicBezTo>
                  <a:cubicBezTo>
                    <a:pt x="132" y="332"/>
                    <a:pt x="132" y="333"/>
                    <a:pt x="131" y="333"/>
                  </a:cubicBezTo>
                  <a:cubicBezTo>
                    <a:pt x="131" y="334"/>
                    <a:pt x="130" y="334"/>
                    <a:pt x="130" y="335"/>
                  </a:cubicBezTo>
                  <a:cubicBezTo>
                    <a:pt x="130" y="335"/>
                    <a:pt x="130" y="336"/>
                    <a:pt x="131" y="336"/>
                  </a:cubicBezTo>
                  <a:cubicBezTo>
                    <a:pt x="132" y="337"/>
                    <a:pt x="133" y="337"/>
                    <a:pt x="134" y="336"/>
                  </a:cubicBezTo>
                  <a:cubicBezTo>
                    <a:pt x="135" y="336"/>
                    <a:pt x="139" y="336"/>
                    <a:pt x="138" y="334"/>
                  </a:cubicBezTo>
                  <a:cubicBezTo>
                    <a:pt x="138" y="333"/>
                    <a:pt x="137" y="332"/>
                    <a:pt x="136" y="332"/>
                  </a:cubicBezTo>
                  <a:close/>
                  <a:moveTo>
                    <a:pt x="161" y="331"/>
                  </a:moveTo>
                  <a:cubicBezTo>
                    <a:pt x="161" y="330"/>
                    <a:pt x="159" y="330"/>
                    <a:pt x="158" y="330"/>
                  </a:cubicBezTo>
                  <a:cubicBezTo>
                    <a:pt x="156" y="330"/>
                    <a:pt x="155" y="331"/>
                    <a:pt x="153" y="331"/>
                  </a:cubicBezTo>
                  <a:cubicBezTo>
                    <a:pt x="152" y="331"/>
                    <a:pt x="150" y="331"/>
                    <a:pt x="149" y="330"/>
                  </a:cubicBezTo>
                  <a:cubicBezTo>
                    <a:pt x="148" y="330"/>
                    <a:pt x="148" y="330"/>
                    <a:pt x="148" y="330"/>
                  </a:cubicBezTo>
                  <a:cubicBezTo>
                    <a:pt x="147" y="329"/>
                    <a:pt x="147" y="329"/>
                    <a:pt x="147" y="329"/>
                  </a:cubicBezTo>
                  <a:cubicBezTo>
                    <a:pt x="147" y="329"/>
                    <a:pt x="146" y="329"/>
                    <a:pt x="146" y="329"/>
                  </a:cubicBezTo>
                  <a:cubicBezTo>
                    <a:pt x="145" y="329"/>
                    <a:pt x="144" y="328"/>
                    <a:pt x="143" y="328"/>
                  </a:cubicBezTo>
                  <a:cubicBezTo>
                    <a:pt x="142" y="328"/>
                    <a:pt x="141" y="328"/>
                    <a:pt x="140" y="328"/>
                  </a:cubicBezTo>
                  <a:cubicBezTo>
                    <a:pt x="140" y="328"/>
                    <a:pt x="140" y="328"/>
                    <a:pt x="140" y="329"/>
                  </a:cubicBezTo>
                  <a:cubicBezTo>
                    <a:pt x="140" y="330"/>
                    <a:pt x="140" y="331"/>
                    <a:pt x="141" y="333"/>
                  </a:cubicBezTo>
                  <a:cubicBezTo>
                    <a:pt x="141" y="333"/>
                    <a:pt x="141" y="333"/>
                    <a:pt x="141" y="334"/>
                  </a:cubicBezTo>
                  <a:cubicBezTo>
                    <a:pt x="142" y="334"/>
                    <a:pt x="144" y="335"/>
                    <a:pt x="145" y="335"/>
                  </a:cubicBezTo>
                  <a:cubicBezTo>
                    <a:pt x="147" y="335"/>
                    <a:pt x="149" y="335"/>
                    <a:pt x="150" y="336"/>
                  </a:cubicBezTo>
                  <a:cubicBezTo>
                    <a:pt x="151" y="336"/>
                    <a:pt x="152" y="336"/>
                    <a:pt x="153" y="337"/>
                  </a:cubicBezTo>
                  <a:cubicBezTo>
                    <a:pt x="153" y="338"/>
                    <a:pt x="153" y="338"/>
                    <a:pt x="154" y="338"/>
                  </a:cubicBezTo>
                  <a:cubicBezTo>
                    <a:pt x="155" y="338"/>
                    <a:pt x="156" y="338"/>
                    <a:pt x="156" y="337"/>
                  </a:cubicBezTo>
                  <a:cubicBezTo>
                    <a:pt x="157" y="337"/>
                    <a:pt x="157" y="336"/>
                    <a:pt x="157" y="336"/>
                  </a:cubicBezTo>
                  <a:cubicBezTo>
                    <a:pt x="157" y="336"/>
                    <a:pt x="157" y="335"/>
                    <a:pt x="158" y="335"/>
                  </a:cubicBezTo>
                  <a:cubicBezTo>
                    <a:pt x="158" y="334"/>
                    <a:pt x="159" y="333"/>
                    <a:pt x="160" y="333"/>
                  </a:cubicBezTo>
                  <a:cubicBezTo>
                    <a:pt x="161" y="333"/>
                    <a:pt x="161" y="332"/>
                    <a:pt x="161" y="331"/>
                  </a:cubicBezTo>
                  <a:close/>
                  <a:moveTo>
                    <a:pt x="168" y="338"/>
                  </a:moveTo>
                  <a:cubicBezTo>
                    <a:pt x="167" y="337"/>
                    <a:pt x="167" y="337"/>
                    <a:pt x="167" y="336"/>
                  </a:cubicBezTo>
                  <a:cubicBezTo>
                    <a:pt x="167" y="336"/>
                    <a:pt x="167" y="336"/>
                    <a:pt x="167" y="335"/>
                  </a:cubicBezTo>
                  <a:cubicBezTo>
                    <a:pt x="166" y="334"/>
                    <a:pt x="166" y="334"/>
                    <a:pt x="166" y="334"/>
                  </a:cubicBezTo>
                  <a:cubicBezTo>
                    <a:pt x="165" y="334"/>
                    <a:pt x="165" y="334"/>
                    <a:pt x="165" y="334"/>
                  </a:cubicBezTo>
                  <a:cubicBezTo>
                    <a:pt x="164" y="335"/>
                    <a:pt x="164" y="335"/>
                    <a:pt x="163" y="335"/>
                  </a:cubicBezTo>
                  <a:cubicBezTo>
                    <a:pt x="162" y="335"/>
                    <a:pt x="161" y="335"/>
                    <a:pt x="160" y="335"/>
                  </a:cubicBezTo>
                  <a:cubicBezTo>
                    <a:pt x="160" y="335"/>
                    <a:pt x="160" y="336"/>
                    <a:pt x="159" y="337"/>
                  </a:cubicBezTo>
                  <a:cubicBezTo>
                    <a:pt x="159" y="338"/>
                    <a:pt x="159" y="338"/>
                    <a:pt x="159" y="338"/>
                  </a:cubicBezTo>
                  <a:cubicBezTo>
                    <a:pt x="159" y="338"/>
                    <a:pt x="160" y="339"/>
                    <a:pt x="160" y="339"/>
                  </a:cubicBezTo>
                  <a:cubicBezTo>
                    <a:pt x="161" y="339"/>
                    <a:pt x="161" y="339"/>
                    <a:pt x="162" y="339"/>
                  </a:cubicBezTo>
                  <a:cubicBezTo>
                    <a:pt x="162" y="339"/>
                    <a:pt x="163" y="339"/>
                    <a:pt x="164" y="339"/>
                  </a:cubicBezTo>
                  <a:cubicBezTo>
                    <a:pt x="165" y="339"/>
                    <a:pt x="166" y="339"/>
                    <a:pt x="167" y="339"/>
                  </a:cubicBezTo>
                  <a:cubicBezTo>
                    <a:pt x="167" y="339"/>
                    <a:pt x="168" y="338"/>
                    <a:pt x="168" y="338"/>
                  </a:cubicBezTo>
                  <a:close/>
                  <a:moveTo>
                    <a:pt x="121" y="292"/>
                  </a:moveTo>
                  <a:cubicBezTo>
                    <a:pt x="121" y="291"/>
                    <a:pt x="121" y="292"/>
                    <a:pt x="120" y="292"/>
                  </a:cubicBezTo>
                  <a:cubicBezTo>
                    <a:pt x="118" y="292"/>
                    <a:pt x="117" y="290"/>
                    <a:pt x="115" y="291"/>
                  </a:cubicBezTo>
                  <a:cubicBezTo>
                    <a:pt x="113" y="292"/>
                    <a:pt x="115" y="294"/>
                    <a:pt x="114" y="295"/>
                  </a:cubicBezTo>
                  <a:cubicBezTo>
                    <a:pt x="114" y="296"/>
                    <a:pt x="113" y="296"/>
                    <a:pt x="113" y="297"/>
                  </a:cubicBezTo>
                  <a:cubicBezTo>
                    <a:pt x="112" y="298"/>
                    <a:pt x="113" y="298"/>
                    <a:pt x="113" y="299"/>
                  </a:cubicBezTo>
                  <a:cubicBezTo>
                    <a:pt x="114" y="301"/>
                    <a:pt x="116" y="298"/>
                    <a:pt x="116" y="298"/>
                  </a:cubicBezTo>
                  <a:cubicBezTo>
                    <a:pt x="117" y="298"/>
                    <a:pt x="118" y="297"/>
                    <a:pt x="118" y="297"/>
                  </a:cubicBezTo>
                  <a:cubicBezTo>
                    <a:pt x="119" y="296"/>
                    <a:pt x="120" y="296"/>
                    <a:pt x="120" y="296"/>
                  </a:cubicBezTo>
                  <a:cubicBezTo>
                    <a:pt x="121" y="295"/>
                    <a:pt x="122" y="294"/>
                    <a:pt x="122" y="293"/>
                  </a:cubicBezTo>
                  <a:cubicBezTo>
                    <a:pt x="121" y="293"/>
                    <a:pt x="121" y="292"/>
                    <a:pt x="121" y="29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7" name="Freeform 46">
              <a:extLst>
                <a:ext uri="{FF2B5EF4-FFF2-40B4-BE49-F238E27FC236}">
                  <a16:creationId xmlns:a16="http://schemas.microsoft.com/office/drawing/2014/main" id="{73A6331A-8D3A-33B6-2777-A7D189086815}"/>
                </a:ext>
              </a:extLst>
            </p:cNvPr>
            <p:cNvSpPr>
              <a:spLocks/>
            </p:cNvSpPr>
            <p:nvPr/>
          </p:nvSpPr>
          <p:spPr bwMode="auto">
            <a:xfrm>
              <a:off x="2589213" y="4689475"/>
              <a:ext cx="539750" cy="517525"/>
            </a:xfrm>
            <a:custGeom>
              <a:avLst/>
              <a:gdLst>
                <a:gd name="T0" fmla="*/ 124 w 142"/>
                <a:gd name="T1" fmla="*/ 21 h 136"/>
                <a:gd name="T2" fmla="*/ 118 w 142"/>
                <a:gd name="T3" fmla="*/ 10 h 136"/>
                <a:gd name="T4" fmla="*/ 111 w 142"/>
                <a:gd name="T5" fmla="*/ 5 h 136"/>
                <a:gd name="T6" fmla="*/ 103 w 142"/>
                <a:gd name="T7" fmla="*/ 0 h 136"/>
                <a:gd name="T8" fmla="*/ 97 w 142"/>
                <a:gd name="T9" fmla="*/ 9 h 136"/>
                <a:gd name="T10" fmla="*/ 89 w 142"/>
                <a:gd name="T11" fmla="*/ 20 h 136"/>
                <a:gd name="T12" fmla="*/ 75 w 142"/>
                <a:gd name="T13" fmla="*/ 30 h 136"/>
                <a:gd name="T14" fmla="*/ 63 w 142"/>
                <a:gd name="T15" fmla="*/ 33 h 136"/>
                <a:gd name="T16" fmla="*/ 47 w 142"/>
                <a:gd name="T17" fmla="*/ 45 h 136"/>
                <a:gd name="T18" fmla="*/ 43 w 142"/>
                <a:gd name="T19" fmla="*/ 62 h 136"/>
                <a:gd name="T20" fmla="*/ 38 w 142"/>
                <a:gd name="T21" fmla="*/ 71 h 136"/>
                <a:gd name="T22" fmla="*/ 29 w 142"/>
                <a:gd name="T23" fmla="*/ 73 h 136"/>
                <a:gd name="T24" fmla="*/ 16 w 142"/>
                <a:gd name="T25" fmla="*/ 73 h 136"/>
                <a:gd name="T26" fmla="*/ 6 w 142"/>
                <a:gd name="T27" fmla="*/ 68 h 136"/>
                <a:gd name="T28" fmla="*/ 3 w 142"/>
                <a:gd name="T29" fmla="*/ 75 h 136"/>
                <a:gd name="T30" fmla="*/ 5 w 142"/>
                <a:gd name="T31" fmla="*/ 76 h 136"/>
                <a:gd name="T32" fmla="*/ 11 w 142"/>
                <a:gd name="T33" fmla="*/ 80 h 136"/>
                <a:gd name="T34" fmla="*/ 21 w 142"/>
                <a:gd name="T35" fmla="*/ 88 h 136"/>
                <a:gd name="T36" fmla="*/ 22 w 142"/>
                <a:gd name="T37" fmla="*/ 93 h 136"/>
                <a:gd name="T38" fmla="*/ 29 w 142"/>
                <a:gd name="T39" fmla="*/ 104 h 136"/>
                <a:gd name="T40" fmla="*/ 41 w 142"/>
                <a:gd name="T41" fmla="*/ 112 h 136"/>
                <a:gd name="T42" fmla="*/ 43 w 142"/>
                <a:gd name="T43" fmla="*/ 119 h 136"/>
                <a:gd name="T44" fmla="*/ 51 w 142"/>
                <a:gd name="T45" fmla="*/ 125 h 136"/>
                <a:gd name="T46" fmla="*/ 61 w 142"/>
                <a:gd name="T47" fmla="*/ 136 h 136"/>
                <a:gd name="T48" fmla="*/ 68 w 142"/>
                <a:gd name="T49" fmla="*/ 132 h 136"/>
                <a:gd name="T50" fmla="*/ 64 w 142"/>
                <a:gd name="T51" fmla="*/ 125 h 136"/>
                <a:gd name="T52" fmla="*/ 60 w 142"/>
                <a:gd name="T53" fmla="*/ 117 h 136"/>
                <a:gd name="T54" fmla="*/ 60 w 142"/>
                <a:gd name="T55" fmla="*/ 110 h 136"/>
                <a:gd name="T56" fmla="*/ 70 w 142"/>
                <a:gd name="T57" fmla="*/ 115 h 136"/>
                <a:gd name="T58" fmla="*/ 82 w 142"/>
                <a:gd name="T59" fmla="*/ 121 h 136"/>
                <a:gd name="T60" fmla="*/ 92 w 142"/>
                <a:gd name="T61" fmla="*/ 126 h 136"/>
                <a:gd name="T62" fmla="*/ 96 w 142"/>
                <a:gd name="T63" fmla="*/ 127 h 136"/>
                <a:gd name="T64" fmla="*/ 98 w 142"/>
                <a:gd name="T65" fmla="*/ 122 h 136"/>
                <a:gd name="T66" fmla="*/ 96 w 142"/>
                <a:gd name="T67" fmla="*/ 116 h 136"/>
                <a:gd name="T68" fmla="*/ 102 w 142"/>
                <a:gd name="T69" fmla="*/ 111 h 136"/>
                <a:gd name="T70" fmla="*/ 106 w 142"/>
                <a:gd name="T71" fmla="*/ 109 h 136"/>
                <a:gd name="T72" fmla="*/ 121 w 142"/>
                <a:gd name="T73" fmla="*/ 123 h 136"/>
                <a:gd name="T74" fmla="*/ 128 w 142"/>
                <a:gd name="T75" fmla="*/ 131 h 136"/>
                <a:gd name="T76" fmla="*/ 134 w 142"/>
                <a:gd name="T77" fmla="*/ 127 h 136"/>
                <a:gd name="T78" fmla="*/ 136 w 142"/>
                <a:gd name="T79" fmla="*/ 115 h 136"/>
                <a:gd name="T80" fmla="*/ 136 w 142"/>
                <a:gd name="T81" fmla="*/ 98 h 136"/>
                <a:gd name="T82" fmla="*/ 138 w 142"/>
                <a:gd name="T83" fmla="*/ 86 h 136"/>
                <a:gd name="T84" fmla="*/ 139 w 142"/>
                <a:gd name="T85" fmla="*/ 71 h 136"/>
                <a:gd name="T86" fmla="*/ 141 w 142"/>
                <a:gd name="T87" fmla="*/ 58 h 136"/>
                <a:gd name="T88" fmla="*/ 141 w 142"/>
                <a:gd name="T89" fmla="*/ 51 h 136"/>
                <a:gd name="T90" fmla="*/ 139 w 142"/>
                <a:gd name="T91" fmla="*/ 44 h 136"/>
                <a:gd name="T92" fmla="*/ 136 w 142"/>
                <a:gd name="T93" fmla="*/ 30 h 136"/>
                <a:gd name="T94" fmla="*/ 136 w 142"/>
                <a:gd name="T95" fmla="*/ 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136">
                  <a:moveTo>
                    <a:pt x="132" y="24"/>
                  </a:moveTo>
                  <a:cubicBezTo>
                    <a:pt x="131" y="24"/>
                    <a:pt x="129" y="24"/>
                    <a:pt x="128" y="24"/>
                  </a:cubicBezTo>
                  <a:cubicBezTo>
                    <a:pt x="127" y="23"/>
                    <a:pt x="125" y="22"/>
                    <a:pt x="124" y="21"/>
                  </a:cubicBezTo>
                  <a:cubicBezTo>
                    <a:pt x="123" y="20"/>
                    <a:pt x="122" y="20"/>
                    <a:pt x="121" y="18"/>
                  </a:cubicBezTo>
                  <a:cubicBezTo>
                    <a:pt x="121" y="16"/>
                    <a:pt x="121" y="16"/>
                    <a:pt x="120" y="14"/>
                  </a:cubicBezTo>
                  <a:cubicBezTo>
                    <a:pt x="119" y="13"/>
                    <a:pt x="118" y="12"/>
                    <a:pt x="118" y="10"/>
                  </a:cubicBezTo>
                  <a:cubicBezTo>
                    <a:pt x="118" y="8"/>
                    <a:pt x="116" y="9"/>
                    <a:pt x="115" y="7"/>
                  </a:cubicBezTo>
                  <a:cubicBezTo>
                    <a:pt x="115" y="7"/>
                    <a:pt x="115" y="6"/>
                    <a:pt x="113" y="5"/>
                  </a:cubicBezTo>
                  <a:cubicBezTo>
                    <a:pt x="112" y="5"/>
                    <a:pt x="111" y="6"/>
                    <a:pt x="111" y="5"/>
                  </a:cubicBezTo>
                  <a:cubicBezTo>
                    <a:pt x="110" y="4"/>
                    <a:pt x="110" y="4"/>
                    <a:pt x="109" y="3"/>
                  </a:cubicBezTo>
                  <a:cubicBezTo>
                    <a:pt x="109" y="3"/>
                    <a:pt x="107" y="3"/>
                    <a:pt x="106" y="3"/>
                  </a:cubicBezTo>
                  <a:cubicBezTo>
                    <a:pt x="106" y="2"/>
                    <a:pt x="105" y="0"/>
                    <a:pt x="103" y="0"/>
                  </a:cubicBezTo>
                  <a:cubicBezTo>
                    <a:pt x="102" y="0"/>
                    <a:pt x="101" y="2"/>
                    <a:pt x="101" y="3"/>
                  </a:cubicBezTo>
                  <a:cubicBezTo>
                    <a:pt x="101" y="5"/>
                    <a:pt x="101" y="6"/>
                    <a:pt x="101" y="8"/>
                  </a:cubicBezTo>
                  <a:cubicBezTo>
                    <a:pt x="101" y="10"/>
                    <a:pt x="99" y="9"/>
                    <a:pt x="97" y="9"/>
                  </a:cubicBezTo>
                  <a:cubicBezTo>
                    <a:pt x="95" y="9"/>
                    <a:pt x="95" y="10"/>
                    <a:pt x="94" y="12"/>
                  </a:cubicBezTo>
                  <a:cubicBezTo>
                    <a:pt x="93" y="14"/>
                    <a:pt x="92" y="15"/>
                    <a:pt x="91" y="17"/>
                  </a:cubicBezTo>
                  <a:cubicBezTo>
                    <a:pt x="90" y="19"/>
                    <a:pt x="90" y="19"/>
                    <a:pt x="89" y="20"/>
                  </a:cubicBezTo>
                  <a:cubicBezTo>
                    <a:pt x="87" y="22"/>
                    <a:pt x="88" y="24"/>
                    <a:pt x="86" y="25"/>
                  </a:cubicBezTo>
                  <a:cubicBezTo>
                    <a:pt x="84" y="26"/>
                    <a:pt x="82" y="26"/>
                    <a:pt x="80" y="27"/>
                  </a:cubicBezTo>
                  <a:cubicBezTo>
                    <a:pt x="78" y="28"/>
                    <a:pt x="77" y="29"/>
                    <a:pt x="75" y="30"/>
                  </a:cubicBezTo>
                  <a:cubicBezTo>
                    <a:pt x="72" y="31"/>
                    <a:pt x="71" y="32"/>
                    <a:pt x="68" y="32"/>
                  </a:cubicBezTo>
                  <a:cubicBezTo>
                    <a:pt x="67" y="32"/>
                    <a:pt x="67" y="32"/>
                    <a:pt x="65" y="32"/>
                  </a:cubicBezTo>
                  <a:cubicBezTo>
                    <a:pt x="64" y="33"/>
                    <a:pt x="64" y="33"/>
                    <a:pt x="63" y="33"/>
                  </a:cubicBezTo>
                  <a:cubicBezTo>
                    <a:pt x="60" y="32"/>
                    <a:pt x="60" y="33"/>
                    <a:pt x="58" y="35"/>
                  </a:cubicBezTo>
                  <a:cubicBezTo>
                    <a:pt x="56" y="36"/>
                    <a:pt x="53" y="35"/>
                    <a:pt x="52" y="36"/>
                  </a:cubicBezTo>
                  <a:cubicBezTo>
                    <a:pt x="49" y="38"/>
                    <a:pt x="48" y="42"/>
                    <a:pt x="47" y="45"/>
                  </a:cubicBezTo>
                  <a:cubicBezTo>
                    <a:pt x="46" y="47"/>
                    <a:pt x="45" y="50"/>
                    <a:pt x="45" y="53"/>
                  </a:cubicBezTo>
                  <a:cubicBezTo>
                    <a:pt x="44" y="54"/>
                    <a:pt x="44" y="56"/>
                    <a:pt x="44" y="58"/>
                  </a:cubicBezTo>
                  <a:cubicBezTo>
                    <a:pt x="44" y="59"/>
                    <a:pt x="43" y="60"/>
                    <a:pt x="43" y="62"/>
                  </a:cubicBezTo>
                  <a:cubicBezTo>
                    <a:pt x="43" y="63"/>
                    <a:pt x="43" y="65"/>
                    <a:pt x="44" y="66"/>
                  </a:cubicBezTo>
                  <a:cubicBezTo>
                    <a:pt x="45" y="66"/>
                    <a:pt x="46" y="67"/>
                    <a:pt x="47" y="69"/>
                  </a:cubicBezTo>
                  <a:cubicBezTo>
                    <a:pt x="47" y="72"/>
                    <a:pt x="40" y="71"/>
                    <a:pt x="38" y="71"/>
                  </a:cubicBezTo>
                  <a:cubicBezTo>
                    <a:pt x="36" y="71"/>
                    <a:pt x="35" y="69"/>
                    <a:pt x="34" y="71"/>
                  </a:cubicBezTo>
                  <a:cubicBezTo>
                    <a:pt x="34" y="72"/>
                    <a:pt x="33" y="73"/>
                    <a:pt x="33" y="74"/>
                  </a:cubicBezTo>
                  <a:cubicBezTo>
                    <a:pt x="32" y="75"/>
                    <a:pt x="30" y="74"/>
                    <a:pt x="29" y="73"/>
                  </a:cubicBezTo>
                  <a:cubicBezTo>
                    <a:pt x="27" y="72"/>
                    <a:pt x="26" y="71"/>
                    <a:pt x="24" y="73"/>
                  </a:cubicBezTo>
                  <a:cubicBezTo>
                    <a:pt x="22" y="74"/>
                    <a:pt x="22" y="73"/>
                    <a:pt x="20" y="72"/>
                  </a:cubicBezTo>
                  <a:cubicBezTo>
                    <a:pt x="18" y="72"/>
                    <a:pt x="18" y="73"/>
                    <a:pt x="16" y="73"/>
                  </a:cubicBezTo>
                  <a:cubicBezTo>
                    <a:pt x="15" y="71"/>
                    <a:pt x="15" y="69"/>
                    <a:pt x="14" y="67"/>
                  </a:cubicBezTo>
                  <a:cubicBezTo>
                    <a:pt x="13" y="66"/>
                    <a:pt x="11" y="66"/>
                    <a:pt x="9" y="65"/>
                  </a:cubicBezTo>
                  <a:cubicBezTo>
                    <a:pt x="9" y="66"/>
                    <a:pt x="7" y="67"/>
                    <a:pt x="6" y="68"/>
                  </a:cubicBezTo>
                  <a:cubicBezTo>
                    <a:pt x="4" y="69"/>
                    <a:pt x="2" y="70"/>
                    <a:pt x="1" y="71"/>
                  </a:cubicBezTo>
                  <a:cubicBezTo>
                    <a:pt x="0" y="72"/>
                    <a:pt x="0" y="72"/>
                    <a:pt x="0" y="72"/>
                  </a:cubicBezTo>
                  <a:cubicBezTo>
                    <a:pt x="1" y="73"/>
                    <a:pt x="2" y="74"/>
                    <a:pt x="3" y="75"/>
                  </a:cubicBezTo>
                  <a:cubicBezTo>
                    <a:pt x="4" y="75"/>
                    <a:pt x="3" y="78"/>
                    <a:pt x="4" y="78"/>
                  </a:cubicBezTo>
                  <a:cubicBezTo>
                    <a:pt x="5" y="78"/>
                    <a:pt x="5" y="78"/>
                    <a:pt x="5" y="78"/>
                  </a:cubicBezTo>
                  <a:cubicBezTo>
                    <a:pt x="5" y="76"/>
                    <a:pt x="5" y="76"/>
                    <a:pt x="5" y="76"/>
                  </a:cubicBezTo>
                  <a:cubicBezTo>
                    <a:pt x="7" y="78"/>
                    <a:pt x="7" y="78"/>
                    <a:pt x="7" y="78"/>
                  </a:cubicBezTo>
                  <a:cubicBezTo>
                    <a:pt x="7" y="78"/>
                    <a:pt x="9" y="81"/>
                    <a:pt x="9" y="81"/>
                  </a:cubicBezTo>
                  <a:cubicBezTo>
                    <a:pt x="10" y="81"/>
                    <a:pt x="10" y="80"/>
                    <a:pt x="11" y="80"/>
                  </a:cubicBezTo>
                  <a:cubicBezTo>
                    <a:pt x="11" y="80"/>
                    <a:pt x="14" y="83"/>
                    <a:pt x="14" y="83"/>
                  </a:cubicBezTo>
                  <a:cubicBezTo>
                    <a:pt x="14" y="83"/>
                    <a:pt x="17" y="85"/>
                    <a:pt x="18" y="86"/>
                  </a:cubicBezTo>
                  <a:cubicBezTo>
                    <a:pt x="19" y="86"/>
                    <a:pt x="20" y="87"/>
                    <a:pt x="21" y="88"/>
                  </a:cubicBezTo>
                  <a:cubicBezTo>
                    <a:pt x="22" y="89"/>
                    <a:pt x="21" y="89"/>
                    <a:pt x="21" y="89"/>
                  </a:cubicBezTo>
                  <a:cubicBezTo>
                    <a:pt x="20" y="92"/>
                    <a:pt x="20" y="92"/>
                    <a:pt x="20" y="92"/>
                  </a:cubicBezTo>
                  <a:cubicBezTo>
                    <a:pt x="20" y="92"/>
                    <a:pt x="21" y="93"/>
                    <a:pt x="22" y="93"/>
                  </a:cubicBezTo>
                  <a:cubicBezTo>
                    <a:pt x="22" y="94"/>
                    <a:pt x="24" y="96"/>
                    <a:pt x="24" y="96"/>
                  </a:cubicBezTo>
                  <a:cubicBezTo>
                    <a:pt x="24" y="96"/>
                    <a:pt x="25" y="99"/>
                    <a:pt x="25" y="100"/>
                  </a:cubicBezTo>
                  <a:cubicBezTo>
                    <a:pt x="25" y="100"/>
                    <a:pt x="28" y="104"/>
                    <a:pt x="29" y="104"/>
                  </a:cubicBezTo>
                  <a:cubicBezTo>
                    <a:pt x="29" y="105"/>
                    <a:pt x="32" y="107"/>
                    <a:pt x="33" y="107"/>
                  </a:cubicBezTo>
                  <a:cubicBezTo>
                    <a:pt x="34" y="108"/>
                    <a:pt x="35" y="109"/>
                    <a:pt x="35" y="109"/>
                  </a:cubicBezTo>
                  <a:cubicBezTo>
                    <a:pt x="35" y="109"/>
                    <a:pt x="39" y="112"/>
                    <a:pt x="41" y="112"/>
                  </a:cubicBezTo>
                  <a:cubicBezTo>
                    <a:pt x="43" y="113"/>
                    <a:pt x="44" y="115"/>
                    <a:pt x="44" y="115"/>
                  </a:cubicBezTo>
                  <a:cubicBezTo>
                    <a:pt x="45" y="116"/>
                    <a:pt x="43" y="117"/>
                    <a:pt x="43" y="117"/>
                  </a:cubicBezTo>
                  <a:cubicBezTo>
                    <a:pt x="43" y="119"/>
                    <a:pt x="43" y="119"/>
                    <a:pt x="43" y="119"/>
                  </a:cubicBezTo>
                  <a:cubicBezTo>
                    <a:pt x="43" y="119"/>
                    <a:pt x="44" y="119"/>
                    <a:pt x="46" y="120"/>
                  </a:cubicBezTo>
                  <a:cubicBezTo>
                    <a:pt x="47" y="120"/>
                    <a:pt x="49" y="121"/>
                    <a:pt x="49" y="121"/>
                  </a:cubicBezTo>
                  <a:cubicBezTo>
                    <a:pt x="49" y="121"/>
                    <a:pt x="51" y="124"/>
                    <a:pt x="51" y="125"/>
                  </a:cubicBezTo>
                  <a:cubicBezTo>
                    <a:pt x="51" y="125"/>
                    <a:pt x="55" y="128"/>
                    <a:pt x="55" y="129"/>
                  </a:cubicBezTo>
                  <a:cubicBezTo>
                    <a:pt x="56" y="129"/>
                    <a:pt x="58" y="131"/>
                    <a:pt x="59" y="131"/>
                  </a:cubicBezTo>
                  <a:cubicBezTo>
                    <a:pt x="59" y="132"/>
                    <a:pt x="61" y="136"/>
                    <a:pt x="61" y="136"/>
                  </a:cubicBezTo>
                  <a:cubicBezTo>
                    <a:pt x="61" y="136"/>
                    <a:pt x="68" y="136"/>
                    <a:pt x="69" y="136"/>
                  </a:cubicBezTo>
                  <a:cubicBezTo>
                    <a:pt x="69" y="136"/>
                    <a:pt x="69" y="135"/>
                    <a:pt x="68" y="134"/>
                  </a:cubicBezTo>
                  <a:cubicBezTo>
                    <a:pt x="68" y="133"/>
                    <a:pt x="68" y="132"/>
                    <a:pt x="68" y="132"/>
                  </a:cubicBezTo>
                  <a:cubicBezTo>
                    <a:pt x="68" y="131"/>
                    <a:pt x="68" y="130"/>
                    <a:pt x="68" y="129"/>
                  </a:cubicBezTo>
                  <a:cubicBezTo>
                    <a:pt x="68" y="129"/>
                    <a:pt x="66" y="127"/>
                    <a:pt x="66" y="127"/>
                  </a:cubicBezTo>
                  <a:cubicBezTo>
                    <a:pt x="65" y="126"/>
                    <a:pt x="65" y="126"/>
                    <a:pt x="64" y="125"/>
                  </a:cubicBezTo>
                  <a:cubicBezTo>
                    <a:pt x="64" y="124"/>
                    <a:pt x="63" y="124"/>
                    <a:pt x="64" y="123"/>
                  </a:cubicBezTo>
                  <a:cubicBezTo>
                    <a:pt x="64" y="123"/>
                    <a:pt x="64" y="121"/>
                    <a:pt x="64" y="121"/>
                  </a:cubicBezTo>
                  <a:cubicBezTo>
                    <a:pt x="64" y="121"/>
                    <a:pt x="61" y="118"/>
                    <a:pt x="60" y="117"/>
                  </a:cubicBezTo>
                  <a:cubicBezTo>
                    <a:pt x="60" y="116"/>
                    <a:pt x="59" y="116"/>
                    <a:pt x="59" y="115"/>
                  </a:cubicBezTo>
                  <a:cubicBezTo>
                    <a:pt x="58" y="114"/>
                    <a:pt x="58" y="113"/>
                    <a:pt x="58" y="112"/>
                  </a:cubicBezTo>
                  <a:cubicBezTo>
                    <a:pt x="58" y="110"/>
                    <a:pt x="59" y="111"/>
                    <a:pt x="60" y="110"/>
                  </a:cubicBezTo>
                  <a:cubicBezTo>
                    <a:pt x="61" y="109"/>
                    <a:pt x="64" y="110"/>
                    <a:pt x="65" y="110"/>
                  </a:cubicBezTo>
                  <a:cubicBezTo>
                    <a:pt x="65" y="110"/>
                    <a:pt x="66" y="110"/>
                    <a:pt x="67" y="111"/>
                  </a:cubicBezTo>
                  <a:cubicBezTo>
                    <a:pt x="68" y="112"/>
                    <a:pt x="69" y="113"/>
                    <a:pt x="70" y="115"/>
                  </a:cubicBezTo>
                  <a:cubicBezTo>
                    <a:pt x="72" y="116"/>
                    <a:pt x="73" y="116"/>
                    <a:pt x="74" y="116"/>
                  </a:cubicBezTo>
                  <a:cubicBezTo>
                    <a:pt x="75" y="116"/>
                    <a:pt x="75" y="116"/>
                    <a:pt x="76" y="117"/>
                  </a:cubicBezTo>
                  <a:cubicBezTo>
                    <a:pt x="78" y="118"/>
                    <a:pt x="80" y="120"/>
                    <a:pt x="82" y="121"/>
                  </a:cubicBezTo>
                  <a:cubicBezTo>
                    <a:pt x="83" y="122"/>
                    <a:pt x="83" y="121"/>
                    <a:pt x="85" y="122"/>
                  </a:cubicBezTo>
                  <a:cubicBezTo>
                    <a:pt x="87" y="123"/>
                    <a:pt x="87" y="124"/>
                    <a:pt x="88" y="124"/>
                  </a:cubicBezTo>
                  <a:cubicBezTo>
                    <a:pt x="89" y="125"/>
                    <a:pt x="91" y="125"/>
                    <a:pt x="92" y="126"/>
                  </a:cubicBezTo>
                  <a:cubicBezTo>
                    <a:pt x="93" y="127"/>
                    <a:pt x="95" y="128"/>
                    <a:pt x="96" y="129"/>
                  </a:cubicBezTo>
                  <a:cubicBezTo>
                    <a:pt x="98" y="129"/>
                    <a:pt x="99" y="126"/>
                    <a:pt x="99" y="126"/>
                  </a:cubicBezTo>
                  <a:cubicBezTo>
                    <a:pt x="99" y="126"/>
                    <a:pt x="97" y="127"/>
                    <a:pt x="96" y="127"/>
                  </a:cubicBezTo>
                  <a:cubicBezTo>
                    <a:pt x="96" y="127"/>
                    <a:pt x="96" y="125"/>
                    <a:pt x="96" y="125"/>
                  </a:cubicBezTo>
                  <a:cubicBezTo>
                    <a:pt x="95" y="124"/>
                    <a:pt x="96" y="123"/>
                    <a:pt x="97" y="123"/>
                  </a:cubicBezTo>
                  <a:cubicBezTo>
                    <a:pt x="97" y="123"/>
                    <a:pt x="97" y="122"/>
                    <a:pt x="98" y="122"/>
                  </a:cubicBezTo>
                  <a:cubicBezTo>
                    <a:pt x="98" y="122"/>
                    <a:pt x="97" y="121"/>
                    <a:pt x="97" y="121"/>
                  </a:cubicBezTo>
                  <a:cubicBezTo>
                    <a:pt x="97" y="121"/>
                    <a:pt x="97" y="119"/>
                    <a:pt x="97" y="118"/>
                  </a:cubicBezTo>
                  <a:cubicBezTo>
                    <a:pt x="97" y="118"/>
                    <a:pt x="97" y="117"/>
                    <a:pt x="96" y="116"/>
                  </a:cubicBezTo>
                  <a:cubicBezTo>
                    <a:pt x="96" y="115"/>
                    <a:pt x="98" y="115"/>
                    <a:pt x="98" y="115"/>
                  </a:cubicBezTo>
                  <a:cubicBezTo>
                    <a:pt x="98" y="115"/>
                    <a:pt x="101" y="114"/>
                    <a:pt x="101" y="114"/>
                  </a:cubicBezTo>
                  <a:cubicBezTo>
                    <a:pt x="102" y="114"/>
                    <a:pt x="102" y="112"/>
                    <a:pt x="102" y="111"/>
                  </a:cubicBezTo>
                  <a:cubicBezTo>
                    <a:pt x="101" y="110"/>
                    <a:pt x="102" y="109"/>
                    <a:pt x="102" y="108"/>
                  </a:cubicBezTo>
                  <a:cubicBezTo>
                    <a:pt x="102" y="107"/>
                    <a:pt x="103" y="107"/>
                    <a:pt x="104" y="106"/>
                  </a:cubicBezTo>
                  <a:cubicBezTo>
                    <a:pt x="104" y="106"/>
                    <a:pt x="105" y="107"/>
                    <a:pt x="106" y="109"/>
                  </a:cubicBezTo>
                  <a:cubicBezTo>
                    <a:pt x="107" y="110"/>
                    <a:pt x="107" y="111"/>
                    <a:pt x="109" y="114"/>
                  </a:cubicBezTo>
                  <a:cubicBezTo>
                    <a:pt x="110" y="116"/>
                    <a:pt x="115" y="120"/>
                    <a:pt x="117" y="120"/>
                  </a:cubicBezTo>
                  <a:cubicBezTo>
                    <a:pt x="119" y="121"/>
                    <a:pt x="120" y="122"/>
                    <a:pt x="121" y="123"/>
                  </a:cubicBezTo>
                  <a:cubicBezTo>
                    <a:pt x="123" y="125"/>
                    <a:pt x="121" y="126"/>
                    <a:pt x="122" y="127"/>
                  </a:cubicBezTo>
                  <a:cubicBezTo>
                    <a:pt x="122" y="129"/>
                    <a:pt x="122" y="129"/>
                    <a:pt x="123" y="129"/>
                  </a:cubicBezTo>
                  <a:cubicBezTo>
                    <a:pt x="125" y="130"/>
                    <a:pt x="127" y="130"/>
                    <a:pt x="128" y="131"/>
                  </a:cubicBezTo>
                  <a:cubicBezTo>
                    <a:pt x="130" y="131"/>
                    <a:pt x="130" y="132"/>
                    <a:pt x="130" y="133"/>
                  </a:cubicBezTo>
                  <a:cubicBezTo>
                    <a:pt x="131" y="134"/>
                    <a:pt x="132" y="133"/>
                    <a:pt x="132" y="133"/>
                  </a:cubicBezTo>
                  <a:cubicBezTo>
                    <a:pt x="132" y="132"/>
                    <a:pt x="133" y="130"/>
                    <a:pt x="134" y="127"/>
                  </a:cubicBezTo>
                  <a:cubicBezTo>
                    <a:pt x="134" y="125"/>
                    <a:pt x="134" y="125"/>
                    <a:pt x="135" y="122"/>
                  </a:cubicBezTo>
                  <a:cubicBezTo>
                    <a:pt x="136" y="120"/>
                    <a:pt x="135" y="119"/>
                    <a:pt x="136" y="117"/>
                  </a:cubicBezTo>
                  <a:cubicBezTo>
                    <a:pt x="136" y="116"/>
                    <a:pt x="136" y="116"/>
                    <a:pt x="136" y="115"/>
                  </a:cubicBezTo>
                  <a:cubicBezTo>
                    <a:pt x="136" y="114"/>
                    <a:pt x="136" y="114"/>
                    <a:pt x="136" y="112"/>
                  </a:cubicBezTo>
                  <a:cubicBezTo>
                    <a:pt x="136" y="110"/>
                    <a:pt x="136" y="107"/>
                    <a:pt x="136" y="106"/>
                  </a:cubicBezTo>
                  <a:cubicBezTo>
                    <a:pt x="136" y="105"/>
                    <a:pt x="136" y="100"/>
                    <a:pt x="136" y="98"/>
                  </a:cubicBezTo>
                  <a:cubicBezTo>
                    <a:pt x="137" y="97"/>
                    <a:pt x="138" y="96"/>
                    <a:pt x="138" y="95"/>
                  </a:cubicBezTo>
                  <a:cubicBezTo>
                    <a:pt x="138" y="95"/>
                    <a:pt x="138" y="93"/>
                    <a:pt x="138" y="91"/>
                  </a:cubicBezTo>
                  <a:cubicBezTo>
                    <a:pt x="138" y="90"/>
                    <a:pt x="138" y="87"/>
                    <a:pt x="138" y="86"/>
                  </a:cubicBezTo>
                  <a:cubicBezTo>
                    <a:pt x="138" y="84"/>
                    <a:pt x="138" y="81"/>
                    <a:pt x="138" y="79"/>
                  </a:cubicBezTo>
                  <a:cubicBezTo>
                    <a:pt x="138" y="76"/>
                    <a:pt x="140" y="75"/>
                    <a:pt x="140" y="74"/>
                  </a:cubicBezTo>
                  <a:cubicBezTo>
                    <a:pt x="140" y="73"/>
                    <a:pt x="139" y="72"/>
                    <a:pt x="139" y="71"/>
                  </a:cubicBezTo>
                  <a:cubicBezTo>
                    <a:pt x="138" y="70"/>
                    <a:pt x="138" y="69"/>
                    <a:pt x="138" y="67"/>
                  </a:cubicBezTo>
                  <a:cubicBezTo>
                    <a:pt x="138" y="65"/>
                    <a:pt x="139" y="64"/>
                    <a:pt x="139" y="63"/>
                  </a:cubicBezTo>
                  <a:cubicBezTo>
                    <a:pt x="139" y="62"/>
                    <a:pt x="140" y="60"/>
                    <a:pt x="141" y="58"/>
                  </a:cubicBezTo>
                  <a:cubicBezTo>
                    <a:pt x="142" y="57"/>
                    <a:pt x="142" y="58"/>
                    <a:pt x="142" y="57"/>
                  </a:cubicBezTo>
                  <a:cubicBezTo>
                    <a:pt x="142" y="57"/>
                    <a:pt x="140" y="54"/>
                    <a:pt x="139" y="53"/>
                  </a:cubicBezTo>
                  <a:cubicBezTo>
                    <a:pt x="139" y="52"/>
                    <a:pt x="141" y="52"/>
                    <a:pt x="141" y="51"/>
                  </a:cubicBezTo>
                  <a:cubicBezTo>
                    <a:pt x="141" y="51"/>
                    <a:pt x="141" y="49"/>
                    <a:pt x="141" y="49"/>
                  </a:cubicBezTo>
                  <a:cubicBezTo>
                    <a:pt x="141" y="48"/>
                    <a:pt x="142" y="46"/>
                    <a:pt x="142" y="45"/>
                  </a:cubicBezTo>
                  <a:cubicBezTo>
                    <a:pt x="142" y="44"/>
                    <a:pt x="141" y="44"/>
                    <a:pt x="139" y="44"/>
                  </a:cubicBezTo>
                  <a:cubicBezTo>
                    <a:pt x="137" y="44"/>
                    <a:pt x="138" y="42"/>
                    <a:pt x="137" y="41"/>
                  </a:cubicBezTo>
                  <a:cubicBezTo>
                    <a:pt x="137" y="40"/>
                    <a:pt x="136" y="38"/>
                    <a:pt x="136" y="37"/>
                  </a:cubicBezTo>
                  <a:cubicBezTo>
                    <a:pt x="136" y="35"/>
                    <a:pt x="136" y="32"/>
                    <a:pt x="136" y="30"/>
                  </a:cubicBezTo>
                  <a:cubicBezTo>
                    <a:pt x="136" y="29"/>
                    <a:pt x="136" y="28"/>
                    <a:pt x="136" y="28"/>
                  </a:cubicBezTo>
                  <a:cubicBezTo>
                    <a:pt x="136" y="28"/>
                    <a:pt x="137" y="27"/>
                    <a:pt x="137" y="27"/>
                  </a:cubicBezTo>
                  <a:cubicBezTo>
                    <a:pt x="137" y="27"/>
                    <a:pt x="136" y="26"/>
                    <a:pt x="136" y="26"/>
                  </a:cubicBezTo>
                  <a:cubicBezTo>
                    <a:pt x="135" y="26"/>
                    <a:pt x="133" y="25"/>
                    <a:pt x="132" y="2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8" name="Freeform 48">
              <a:extLst>
                <a:ext uri="{FF2B5EF4-FFF2-40B4-BE49-F238E27FC236}">
                  <a16:creationId xmlns:a16="http://schemas.microsoft.com/office/drawing/2014/main" id="{B6925CB6-CB38-97D2-BF76-53D99FC2D3FD}"/>
                </a:ext>
              </a:extLst>
            </p:cNvPr>
            <p:cNvSpPr>
              <a:spLocks/>
            </p:cNvSpPr>
            <p:nvPr/>
          </p:nvSpPr>
          <p:spPr bwMode="auto">
            <a:xfrm>
              <a:off x="2012950" y="3998913"/>
              <a:ext cx="777875" cy="473075"/>
            </a:xfrm>
            <a:custGeom>
              <a:avLst/>
              <a:gdLst>
                <a:gd name="T0" fmla="*/ 70 w 204"/>
                <a:gd name="T1" fmla="*/ 115 h 124"/>
                <a:gd name="T2" fmla="*/ 77 w 204"/>
                <a:gd name="T3" fmla="*/ 116 h 124"/>
                <a:gd name="T4" fmla="*/ 79 w 204"/>
                <a:gd name="T5" fmla="*/ 119 h 124"/>
                <a:gd name="T6" fmla="*/ 90 w 204"/>
                <a:gd name="T7" fmla="*/ 118 h 124"/>
                <a:gd name="T8" fmla="*/ 94 w 204"/>
                <a:gd name="T9" fmla="*/ 113 h 124"/>
                <a:gd name="T10" fmla="*/ 103 w 204"/>
                <a:gd name="T11" fmla="*/ 106 h 124"/>
                <a:gd name="T12" fmla="*/ 107 w 204"/>
                <a:gd name="T13" fmla="*/ 100 h 124"/>
                <a:gd name="T14" fmla="*/ 109 w 204"/>
                <a:gd name="T15" fmla="*/ 96 h 124"/>
                <a:gd name="T16" fmla="*/ 119 w 204"/>
                <a:gd name="T17" fmla="*/ 97 h 124"/>
                <a:gd name="T18" fmla="*/ 127 w 204"/>
                <a:gd name="T19" fmla="*/ 96 h 124"/>
                <a:gd name="T20" fmla="*/ 129 w 204"/>
                <a:gd name="T21" fmla="*/ 86 h 124"/>
                <a:gd name="T22" fmla="*/ 142 w 204"/>
                <a:gd name="T23" fmla="*/ 98 h 124"/>
                <a:gd name="T24" fmla="*/ 147 w 204"/>
                <a:gd name="T25" fmla="*/ 87 h 124"/>
                <a:gd name="T26" fmla="*/ 145 w 204"/>
                <a:gd name="T27" fmla="*/ 84 h 124"/>
                <a:gd name="T28" fmla="*/ 146 w 204"/>
                <a:gd name="T29" fmla="*/ 72 h 124"/>
                <a:gd name="T30" fmla="*/ 174 w 204"/>
                <a:gd name="T31" fmla="*/ 63 h 124"/>
                <a:gd name="T32" fmla="*/ 196 w 204"/>
                <a:gd name="T33" fmla="*/ 57 h 124"/>
                <a:gd name="T34" fmla="*/ 199 w 204"/>
                <a:gd name="T35" fmla="*/ 54 h 124"/>
                <a:gd name="T36" fmla="*/ 200 w 204"/>
                <a:gd name="T37" fmla="*/ 51 h 124"/>
                <a:gd name="T38" fmla="*/ 204 w 204"/>
                <a:gd name="T39" fmla="*/ 50 h 124"/>
                <a:gd name="T40" fmla="*/ 202 w 204"/>
                <a:gd name="T41" fmla="*/ 43 h 124"/>
                <a:gd name="T42" fmla="*/ 203 w 204"/>
                <a:gd name="T43" fmla="*/ 36 h 124"/>
                <a:gd name="T44" fmla="*/ 200 w 204"/>
                <a:gd name="T45" fmla="*/ 27 h 124"/>
                <a:gd name="T46" fmla="*/ 199 w 204"/>
                <a:gd name="T47" fmla="*/ 17 h 124"/>
                <a:gd name="T48" fmla="*/ 193 w 204"/>
                <a:gd name="T49" fmla="*/ 19 h 124"/>
                <a:gd name="T50" fmla="*/ 189 w 204"/>
                <a:gd name="T51" fmla="*/ 20 h 124"/>
                <a:gd name="T52" fmla="*/ 187 w 204"/>
                <a:gd name="T53" fmla="*/ 19 h 124"/>
                <a:gd name="T54" fmla="*/ 178 w 204"/>
                <a:gd name="T55" fmla="*/ 16 h 124"/>
                <a:gd name="T56" fmla="*/ 168 w 204"/>
                <a:gd name="T57" fmla="*/ 16 h 124"/>
                <a:gd name="T58" fmla="*/ 167 w 204"/>
                <a:gd name="T59" fmla="*/ 23 h 124"/>
                <a:gd name="T60" fmla="*/ 163 w 204"/>
                <a:gd name="T61" fmla="*/ 16 h 124"/>
                <a:gd name="T62" fmla="*/ 157 w 204"/>
                <a:gd name="T63" fmla="*/ 13 h 124"/>
                <a:gd name="T64" fmla="*/ 150 w 204"/>
                <a:gd name="T65" fmla="*/ 8 h 124"/>
                <a:gd name="T66" fmla="*/ 145 w 204"/>
                <a:gd name="T67" fmla="*/ 4 h 124"/>
                <a:gd name="T68" fmla="*/ 143 w 204"/>
                <a:gd name="T69" fmla="*/ 1 h 124"/>
                <a:gd name="T70" fmla="*/ 138 w 204"/>
                <a:gd name="T71" fmla="*/ 3 h 124"/>
                <a:gd name="T72" fmla="*/ 120 w 204"/>
                <a:gd name="T73" fmla="*/ 1 h 124"/>
                <a:gd name="T74" fmla="*/ 104 w 204"/>
                <a:gd name="T75" fmla="*/ 15 h 124"/>
                <a:gd name="T76" fmla="*/ 100 w 204"/>
                <a:gd name="T77" fmla="*/ 19 h 124"/>
                <a:gd name="T78" fmla="*/ 87 w 204"/>
                <a:gd name="T79" fmla="*/ 21 h 124"/>
                <a:gd name="T80" fmla="*/ 81 w 204"/>
                <a:gd name="T81" fmla="*/ 18 h 124"/>
                <a:gd name="T82" fmla="*/ 77 w 204"/>
                <a:gd name="T83" fmla="*/ 15 h 124"/>
                <a:gd name="T84" fmla="*/ 67 w 204"/>
                <a:gd name="T85" fmla="*/ 12 h 124"/>
                <a:gd name="T86" fmla="*/ 63 w 204"/>
                <a:gd name="T87" fmla="*/ 11 h 124"/>
                <a:gd name="T88" fmla="*/ 45 w 204"/>
                <a:gd name="T89" fmla="*/ 14 h 124"/>
                <a:gd name="T90" fmla="*/ 44 w 204"/>
                <a:gd name="T91" fmla="*/ 21 h 124"/>
                <a:gd name="T92" fmla="*/ 43 w 204"/>
                <a:gd name="T93" fmla="*/ 29 h 124"/>
                <a:gd name="T94" fmla="*/ 37 w 204"/>
                <a:gd name="T95" fmla="*/ 38 h 124"/>
                <a:gd name="T96" fmla="*/ 36 w 204"/>
                <a:gd name="T97" fmla="*/ 44 h 124"/>
                <a:gd name="T98" fmla="*/ 28 w 204"/>
                <a:gd name="T99" fmla="*/ 51 h 124"/>
                <a:gd name="T100" fmla="*/ 13 w 204"/>
                <a:gd name="T101" fmla="*/ 58 h 124"/>
                <a:gd name="T102" fmla="*/ 5 w 204"/>
                <a:gd name="T103" fmla="*/ 58 h 124"/>
                <a:gd name="T104" fmla="*/ 2 w 204"/>
                <a:gd name="T105" fmla="*/ 67 h 124"/>
                <a:gd name="T106" fmla="*/ 3 w 204"/>
                <a:gd name="T107" fmla="*/ 74 h 124"/>
                <a:gd name="T108" fmla="*/ 9 w 204"/>
                <a:gd name="T109" fmla="*/ 94 h 124"/>
                <a:gd name="T110" fmla="*/ 28 w 204"/>
                <a:gd name="T111" fmla="*/ 111 h 124"/>
                <a:gd name="T112" fmla="*/ 44 w 204"/>
                <a:gd name="T113" fmla="*/ 120 h 124"/>
                <a:gd name="T114" fmla="*/ 59 w 204"/>
                <a:gd name="T115" fmla="*/ 124 h 124"/>
                <a:gd name="T116" fmla="*/ 66 w 204"/>
                <a:gd name="T117" fmla="*/ 11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24">
                  <a:moveTo>
                    <a:pt x="66" y="119"/>
                  </a:moveTo>
                  <a:cubicBezTo>
                    <a:pt x="68" y="118"/>
                    <a:pt x="68" y="117"/>
                    <a:pt x="70" y="115"/>
                  </a:cubicBezTo>
                  <a:cubicBezTo>
                    <a:pt x="72" y="113"/>
                    <a:pt x="71" y="116"/>
                    <a:pt x="72" y="117"/>
                  </a:cubicBezTo>
                  <a:cubicBezTo>
                    <a:pt x="74" y="118"/>
                    <a:pt x="76" y="116"/>
                    <a:pt x="77" y="116"/>
                  </a:cubicBezTo>
                  <a:cubicBezTo>
                    <a:pt x="77" y="117"/>
                    <a:pt x="77" y="117"/>
                    <a:pt x="77" y="118"/>
                  </a:cubicBezTo>
                  <a:cubicBezTo>
                    <a:pt x="78" y="119"/>
                    <a:pt x="78" y="119"/>
                    <a:pt x="79" y="119"/>
                  </a:cubicBezTo>
                  <a:cubicBezTo>
                    <a:pt x="81" y="121"/>
                    <a:pt x="83" y="120"/>
                    <a:pt x="85" y="119"/>
                  </a:cubicBezTo>
                  <a:cubicBezTo>
                    <a:pt x="86" y="119"/>
                    <a:pt x="89" y="119"/>
                    <a:pt x="90" y="118"/>
                  </a:cubicBezTo>
                  <a:cubicBezTo>
                    <a:pt x="91" y="117"/>
                    <a:pt x="91" y="116"/>
                    <a:pt x="92" y="115"/>
                  </a:cubicBezTo>
                  <a:cubicBezTo>
                    <a:pt x="93" y="114"/>
                    <a:pt x="93" y="114"/>
                    <a:pt x="94" y="113"/>
                  </a:cubicBezTo>
                  <a:cubicBezTo>
                    <a:pt x="97" y="112"/>
                    <a:pt x="102" y="111"/>
                    <a:pt x="103" y="109"/>
                  </a:cubicBezTo>
                  <a:cubicBezTo>
                    <a:pt x="103" y="108"/>
                    <a:pt x="102" y="107"/>
                    <a:pt x="103" y="106"/>
                  </a:cubicBezTo>
                  <a:cubicBezTo>
                    <a:pt x="103" y="105"/>
                    <a:pt x="105" y="105"/>
                    <a:pt x="106" y="104"/>
                  </a:cubicBezTo>
                  <a:cubicBezTo>
                    <a:pt x="106" y="103"/>
                    <a:pt x="107" y="101"/>
                    <a:pt x="107" y="100"/>
                  </a:cubicBezTo>
                  <a:cubicBezTo>
                    <a:pt x="106" y="99"/>
                    <a:pt x="105" y="100"/>
                    <a:pt x="105" y="98"/>
                  </a:cubicBezTo>
                  <a:cubicBezTo>
                    <a:pt x="105" y="96"/>
                    <a:pt x="107" y="95"/>
                    <a:pt x="109" y="96"/>
                  </a:cubicBezTo>
                  <a:cubicBezTo>
                    <a:pt x="112" y="97"/>
                    <a:pt x="113" y="98"/>
                    <a:pt x="116" y="98"/>
                  </a:cubicBezTo>
                  <a:cubicBezTo>
                    <a:pt x="117" y="97"/>
                    <a:pt x="118" y="96"/>
                    <a:pt x="119" y="97"/>
                  </a:cubicBezTo>
                  <a:cubicBezTo>
                    <a:pt x="120" y="97"/>
                    <a:pt x="121" y="99"/>
                    <a:pt x="122" y="99"/>
                  </a:cubicBezTo>
                  <a:cubicBezTo>
                    <a:pt x="125" y="99"/>
                    <a:pt x="128" y="98"/>
                    <a:pt x="127" y="96"/>
                  </a:cubicBezTo>
                  <a:cubicBezTo>
                    <a:pt x="127" y="94"/>
                    <a:pt x="125" y="92"/>
                    <a:pt x="125" y="90"/>
                  </a:cubicBezTo>
                  <a:cubicBezTo>
                    <a:pt x="125" y="87"/>
                    <a:pt x="127" y="85"/>
                    <a:pt x="129" y="86"/>
                  </a:cubicBezTo>
                  <a:cubicBezTo>
                    <a:pt x="131" y="87"/>
                    <a:pt x="133" y="89"/>
                    <a:pt x="134" y="91"/>
                  </a:cubicBezTo>
                  <a:cubicBezTo>
                    <a:pt x="136" y="92"/>
                    <a:pt x="139" y="98"/>
                    <a:pt x="142" y="98"/>
                  </a:cubicBezTo>
                  <a:cubicBezTo>
                    <a:pt x="145" y="97"/>
                    <a:pt x="141" y="90"/>
                    <a:pt x="143" y="88"/>
                  </a:cubicBezTo>
                  <a:cubicBezTo>
                    <a:pt x="144" y="87"/>
                    <a:pt x="146" y="88"/>
                    <a:pt x="147" y="87"/>
                  </a:cubicBezTo>
                  <a:cubicBezTo>
                    <a:pt x="149" y="85"/>
                    <a:pt x="147" y="85"/>
                    <a:pt x="145" y="85"/>
                  </a:cubicBezTo>
                  <a:cubicBezTo>
                    <a:pt x="145" y="84"/>
                    <a:pt x="145" y="84"/>
                    <a:pt x="145" y="84"/>
                  </a:cubicBezTo>
                  <a:cubicBezTo>
                    <a:pt x="146" y="82"/>
                    <a:pt x="148" y="81"/>
                    <a:pt x="148" y="78"/>
                  </a:cubicBezTo>
                  <a:cubicBezTo>
                    <a:pt x="148" y="75"/>
                    <a:pt x="145" y="75"/>
                    <a:pt x="146" y="72"/>
                  </a:cubicBezTo>
                  <a:cubicBezTo>
                    <a:pt x="147" y="68"/>
                    <a:pt x="153" y="68"/>
                    <a:pt x="157" y="67"/>
                  </a:cubicBezTo>
                  <a:cubicBezTo>
                    <a:pt x="162" y="65"/>
                    <a:pt x="168" y="65"/>
                    <a:pt x="174" y="63"/>
                  </a:cubicBezTo>
                  <a:cubicBezTo>
                    <a:pt x="179" y="62"/>
                    <a:pt x="185" y="60"/>
                    <a:pt x="191" y="59"/>
                  </a:cubicBezTo>
                  <a:cubicBezTo>
                    <a:pt x="192" y="58"/>
                    <a:pt x="194" y="58"/>
                    <a:pt x="196" y="57"/>
                  </a:cubicBezTo>
                  <a:cubicBezTo>
                    <a:pt x="196" y="56"/>
                    <a:pt x="197" y="55"/>
                    <a:pt x="198" y="55"/>
                  </a:cubicBezTo>
                  <a:cubicBezTo>
                    <a:pt x="198" y="54"/>
                    <a:pt x="198" y="54"/>
                    <a:pt x="199" y="54"/>
                  </a:cubicBezTo>
                  <a:cubicBezTo>
                    <a:pt x="198" y="53"/>
                    <a:pt x="198" y="53"/>
                    <a:pt x="198" y="53"/>
                  </a:cubicBezTo>
                  <a:cubicBezTo>
                    <a:pt x="198" y="52"/>
                    <a:pt x="199" y="52"/>
                    <a:pt x="200" y="51"/>
                  </a:cubicBezTo>
                  <a:cubicBezTo>
                    <a:pt x="201" y="50"/>
                    <a:pt x="202" y="51"/>
                    <a:pt x="203" y="51"/>
                  </a:cubicBezTo>
                  <a:cubicBezTo>
                    <a:pt x="204" y="51"/>
                    <a:pt x="204" y="50"/>
                    <a:pt x="204" y="50"/>
                  </a:cubicBezTo>
                  <a:cubicBezTo>
                    <a:pt x="204" y="50"/>
                    <a:pt x="203" y="48"/>
                    <a:pt x="203" y="47"/>
                  </a:cubicBezTo>
                  <a:cubicBezTo>
                    <a:pt x="203" y="45"/>
                    <a:pt x="203" y="44"/>
                    <a:pt x="202" y="43"/>
                  </a:cubicBezTo>
                  <a:cubicBezTo>
                    <a:pt x="202" y="43"/>
                    <a:pt x="203" y="41"/>
                    <a:pt x="203" y="40"/>
                  </a:cubicBezTo>
                  <a:cubicBezTo>
                    <a:pt x="203" y="39"/>
                    <a:pt x="203" y="37"/>
                    <a:pt x="203" y="36"/>
                  </a:cubicBezTo>
                  <a:cubicBezTo>
                    <a:pt x="203" y="34"/>
                    <a:pt x="202" y="33"/>
                    <a:pt x="201" y="32"/>
                  </a:cubicBezTo>
                  <a:cubicBezTo>
                    <a:pt x="201" y="31"/>
                    <a:pt x="200" y="29"/>
                    <a:pt x="200" y="27"/>
                  </a:cubicBezTo>
                  <a:cubicBezTo>
                    <a:pt x="201" y="26"/>
                    <a:pt x="202" y="24"/>
                    <a:pt x="201" y="23"/>
                  </a:cubicBezTo>
                  <a:cubicBezTo>
                    <a:pt x="201" y="22"/>
                    <a:pt x="199" y="18"/>
                    <a:pt x="199" y="17"/>
                  </a:cubicBezTo>
                  <a:cubicBezTo>
                    <a:pt x="199" y="15"/>
                    <a:pt x="197" y="17"/>
                    <a:pt x="197" y="17"/>
                  </a:cubicBezTo>
                  <a:cubicBezTo>
                    <a:pt x="196" y="17"/>
                    <a:pt x="194" y="18"/>
                    <a:pt x="193" y="19"/>
                  </a:cubicBezTo>
                  <a:cubicBezTo>
                    <a:pt x="192" y="20"/>
                    <a:pt x="191" y="19"/>
                    <a:pt x="190" y="18"/>
                  </a:cubicBezTo>
                  <a:cubicBezTo>
                    <a:pt x="190" y="18"/>
                    <a:pt x="189" y="20"/>
                    <a:pt x="189" y="20"/>
                  </a:cubicBezTo>
                  <a:cubicBezTo>
                    <a:pt x="188" y="25"/>
                    <a:pt x="188" y="25"/>
                    <a:pt x="188" y="25"/>
                  </a:cubicBezTo>
                  <a:cubicBezTo>
                    <a:pt x="188" y="25"/>
                    <a:pt x="187" y="20"/>
                    <a:pt x="187" y="19"/>
                  </a:cubicBezTo>
                  <a:cubicBezTo>
                    <a:pt x="187" y="19"/>
                    <a:pt x="184" y="19"/>
                    <a:pt x="182" y="18"/>
                  </a:cubicBezTo>
                  <a:cubicBezTo>
                    <a:pt x="181" y="17"/>
                    <a:pt x="179" y="16"/>
                    <a:pt x="178" y="16"/>
                  </a:cubicBezTo>
                  <a:cubicBezTo>
                    <a:pt x="177" y="16"/>
                    <a:pt x="173" y="15"/>
                    <a:pt x="170" y="15"/>
                  </a:cubicBezTo>
                  <a:cubicBezTo>
                    <a:pt x="168" y="14"/>
                    <a:pt x="168" y="15"/>
                    <a:pt x="168" y="16"/>
                  </a:cubicBezTo>
                  <a:cubicBezTo>
                    <a:pt x="167" y="16"/>
                    <a:pt x="166" y="17"/>
                    <a:pt x="166" y="17"/>
                  </a:cubicBezTo>
                  <a:cubicBezTo>
                    <a:pt x="166" y="18"/>
                    <a:pt x="167" y="24"/>
                    <a:pt x="167" y="23"/>
                  </a:cubicBezTo>
                  <a:cubicBezTo>
                    <a:pt x="166" y="23"/>
                    <a:pt x="165" y="21"/>
                    <a:pt x="165" y="20"/>
                  </a:cubicBezTo>
                  <a:cubicBezTo>
                    <a:pt x="164" y="19"/>
                    <a:pt x="164" y="17"/>
                    <a:pt x="163" y="16"/>
                  </a:cubicBezTo>
                  <a:cubicBezTo>
                    <a:pt x="162" y="15"/>
                    <a:pt x="160" y="14"/>
                    <a:pt x="160" y="13"/>
                  </a:cubicBezTo>
                  <a:cubicBezTo>
                    <a:pt x="159" y="13"/>
                    <a:pt x="157" y="13"/>
                    <a:pt x="157" y="13"/>
                  </a:cubicBezTo>
                  <a:cubicBezTo>
                    <a:pt x="157" y="13"/>
                    <a:pt x="153" y="11"/>
                    <a:pt x="153" y="9"/>
                  </a:cubicBezTo>
                  <a:cubicBezTo>
                    <a:pt x="152" y="8"/>
                    <a:pt x="151" y="9"/>
                    <a:pt x="150" y="8"/>
                  </a:cubicBezTo>
                  <a:cubicBezTo>
                    <a:pt x="149" y="8"/>
                    <a:pt x="149" y="6"/>
                    <a:pt x="149" y="5"/>
                  </a:cubicBezTo>
                  <a:cubicBezTo>
                    <a:pt x="148" y="5"/>
                    <a:pt x="146" y="4"/>
                    <a:pt x="145" y="4"/>
                  </a:cubicBezTo>
                  <a:cubicBezTo>
                    <a:pt x="144" y="4"/>
                    <a:pt x="144" y="3"/>
                    <a:pt x="144" y="3"/>
                  </a:cubicBezTo>
                  <a:cubicBezTo>
                    <a:pt x="144" y="3"/>
                    <a:pt x="144" y="1"/>
                    <a:pt x="143" y="1"/>
                  </a:cubicBezTo>
                  <a:cubicBezTo>
                    <a:pt x="143" y="0"/>
                    <a:pt x="143" y="0"/>
                    <a:pt x="143" y="0"/>
                  </a:cubicBezTo>
                  <a:cubicBezTo>
                    <a:pt x="142" y="2"/>
                    <a:pt x="140" y="2"/>
                    <a:pt x="138" y="3"/>
                  </a:cubicBezTo>
                  <a:cubicBezTo>
                    <a:pt x="135" y="3"/>
                    <a:pt x="132" y="2"/>
                    <a:pt x="129" y="2"/>
                  </a:cubicBezTo>
                  <a:cubicBezTo>
                    <a:pt x="126" y="1"/>
                    <a:pt x="123" y="1"/>
                    <a:pt x="120" y="1"/>
                  </a:cubicBezTo>
                  <a:cubicBezTo>
                    <a:pt x="116" y="1"/>
                    <a:pt x="114" y="4"/>
                    <a:pt x="113" y="7"/>
                  </a:cubicBezTo>
                  <a:cubicBezTo>
                    <a:pt x="111" y="10"/>
                    <a:pt x="108" y="13"/>
                    <a:pt x="104" y="15"/>
                  </a:cubicBezTo>
                  <a:cubicBezTo>
                    <a:pt x="103" y="15"/>
                    <a:pt x="102" y="15"/>
                    <a:pt x="101" y="17"/>
                  </a:cubicBezTo>
                  <a:cubicBezTo>
                    <a:pt x="101" y="17"/>
                    <a:pt x="101" y="18"/>
                    <a:pt x="100" y="19"/>
                  </a:cubicBezTo>
                  <a:cubicBezTo>
                    <a:pt x="99" y="20"/>
                    <a:pt x="96" y="22"/>
                    <a:pt x="94" y="22"/>
                  </a:cubicBezTo>
                  <a:cubicBezTo>
                    <a:pt x="92" y="23"/>
                    <a:pt x="89" y="22"/>
                    <a:pt x="87" y="21"/>
                  </a:cubicBezTo>
                  <a:cubicBezTo>
                    <a:pt x="85" y="21"/>
                    <a:pt x="84" y="21"/>
                    <a:pt x="83" y="20"/>
                  </a:cubicBezTo>
                  <a:cubicBezTo>
                    <a:pt x="82" y="19"/>
                    <a:pt x="82" y="18"/>
                    <a:pt x="81" y="18"/>
                  </a:cubicBezTo>
                  <a:cubicBezTo>
                    <a:pt x="79" y="18"/>
                    <a:pt x="79" y="19"/>
                    <a:pt x="78" y="17"/>
                  </a:cubicBezTo>
                  <a:cubicBezTo>
                    <a:pt x="78" y="17"/>
                    <a:pt x="78" y="16"/>
                    <a:pt x="77" y="15"/>
                  </a:cubicBezTo>
                  <a:cubicBezTo>
                    <a:pt x="76" y="14"/>
                    <a:pt x="74" y="13"/>
                    <a:pt x="72" y="12"/>
                  </a:cubicBezTo>
                  <a:cubicBezTo>
                    <a:pt x="70" y="11"/>
                    <a:pt x="69" y="13"/>
                    <a:pt x="67" y="12"/>
                  </a:cubicBezTo>
                  <a:cubicBezTo>
                    <a:pt x="66" y="12"/>
                    <a:pt x="66" y="11"/>
                    <a:pt x="65" y="11"/>
                  </a:cubicBezTo>
                  <a:cubicBezTo>
                    <a:pt x="64" y="11"/>
                    <a:pt x="64" y="11"/>
                    <a:pt x="63" y="11"/>
                  </a:cubicBezTo>
                  <a:cubicBezTo>
                    <a:pt x="60" y="12"/>
                    <a:pt x="57" y="9"/>
                    <a:pt x="54" y="10"/>
                  </a:cubicBezTo>
                  <a:cubicBezTo>
                    <a:pt x="50" y="10"/>
                    <a:pt x="49" y="14"/>
                    <a:pt x="45" y="14"/>
                  </a:cubicBezTo>
                  <a:cubicBezTo>
                    <a:pt x="44" y="15"/>
                    <a:pt x="44" y="15"/>
                    <a:pt x="44" y="15"/>
                  </a:cubicBezTo>
                  <a:cubicBezTo>
                    <a:pt x="44" y="17"/>
                    <a:pt x="43" y="19"/>
                    <a:pt x="44" y="21"/>
                  </a:cubicBezTo>
                  <a:cubicBezTo>
                    <a:pt x="44" y="23"/>
                    <a:pt x="46" y="23"/>
                    <a:pt x="47" y="25"/>
                  </a:cubicBezTo>
                  <a:cubicBezTo>
                    <a:pt x="47" y="26"/>
                    <a:pt x="44" y="28"/>
                    <a:pt x="43" y="29"/>
                  </a:cubicBezTo>
                  <a:cubicBezTo>
                    <a:pt x="40" y="30"/>
                    <a:pt x="37" y="29"/>
                    <a:pt x="36" y="33"/>
                  </a:cubicBezTo>
                  <a:cubicBezTo>
                    <a:pt x="35" y="35"/>
                    <a:pt x="37" y="36"/>
                    <a:pt x="37" y="38"/>
                  </a:cubicBezTo>
                  <a:cubicBezTo>
                    <a:pt x="37" y="39"/>
                    <a:pt x="36" y="40"/>
                    <a:pt x="36" y="41"/>
                  </a:cubicBezTo>
                  <a:cubicBezTo>
                    <a:pt x="36" y="42"/>
                    <a:pt x="37" y="43"/>
                    <a:pt x="36" y="44"/>
                  </a:cubicBezTo>
                  <a:cubicBezTo>
                    <a:pt x="36" y="45"/>
                    <a:pt x="33" y="46"/>
                    <a:pt x="32" y="47"/>
                  </a:cubicBezTo>
                  <a:cubicBezTo>
                    <a:pt x="30" y="48"/>
                    <a:pt x="29" y="50"/>
                    <a:pt x="28" y="51"/>
                  </a:cubicBezTo>
                  <a:cubicBezTo>
                    <a:pt x="25" y="55"/>
                    <a:pt x="24" y="59"/>
                    <a:pt x="20" y="58"/>
                  </a:cubicBezTo>
                  <a:cubicBezTo>
                    <a:pt x="17" y="58"/>
                    <a:pt x="15" y="58"/>
                    <a:pt x="13" y="58"/>
                  </a:cubicBezTo>
                  <a:cubicBezTo>
                    <a:pt x="11" y="59"/>
                    <a:pt x="10" y="60"/>
                    <a:pt x="8" y="59"/>
                  </a:cubicBezTo>
                  <a:cubicBezTo>
                    <a:pt x="7" y="58"/>
                    <a:pt x="6" y="58"/>
                    <a:pt x="5" y="58"/>
                  </a:cubicBezTo>
                  <a:cubicBezTo>
                    <a:pt x="4" y="58"/>
                    <a:pt x="4" y="60"/>
                    <a:pt x="2" y="59"/>
                  </a:cubicBezTo>
                  <a:cubicBezTo>
                    <a:pt x="0" y="61"/>
                    <a:pt x="2" y="64"/>
                    <a:pt x="2" y="67"/>
                  </a:cubicBezTo>
                  <a:cubicBezTo>
                    <a:pt x="3" y="68"/>
                    <a:pt x="3" y="69"/>
                    <a:pt x="3" y="71"/>
                  </a:cubicBezTo>
                  <a:cubicBezTo>
                    <a:pt x="2" y="72"/>
                    <a:pt x="2" y="73"/>
                    <a:pt x="3" y="74"/>
                  </a:cubicBezTo>
                  <a:cubicBezTo>
                    <a:pt x="5" y="79"/>
                    <a:pt x="9" y="81"/>
                    <a:pt x="10" y="86"/>
                  </a:cubicBezTo>
                  <a:cubicBezTo>
                    <a:pt x="10" y="89"/>
                    <a:pt x="10" y="92"/>
                    <a:pt x="9" y="94"/>
                  </a:cubicBezTo>
                  <a:cubicBezTo>
                    <a:pt x="14" y="96"/>
                    <a:pt x="19" y="98"/>
                    <a:pt x="23" y="102"/>
                  </a:cubicBezTo>
                  <a:cubicBezTo>
                    <a:pt x="26" y="105"/>
                    <a:pt x="26" y="107"/>
                    <a:pt x="28" y="111"/>
                  </a:cubicBezTo>
                  <a:cubicBezTo>
                    <a:pt x="34" y="110"/>
                    <a:pt x="35" y="112"/>
                    <a:pt x="40" y="115"/>
                  </a:cubicBezTo>
                  <a:cubicBezTo>
                    <a:pt x="41" y="117"/>
                    <a:pt x="43" y="118"/>
                    <a:pt x="44" y="120"/>
                  </a:cubicBezTo>
                  <a:cubicBezTo>
                    <a:pt x="47" y="122"/>
                    <a:pt x="48" y="121"/>
                    <a:pt x="51" y="121"/>
                  </a:cubicBezTo>
                  <a:cubicBezTo>
                    <a:pt x="54" y="121"/>
                    <a:pt x="57" y="122"/>
                    <a:pt x="59" y="124"/>
                  </a:cubicBezTo>
                  <a:cubicBezTo>
                    <a:pt x="60" y="123"/>
                    <a:pt x="60" y="123"/>
                    <a:pt x="60" y="123"/>
                  </a:cubicBezTo>
                  <a:cubicBezTo>
                    <a:pt x="61" y="121"/>
                    <a:pt x="63" y="120"/>
                    <a:pt x="66" y="11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9" name="Freeform 50">
              <a:extLst>
                <a:ext uri="{FF2B5EF4-FFF2-40B4-BE49-F238E27FC236}">
                  <a16:creationId xmlns:a16="http://schemas.microsoft.com/office/drawing/2014/main" id="{47CB5B3E-D30B-C5E7-ABF3-659676419301}"/>
                </a:ext>
              </a:extLst>
            </p:cNvPr>
            <p:cNvSpPr>
              <a:spLocks/>
            </p:cNvSpPr>
            <p:nvPr/>
          </p:nvSpPr>
          <p:spPr bwMode="auto">
            <a:xfrm>
              <a:off x="3305175" y="5237163"/>
              <a:ext cx="63500" cy="69850"/>
            </a:xfrm>
            <a:custGeom>
              <a:avLst/>
              <a:gdLst>
                <a:gd name="T0" fmla="*/ 17 w 17"/>
                <a:gd name="T1" fmla="*/ 1 h 18"/>
                <a:gd name="T2" fmla="*/ 13 w 17"/>
                <a:gd name="T3" fmla="*/ 2 h 18"/>
                <a:gd name="T4" fmla="*/ 10 w 17"/>
                <a:gd name="T5" fmla="*/ 3 h 18"/>
                <a:gd name="T6" fmla="*/ 6 w 17"/>
                <a:gd name="T7" fmla="*/ 2 h 18"/>
                <a:gd name="T8" fmla="*/ 4 w 17"/>
                <a:gd name="T9" fmla="*/ 2 h 18"/>
                <a:gd name="T10" fmla="*/ 2 w 17"/>
                <a:gd name="T11" fmla="*/ 0 h 18"/>
                <a:gd name="T12" fmla="*/ 0 w 17"/>
                <a:gd name="T13" fmla="*/ 4 h 18"/>
                <a:gd name="T14" fmla="*/ 1 w 17"/>
                <a:gd name="T15" fmla="*/ 8 h 18"/>
                <a:gd name="T16" fmla="*/ 3 w 17"/>
                <a:gd name="T17" fmla="*/ 11 h 18"/>
                <a:gd name="T18" fmla="*/ 5 w 17"/>
                <a:gd name="T19" fmla="*/ 15 h 18"/>
                <a:gd name="T20" fmla="*/ 5 w 17"/>
                <a:gd name="T21" fmla="*/ 18 h 18"/>
                <a:gd name="T22" fmla="*/ 7 w 17"/>
                <a:gd name="T23" fmla="*/ 17 h 18"/>
                <a:gd name="T24" fmla="*/ 11 w 17"/>
                <a:gd name="T25" fmla="*/ 17 h 18"/>
                <a:gd name="T26" fmla="*/ 14 w 17"/>
                <a:gd name="T27" fmla="*/ 15 h 18"/>
                <a:gd name="T28" fmla="*/ 15 w 17"/>
                <a:gd name="T29" fmla="*/ 13 h 18"/>
                <a:gd name="T30" fmla="*/ 16 w 17"/>
                <a:gd name="T31" fmla="*/ 10 h 18"/>
                <a:gd name="T32" fmla="*/ 17 w 17"/>
                <a:gd name="T33" fmla="*/ 4 h 18"/>
                <a:gd name="T34" fmla="*/ 17 w 17"/>
                <a:gd name="T3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8">
                  <a:moveTo>
                    <a:pt x="17" y="1"/>
                  </a:moveTo>
                  <a:cubicBezTo>
                    <a:pt x="16" y="1"/>
                    <a:pt x="13" y="2"/>
                    <a:pt x="13" y="2"/>
                  </a:cubicBezTo>
                  <a:cubicBezTo>
                    <a:pt x="12" y="2"/>
                    <a:pt x="10" y="3"/>
                    <a:pt x="10" y="3"/>
                  </a:cubicBezTo>
                  <a:cubicBezTo>
                    <a:pt x="6" y="2"/>
                    <a:pt x="6" y="2"/>
                    <a:pt x="6" y="2"/>
                  </a:cubicBezTo>
                  <a:cubicBezTo>
                    <a:pt x="6" y="2"/>
                    <a:pt x="5" y="2"/>
                    <a:pt x="4" y="2"/>
                  </a:cubicBezTo>
                  <a:cubicBezTo>
                    <a:pt x="4" y="2"/>
                    <a:pt x="3" y="1"/>
                    <a:pt x="2" y="0"/>
                  </a:cubicBezTo>
                  <a:cubicBezTo>
                    <a:pt x="1" y="1"/>
                    <a:pt x="0" y="2"/>
                    <a:pt x="0" y="4"/>
                  </a:cubicBezTo>
                  <a:cubicBezTo>
                    <a:pt x="0" y="5"/>
                    <a:pt x="0" y="6"/>
                    <a:pt x="1" y="8"/>
                  </a:cubicBezTo>
                  <a:cubicBezTo>
                    <a:pt x="1" y="9"/>
                    <a:pt x="2" y="10"/>
                    <a:pt x="3" y="11"/>
                  </a:cubicBezTo>
                  <a:cubicBezTo>
                    <a:pt x="4" y="13"/>
                    <a:pt x="5" y="13"/>
                    <a:pt x="5" y="15"/>
                  </a:cubicBezTo>
                  <a:cubicBezTo>
                    <a:pt x="5" y="16"/>
                    <a:pt x="5" y="17"/>
                    <a:pt x="5" y="18"/>
                  </a:cubicBezTo>
                  <a:cubicBezTo>
                    <a:pt x="6" y="18"/>
                    <a:pt x="6" y="17"/>
                    <a:pt x="7" y="17"/>
                  </a:cubicBezTo>
                  <a:cubicBezTo>
                    <a:pt x="8" y="17"/>
                    <a:pt x="10" y="18"/>
                    <a:pt x="11" y="17"/>
                  </a:cubicBezTo>
                  <a:cubicBezTo>
                    <a:pt x="13" y="17"/>
                    <a:pt x="14" y="17"/>
                    <a:pt x="14" y="15"/>
                  </a:cubicBezTo>
                  <a:cubicBezTo>
                    <a:pt x="15" y="14"/>
                    <a:pt x="14" y="14"/>
                    <a:pt x="15" y="13"/>
                  </a:cubicBezTo>
                  <a:cubicBezTo>
                    <a:pt x="15" y="12"/>
                    <a:pt x="15" y="11"/>
                    <a:pt x="16" y="10"/>
                  </a:cubicBezTo>
                  <a:cubicBezTo>
                    <a:pt x="17" y="8"/>
                    <a:pt x="17" y="6"/>
                    <a:pt x="17" y="4"/>
                  </a:cubicBezTo>
                  <a:cubicBezTo>
                    <a:pt x="17" y="3"/>
                    <a:pt x="17" y="2"/>
                    <a:pt x="17" y="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0" name="Freeform 52">
              <a:extLst>
                <a:ext uri="{FF2B5EF4-FFF2-40B4-BE49-F238E27FC236}">
                  <a16:creationId xmlns:a16="http://schemas.microsoft.com/office/drawing/2014/main" id="{FB7FDECB-3EFD-E20F-2D85-39615B860D36}"/>
                </a:ext>
              </a:extLst>
            </p:cNvPr>
            <p:cNvSpPr>
              <a:spLocks/>
            </p:cNvSpPr>
            <p:nvPr/>
          </p:nvSpPr>
          <p:spPr bwMode="auto">
            <a:xfrm>
              <a:off x="6738938" y="3584575"/>
              <a:ext cx="541338" cy="171450"/>
            </a:xfrm>
            <a:custGeom>
              <a:avLst/>
              <a:gdLst>
                <a:gd name="T0" fmla="*/ 142 w 142"/>
                <a:gd name="T1" fmla="*/ 34 h 45"/>
                <a:gd name="T2" fmla="*/ 134 w 142"/>
                <a:gd name="T3" fmla="*/ 26 h 45"/>
                <a:gd name="T4" fmla="*/ 128 w 142"/>
                <a:gd name="T5" fmla="*/ 22 h 45"/>
                <a:gd name="T6" fmla="*/ 125 w 142"/>
                <a:gd name="T7" fmla="*/ 16 h 45"/>
                <a:gd name="T8" fmla="*/ 118 w 142"/>
                <a:gd name="T9" fmla="*/ 10 h 45"/>
                <a:gd name="T10" fmla="*/ 116 w 142"/>
                <a:gd name="T11" fmla="*/ 7 h 45"/>
                <a:gd name="T12" fmla="*/ 111 w 142"/>
                <a:gd name="T13" fmla="*/ 5 h 45"/>
                <a:gd name="T14" fmla="*/ 109 w 142"/>
                <a:gd name="T15" fmla="*/ 7 h 45"/>
                <a:gd name="T16" fmla="*/ 107 w 142"/>
                <a:gd name="T17" fmla="*/ 10 h 45"/>
                <a:gd name="T18" fmla="*/ 104 w 142"/>
                <a:gd name="T19" fmla="*/ 9 h 45"/>
                <a:gd name="T20" fmla="*/ 101 w 142"/>
                <a:gd name="T21" fmla="*/ 13 h 45"/>
                <a:gd name="T22" fmla="*/ 95 w 142"/>
                <a:gd name="T23" fmla="*/ 10 h 45"/>
                <a:gd name="T24" fmla="*/ 83 w 142"/>
                <a:gd name="T25" fmla="*/ 4 h 45"/>
                <a:gd name="T26" fmla="*/ 79 w 142"/>
                <a:gd name="T27" fmla="*/ 2 h 45"/>
                <a:gd name="T28" fmla="*/ 75 w 142"/>
                <a:gd name="T29" fmla="*/ 2 h 45"/>
                <a:gd name="T30" fmla="*/ 72 w 142"/>
                <a:gd name="T31" fmla="*/ 1 h 45"/>
                <a:gd name="T32" fmla="*/ 68 w 142"/>
                <a:gd name="T33" fmla="*/ 2 h 45"/>
                <a:gd name="T34" fmla="*/ 64 w 142"/>
                <a:gd name="T35" fmla="*/ 2 h 45"/>
                <a:gd name="T36" fmla="*/ 59 w 142"/>
                <a:gd name="T37" fmla="*/ 4 h 45"/>
                <a:gd name="T38" fmla="*/ 54 w 142"/>
                <a:gd name="T39" fmla="*/ 6 h 45"/>
                <a:gd name="T40" fmla="*/ 29 w 142"/>
                <a:gd name="T41" fmla="*/ 10 h 45"/>
                <a:gd name="T42" fmla="*/ 13 w 142"/>
                <a:gd name="T43" fmla="*/ 12 h 45"/>
                <a:gd name="T44" fmla="*/ 3 w 142"/>
                <a:gd name="T45" fmla="*/ 16 h 45"/>
                <a:gd name="T46" fmla="*/ 6 w 142"/>
                <a:gd name="T47" fmla="*/ 28 h 45"/>
                <a:gd name="T48" fmla="*/ 11 w 142"/>
                <a:gd name="T49" fmla="*/ 34 h 45"/>
                <a:gd name="T50" fmla="*/ 17 w 142"/>
                <a:gd name="T51" fmla="*/ 34 h 45"/>
                <a:gd name="T52" fmla="*/ 21 w 142"/>
                <a:gd name="T53" fmla="*/ 32 h 45"/>
                <a:gd name="T54" fmla="*/ 29 w 142"/>
                <a:gd name="T55" fmla="*/ 31 h 45"/>
                <a:gd name="T56" fmla="*/ 35 w 142"/>
                <a:gd name="T57" fmla="*/ 35 h 45"/>
                <a:gd name="T58" fmla="*/ 41 w 142"/>
                <a:gd name="T59" fmla="*/ 37 h 45"/>
                <a:gd name="T60" fmla="*/ 58 w 142"/>
                <a:gd name="T61" fmla="*/ 34 h 45"/>
                <a:gd name="T62" fmla="*/ 67 w 142"/>
                <a:gd name="T63" fmla="*/ 34 h 45"/>
                <a:gd name="T64" fmla="*/ 78 w 142"/>
                <a:gd name="T65" fmla="*/ 33 h 45"/>
                <a:gd name="T66" fmla="*/ 88 w 142"/>
                <a:gd name="T67" fmla="*/ 34 h 45"/>
                <a:gd name="T68" fmla="*/ 91 w 142"/>
                <a:gd name="T69" fmla="*/ 34 h 45"/>
                <a:gd name="T70" fmla="*/ 97 w 142"/>
                <a:gd name="T71" fmla="*/ 34 h 45"/>
                <a:gd name="T72" fmla="*/ 110 w 142"/>
                <a:gd name="T73" fmla="*/ 34 h 45"/>
                <a:gd name="T74" fmla="*/ 115 w 142"/>
                <a:gd name="T75" fmla="*/ 33 h 45"/>
                <a:gd name="T76" fmla="*/ 120 w 142"/>
                <a:gd name="T77" fmla="*/ 37 h 45"/>
                <a:gd name="T78" fmla="*/ 128 w 142"/>
                <a:gd name="T79" fmla="*/ 44 h 45"/>
                <a:gd name="T80" fmla="*/ 139 w 142"/>
                <a:gd name="T81" fmla="*/ 44 h 45"/>
                <a:gd name="T82" fmla="*/ 142 w 142"/>
                <a:gd name="T83"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45">
                  <a:moveTo>
                    <a:pt x="142" y="38"/>
                  </a:moveTo>
                  <a:cubicBezTo>
                    <a:pt x="142" y="37"/>
                    <a:pt x="142" y="36"/>
                    <a:pt x="142" y="34"/>
                  </a:cubicBezTo>
                  <a:cubicBezTo>
                    <a:pt x="142" y="31"/>
                    <a:pt x="140" y="28"/>
                    <a:pt x="136" y="26"/>
                  </a:cubicBezTo>
                  <a:cubicBezTo>
                    <a:pt x="136" y="26"/>
                    <a:pt x="135" y="26"/>
                    <a:pt x="134" y="26"/>
                  </a:cubicBezTo>
                  <a:cubicBezTo>
                    <a:pt x="133" y="25"/>
                    <a:pt x="132" y="25"/>
                    <a:pt x="131" y="24"/>
                  </a:cubicBezTo>
                  <a:cubicBezTo>
                    <a:pt x="130" y="23"/>
                    <a:pt x="129" y="23"/>
                    <a:pt x="128" y="22"/>
                  </a:cubicBezTo>
                  <a:cubicBezTo>
                    <a:pt x="127" y="21"/>
                    <a:pt x="125" y="20"/>
                    <a:pt x="125" y="20"/>
                  </a:cubicBezTo>
                  <a:cubicBezTo>
                    <a:pt x="125" y="19"/>
                    <a:pt x="125" y="17"/>
                    <a:pt x="125" y="16"/>
                  </a:cubicBezTo>
                  <a:cubicBezTo>
                    <a:pt x="125" y="15"/>
                    <a:pt x="125" y="14"/>
                    <a:pt x="124" y="13"/>
                  </a:cubicBezTo>
                  <a:cubicBezTo>
                    <a:pt x="122" y="12"/>
                    <a:pt x="119" y="12"/>
                    <a:pt x="118" y="10"/>
                  </a:cubicBezTo>
                  <a:cubicBezTo>
                    <a:pt x="117" y="9"/>
                    <a:pt x="116" y="8"/>
                    <a:pt x="116" y="7"/>
                  </a:cubicBezTo>
                  <a:cubicBezTo>
                    <a:pt x="116" y="7"/>
                    <a:pt x="116" y="7"/>
                    <a:pt x="116" y="7"/>
                  </a:cubicBezTo>
                  <a:cubicBezTo>
                    <a:pt x="116" y="7"/>
                    <a:pt x="115" y="7"/>
                    <a:pt x="114" y="7"/>
                  </a:cubicBezTo>
                  <a:cubicBezTo>
                    <a:pt x="113" y="6"/>
                    <a:pt x="112" y="5"/>
                    <a:pt x="111" y="5"/>
                  </a:cubicBezTo>
                  <a:cubicBezTo>
                    <a:pt x="110" y="5"/>
                    <a:pt x="108" y="5"/>
                    <a:pt x="108" y="5"/>
                  </a:cubicBezTo>
                  <a:cubicBezTo>
                    <a:pt x="107" y="6"/>
                    <a:pt x="109" y="6"/>
                    <a:pt x="109" y="7"/>
                  </a:cubicBezTo>
                  <a:cubicBezTo>
                    <a:pt x="109" y="8"/>
                    <a:pt x="108" y="8"/>
                    <a:pt x="108" y="9"/>
                  </a:cubicBezTo>
                  <a:cubicBezTo>
                    <a:pt x="107" y="9"/>
                    <a:pt x="107" y="10"/>
                    <a:pt x="107" y="10"/>
                  </a:cubicBezTo>
                  <a:cubicBezTo>
                    <a:pt x="105" y="9"/>
                    <a:pt x="105" y="9"/>
                    <a:pt x="105" y="9"/>
                  </a:cubicBezTo>
                  <a:cubicBezTo>
                    <a:pt x="105" y="9"/>
                    <a:pt x="104" y="9"/>
                    <a:pt x="104" y="9"/>
                  </a:cubicBezTo>
                  <a:cubicBezTo>
                    <a:pt x="104" y="10"/>
                    <a:pt x="106" y="11"/>
                    <a:pt x="105" y="12"/>
                  </a:cubicBezTo>
                  <a:cubicBezTo>
                    <a:pt x="104" y="14"/>
                    <a:pt x="102" y="14"/>
                    <a:pt x="101" y="13"/>
                  </a:cubicBezTo>
                  <a:cubicBezTo>
                    <a:pt x="100" y="12"/>
                    <a:pt x="99" y="11"/>
                    <a:pt x="98" y="11"/>
                  </a:cubicBezTo>
                  <a:cubicBezTo>
                    <a:pt x="97" y="10"/>
                    <a:pt x="96" y="10"/>
                    <a:pt x="95" y="10"/>
                  </a:cubicBezTo>
                  <a:cubicBezTo>
                    <a:pt x="93" y="9"/>
                    <a:pt x="91" y="8"/>
                    <a:pt x="90" y="6"/>
                  </a:cubicBezTo>
                  <a:cubicBezTo>
                    <a:pt x="88" y="4"/>
                    <a:pt x="85" y="5"/>
                    <a:pt x="83" y="4"/>
                  </a:cubicBezTo>
                  <a:cubicBezTo>
                    <a:pt x="81" y="4"/>
                    <a:pt x="80" y="4"/>
                    <a:pt x="79" y="3"/>
                  </a:cubicBezTo>
                  <a:cubicBezTo>
                    <a:pt x="79" y="2"/>
                    <a:pt x="79" y="2"/>
                    <a:pt x="79" y="2"/>
                  </a:cubicBezTo>
                  <a:cubicBezTo>
                    <a:pt x="78" y="2"/>
                    <a:pt x="77" y="3"/>
                    <a:pt x="76" y="3"/>
                  </a:cubicBezTo>
                  <a:cubicBezTo>
                    <a:pt x="75" y="4"/>
                    <a:pt x="75" y="2"/>
                    <a:pt x="75" y="2"/>
                  </a:cubicBezTo>
                  <a:cubicBezTo>
                    <a:pt x="74" y="1"/>
                    <a:pt x="73" y="2"/>
                    <a:pt x="73" y="2"/>
                  </a:cubicBezTo>
                  <a:cubicBezTo>
                    <a:pt x="72" y="2"/>
                    <a:pt x="72" y="1"/>
                    <a:pt x="72" y="1"/>
                  </a:cubicBezTo>
                  <a:cubicBezTo>
                    <a:pt x="71" y="0"/>
                    <a:pt x="70" y="1"/>
                    <a:pt x="70" y="1"/>
                  </a:cubicBezTo>
                  <a:cubicBezTo>
                    <a:pt x="69" y="2"/>
                    <a:pt x="69" y="2"/>
                    <a:pt x="68" y="2"/>
                  </a:cubicBezTo>
                  <a:cubicBezTo>
                    <a:pt x="67" y="2"/>
                    <a:pt x="66" y="2"/>
                    <a:pt x="66" y="2"/>
                  </a:cubicBezTo>
                  <a:cubicBezTo>
                    <a:pt x="65" y="2"/>
                    <a:pt x="64" y="2"/>
                    <a:pt x="64" y="2"/>
                  </a:cubicBezTo>
                  <a:cubicBezTo>
                    <a:pt x="64" y="2"/>
                    <a:pt x="63" y="3"/>
                    <a:pt x="62" y="3"/>
                  </a:cubicBezTo>
                  <a:cubicBezTo>
                    <a:pt x="62" y="3"/>
                    <a:pt x="60" y="4"/>
                    <a:pt x="59" y="4"/>
                  </a:cubicBezTo>
                  <a:cubicBezTo>
                    <a:pt x="58" y="4"/>
                    <a:pt x="58" y="3"/>
                    <a:pt x="57" y="3"/>
                  </a:cubicBezTo>
                  <a:cubicBezTo>
                    <a:pt x="55" y="4"/>
                    <a:pt x="55" y="5"/>
                    <a:pt x="54" y="6"/>
                  </a:cubicBezTo>
                  <a:cubicBezTo>
                    <a:pt x="51" y="10"/>
                    <a:pt x="47" y="9"/>
                    <a:pt x="43" y="6"/>
                  </a:cubicBezTo>
                  <a:cubicBezTo>
                    <a:pt x="39" y="4"/>
                    <a:pt x="33" y="9"/>
                    <a:pt x="29" y="10"/>
                  </a:cubicBezTo>
                  <a:cubicBezTo>
                    <a:pt x="26" y="11"/>
                    <a:pt x="23" y="12"/>
                    <a:pt x="20" y="12"/>
                  </a:cubicBezTo>
                  <a:cubicBezTo>
                    <a:pt x="18" y="12"/>
                    <a:pt x="15" y="12"/>
                    <a:pt x="13" y="12"/>
                  </a:cubicBezTo>
                  <a:cubicBezTo>
                    <a:pt x="10" y="13"/>
                    <a:pt x="12" y="14"/>
                    <a:pt x="12" y="15"/>
                  </a:cubicBezTo>
                  <a:cubicBezTo>
                    <a:pt x="11" y="17"/>
                    <a:pt x="5" y="16"/>
                    <a:pt x="3" y="16"/>
                  </a:cubicBezTo>
                  <a:cubicBezTo>
                    <a:pt x="1" y="17"/>
                    <a:pt x="0" y="20"/>
                    <a:pt x="0" y="22"/>
                  </a:cubicBezTo>
                  <a:cubicBezTo>
                    <a:pt x="1" y="25"/>
                    <a:pt x="4" y="26"/>
                    <a:pt x="6" y="28"/>
                  </a:cubicBezTo>
                  <a:cubicBezTo>
                    <a:pt x="7" y="29"/>
                    <a:pt x="10" y="29"/>
                    <a:pt x="11" y="32"/>
                  </a:cubicBezTo>
                  <a:cubicBezTo>
                    <a:pt x="11" y="33"/>
                    <a:pt x="11" y="33"/>
                    <a:pt x="11" y="34"/>
                  </a:cubicBezTo>
                  <a:cubicBezTo>
                    <a:pt x="12" y="34"/>
                    <a:pt x="13" y="34"/>
                    <a:pt x="14" y="34"/>
                  </a:cubicBezTo>
                  <a:cubicBezTo>
                    <a:pt x="14" y="33"/>
                    <a:pt x="16" y="34"/>
                    <a:pt x="17" y="34"/>
                  </a:cubicBezTo>
                  <a:cubicBezTo>
                    <a:pt x="18" y="35"/>
                    <a:pt x="19" y="34"/>
                    <a:pt x="20" y="34"/>
                  </a:cubicBezTo>
                  <a:cubicBezTo>
                    <a:pt x="20" y="33"/>
                    <a:pt x="20" y="33"/>
                    <a:pt x="21" y="32"/>
                  </a:cubicBezTo>
                  <a:cubicBezTo>
                    <a:pt x="22" y="30"/>
                    <a:pt x="24" y="30"/>
                    <a:pt x="26" y="31"/>
                  </a:cubicBezTo>
                  <a:cubicBezTo>
                    <a:pt x="27" y="31"/>
                    <a:pt x="28" y="31"/>
                    <a:pt x="29" y="31"/>
                  </a:cubicBezTo>
                  <a:cubicBezTo>
                    <a:pt x="30" y="32"/>
                    <a:pt x="30" y="32"/>
                    <a:pt x="31" y="32"/>
                  </a:cubicBezTo>
                  <a:cubicBezTo>
                    <a:pt x="33" y="33"/>
                    <a:pt x="34" y="33"/>
                    <a:pt x="35" y="35"/>
                  </a:cubicBezTo>
                  <a:cubicBezTo>
                    <a:pt x="36" y="36"/>
                    <a:pt x="36" y="36"/>
                    <a:pt x="37" y="37"/>
                  </a:cubicBezTo>
                  <a:cubicBezTo>
                    <a:pt x="39" y="38"/>
                    <a:pt x="39" y="38"/>
                    <a:pt x="41" y="37"/>
                  </a:cubicBezTo>
                  <a:cubicBezTo>
                    <a:pt x="46" y="37"/>
                    <a:pt x="50" y="35"/>
                    <a:pt x="55" y="34"/>
                  </a:cubicBezTo>
                  <a:cubicBezTo>
                    <a:pt x="56" y="33"/>
                    <a:pt x="57" y="34"/>
                    <a:pt x="58" y="34"/>
                  </a:cubicBezTo>
                  <a:cubicBezTo>
                    <a:pt x="59" y="35"/>
                    <a:pt x="60" y="34"/>
                    <a:pt x="61" y="34"/>
                  </a:cubicBezTo>
                  <a:cubicBezTo>
                    <a:pt x="63" y="35"/>
                    <a:pt x="65" y="35"/>
                    <a:pt x="67" y="34"/>
                  </a:cubicBezTo>
                  <a:cubicBezTo>
                    <a:pt x="68" y="34"/>
                    <a:pt x="70" y="33"/>
                    <a:pt x="71" y="33"/>
                  </a:cubicBezTo>
                  <a:cubicBezTo>
                    <a:pt x="73" y="32"/>
                    <a:pt x="76" y="32"/>
                    <a:pt x="78" y="33"/>
                  </a:cubicBezTo>
                  <a:cubicBezTo>
                    <a:pt x="80" y="33"/>
                    <a:pt x="82" y="33"/>
                    <a:pt x="83" y="33"/>
                  </a:cubicBezTo>
                  <a:cubicBezTo>
                    <a:pt x="85" y="34"/>
                    <a:pt x="86" y="35"/>
                    <a:pt x="88" y="34"/>
                  </a:cubicBezTo>
                  <a:cubicBezTo>
                    <a:pt x="88" y="34"/>
                    <a:pt x="90" y="33"/>
                    <a:pt x="90" y="33"/>
                  </a:cubicBezTo>
                  <a:cubicBezTo>
                    <a:pt x="91" y="34"/>
                    <a:pt x="91" y="34"/>
                    <a:pt x="91" y="34"/>
                  </a:cubicBezTo>
                  <a:cubicBezTo>
                    <a:pt x="91" y="35"/>
                    <a:pt x="93" y="34"/>
                    <a:pt x="94" y="34"/>
                  </a:cubicBezTo>
                  <a:cubicBezTo>
                    <a:pt x="95" y="34"/>
                    <a:pt x="96" y="34"/>
                    <a:pt x="97" y="34"/>
                  </a:cubicBezTo>
                  <a:cubicBezTo>
                    <a:pt x="100" y="33"/>
                    <a:pt x="103" y="34"/>
                    <a:pt x="106" y="34"/>
                  </a:cubicBezTo>
                  <a:cubicBezTo>
                    <a:pt x="107" y="34"/>
                    <a:pt x="109" y="34"/>
                    <a:pt x="110" y="34"/>
                  </a:cubicBezTo>
                  <a:cubicBezTo>
                    <a:pt x="111" y="34"/>
                    <a:pt x="112" y="34"/>
                    <a:pt x="113" y="33"/>
                  </a:cubicBezTo>
                  <a:cubicBezTo>
                    <a:pt x="114" y="33"/>
                    <a:pt x="114" y="32"/>
                    <a:pt x="115" y="33"/>
                  </a:cubicBezTo>
                  <a:cubicBezTo>
                    <a:pt x="115" y="33"/>
                    <a:pt x="116" y="34"/>
                    <a:pt x="117" y="34"/>
                  </a:cubicBezTo>
                  <a:cubicBezTo>
                    <a:pt x="118" y="35"/>
                    <a:pt x="119" y="36"/>
                    <a:pt x="120" y="37"/>
                  </a:cubicBezTo>
                  <a:cubicBezTo>
                    <a:pt x="121" y="39"/>
                    <a:pt x="122" y="40"/>
                    <a:pt x="124" y="41"/>
                  </a:cubicBezTo>
                  <a:cubicBezTo>
                    <a:pt x="125" y="42"/>
                    <a:pt x="126" y="43"/>
                    <a:pt x="128" y="44"/>
                  </a:cubicBezTo>
                  <a:cubicBezTo>
                    <a:pt x="131" y="45"/>
                    <a:pt x="135" y="43"/>
                    <a:pt x="138" y="44"/>
                  </a:cubicBezTo>
                  <a:cubicBezTo>
                    <a:pt x="139" y="44"/>
                    <a:pt x="139" y="44"/>
                    <a:pt x="139" y="44"/>
                  </a:cubicBezTo>
                  <a:cubicBezTo>
                    <a:pt x="139" y="43"/>
                    <a:pt x="140" y="42"/>
                    <a:pt x="140" y="42"/>
                  </a:cubicBezTo>
                  <a:cubicBezTo>
                    <a:pt x="141" y="41"/>
                    <a:pt x="142" y="39"/>
                    <a:pt x="142" y="3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1" name="Freeform 54">
              <a:extLst>
                <a:ext uri="{FF2B5EF4-FFF2-40B4-BE49-F238E27FC236}">
                  <a16:creationId xmlns:a16="http://schemas.microsoft.com/office/drawing/2014/main" id="{699F0A19-447C-F397-C36E-A0AF406A6E90}"/>
                </a:ext>
              </a:extLst>
            </p:cNvPr>
            <p:cNvSpPr>
              <a:spLocks noEditPoints="1"/>
            </p:cNvSpPr>
            <p:nvPr/>
          </p:nvSpPr>
          <p:spPr bwMode="auto">
            <a:xfrm>
              <a:off x="6186488" y="5713413"/>
              <a:ext cx="1474788" cy="687387"/>
            </a:xfrm>
            <a:custGeom>
              <a:avLst/>
              <a:gdLst>
                <a:gd name="T0" fmla="*/ 39 w 387"/>
                <a:gd name="T1" fmla="*/ 32 h 180"/>
                <a:gd name="T2" fmla="*/ 32 w 387"/>
                <a:gd name="T3" fmla="*/ 42 h 180"/>
                <a:gd name="T4" fmla="*/ 52 w 387"/>
                <a:gd name="T5" fmla="*/ 37 h 180"/>
                <a:gd name="T6" fmla="*/ 44 w 387"/>
                <a:gd name="T7" fmla="*/ 39 h 180"/>
                <a:gd name="T8" fmla="*/ 245 w 387"/>
                <a:gd name="T9" fmla="*/ 22 h 180"/>
                <a:gd name="T10" fmla="*/ 250 w 387"/>
                <a:gd name="T11" fmla="*/ 6 h 180"/>
                <a:gd name="T12" fmla="*/ 242 w 387"/>
                <a:gd name="T13" fmla="*/ 7 h 180"/>
                <a:gd name="T14" fmla="*/ 223 w 387"/>
                <a:gd name="T15" fmla="*/ 25 h 180"/>
                <a:gd name="T16" fmla="*/ 194 w 387"/>
                <a:gd name="T17" fmla="*/ 29 h 180"/>
                <a:gd name="T18" fmla="*/ 173 w 387"/>
                <a:gd name="T19" fmla="*/ 26 h 180"/>
                <a:gd name="T20" fmla="*/ 158 w 387"/>
                <a:gd name="T21" fmla="*/ 32 h 180"/>
                <a:gd name="T22" fmla="*/ 130 w 387"/>
                <a:gd name="T23" fmla="*/ 21 h 180"/>
                <a:gd name="T24" fmla="*/ 98 w 387"/>
                <a:gd name="T25" fmla="*/ 12 h 180"/>
                <a:gd name="T26" fmla="*/ 78 w 387"/>
                <a:gd name="T27" fmla="*/ 18 h 180"/>
                <a:gd name="T28" fmla="*/ 66 w 387"/>
                <a:gd name="T29" fmla="*/ 24 h 180"/>
                <a:gd name="T30" fmla="*/ 55 w 387"/>
                <a:gd name="T31" fmla="*/ 45 h 180"/>
                <a:gd name="T32" fmla="*/ 87 w 387"/>
                <a:gd name="T33" fmla="*/ 48 h 180"/>
                <a:gd name="T34" fmla="*/ 130 w 387"/>
                <a:gd name="T35" fmla="*/ 55 h 180"/>
                <a:gd name="T36" fmla="*/ 166 w 387"/>
                <a:gd name="T37" fmla="*/ 47 h 180"/>
                <a:gd name="T38" fmla="*/ 190 w 387"/>
                <a:gd name="T39" fmla="*/ 46 h 180"/>
                <a:gd name="T40" fmla="*/ 241 w 387"/>
                <a:gd name="T41" fmla="*/ 32 h 180"/>
                <a:gd name="T42" fmla="*/ 95 w 387"/>
                <a:gd name="T43" fmla="*/ 97 h 180"/>
                <a:gd name="T44" fmla="*/ 62 w 387"/>
                <a:gd name="T45" fmla="*/ 76 h 180"/>
                <a:gd name="T46" fmla="*/ 24 w 387"/>
                <a:gd name="T47" fmla="*/ 81 h 180"/>
                <a:gd name="T48" fmla="*/ 7 w 387"/>
                <a:gd name="T49" fmla="*/ 101 h 180"/>
                <a:gd name="T50" fmla="*/ 42 w 387"/>
                <a:gd name="T51" fmla="*/ 106 h 180"/>
                <a:gd name="T52" fmla="*/ 67 w 387"/>
                <a:gd name="T53" fmla="*/ 125 h 180"/>
                <a:gd name="T54" fmla="*/ 96 w 387"/>
                <a:gd name="T55" fmla="*/ 137 h 180"/>
                <a:gd name="T56" fmla="*/ 116 w 387"/>
                <a:gd name="T57" fmla="*/ 120 h 180"/>
                <a:gd name="T58" fmla="*/ 174 w 387"/>
                <a:gd name="T59" fmla="*/ 155 h 180"/>
                <a:gd name="T60" fmla="*/ 275 w 387"/>
                <a:gd name="T61" fmla="*/ 158 h 180"/>
                <a:gd name="T62" fmla="*/ 264 w 387"/>
                <a:gd name="T63" fmla="*/ 158 h 180"/>
                <a:gd name="T64" fmla="*/ 245 w 387"/>
                <a:gd name="T65" fmla="*/ 178 h 180"/>
                <a:gd name="T66" fmla="*/ 266 w 387"/>
                <a:gd name="T67" fmla="*/ 168 h 180"/>
                <a:gd name="T68" fmla="*/ 279 w 387"/>
                <a:gd name="T69" fmla="*/ 128 h 180"/>
                <a:gd name="T70" fmla="*/ 276 w 387"/>
                <a:gd name="T71" fmla="*/ 137 h 180"/>
                <a:gd name="T72" fmla="*/ 245 w 387"/>
                <a:gd name="T73" fmla="*/ 34 h 180"/>
                <a:gd name="T74" fmla="*/ 258 w 387"/>
                <a:gd name="T75" fmla="*/ 20 h 180"/>
                <a:gd name="T76" fmla="*/ 253 w 387"/>
                <a:gd name="T77" fmla="*/ 20 h 180"/>
                <a:gd name="T78" fmla="*/ 279 w 387"/>
                <a:gd name="T79" fmla="*/ 30 h 180"/>
                <a:gd name="T80" fmla="*/ 288 w 387"/>
                <a:gd name="T81" fmla="*/ 22 h 180"/>
                <a:gd name="T82" fmla="*/ 308 w 387"/>
                <a:gd name="T83" fmla="*/ 10 h 180"/>
                <a:gd name="T84" fmla="*/ 290 w 387"/>
                <a:gd name="T85" fmla="*/ 14 h 180"/>
                <a:gd name="T86" fmla="*/ 278 w 387"/>
                <a:gd name="T87" fmla="*/ 12 h 180"/>
                <a:gd name="T88" fmla="*/ 267 w 387"/>
                <a:gd name="T89" fmla="*/ 27 h 180"/>
                <a:gd name="T90" fmla="*/ 327 w 387"/>
                <a:gd name="T91" fmla="*/ 23 h 180"/>
                <a:gd name="T92" fmla="*/ 327 w 387"/>
                <a:gd name="T93" fmla="*/ 11 h 180"/>
                <a:gd name="T94" fmla="*/ 312 w 387"/>
                <a:gd name="T95" fmla="*/ 17 h 180"/>
                <a:gd name="T96" fmla="*/ 356 w 387"/>
                <a:gd name="T97" fmla="*/ 20 h 180"/>
                <a:gd name="T98" fmla="*/ 360 w 387"/>
                <a:gd name="T99" fmla="*/ 5 h 180"/>
                <a:gd name="T100" fmla="*/ 347 w 387"/>
                <a:gd name="T101" fmla="*/ 10 h 180"/>
                <a:gd name="T102" fmla="*/ 374 w 387"/>
                <a:gd name="T103" fmla="*/ 72 h 180"/>
                <a:gd name="T104" fmla="*/ 384 w 387"/>
                <a:gd name="T105" fmla="*/ 58 h 180"/>
                <a:gd name="T106" fmla="*/ 360 w 387"/>
                <a:gd name="T107" fmla="*/ 60 h 180"/>
                <a:gd name="T108" fmla="*/ 339 w 387"/>
                <a:gd name="T109" fmla="*/ 79 h 180"/>
                <a:gd name="T110" fmla="*/ 322 w 387"/>
                <a:gd name="T111" fmla="*/ 85 h 180"/>
                <a:gd name="T112" fmla="*/ 297 w 387"/>
                <a:gd name="T113" fmla="*/ 94 h 180"/>
                <a:gd name="T114" fmla="*/ 294 w 387"/>
                <a:gd name="T115" fmla="*/ 122 h 180"/>
                <a:gd name="T116" fmla="*/ 292 w 387"/>
                <a:gd name="T117" fmla="*/ 143 h 180"/>
                <a:gd name="T118" fmla="*/ 352 w 387"/>
                <a:gd name="T119" fmla="*/ 1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 h="180">
                  <a:moveTo>
                    <a:pt x="28" y="33"/>
                  </a:moveTo>
                  <a:cubicBezTo>
                    <a:pt x="28" y="32"/>
                    <a:pt x="28" y="32"/>
                    <a:pt x="28" y="32"/>
                  </a:cubicBezTo>
                  <a:cubicBezTo>
                    <a:pt x="29" y="31"/>
                    <a:pt x="29" y="31"/>
                    <a:pt x="29" y="31"/>
                  </a:cubicBezTo>
                  <a:cubicBezTo>
                    <a:pt x="29" y="31"/>
                    <a:pt x="30" y="29"/>
                    <a:pt x="30" y="29"/>
                  </a:cubicBezTo>
                  <a:cubicBezTo>
                    <a:pt x="30" y="28"/>
                    <a:pt x="31" y="27"/>
                    <a:pt x="31" y="26"/>
                  </a:cubicBezTo>
                  <a:cubicBezTo>
                    <a:pt x="31" y="26"/>
                    <a:pt x="32" y="26"/>
                    <a:pt x="31" y="25"/>
                  </a:cubicBezTo>
                  <a:cubicBezTo>
                    <a:pt x="31" y="24"/>
                    <a:pt x="30" y="24"/>
                    <a:pt x="31" y="23"/>
                  </a:cubicBezTo>
                  <a:cubicBezTo>
                    <a:pt x="31" y="23"/>
                    <a:pt x="32" y="23"/>
                    <a:pt x="32" y="23"/>
                  </a:cubicBezTo>
                  <a:cubicBezTo>
                    <a:pt x="33" y="26"/>
                    <a:pt x="33" y="26"/>
                    <a:pt x="33" y="26"/>
                  </a:cubicBezTo>
                  <a:cubicBezTo>
                    <a:pt x="34" y="26"/>
                    <a:pt x="35" y="26"/>
                    <a:pt x="36" y="26"/>
                  </a:cubicBezTo>
                  <a:cubicBezTo>
                    <a:pt x="37" y="26"/>
                    <a:pt x="38" y="26"/>
                    <a:pt x="38" y="26"/>
                  </a:cubicBezTo>
                  <a:cubicBezTo>
                    <a:pt x="39" y="26"/>
                    <a:pt x="39" y="28"/>
                    <a:pt x="39" y="28"/>
                  </a:cubicBezTo>
                  <a:cubicBezTo>
                    <a:pt x="39" y="28"/>
                    <a:pt x="39" y="29"/>
                    <a:pt x="39" y="30"/>
                  </a:cubicBezTo>
                  <a:cubicBezTo>
                    <a:pt x="39" y="30"/>
                    <a:pt x="39" y="31"/>
                    <a:pt x="39" y="32"/>
                  </a:cubicBezTo>
                  <a:cubicBezTo>
                    <a:pt x="39" y="32"/>
                    <a:pt x="39" y="33"/>
                    <a:pt x="39" y="33"/>
                  </a:cubicBezTo>
                  <a:cubicBezTo>
                    <a:pt x="37" y="33"/>
                    <a:pt x="37" y="33"/>
                    <a:pt x="37" y="33"/>
                  </a:cubicBezTo>
                  <a:cubicBezTo>
                    <a:pt x="36" y="32"/>
                    <a:pt x="36" y="32"/>
                    <a:pt x="36" y="32"/>
                  </a:cubicBezTo>
                  <a:cubicBezTo>
                    <a:pt x="35" y="32"/>
                    <a:pt x="35" y="32"/>
                    <a:pt x="35" y="32"/>
                  </a:cubicBezTo>
                  <a:cubicBezTo>
                    <a:pt x="34" y="33"/>
                    <a:pt x="34" y="33"/>
                    <a:pt x="34" y="33"/>
                  </a:cubicBezTo>
                  <a:cubicBezTo>
                    <a:pt x="33" y="33"/>
                    <a:pt x="33" y="33"/>
                    <a:pt x="33" y="33"/>
                  </a:cubicBezTo>
                  <a:cubicBezTo>
                    <a:pt x="33" y="34"/>
                    <a:pt x="33" y="34"/>
                    <a:pt x="33" y="34"/>
                  </a:cubicBezTo>
                  <a:cubicBezTo>
                    <a:pt x="34" y="34"/>
                    <a:pt x="34" y="34"/>
                    <a:pt x="34" y="34"/>
                  </a:cubicBezTo>
                  <a:cubicBezTo>
                    <a:pt x="34" y="34"/>
                    <a:pt x="34" y="36"/>
                    <a:pt x="33" y="36"/>
                  </a:cubicBezTo>
                  <a:cubicBezTo>
                    <a:pt x="33" y="36"/>
                    <a:pt x="32" y="37"/>
                    <a:pt x="32" y="37"/>
                  </a:cubicBezTo>
                  <a:cubicBezTo>
                    <a:pt x="31" y="38"/>
                    <a:pt x="31" y="38"/>
                    <a:pt x="31" y="38"/>
                  </a:cubicBezTo>
                  <a:cubicBezTo>
                    <a:pt x="31" y="38"/>
                    <a:pt x="32" y="38"/>
                    <a:pt x="32" y="39"/>
                  </a:cubicBezTo>
                  <a:cubicBezTo>
                    <a:pt x="32" y="39"/>
                    <a:pt x="32" y="41"/>
                    <a:pt x="32" y="41"/>
                  </a:cubicBezTo>
                  <a:cubicBezTo>
                    <a:pt x="32" y="42"/>
                    <a:pt x="32" y="42"/>
                    <a:pt x="32" y="42"/>
                  </a:cubicBezTo>
                  <a:cubicBezTo>
                    <a:pt x="28" y="40"/>
                    <a:pt x="28" y="40"/>
                    <a:pt x="28" y="40"/>
                  </a:cubicBezTo>
                  <a:cubicBezTo>
                    <a:pt x="29" y="39"/>
                    <a:pt x="29" y="39"/>
                    <a:pt x="29" y="39"/>
                  </a:cubicBezTo>
                  <a:cubicBezTo>
                    <a:pt x="29" y="39"/>
                    <a:pt x="29" y="38"/>
                    <a:pt x="29" y="38"/>
                  </a:cubicBezTo>
                  <a:cubicBezTo>
                    <a:pt x="29" y="37"/>
                    <a:pt x="29" y="37"/>
                    <a:pt x="29" y="36"/>
                  </a:cubicBezTo>
                  <a:cubicBezTo>
                    <a:pt x="29" y="36"/>
                    <a:pt x="29" y="34"/>
                    <a:pt x="29" y="34"/>
                  </a:cubicBezTo>
                  <a:lnTo>
                    <a:pt x="28" y="33"/>
                  </a:lnTo>
                  <a:close/>
                  <a:moveTo>
                    <a:pt x="46" y="45"/>
                  </a:moveTo>
                  <a:cubicBezTo>
                    <a:pt x="46" y="46"/>
                    <a:pt x="47" y="46"/>
                    <a:pt x="47" y="45"/>
                  </a:cubicBezTo>
                  <a:cubicBezTo>
                    <a:pt x="48" y="44"/>
                    <a:pt x="48" y="44"/>
                    <a:pt x="48" y="44"/>
                  </a:cubicBezTo>
                  <a:cubicBezTo>
                    <a:pt x="49" y="43"/>
                    <a:pt x="49" y="42"/>
                    <a:pt x="48" y="42"/>
                  </a:cubicBezTo>
                  <a:cubicBezTo>
                    <a:pt x="48" y="41"/>
                    <a:pt x="47" y="41"/>
                    <a:pt x="47" y="40"/>
                  </a:cubicBezTo>
                  <a:cubicBezTo>
                    <a:pt x="47" y="39"/>
                    <a:pt x="48" y="39"/>
                    <a:pt x="48" y="39"/>
                  </a:cubicBezTo>
                  <a:cubicBezTo>
                    <a:pt x="49" y="38"/>
                    <a:pt x="50" y="39"/>
                    <a:pt x="50" y="38"/>
                  </a:cubicBezTo>
                  <a:cubicBezTo>
                    <a:pt x="52" y="37"/>
                    <a:pt x="52" y="37"/>
                    <a:pt x="52" y="37"/>
                  </a:cubicBezTo>
                  <a:cubicBezTo>
                    <a:pt x="53" y="36"/>
                    <a:pt x="53" y="36"/>
                    <a:pt x="53" y="36"/>
                  </a:cubicBezTo>
                  <a:cubicBezTo>
                    <a:pt x="54" y="35"/>
                    <a:pt x="54" y="35"/>
                    <a:pt x="54" y="35"/>
                  </a:cubicBezTo>
                  <a:cubicBezTo>
                    <a:pt x="54" y="35"/>
                    <a:pt x="53" y="35"/>
                    <a:pt x="52" y="34"/>
                  </a:cubicBezTo>
                  <a:cubicBezTo>
                    <a:pt x="52" y="34"/>
                    <a:pt x="49" y="35"/>
                    <a:pt x="49" y="35"/>
                  </a:cubicBezTo>
                  <a:cubicBezTo>
                    <a:pt x="48" y="36"/>
                    <a:pt x="48" y="36"/>
                    <a:pt x="48" y="36"/>
                  </a:cubicBezTo>
                  <a:cubicBezTo>
                    <a:pt x="48" y="36"/>
                    <a:pt x="48" y="37"/>
                    <a:pt x="48" y="37"/>
                  </a:cubicBezTo>
                  <a:cubicBezTo>
                    <a:pt x="48" y="38"/>
                    <a:pt x="47" y="38"/>
                    <a:pt x="47" y="38"/>
                  </a:cubicBezTo>
                  <a:cubicBezTo>
                    <a:pt x="45" y="38"/>
                    <a:pt x="45" y="38"/>
                    <a:pt x="45" y="38"/>
                  </a:cubicBezTo>
                  <a:cubicBezTo>
                    <a:pt x="45" y="35"/>
                    <a:pt x="45" y="35"/>
                    <a:pt x="45" y="35"/>
                  </a:cubicBezTo>
                  <a:cubicBezTo>
                    <a:pt x="45" y="34"/>
                    <a:pt x="45" y="34"/>
                    <a:pt x="45" y="34"/>
                  </a:cubicBezTo>
                  <a:cubicBezTo>
                    <a:pt x="43" y="34"/>
                    <a:pt x="43" y="34"/>
                    <a:pt x="43" y="34"/>
                  </a:cubicBezTo>
                  <a:cubicBezTo>
                    <a:pt x="43" y="34"/>
                    <a:pt x="44" y="36"/>
                    <a:pt x="44" y="36"/>
                  </a:cubicBezTo>
                  <a:cubicBezTo>
                    <a:pt x="44" y="37"/>
                    <a:pt x="44" y="38"/>
                    <a:pt x="44" y="38"/>
                  </a:cubicBezTo>
                  <a:cubicBezTo>
                    <a:pt x="44" y="39"/>
                    <a:pt x="44" y="39"/>
                    <a:pt x="44" y="39"/>
                  </a:cubicBezTo>
                  <a:cubicBezTo>
                    <a:pt x="43" y="40"/>
                    <a:pt x="43" y="40"/>
                    <a:pt x="43" y="40"/>
                  </a:cubicBezTo>
                  <a:cubicBezTo>
                    <a:pt x="43" y="41"/>
                    <a:pt x="43" y="42"/>
                    <a:pt x="43" y="42"/>
                  </a:cubicBezTo>
                  <a:cubicBezTo>
                    <a:pt x="43" y="43"/>
                    <a:pt x="43" y="43"/>
                    <a:pt x="43" y="44"/>
                  </a:cubicBezTo>
                  <a:cubicBezTo>
                    <a:pt x="43" y="44"/>
                    <a:pt x="43" y="44"/>
                    <a:pt x="44" y="44"/>
                  </a:cubicBezTo>
                  <a:cubicBezTo>
                    <a:pt x="45" y="44"/>
                    <a:pt x="45" y="45"/>
                    <a:pt x="46" y="45"/>
                  </a:cubicBezTo>
                  <a:close/>
                  <a:moveTo>
                    <a:pt x="242" y="30"/>
                  </a:moveTo>
                  <a:cubicBezTo>
                    <a:pt x="242" y="29"/>
                    <a:pt x="241" y="29"/>
                    <a:pt x="241" y="28"/>
                  </a:cubicBezTo>
                  <a:cubicBezTo>
                    <a:pt x="241" y="28"/>
                    <a:pt x="240" y="27"/>
                    <a:pt x="240" y="27"/>
                  </a:cubicBezTo>
                  <a:cubicBezTo>
                    <a:pt x="239" y="26"/>
                    <a:pt x="239" y="26"/>
                    <a:pt x="239" y="26"/>
                  </a:cubicBezTo>
                  <a:cubicBezTo>
                    <a:pt x="238" y="23"/>
                    <a:pt x="238" y="23"/>
                    <a:pt x="238" y="23"/>
                  </a:cubicBezTo>
                  <a:cubicBezTo>
                    <a:pt x="239" y="22"/>
                    <a:pt x="239" y="22"/>
                    <a:pt x="239" y="22"/>
                  </a:cubicBezTo>
                  <a:cubicBezTo>
                    <a:pt x="239" y="22"/>
                    <a:pt x="241" y="23"/>
                    <a:pt x="241" y="23"/>
                  </a:cubicBezTo>
                  <a:cubicBezTo>
                    <a:pt x="242" y="23"/>
                    <a:pt x="244" y="23"/>
                    <a:pt x="244" y="24"/>
                  </a:cubicBezTo>
                  <a:cubicBezTo>
                    <a:pt x="245" y="24"/>
                    <a:pt x="245" y="23"/>
                    <a:pt x="245" y="22"/>
                  </a:cubicBezTo>
                  <a:cubicBezTo>
                    <a:pt x="245" y="22"/>
                    <a:pt x="244" y="21"/>
                    <a:pt x="244" y="21"/>
                  </a:cubicBezTo>
                  <a:cubicBezTo>
                    <a:pt x="244" y="20"/>
                    <a:pt x="244" y="20"/>
                    <a:pt x="244" y="20"/>
                  </a:cubicBezTo>
                  <a:cubicBezTo>
                    <a:pt x="244" y="18"/>
                    <a:pt x="244" y="18"/>
                    <a:pt x="244" y="18"/>
                  </a:cubicBezTo>
                  <a:cubicBezTo>
                    <a:pt x="246" y="16"/>
                    <a:pt x="246" y="16"/>
                    <a:pt x="246" y="16"/>
                  </a:cubicBezTo>
                  <a:cubicBezTo>
                    <a:pt x="246" y="16"/>
                    <a:pt x="248" y="17"/>
                    <a:pt x="249" y="17"/>
                  </a:cubicBezTo>
                  <a:cubicBezTo>
                    <a:pt x="249" y="17"/>
                    <a:pt x="250" y="17"/>
                    <a:pt x="250" y="17"/>
                  </a:cubicBezTo>
                  <a:cubicBezTo>
                    <a:pt x="251" y="17"/>
                    <a:pt x="252" y="16"/>
                    <a:pt x="252" y="16"/>
                  </a:cubicBezTo>
                  <a:cubicBezTo>
                    <a:pt x="253" y="14"/>
                    <a:pt x="253" y="14"/>
                    <a:pt x="253" y="14"/>
                  </a:cubicBezTo>
                  <a:cubicBezTo>
                    <a:pt x="253" y="13"/>
                    <a:pt x="252" y="13"/>
                    <a:pt x="252" y="12"/>
                  </a:cubicBezTo>
                  <a:cubicBezTo>
                    <a:pt x="251" y="12"/>
                    <a:pt x="251" y="11"/>
                    <a:pt x="251" y="11"/>
                  </a:cubicBezTo>
                  <a:cubicBezTo>
                    <a:pt x="250" y="11"/>
                    <a:pt x="250" y="10"/>
                    <a:pt x="250" y="10"/>
                  </a:cubicBezTo>
                  <a:cubicBezTo>
                    <a:pt x="249" y="9"/>
                    <a:pt x="249" y="9"/>
                    <a:pt x="249" y="9"/>
                  </a:cubicBezTo>
                  <a:cubicBezTo>
                    <a:pt x="249" y="8"/>
                    <a:pt x="249" y="8"/>
                    <a:pt x="249" y="8"/>
                  </a:cubicBezTo>
                  <a:cubicBezTo>
                    <a:pt x="250" y="6"/>
                    <a:pt x="250" y="6"/>
                    <a:pt x="250" y="6"/>
                  </a:cubicBezTo>
                  <a:cubicBezTo>
                    <a:pt x="250" y="3"/>
                    <a:pt x="250" y="3"/>
                    <a:pt x="250" y="3"/>
                  </a:cubicBezTo>
                  <a:cubicBezTo>
                    <a:pt x="249" y="3"/>
                    <a:pt x="249" y="3"/>
                    <a:pt x="249" y="3"/>
                  </a:cubicBezTo>
                  <a:cubicBezTo>
                    <a:pt x="248" y="3"/>
                    <a:pt x="248" y="3"/>
                    <a:pt x="248" y="3"/>
                  </a:cubicBezTo>
                  <a:cubicBezTo>
                    <a:pt x="246" y="2"/>
                    <a:pt x="246" y="2"/>
                    <a:pt x="246" y="2"/>
                  </a:cubicBezTo>
                  <a:cubicBezTo>
                    <a:pt x="246" y="2"/>
                    <a:pt x="245" y="0"/>
                    <a:pt x="244" y="0"/>
                  </a:cubicBezTo>
                  <a:cubicBezTo>
                    <a:pt x="244" y="0"/>
                    <a:pt x="243" y="0"/>
                    <a:pt x="242" y="0"/>
                  </a:cubicBezTo>
                  <a:cubicBezTo>
                    <a:pt x="241" y="2"/>
                    <a:pt x="241" y="2"/>
                    <a:pt x="241" y="2"/>
                  </a:cubicBezTo>
                  <a:cubicBezTo>
                    <a:pt x="238" y="3"/>
                    <a:pt x="238" y="3"/>
                    <a:pt x="238" y="3"/>
                  </a:cubicBezTo>
                  <a:cubicBezTo>
                    <a:pt x="238" y="5"/>
                    <a:pt x="238" y="5"/>
                    <a:pt x="238" y="5"/>
                  </a:cubicBezTo>
                  <a:cubicBezTo>
                    <a:pt x="238" y="5"/>
                    <a:pt x="236" y="7"/>
                    <a:pt x="236" y="7"/>
                  </a:cubicBezTo>
                  <a:cubicBezTo>
                    <a:pt x="236" y="7"/>
                    <a:pt x="235" y="9"/>
                    <a:pt x="235" y="9"/>
                  </a:cubicBezTo>
                  <a:cubicBezTo>
                    <a:pt x="235" y="9"/>
                    <a:pt x="238" y="10"/>
                    <a:pt x="238" y="10"/>
                  </a:cubicBezTo>
                  <a:cubicBezTo>
                    <a:pt x="239" y="9"/>
                    <a:pt x="240" y="8"/>
                    <a:pt x="241" y="7"/>
                  </a:cubicBezTo>
                  <a:cubicBezTo>
                    <a:pt x="241" y="7"/>
                    <a:pt x="241" y="7"/>
                    <a:pt x="242" y="7"/>
                  </a:cubicBezTo>
                  <a:cubicBezTo>
                    <a:pt x="242" y="7"/>
                    <a:pt x="245" y="7"/>
                    <a:pt x="245" y="7"/>
                  </a:cubicBezTo>
                  <a:cubicBezTo>
                    <a:pt x="246" y="7"/>
                    <a:pt x="247" y="8"/>
                    <a:pt x="247" y="8"/>
                  </a:cubicBezTo>
                  <a:cubicBezTo>
                    <a:pt x="247" y="8"/>
                    <a:pt x="247" y="9"/>
                    <a:pt x="246" y="10"/>
                  </a:cubicBezTo>
                  <a:cubicBezTo>
                    <a:pt x="246" y="10"/>
                    <a:pt x="245" y="11"/>
                    <a:pt x="245" y="12"/>
                  </a:cubicBezTo>
                  <a:cubicBezTo>
                    <a:pt x="245" y="12"/>
                    <a:pt x="245" y="13"/>
                    <a:pt x="244" y="13"/>
                  </a:cubicBezTo>
                  <a:cubicBezTo>
                    <a:pt x="242" y="14"/>
                    <a:pt x="242" y="14"/>
                    <a:pt x="242" y="14"/>
                  </a:cubicBezTo>
                  <a:cubicBezTo>
                    <a:pt x="240" y="15"/>
                    <a:pt x="240" y="15"/>
                    <a:pt x="240" y="15"/>
                  </a:cubicBezTo>
                  <a:cubicBezTo>
                    <a:pt x="238" y="17"/>
                    <a:pt x="238" y="17"/>
                    <a:pt x="238" y="17"/>
                  </a:cubicBezTo>
                  <a:cubicBezTo>
                    <a:pt x="236" y="19"/>
                    <a:pt x="236" y="19"/>
                    <a:pt x="236" y="19"/>
                  </a:cubicBezTo>
                  <a:cubicBezTo>
                    <a:pt x="236" y="19"/>
                    <a:pt x="233" y="19"/>
                    <a:pt x="233" y="19"/>
                  </a:cubicBezTo>
                  <a:cubicBezTo>
                    <a:pt x="232" y="19"/>
                    <a:pt x="230" y="20"/>
                    <a:pt x="229" y="20"/>
                  </a:cubicBezTo>
                  <a:cubicBezTo>
                    <a:pt x="229" y="20"/>
                    <a:pt x="227" y="21"/>
                    <a:pt x="227" y="21"/>
                  </a:cubicBezTo>
                  <a:cubicBezTo>
                    <a:pt x="225" y="23"/>
                    <a:pt x="225" y="23"/>
                    <a:pt x="225" y="23"/>
                  </a:cubicBezTo>
                  <a:cubicBezTo>
                    <a:pt x="223" y="25"/>
                    <a:pt x="223" y="25"/>
                    <a:pt x="223" y="25"/>
                  </a:cubicBezTo>
                  <a:cubicBezTo>
                    <a:pt x="221" y="25"/>
                    <a:pt x="221" y="25"/>
                    <a:pt x="221" y="25"/>
                  </a:cubicBezTo>
                  <a:cubicBezTo>
                    <a:pt x="220" y="26"/>
                    <a:pt x="220" y="26"/>
                    <a:pt x="220" y="26"/>
                  </a:cubicBezTo>
                  <a:cubicBezTo>
                    <a:pt x="220" y="28"/>
                    <a:pt x="220" y="28"/>
                    <a:pt x="220" y="28"/>
                  </a:cubicBezTo>
                  <a:cubicBezTo>
                    <a:pt x="222" y="29"/>
                    <a:pt x="222" y="29"/>
                    <a:pt x="222" y="29"/>
                  </a:cubicBezTo>
                  <a:cubicBezTo>
                    <a:pt x="222" y="30"/>
                    <a:pt x="221" y="31"/>
                    <a:pt x="221" y="32"/>
                  </a:cubicBezTo>
                  <a:cubicBezTo>
                    <a:pt x="220" y="32"/>
                    <a:pt x="219" y="34"/>
                    <a:pt x="219" y="34"/>
                  </a:cubicBezTo>
                  <a:cubicBezTo>
                    <a:pt x="214" y="34"/>
                    <a:pt x="214" y="34"/>
                    <a:pt x="214" y="34"/>
                  </a:cubicBezTo>
                  <a:cubicBezTo>
                    <a:pt x="211" y="34"/>
                    <a:pt x="211" y="34"/>
                    <a:pt x="211" y="34"/>
                  </a:cubicBezTo>
                  <a:cubicBezTo>
                    <a:pt x="210" y="35"/>
                    <a:pt x="210" y="35"/>
                    <a:pt x="210" y="35"/>
                  </a:cubicBezTo>
                  <a:cubicBezTo>
                    <a:pt x="210" y="35"/>
                    <a:pt x="209" y="36"/>
                    <a:pt x="208" y="36"/>
                  </a:cubicBezTo>
                  <a:cubicBezTo>
                    <a:pt x="208" y="36"/>
                    <a:pt x="206" y="35"/>
                    <a:pt x="206" y="35"/>
                  </a:cubicBezTo>
                  <a:cubicBezTo>
                    <a:pt x="205" y="35"/>
                    <a:pt x="204" y="35"/>
                    <a:pt x="204" y="34"/>
                  </a:cubicBezTo>
                  <a:cubicBezTo>
                    <a:pt x="203" y="34"/>
                    <a:pt x="197" y="29"/>
                    <a:pt x="196" y="29"/>
                  </a:cubicBezTo>
                  <a:cubicBezTo>
                    <a:pt x="196" y="29"/>
                    <a:pt x="194" y="29"/>
                    <a:pt x="194" y="29"/>
                  </a:cubicBezTo>
                  <a:cubicBezTo>
                    <a:pt x="193" y="28"/>
                    <a:pt x="193" y="28"/>
                    <a:pt x="193" y="28"/>
                  </a:cubicBezTo>
                  <a:cubicBezTo>
                    <a:pt x="191" y="28"/>
                    <a:pt x="191" y="28"/>
                    <a:pt x="191" y="28"/>
                  </a:cubicBezTo>
                  <a:cubicBezTo>
                    <a:pt x="191" y="28"/>
                    <a:pt x="190" y="28"/>
                    <a:pt x="190" y="27"/>
                  </a:cubicBezTo>
                  <a:cubicBezTo>
                    <a:pt x="190" y="27"/>
                    <a:pt x="190" y="26"/>
                    <a:pt x="190" y="26"/>
                  </a:cubicBezTo>
                  <a:cubicBezTo>
                    <a:pt x="191" y="24"/>
                    <a:pt x="191" y="24"/>
                    <a:pt x="191" y="24"/>
                  </a:cubicBezTo>
                  <a:cubicBezTo>
                    <a:pt x="192" y="23"/>
                    <a:pt x="192" y="23"/>
                    <a:pt x="192" y="23"/>
                  </a:cubicBezTo>
                  <a:cubicBezTo>
                    <a:pt x="192" y="23"/>
                    <a:pt x="190" y="23"/>
                    <a:pt x="190" y="23"/>
                  </a:cubicBezTo>
                  <a:cubicBezTo>
                    <a:pt x="189" y="24"/>
                    <a:pt x="188" y="24"/>
                    <a:pt x="187" y="25"/>
                  </a:cubicBezTo>
                  <a:cubicBezTo>
                    <a:pt x="186" y="25"/>
                    <a:pt x="185" y="26"/>
                    <a:pt x="184" y="26"/>
                  </a:cubicBezTo>
                  <a:cubicBezTo>
                    <a:pt x="184" y="27"/>
                    <a:pt x="183" y="26"/>
                    <a:pt x="182" y="26"/>
                  </a:cubicBezTo>
                  <a:cubicBezTo>
                    <a:pt x="181" y="26"/>
                    <a:pt x="181" y="26"/>
                    <a:pt x="180" y="26"/>
                  </a:cubicBezTo>
                  <a:cubicBezTo>
                    <a:pt x="180" y="26"/>
                    <a:pt x="179" y="27"/>
                    <a:pt x="179" y="27"/>
                  </a:cubicBezTo>
                  <a:cubicBezTo>
                    <a:pt x="177" y="27"/>
                    <a:pt x="177" y="27"/>
                    <a:pt x="177" y="27"/>
                  </a:cubicBezTo>
                  <a:cubicBezTo>
                    <a:pt x="177" y="27"/>
                    <a:pt x="174" y="26"/>
                    <a:pt x="173" y="26"/>
                  </a:cubicBezTo>
                  <a:cubicBezTo>
                    <a:pt x="172" y="26"/>
                    <a:pt x="172" y="27"/>
                    <a:pt x="171" y="27"/>
                  </a:cubicBezTo>
                  <a:cubicBezTo>
                    <a:pt x="170" y="27"/>
                    <a:pt x="170" y="27"/>
                    <a:pt x="169" y="27"/>
                  </a:cubicBezTo>
                  <a:cubicBezTo>
                    <a:pt x="169" y="27"/>
                    <a:pt x="169" y="27"/>
                    <a:pt x="168" y="27"/>
                  </a:cubicBezTo>
                  <a:cubicBezTo>
                    <a:pt x="167" y="27"/>
                    <a:pt x="168" y="26"/>
                    <a:pt x="168" y="25"/>
                  </a:cubicBezTo>
                  <a:cubicBezTo>
                    <a:pt x="168" y="25"/>
                    <a:pt x="167" y="25"/>
                    <a:pt x="167" y="25"/>
                  </a:cubicBezTo>
                  <a:cubicBezTo>
                    <a:pt x="166" y="26"/>
                    <a:pt x="166" y="26"/>
                    <a:pt x="166" y="26"/>
                  </a:cubicBezTo>
                  <a:cubicBezTo>
                    <a:pt x="166" y="27"/>
                    <a:pt x="166" y="27"/>
                    <a:pt x="166" y="27"/>
                  </a:cubicBezTo>
                  <a:cubicBezTo>
                    <a:pt x="165" y="28"/>
                    <a:pt x="165" y="28"/>
                    <a:pt x="165" y="28"/>
                  </a:cubicBezTo>
                  <a:cubicBezTo>
                    <a:pt x="165" y="30"/>
                    <a:pt x="165" y="30"/>
                    <a:pt x="165" y="30"/>
                  </a:cubicBezTo>
                  <a:cubicBezTo>
                    <a:pt x="164" y="31"/>
                    <a:pt x="164" y="31"/>
                    <a:pt x="164" y="31"/>
                  </a:cubicBezTo>
                  <a:cubicBezTo>
                    <a:pt x="164" y="32"/>
                    <a:pt x="163" y="32"/>
                    <a:pt x="163" y="32"/>
                  </a:cubicBezTo>
                  <a:cubicBezTo>
                    <a:pt x="162" y="32"/>
                    <a:pt x="162" y="33"/>
                    <a:pt x="161" y="33"/>
                  </a:cubicBezTo>
                  <a:cubicBezTo>
                    <a:pt x="160" y="34"/>
                    <a:pt x="160" y="34"/>
                    <a:pt x="160" y="34"/>
                  </a:cubicBezTo>
                  <a:cubicBezTo>
                    <a:pt x="158" y="32"/>
                    <a:pt x="158" y="32"/>
                    <a:pt x="158" y="32"/>
                  </a:cubicBezTo>
                  <a:cubicBezTo>
                    <a:pt x="157" y="31"/>
                    <a:pt x="157" y="31"/>
                    <a:pt x="157" y="31"/>
                  </a:cubicBezTo>
                  <a:cubicBezTo>
                    <a:pt x="157" y="31"/>
                    <a:pt x="156" y="31"/>
                    <a:pt x="156" y="31"/>
                  </a:cubicBezTo>
                  <a:cubicBezTo>
                    <a:pt x="155" y="32"/>
                    <a:pt x="154" y="32"/>
                    <a:pt x="153" y="32"/>
                  </a:cubicBezTo>
                  <a:cubicBezTo>
                    <a:pt x="153" y="32"/>
                    <a:pt x="153" y="32"/>
                    <a:pt x="152" y="32"/>
                  </a:cubicBezTo>
                  <a:cubicBezTo>
                    <a:pt x="150" y="30"/>
                    <a:pt x="150" y="30"/>
                    <a:pt x="150" y="30"/>
                  </a:cubicBezTo>
                  <a:cubicBezTo>
                    <a:pt x="149" y="29"/>
                    <a:pt x="149" y="29"/>
                    <a:pt x="149" y="29"/>
                  </a:cubicBezTo>
                  <a:cubicBezTo>
                    <a:pt x="149" y="29"/>
                    <a:pt x="148" y="28"/>
                    <a:pt x="148" y="27"/>
                  </a:cubicBezTo>
                  <a:cubicBezTo>
                    <a:pt x="147" y="27"/>
                    <a:pt x="146" y="26"/>
                    <a:pt x="146" y="25"/>
                  </a:cubicBezTo>
                  <a:cubicBezTo>
                    <a:pt x="145" y="25"/>
                    <a:pt x="144" y="24"/>
                    <a:pt x="143" y="24"/>
                  </a:cubicBezTo>
                  <a:cubicBezTo>
                    <a:pt x="141" y="24"/>
                    <a:pt x="141" y="24"/>
                    <a:pt x="141" y="24"/>
                  </a:cubicBezTo>
                  <a:cubicBezTo>
                    <a:pt x="141" y="24"/>
                    <a:pt x="139" y="23"/>
                    <a:pt x="139" y="23"/>
                  </a:cubicBezTo>
                  <a:cubicBezTo>
                    <a:pt x="139" y="22"/>
                    <a:pt x="137" y="22"/>
                    <a:pt x="136" y="22"/>
                  </a:cubicBezTo>
                  <a:cubicBezTo>
                    <a:pt x="135" y="22"/>
                    <a:pt x="133" y="22"/>
                    <a:pt x="132" y="22"/>
                  </a:cubicBezTo>
                  <a:cubicBezTo>
                    <a:pt x="130" y="22"/>
                    <a:pt x="130" y="21"/>
                    <a:pt x="130" y="21"/>
                  </a:cubicBezTo>
                  <a:cubicBezTo>
                    <a:pt x="127" y="19"/>
                    <a:pt x="127" y="19"/>
                    <a:pt x="127" y="19"/>
                  </a:cubicBezTo>
                  <a:cubicBezTo>
                    <a:pt x="126" y="17"/>
                    <a:pt x="126" y="17"/>
                    <a:pt x="126" y="17"/>
                  </a:cubicBezTo>
                  <a:cubicBezTo>
                    <a:pt x="126" y="17"/>
                    <a:pt x="126" y="17"/>
                    <a:pt x="126" y="17"/>
                  </a:cubicBezTo>
                  <a:cubicBezTo>
                    <a:pt x="125" y="17"/>
                    <a:pt x="125" y="17"/>
                    <a:pt x="125" y="17"/>
                  </a:cubicBezTo>
                  <a:cubicBezTo>
                    <a:pt x="125" y="17"/>
                    <a:pt x="121" y="18"/>
                    <a:pt x="119" y="18"/>
                  </a:cubicBezTo>
                  <a:cubicBezTo>
                    <a:pt x="118" y="18"/>
                    <a:pt x="118" y="17"/>
                    <a:pt x="117" y="17"/>
                  </a:cubicBezTo>
                  <a:cubicBezTo>
                    <a:pt x="117" y="17"/>
                    <a:pt x="114" y="17"/>
                    <a:pt x="112" y="17"/>
                  </a:cubicBezTo>
                  <a:cubicBezTo>
                    <a:pt x="111" y="17"/>
                    <a:pt x="110" y="17"/>
                    <a:pt x="110" y="16"/>
                  </a:cubicBezTo>
                  <a:cubicBezTo>
                    <a:pt x="109" y="16"/>
                    <a:pt x="108" y="15"/>
                    <a:pt x="107" y="14"/>
                  </a:cubicBezTo>
                  <a:cubicBezTo>
                    <a:pt x="106" y="14"/>
                    <a:pt x="104" y="11"/>
                    <a:pt x="104" y="11"/>
                  </a:cubicBezTo>
                  <a:cubicBezTo>
                    <a:pt x="104" y="10"/>
                    <a:pt x="103" y="12"/>
                    <a:pt x="103" y="13"/>
                  </a:cubicBezTo>
                  <a:cubicBezTo>
                    <a:pt x="103" y="15"/>
                    <a:pt x="102" y="14"/>
                    <a:pt x="101" y="14"/>
                  </a:cubicBezTo>
                  <a:cubicBezTo>
                    <a:pt x="100" y="14"/>
                    <a:pt x="100" y="14"/>
                    <a:pt x="100" y="13"/>
                  </a:cubicBezTo>
                  <a:cubicBezTo>
                    <a:pt x="100" y="13"/>
                    <a:pt x="98" y="12"/>
                    <a:pt x="98" y="12"/>
                  </a:cubicBezTo>
                  <a:cubicBezTo>
                    <a:pt x="98" y="13"/>
                    <a:pt x="98" y="13"/>
                    <a:pt x="98" y="13"/>
                  </a:cubicBezTo>
                  <a:cubicBezTo>
                    <a:pt x="96" y="14"/>
                    <a:pt x="96" y="14"/>
                    <a:pt x="96" y="14"/>
                  </a:cubicBezTo>
                  <a:cubicBezTo>
                    <a:pt x="96" y="14"/>
                    <a:pt x="94" y="13"/>
                    <a:pt x="94" y="12"/>
                  </a:cubicBezTo>
                  <a:cubicBezTo>
                    <a:pt x="94" y="12"/>
                    <a:pt x="94" y="11"/>
                    <a:pt x="94" y="11"/>
                  </a:cubicBezTo>
                  <a:cubicBezTo>
                    <a:pt x="92" y="11"/>
                    <a:pt x="92" y="11"/>
                    <a:pt x="92" y="11"/>
                  </a:cubicBezTo>
                  <a:cubicBezTo>
                    <a:pt x="91" y="13"/>
                    <a:pt x="91" y="13"/>
                    <a:pt x="91" y="13"/>
                  </a:cubicBezTo>
                  <a:cubicBezTo>
                    <a:pt x="90" y="14"/>
                    <a:pt x="90" y="14"/>
                    <a:pt x="90" y="14"/>
                  </a:cubicBezTo>
                  <a:cubicBezTo>
                    <a:pt x="88" y="14"/>
                    <a:pt x="88" y="14"/>
                    <a:pt x="88" y="14"/>
                  </a:cubicBezTo>
                  <a:cubicBezTo>
                    <a:pt x="87" y="13"/>
                    <a:pt x="87" y="13"/>
                    <a:pt x="87" y="13"/>
                  </a:cubicBezTo>
                  <a:cubicBezTo>
                    <a:pt x="86" y="13"/>
                    <a:pt x="83" y="13"/>
                    <a:pt x="82" y="13"/>
                  </a:cubicBezTo>
                  <a:cubicBezTo>
                    <a:pt x="82" y="13"/>
                    <a:pt x="81" y="14"/>
                    <a:pt x="81" y="14"/>
                  </a:cubicBezTo>
                  <a:cubicBezTo>
                    <a:pt x="79" y="15"/>
                    <a:pt x="79" y="15"/>
                    <a:pt x="79" y="15"/>
                  </a:cubicBezTo>
                  <a:cubicBezTo>
                    <a:pt x="78" y="16"/>
                    <a:pt x="78" y="16"/>
                    <a:pt x="78" y="16"/>
                  </a:cubicBezTo>
                  <a:cubicBezTo>
                    <a:pt x="78" y="18"/>
                    <a:pt x="78" y="18"/>
                    <a:pt x="78" y="18"/>
                  </a:cubicBezTo>
                  <a:cubicBezTo>
                    <a:pt x="77" y="19"/>
                    <a:pt x="77" y="19"/>
                    <a:pt x="77" y="19"/>
                  </a:cubicBezTo>
                  <a:cubicBezTo>
                    <a:pt x="76" y="19"/>
                    <a:pt x="76" y="19"/>
                    <a:pt x="76" y="19"/>
                  </a:cubicBezTo>
                  <a:cubicBezTo>
                    <a:pt x="75" y="19"/>
                    <a:pt x="75" y="19"/>
                    <a:pt x="75" y="18"/>
                  </a:cubicBezTo>
                  <a:cubicBezTo>
                    <a:pt x="75" y="18"/>
                    <a:pt x="74" y="18"/>
                    <a:pt x="74" y="18"/>
                  </a:cubicBezTo>
                  <a:cubicBezTo>
                    <a:pt x="73" y="19"/>
                    <a:pt x="73" y="19"/>
                    <a:pt x="73" y="19"/>
                  </a:cubicBezTo>
                  <a:cubicBezTo>
                    <a:pt x="73" y="21"/>
                    <a:pt x="73" y="21"/>
                    <a:pt x="73" y="21"/>
                  </a:cubicBezTo>
                  <a:cubicBezTo>
                    <a:pt x="72" y="22"/>
                    <a:pt x="72" y="22"/>
                    <a:pt x="72" y="22"/>
                  </a:cubicBezTo>
                  <a:cubicBezTo>
                    <a:pt x="72" y="22"/>
                    <a:pt x="72" y="22"/>
                    <a:pt x="72" y="22"/>
                  </a:cubicBezTo>
                  <a:cubicBezTo>
                    <a:pt x="71" y="22"/>
                    <a:pt x="71" y="22"/>
                    <a:pt x="71" y="21"/>
                  </a:cubicBezTo>
                  <a:cubicBezTo>
                    <a:pt x="70" y="21"/>
                    <a:pt x="70" y="20"/>
                    <a:pt x="70" y="20"/>
                  </a:cubicBezTo>
                  <a:cubicBezTo>
                    <a:pt x="70" y="19"/>
                    <a:pt x="68" y="19"/>
                    <a:pt x="68" y="19"/>
                  </a:cubicBezTo>
                  <a:cubicBezTo>
                    <a:pt x="67" y="21"/>
                    <a:pt x="67" y="21"/>
                    <a:pt x="67" y="21"/>
                  </a:cubicBezTo>
                  <a:cubicBezTo>
                    <a:pt x="66" y="21"/>
                    <a:pt x="66" y="22"/>
                    <a:pt x="67" y="22"/>
                  </a:cubicBezTo>
                  <a:cubicBezTo>
                    <a:pt x="67" y="23"/>
                    <a:pt x="66" y="24"/>
                    <a:pt x="66" y="24"/>
                  </a:cubicBezTo>
                  <a:cubicBezTo>
                    <a:pt x="65" y="23"/>
                    <a:pt x="65" y="23"/>
                    <a:pt x="65" y="23"/>
                  </a:cubicBezTo>
                  <a:cubicBezTo>
                    <a:pt x="63" y="23"/>
                    <a:pt x="63" y="23"/>
                    <a:pt x="63" y="23"/>
                  </a:cubicBezTo>
                  <a:cubicBezTo>
                    <a:pt x="63" y="23"/>
                    <a:pt x="62" y="24"/>
                    <a:pt x="62" y="25"/>
                  </a:cubicBezTo>
                  <a:cubicBezTo>
                    <a:pt x="61" y="25"/>
                    <a:pt x="60" y="25"/>
                    <a:pt x="60" y="25"/>
                  </a:cubicBezTo>
                  <a:cubicBezTo>
                    <a:pt x="60" y="25"/>
                    <a:pt x="59" y="24"/>
                    <a:pt x="58" y="23"/>
                  </a:cubicBezTo>
                  <a:cubicBezTo>
                    <a:pt x="58" y="23"/>
                    <a:pt x="57" y="23"/>
                    <a:pt x="57" y="23"/>
                  </a:cubicBezTo>
                  <a:cubicBezTo>
                    <a:pt x="57" y="23"/>
                    <a:pt x="58" y="25"/>
                    <a:pt x="58" y="26"/>
                  </a:cubicBezTo>
                  <a:cubicBezTo>
                    <a:pt x="58" y="26"/>
                    <a:pt x="58" y="27"/>
                    <a:pt x="58" y="28"/>
                  </a:cubicBezTo>
                  <a:cubicBezTo>
                    <a:pt x="58" y="28"/>
                    <a:pt x="57" y="29"/>
                    <a:pt x="56" y="29"/>
                  </a:cubicBezTo>
                  <a:cubicBezTo>
                    <a:pt x="56" y="30"/>
                    <a:pt x="55" y="31"/>
                    <a:pt x="55" y="32"/>
                  </a:cubicBezTo>
                  <a:cubicBezTo>
                    <a:pt x="55" y="35"/>
                    <a:pt x="55" y="35"/>
                    <a:pt x="55" y="35"/>
                  </a:cubicBezTo>
                  <a:cubicBezTo>
                    <a:pt x="54" y="37"/>
                    <a:pt x="54" y="37"/>
                    <a:pt x="54" y="37"/>
                  </a:cubicBezTo>
                  <a:cubicBezTo>
                    <a:pt x="54" y="42"/>
                    <a:pt x="54" y="42"/>
                    <a:pt x="54" y="42"/>
                  </a:cubicBezTo>
                  <a:cubicBezTo>
                    <a:pt x="54" y="42"/>
                    <a:pt x="55" y="44"/>
                    <a:pt x="55" y="45"/>
                  </a:cubicBezTo>
                  <a:cubicBezTo>
                    <a:pt x="56" y="45"/>
                    <a:pt x="57" y="46"/>
                    <a:pt x="58" y="46"/>
                  </a:cubicBezTo>
                  <a:cubicBezTo>
                    <a:pt x="59" y="46"/>
                    <a:pt x="59" y="47"/>
                    <a:pt x="59" y="47"/>
                  </a:cubicBezTo>
                  <a:cubicBezTo>
                    <a:pt x="59" y="48"/>
                    <a:pt x="59" y="48"/>
                    <a:pt x="59" y="48"/>
                  </a:cubicBezTo>
                  <a:cubicBezTo>
                    <a:pt x="59" y="48"/>
                    <a:pt x="60" y="49"/>
                    <a:pt x="60" y="49"/>
                  </a:cubicBezTo>
                  <a:cubicBezTo>
                    <a:pt x="61" y="49"/>
                    <a:pt x="61" y="48"/>
                    <a:pt x="61" y="48"/>
                  </a:cubicBezTo>
                  <a:cubicBezTo>
                    <a:pt x="61" y="47"/>
                    <a:pt x="63" y="47"/>
                    <a:pt x="64" y="47"/>
                  </a:cubicBezTo>
                  <a:cubicBezTo>
                    <a:pt x="64" y="47"/>
                    <a:pt x="67" y="47"/>
                    <a:pt x="67" y="47"/>
                  </a:cubicBezTo>
                  <a:cubicBezTo>
                    <a:pt x="68" y="46"/>
                    <a:pt x="71" y="46"/>
                    <a:pt x="72" y="46"/>
                  </a:cubicBezTo>
                  <a:cubicBezTo>
                    <a:pt x="72" y="45"/>
                    <a:pt x="75" y="45"/>
                    <a:pt x="75" y="45"/>
                  </a:cubicBezTo>
                  <a:cubicBezTo>
                    <a:pt x="77" y="46"/>
                    <a:pt x="77" y="46"/>
                    <a:pt x="77" y="46"/>
                  </a:cubicBezTo>
                  <a:cubicBezTo>
                    <a:pt x="79" y="48"/>
                    <a:pt x="79" y="48"/>
                    <a:pt x="79" y="48"/>
                  </a:cubicBezTo>
                  <a:cubicBezTo>
                    <a:pt x="81" y="48"/>
                    <a:pt x="81" y="48"/>
                    <a:pt x="81" y="48"/>
                  </a:cubicBezTo>
                  <a:cubicBezTo>
                    <a:pt x="87" y="48"/>
                    <a:pt x="87" y="48"/>
                    <a:pt x="87" y="48"/>
                  </a:cubicBezTo>
                  <a:cubicBezTo>
                    <a:pt x="87" y="48"/>
                    <a:pt x="87" y="48"/>
                    <a:pt x="87" y="48"/>
                  </a:cubicBezTo>
                  <a:cubicBezTo>
                    <a:pt x="88" y="46"/>
                    <a:pt x="88" y="46"/>
                    <a:pt x="88" y="46"/>
                  </a:cubicBezTo>
                  <a:cubicBezTo>
                    <a:pt x="102" y="46"/>
                    <a:pt x="102" y="46"/>
                    <a:pt x="102" y="46"/>
                  </a:cubicBezTo>
                  <a:cubicBezTo>
                    <a:pt x="104" y="47"/>
                    <a:pt x="104" y="47"/>
                    <a:pt x="104" y="47"/>
                  </a:cubicBezTo>
                  <a:cubicBezTo>
                    <a:pt x="106" y="49"/>
                    <a:pt x="106" y="49"/>
                    <a:pt x="106" y="49"/>
                  </a:cubicBezTo>
                  <a:cubicBezTo>
                    <a:pt x="106" y="50"/>
                    <a:pt x="108" y="51"/>
                    <a:pt x="109" y="51"/>
                  </a:cubicBezTo>
                  <a:cubicBezTo>
                    <a:pt x="110" y="51"/>
                    <a:pt x="113" y="51"/>
                    <a:pt x="114" y="51"/>
                  </a:cubicBezTo>
                  <a:cubicBezTo>
                    <a:pt x="114" y="51"/>
                    <a:pt x="115" y="50"/>
                    <a:pt x="115" y="49"/>
                  </a:cubicBezTo>
                  <a:cubicBezTo>
                    <a:pt x="115" y="49"/>
                    <a:pt x="116" y="48"/>
                    <a:pt x="116" y="48"/>
                  </a:cubicBezTo>
                  <a:cubicBezTo>
                    <a:pt x="118" y="48"/>
                    <a:pt x="118" y="48"/>
                    <a:pt x="118" y="48"/>
                  </a:cubicBezTo>
                  <a:cubicBezTo>
                    <a:pt x="118" y="48"/>
                    <a:pt x="119" y="49"/>
                    <a:pt x="120" y="49"/>
                  </a:cubicBezTo>
                  <a:cubicBezTo>
                    <a:pt x="120" y="50"/>
                    <a:pt x="121" y="51"/>
                    <a:pt x="121" y="51"/>
                  </a:cubicBezTo>
                  <a:cubicBezTo>
                    <a:pt x="121" y="52"/>
                    <a:pt x="123" y="54"/>
                    <a:pt x="123" y="54"/>
                  </a:cubicBezTo>
                  <a:cubicBezTo>
                    <a:pt x="124" y="54"/>
                    <a:pt x="125" y="55"/>
                    <a:pt x="126" y="55"/>
                  </a:cubicBezTo>
                  <a:cubicBezTo>
                    <a:pt x="127" y="55"/>
                    <a:pt x="130" y="55"/>
                    <a:pt x="130" y="55"/>
                  </a:cubicBezTo>
                  <a:cubicBezTo>
                    <a:pt x="131" y="55"/>
                    <a:pt x="132" y="54"/>
                    <a:pt x="132" y="54"/>
                  </a:cubicBezTo>
                  <a:cubicBezTo>
                    <a:pt x="133" y="53"/>
                    <a:pt x="135" y="52"/>
                    <a:pt x="135" y="52"/>
                  </a:cubicBezTo>
                  <a:cubicBezTo>
                    <a:pt x="136" y="52"/>
                    <a:pt x="137" y="51"/>
                    <a:pt x="137" y="51"/>
                  </a:cubicBezTo>
                  <a:cubicBezTo>
                    <a:pt x="137" y="51"/>
                    <a:pt x="141" y="51"/>
                    <a:pt x="142" y="51"/>
                  </a:cubicBezTo>
                  <a:cubicBezTo>
                    <a:pt x="142" y="51"/>
                    <a:pt x="145" y="52"/>
                    <a:pt x="146" y="52"/>
                  </a:cubicBezTo>
                  <a:cubicBezTo>
                    <a:pt x="146" y="52"/>
                    <a:pt x="148" y="52"/>
                    <a:pt x="148" y="52"/>
                  </a:cubicBezTo>
                  <a:cubicBezTo>
                    <a:pt x="149" y="52"/>
                    <a:pt x="149" y="52"/>
                    <a:pt x="150" y="51"/>
                  </a:cubicBezTo>
                  <a:cubicBezTo>
                    <a:pt x="150" y="51"/>
                    <a:pt x="151" y="50"/>
                    <a:pt x="151" y="50"/>
                  </a:cubicBezTo>
                  <a:cubicBezTo>
                    <a:pt x="151" y="47"/>
                    <a:pt x="151" y="47"/>
                    <a:pt x="151" y="47"/>
                  </a:cubicBezTo>
                  <a:cubicBezTo>
                    <a:pt x="151" y="45"/>
                    <a:pt x="151" y="45"/>
                    <a:pt x="151" y="45"/>
                  </a:cubicBezTo>
                  <a:cubicBezTo>
                    <a:pt x="153" y="45"/>
                    <a:pt x="153" y="45"/>
                    <a:pt x="153" y="45"/>
                  </a:cubicBezTo>
                  <a:cubicBezTo>
                    <a:pt x="156" y="46"/>
                    <a:pt x="156" y="46"/>
                    <a:pt x="156" y="46"/>
                  </a:cubicBezTo>
                  <a:cubicBezTo>
                    <a:pt x="164" y="46"/>
                    <a:pt x="164" y="46"/>
                    <a:pt x="164" y="46"/>
                  </a:cubicBezTo>
                  <a:cubicBezTo>
                    <a:pt x="166" y="47"/>
                    <a:pt x="166" y="47"/>
                    <a:pt x="166" y="47"/>
                  </a:cubicBezTo>
                  <a:cubicBezTo>
                    <a:pt x="167" y="49"/>
                    <a:pt x="167" y="49"/>
                    <a:pt x="167" y="49"/>
                  </a:cubicBezTo>
                  <a:cubicBezTo>
                    <a:pt x="167" y="50"/>
                    <a:pt x="167" y="50"/>
                    <a:pt x="167" y="50"/>
                  </a:cubicBezTo>
                  <a:cubicBezTo>
                    <a:pt x="167" y="52"/>
                    <a:pt x="167" y="52"/>
                    <a:pt x="167" y="52"/>
                  </a:cubicBezTo>
                  <a:cubicBezTo>
                    <a:pt x="168" y="52"/>
                    <a:pt x="168" y="52"/>
                    <a:pt x="168" y="52"/>
                  </a:cubicBezTo>
                  <a:cubicBezTo>
                    <a:pt x="168" y="52"/>
                    <a:pt x="169" y="50"/>
                    <a:pt x="169" y="50"/>
                  </a:cubicBezTo>
                  <a:cubicBezTo>
                    <a:pt x="169" y="50"/>
                    <a:pt x="170" y="49"/>
                    <a:pt x="170" y="49"/>
                  </a:cubicBezTo>
                  <a:cubicBezTo>
                    <a:pt x="172" y="49"/>
                    <a:pt x="172" y="49"/>
                    <a:pt x="172" y="49"/>
                  </a:cubicBezTo>
                  <a:cubicBezTo>
                    <a:pt x="174" y="51"/>
                    <a:pt x="174" y="51"/>
                    <a:pt x="174" y="51"/>
                  </a:cubicBezTo>
                  <a:cubicBezTo>
                    <a:pt x="177" y="50"/>
                    <a:pt x="177" y="50"/>
                    <a:pt x="177" y="50"/>
                  </a:cubicBezTo>
                  <a:cubicBezTo>
                    <a:pt x="177" y="50"/>
                    <a:pt x="179" y="49"/>
                    <a:pt x="180" y="49"/>
                  </a:cubicBezTo>
                  <a:cubicBezTo>
                    <a:pt x="180" y="48"/>
                    <a:pt x="182" y="48"/>
                    <a:pt x="182" y="47"/>
                  </a:cubicBezTo>
                  <a:cubicBezTo>
                    <a:pt x="182" y="47"/>
                    <a:pt x="185" y="47"/>
                    <a:pt x="186" y="47"/>
                  </a:cubicBezTo>
                  <a:cubicBezTo>
                    <a:pt x="186" y="47"/>
                    <a:pt x="187" y="47"/>
                    <a:pt x="187" y="46"/>
                  </a:cubicBezTo>
                  <a:cubicBezTo>
                    <a:pt x="190" y="46"/>
                    <a:pt x="190" y="46"/>
                    <a:pt x="190" y="46"/>
                  </a:cubicBezTo>
                  <a:cubicBezTo>
                    <a:pt x="195" y="42"/>
                    <a:pt x="195" y="42"/>
                    <a:pt x="195" y="42"/>
                  </a:cubicBezTo>
                  <a:cubicBezTo>
                    <a:pt x="197" y="41"/>
                    <a:pt x="197" y="41"/>
                    <a:pt x="197" y="41"/>
                  </a:cubicBezTo>
                  <a:cubicBezTo>
                    <a:pt x="200" y="42"/>
                    <a:pt x="200" y="42"/>
                    <a:pt x="200" y="42"/>
                  </a:cubicBezTo>
                  <a:cubicBezTo>
                    <a:pt x="200" y="42"/>
                    <a:pt x="201" y="42"/>
                    <a:pt x="202" y="42"/>
                  </a:cubicBezTo>
                  <a:cubicBezTo>
                    <a:pt x="202" y="42"/>
                    <a:pt x="205" y="42"/>
                    <a:pt x="206" y="42"/>
                  </a:cubicBezTo>
                  <a:cubicBezTo>
                    <a:pt x="207" y="42"/>
                    <a:pt x="209" y="42"/>
                    <a:pt x="209" y="42"/>
                  </a:cubicBezTo>
                  <a:cubicBezTo>
                    <a:pt x="210" y="42"/>
                    <a:pt x="212" y="42"/>
                    <a:pt x="213" y="42"/>
                  </a:cubicBezTo>
                  <a:cubicBezTo>
                    <a:pt x="214" y="42"/>
                    <a:pt x="215" y="42"/>
                    <a:pt x="216" y="42"/>
                  </a:cubicBezTo>
                  <a:cubicBezTo>
                    <a:pt x="217" y="41"/>
                    <a:pt x="219" y="41"/>
                    <a:pt x="220" y="41"/>
                  </a:cubicBezTo>
                  <a:cubicBezTo>
                    <a:pt x="222" y="40"/>
                    <a:pt x="223" y="39"/>
                    <a:pt x="223" y="37"/>
                  </a:cubicBezTo>
                  <a:cubicBezTo>
                    <a:pt x="224" y="36"/>
                    <a:pt x="227" y="36"/>
                    <a:pt x="228" y="36"/>
                  </a:cubicBezTo>
                  <a:cubicBezTo>
                    <a:pt x="229" y="36"/>
                    <a:pt x="231" y="35"/>
                    <a:pt x="231" y="35"/>
                  </a:cubicBezTo>
                  <a:cubicBezTo>
                    <a:pt x="232" y="35"/>
                    <a:pt x="238" y="34"/>
                    <a:pt x="238" y="34"/>
                  </a:cubicBezTo>
                  <a:cubicBezTo>
                    <a:pt x="241" y="32"/>
                    <a:pt x="241" y="32"/>
                    <a:pt x="241" y="32"/>
                  </a:cubicBezTo>
                  <a:cubicBezTo>
                    <a:pt x="241" y="32"/>
                    <a:pt x="242" y="30"/>
                    <a:pt x="242" y="30"/>
                  </a:cubicBezTo>
                  <a:close/>
                  <a:moveTo>
                    <a:pt x="116" y="120"/>
                  </a:moveTo>
                  <a:cubicBezTo>
                    <a:pt x="116" y="120"/>
                    <a:pt x="113" y="117"/>
                    <a:pt x="112" y="116"/>
                  </a:cubicBezTo>
                  <a:cubicBezTo>
                    <a:pt x="112" y="116"/>
                    <a:pt x="111" y="116"/>
                    <a:pt x="110" y="116"/>
                  </a:cubicBezTo>
                  <a:cubicBezTo>
                    <a:pt x="109" y="115"/>
                    <a:pt x="108" y="115"/>
                    <a:pt x="108" y="114"/>
                  </a:cubicBezTo>
                  <a:cubicBezTo>
                    <a:pt x="107" y="114"/>
                    <a:pt x="106" y="112"/>
                    <a:pt x="106" y="111"/>
                  </a:cubicBezTo>
                  <a:cubicBezTo>
                    <a:pt x="106" y="111"/>
                    <a:pt x="105" y="109"/>
                    <a:pt x="105" y="109"/>
                  </a:cubicBezTo>
                  <a:cubicBezTo>
                    <a:pt x="104" y="107"/>
                    <a:pt x="104" y="107"/>
                    <a:pt x="104" y="107"/>
                  </a:cubicBezTo>
                  <a:cubicBezTo>
                    <a:pt x="103" y="104"/>
                    <a:pt x="103" y="104"/>
                    <a:pt x="103" y="104"/>
                  </a:cubicBezTo>
                  <a:cubicBezTo>
                    <a:pt x="102" y="103"/>
                    <a:pt x="102" y="103"/>
                    <a:pt x="102" y="103"/>
                  </a:cubicBezTo>
                  <a:cubicBezTo>
                    <a:pt x="100" y="101"/>
                    <a:pt x="100" y="101"/>
                    <a:pt x="100" y="101"/>
                  </a:cubicBezTo>
                  <a:cubicBezTo>
                    <a:pt x="98" y="101"/>
                    <a:pt x="98" y="101"/>
                    <a:pt x="98" y="101"/>
                  </a:cubicBezTo>
                  <a:cubicBezTo>
                    <a:pt x="96" y="99"/>
                    <a:pt x="96" y="99"/>
                    <a:pt x="96" y="99"/>
                  </a:cubicBezTo>
                  <a:cubicBezTo>
                    <a:pt x="96" y="99"/>
                    <a:pt x="95" y="97"/>
                    <a:pt x="95" y="97"/>
                  </a:cubicBezTo>
                  <a:cubicBezTo>
                    <a:pt x="94" y="96"/>
                    <a:pt x="93" y="97"/>
                    <a:pt x="93" y="97"/>
                  </a:cubicBezTo>
                  <a:cubicBezTo>
                    <a:pt x="92" y="98"/>
                    <a:pt x="89" y="99"/>
                    <a:pt x="88" y="99"/>
                  </a:cubicBezTo>
                  <a:cubicBezTo>
                    <a:pt x="87" y="100"/>
                    <a:pt x="85" y="100"/>
                    <a:pt x="85" y="100"/>
                  </a:cubicBezTo>
                  <a:cubicBezTo>
                    <a:pt x="85" y="98"/>
                    <a:pt x="85" y="98"/>
                    <a:pt x="85" y="98"/>
                  </a:cubicBezTo>
                  <a:cubicBezTo>
                    <a:pt x="85" y="98"/>
                    <a:pt x="82" y="98"/>
                    <a:pt x="82" y="98"/>
                  </a:cubicBezTo>
                  <a:cubicBezTo>
                    <a:pt x="81" y="98"/>
                    <a:pt x="81" y="96"/>
                    <a:pt x="81" y="96"/>
                  </a:cubicBezTo>
                  <a:cubicBezTo>
                    <a:pt x="80" y="95"/>
                    <a:pt x="80" y="93"/>
                    <a:pt x="80" y="93"/>
                  </a:cubicBezTo>
                  <a:cubicBezTo>
                    <a:pt x="80" y="93"/>
                    <a:pt x="80" y="89"/>
                    <a:pt x="79" y="89"/>
                  </a:cubicBezTo>
                  <a:cubicBezTo>
                    <a:pt x="79" y="88"/>
                    <a:pt x="78" y="88"/>
                    <a:pt x="78" y="88"/>
                  </a:cubicBezTo>
                  <a:cubicBezTo>
                    <a:pt x="77" y="88"/>
                    <a:pt x="77" y="88"/>
                    <a:pt x="76" y="88"/>
                  </a:cubicBezTo>
                  <a:cubicBezTo>
                    <a:pt x="74" y="89"/>
                    <a:pt x="73" y="88"/>
                    <a:pt x="72" y="88"/>
                  </a:cubicBezTo>
                  <a:cubicBezTo>
                    <a:pt x="71" y="88"/>
                    <a:pt x="69" y="86"/>
                    <a:pt x="69" y="85"/>
                  </a:cubicBezTo>
                  <a:cubicBezTo>
                    <a:pt x="69" y="84"/>
                    <a:pt x="63" y="78"/>
                    <a:pt x="63" y="77"/>
                  </a:cubicBezTo>
                  <a:cubicBezTo>
                    <a:pt x="63" y="76"/>
                    <a:pt x="62" y="76"/>
                    <a:pt x="62" y="76"/>
                  </a:cubicBezTo>
                  <a:cubicBezTo>
                    <a:pt x="53" y="83"/>
                    <a:pt x="53" y="83"/>
                    <a:pt x="53" y="83"/>
                  </a:cubicBezTo>
                  <a:cubicBezTo>
                    <a:pt x="53" y="83"/>
                    <a:pt x="51" y="83"/>
                    <a:pt x="50" y="83"/>
                  </a:cubicBezTo>
                  <a:cubicBezTo>
                    <a:pt x="49" y="83"/>
                    <a:pt x="48" y="82"/>
                    <a:pt x="48" y="82"/>
                  </a:cubicBezTo>
                  <a:cubicBezTo>
                    <a:pt x="47" y="82"/>
                    <a:pt x="45" y="81"/>
                    <a:pt x="45" y="81"/>
                  </a:cubicBezTo>
                  <a:cubicBezTo>
                    <a:pt x="45" y="80"/>
                    <a:pt x="43" y="80"/>
                    <a:pt x="42" y="80"/>
                  </a:cubicBezTo>
                  <a:cubicBezTo>
                    <a:pt x="41" y="80"/>
                    <a:pt x="40" y="80"/>
                    <a:pt x="40" y="80"/>
                  </a:cubicBezTo>
                  <a:cubicBezTo>
                    <a:pt x="38" y="81"/>
                    <a:pt x="38" y="81"/>
                    <a:pt x="38" y="81"/>
                  </a:cubicBezTo>
                  <a:cubicBezTo>
                    <a:pt x="37" y="81"/>
                    <a:pt x="36" y="82"/>
                    <a:pt x="35" y="81"/>
                  </a:cubicBezTo>
                  <a:cubicBezTo>
                    <a:pt x="35" y="81"/>
                    <a:pt x="34" y="81"/>
                    <a:pt x="34" y="81"/>
                  </a:cubicBezTo>
                  <a:cubicBezTo>
                    <a:pt x="32" y="81"/>
                    <a:pt x="32" y="81"/>
                    <a:pt x="32" y="81"/>
                  </a:cubicBezTo>
                  <a:cubicBezTo>
                    <a:pt x="32" y="81"/>
                    <a:pt x="30" y="82"/>
                    <a:pt x="30" y="82"/>
                  </a:cubicBezTo>
                  <a:cubicBezTo>
                    <a:pt x="29" y="82"/>
                    <a:pt x="28" y="82"/>
                    <a:pt x="28" y="82"/>
                  </a:cubicBezTo>
                  <a:cubicBezTo>
                    <a:pt x="26" y="82"/>
                    <a:pt x="26" y="82"/>
                    <a:pt x="26" y="82"/>
                  </a:cubicBezTo>
                  <a:cubicBezTo>
                    <a:pt x="24" y="81"/>
                    <a:pt x="24" y="81"/>
                    <a:pt x="24" y="81"/>
                  </a:cubicBezTo>
                  <a:cubicBezTo>
                    <a:pt x="24" y="80"/>
                    <a:pt x="22" y="81"/>
                    <a:pt x="21" y="81"/>
                  </a:cubicBezTo>
                  <a:cubicBezTo>
                    <a:pt x="20" y="81"/>
                    <a:pt x="18" y="82"/>
                    <a:pt x="18" y="82"/>
                  </a:cubicBezTo>
                  <a:cubicBezTo>
                    <a:pt x="17" y="82"/>
                    <a:pt x="17" y="82"/>
                    <a:pt x="17" y="82"/>
                  </a:cubicBezTo>
                  <a:cubicBezTo>
                    <a:pt x="16" y="82"/>
                    <a:pt x="16" y="82"/>
                    <a:pt x="16" y="82"/>
                  </a:cubicBezTo>
                  <a:cubicBezTo>
                    <a:pt x="16" y="82"/>
                    <a:pt x="14" y="82"/>
                    <a:pt x="13" y="83"/>
                  </a:cubicBezTo>
                  <a:cubicBezTo>
                    <a:pt x="12" y="83"/>
                    <a:pt x="11" y="84"/>
                    <a:pt x="10" y="85"/>
                  </a:cubicBezTo>
                  <a:cubicBezTo>
                    <a:pt x="10" y="85"/>
                    <a:pt x="9" y="85"/>
                    <a:pt x="8" y="85"/>
                  </a:cubicBezTo>
                  <a:cubicBezTo>
                    <a:pt x="8" y="85"/>
                    <a:pt x="6" y="85"/>
                    <a:pt x="5" y="86"/>
                  </a:cubicBezTo>
                  <a:cubicBezTo>
                    <a:pt x="4" y="86"/>
                    <a:pt x="3" y="87"/>
                    <a:pt x="3" y="88"/>
                  </a:cubicBezTo>
                  <a:cubicBezTo>
                    <a:pt x="2" y="89"/>
                    <a:pt x="1" y="90"/>
                    <a:pt x="1" y="90"/>
                  </a:cubicBezTo>
                  <a:cubicBezTo>
                    <a:pt x="0" y="92"/>
                    <a:pt x="0" y="92"/>
                    <a:pt x="0" y="92"/>
                  </a:cubicBezTo>
                  <a:cubicBezTo>
                    <a:pt x="0" y="92"/>
                    <a:pt x="1" y="95"/>
                    <a:pt x="1" y="95"/>
                  </a:cubicBezTo>
                  <a:cubicBezTo>
                    <a:pt x="2" y="96"/>
                    <a:pt x="4" y="98"/>
                    <a:pt x="5" y="99"/>
                  </a:cubicBezTo>
                  <a:cubicBezTo>
                    <a:pt x="6" y="100"/>
                    <a:pt x="6" y="100"/>
                    <a:pt x="7" y="101"/>
                  </a:cubicBezTo>
                  <a:cubicBezTo>
                    <a:pt x="8" y="102"/>
                    <a:pt x="10" y="102"/>
                    <a:pt x="14" y="104"/>
                  </a:cubicBezTo>
                  <a:cubicBezTo>
                    <a:pt x="14" y="104"/>
                    <a:pt x="17" y="104"/>
                    <a:pt x="18" y="105"/>
                  </a:cubicBezTo>
                  <a:cubicBezTo>
                    <a:pt x="19" y="105"/>
                    <a:pt x="22" y="105"/>
                    <a:pt x="23" y="105"/>
                  </a:cubicBezTo>
                  <a:cubicBezTo>
                    <a:pt x="23" y="105"/>
                    <a:pt x="23" y="106"/>
                    <a:pt x="23" y="106"/>
                  </a:cubicBezTo>
                  <a:cubicBezTo>
                    <a:pt x="23" y="106"/>
                    <a:pt x="24" y="106"/>
                    <a:pt x="25" y="106"/>
                  </a:cubicBezTo>
                  <a:cubicBezTo>
                    <a:pt x="25" y="106"/>
                    <a:pt x="26" y="106"/>
                    <a:pt x="26" y="106"/>
                  </a:cubicBezTo>
                  <a:cubicBezTo>
                    <a:pt x="26" y="106"/>
                    <a:pt x="27" y="106"/>
                    <a:pt x="27" y="107"/>
                  </a:cubicBezTo>
                  <a:cubicBezTo>
                    <a:pt x="27" y="108"/>
                    <a:pt x="29" y="108"/>
                    <a:pt x="29" y="108"/>
                  </a:cubicBezTo>
                  <a:cubicBezTo>
                    <a:pt x="29" y="108"/>
                    <a:pt x="30" y="107"/>
                    <a:pt x="30" y="106"/>
                  </a:cubicBezTo>
                  <a:cubicBezTo>
                    <a:pt x="30" y="106"/>
                    <a:pt x="32" y="105"/>
                    <a:pt x="33" y="105"/>
                  </a:cubicBezTo>
                  <a:cubicBezTo>
                    <a:pt x="34" y="104"/>
                    <a:pt x="34" y="105"/>
                    <a:pt x="34" y="105"/>
                  </a:cubicBezTo>
                  <a:cubicBezTo>
                    <a:pt x="37" y="106"/>
                    <a:pt x="37" y="106"/>
                    <a:pt x="37" y="106"/>
                  </a:cubicBezTo>
                  <a:cubicBezTo>
                    <a:pt x="37" y="106"/>
                    <a:pt x="38" y="106"/>
                    <a:pt x="39" y="106"/>
                  </a:cubicBezTo>
                  <a:cubicBezTo>
                    <a:pt x="39" y="106"/>
                    <a:pt x="41" y="106"/>
                    <a:pt x="42" y="106"/>
                  </a:cubicBezTo>
                  <a:cubicBezTo>
                    <a:pt x="43" y="106"/>
                    <a:pt x="42" y="108"/>
                    <a:pt x="43" y="109"/>
                  </a:cubicBezTo>
                  <a:cubicBezTo>
                    <a:pt x="43" y="109"/>
                    <a:pt x="44" y="108"/>
                    <a:pt x="44" y="107"/>
                  </a:cubicBezTo>
                  <a:cubicBezTo>
                    <a:pt x="45" y="106"/>
                    <a:pt x="45" y="107"/>
                    <a:pt x="46" y="107"/>
                  </a:cubicBezTo>
                  <a:cubicBezTo>
                    <a:pt x="47" y="107"/>
                    <a:pt x="46" y="109"/>
                    <a:pt x="46" y="109"/>
                  </a:cubicBezTo>
                  <a:cubicBezTo>
                    <a:pt x="46" y="110"/>
                    <a:pt x="47" y="111"/>
                    <a:pt x="48" y="112"/>
                  </a:cubicBezTo>
                  <a:cubicBezTo>
                    <a:pt x="49" y="112"/>
                    <a:pt x="51" y="114"/>
                    <a:pt x="52" y="115"/>
                  </a:cubicBezTo>
                  <a:cubicBezTo>
                    <a:pt x="53" y="116"/>
                    <a:pt x="55" y="116"/>
                    <a:pt x="56" y="116"/>
                  </a:cubicBezTo>
                  <a:cubicBezTo>
                    <a:pt x="58" y="116"/>
                    <a:pt x="58" y="116"/>
                    <a:pt x="58" y="116"/>
                  </a:cubicBezTo>
                  <a:cubicBezTo>
                    <a:pt x="58" y="118"/>
                    <a:pt x="58" y="118"/>
                    <a:pt x="58" y="118"/>
                  </a:cubicBezTo>
                  <a:cubicBezTo>
                    <a:pt x="59" y="118"/>
                    <a:pt x="60" y="119"/>
                    <a:pt x="61" y="119"/>
                  </a:cubicBezTo>
                  <a:cubicBezTo>
                    <a:pt x="61" y="119"/>
                    <a:pt x="63" y="119"/>
                    <a:pt x="63" y="119"/>
                  </a:cubicBezTo>
                  <a:cubicBezTo>
                    <a:pt x="63" y="121"/>
                    <a:pt x="63" y="121"/>
                    <a:pt x="63" y="121"/>
                  </a:cubicBezTo>
                  <a:cubicBezTo>
                    <a:pt x="63" y="121"/>
                    <a:pt x="64" y="122"/>
                    <a:pt x="65" y="122"/>
                  </a:cubicBezTo>
                  <a:cubicBezTo>
                    <a:pt x="65" y="122"/>
                    <a:pt x="67" y="125"/>
                    <a:pt x="67" y="125"/>
                  </a:cubicBezTo>
                  <a:cubicBezTo>
                    <a:pt x="68" y="126"/>
                    <a:pt x="67" y="127"/>
                    <a:pt x="66" y="127"/>
                  </a:cubicBezTo>
                  <a:cubicBezTo>
                    <a:pt x="66" y="128"/>
                    <a:pt x="66" y="128"/>
                    <a:pt x="66" y="128"/>
                  </a:cubicBezTo>
                  <a:cubicBezTo>
                    <a:pt x="66" y="128"/>
                    <a:pt x="67" y="128"/>
                    <a:pt x="68" y="129"/>
                  </a:cubicBezTo>
                  <a:cubicBezTo>
                    <a:pt x="70" y="129"/>
                    <a:pt x="69" y="130"/>
                    <a:pt x="70" y="130"/>
                  </a:cubicBezTo>
                  <a:cubicBezTo>
                    <a:pt x="70" y="131"/>
                    <a:pt x="73" y="133"/>
                    <a:pt x="73" y="133"/>
                  </a:cubicBezTo>
                  <a:cubicBezTo>
                    <a:pt x="74" y="133"/>
                    <a:pt x="76" y="135"/>
                    <a:pt x="77" y="135"/>
                  </a:cubicBezTo>
                  <a:cubicBezTo>
                    <a:pt x="77" y="135"/>
                    <a:pt x="80" y="137"/>
                    <a:pt x="80" y="137"/>
                  </a:cubicBezTo>
                  <a:cubicBezTo>
                    <a:pt x="80" y="137"/>
                    <a:pt x="80" y="136"/>
                    <a:pt x="82" y="136"/>
                  </a:cubicBezTo>
                  <a:cubicBezTo>
                    <a:pt x="83" y="136"/>
                    <a:pt x="85" y="136"/>
                    <a:pt x="86" y="136"/>
                  </a:cubicBezTo>
                  <a:cubicBezTo>
                    <a:pt x="88" y="137"/>
                    <a:pt x="89" y="137"/>
                    <a:pt x="89" y="137"/>
                  </a:cubicBezTo>
                  <a:cubicBezTo>
                    <a:pt x="90" y="138"/>
                    <a:pt x="91" y="139"/>
                    <a:pt x="92" y="139"/>
                  </a:cubicBezTo>
                  <a:cubicBezTo>
                    <a:pt x="92" y="139"/>
                    <a:pt x="95" y="140"/>
                    <a:pt x="95" y="140"/>
                  </a:cubicBezTo>
                  <a:cubicBezTo>
                    <a:pt x="95" y="140"/>
                    <a:pt x="95" y="140"/>
                    <a:pt x="95" y="139"/>
                  </a:cubicBezTo>
                  <a:cubicBezTo>
                    <a:pt x="96" y="139"/>
                    <a:pt x="96" y="137"/>
                    <a:pt x="96" y="137"/>
                  </a:cubicBezTo>
                  <a:cubicBezTo>
                    <a:pt x="96" y="137"/>
                    <a:pt x="97" y="137"/>
                    <a:pt x="98" y="137"/>
                  </a:cubicBezTo>
                  <a:cubicBezTo>
                    <a:pt x="98" y="137"/>
                    <a:pt x="98" y="136"/>
                    <a:pt x="98" y="136"/>
                  </a:cubicBezTo>
                  <a:cubicBezTo>
                    <a:pt x="99" y="136"/>
                    <a:pt x="100" y="136"/>
                    <a:pt x="101" y="136"/>
                  </a:cubicBezTo>
                  <a:cubicBezTo>
                    <a:pt x="102" y="136"/>
                    <a:pt x="103" y="137"/>
                    <a:pt x="103" y="137"/>
                  </a:cubicBezTo>
                  <a:cubicBezTo>
                    <a:pt x="105" y="136"/>
                    <a:pt x="105" y="136"/>
                    <a:pt x="105" y="136"/>
                  </a:cubicBezTo>
                  <a:cubicBezTo>
                    <a:pt x="105" y="136"/>
                    <a:pt x="106" y="135"/>
                    <a:pt x="107" y="135"/>
                  </a:cubicBezTo>
                  <a:cubicBezTo>
                    <a:pt x="108" y="135"/>
                    <a:pt x="110" y="134"/>
                    <a:pt x="110" y="134"/>
                  </a:cubicBezTo>
                  <a:cubicBezTo>
                    <a:pt x="111" y="134"/>
                    <a:pt x="112" y="132"/>
                    <a:pt x="112" y="132"/>
                  </a:cubicBezTo>
                  <a:cubicBezTo>
                    <a:pt x="112" y="132"/>
                    <a:pt x="113" y="131"/>
                    <a:pt x="113" y="131"/>
                  </a:cubicBezTo>
                  <a:cubicBezTo>
                    <a:pt x="115" y="129"/>
                    <a:pt x="115" y="129"/>
                    <a:pt x="115" y="129"/>
                  </a:cubicBezTo>
                  <a:cubicBezTo>
                    <a:pt x="115" y="129"/>
                    <a:pt x="116" y="129"/>
                    <a:pt x="117" y="128"/>
                  </a:cubicBezTo>
                  <a:cubicBezTo>
                    <a:pt x="117" y="128"/>
                    <a:pt x="118" y="126"/>
                    <a:pt x="118" y="126"/>
                  </a:cubicBezTo>
                  <a:cubicBezTo>
                    <a:pt x="118" y="125"/>
                    <a:pt x="118" y="123"/>
                    <a:pt x="118" y="122"/>
                  </a:cubicBezTo>
                  <a:cubicBezTo>
                    <a:pt x="118" y="122"/>
                    <a:pt x="117" y="120"/>
                    <a:pt x="116" y="120"/>
                  </a:cubicBezTo>
                  <a:close/>
                  <a:moveTo>
                    <a:pt x="166" y="158"/>
                  </a:moveTo>
                  <a:cubicBezTo>
                    <a:pt x="165" y="159"/>
                    <a:pt x="163" y="158"/>
                    <a:pt x="163" y="158"/>
                  </a:cubicBezTo>
                  <a:cubicBezTo>
                    <a:pt x="162" y="159"/>
                    <a:pt x="162" y="159"/>
                    <a:pt x="161" y="160"/>
                  </a:cubicBezTo>
                  <a:cubicBezTo>
                    <a:pt x="163" y="161"/>
                    <a:pt x="163" y="161"/>
                    <a:pt x="163" y="161"/>
                  </a:cubicBezTo>
                  <a:cubicBezTo>
                    <a:pt x="163" y="161"/>
                    <a:pt x="167" y="160"/>
                    <a:pt x="167" y="159"/>
                  </a:cubicBezTo>
                  <a:cubicBezTo>
                    <a:pt x="168" y="158"/>
                    <a:pt x="166" y="158"/>
                    <a:pt x="166" y="158"/>
                  </a:cubicBezTo>
                  <a:close/>
                  <a:moveTo>
                    <a:pt x="189" y="149"/>
                  </a:moveTo>
                  <a:cubicBezTo>
                    <a:pt x="187" y="149"/>
                    <a:pt x="187" y="149"/>
                    <a:pt x="187" y="149"/>
                  </a:cubicBezTo>
                  <a:cubicBezTo>
                    <a:pt x="184" y="148"/>
                    <a:pt x="184" y="148"/>
                    <a:pt x="184" y="148"/>
                  </a:cubicBezTo>
                  <a:cubicBezTo>
                    <a:pt x="182" y="148"/>
                    <a:pt x="182" y="148"/>
                    <a:pt x="182" y="148"/>
                  </a:cubicBezTo>
                  <a:cubicBezTo>
                    <a:pt x="180" y="150"/>
                    <a:pt x="180" y="150"/>
                    <a:pt x="180" y="150"/>
                  </a:cubicBezTo>
                  <a:cubicBezTo>
                    <a:pt x="179" y="153"/>
                    <a:pt x="179" y="153"/>
                    <a:pt x="179" y="153"/>
                  </a:cubicBezTo>
                  <a:cubicBezTo>
                    <a:pt x="176" y="153"/>
                    <a:pt x="176" y="153"/>
                    <a:pt x="176" y="153"/>
                  </a:cubicBezTo>
                  <a:cubicBezTo>
                    <a:pt x="174" y="155"/>
                    <a:pt x="174" y="155"/>
                    <a:pt x="174" y="155"/>
                  </a:cubicBezTo>
                  <a:cubicBezTo>
                    <a:pt x="171" y="157"/>
                    <a:pt x="171" y="157"/>
                    <a:pt x="171" y="157"/>
                  </a:cubicBezTo>
                  <a:cubicBezTo>
                    <a:pt x="173" y="160"/>
                    <a:pt x="173" y="160"/>
                    <a:pt x="173" y="160"/>
                  </a:cubicBezTo>
                  <a:cubicBezTo>
                    <a:pt x="173" y="160"/>
                    <a:pt x="175" y="159"/>
                    <a:pt x="175" y="159"/>
                  </a:cubicBezTo>
                  <a:cubicBezTo>
                    <a:pt x="176" y="159"/>
                    <a:pt x="176" y="159"/>
                    <a:pt x="177" y="160"/>
                  </a:cubicBezTo>
                  <a:cubicBezTo>
                    <a:pt x="178" y="160"/>
                    <a:pt x="179" y="160"/>
                    <a:pt x="179" y="160"/>
                  </a:cubicBezTo>
                  <a:cubicBezTo>
                    <a:pt x="180" y="160"/>
                    <a:pt x="181" y="160"/>
                    <a:pt x="182" y="159"/>
                  </a:cubicBezTo>
                  <a:cubicBezTo>
                    <a:pt x="183" y="159"/>
                    <a:pt x="184" y="158"/>
                    <a:pt x="185" y="157"/>
                  </a:cubicBezTo>
                  <a:cubicBezTo>
                    <a:pt x="186" y="156"/>
                    <a:pt x="187" y="155"/>
                    <a:pt x="188" y="155"/>
                  </a:cubicBezTo>
                  <a:cubicBezTo>
                    <a:pt x="188" y="155"/>
                    <a:pt x="189" y="155"/>
                    <a:pt x="189" y="155"/>
                  </a:cubicBezTo>
                  <a:cubicBezTo>
                    <a:pt x="190" y="154"/>
                    <a:pt x="190" y="154"/>
                    <a:pt x="190" y="154"/>
                  </a:cubicBezTo>
                  <a:cubicBezTo>
                    <a:pt x="190" y="154"/>
                    <a:pt x="190" y="150"/>
                    <a:pt x="190" y="149"/>
                  </a:cubicBezTo>
                  <a:cubicBezTo>
                    <a:pt x="190" y="149"/>
                    <a:pt x="189" y="149"/>
                    <a:pt x="189" y="149"/>
                  </a:cubicBezTo>
                  <a:close/>
                  <a:moveTo>
                    <a:pt x="277" y="159"/>
                  </a:moveTo>
                  <a:cubicBezTo>
                    <a:pt x="275" y="158"/>
                    <a:pt x="275" y="158"/>
                    <a:pt x="275" y="158"/>
                  </a:cubicBezTo>
                  <a:cubicBezTo>
                    <a:pt x="275" y="158"/>
                    <a:pt x="274" y="157"/>
                    <a:pt x="275" y="157"/>
                  </a:cubicBezTo>
                  <a:cubicBezTo>
                    <a:pt x="275" y="157"/>
                    <a:pt x="276" y="155"/>
                    <a:pt x="277" y="155"/>
                  </a:cubicBezTo>
                  <a:cubicBezTo>
                    <a:pt x="277" y="154"/>
                    <a:pt x="278" y="153"/>
                    <a:pt x="278" y="152"/>
                  </a:cubicBezTo>
                  <a:cubicBezTo>
                    <a:pt x="278" y="151"/>
                    <a:pt x="277" y="152"/>
                    <a:pt x="277" y="152"/>
                  </a:cubicBezTo>
                  <a:cubicBezTo>
                    <a:pt x="276" y="153"/>
                    <a:pt x="276" y="154"/>
                    <a:pt x="275" y="155"/>
                  </a:cubicBezTo>
                  <a:cubicBezTo>
                    <a:pt x="274" y="155"/>
                    <a:pt x="275" y="154"/>
                    <a:pt x="275" y="153"/>
                  </a:cubicBezTo>
                  <a:cubicBezTo>
                    <a:pt x="275" y="152"/>
                    <a:pt x="275" y="151"/>
                    <a:pt x="276" y="150"/>
                  </a:cubicBezTo>
                  <a:cubicBezTo>
                    <a:pt x="276" y="150"/>
                    <a:pt x="275" y="150"/>
                    <a:pt x="275" y="150"/>
                  </a:cubicBezTo>
                  <a:cubicBezTo>
                    <a:pt x="274" y="151"/>
                    <a:pt x="273" y="151"/>
                    <a:pt x="272" y="152"/>
                  </a:cubicBezTo>
                  <a:cubicBezTo>
                    <a:pt x="271" y="152"/>
                    <a:pt x="269" y="153"/>
                    <a:pt x="269" y="153"/>
                  </a:cubicBezTo>
                  <a:cubicBezTo>
                    <a:pt x="268" y="154"/>
                    <a:pt x="267" y="156"/>
                    <a:pt x="266" y="156"/>
                  </a:cubicBezTo>
                  <a:cubicBezTo>
                    <a:pt x="266" y="157"/>
                    <a:pt x="266" y="158"/>
                    <a:pt x="266" y="158"/>
                  </a:cubicBezTo>
                  <a:cubicBezTo>
                    <a:pt x="265" y="159"/>
                    <a:pt x="265" y="159"/>
                    <a:pt x="265" y="159"/>
                  </a:cubicBezTo>
                  <a:cubicBezTo>
                    <a:pt x="264" y="158"/>
                    <a:pt x="264" y="158"/>
                    <a:pt x="264" y="158"/>
                  </a:cubicBezTo>
                  <a:cubicBezTo>
                    <a:pt x="264" y="158"/>
                    <a:pt x="264" y="159"/>
                    <a:pt x="263" y="160"/>
                  </a:cubicBezTo>
                  <a:cubicBezTo>
                    <a:pt x="262" y="161"/>
                    <a:pt x="259" y="163"/>
                    <a:pt x="258" y="164"/>
                  </a:cubicBezTo>
                  <a:cubicBezTo>
                    <a:pt x="257" y="165"/>
                    <a:pt x="254" y="166"/>
                    <a:pt x="253" y="167"/>
                  </a:cubicBezTo>
                  <a:cubicBezTo>
                    <a:pt x="252" y="167"/>
                    <a:pt x="248" y="168"/>
                    <a:pt x="247" y="168"/>
                  </a:cubicBezTo>
                  <a:cubicBezTo>
                    <a:pt x="246" y="168"/>
                    <a:pt x="243" y="169"/>
                    <a:pt x="242" y="169"/>
                  </a:cubicBezTo>
                  <a:cubicBezTo>
                    <a:pt x="242" y="170"/>
                    <a:pt x="240" y="171"/>
                    <a:pt x="240" y="171"/>
                  </a:cubicBezTo>
                  <a:cubicBezTo>
                    <a:pt x="240" y="172"/>
                    <a:pt x="240" y="173"/>
                    <a:pt x="241" y="174"/>
                  </a:cubicBezTo>
                  <a:cubicBezTo>
                    <a:pt x="241" y="175"/>
                    <a:pt x="241" y="176"/>
                    <a:pt x="241" y="177"/>
                  </a:cubicBezTo>
                  <a:cubicBezTo>
                    <a:pt x="240" y="178"/>
                    <a:pt x="240" y="178"/>
                    <a:pt x="240" y="178"/>
                  </a:cubicBezTo>
                  <a:cubicBezTo>
                    <a:pt x="240" y="179"/>
                    <a:pt x="240" y="179"/>
                    <a:pt x="240" y="179"/>
                  </a:cubicBezTo>
                  <a:cubicBezTo>
                    <a:pt x="240" y="179"/>
                    <a:pt x="242" y="180"/>
                    <a:pt x="242" y="180"/>
                  </a:cubicBezTo>
                  <a:cubicBezTo>
                    <a:pt x="242" y="180"/>
                    <a:pt x="243" y="180"/>
                    <a:pt x="243" y="180"/>
                  </a:cubicBezTo>
                  <a:cubicBezTo>
                    <a:pt x="243" y="179"/>
                    <a:pt x="243" y="179"/>
                    <a:pt x="243" y="179"/>
                  </a:cubicBezTo>
                  <a:cubicBezTo>
                    <a:pt x="243" y="179"/>
                    <a:pt x="245" y="178"/>
                    <a:pt x="245" y="178"/>
                  </a:cubicBezTo>
                  <a:cubicBezTo>
                    <a:pt x="246" y="179"/>
                    <a:pt x="247" y="179"/>
                    <a:pt x="247" y="178"/>
                  </a:cubicBezTo>
                  <a:cubicBezTo>
                    <a:pt x="248" y="178"/>
                    <a:pt x="248" y="178"/>
                    <a:pt x="248" y="177"/>
                  </a:cubicBezTo>
                  <a:cubicBezTo>
                    <a:pt x="248" y="177"/>
                    <a:pt x="249" y="177"/>
                    <a:pt x="249" y="176"/>
                  </a:cubicBezTo>
                  <a:cubicBezTo>
                    <a:pt x="249" y="176"/>
                    <a:pt x="250" y="176"/>
                    <a:pt x="250" y="176"/>
                  </a:cubicBezTo>
                  <a:cubicBezTo>
                    <a:pt x="250" y="176"/>
                    <a:pt x="253" y="175"/>
                    <a:pt x="254" y="175"/>
                  </a:cubicBezTo>
                  <a:cubicBezTo>
                    <a:pt x="255" y="174"/>
                    <a:pt x="255" y="174"/>
                    <a:pt x="257" y="174"/>
                  </a:cubicBezTo>
                  <a:cubicBezTo>
                    <a:pt x="258" y="174"/>
                    <a:pt x="258" y="174"/>
                    <a:pt x="259" y="173"/>
                  </a:cubicBezTo>
                  <a:cubicBezTo>
                    <a:pt x="260" y="173"/>
                    <a:pt x="260" y="173"/>
                    <a:pt x="261" y="172"/>
                  </a:cubicBezTo>
                  <a:cubicBezTo>
                    <a:pt x="262" y="172"/>
                    <a:pt x="261" y="173"/>
                    <a:pt x="262" y="173"/>
                  </a:cubicBezTo>
                  <a:cubicBezTo>
                    <a:pt x="262" y="173"/>
                    <a:pt x="263" y="173"/>
                    <a:pt x="264" y="173"/>
                  </a:cubicBezTo>
                  <a:cubicBezTo>
                    <a:pt x="265" y="173"/>
                    <a:pt x="265" y="173"/>
                    <a:pt x="265" y="173"/>
                  </a:cubicBezTo>
                  <a:cubicBezTo>
                    <a:pt x="266" y="173"/>
                    <a:pt x="266" y="172"/>
                    <a:pt x="266" y="172"/>
                  </a:cubicBezTo>
                  <a:cubicBezTo>
                    <a:pt x="266" y="170"/>
                    <a:pt x="266" y="170"/>
                    <a:pt x="266" y="170"/>
                  </a:cubicBezTo>
                  <a:cubicBezTo>
                    <a:pt x="266" y="170"/>
                    <a:pt x="266" y="168"/>
                    <a:pt x="266" y="168"/>
                  </a:cubicBezTo>
                  <a:cubicBezTo>
                    <a:pt x="267" y="167"/>
                    <a:pt x="268" y="167"/>
                    <a:pt x="268" y="167"/>
                  </a:cubicBezTo>
                  <a:cubicBezTo>
                    <a:pt x="270" y="166"/>
                    <a:pt x="270" y="166"/>
                    <a:pt x="270" y="166"/>
                  </a:cubicBezTo>
                  <a:cubicBezTo>
                    <a:pt x="272" y="164"/>
                    <a:pt x="272" y="164"/>
                    <a:pt x="272" y="164"/>
                  </a:cubicBezTo>
                  <a:cubicBezTo>
                    <a:pt x="273" y="164"/>
                    <a:pt x="273" y="164"/>
                    <a:pt x="273" y="164"/>
                  </a:cubicBezTo>
                  <a:cubicBezTo>
                    <a:pt x="273" y="164"/>
                    <a:pt x="276" y="163"/>
                    <a:pt x="277" y="163"/>
                  </a:cubicBezTo>
                  <a:cubicBezTo>
                    <a:pt x="277" y="163"/>
                    <a:pt x="277" y="163"/>
                    <a:pt x="278" y="163"/>
                  </a:cubicBezTo>
                  <a:cubicBezTo>
                    <a:pt x="278" y="162"/>
                    <a:pt x="278" y="161"/>
                    <a:pt x="278" y="160"/>
                  </a:cubicBezTo>
                  <a:cubicBezTo>
                    <a:pt x="277" y="159"/>
                    <a:pt x="277" y="159"/>
                    <a:pt x="277" y="159"/>
                  </a:cubicBezTo>
                  <a:close/>
                  <a:moveTo>
                    <a:pt x="277" y="135"/>
                  </a:moveTo>
                  <a:cubicBezTo>
                    <a:pt x="277" y="135"/>
                    <a:pt x="280" y="134"/>
                    <a:pt x="281" y="133"/>
                  </a:cubicBezTo>
                  <a:cubicBezTo>
                    <a:pt x="281" y="133"/>
                    <a:pt x="281" y="132"/>
                    <a:pt x="281" y="131"/>
                  </a:cubicBezTo>
                  <a:cubicBezTo>
                    <a:pt x="282" y="130"/>
                    <a:pt x="280" y="131"/>
                    <a:pt x="280" y="131"/>
                  </a:cubicBezTo>
                  <a:cubicBezTo>
                    <a:pt x="281" y="129"/>
                    <a:pt x="281" y="129"/>
                    <a:pt x="281" y="129"/>
                  </a:cubicBezTo>
                  <a:cubicBezTo>
                    <a:pt x="281" y="129"/>
                    <a:pt x="280" y="128"/>
                    <a:pt x="279" y="128"/>
                  </a:cubicBezTo>
                  <a:cubicBezTo>
                    <a:pt x="279" y="128"/>
                    <a:pt x="278" y="128"/>
                    <a:pt x="277" y="129"/>
                  </a:cubicBezTo>
                  <a:cubicBezTo>
                    <a:pt x="277" y="129"/>
                    <a:pt x="276" y="130"/>
                    <a:pt x="276" y="131"/>
                  </a:cubicBezTo>
                  <a:cubicBezTo>
                    <a:pt x="276" y="131"/>
                    <a:pt x="275" y="133"/>
                    <a:pt x="275" y="133"/>
                  </a:cubicBezTo>
                  <a:cubicBezTo>
                    <a:pt x="274" y="134"/>
                    <a:pt x="273" y="136"/>
                    <a:pt x="272" y="136"/>
                  </a:cubicBezTo>
                  <a:cubicBezTo>
                    <a:pt x="272" y="137"/>
                    <a:pt x="271" y="137"/>
                    <a:pt x="271" y="138"/>
                  </a:cubicBezTo>
                  <a:cubicBezTo>
                    <a:pt x="270" y="138"/>
                    <a:pt x="271" y="140"/>
                    <a:pt x="271" y="140"/>
                  </a:cubicBezTo>
                  <a:cubicBezTo>
                    <a:pt x="271" y="141"/>
                    <a:pt x="271" y="141"/>
                    <a:pt x="271" y="141"/>
                  </a:cubicBezTo>
                  <a:cubicBezTo>
                    <a:pt x="271" y="141"/>
                    <a:pt x="271" y="142"/>
                    <a:pt x="272" y="142"/>
                  </a:cubicBezTo>
                  <a:cubicBezTo>
                    <a:pt x="273" y="141"/>
                    <a:pt x="273" y="140"/>
                    <a:pt x="273" y="140"/>
                  </a:cubicBezTo>
                  <a:cubicBezTo>
                    <a:pt x="274" y="140"/>
                    <a:pt x="274" y="140"/>
                    <a:pt x="274" y="140"/>
                  </a:cubicBezTo>
                  <a:cubicBezTo>
                    <a:pt x="274" y="140"/>
                    <a:pt x="275" y="142"/>
                    <a:pt x="276" y="142"/>
                  </a:cubicBezTo>
                  <a:cubicBezTo>
                    <a:pt x="277" y="142"/>
                    <a:pt x="276" y="141"/>
                    <a:pt x="276" y="141"/>
                  </a:cubicBezTo>
                  <a:cubicBezTo>
                    <a:pt x="277" y="141"/>
                    <a:pt x="277" y="140"/>
                    <a:pt x="277" y="139"/>
                  </a:cubicBezTo>
                  <a:cubicBezTo>
                    <a:pt x="277" y="138"/>
                    <a:pt x="277" y="137"/>
                    <a:pt x="276" y="137"/>
                  </a:cubicBezTo>
                  <a:cubicBezTo>
                    <a:pt x="276" y="136"/>
                    <a:pt x="276" y="136"/>
                    <a:pt x="276" y="136"/>
                  </a:cubicBezTo>
                  <a:lnTo>
                    <a:pt x="277" y="135"/>
                  </a:lnTo>
                  <a:close/>
                  <a:moveTo>
                    <a:pt x="260" y="22"/>
                  </a:moveTo>
                  <a:cubicBezTo>
                    <a:pt x="259" y="23"/>
                    <a:pt x="258" y="23"/>
                    <a:pt x="258" y="23"/>
                  </a:cubicBezTo>
                  <a:cubicBezTo>
                    <a:pt x="257" y="23"/>
                    <a:pt x="256" y="23"/>
                    <a:pt x="256" y="23"/>
                  </a:cubicBezTo>
                  <a:cubicBezTo>
                    <a:pt x="255" y="23"/>
                    <a:pt x="254" y="23"/>
                    <a:pt x="253" y="23"/>
                  </a:cubicBezTo>
                  <a:cubicBezTo>
                    <a:pt x="253" y="23"/>
                    <a:pt x="253" y="23"/>
                    <a:pt x="252" y="23"/>
                  </a:cubicBezTo>
                  <a:cubicBezTo>
                    <a:pt x="251" y="23"/>
                    <a:pt x="251" y="23"/>
                    <a:pt x="251" y="23"/>
                  </a:cubicBezTo>
                  <a:cubicBezTo>
                    <a:pt x="249" y="23"/>
                    <a:pt x="249" y="24"/>
                    <a:pt x="249" y="25"/>
                  </a:cubicBezTo>
                  <a:cubicBezTo>
                    <a:pt x="249" y="25"/>
                    <a:pt x="249" y="26"/>
                    <a:pt x="248" y="26"/>
                  </a:cubicBezTo>
                  <a:cubicBezTo>
                    <a:pt x="248" y="27"/>
                    <a:pt x="247" y="27"/>
                    <a:pt x="247" y="27"/>
                  </a:cubicBezTo>
                  <a:cubicBezTo>
                    <a:pt x="246" y="28"/>
                    <a:pt x="245" y="29"/>
                    <a:pt x="244" y="30"/>
                  </a:cubicBezTo>
                  <a:cubicBezTo>
                    <a:pt x="244" y="31"/>
                    <a:pt x="244" y="32"/>
                    <a:pt x="244" y="33"/>
                  </a:cubicBezTo>
                  <a:cubicBezTo>
                    <a:pt x="245" y="34"/>
                    <a:pt x="245" y="34"/>
                    <a:pt x="245" y="34"/>
                  </a:cubicBezTo>
                  <a:cubicBezTo>
                    <a:pt x="246" y="34"/>
                    <a:pt x="247" y="34"/>
                    <a:pt x="247" y="33"/>
                  </a:cubicBezTo>
                  <a:cubicBezTo>
                    <a:pt x="248" y="33"/>
                    <a:pt x="248" y="32"/>
                    <a:pt x="248" y="32"/>
                  </a:cubicBezTo>
                  <a:cubicBezTo>
                    <a:pt x="248" y="31"/>
                    <a:pt x="249" y="30"/>
                    <a:pt x="249" y="30"/>
                  </a:cubicBezTo>
                  <a:cubicBezTo>
                    <a:pt x="250" y="29"/>
                    <a:pt x="250" y="28"/>
                    <a:pt x="251" y="28"/>
                  </a:cubicBezTo>
                  <a:cubicBezTo>
                    <a:pt x="251" y="27"/>
                    <a:pt x="252" y="27"/>
                    <a:pt x="253" y="27"/>
                  </a:cubicBezTo>
                  <a:cubicBezTo>
                    <a:pt x="253" y="26"/>
                    <a:pt x="254" y="26"/>
                    <a:pt x="254" y="26"/>
                  </a:cubicBezTo>
                  <a:cubicBezTo>
                    <a:pt x="255" y="26"/>
                    <a:pt x="256" y="26"/>
                    <a:pt x="256" y="26"/>
                  </a:cubicBezTo>
                  <a:cubicBezTo>
                    <a:pt x="258" y="26"/>
                    <a:pt x="259" y="26"/>
                    <a:pt x="260" y="25"/>
                  </a:cubicBezTo>
                  <a:cubicBezTo>
                    <a:pt x="260" y="24"/>
                    <a:pt x="261" y="24"/>
                    <a:pt x="261" y="23"/>
                  </a:cubicBezTo>
                  <a:cubicBezTo>
                    <a:pt x="261" y="23"/>
                    <a:pt x="261" y="23"/>
                    <a:pt x="261" y="22"/>
                  </a:cubicBezTo>
                  <a:cubicBezTo>
                    <a:pt x="260" y="22"/>
                    <a:pt x="260" y="22"/>
                    <a:pt x="260" y="22"/>
                  </a:cubicBezTo>
                  <a:close/>
                  <a:moveTo>
                    <a:pt x="255" y="21"/>
                  </a:moveTo>
                  <a:cubicBezTo>
                    <a:pt x="256" y="21"/>
                    <a:pt x="255" y="21"/>
                    <a:pt x="256" y="21"/>
                  </a:cubicBezTo>
                  <a:cubicBezTo>
                    <a:pt x="257" y="21"/>
                    <a:pt x="258" y="21"/>
                    <a:pt x="258" y="20"/>
                  </a:cubicBezTo>
                  <a:cubicBezTo>
                    <a:pt x="260" y="20"/>
                    <a:pt x="261" y="20"/>
                    <a:pt x="262" y="20"/>
                  </a:cubicBezTo>
                  <a:cubicBezTo>
                    <a:pt x="263" y="19"/>
                    <a:pt x="265" y="19"/>
                    <a:pt x="266" y="20"/>
                  </a:cubicBezTo>
                  <a:cubicBezTo>
                    <a:pt x="267" y="20"/>
                    <a:pt x="270" y="21"/>
                    <a:pt x="270" y="19"/>
                  </a:cubicBezTo>
                  <a:cubicBezTo>
                    <a:pt x="270" y="17"/>
                    <a:pt x="270" y="16"/>
                    <a:pt x="270" y="15"/>
                  </a:cubicBezTo>
                  <a:cubicBezTo>
                    <a:pt x="271" y="13"/>
                    <a:pt x="273" y="13"/>
                    <a:pt x="272" y="12"/>
                  </a:cubicBezTo>
                  <a:cubicBezTo>
                    <a:pt x="270" y="11"/>
                    <a:pt x="269" y="11"/>
                    <a:pt x="268" y="11"/>
                  </a:cubicBezTo>
                  <a:cubicBezTo>
                    <a:pt x="268" y="11"/>
                    <a:pt x="267" y="10"/>
                    <a:pt x="266" y="10"/>
                  </a:cubicBezTo>
                  <a:cubicBezTo>
                    <a:pt x="266" y="10"/>
                    <a:pt x="265" y="12"/>
                    <a:pt x="265" y="10"/>
                  </a:cubicBezTo>
                  <a:cubicBezTo>
                    <a:pt x="264" y="10"/>
                    <a:pt x="265" y="10"/>
                    <a:pt x="264" y="10"/>
                  </a:cubicBezTo>
                  <a:cubicBezTo>
                    <a:pt x="264" y="10"/>
                    <a:pt x="263" y="10"/>
                    <a:pt x="263" y="10"/>
                  </a:cubicBezTo>
                  <a:cubicBezTo>
                    <a:pt x="262" y="10"/>
                    <a:pt x="261" y="10"/>
                    <a:pt x="260" y="11"/>
                  </a:cubicBezTo>
                  <a:cubicBezTo>
                    <a:pt x="259" y="11"/>
                    <a:pt x="259" y="12"/>
                    <a:pt x="258" y="12"/>
                  </a:cubicBezTo>
                  <a:cubicBezTo>
                    <a:pt x="257" y="13"/>
                    <a:pt x="255" y="14"/>
                    <a:pt x="254" y="15"/>
                  </a:cubicBezTo>
                  <a:cubicBezTo>
                    <a:pt x="253" y="17"/>
                    <a:pt x="253" y="19"/>
                    <a:pt x="253" y="20"/>
                  </a:cubicBezTo>
                  <a:cubicBezTo>
                    <a:pt x="253" y="22"/>
                    <a:pt x="254" y="20"/>
                    <a:pt x="255" y="21"/>
                  </a:cubicBezTo>
                  <a:close/>
                  <a:moveTo>
                    <a:pt x="267" y="27"/>
                  </a:moveTo>
                  <a:cubicBezTo>
                    <a:pt x="266" y="27"/>
                    <a:pt x="266" y="27"/>
                    <a:pt x="265" y="27"/>
                  </a:cubicBezTo>
                  <a:cubicBezTo>
                    <a:pt x="264" y="28"/>
                    <a:pt x="264" y="29"/>
                    <a:pt x="265" y="29"/>
                  </a:cubicBezTo>
                  <a:cubicBezTo>
                    <a:pt x="265" y="29"/>
                    <a:pt x="266" y="29"/>
                    <a:pt x="266" y="29"/>
                  </a:cubicBezTo>
                  <a:cubicBezTo>
                    <a:pt x="267" y="29"/>
                    <a:pt x="268" y="29"/>
                    <a:pt x="269" y="29"/>
                  </a:cubicBezTo>
                  <a:cubicBezTo>
                    <a:pt x="269" y="29"/>
                    <a:pt x="270" y="29"/>
                    <a:pt x="270" y="29"/>
                  </a:cubicBezTo>
                  <a:cubicBezTo>
                    <a:pt x="271" y="29"/>
                    <a:pt x="271" y="29"/>
                    <a:pt x="272" y="29"/>
                  </a:cubicBezTo>
                  <a:cubicBezTo>
                    <a:pt x="272" y="29"/>
                    <a:pt x="273" y="30"/>
                    <a:pt x="274" y="31"/>
                  </a:cubicBezTo>
                  <a:cubicBezTo>
                    <a:pt x="274" y="31"/>
                    <a:pt x="274" y="31"/>
                    <a:pt x="274" y="31"/>
                  </a:cubicBezTo>
                  <a:cubicBezTo>
                    <a:pt x="275" y="32"/>
                    <a:pt x="276" y="31"/>
                    <a:pt x="276" y="31"/>
                  </a:cubicBezTo>
                  <a:cubicBezTo>
                    <a:pt x="277" y="32"/>
                    <a:pt x="278" y="32"/>
                    <a:pt x="278" y="31"/>
                  </a:cubicBezTo>
                  <a:cubicBezTo>
                    <a:pt x="278" y="31"/>
                    <a:pt x="278" y="31"/>
                    <a:pt x="278" y="31"/>
                  </a:cubicBezTo>
                  <a:cubicBezTo>
                    <a:pt x="279" y="30"/>
                    <a:pt x="279" y="30"/>
                    <a:pt x="279" y="30"/>
                  </a:cubicBezTo>
                  <a:cubicBezTo>
                    <a:pt x="279" y="30"/>
                    <a:pt x="279" y="30"/>
                    <a:pt x="279" y="30"/>
                  </a:cubicBezTo>
                  <a:cubicBezTo>
                    <a:pt x="279" y="29"/>
                    <a:pt x="279" y="29"/>
                    <a:pt x="279" y="29"/>
                  </a:cubicBezTo>
                  <a:cubicBezTo>
                    <a:pt x="279" y="29"/>
                    <a:pt x="280" y="29"/>
                    <a:pt x="280" y="29"/>
                  </a:cubicBezTo>
                  <a:cubicBezTo>
                    <a:pt x="281" y="29"/>
                    <a:pt x="281" y="29"/>
                    <a:pt x="281" y="29"/>
                  </a:cubicBezTo>
                  <a:cubicBezTo>
                    <a:pt x="281" y="28"/>
                    <a:pt x="281" y="28"/>
                    <a:pt x="281" y="28"/>
                  </a:cubicBezTo>
                  <a:cubicBezTo>
                    <a:pt x="282" y="28"/>
                    <a:pt x="283" y="28"/>
                    <a:pt x="283" y="29"/>
                  </a:cubicBezTo>
                  <a:cubicBezTo>
                    <a:pt x="283" y="30"/>
                    <a:pt x="283" y="30"/>
                    <a:pt x="283" y="30"/>
                  </a:cubicBezTo>
                  <a:cubicBezTo>
                    <a:pt x="284" y="30"/>
                    <a:pt x="284" y="30"/>
                    <a:pt x="284" y="30"/>
                  </a:cubicBezTo>
                  <a:cubicBezTo>
                    <a:pt x="284" y="31"/>
                    <a:pt x="284" y="32"/>
                    <a:pt x="285" y="31"/>
                  </a:cubicBezTo>
                  <a:cubicBezTo>
                    <a:pt x="285" y="31"/>
                    <a:pt x="286" y="31"/>
                    <a:pt x="286" y="30"/>
                  </a:cubicBezTo>
                  <a:cubicBezTo>
                    <a:pt x="287" y="30"/>
                    <a:pt x="287" y="30"/>
                    <a:pt x="287" y="29"/>
                  </a:cubicBezTo>
                  <a:cubicBezTo>
                    <a:pt x="288" y="29"/>
                    <a:pt x="288" y="27"/>
                    <a:pt x="287" y="27"/>
                  </a:cubicBezTo>
                  <a:cubicBezTo>
                    <a:pt x="287" y="26"/>
                    <a:pt x="286" y="26"/>
                    <a:pt x="286" y="25"/>
                  </a:cubicBezTo>
                  <a:cubicBezTo>
                    <a:pt x="286" y="24"/>
                    <a:pt x="288" y="23"/>
                    <a:pt x="288" y="22"/>
                  </a:cubicBezTo>
                  <a:cubicBezTo>
                    <a:pt x="289" y="22"/>
                    <a:pt x="290" y="21"/>
                    <a:pt x="291" y="21"/>
                  </a:cubicBezTo>
                  <a:cubicBezTo>
                    <a:pt x="291" y="22"/>
                    <a:pt x="292" y="22"/>
                    <a:pt x="292" y="22"/>
                  </a:cubicBezTo>
                  <a:cubicBezTo>
                    <a:pt x="293" y="22"/>
                    <a:pt x="293" y="22"/>
                    <a:pt x="294" y="21"/>
                  </a:cubicBezTo>
                  <a:cubicBezTo>
                    <a:pt x="294" y="21"/>
                    <a:pt x="294" y="22"/>
                    <a:pt x="294" y="21"/>
                  </a:cubicBezTo>
                  <a:cubicBezTo>
                    <a:pt x="295" y="20"/>
                    <a:pt x="295" y="20"/>
                    <a:pt x="295" y="20"/>
                  </a:cubicBezTo>
                  <a:cubicBezTo>
                    <a:pt x="295" y="20"/>
                    <a:pt x="295" y="19"/>
                    <a:pt x="295" y="19"/>
                  </a:cubicBezTo>
                  <a:cubicBezTo>
                    <a:pt x="296" y="18"/>
                    <a:pt x="296" y="18"/>
                    <a:pt x="296" y="18"/>
                  </a:cubicBezTo>
                  <a:cubicBezTo>
                    <a:pt x="297" y="16"/>
                    <a:pt x="297" y="15"/>
                    <a:pt x="298" y="14"/>
                  </a:cubicBezTo>
                  <a:cubicBezTo>
                    <a:pt x="299" y="14"/>
                    <a:pt x="299" y="14"/>
                    <a:pt x="300" y="13"/>
                  </a:cubicBezTo>
                  <a:cubicBezTo>
                    <a:pt x="301" y="13"/>
                    <a:pt x="301" y="13"/>
                    <a:pt x="301" y="13"/>
                  </a:cubicBezTo>
                  <a:cubicBezTo>
                    <a:pt x="302" y="13"/>
                    <a:pt x="303" y="13"/>
                    <a:pt x="305" y="13"/>
                  </a:cubicBezTo>
                  <a:cubicBezTo>
                    <a:pt x="306" y="13"/>
                    <a:pt x="307" y="12"/>
                    <a:pt x="308" y="12"/>
                  </a:cubicBezTo>
                  <a:cubicBezTo>
                    <a:pt x="308" y="12"/>
                    <a:pt x="309" y="11"/>
                    <a:pt x="308" y="10"/>
                  </a:cubicBezTo>
                  <a:cubicBezTo>
                    <a:pt x="308" y="10"/>
                    <a:pt x="308" y="10"/>
                    <a:pt x="308" y="10"/>
                  </a:cubicBezTo>
                  <a:cubicBezTo>
                    <a:pt x="307" y="9"/>
                    <a:pt x="307" y="9"/>
                    <a:pt x="307" y="9"/>
                  </a:cubicBezTo>
                  <a:cubicBezTo>
                    <a:pt x="307" y="9"/>
                    <a:pt x="306" y="9"/>
                    <a:pt x="306" y="9"/>
                  </a:cubicBezTo>
                  <a:cubicBezTo>
                    <a:pt x="305" y="9"/>
                    <a:pt x="305" y="9"/>
                    <a:pt x="304" y="9"/>
                  </a:cubicBezTo>
                  <a:cubicBezTo>
                    <a:pt x="304" y="9"/>
                    <a:pt x="303" y="8"/>
                    <a:pt x="303" y="8"/>
                  </a:cubicBezTo>
                  <a:cubicBezTo>
                    <a:pt x="302" y="8"/>
                    <a:pt x="302" y="8"/>
                    <a:pt x="302" y="7"/>
                  </a:cubicBezTo>
                  <a:cubicBezTo>
                    <a:pt x="301" y="6"/>
                    <a:pt x="300" y="7"/>
                    <a:pt x="299" y="7"/>
                  </a:cubicBezTo>
                  <a:cubicBezTo>
                    <a:pt x="298" y="7"/>
                    <a:pt x="298" y="8"/>
                    <a:pt x="297" y="8"/>
                  </a:cubicBezTo>
                  <a:cubicBezTo>
                    <a:pt x="296" y="9"/>
                    <a:pt x="296" y="10"/>
                    <a:pt x="296" y="10"/>
                  </a:cubicBezTo>
                  <a:cubicBezTo>
                    <a:pt x="295" y="11"/>
                    <a:pt x="294" y="11"/>
                    <a:pt x="293" y="11"/>
                  </a:cubicBezTo>
                  <a:cubicBezTo>
                    <a:pt x="292" y="11"/>
                    <a:pt x="292" y="11"/>
                    <a:pt x="292" y="10"/>
                  </a:cubicBezTo>
                  <a:cubicBezTo>
                    <a:pt x="292" y="10"/>
                    <a:pt x="292" y="9"/>
                    <a:pt x="291" y="9"/>
                  </a:cubicBezTo>
                  <a:cubicBezTo>
                    <a:pt x="291" y="9"/>
                    <a:pt x="290" y="9"/>
                    <a:pt x="289" y="9"/>
                  </a:cubicBezTo>
                  <a:cubicBezTo>
                    <a:pt x="289" y="10"/>
                    <a:pt x="290" y="10"/>
                    <a:pt x="290" y="10"/>
                  </a:cubicBezTo>
                  <a:cubicBezTo>
                    <a:pt x="291" y="11"/>
                    <a:pt x="291" y="13"/>
                    <a:pt x="290" y="14"/>
                  </a:cubicBezTo>
                  <a:cubicBezTo>
                    <a:pt x="289" y="15"/>
                    <a:pt x="289" y="15"/>
                    <a:pt x="289" y="15"/>
                  </a:cubicBezTo>
                  <a:cubicBezTo>
                    <a:pt x="289" y="15"/>
                    <a:pt x="289" y="15"/>
                    <a:pt x="289" y="15"/>
                  </a:cubicBezTo>
                  <a:cubicBezTo>
                    <a:pt x="289" y="14"/>
                    <a:pt x="288" y="13"/>
                    <a:pt x="288" y="14"/>
                  </a:cubicBezTo>
                  <a:cubicBezTo>
                    <a:pt x="287" y="14"/>
                    <a:pt x="287" y="15"/>
                    <a:pt x="287" y="16"/>
                  </a:cubicBezTo>
                  <a:cubicBezTo>
                    <a:pt x="288" y="16"/>
                    <a:pt x="288" y="16"/>
                    <a:pt x="288" y="17"/>
                  </a:cubicBezTo>
                  <a:cubicBezTo>
                    <a:pt x="287" y="18"/>
                    <a:pt x="285" y="18"/>
                    <a:pt x="284" y="18"/>
                  </a:cubicBezTo>
                  <a:cubicBezTo>
                    <a:pt x="284" y="18"/>
                    <a:pt x="283" y="18"/>
                    <a:pt x="282" y="17"/>
                  </a:cubicBezTo>
                  <a:cubicBezTo>
                    <a:pt x="282" y="17"/>
                    <a:pt x="283" y="16"/>
                    <a:pt x="283" y="16"/>
                  </a:cubicBezTo>
                  <a:cubicBezTo>
                    <a:pt x="283" y="14"/>
                    <a:pt x="285" y="13"/>
                    <a:pt x="286" y="12"/>
                  </a:cubicBezTo>
                  <a:cubicBezTo>
                    <a:pt x="286" y="11"/>
                    <a:pt x="286" y="11"/>
                    <a:pt x="286" y="11"/>
                  </a:cubicBezTo>
                  <a:cubicBezTo>
                    <a:pt x="285" y="10"/>
                    <a:pt x="285" y="10"/>
                    <a:pt x="284" y="10"/>
                  </a:cubicBezTo>
                  <a:cubicBezTo>
                    <a:pt x="284" y="10"/>
                    <a:pt x="283" y="10"/>
                    <a:pt x="282" y="11"/>
                  </a:cubicBezTo>
                  <a:cubicBezTo>
                    <a:pt x="282" y="11"/>
                    <a:pt x="281" y="11"/>
                    <a:pt x="281" y="11"/>
                  </a:cubicBezTo>
                  <a:cubicBezTo>
                    <a:pt x="280" y="12"/>
                    <a:pt x="279" y="12"/>
                    <a:pt x="278" y="12"/>
                  </a:cubicBezTo>
                  <a:cubicBezTo>
                    <a:pt x="278" y="12"/>
                    <a:pt x="278" y="12"/>
                    <a:pt x="277" y="12"/>
                  </a:cubicBezTo>
                  <a:cubicBezTo>
                    <a:pt x="277" y="11"/>
                    <a:pt x="277" y="11"/>
                    <a:pt x="276" y="12"/>
                  </a:cubicBezTo>
                  <a:cubicBezTo>
                    <a:pt x="275" y="12"/>
                    <a:pt x="274" y="13"/>
                    <a:pt x="274" y="14"/>
                  </a:cubicBezTo>
                  <a:cubicBezTo>
                    <a:pt x="273" y="14"/>
                    <a:pt x="273" y="14"/>
                    <a:pt x="274" y="14"/>
                  </a:cubicBezTo>
                  <a:cubicBezTo>
                    <a:pt x="274" y="15"/>
                    <a:pt x="275" y="15"/>
                    <a:pt x="275" y="14"/>
                  </a:cubicBezTo>
                  <a:cubicBezTo>
                    <a:pt x="276" y="14"/>
                    <a:pt x="277" y="14"/>
                    <a:pt x="278" y="15"/>
                  </a:cubicBezTo>
                  <a:cubicBezTo>
                    <a:pt x="279" y="15"/>
                    <a:pt x="279" y="16"/>
                    <a:pt x="280" y="16"/>
                  </a:cubicBezTo>
                  <a:cubicBezTo>
                    <a:pt x="280" y="17"/>
                    <a:pt x="280" y="17"/>
                    <a:pt x="280" y="17"/>
                  </a:cubicBezTo>
                  <a:cubicBezTo>
                    <a:pt x="279" y="18"/>
                    <a:pt x="279" y="18"/>
                    <a:pt x="279" y="18"/>
                  </a:cubicBezTo>
                  <a:cubicBezTo>
                    <a:pt x="279" y="18"/>
                    <a:pt x="278" y="18"/>
                    <a:pt x="277" y="19"/>
                  </a:cubicBezTo>
                  <a:cubicBezTo>
                    <a:pt x="276" y="19"/>
                    <a:pt x="275" y="19"/>
                    <a:pt x="275" y="19"/>
                  </a:cubicBezTo>
                  <a:cubicBezTo>
                    <a:pt x="274" y="19"/>
                    <a:pt x="273" y="20"/>
                    <a:pt x="272" y="20"/>
                  </a:cubicBezTo>
                  <a:cubicBezTo>
                    <a:pt x="272" y="22"/>
                    <a:pt x="271" y="23"/>
                    <a:pt x="270" y="24"/>
                  </a:cubicBezTo>
                  <a:cubicBezTo>
                    <a:pt x="269" y="25"/>
                    <a:pt x="268" y="26"/>
                    <a:pt x="267" y="27"/>
                  </a:cubicBezTo>
                  <a:close/>
                  <a:moveTo>
                    <a:pt x="309" y="23"/>
                  </a:moveTo>
                  <a:cubicBezTo>
                    <a:pt x="310" y="24"/>
                    <a:pt x="310" y="24"/>
                    <a:pt x="311" y="23"/>
                  </a:cubicBezTo>
                  <a:cubicBezTo>
                    <a:pt x="312" y="23"/>
                    <a:pt x="312" y="22"/>
                    <a:pt x="313" y="22"/>
                  </a:cubicBezTo>
                  <a:cubicBezTo>
                    <a:pt x="314" y="22"/>
                    <a:pt x="315" y="21"/>
                    <a:pt x="316" y="22"/>
                  </a:cubicBezTo>
                  <a:cubicBezTo>
                    <a:pt x="316" y="23"/>
                    <a:pt x="316" y="23"/>
                    <a:pt x="316" y="24"/>
                  </a:cubicBezTo>
                  <a:cubicBezTo>
                    <a:pt x="316" y="24"/>
                    <a:pt x="317" y="25"/>
                    <a:pt x="317" y="25"/>
                  </a:cubicBezTo>
                  <a:cubicBezTo>
                    <a:pt x="317" y="25"/>
                    <a:pt x="317" y="26"/>
                    <a:pt x="317" y="26"/>
                  </a:cubicBezTo>
                  <a:cubicBezTo>
                    <a:pt x="317" y="27"/>
                    <a:pt x="317" y="27"/>
                    <a:pt x="317" y="27"/>
                  </a:cubicBezTo>
                  <a:cubicBezTo>
                    <a:pt x="317" y="28"/>
                    <a:pt x="317" y="29"/>
                    <a:pt x="318" y="30"/>
                  </a:cubicBezTo>
                  <a:cubicBezTo>
                    <a:pt x="318" y="30"/>
                    <a:pt x="319" y="30"/>
                    <a:pt x="319" y="30"/>
                  </a:cubicBezTo>
                  <a:cubicBezTo>
                    <a:pt x="320" y="30"/>
                    <a:pt x="321" y="30"/>
                    <a:pt x="321" y="30"/>
                  </a:cubicBezTo>
                  <a:cubicBezTo>
                    <a:pt x="323" y="30"/>
                    <a:pt x="323" y="29"/>
                    <a:pt x="324" y="28"/>
                  </a:cubicBezTo>
                  <a:cubicBezTo>
                    <a:pt x="325" y="27"/>
                    <a:pt x="326" y="26"/>
                    <a:pt x="326" y="26"/>
                  </a:cubicBezTo>
                  <a:cubicBezTo>
                    <a:pt x="327" y="25"/>
                    <a:pt x="327" y="24"/>
                    <a:pt x="327" y="23"/>
                  </a:cubicBezTo>
                  <a:cubicBezTo>
                    <a:pt x="327" y="22"/>
                    <a:pt x="327" y="21"/>
                    <a:pt x="328" y="20"/>
                  </a:cubicBezTo>
                  <a:cubicBezTo>
                    <a:pt x="328" y="19"/>
                    <a:pt x="330" y="18"/>
                    <a:pt x="331" y="17"/>
                  </a:cubicBezTo>
                  <a:cubicBezTo>
                    <a:pt x="331" y="16"/>
                    <a:pt x="333" y="16"/>
                    <a:pt x="332" y="15"/>
                  </a:cubicBezTo>
                  <a:cubicBezTo>
                    <a:pt x="332" y="14"/>
                    <a:pt x="332" y="14"/>
                    <a:pt x="332" y="14"/>
                  </a:cubicBezTo>
                  <a:cubicBezTo>
                    <a:pt x="332" y="13"/>
                    <a:pt x="332" y="13"/>
                    <a:pt x="332" y="13"/>
                  </a:cubicBezTo>
                  <a:cubicBezTo>
                    <a:pt x="332" y="11"/>
                    <a:pt x="333" y="11"/>
                    <a:pt x="333" y="10"/>
                  </a:cubicBezTo>
                  <a:cubicBezTo>
                    <a:pt x="334" y="10"/>
                    <a:pt x="334" y="9"/>
                    <a:pt x="334" y="9"/>
                  </a:cubicBezTo>
                  <a:cubicBezTo>
                    <a:pt x="334" y="8"/>
                    <a:pt x="333" y="8"/>
                    <a:pt x="333" y="8"/>
                  </a:cubicBezTo>
                  <a:cubicBezTo>
                    <a:pt x="333" y="7"/>
                    <a:pt x="333" y="7"/>
                    <a:pt x="332" y="7"/>
                  </a:cubicBezTo>
                  <a:cubicBezTo>
                    <a:pt x="332" y="7"/>
                    <a:pt x="331" y="7"/>
                    <a:pt x="331" y="7"/>
                  </a:cubicBezTo>
                  <a:cubicBezTo>
                    <a:pt x="330" y="7"/>
                    <a:pt x="329" y="7"/>
                    <a:pt x="329" y="7"/>
                  </a:cubicBezTo>
                  <a:cubicBezTo>
                    <a:pt x="328" y="8"/>
                    <a:pt x="328" y="8"/>
                    <a:pt x="328" y="8"/>
                  </a:cubicBezTo>
                  <a:cubicBezTo>
                    <a:pt x="328" y="9"/>
                    <a:pt x="328" y="9"/>
                    <a:pt x="328" y="10"/>
                  </a:cubicBezTo>
                  <a:cubicBezTo>
                    <a:pt x="328" y="10"/>
                    <a:pt x="327" y="10"/>
                    <a:pt x="327" y="11"/>
                  </a:cubicBezTo>
                  <a:cubicBezTo>
                    <a:pt x="327" y="12"/>
                    <a:pt x="327" y="12"/>
                    <a:pt x="327" y="12"/>
                  </a:cubicBezTo>
                  <a:cubicBezTo>
                    <a:pt x="327" y="12"/>
                    <a:pt x="327" y="12"/>
                    <a:pt x="326" y="12"/>
                  </a:cubicBezTo>
                  <a:cubicBezTo>
                    <a:pt x="325" y="13"/>
                    <a:pt x="325" y="13"/>
                    <a:pt x="325" y="13"/>
                  </a:cubicBezTo>
                  <a:cubicBezTo>
                    <a:pt x="324" y="13"/>
                    <a:pt x="324" y="13"/>
                    <a:pt x="324" y="13"/>
                  </a:cubicBezTo>
                  <a:cubicBezTo>
                    <a:pt x="324" y="14"/>
                    <a:pt x="324" y="14"/>
                    <a:pt x="324" y="15"/>
                  </a:cubicBezTo>
                  <a:cubicBezTo>
                    <a:pt x="324" y="16"/>
                    <a:pt x="323" y="16"/>
                    <a:pt x="322" y="16"/>
                  </a:cubicBezTo>
                  <a:cubicBezTo>
                    <a:pt x="322" y="16"/>
                    <a:pt x="321" y="17"/>
                    <a:pt x="321" y="17"/>
                  </a:cubicBezTo>
                  <a:cubicBezTo>
                    <a:pt x="320" y="18"/>
                    <a:pt x="321" y="18"/>
                    <a:pt x="320" y="19"/>
                  </a:cubicBezTo>
                  <a:cubicBezTo>
                    <a:pt x="320" y="19"/>
                    <a:pt x="320" y="19"/>
                    <a:pt x="320" y="19"/>
                  </a:cubicBezTo>
                  <a:cubicBezTo>
                    <a:pt x="319" y="19"/>
                    <a:pt x="319" y="19"/>
                    <a:pt x="319" y="19"/>
                  </a:cubicBezTo>
                  <a:cubicBezTo>
                    <a:pt x="319" y="18"/>
                    <a:pt x="318" y="18"/>
                    <a:pt x="318" y="18"/>
                  </a:cubicBezTo>
                  <a:cubicBezTo>
                    <a:pt x="318" y="16"/>
                    <a:pt x="319" y="15"/>
                    <a:pt x="318" y="14"/>
                  </a:cubicBezTo>
                  <a:cubicBezTo>
                    <a:pt x="317" y="14"/>
                    <a:pt x="316" y="15"/>
                    <a:pt x="315" y="15"/>
                  </a:cubicBezTo>
                  <a:cubicBezTo>
                    <a:pt x="314" y="16"/>
                    <a:pt x="313" y="16"/>
                    <a:pt x="312" y="17"/>
                  </a:cubicBezTo>
                  <a:cubicBezTo>
                    <a:pt x="311" y="17"/>
                    <a:pt x="311" y="18"/>
                    <a:pt x="311" y="19"/>
                  </a:cubicBezTo>
                  <a:cubicBezTo>
                    <a:pt x="311" y="20"/>
                    <a:pt x="311" y="20"/>
                    <a:pt x="310" y="21"/>
                  </a:cubicBezTo>
                  <a:cubicBezTo>
                    <a:pt x="310" y="21"/>
                    <a:pt x="310" y="21"/>
                    <a:pt x="309" y="22"/>
                  </a:cubicBezTo>
                  <a:cubicBezTo>
                    <a:pt x="309" y="22"/>
                    <a:pt x="308" y="23"/>
                    <a:pt x="309" y="23"/>
                  </a:cubicBezTo>
                  <a:close/>
                  <a:moveTo>
                    <a:pt x="336" y="23"/>
                  </a:moveTo>
                  <a:cubicBezTo>
                    <a:pt x="337" y="23"/>
                    <a:pt x="338" y="23"/>
                    <a:pt x="339" y="23"/>
                  </a:cubicBezTo>
                  <a:cubicBezTo>
                    <a:pt x="340" y="23"/>
                    <a:pt x="341" y="24"/>
                    <a:pt x="341" y="23"/>
                  </a:cubicBezTo>
                  <a:cubicBezTo>
                    <a:pt x="342" y="23"/>
                    <a:pt x="342" y="23"/>
                    <a:pt x="343" y="22"/>
                  </a:cubicBezTo>
                  <a:cubicBezTo>
                    <a:pt x="344" y="22"/>
                    <a:pt x="344" y="22"/>
                    <a:pt x="345" y="22"/>
                  </a:cubicBezTo>
                  <a:cubicBezTo>
                    <a:pt x="346" y="22"/>
                    <a:pt x="346" y="24"/>
                    <a:pt x="348" y="23"/>
                  </a:cubicBezTo>
                  <a:cubicBezTo>
                    <a:pt x="349" y="23"/>
                    <a:pt x="350" y="23"/>
                    <a:pt x="350" y="23"/>
                  </a:cubicBezTo>
                  <a:cubicBezTo>
                    <a:pt x="351" y="22"/>
                    <a:pt x="351" y="22"/>
                    <a:pt x="351" y="21"/>
                  </a:cubicBezTo>
                  <a:cubicBezTo>
                    <a:pt x="352" y="21"/>
                    <a:pt x="353" y="21"/>
                    <a:pt x="354" y="20"/>
                  </a:cubicBezTo>
                  <a:cubicBezTo>
                    <a:pt x="355" y="20"/>
                    <a:pt x="355" y="20"/>
                    <a:pt x="356" y="20"/>
                  </a:cubicBezTo>
                  <a:cubicBezTo>
                    <a:pt x="358" y="21"/>
                    <a:pt x="360" y="21"/>
                    <a:pt x="362" y="21"/>
                  </a:cubicBezTo>
                  <a:cubicBezTo>
                    <a:pt x="364" y="21"/>
                    <a:pt x="365" y="20"/>
                    <a:pt x="366" y="20"/>
                  </a:cubicBezTo>
                  <a:cubicBezTo>
                    <a:pt x="367" y="19"/>
                    <a:pt x="368" y="19"/>
                    <a:pt x="369" y="19"/>
                  </a:cubicBezTo>
                  <a:cubicBezTo>
                    <a:pt x="371" y="18"/>
                    <a:pt x="374" y="18"/>
                    <a:pt x="377" y="17"/>
                  </a:cubicBezTo>
                  <a:cubicBezTo>
                    <a:pt x="379" y="17"/>
                    <a:pt x="381" y="17"/>
                    <a:pt x="383" y="17"/>
                  </a:cubicBezTo>
                  <a:cubicBezTo>
                    <a:pt x="384" y="16"/>
                    <a:pt x="383" y="15"/>
                    <a:pt x="383" y="13"/>
                  </a:cubicBezTo>
                  <a:cubicBezTo>
                    <a:pt x="384" y="12"/>
                    <a:pt x="384" y="11"/>
                    <a:pt x="383" y="9"/>
                  </a:cubicBezTo>
                  <a:cubicBezTo>
                    <a:pt x="383" y="8"/>
                    <a:pt x="383" y="8"/>
                    <a:pt x="383" y="7"/>
                  </a:cubicBezTo>
                  <a:cubicBezTo>
                    <a:pt x="382" y="7"/>
                    <a:pt x="382" y="6"/>
                    <a:pt x="382" y="5"/>
                  </a:cubicBezTo>
                  <a:cubicBezTo>
                    <a:pt x="381" y="4"/>
                    <a:pt x="379" y="4"/>
                    <a:pt x="378" y="4"/>
                  </a:cubicBezTo>
                  <a:cubicBezTo>
                    <a:pt x="377" y="4"/>
                    <a:pt x="376" y="5"/>
                    <a:pt x="375" y="5"/>
                  </a:cubicBezTo>
                  <a:cubicBezTo>
                    <a:pt x="375" y="5"/>
                    <a:pt x="374" y="5"/>
                    <a:pt x="374" y="5"/>
                  </a:cubicBezTo>
                  <a:cubicBezTo>
                    <a:pt x="371" y="5"/>
                    <a:pt x="368" y="6"/>
                    <a:pt x="365" y="6"/>
                  </a:cubicBezTo>
                  <a:cubicBezTo>
                    <a:pt x="363" y="5"/>
                    <a:pt x="362" y="5"/>
                    <a:pt x="360" y="5"/>
                  </a:cubicBezTo>
                  <a:cubicBezTo>
                    <a:pt x="360" y="5"/>
                    <a:pt x="359" y="5"/>
                    <a:pt x="358" y="5"/>
                  </a:cubicBezTo>
                  <a:cubicBezTo>
                    <a:pt x="358" y="5"/>
                    <a:pt x="357" y="5"/>
                    <a:pt x="356" y="6"/>
                  </a:cubicBezTo>
                  <a:cubicBezTo>
                    <a:pt x="355" y="6"/>
                    <a:pt x="355" y="6"/>
                    <a:pt x="354" y="6"/>
                  </a:cubicBezTo>
                  <a:cubicBezTo>
                    <a:pt x="354" y="6"/>
                    <a:pt x="354" y="6"/>
                    <a:pt x="353" y="7"/>
                  </a:cubicBezTo>
                  <a:cubicBezTo>
                    <a:pt x="352" y="7"/>
                    <a:pt x="351" y="7"/>
                    <a:pt x="351" y="6"/>
                  </a:cubicBezTo>
                  <a:cubicBezTo>
                    <a:pt x="350" y="6"/>
                    <a:pt x="350" y="5"/>
                    <a:pt x="350" y="4"/>
                  </a:cubicBezTo>
                  <a:cubicBezTo>
                    <a:pt x="350" y="3"/>
                    <a:pt x="349" y="3"/>
                    <a:pt x="348" y="3"/>
                  </a:cubicBezTo>
                  <a:cubicBezTo>
                    <a:pt x="347" y="3"/>
                    <a:pt x="346" y="3"/>
                    <a:pt x="344" y="3"/>
                  </a:cubicBezTo>
                  <a:cubicBezTo>
                    <a:pt x="343" y="4"/>
                    <a:pt x="342" y="4"/>
                    <a:pt x="342" y="5"/>
                  </a:cubicBezTo>
                  <a:cubicBezTo>
                    <a:pt x="340" y="7"/>
                    <a:pt x="339" y="8"/>
                    <a:pt x="338" y="10"/>
                  </a:cubicBezTo>
                  <a:cubicBezTo>
                    <a:pt x="338" y="10"/>
                    <a:pt x="338" y="11"/>
                    <a:pt x="339" y="12"/>
                  </a:cubicBezTo>
                  <a:cubicBezTo>
                    <a:pt x="339" y="12"/>
                    <a:pt x="340" y="11"/>
                    <a:pt x="341" y="11"/>
                  </a:cubicBezTo>
                  <a:cubicBezTo>
                    <a:pt x="343" y="11"/>
                    <a:pt x="344" y="10"/>
                    <a:pt x="346" y="9"/>
                  </a:cubicBezTo>
                  <a:cubicBezTo>
                    <a:pt x="346" y="9"/>
                    <a:pt x="348" y="9"/>
                    <a:pt x="347" y="10"/>
                  </a:cubicBezTo>
                  <a:cubicBezTo>
                    <a:pt x="347" y="10"/>
                    <a:pt x="346" y="10"/>
                    <a:pt x="346" y="11"/>
                  </a:cubicBezTo>
                  <a:cubicBezTo>
                    <a:pt x="345" y="11"/>
                    <a:pt x="345" y="11"/>
                    <a:pt x="344" y="11"/>
                  </a:cubicBezTo>
                  <a:cubicBezTo>
                    <a:pt x="343" y="12"/>
                    <a:pt x="342" y="12"/>
                    <a:pt x="342" y="12"/>
                  </a:cubicBezTo>
                  <a:cubicBezTo>
                    <a:pt x="341" y="13"/>
                    <a:pt x="339" y="14"/>
                    <a:pt x="339" y="15"/>
                  </a:cubicBezTo>
                  <a:cubicBezTo>
                    <a:pt x="338" y="15"/>
                    <a:pt x="338" y="17"/>
                    <a:pt x="337" y="17"/>
                  </a:cubicBezTo>
                  <a:cubicBezTo>
                    <a:pt x="336" y="18"/>
                    <a:pt x="335" y="19"/>
                    <a:pt x="335" y="21"/>
                  </a:cubicBezTo>
                  <a:cubicBezTo>
                    <a:pt x="335" y="22"/>
                    <a:pt x="335" y="23"/>
                    <a:pt x="336" y="23"/>
                  </a:cubicBezTo>
                  <a:close/>
                  <a:moveTo>
                    <a:pt x="379" y="82"/>
                  </a:moveTo>
                  <a:cubicBezTo>
                    <a:pt x="379" y="81"/>
                    <a:pt x="379" y="81"/>
                    <a:pt x="379" y="81"/>
                  </a:cubicBezTo>
                  <a:cubicBezTo>
                    <a:pt x="379" y="80"/>
                    <a:pt x="379" y="80"/>
                    <a:pt x="379" y="80"/>
                  </a:cubicBezTo>
                  <a:cubicBezTo>
                    <a:pt x="379" y="79"/>
                    <a:pt x="379" y="78"/>
                    <a:pt x="378" y="78"/>
                  </a:cubicBezTo>
                  <a:cubicBezTo>
                    <a:pt x="377" y="77"/>
                    <a:pt x="376" y="77"/>
                    <a:pt x="375" y="77"/>
                  </a:cubicBezTo>
                  <a:cubicBezTo>
                    <a:pt x="375" y="76"/>
                    <a:pt x="375" y="76"/>
                    <a:pt x="375" y="75"/>
                  </a:cubicBezTo>
                  <a:cubicBezTo>
                    <a:pt x="375" y="74"/>
                    <a:pt x="374" y="73"/>
                    <a:pt x="374" y="72"/>
                  </a:cubicBezTo>
                  <a:cubicBezTo>
                    <a:pt x="374" y="72"/>
                    <a:pt x="374" y="71"/>
                    <a:pt x="374" y="70"/>
                  </a:cubicBezTo>
                  <a:cubicBezTo>
                    <a:pt x="375" y="70"/>
                    <a:pt x="375" y="70"/>
                    <a:pt x="376" y="69"/>
                  </a:cubicBezTo>
                  <a:cubicBezTo>
                    <a:pt x="376" y="69"/>
                    <a:pt x="377" y="69"/>
                    <a:pt x="378" y="69"/>
                  </a:cubicBezTo>
                  <a:cubicBezTo>
                    <a:pt x="379" y="69"/>
                    <a:pt x="379" y="69"/>
                    <a:pt x="380" y="70"/>
                  </a:cubicBezTo>
                  <a:cubicBezTo>
                    <a:pt x="380" y="70"/>
                    <a:pt x="381" y="70"/>
                    <a:pt x="381" y="70"/>
                  </a:cubicBezTo>
                  <a:cubicBezTo>
                    <a:pt x="382" y="70"/>
                    <a:pt x="382" y="70"/>
                    <a:pt x="382" y="70"/>
                  </a:cubicBezTo>
                  <a:cubicBezTo>
                    <a:pt x="383" y="70"/>
                    <a:pt x="383" y="70"/>
                    <a:pt x="384" y="69"/>
                  </a:cubicBezTo>
                  <a:cubicBezTo>
                    <a:pt x="384" y="69"/>
                    <a:pt x="386" y="69"/>
                    <a:pt x="386" y="68"/>
                  </a:cubicBezTo>
                  <a:cubicBezTo>
                    <a:pt x="387" y="68"/>
                    <a:pt x="387" y="67"/>
                    <a:pt x="386" y="67"/>
                  </a:cubicBezTo>
                  <a:cubicBezTo>
                    <a:pt x="385" y="66"/>
                    <a:pt x="386" y="65"/>
                    <a:pt x="386" y="63"/>
                  </a:cubicBezTo>
                  <a:cubicBezTo>
                    <a:pt x="386" y="63"/>
                    <a:pt x="386" y="62"/>
                    <a:pt x="386" y="61"/>
                  </a:cubicBezTo>
                  <a:cubicBezTo>
                    <a:pt x="387" y="61"/>
                    <a:pt x="387" y="60"/>
                    <a:pt x="386" y="60"/>
                  </a:cubicBezTo>
                  <a:cubicBezTo>
                    <a:pt x="386" y="59"/>
                    <a:pt x="385" y="59"/>
                    <a:pt x="385" y="59"/>
                  </a:cubicBezTo>
                  <a:cubicBezTo>
                    <a:pt x="384" y="59"/>
                    <a:pt x="384" y="58"/>
                    <a:pt x="384" y="58"/>
                  </a:cubicBezTo>
                  <a:cubicBezTo>
                    <a:pt x="384" y="57"/>
                    <a:pt x="383" y="56"/>
                    <a:pt x="382" y="56"/>
                  </a:cubicBezTo>
                  <a:cubicBezTo>
                    <a:pt x="381" y="57"/>
                    <a:pt x="381" y="58"/>
                    <a:pt x="381" y="59"/>
                  </a:cubicBezTo>
                  <a:cubicBezTo>
                    <a:pt x="380" y="59"/>
                    <a:pt x="380" y="60"/>
                    <a:pt x="379" y="60"/>
                  </a:cubicBezTo>
                  <a:cubicBezTo>
                    <a:pt x="378" y="61"/>
                    <a:pt x="377" y="61"/>
                    <a:pt x="376" y="62"/>
                  </a:cubicBezTo>
                  <a:cubicBezTo>
                    <a:pt x="375" y="62"/>
                    <a:pt x="375" y="62"/>
                    <a:pt x="374" y="62"/>
                  </a:cubicBezTo>
                  <a:cubicBezTo>
                    <a:pt x="373" y="61"/>
                    <a:pt x="372" y="61"/>
                    <a:pt x="371" y="61"/>
                  </a:cubicBezTo>
                  <a:cubicBezTo>
                    <a:pt x="370" y="60"/>
                    <a:pt x="371" y="59"/>
                    <a:pt x="371" y="58"/>
                  </a:cubicBezTo>
                  <a:cubicBezTo>
                    <a:pt x="372" y="57"/>
                    <a:pt x="372" y="56"/>
                    <a:pt x="372" y="56"/>
                  </a:cubicBezTo>
                  <a:cubicBezTo>
                    <a:pt x="371" y="56"/>
                    <a:pt x="371" y="56"/>
                    <a:pt x="371" y="56"/>
                  </a:cubicBezTo>
                  <a:cubicBezTo>
                    <a:pt x="370" y="56"/>
                    <a:pt x="369" y="56"/>
                    <a:pt x="369" y="56"/>
                  </a:cubicBezTo>
                  <a:cubicBezTo>
                    <a:pt x="367" y="58"/>
                    <a:pt x="367" y="58"/>
                    <a:pt x="367" y="58"/>
                  </a:cubicBezTo>
                  <a:cubicBezTo>
                    <a:pt x="366" y="58"/>
                    <a:pt x="366" y="58"/>
                    <a:pt x="365" y="58"/>
                  </a:cubicBezTo>
                  <a:cubicBezTo>
                    <a:pt x="363" y="58"/>
                    <a:pt x="363" y="58"/>
                    <a:pt x="363" y="59"/>
                  </a:cubicBezTo>
                  <a:cubicBezTo>
                    <a:pt x="362" y="59"/>
                    <a:pt x="361" y="60"/>
                    <a:pt x="360" y="60"/>
                  </a:cubicBezTo>
                  <a:cubicBezTo>
                    <a:pt x="360" y="61"/>
                    <a:pt x="359" y="61"/>
                    <a:pt x="359" y="61"/>
                  </a:cubicBezTo>
                  <a:cubicBezTo>
                    <a:pt x="357" y="62"/>
                    <a:pt x="357" y="62"/>
                    <a:pt x="357" y="62"/>
                  </a:cubicBezTo>
                  <a:cubicBezTo>
                    <a:pt x="356" y="64"/>
                    <a:pt x="356" y="64"/>
                    <a:pt x="356" y="64"/>
                  </a:cubicBezTo>
                  <a:cubicBezTo>
                    <a:pt x="353" y="67"/>
                    <a:pt x="353" y="67"/>
                    <a:pt x="353" y="67"/>
                  </a:cubicBezTo>
                  <a:cubicBezTo>
                    <a:pt x="351" y="68"/>
                    <a:pt x="351" y="68"/>
                    <a:pt x="351" y="68"/>
                  </a:cubicBezTo>
                  <a:cubicBezTo>
                    <a:pt x="350" y="68"/>
                    <a:pt x="348" y="69"/>
                    <a:pt x="348" y="69"/>
                  </a:cubicBezTo>
                  <a:cubicBezTo>
                    <a:pt x="347" y="69"/>
                    <a:pt x="346" y="70"/>
                    <a:pt x="346" y="70"/>
                  </a:cubicBezTo>
                  <a:cubicBezTo>
                    <a:pt x="343" y="69"/>
                    <a:pt x="343" y="69"/>
                    <a:pt x="343" y="69"/>
                  </a:cubicBezTo>
                  <a:cubicBezTo>
                    <a:pt x="343" y="69"/>
                    <a:pt x="343" y="69"/>
                    <a:pt x="343" y="69"/>
                  </a:cubicBezTo>
                  <a:cubicBezTo>
                    <a:pt x="343" y="69"/>
                    <a:pt x="343" y="70"/>
                    <a:pt x="343" y="70"/>
                  </a:cubicBezTo>
                  <a:cubicBezTo>
                    <a:pt x="342" y="72"/>
                    <a:pt x="342" y="73"/>
                    <a:pt x="342" y="75"/>
                  </a:cubicBezTo>
                  <a:cubicBezTo>
                    <a:pt x="342" y="76"/>
                    <a:pt x="342" y="77"/>
                    <a:pt x="342" y="77"/>
                  </a:cubicBezTo>
                  <a:cubicBezTo>
                    <a:pt x="342" y="78"/>
                    <a:pt x="341" y="78"/>
                    <a:pt x="341" y="78"/>
                  </a:cubicBezTo>
                  <a:cubicBezTo>
                    <a:pt x="340" y="79"/>
                    <a:pt x="340" y="79"/>
                    <a:pt x="339" y="79"/>
                  </a:cubicBezTo>
                  <a:cubicBezTo>
                    <a:pt x="338" y="80"/>
                    <a:pt x="338" y="80"/>
                    <a:pt x="337" y="81"/>
                  </a:cubicBezTo>
                  <a:cubicBezTo>
                    <a:pt x="337" y="81"/>
                    <a:pt x="337" y="81"/>
                    <a:pt x="337" y="81"/>
                  </a:cubicBezTo>
                  <a:cubicBezTo>
                    <a:pt x="337" y="82"/>
                    <a:pt x="337" y="82"/>
                    <a:pt x="337" y="83"/>
                  </a:cubicBezTo>
                  <a:cubicBezTo>
                    <a:pt x="336" y="84"/>
                    <a:pt x="335" y="84"/>
                    <a:pt x="335" y="86"/>
                  </a:cubicBezTo>
                  <a:cubicBezTo>
                    <a:pt x="335" y="86"/>
                    <a:pt x="336" y="87"/>
                    <a:pt x="336" y="88"/>
                  </a:cubicBezTo>
                  <a:cubicBezTo>
                    <a:pt x="336" y="89"/>
                    <a:pt x="334" y="89"/>
                    <a:pt x="334" y="89"/>
                  </a:cubicBezTo>
                  <a:cubicBezTo>
                    <a:pt x="333" y="89"/>
                    <a:pt x="332" y="90"/>
                    <a:pt x="331" y="90"/>
                  </a:cubicBezTo>
                  <a:cubicBezTo>
                    <a:pt x="330" y="90"/>
                    <a:pt x="331" y="89"/>
                    <a:pt x="331" y="88"/>
                  </a:cubicBezTo>
                  <a:cubicBezTo>
                    <a:pt x="331" y="87"/>
                    <a:pt x="331" y="86"/>
                    <a:pt x="331" y="85"/>
                  </a:cubicBezTo>
                  <a:cubicBezTo>
                    <a:pt x="330" y="85"/>
                    <a:pt x="330" y="84"/>
                    <a:pt x="329" y="83"/>
                  </a:cubicBezTo>
                  <a:cubicBezTo>
                    <a:pt x="329" y="83"/>
                    <a:pt x="328" y="82"/>
                    <a:pt x="328" y="82"/>
                  </a:cubicBezTo>
                  <a:cubicBezTo>
                    <a:pt x="327" y="81"/>
                    <a:pt x="326" y="81"/>
                    <a:pt x="326" y="82"/>
                  </a:cubicBezTo>
                  <a:cubicBezTo>
                    <a:pt x="325" y="82"/>
                    <a:pt x="324" y="83"/>
                    <a:pt x="324" y="83"/>
                  </a:cubicBezTo>
                  <a:cubicBezTo>
                    <a:pt x="323" y="84"/>
                    <a:pt x="323" y="84"/>
                    <a:pt x="322" y="85"/>
                  </a:cubicBezTo>
                  <a:cubicBezTo>
                    <a:pt x="321" y="85"/>
                    <a:pt x="321" y="84"/>
                    <a:pt x="320" y="84"/>
                  </a:cubicBezTo>
                  <a:cubicBezTo>
                    <a:pt x="319" y="84"/>
                    <a:pt x="318" y="82"/>
                    <a:pt x="317" y="81"/>
                  </a:cubicBezTo>
                  <a:cubicBezTo>
                    <a:pt x="317" y="80"/>
                    <a:pt x="316" y="80"/>
                    <a:pt x="315" y="79"/>
                  </a:cubicBezTo>
                  <a:cubicBezTo>
                    <a:pt x="315" y="79"/>
                    <a:pt x="315" y="79"/>
                    <a:pt x="315" y="79"/>
                  </a:cubicBezTo>
                  <a:cubicBezTo>
                    <a:pt x="313" y="80"/>
                    <a:pt x="313" y="80"/>
                    <a:pt x="313" y="80"/>
                  </a:cubicBezTo>
                  <a:cubicBezTo>
                    <a:pt x="313" y="80"/>
                    <a:pt x="311" y="81"/>
                    <a:pt x="310" y="82"/>
                  </a:cubicBezTo>
                  <a:cubicBezTo>
                    <a:pt x="310" y="82"/>
                    <a:pt x="307" y="86"/>
                    <a:pt x="307" y="86"/>
                  </a:cubicBezTo>
                  <a:cubicBezTo>
                    <a:pt x="307" y="86"/>
                    <a:pt x="306" y="88"/>
                    <a:pt x="305" y="88"/>
                  </a:cubicBezTo>
                  <a:cubicBezTo>
                    <a:pt x="305" y="88"/>
                    <a:pt x="304" y="88"/>
                    <a:pt x="303" y="88"/>
                  </a:cubicBezTo>
                  <a:cubicBezTo>
                    <a:pt x="303" y="88"/>
                    <a:pt x="302" y="88"/>
                    <a:pt x="302" y="88"/>
                  </a:cubicBezTo>
                  <a:cubicBezTo>
                    <a:pt x="301" y="90"/>
                    <a:pt x="301" y="90"/>
                    <a:pt x="301" y="90"/>
                  </a:cubicBezTo>
                  <a:cubicBezTo>
                    <a:pt x="301" y="90"/>
                    <a:pt x="300" y="91"/>
                    <a:pt x="300" y="91"/>
                  </a:cubicBezTo>
                  <a:cubicBezTo>
                    <a:pt x="300" y="91"/>
                    <a:pt x="300" y="92"/>
                    <a:pt x="299" y="92"/>
                  </a:cubicBezTo>
                  <a:cubicBezTo>
                    <a:pt x="298" y="93"/>
                    <a:pt x="297" y="94"/>
                    <a:pt x="297" y="94"/>
                  </a:cubicBezTo>
                  <a:cubicBezTo>
                    <a:pt x="295" y="95"/>
                    <a:pt x="295" y="95"/>
                    <a:pt x="295" y="95"/>
                  </a:cubicBezTo>
                  <a:cubicBezTo>
                    <a:pt x="293" y="97"/>
                    <a:pt x="293" y="97"/>
                    <a:pt x="293" y="97"/>
                  </a:cubicBezTo>
                  <a:cubicBezTo>
                    <a:pt x="293" y="97"/>
                    <a:pt x="293" y="99"/>
                    <a:pt x="293" y="100"/>
                  </a:cubicBezTo>
                  <a:cubicBezTo>
                    <a:pt x="293" y="100"/>
                    <a:pt x="294" y="103"/>
                    <a:pt x="294" y="103"/>
                  </a:cubicBezTo>
                  <a:cubicBezTo>
                    <a:pt x="294" y="103"/>
                    <a:pt x="293" y="105"/>
                    <a:pt x="293" y="105"/>
                  </a:cubicBezTo>
                  <a:cubicBezTo>
                    <a:pt x="293" y="106"/>
                    <a:pt x="292" y="107"/>
                    <a:pt x="292" y="107"/>
                  </a:cubicBezTo>
                  <a:cubicBezTo>
                    <a:pt x="292" y="107"/>
                    <a:pt x="292" y="108"/>
                    <a:pt x="293" y="109"/>
                  </a:cubicBezTo>
                  <a:cubicBezTo>
                    <a:pt x="293" y="109"/>
                    <a:pt x="293" y="111"/>
                    <a:pt x="293" y="111"/>
                  </a:cubicBezTo>
                  <a:cubicBezTo>
                    <a:pt x="293" y="112"/>
                    <a:pt x="291" y="114"/>
                    <a:pt x="291" y="114"/>
                  </a:cubicBezTo>
                  <a:cubicBezTo>
                    <a:pt x="291" y="114"/>
                    <a:pt x="289" y="114"/>
                    <a:pt x="289" y="114"/>
                  </a:cubicBezTo>
                  <a:cubicBezTo>
                    <a:pt x="288" y="117"/>
                    <a:pt x="288" y="117"/>
                    <a:pt x="288" y="117"/>
                  </a:cubicBezTo>
                  <a:cubicBezTo>
                    <a:pt x="288" y="123"/>
                    <a:pt x="288" y="123"/>
                    <a:pt x="288" y="123"/>
                  </a:cubicBezTo>
                  <a:cubicBezTo>
                    <a:pt x="288" y="123"/>
                    <a:pt x="289" y="123"/>
                    <a:pt x="291" y="122"/>
                  </a:cubicBezTo>
                  <a:cubicBezTo>
                    <a:pt x="293" y="122"/>
                    <a:pt x="293" y="122"/>
                    <a:pt x="294" y="122"/>
                  </a:cubicBezTo>
                  <a:cubicBezTo>
                    <a:pt x="295" y="122"/>
                    <a:pt x="297" y="123"/>
                    <a:pt x="298" y="123"/>
                  </a:cubicBezTo>
                  <a:cubicBezTo>
                    <a:pt x="298" y="123"/>
                    <a:pt x="299" y="125"/>
                    <a:pt x="298" y="126"/>
                  </a:cubicBezTo>
                  <a:cubicBezTo>
                    <a:pt x="298" y="127"/>
                    <a:pt x="296" y="127"/>
                    <a:pt x="295" y="128"/>
                  </a:cubicBezTo>
                  <a:cubicBezTo>
                    <a:pt x="294" y="129"/>
                    <a:pt x="293" y="129"/>
                    <a:pt x="292" y="129"/>
                  </a:cubicBezTo>
                  <a:cubicBezTo>
                    <a:pt x="290" y="130"/>
                    <a:pt x="287" y="131"/>
                    <a:pt x="286" y="131"/>
                  </a:cubicBezTo>
                  <a:cubicBezTo>
                    <a:pt x="286" y="131"/>
                    <a:pt x="285" y="132"/>
                    <a:pt x="285" y="133"/>
                  </a:cubicBezTo>
                  <a:cubicBezTo>
                    <a:pt x="285" y="134"/>
                    <a:pt x="284" y="134"/>
                    <a:pt x="283" y="135"/>
                  </a:cubicBezTo>
                  <a:cubicBezTo>
                    <a:pt x="281" y="136"/>
                    <a:pt x="282" y="136"/>
                    <a:pt x="283" y="137"/>
                  </a:cubicBezTo>
                  <a:cubicBezTo>
                    <a:pt x="283" y="139"/>
                    <a:pt x="282" y="139"/>
                    <a:pt x="281" y="141"/>
                  </a:cubicBezTo>
                  <a:cubicBezTo>
                    <a:pt x="281" y="143"/>
                    <a:pt x="281" y="143"/>
                    <a:pt x="281" y="143"/>
                  </a:cubicBezTo>
                  <a:cubicBezTo>
                    <a:pt x="281" y="143"/>
                    <a:pt x="284" y="142"/>
                    <a:pt x="286" y="142"/>
                  </a:cubicBezTo>
                  <a:cubicBezTo>
                    <a:pt x="287" y="141"/>
                    <a:pt x="287" y="142"/>
                    <a:pt x="288" y="143"/>
                  </a:cubicBezTo>
                  <a:cubicBezTo>
                    <a:pt x="288" y="143"/>
                    <a:pt x="289" y="144"/>
                    <a:pt x="290" y="144"/>
                  </a:cubicBezTo>
                  <a:cubicBezTo>
                    <a:pt x="291" y="144"/>
                    <a:pt x="291" y="143"/>
                    <a:pt x="292" y="143"/>
                  </a:cubicBezTo>
                  <a:cubicBezTo>
                    <a:pt x="294" y="142"/>
                    <a:pt x="293" y="144"/>
                    <a:pt x="294" y="144"/>
                  </a:cubicBezTo>
                  <a:cubicBezTo>
                    <a:pt x="294" y="144"/>
                    <a:pt x="295" y="144"/>
                    <a:pt x="296" y="143"/>
                  </a:cubicBezTo>
                  <a:cubicBezTo>
                    <a:pt x="298" y="143"/>
                    <a:pt x="302" y="143"/>
                    <a:pt x="304" y="142"/>
                  </a:cubicBezTo>
                  <a:cubicBezTo>
                    <a:pt x="306" y="141"/>
                    <a:pt x="309" y="139"/>
                    <a:pt x="310" y="139"/>
                  </a:cubicBezTo>
                  <a:cubicBezTo>
                    <a:pt x="311" y="139"/>
                    <a:pt x="312" y="139"/>
                    <a:pt x="314" y="138"/>
                  </a:cubicBezTo>
                  <a:cubicBezTo>
                    <a:pt x="316" y="138"/>
                    <a:pt x="315" y="137"/>
                    <a:pt x="316" y="136"/>
                  </a:cubicBezTo>
                  <a:cubicBezTo>
                    <a:pt x="316" y="136"/>
                    <a:pt x="317" y="134"/>
                    <a:pt x="318" y="133"/>
                  </a:cubicBezTo>
                  <a:cubicBezTo>
                    <a:pt x="319" y="132"/>
                    <a:pt x="320" y="132"/>
                    <a:pt x="321" y="132"/>
                  </a:cubicBezTo>
                  <a:cubicBezTo>
                    <a:pt x="322" y="131"/>
                    <a:pt x="328" y="131"/>
                    <a:pt x="330" y="131"/>
                  </a:cubicBezTo>
                  <a:cubicBezTo>
                    <a:pt x="332" y="131"/>
                    <a:pt x="336" y="131"/>
                    <a:pt x="338" y="131"/>
                  </a:cubicBezTo>
                  <a:cubicBezTo>
                    <a:pt x="340" y="131"/>
                    <a:pt x="342" y="130"/>
                    <a:pt x="343" y="128"/>
                  </a:cubicBezTo>
                  <a:cubicBezTo>
                    <a:pt x="345" y="126"/>
                    <a:pt x="345" y="124"/>
                    <a:pt x="346" y="122"/>
                  </a:cubicBezTo>
                  <a:cubicBezTo>
                    <a:pt x="347" y="121"/>
                    <a:pt x="348" y="121"/>
                    <a:pt x="349" y="121"/>
                  </a:cubicBezTo>
                  <a:cubicBezTo>
                    <a:pt x="350" y="120"/>
                    <a:pt x="351" y="120"/>
                    <a:pt x="352" y="118"/>
                  </a:cubicBezTo>
                  <a:cubicBezTo>
                    <a:pt x="354" y="117"/>
                    <a:pt x="354" y="116"/>
                    <a:pt x="354" y="116"/>
                  </a:cubicBezTo>
                  <a:cubicBezTo>
                    <a:pt x="354" y="116"/>
                    <a:pt x="358" y="115"/>
                    <a:pt x="359" y="114"/>
                  </a:cubicBezTo>
                  <a:cubicBezTo>
                    <a:pt x="360" y="113"/>
                    <a:pt x="361" y="111"/>
                    <a:pt x="362" y="110"/>
                  </a:cubicBezTo>
                  <a:cubicBezTo>
                    <a:pt x="363" y="109"/>
                    <a:pt x="365" y="107"/>
                    <a:pt x="365" y="106"/>
                  </a:cubicBezTo>
                  <a:cubicBezTo>
                    <a:pt x="366" y="105"/>
                    <a:pt x="367" y="103"/>
                    <a:pt x="369" y="102"/>
                  </a:cubicBezTo>
                  <a:cubicBezTo>
                    <a:pt x="371" y="102"/>
                    <a:pt x="373" y="101"/>
                    <a:pt x="373" y="101"/>
                  </a:cubicBezTo>
                  <a:cubicBezTo>
                    <a:pt x="374" y="101"/>
                    <a:pt x="374" y="97"/>
                    <a:pt x="374" y="96"/>
                  </a:cubicBezTo>
                  <a:cubicBezTo>
                    <a:pt x="374" y="95"/>
                    <a:pt x="374" y="94"/>
                    <a:pt x="374" y="93"/>
                  </a:cubicBezTo>
                  <a:cubicBezTo>
                    <a:pt x="375" y="92"/>
                    <a:pt x="376" y="90"/>
                    <a:pt x="376" y="90"/>
                  </a:cubicBezTo>
                  <a:cubicBezTo>
                    <a:pt x="377" y="90"/>
                    <a:pt x="379" y="88"/>
                    <a:pt x="380" y="87"/>
                  </a:cubicBezTo>
                  <a:cubicBezTo>
                    <a:pt x="381" y="87"/>
                    <a:pt x="381" y="87"/>
                    <a:pt x="381" y="87"/>
                  </a:cubicBezTo>
                  <a:cubicBezTo>
                    <a:pt x="380" y="86"/>
                    <a:pt x="380" y="85"/>
                    <a:pt x="380" y="85"/>
                  </a:cubicBezTo>
                  <a:cubicBezTo>
                    <a:pt x="380" y="84"/>
                    <a:pt x="380" y="82"/>
                    <a:pt x="379" y="8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2" name="Freeform 56">
              <a:extLst>
                <a:ext uri="{FF2B5EF4-FFF2-40B4-BE49-F238E27FC236}">
                  <a16:creationId xmlns:a16="http://schemas.microsoft.com/office/drawing/2014/main" id="{F2827F2E-1D59-B50F-E06D-E4D8B8038F36}"/>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3" name="Freeform 57">
              <a:extLst>
                <a:ext uri="{FF2B5EF4-FFF2-40B4-BE49-F238E27FC236}">
                  <a16:creationId xmlns:a16="http://schemas.microsoft.com/office/drawing/2014/main" id="{D92843D1-6E28-25C9-09B2-8EF985F513A5}"/>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4" name="Freeform 58">
              <a:extLst>
                <a:ext uri="{FF2B5EF4-FFF2-40B4-BE49-F238E27FC236}">
                  <a16:creationId xmlns:a16="http://schemas.microsoft.com/office/drawing/2014/main" id="{70AD335F-B92A-E189-1443-39A0D1742356}"/>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5" name="Freeform 59">
              <a:extLst>
                <a:ext uri="{FF2B5EF4-FFF2-40B4-BE49-F238E27FC236}">
                  <a16:creationId xmlns:a16="http://schemas.microsoft.com/office/drawing/2014/main" id="{DFB4ADCD-96DE-C2BF-BF15-8439393093E1}"/>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6" name="Freeform 60">
              <a:extLst>
                <a:ext uri="{FF2B5EF4-FFF2-40B4-BE49-F238E27FC236}">
                  <a16:creationId xmlns:a16="http://schemas.microsoft.com/office/drawing/2014/main" id="{A7B37588-6426-3F0B-ECE1-0CEA05BD8E58}"/>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7" name="Freeform 61">
              <a:extLst>
                <a:ext uri="{FF2B5EF4-FFF2-40B4-BE49-F238E27FC236}">
                  <a16:creationId xmlns:a16="http://schemas.microsoft.com/office/drawing/2014/main" id="{65CEDF59-A496-EE32-F7FF-D2352EFC9756}"/>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8" name="Freeform 62">
              <a:extLst>
                <a:ext uri="{FF2B5EF4-FFF2-40B4-BE49-F238E27FC236}">
                  <a16:creationId xmlns:a16="http://schemas.microsoft.com/office/drawing/2014/main" id="{05F6D431-18EE-D946-F211-640F4F60715C}"/>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9" name="Freeform 63">
              <a:extLst>
                <a:ext uri="{FF2B5EF4-FFF2-40B4-BE49-F238E27FC236}">
                  <a16:creationId xmlns:a16="http://schemas.microsoft.com/office/drawing/2014/main" id="{3187277A-B1CB-8BFF-FD70-F47952B14590}"/>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0" name="Freeform 64">
              <a:extLst>
                <a:ext uri="{FF2B5EF4-FFF2-40B4-BE49-F238E27FC236}">
                  <a16:creationId xmlns:a16="http://schemas.microsoft.com/office/drawing/2014/main" id="{B9E6395F-E0F3-54F3-1C47-82D4C7C20DBB}"/>
                </a:ext>
              </a:extLst>
            </p:cNvPr>
            <p:cNvSpPr>
              <a:spLocks/>
            </p:cNvSpPr>
            <p:nvPr/>
          </p:nvSpPr>
          <p:spPr bwMode="auto">
            <a:xfrm>
              <a:off x="5033963" y="3217863"/>
              <a:ext cx="1198563" cy="1166812"/>
            </a:xfrm>
            <a:custGeom>
              <a:avLst/>
              <a:gdLst>
                <a:gd name="T0" fmla="*/ 305 w 315"/>
                <a:gd name="T1" fmla="*/ 93 h 306"/>
                <a:gd name="T2" fmla="*/ 298 w 315"/>
                <a:gd name="T3" fmla="*/ 84 h 306"/>
                <a:gd name="T4" fmla="*/ 280 w 315"/>
                <a:gd name="T5" fmla="*/ 69 h 306"/>
                <a:gd name="T6" fmla="*/ 258 w 315"/>
                <a:gd name="T7" fmla="*/ 54 h 306"/>
                <a:gd name="T8" fmla="*/ 247 w 315"/>
                <a:gd name="T9" fmla="*/ 43 h 306"/>
                <a:gd name="T10" fmla="*/ 236 w 315"/>
                <a:gd name="T11" fmla="*/ 33 h 306"/>
                <a:gd name="T12" fmla="*/ 245 w 315"/>
                <a:gd name="T13" fmla="*/ 32 h 306"/>
                <a:gd name="T14" fmla="*/ 250 w 315"/>
                <a:gd name="T15" fmla="*/ 29 h 306"/>
                <a:gd name="T16" fmla="*/ 253 w 315"/>
                <a:gd name="T17" fmla="*/ 26 h 306"/>
                <a:gd name="T18" fmla="*/ 250 w 315"/>
                <a:gd name="T19" fmla="*/ 14 h 306"/>
                <a:gd name="T20" fmla="*/ 198 w 315"/>
                <a:gd name="T21" fmla="*/ 1 h 306"/>
                <a:gd name="T22" fmla="*/ 163 w 315"/>
                <a:gd name="T23" fmla="*/ 13 h 306"/>
                <a:gd name="T24" fmla="*/ 146 w 315"/>
                <a:gd name="T25" fmla="*/ 31 h 306"/>
                <a:gd name="T26" fmla="*/ 135 w 315"/>
                <a:gd name="T27" fmla="*/ 65 h 306"/>
                <a:gd name="T28" fmla="*/ 107 w 315"/>
                <a:gd name="T29" fmla="*/ 82 h 306"/>
                <a:gd name="T30" fmla="*/ 75 w 315"/>
                <a:gd name="T31" fmla="*/ 91 h 306"/>
                <a:gd name="T32" fmla="*/ 45 w 315"/>
                <a:gd name="T33" fmla="*/ 71 h 306"/>
                <a:gd name="T34" fmla="*/ 24 w 315"/>
                <a:gd name="T35" fmla="*/ 73 h 306"/>
                <a:gd name="T36" fmla="*/ 4 w 315"/>
                <a:gd name="T37" fmla="*/ 109 h 306"/>
                <a:gd name="T38" fmla="*/ 18 w 315"/>
                <a:gd name="T39" fmla="*/ 117 h 306"/>
                <a:gd name="T40" fmla="*/ 48 w 315"/>
                <a:gd name="T41" fmla="*/ 120 h 306"/>
                <a:gd name="T42" fmla="*/ 72 w 315"/>
                <a:gd name="T43" fmla="*/ 120 h 306"/>
                <a:gd name="T44" fmla="*/ 66 w 315"/>
                <a:gd name="T45" fmla="*/ 159 h 306"/>
                <a:gd name="T46" fmla="*/ 91 w 315"/>
                <a:gd name="T47" fmla="*/ 166 h 306"/>
                <a:gd name="T48" fmla="*/ 96 w 315"/>
                <a:gd name="T49" fmla="*/ 210 h 306"/>
                <a:gd name="T50" fmla="*/ 111 w 315"/>
                <a:gd name="T51" fmla="*/ 253 h 306"/>
                <a:gd name="T52" fmla="*/ 114 w 315"/>
                <a:gd name="T53" fmla="*/ 279 h 306"/>
                <a:gd name="T54" fmla="*/ 124 w 315"/>
                <a:gd name="T55" fmla="*/ 305 h 306"/>
                <a:gd name="T56" fmla="*/ 168 w 315"/>
                <a:gd name="T57" fmla="*/ 304 h 306"/>
                <a:gd name="T58" fmla="*/ 164 w 315"/>
                <a:gd name="T59" fmla="*/ 291 h 306"/>
                <a:gd name="T60" fmla="*/ 157 w 315"/>
                <a:gd name="T61" fmla="*/ 286 h 306"/>
                <a:gd name="T62" fmla="*/ 157 w 315"/>
                <a:gd name="T63" fmla="*/ 274 h 306"/>
                <a:gd name="T64" fmla="*/ 144 w 315"/>
                <a:gd name="T65" fmla="*/ 269 h 306"/>
                <a:gd name="T66" fmla="*/ 157 w 315"/>
                <a:gd name="T67" fmla="*/ 261 h 306"/>
                <a:gd name="T68" fmla="*/ 176 w 315"/>
                <a:gd name="T69" fmla="*/ 244 h 306"/>
                <a:gd name="T70" fmla="*/ 178 w 315"/>
                <a:gd name="T71" fmla="*/ 232 h 306"/>
                <a:gd name="T72" fmla="*/ 179 w 315"/>
                <a:gd name="T73" fmla="*/ 223 h 306"/>
                <a:gd name="T74" fmla="*/ 187 w 315"/>
                <a:gd name="T75" fmla="*/ 237 h 306"/>
                <a:gd name="T76" fmla="*/ 203 w 315"/>
                <a:gd name="T77" fmla="*/ 220 h 306"/>
                <a:gd name="T78" fmla="*/ 211 w 315"/>
                <a:gd name="T79" fmla="*/ 211 h 306"/>
                <a:gd name="T80" fmla="*/ 215 w 315"/>
                <a:gd name="T81" fmla="*/ 213 h 306"/>
                <a:gd name="T82" fmla="*/ 219 w 315"/>
                <a:gd name="T83" fmla="*/ 211 h 306"/>
                <a:gd name="T84" fmla="*/ 224 w 315"/>
                <a:gd name="T85" fmla="*/ 208 h 306"/>
                <a:gd name="T86" fmla="*/ 226 w 315"/>
                <a:gd name="T87" fmla="*/ 204 h 306"/>
                <a:gd name="T88" fmla="*/ 225 w 315"/>
                <a:gd name="T89" fmla="*/ 200 h 306"/>
                <a:gd name="T90" fmla="*/ 229 w 315"/>
                <a:gd name="T91" fmla="*/ 195 h 306"/>
                <a:gd name="T92" fmla="*/ 227 w 315"/>
                <a:gd name="T93" fmla="*/ 186 h 306"/>
                <a:gd name="T94" fmla="*/ 226 w 315"/>
                <a:gd name="T95" fmla="*/ 182 h 306"/>
                <a:gd name="T96" fmla="*/ 222 w 315"/>
                <a:gd name="T97" fmla="*/ 169 h 306"/>
                <a:gd name="T98" fmla="*/ 224 w 315"/>
                <a:gd name="T99" fmla="*/ 149 h 306"/>
                <a:gd name="T100" fmla="*/ 234 w 315"/>
                <a:gd name="T101" fmla="*/ 123 h 306"/>
                <a:gd name="T102" fmla="*/ 247 w 315"/>
                <a:gd name="T103" fmla="*/ 109 h 306"/>
                <a:gd name="T104" fmla="*/ 253 w 315"/>
                <a:gd name="T105" fmla="*/ 99 h 306"/>
                <a:gd name="T106" fmla="*/ 259 w 315"/>
                <a:gd name="T107" fmla="*/ 105 h 306"/>
                <a:gd name="T108" fmla="*/ 283 w 315"/>
                <a:gd name="T109" fmla="*/ 109 h 306"/>
                <a:gd name="T110" fmla="*/ 306 w 315"/>
                <a:gd name="T111" fmla="*/ 10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306">
                  <a:moveTo>
                    <a:pt x="315" y="98"/>
                  </a:moveTo>
                  <a:cubicBezTo>
                    <a:pt x="315" y="97"/>
                    <a:pt x="314" y="96"/>
                    <a:pt x="314" y="96"/>
                  </a:cubicBezTo>
                  <a:cubicBezTo>
                    <a:pt x="313" y="95"/>
                    <a:pt x="313" y="95"/>
                    <a:pt x="313" y="95"/>
                  </a:cubicBezTo>
                  <a:cubicBezTo>
                    <a:pt x="312" y="95"/>
                    <a:pt x="312" y="95"/>
                    <a:pt x="311" y="95"/>
                  </a:cubicBezTo>
                  <a:cubicBezTo>
                    <a:pt x="310" y="95"/>
                    <a:pt x="310" y="95"/>
                    <a:pt x="309" y="95"/>
                  </a:cubicBezTo>
                  <a:cubicBezTo>
                    <a:pt x="307" y="95"/>
                    <a:pt x="307" y="95"/>
                    <a:pt x="307" y="95"/>
                  </a:cubicBezTo>
                  <a:cubicBezTo>
                    <a:pt x="307" y="96"/>
                    <a:pt x="307" y="96"/>
                    <a:pt x="307" y="96"/>
                  </a:cubicBezTo>
                  <a:cubicBezTo>
                    <a:pt x="306" y="96"/>
                    <a:pt x="306" y="96"/>
                    <a:pt x="305" y="95"/>
                  </a:cubicBezTo>
                  <a:cubicBezTo>
                    <a:pt x="305" y="94"/>
                    <a:pt x="305" y="93"/>
                    <a:pt x="305" y="93"/>
                  </a:cubicBezTo>
                  <a:cubicBezTo>
                    <a:pt x="304" y="92"/>
                    <a:pt x="304" y="92"/>
                    <a:pt x="304" y="92"/>
                  </a:cubicBezTo>
                  <a:cubicBezTo>
                    <a:pt x="304" y="92"/>
                    <a:pt x="304" y="92"/>
                    <a:pt x="304" y="92"/>
                  </a:cubicBezTo>
                  <a:cubicBezTo>
                    <a:pt x="304" y="91"/>
                    <a:pt x="303" y="91"/>
                    <a:pt x="303" y="91"/>
                  </a:cubicBezTo>
                  <a:cubicBezTo>
                    <a:pt x="302" y="90"/>
                    <a:pt x="302" y="90"/>
                    <a:pt x="302" y="89"/>
                  </a:cubicBezTo>
                  <a:cubicBezTo>
                    <a:pt x="301" y="89"/>
                    <a:pt x="300" y="90"/>
                    <a:pt x="300" y="89"/>
                  </a:cubicBezTo>
                  <a:cubicBezTo>
                    <a:pt x="299" y="88"/>
                    <a:pt x="300" y="88"/>
                    <a:pt x="301" y="88"/>
                  </a:cubicBezTo>
                  <a:cubicBezTo>
                    <a:pt x="301" y="88"/>
                    <a:pt x="302" y="88"/>
                    <a:pt x="302" y="87"/>
                  </a:cubicBezTo>
                  <a:cubicBezTo>
                    <a:pt x="302" y="87"/>
                    <a:pt x="301" y="86"/>
                    <a:pt x="301" y="86"/>
                  </a:cubicBezTo>
                  <a:cubicBezTo>
                    <a:pt x="300" y="85"/>
                    <a:pt x="299" y="84"/>
                    <a:pt x="298" y="84"/>
                  </a:cubicBezTo>
                  <a:cubicBezTo>
                    <a:pt x="296" y="82"/>
                    <a:pt x="294" y="80"/>
                    <a:pt x="292" y="78"/>
                  </a:cubicBezTo>
                  <a:cubicBezTo>
                    <a:pt x="291" y="77"/>
                    <a:pt x="290" y="76"/>
                    <a:pt x="289" y="76"/>
                  </a:cubicBezTo>
                  <a:cubicBezTo>
                    <a:pt x="288" y="76"/>
                    <a:pt x="287" y="76"/>
                    <a:pt x="286" y="76"/>
                  </a:cubicBezTo>
                  <a:cubicBezTo>
                    <a:pt x="285" y="76"/>
                    <a:pt x="285" y="76"/>
                    <a:pt x="284" y="76"/>
                  </a:cubicBezTo>
                  <a:cubicBezTo>
                    <a:pt x="283" y="76"/>
                    <a:pt x="283" y="75"/>
                    <a:pt x="282" y="75"/>
                  </a:cubicBezTo>
                  <a:cubicBezTo>
                    <a:pt x="281" y="74"/>
                    <a:pt x="281" y="73"/>
                    <a:pt x="279" y="73"/>
                  </a:cubicBezTo>
                  <a:cubicBezTo>
                    <a:pt x="279" y="73"/>
                    <a:pt x="278" y="73"/>
                    <a:pt x="278" y="72"/>
                  </a:cubicBezTo>
                  <a:cubicBezTo>
                    <a:pt x="278" y="72"/>
                    <a:pt x="279" y="71"/>
                    <a:pt x="280" y="71"/>
                  </a:cubicBezTo>
                  <a:cubicBezTo>
                    <a:pt x="280" y="71"/>
                    <a:pt x="280" y="70"/>
                    <a:pt x="280" y="69"/>
                  </a:cubicBezTo>
                  <a:cubicBezTo>
                    <a:pt x="279" y="68"/>
                    <a:pt x="278" y="68"/>
                    <a:pt x="276" y="68"/>
                  </a:cubicBezTo>
                  <a:cubicBezTo>
                    <a:pt x="276" y="67"/>
                    <a:pt x="275" y="67"/>
                    <a:pt x="274" y="67"/>
                  </a:cubicBezTo>
                  <a:cubicBezTo>
                    <a:pt x="273" y="66"/>
                    <a:pt x="272" y="66"/>
                    <a:pt x="272" y="66"/>
                  </a:cubicBezTo>
                  <a:cubicBezTo>
                    <a:pt x="270" y="65"/>
                    <a:pt x="269" y="64"/>
                    <a:pt x="267" y="63"/>
                  </a:cubicBezTo>
                  <a:cubicBezTo>
                    <a:pt x="266" y="63"/>
                    <a:pt x="266" y="62"/>
                    <a:pt x="265" y="61"/>
                  </a:cubicBezTo>
                  <a:cubicBezTo>
                    <a:pt x="264" y="60"/>
                    <a:pt x="264" y="60"/>
                    <a:pt x="264" y="60"/>
                  </a:cubicBezTo>
                  <a:cubicBezTo>
                    <a:pt x="264" y="60"/>
                    <a:pt x="264" y="60"/>
                    <a:pt x="263" y="60"/>
                  </a:cubicBezTo>
                  <a:cubicBezTo>
                    <a:pt x="262" y="59"/>
                    <a:pt x="260" y="58"/>
                    <a:pt x="259" y="57"/>
                  </a:cubicBezTo>
                  <a:cubicBezTo>
                    <a:pt x="259" y="56"/>
                    <a:pt x="259" y="55"/>
                    <a:pt x="258" y="54"/>
                  </a:cubicBezTo>
                  <a:cubicBezTo>
                    <a:pt x="258" y="54"/>
                    <a:pt x="258" y="53"/>
                    <a:pt x="258" y="52"/>
                  </a:cubicBezTo>
                  <a:cubicBezTo>
                    <a:pt x="258" y="52"/>
                    <a:pt x="257" y="51"/>
                    <a:pt x="257" y="51"/>
                  </a:cubicBezTo>
                  <a:cubicBezTo>
                    <a:pt x="257" y="51"/>
                    <a:pt x="256" y="51"/>
                    <a:pt x="255" y="51"/>
                  </a:cubicBezTo>
                  <a:cubicBezTo>
                    <a:pt x="254" y="51"/>
                    <a:pt x="253" y="51"/>
                    <a:pt x="252" y="51"/>
                  </a:cubicBezTo>
                  <a:cubicBezTo>
                    <a:pt x="251" y="50"/>
                    <a:pt x="249" y="49"/>
                    <a:pt x="248" y="48"/>
                  </a:cubicBezTo>
                  <a:cubicBezTo>
                    <a:pt x="248" y="47"/>
                    <a:pt x="248" y="46"/>
                    <a:pt x="247" y="46"/>
                  </a:cubicBezTo>
                  <a:cubicBezTo>
                    <a:pt x="247" y="45"/>
                    <a:pt x="247" y="45"/>
                    <a:pt x="247" y="45"/>
                  </a:cubicBezTo>
                  <a:cubicBezTo>
                    <a:pt x="246" y="44"/>
                    <a:pt x="246" y="44"/>
                    <a:pt x="246" y="44"/>
                  </a:cubicBezTo>
                  <a:cubicBezTo>
                    <a:pt x="246" y="44"/>
                    <a:pt x="247" y="43"/>
                    <a:pt x="247" y="43"/>
                  </a:cubicBezTo>
                  <a:cubicBezTo>
                    <a:pt x="247" y="42"/>
                    <a:pt x="247" y="41"/>
                    <a:pt x="247" y="41"/>
                  </a:cubicBezTo>
                  <a:cubicBezTo>
                    <a:pt x="247" y="40"/>
                    <a:pt x="247" y="40"/>
                    <a:pt x="246" y="40"/>
                  </a:cubicBezTo>
                  <a:cubicBezTo>
                    <a:pt x="246" y="39"/>
                    <a:pt x="246" y="39"/>
                    <a:pt x="245" y="38"/>
                  </a:cubicBezTo>
                  <a:cubicBezTo>
                    <a:pt x="245" y="37"/>
                    <a:pt x="243" y="37"/>
                    <a:pt x="242" y="37"/>
                  </a:cubicBezTo>
                  <a:cubicBezTo>
                    <a:pt x="241" y="37"/>
                    <a:pt x="240" y="37"/>
                    <a:pt x="239" y="36"/>
                  </a:cubicBezTo>
                  <a:cubicBezTo>
                    <a:pt x="238" y="36"/>
                    <a:pt x="238" y="36"/>
                    <a:pt x="237" y="35"/>
                  </a:cubicBezTo>
                  <a:cubicBezTo>
                    <a:pt x="236" y="35"/>
                    <a:pt x="236" y="35"/>
                    <a:pt x="235" y="34"/>
                  </a:cubicBezTo>
                  <a:cubicBezTo>
                    <a:pt x="234" y="34"/>
                    <a:pt x="235" y="34"/>
                    <a:pt x="235" y="33"/>
                  </a:cubicBezTo>
                  <a:cubicBezTo>
                    <a:pt x="235" y="33"/>
                    <a:pt x="235" y="33"/>
                    <a:pt x="236" y="33"/>
                  </a:cubicBezTo>
                  <a:cubicBezTo>
                    <a:pt x="237" y="33"/>
                    <a:pt x="237" y="34"/>
                    <a:pt x="238" y="34"/>
                  </a:cubicBezTo>
                  <a:cubicBezTo>
                    <a:pt x="238" y="34"/>
                    <a:pt x="239" y="35"/>
                    <a:pt x="240" y="35"/>
                  </a:cubicBezTo>
                  <a:cubicBezTo>
                    <a:pt x="240" y="35"/>
                    <a:pt x="241" y="35"/>
                    <a:pt x="241" y="35"/>
                  </a:cubicBezTo>
                  <a:cubicBezTo>
                    <a:pt x="242" y="35"/>
                    <a:pt x="242" y="36"/>
                    <a:pt x="243" y="36"/>
                  </a:cubicBezTo>
                  <a:cubicBezTo>
                    <a:pt x="243" y="36"/>
                    <a:pt x="244" y="36"/>
                    <a:pt x="244" y="35"/>
                  </a:cubicBezTo>
                  <a:cubicBezTo>
                    <a:pt x="245" y="35"/>
                    <a:pt x="246" y="35"/>
                    <a:pt x="247" y="35"/>
                  </a:cubicBezTo>
                  <a:cubicBezTo>
                    <a:pt x="247" y="35"/>
                    <a:pt x="248" y="35"/>
                    <a:pt x="249" y="35"/>
                  </a:cubicBezTo>
                  <a:cubicBezTo>
                    <a:pt x="249" y="34"/>
                    <a:pt x="248" y="34"/>
                    <a:pt x="248" y="34"/>
                  </a:cubicBezTo>
                  <a:cubicBezTo>
                    <a:pt x="247" y="33"/>
                    <a:pt x="246" y="32"/>
                    <a:pt x="245" y="32"/>
                  </a:cubicBezTo>
                  <a:cubicBezTo>
                    <a:pt x="244" y="32"/>
                    <a:pt x="243" y="31"/>
                    <a:pt x="242" y="31"/>
                  </a:cubicBezTo>
                  <a:cubicBezTo>
                    <a:pt x="242" y="30"/>
                    <a:pt x="241" y="30"/>
                    <a:pt x="242" y="29"/>
                  </a:cubicBezTo>
                  <a:cubicBezTo>
                    <a:pt x="242" y="28"/>
                    <a:pt x="242" y="28"/>
                    <a:pt x="242" y="27"/>
                  </a:cubicBezTo>
                  <a:cubicBezTo>
                    <a:pt x="242" y="27"/>
                    <a:pt x="243" y="26"/>
                    <a:pt x="243" y="27"/>
                  </a:cubicBezTo>
                  <a:cubicBezTo>
                    <a:pt x="243" y="27"/>
                    <a:pt x="243" y="28"/>
                    <a:pt x="244" y="28"/>
                  </a:cubicBezTo>
                  <a:cubicBezTo>
                    <a:pt x="244" y="30"/>
                    <a:pt x="245" y="31"/>
                    <a:pt x="246" y="31"/>
                  </a:cubicBezTo>
                  <a:cubicBezTo>
                    <a:pt x="247" y="32"/>
                    <a:pt x="248" y="32"/>
                    <a:pt x="249" y="32"/>
                  </a:cubicBezTo>
                  <a:cubicBezTo>
                    <a:pt x="249" y="32"/>
                    <a:pt x="251" y="32"/>
                    <a:pt x="251" y="31"/>
                  </a:cubicBezTo>
                  <a:cubicBezTo>
                    <a:pt x="251" y="31"/>
                    <a:pt x="251" y="30"/>
                    <a:pt x="250" y="29"/>
                  </a:cubicBezTo>
                  <a:cubicBezTo>
                    <a:pt x="250" y="29"/>
                    <a:pt x="250" y="29"/>
                    <a:pt x="249" y="28"/>
                  </a:cubicBezTo>
                  <a:cubicBezTo>
                    <a:pt x="249" y="28"/>
                    <a:pt x="248" y="28"/>
                    <a:pt x="247" y="28"/>
                  </a:cubicBezTo>
                  <a:cubicBezTo>
                    <a:pt x="247" y="28"/>
                    <a:pt x="247" y="27"/>
                    <a:pt x="246" y="27"/>
                  </a:cubicBezTo>
                  <a:cubicBezTo>
                    <a:pt x="245" y="26"/>
                    <a:pt x="245" y="26"/>
                    <a:pt x="245" y="26"/>
                  </a:cubicBezTo>
                  <a:cubicBezTo>
                    <a:pt x="245" y="26"/>
                    <a:pt x="244" y="26"/>
                    <a:pt x="245" y="26"/>
                  </a:cubicBezTo>
                  <a:cubicBezTo>
                    <a:pt x="245" y="25"/>
                    <a:pt x="247" y="25"/>
                    <a:pt x="247" y="25"/>
                  </a:cubicBezTo>
                  <a:cubicBezTo>
                    <a:pt x="248" y="26"/>
                    <a:pt x="249" y="25"/>
                    <a:pt x="250" y="25"/>
                  </a:cubicBezTo>
                  <a:cubicBezTo>
                    <a:pt x="251" y="26"/>
                    <a:pt x="251" y="26"/>
                    <a:pt x="252" y="26"/>
                  </a:cubicBezTo>
                  <a:cubicBezTo>
                    <a:pt x="253" y="26"/>
                    <a:pt x="253" y="26"/>
                    <a:pt x="253" y="26"/>
                  </a:cubicBezTo>
                  <a:cubicBezTo>
                    <a:pt x="253" y="26"/>
                    <a:pt x="254" y="26"/>
                    <a:pt x="254" y="26"/>
                  </a:cubicBezTo>
                  <a:cubicBezTo>
                    <a:pt x="255" y="25"/>
                    <a:pt x="256" y="25"/>
                    <a:pt x="257" y="25"/>
                  </a:cubicBezTo>
                  <a:cubicBezTo>
                    <a:pt x="257" y="24"/>
                    <a:pt x="257" y="24"/>
                    <a:pt x="257" y="24"/>
                  </a:cubicBezTo>
                  <a:cubicBezTo>
                    <a:pt x="257" y="24"/>
                    <a:pt x="259" y="24"/>
                    <a:pt x="260" y="23"/>
                  </a:cubicBezTo>
                  <a:cubicBezTo>
                    <a:pt x="260" y="22"/>
                    <a:pt x="260" y="21"/>
                    <a:pt x="260" y="21"/>
                  </a:cubicBezTo>
                  <a:cubicBezTo>
                    <a:pt x="260" y="20"/>
                    <a:pt x="260" y="20"/>
                    <a:pt x="260" y="19"/>
                  </a:cubicBezTo>
                  <a:cubicBezTo>
                    <a:pt x="258" y="17"/>
                    <a:pt x="257" y="15"/>
                    <a:pt x="255" y="13"/>
                  </a:cubicBezTo>
                  <a:cubicBezTo>
                    <a:pt x="254" y="13"/>
                    <a:pt x="254" y="12"/>
                    <a:pt x="253" y="11"/>
                  </a:cubicBezTo>
                  <a:cubicBezTo>
                    <a:pt x="250" y="14"/>
                    <a:pt x="250" y="14"/>
                    <a:pt x="250" y="14"/>
                  </a:cubicBezTo>
                  <a:cubicBezTo>
                    <a:pt x="246" y="14"/>
                    <a:pt x="246" y="14"/>
                    <a:pt x="246" y="14"/>
                  </a:cubicBezTo>
                  <a:cubicBezTo>
                    <a:pt x="244" y="17"/>
                    <a:pt x="244" y="17"/>
                    <a:pt x="244" y="17"/>
                  </a:cubicBezTo>
                  <a:cubicBezTo>
                    <a:pt x="240" y="18"/>
                    <a:pt x="240" y="18"/>
                    <a:pt x="240" y="18"/>
                  </a:cubicBezTo>
                  <a:cubicBezTo>
                    <a:pt x="232" y="6"/>
                    <a:pt x="232" y="6"/>
                    <a:pt x="232" y="6"/>
                  </a:cubicBezTo>
                  <a:cubicBezTo>
                    <a:pt x="225" y="6"/>
                    <a:pt x="225" y="6"/>
                    <a:pt x="225" y="6"/>
                  </a:cubicBezTo>
                  <a:cubicBezTo>
                    <a:pt x="219" y="0"/>
                    <a:pt x="219" y="0"/>
                    <a:pt x="219" y="0"/>
                  </a:cubicBezTo>
                  <a:cubicBezTo>
                    <a:pt x="212" y="0"/>
                    <a:pt x="212" y="0"/>
                    <a:pt x="212" y="0"/>
                  </a:cubicBezTo>
                  <a:cubicBezTo>
                    <a:pt x="210" y="2"/>
                    <a:pt x="210" y="2"/>
                    <a:pt x="210" y="2"/>
                  </a:cubicBezTo>
                  <a:cubicBezTo>
                    <a:pt x="198" y="1"/>
                    <a:pt x="198" y="1"/>
                    <a:pt x="198" y="1"/>
                  </a:cubicBezTo>
                  <a:cubicBezTo>
                    <a:pt x="195" y="6"/>
                    <a:pt x="195" y="6"/>
                    <a:pt x="195" y="6"/>
                  </a:cubicBezTo>
                  <a:cubicBezTo>
                    <a:pt x="190" y="7"/>
                    <a:pt x="190" y="7"/>
                    <a:pt x="190" y="7"/>
                  </a:cubicBezTo>
                  <a:cubicBezTo>
                    <a:pt x="186" y="8"/>
                    <a:pt x="186" y="8"/>
                    <a:pt x="186" y="8"/>
                  </a:cubicBezTo>
                  <a:cubicBezTo>
                    <a:pt x="182" y="15"/>
                    <a:pt x="182" y="15"/>
                    <a:pt x="182" y="15"/>
                  </a:cubicBezTo>
                  <a:cubicBezTo>
                    <a:pt x="178" y="5"/>
                    <a:pt x="178" y="5"/>
                    <a:pt x="178" y="5"/>
                  </a:cubicBezTo>
                  <a:cubicBezTo>
                    <a:pt x="170" y="13"/>
                    <a:pt x="170" y="13"/>
                    <a:pt x="170" y="13"/>
                  </a:cubicBezTo>
                  <a:cubicBezTo>
                    <a:pt x="166" y="9"/>
                    <a:pt x="166" y="9"/>
                    <a:pt x="166" y="9"/>
                  </a:cubicBezTo>
                  <a:cubicBezTo>
                    <a:pt x="163" y="9"/>
                    <a:pt x="163" y="9"/>
                    <a:pt x="163" y="9"/>
                  </a:cubicBezTo>
                  <a:cubicBezTo>
                    <a:pt x="163" y="13"/>
                    <a:pt x="163" y="13"/>
                    <a:pt x="163" y="13"/>
                  </a:cubicBezTo>
                  <a:cubicBezTo>
                    <a:pt x="163" y="16"/>
                    <a:pt x="163" y="16"/>
                    <a:pt x="163" y="16"/>
                  </a:cubicBezTo>
                  <a:cubicBezTo>
                    <a:pt x="161" y="21"/>
                    <a:pt x="161" y="21"/>
                    <a:pt x="161" y="21"/>
                  </a:cubicBezTo>
                  <a:cubicBezTo>
                    <a:pt x="157" y="19"/>
                    <a:pt x="157" y="19"/>
                    <a:pt x="157" y="19"/>
                  </a:cubicBezTo>
                  <a:cubicBezTo>
                    <a:pt x="153" y="19"/>
                    <a:pt x="153" y="19"/>
                    <a:pt x="153" y="19"/>
                  </a:cubicBezTo>
                  <a:cubicBezTo>
                    <a:pt x="151" y="23"/>
                    <a:pt x="151" y="23"/>
                    <a:pt x="151" y="23"/>
                  </a:cubicBezTo>
                  <a:cubicBezTo>
                    <a:pt x="153" y="26"/>
                    <a:pt x="153" y="26"/>
                    <a:pt x="153" y="26"/>
                  </a:cubicBezTo>
                  <a:cubicBezTo>
                    <a:pt x="154" y="27"/>
                    <a:pt x="154" y="27"/>
                    <a:pt x="154" y="27"/>
                  </a:cubicBezTo>
                  <a:cubicBezTo>
                    <a:pt x="151" y="31"/>
                    <a:pt x="151" y="31"/>
                    <a:pt x="151" y="31"/>
                  </a:cubicBezTo>
                  <a:cubicBezTo>
                    <a:pt x="146" y="31"/>
                    <a:pt x="146" y="31"/>
                    <a:pt x="146" y="31"/>
                  </a:cubicBezTo>
                  <a:cubicBezTo>
                    <a:pt x="147" y="35"/>
                    <a:pt x="147" y="35"/>
                    <a:pt x="147" y="35"/>
                  </a:cubicBezTo>
                  <a:cubicBezTo>
                    <a:pt x="145" y="38"/>
                    <a:pt x="145" y="38"/>
                    <a:pt x="145" y="38"/>
                  </a:cubicBezTo>
                  <a:cubicBezTo>
                    <a:pt x="144" y="41"/>
                    <a:pt x="144" y="41"/>
                    <a:pt x="144" y="41"/>
                  </a:cubicBezTo>
                  <a:cubicBezTo>
                    <a:pt x="144" y="47"/>
                    <a:pt x="144" y="47"/>
                    <a:pt x="144" y="47"/>
                  </a:cubicBezTo>
                  <a:cubicBezTo>
                    <a:pt x="143" y="52"/>
                    <a:pt x="143" y="52"/>
                    <a:pt x="143" y="52"/>
                  </a:cubicBezTo>
                  <a:cubicBezTo>
                    <a:pt x="141" y="59"/>
                    <a:pt x="141" y="59"/>
                    <a:pt x="141" y="59"/>
                  </a:cubicBezTo>
                  <a:cubicBezTo>
                    <a:pt x="137" y="59"/>
                    <a:pt x="137" y="59"/>
                    <a:pt x="137" y="59"/>
                  </a:cubicBezTo>
                  <a:cubicBezTo>
                    <a:pt x="135" y="61"/>
                    <a:pt x="135" y="61"/>
                    <a:pt x="135" y="61"/>
                  </a:cubicBezTo>
                  <a:cubicBezTo>
                    <a:pt x="135" y="65"/>
                    <a:pt x="135" y="65"/>
                    <a:pt x="135" y="65"/>
                  </a:cubicBezTo>
                  <a:cubicBezTo>
                    <a:pt x="131" y="66"/>
                    <a:pt x="131" y="66"/>
                    <a:pt x="131" y="66"/>
                  </a:cubicBezTo>
                  <a:cubicBezTo>
                    <a:pt x="129" y="70"/>
                    <a:pt x="129" y="70"/>
                    <a:pt x="129" y="70"/>
                  </a:cubicBezTo>
                  <a:cubicBezTo>
                    <a:pt x="125" y="71"/>
                    <a:pt x="125" y="71"/>
                    <a:pt x="125" y="71"/>
                  </a:cubicBezTo>
                  <a:cubicBezTo>
                    <a:pt x="123" y="76"/>
                    <a:pt x="123" y="76"/>
                    <a:pt x="123" y="76"/>
                  </a:cubicBezTo>
                  <a:cubicBezTo>
                    <a:pt x="119" y="77"/>
                    <a:pt x="119" y="77"/>
                    <a:pt x="119" y="77"/>
                  </a:cubicBezTo>
                  <a:cubicBezTo>
                    <a:pt x="117" y="80"/>
                    <a:pt x="117" y="80"/>
                    <a:pt x="117" y="80"/>
                  </a:cubicBezTo>
                  <a:cubicBezTo>
                    <a:pt x="116" y="82"/>
                    <a:pt x="116" y="82"/>
                    <a:pt x="116" y="82"/>
                  </a:cubicBezTo>
                  <a:cubicBezTo>
                    <a:pt x="111" y="81"/>
                    <a:pt x="111" y="81"/>
                    <a:pt x="111" y="81"/>
                  </a:cubicBezTo>
                  <a:cubicBezTo>
                    <a:pt x="107" y="82"/>
                    <a:pt x="107" y="82"/>
                    <a:pt x="107" y="82"/>
                  </a:cubicBezTo>
                  <a:cubicBezTo>
                    <a:pt x="102" y="84"/>
                    <a:pt x="102" y="84"/>
                    <a:pt x="102" y="84"/>
                  </a:cubicBezTo>
                  <a:cubicBezTo>
                    <a:pt x="99" y="84"/>
                    <a:pt x="99" y="84"/>
                    <a:pt x="99" y="84"/>
                  </a:cubicBezTo>
                  <a:cubicBezTo>
                    <a:pt x="97" y="87"/>
                    <a:pt x="97" y="87"/>
                    <a:pt x="97" y="87"/>
                  </a:cubicBezTo>
                  <a:cubicBezTo>
                    <a:pt x="97" y="89"/>
                    <a:pt x="97" y="89"/>
                    <a:pt x="97" y="89"/>
                  </a:cubicBezTo>
                  <a:cubicBezTo>
                    <a:pt x="95" y="94"/>
                    <a:pt x="95" y="94"/>
                    <a:pt x="95" y="94"/>
                  </a:cubicBezTo>
                  <a:cubicBezTo>
                    <a:pt x="89" y="95"/>
                    <a:pt x="89" y="95"/>
                    <a:pt x="89" y="95"/>
                  </a:cubicBezTo>
                  <a:cubicBezTo>
                    <a:pt x="85" y="95"/>
                    <a:pt x="85" y="95"/>
                    <a:pt x="85" y="95"/>
                  </a:cubicBezTo>
                  <a:cubicBezTo>
                    <a:pt x="81" y="91"/>
                    <a:pt x="81" y="91"/>
                    <a:pt x="81" y="91"/>
                  </a:cubicBezTo>
                  <a:cubicBezTo>
                    <a:pt x="75" y="91"/>
                    <a:pt x="75" y="91"/>
                    <a:pt x="75" y="91"/>
                  </a:cubicBezTo>
                  <a:cubicBezTo>
                    <a:pt x="70" y="87"/>
                    <a:pt x="70" y="87"/>
                    <a:pt x="70" y="87"/>
                  </a:cubicBezTo>
                  <a:cubicBezTo>
                    <a:pt x="66" y="86"/>
                    <a:pt x="66" y="86"/>
                    <a:pt x="66" y="86"/>
                  </a:cubicBezTo>
                  <a:cubicBezTo>
                    <a:pt x="63" y="87"/>
                    <a:pt x="63" y="87"/>
                    <a:pt x="63" y="87"/>
                  </a:cubicBezTo>
                  <a:cubicBezTo>
                    <a:pt x="58" y="85"/>
                    <a:pt x="58" y="85"/>
                    <a:pt x="58" y="85"/>
                  </a:cubicBezTo>
                  <a:cubicBezTo>
                    <a:pt x="54" y="81"/>
                    <a:pt x="54" y="81"/>
                    <a:pt x="54" y="81"/>
                  </a:cubicBezTo>
                  <a:cubicBezTo>
                    <a:pt x="54" y="78"/>
                    <a:pt x="54" y="78"/>
                    <a:pt x="54" y="78"/>
                  </a:cubicBezTo>
                  <a:cubicBezTo>
                    <a:pt x="49" y="76"/>
                    <a:pt x="49" y="76"/>
                    <a:pt x="49" y="76"/>
                  </a:cubicBezTo>
                  <a:cubicBezTo>
                    <a:pt x="45" y="72"/>
                    <a:pt x="45" y="72"/>
                    <a:pt x="45" y="72"/>
                  </a:cubicBezTo>
                  <a:cubicBezTo>
                    <a:pt x="45" y="71"/>
                    <a:pt x="45" y="71"/>
                    <a:pt x="45" y="71"/>
                  </a:cubicBezTo>
                  <a:cubicBezTo>
                    <a:pt x="44" y="71"/>
                    <a:pt x="43" y="71"/>
                    <a:pt x="43" y="71"/>
                  </a:cubicBezTo>
                  <a:cubicBezTo>
                    <a:pt x="42" y="70"/>
                    <a:pt x="42" y="70"/>
                    <a:pt x="42" y="69"/>
                  </a:cubicBezTo>
                  <a:cubicBezTo>
                    <a:pt x="41" y="69"/>
                    <a:pt x="41" y="69"/>
                    <a:pt x="40" y="69"/>
                  </a:cubicBezTo>
                  <a:cubicBezTo>
                    <a:pt x="39" y="69"/>
                    <a:pt x="39" y="67"/>
                    <a:pt x="38" y="67"/>
                  </a:cubicBezTo>
                  <a:cubicBezTo>
                    <a:pt x="37" y="66"/>
                    <a:pt x="35" y="68"/>
                    <a:pt x="34" y="68"/>
                  </a:cubicBezTo>
                  <a:cubicBezTo>
                    <a:pt x="33" y="69"/>
                    <a:pt x="32" y="69"/>
                    <a:pt x="31" y="70"/>
                  </a:cubicBezTo>
                  <a:cubicBezTo>
                    <a:pt x="29" y="70"/>
                    <a:pt x="28" y="70"/>
                    <a:pt x="27" y="71"/>
                  </a:cubicBezTo>
                  <a:cubicBezTo>
                    <a:pt x="26" y="72"/>
                    <a:pt x="25" y="73"/>
                    <a:pt x="24" y="73"/>
                  </a:cubicBezTo>
                  <a:cubicBezTo>
                    <a:pt x="24" y="73"/>
                    <a:pt x="24" y="73"/>
                    <a:pt x="24" y="73"/>
                  </a:cubicBezTo>
                  <a:cubicBezTo>
                    <a:pt x="20" y="77"/>
                    <a:pt x="20" y="77"/>
                    <a:pt x="20" y="77"/>
                  </a:cubicBezTo>
                  <a:cubicBezTo>
                    <a:pt x="20" y="77"/>
                    <a:pt x="20" y="79"/>
                    <a:pt x="20" y="80"/>
                  </a:cubicBezTo>
                  <a:cubicBezTo>
                    <a:pt x="20" y="80"/>
                    <a:pt x="20" y="86"/>
                    <a:pt x="20" y="86"/>
                  </a:cubicBezTo>
                  <a:cubicBezTo>
                    <a:pt x="16" y="89"/>
                    <a:pt x="16" y="89"/>
                    <a:pt x="16" y="89"/>
                  </a:cubicBezTo>
                  <a:cubicBezTo>
                    <a:pt x="13" y="89"/>
                    <a:pt x="13" y="89"/>
                    <a:pt x="13" y="89"/>
                  </a:cubicBezTo>
                  <a:cubicBezTo>
                    <a:pt x="8" y="92"/>
                    <a:pt x="8" y="92"/>
                    <a:pt x="8" y="92"/>
                  </a:cubicBezTo>
                  <a:cubicBezTo>
                    <a:pt x="5" y="97"/>
                    <a:pt x="5" y="97"/>
                    <a:pt x="5" y="97"/>
                  </a:cubicBezTo>
                  <a:cubicBezTo>
                    <a:pt x="5" y="105"/>
                    <a:pt x="5" y="105"/>
                    <a:pt x="5" y="105"/>
                  </a:cubicBezTo>
                  <a:cubicBezTo>
                    <a:pt x="4" y="109"/>
                    <a:pt x="4" y="109"/>
                    <a:pt x="4" y="109"/>
                  </a:cubicBezTo>
                  <a:cubicBezTo>
                    <a:pt x="5" y="113"/>
                    <a:pt x="5" y="113"/>
                    <a:pt x="5" y="113"/>
                  </a:cubicBezTo>
                  <a:cubicBezTo>
                    <a:pt x="2" y="116"/>
                    <a:pt x="2" y="116"/>
                    <a:pt x="2" y="116"/>
                  </a:cubicBezTo>
                  <a:cubicBezTo>
                    <a:pt x="1" y="119"/>
                    <a:pt x="1" y="119"/>
                    <a:pt x="1" y="119"/>
                  </a:cubicBezTo>
                  <a:cubicBezTo>
                    <a:pt x="0" y="119"/>
                    <a:pt x="0" y="119"/>
                    <a:pt x="0" y="119"/>
                  </a:cubicBezTo>
                  <a:cubicBezTo>
                    <a:pt x="1" y="119"/>
                    <a:pt x="2" y="119"/>
                    <a:pt x="2" y="119"/>
                  </a:cubicBezTo>
                  <a:cubicBezTo>
                    <a:pt x="6" y="120"/>
                    <a:pt x="6" y="120"/>
                    <a:pt x="6" y="120"/>
                  </a:cubicBezTo>
                  <a:cubicBezTo>
                    <a:pt x="6" y="120"/>
                    <a:pt x="11" y="119"/>
                    <a:pt x="13" y="119"/>
                  </a:cubicBezTo>
                  <a:cubicBezTo>
                    <a:pt x="14" y="118"/>
                    <a:pt x="14" y="117"/>
                    <a:pt x="15" y="117"/>
                  </a:cubicBezTo>
                  <a:cubicBezTo>
                    <a:pt x="18" y="117"/>
                    <a:pt x="18" y="117"/>
                    <a:pt x="18" y="117"/>
                  </a:cubicBezTo>
                  <a:cubicBezTo>
                    <a:pt x="21" y="120"/>
                    <a:pt x="21" y="120"/>
                    <a:pt x="21" y="120"/>
                  </a:cubicBezTo>
                  <a:cubicBezTo>
                    <a:pt x="21" y="123"/>
                    <a:pt x="21" y="123"/>
                    <a:pt x="21" y="123"/>
                  </a:cubicBezTo>
                  <a:cubicBezTo>
                    <a:pt x="21" y="123"/>
                    <a:pt x="23" y="126"/>
                    <a:pt x="24" y="126"/>
                  </a:cubicBezTo>
                  <a:cubicBezTo>
                    <a:pt x="24" y="126"/>
                    <a:pt x="31" y="126"/>
                    <a:pt x="31" y="126"/>
                  </a:cubicBezTo>
                  <a:cubicBezTo>
                    <a:pt x="32" y="126"/>
                    <a:pt x="36" y="129"/>
                    <a:pt x="36" y="129"/>
                  </a:cubicBezTo>
                  <a:cubicBezTo>
                    <a:pt x="39" y="124"/>
                    <a:pt x="39" y="124"/>
                    <a:pt x="39" y="124"/>
                  </a:cubicBezTo>
                  <a:cubicBezTo>
                    <a:pt x="43" y="123"/>
                    <a:pt x="43" y="123"/>
                    <a:pt x="43" y="123"/>
                  </a:cubicBezTo>
                  <a:cubicBezTo>
                    <a:pt x="44" y="121"/>
                    <a:pt x="44" y="121"/>
                    <a:pt x="44" y="121"/>
                  </a:cubicBezTo>
                  <a:cubicBezTo>
                    <a:pt x="48" y="120"/>
                    <a:pt x="48" y="120"/>
                    <a:pt x="48" y="120"/>
                  </a:cubicBezTo>
                  <a:cubicBezTo>
                    <a:pt x="48" y="120"/>
                    <a:pt x="52" y="116"/>
                    <a:pt x="52" y="115"/>
                  </a:cubicBezTo>
                  <a:cubicBezTo>
                    <a:pt x="52" y="115"/>
                    <a:pt x="54" y="117"/>
                    <a:pt x="54" y="117"/>
                  </a:cubicBezTo>
                  <a:cubicBezTo>
                    <a:pt x="58" y="115"/>
                    <a:pt x="58" y="115"/>
                    <a:pt x="58" y="115"/>
                  </a:cubicBezTo>
                  <a:cubicBezTo>
                    <a:pt x="61" y="113"/>
                    <a:pt x="61" y="113"/>
                    <a:pt x="61" y="113"/>
                  </a:cubicBezTo>
                  <a:cubicBezTo>
                    <a:pt x="64" y="116"/>
                    <a:pt x="64" y="116"/>
                    <a:pt x="64" y="116"/>
                  </a:cubicBezTo>
                  <a:cubicBezTo>
                    <a:pt x="64" y="116"/>
                    <a:pt x="64" y="114"/>
                    <a:pt x="64" y="114"/>
                  </a:cubicBezTo>
                  <a:cubicBezTo>
                    <a:pt x="64" y="113"/>
                    <a:pt x="66" y="111"/>
                    <a:pt x="66" y="111"/>
                  </a:cubicBezTo>
                  <a:cubicBezTo>
                    <a:pt x="71" y="114"/>
                    <a:pt x="71" y="114"/>
                    <a:pt x="71" y="114"/>
                  </a:cubicBezTo>
                  <a:cubicBezTo>
                    <a:pt x="72" y="120"/>
                    <a:pt x="72" y="120"/>
                    <a:pt x="72" y="120"/>
                  </a:cubicBezTo>
                  <a:cubicBezTo>
                    <a:pt x="76" y="127"/>
                    <a:pt x="76" y="127"/>
                    <a:pt x="76" y="127"/>
                  </a:cubicBezTo>
                  <a:cubicBezTo>
                    <a:pt x="80" y="135"/>
                    <a:pt x="80" y="135"/>
                    <a:pt x="80" y="135"/>
                  </a:cubicBezTo>
                  <a:cubicBezTo>
                    <a:pt x="76" y="141"/>
                    <a:pt x="76" y="141"/>
                    <a:pt x="76" y="141"/>
                  </a:cubicBezTo>
                  <a:cubicBezTo>
                    <a:pt x="68" y="139"/>
                    <a:pt x="68" y="139"/>
                    <a:pt x="68" y="139"/>
                  </a:cubicBezTo>
                  <a:cubicBezTo>
                    <a:pt x="65" y="143"/>
                    <a:pt x="65" y="143"/>
                    <a:pt x="65" y="143"/>
                  </a:cubicBezTo>
                  <a:cubicBezTo>
                    <a:pt x="60" y="151"/>
                    <a:pt x="60" y="151"/>
                    <a:pt x="60" y="151"/>
                  </a:cubicBezTo>
                  <a:cubicBezTo>
                    <a:pt x="59" y="155"/>
                    <a:pt x="59" y="155"/>
                    <a:pt x="59" y="155"/>
                  </a:cubicBezTo>
                  <a:cubicBezTo>
                    <a:pt x="65" y="156"/>
                    <a:pt x="65" y="156"/>
                    <a:pt x="65" y="156"/>
                  </a:cubicBezTo>
                  <a:cubicBezTo>
                    <a:pt x="66" y="159"/>
                    <a:pt x="66" y="159"/>
                    <a:pt x="66" y="159"/>
                  </a:cubicBezTo>
                  <a:cubicBezTo>
                    <a:pt x="67" y="166"/>
                    <a:pt x="67" y="166"/>
                    <a:pt x="67" y="166"/>
                  </a:cubicBezTo>
                  <a:cubicBezTo>
                    <a:pt x="69" y="171"/>
                    <a:pt x="69" y="171"/>
                    <a:pt x="69" y="171"/>
                  </a:cubicBezTo>
                  <a:cubicBezTo>
                    <a:pt x="75" y="170"/>
                    <a:pt x="75" y="170"/>
                    <a:pt x="75" y="170"/>
                  </a:cubicBezTo>
                  <a:cubicBezTo>
                    <a:pt x="78" y="168"/>
                    <a:pt x="78" y="168"/>
                    <a:pt x="78" y="168"/>
                  </a:cubicBezTo>
                  <a:cubicBezTo>
                    <a:pt x="82" y="165"/>
                    <a:pt x="82" y="165"/>
                    <a:pt x="82" y="165"/>
                  </a:cubicBezTo>
                  <a:cubicBezTo>
                    <a:pt x="86" y="163"/>
                    <a:pt x="86" y="163"/>
                    <a:pt x="86" y="163"/>
                  </a:cubicBezTo>
                  <a:cubicBezTo>
                    <a:pt x="89" y="161"/>
                    <a:pt x="89" y="161"/>
                    <a:pt x="89" y="161"/>
                  </a:cubicBezTo>
                  <a:cubicBezTo>
                    <a:pt x="91" y="162"/>
                    <a:pt x="91" y="162"/>
                    <a:pt x="91" y="162"/>
                  </a:cubicBezTo>
                  <a:cubicBezTo>
                    <a:pt x="91" y="166"/>
                    <a:pt x="91" y="166"/>
                    <a:pt x="91" y="166"/>
                  </a:cubicBezTo>
                  <a:cubicBezTo>
                    <a:pt x="89" y="170"/>
                    <a:pt x="89" y="170"/>
                    <a:pt x="89" y="170"/>
                  </a:cubicBezTo>
                  <a:cubicBezTo>
                    <a:pt x="88" y="170"/>
                    <a:pt x="87" y="173"/>
                    <a:pt x="87" y="173"/>
                  </a:cubicBezTo>
                  <a:cubicBezTo>
                    <a:pt x="87" y="174"/>
                    <a:pt x="87" y="176"/>
                    <a:pt x="87" y="177"/>
                  </a:cubicBezTo>
                  <a:cubicBezTo>
                    <a:pt x="87" y="177"/>
                    <a:pt x="86" y="180"/>
                    <a:pt x="86" y="180"/>
                  </a:cubicBezTo>
                  <a:cubicBezTo>
                    <a:pt x="88" y="183"/>
                    <a:pt x="88" y="183"/>
                    <a:pt x="88" y="183"/>
                  </a:cubicBezTo>
                  <a:cubicBezTo>
                    <a:pt x="87" y="187"/>
                    <a:pt x="87" y="187"/>
                    <a:pt x="87" y="187"/>
                  </a:cubicBezTo>
                  <a:cubicBezTo>
                    <a:pt x="94" y="195"/>
                    <a:pt x="94" y="195"/>
                    <a:pt x="94" y="195"/>
                  </a:cubicBezTo>
                  <a:cubicBezTo>
                    <a:pt x="94" y="206"/>
                    <a:pt x="94" y="206"/>
                    <a:pt x="94" y="206"/>
                  </a:cubicBezTo>
                  <a:cubicBezTo>
                    <a:pt x="96" y="210"/>
                    <a:pt x="96" y="210"/>
                    <a:pt x="96" y="210"/>
                  </a:cubicBezTo>
                  <a:cubicBezTo>
                    <a:pt x="102" y="212"/>
                    <a:pt x="102" y="212"/>
                    <a:pt x="102" y="212"/>
                  </a:cubicBezTo>
                  <a:cubicBezTo>
                    <a:pt x="118" y="228"/>
                    <a:pt x="118" y="228"/>
                    <a:pt x="118" y="228"/>
                  </a:cubicBezTo>
                  <a:cubicBezTo>
                    <a:pt x="121" y="227"/>
                    <a:pt x="121" y="227"/>
                    <a:pt x="121" y="227"/>
                  </a:cubicBezTo>
                  <a:cubicBezTo>
                    <a:pt x="124" y="230"/>
                    <a:pt x="124" y="230"/>
                    <a:pt x="124" y="230"/>
                  </a:cubicBezTo>
                  <a:cubicBezTo>
                    <a:pt x="119" y="235"/>
                    <a:pt x="119" y="235"/>
                    <a:pt x="119" y="235"/>
                  </a:cubicBezTo>
                  <a:cubicBezTo>
                    <a:pt x="118" y="240"/>
                    <a:pt x="118" y="240"/>
                    <a:pt x="118" y="240"/>
                  </a:cubicBezTo>
                  <a:cubicBezTo>
                    <a:pt x="117" y="242"/>
                    <a:pt x="117" y="242"/>
                    <a:pt x="117" y="242"/>
                  </a:cubicBezTo>
                  <a:cubicBezTo>
                    <a:pt x="112" y="248"/>
                    <a:pt x="112" y="248"/>
                    <a:pt x="112" y="248"/>
                  </a:cubicBezTo>
                  <a:cubicBezTo>
                    <a:pt x="111" y="253"/>
                    <a:pt x="111" y="253"/>
                    <a:pt x="111" y="253"/>
                  </a:cubicBezTo>
                  <a:cubicBezTo>
                    <a:pt x="110" y="256"/>
                    <a:pt x="110" y="256"/>
                    <a:pt x="110" y="256"/>
                  </a:cubicBezTo>
                  <a:cubicBezTo>
                    <a:pt x="113" y="261"/>
                    <a:pt x="113" y="261"/>
                    <a:pt x="113" y="261"/>
                  </a:cubicBezTo>
                  <a:cubicBezTo>
                    <a:pt x="113" y="263"/>
                    <a:pt x="113" y="263"/>
                    <a:pt x="113" y="263"/>
                  </a:cubicBezTo>
                  <a:cubicBezTo>
                    <a:pt x="113" y="265"/>
                    <a:pt x="113" y="265"/>
                    <a:pt x="113" y="265"/>
                  </a:cubicBezTo>
                  <a:cubicBezTo>
                    <a:pt x="113" y="268"/>
                    <a:pt x="113" y="268"/>
                    <a:pt x="113" y="268"/>
                  </a:cubicBezTo>
                  <a:cubicBezTo>
                    <a:pt x="116" y="269"/>
                    <a:pt x="116" y="269"/>
                    <a:pt x="116" y="269"/>
                  </a:cubicBezTo>
                  <a:cubicBezTo>
                    <a:pt x="116" y="271"/>
                    <a:pt x="116" y="271"/>
                    <a:pt x="116" y="271"/>
                  </a:cubicBezTo>
                  <a:cubicBezTo>
                    <a:pt x="117" y="276"/>
                    <a:pt x="117" y="276"/>
                    <a:pt x="117" y="276"/>
                  </a:cubicBezTo>
                  <a:cubicBezTo>
                    <a:pt x="114" y="279"/>
                    <a:pt x="114" y="279"/>
                    <a:pt x="114" y="279"/>
                  </a:cubicBezTo>
                  <a:cubicBezTo>
                    <a:pt x="117" y="280"/>
                    <a:pt x="117" y="280"/>
                    <a:pt x="117" y="280"/>
                  </a:cubicBezTo>
                  <a:cubicBezTo>
                    <a:pt x="116" y="283"/>
                    <a:pt x="116" y="283"/>
                    <a:pt x="116" y="283"/>
                  </a:cubicBezTo>
                  <a:cubicBezTo>
                    <a:pt x="120" y="284"/>
                    <a:pt x="120" y="284"/>
                    <a:pt x="120" y="284"/>
                  </a:cubicBezTo>
                  <a:cubicBezTo>
                    <a:pt x="123" y="286"/>
                    <a:pt x="123" y="286"/>
                    <a:pt x="123" y="286"/>
                  </a:cubicBezTo>
                  <a:cubicBezTo>
                    <a:pt x="121" y="289"/>
                    <a:pt x="121" y="289"/>
                    <a:pt x="121" y="289"/>
                  </a:cubicBezTo>
                  <a:cubicBezTo>
                    <a:pt x="121" y="294"/>
                    <a:pt x="121" y="294"/>
                    <a:pt x="121" y="294"/>
                  </a:cubicBezTo>
                  <a:cubicBezTo>
                    <a:pt x="123" y="298"/>
                    <a:pt x="123" y="298"/>
                    <a:pt x="123" y="298"/>
                  </a:cubicBezTo>
                  <a:cubicBezTo>
                    <a:pt x="122" y="300"/>
                    <a:pt x="122" y="300"/>
                    <a:pt x="122" y="300"/>
                  </a:cubicBezTo>
                  <a:cubicBezTo>
                    <a:pt x="124" y="305"/>
                    <a:pt x="124" y="305"/>
                    <a:pt x="124" y="305"/>
                  </a:cubicBezTo>
                  <a:cubicBezTo>
                    <a:pt x="128" y="301"/>
                    <a:pt x="128" y="301"/>
                    <a:pt x="128" y="301"/>
                  </a:cubicBezTo>
                  <a:cubicBezTo>
                    <a:pt x="131" y="300"/>
                    <a:pt x="131" y="300"/>
                    <a:pt x="131" y="300"/>
                  </a:cubicBezTo>
                  <a:cubicBezTo>
                    <a:pt x="140" y="301"/>
                    <a:pt x="140" y="301"/>
                    <a:pt x="140" y="301"/>
                  </a:cubicBezTo>
                  <a:cubicBezTo>
                    <a:pt x="147" y="301"/>
                    <a:pt x="147" y="301"/>
                    <a:pt x="147" y="301"/>
                  </a:cubicBezTo>
                  <a:cubicBezTo>
                    <a:pt x="152" y="303"/>
                    <a:pt x="152" y="303"/>
                    <a:pt x="152" y="303"/>
                  </a:cubicBezTo>
                  <a:cubicBezTo>
                    <a:pt x="159" y="304"/>
                    <a:pt x="159" y="304"/>
                    <a:pt x="159" y="304"/>
                  </a:cubicBezTo>
                  <a:cubicBezTo>
                    <a:pt x="167" y="306"/>
                    <a:pt x="167" y="306"/>
                    <a:pt x="167" y="306"/>
                  </a:cubicBezTo>
                  <a:cubicBezTo>
                    <a:pt x="167" y="306"/>
                    <a:pt x="167" y="306"/>
                    <a:pt x="167" y="306"/>
                  </a:cubicBezTo>
                  <a:cubicBezTo>
                    <a:pt x="167" y="305"/>
                    <a:pt x="168" y="304"/>
                    <a:pt x="168" y="304"/>
                  </a:cubicBezTo>
                  <a:cubicBezTo>
                    <a:pt x="168" y="303"/>
                    <a:pt x="168" y="302"/>
                    <a:pt x="168" y="301"/>
                  </a:cubicBezTo>
                  <a:cubicBezTo>
                    <a:pt x="168" y="301"/>
                    <a:pt x="168" y="300"/>
                    <a:pt x="168" y="299"/>
                  </a:cubicBezTo>
                  <a:cubicBezTo>
                    <a:pt x="169" y="298"/>
                    <a:pt x="168" y="297"/>
                    <a:pt x="169" y="296"/>
                  </a:cubicBezTo>
                  <a:cubicBezTo>
                    <a:pt x="168" y="295"/>
                    <a:pt x="169" y="294"/>
                    <a:pt x="169" y="294"/>
                  </a:cubicBezTo>
                  <a:cubicBezTo>
                    <a:pt x="169" y="293"/>
                    <a:pt x="169" y="292"/>
                    <a:pt x="169" y="292"/>
                  </a:cubicBezTo>
                  <a:cubicBezTo>
                    <a:pt x="168" y="292"/>
                    <a:pt x="167" y="293"/>
                    <a:pt x="167" y="293"/>
                  </a:cubicBezTo>
                  <a:cubicBezTo>
                    <a:pt x="166" y="293"/>
                    <a:pt x="166" y="293"/>
                    <a:pt x="166" y="293"/>
                  </a:cubicBezTo>
                  <a:cubicBezTo>
                    <a:pt x="166" y="292"/>
                    <a:pt x="164" y="293"/>
                    <a:pt x="164" y="292"/>
                  </a:cubicBezTo>
                  <a:cubicBezTo>
                    <a:pt x="164" y="291"/>
                    <a:pt x="164" y="291"/>
                    <a:pt x="164" y="291"/>
                  </a:cubicBezTo>
                  <a:cubicBezTo>
                    <a:pt x="164" y="290"/>
                    <a:pt x="164" y="290"/>
                    <a:pt x="164" y="290"/>
                  </a:cubicBezTo>
                  <a:cubicBezTo>
                    <a:pt x="164" y="289"/>
                    <a:pt x="164" y="288"/>
                    <a:pt x="163" y="288"/>
                  </a:cubicBezTo>
                  <a:cubicBezTo>
                    <a:pt x="163" y="288"/>
                    <a:pt x="163" y="288"/>
                    <a:pt x="162" y="288"/>
                  </a:cubicBezTo>
                  <a:cubicBezTo>
                    <a:pt x="162" y="288"/>
                    <a:pt x="161" y="289"/>
                    <a:pt x="161" y="289"/>
                  </a:cubicBezTo>
                  <a:cubicBezTo>
                    <a:pt x="160" y="289"/>
                    <a:pt x="160" y="290"/>
                    <a:pt x="160" y="289"/>
                  </a:cubicBezTo>
                  <a:cubicBezTo>
                    <a:pt x="159" y="289"/>
                    <a:pt x="159" y="289"/>
                    <a:pt x="158" y="289"/>
                  </a:cubicBezTo>
                  <a:cubicBezTo>
                    <a:pt x="158" y="289"/>
                    <a:pt x="157" y="289"/>
                    <a:pt x="157" y="288"/>
                  </a:cubicBezTo>
                  <a:cubicBezTo>
                    <a:pt x="156" y="288"/>
                    <a:pt x="155" y="288"/>
                    <a:pt x="156" y="287"/>
                  </a:cubicBezTo>
                  <a:cubicBezTo>
                    <a:pt x="156" y="286"/>
                    <a:pt x="157" y="286"/>
                    <a:pt x="157" y="286"/>
                  </a:cubicBezTo>
                  <a:cubicBezTo>
                    <a:pt x="158" y="286"/>
                    <a:pt x="158" y="286"/>
                    <a:pt x="158" y="285"/>
                  </a:cubicBezTo>
                  <a:cubicBezTo>
                    <a:pt x="159" y="285"/>
                    <a:pt x="159" y="285"/>
                    <a:pt x="159" y="285"/>
                  </a:cubicBezTo>
                  <a:cubicBezTo>
                    <a:pt x="160" y="284"/>
                    <a:pt x="160" y="284"/>
                    <a:pt x="160" y="284"/>
                  </a:cubicBezTo>
                  <a:cubicBezTo>
                    <a:pt x="161" y="283"/>
                    <a:pt x="161" y="283"/>
                    <a:pt x="161" y="283"/>
                  </a:cubicBezTo>
                  <a:cubicBezTo>
                    <a:pt x="161" y="283"/>
                    <a:pt x="161" y="282"/>
                    <a:pt x="160" y="282"/>
                  </a:cubicBezTo>
                  <a:cubicBezTo>
                    <a:pt x="160" y="281"/>
                    <a:pt x="161" y="281"/>
                    <a:pt x="160" y="280"/>
                  </a:cubicBezTo>
                  <a:cubicBezTo>
                    <a:pt x="160" y="280"/>
                    <a:pt x="160" y="279"/>
                    <a:pt x="160" y="278"/>
                  </a:cubicBezTo>
                  <a:cubicBezTo>
                    <a:pt x="160" y="277"/>
                    <a:pt x="160" y="276"/>
                    <a:pt x="160" y="275"/>
                  </a:cubicBezTo>
                  <a:cubicBezTo>
                    <a:pt x="160" y="273"/>
                    <a:pt x="158" y="274"/>
                    <a:pt x="157" y="274"/>
                  </a:cubicBezTo>
                  <a:cubicBezTo>
                    <a:pt x="156" y="275"/>
                    <a:pt x="155" y="275"/>
                    <a:pt x="154" y="274"/>
                  </a:cubicBezTo>
                  <a:cubicBezTo>
                    <a:pt x="155" y="273"/>
                    <a:pt x="156" y="273"/>
                    <a:pt x="157" y="273"/>
                  </a:cubicBezTo>
                  <a:cubicBezTo>
                    <a:pt x="158" y="273"/>
                    <a:pt x="160" y="272"/>
                    <a:pt x="160" y="271"/>
                  </a:cubicBezTo>
                  <a:cubicBezTo>
                    <a:pt x="160" y="270"/>
                    <a:pt x="160" y="269"/>
                    <a:pt x="160" y="268"/>
                  </a:cubicBezTo>
                  <a:cubicBezTo>
                    <a:pt x="159" y="267"/>
                    <a:pt x="159" y="267"/>
                    <a:pt x="158" y="267"/>
                  </a:cubicBezTo>
                  <a:cubicBezTo>
                    <a:pt x="156" y="268"/>
                    <a:pt x="154" y="268"/>
                    <a:pt x="153" y="269"/>
                  </a:cubicBezTo>
                  <a:cubicBezTo>
                    <a:pt x="151" y="269"/>
                    <a:pt x="151" y="269"/>
                    <a:pt x="150" y="270"/>
                  </a:cubicBezTo>
                  <a:cubicBezTo>
                    <a:pt x="149" y="270"/>
                    <a:pt x="149" y="270"/>
                    <a:pt x="148" y="270"/>
                  </a:cubicBezTo>
                  <a:cubicBezTo>
                    <a:pt x="147" y="269"/>
                    <a:pt x="145" y="269"/>
                    <a:pt x="144" y="269"/>
                  </a:cubicBezTo>
                  <a:cubicBezTo>
                    <a:pt x="144" y="269"/>
                    <a:pt x="143" y="269"/>
                    <a:pt x="143" y="268"/>
                  </a:cubicBezTo>
                  <a:cubicBezTo>
                    <a:pt x="143" y="268"/>
                    <a:pt x="143" y="268"/>
                    <a:pt x="144" y="268"/>
                  </a:cubicBezTo>
                  <a:cubicBezTo>
                    <a:pt x="145" y="267"/>
                    <a:pt x="146" y="268"/>
                    <a:pt x="148" y="267"/>
                  </a:cubicBezTo>
                  <a:cubicBezTo>
                    <a:pt x="148" y="267"/>
                    <a:pt x="149" y="267"/>
                    <a:pt x="149" y="266"/>
                  </a:cubicBezTo>
                  <a:cubicBezTo>
                    <a:pt x="150" y="266"/>
                    <a:pt x="150" y="265"/>
                    <a:pt x="151" y="265"/>
                  </a:cubicBezTo>
                  <a:cubicBezTo>
                    <a:pt x="151" y="264"/>
                    <a:pt x="152" y="264"/>
                    <a:pt x="153" y="264"/>
                  </a:cubicBezTo>
                  <a:cubicBezTo>
                    <a:pt x="153" y="263"/>
                    <a:pt x="153" y="263"/>
                    <a:pt x="154" y="263"/>
                  </a:cubicBezTo>
                  <a:cubicBezTo>
                    <a:pt x="154" y="262"/>
                    <a:pt x="155" y="262"/>
                    <a:pt x="155" y="261"/>
                  </a:cubicBezTo>
                  <a:cubicBezTo>
                    <a:pt x="156" y="261"/>
                    <a:pt x="156" y="261"/>
                    <a:pt x="157" y="261"/>
                  </a:cubicBezTo>
                  <a:cubicBezTo>
                    <a:pt x="158" y="261"/>
                    <a:pt x="158" y="260"/>
                    <a:pt x="159" y="260"/>
                  </a:cubicBezTo>
                  <a:cubicBezTo>
                    <a:pt x="160" y="259"/>
                    <a:pt x="161" y="260"/>
                    <a:pt x="162" y="259"/>
                  </a:cubicBezTo>
                  <a:cubicBezTo>
                    <a:pt x="163" y="259"/>
                    <a:pt x="164" y="259"/>
                    <a:pt x="164" y="259"/>
                  </a:cubicBezTo>
                  <a:cubicBezTo>
                    <a:pt x="165" y="258"/>
                    <a:pt x="166" y="258"/>
                    <a:pt x="166" y="258"/>
                  </a:cubicBezTo>
                  <a:cubicBezTo>
                    <a:pt x="167" y="257"/>
                    <a:pt x="167" y="254"/>
                    <a:pt x="166" y="253"/>
                  </a:cubicBezTo>
                  <a:cubicBezTo>
                    <a:pt x="165" y="252"/>
                    <a:pt x="165" y="251"/>
                    <a:pt x="165" y="250"/>
                  </a:cubicBezTo>
                  <a:cubicBezTo>
                    <a:pt x="165" y="248"/>
                    <a:pt x="167" y="248"/>
                    <a:pt x="168" y="247"/>
                  </a:cubicBezTo>
                  <a:cubicBezTo>
                    <a:pt x="170" y="247"/>
                    <a:pt x="171" y="246"/>
                    <a:pt x="172" y="246"/>
                  </a:cubicBezTo>
                  <a:cubicBezTo>
                    <a:pt x="173" y="245"/>
                    <a:pt x="175" y="245"/>
                    <a:pt x="176" y="244"/>
                  </a:cubicBezTo>
                  <a:cubicBezTo>
                    <a:pt x="177" y="244"/>
                    <a:pt x="178" y="243"/>
                    <a:pt x="179" y="242"/>
                  </a:cubicBezTo>
                  <a:cubicBezTo>
                    <a:pt x="179" y="242"/>
                    <a:pt x="180" y="241"/>
                    <a:pt x="180" y="240"/>
                  </a:cubicBezTo>
                  <a:cubicBezTo>
                    <a:pt x="180" y="239"/>
                    <a:pt x="179" y="239"/>
                    <a:pt x="180" y="238"/>
                  </a:cubicBezTo>
                  <a:cubicBezTo>
                    <a:pt x="180" y="237"/>
                    <a:pt x="180" y="237"/>
                    <a:pt x="180" y="237"/>
                  </a:cubicBezTo>
                  <a:cubicBezTo>
                    <a:pt x="181" y="236"/>
                    <a:pt x="180" y="236"/>
                    <a:pt x="179" y="235"/>
                  </a:cubicBezTo>
                  <a:cubicBezTo>
                    <a:pt x="179" y="235"/>
                    <a:pt x="179" y="234"/>
                    <a:pt x="178" y="234"/>
                  </a:cubicBezTo>
                  <a:cubicBezTo>
                    <a:pt x="177" y="234"/>
                    <a:pt x="177" y="234"/>
                    <a:pt x="176" y="233"/>
                  </a:cubicBezTo>
                  <a:cubicBezTo>
                    <a:pt x="176" y="233"/>
                    <a:pt x="175" y="233"/>
                    <a:pt x="176" y="232"/>
                  </a:cubicBezTo>
                  <a:cubicBezTo>
                    <a:pt x="176" y="232"/>
                    <a:pt x="177" y="232"/>
                    <a:pt x="178" y="232"/>
                  </a:cubicBezTo>
                  <a:cubicBezTo>
                    <a:pt x="178" y="233"/>
                    <a:pt x="179" y="233"/>
                    <a:pt x="179" y="233"/>
                  </a:cubicBezTo>
                  <a:cubicBezTo>
                    <a:pt x="179" y="232"/>
                    <a:pt x="179" y="232"/>
                    <a:pt x="179" y="231"/>
                  </a:cubicBezTo>
                  <a:cubicBezTo>
                    <a:pt x="179" y="231"/>
                    <a:pt x="179" y="230"/>
                    <a:pt x="178" y="230"/>
                  </a:cubicBezTo>
                  <a:cubicBezTo>
                    <a:pt x="178" y="230"/>
                    <a:pt x="177" y="230"/>
                    <a:pt x="177" y="230"/>
                  </a:cubicBezTo>
                  <a:cubicBezTo>
                    <a:pt x="177" y="229"/>
                    <a:pt x="176" y="229"/>
                    <a:pt x="176" y="229"/>
                  </a:cubicBezTo>
                  <a:cubicBezTo>
                    <a:pt x="175" y="228"/>
                    <a:pt x="176" y="227"/>
                    <a:pt x="176" y="226"/>
                  </a:cubicBezTo>
                  <a:cubicBezTo>
                    <a:pt x="177" y="225"/>
                    <a:pt x="177" y="224"/>
                    <a:pt x="177" y="223"/>
                  </a:cubicBezTo>
                  <a:cubicBezTo>
                    <a:pt x="177" y="222"/>
                    <a:pt x="178" y="221"/>
                    <a:pt x="179" y="222"/>
                  </a:cubicBezTo>
                  <a:cubicBezTo>
                    <a:pt x="179" y="223"/>
                    <a:pt x="179" y="223"/>
                    <a:pt x="179" y="223"/>
                  </a:cubicBezTo>
                  <a:cubicBezTo>
                    <a:pt x="179" y="224"/>
                    <a:pt x="178" y="224"/>
                    <a:pt x="178" y="225"/>
                  </a:cubicBezTo>
                  <a:cubicBezTo>
                    <a:pt x="178" y="227"/>
                    <a:pt x="180" y="229"/>
                    <a:pt x="181" y="231"/>
                  </a:cubicBezTo>
                  <a:cubicBezTo>
                    <a:pt x="181" y="231"/>
                    <a:pt x="181" y="232"/>
                    <a:pt x="181" y="233"/>
                  </a:cubicBezTo>
                  <a:cubicBezTo>
                    <a:pt x="181" y="233"/>
                    <a:pt x="181" y="234"/>
                    <a:pt x="182" y="234"/>
                  </a:cubicBezTo>
                  <a:cubicBezTo>
                    <a:pt x="182" y="234"/>
                    <a:pt x="182" y="234"/>
                    <a:pt x="182" y="234"/>
                  </a:cubicBezTo>
                  <a:cubicBezTo>
                    <a:pt x="183" y="234"/>
                    <a:pt x="183" y="235"/>
                    <a:pt x="182" y="235"/>
                  </a:cubicBezTo>
                  <a:cubicBezTo>
                    <a:pt x="182" y="236"/>
                    <a:pt x="182" y="236"/>
                    <a:pt x="182" y="237"/>
                  </a:cubicBezTo>
                  <a:cubicBezTo>
                    <a:pt x="182" y="237"/>
                    <a:pt x="184" y="237"/>
                    <a:pt x="184" y="237"/>
                  </a:cubicBezTo>
                  <a:cubicBezTo>
                    <a:pt x="185" y="237"/>
                    <a:pt x="186" y="237"/>
                    <a:pt x="187" y="237"/>
                  </a:cubicBezTo>
                  <a:cubicBezTo>
                    <a:pt x="187" y="237"/>
                    <a:pt x="188" y="237"/>
                    <a:pt x="188" y="237"/>
                  </a:cubicBezTo>
                  <a:cubicBezTo>
                    <a:pt x="189" y="236"/>
                    <a:pt x="189" y="236"/>
                    <a:pt x="190" y="235"/>
                  </a:cubicBezTo>
                  <a:cubicBezTo>
                    <a:pt x="191" y="234"/>
                    <a:pt x="193" y="234"/>
                    <a:pt x="194" y="233"/>
                  </a:cubicBezTo>
                  <a:cubicBezTo>
                    <a:pt x="195" y="232"/>
                    <a:pt x="195" y="231"/>
                    <a:pt x="195" y="230"/>
                  </a:cubicBezTo>
                  <a:cubicBezTo>
                    <a:pt x="195" y="230"/>
                    <a:pt x="195" y="229"/>
                    <a:pt x="196" y="229"/>
                  </a:cubicBezTo>
                  <a:cubicBezTo>
                    <a:pt x="196" y="228"/>
                    <a:pt x="197" y="228"/>
                    <a:pt x="197" y="227"/>
                  </a:cubicBezTo>
                  <a:cubicBezTo>
                    <a:pt x="198" y="227"/>
                    <a:pt x="198" y="225"/>
                    <a:pt x="199" y="225"/>
                  </a:cubicBezTo>
                  <a:cubicBezTo>
                    <a:pt x="200" y="224"/>
                    <a:pt x="200" y="223"/>
                    <a:pt x="201" y="222"/>
                  </a:cubicBezTo>
                  <a:cubicBezTo>
                    <a:pt x="202" y="221"/>
                    <a:pt x="202" y="220"/>
                    <a:pt x="203" y="220"/>
                  </a:cubicBezTo>
                  <a:cubicBezTo>
                    <a:pt x="203" y="219"/>
                    <a:pt x="203" y="218"/>
                    <a:pt x="204" y="218"/>
                  </a:cubicBezTo>
                  <a:cubicBezTo>
                    <a:pt x="205" y="218"/>
                    <a:pt x="205" y="217"/>
                    <a:pt x="206" y="217"/>
                  </a:cubicBezTo>
                  <a:cubicBezTo>
                    <a:pt x="207" y="216"/>
                    <a:pt x="208" y="216"/>
                    <a:pt x="208" y="215"/>
                  </a:cubicBezTo>
                  <a:cubicBezTo>
                    <a:pt x="209" y="214"/>
                    <a:pt x="209" y="214"/>
                    <a:pt x="209" y="214"/>
                  </a:cubicBezTo>
                  <a:cubicBezTo>
                    <a:pt x="209" y="213"/>
                    <a:pt x="209" y="213"/>
                    <a:pt x="209" y="213"/>
                  </a:cubicBezTo>
                  <a:cubicBezTo>
                    <a:pt x="209" y="212"/>
                    <a:pt x="209" y="210"/>
                    <a:pt x="209" y="210"/>
                  </a:cubicBezTo>
                  <a:cubicBezTo>
                    <a:pt x="210" y="211"/>
                    <a:pt x="210" y="212"/>
                    <a:pt x="210" y="212"/>
                  </a:cubicBezTo>
                  <a:cubicBezTo>
                    <a:pt x="211" y="212"/>
                    <a:pt x="211" y="212"/>
                    <a:pt x="211" y="212"/>
                  </a:cubicBezTo>
                  <a:cubicBezTo>
                    <a:pt x="211" y="211"/>
                    <a:pt x="211" y="211"/>
                    <a:pt x="211" y="211"/>
                  </a:cubicBezTo>
                  <a:cubicBezTo>
                    <a:pt x="211" y="210"/>
                    <a:pt x="210" y="210"/>
                    <a:pt x="210" y="209"/>
                  </a:cubicBezTo>
                  <a:cubicBezTo>
                    <a:pt x="210" y="208"/>
                    <a:pt x="210" y="207"/>
                    <a:pt x="211" y="206"/>
                  </a:cubicBezTo>
                  <a:cubicBezTo>
                    <a:pt x="212" y="206"/>
                    <a:pt x="212" y="207"/>
                    <a:pt x="212" y="207"/>
                  </a:cubicBezTo>
                  <a:cubicBezTo>
                    <a:pt x="212" y="208"/>
                    <a:pt x="212" y="208"/>
                    <a:pt x="212" y="209"/>
                  </a:cubicBezTo>
                  <a:cubicBezTo>
                    <a:pt x="212" y="210"/>
                    <a:pt x="212" y="210"/>
                    <a:pt x="213" y="211"/>
                  </a:cubicBezTo>
                  <a:cubicBezTo>
                    <a:pt x="214" y="211"/>
                    <a:pt x="214" y="211"/>
                    <a:pt x="213" y="212"/>
                  </a:cubicBezTo>
                  <a:cubicBezTo>
                    <a:pt x="213" y="212"/>
                    <a:pt x="213" y="213"/>
                    <a:pt x="214" y="214"/>
                  </a:cubicBezTo>
                  <a:cubicBezTo>
                    <a:pt x="214" y="214"/>
                    <a:pt x="215" y="215"/>
                    <a:pt x="215" y="214"/>
                  </a:cubicBezTo>
                  <a:cubicBezTo>
                    <a:pt x="215" y="214"/>
                    <a:pt x="215" y="213"/>
                    <a:pt x="215" y="213"/>
                  </a:cubicBezTo>
                  <a:cubicBezTo>
                    <a:pt x="216" y="213"/>
                    <a:pt x="216" y="213"/>
                    <a:pt x="216" y="213"/>
                  </a:cubicBezTo>
                  <a:cubicBezTo>
                    <a:pt x="217" y="212"/>
                    <a:pt x="217" y="212"/>
                    <a:pt x="217" y="212"/>
                  </a:cubicBezTo>
                  <a:cubicBezTo>
                    <a:pt x="216" y="211"/>
                    <a:pt x="216" y="211"/>
                    <a:pt x="216" y="211"/>
                  </a:cubicBezTo>
                  <a:cubicBezTo>
                    <a:pt x="216" y="211"/>
                    <a:pt x="216" y="211"/>
                    <a:pt x="216" y="210"/>
                  </a:cubicBezTo>
                  <a:cubicBezTo>
                    <a:pt x="216" y="210"/>
                    <a:pt x="216" y="210"/>
                    <a:pt x="216" y="210"/>
                  </a:cubicBezTo>
                  <a:cubicBezTo>
                    <a:pt x="217" y="210"/>
                    <a:pt x="217" y="210"/>
                    <a:pt x="218" y="211"/>
                  </a:cubicBezTo>
                  <a:cubicBezTo>
                    <a:pt x="218" y="212"/>
                    <a:pt x="218" y="212"/>
                    <a:pt x="219" y="213"/>
                  </a:cubicBezTo>
                  <a:cubicBezTo>
                    <a:pt x="219" y="213"/>
                    <a:pt x="220" y="213"/>
                    <a:pt x="220" y="213"/>
                  </a:cubicBezTo>
                  <a:cubicBezTo>
                    <a:pt x="221" y="213"/>
                    <a:pt x="220" y="211"/>
                    <a:pt x="219" y="211"/>
                  </a:cubicBezTo>
                  <a:cubicBezTo>
                    <a:pt x="218" y="210"/>
                    <a:pt x="218" y="210"/>
                    <a:pt x="218" y="209"/>
                  </a:cubicBezTo>
                  <a:cubicBezTo>
                    <a:pt x="219" y="209"/>
                    <a:pt x="219" y="210"/>
                    <a:pt x="220" y="210"/>
                  </a:cubicBezTo>
                  <a:cubicBezTo>
                    <a:pt x="220" y="209"/>
                    <a:pt x="220" y="208"/>
                    <a:pt x="219" y="208"/>
                  </a:cubicBezTo>
                  <a:cubicBezTo>
                    <a:pt x="219" y="207"/>
                    <a:pt x="218" y="207"/>
                    <a:pt x="219" y="206"/>
                  </a:cubicBezTo>
                  <a:cubicBezTo>
                    <a:pt x="219" y="206"/>
                    <a:pt x="219" y="206"/>
                    <a:pt x="219" y="206"/>
                  </a:cubicBezTo>
                  <a:cubicBezTo>
                    <a:pt x="220" y="206"/>
                    <a:pt x="220" y="207"/>
                    <a:pt x="221" y="207"/>
                  </a:cubicBezTo>
                  <a:cubicBezTo>
                    <a:pt x="221" y="207"/>
                    <a:pt x="221" y="207"/>
                    <a:pt x="222" y="207"/>
                  </a:cubicBezTo>
                  <a:cubicBezTo>
                    <a:pt x="222" y="207"/>
                    <a:pt x="222" y="207"/>
                    <a:pt x="223" y="207"/>
                  </a:cubicBezTo>
                  <a:cubicBezTo>
                    <a:pt x="224" y="207"/>
                    <a:pt x="224" y="208"/>
                    <a:pt x="224" y="208"/>
                  </a:cubicBezTo>
                  <a:cubicBezTo>
                    <a:pt x="225" y="209"/>
                    <a:pt x="226" y="209"/>
                    <a:pt x="227" y="209"/>
                  </a:cubicBezTo>
                  <a:cubicBezTo>
                    <a:pt x="227" y="209"/>
                    <a:pt x="228" y="208"/>
                    <a:pt x="228" y="208"/>
                  </a:cubicBezTo>
                  <a:cubicBezTo>
                    <a:pt x="228" y="207"/>
                    <a:pt x="228" y="207"/>
                    <a:pt x="228" y="207"/>
                  </a:cubicBezTo>
                  <a:cubicBezTo>
                    <a:pt x="229" y="207"/>
                    <a:pt x="230" y="207"/>
                    <a:pt x="230" y="207"/>
                  </a:cubicBezTo>
                  <a:cubicBezTo>
                    <a:pt x="231" y="207"/>
                    <a:pt x="231" y="207"/>
                    <a:pt x="231" y="206"/>
                  </a:cubicBezTo>
                  <a:cubicBezTo>
                    <a:pt x="232" y="206"/>
                    <a:pt x="231" y="205"/>
                    <a:pt x="231" y="205"/>
                  </a:cubicBezTo>
                  <a:cubicBezTo>
                    <a:pt x="231" y="204"/>
                    <a:pt x="231" y="204"/>
                    <a:pt x="230" y="204"/>
                  </a:cubicBezTo>
                  <a:cubicBezTo>
                    <a:pt x="229" y="204"/>
                    <a:pt x="228" y="204"/>
                    <a:pt x="228" y="204"/>
                  </a:cubicBezTo>
                  <a:cubicBezTo>
                    <a:pt x="227" y="204"/>
                    <a:pt x="226" y="204"/>
                    <a:pt x="226" y="204"/>
                  </a:cubicBezTo>
                  <a:cubicBezTo>
                    <a:pt x="225" y="204"/>
                    <a:pt x="225" y="204"/>
                    <a:pt x="225" y="204"/>
                  </a:cubicBezTo>
                  <a:cubicBezTo>
                    <a:pt x="224" y="204"/>
                    <a:pt x="223" y="204"/>
                    <a:pt x="223" y="203"/>
                  </a:cubicBezTo>
                  <a:cubicBezTo>
                    <a:pt x="222" y="202"/>
                    <a:pt x="222" y="201"/>
                    <a:pt x="221" y="201"/>
                  </a:cubicBezTo>
                  <a:cubicBezTo>
                    <a:pt x="221" y="200"/>
                    <a:pt x="220" y="200"/>
                    <a:pt x="220" y="199"/>
                  </a:cubicBezTo>
                  <a:cubicBezTo>
                    <a:pt x="221" y="199"/>
                    <a:pt x="221" y="199"/>
                    <a:pt x="222" y="199"/>
                  </a:cubicBezTo>
                  <a:cubicBezTo>
                    <a:pt x="222" y="200"/>
                    <a:pt x="222" y="200"/>
                    <a:pt x="223" y="200"/>
                  </a:cubicBezTo>
                  <a:cubicBezTo>
                    <a:pt x="223" y="201"/>
                    <a:pt x="223" y="201"/>
                    <a:pt x="223" y="201"/>
                  </a:cubicBezTo>
                  <a:cubicBezTo>
                    <a:pt x="224" y="202"/>
                    <a:pt x="225" y="202"/>
                    <a:pt x="226" y="201"/>
                  </a:cubicBezTo>
                  <a:cubicBezTo>
                    <a:pt x="226" y="201"/>
                    <a:pt x="226" y="201"/>
                    <a:pt x="225" y="200"/>
                  </a:cubicBezTo>
                  <a:cubicBezTo>
                    <a:pt x="225" y="200"/>
                    <a:pt x="225" y="200"/>
                    <a:pt x="225" y="199"/>
                  </a:cubicBezTo>
                  <a:cubicBezTo>
                    <a:pt x="225" y="198"/>
                    <a:pt x="226" y="198"/>
                    <a:pt x="226" y="199"/>
                  </a:cubicBezTo>
                  <a:cubicBezTo>
                    <a:pt x="226" y="199"/>
                    <a:pt x="227" y="199"/>
                    <a:pt x="227" y="199"/>
                  </a:cubicBezTo>
                  <a:cubicBezTo>
                    <a:pt x="228" y="198"/>
                    <a:pt x="228" y="198"/>
                    <a:pt x="228" y="198"/>
                  </a:cubicBezTo>
                  <a:cubicBezTo>
                    <a:pt x="227" y="197"/>
                    <a:pt x="226" y="197"/>
                    <a:pt x="225" y="196"/>
                  </a:cubicBezTo>
                  <a:cubicBezTo>
                    <a:pt x="225" y="196"/>
                    <a:pt x="225" y="196"/>
                    <a:pt x="225" y="196"/>
                  </a:cubicBezTo>
                  <a:cubicBezTo>
                    <a:pt x="225" y="195"/>
                    <a:pt x="225" y="195"/>
                    <a:pt x="226" y="196"/>
                  </a:cubicBezTo>
                  <a:cubicBezTo>
                    <a:pt x="226" y="196"/>
                    <a:pt x="227" y="196"/>
                    <a:pt x="228" y="196"/>
                  </a:cubicBezTo>
                  <a:cubicBezTo>
                    <a:pt x="228" y="196"/>
                    <a:pt x="228" y="195"/>
                    <a:pt x="229" y="195"/>
                  </a:cubicBezTo>
                  <a:cubicBezTo>
                    <a:pt x="229" y="194"/>
                    <a:pt x="229" y="192"/>
                    <a:pt x="229" y="191"/>
                  </a:cubicBezTo>
                  <a:cubicBezTo>
                    <a:pt x="228" y="191"/>
                    <a:pt x="228" y="191"/>
                    <a:pt x="228" y="191"/>
                  </a:cubicBezTo>
                  <a:cubicBezTo>
                    <a:pt x="227" y="190"/>
                    <a:pt x="227" y="190"/>
                    <a:pt x="227" y="190"/>
                  </a:cubicBezTo>
                  <a:cubicBezTo>
                    <a:pt x="227" y="190"/>
                    <a:pt x="228" y="189"/>
                    <a:pt x="229" y="189"/>
                  </a:cubicBezTo>
                  <a:cubicBezTo>
                    <a:pt x="230" y="189"/>
                    <a:pt x="231" y="188"/>
                    <a:pt x="232" y="188"/>
                  </a:cubicBezTo>
                  <a:cubicBezTo>
                    <a:pt x="232" y="187"/>
                    <a:pt x="232" y="187"/>
                    <a:pt x="231" y="186"/>
                  </a:cubicBezTo>
                  <a:cubicBezTo>
                    <a:pt x="231" y="185"/>
                    <a:pt x="231" y="185"/>
                    <a:pt x="230" y="185"/>
                  </a:cubicBezTo>
                  <a:cubicBezTo>
                    <a:pt x="230" y="185"/>
                    <a:pt x="229" y="185"/>
                    <a:pt x="229" y="185"/>
                  </a:cubicBezTo>
                  <a:cubicBezTo>
                    <a:pt x="228" y="185"/>
                    <a:pt x="228" y="186"/>
                    <a:pt x="227" y="186"/>
                  </a:cubicBezTo>
                  <a:cubicBezTo>
                    <a:pt x="226" y="187"/>
                    <a:pt x="225" y="188"/>
                    <a:pt x="224" y="189"/>
                  </a:cubicBezTo>
                  <a:cubicBezTo>
                    <a:pt x="224" y="189"/>
                    <a:pt x="223" y="189"/>
                    <a:pt x="222" y="190"/>
                  </a:cubicBezTo>
                  <a:cubicBezTo>
                    <a:pt x="221" y="190"/>
                    <a:pt x="221" y="190"/>
                    <a:pt x="221" y="190"/>
                  </a:cubicBezTo>
                  <a:cubicBezTo>
                    <a:pt x="221" y="189"/>
                    <a:pt x="222" y="188"/>
                    <a:pt x="223" y="188"/>
                  </a:cubicBezTo>
                  <a:cubicBezTo>
                    <a:pt x="224" y="188"/>
                    <a:pt x="225" y="187"/>
                    <a:pt x="225" y="186"/>
                  </a:cubicBezTo>
                  <a:cubicBezTo>
                    <a:pt x="226" y="185"/>
                    <a:pt x="226" y="183"/>
                    <a:pt x="226" y="182"/>
                  </a:cubicBezTo>
                  <a:cubicBezTo>
                    <a:pt x="226" y="182"/>
                    <a:pt x="226" y="182"/>
                    <a:pt x="226" y="182"/>
                  </a:cubicBezTo>
                  <a:cubicBezTo>
                    <a:pt x="226" y="182"/>
                    <a:pt x="226" y="182"/>
                    <a:pt x="226" y="182"/>
                  </a:cubicBezTo>
                  <a:cubicBezTo>
                    <a:pt x="226" y="182"/>
                    <a:pt x="226" y="182"/>
                    <a:pt x="226" y="182"/>
                  </a:cubicBezTo>
                  <a:cubicBezTo>
                    <a:pt x="226" y="181"/>
                    <a:pt x="226" y="181"/>
                    <a:pt x="226" y="181"/>
                  </a:cubicBezTo>
                  <a:cubicBezTo>
                    <a:pt x="225" y="181"/>
                    <a:pt x="225" y="181"/>
                    <a:pt x="225" y="181"/>
                  </a:cubicBezTo>
                  <a:cubicBezTo>
                    <a:pt x="224" y="181"/>
                    <a:pt x="224" y="181"/>
                    <a:pt x="223" y="180"/>
                  </a:cubicBezTo>
                  <a:cubicBezTo>
                    <a:pt x="223" y="179"/>
                    <a:pt x="223" y="180"/>
                    <a:pt x="222" y="180"/>
                  </a:cubicBezTo>
                  <a:cubicBezTo>
                    <a:pt x="221" y="180"/>
                    <a:pt x="221" y="180"/>
                    <a:pt x="221" y="179"/>
                  </a:cubicBezTo>
                  <a:cubicBezTo>
                    <a:pt x="221" y="178"/>
                    <a:pt x="221" y="178"/>
                    <a:pt x="220" y="177"/>
                  </a:cubicBezTo>
                  <a:cubicBezTo>
                    <a:pt x="220" y="176"/>
                    <a:pt x="219" y="175"/>
                    <a:pt x="220" y="174"/>
                  </a:cubicBezTo>
                  <a:cubicBezTo>
                    <a:pt x="220" y="173"/>
                    <a:pt x="220" y="172"/>
                    <a:pt x="221" y="172"/>
                  </a:cubicBezTo>
                  <a:cubicBezTo>
                    <a:pt x="221" y="171"/>
                    <a:pt x="222" y="170"/>
                    <a:pt x="222" y="169"/>
                  </a:cubicBezTo>
                  <a:cubicBezTo>
                    <a:pt x="223" y="167"/>
                    <a:pt x="222" y="166"/>
                    <a:pt x="223" y="164"/>
                  </a:cubicBezTo>
                  <a:cubicBezTo>
                    <a:pt x="224" y="163"/>
                    <a:pt x="225" y="162"/>
                    <a:pt x="225" y="161"/>
                  </a:cubicBezTo>
                  <a:cubicBezTo>
                    <a:pt x="225" y="160"/>
                    <a:pt x="225" y="160"/>
                    <a:pt x="225" y="159"/>
                  </a:cubicBezTo>
                  <a:cubicBezTo>
                    <a:pt x="225" y="158"/>
                    <a:pt x="225" y="157"/>
                    <a:pt x="224" y="157"/>
                  </a:cubicBezTo>
                  <a:cubicBezTo>
                    <a:pt x="223" y="156"/>
                    <a:pt x="222" y="156"/>
                    <a:pt x="223" y="154"/>
                  </a:cubicBezTo>
                  <a:cubicBezTo>
                    <a:pt x="223" y="154"/>
                    <a:pt x="223" y="153"/>
                    <a:pt x="224" y="153"/>
                  </a:cubicBezTo>
                  <a:cubicBezTo>
                    <a:pt x="224" y="153"/>
                    <a:pt x="224" y="153"/>
                    <a:pt x="224" y="153"/>
                  </a:cubicBezTo>
                  <a:cubicBezTo>
                    <a:pt x="225" y="152"/>
                    <a:pt x="224" y="152"/>
                    <a:pt x="224" y="151"/>
                  </a:cubicBezTo>
                  <a:cubicBezTo>
                    <a:pt x="224" y="151"/>
                    <a:pt x="224" y="150"/>
                    <a:pt x="224" y="149"/>
                  </a:cubicBezTo>
                  <a:cubicBezTo>
                    <a:pt x="224" y="148"/>
                    <a:pt x="224" y="148"/>
                    <a:pt x="225" y="147"/>
                  </a:cubicBezTo>
                  <a:cubicBezTo>
                    <a:pt x="225" y="146"/>
                    <a:pt x="225" y="145"/>
                    <a:pt x="225" y="144"/>
                  </a:cubicBezTo>
                  <a:cubicBezTo>
                    <a:pt x="226" y="142"/>
                    <a:pt x="226" y="141"/>
                    <a:pt x="227" y="139"/>
                  </a:cubicBezTo>
                  <a:cubicBezTo>
                    <a:pt x="228" y="138"/>
                    <a:pt x="228" y="137"/>
                    <a:pt x="228" y="136"/>
                  </a:cubicBezTo>
                  <a:cubicBezTo>
                    <a:pt x="228" y="135"/>
                    <a:pt x="228" y="135"/>
                    <a:pt x="229" y="135"/>
                  </a:cubicBezTo>
                  <a:cubicBezTo>
                    <a:pt x="230" y="134"/>
                    <a:pt x="230" y="135"/>
                    <a:pt x="230" y="134"/>
                  </a:cubicBezTo>
                  <a:cubicBezTo>
                    <a:pt x="231" y="133"/>
                    <a:pt x="230" y="133"/>
                    <a:pt x="230" y="132"/>
                  </a:cubicBezTo>
                  <a:cubicBezTo>
                    <a:pt x="230" y="129"/>
                    <a:pt x="232" y="128"/>
                    <a:pt x="233" y="126"/>
                  </a:cubicBezTo>
                  <a:cubicBezTo>
                    <a:pt x="234" y="125"/>
                    <a:pt x="234" y="124"/>
                    <a:pt x="234" y="123"/>
                  </a:cubicBezTo>
                  <a:cubicBezTo>
                    <a:pt x="235" y="123"/>
                    <a:pt x="235" y="123"/>
                    <a:pt x="236" y="123"/>
                  </a:cubicBezTo>
                  <a:cubicBezTo>
                    <a:pt x="237" y="122"/>
                    <a:pt x="237" y="122"/>
                    <a:pt x="237" y="122"/>
                  </a:cubicBezTo>
                  <a:cubicBezTo>
                    <a:pt x="237" y="121"/>
                    <a:pt x="237" y="120"/>
                    <a:pt x="237" y="119"/>
                  </a:cubicBezTo>
                  <a:cubicBezTo>
                    <a:pt x="237" y="118"/>
                    <a:pt x="238" y="116"/>
                    <a:pt x="239" y="115"/>
                  </a:cubicBezTo>
                  <a:cubicBezTo>
                    <a:pt x="240" y="114"/>
                    <a:pt x="241" y="113"/>
                    <a:pt x="242" y="112"/>
                  </a:cubicBezTo>
                  <a:cubicBezTo>
                    <a:pt x="243" y="111"/>
                    <a:pt x="243" y="111"/>
                    <a:pt x="244" y="111"/>
                  </a:cubicBezTo>
                  <a:cubicBezTo>
                    <a:pt x="244" y="110"/>
                    <a:pt x="245" y="110"/>
                    <a:pt x="245" y="110"/>
                  </a:cubicBezTo>
                  <a:cubicBezTo>
                    <a:pt x="246" y="111"/>
                    <a:pt x="246" y="111"/>
                    <a:pt x="247" y="110"/>
                  </a:cubicBezTo>
                  <a:cubicBezTo>
                    <a:pt x="247" y="110"/>
                    <a:pt x="247" y="109"/>
                    <a:pt x="247" y="109"/>
                  </a:cubicBezTo>
                  <a:cubicBezTo>
                    <a:pt x="249" y="109"/>
                    <a:pt x="249" y="109"/>
                    <a:pt x="250" y="110"/>
                  </a:cubicBezTo>
                  <a:cubicBezTo>
                    <a:pt x="250" y="110"/>
                    <a:pt x="251" y="111"/>
                    <a:pt x="251" y="111"/>
                  </a:cubicBezTo>
                  <a:cubicBezTo>
                    <a:pt x="251" y="111"/>
                    <a:pt x="252" y="111"/>
                    <a:pt x="252" y="111"/>
                  </a:cubicBezTo>
                  <a:cubicBezTo>
                    <a:pt x="253" y="111"/>
                    <a:pt x="256" y="113"/>
                    <a:pt x="257" y="112"/>
                  </a:cubicBezTo>
                  <a:cubicBezTo>
                    <a:pt x="257" y="111"/>
                    <a:pt x="257" y="110"/>
                    <a:pt x="257" y="109"/>
                  </a:cubicBezTo>
                  <a:cubicBezTo>
                    <a:pt x="256" y="108"/>
                    <a:pt x="256" y="108"/>
                    <a:pt x="256" y="107"/>
                  </a:cubicBezTo>
                  <a:cubicBezTo>
                    <a:pt x="256" y="107"/>
                    <a:pt x="255" y="106"/>
                    <a:pt x="255" y="106"/>
                  </a:cubicBezTo>
                  <a:cubicBezTo>
                    <a:pt x="255" y="105"/>
                    <a:pt x="254" y="104"/>
                    <a:pt x="254" y="103"/>
                  </a:cubicBezTo>
                  <a:cubicBezTo>
                    <a:pt x="253" y="102"/>
                    <a:pt x="253" y="101"/>
                    <a:pt x="253" y="99"/>
                  </a:cubicBezTo>
                  <a:cubicBezTo>
                    <a:pt x="253" y="98"/>
                    <a:pt x="253" y="97"/>
                    <a:pt x="252" y="96"/>
                  </a:cubicBezTo>
                  <a:cubicBezTo>
                    <a:pt x="251" y="95"/>
                    <a:pt x="250" y="95"/>
                    <a:pt x="249" y="94"/>
                  </a:cubicBezTo>
                  <a:cubicBezTo>
                    <a:pt x="249" y="94"/>
                    <a:pt x="247" y="92"/>
                    <a:pt x="248" y="91"/>
                  </a:cubicBezTo>
                  <a:cubicBezTo>
                    <a:pt x="249" y="92"/>
                    <a:pt x="250" y="92"/>
                    <a:pt x="250" y="93"/>
                  </a:cubicBezTo>
                  <a:cubicBezTo>
                    <a:pt x="251" y="93"/>
                    <a:pt x="251" y="93"/>
                    <a:pt x="252" y="94"/>
                  </a:cubicBezTo>
                  <a:cubicBezTo>
                    <a:pt x="252" y="94"/>
                    <a:pt x="253" y="94"/>
                    <a:pt x="254" y="95"/>
                  </a:cubicBezTo>
                  <a:cubicBezTo>
                    <a:pt x="254" y="95"/>
                    <a:pt x="255" y="97"/>
                    <a:pt x="254" y="98"/>
                  </a:cubicBezTo>
                  <a:cubicBezTo>
                    <a:pt x="255" y="100"/>
                    <a:pt x="257" y="101"/>
                    <a:pt x="258" y="103"/>
                  </a:cubicBezTo>
                  <a:cubicBezTo>
                    <a:pt x="258" y="104"/>
                    <a:pt x="259" y="105"/>
                    <a:pt x="259" y="105"/>
                  </a:cubicBezTo>
                  <a:cubicBezTo>
                    <a:pt x="260" y="105"/>
                    <a:pt x="261" y="105"/>
                    <a:pt x="262" y="105"/>
                  </a:cubicBezTo>
                  <a:cubicBezTo>
                    <a:pt x="263" y="105"/>
                    <a:pt x="265" y="106"/>
                    <a:pt x="266" y="106"/>
                  </a:cubicBezTo>
                  <a:cubicBezTo>
                    <a:pt x="268" y="107"/>
                    <a:pt x="269" y="107"/>
                    <a:pt x="271" y="107"/>
                  </a:cubicBezTo>
                  <a:cubicBezTo>
                    <a:pt x="272" y="107"/>
                    <a:pt x="273" y="108"/>
                    <a:pt x="273" y="108"/>
                  </a:cubicBezTo>
                  <a:cubicBezTo>
                    <a:pt x="274" y="108"/>
                    <a:pt x="274" y="108"/>
                    <a:pt x="275" y="108"/>
                  </a:cubicBezTo>
                  <a:cubicBezTo>
                    <a:pt x="275" y="108"/>
                    <a:pt x="275" y="109"/>
                    <a:pt x="276" y="110"/>
                  </a:cubicBezTo>
                  <a:cubicBezTo>
                    <a:pt x="276" y="110"/>
                    <a:pt x="278" y="110"/>
                    <a:pt x="279" y="110"/>
                  </a:cubicBezTo>
                  <a:cubicBezTo>
                    <a:pt x="280" y="110"/>
                    <a:pt x="280" y="109"/>
                    <a:pt x="281" y="109"/>
                  </a:cubicBezTo>
                  <a:cubicBezTo>
                    <a:pt x="282" y="108"/>
                    <a:pt x="282" y="109"/>
                    <a:pt x="283" y="109"/>
                  </a:cubicBezTo>
                  <a:cubicBezTo>
                    <a:pt x="284" y="109"/>
                    <a:pt x="285" y="109"/>
                    <a:pt x="286" y="109"/>
                  </a:cubicBezTo>
                  <a:cubicBezTo>
                    <a:pt x="287" y="109"/>
                    <a:pt x="289" y="110"/>
                    <a:pt x="290" y="110"/>
                  </a:cubicBezTo>
                  <a:cubicBezTo>
                    <a:pt x="291" y="110"/>
                    <a:pt x="291" y="109"/>
                    <a:pt x="292" y="109"/>
                  </a:cubicBezTo>
                  <a:cubicBezTo>
                    <a:pt x="292" y="108"/>
                    <a:pt x="292" y="108"/>
                    <a:pt x="292" y="108"/>
                  </a:cubicBezTo>
                  <a:cubicBezTo>
                    <a:pt x="293" y="108"/>
                    <a:pt x="294" y="108"/>
                    <a:pt x="295" y="108"/>
                  </a:cubicBezTo>
                  <a:cubicBezTo>
                    <a:pt x="296" y="107"/>
                    <a:pt x="297" y="108"/>
                    <a:pt x="297" y="109"/>
                  </a:cubicBezTo>
                  <a:cubicBezTo>
                    <a:pt x="298" y="109"/>
                    <a:pt x="299" y="110"/>
                    <a:pt x="300" y="110"/>
                  </a:cubicBezTo>
                  <a:cubicBezTo>
                    <a:pt x="301" y="110"/>
                    <a:pt x="302" y="110"/>
                    <a:pt x="303" y="110"/>
                  </a:cubicBezTo>
                  <a:cubicBezTo>
                    <a:pt x="305" y="110"/>
                    <a:pt x="305" y="108"/>
                    <a:pt x="306" y="107"/>
                  </a:cubicBezTo>
                  <a:cubicBezTo>
                    <a:pt x="307" y="107"/>
                    <a:pt x="307" y="106"/>
                    <a:pt x="308" y="106"/>
                  </a:cubicBezTo>
                  <a:cubicBezTo>
                    <a:pt x="309" y="106"/>
                    <a:pt x="309" y="106"/>
                    <a:pt x="310" y="106"/>
                  </a:cubicBezTo>
                  <a:cubicBezTo>
                    <a:pt x="310" y="105"/>
                    <a:pt x="310" y="105"/>
                    <a:pt x="310" y="105"/>
                  </a:cubicBezTo>
                  <a:cubicBezTo>
                    <a:pt x="310" y="104"/>
                    <a:pt x="310" y="104"/>
                    <a:pt x="311" y="103"/>
                  </a:cubicBezTo>
                  <a:cubicBezTo>
                    <a:pt x="312" y="103"/>
                    <a:pt x="312" y="103"/>
                    <a:pt x="313" y="102"/>
                  </a:cubicBezTo>
                  <a:cubicBezTo>
                    <a:pt x="313" y="102"/>
                    <a:pt x="313" y="101"/>
                    <a:pt x="314" y="101"/>
                  </a:cubicBezTo>
                  <a:cubicBezTo>
                    <a:pt x="315" y="100"/>
                    <a:pt x="315" y="100"/>
                    <a:pt x="315" y="100"/>
                  </a:cubicBezTo>
                  <a:cubicBezTo>
                    <a:pt x="315" y="100"/>
                    <a:pt x="315" y="98"/>
                    <a:pt x="315" y="9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1" name="Freeform 66">
              <a:extLst>
                <a:ext uri="{FF2B5EF4-FFF2-40B4-BE49-F238E27FC236}">
                  <a16:creationId xmlns:a16="http://schemas.microsoft.com/office/drawing/2014/main" id="{2B2F078E-4EF6-5D5D-BC5E-4559CE2ECF08}"/>
                </a:ext>
              </a:extLst>
            </p:cNvPr>
            <p:cNvSpPr>
              <a:spLocks noEditPoints="1"/>
            </p:cNvSpPr>
            <p:nvPr/>
          </p:nvSpPr>
          <p:spPr bwMode="auto">
            <a:xfrm>
              <a:off x="6338888" y="3511550"/>
              <a:ext cx="963613" cy="1074737"/>
            </a:xfrm>
            <a:custGeom>
              <a:avLst/>
              <a:gdLst>
                <a:gd name="T0" fmla="*/ 214 w 253"/>
                <a:gd name="T1" fmla="*/ 156 h 282"/>
                <a:gd name="T2" fmla="*/ 228 w 253"/>
                <a:gd name="T3" fmla="*/ 163 h 282"/>
                <a:gd name="T4" fmla="*/ 241 w 253"/>
                <a:gd name="T5" fmla="*/ 157 h 282"/>
                <a:gd name="T6" fmla="*/ 247 w 253"/>
                <a:gd name="T7" fmla="*/ 171 h 282"/>
                <a:gd name="T8" fmla="*/ 231 w 253"/>
                <a:gd name="T9" fmla="*/ 178 h 282"/>
                <a:gd name="T10" fmla="*/ 227 w 253"/>
                <a:gd name="T11" fmla="*/ 171 h 282"/>
                <a:gd name="T12" fmla="*/ 136 w 253"/>
                <a:gd name="T13" fmla="*/ 117 h 282"/>
                <a:gd name="T14" fmla="*/ 158 w 253"/>
                <a:gd name="T15" fmla="*/ 108 h 282"/>
                <a:gd name="T16" fmla="*/ 160 w 253"/>
                <a:gd name="T17" fmla="*/ 103 h 282"/>
                <a:gd name="T18" fmla="*/ 144 w 253"/>
                <a:gd name="T19" fmla="*/ 108 h 282"/>
                <a:gd name="T20" fmla="*/ 222 w 253"/>
                <a:gd name="T21" fmla="*/ 198 h 282"/>
                <a:gd name="T22" fmla="*/ 238 w 253"/>
                <a:gd name="T23" fmla="*/ 189 h 282"/>
                <a:gd name="T24" fmla="*/ 253 w 253"/>
                <a:gd name="T25" fmla="*/ 183 h 282"/>
                <a:gd name="T26" fmla="*/ 246 w 253"/>
                <a:gd name="T27" fmla="*/ 186 h 282"/>
                <a:gd name="T28" fmla="*/ 125 w 253"/>
                <a:gd name="T29" fmla="*/ 31 h 282"/>
                <a:gd name="T30" fmla="*/ 168 w 253"/>
                <a:gd name="T31" fmla="*/ 20 h 282"/>
                <a:gd name="T32" fmla="*/ 145 w 253"/>
                <a:gd name="T33" fmla="*/ 16 h 282"/>
                <a:gd name="T34" fmla="*/ 116 w 253"/>
                <a:gd name="T35" fmla="*/ 6 h 282"/>
                <a:gd name="T36" fmla="*/ 87 w 253"/>
                <a:gd name="T37" fmla="*/ 1 h 282"/>
                <a:gd name="T38" fmla="*/ 81 w 253"/>
                <a:gd name="T39" fmla="*/ 20 h 282"/>
                <a:gd name="T40" fmla="*/ 62 w 253"/>
                <a:gd name="T41" fmla="*/ 34 h 282"/>
                <a:gd name="T42" fmla="*/ 52 w 253"/>
                <a:gd name="T43" fmla="*/ 23 h 282"/>
                <a:gd name="T44" fmla="*/ 27 w 253"/>
                <a:gd name="T45" fmla="*/ 56 h 282"/>
                <a:gd name="T46" fmla="*/ 26 w 253"/>
                <a:gd name="T47" fmla="*/ 83 h 282"/>
                <a:gd name="T48" fmla="*/ 17 w 253"/>
                <a:gd name="T49" fmla="*/ 91 h 282"/>
                <a:gd name="T50" fmla="*/ 21 w 253"/>
                <a:gd name="T51" fmla="*/ 131 h 282"/>
                <a:gd name="T52" fmla="*/ 8 w 253"/>
                <a:gd name="T53" fmla="*/ 146 h 282"/>
                <a:gd name="T54" fmla="*/ 2 w 253"/>
                <a:gd name="T55" fmla="*/ 167 h 282"/>
                <a:gd name="T56" fmla="*/ 23 w 253"/>
                <a:gd name="T57" fmla="*/ 190 h 282"/>
                <a:gd name="T58" fmla="*/ 44 w 253"/>
                <a:gd name="T59" fmla="*/ 206 h 282"/>
                <a:gd name="T60" fmla="*/ 94 w 253"/>
                <a:gd name="T61" fmla="*/ 220 h 282"/>
                <a:gd name="T62" fmla="*/ 137 w 253"/>
                <a:gd name="T63" fmla="*/ 236 h 282"/>
                <a:gd name="T64" fmla="*/ 140 w 253"/>
                <a:gd name="T65" fmla="*/ 261 h 282"/>
                <a:gd name="T66" fmla="*/ 166 w 253"/>
                <a:gd name="T67" fmla="*/ 271 h 282"/>
                <a:gd name="T68" fmla="*/ 184 w 253"/>
                <a:gd name="T69" fmla="*/ 277 h 282"/>
                <a:gd name="T70" fmla="*/ 171 w 253"/>
                <a:gd name="T71" fmla="*/ 259 h 282"/>
                <a:gd name="T72" fmla="*/ 157 w 253"/>
                <a:gd name="T73" fmla="*/ 248 h 282"/>
                <a:gd name="T74" fmla="*/ 147 w 253"/>
                <a:gd name="T75" fmla="*/ 228 h 282"/>
                <a:gd name="T76" fmla="*/ 131 w 253"/>
                <a:gd name="T77" fmla="*/ 216 h 282"/>
                <a:gd name="T78" fmla="*/ 118 w 253"/>
                <a:gd name="T79" fmla="*/ 203 h 282"/>
                <a:gd name="T80" fmla="*/ 117 w 253"/>
                <a:gd name="T81" fmla="*/ 192 h 282"/>
                <a:gd name="T82" fmla="*/ 134 w 253"/>
                <a:gd name="T83" fmla="*/ 202 h 282"/>
                <a:gd name="T84" fmla="*/ 173 w 253"/>
                <a:gd name="T85" fmla="*/ 177 h 282"/>
                <a:gd name="T86" fmla="*/ 193 w 253"/>
                <a:gd name="T87" fmla="*/ 158 h 282"/>
                <a:gd name="T88" fmla="*/ 213 w 253"/>
                <a:gd name="T89" fmla="*/ 138 h 282"/>
                <a:gd name="T90" fmla="*/ 235 w 253"/>
                <a:gd name="T91" fmla="*/ 146 h 282"/>
                <a:gd name="T92" fmla="*/ 240 w 253"/>
                <a:gd name="T93" fmla="*/ 122 h 282"/>
                <a:gd name="T94" fmla="*/ 210 w 253"/>
                <a:gd name="T95" fmla="*/ 121 h 282"/>
                <a:gd name="T96" fmla="*/ 214 w 253"/>
                <a:gd name="T97" fmla="*/ 128 h 282"/>
                <a:gd name="T98" fmla="*/ 186 w 253"/>
                <a:gd name="T99" fmla="*/ 129 h 282"/>
                <a:gd name="T100" fmla="*/ 161 w 253"/>
                <a:gd name="T101" fmla="*/ 140 h 282"/>
                <a:gd name="T102" fmla="*/ 135 w 253"/>
                <a:gd name="T103" fmla="*/ 134 h 282"/>
                <a:gd name="T104" fmla="*/ 119 w 253"/>
                <a:gd name="T105" fmla="*/ 143 h 282"/>
                <a:gd name="T106" fmla="*/ 102 w 253"/>
                <a:gd name="T107" fmla="*/ 168 h 282"/>
                <a:gd name="T108" fmla="*/ 84 w 253"/>
                <a:gd name="T109" fmla="*/ 166 h 282"/>
                <a:gd name="T110" fmla="*/ 69 w 253"/>
                <a:gd name="T111" fmla="*/ 156 h 282"/>
                <a:gd name="T112" fmla="*/ 55 w 253"/>
                <a:gd name="T113" fmla="*/ 140 h 282"/>
                <a:gd name="T114" fmla="*/ 37 w 253"/>
                <a:gd name="T115" fmla="*/ 118 h 282"/>
                <a:gd name="T116" fmla="*/ 39 w 253"/>
                <a:gd name="T117" fmla="*/ 83 h 282"/>
                <a:gd name="T118" fmla="*/ 62 w 253"/>
                <a:gd name="T119" fmla="*/ 53 h 282"/>
                <a:gd name="T120" fmla="*/ 91 w 253"/>
                <a:gd name="T121" fmla="*/ 58 h 282"/>
                <a:gd name="T122" fmla="*/ 110 w 253"/>
                <a:gd name="T123" fmla="*/ 5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82">
                  <a:moveTo>
                    <a:pt x="208" y="180"/>
                  </a:moveTo>
                  <a:cubicBezTo>
                    <a:pt x="207" y="178"/>
                    <a:pt x="207" y="177"/>
                    <a:pt x="206" y="176"/>
                  </a:cubicBezTo>
                  <a:cubicBezTo>
                    <a:pt x="206" y="174"/>
                    <a:pt x="204" y="173"/>
                    <a:pt x="203" y="172"/>
                  </a:cubicBezTo>
                  <a:cubicBezTo>
                    <a:pt x="203" y="171"/>
                    <a:pt x="204" y="169"/>
                    <a:pt x="204" y="167"/>
                  </a:cubicBezTo>
                  <a:cubicBezTo>
                    <a:pt x="204" y="165"/>
                    <a:pt x="204" y="163"/>
                    <a:pt x="205" y="162"/>
                  </a:cubicBezTo>
                  <a:cubicBezTo>
                    <a:pt x="206" y="160"/>
                    <a:pt x="208" y="159"/>
                    <a:pt x="209" y="158"/>
                  </a:cubicBezTo>
                  <a:cubicBezTo>
                    <a:pt x="210" y="157"/>
                    <a:pt x="210" y="155"/>
                    <a:pt x="211" y="155"/>
                  </a:cubicBezTo>
                  <a:cubicBezTo>
                    <a:pt x="212" y="154"/>
                    <a:pt x="213" y="155"/>
                    <a:pt x="214" y="156"/>
                  </a:cubicBezTo>
                  <a:cubicBezTo>
                    <a:pt x="215" y="156"/>
                    <a:pt x="216" y="156"/>
                    <a:pt x="217" y="155"/>
                  </a:cubicBezTo>
                  <a:cubicBezTo>
                    <a:pt x="218" y="154"/>
                    <a:pt x="220" y="154"/>
                    <a:pt x="221" y="154"/>
                  </a:cubicBezTo>
                  <a:cubicBezTo>
                    <a:pt x="223" y="154"/>
                    <a:pt x="223" y="155"/>
                    <a:pt x="224" y="155"/>
                  </a:cubicBezTo>
                  <a:cubicBezTo>
                    <a:pt x="226" y="156"/>
                    <a:pt x="226" y="155"/>
                    <a:pt x="226" y="154"/>
                  </a:cubicBezTo>
                  <a:cubicBezTo>
                    <a:pt x="227" y="152"/>
                    <a:pt x="230" y="156"/>
                    <a:pt x="230" y="157"/>
                  </a:cubicBezTo>
                  <a:cubicBezTo>
                    <a:pt x="231" y="158"/>
                    <a:pt x="231" y="159"/>
                    <a:pt x="229" y="160"/>
                  </a:cubicBezTo>
                  <a:cubicBezTo>
                    <a:pt x="228" y="161"/>
                    <a:pt x="229" y="160"/>
                    <a:pt x="228" y="161"/>
                  </a:cubicBezTo>
                  <a:cubicBezTo>
                    <a:pt x="228" y="162"/>
                    <a:pt x="228" y="162"/>
                    <a:pt x="228" y="163"/>
                  </a:cubicBezTo>
                  <a:cubicBezTo>
                    <a:pt x="229" y="164"/>
                    <a:pt x="230" y="165"/>
                    <a:pt x="231" y="166"/>
                  </a:cubicBezTo>
                  <a:cubicBezTo>
                    <a:pt x="231" y="167"/>
                    <a:pt x="231" y="168"/>
                    <a:pt x="232" y="167"/>
                  </a:cubicBezTo>
                  <a:cubicBezTo>
                    <a:pt x="233" y="166"/>
                    <a:pt x="233" y="166"/>
                    <a:pt x="233" y="166"/>
                  </a:cubicBezTo>
                  <a:cubicBezTo>
                    <a:pt x="233" y="166"/>
                    <a:pt x="233" y="166"/>
                    <a:pt x="233" y="166"/>
                  </a:cubicBezTo>
                  <a:cubicBezTo>
                    <a:pt x="234" y="165"/>
                    <a:pt x="233" y="164"/>
                    <a:pt x="234" y="163"/>
                  </a:cubicBezTo>
                  <a:cubicBezTo>
                    <a:pt x="234" y="162"/>
                    <a:pt x="235" y="162"/>
                    <a:pt x="236" y="162"/>
                  </a:cubicBezTo>
                  <a:cubicBezTo>
                    <a:pt x="237" y="161"/>
                    <a:pt x="238" y="159"/>
                    <a:pt x="239" y="158"/>
                  </a:cubicBezTo>
                  <a:cubicBezTo>
                    <a:pt x="239" y="158"/>
                    <a:pt x="240" y="157"/>
                    <a:pt x="241" y="157"/>
                  </a:cubicBezTo>
                  <a:cubicBezTo>
                    <a:pt x="242" y="158"/>
                    <a:pt x="241" y="158"/>
                    <a:pt x="242" y="158"/>
                  </a:cubicBezTo>
                  <a:cubicBezTo>
                    <a:pt x="242" y="159"/>
                    <a:pt x="242" y="159"/>
                    <a:pt x="242" y="159"/>
                  </a:cubicBezTo>
                  <a:cubicBezTo>
                    <a:pt x="243" y="159"/>
                    <a:pt x="243" y="159"/>
                    <a:pt x="243" y="158"/>
                  </a:cubicBezTo>
                  <a:cubicBezTo>
                    <a:pt x="244" y="158"/>
                    <a:pt x="245" y="158"/>
                    <a:pt x="246" y="159"/>
                  </a:cubicBezTo>
                  <a:cubicBezTo>
                    <a:pt x="246" y="160"/>
                    <a:pt x="247" y="161"/>
                    <a:pt x="248" y="161"/>
                  </a:cubicBezTo>
                  <a:cubicBezTo>
                    <a:pt x="249" y="161"/>
                    <a:pt x="250" y="160"/>
                    <a:pt x="251" y="161"/>
                  </a:cubicBezTo>
                  <a:cubicBezTo>
                    <a:pt x="251" y="162"/>
                    <a:pt x="250" y="163"/>
                    <a:pt x="250" y="164"/>
                  </a:cubicBezTo>
                  <a:cubicBezTo>
                    <a:pt x="249" y="166"/>
                    <a:pt x="249" y="169"/>
                    <a:pt x="247" y="171"/>
                  </a:cubicBezTo>
                  <a:cubicBezTo>
                    <a:pt x="247" y="171"/>
                    <a:pt x="246" y="172"/>
                    <a:pt x="245" y="172"/>
                  </a:cubicBezTo>
                  <a:cubicBezTo>
                    <a:pt x="245" y="173"/>
                    <a:pt x="245" y="173"/>
                    <a:pt x="244" y="174"/>
                  </a:cubicBezTo>
                  <a:cubicBezTo>
                    <a:pt x="244" y="175"/>
                    <a:pt x="242" y="176"/>
                    <a:pt x="241" y="175"/>
                  </a:cubicBezTo>
                  <a:cubicBezTo>
                    <a:pt x="238" y="174"/>
                    <a:pt x="238" y="170"/>
                    <a:pt x="235" y="168"/>
                  </a:cubicBezTo>
                  <a:cubicBezTo>
                    <a:pt x="234" y="169"/>
                    <a:pt x="234" y="170"/>
                    <a:pt x="233" y="171"/>
                  </a:cubicBezTo>
                  <a:cubicBezTo>
                    <a:pt x="232" y="171"/>
                    <a:pt x="232" y="171"/>
                    <a:pt x="231" y="172"/>
                  </a:cubicBezTo>
                  <a:cubicBezTo>
                    <a:pt x="231" y="172"/>
                    <a:pt x="231" y="173"/>
                    <a:pt x="231" y="174"/>
                  </a:cubicBezTo>
                  <a:cubicBezTo>
                    <a:pt x="231" y="176"/>
                    <a:pt x="231" y="177"/>
                    <a:pt x="231" y="178"/>
                  </a:cubicBezTo>
                  <a:cubicBezTo>
                    <a:pt x="231" y="180"/>
                    <a:pt x="232" y="181"/>
                    <a:pt x="232" y="183"/>
                  </a:cubicBezTo>
                  <a:cubicBezTo>
                    <a:pt x="230" y="183"/>
                    <a:pt x="231" y="181"/>
                    <a:pt x="229" y="181"/>
                  </a:cubicBezTo>
                  <a:cubicBezTo>
                    <a:pt x="229" y="181"/>
                    <a:pt x="228" y="181"/>
                    <a:pt x="228" y="182"/>
                  </a:cubicBezTo>
                  <a:cubicBezTo>
                    <a:pt x="226" y="182"/>
                    <a:pt x="226" y="182"/>
                    <a:pt x="226" y="182"/>
                  </a:cubicBezTo>
                  <a:cubicBezTo>
                    <a:pt x="226" y="182"/>
                    <a:pt x="226" y="182"/>
                    <a:pt x="225" y="181"/>
                  </a:cubicBezTo>
                  <a:cubicBezTo>
                    <a:pt x="225" y="181"/>
                    <a:pt x="224" y="181"/>
                    <a:pt x="223" y="180"/>
                  </a:cubicBezTo>
                  <a:cubicBezTo>
                    <a:pt x="221" y="178"/>
                    <a:pt x="224" y="177"/>
                    <a:pt x="225" y="176"/>
                  </a:cubicBezTo>
                  <a:cubicBezTo>
                    <a:pt x="227" y="175"/>
                    <a:pt x="227" y="173"/>
                    <a:pt x="227" y="171"/>
                  </a:cubicBezTo>
                  <a:cubicBezTo>
                    <a:pt x="226" y="169"/>
                    <a:pt x="226" y="166"/>
                    <a:pt x="226" y="164"/>
                  </a:cubicBezTo>
                  <a:cubicBezTo>
                    <a:pt x="225" y="163"/>
                    <a:pt x="224" y="161"/>
                    <a:pt x="223" y="162"/>
                  </a:cubicBezTo>
                  <a:cubicBezTo>
                    <a:pt x="222" y="163"/>
                    <a:pt x="222" y="165"/>
                    <a:pt x="221" y="166"/>
                  </a:cubicBezTo>
                  <a:cubicBezTo>
                    <a:pt x="220" y="167"/>
                    <a:pt x="219" y="168"/>
                    <a:pt x="219" y="170"/>
                  </a:cubicBezTo>
                  <a:cubicBezTo>
                    <a:pt x="218" y="171"/>
                    <a:pt x="218" y="172"/>
                    <a:pt x="217" y="173"/>
                  </a:cubicBezTo>
                  <a:cubicBezTo>
                    <a:pt x="216" y="175"/>
                    <a:pt x="215" y="176"/>
                    <a:pt x="214" y="177"/>
                  </a:cubicBezTo>
                  <a:cubicBezTo>
                    <a:pt x="212" y="178"/>
                    <a:pt x="211" y="180"/>
                    <a:pt x="208" y="180"/>
                  </a:cubicBezTo>
                  <a:close/>
                  <a:moveTo>
                    <a:pt x="136" y="117"/>
                  </a:moveTo>
                  <a:cubicBezTo>
                    <a:pt x="137" y="117"/>
                    <a:pt x="138" y="114"/>
                    <a:pt x="140" y="114"/>
                  </a:cubicBezTo>
                  <a:cubicBezTo>
                    <a:pt x="141" y="113"/>
                    <a:pt x="143" y="113"/>
                    <a:pt x="143" y="115"/>
                  </a:cubicBezTo>
                  <a:cubicBezTo>
                    <a:pt x="144" y="115"/>
                    <a:pt x="145" y="115"/>
                    <a:pt x="145" y="115"/>
                  </a:cubicBezTo>
                  <a:cubicBezTo>
                    <a:pt x="146" y="115"/>
                    <a:pt x="146" y="115"/>
                    <a:pt x="146" y="114"/>
                  </a:cubicBezTo>
                  <a:cubicBezTo>
                    <a:pt x="147" y="114"/>
                    <a:pt x="147" y="115"/>
                    <a:pt x="148" y="115"/>
                  </a:cubicBezTo>
                  <a:cubicBezTo>
                    <a:pt x="150" y="115"/>
                    <a:pt x="150" y="112"/>
                    <a:pt x="150" y="110"/>
                  </a:cubicBezTo>
                  <a:cubicBezTo>
                    <a:pt x="151" y="108"/>
                    <a:pt x="154" y="108"/>
                    <a:pt x="156" y="108"/>
                  </a:cubicBezTo>
                  <a:cubicBezTo>
                    <a:pt x="157" y="108"/>
                    <a:pt x="157" y="108"/>
                    <a:pt x="158" y="108"/>
                  </a:cubicBezTo>
                  <a:cubicBezTo>
                    <a:pt x="158" y="108"/>
                    <a:pt x="159" y="107"/>
                    <a:pt x="159" y="108"/>
                  </a:cubicBezTo>
                  <a:cubicBezTo>
                    <a:pt x="160" y="108"/>
                    <a:pt x="160" y="109"/>
                    <a:pt x="161" y="109"/>
                  </a:cubicBezTo>
                  <a:cubicBezTo>
                    <a:pt x="162" y="110"/>
                    <a:pt x="162" y="108"/>
                    <a:pt x="162" y="108"/>
                  </a:cubicBezTo>
                  <a:cubicBezTo>
                    <a:pt x="163" y="107"/>
                    <a:pt x="164" y="106"/>
                    <a:pt x="164" y="105"/>
                  </a:cubicBezTo>
                  <a:cubicBezTo>
                    <a:pt x="164" y="104"/>
                    <a:pt x="164" y="104"/>
                    <a:pt x="163" y="103"/>
                  </a:cubicBezTo>
                  <a:cubicBezTo>
                    <a:pt x="163" y="103"/>
                    <a:pt x="162" y="102"/>
                    <a:pt x="162" y="102"/>
                  </a:cubicBezTo>
                  <a:cubicBezTo>
                    <a:pt x="161" y="101"/>
                    <a:pt x="161" y="101"/>
                    <a:pt x="161" y="101"/>
                  </a:cubicBezTo>
                  <a:cubicBezTo>
                    <a:pt x="160" y="101"/>
                    <a:pt x="160" y="102"/>
                    <a:pt x="160" y="103"/>
                  </a:cubicBezTo>
                  <a:cubicBezTo>
                    <a:pt x="159" y="104"/>
                    <a:pt x="158" y="104"/>
                    <a:pt x="157" y="104"/>
                  </a:cubicBezTo>
                  <a:cubicBezTo>
                    <a:pt x="155" y="105"/>
                    <a:pt x="154" y="104"/>
                    <a:pt x="152" y="103"/>
                  </a:cubicBezTo>
                  <a:cubicBezTo>
                    <a:pt x="152" y="104"/>
                    <a:pt x="153" y="104"/>
                    <a:pt x="153" y="105"/>
                  </a:cubicBezTo>
                  <a:cubicBezTo>
                    <a:pt x="152" y="105"/>
                    <a:pt x="151" y="104"/>
                    <a:pt x="151" y="104"/>
                  </a:cubicBezTo>
                  <a:cubicBezTo>
                    <a:pt x="149" y="103"/>
                    <a:pt x="148" y="103"/>
                    <a:pt x="148" y="104"/>
                  </a:cubicBezTo>
                  <a:cubicBezTo>
                    <a:pt x="148" y="105"/>
                    <a:pt x="148" y="107"/>
                    <a:pt x="147" y="108"/>
                  </a:cubicBezTo>
                  <a:cubicBezTo>
                    <a:pt x="147" y="108"/>
                    <a:pt x="146" y="108"/>
                    <a:pt x="145" y="108"/>
                  </a:cubicBezTo>
                  <a:cubicBezTo>
                    <a:pt x="145" y="108"/>
                    <a:pt x="144" y="108"/>
                    <a:pt x="144" y="108"/>
                  </a:cubicBezTo>
                  <a:cubicBezTo>
                    <a:pt x="144" y="109"/>
                    <a:pt x="143" y="109"/>
                    <a:pt x="142" y="109"/>
                  </a:cubicBezTo>
                  <a:cubicBezTo>
                    <a:pt x="142" y="109"/>
                    <a:pt x="142" y="109"/>
                    <a:pt x="142" y="108"/>
                  </a:cubicBezTo>
                  <a:cubicBezTo>
                    <a:pt x="141" y="108"/>
                    <a:pt x="142" y="110"/>
                    <a:pt x="141" y="110"/>
                  </a:cubicBezTo>
                  <a:cubicBezTo>
                    <a:pt x="140" y="110"/>
                    <a:pt x="139" y="110"/>
                    <a:pt x="139" y="110"/>
                  </a:cubicBezTo>
                  <a:cubicBezTo>
                    <a:pt x="138" y="110"/>
                    <a:pt x="137" y="111"/>
                    <a:pt x="137" y="112"/>
                  </a:cubicBezTo>
                  <a:cubicBezTo>
                    <a:pt x="135" y="113"/>
                    <a:pt x="135" y="115"/>
                    <a:pt x="135" y="117"/>
                  </a:cubicBezTo>
                  <a:cubicBezTo>
                    <a:pt x="135" y="117"/>
                    <a:pt x="135" y="117"/>
                    <a:pt x="136" y="117"/>
                  </a:cubicBezTo>
                  <a:close/>
                  <a:moveTo>
                    <a:pt x="222" y="198"/>
                  </a:moveTo>
                  <a:cubicBezTo>
                    <a:pt x="223" y="197"/>
                    <a:pt x="223" y="197"/>
                    <a:pt x="224" y="197"/>
                  </a:cubicBezTo>
                  <a:cubicBezTo>
                    <a:pt x="225" y="196"/>
                    <a:pt x="225" y="194"/>
                    <a:pt x="225" y="193"/>
                  </a:cubicBezTo>
                  <a:cubicBezTo>
                    <a:pt x="225" y="191"/>
                    <a:pt x="224" y="189"/>
                    <a:pt x="222" y="190"/>
                  </a:cubicBezTo>
                  <a:cubicBezTo>
                    <a:pt x="221" y="191"/>
                    <a:pt x="221" y="192"/>
                    <a:pt x="221" y="194"/>
                  </a:cubicBezTo>
                  <a:cubicBezTo>
                    <a:pt x="220" y="195"/>
                    <a:pt x="219" y="197"/>
                    <a:pt x="220" y="199"/>
                  </a:cubicBezTo>
                  <a:cubicBezTo>
                    <a:pt x="221" y="199"/>
                    <a:pt x="222" y="199"/>
                    <a:pt x="222" y="198"/>
                  </a:cubicBezTo>
                  <a:close/>
                  <a:moveTo>
                    <a:pt x="236" y="190"/>
                  </a:moveTo>
                  <a:cubicBezTo>
                    <a:pt x="237" y="189"/>
                    <a:pt x="237" y="189"/>
                    <a:pt x="238" y="189"/>
                  </a:cubicBezTo>
                  <a:cubicBezTo>
                    <a:pt x="240" y="188"/>
                    <a:pt x="239" y="186"/>
                    <a:pt x="239" y="184"/>
                  </a:cubicBezTo>
                  <a:cubicBezTo>
                    <a:pt x="238" y="184"/>
                    <a:pt x="238" y="185"/>
                    <a:pt x="237" y="186"/>
                  </a:cubicBezTo>
                  <a:cubicBezTo>
                    <a:pt x="237" y="186"/>
                    <a:pt x="236" y="187"/>
                    <a:pt x="236" y="187"/>
                  </a:cubicBezTo>
                  <a:cubicBezTo>
                    <a:pt x="234" y="189"/>
                    <a:pt x="233" y="190"/>
                    <a:pt x="234" y="192"/>
                  </a:cubicBezTo>
                  <a:cubicBezTo>
                    <a:pt x="236" y="192"/>
                    <a:pt x="236" y="191"/>
                    <a:pt x="236" y="190"/>
                  </a:cubicBezTo>
                  <a:close/>
                  <a:moveTo>
                    <a:pt x="252" y="187"/>
                  </a:moveTo>
                  <a:cubicBezTo>
                    <a:pt x="253" y="186"/>
                    <a:pt x="253" y="186"/>
                    <a:pt x="253" y="185"/>
                  </a:cubicBezTo>
                  <a:cubicBezTo>
                    <a:pt x="253" y="185"/>
                    <a:pt x="253" y="184"/>
                    <a:pt x="253" y="183"/>
                  </a:cubicBezTo>
                  <a:cubicBezTo>
                    <a:pt x="253" y="182"/>
                    <a:pt x="253" y="180"/>
                    <a:pt x="252" y="180"/>
                  </a:cubicBezTo>
                  <a:cubicBezTo>
                    <a:pt x="251" y="180"/>
                    <a:pt x="250" y="180"/>
                    <a:pt x="250" y="179"/>
                  </a:cubicBezTo>
                  <a:cubicBezTo>
                    <a:pt x="250" y="179"/>
                    <a:pt x="250" y="178"/>
                    <a:pt x="250" y="177"/>
                  </a:cubicBezTo>
                  <a:cubicBezTo>
                    <a:pt x="250" y="176"/>
                    <a:pt x="250" y="175"/>
                    <a:pt x="250" y="174"/>
                  </a:cubicBezTo>
                  <a:cubicBezTo>
                    <a:pt x="249" y="173"/>
                    <a:pt x="248" y="174"/>
                    <a:pt x="247" y="175"/>
                  </a:cubicBezTo>
                  <a:cubicBezTo>
                    <a:pt x="247" y="175"/>
                    <a:pt x="246" y="176"/>
                    <a:pt x="246" y="177"/>
                  </a:cubicBezTo>
                  <a:cubicBezTo>
                    <a:pt x="246" y="179"/>
                    <a:pt x="246" y="179"/>
                    <a:pt x="246" y="180"/>
                  </a:cubicBezTo>
                  <a:cubicBezTo>
                    <a:pt x="247" y="182"/>
                    <a:pt x="245" y="184"/>
                    <a:pt x="246" y="186"/>
                  </a:cubicBezTo>
                  <a:cubicBezTo>
                    <a:pt x="248" y="189"/>
                    <a:pt x="251" y="187"/>
                    <a:pt x="252" y="187"/>
                  </a:cubicBezTo>
                  <a:close/>
                  <a:moveTo>
                    <a:pt x="116" y="51"/>
                  </a:moveTo>
                  <a:cubicBezTo>
                    <a:pt x="115" y="48"/>
                    <a:pt x="112" y="48"/>
                    <a:pt x="111" y="47"/>
                  </a:cubicBezTo>
                  <a:cubicBezTo>
                    <a:pt x="109" y="45"/>
                    <a:pt x="106" y="44"/>
                    <a:pt x="105" y="41"/>
                  </a:cubicBezTo>
                  <a:cubicBezTo>
                    <a:pt x="105" y="39"/>
                    <a:pt x="106" y="36"/>
                    <a:pt x="108" y="35"/>
                  </a:cubicBezTo>
                  <a:cubicBezTo>
                    <a:pt x="110" y="35"/>
                    <a:pt x="116" y="36"/>
                    <a:pt x="117" y="34"/>
                  </a:cubicBezTo>
                  <a:cubicBezTo>
                    <a:pt x="117" y="33"/>
                    <a:pt x="115" y="32"/>
                    <a:pt x="118" y="31"/>
                  </a:cubicBezTo>
                  <a:cubicBezTo>
                    <a:pt x="120" y="31"/>
                    <a:pt x="123" y="31"/>
                    <a:pt x="125" y="31"/>
                  </a:cubicBezTo>
                  <a:cubicBezTo>
                    <a:pt x="128" y="31"/>
                    <a:pt x="131" y="30"/>
                    <a:pt x="134" y="29"/>
                  </a:cubicBezTo>
                  <a:cubicBezTo>
                    <a:pt x="138" y="28"/>
                    <a:pt x="144" y="23"/>
                    <a:pt x="148" y="25"/>
                  </a:cubicBezTo>
                  <a:cubicBezTo>
                    <a:pt x="152" y="28"/>
                    <a:pt x="156" y="29"/>
                    <a:pt x="159" y="25"/>
                  </a:cubicBezTo>
                  <a:cubicBezTo>
                    <a:pt x="160" y="24"/>
                    <a:pt x="160" y="23"/>
                    <a:pt x="162" y="22"/>
                  </a:cubicBezTo>
                  <a:cubicBezTo>
                    <a:pt x="163" y="22"/>
                    <a:pt x="163" y="23"/>
                    <a:pt x="164" y="23"/>
                  </a:cubicBezTo>
                  <a:cubicBezTo>
                    <a:pt x="165" y="23"/>
                    <a:pt x="167" y="22"/>
                    <a:pt x="167" y="22"/>
                  </a:cubicBezTo>
                  <a:cubicBezTo>
                    <a:pt x="168" y="22"/>
                    <a:pt x="169" y="21"/>
                    <a:pt x="169" y="21"/>
                  </a:cubicBezTo>
                  <a:cubicBezTo>
                    <a:pt x="169" y="21"/>
                    <a:pt x="169" y="21"/>
                    <a:pt x="168" y="20"/>
                  </a:cubicBezTo>
                  <a:cubicBezTo>
                    <a:pt x="168" y="19"/>
                    <a:pt x="168" y="19"/>
                    <a:pt x="167" y="19"/>
                  </a:cubicBezTo>
                  <a:cubicBezTo>
                    <a:pt x="166" y="19"/>
                    <a:pt x="165" y="19"/>
                    <a:pt x="165" y="19"/>
                  </a:cubicBezTo>
                  <a:cubicBezTo>
                    <a:pt x="164" y="18"/>
                    <a:pt x="162" y="18"/>
                    <a:pt x="161" y="17"/>
                  </a:cubicBezTo>
                  <a:cubicBezTo>
                    <a:pt x="161" y="17"/>
                    <a:pt x="160" y="18"/>
                    <a:pt x="159" y="18"/>
                  </a:cubicBezTo>
                  <a:cubicBezTo>
                    <a:pt x="158" y="19"/>
                    <a:pt x="155" y="21"/>
                    <a:pt x="153" y="20"/>
                  </a:cubicBezTo>
                  <a:cubicBezTo>
                    <a:pt x="152" y="19"/>
                    <a:pt x="152" y="17"/>
                    <a:pt x="152" y="16"/>
                  </a:cubicBezTo>
                  <a:cubicBezTo>
                    <a:pt x="151" y="16"/>
                    <a:pt x="150" y="16"/>
                    <a:pt x="148" y="16"/>
                  </a:cubicBezTo>
                  <a:cubicBezTo>
                    <a:pt x="147" y="16"/>
                    <a:pt x="146" y="16"/>
                    <a:pt x="145" y="16"/>
                  </a:cubicBezTo>
                  <a:cubicBezTo>
                    <a:pt x="142" y="17"/>
                    <a:pt x="140" y="18"/>
                    <a:pt x="137" y="18"/>
                  </a:cubicBezTo>
                  <a:cubicBezTo>
                    <a:pt x="132" y="18"/>
                    <a:pt x="128" y="17"/>
                    <a:pt x="124" y="14"/>
                  </a:cubicBezTo>
                  <a:cubicBezTo>
                    <a:pt x="122" y="12"/>
                    <a:pt x="120" y="10"/>
                    <a:pt x="122" y="7"/>
                  </a:cubicBezTo>
                  <a:cubicBezTo>
                    <a:pt x="122" y="6"/>
                    <a:pt x="123" y="6"/>
                    <a:pt x="123" y="5"/>
                  </a:cubicBezTo>
                  <a:cubicBezTo>
                    <a:pt x="123" y="4"/>
                    <a:pt x="123" y="4"/>
                    <a:pt x="122" y="3"/>
                  </a:cubicBezTo>
                  <a:cubicBezTo>
                    <a:pt x="122" y="3"/>
                    <a:pt x="122" y="3"/>
                    <a:pt x="122" y="2"/>
                  </a:cubicBezTo>
                  <a:cubicBezTo>
                    <a:pt x="121" y="3"/>
                    <a:pt x="120" y="4"/>
                    <a:pt x="119" y="5"/>
                  </a:cubicBezTo>
                  <a:cubicBezTo>
                    <a:pt x="118" y="5"/>
                    <a:pt x="117" y="6"/>
                    <a:pt x="116" y="6"/>
                  </a:cubicBezTo>
                  <a:cubicBezTo>
                    <a:pt x="114" y="6"/>
                    <a:pt x="113" y="6"/>
                    <a:pt x="111" y="7"/>
                  </a:cubicBezTo>
                  <a:cubicBezTo>
                    <a:pt x="110" y="7"/>
                    <a:pt x="109" y="7"/>
                    <a:pt x="108" y="6"/>
                  </a:cubicBezTo>
                  <a:cubicBezTo>
                    <a:pt x="106" y="6"/>
                    <a:pt x="104" y="5"/>
                    <a:pt x="103" y="4"/>
                  </a:cubicBezTo>
                  <a:cubicBezTo>
                    <a:pt x="102" y="3"/>
                    <a:pt x="101" y="3"/>
                    <a:pt x="100" y="3"/>
                  </a:cubicBezTo>
                  <a:cubicBezTo>
                    <a:pt x="98" y="3"/>
                    <a:pt x="97" y="3"/>
                    <a:pt x="96" y="2"/>
                  </a:cubicBezTo>
                  <a:cubicBezTo>
                    <a:pt x="95" y="1"/>
                    <a:pt x="94" y="0"/>
                    <a:pt x="92" y="0"/>
                  </a:cubicBezTo>
                  <a:cubicBezTo>
                    <a:pt x="91" y="1"/>
                    <a:pt x="88" y="3"/>
                    <a:pt x="89" y="0"/>
                  </a:cubicBezTo>
                  <a:cubicBezTo>
                    <a:pt x="88" y="0"/>
                    <a:pt x="88" y="1"/>
                    <a:pt x="87" y="1"/>
                  </a:cubicBezTo>
                  <a:cubicBezTo>
                    <a:pt x="86" y="2"/>
                    <a:pt x="85" y="2"/>
                    <a:pt x="84" y="2"/>
                  </a:cubicBezTo>
                  <a:cubicBezTo>
                    <a:pt x="83" y="2"/>
                    <a:pt x="83" y="4"/>
                    <a:pt x="83" y="5"/>
                  </a:cubicBezTo>
                  <a:cubicBezTo>
                    <a:pt x="83" y="6"/>
                    <a:pt x="83" y="7"/>
                    <a:pt x="83" y="7"/>
                  </a:cubicBezTo>
                  <a:cubicBezTo>
                    <a:pt x="83" y="8"/>
                    <a:pt x="84" y="9"/>
                    <a:pt x="84" y="10"/>
                  </a:cubicBezTo>
                  <a:cubicBezTo>
                    <a:pt x="84" y="11"/>
                    <a:pt x="82" y="11"/>
                    <a:pt x="81" y="13"/>
                  </a:cubicBezTo>
                  <a:cubicBezTo>
                    <a:pt x="81" y="14"/>
                    <a:pt x="81" y="15"/>
                    <a:pt x="82" y="16"/>
                  </a:cubicBezTo>
                  <a:cubicBezTo>
                    <a:pt x="82" y="17"/>
                    <a:pt x="83" y="17"/>
                    <a:pt x="83" y="18"/>
                  </a:cubicBezTo>
                  <a:cubicBezTo>
                    <a:pt x="83" y="19"/>
                    <a:pt x="82" y="20"/>
                    <a:pt x="81" y="20"/>
                  </a:cubicBezTo>
                  <a:cubicBezTo>
                    <a:pt x="80" y="21"/>
                    <a:pt x="79" y="22"/>
                    <a:pt x="78" y="23"/>
                  </a:cubicBezTo>
                  <a:cubicBezTo>
                    <a:pt x="77" y="24"/>
                    <a:pt x="75" y="24"/>
                    <a:pt x="74" y="25"/>
                  </a:cubicBezTo>
                  <a:cubicBezTo>
                    <a:pt x="73" y="26"/>
                    <a:pt x="70" y="28"/>
                    <a:pt x="71" y="30"/>
                  </a:cubicBezTo>
                  <a:cubicBezTo>
                    <a:pt x="71" y="31"/>
                    <a:pt x="71" y="32"/>
                    <a:pt x="71" y="33"/>
                  </a:cubicBezTo>
                  <a:cubicBezTo>
                    <a:pt x="70" y="34"/>
                    <a:pt x="69" y="34"/>
                    <a:pt x="69" y="35"/>
                  </a:cubicBezTo>
                  <a:cubicBezTo>
                    <a:pt x="69" y="36"/>
                    <a:pt x="68" y="36"/>
                    <a:pt x="67" y="36"/>
                  </a:cubicBezTo>
                  <a:cubicBezTo>
                    <a:pt x="67" y="36"/>
                    <a:pt x="66" y="35"/>
                    <a:pt x="66" y="34"/>
                  </a:cubicBezTo>
                  <a:cubicBezTo>
                    <a:pt x="65" y="33"/>
                    <a:pt x="64" y="34"/>
                    <a:pt x="62" y="34"/>
                  </a:cubicBezTo>
                  <a:cubicBezTo>
                    <a:pt x="61" y="34"/>
                    <a:pt x="60" y="34"/>
                    <a:pt x="58" y="34"/>
                  </a:cubicBezTo>
                  <a:cubicBezTo>
                    <a:pt x="58" y="33"/>
                    <a:pt x="57" y="33"/>
                    <a:pt x="57" y="32"/>
                  </a:cubicBezTo>
                  <a:cubicBezTo>
                    <a:pt x="56" y="32"/>
                    <a:pt x="56" y="31"/>
                    <a:pt x="56" y="31"/>
                  </a:cubicBezTo>
                  <a:cubicBezTo>
                    <a:pt x="55" y="32"/>
                    <a:pt x="54" y="31"/>
                    <a:pt x="53" y="30"/>
                  </a:cubicBezTo>
                  <a:cubicBezTo>
                    <a:pt x="53" y="30"/>
                    <a:pt x="54" y="29"/>
                    <a:pt x="54" y="28"/>
                  </a:cubicBezTo>
                  <a:cubicBezTo>
                    <a:pt x="55" y="27"/>
                    <a:pt x="54" y="26"/>
                    <a:pt x="54" y="25"/>
                  </a:cubicBezTo>
                  <a:cubicBezTo>
                    <a:pt x="54" y="24"/>
                    <a:pt x="55" y="23"/>
                    <a:pt x="54" y="23"/>
                  </a:cubicBezTo>
                  <a:cubicBezTo>
                    <a:pt x="54" y="22"/>
                    <a:pt x="52" y="23"/>
                    <a:pt x="52" y="23"/>
                  </a:cubicBezTo>
                  <a:cubicBezTo>
                    <a:pt x="50" y="23"/>
                    <a:pt x="49" y="23"/>
                    <a:pt x="49" y="25"/>
                  </a:cubicBezTo>
                  <a:cubicBezTo>
                    <a:pt x="49" y="27"/>
                    <a:pt x="48" y="29"/>
                    <a:pt x="48" y="30"/>
                  </a:cubicBezTo>
                  <a:cubicBezTo>
                    <a:pt x="48" y="30"/>
                    <a:pt x="48" y="30"/>
                    <a:pt x="48" y="30"/>
                  </a:cubicBezTo>
                  <a:cubicBezTo>
                    <a:pt x="48" y="31"/>
                    <a:pt x="49" y="32"/>
                    <a:pt x="48" y="32"/>
                  </a:cubicBezTo>
                  <a:cubicBezTo>
                    <a:pt x="48" y="36"/>
                    <a:pt x="44" y="36"/>
                    <a:pt x="42" y="36"/>
                  </a:cubicBezTo>
                  <a:cubicBezTo>
                    <a:pt x="38" y="36"/>
                    <a:pt x="36" y="38"/>
                    <a:pt x="35" y="42"/>
                  </a:cubicBezTo>
                  <a:cubicBezTo>
                    <a:pt x="35" y="45"/>
                    <a:pt x="39" y="51"/>
                    <a:pt x="34" y="53"/>
                  </a:cubicBezTo>
                  <a:cubicBezTo>
                    <a:pt x="32" y="54"/>
                    <a:pt x="26" y="52"/>
                    <a:pt x="27" y="56"/>
                  </a:cubicBezTo>
                  <a:cubicBezTo>
                    <a:pt x="27" y="58"/>
                    <a:pt x="27" y="58"/>
                    <a:pt x="25" y="59"/>
                  </a:cubicBezTo>
                  <a:cubicBezTo>
                    <a:pt x="24" y="60"/>
                    <a:pt x="24" y="61"/>
                    <a:pt x="25" y="63"/>
                  </a:cubicBezTo>
                  <a:cubicBezTo>
                    <a:pt x="26" y="64"/>
                    <a:pt x="30" y="66"/>
                    <a:pt x="28" y="69"/>
                  </a:cubicBezTo>
                  <a:cubicBezTo>
                    <a:pt x="27" y="70"/>
                    <a:pt x="24" y="69"/>
                    <a:pt x="23" y="69"/>
                  </a:cubicBezTo>
                  <a:cubicBezTo>
                    <a:pt x="22" y="68"/>
                    <a:pt x="21" y="68"/>
                    <a:pt x="20" y="69"/>
                  </a:cubicBezTo>
                  <a:cubicBezTo>
                    <a:pt x="20" y="70"/>
                    <a:pt x="21" y="71"/>
                    <a:pt x="21" y="72"/>
                  </a:cubicBezTo>
                  <a:cubicBezTo>
                    <a:pt x="23" y="74"/>
                    <a:pt x="24" y="75"/>
                    <a:pt x="25" y="77"/>
                  </a:cubicBezTo>
                  <a:cubicBezTo>
                    <a:pt x="26" y="79"/>
                    <a:pt x="27" y="81"/>
                    <a:pt x="26" y="83"/>
                  </a:cubicBezTo>
                  <a:cubicBezTo>
                    <a:pt x="26" y="84"/>
                    <a:pt x="25" y="85"/>
                    <a:pt x="25" y="86"/>
                  </a:cubicBezTo>
                  <a:cubicBezTo>
                    <a:pt x="24" y="86"/>
                    <a:pt x="24" y="87"/>
                    <a:pt x="24" y="87"/>
                  </a:cubicBezTo>
                  <a:cubicBezTo>
                    <a:pt x="21" y="91"/>
                    <a:pt x="19" y="87"/>
                    <a:pt x="17" y="85"/>
                  </a:cubicBezTo>
                  <a:cubicBezTo>
                    <a:pt x="17" y="84"/>
                    <a:pt x="15" y="81"/>
                    <a:pt x="14" y="82"/>
                  </a:cubicBezTo>
                  <a:cubicBezTo>
                    <a:pt x="14" y="82"/>
                    <a:pt x="13" y="83"/>
                    <a:pt x="12" y="83"/>
                  </a:cubicBezTo>
                  <a:cubicBezTo>
                    <a:pt x="12" y="83"/>
                    <a:pt x="11" y="82"/>
                    <a:pt x="10" y="83"/>
                  </a:cubicBezTo>
                  <a:cubicBezTo>
                    <a:pt x="10" y="84"/>
                    <a:pt x="11" y="85"/>
                    <a:pt x="12" y="86"/>
                  </a:cubicBezTo>
                  <a:cubicBezTo>
                    <a:pt x="13" y="88"/>
                    <a:pt x="14" y="91"/>
                    <a:pt x="17" y="91"/>
                  </a:cubicBezTo>
                  <a:cubicBezTo>
                    <a:pt x="19" y="91"/>
                    <a:pt x="21" y="89"/>
                    <a:pt x="22" y="92"/>
                  </a:cubicBezTo>
                  <a:cubicBezTo>
                    <a:pt x="22" y="94"/>
                    <a:pt x="21" y="96"/>
                    <a:pt x="21" y="98"/>
                  </a:cubicBezTo>
                  <a:cubicBezTo>
                    <a:pt x="20" y="100"/>
                    <a:pt x="20" y="102"/>
                    <a:pt x="20" y="105"/>
                  </a:cubicBezTo>
                  <a:cubicBezTo>
                    <a:pt x="19" y="110"/>
                    <a:pt x="19" y="115"/>
                    <a:pt x="21" y="120"/>
                  </a:cubicBezTo>
                  <a:cubicBezTo>
                    <a:pt x="22" y="123"/>
                    <a:pt x="23" y="124"/>
                    <a:pt x="24" y="126"/>
                  </a:cubicBezTo>
                  <a:cubicBezTo>
                    <a:pt x="25" y="128"/>
                    <a:pt x="25" y="130"/>
                    <a:pt x="26" y="132"/>
                  </a:cubicBezTo>
                  <a:cubicBezTo>
                    <a:pt x="26" y="133"/>
                    <a:pt x="26" y="136"/>
                    <a:pt x="24" y="135"/>
                  </a:cubicBezTo>
                  <a:cubicBezTo>
                    <a:pt x="23" y="135"/>
                    <a:pt x="22" y="132"/>
                    <a:pt x="21" y="131"/>
                  </a:cubicBezTo>
                  <a:cubicBezTo>
                    <a:pt x="20" y="129"/>
                    <a:pt x="19" y="123"/>
                    <a:pt x="16" y="123"/>
                  </a:cubicBezTo>
                  <a:cubicBezTo>
                    <a:pt x="16" y="123"/>
                    <a:pt x="14" y="124"/>
                    <a:pt x="14" y="124"/>
                  </a:cubicBezTo>
                  <a:cubicBezTo>
                    <a:pt x="13" y="125"/>
                    <a:pt x="14" y="126"/>
                    <a:pt x="15" y="127"/>
                  </a:cubicBezTo>
                  <a:cubicBezTo>
                    <a:pt x="15" y="130"/>
                    <a:pt x="13" y="129"/>
                    <a:pt x="11" y="130"/>
                  </a:cubicBezTo>
                  <a:cubicBezTo>
                    <a:pt x="9" y="131"/>
                    <a:pt x="10" y="133"/>
                    <a:pt x="9" y="134"/>
                  </a:cubicBezTo>
                  <a:cubicBezTo>
                    <a:pt x="8" y="134"/>
                    <a:pt x="8" y="134"/>
                    <a:pt x="7" y="134"/>
                  </a:cubicBezTo>
                  <a:cubicBezTo>
                    <a:pt x="7" y="144"/>
                    <a:pt x="7" y="144"/>
                    <a:pt x="7" y="144"/>
                  </a:cubicBezTo>
                  <a:cubicBezTo>
                    <a:pt x="8" y="146"/>
                    <a:pt x="8" y="146"/>
                    <a:pt x="8" y="146"/>
                  </a:cubicBezTo>
                  <a:cubicBezTo>
                    <a:pt x="9" y="151"/>
                    <a:pt x="9" y="151"/>
                    <a:pt x="9" y="151"/>
                  </a:cubicBezTo>
                  <a:cubicBezTo>
                    <a:pt x="8" y="152"/>
                    <a:pt x="8" y="152"/>
                    <a:pt x="8" y="152"/>
                  </a:cubicBezTo>
                  <a:cubicBezTo>
                    <a:pt x="8" y="155"/>
                    <a:pt x="8" y="155"/>
                    <a:pt x="8" y="155"/>
                  </a:cubicBezTo>
                  <a:cubicBezTo>
                    <a:pt x="6" y="156"/>
                    <a:pt x="6" y="156"/>
                    <a:pt x="6" y="156"/>
                  </a:cubicBezTo>
                  <a:cubicBezTo>
                    <a:pt x="3" y="160"/>
                    <a:pt x="3" y="160"/>
                    <a:pt x="3" y="160"/>
                  </a:cubicBezTo>
                  <a:cubicBezTo>
                    <a:pt x="3" y="162"/>
                    <a:pt x="3" y="162"/>
                    <a:pt x="3" y="162"/>
                  </a:cubicBezTo>
                  <a:cubicBezTo>
                    <a:pt x="0" y="165"/>
                    <a:pt x="0" y="165"/>
                    <a:pt x="0" y="165"/>
                  </a:cubicBezTo>
                  <a:cubicBezTo>
                    <a:pt x="2" y="167"/>
                    <a:pt x="2" y="167"/>
                    <a:pt x="2" y="167"/>
                  </a:cubicBezTo>
                  <a:cubicBezTo>
                    <a:pt x="5" y="169"/>
                    <a:pt x="5" y="169"/>
                    <a:pt x="5" y="169"/>
                  </a:cubicBezTo>
                  <a:cubicBezTo>
                    <a:pt x="9" y="169"/>
                    <a:pt x="9" y="169"/>
                    <a:pt x="9" y="169"/>
                  </a:cubicBezTo>
                  <a:cubicBezTo>
                    <a:pt x="12" y="168"/>
                    <a:pt x="12" y="168"/>
                    <a:pt x="12" y="168"/>
                  </a:cubicBezTo>
                  <a:cubicBezTo>
                    <a:pt x="15" y="172"/>
                    <a:pt x="15" y="172"/>
                    <a:pt x="15" y="172"/>
                  </a:cubicBezTo>
                  <a:cubicBezTo>
                    <a:pt x="13" y="174"/>
                    <a:pt x="13" y="174"/>
                    <a:pt x="13" y="174"/>
                  </a:cubicBezTo>
                  <a:cubicBezTo>
                    <a:pt x="14" y="177"/>
                    <a:pt x="14" y="177"/>
                    <a:pt x="14" y="177"/>
                  </a:cubicBezTo>
                  <a:cubicBezTo>
                    <a:pt x="17" y="180"/>
                    <a:pt x="17" y="180"/>
                    <a:pt x="17" y="180"/>
                  </a:cubicBezTo>
                  <a:cubicBezTo>
                    <a:pt x="23" y="190"/>
                    <a:pt x="23" y="190"/>
                    <a:pt x="23" y="190"/>
                  </a:cubicBezTo>
                  <a:cubicBezTo>
                    <a:pt x="25" y="191"/>
                    <a:pt x="25" y="191"/>
                    <a:pt x="25" y="191"/>
                  </a:cubicBezTo>
                  <a:cubicBezTo>
                    <a:pt x="26" y="206"/>
                    <a:pt x="26" y="206"/>
                    <a:pt x="26" y="206"/>
                  </a:cubicBezTo>
                  <a:cubicBezTo>
                    <a:pt x="25" y="206"/>
                    <a:pt x="25" y="206"/>
                    <a:pt x="25" y="206"/>
                  </a:cubicBezTo>
                  <a:cubicBezTo>
                    <a:pt x="27" y="208"/>
                    <a:pt x="27" y="208"/>
                    <a:pt x="27" y="208"/>
                  </a:cubicBezTo>
                  <a:cubicBezTo>
                    <a:pt x="29" y="206"/>
                    <a:pt x="29" y="206"/>
                    <a:pt x="29" y="206"/>
                  </a:cubicBezTo>
                  <a:cubicBezTo>
                    <a:pt x="34" y="201"/>
                    <a:pt x="34" y="201"/>
                    <a:pt x="34" y="201"/>
                  </a:cubicBezTo>
                  <a:cubicBezTo>
                    <a:pt x="38" y="204"/>
                    <a:pt x="38" y="204"/>
                    <a:pt x="38" y="204"/>
                  </a:cubicBezTo>
                  <a:cubicBezTo>
                    <a:pt x="44" y="206"/>
                    <a:pt x="44" y="206"/>
                    <a:pt x="44" y="206"/>
                  </a:cubicBezTo>
                  <a:cubicBezTo>
                    <a:pt x="51" y="206"/>
                    <a:pt x="51" y="206"/>
                    <a:pt x="51" y="206"/>
                  </a:cubicBezTo>
                  <a:cubicBezTo>
                    <a:pt x="53" y="208"/>
                    <a:pt x="53" y="208"/>
                    <a:pt x="53" y="208"/>
                  </a:cubicBezTo>
                  <a:cubicBezTo>
                    <a:pt x="55" y="205"/>
                    <a:pt x="55" y="205"/>
                    <a:pt x="55" y="205"/>
                  </a:cubicBezTo>
                  <a:cubicBezTo>
                    <a:pt x="58" y="198"/>
                    <a:pt x="58" y="198"/>
                    <a:pt x="58" y="198"/>
                  </a:cubicBezTo>
                  <a:cubicBezTo>
                    <a:pt x="72" y="215"/>
                    <a:pt x="72" y="215"/>
                    <a:pt x="72" y="215"/>
                  </a:cubicBezTo>
                  <a:cubicBezTo>
                    <a:pt x="79" y="219"/>
                    <a:pt x="79" y="219"/>
                    <a:pt x="79" y="219"/>
                  </a:cubicBezTo>
                  <a:cubicBezTo>
                    <a:pt x="83" y="218"/>
                    <a:pt x="83" y="218"/>
                    <a:pt x="83" y="218"/>
                  </a:cubicBezTo>
                  <a:cubicBezTo>
                    <a:pt x="94" y="220"/>
                    <a:pt x="94" y="220"/>
                    <a:pt x="94" y="220"/>
                  </a:cubicBezTo>
                  <a:cubicBezTo>
                    <a:pt x="97" y="221"/>
                    <a:pt x="97" y="221"/>
                    <a:pt x="97" y="221"/>
                  </a:cubicBezTo>
                  <a:cubicBezTo>
                    <a:pt x="101" y="222"/>
                    <a:pt x="101" y="222"/>
                    <a:pt x="101" y="222"/>
                  </a:cubicBezTo>
                  <a:cubicBezTo>
                    <a:pt x="107" y="227"/>
                    <a:pt x="107" y="227"/>
                    <a:pt x="107" y="227"/>
                  </a:cubicBezTo>
                  <a:cubicBezTo>
                    <a:pt x="120" y="229"/>
                    <a:pt x="120" y="229"/>
                    <a:pt x="120" y="229"/>
                  </a:cubicBezTo>
                  <a:cubicBezTo>
                    <a:pt x="126" y="231"/>
                    <a:pt x="126" y="231"/>
                    <a:pt x="126" y="231"/>
                  </a:cubicBezTo>
                  <a:cubicBezTo>
                    <a:pt x="131" y="233"/>
                    <a:pt x="131" y="233"/>
                    <a:pt x="131" y="233"/>
                  </a:cubicBezTo>
                  <a:cubicBezTo>
                    <a:pt x="134" y="237"/>
                    <a:pt x="134" y="237"/>
                    <a:pt x="134" y="237"/>
                  </a:cubicBezTo>
                  <a:cubicBezTo>
                    <a:pt x="137" y="236"/>
                    <a:pt x="137" y="236"/>
                    <a:pt x="137" y="236"/>
                  </a:cubicBezTo>
                  <a:cubicBezTo>
                    <a:pt x="140" y="239"/>
                    <a:pt x="140" y="239"/>
                    <a:pt x="140" y="239"/>
                  </a:cubicBezTo>
                  <a:cubicBezTo>
                    <a:pt x="143" y="244"/>
                    <a:pt x="143" y="244"/>
                    <a:pt x="143" y="244"/>
                  </a:cubicBezTo>
                  <a:cubicBezTo>
                    <a:pt x="140" y="248"/>
                    <a:pt x="140" y="248"/>
                    <a:pt x="140" y="248"/>
                  </a:cubicBezTo>
                  <a:cubicBezTo>
                    <a:pt x="138" y="251"/>
                    <a:pt x="138" y="251"/>
                    <a:pt x="138" y="251"/>
                  </a:cubicBezTo>
                  <a:cubicBezTo>
                    <a:pt x="138" y="254"/>
                    <a:pt x="138" y="254"/>
                    <a:pt x="138" y="254"/>
                  </a:cubicBezTo>
                  <a:cubicBezTo>
                    <a:pt x="136" y="256"/>
                    <a:pt x="136" y="256"/>
                    <a:pt x="136" y="256"/>
                  </a:cubicBezTo>
                  <a:cubicBezTo>
                    <a:pt x="135" y="259"/>
                    <a:pt x="135" y="259"/>
                    <a:pt x="135" y="259"/>
                  </a:cubicBezTo>
                  <a:cubicBezTo>
                    <a:pt x="140" y="261"/>
                    <a:pt x="140" y="261"/>
                    <a:pt x="140" y="261"/>
                  </a:cubicBezTo>
                  <a:cubicBezTo>
                    <a:pt x="145" y="263"/>
                    <a:pt x="145" y="263"/>
                    <a:pt x="145" y="263"/>
                  </a:cubicBezTo>
                  <a:cubicBezTo>
                    <a:pt x="149" y="265"/>
                    <a:pt x="149" y="265"/>
                    <a:pt x="149" y="265"/>
                  </a:cubicBezTo>
                  <a:cubicBezTo>
                    <a:pt x="153" y="264"/>
                    <a:pt x="153" y="264"/>
                    <a:pt x="153" y="264"/>
                  </a:cubicBezTo>
                  <a:cubicBezTo>
                    <a:pt x="155" y="263"/>
                    <a:pt x="155" y="263"/>
                    <a:pt x="155" y="263"/>
                  </a:cubicBezTo>
                  <a:cubicBezTo>
                    <a:pt x="160" y="263"/>
                    <a:pt x="160" y="263"/>
                    <a:pt x="160" y="263"/>
                  </a:cubicBezTo>
                  <a:cubicBezTo>
                    <a:pt x="162" y="266"/>
                    <a:pt x="162" y="266"/>
                    <a:pt x="162" y="266"/>
                  </a:cubicBezTo>
                  <a:cubicBezTo>
                    <a:pt x="166" y="267"/>
                    <a:pt x="166" y="267"/>
                    <a:pt x="166" y="267"/>
                  </a:cubicBezTo>
                  <a:cubicBezTo>
                    <a:pt x="166" y="271"/>
                    <a:pt x="166" y="271"/>
                    <a:pt x="166" y="271"/>
                  </a:cubicBezTo>
                  <a:cubicBezTo>
                    <a:pt x="170" y="274"/>
                    <a:pt x="170" y="274"/>
                    <a:pt x="170" y="274"/>
                  </a:cubicBezTo>
                  <a:cubicBezTo>
                    <a:pt x="174" y="274"/>
                    <a:pt x="174" y="274"/>
                    <a:pt x="174" y="274"/>
                  </a:cubicBezTo>
                  <a:cubicBezTo>
                    <a:pt x="174" y="281"/>
                    <a:pt x="174" y="281"/>
                    <a:pt x="174" y="281"/>
                  </a:cubicBezTo>
                  <a:cubicBezTo>
                    <a:pt x="174" y="282"/>
                    <a:pt x="174" y="282"/>
                    <a:pt x="174" y="282"/>
                  </a:cubicBezTo>
                  <a:cubicBezTo>
                    <a:pt x="175" y="281"/>
                    <a:pt x="175" y="281"/>
                    <a:pt x="175" y="281"/>
                  </a:cubicBezTo>
                  <a:cubicBezTo>
                    <a:pt x="178" y="280"/>
                    <a:pt x="179" y="282"/>
                    <a:pt x="181" y="281"/>
                  </a:cubicBezTo>
                  <a:cubicBezTo>
                    <a:pt x="181" y="280"/>
                    <a:pt x="181" y="279"/>
                    <a:pt x="182" y="278"/>
                  </a:cubicBezTo>
                  <a:cubicBezTo>
                    <a:pt x="182" y="278"/>
                    <a:pt x="184" y="278"/>
                    <a:pt x="184" y="277"/>
                  </a:cubicBezTo>
                  <a:cubicBezTo>
                    <a:pt x="184" y="276"/>
                    <a:pt x="184" y="275"/>
                    <a:pt x="183" y="274"/>
                  </a:cubicBezTo>
                  <a:cubicBezTo>
                    <a:pt x="182" y="273"/>
                    <a:pt x="182" y="273"/>
                    <a:pt x="180" y="274"/>
                  </a:cubicBezTo>
                  <a:cubicBezTo>
                    <a:pt x="180" y="274"/>
                    <a:pt x="179" y="273"/>
                    <a:pt x="178" y="273"/>
                  </a:cubicBezTo>
                  <a:cubicBezTo>
                    <a:pt x="177" y="272"/>
                    <a:pt x="176" y="271"/>
                    <a:pt x="175" y="270"/>
                  </a:cubicBezTo>
                  <a:cubicBezTo>
                    <a:pt x="174" y="270"/>
                    <a:pt x="173" y="269"/>
                    <a:pt x="172" y="268"/>
                  </a:cubicBezTo>
                  <a:cubicBezTo>
                    <a:pt x="172" y="268"/>
                    <a:pt x="172" y="267"/>
                    <a:pt x="172" y="266"/>
                  </a:cubicBezTo>
                  <a:cubicBezTo>
                    <a:pt x="173" y="264"/>
                    <a:pt x="175" y="262"/>
                    <a:pt x="175" y="260"/>
                  </a:cubicBezTo>
                  <a:cubicBezTo>
                    <a:pt x="174" y="258"/>
                    <a:pt x="172" y="258"/>
                    <a:pt x="171" y="259"/>
                  </a:cubicBezTo>
                  <a:cubicBezTo>
                    <a:pt x="170" y="259"/>
                    <a:pt x="169" y="259"/>
                    <a:pt x="168" y="258"/>
                  </a:cubicBezTo>
                  <a:cubicBezTo>
                    <a:pt x="166" y="258"/>
                    <a:pt x="168" y="256"/>
                    <a:pt x="168" y="255"/>
                  </a:cubicBezTo>
                  <a:cubicBezTo>
                    <a:pt x="167" y="255"/>
                    <a:pt x="167" y="255"/>
                    <a:pt x="167" y="255"/>
                  </a:cubicBezTo>
                  <a:cubicBezTo>
                    <a:pt x="168" y="254"/>
                    <a:pt x="166" y="253"/>
                    <a:pt x="166" y="253"/>
                  </a:cubicBezTo>
                  <a:cubicBezTo>
                    <a:pt x="165" y="252"/>
                    <a:pt x="164" y="252"/>
                    <a:pt x="164" y="252"/>
                  </a:cubicBezTo>
                  <a:cubicBezTo>
                    <a:pt x="163" y="251"/>
                    <a:pt x="162" y="252"/>
                    <a:pt x="161" y="252"/>
                  </a:cubicBezTo>
                  <a:cubicBezTo>
                    <a:pt x="160" y="251"/>
                    <a:pt x="160" y="250"/>
                    <a:pt x="159" y="250"/>
                  </a:cubicBezTo>
                  <a:cubicBezTo>
                    <a:pt x="158" y="249"/>
                    <a:pt x="157" y="249"/>
                    <a:pt x="157" y="248"/>
                  </a:cubicBezTo>
                  <a:cubicBezTo>
                    <a:pt x="156" y="247"/>
                    <a:pt x="156" y="247"/>
                    <a:pt x="157" y="246"/>
                  </a:cubicBezTo>
                  <a:cubicBezTo>
                    <a:pt x="157" y="246"/>
                    <a:pt x="157" y="246"/>
                    <a:pt x="157" y="245"/>
                  </a:cubicBezTo>
                  <a:cubicBezTo>
                    <a:pt x="157" y="244"/>
                    <a:pt x="157" y="244"/>
                    <a:pt x="157" y="244"/>
                  </a:cubicBezTo>
                  <a:cubicBezTo>
                    <a:pt x="156" y="244"/>
                    <a:pt x="156" y="243"/>
                    <a:pt x="156" y="243"/>
                  </a:cubicBezTo>
                  <a:cubicBezTo>
                    <a:pt x="155" y="242"/>
                    <a:pt x="155" y="241"/>
                    <a:pt x="155" y="240"/>
                  </a:cubicBezTo>
                  <a:cubicBezTo>
                    <a:pt x="154" y="238"/>
                    <a:pt x="153" y="237"/>
                    <a:pt x="152" y="235"/>
                  </a:cubicBezTo>
                  <a:cubicBezTo>
                    <a:pt x="151" y="234"/>
                    <a:pt x="150" y="232"/>
                    <a:pt x="149" y="230"/>
                  </a:cubicBezTo>
                  <a:cubicBezTo>
                    <a:pt x="149" y="229"/>
                    <a:pt x="148" y="229"/>
                    <a:pt x="147" y="228"/>
                  </a:cubicBezTo>
                  <a:cubicBezTo>
                    <a:pt x="147" y="227"/>
                    <a:pt x="146" y="226"/>
                    <a:pt x="146" y="226"/>
                  </a:cubicBezTo>
                  <a:cubicBezTo>
                    <a:pt x="146" y="224"/>
                    <a:pt x="146" y="223"/>
                    <a:pt x="144" y="222"/>
                  </a:cubicBezTo>
                  <a:cubicBezTo>
                    <a:pt x="144" y="222"/>
                    <a:pt x="143" y="222"/>
                    <a:pt x="142" y="221"/>
                  </a:cubicBezTo>
                  <a:cubicBezTo>
                    <a:pt x="142" y="221"/>
                    <a:pt x="141" y="220"/>
                    <a:pt x="140" y="220"/>
                  </a:cubicBezTo>
                  <a:cubicBezTo>
                    <a:pt x="139" y="219"/>
                    <a:pt x="140" y="217"/>
                    <a:pt x="139" y="217"/>
                  </a:cubicBezTo>
                  <a:cubicBezTo>
                    <a:pt x="138" y="217"/>
                    <a:pt x="138" y="216"/>
                    <a:pt x="137" y="216"/>
                  </a:cubicBezTo>
                  <a:cubicBezTo>
                    <a:pt x="137" y="216"/>
                    <a:pt x="136" y="216"/>
                    <a:pt x="136" y="216"/>
                  </a:cubicBezTo>
                  <a:cubicBezTo>
                    <a:pt x="134" y="216"/>
                    <a:pt x="132" y="216"/>
                    <a:pt x="131" y="216"/>
                  </a:cubicBezTo>
                  <a:cubicBezTo>
                    <a:pt x="127" y="215"/>
                    <a:pt x="129" y="212"/>
                    <a:pt x="128" y="210"/>
                  </a:cubicBezTo>
                  <a:cubicBezTo>
                    <a:pt x="127" y="207"/>
                    <a:pt x="125" y="206"/>
                    <a:pt x="123" y="204"/>
                  </a:cubicBezTo>
                  <a:cubicBezTo>
                    <a:pt x="123" y="204"/>
                    <a:pt x="123" y="204"/>
                    <a:pt x="122" y="203"/>
                  </a:cubicBezTo>
                  <a:cubicBezTo>
                    <a:pt x="122" y="203"/>
                    <a:pt x="121" y="203"/>
                    <a:pt x="120" y="202"/>
                  </a:cubicBezTo>
                  <a:cubicBezTo>
                    <a:pt x="120" y="201"/>
                    <a:pt x="120" y="201"/>
                    <a:pt x="120" y="200"/>
                  </a:cubicBezTo>
                  <a:cubicBezTo>
                    <a:pt x="120" y="200"/>
                    <a:pt x="120" y="198"/>
                    <a:pt x="118" y="199"/>
                  </a:cubicBezTo>
                  <a:cubicBezTo>
                    <a:pt x="118" y="199"/>
                    <a:pt x="118" y="199"/>
                    <a:pt x="118" y="200"/>
                  </a:cubicBezTo>
                  <a:cubicBezTo>
                    <a:pt x="118" y="201"/>
                    <a:pt x="118" y="202"/>
                    <a:pt x="118" y="203"/>
                  </a:cubicBezTo>
                  <a:cubicBezTo>
                    <a:pt x="117" y="203"/>
                    <a:pt x="116" y="204"/>
                    <a:pt x="115" y="203"/>
                  </a:cubicBezTo>
                  <a:cubicBezTo>
                    <a:pt x="115" y="203"/>
                    <a:pt x="116" y="202"/>
                    <a:pt x="115" y="201"/>
                  </a:cubicBezTo>
                  <a:cubicBezTo>
                    <a:pt x="115" y="201"/>
                    <a:pt x="114" y="200"/>
                    <a:pt x="114" y="200"/>
                  </a:cubicBezTo>
                  <a:cubicBezTo>
                    <a:pt x="114" y="199"/>
                    <a:pt x="114" y="199"/>
                    <a:pt x="115" y="198"/>
                  </a:cubicBezTo>
                  <a:cubicBezTo>
                    <a:pt x="115" y="198"/>
                    <a:pt x="115" y="197"/>
                    <a:pt x="115" y="196"/>
                  </a:cubicBezTo>
                  <a:cubicBezTo>
                    <a:pt x="115" y="195"/>
                    <a:pt x="113" y="196"/>
                    <a:pt x="113" y="194"/>
                  </a:cubicBezTo>
                  <a:cubicBezTo>
                    <a:pt x="113" y="193"/>
                    <a:pt x="114" y="191"/>
                    <a:pt x="115" y="191"/>
                  </a:cubicBezTo>
                  <a:cubicBezTo>
                    <a:pt x="116" y="191"/>
                    <a:pt x="117" y="192"/>
                    <a:pt x="117" y="192"/>
                  </a:cubicBezTo>
                  <a:cubicBezTo>
                    <a:pt x="118" y="193"/>
                    <a:pt x="119" y="193"/>
                    <a:pt x="120" y="193"/>
                  </a:cubicBezTo>
                  <a:cubicBezTo>
                    <a:pt x="121" y="194"/>
                    <a:pt x="122" y="193"/>
                    <a:pt x="122" y="194"/>
                  </a:cubicBezTo>
                  <a:cubicBezTo>
                    <a:pt x="122" y="195"/>
                    <a:pt x="121" y="195"/>
                    <a:pt x="122" y="196"/>
                  </a:cubicBezTo>
                  <a:cubicBezTo>
                    <a:pt x="122" y="197"/>
                    <a:pt x="123" y="197"/>
                    <a:pt x="124" y="197"/>
                  </a:cubicBezTo>
                  <a:cubicBezTo>
                    <a:pt x="125" y="197"/>
                    <a:pt x="125" y="198"/>
                    <a:pt x="126" y="198"/>
                  </a:cubicBezTo>
                  <a:cubicBezTo>
                    <a:pt x="127" y="199"/>
                    <a:pt x="127" y="200"/>
                    <a:pt x="127" y="200"/>
                  </a:cubicBezTo>
                  <a:cubicBezTo>
                    <a:pt x="128" y="201"/>
                    <a:pt x="128" y="202"/>
                    <a:pt x="129" y="202"/>
                  </a:cubicBezTo>
                  <a:cubicBezTo>
                    <a:pt x="130" y="203"/>
                    <a:pt x="132" y="202"/>
                    <a:pt x="134" y="202"/>
                  </a:cubicBezTo>
                  <a:cubicBezTo>
                    <a:pt x="137" y="201"/>
                    <a:pt x="140" y="198"/>
                    <a:pt x="141" y="195"/>
                  </a:cubicBezTo>
                  <a:cubicBezTo>
                    <a:pt x="143" y="192"/>
                    <a:pt x="143" y="189"/>
                    <a:pt x="146" y="187"/>
                  </a:cubicBezTo>
                  <a:cubicBezTo>
                    <a:pt x="148" y="185"/>
                    <a:pt x="150" y="186"/>
                    <a:pt x="152" y="185"/>
                  </a:cubicBezTo>
                  <a:cubicBezTo>
                    <a:pt x="153" y="185"/>
                    <a:pt x="154" y="184"/>
                    <a:pt x="154" y="183"/>
                  </a:cubicBezTo>
                  <a:cubicBezTo>
                    <a:pt x="155" y="183"/>
                    <a:pt x="155" y="182"/>
                    <a:pt x="156" y="182"/>
                  </a:cubicBezTo>
                  <a:cubicBezTo>
                    <a:pt x="157" y="181"/>
                    <a:pt x="158" y="181"/>
                    <a:pt x="159" y="181"/>
                  </a:cubicBezTo>
                  <a:cubicBezTo>
                    <a:pt x="162" y="180"/>
                    <a:pt x="165" y="181"/>
                    <a:pt x="167" y="180"/>
                  </a:cubicBezTo>
                  <a:cubicBezTo>
                    <a:pt x="169" y="180"/>
                    <a:pt x="171" y="178"/>
                    <a:pt x="173" y="177"/>
                  </a:cubicBezTo>
                  <a:cubicBezTo>
                    <a:pt x="174" y="177"/>
                    <a:pt x="176" y="176"/>
                    <a:pt x="177" y="175"/>
                  </a:cubicBezTo>
                  <a:cubicBezTo>
                    <a:pt x="179" y="174"/>
                    <a:pt x="179" y="174"/>
                    <a:pt x="180" y="172"/>
                  </a:cubicBezTo>
                  <a:cubicBezTo>
                    <a:pt x="180" y="171"/>
                    <a:pt x="181" y="170"/>
                    <a:pt x="183" y="169"/>
                  </a:cubicBezTo>
                  <a:cubicBezTo>
                    <a:pt x="184" y="168"/>
                    <a:pt x="184" y="167"/>
                    <a:pt x="185" y="166"/>
                  </a:cubicBezTo>
                  <a:cubicBezTo>
                    <a:pt x="186" y="165"/>
                    <a:pt x="188" y="164"/>
                    <a:pt x="189" y="163"/>
                  </a:cubicBezTo>
                  <a:cubicBezTo>
                    <a:pt x="189" y="162"/>
                    <a:pt x="190" y="161"/>
                    <a:pt x="191" y="160"/>
                  </a:cubicBezTo>
                  <a:cubicBezTo>
                    <a:pt x="191" y="160"/>
                    <a:pt x="192" y="159"/>
                    <a:pt x="192" y="159"/>
                  </a:cubicBezTo>
                  <a:cubicBezTo>
                    <a:pt x="192" y="158"/>
                    <a:pt x="192" y="158"/>
                    <a:pt x="193" y="158"/>
                  </a:cubicBezTo>
                  <a:cubicBezTo>
                    <a:pt x="194" y="156"/>
                    <a:pt x="194" y="155"/>
                    <a:pt x="195" y="154"/>
                  </a:cubicBezTo>
                  <a:cubicBezTo>
                    <a:pt x="196" y="153"/>
                    <a:pt x="196" y="153"/>
                    <a:pt x="196" y="152"/>
                  </a:cubicBezTo>
                  <a:cubicBezTo>
                    <a:pt x="197" y="152"/>
                    <a:pt x="197" y="152"/>
                    <a:pt x="198" y="152"/>
                  </a:cubicBezTo>
                  <a:cubicBezTo>
                    <a:pt x="199" y="151"/>
                    <a:pt x="200" y="149"/>
                    <a:pt x="201" y="148"/>
                  </a:cubicBezTo>
                  <a:cubicBezTo>
                    <a:pt x="202" y="147"/>
                    <a:pt x="204" y="145"/>
                    <a:pt x="204" y="143"/>
                  </a:cubicBezTo>
                  <a:cubicBezTo>
                    <a:pt x="204" y="142"/>
                    <a:pt x="204" y="142"/>
                    <a:pt x="204" y="141"/>
                  </a:cubicBezTo>
                  <a:cubicBezTo>
                    <a:pt x="205" y="140"/>
                    <a:pt x="207" y="139"/>
                    <a:pt x="208" y="139"/>
                  </a:cubicBezTo>
                  <a:cubicBezTo>
                    <a:pt x="210" y="138"/>
                    <a:pt x="212" y="138"/>
                    <a:pt x="213" y="138"/>
                  </a:cubicBezTo>
                  <a:cubicBezTo>
                    <a:pt x="215" y="138"/>
                    <a:pt x="217" y="138"/>
                    <a:pt x="219" y="138"/>
                  </a:cubicBezTo>
                  <a:cubicBezTo>
                    <a:pt x="220" y="138"/>
                    <a:pt x="220" y="137"/>
                    <a:pt x="221" y="136"/>
                  </a:cubicBezTo>
                  <a:cubicBezTo>
                    <a:pt x="222" y="135"/>
                    <a:pt x="223" y="134"/>
                    <a:pt x="224" y="135"/>
                  </a:cubicBezTo>
                  <a:cubicBezTo>
                    <a:pt x="225" y="135"/>
                    <a:pt x="225" y="137"/>
                    <a:pt x="226" y="138"/>
                  </a:cubicBezTo>
                  <a:cubicBezTo>
                    <a:pt x="226" y="139"/>
                    <a:pt x="226" y="140"/>
                    <a:pt x="227" y="141"/>
                  </a:cubicBezTo>
                  <a:cubicBezTo>
                    <a:pt x="228" y="142"/>
                    <a:pt x="229" y="142"/>
                    <a:pt x="230" y="143"/>
                  </a:cubicBezTo>
                  <a:cubicBezTo>
                    <a:pt x="231" y="144"/>
                    <a:pt x="232" y="144"/>
                    <a:pt x="233" y="145"/>
                  </a:cubicBezTo>
                  <a:cubicBezTo>
                    <a:pt x="234" y="145"/>
                    <a:pt x="235" y="145"/>
                    <a:pt x="235" y="146"/>
                  </a:cubicBezTo>
                  <a:cubicBezTo>
                    <a:pt x="237" y="146"/>
                    <a:pt x="238" y="147"/>
                    <a:pt x="239" y="146"/>
                  </a:cubicBezTo>
                  <a:cubicBezTo>
                    <a:pt x="239" y="145"/>
                    <a:pt x="240" y="144"/>
                    <a:pt x="240" y="143"/>
                  </a:cubicBezTo>
                  <a:cubicBezTo>
                    <a:pt x="240" y="141"/>
                    <a:pt x="240" y="137"/>
                    <a:pt x="241" y="135"/>
                  </a:cubicBezTo>
                  <a:cubicBezTo>
                    <a:pt x="242" y="134"/>
                    <a:pt x="243" y="134"/>
                    <a:pt x="243" y="133"/>
                  </a:cubicBezTo>
                  <a:cubicBezTo>
                    <a:pt x="244" y="132"/>
                    <a:pt x="243" y="131"/>
                    <a:pt x="243" y="130"/>
                  </a:cubicBezTo>
                  <a:cubicBezTo>
                    <a:pt x="243" y="129"/>
                    <a:pt x="243" y="127"/>
                    <a:pt x="242" y="126"/>
                  </a:cubicBezTo>
                  <a:cubicBezTo>
                    <a:pt x="241" y="125"/>
                    <a:pt x="240" y="125"/>
                    <a:pt x="240" y="124"/>
                  </a:cubicBezTo>
                  <a:cubicBezTo>
                    <a:pt x="240" y="123"/>
                    <a:pt x="241" y="123"/>
                    <a:pt x="240" y="122"/>
                  </a:cubicBezTo>
                  <a:cubicBezTo>
                    <a:pt x="240" y="121"/>
                    <a:pt x="237" y="120"/>
                    <a:pt x="236" y="120"/>
                  </a:cubicBezTo>
                  <a:cubicBezTo>
                    <a:pt x="235" y="119"/>
                    <a:pt x="234" y="119"/>
                    <a:pt x="232" y="118"/>
                  </a:cubicBezTo>
                  <a:cubicBezTo>
                    <a:pt x="231" y="117"/>
                    <a:pt x="231" y="117"/>
                    <a:pt x="229" y="117"/>
                  </a:cubicBezTo>
                  <a:cubicBezTo>
                    <a:pt x="227" y="117"/>
                    <a:pt x="225" y="116"/>
                    <a:pt x="223" y="117"/>
                  </a:cubicBezTo>
                  <a:cubicBezTo>
                    <a:pt x="220" y="117"/>
                    <a:pt x="219" y="118"/>
                    <a:pt x="217" y="120"/>
                  </a:cubicBezTo>
                  <a:cubicBezTo>
                    <a:pt x="216" y="120"/>
                    <a:pt x="216" y="121"/>
                    <a:pt x="215" y="121"/>
                  </a:cubicBezTo>
                  <a:cubicBezTo>
                    <a:pt x="214" y="121"/>
                    <a:pt x="213" y="120"/>
                    <a:pt x="212" y="121"/>
                  </a:cubicBezTo>
                  <a:cubicBezTo>
                    <a:pt x="212" y="121"/>
                    <a:pt x="211" y="121"/>
                    <a:pt x="210" y="121"/>
                  </a:cubicBezTo>
                  <a:cubicBezTo>
                    <a:pt x="210" y="121"/>
                    <a:pt x="209" y="121"/>
                    <a:pt x="208" y="121"/>
                  </a:cubicBezTo>
                  <a:cubicBezTo>
                    <a:pt x="207" y="121"/>
                    <a:pt x="206" y="123"/>
                    <a:pt x="204" y="123"/>
                  </a:cubicBezTo>
                  <a:cubicBezTo>
                    <a:pt x="203" y="123"/>
                    <a:pt x="202" y="123"/>
                    <a:pt x="202" y="123"/>
                  </a:cubicBezTo>
                  <a:cubicBezTo>
                    <a:pt x="201" y="123"/>
                    <a:pt x="201" y="123"/>
                    <a:pt x="200" y="124"/>
                  </a:cubicBezTo>
                  <a:cubicBezTo>
                    <a:pt x="201" y="125"/>
                    <a:pt x="202" y="125"/>
                    <a:pt x="203" y="126"/>
                  </a:cubicBezTo>
                  <a:cubicBezTo>
                    <a:pt x="205" y="126"/>
                    <a:pt x="206" y="126"/>
                    <a:pt x="208" y="126"/>
                  </a:cubicBezTo>
                  <a:cubicBezTo>
                    <a:pt x="209" y="127"/>
                    <a:pt x="210" y="127"/>
                    <a:pt x="210" y="128"/>
                  </a:cubicBezTo>
                  <a:cubicBezTo>
                    <a:pt x="211" y="128"/>
                    <a:pt x="213" y="127"/>
                    <a:pt x="214" y="128"/>
                  </a:cubicBezTo>
                  <a:cubicBezTo>
                    <a:pt x="215" y="129"/>
                    <a:pt x="209" y="129"/>
                    <a:pt x="208" y="129"/>
                  </a:cubicBezTo>
                  <a:cubicBezTo>
                    <a:pt x="207" y="129"/>
                    <a:pt x="206" y="130"/>
                    <a:pt x="205" y="130"/>
                  </a:cubicBezTo>
                  <a:cubicBezTo>
                    <a:pt x="204" y="130"/>
                    <a:pt x="203" y="131"/>
                    <a:pt x="202" y="131"/>
                  </a:cubicBezTo>
                  <a:cubicBezTo>
                    <a:pt x="201" y="131"/>
                    <a:pt x="201" y="132"/>
                    <a:pt x="199" y="132"/>
                  </a:cubicBezTo>
                  <a:cubicBezTo>
                    <a:pt x="198" y="132"/>
                    <a:pt x="197" y="131"/>
                    <a:pt x="196" y="131"/>
                  </a:cubicBezTo>
                  <a:cubicBezTo>
                    <a:pt x="195" y="130"/>
                    <a:pt x="195" y="130"/>
                    <a:pt x="194" y="129"/>
                  </a:cubicBezTo>
                  <a:cubicBezTo>
                    <a:pt x="193" y="129"/>
                    <a:pt x="192" y="130"/>
                    <a:pt x="191" y="130"/>
                  </a:cubicBezTo>
                  <a:cubicBezTo>
                    <a:pt x="189" y="130"/>
                    <a:pt x="188" y="130"/>
                    <a:pt x="186" y="129"/>
                  </a:cubicBezTo>
                  <a:cubicBezTo>
                    <a:pt x="184" y="129"/>
                    <a:pt x="182" y="130"/>
                    <a:pt x="180" y="130"/>
                  </a:cubicBezTo>
                  <a:cubicBezTo>
                    <a:pt x="178" y="131"/>
                    <a:pt x="177" y="131"/>
                    <a:pt x="175" y="130"/>
                  </a:cubicBezTo>
                  <a:cubicBezTo>
                    <a:pt x="172" y="130"/>
                    <a:pt x="170" y="130"/>
                    <a:pt x="168" y="130"/>
                  </a:cubicBezTo>
                  <a:cubicBezTo>
                    <a:pt x="167" y="131"/>
                    <a:pt x="166" y="132"/>
                    <a:pt x="166" y="133"/>
                  </a:cubicBezTo>
                  <a:cubicBezTo>
                    <a:pt x="165" y="134"/>
                    <a:pt x="165" y="135"/>
                    <a:pt x="165" y="137"/>
                  </a:cubicBezTo>
                  <a:cubicBezTo>
                    <a:pt x="165" y="137"/>
                    <a:pt x="165" y="138"/>
                    <a:pt x="165" y="138"/>
                  </a:cubicBezTo>
                  <a:cubicBezTo>
                    <a:pt x="165" y="139"/>
                    <a:pt x="164" y="139"/>
                    <a:pt x="164" y="140"/>
                  </a:cubicBezTo>
                  <a:cubicBezTo>
                    <a:pt x="163" y="140"/>
                    <a:pt x="162" y="140"/>
                    <a:pt x="161" y="140"/>
                  </a:cubicBezTo>
                  <a:cubicBezTo>
                    <a:pt x="159" y="140"/>
                    <a:pt x="158" y="139"/>
                    <a:pt x="157" y="139"/>
                  </a:cubicBezTo>
                  <a:cubicBezTo>
                    <a:pt x="155" y="139"/>
                    <a:pt x="153" y="142"/>
                    <a:pt x="153" y="144"/>
                  </a:cubicBezTo>
                  <a:cubicBezTo>
                    <a:pt x="152" y="144"/>
                    <a:pt x="150" y="143"/>
                    <a:pt x="149" y="142"/>
                  </a:cubicBezTo>
                  <a:cubicBezTo>
                    <a:pt x="149" y="142"/>
                    <a:pt x="148" y="142"/>
                    <a:pt x="147" y="142"/>
                  </a:cubicBezTo>
                  <a:cubicBezTo>
                    <a:pt x="146" y="142"/>
                    <a:pt x="144" y="142"/>
                    <a:pt x="142" y="142"/>
                  </a:cubicBezTo>
                  <a:cubicBezTo>
                    <a:pt x="141" y="142"/>
                    <a:pt x="140" y="141"/>
                    <a:pt x="139" y="140"/>
                  </a:cubicBezTo>
                  <a:cubicBezTo>
                    <a:pt x="137" y="139"/>
                    <a:pt x="136" y="139"/>
                    <a:pt x="135" y="137"/>
                  </a:cubicBezTo>
                  <a:cubicBezTo>
                    <a:pt x="134" y="136"/>
                    <a:pt x="135" y="135"/>
                    <a:pt x="135" y="134"/>
                  </a:cubicBezTo>
                  <a:cubicBezTo>
                    <a:pt x="135" y="134"/>
                    <a:pt x="135" y="132"/>
                    <a:pt x="135" y="132"/>
                  </a:cubicBezTo>
                  <a:cubicBezTo>
                    <a:pt x="134" y="132"/>
                    <a:pt x="132" y="133"/>
                    <a:pt x="132" y="133"/>
                  </a:cubicBezTo>
                  <a:cubicBezTo>
                    <a:pt x="131" y="134"/>
                    <a:pt x="131" y="134"/>
                    <a:pt x="130" y="135"/>
                  </a:cubicBezTo>
                  <a:cubicBezTo>
                    <a:pt x="129" y="135"/>
                    <a:pt x="128" y="136"/>
                    <a:pt x="127" y="136"/>
                  </a:cubicBezTo>
                  <a:cubicBezTo>
                    <a:pt x="125" y="136"/>
                    <a:pt x="125" y="137"/>
                    <a:pt x="124" y="138"/>
                  </a:cubicBezTo>
                  <a:cubicBezTo>
                    <a:pt x="123" y="139"/>
                    <a:pt x="123" y="139"/>
                    <a:pt x="123" y="140"/>
                  </a:cubicBezTo>
                  <a:cubicBezTo>
                    <a:pt x="122" y="141"/>
                    <a:pt x="122" y="142"/>
                    <a:pt x="121" y="142"/>
                  </a:cubicBezTo>
                  <a:cubicBezTo>
                    <a:pt x="121" y="143"/>
                    <a:pt x="120" y="143"/>
                    <a:pt x="119" y="143"/>
                  </a:cubicBezTo>
                  <a:cubicBezTo>
                    <a:pt x="119" y="144"/>
                    <a:pt x="119" y="145"/>
                    <a:pt x="118" y="145"/>
                  </a:cubicBezTo>
                  <a:cubicBezTo>
                    <a:pt x="118" y="145"/>
                    <a:pt x="117" y="146"/>
                    <a:pt x="117" y="146"/>
                  </a:cubicBezTo>
                  <a:cubicBezTo>
                    <a:pt x="116" y="147"/>
                    <a:pt x="115" y="147"/>
                    <a:pt x="115" y="148"/>
                  </a:cubicBezTo>
                  <a:cubicBezTo>
                    <a:pt x="114" y="148"/>
                    <a:pt x="114" y="149"/>
                    <a:pt x="114" y="150"/>
                  </a:cubicBezTo>
                  <a:cubicBezTo>
                    <a:pt x="113" y="152"/>
                    <a:pt x="111" y="154"/>
                    <a:pt x="109" y="155"/>
                  </a:cubicBezTo>
                  <a:cubicBezTo>
                    <a:pt x="108" y="157"/>
                    <a:pt x="107" y="159"/>
                    <a:pt x="106" y="161"/>
                  </a:cubicBezTo>
                  <a:cubicBezTo>
                    <a:pt x="106" y="162"/>
                    <a:pt x="105" y="164"/>
                    <a:pt x="104" y="166"/>
                  </a:cubicBezTo>
                  <a:cubicBezTo>
                    <a:pt x="103" y="166"/>
                    <a:pt x="103" y="167"/>
                    <a:pt x="102" y="168"/>
                  </a:cubicBezTo>
                  <a:cubicBezTo>
                    <a:pt x="102" y="168"/>
                    <a:pt x="102" y="169"/>
                    <a:pt x="101" y="170"/>
                  </a:cubicBezTo>
                  <a:cubicBezTo>
                    <a:pt x="100" y="171"/>
                    <a:pt x="97" y="170"/>
                    <a:pt x="96" y="170"/>
                  </a:cubicBezTo>
                  <a:cubicBezTo>
                    <a:pt x="96" y="169"/>
                    <a:pt x="95" y="169"/>
                    <a:pt x="95" y="168"/>
                  </a:cubicBezTo>
                  <a:cubicBezTo>
                    <a:pt x="94" y="168"/>
                    <a:pt x="93" y="168"/>
                    <a:pt x="92" y="168"/>
                  </a:cubicBezTo>
                  <a:cubicBezTo>
                    <a:pt x="91" y="168"/>
                    <a:pt x="91" y="168"/>
                    <a:pt x="90" y="168"/>
                  </a:cubicBezTo>
                  <a:cubicBezTo>
                    <a:pt x="89" y="168"/>
                    <a:pt x="89" y="168"/>
                    <a:pt x="88" y="168"/>
                  </a:cubicBezTo>
                  <a:cubicBezTo>
                    <a:pt x="87" y="168"/>
                    <a:pt x="86" y="169"/>
                    <a:pt x="85" y="168"/>
                  </a:cubicBezTo>
                  <a:cubicBezTo>
                    <a:pt x="85" y="167"/>
                    <a:pt x="85" y="166"/>
                    <a:pt x="84" y="166"/>
                  </a:cubicBezTo>
                  <a:cubicBezTo>
                    <a:pt x="83" y="165"/>
                    <a:pt x="83" y="165"/>
                    <a:pt x="83" y="166"/>
                  </a:cubicBezTo>
                  <a:cubicBezTo>
                    <a:pt x="82" y="166"/>
                    <a:pt x="82" y="166"/>
                    <a:pt x="81" y="166"/>
                  </a:cubicBezTo>
                  <a:cubicBezTo>
                    <a:pt x="80" y="167"/>
                    <a:pt x="78" y="166"/>
                    <a:pt x="77" y="167"/>
                  </a:cubicBezTo>
                  <a:cubicBezTo>
                    <a:pt x="76" y="167"/>
                    <a:pt x="76" y="168"/>
                    <a:pt x="75" y="168"/>
                  </a:cubicBezTo>
                  <a:cubicBezTo>
                    <a:pt x="74" y="168"/>
                    <a:pt x="74" y="166"/>
                    <a:pt x="73" y="165"/>
                  </a:cubicBezTo>
                  <a:cubicBezTo>
                    <a:pt x="72" y="164"/>
                    <a:pt x="72" y="161"/>
                    <a:pt x="70" y="160"/>
                  </a:cubicBezTo>
                  <a:cubicBezTo>
                    <a:pt x="69" y="159"/>
                    <a:pt x="68" y="159"/>
                    <a:pt x="68" y="158"/>
                  </a:cubicBezTo>
                  <a:cubicBezTo>
                    <a:pt x="68" y="157"/>
                    <a:pt x="69" y="157"/>
                    <a:pt x="69" y="156"/>
                  </a:cubicBezTo>
                  <a:cubicBezTo>
                    <a:pt x="69" y="155"/>
                    <a:pt x="69" y="155"/>
                    <a:pt x="70" y="155"/>
                  </a:cubicBezTo>
                  <a:cubicBezTo>
                    <a:pt x="71" y="154"/>
                    <a:pt x="70" y="152"/>
                    <a:pt x="69" y="151"/>
                  </a:cubicBezTo>
                  <a:cubicBezTo>
                    <a:pt x="68" y="149"/>
                    <a:pt x="67" y="148"/>
                    <a:pt x="67" y="146"/>
                  </a:cubicBezTo>
                  <a:cubicBezTo>
                    <a:pt x="66" y="145"/>
                    <a:pt x="65" y="144"/>
                    <a:pt x="64" y="143"/>
                  </a:cubicBezTo>
                  <a:cubicBezTo>
                    <a:pt x="63" y="143"/>
                    <a:pt x="63" y="143"/>
                    <a:pt x="62" y="142"/>
                  </a:cubicBezTo>
                  <a:cubicBezTo>
                    <a:pt x="62" y="142"/>
                    <a:pt x="61" y="141"/>
                    <a:pt x="61" y="141"/>
                  </a:cubicBezTo>
                  <a:cubicBezTo>
                    <a:pt x="60" y="140"/>
                    <a:pt x="59" y="137"/>
                    <a:pt x="57" y="138"/>
                  </a:cubicBezTo>
                  <a:cubicBezTo>
                    <a:pt x="56" y="139"/>
                    <a:pt x="56" y="140"/>
                    <a:pt x="55" y="140"/>
                  </a:cubicBezTo>
                  <a:cubicBezTo>
                    <a:pt x="54" y="141"/>
                    <a:pt x="53" y="141"/>
                    <a:pt x="53" y="141"/>
                  </a:cubicBezTo>
                  <a:cubicBezTo>
                    <a:pt x="52" y="141"/>
                    <a:pt x="52" y="141"/>
                    <a:pt x="52" y="140"/>
                  </a:cubicBezTo>
                  <a:cubicBezTo>
                    <a:pt x="51" y="139"/>
                    <a:pt x="50" y="138"/>
                    <a:pt x="49" y="137"/>
                  </a:cubicBezTo>
                  <a:cubicBezTo>
                    <a:pt x="49" y="137"/>
                    <a:pt x="48" y="136"/>
                    <a:pt x="48" y="135"/>
                  </a:cubicBezTo>
                  <a:cubicBezTo>
                    <a:pt x="47" y="134"/>
                    <a:pt x="47" y="134"/>
                    <a:pt x="46" y="134"/>
                  </a:cubicBezTo>
                  <a:cubicBezTo>
                    <a:pt x="43" y="133"/>
                    <a:pt x="42" y="131"/>
                    <a:pt x="41" y="129"/>
                  </a:cubicBezTo>
                  <a:cubicBezTo>
                    <a:pt x="40" y="127"/>
                    <a:pt x="38" y="125"/>
                    <a:pt x="37" y="123"/>
                  </a:cubicBezTo>
                  <a:cubicBezTo>
                    <a:pt x="37" y="121"/>
                    <a:pt x="37" y="119"/>
                    <a:pt x="37" y="118"/>
                  </a:cubicBezTo>
                  <a:cubicBezTo>
                    <a:pt x="36" y="116"/>
                    <a:pt x="36" y="115"/>
                    <a:pt x="37" y="113"/>
                  </a:cubicBezTo>
                  <a:cubicBezTo>
                    <a:pt x="37" y="112"/>
                    <a:pt x="37" y="111"/>
                    <a:pt x="37" y="109"/>
                  </a:cubicBezTo>
                  <a:cubicBezTo>
                    <a:pt x="37" y="109"/>
                    <a:pt x="37" y="108"/>
                    <a:pt x="36" y="107"/>
                  </a:cubicBezTo>
                  <a:cubicBezTo>
                    <a:pt x="35" y="105"/>
                    <a:pt x="34" y="102"/>
                    <a:pt x="34" y="99"/>
                  </a:cubicBezTo>
                  <a:cubicBezTo>
                    <a:pt x="34" y="97"/>
                    <a:pt x="34" y="95"/>
                    <a:pt x="34" y="93"/>
                  </a:cubicBezTo>
                  <a:cubicBezTo>
                    <a:pt x="35" y="93"/>
                    <a:pt x="35" y="92"/>
                    <a:pt x="35" y="91"/>
                  </a:cubicBezTo>
                  <a:cubicBezTo>
                    <a:pt x="35" y="90"/>
                    <a:pt x="35" y="89"/>
                    <a:pt x="36" y="88"/>
                  </a:cubicBezTo>
                  <a:cubicBezTo>
                    <a:pt x="37" y="86"/>
                    <a:pt x="38" y="85"/>
                    <a:pt x="39" y="83"/>
                  </a:cubicBezTo>
                  <a:cubicBezTo>
                    <a:pt x="40" y="80"/>
                    <a:pt x="40" y="77"/>
                    <a:pt x="41" y="75"/>
                  </a:cubicBezTo>
                  <a:cubicBezTo>
                    <a:pt x="41" y="73"/>
                    <a:pt x="41" y="72"/>
                    <a:pt x="42" y="71"/>
                  </a:cubicBezTo>
                  <a:cubicBezTo>
                    <a:pt x="42" y="69"/>
                    <a:pt x="44" y="68"/>
                    <a:pt x="45" y="67"/>
                  </a:cubicBezTo>
                  <a:cubicBezTo>
                    <a:pt x="46" y="65"/>
                    <a:pt x="46" y="64"/>
                    <a:pt x="47" y="63"/>
                  </a:cubicBezTo>
                  <a:cubicBezTo>
                    <a:pt x="48" y="62"/>
                    <a:pt x="50" y="61"/>
                    <a:pt x="50" y="59"/>
                  </a:cubicBezTo>
                  <a:cubicBezTo>
                    <a:pt x="51" y="58"/>
                    <a:pt x="52" y="57"/>
                    <a:pt x="53" y="56"/>
                  </a:cubicBezTo>
                  <a:cubicBezTo>
                    <a:pt x="54" y="55"/>
                    <a:pt x="56" y="55"/>
                    <a:pt x="57" y="54"/>
                  </a:cubicBezTo>
                  <a:cubicBezTo>
                    <a:pt x="58" y="53"/>
                    <a:pt x="60" y="54"/>
                    <a:pt x="62" y="53"/>
                  </a:cubicBezTo>
                  <a:cubicBezTo>
                    <a:pt x="63" y="52"/>
                    <a:pt x="64" y="51"/>
                    <a:pt x="66" y="51"/>
                  </a:cubicBezTo>
                  <a:cubicBezTo>
                    <a:pt x="69" y="52"/>
                    <a:pt x="73" y="51"/>
                    <a:pt x="76" y="52"/>
                  </a:cubicBezTo>
                  <a:cubicBezTo>
                    <a:pt x="77" y="52"/>
                    <a:pt x="77" y="53"/>
                    <a:pt x="78" y="53"/>
                  </a:cubicBezTo>
                  <a:cubicBezTo>
                    <a:pt x="79" y="55"/>
                    <a:pt x="80" y="54"/>
                    <a:pt x="82" y="54"/>
                  </a:cubicBezTo>
                  <a:cubicBezTo>
                    <a:pt x="83" y="54"/>
                    <a:pt x="83" y="55"/>
                    <a:pt x="84" y="55"/>
                  </a:cubicBezTo>
                  <a:cubicBezTo>
                    <a:pt x="85" y="55"/>
                    <a:pt x="86" y="56"/>
                    <a:pt x="86" y="56"/>
                  </a:cubicBezTo>
                  <a:cubicBezTo>
                    <a:pt x="87" y="57"/>
                    <a:pt x="88" y="58"/>
                    <a:pt x="89" y="58"/>
                  </a:cubicBezTo>
                  <a:cubicBezTo>
                    <a:pt x="90" y="58"/>
                    <a:pt x="91" y="58"/>
                    <a:pt x="91" y="58"/>
                  </a:cubicBezTo>
                  <a:cubicBezTo>
                    <a:pt x="92" y="58"/>
                    <a:pt x="92" y="57"/>
                    <a:pt x="92" y="57"/>
                  </a:cubicBezTo>
                  <a:cubicBezTo>
                    <a:pt x="93" y="57"/>
                    <a:pt x="94" y="57"/>
                    <a:pt x="94" y="57"/>
                  </a:cubicBezTo>
                  <a:cubicBezTo>
                    <a:pt x="95" y="57"/>
                    <a:pt x="96" y="57"/>
                    <a:pt x="97" y="57"/>
                  </a:cubicBezTo>
                  <a:cubicBezTo>
                    <a:pt x="97" y="57"/>
                    <a:pt x="97" y="58"/>
                    <a:pt x="98" y="58"/>
                  </a:cubicBezTo>
                  <a:cubicBezTo>
                    <a:pt x="99" y="59"/>
                    <a:pt x="101" y="58"/>
                    <a:pt x="102" y="57"/>
                  </a:cubicBezTo>
                  <a:cubicBezTo>
                    <a:pt x="103" y="57"/>
                    <a:pt x="104" y="56"/>
                    <a:pt x="104" y="55"/>
                  </a:cubicBezTo>
                  <a:cubicBezTo>
                    <a:pt x="105" y="54"/>
                    <a:pt x="106" y="55"/>
                    <a:pt x="107" y="54"/>
                  </a:cubicBezTo>
                  <a:cubicBezTo>
                    <a:pt x="109" y="54"/>
                    <a:pt x="109" y="53"/>
                    <a:pt x="110" y="53"/>
                  </a:cubicBezTo>
                  <a:cubicBezTo>
                    <a:pt x="111" y="52"/>
                    <a:pt x="112" y="53"/>
                    <a:pt x="113" y="53"/>
                  </a:cubicBezTo>
                  <a:cubicBezTo>
                    <a:pt x="114" y="54"/>
                    <a:pt x="115" y="54"/>
                    <a:pt x="116" y="53"/>
                  </a:cubicBezTo>
                  <a:cubicBezTo>
                    <a:pt x="116" y="52"/>
                    <a:pt x="116" y="52"/>
                    <a:pt x="116" y="5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2" name="Freeform 68">
              <a:extLst>
                <a:ext uri="{FF2B5EF4-FFF2-40B4-BE49-F238E27FC236}">
                  <a16:creationId xmlns:a16="http://schemas.microsoft.com/office/drawing/2014/main" id="{6F50200E-EE94-2AA9-F2AE-FC85B52DF918}"/>
                </a:ext>
              </a:extLst>
            </p:cNvPr>
            <p:cNvSpPr>
              <a:spLocks/>
            </p:cNvSpPr>
            <p:nvPr/>
          </p:nvSpPr>
          <p:spPr bwMode="auto">
            <a:xfrm>
              <a:off x="4318000" y="3641725"/>
              <a:ext cx="1187450" cy="1009650"/>
            </a:xfrm>
            <a:custGeom>
              <a:avLst/>
              <a:gdLst>
                <a:gd name="T0" fmla="*/ 230 w 312"/>
                <a:gd name="T1" fmla="*/ 233 h 265"/>
                <a:gd name="T2" fmla="*/ 235 w 312"/>
                <a:gd name="T3" fmla="*/ 220 h 265"/>
                <a:gd name="T4" fmla="*/ 247 w 312"/>
                <a:gd name="T5" fmla="*/ 207 h 265"/>
                <a:gd name="T6" fmla="*/ 278 w 312"/>
                <a:gd name="T7" fmla="*/ 179 h 265"/>
                <a:gd name="T8" fmla="*/ 285 w 312"/>
                <a:gd name="T9" fmla="*/ 166 h 265"/>
                <a:gd name="T10" fmla="*/ 293 w 312"/>
                <a:gd name="T11" fmla="*/ 133 h 265"/>
                <a:gd name="T12" fmla="*/ 309 w 312"/>
                <a:gd name="T13" fmla="*/ 116 h 265"/>
                <a:gd name="T14" fmla="*/ 282 w 312"/>
                <a:gd name="T15" fmla="*/ 84 h 265"/>
                <a:gd name="T16" fmla="*/ 275 w 312"/>
                <a:gd name="T17" fmla="*/ 62 h 265"/>
                <a:gd name="T18" fmla="*/ 274 w 312"/>
                <a:gd name="T19" fmla="*/ 52 h 265"/>
                <a:gd name="T20" fmla="*/ 255 w 312"/>
                <a:gd name="T21" fmla="*/ 55 h 265"/>
                <a:gd name="T22" fmla="*/ 253 w 312"/>
                <a:gd name="T23" fmla="*/ 32 h 265"/>
                <a:gd name="T24" fmla="*/ 260 w 312"/>
                <a:gd name="T25" fmla="*/ 9 h 265"/>
                <a:gd name="T26" fmla="*/ 249 w 312"/>
                <a:gd name="T27" fmla="*/ 2 h 265"/>
                <a:gd name="T28" fmla="*/ 232 w 312"/>
                <a:gd name="T29" fmla="*/ 10 h 265"/>
                <a:gd name="T30" fmla="*/ 212 w 312"/>
                <a:gd name="T31" fmla="*/ 15 h 265"/>
                <a:gd name="T32" fmla="*/ 201 w 312"/>
                <a:gd name="T33" fmla="*/ 8 h 265"/>
                <a:gd name="T34" fmla="*/ 183 w 312"/>
                <a:gd name="T35" fmla="*/ 15 h 265"/>
                <a:gd name="T36" fmla="*/ 158 w 312"/>
                <a:gd name="T37" fmla="*/ 32 h 265"/>
                <a:gd name="T38" fmla="*/ 164 w 312"/>
                <a:gd name="T39" fmla="*/ 49 h 265"/>
                <a:gd name="T40" fmla="*/ 152 w 312"/>
                <a:gd name="T41" fmla="*/ 70 h 265"/>
                <a:gd name="T42" fmla="*/ 136 w 312"/>
                <a:gd name="T43" fmla="*/ 79 h 265"/>
                <a:gd name="T44" fmla="*/ 120 w 312"/>
                <a:gd name="T45" fmla="*/ 88 h 265"/>
                <a:gd name="T46" fmla="*/ 104 w 312"/>
                <a:gd name="T47" fmla="*/ 89 h 265"/>
                <a:gd name="T48" fmla="*/ 87 w 312"/>
                <a:gd name="T49" fmla="*/ 88 h 265"/>
                <a:gd name="T50" fmla="*/ 76 w 312"/>
                <a:gd name="T51" fmla="*/ 98 h 265"/>
                <a:gd name="T52" fmla="*/ 63 w 312"/>
                <a:gd name="T53" fmla="*/ 104 h 265"/>
                <a:gd name="T54" fmla="*/ 41 w 312"/>
                <a:gd name="T55" fmla="*/ 124 h 265"/>
                <a:gd name="T56" fmla="*/ 23 w 312"/>
                <a:gd name="T57" fmla="*/ 143 h 265"/>
                <a:gd name="T58" fmla="*/ 8 w 312"/>
                <a:gd name="T59" fmla="*/ 147 h 265"/>
                <a:gd name="T60" fmla="*/ 16 w 312"/>
                <a:gd name="T61" fmla="*/ 158 h 265"/>
                <a:gd name="T62" fmla="*/ 20 w 312"/>
                <a:gd name="T63" fmla="*/ 175 h 265"/>
                <a:gd name="T64" fmla="*/ 24 w 312"/>
                <a:gd name="T65" fmla="*/ 210 h 265"/>
                <a:gd name="T66" fmla="*/ 0 w 312"/>
                <a:gd name="T67" fmla="*/ 231 h 265"/>
                <a:gd name="T68" fmla="*/ 25 w 312"/>
                <a:gd name="T69" fmla="*/ 233 h 265"/>
                <a:gd name="T70" fmla="*/ 44 w 312"/>
                <a:gd name="T71" fmla="*/ 225 h 265"/>
                <a:gd name="T72" fmla="*/ 54 w 312"/>
                <a:gd name="T73" fmla="*/ 229 h 265"/>
                <a:gd name="T74" fmla="*/ 59 w 312"/>
                <a:gd name="T75" fmla="*/ 219 h 265"/>
                <a:gd name="T76" fmla="*/ 65 w 312"/>
                <a:gd name="T77" fmla="*/ 242 h 265"/>
                <a:gd name="T78" fmla="*/ 69 w 312"/>
                <a:gd name="T79" fmla="*/ 265 h 265"/>
                <a:gd name="T80" fmla="*/ 102 w 312"/>
                <a:gd name="T81" fmla="*/ 254 h 265"/>
                <a:gd name="T82" fmla="*/ 115 w 312"/>
                <a:gd name="T83" fmla="*/ 255 h 265"/>
                <a:gd name="T84" fmla="*/ 135 w 312"/>
                <a:gd name="T85" fmla="*/ 240 h 265"/>
                <a:gd name="T86" fmla="*/ 136 w 312"/>
                <a:gd name="T87" fmla="*/ 221 h 265"/>
                <a:gd name="T88" fmla="*/ 148 w 312"/>
                <a:gd name="T89" fmla="*/ 235 h 265"/>
                <a:gd name="T90" fmla="*/ 156 w 312"/>
                <a:gd name="T91" fmla="*/ 245 h 265"/>
                <a:gd name="T92" fmla="*/ 160 w 312"/>
                <a:gd name="T93" fmla="*/ 251 h 265"/>
                <a:gd name="T94" fmla="*/ 174 w 312"/>
                <a:gd name="T95" fmla="*/ 242 h 265"/>
                <a:gd name="T96" fmla="*/ 174 w 312"/>
                <a:gd name="T97" fmla="*/ 259 h 265"/>
                <a:gd name="T98" fmla="*/ 204 w 312"/>
                <a:gd name="T99" fmla="*/ 249 h 265"/>
                <a:gd name="T100" fmla="*/ 205 w 312"/>
                <a:gd name="T101" fmla="*/ 249 h 265"/>
                <a:gd name="T102" fmla="*/ 217 w 312"/>
                <a:gd name="T103" fmla="*/ 248 h 265"/>
                <a:gd name="T104" fmla="*/ 220 w 312"/>
                <a:gd name="T105"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265">
                  <a:moveTo>
                    <a:pt x="222" y="247"/>
                  </a:moveTo>
                  <a:cubicBezTo>
                    <a:pt x="225" y="246"/>
                    <a:pt x="225" y="246"/>
                    <a:pt x="225" y="246"/>
                  </a:cubicBezTo>
                  <a:cubicBezTo>
                    <a:pt x="225" y="242"/>
                    <a:pt x="225" y="242"/>
                    <a:pt x="225" y="242"/>
                  </a:cubicBezTo>
                  <a:cubicBezTo>
                    <a:pt x="231" y="237"/>
                    <a:pt x="231" y="237"/>
                    <a:pt x="231" y="237"/>
                  </a:cubicBezTo>
                  <a:cubicBezTo>
                    <a:pt x="230" y="233"/>
                    <a:pt x="230" y="233"/>
                    <a:pt x="230" y="233"/>
                  </a:cubicBezTo>
                  <a:cubicBezTo>
                    <a:pt x="231" y="230"/>
                    <a:pt x="231" y="230"/>
                    <a:pt x="231" y="230"/>
                  </a:cubicBezTo>
                  <a:cubicBezTo>
                    <a:pt x="231" y="226"/>
                    <a:pt x="231" y="226"/>
                    <a:pt x="231" y="226"/>
                  </a:cubicBezTo>
                  <a:cubicBezTo>
                    <a:pt x="233" y="224"/>
                    <a:pt x="233" y="224"/>
                    <a:pt x="233" y="224"/>
                  </a:cubicBezTo>
                  <a:cubicBezTo>
                    <a:pt x="236" y="224"/>
                    <a:pt x="236" y="224"/>
                    <a:pt x="236" y="224"/>
                  </a:cubicBezTo>
                  <a:cubicBezTo>
                    <a:pt x="235" y="220"/>
                    <a:pt x="235" y="220"/>
                    <a:pt x="235" y="220"/>
                  </a:cubicBezTo>
                  <a:cubicBezTo>
                    <a:pt x="240" y="218"/>
                    <a:pt x="240" y="218"/>
                    <a:pt x="240" y="218"/>
                  </a:cubicBezTo>
                  <a:cubicBezTo>
                    <a:pt x="241" y="216"/>
                    <a:pt x="241" y="216"/>
                    <a:pt x="241" y="216"/>
                  </a:cubicBezTo>
                  <a:cubicBezTo>
                    <a:pt x="245" y="214"/>
                    <a:pt x="245" y="214"/>
                    <a:pt x="245" y="214"/>
                  </a:cubicBezTo>
                  <a:cubicBezTo>
                    <a:pt x="247" y="212"/>
                    <a:pt x="247" y="212"/>
                    <a:pt x="247" y="212"/>
                  </a:cubicBezTo>
                  <a:cubicBezTo>
                    <a:pt x="247" y="207"/>
                    <a:pt x="247" y="207"/>
                    <a:pt x="247" y="207"/>
                  </a:cubicBezTo>
                  <a:cubicBezTo>
                    <a:pt x="256" y="197"/>
                    <a:pt x="256" y="197"/>
                    <a:pt x="256" y="197"/>
                  </a:cubicBezTo>
                  <a:cubicBezTo>
                    <a:pt x="259" y="196"/>
                    <a:pt x="259" y="196"/>
                    <a:pt x="259" y="196"/>
                  </a:cubicBezTo>
                  <a:cubicBezTo>
                    <a:pt x="274" y="184"/>
                    <a:pt x="274" y="184"/>
                    <a:pt x="274" y="184"/>
                  </a:cubicBezTo>
                  <a:cubicBezTo>
                    <a:pt x="277" y="184"/>
                    <a:pt x="277" y="184"/>
                    <a:pt x="277" y="184"/>
                  </a:cubicBezTo>
                  <a:cubicBezTo>
                    <a:pt x="278" y="179"/>
                    <a:pt x="278" y="179"/>
                    <a:pt x="278" y="179"/>
                  </a:cubicBezTo>
                  <a:cubicBezTo>
                    <a:pt x="280" y="175"/>
                    <a:pt x="280" y="175"/>
                    <a:pt x="280" y="175"/>
                  </a:cubicBezTo>
                  <a:cubicBezTo>
                    <a:pt x="284" y="173"/>
                    <a:pt x="284" y="173"/>
                    <a:pt x="284" y="173"/>
                  </a:cubicBezTo>
                  <a:cubicBezTo>
                    <a:pt x="283" y="171"/>
                    <a:pt x="283" y="171"/>
                    <a:pt x="283" y="171"/>
                  </a:cubicBezTo>
                  <a:cubicBezTo>
                    <a:pt x="285" y="168"/>
                    <a:pt x="285" y="168"/>
                    <a:pt x="285" y="168"/>
                  </a:cubicBezTo>
                  <a:cubicBezTo>
                    <a:pt x="285" y="166"/>
                    <a:pt x="285" y="166"/>
                    <a:pt x="285" y="166"/>
                  </a:cubicBezTo>
                  <a:cubicBezTo>
                    <a:pt x="285" y="164"/>
                    <a:pt x="285" y="164"/>
                    <a:pt x="285" y="164"/>
                  </a:cubicBezTo>
                  <a:cubicBezTo>
                    <a:pt x="279" y="164"/>
                    <a:pt x="279" y="164"/>
                    <a:pt x="279" y="164"/>
                  </a:cubicBezTo>
                  <a:cubicBezTo>
                    <a:pt x="279" y="159"/>
                    <a:pt x="279" y="159"/>
                    <a:pt x="279" y="159"/>
                  </a:cubicBezTo>
                  <a:cubicBezTo>
                    <a:pt x="285" y="136"/>
                    <a:pt x="285" y="136"/>
                    <a:pt x="285" y="136"/>
                  </a:cubicBezTo>
                  <a:cubicBezTo>
                    <a:pt x="293" y="133"/>
                    <a:pt x="293" y="133"/>
                    <a:pt x="293" y="133"/>
                  </a:cubicBezTo>
                  <a:cubicBezTo>
                    <a:pt x="300" y="130"/>
                    <a:pt x="300" y="130"/>
                    <a:pt x="300" y="130"/>
                  </a:cubicBezTo>
                  <a:cubicBezTo>
                    <a:pt x="306" y="129"/>
                    <a:pt x="306" y="129"/>
                    <a:pt x="306" y="129"/>
                  </a:cubicBezTo>
                  <a:cubicBezTo>
                    <a:pt x="307" y="124"/>
                    <a:pt x="307" y="124"/>
                    <a:pt x="307" y="124"/>
                  </a:cubicBezTo>
                  <a:cubicBezTo>
                    <a:pt x="312" y="119"/>
                    <a:pt x="312" y="119"/>
                    <a:pt x="312" y="119"/>
                  </a:cubicBezTo>
                  <a:cubicBezTo>
                    <a:pt x="309" y="116"/>
                    <a:pt x="309" y="116"/>
                    <a:pt x="309" y="116"/>
                  </a:cubicBezTo>
                  <a:cubicBezTo>
                    <a:pt x="306" y="117"/>
                    <a:pt x="306" y="117"/>
                    <a:pt x="306" y="117"/>
                  </a:cubicBezTo>
                  <a:cubicBezTo>
                    <a:pt x="290" y="101"/>
                    <a:pt x="290" y="101"/>
                    <a:pt x="290" y="101"/>
                  </a:cubicBezTo>
                  <a:cubicBezTo>
                    <a:pt x="284" y="99"/>
                    <a:pt x="284" y="99"/>
                    <a:pt x="284" y="99"/>
                  </a:cubicBezTo>
                  <a:cubicBezTo>
                    <a:pt x="282" y="95"/>
                    <a:pt x="282" y="95"/>
                    <a:pt x="282" y="95"/>
                  </a:cubicBezTo>
                  <a:cubicBezTo>
                    <a:pt x="282" y="84"/>
                    <a:pt x="282" y="84"/>
                    <a:pt x="282" y="84"/>
                  </a:cubicBezTo>
                  <a:cubicBezTo>
                    <a:pt x="275" y="76"/>
                    <a:pt x="275" y="76"/>
                    <a:pt x="275" y="76"/>
                  </a:cubicBezTo>
                  <a:cubicBezTo>
                    <a:pt x="276" y="72"/>
                    <a:pt x="276" y="72"/>
                    <a:pt x="276" y="72"/>
                  </a:cubicBezTo>
                  <a:cubicBezTo>
                    <a:pt x="274" y="69"/>
                    <a:pt x="274" y="69"/>
                    <a:pt x="274" y="69"/>
                  </a:cubicBezTo>
                  <a:cubicBezTo>
                    <a:pt x="274" y="69"/>
                    <a:pt x="275" y="66"/>
                    <a:pt x="275" y="66"/>
                  </a:cubicBezTo>
                  <a:cubicBezTo>
                    <a:pt x="275" y="65"/>
                    <a:pt x="275" y="63"/>
                    <a:pt x="275" y="62"/>
                  </a:cubicBezTo>
                  <a:cubicBezTo>
                    <a:pt x="275" y="62"/>
                    <a:pt x="276" y="59"/>
                    <a:pt x="277" y="59"/>
                  </a:cubicBezTo>
                  <a:cubicBezTo>
                    <a:pt x="279" y="55"/>
                    <a:pt x="279" y="55"/>
                    <a:pt x="279" y="55"/>
                  </a:cubicBezTo>
                  <a:cubicBezTo>
                    <a:pt x="279" y="51"/>
                    <a:pt x="279" y="51"/>
                    <a:pt x="279" y="51"/>
                  </a:cubicBezTo>
                  <a:cubicBezTo>
                    <a:pt x="277" y="50"/>
                    <a:pt x="277" y="50"/>
                    <a:pt x="277" y="50"/>
                  </a:cubicBezTo>
                  <a:cubicBezTo>
                    <a:pt x="274" y="52"/>
                    <a:pt x="274" y="52"/>
                    <a:pt x="274" y="52"/>
                  </a:cubicBezTo>
                  <a:cubicBezTo>
                    <a:pt x="270" y="54"/>
                    <a:pt x="270" y="54"/>
                    <a:pt x="270" y="54"/>
                  </a:cubicBezTo>
                  <a:cubicBezTo>
                    <a:pt x="266" y="57"/>
                    <a:pt x="266" y="57"/>
                    <a:pt x="266" y="57"/>
                  </a:cubicBezTo>
                  <a:cubicBezTo>
                    <a:pt x="263" y="59"/>
                    <a:pt x="263" y="59"/>
                    <a:pt x="263" y="59"/>
                  </a:cubicBezTo>
                  <a:cubicBezTo>
                    <a:pt x="257" y="60"/>
                    <a:pt x="257" y="60"/>
                    <a:pt x="257" y="60"/>
                  </a:cubicBezTo>
                  <a:cubicBezTo>
                    <a:pt x="255" y="55"/>
                    <a:pt x="255" y="55"/>
                    <a:pt x="255" y="55"/>
                  </a:cubicBezTo>
                  <a:cubicBezTo>
                    <a:pt x="254" y="48"/>
                    <a:pt x="254" y="48"/>
                    <a:pt x="254" y="48"/>
                  </a:cubicBezTo>
                  <a:cubicBezTo>
                    <a:pt x="253" y="45"/>
                    <a:pt x="253" y="45"/>
                    <a:pt x="253" y="45"/>
                  </a:cubicBezTo>
                  <a:cubicBezTo>
                    <a:pt x="247" y="44"/>
                    <a:pt x="247" y="44"/>
                    <a:pt x="247" y="44"/>
                  </a:cubicBezTo>
                  <a:cubicBezTo>
                    <a:pt x="248" y="40"/>
                    <a:pt x="248" y="40"/>
                    <a:pt x="248" y="40"/>
                  </a:cubicBezTo>
                  <a:cubicBezTo>
                    <a:pt x="253" y="32"/>
                    <a:pt x="253" y="32"/>
                    <a:pt x="253" y="32"/>
                  </a:cubicBezTo>
                  <a:cubicBezTo>
                    <a:pt x="256" y="28"/>
                    <a:pt x="256" y="28"/>
                    <a:pt x="256" y="28"/>
                  </a:cubicBezTo>
                  <a:cubicBezTo>
                    <a:pt x="264" y="30"/>
                    <a:pt x="264" y="30"/>
                    <a:pt x="264" y="30"/>
                  </a:cubicBezTo>
                  <a:cubicBezTo>
                    <a:pt x="268" y="24"/>
                    <a:pt x="268" y="24"/>
                    <a:pt x="268" y="24"/>
                  </a:cubicBezTo>
                  <a:cubicBezTo>
                    <a:pt x="264" y="16"/>
                    <a:pt x="264" y="16"/>
                    <a:pt x="264" y="16"/>
                  </a:cubicBezTo>
                  <a:cubicBezTo>
                    <a:pt x="260" y="9"/>
                    <a:pt x="260" y="9"/>
                    <a:pt x="260" y="9"/>
                  </a:cubicBezTo>
                  <a:cubicBezTo>
                    <a:pt x="259" y="3"/>
                    <a:pt x="259" y="3"/>
                    <a:pt x="259" y="3"/>
                  </a:cubicBezTo>
                  <a:cubicBezTo>
                    <a:pt x="254" y="0"/>
                    <a:pt x="254" y="0"/>
                    <a:pt x="254" y="0"/>
                  </a:cubicBezTo>
                  <a:cubicBezTo>
                    <a:pt x="254" y="0"/>
                    <a:pt x="252" y="2"/>
                    <a:pt x="252" y="3"/>
                  </a:cubicBezTo>
                  <a:cubicBezTo>
                    <a:pt x="252" y="3"/>
                    <a:pt x="252" y="5"/>
                    <a:pt x="252" y="5"/>
                  </a:cubicBezTo>
                  <a:cubicBezTo>
                    <a:pt x="249" y="2"/>
                    <a:pt x="249" y="2"/>
                    <a:pt x="249" y="2"/>
                  </a:cubicBezTo>
                  <a:cubicBezTo>
                    <a:pt x="246" y="4"/>
                    <a:pt x="246" y="4"/>
                    <a:pt x="246" y="4"/>
                  </a:cubicBezTo>
                  <a:cubicBezTo>
                    <a:pt x="242" y="6"/>
                    <a:pt x="242" y="6"/>
                    <a:pt x="242" y="6"/>
                  </a:cubicBezTo>
                  <a:cubicBezTo>
                    <a:pt x="242" y="6"/>
                    <a:pt x="240" y="4"/>
                    <a:pt x="240" y="4"/>
                  </a:cubicBezTo>
                  <a:cubicBezTo>
                    <a:pt x="240" y="5"/>
                    <a:pt x="236" y="9"/>
                    <a:pt x="236" y="9"/>
                  </a:cubicBezTo>
                  <a:cubicBezTo>
                    <a:pt x="232" y="10"/>
                    <a:pt x="232" y="10"/>
                    <a:pt x="232" y="10"/>
                  </a:cubicBezTo>
                  <a:cubicBezTo>
                    <a:pt x="231" y="12"/>
                    <a:pt x="231" y="12"/>
                    <a:pt x="231" y="12"/>
                  </a:cubicBezTo>
                  <a:cubicBezTo>
                    <a:pt x="227" y="13"/>
                    <a:pt x="227" y="13"/>
                    <a:pt x="227" y="13"/>
                  </a:cubicBezTo>
                  <a:cubicBezTo>
                    <a:pt x="224" y="18"/>
                    <a:pt x="224" y="18"/>
                    <a:pt x="224" y="18"/>
                  </a:cubicBezTo>
                  <a:cubicBezTo>
                    <a:pt x="224" y="18"/>
                    <a:pt x="220" y="15"/>
                    <a:pt x="219" y="15"/>
                  </a:cubicBezTo>
                  <a:cubicBezTo>
                    <a:pt x="219" y="15"/>
                    <a:pt x="212" y="15"/>
                    <a:pt x="212" y="15"/>
                  </a:cubicBezTo>
                  <a:cubicBezTo>
                    <a:pt x="211" y="15"/>
                    <a:pt x="209" y="12"/>
                    <a:pt x="209" y="12"/>
                  </a:cubicBezTo>
                  <a:cubicBezTo>
                    <a:pt x="209" y="9"/>
                    <a:pt x="209" y="9"/>
                    <a:pt x="209" y="9"/>
                  </a:cubicBezTo>
                  <a:cubicBezTo>
                    <a:pt x="206" y="6"/>
                    <a:pt x="206" y="6"/>
                    <a:pt x="206" y="6"/>
                  </a:cubicBezTo>
                  <a:cubicBezTo>
                    <a:pt x="203" y="6"/>
                    <a:pt x="203" y="6"/>
                    <a:pt x="203" y="6"/>
                  </a:cubicBezTo>
                  <a:cubicBezTo>
                    <a:pt x="202" y="6"/>
                    <a:pt x="202" y="7"/>
                    <a:pt x="201" y="8"/>
                  </a:cubicBezTo>
                  <a:cubicBezTo>
                    <a:pt x="199" y="8"/>
                    <a:pt x="194" y="9"/>
                    <a:pt x="194" y="9"/>
                  </a:cubicBezTo>
                  <a:cubicBezTo>
                    <a:pt x="190" y="8"/>
                    <a:pt x="190" y="8"/>
                    <a:pt x="190" y="8"/>
                  </a:cubicBezTo>
                  <a:cubicBezTo>
                    <a:pt x="190" y="8"/>
                    <a:pt x="189" y="8"/>
                    <a:pt x="188" y="8"/>
                  </a:cubicBezTo>
                  <a:cubicBezTo>
                    <a:pt x="187" y="10"/>
                    <a:pt x="187" y="10"/>
                    <a:pt x="187" y="10"/>
                  </a:cubicBezTo>
                  <a:cubicBezTo>
                    <a:pt x="183" y="15"/>
                    <a:pt x="183" y="15"/>
                    <a:pt x="183" y="15"/>
                  </a:cubicBezTo>
                  <a:cubicBezTo>
                    <a:pt x="181" y="16"/>
                    <a:pt x="181" y="16"/>
                    <a:pt x="181" y="16"/>
                  </a:cubicBezTo>
                  <a:cubicBezTo>
                    <a:pt x="179" y="18"/>
                    <a:pt x="179" y="18"/>
                    <a:pt x="179" y="18"/>
                  </a:cubicBezTo>
                  <a:cubicBezTo>
                    <a:pt x="177" y="22"/>
                    <a:pt x="177" y="22"/>
                    <a:pt x="177" y="22"/>
                  </a:cubicBezTo>
                  <a:cubicBezTo>
                    <a:pt x="165" y="32"/>
                    <a:pt x="165" y="32"/>
                    <a:pt x="165" y="32"/>
                  </a:cubicBezTo>
                  <a:cubicBezTo>
                    <a:pt x="158" y="32"/>
                    <a:pt x="158" y="32"/>
                    <a:pt x="158" y="32"/>
                  </a:cubicBezTo>
                  <a:cubicBezTo>
                    <a:pt x="155" y="34"/>
                    <a:pt x="155" y="34"/>
                    <a:pt x="155" y="34"/>
                  </a:cubicBezTo>
                  <a:cubicBezTo>
                    <a:pt x="157" y="36"/>
                    <a:pt x="157" y="36"/>
                    <a:pt x="157" y="36"/>
                  </a:cubicBezTo>
                  <a:cubicBezTo>
                    <a:pt x="163" y="40"/>
                    <a:pt x="163" y="40"/>
                    <a:pt x="163" y="40"/>
                  </a:cubicBezTo>
                  <a:cubicBezTo>
                    <a:pt x="163" y="40"/>
                    <a:pt x="163" y="44"/>
                    <a:pt x="163" y="44"/>
                  </a:cubicBezTo>
                  <a:cubicBezTo>
                    <a:pt x="163" y="45"/>
                    <a:pt x="164" y="49"/>
                    <a:pt x="164" y="49"/>
                  </a:cubicBezTo>
                  <a:cubicBezTo>
                    <a:pt x="163" y="57"/>
                    <a:pt x="163" y="57"/>
                    <a:pt x="163" y="57"/>
                  </a:cubicBezTo>
                  <a:cubicBezTo>
                    <a:pt x="160" y="61"/>
                    <a:pt x="160" y="61"/>
                    <a:pt x="160" y="61"/>
                  </a:cubicBezTo>
                  <a:cubicBezTo>
                    <a:pt x="156" y="62"/>
                    <a:pt x="156" y="62"/>
                    <a:pt x="156" y="62"/>
                  </a:cubicBezTo>
                  <a:cubicBezTo>
                    <a:pt x="153" y="66"/>
                    <a:pt x="153" y="66"/>
                    <a:pt x="153" y="66"/>
                  </a:cubicBezTo>
                  <a:cubicBezTo>
                    <a:pt x="152" y="70"/>
                    <a:pt x="152" y="70"/>
                    <a:pt x="152" y="70"/>
                  </a:cubicBezTo>
                  <a:cubicBezTo>
                    <a:pt x="154" y="73"/>
                    <a:pt x="154" y="73"/>
                    <a:pt x="154" y="73"/>
                  </a:cubicBezTo>
                  <a:cubicBezTo>
                    <a:pt x="151" y="79"/>
                    <a:pt x="151" y="79"/>
                    <a:pt x="151" y="79"/>
                  </a:cubicBezTo>
                  <a:cubicBezTo>
                    <a:pt x="147" y="75"/>
                    <a:pt x="147" y="75"/>
                    <a:pt x="147" y="75"/>
                  </a:cubicBezTo>
                  <a:cubicBezTo>
                    <a:pt x="142" y="78"/>
                    <a:pt x="142" y="78"/>
                    <a:pt x="142" y="78"/>
                  </a:cubicBezTo>
                  <a:cubicBezTo>
                    <a:pt x="136" y="79"/>
                    <a:pt x="136" y="79"/>
                    <a:pt x="136" y="79"/>
                  </a:cubicBezTo>
                  <a:cubicBezTo>
                    <a:pt x="132" y="80"/>
                    <a:pt x="132" y="80"/>
                    <a:pt x="132" y="80"/>
                  </a:cubicBezTo>
                  <a:cubicBezTo>
                    <a:pt x="128" y="83"/>
                    <a:pt x="128" y="83"/>
                    <a:pt x="128" y="83"/>
                  </a:cubicBezTo>
                  <a:cubicBezTo>
                    <a:pt x="123" y="82"/>
                    <a:pt x="123" y="82"/>
                    <a:pt x="123" y="82"/>
                  </a:cubicBezTo>
                  <a:cubicBezTo>
                    <a:pt x="122" y="85"/>
                    <a:pt x="122" y="85"/>
                    <a:pt x="122" y="85"/>
                  </a:cubicBezTo>
                  <a:cubicBezTo>
                    <a:pt x="120" y="88"/>
                    <a:pt x="120" y="88"/>
                    <a:pt x="120" y="88"/>
                  </a:cubicBezTo>
                  <a:cubicBezTo>
                    <a:pt x="115" y="88"/>
                    <a:pt x="115" y="88"/>
                    <a:pt x="115" y="88"/>
                  </a:cubicBezTo>
                  <a:cubicBezTo>
                    <a:pt x="112" y="91"/>
                    <a:pt x="112" y="91"/>
                    <a:pt x="112" y="91"/>
                  </a:cubicBezTo>
                  <a:cubicBezTo>
                    <a:pt x="108" y="90"/>
                    <a:pt x="108" y="90"/>
                    <a:pt x="108" y="90"/>
                  </a:cubicBezTo>
                  <a:cubicBezTo>
                    <a:pt x="107" y="93"/>
                    <a:pt x="107" y="93"/>
                    <a:pt x="107" y="93"/>
                  </a:cubicBezTo>
                  <a:cubicBezTo>
                    <a:pt x="104" y="89"/>
                    <a:pt x="104" y="89"/>
                    <a:pt x="104" y="89"/>
                  </a:cubicBezTo>
                  <a:cubicBezTo>
                    <a:pt x="101" y="91"/>
                    <a:pt x="101" y="91"/>
                    <a:pt x="101" y="91"/>
                  </a:cubicBezTo>
                  <a:cubicBezTo>
                    <a:pt x="95" y="93"/>
                    <a:pt x="95" y="93"/>
                    <a:pt x="95" y="93"/>
                  </a:cubicBezTo>
                  <a:cubicBezTo>
                    <a:pt x="93" y="88"/>
                    <a:pt x="93" y="88"/>
                    <a:pt x="93" y="88"/>
                  </a:cubicBezTo>
                  <a:cubicBezTo>
                    <a:pt x="89" y="85"/>
                    <a:pt x="89" y="85"/>
                    <a:pt x="89" y="85"/>
                  </a:cubicBezTo>
                  <a:cubicBezTo>
                    <a:pt x="87" y="88"/>
                    <a:pt x="87" y="88"/>
                    <a:pt x="87" y="88"/>
                  </a:cubicBezTo>
                  <a:cubicBezTo>
                    <a:pt x="86" y="92"/>
                    <a:pt x="86" y="92"/>
                    <a:pt x="86" y="92"/>
                  </a:cubicBezTo>
                  <a:cubicBezTo>
                    <a:pt x="80" y="91"/>
                    <a:pt x="80" y="91"/>
                    <a:pt x="80" y="91"/>
                  </a:cubicBezTo>
                  <a:cubicBezTo>
                    <a:pt x="79" y="92"/>
                    <a:pt x="79" y="92"/>
                    <a:pt x="79" y="92"/>
                  </a:cubicBezTo>
                  <a:cubicBezTo>
                    <a:pt x="78" y="97"/>
                    <a:pt x="78" y="97"/>
                    <a:pt x="78" y="97"/>
                  </a:cubicBezTo>
                  <a:cubicBezTo>
                    <a:pt x="76" y="98"/>
                    <a:pt x="76" y="98"/>
                    <a:pt x="76" y="98"/>
                  </a:cubicBezTo>
                  <a:cubicBezTo>
                    <a:pt x="72" y="96"/>
                    <a:pt x="72" y="96"/>
                    <a:pt x="72" y="96"/>
                  </a:cubicBezTo>
                  <a:cubicBezTo>
                    <a:pt x="72" y="100"/>
                    <a:pt x="72" y="100"/>
                    <a:pt x="72" y="100"/>
                  </a:cubicBezTo>
                  <a:cubicBezTo>
                    <a:pt x="69" y="101"/>
                    <a:pt x="69" y="101"/>
                    <a:pt x="69" y="101"/>
                  </a:cubicBezTo>
                  <a:cubicBezTo>
                    <a:pt x="67" y="104"/>
                    <a:pt x="67" y="104"/>
                    <a:pt x="67" y="104"/>
                  </a:cubicBezTo>
                  <a:cubicBezTo>
                    <a:pt x="63" y="104"/>
                    <a:pt x="63" y="104"/>
                    <a:pt x="63" y="104"/>
                  </a:cubicBezTo>
                  <a:cubicBezTo>
                    <a:pt x="54" y="108"/>
                    <a:pt x="54" y="108"/>
                    <a:pt x="54" y="108"/>
                  </a:cubicBezTo>
                  <a:cubicBezTo>
                    <a:pt x="54" y="111"/>
                    <a:pt x="54" y="111"/>
                    <a:pt x="54" y="111"/>
                  </a:cubicBezTo>
                  <a:cubicBezTo>
                    <a:pt x="50" y="115"/>
                    <a:pt x="50" y="115"/>
                    <a:pt x="50" y="115"/>
                  </a:cubicBezTo>
                  <a:cubicBezTo>
                    <a:pt x="49" y="122"/>
                    <a:pt x="49" y="122"/>
                    <a:pt x="49" y="122"/>
                  </a:cubicBezTo>
                  <a:cubicBezTo>
                    <a:pt x="41" y="124"/>
                    <a:pt x="41" y="124"/>
                    <a:pt x="41" y="124"/>
                  </a:cubicBezTo>
                  <a:cubicBezTo>
                    <a:pt x="35" y="133"/>
                    <a:pt x="35" y="133"/>
                    <a:pt x="35" y="133"/>
                  </a:cubicBezTo>
                  <a:cubicBezTo>
                    <a:pt x="31" y="135"/>
                    <a:pt x="31" y="135"/>
                    <a:pt x="31" y="135"/>
                  </a:cubicBezTo>
                  <a:cubicBezTo>
                    <a:pt x="27" y="136"/>
                    <a:pt x="27" y="136"/>
                    <a:pt x="27" y="136"/>
                  </a:cubicBezTo>
                  <a:cubicBezTo>
                    <a:pt x="24" y="136"/>
                    <a:pt x="24" y="136"/>
                    <a:pt x="24" y="136"/>
                  </a:cubicBezTo>
                  <a:cubicBezTo>
                    <a:pt x="23" y="143"/>
                    <a:pt x="23" y="143"/>
                    <a:pt x="23" y="143"/>
                  </a:cubicBezTo>
                  <a:cubicBezTo>
                    <a:pt x="22" y="143"/>
                    <a:pt x="22" y="143"/>
                    <a:pt x="22" y="143"/>
                  </a:cubicBezTo>
                  <a:cubicBezTo>
                    <a:pt x="20" y="142"/>
                    <a:pt x="20" y="142"/>
                    <a:pt x="20" y="142"/>
                  </a:cubicBezTo>
                  <a:cubicBezTo>
                    <a:pt x="18" y="144"/>
                    <a:pt x="18" y="144"/>
                    <a:pt x="18" y="144"/>
                  </a:cubicBezTo>
                  <a:cubicBezTo>
                    <a:pt x="15" y="143"/>
                    <a:pt x="15" y="143"/>
                    <a:pt x="15" y="143"/>
                  </a:cubicBezTo>
                  <a:cubicBezTo>
                    <a:pt x="8" y="147"/>
                    <a:pt x="8" y="147"/>
                    <a:pt x="8" y="147"/>
                  </a:cubicBezTo>
                  <a:cubicBezTo>
                    <a:pt x="8" y="151"/>
                    <a:pt x="8" y="151"/>
                    <a:pt x="8" y="151"/>
                  </a:cubicBezTo>
                  <a:cubicBezTo>
                    <a:pt x="10" y="153"/>
                    <a:pt x="10" y="153"/>
                    <a:pt x="10" y="153"/>
                  </a:cubicBezTo>
                  <a:cubicBezTo>
                    <a:pt x="16" y="151"/>
                    <a:pt x="16" y="151"/>
                    <a:pt x="16" y="151"/>
                  </a:cubicBezTo>
                  <a:cubicBezTo>
                    <a:pt x="16" y="151"/>
                    <a:pt x="17" y="155"/>
                    <a:pt x="17" y="156"/>
                  </a:cubicBezTo>
                  <a:cubicBezTo>
                    <a:pt x="17" y="156"/>
                    <a:pt x="16" y="158"/>
                    <a:pt x="16" y="158"/>
                  </a:cubicBezTo>
                  <a:cubicBezTo>
                    <a:pt x="15" y="162"/>
                    <a:pt x="15" y="162"/>
                    <a:pt x="15" y="162"/>
                  </a:cubicBezTo>
                  <a:cubicBezTo>
                    <a:pt x="15" y="166"/>
                    <a:pt x="15" y="166"/>
                    <a:pt x="15" y="166"/>
                  </a:cubicBezTo>
                  <a:cubicBezTo>
                    <a:pt x="18" y="168"/>
                    <a:pt x="18" y="168"/>
                    <a:pt x="18" y="168"/>
                  </a:cubicBezTo>
                  <a:cubicBezTo>
                    <a:pt x="21" y="171"/>
                    <a:pt x="21" y="171"/>
                    <a:pt x="21" y="171"/>
                  </a:cubicBezTo>
                  <a:cubicBezTo>
                    <a:pt x="20" y="175"/>
                    <a:pt x="20" y="175"/>
                    <a:pt x="20" y="175"/>
                  </a:cubicBezTo>
                  <a:cubicBezTo>
                    <a:pt x="20" y="182"/>
                    <a:pt x="20" y="182"/>
                    <a:pt x="20" y="182"/>
                  </a:cubicBezTo>
                  <a:cubicBezTo>
                    <a:pt x="18" y="185"/>
                    <a:pt x="18" y="185"/>
                    <a:pt x="18" y="185"/>
                  </a:cubicBezTo>
                  <a:cubicBezTo>
                    <a:pt x="21" y="188"/>
                    <a:pt x="21" y="188"/>
                    <a:pt x="21" y="188"/>
                  </a:cubicBezTo>
                  <a:cubicBezTo>
                    <a:pt x="24" y="207"/>
                    <a:pt x="24" y="207"/>
                    <a:pt x="24" y="207"/>
                  </a:cubicBezTo>
                  <a:cubicBezTo>
                    <a:pt x="24" y="210"/>
                    <a:pt x="24" y="210"/>
                    <a:pt x="24" y="210"/>
                  </a:cubicBezTo>
                  <a:cubicBezTo>
                    <a:pt x="26" y="214"/>
                    <a:pt x="26" y="214"/>
                    <a:pt x="26" y="214"/>
                  </a:cubicBezTo>
                  <a:cubicBezTo>
                    <a:pt x="24" y="216"/>
                    <a:pt x="24" y="216"/>
                    <a:pt x="24" y="216"/>
                  </a:cubicBezTo>
                  <a:cubicBezTo>
                    <a:pt x="1" y="228"/>
                    <a:pt x="1" y="228"/>
                    <a:pt x="1" y="228"/>
                  </a:cubicBezTo>
                  <a:cubicBezTo>
                    <a:pt x="0" y="231"/>
                    <a:pt x="0" y="231"/>
                    <a:pt x="0" y="231"/>
                  </a:cubicBezTo>
                  <a:cubicBezTo>
                    <a:pt x="0" y="231"/>
                    <a:pt x="0" y="231"/>
                    <a:pt x="0" y="231"/>
                  </a:cubicBezTo>
                  <a:cubicBezTo>
                    <a:pt x="2" y="230"/>
                    <a:pt x="4" y="230"/>
                    <a:pt x="5" y="231"/>
                  </a:cubicBezTo>
                  <a:cubicBezTo>
                    <a:pt x="8" y="232"/>
                    <a:pt x="11" y="233"/>
                    <a:pt x="13" y="235"/>
                  </a:cubicBezTo>
                  <a:cubicBezTo>
                    <a:pt x="14" y="235"/>
                    <a:pt x="14" y="236"/>
                    <a:pt x="15" y="236"/>
                  </a:cubicBezTo>
                  <a:cubicBezTo>
                    <a:pt x="16" y="236"/>
                    <a:pt x="17" y="235"/>
                    <a:pt x="19" y="235"/>
                  </a:cubicBezTo>
                  <a:cubicBezTo>
                    <a:pt x="21" y="234"/>
                    <a:pt x="23" y="234"/>
                    <a:pt x="25" y="233"/>
                  </a:cubicBezTo>
                  <a:cubicBezTo>
                    <a:pt x="27" y="232"/>
                    <a:pt x="28" y="230"/>
                    <a:pt x="30" y="229"/>
                  </a:cubicBezTo>
                  <a:cubicBezTo>
                    <a:pt x="31" y="228"/>
                    <a:pt x="32" y="228"/>
                    <a:pt x="33" y="228"/>
                  </a:cubicBezTo>
                  <a:cubicBezTo>
                    <a:pt x="34" y="227"/>
                    <a:pt x="35" y="227"/>
                    <a:pt x="36" y="226"/>
                  </a:cubicBezTo>
                  <a:cubicBezTo>
                    <a:pt x="37" y="226"/>
                    <a:pt x="38" y="226"/>
                    <a:pt x="39" y="226"/>
                  </a:cubicBezTo>
                  <a:cubicBezTo>
                    <a:pt x="41" y="226"/>
                    <a:pt x="42" y="225"/>
                    <a:pt x="44" y="225"/>
                  </a:cubicBezTo>
                  <a:cubicBezTo>
                    <a:pt x="44" y="225"/>
                    <a:pt x="43" y="226"/>
                    <a:pt x="43" y="227"/>
                  </a:cubicBezTo>
                  <a:cubicBezTo>
                    <a:pt x="44" y="227"/>
                    <a:pt x="44" y="228"/>
                    <a:pt x="45" y="228"/>
                  </a:cubicBezTo>
                  <a:cubicBezTo>
                    <a:pt x="46" y="229"/>
                    <a:pt x="47" y="230"/>
                    <a:pt x="48" y="231"/>
                  </a:cubicBezTo>
                  <a:cubicBezTo>
                    <a:pt x="49" y="232"/>
                    <a:pt x="49" y="233"/>
                    <a:pt x="50" y="232"/>
                  </a:cubicBezTo>
                  <a:cubicBezTo>
                    <a:pt x="51" y="231"/>
                    <a:pt x="53" y="229"/>
                    <a:pt x="54" y="229"/>
                  </a:cubicBezTo>
                  <a:cubicBezTo>
                    <a:pt x="55" y="229"/>
                    <a:pt x="57" y="229"/>
                    <a:pt x="58" y="228"/>
                  </a:cubicBezTo>
                  <a:cubicBezTo>
                    <a:pt x="59" y="228"/>
                    <a:pt x="58" y="228"/>
                    <a:pt x="58" y="227"/>
                  </a:cubicBezTo>
                  <a:cubicBezTo>
                    <a:pt x="57" y="226"/>
                    <a:pt x="57" y="225"/>
                    <a:pt x="57" y="225"/>
                  </a:cubicBezTo>
                  <a:cubicBezTo>
                    <a:pt x="57" y="224"/>
                    <a:pt x="58" y="224"/>
                    <a:pt x="59" y="223"/>
                  </a:cubicBezTo>
                  <a:cubicBezTo>
                    <a:pt x="59" y="222"/>
                    <a:pt x="58" y="220"/>
                    <a:pt x="59" y="219"/>
                  </a:cubicBezTo>
                  <a:cubicBezTo>
                    <a:pt x="61" y="219"/>
                    <a:pt x="61" y="221"/>
                    <a:pt x="61" y="222"/>
                  </a:cubicBezTo>
                  <a:cubicBezTo>
                    <a:pt x="61" y="224"/>
                    <a:pt x="62" y="226"/>
                    <a:pt x="62" y="228"/>
                  </a:cubicBezTo>
                  <a:cubicBezTo>
                    <a:pt x="63" y="230"/>
                    <a:pt x="65" y="231"/>
                    <a:pt x="66" y="233"/>
                  </a:cubicBezTo>
                  <a:cubicBezTo>
                    <a:pt x="67" y="234"/>
                    <a:pt x="66" y="236"/>
                    <a:pt x="66" y="238"/>
                  </a:cubicBezTo>
                  <a:cubicBezTo>
                    <a:pt x="66" y="239"/>
                    <a:pt x="65" y="241"/>
                    <a:pt x="65" y="242"/>
                  </a:cubicBezTo>
                  <a:cubicBezTo>
                    <a:pt x="65" y="244"/>
                    <a:pt x="65" y="246"/>
                    <a:pt x="65" y="248"/>
                  </a:cubicBezTo>
                  <a:cubicBezTo>
                    <a:pt x="66" y="251"/>
                    <a:pt x="66" y="254"/>
                    <a:pt x="66" y="257"/>
                  </a:cubicBezTo>
                  <a:cubicBezTo>
                    <a:pt x="66" y="259"/>
                    <a:pt x="64" y="261"/>
                    <a:pt x="64" y="263"/>
                  </a:cubicBezTo>
                  <a:cubicBezTo>
                    <a:pt x="65" y="264"/>
                    <a:pt x="65" y="265"/>
                    <a:pt x="66" y="265"/>
                  </a:cubicBezTo>
                  <a:cubicBezTo>
                    <a:pt x="67" y="265"/>
                    <a:pt x="68" y="265"/>
                    <a:pt x="69" y="265"/>
                  </a:cubicBezTo>
                  <a:cubicBezTo>
                    <a:pt x="71" y="265"/>
                    <a:pt x="72" y="264"/>
                    <a:pt x="74" y="263"/>
                  </a:cubicBezTo>
                  <a:cubicBezTo>
                    <a:pt x="77" y="261"/>
                    <a:pt x="80" y="258"/>
                    <a:pt x="82" y="256"/>
                  </a:cubicBezTo>
                  <a:cubicBezTo>
                    <a:pt x="84" y="254"/>
                    <a:pt x="87" y="252"/>
                    <a:pt x="89" y="251"/>
                  </a:cubicBezTo>
                  <a:cubicBezTo>
                    <a:pt x="91" y="251"/>
                    <a:pt x="93" y="251"/>
                    <a:pt x="95" y="251"/>
                  </a:cubicBezTo>
                  <a:cubicBezTo>
                    <a:pt x="98" y="251"/>
                    <a:pt x="100" y="252"/>
                    <a:pt x="102" y="254"/>
                  </a:cubicBezTo>
                  <a:cubicBezTo>
                    <a:pt x="104" y="254"/>
                    <a:pt x="105" y="255"/>
                    <a:pt x="106" y="256"/>
                  </a:cubicBezTo>
                  <a:cubicBezTo>
                    <a:pt x="106" y="257"/>
                    <a:pt x="107" y="258"/>
                    <a:pt x="108" y="258"/>
                  </a:cubicBezTo>
                  <a:cubicBezTo>
                    <a:pt x="109" y="258"/>
                    <a:pt x="109" y="258"/>
                    <a:pt x="110" y="259"/>
                  </a:cubicBezTo>
                  <a:cubicBezTo>
                    <a:pt x="111" y="259"/>
                    <a:pt x="111" y="259"/>
                    <a:pt x="112" y="258"/>
                  </a:cubicBezTo>
                  <a:cubicBezTo>
                    <a:pt x="113" y="257"/>
                    <a:pt x="114" y="256"/>
                    <a:pt x="115" y="255"/>
                  </a:cubicBezTo>
                  <a:cubicBezTo>
                    <a:pt x="118" y="252"/>
                    <a:pt x="122" y="252"/>
                    <a:pt x="125" y="251"/>
                  </a:cubicBezTo>
                  <a:cubicBezTo>
                    <a:pt x="128" y="250"/>
                    <a:pt x="130" y="249"/>
                    <a:pt x="132" y="247"/>
                  </a:cubicBezTo>
                  <a:cubicBezTo>
                    <a:pt x="133" y="246"/>
                    <a:pt x="134" y="245"/>
                    <a:pt x="135" y="245"/>
                  </a:cubicBezTo>
                  <a:cubicBezTo>
                    <a:pt x="136" y="244"/>
                    <a:pt x="137" y="244"/>
                    <a:pt x="137" y="243"/>
                  </a:cubicBezTo>
                  <a:cubicBezTo>
                    <a:pt x="138" y="241"/>
                    <a:pt x="135" y="241"/>
                    <a:pt x="135" y="240"/>
                  </a:cubicBezTo>
                  <a:cubicBezTo>
                    <a:pt x="134" y="238"/>
                    <a:pt x="135" y="237"/>
                    <a:pt x="136" y="236"/>
                  </a:cubicBezTo>
                  <a:cubicBezTo>
                    <a:pt x="137" y="234"/>
                    <a:pt x="138" y="233"/>
                    <a:pt x="139" y="232"/>
                  </a:cubicBezTo>
                  <a:cubicBezTo>
                    <a:pt x="139" y="231"/>
                    <a:pt x="139" y="229"/>
                    <a:pt x="139" y="228"/>
                  </a:cubicBezTo>
                  <a:cubicBezTo>
                    <a:pt x="138" y="226"/>
                    <a:pt x="137" y="226"/>
                    <a:pt x="137" y="224"/>
                  </a:cubicBezTo>
                  <a:cubicBezTo>
                    <a:pt x="136" y="224"/>
                    <a:pt x="135" y="222"/>
                    <a:pt x="136" y="221"/>
                  </a:cubicBezTo>
                  <a:cubicBezTo>
                    <a:pt x="138" y="221"/>
                    <a:pt x="139" y="225"/>
                    <a:pt x="140" y="226"/>
                  </a:cubicBezTo>
                  <a:cubicBezTo>
                    <a:pt x="140" y="228"/>
                    <a:pt x="141" y="230"/>
                    <a:pt x="142" y="231"/>
                  </a:cubicBezTo>
                  <a:cubicBezTo>
                    <a:pt x="143" y="231"/>
                    <a:pt x="143" y="232"/>
                    <a:pt x="143" y="233"/>
                  </a:cubicBezTo>
                  <a:cubicBezTo>
                    <a:pt x="144" y="233"/>
                    <a:pt x="145" y="233"/>
                    <a:pt x="145" y="234"/>
                  </a:cubicBezTo>
                  <a:cubicBezTo>
                    <a:pt x="146" y="234"/>
                    <a:pt x="147" y="235"/>
                    <a:pt x="148" y="235"/>
                  </a:cubicBezTo>
                  <a:cubicBezTo>
                    <a:pt x="149" y="236"/>
                    <a:pt x="149" y="237"/>
                    <a:pt x="150" y="238"/>
                  </a:cubicBezTo>
                  <a:cubicBezTo>
                    <a:pt x="150" y="239"/>
                    <a:pt x="150" y="240"/>
                    <a:pt x="151" y="240"/>
                  </a:cubicBezTo>
                  <a:cubicBezTo>
                    <a:pt x="152" y="241"/>
                    <a:pt x="153" y="241"/>
                    <a:pt x="154" y="241"/>
                  </a:cubicBezTo>
                  <a:cubicBezTo>
                    <a:pt x="154" y="242"/>
                    <a:pt x="155" y="242"/>
                    <a:pt x="155" y="243"/>
                  </a:cubicBezTo>
                  <a:cubicBezTo>
                    <a:pt x="155" y="243"/>
                    <a:pt x="156" y="244"/>
                    <a:pt x="156" y="245"/>
                  </a:cubicBezTo>
                  <a:cubicBezTo>
                    <a:pt x="156" y="245"/>
                    <a:pt x="157" y="246"/>
                    <a:pt x="157" y="246"/>
                  </a:cubicBezTo>
                  <a:cubicBezTo>
                    <a:pt x="158" y="246"/>
                    <a:pt x="158" y="246"/>
                    <a:pt x="158" y="246"/>
                  </a:cubicBezTo>
                  <a:cubicBezTo>
                    <a:pt x="159" y="247"/>
                    <a:pt x="159" y="247"/>
                    <a:pt x="159" y="247"/>
                  </a:cubicBezTo>
                  <a:cubicBezTo>
                    <a:pt x="160" y="248"/>
                    <a:pt x="160" y="248"/>
                    <a:pt x="160" y="248"/>
                  </a:cubicBezTo>
                  <a:cubicBezTo>
                    <a:pt x="161" y="249"/>
                    <a:pt x="160" y="250"/>
                    <a:pt x="160" y="251"/>
                  </a:cubicBezTo>
                  <a:cubicBezTo>
                    <a:pt x="162" y="250"/>
                    <a:pt x="162" y="248"/>
                    <a:pt x="162" y="247"/>
                  </a:cubicBezTo>
                  <a:cubicBezTo>
                    <a:pt x="163" y="247"/>
                    <a:pt x="163" y="246"/>
                    <a:pt x="164" y="246"/>
                  </a:cubicBezTo>
                  <a:cubicBezTo>
                    <a:pt x="164" y="245"/>
                    <a:pt x="165" y="245"/>
                    <a:pt x="165" y="244"/>
                  </a:cubicBezTo>
                  <a:cubicBezTo>
                    <a:pt x="167" y="242"/>
                    <a:pt x="168" y="241"/>
                    <a:pt x="171" y="241"/>
                  </a:cubicBezTo>
                  <a:cubicBezTo>
                    <a:pt x="172" y="241"/>
                    <a:pt x="173" y="241"/>
                    <a:pt x="174" y="242"/>
                  </a:cubicBezTo>
                  <a:cubicBezTo>
                    <a:pt x="175" y="243"/>
                    <a:pt x="175" y="244"/>
                    <a:pt x="175" y="244"/>
                  </a:cubicBezTo>
                  <a:cubicBezTo>
                    <a:pt x="176" y="246"/>
                    <a:pt x="176" y="248"/>
                    <a:pt x="176" y="249"/>
                  </a:cubicBezTo>
                  <a:cubicBezTo>
                    <a:pt x="176" y="250"/>
                    <a:pt x="176" y="251"/>
                    <a:pt x="176" y="253"/>
                  </a:cubicBezTo>
                  <a:cubicBezTo>
                    <a:pt x="176" y="254"/>
                    <a:pt x="175" y="255"/>
                    <a:pt x="175" y="257"/>
                  </a:cubicBezTo>
                  <a:cubicBezTo>
                    <a:pt x="174" y="258"/>
                    <a:pt x="174" y="258"/>
                    <a:pt x="174" y="259"/>
                  </a:cubicBezTo>
                  <a:cubicBezTo>
                    <a:pt x="175" y="260"/>
                    <a:pt x="177" y="260"/>
                    <a:pt x="178" y="260"/>
                  </a:cubicBezTo>
                  <a:cubicBezTo>
                    <a:pt x="181" y="260"/>
                    <a:pt x="183" y="260"/>
                    <a:pt x="185" y="260"/>
                  </a:cubicBezTo>
                  <a:cubicBezTo>
                    <a:pt x="188" y="260"/>
                    <a:pt x="191" y="257"/>
                    <a:pt x="194" y="255"/>
                  </a:cubicBezTo>
                  <a:cubicBezTo>
                    <a:pt x="196" y="254"/>
                    <a:pt x="198" y="253"/>
                    <a:pt x="201" y="252"/>
                  </a:cubicBezTo>
                  <a:cubicBezTo>
                    <a:pt x="202" y="252"/>
                    <a:pt x="203" y="250"/>
                    <a:pt x="204" y="249"/>
                  </a:cubicBezTo>
                  <a:cubicBezTo>
                    <a:pt x="205" y="247"/>
                    <a:pt x="205" y="245"/>
                    <a:pt x="205" y="243"/>
                  </a:cubicBezTo>
                  <a:cubicBezTo>
                    <a:pt x="205" y="242"/>
                    <a:pt x="207" y="238"/>
                    <a:pt x="208" y="239"/>
                  </a:cubicBezTo>
                  <a:cubicBezTo>
                    <a:pt x="208" y="240"/>
                    <a:pt x="207" y="241"/>
                    <a:pt x="207" y="242"/>
                  </a:cubicBezTo>
                  <a:cubicBezTo>
                    <a:pt x="206" y="244"/>
                    <a:pt x="206" y="245"/>
                    <a:pt x="206" y="246"/>
                  </a:cubicBezTo>
                  <a:cubicBezTo>
                    <a:pt x="206" y="247"/>
                    <a:pt x="206" y="248"/>
                    <a:pt x="205" y="249"/>
                  </a:cubicBezTo>
                  <a:cubicBezTo>
                    <a:pt x="205" y="250"/>
                    <a:pt x="204" y="250"/>
                    <a:pt x="204" y="252"/>
                  </a:cubicBezTo>
                  <a:cubicBezTo>
                    <a:pt x="204" y="253"/>
                    <a:pt x="207" y="256"/>
                    <a:pt x="208" y="256"/>
                  </a:cubicBezTo>
                  <a:cubicBezTo>
                    <a:pt x="210" y="256"/>
                    <a:pt x="211" y="256"/>
                    <a:pt x="212" y="255"/>
                  </a:cubicBezTo>
                  <a:cubicBezTo>
                    <a:pt x="213" y="254"/>
                    <a:pt x="213" y="253"/>
                    <a:pt x="214" y="252"/>
                  </a:cubicBezTo>
                  <a:cubicBezTo>
                    <a:pt x="214" y="251"/>
                    <a:pt x="216" y="248"/>
                    <a:pt x="217" y="248"/>
                  </a:cubicBezTo>
                  <a:cubicBezTo>
                    <a:pt x="217" y="250"/>
                    <a:pt x="217" y="251"/>
                    <a:pt x="216" y="252"/>
                  </a:cubicBezTo>
                  <a:cubicBezTo>
                    <a:pt x="216" y="253"/>
                    <a:pt x="215" y="254"/>
                    <a:pt x="215" y="255"/>
                  </a:cubicBezTo>
                  <a:cubicBezTo>
                    <a:pt x="215" y="255"/>
                    <a:pt x="215" y="255"/>
                    <a:pt x="215" y="255"/>
                  </a:cubicBezTo>
                  <a:cubicBezTo>
                    <a:pt x="216" y="256"/>
                    <a:pt x="216" y="256"/>
                    <a:pt x="217" y="257"/>
                  </a:cubicBezTo>
                  <a:cubicBezTo>
                    <a:pt x="218" y="258"/>
                    <a:pt x="219" y="258"/>
                    <a:pt x="220" y="258"/>
                  </a:cubicBezTo>
                  <a:cubicBezTo>
                    <a:pt x="220" y="258"/>
                    <a:pt x="220" y="258"/>
                    <a:pt x="220" y="258"/>
                  </a:cubicBezTo>
                  <a:cubicBezTo>
                    <a:pt x="221" y="252"/>
                    <a:pt x="221" y="252"/>
                    <a:pt x="221" y="252"/>
                  </a:cubicBezTo>
                  <a:lnTo>
                    <a:pt x="222" y="24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3" name="Freeform 70">
              <a:extLst>
                <a:ext uri="{FF2B5EF4-FFF2-40B4-BE49-F238E27FC236}">
                  <a16:creationId xmlns:a16="http://schemas.microsoft.com/office/drawing/2014/main" id="{4261E27B-A0C8-DC90-1026-0D93BD68640C}"/>
                </a:ext>
              </a:extLst>
            </p:cNvPr>
            <p:cNvSpPr>
              <a:spLocks noEditPoints="1"/>
            </p:cNvSpPr>
            <p:nvPr/>
          </p:nvSpPr>
          <p:spPr bwMode="auto">
            <a:xfrm>
              <a:off x="4294188" y="5397500"/>
              <a:ext cx="876300" cy="484187"/>
            </a:xfrm>
            <a:custGeom>
              <a:avLst/>
              <a:gdLst>
                <a:gd name="T0" fmla="*/ 218 w 230"/>
                <a:gd name="T1" fmla="*/ 125 h 127"/>
                <a:gd name="T2" fmla="*/ 206 w 230"/>
                <a:gd name="T3" fmla="*/ 117 h 127"/>
                <a:gd name="T4" fmla="*/ 192 w 230"/>
                <a:gd name="T5" fmla="*/ 115 h 127"/>
                <a:gd name="T6" fmla="*/ 184 w 230"/>
                <a:gd name="T7" fmla="*/ 113 h 127"/>
                <a:gd name="T8" fmla="*/ 174 w 230"/>
                <a:gd name="T9" fmla="*/ 109 h 127"/>
                <a:gd name="T10" fmla="*/ 156 w 230"/>
                <a:gd name="T11" fmla="*/ 102 h 127"/>
                <a:gd name="T12" fmla="*/ 128 w 230"/>
                <a:gd name="T13" fmla="*/ 100 h 127"/>
                <a:gd name="T14" fmla="*/ 119 w 230"/>
                <a:gd name="T15" fmla="*/ 102 h 127"/>
                <a:gd name="T16" fmla="*/ 111 w 230"/>
                <a:gd name="T17" fmla="*/ 106 h 127"/>
                <a:gd name="T18" fmla="*/ 87 w 230"/>
                <a:gd name="T19" fmla="*/ 99 h 127"/>
                <a:gd name="T20" fmla="*/ 72 w 230"/>
                <a:gd name="T21" fmla="*/ 98 h 127"/>
                <a:gd name="T22" fmla="*/ 59 w 230"/>
                <a:gd name="T23" fmla="*/ 95 h 127"/>
                <a:gd name="T24" fmla="*/ 51 w 230"/>
                <a:gd name="T25" fmla="*/ 96 h 127"/>
                <a:gd name="T26" fmla="*/ 45 w 230"/>
                <a:gd name="T27" fmla="*/ 99 h 127"/>
                <a:gd name="T28" fmla="*/ 35 w 230"/>
                <a:gd name="T29" fmla="*/ 98 h 127"/>
                <a:gd name="T30" fmla="*/ 27 w 230"/>
                <a:gd name="T31" fmla="*/ 96 h 127"/>
                <a:gd name="T32" fmla="*/ 11 w 230"/>
                <a:gd name="T33" fmla="*/ 93 h 127"/>
                <a:gd name="T34" fmla="*/ 0 w 230"/>
                <a:gd name="T35" fmla="*/ 86 h 127"/>
                <a:gd name="T36" fmla="*/ 9 w 230"/>
                <a:gd name="T37" fmla="*/ 83 h 127"/>
                <a:gd name="T38" fmla="*/ 15 w 230"/>
                <a:gd name="T39" fmla="*/ 81 h 127"/>
                <a:gd name="T40" fmla="*/ 22 w 230"/>
                <a:gd name="T41" fmla="*/ 75 h 127"/>
                <a:gd name="T42" fmla="*/ 24 w 230"/>
                <a:gd name="T43" fmla="*/ 65 h 127"/>
                <a:gd name="T44" fmla="*/ 18 w 230"/>
                <a:gd name="T45" fmla="*/ 58 h 127"/>
                <a:gd name="T46" fmla="*/ 15 w 230"/>
                <a:gd name="T47" fmla="*/ 45 h 127"/>
                <a:gd name="T48" fmla="*/ 18 w 230"/>
                <a:gd name="T49" fmla="*/ 32 h 127"/>
                <a:gd name="T50" fmla="*/ 33 w 230"/>
                <a:gd name="T51" fmla="*/ 39 h 127"/>
                <a:gd name="T52" fmla="*/ 43 w 230"/>
                <a:gd name="T53" fmla="*/ 27 h 127"/>
                <a:gd name="T54" fmla="*/ 44 w 230"/>
                <a:gd name="T55" fmla="*/ 15 h 127"/>
                <a:gd name="T56" fmla="*/ 44 w 230"/>
                <a:gd name="T57" fmla="*/ 8 h 127"/>
                <a:gd name="T58" fmla="*/ 53 w 230"/>
                <a:gd name="T59" fmla="*/ 2 h 127"/>
                <a:gd name="T60" fmla="*/ 72 w 230"/>
                <a:gd name="T61" fmla="*/ 9 h 127"/>
                <a:gd name="T62" fmla="*/ 99 w 230"/>
                <a:gd name="T63" fmla="*/ 10 h 127"/>
                <a:gd name="T64" fmla="*/ 106 w 230"/>
                <a:gd name="T65" fmla="*/ 11 h 127"/>
                <a:gd name="T66" fmla="*/ 107 w 230"/>
                <a:gd name="T67" fmla="*/ 22 h 127"/>
                <a:gd name="T68" fmla="*/ 115 w 230"/>
                <a:gd name="T69" fmla="*/ 28 h 127"/>
                <a:gd name="T70" fmla="*/ 119 w 230"/>
                <a:gd name="T71" fmla="*/ 45 h 127"/>
                <a:gd name="T72" fmla="*/ 126 w 230"/>
                <a:gd name="T73" fmla="*/ 55 h 127"/>
                <a:gd name="T74" fmla="*/ 138 w 230"/>
                <a:gd name="T75" fmla="*/ 61 h 127"/>
                <a:gd name="T76" fmla="*/ 148 w 230"/>
                <a:gd name="T77" fmla="*/ 65 h 127"/>
                <a:gd name="T78" fmla="*/ 174 w 230"/>
                <a:gd name="T79" fmla="*/ 61 h 127"/>
                <a:gd name="T80" fmla="*/ 194 w 230"/>
                <a:gd name="T81" fmla="*/ 54 h 127"/>
                <a:gd name="T82" fmla="*/ 209 w 230"/>
                <a:gd name="T83" fmla="*/ 61 h 127"/>
                <a:gd name="T84" fmla="*/ 219 w 230"/>
                <a:gd name="T85" fmla="*/ 79 h 127"/>
                <a:gd name="T86" fmla="*/ 214 w 230"/>
                <a:gd name="T87" fmla="*/ 101 h 127"/>
                <a:gd name="T88" fmla="*/ 216 w 230"/>
                <a:gd name="T89" fmla="*/ 107 h 127"/>
                <a:gd name="T90" fmla="*/ 225 w 230"/>
                <a:gd name="T91" fmla="*/ 119 h 127"/>
                <a:gd name="T92" fmla="*/ 122 w 230"/>
                <a:gd name="T93" fmla="*/ 27 h 127"/>
                <a:gd name="T94" fmla="*/ 151 w 230"/>
                <a:gd name="T95" fmla="*/ 31 h 127"/>
                <a:gd name="T96" fmla="*/ 170 w 230"/>
                <a:gd name="T97" fmla="*/ 24 h 127"/>
                <a:gd name="T98" fmla="*/ 185 w 230"/>
                <a:gd name="T99" fmla="*/ 23 h 127"/>
                <a:gd name="T100" fmla="*/ 195 w 230"/>
                <a:gd name="T101" fmla="*/ 23 h 127"/>
                <a:gd name="T102" fmla="*/ 194 w 230"/>
                <a:gd name="T103" fmla="*/ 17 h 127"/>
                <a:gd name="T104" fmla="*/ 189 w 230"/>
                <a:gd name="T105" fmla="*/ 8 h 127"/>
                <a:gd name="T106" fmla="*/ 129 w 230"/>
                <a:gd name="T107" fmla="*/ 9 h 127"/>
                <a:gd name="T108" fmla="*/ 112 w 230"/>
                <a:gd name="T109" fmla="*/ 19 h 127"/>
                <a:gd name="T110" fmla="*/ 117 w 230"/>
                <a:gd name="T111" fmla="*/ 2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0" h="127">
                  <a:moveTo>
                    <a:pt x="229" y="123"/>
                  </a:moveTo>
                  <a:cubicBezTo>
                    <a:pt x="229" y="124"/>
                    <a:pt x="229" y="125"/>
                    <a:pt x="229" y="126"/>
                  </a:cubicBezTo>
                  <a:cubicBezTo>
                    <a:pt x="228" y="127"/>
                    <a:pt x="226" y="127"/>
                    <a:pt x="224" y="127"/>
                  </a:cubicBezTo>
                  <a:cubicBezTo>
                    <a:pt x="223" y="127"/>
                    <a:pt x="222" y="127"/>
                    <a:pt x="221" y="126"/>
                  </a:cubicBezTo>
                  <a:cubicBezTo>
                    <a:pt x="220" y="126"/>
                    <a:pt x="221" y="125"/>
                    <a:pt x="218" y="125"/>
                  </a:cubicBezTo>
                  <a:cubicBezTo>
                    <a:pt x="215" y="125"/>
                    <a:pt x="214" y="126"/>
                    <a:pt x="214" y="125"/>
                  </a:cubicBezTo>
                  <a:cubicBezTo>
                    <a:pt x="214" y="125"/>
                    <a:pt x="215" y="125"/>
                    <a:pt x="215" y="123"/>
                  </a:cubicBezTo>
                  <a:cubicBezTo>
                    <a:pt x="215" y="122"/>
                    <a:pt x="215" y="120"/>
                    <a:pt x="214" y="119"/>
                  </a:cubicBezTo>
                  <a:cubicBezTo>
                    <a:pt x="212" y="118"/>
                    <a:pt x="210" y="116"/>
                    <a:pt x="208" y="116"/>
                  </a:cubicBezTo>
                  <a:cubicBezTo>
                    <a:pt x="206" y="115"/>
                    <a:pt x="206" y="116"/>
                    <a:pt x="206" y="117"/>
                  </a:cubicBezTo>
                  <a:cubicBezTo>
                    <a:pt x="206" y="118"/>
                    <a:pt x="206" y="120"/>
                    <a:pt x="204" y="119"/>
                  </a:cubicBezTo>
                  <a:cubicBezTo>
                    <a:pt x="203" y="119"/>
                    <a:pt x="202" y="117"/>
                    <a:pt x="199" y="117"/>
                  </a:cubicBezTo>
                  <a:cubicBezTo>
                    <a:pt x="197" y="117"/>
                    <a:pt x="197" y="118"/>
                    <a:pt x="196" y="118"/>
                  </a:cubicBezTo>
                  <a:cubicBezTo>
                    <a:pt x="195" y="118"/>
                    <a:pt x="194" y="118"/>
                    <a:pt x="194" y="117"/>
                  </a:cubicBezTo>
                  <a:cubicBezTo>
                    <a:pt x="194" y="116"/>
                    <a:pt x="192" y="114"/>
                    <a:pt x="192" y="115"/>
                  </a:cubicBezTo>
                  <a:cubicBezTo>
                    <a:pt x="192" y="115"/>
                    <a:pt x="193" y="117"/>
                    <a:pt x="191" y="117"/>
                  </a:cubicBezTo>
                  <a:cubicBezTo>
                    <a:pt x="189" y="117"/>
                    <a:pt x="189" y="116"/>
                    <a:pt x="189" y="116"/>
                  </a:cubicBezTo>
                  <a:cubicBezTo>
                    <a:pt x="189" y="115"/>
                    <a:pt x="189" y="113"/>
                    <a:pt x="188" y="113"/>
                  </a:cubicBezTo>
                  <a:cubicBezTo>
                    <a:pt x="188" y="113"/>
                    <a:pt x="188" y="115"/>
                    <a:pt x="187" y="115"/>
                  </a:cubicBezTo>
                  <a:cubicBezTo>
                    <a:pt x="186" y="114"/>
                    <a:pt x="186" y="113"/>
                    <a:pt x="184" y="113"/>
                  </a:cubicBezTo>
                  <a:cubicBezTo>
                    <a:pt x="183" y="113"/>
                    <a:pt x="181" y="113"/>
                    <a:pt x="181" y="113"/>
                  </a:cubicBezTo>
                  <a:cubicBezTo>
                    <a:pt x="181" y="113"/>
                    <a:pt x="180" y="110"/>
                    <a:pt x="180" y="110"/>
                  </a:cubicBezTo>
                  <a:cubicBezTo>
                    <a:pt x="180" y="110"/>
                    <a:pt x="179" y="110"/>
                    <a:pt x="178" y="110"/>
                  </a:cubicBezTo>
                  <a:cubicBezTo>
                    <a:pt x="176" y="111"/>
                    <a:pt x="175" y="111"/>
                    <a:pt x="175" y="111"/>
                  </a:cubicBezTo>
                  <a:cubicBezTo>
                    <a:pt x="174" y="109"/>
                    <a:pt x="174" y="109"/>
                    <a:pt x="174" y="109"/>
                  </a:cubicBezTo>
                  <a:cubicBezTo>
                    <a:pt x="174" y="109"/>
                    <a:pt x="174" y="110"/>
                    <a:pt x="172" y="110"/>
                  </a:cubicBezTo>
                  <a:cubicBezTo>
                    <a:pt x="170" y="109"/>
                    <a:pt x="170" y="108"/>
                    <a:pt x="169" y="107"/>
                  </a:cubicBezTo>
                  <a:cubicBezTo>
                    <a:pt x="168" y="106"/>
                    <a:pt x="165" y="105"/>
                    <a:pt x="163" y="105"/>
                  </a:cubicBezTo>
                  <a:cubicBezTo>
                    <a:pt x="161" y="105"/>
                    <a:pt x="160" y="103"/>
                    <a:pt x="159" y="102"/>
                  </a:cubicBezTo>
                  <a:cubicBezTo>
                    <a:pt x="159" y="102"/>
                    <a:pt x="157" y="102"/>
                    <a:pt x="156" y="102"/>
                  </a:cubicBezTo>
                  <a:cubicBezTo>
                    <a:pt x="155" y="103"/>
                    <a:pt x="155" y="104"/>
                    <a:pt x="154" y="102"/>
                  </a:cubicBezTo>
                  <a:cubicBezTo>
                    <a:pt x="152" y="101"/>
                    <a:pt x="150" y="98"/>
                    <a:pt x="148" y="97"/>
                  </a:cubicBezTo>
                  <a:cubicBezTo>
                    <a:pt x="147" y="96"/>
                    <a:pt x="143" y="96"/>
                    <a:pt x="140" y="96"/>
                  </a:cubicBezTo>
                  <a:cubicBezTo>
                    <a:pt x="137" y="96"/>
                    <a:pt x="135" y="96"/>
                    <a:pt x="133" y="97"/>
                  </a:cubicBezTo>
                  <a:cubicBezTo>
                    <a:pt x="130" y="97"/>
                    <a:pt x="129" y="98"/>
                    <a:pt x="128" y="100"/>
                  </a:cubicBezTo>
                  <a:cubicBezTo>
                    <a:pt x="127" y="101"/>
                    <a:pt x="126" y="103"/>
                    <a:pt x="126" y="103"/>
                  </a:cubicBezTo>
                  <a:cubicBezTo>
                    <a:pt x="125" y="103"/>
                    <a:pt x="123" y="103"/>
                    <a:pt x="123" y="103"/>
                  </a:cubicBezTo>
                  <a:cubicBezTo>
                    <a:pt x="123" y="103"/>
                    <a:pt x="123" y="103"/>
                    <a:pt x="123" y="103"/>
                  </a:cubicBezTo>
                  <a:cubicBezTo>
                    <a:pt x="123" y="103"/>
                    <a:pt x="121" y="104"/>
                    <a:pt x="121" y="103"/>
                  </a:cubicBezTo>
                  <a:cubicBezTo>
                    <a:pt x="120" y="103"/>
                    <a:pt x="121" y="102"/>
                    <a:pt x="119" y="102"/>
                  </a:cubicBezTo>
                  <a:cubicBezTo>
                    <a:pt x="118" y="102"/>
                    <a:pt x="118" y="102"/>
                    <a:pt x="117" y="103"/>
                  </a:cubicBezTo>
                  <a:cubicBezTo>
                    <a:pt x="117" y="103"/>
                    <a:pt x="117" y="103"/>
                    <a:pt x="116" y="103"/>
                  </a:cubicBezTo>
                  <a:cubicBezTo>
                    <a:pt x="116" y="103"/>
                    <a:pt x="116" y="104"/>
                    <a:pt x="115" y="104"/>
                  </a:cubicBezTo>
                  <a:cubicBezTo>
                    <a:pt x="114" y="104"/>
                    <a:pt x="113" y="104"/>
                    <a:pt x="112" y="104"/>
                  </a:cubicBezTo>
                  <a:cubicBezTo>
                    <a:pt x="112" y="105"/>
                    <a:pt x="111" y="106"/>
                    <a:pt x="111" y="106"/>
                  </a:cubicBezTo>
                  <a:cubicBezTo>
                    <a:pt x="111" y="107"/>
                    <a:pt x="108" y="106"/>
                    <a:pt x="107" y="106"/>
                  </a:cubicBezTo>
                  <a:cubicBezTo>
                    <a:pt x="105" y="105"/>
                    <a:pt x="104" y="103"/>
                    <a:pt x="101" y="103"/>
                  </a:cubicBezTo>
                  <a:cubicBezTo>
                    <a:pt x="99" y="103"/>
                    <a:pt x="97" y="104"/>
                    <a:pt x="95" y="103"/>
                  </a:cubicBezTo>
                  <a:cubicBezTo>
                    <a:pt x="93" y="102"/>
                    <a:pt x="92" y="102"/>
                    <a:pt x="90" y="101"/>
                  </a:cubicBezTo>
                  <a:cubicBezTo>
                    <a:pt x="88" y="99"/>
                    <a:pt x="88" y="98"/>
                    <a:pt x="87" y="99"/>
                  </a:cubicBezTo>
                  <a:cubicBezTo>
                    <a:pt x="86" y="99"/>
                    <a:pt x="86" y="100"/>
                    <a:pt x="86" y="100"/>
                  </a:cubicBezTo>
                  <a:cubicBezTo>
                    <a:pt x="85" y="100"/>
                    <a:pt x="82" y="100"/>
                    <a:pt x="82" y="99"/>
                  </a:cubicBezTo>
                  <a:cubicBezTo>
                    <a:pt x="82" y="99"/>
                    <a:pt x="80" y="99"/>
                    <a:pt x="79" y="99"/>
                  </a:cubicBezTo>
                  <a:cubicBezTo>
                    <a:pt x="77" y="98"/>
                    <a:pt x="77" y="98"/>
                    <a:pt x="77" y="98"/>
                  </a:cubicBezTo>
                  <a:cubicBezTo>
                    <a:pt x="77" y="98"/>
                    <a:pt x="75" y="99"/>
                    <a:pt x="72" y="98"/>
                  </a:cubicBezTo>
                  <a:cubicBezTo>
                    <a:pt x="70" y="98"/>
                    <a:pt x="70" y="98"/>
                    <a:pt x="69" y="97"/>
                  </a:cubicBezTo>
                  <a:cubicBezTo>
                    <a:pt x="67" y="97"/>
                    <a:pt x="65" y="96"/>
                    <a:pt x="65" y="96"/>
                  </a:cubicBezTo>
                  <a:cubicBezTo>
                    <a:pt x="64" y="96"/>
                    <a:pt x="64" y="97"/>
                    <a:pt x="64" y="97"/>
                  </a:cubicBezTo>
                  <a:cubicBezTo>
                    <a:pt x="63" y="97"/>
                    <a:pt x="62" y="97"/>
                    <a:pt x="61" y="97"/>
                  </a:cubicBezTo>
                  <a:cubicBezTo>
                    <a:pt x="60" y="96"/>
                    <a:pt x="59" y="95"/>
                    <a:pt x="59" y="95"/>
                  </a:cubicBezTo>
                  <a:cubicBezTo>
                    <a:pt x="58" y="95"/>
                    <a:pt x="55" y="94"/>
                    <a:pt x="55" y="95"/>
                  </a:cubicBezTo>
                  <a:cubicBezTo>
                    <a:pt x="54" y="95"/>
                    <a:pt x="54" y="96"/>
                    <a:pt x="54" y="96"/>
                  </a:cubicBezTo>
                  <a:cubicBezTo>
                    <a:pt x="54" y="97"/>
                    <a:pt x="55" y="98"/>
                    <a:pt x="54" y="99"/>
                  </a:cubicBezTo>
                  <a:cubicBezTo>
                    <a:pt x="53" y="99"/>
                    <a:pt x="52" y="98"/>
                    <a:pt x="52" y="98"/>
                  </a:cubicBezTo>
                  <a:cubicBezTo>
                    <a:pt x="52" y="98"/>
                    <a:pt x="52" y="96"/>
                    <a:pt x="51" y="96"/>
                  </a:cubicBezTo>
                  <a:cubicBezTo>
                    <a:pt x="50" y="97"/>
                    <a:pt x="50" y="97"/>
                    <a:pt x="50" y="98"/>
                  </a:cubicBezTo>
                  <a:cubicBezTo>
                    <a:pt x="50" y="99"/>
                    <a:pt x="50" y="99"/>
                    <a:pt x="50" y="100"/>
                  </a:cubicBezTo>
                  <a:cubicBezTo>
                    <a:pt x="51" y="101"/>
                    <a:pt x="52" y="101"/>
                    <a:pt x="51" y="101"/>
                  </a:cubicBezTo>
                  <a:cubicBezTo>
                    <a:pt x="50" y="102"/>
                    <a:pt x="47" y="101"/>
                    <a:pt x="47" y="101"/>
                  </a:cubicBezTo>
                  <a:cubicBezTo>
                    <a:pt x="46" y="100"/>
                    <a:pt x="45" y="100"/>
                    <a:pt x="45" y="99"/>
                  </a:cubicBezTo>
                  <a:cubicBezTo>
                    <a:pt x="45" y="99"/>
                    <a:pt x="42" y="99"/>
                    <a:pt x="42" y="99"/>
                  </a:cubicBezTo>
                  <a:cubicBezTo>
                    <a:pt x="42" y="99"/>
                    <a:pt x="42" y="98"/>
                    <a:pt x="41" y="98"/>
                  </a:cubicBezTo>
                  <a:cubicBezTo>
                    <a:pt x="41" y="98"/>
                    <a:pt x="39" y="99"/>
                    <a:pt x="39" y="99"/>
                  </a:cubicBezTo>
                  <a:cubicBezTo>
                    <a:pt x="39" y="99"/>
                    <a:pt x="38" y="98"/>
                    <a:pt x="37" y="99"/>
                  </a:cubicBezTo>
                  <a:cubicBezTo>
                    <a:pt x="36" y="99"/>
                    <a:pt x="35" y="99"/>
                    <a:pt x="35" y="98"/>
                  </a:cubicBezTo>
                  <a:cubicBezTo>
                    <a:pt x="35" y="98"/>
                    <a:pt x="35" y="96"/>
                    <a:pt x="34" y="96"/>
                  </a:cubicBezTo>
                  <a:cubicBezTo>
                    <a:pt x="33" y="95"/>
                    <a:pt x="32" y="94"/>
                    <a:pt x="32" y="95"/>
                  </a:cubicBezTo>
                  <a:cubicBezTo>
                    <a:pt x="31" y="95"/>
                    <a:pt x="30" y="96"/>
                    <a:pt x="30" y="95"/>
                  </a:cubicBezTo>
                  <a:cubicBezTo>
                    <a:pt x="30" y="95"/>
                    <a:pt x="30" y="94"/>
                    <a:pt x="29" y="95"/>
                  </a:cubicBezTo>
                  <a:cubicBezTo>
                    <a:pt x="28" y="95"/>
                    <a:pt x="28" y="96"/>
                    <a:pt x="27" y="96"/>
                  </a:cubicBezTo>
                  <a:cubicBezTo>
                    <a:pt x="26" y="96"/>
                    <a:pt x="24" y="95"/>
                    <a:pt x="24" y="94"/>
                  </a:cubicBezTo>
                  <a:cubicBezTo>
                    <a:pt x="23" y="94"/>
                    <a:pt x="23" y="94"/>
                    <a:pt x="22" y="94"/>
                  </a:cubicBezTo>
                  <a:cubicBezTo>
                    <a:pt x="21" y="95"/>
                    <a:pt x="19" y="96"/>
                    <a:pt x="17" y="96"/>
                  </a:cubicBezTo>
                  <a:cubicBezTo>
                    <a:pt x="15" y="96"/>
                    <a:pt x="12" y="93"/>
                    <a:pt x="12" y="92"/>
                  </a:cubicBezTo>
                  <a:cubicBezTo>
                    <a:pt x="12" y="92"/>
                    <a:pt x="11" y="92"/>
                    <a:pt x="11" y="93"/>
                  </a:cubicBezTo>
                  <a:cubicBezTo>
                    <a:pt x="11" y="94"/>
                    <a:pt x="12" y="95"/>
                    <a:pt x="9" y="94"/>
                  </a:cubicBezTo>
                  <a:cubicBezTo>
                    <a:pt x="6" y="94"/>
                    <a:pt x="5" y="93"/>
                    <a:pt x="2" y="92"/>
                  </a:cubicBezTo>
                  <a:cubicBezTo>
                    <a:pt x="2" y="92"/>
                    <a:pt x="1" y="92"/>
                    <a:pt x="1" y="92"/>
                  </a:cubicBezTo>
                  <a:cubicBezTo>
                    <a:pt x="1" y="91"/>
                    <a:pt x="1" y="90"/>
                    <a:pt x="1" y="89"/>
                  </a:cubicBezTo>
                  <a:cubicBezTo>
                    <a:pt x="0" y="88"/>
                    <a:pt x="0" y="87"/>
                    <a:pt x="0" y="86"/>
                  </a:cubicBezTo>
                  <a:cubicBezTo>
                    <a:pt x="0" y="86"/>
                    <a:pt x="1" y="85"/>
                    <a:pt x="2" y="85"/>
                  </a:cubicBezTo>
                  <a:cubicBezTo>
                    <a:pt x="2" y="84"/>
                    <a:pt x="3" y="84"/>
                    <a:pt x="3" y="83"/>
                  </a:cubicBezTo>
                  <a:cubicBezTo>
                    <a:pt x="4" y="83"/>
                    <a:pt x="5" y="83"/>
                    <a:pt x="5" y="83"/>
                  </a:cubicBezTo>
                  <a:cubicBezTo>
                    <a:pt x="6" y="83"/>
                    <a:pt x="6" y="84"/>
                    <a:pt x="7" y="84"/>
                  </a:cubicBezTo>
                  <a:cubicBezTo>
                    <a:pt x="8" y="84"/>
                    <a:pt x="8" y="83"/>
                    <a:pt x="9" y="83"/>
                  </a:cubicBezTo>
                  <a:cubicBezTo>
                    <a:pt x="10" y="83"/>
                    <a:pt x="10" y="83"/>
                    <a:pt x="11" y="82"/>
                  </a:cubicBezTo>
                  <a:cubicBezTo>
                    <a:pt x="11" y="82"/>
                    <a:pt x="11" y="81"/>
                    <a:pt x="12" y="81"/>
                  </a:cubicBezTo>
                  <a:cubicBezTo>
                    <a:pt x="12" y="80"/>
                    <a:pt x="12" y="80"/>
                    <a:pt x="12" y="80"/>
                  </a:cubicBezTo>
                  <a:cubicBezTo>
                    <a:pt x="13" y="81"/>
                    <a:pt x="13" y="82"/>
                    <a:pt x="13" y="82"/>
                  </a:cubicBezTo>
                  <a:cubicBezTo>
                    <a:pt x="14" y="82"/>
                    <a:pt x="15" y="81"/>
                    <a:pt x="15" y="81"/>
                  </a:cubicBezTo>
                  <a:cubicBezTo>
                    <a:pt x="15" y="80"/>
                    <a:pt x="14" y="79"/>
                    <a:pt x="14" y="78"/>
                  </a:cubicBezTo>
                  <a:cubicBezTo>
                    <a:pt x="14" y="77"/>
                    <a:pt x="15" y="76"/>
                    <a:pt x="15" y="75"/>
                  </a:cubicBezTo>
                  <a:cubicBezTo>
                    <a:pt x="15" y="74"/>
                    <a:pt x="16" y="74"/>
                    <a:pt x="17" y="73"/>
                  </a:cubicBezTo>
                  <a:cubicBezTo>
                    <a:pt x="18" y="73"/>
                    <a:pt x="19" y="74"/>
                    <a:pt x="20" y="75"/>
                  </a:cubicBezTo>
                  <a:cubicBezTo>
                    <a:pt x="21" y="75"/>
                    <a:pt x="22" y="75"/>
                    <a:pt x="22" y="75"/>
                  </a:cubicBezTo>
                  <a:cubicBezTo>
                    <a:pt x="23" y="75"/>
                    <a:pt x="23" y="74"/>
                    <a:pt x="24" y="74"/>
                  </a:cubicBezTo>
                  <a:cubicBezTo>
                    <a:pt x="24" y="73"/>
                    <a:pt x="24" y="73"/>
                    <a:pt x="24" y="72"/>
                  </a:cubicBezTo>
                  <a:cubicBezTo>
                    <a:pt x="25" y="72"/>
                    <a:pt x="25" y="71"/>
                    <a:pt x="25" y="70"/>
                  </a:cubicBezTo>
                  <a:cubicBezTo>
                    <a:pt x="26" y="70"/>
                    <a:pt x="26" y="69"/>
                    <a:pt x="26" y="69"/>
                  </a:cubicBezTo>
                  <a:cubicBezTo>
                    <a:pt x="26" y="67"/>
                    <a:pt x="23" y="67"/>
                    <a:pt x="24" y="65"/>
                  </a:cubicBezTo>
                  <a:cubicBezTo>
                    <a:pt x="24" y="64"/>
                    <a:pt x="24" y="64"/>
                    <a:pt x="24" y="63"/>
                  </a:cubicBezTo>
                  <a:cubicBezTo>
                    <a:pt x="23" y="63"/>
                    <a:pt x="22" y="63"/>
                    <a:pt x="21" y="63"/>
                  </a:cubicBezTo>
                  <a:cubicBezTo>
                    <a:pt x="20" y="63"/>
                    <a:pt x="20" y="62"/>
                    <a:pt x="19" y="62"/>
                  </a:cubicBezTo>
                  <a:cubicBezTo>
                    <a:pt x="19" y="61"/>
                    <a:pt x="18" y="61"/>
                    <a:pt x="18" y="60"/>
                  </a:cubicBezTo>
                  <a:cubicBezTo>
                    <a:pt x="18" y="59"/>
                    <a:pt x="18" y="59"/>
                    <a:pt x="18" y="58"/>
                  </a:cubicBezTo>
                  <a:cubicBezTo>
                    <a:pt x="18" y="56"/>
                    <a:pt x="19" y="55"/>
                    <a:pt x="18" y="53"/>
                  </a:cubicBezTo>
                  <a:cubicBezTo>
                    <a:pt x="17" y="53"/>
                    <a:pt x="17" y="53"/>
                    <a:pt x="16" y="52"/>
                  </a:cubicBezTo>
                  <a:cubicBezTo>
                    <a:pt x="16" y="51"/>
                    <a:pt x="16" y="50"/>
                    <a:pt x="16" y="50"/>
                  </a:cubicBezTo>
                  <a:cubicBezTo>
                    <a:pt x="16" y="49"/>
                    <a:pt x="16" y="48"/>
                    <a:pt x="15" y="48"/>
                  </a:cubicBezTo>
                  <a:cubicBezTo>
                    <a:pt x="15" y="47"/>
                    <a:pt x="15" y="46"/>
                    <a:pt x="15" y="45"/>
                  </a:cubicBezTo>
                  <a:cubicBezTo>
                    <a:pt x="14" y="44"/>
                    <a:pt x="14" y="43"/>
                    <a:pt x="14" y="43"/>
                  </a:cubicBezTo>
                  <a:cubicBezTo>
                    <a:pt x="14" y="41"/>
                    <a:pt x="15" y="40"/>
                    <a:pt x="15" y="38"/>
                  </a:cubicBezTo>
                  <a:cubicBezTo>
                    <a:pt x="15" y="37"/>
                    <a:pt x="15" y="35"/>
                    <a:pt x="15" y="33"/>
                  </a:cubicBezTo>
                  <a:cubicBezTo>
                    <a:pt x="15" y="33"/>
                    <a:pt x="15" y="31"/>
                    <a:pt x="16" y="31"/>
                  </a:cubicBezTo>
                  <a:cubicBezTo>
                    <a:pt x="17" y="31"/>
                    <a:pt x="17" y="32"/>
                    <a:pt x="18" y="32"/>
                  </a:cubicBezTo>
                  <a:cubicBezTo>
                    <a:pt x="19" y="32"/>
                    <a:pt x="19" y="33"/>
                    <a:pt x="20" y="33"/>
                  </a:cubicBezTo>
                  <a:cubicBezTo>
                    <a:pt x="21" y="34"/>
                    <a:pt x="23" y="34"/>
                    <a:pt x="25" y="35"/>
                  </a:cubicBezTo>
                  <a:cubicBezTo>
                    <a:pt x="25" y="35"/>
                    <a:pt x="26" y="36"/>
                    <a:pt x="27" y="36"/>
                  </a:cubicBezTo>
                  <a:cubicBezTo>
                    <a:pt x="28" y="37"/>
                    <a:pt x="29" y="37"/>
                    <a:pt x="30" y="38"/>
                  </a:cubicBezTo>
                  <a:cubicBezTo>
                    <a:pt x="31" y="38"/>
                    <a:pt x="32" y="39"/>
                    <a:pt x="33" y="39"/>
                  </a:cubicBezTo>
                  <a:cubicBezTo>
                    <a:pt x="33" y="39"/>
                    <a:pt x="34" y="39"/>
                    <a:pt x="35" y="39"/>
                  </a:cubicBezTo>
                  <a:cubicBezTo>
                    <a:pt x="35" y="37"/>
                    <a:pt x="33" y="36"/>
                    <a:pt x="33" y="34"/>
                  </a:cubicBezTo>
                  <a:cubicBezTo>
                    <a:pt x="33" y="33"/>
                    <a:pt x="35" y="32"/>
                    <a:pt x="36" y="32"/>
                  </a:cubicBezTo>
                  <a:cubicBezTo>
                    <a:pt x="38" y="31"/>
                    <a:pt x="39" y="30"/>
                    <a:pt x="40" y="29"/>
                  </a:cubicBezTo>
                  <a:cubicBezTo>
                    <a:pt x="41" y="28"/>
                    <a:pt x="42" y="28"/>
                    <a:pt x="43" y="27"/>
                  </a:cubicBezTo>
                  <a:cubicBezTo>
                    <a:pt x="43" y="26"/>
                    <a:pt x="44" y="26"/>
                    <a:pt x="44" y="25"/>
                  </a:cubicBezTo>
                  <a:cubicBezTo>
                    <a:pt x="44" y="24"/>
                    <a:pt x="45" y="23"/>
                    <a:pt x="45" y="23"/>
                  </a:cubicBezTo>
                  <a:cubicBezTo>
                    <a:pt x="45" y="22"/>
                    <a:pt x="45" y="21"/>
                    <a:pt x="45" y="21"/>
                  </a:cubicBezTo>
                  <a:cubicBezTo>
                    <a:pt x="45" y="20"/>
                    <a:pt x="46" y="18"/>
                    <a:pt x="46" y="17"/>
                  </a:cubicBezTo>
                  <a:cubicBezTo>
                    <a:pt x="46" y="16"/>
                    <a:pt x="45" y="16"/>
                    <a:pt x="44" y="15"/>
                  </a:cubicBezTo>
                  <a:cubicBezTo>
                    <a:pt x="44" y="15"/>
                    <a:pt x="44" y="14"/>
                    <a:pt x="43" y="14"/>
                  </a:cubicBezTo>
                  <a:cubicBezTo>
                    <a:pt x="43" y="13"/>
                    <a:pt x="43" y="13"/>
                    <a:pt x="42" y="13"/>
                  </a:cubicBezTo>
                  <a:cubicBezTo>
                    <a:pt x="42" y="12"/>
                    <a:pt x="42" y="11"/>
                    <a:pt x="43" y="10"/>
                  </a:cubicBezTo>
                  <a:cubicBezTo>
                    <a:pt x="43" y="10"/>
                    <a:pt x="44" y="10"/>
                    <a:pt x="44" y="10"/>
                  </a:cubicBezTo>
                  <a:cubicBezTo>
                    <a:pt x="44" y="9"/>
                    <a:pt x="44" y="8"/>
                    <a:pt x="44" y="8"/>
                  </a:cubicBezTo>
                  <a:cubicBezTo>
                    <a:pt x="44" y="7"/>
                    <a:pt x="44" y="6"/>
                    <a:pt x="45" y="6"/>
                  </a:cubicBezTo>
                  <a:cubicBezTo>
                    <a:pt x="46" y="5"/>
                    <a:pt x="46" y="5"/>
                    <a:pt x="47" y="5"/>
                  </a:cubicBezTo>
                  <a:cubicBezTo>
                    <a:pt x="47" y="4"/>
                    <a:pt x="47" y="3"/>
                    <a:pt x="47" y="2"/>
                  </a:cubicBezTo>
                  <a:cubicBezTo>
                    <a:pt x="48" y="1"/>
                    <a:pt x="48" y="1"/>
                    <a:pt x="49" y="0"/>
                  </a:cubicBezTo>
                  <a:cubicBezTo>
                    <a:pt x="50" y="1"/>
                    <a:pt x="52" y="2"/>
                    <a:pt x="53" y="2"/>
                  </a:cubicBezTo>
                  <a:cubicBezTo>
                    <a:pt x="54" y="2"/>
                    <a:pt x="56" y="3"/>
                    <a:pt x="59" y="3"/>
                  </a:cubicBezTo>
                  <a:cubicBezTo>
                    <a:pt x="62" y="3"/>
                    <a:pt x="64" y="2"/>
                    <a:pt x="65" y="2"/>
                  </a:cubicBezTo>
                  <a:cubicBezTo>
                    <a:pt x="66" y="2"/>
                    <a:pt x="66" y="0"/>
                    <a:pt x="67" y="2"/>
                  </a:cubicBezTo>
                  <a:cubicBezTo>
                    <a:pt x="68" y="3"/>
                    <a:pt x="68" y="3"/>
                    <a:pt x="69" y="5"/>
                  </a:cubicBezTo>
                  <a:cubicBezTo>
                    <a:pt x="70" y="7"/>
                    <a:pt x="71" y="8"/>
                    <a:pt x="72" y="9"/>
                  </a:cubicBezTo>
                  <a:cubicBezTo>
                    <a:pt x="74" y="10"/>
                    <a:pt x="78" y="10"/>
                    <a:pt x="80" y="10"/>
                  </a:cubicBezTo>
                  <a:cubicBezTo>
                    <a:pt x="82" y="9"/>
                    <a:pt x="82" y="9"/>
                    <a:pt x="85" y="8"/>
                  </a:cubicBezTo>
                  <a:cubicBezTo>
                    <a:pt x="87" y="8"/>
                    <a:pt x="89" y="8"/>
                    <a:pt x="91" y="8"/>
                  </a:cubicBezTo>
                  <a:cubicBezTo>
                    <a:pt x="93" y="8"/>
                    <a:pt x="93" y="7"/>
                    <a:pt x="95" y="8"/>
                  </a:cubicBezTo>
                  <a:cubicBezTo>
                    <a:pt x="97" y="9"/>
                    <a:pt x="98" y="10"/>
                    <a:pt x="99" y="10"/>
                  </a:cubicBezTo>
                  <a:cubicBezTo>
                    <a:pt x="100" y="10"/>
                    <a:pt x="101" y="10"/>
                    <a:pt x="101" y="9"/>
                  </a:cubicBezTo>
                  <a:cubicBezTo>
                    <a:pt x="101" y="8"/>
                    <a:pt x="101" y="7"/>
                    <a:pt x="102" y="7"/>
                  </a:cubicBezTo>
                  <a:cubicBezTo>
                    <a:pt x="104" y="7"/>
                    <a:pt x="104" y="7"/>
                    <a:pt x="105" y="8"/>
                  </a:cubicBezTo>
                  <a:cubicBezTo>
                    <a:pt x="105" y="9"/>
                    <a:pt x="106" y="9"/>
                    <a:pt x="106" y="9"/>
                  </a:cubicBezTo>
                  <a:cubicBezTo>
                    <a:pt x="106" y="9"/>
                    <a:pt x="106" y="10"/>
                    <a:pt x="106" y="11"/>
                  </a:cubicBezTo>
                  <a:cubicBezTo>
                    <a:pt x="106" y="12"/>
                    <a:pt x="105" y="12"/>
                    <a:pt x="106" y="13"/>
                  </a:cubicBezTo>
                  <a:cubicBezTo>
                    <a:pt x="107" y="15"/>
                    <a:pt x="108" y="17"/>
                    <a:pt x="108" y="17"/>
                  </a:cubicBezTo>
                  <a:cubicBezTo>
                    <a:pt x="108" y="17"/>
                    <a:pt x="105" y="17"/>
                    <a:pt x="105" y="18"/>
                  </a:cubicBezTo>
                  <a:cubicBezTo>
                    <a:pt x="106" y="18"/>
                    <a:pt x="108" y="20"/>
                    <a:pt x="108" y="20"/>
                  </a:cubicBezTo>
                  <a:cubicBezTo>
                    <a:pt x="108" y="20"/>
                    <a:pt x="107" y="22"/>
                    <a:pt x="107" y="22"/>
                  </a:cubicBezTo>
                  <a:cubicBezTo>
                    <a:pt x="107" y="23"/>
                    <a:pt x="107" y="23"/>
                    <a:pt x="107" y="24"/>
                  </a:cubicBezTo>
                  <a:cubicBezTo>
                    <a:pt x="108" y="24"/>
                    <a:pt x="109" y="25"/>
                    <a:pt x="109" y="26"/>
                  </a:cubicBezTo>
                  <a:cubicBezTo>
                    <a:pt x="109" y="27"/>
                    <a:pt x="109" y="28"/>
                    <a:pt x="110" y="29"/>
                  </a:cubicBezTo>
                  <a:cubicBezTo>
                    <a:pt x="110" y="30"/>
                    <a:pt x="111" y="30"/>
                    <a:pt x="112" y="30"/>
                  </a:cubicBezTo>
                  <a:cubicBezTo>
                    <a:pt x="112" y="30"/>
                    <a:pt x="114" y="28"/>
                    <a:pt x="115" y="28"/>
                  </a:cubicBezTo>
                  <a:cubicBezTo>
                    <a:pt x="116" y="29"/>
                    <a:pt x="119" y="31"/>
                    <a:pt x="120" y="32"/>
                  </a:cubicBezTo>
                  <a:cubicBezTo>
                    <a:pt x="120" y="33"/>
                    <a:pt x="120" y="35"/>
                    <a:pt x="119" y="36"/>
                  </a:cubicBezTo>
                  <a:cubicBezTo>
                    <a:pt x="119" y="36"/>
                    <a:pt x="121" y="38"/>
                    <a:pt x="120" y="38"/>
                  </a:cubicBezTo>
                  <a:cubicBezTo>
                    <a:pt x="120" y="39"/>
                    <a:pt x="120" y="40"/>
                    <a:pt x="120" y="41"/>
                  </a:cubicBezTo>
                  <a:cubicBezTo>
                    <a:pt x="119" y="43"/>
                    <a:pt x="119" y="44"/>
                    <a:pt x="119" y="45"/>
                  </a:cubicBezTo>
                  <a:cubicBezTo>
                    <a:pt x="119" y="46"/>
                    <a:pt x="121" y="48"/>
                    <a:pt x="121" y="48"/>
                  </a:cubicBezTo>
                  <a:cubicBezTo>
                    <a:pt x="122" y="48"/>
                    <a:pt x="122" y="48"/>
                    <a:pt x="122" y="49"/>
                  </a:cubicBezTo>
                  <a:cubicBezTo>
                    <a:pt x="122" y="49"/>
                    <a:pt x="122" y="51"/>
                    <a:pt x="122" y="52"/>
                  </a:cubicBezTo>
                  <a:cubicBezTo>
                    <a:pt x="122" y="52"/>
                    <a:pt x="122" y="53"/>
                    <a:pt x="123" y="54"/>
                  </a:cubicBezTo>
                  <a:cubicBezTo>
                    <a:pt x="124" y="54"/>
                    <a:pt x="126" y="56"/>
                    <a:pt x="126" y="55"/>
                  </a:cubicBezTo>
                  <a:cubicBezTo>
                    <a:pt x="126" y="55"/>
                    <a:pt x="126" y="54"/>
                    <a:pt x="127" y="55"/>
                  </a:cubicBezTo>
                  <a:cubicBezTo>
                    <a:pt x="128" y="55"/>
                    <a:pt x="129" y="57"/>
                    <a:pt x="130" y="57"/>
                  </a:cubicBezTo>
                  <a:cubicBezTo>
                    <a:pt x="130" y="57"/>
                    <a:pt x="132" y="57"/>
                    <a:pt x="132" y="57"/>
                  </a:cubicBezTo>
                  <a:cubicBezTo>
                    <a:pt x="133" y="57"/>
                    <a:pt x="136" y="59"/>
                    <a:pt x="136" y="60"/>
                  </a:cubicBezTo>
                  <a:cubicBezTo>
                    <a:pt x="136" y="60"/>
                    <a:pt x="137" y="61"/>
                    <a:pt x="138" y="61"/>
                  </a:cubicBezTo>
                  <a:cubicBezTo>
                    <a:pt x="139" y="62"/>
                    <a:pt x="141" y="62"/>
                    <a:pt x="141" y="62"/>
                  </a:cubicBezTo>
                  <a:cubicBezTo>
                    <a:pt x="142" y="62"/>
                    <a:pt x="142" y="62"/>
                    <a:pt x="142" y="62"/>
                  </a:cubicBezTo>
                  <a:cubicBezTo>
                    <a:pt x="142" y="62"/>
                    <a:pt x="142" y="62"/>
                    <a:pt x="143" y="62"/>
                  </a:cubicBezTo>
                  <a:cubicBezTo>
                    <a:pt x="144" y="62"/>
                    <a:pt x="145" y="63"/>
                    <a:pt x="146" y="63"/>
                  </a:cubicBezTo>
                  <a:cubicBezTo>
                    <a:pt x="147" y="64"/>
                    <a:pt x="147" y="65"/>
                    <a:pt x="148" y="65"/>
                  </a:cubicBezTo>
                  <a:cubicBezTo>
                    <a:pt x="149" y="65"/>
                    <a:pt x="152" y="64"/>
                    <a:pt x="153" y="64"/>
                  </a:cubicBezTo>
                  <a:cubicBezTo>
                    <a:pt x="154" y="63"/>
                    <a:pt x="156" y="63"/>
                    <a:pt x="157" y="62"/>
                  </a:cubicBezTo>
                  <a:cubicBezTo>
                    <a:pt x="158" y="62"/>
                    <a:pt x="157" y="59"/>
                    <a:pt x="161" y="60"/>
                  </a:cubicBezTo>
                  <a:cubicBezTo>
                    <a:pt x="165" y="60"/>
                    <a:pt x="170" y="61"/>
                    <a:pt x="170" y="61"/>
                  </a:cubicBezTo>
                  <a:cubicBezTo>
                    <a:pt x="170" y="61"/>
                    <a:pt x="173" y="61"/>
                    <a:pt x="174" y="61"/>
                  </a:cubicBezTo>
                  <a:cubicBezTo>
                    <a:pt x="176" y="61"/>
                    <a:pt x="178" y="63"/>
                    <a:pt x="179" y="61"/>
                  </a:cubicBezTo>
                  <a:cubicBezTo>
                    <a:pt x="180" y="60"/>
                    <a:pt x="181" y="58"/>
                    <a:pt x="182" y="58"/>
                  </a:cubicBezTo>
                  <a:cubicBezTo>
                    <a:pt x="184" y="58"/>
                    <a:pt x="186" y="59"/>
                    <a:pt x="187" y="59"/>
                  </a:cubicBezTo>
                  <a:cubicBezTo>
                    <a:pt x="187" y="59"/>
                    <a:pt x="188" y="59"/>
                    <a:pt x="189" y="58"/>
                  </a:cubicBezTo>
                  <a:cubicBezTo>
                    <a:pt x="191" y="56"/>
                    <a:pt x="193" y="55"/>
                    <a:pt x="194" y="54"/>
                  </a:cubicBezTo>
                  <a:cubicBezTo>
                    <a:pt x="194" y="54"/>
                    <a:pt x="195" y="53"/>
                    <a:pt x="195" y="54"/>
                  </a:cubicBezTo>
                  <a:cubicBezTo>
                    <a:pt x="196" y="56"/>
                    <a:pt x="197" y="58"/>
                    <a:pt x="198" y="59"/>
                  </a:cubicBezTo>
                  <a:cubicBezTo>
                    <a:pt x="198" y="59"/>
                    <a:pt x="199" y="60"/>
                    <a:pt x="201" y="60"/>
                  </a:cubicBezTo>
                  <a:cubicBezTo>
                    <a:pt x="204" y="60"/>
                    <a:pt x="205" y="59"/>
                    <a:pt x="206" y="59"/>
                  </a:cubicBezTo>
                  <a:cubicBezTo>
                    <a:pt x="208" y="60"/>
                    <a:pt x="208" y="60"/>
                    <a:pt x="209" y="61"/>
                  </a:cubicBezTo>
                  <a:cubicBezTo>
                    <a:pt x="209" y="62"/>
                    <a:pt x="208" y="64"/>
                    <a:pt x="211" y="64"/>
                  </a:cubicBezTo>
                  <a:cubicBezTo>
                    <a:pt x="213" y="63"/>
                    <a:pt x="214" y="63"/>
                    <a:pt x="217" y="64"/>
                  </a:cubicBezTo>
                  <a:cubicBezTo>
                    <a:pt x="219" y="66"/>
                    <a:pt x="220" y="68"/>
                    <a:pt x="220" y="70"/>
                  </a:cubicBezTo>
                  <a:cubicBezTo>
                    <a:pt x="219" y="72"/>
                    <a:pt x="218" y="72"/>
                    <a:pt x="218" y="74"/>
                  </a:cubicBezTo>
                  <a:cubicBezTo>
                    <a:pt x="218" y="76"/>
                    <a:pt x="219" y="77"/>
                    <a:pt x="219" y="79"/>
                  </a:cubicBezTo>
                  <a:cubicBezTo>
                    <a:pt x="219" y="81"/>
                    <a:pt x="218" y="84"/>
                    <a:pt x="218" y="85"/>
                  </a:cubicBezTo>
                  <a:cubicBezTo>
                    <a:pt x="218" y="87"/>
                    <a:pt x="217" y="89"/>
                    <a:pt x="216" y="90"/>
                  </a:cubicBezTo>
                  <a:cubicBezTo>
                    <a:pt x="216" y="91"/>
                    <a:pt x="216" y="92"/>
                    <a:pt x="216" y="93"/>
                  </a:cubicBezTo>
                  <a:cubicBezTo>
                    <a:pt x="216" y="93"/>
                    <a:pt x="216" y="94"/>
                    <a:pt x="215" y="95"/>
                  </a:cubicBezTo>
                  <a:cubicBezTo>
                    <a:pt x="214" y="97"/>
                    <a:pt x="213" y="100"/>
                    <a:pt x="214" y="101"/>
                  </a:cubicBezTo>
                  <a:cubicBezTo>
                    <a:pt x="214" y="103"/>
                    <a:pt x="213" y="104"/>
                    <a:pt x="213" y="105"/>
                  </a:cubicBezTo>
                  <a:cubicBezTo>
                    <a:pt x="213" y="106"/>
                    <a:pt x="214" y="106"/>
                    <a:pt x="214" y="107"/>
                  </a:cubicBezTo>
                  <a:cubicBezTo>
                    <a:pt x="214" y="108"/>
                    <a:pt x="214" y="109"/>
                    <a:pt x="214" y="109"/>
                  </a:cubicBezTo>
                  <a:cubicBezTo>
                    <a:pt x="214" y="110"/>
                    <a:pt x="215" y="111"/>
                    <a:pt x="215" y="111"/>
                  </a:cubicBezTo>
                  <a:cubicBezTo>
                    <a:pt x="216" y="107"/>
                    <a:pt x="216" y="107"/>
                    <a:pt x="216" y="107"/>
                  </a:cubicBezTo>
                  <a:cubicBezTo>
                    <a:pt x="216" y="107"/>
                    <a:pt x="217" y="107"/>
                    <a:pt x="217" y="108"/>
                  </a:cubicBezTo>
                  <a:cubicBezTo>
                    <a:pt x="217" y="108"/>
                    <a:pt x="217" y="114"/>
                    <a:pt x="218" y="115"/>
                  </a:cubicBezTo>
                  <a:cubicBezTo>
                    <a:pt x="219" y="117"/>
                    <a:pt x="220" y="118"/>
                    <a:pt x="220" y="118"/>
                  </a:cubicBezTo>
                  <a:cubicBezTo>
                    <a:pt x="221" y="117"/>
                    <a:pt x="222" y="117"/>
                    <a:pt x="222" y="117"/>
                  </a:cubicBezTo>
                  <a:cubicBezTo>
                    <a:pt x="222" y="118"/>
                    <a:pt x="224" y="119"/>
                    <a:pt x="225" y="119"/>
                  </a:cubicBezTo>
                  <a:cubicBezTo>
                    <a:pt x="225" y="120"/>
                    <a:pt x="226" y="119"/>
                    <a:pt x="227" y="120"/>
                  </a:cubicBezTo>
                  <a:cubicBezTo>
                    <a:pt x="228" y="120"/>
                    <a:pt x="228" y="121"/>
                    <a:pt x="229" y="122"/>
                  </a:cubicBezTo>
                  <a:cubicBezTo>
                    <a:pt x="229" y="122"/>
                    <a:pt x="230" y="122"/>
                    <a:pt x="229" y="123"/>
                  </a:cubicBezTo>
                  <a:close/>
                  <a:moveTo>
                    <a:pt x="117" y="26"/>
                  </a:moveTo>
                  <a:cubicBezTo>
                    <a:pt x="119" y="26"/>
                    <a:pt x="121" y="26"/>
                    <a:pt x="122" y="27"/>
                  </a:cubicBezTo>
                  <a:cubicBezTo>
                    <a:pt x="124" y="27"/>
                    <a:pt x="125" y="28"/>
                    <a:pt x="127" y="29"/>
                  </a:cubicBezTo>
                  <a:cubicBezTo>
                    <a:pt x="129" y="29"/>
                    <a:pt x="131" y="29"/>
                    <a:pt x="133" y="30"/>
                  </a:cubicBezTo>
                  <a:cubicBezTo>
                    <a:pt x="135" y="30"/>
                    <a:pt x="137" y="30"/>
                    <a:pt x="139" y="30"/>
                  </a:cubicBezTo>
                  <a:cubicBezTo>
                    <a:pt x="141" y="30"/>
                    <a:pt x="143" y="31"/>
                    <a:pt x="145" y="31"/>
                  </a:cubicBezTo>
                  <a:cubicBezTo>
                    <a:pt x="147" y="31"/>
                    <a:pt x="149" y="31"/>
                    <a:pt x="151" y="31"/>
                  </a:cubicBezTo>
                  <a:cubicBezTo>
                    <a:pt x="154" y="31"/>
                    <a:pt x="158" y="30"/>
                    <a:pt x="161" y="32"/>
                  </a:cubicBezTo>
                  <a:cubicBezTo>
                    <a:pt x="162" y="32"/>
                    <a:pt x="162" y="32"/>
                    <a:pt x="163" y="31"/>
                  </a:cubicBezTo>
                  <a:cubicBezTo>
                    <a:pt x="163" y="31"/>
                    <a:pt x="164" y="30"/>
                    <a:pt x="164" y="29"/>
                  </a:cubicBezTo>
                  <a:cubicBezTo>
                    <a:pt x="165" y="27"/>
                    <a:pt x="166" y="25"/>
                    <a:pt x="168" y="24"/>
                  </a:cubicBezTo>
                  <a:cubicBezTo>
                    <a:pt x="169" y="24"/>
                    <a:pt x="170" y="24"/>
                    <a:pt x="170" y="24"/>
                  </a:cubicBezTo>
                  <a:cubicBezTo>
                    <a:pt x="172" y="24"/>
                    <a:pt x="172" y="23"/>
                    <a:pt x="174" y="24"/>
                  </a:cubicBezTo>
                  <a:cubicBezTo>
                    <a:pt x="175" y="24"/>
                    <a:pt x="177" y="24"/>
                    <a:pt x="178" y="24"/>
                  </a:cubicBezTo>
                  <a:cubicBezTo>
                    <a:pt x="179" y="25"/>
                    <a:pt x="180" y="25"/>
                    <a:pt x="181" y="25"/>
                  </a:cubicBezTo>
                  <a:cubicBezTo>
                    <a:pt x="182" y="25"/>
                    <a:pt x="184" y="25"/>
                    <a:pt x="184" y="25"/>
                  </a:cubicBezTo>
                  <a:cubicBezTo>
                    <a:pt x="185" y="25"/>
                    <a:pt x="185" y="24"/>
                    <a:pt x="185" y="23"/>
                  </a:cubicBezTo>
                  <a:cubicBezTo>
                    <a:pt x="184" y="23"/>
                    <a:pt x="184" y="22"/>
                    <a:pt x="184" y="22"/>
                  </a:cubicBezTo>
                  <a:cubicBezTo>
                    <a:pt x="185" y="21"/>
                    <a:pt x="185" y="20"/>
                    <a:pt x="186" y="19"/>
                  </a:cubicBezTo>
                  <a:cubicBezTo>
                    <a:pt x="187" y="19"/>
                    <a:pt x="188" y="19"/>
                    <a:pt x="188" y="20"/>
                  </a:cubicBezTo>
                  <a:cubicBezTo>
                    <a:pt x="188" y="21"/>
                    <a:pt x="189" y="21"/>
                    <a:pt x="189" y="22"/>
                  </a:cubicBezTo>
                  <a:cubicBezTo>
                    <a:pt x="191" y="23"/>
                    <a:pt x="193" y="24"/>
                    <a:pt x="195" y="23"/>
                  </a:cubicBezTo>
                  <a:cubicBezTo>
                    <a:pt x="196" y="23"/>
                    <a:pt x="196" y="22"/>
                    <a:pt x="196" y="22"/>
                  </a:cubicBezTo>
                  <a:cubicBezTo>
                    <a:pt x="195" y="21"/>
                    <a:pt x="195" y="21"/>
                    <a:pt x="194" y="21"/>
                  </a:cubicBezTo>
                  <a:cubicBezTo>
                    <a:pt x="192" y="21"/>
                    <a:pt x="190" y="21"/>
                    <a:pt x="189" y="20"/>
                  </a:cubicBezTo>
                  <a:cubicBezTo>
                    <a:pt x="188" y="18"/>
                    <a:pt x="190" y="18"/>
                    <a:pt x="191" y="17"/>
                  </a:cubicBezTo>
                  <a:cubicBezTo>
                    <a:pt x="192" y="16"/>
                    <a:pt x="193" y="17"/>
                    <a:pt x="194" y="17"/>
                  </a:cubicBezTo>
                  <a:cubicBezTo>
                    <a:pt x="195" y="17"/>
                    <a:pt x="196" y="16"/>
                    <a:pt x="197" y="15"/>
                  </a:cubicBezTo>
                  <a:cubicBezTo>
                    <a:pt x="197" y="15"/>
                    <a:pt x="198" y="14"/>
                    <a:pt x="199" y="14"/>
                  </a:cubicBezTo>
                  <a:cubicBezTo>
                    <a:pt x="199" y="13"/>
                    <a:pt x="198" y="12"/>
                    <a:pt x="197" y="12"/>
                  </a:cubicBezTo>
                  <a:cubicBezTo>
                    <a:pt x="196" y="11"/>
                    <a:pt x="195" y="11"/>
                    <a:pt x="193" y="10"/>
                  </a:cubicBezTo>
                  <a:cubicBezTo>
                    <a:pt x="192" y="9"/>
                    <a:pt x="190" y="8"/>
                    <a:pt x="189" y="8"/>
                  </a:cubicBezTo>
                  <a:cubicBezTo>
                    <a:pt x="186" y="7"/>
                    <a:pt x="183" y="9"/>
                    <a:pt x="180" y="9"/>
                  </a:cubicBezTo>
                  <a:cubicBezTo>
                    <a:pt x="176" y="9"/>
                    <a:pt x="172" y="9"/>
                    <a:pt x="167" y="9"/>
                  </a:cubicBezTo>
                  <a:cubicBezTo>
                    <a:pt x="162" y="9"/>
                    <a:pt x="156" y="9"/>
                    <a:pt x="151" y="9"/>
                  </a:cubicBezTo>
                  <a:cubicBezTo>
                    <a:pt x="147" y="9"/>
                    <a:pt x="144" y="9"/>
                    <a:pt x="140" y="9"/>
                  </a:cubicBezTo>
                  <a:cubicBezTo>
                    <a:pt x="136" y="9"/>
                    <a:pt x="133" y="9"/>
                    <a:pt x="129" y="9"/>
                  </a:cubicBezTo>
                  <a:cubicBezTo>
                    <a:pt x="126" y="9"/>
                    <a:pt x="123" y="9"/>
                    <a:pt x="120" y="11"/>
                  </a:cubicBezTo>
                  <a:cubicBezTo>
                    <a:pt x="120" y="12"/>
                    <a:pt x="119" y="12"/>
                    <a:pt x="119" y="13"/>
                  </a:cubicBezTo>
                  <a:cubicBezTo>
                    <a:pt x="118" y="14"/>
                    <a:pt x="117" y="15"/>
                    <a:pt x="116" y="16"/>
                  </a:cubicBezTo>
                  <a:cubicBezTo>
                    <a:pt x="116" y="16"/>
                    <a:pt x="115" y="17"/>
                    <a:pt x="114" y="18"/>
                  </a:cubicBezTo>
                  <a:cubicBezTo>
                    <a:pt x="114" y="19"/>
                    <a:pt x="113" y="19"/>
                    <a:pt x="112" y="19"/>
                  </a:cubicBezTo>
                  <a:cubicBezTo>
                    <a:pt x="111" y="19"/>
                    <a:pt x="110" y="19"/>
                    <a:pt x="110" y="20"/>
                  </a:cubicBezTo>
                  <a:cubicBezTo>
                    <a:pt x="110" y="21"/>
                    <a:pt x="111" y="22"/>
                    <a:pt x="111" y="22"/>
                  </a:cubicBezTo>
                  <a:cubicBezTo>
                    <a:pt x="111" y="23"/>
                    <a:pt x="112" y="23"/>
                    <a:pt x="112" y="24"/>
                  </a:cubicBezTo>
                  <a:cubicBezTo>
                    <a:pt x="112" y="25"/>
                    <a:pt x="112" y="26"/>
                    <a:pt x="112" y="26"/>
                  </a:cubicBezTo>
                  <a:cubicBezTo>
                    <a:pt x="114" y="28"/>
                    <a:pt x="116" y="26"/>
                    <a:pt x="117" y="26"/>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4" name="Freeform 72">
              <a:extLst>
                <a:ext uri="{FF2B5EF4-FFF2-40B4-BE49-F238E27FC236}">
                  <a16:creationId xmlns:a16="http://schemas.microsoft.com/office/drawing/2014/main" id="{C1F2EE24-1697-B438-526B-B0AF867C8F2A}"/>
                </a:ext>
              </a:extLst>
            </p:cNvPr>
            <p:cNvSpPr>
              <a:spLocks/>
            </p:cNvSpPr>
            <p:nvPr/>
          </p:nvSpPr>
          <p:spPr bwMode="auto">
            <a:xfrm>
              <a:off x="3741738" y="5318125"/>
              <a:ext cx="739775" cy="430212"/>
            </a:xfrm>
            <a:custGeom>
              <a:avLst/>
              <a:gdLst>
                <a:gd name="T0" fmla="*/ 148 w 194"/>
                <a:gd name="T1" fmla="*/ 104 h 113"/>
                <a:gd name="T2" fmla="*/ 154 w 194"/>
                <a:gd name="T3" fmla="*/ 104 h 113"/>
                <a:gd name="T4" fmla="*/ 157 w 194"/>
                <a:gd name="T5" fmla="*/ 101 h 113"/>
                <a:gd name="T6" fmla="*/ 159 w 194"/>
                <a:gd name="T7" fmla="*/ 99 h 113"/>
                <a:gd name="T8" fmla="*/ 165 w 194"/>
                <a:gd name="T9" fmla="*/ 96 h 113"/>
                <a:gd name="T10" fmla="*/ 169 w 194"/>
                <a:gd name="T11" fmla="*/ 93 h 113"/>
                <a:gd name="T12" fmla="*/ 169 w 194"/>
                <a:gd name="T13" fmla="*/ 86 h 113"/>
                <a:gd name="T14" fmla="*/ 164 w 194"/>
                <a:gd name="T15" fmla="*/ 83 h 113"/>
                <a:gd name="T16" fmla="*/ 163 w 194"/>
                <a:gd name="T17" fmla="*/ 74 h 113"/>
                <a:gd name="T18" fmla="*/ 160 w 194"/>
                <a:gd name="T19" fmla="*/ 69 h 113"/>
                <a:gd name="T20" fmla="*/ 160 w 194"/>
                <a:gd name="T21" fmla="*/ 59 h 113"/>
                <a:gd name="T22" fmla="*/ 163 w 194"/>
                <a:gd name="T23" fmla="*/ 53 h 113"/>
                <a:gd name="T24" fmla="*/ 172 w 194"/>
                <a:gd name="T25" fmla="*/ 57 h 113"/>
                <a:gd name="T26" fmla="*/ 180 w 194"/>
                <a:gd name="T27" fmla="*/ 60 h 113"/>
                <a:gd name="T28" fmla="*/ 185 w 194"/>
                <a:gd name="T29" fmla="*/ 50 h 113"/>
                <a:gd name="T30" fmla="*/ 190 w 194"/>
                <a:gd name="T31" fmla="*/ 44 h 113"/>
                <a:gd name="T32" fmla="*/ 189 w 194"/>
                <a:gd name="T33" fmla="*/ 36 h 113"/>
                <a:gd name="T34" fmla="*/ 188 w 194"/>
                <a:gd name="T35" fmla="*/ 31 h 113"/>
                <a:gd name="T36" fmla="*/ 190 w 194"/>
                <a:gd name="T37" fmla="*/ 27 h 113"/>
                <a:gd name="T38" fmla="*/ 194 w 194"/>
                <a:gd name="T39" fmla="*/ 21 h 113"/>
                <a:gd name="T40" fmla="*/ 183 w 194"/>
                <a:gd name="T41" fmla="*/ 14 h 113"/>
                <a:gd name="T42" fmla="*/ 162 w 194"/>
                <a:gd name="T43" fmla="*/ 16 h 113"/>
                <a:gd name="T44" fmla="*/ 154 w 194"/>
                <a:gd name="T45" fmla="*/ 1 h 113"/>
                <a:gd name="T46" fmla="*/ 139 w 194"/>
                <a:gd name="T47" fmla="*/ 1 h 113"/>
                <a:gd name="T48" fmla="*/ 128 w 194"/>
                <a:gd name="T49" fmla="*/ 17 h 113"/>
                <a:gd name="T50" fmla="*/ 124 w 194"/>
                <a:gd name="T51" fmla="*/ 23 h 113"/>
                <a:gd name="T52" fmla="*/ 114 w 194"/>
                <a:gd name="T53" fmla="*/ 34 h 113"/>
                <a:gd name="T54" fmla="*/ 106 w 194"/>
                <a:gd name="T55" fmla="*/ 32 h 113"/>
                <a:gd name="T56" fmla="*/ 94 w 194"/>
                <a:gd name="T57" fmla="*/ 31 h 113"/>
                <a:gd name="T58" fmla="*/ 61 w 194"/>
                <a:gd name="T59" fmla="*/ 25 h 113"/>
                <a:gd name="T60" fmla="*/ 32 w 194"/>
                <a:gd name="T61" fmla="*/ 24 h 113"/>
                <a:gd name="T62" fmla="*/ 22 w 194"/>
                <a:gd name="T63" fmla="*/ 26 h 113"/>
                <a:gd name="T64" fmla="*/ 17 w 194"/>
                <a:gd name="T65" fmla="*/ 25 h 113"/>
                <a:gd name="T66" fmla="*/ 13 w 194"/>
                <a:gd name="T67" fmla="*/ 37 h 113"/>
                <a:gd name="T68" fmla="*/ 11 w 194"/>
                <a:gd name="T69" fmla="*/ 44 h 113"/>
                <a:gd name="T70" fmla="*/ 5 w 194"/>
                <a:gd name="T71" fmla="*/ 46 h 113"/>
                <a:gd name="T72" fmla="*/ 2 w 194"/>
                <a:gd name="T73" fmla="*/ 51 h 113"/>
                <a:gd name="T74" fmla="*/ 0 w 194"/>
                <a:gd name="T75" fmla="*/ 57 h 113"/>
                <a:gd name="T76" fmla="*/ 3 w 194"/>
                <a:gd name="T77" fmla="*/ 59 h 113"/>
                <a:gd name="T78" fmla="*/ 9 w 194"/>
                <a:gd name="T79" fmla="*/ 63 h 113"/>
                <a:gd name="T80" fmla="*/ 10 w 194"/>
                <a:gd name="T81" fmla="*/ 68 h 113"/>
                <a:gd name="T82" fmla="*/ 13 w 194"/>
                <a:gd name="T83" fmla="*/ 78 h 113"/>
                <a:gd name="T84" fmla="*/ 15 w 194"/>
                <a:gd name="T85" fmla="*/ 83 h 113"/>
                <a:gd name="T86" fmla="*/ 25 w 194"/>
                <a:gd name="T87" fmla="*/ 85 h 113"/>
                <a:gd name="T88" fmla="*/ 26 w 194"/>
                <a:gd name="T89" fmla="*/ 82 h 113"/>
                <a:gd name="T90" fmla="*/ 39 w 194"/>
                <a:gd name="T91" fmla="*/ 80 h 113"/>
                <a:gd name="T92" fmla="*/ 55 w 194"/>
                <a:gd name="T93" fmla="*/ 85 h 113"/>
                <a:gd name="T94" fmla="*/ 78 w 194"/>
                <a:gd name="T95" fmla="*/ 88 h 113"/>
                <a:gd name="T96" fmla="*/ 96 w 194"/>
                <a:gd name="T97" fmla="*/ 85 h 113"/>
                <a:gd name="T98" fmla="*/ 100 w 194"/>
                <a:gd name="T99" fmla="*/ 78 h 113"/>
                <a:gd name="T100" fmla="*/ 106 w 194"/>
                <a:gd name="T101" fmla="*/ 80 h 113"/>
                <a:gd name="T102" fmla="*/ 114 w 194"/>
                <a:gd name="T103" fmla="*/ 74 h 113"/>
                <a:gd name="T104" fmla="*/ 120 w 194"/>
                <a:gd name="T105" fmla="*/ 82 h 113"/>
                <a:gd name="T106" fmla="*/ 124 w 194"/>
                <a:gd name="T107" fmla="*/ 86 h 113"/>
                <a:gd name="T108" fmla="*/ 138 w 194"/>
                <a:gd name="T109" fmla="*/ 88 h 113"/>
                <a:gd name="T110" fmla="*/ 136 w 194"/>
                <a:gd name="T111" fmla="*/ 99 h 113"/>
                <a:gd name="T112" fmla="*/ 139 w 194"/>
                <a:gd name="T113" fmla="*/ 109 h 113"/>
                <a:gd name="T114" fmla="*/ 141 w 194"/>
                <a:gd name="T115" fmla="*/ 112 h 113"/>
                <a:gd name="T116" fmla="*/ 145 w 194"/>
                <a:gd name="T11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13">
                  <a:moveTo>
                    <a:pt x="145" y="107"/>
                  </a:moveTo>
                  <a:cubicBezTo>
                    <a:pt x="145" y="107"/>
                    <a:pt x="146" y="106"/>
                    <a:pt x="147" y="106"/>
                  </a:cubicBezTo>
                  <a:cubicBezTo>
                    <a:pt x="147" y="105"/>
                    <a:pt x="148" y="105"/>
                    <a:pt x="148" y="104"/>
                  </a:cubicBezTo>
                  <a:cubicBezTo>
                    <a:pt x="149" y="104"/>
                    <a:pt x="150" y="104"/>
                    <a:pt x="150" y="104"/>
                  </a:cubicBezTo>
                  <a:cubicBezTo>
                    <a:pt x="151" y="104"/>
                    <a:pt x="151" y="105"/>
                    <a:pt x="152" y="105"/>
                  </a:cubicBezTo>
                  <a:cubicBezTo>
                    <a:pt x="153" y="105"/>
                    <a:pt x="153" y="104"/>
                    <a:pt x="154" y="104"/>
                  </a:cubicBezTo>
                  <a:cubicBezTo>
                    <a:pt x="155" y="104"/>
                    <a:pt x="155" y="104"/>
                    <a:pt x="156" y="103"/>
                  </a:cubicBezTo>
                  <a:cubicBezTo>
                    <a:pt x="156" y="103"/>
                    <a:pt x="156" y="102"/>
                    <a:pt x="157" y="102"/>
                  </a:cubicBezTo>
                  <a:cubicBezTo>
                    <a:pt x="157" y="101"/>
                    <a:pt x="157" y="101"/>
                    <a:pt x="157" y="101"/>
                  </a:cubicBezTo>
                  <a:cubicBezTo>
                    <a:pt x="158" y="102"/>
                    <a:pt x="158" y="103"/>
                    <a:pt x="158" y="103"/>
                  </a:cubicBezTo>
                  <a:cubicBezTo>
                    <a:pt x="159" y="103"/>
                    <a:pt x="160" y="102"/>
                    <a:pt x="160" y="102"/>
                  </a:cubicBezTo>
                  <a:cubicBezTo>
                    <a:pt x="160" y="101"/>
                    <a:pt x="159" y="100"/>
                    <a:pt x="159" y="99"/>
                  </a:cubicBezTo>
                  <a:cubicBezTo>
                    <a:pt x="159" y="98"/>
                    <a:pt x="160" y="97"/>
                    <a:pt x="160" y="96"/>
                  </a:cubicBezTo>
                  <a:cubicBezTo>
                    <a:pt x="160" y="95"/>
                    <a:pt x="161" y="95"/>
                    <a:pt x="162" y="94"/>
                  </a:cubicBezTo>
                  <a:cubicBezTo>
                    <a:pt x="163" y="94"/>
                    <a:pt x="164" y="95"/>
                    <a:pt x="165" y="96"/>
                  </a:cubicBezTo>
                  <a:cubicBezTo>
                    <a:pt x="166" y="96"/>
                    <a:pt x="167" y="96"/>
                    <a:pt x="167" y="96"/>
                  </a:cubicBezTo>
                  <a:cubicBezTo>
                    <a:pt x="168" y="96"/>
                    <a:pt x="168" y="95"/>
                    <a:pt x="169" y="95"/>
                  </a:cubicBezTo>
                  <a:cubicBezTo>
                    <a:pt x="169" y="94"/>
                    <a:pt x="169" y="94"/>
                    <a:pt x="169" y="93"/>
                  </a:cubicBezTo>
                  <a:cubicBezTo>
                    <a:pt x="170" y="93"/>
                    <a:pt x="170" y="92"/>
                    <a:pt x="170" y="91"/>
                  </a:cubicBezTo>
                  <a:cubicBezTo>
                    <a:pt x="171" y="91"/>
                    <a:pt x="171" y="90"/>
                    <a:pt x="171" y="90"/>
                  </a:cubicBezTo>
                  <a:cubicBezTo>
                    <a:pt x="171" y="88"/>
                    <a:pt x="168" y="88"/>
                    <a:pt x="169" y="86"/>
                  </a:cubicBezTo>
                  <a:cubicBezTo>
                    <a:pt x="169" y="85"/>
                    <a:pt x="169" y="85"/>
                    <a:pt x="169" y="84"/>
                  </a:cubicBezTo>
                  <a:cubicBezTo>
                    <a:pt x="168" y="84"/>
                    <a:pt x="167" y="84"/>
                    <a:pt x="166" y="84"/>
                  </a:cubicBezTo>
                  <a:cubicBezTo>
                    <a:pt x="165" y="84"/>
                    <a:pt x="165" y="83"/>
                    <a:pt x="164" y="83"/>
                  </a:cubicBezTo>
                  <a:cubicBezTo>
                    <a:pt x="164" y="82"/>
                    <a:pt x="163" y="82"/>
                    <a:pt x="163" y="81"/>
                  </a:cubicBezTo>
                  <a:cubicBezTo>
                    <a:pt x="163" y="80"/>
                    <a:pt x="163" y="80"/>
                    <a:pt x="163" y="79"/>
                  </a:cubicBezTo>
                  <a:cubicBezTo>
                    <a:pt x="163" y="77"/>
                    <a:pt x="164" y="76"/>
                    <a:pt x="163" y="74"/>
                  </a:cubicBezTo>
                  <a:cubicBezTo>
                    <a:pt x="162" y="74"/>
                    <a:pt x="162" y="74"/>
                    <a:pt x="161" y="73"/>
                  </a:cubicBezTo>
                  <a:cubicBezTo>
                    <a:pt x="161" y="72"/>
                    <a:pt x="161" y="71"/>
                    <a:pt x="161" y="71"/>
                  </a:cubicBezTo>
                  <a:cubicBezTo>
                    <a:pt x="161" y="70"/>
                    <a:pt x="161" y="69"/>
                    <a:pt x="160" y="69"/>
                  </a:cubicBezTo>
                  <a:cubicBezTo>
                    <a:pt x="160" y="68"/>
                    <a:pt x="160" y="67"/>
                    <a:pt x="160" y="66"/>
                  </a:cubicBezTo>
                  <a:cubicBezTo>
                    <a:pt x="159" y="65"/>
                    <a:pt x="159" y="64"/>
                    <a:pt x="159" y="64"/>
                  </a:cubicBezTo>
                  <a:cubicBezTo>
                    <a:pt x="159" y="62"/>
                    <a:pt x="160" y="61"/>
                    <a:pt x="160" y="59"/>
                  </a:cubicBezTo>
                  <a:cubicBezTo>
                    <a:pt x="160" y="58"/>
                    <a:pt x="160" y="56"/>
                    <a:pt x="160" y="54"/>
                  </a:cubicBezTo>
                  <a:cubicBezTo>
                    <a:pt x="160" y="54"/>
                    <a:pt x="160" y="52"/>
                    <a:pt x="161" y="52"/>
                  </a:cubicBezTo>
                  <a:cubicBezTo>
                    <a:pt x="162" y="52"/>
                    <a:pt x="162" y="53"/>
                    <a:pt x="163" y="53"/>
                  </a:cubicBezTo>
                  <a:cubicBezTo>
                    <a:pt x="164" y="53"/>
                    <a:pt x="164" y="54"/>
                    <a:pt x="165" y="54"/>
                  </a:cubicBezTo>
                  <a:cubicBezTo>
                    <a:pt x="166" y="55"/>
                    <a:pt x="168" y="55"/>
                    <a:pt x="170" y="56"/>
                  </a:cubicBezTo>
                  <a:cubicBezTo>
                    <a:pt x="170" y="56"/>
                    <a:pt x="171" y="57"/>
                    <a:pt x="172" y="57"/>
                  </a:cubicBezTo>
                  <a:cubicBezTo>
                    <a:pt x="173" y="58"/>
                    <a:pt x="174" y="58"/>
                    <a:pt x="175" y="59"/>
                  </a:cubicBezTo>
                  <a:cubicBezTo>
                    <a:pt x="176" y="59"/>
                    <a:pt x="177" y="60"/>
                    <a:pt x="178" y="60"/>
                  </a:cubicBezTo>
                  <a:cubicBezTo>
                    <a:pt x="178" y="60"/>
                    <a:pt x="179" y="60"/>
                    <a:pt x="180" y="60"/>
                  </a:cubicBezTo>
                  <a:cubicBezTo>
                    <a:pt x="180" y="58"/>
                    <a:pt x="178" y="57"/>
                    <a:pt x="178" y="55"/>
                  </a:cubicBezTo>
                  <a:cubicBezTo>
                    <a:pt x="178" y="54"/>
                    <a:pt x="180" y="53"/>
                    <a:pt x="181" y="53"/>
                  </a:cubicBezTo>
                  <a:cubicBezTo>
                    <a:pt x="183" y="52"/>
                    <a:pt x="184" y="51"/>
                    <a:pt x="185" y="50"/>
                  </a:cubicBezTo>
                  <a:cubicBezTo>
                    <a:pt x="186" y="49"/>
                    <a:pt x="187" y="49"/>
                    <a:pt x="188" y="48"/>
                  </a:cubicBezTo>
                  <a:cubicBezTo>
                    <a:pt x="188" y="47"/>
                    <a:pt x="189" y="47"/>
                    <a:pt x="189" y="46"/>
                  </a:cubicBezTo>
                  <a:cubicBezTo>
                    <a:pt x="189" y="45"/>
                    <a:pt x="190" y="44"/>
                    <a:pt x="190" y="44"/>
                  </a:cubicBezTo>
                  <a:cubicBezTo>
                    <a:pt x="190" y="43"/>
                    <a:pt x="190" y="42"/>
                    <a:pt x="190" y="42"/>
                  </a:cubicBezTo>
                  <a:cubicBezTo>
                    <a:pt x="190" y="41"/>
                    <a:pt x="191" y="39"/>
                    <a:pt x="191" y="38"/>
                  </a:cubicBezTo>
                  <a:cubicBezTo>
                    <a:pt x="191" y="37"/>
                    <a:pt x="190" y="37"/>
                    <a:pt x="189" y="36"/>
                  </a:cubicBezTo>
                  <a:cubicBezTo>
                    <a:pt x="189" y="36"/>
                    <a:pt x="189" y="35"/>
                    <a:pt x="188" y="35"/>
                  </a:cubicBezTo>
                  <a:cubicBezTo>
                    <a:pt x="188" y="34"/>
                    <a:pt x="188" y="34"/>
                    <a:pt x="187" y="34"/>
                  </a:cubicBezTo>
                  <a:cubicBezTo>
                    <a:pt x="187" y="33"/>
                    <a:pt x="187" y="32"/>
                    <a:pt x="188" y="31"/>
                  </a:cubicBezTo>
                  <a:cubicBezTo>
                    <a:pt x="188" y="31"/>
                    <a:pt x="189" y="31"/>
                    <a:pt x="189" y="31"/>
                  </a:cubicBezTo>
                  <a:cubicBezTo>
                    <a:pt x="189" y="30"/>
                    <a:pt x="189" y="29"/>
                    <a:pt x="189" y="29"/>
                  </a:cubicBezTo>
                  <a:cubicBezTo>
                    <a:pt x="189" y="28"/>
                    <a:pt x="189" y="27"/>
                    <a:pt x="190" y="27"/>
                  </a:cubicBezTo>
                  <a:cubicBezTo>
                    <a:pt x="191" y="26"/>
                    <a:pt x="191" y="26"/>
                    <a:pt x="192" y="26"/>
                  </a:cubicBezTo>
                  <a:cubicBezTo>
                    <a:pt x="192" y="25"/>
                    <a:pt x="192" y="24"/>
                    <a:pt x="192" y="23"/>
                  </a:cubicBezTo>
                  <a:cubicBezTo>
                    <a:pt x="193" y="22"/>
                    <a:pt x="193" y="22"/>
                    <a:pt x="194" y="21"/>
                  </a:cubicBezTo>
                  <a:cubicBezTo>
                    <a:pt x="193" y="21"/>
                    <a:pt x="192" y="21"/>
                    <a:pt x="192" y="20"/>
                  </a:cubicBezTo>
                  <a:cubicBezTo>
                    <a:pt x="189" y="19"/>
                    <a:pt x="189" y="17"/>
                    <a:pt x="188" y="15"/>
                  </a:cubicBezTo>
                  <a:cubicBezTo>
                    <a:pt x="186" y="14"/>
                    <a:pt x="183" y="14"/>
                    <a:pt x="183" y="14"/>
                  </a:cubicBezTo>
                  <a:cubicBezTo>
                    <a:pt x="182" y="14"/>
                    <a:pt x="180" y="16"/>
                    <a:pt x="179" y="17"/>
                  </a:cubicBezTo>
                  <a:cubicBezTo>
                    <a:pt x="177" y="18"/>
                    <a:pt x="172" y="19"/>
                    <a:pt x="170" y="19"/>
                  </a:cubicBezTo>
                  <a:cubicBezTo>
                    <a:pt x="168" y="18"/>
                    <a:pt x="164" y="17"/>
                    <a:pt x="162" y="16"/>
                  </a:cubicBezTo>
                  <a:cubicBezTo>
                    <a:pt x="160" y="15"/>
                    <a:pt x="158" y="12"/>
                    <a:pt x="157" y="11"/>
                  </a:cubicBezTo>
                  <a:cubicBezTo>
                    <a:pt x="156" y="9"/>
                    <a:pt x="155" y="7"/>
                    <a:pt x="155" y="6"/>
                  </a:cubicBezTo>
                  <a:cubicBezTo>
                    <a:pt x="154" y="6"/>
                    <a:pt x="154" y="1"/>
                    <a:pt x="154" y="1"/>
                  </a:cubicBezTo>
                  <a:cubicBezTo>
                    <a:pt x="154" y="1"/>
                    <a:pt x="152" y="1"/>
                    <a:pt x="150" y="0"/>
                  </a:cubicBezTo>
                  <a:cubicBezTo>
                    <a:pt x="149" y="0"/>
                    <a:pt x="146" y="0"/>
                    <a:pt x="144" y="0"/>
                  </a:cubicBezTo>
                  <a:cubicBezTo>
                    <a:pt x="143" y="0"/>
                    <a:pt x="140" y="1"/>
                    <a:pt x="139" y="1"/>
                  </a:cubicBezTo>
                  <a:cubicBezTo>
                    <a:pt x="138" y="2"/>
                    <a:pt x="135" y="3"/>
                    <a:pt x="134" y="5"/>
                  </a:cubicBezTo>
                  <a:cubicBezTo>
                    <a:pt x="132" y="6"/>
                    <a:pt x="132" y="8"/>
                    <a:pt x="131" y="10"/>
                  </a:cubicBezTo>
                  <a:cubicBezTo>
                    <a:pt x="130" y="11"/>
                    <a:pt x="129" y="15"/>
                    <a:pt x="128" y="17"/>
                  </a:cubicBezTo>
                  <a:cubicBezTo>
                    <a:pt x="127" y="20"/>
                    <a:pt x="126" y="20"/>
                    <a:pt x="126" y="20"/>
                  </a:cubicBezTo>
                  <a:cubicBezTo>
                    <a:pt x="125" y="20"/>
                    <a:pt x="124" y="20"/>
                    <a:pt x="124" y="21"/>
                  </a:cubicBezTo>
                  <a:cubicBezTo>
                    <a:pt x="124" y="22"/>
                    <a:pt x="124" y="23"/>
                    <a:pt x="124" y="23"/>
                  </a:cubicBezTo>
                  <a:cubicBezTo>
                    <a:pt x="125" y="24"/>
                    <a:pt x="124" y="26"/>
                    <a:pt x="123" y="28"/>
                  </a:cubicBezTo>
                  <a:cubicBezTo>
                    <a:pt x="122" y="29"/>
                    <a:pt x="120" y="32"/>
                    <a:pt x="118" y="33"/>
                  </a:cubicBezTo>
                  <a:cubicBezTo>
                    <a:pt x="117" y="34"/>
                    <a:pt x="115" y="34"/>
                    <a:pt x="114" y="34"/>
                  </a:cubicBezTo>
                  <a:cubicBezTo>
                    <a:pt x="113" y="34"/>
                    <a:pt x="112" y="35"/>
                    <a:pt x="111" y="35"/>
                  </a:cubicBezTo>
                  <a:cubicBezTo>
                    <a:pt x="110" y="35"/>
                    <a:pt x="110" y="35"/>
                    <a:pt x="110" y="34"/>
                  </a:cubicBezTo>
                  <a:cubicBezTo>
                    <a:pt x="109" y="33"/>
                    <a:pt x="108" y="33"/>
                    <a:pt x="106" y="32"/>
                  </a:cubicBezTo>
                  <a:cubicBezTo>
                    <a:pt x="105" y="31"/>
                    <a:pt x="104" y="30"/>
                    <a:pt x="103" y="29"/>
                  </a:cubicBezTo>
                  <a:cubicBezTo>
                    <a:pt x="103" y="28"/>
                    <a:pt x="101" y="27"/>
                    <a:pt x="101" y="28"/>
                  </a:cubicBezTo>
                  <a:cubicBezTo>
                    <a:pt x="100" y="28"/>
                    <a:pt x="96" y="31"/>
                    <a:pt x="94" y="31"/>
                  </a:cubicBezTo>
                  <a:cubicBezTo>
                    <a:pt x="91" y="32"/>
                    <a:pt x="91" y="32"/>
                    <a:pt x="87" y="32"/>
                  </a:cubicBezTo>
                  <a:cubicBezTo>
                    <a:pt x="83" y="32"/>
                    <a:pt x="78" y="30"/>
                    <a:pt x="74" y="29"/>
                  </a:cubicBezTo>
                  <a:cubicBezTo>
                    <a:pt x="70" y="28"/>
                    <a:pt x="63" y="27"/>
                    <a:pt x="61" y="25"/>
                  </a:cubicBezTo>
                  <a:cubicBezTo>
                    <a:pt x="60" y="24"/>
                    <a:pt x="60" y="23"/>
                    <a:pt x="60" y="23"/>
                  </a:cubicBezTo>
                  <a:cubicBezTo>
                    <a:pt x="60" y="23"/>
                    <a:pt x="57" y="27"/>
                    <a:pt x="47" y="29"/>
                  </a:cubicBezTo>
                  <a:cubicBezTo>
                    <a:pt x="33" y="30"/>
                    <a:pt x="32" y="24"/>
                    <a:pt x="32" y="24"/>
                  </a:cubicBezTo>
                  <a:cubicBezTo>
                    <a:pt x="32" y="24"/>
                    <a:pt x="33" y="22"/>
                    <a:pt x="32" y="23"/>
                  </a:cubicBezTo>
                  <a:cubicBezTo>
                    <a:pt x="31" y="23"/>
                    <a:pt x="30" y="24"/>
                    <a:pt x="27" y="25"/>
                  </a:cubicBezTo>
                  <a:cubicBezTo>
                    <a:pt x="25" y="26"/>
                    <a:pt x="24" y="26"/>
                    <a:pt x="22" y="26"/>
                  </a:cubicBezTo>
                  <a:cubicBezTo>
                    <a:pt x="19" y="25"/>
                    <a:pt x="19" y="24"/>
                    <a:pt x="19" y="24"/>
                  </a:cubicBezTo>
                  <a:cubicBezTo>
                    <a:pt x="19" y="23"/>
                    <a:pt x="18" y="23"/>
                    <a:pt x="18" y="22"/>
                  </a:cubicBezTo>
                  <a:cubicBezTo>
                    <a:pt x="18" y="23"/>
                    <a:pt x="17" y="24"/>
                    <a:pt x="17" y="25"/>
                  </a:cubicBezTo>
                  <a:cubicBezTo>
                    <a:pt x="16" y="27"/>
                    <a:pt x="15" y="29"/>
                    <a:pt x="14" y="30"/>
                  </a:cubicBezTo>
                  <a:cubicBezTo>
                    <a:pt x="13" y="32"/>
                    <a:pt x="13" y="33"/>
                    <a:pt x="12" y="35"/>
                  </a:cubicBezTo>
                  <a:cubicBezTo>
                    <a:pt x="12" y="36"/>
                    <a:pt x="13" y="37"/>
                    <a:pt x="13" y="37"/>
                  </a:cubicBezTo>
                  <a:cubicBezTo>
                    <a:pt x="14" y="38"/>
                    <a:pt x="14" y="39"/>
                    <a:pt x="14" y="40"/>
                  </a:cubicBezTo>
                  <a:cubicBezTo>
                    <a:pt x="14" y="41"/>
                    <a:pt x="14" y="42"/>
                    <a:pt x="14" y="43"/>
                  </a:cubicBezTo>
                  <a:cubicBezTo>
                    <a:pt x="13" y="44"/>
                    <a:pt x="12" y="44"/>
                    <a:pt x="11" y="44"/>
                  </a:cubicBezTo>
                  <a:cubicBezTo>
                    <a:pt x="11" y="45"/>
                    <a:pt x="10" y="46"/>
                    <a:pt x="9" y="46"/>
                  </a:cubicBezTo>
                  <a:cubicBezTo>
                    <a:pt x="8" y="47"/>
                    <a:pt x="7" y="47"/>
                    <a:pt x="7" y="47"/>
                  </a:cubicBezTo>
                  <a:cubicBezTo>
                    <a:pt x="6" y="47"/>
                    <a:pt x="6" y="46"/>
                    <a:pt x="5" y="46"/>
                  </a:cubicBezTo>
                  <a:cubicBezTo>
                    <a:pt x="4" y="46"/>
                    <a:pt x="3" y="47"/>
                    <a:pt x="3" y="47"/>
                  </a:cubicBezTo>
                  <a:cubicBezTo>
                    <a:pt x="2" y="47"/>
                    <a:pt x="2" y="47"/>
                    <a:pt x="1" y="48"/>
                  </a:cubicBezTo>
                  <a:cubicBezTo>
                    <a:pt x="1" y="49"/>
                    <a:pt x="1" y="50"/>
                    <a:pt x="2" y="51"/>
                  </a:cubicBezTo>
                  <a:cubicBezTo>
                    <a:pt x="2" y="51"/>
                    <a:pt x="2" y="52"/>
                    <a:pt x="1" y="53"/>
                  </a:cubicBezTo>
                  <a:cubicBezTo>
                    <a:pt x="1" y="54"/>
                    <a:pt x="0" y="54"/>
                    <a:pt x="0" y="55"/>
                  </a:cubicBezTo>
                  <a:cubicBezTo>
                    <a:pt x="0" y="56"/>
                    <a:pt x="0" y="56"/>
                    <a:pt x="0" y="57"/>
                  </a:cubicBezTo>
                  <a:cubicBezTo>
                    <a:pt x="0" y="58"/>
                    <a:pt x="0" y="58"/>
                    <a:pt x="1" y="58"/>
                  </a:cubicBezTo>
                  <a:cubicBezTo>
                    <a:pt x="2" y="58"/>
                    <a:pt x="2" y="58"/>
                    <a:pt x="2" y="58"/>
                  </a:cubicBezTo>
                  <a:cubicBezTo>
                    <a:pt x="2" y="58"/>
                    <a:pt x="2" y="59"/>
                    <a:pt x="3" y="59"/>
                  </a:cubicBezTo>
                  <a:cubicBezTo>
                    <a:pt x="4" y="60"/>
                    <a:pt x="5" y="60"/>
                    <a:pt x="6" y="60"/>
                  </a:cubicBezTo>
                  <a:cubicBezTo>
                    <a:pt x="7" y="60"/>
                    <a:pt x="7" y="60"/>
                    <a:pt x="8" y="61"/>
                  </a:cubicBezTo>
                  <a:cubicBezTo>
                    <a:pt x="8" y="62"/>
                    <a:pt x="8" y="62"/>
                    <a:pt x="9" y="63"/>
                  </a:cubicBezTo>
                  <a:cubicBezTo>
                    <a:pt x="9" y="63"/>
                    <a:pt x="9" y="63"/>
                    <a:pt x="10" y="64"/>
                  </a:cubicBezTo>
                  <a:cubicBezTo>
                    <a:pt x="10" y="64"/>
                    <a:pt x="10" y="65"/>
                    <a:pt x="10" y="65"/>
                  </a:cubicBezTo>
                  <a:cubicBezTo>
                    <a:pt x="11" y="66"/>
                    <a:pt x="10" y="67"/>
                    <a:pt x="10" y="68"/>
                  </a:cubicBezTo>
                  <a:cubicBezTo>
                    <a:pt x="10" y="69"/>
                    <a:pt x="11" y="70"/>
                    <a:pt x="12" y="71"/>
                  </a:cubicBezTo>
                  <a:cubicBezTo>
                    <a:pt x="12" y="72"/>
                    <a:pt x="12" y="73"/>
                    <a:pt x="12" y="75"/>
                  </a:cubicBezTo>
                  <a:cubicBezTo>
                    <a:pt x="12" y="76"/>
                    <a:pt x="13" y="77"/>
                    <a:pt x="13" y="78"/>
                  </a:cubicBezTo>
                  <a:cubicBezTo>
                    <a:pt x="14" y="78"/>
                    <a:pt x="14" y="79"/>
                    <a:pt x="15" y="79"/>
                  </a:cubicBezTo>
                  <a:cubicBezTo>
                    <a:pt x="15" y="79"/>
                    <a:pt x="15" y="80"/>
                    <a:pt x="15" y="80"/>
                  </a:cubicBezTo>
                  <a:cubicBezTo>
                    <a:pt x="15" y="81"/>
                    <a:pt x="15" y="82"/>
                    <a:pt x="15" y="83"/>
                  </a:cubicBezTo>
                  <a:cubicBezTo>
                    <a:pt x="15" y="83"/>
                    <a:pt x="15" y="83"/>
                    <a:pt x="15" y="83"/>
                  </a:cubicBezTo>
                  <a:cubicBezTo>
                    <a:pt x="16" y="83"/>
                    <a:pt x="17" y="83"/>
                    <a:pt x="19" y="84"/>
                  </a:cubicBezTo>
                  <a:cubicBezTo>
                    <a:pt x="21" y="84"/>
                    <a:pt x="24" y="85"/>
                    <a:pt x="25" y="85"/>
                  </a:cubicBezTo>
                  <a:cubicBezTo>
                    <a:pt x="25" y="85"/>
                    <a:pt x="29" y="86"/>
                    <a:pt x="29" y="86"/>
                  </a:cubicBezTo>
                  <a:cubicBezTo>
                    <a:pt x="30" y="86"/>
                    <a:pt x="27" y="84"/>
                    <a:pt x="26" y="83"/>
                  </a:cubicBezTo>
                  <a:cubicBezTo>
                    <a:pt x="25" y="82"/>
                    <a:pt x="26" y="82"/>
                    <a:pt x="26" y="82"/>
                  </a:cubicBezTo>
                  <a:cubicBezTo>
                    <a:pt x="27" y="83"/>
                    <a:pt x="29" y="83"/>
                    <a:pt x="29" y="83"/>
                  </a:cubicBezTo>
                  <a:cubicBezTo>
                    <a:pt x="30" y="82"/>
                    <a:pt x="31" y="81"/>
                    <a:pt x="32" y="81"/>
                  </a:cubicBezTo>
                  <a:cubicBezTo>
                    <a:pt x="32" y="80"/>
                    <a:pt x="36" y="80"/>
                    <a:pt x="39" y="80"/>
                  </a:cubicBezTo>
                  <a:cubicBezTo>
                    <a:pt x="41" y="80"/>
                    <a:pt x="46" y="81"/>
                    <a:pt x="49" y="81"/>
                  </a:cubicBezTo>
                  <a:cubicBezTo>
                    <a:pt x="52" y="82"/>
                    <a:pt x="51" y="83"/>
                    <a:pt x="52" y="84"/>
                  </a:cubicBezTo>
                  <a:cubicBezTo>
                    <a:pt x="53" y="85"/>
                    <a:pt x="53" y="85"/>
                    <a:pt x="55" y="85"/>
                  </a:cubicBezTo>
                  <a:cubicBezTo>
                    <a:pt x="57" y="84"/>
                    <a:pt x="57" y="85"/>
                    <a:pt x="62" y="85"/>
                  </a:cubicBezTo>
                  <a:cubicBezTo>
                    <a:pt x="66" y="86"/>
                    <a:pt x="65" y="85"/>
                    <a:pt x="68" y="86"/>
                  </a:cubicBezTo>
                  <a:cubicBezTo>
                    <a:pt x="72" y="87"/>
                    <a:pt x="75" y="87"/>
                    <a:pt x="78" y="88"/>
                  </a:cubicBezTo>
                  <a:cubicBezTo>
                    <a:pt x="82" y="89"/>
                    <a:pt x="87" y="92"/>
                    <a:pt x="90" y="93"/>
                  </a:cubicBezTo>
                  <a:cubicBezTo>
                    <a:pt x="91" y="92"/>
                    <a:pt x="91" y="91"/>
                    <a:pt x="92" y="90"/>
                  </a:cubicBezTo>
                  <a:cubicBezTo>
                    <a:pt x="93" y="88"/>
                    <a:pt x="95" y="86"/>
                    <a:pt x="96" y="85"/>
                  </a:cubicBezTo>
                  <a:cubicBezTo>
                    <a:pt x="98" y="83"/>
                    <a:pt x="98" y="82"/>
                    <a:pt x="98" y="80"/>
                  </a:cubicBezTo>
                  <a:cubicBezTo>
                    <a:pt x="98" y="80"/>
                    <a:pt x="97" y="78"/>
                    <a:pt x="98" y="78"/>
                  </a:cubicBezTo>
                  <a:cubicBezTo>
                    <a:pt x="98" y="78"/>
                    <a:pt x="99" y="78"/>
                    <a:pt x="100" y="78"/>
                  </a:cubicBezTo>
                  <a:cubicBezTo>
                    <a:pt x="101" y="78"/>
                    <a:pt x="102" y="78"/>
                    <a:pt x="103" y="78"/>
                  </a:cubicBezTo>
                  <a:cubicBezTo>
                    <a:pt x="103" y="78"/>
                    <a:pt x="105" y="77"/>
                    <a:pt x="105" y="78"/>
                  </a:cubicBezTo>
                  <a:cubicBezTo>
                    <a:pt x="106" y="78"/>
                    <a:pt x="105" y="79"/>
                    <a:pt x="106" y="80"/>
                  </a:cubicBezTo>
                  <a:cubicBezTo>
                    <a:pt x="106" y="80"/>
                    <a:pt x="106" y="81"/>
                    <a:pt x="106" y="82"/>
                  </a:cubicBezTo>
                  <a:cubicBezTo>
                    <a:pt x="107" y="80"/>
                    <a:pt x="108" y="77"/>
                    <a:pt x="110" y="76"/>
                  </a:cubicBezTo>
                  <a:cubicBezTo>
                    <a:pt x="111" y="75"/>
                    <a:pt x="112" y="74"/>
                    <a:pt x="114" y="74"/>
                  </a:cubicBezTo>
                  <a:cubicBezTo>
                    <a:pt x="115" y="73"/>
                    <a:pt x="116" y="72"/>
                    <a:pt x="117" y="71"/>
                  </a:cubicBezTo>
                  <a:cubicBezTo>
                    <a:pt x="118" y="73"/>
                    <a:pt x="118" y="75"/>
                    <a:pt x="119" y="77"/>
                  </a:cubicBezTo>
                  <a:cubicBezTo>
                    <a:pt x="119" y="79"/>
                    <a:pt x="119" y="81"/>
                    <a:pt x="120" y="82"/>
                  </a:cubicBezTo>
                  <a:cubicBezTo>
                    <a:pt x="120" y="83"/>
                    <a:pt x="120" y="84"/>
                    <a:pt x="120" y="84"/>
                  </a:cubicBezTo>
                  <a:cubicBezTo>
                    <a:pt x="120" y="85"/>
                    <a:pt x="121" y="85"/>
                    <a:pt x="121" y="86"/>
                  </a:cubicBezTo>
                  <a:cubicBezTo>
                    <a:pt x="122" y="86"/>
                    <a:pt x="123" y="86"/>
                    <a:pt x="124" y="86"/>
                  </a:cubicBezTo>
                  <a:cubicBezTo>
                    <a:pt x="125" y="86"/>
                    <a:pt x="126" y="86"/>
                    <a:pt x="127" y="87"/>
                  </a:cubicBezTo>
                  <a:cubicBezTo>
                    <a:pt x="128" y="87"/>
                    <a:pt x="129" y="87"/>
                    <a:pt x="130" y="87"/>
                  </a:cubicBezTo>
                  <a:cubicBezTo>
                    <a:pt x="133" y="88"/>
                    <a:pt x="135" y="88"/>
                    <a:pt x="138" y="88"/>
                  </a:cubicBezTo>
                  <a:cubicBezTo>
                    <a:pt x="138" y="89"/>
                    <a:pt x="137" y="90"/>
                    <a:pt x="137" y="92"/>
                  </a:cubicBezTo>
                  <a:cubicBezTo>
                    <a:pt x="137" y="93"/>
                    <a:pt x="137" y="94"/>
                    <a:pt x="137" y="95"/>
                  </a:cubicBezTo>
                  <a:cubicBezTo>
                    <a:pt x="136" y="96"/>
                    <a:pt x="136" y="98"/>
                    <a:pt x="136" y="99"/>
                  </a:cubicBezTo>
                  <a:cubicBezTo>
                    <a:pt x="136" y="100"/>
                    <a:pt x="136" y="101"/>
                    <a:pt x="136" y="102"/>
                  </a:cubicBezTo>
                  <a:cubicBezTo>
                    <a:pt x="137" y="103"/>
                    <a:pt x="138" y="105"/>
                    <a:pt x="138" y="107"/>
                  </a:cubicBezTo>
                  <a:cubicBezTo>
                    <a:pt x="138" y="107"/>
                    <a:pt x="138" y="108"/>
                    <a:pt x="139" y="109"/>
                  </a:cubicBezTo>
                  <a:cubicBezTo>
                    <a:pt x="139" y="109"/>
                    <a:pt x="140" y="109"/>
                    <a:pt x="140" y="110"/>
                  </a:cubicBezTo>
                  <a:cubicBezTo>
                    <a:pt x="141" y="110"/>
                    <a:pt x="141" y="111"/>
                    <a:pt x="141" y="112"/>
                  </a:cubicBezTo>
                  <a:cubicBezTo>
                    <a:pt x="141" y="112"/>
                    <a:pt x="141" y="112"/>
                    <a:pt x="141" y="112"/>
                  </a:cubicBezTo>
                  <a:cubicBezTo>
                    <a:pt x="143" y="113"/>
                    <a:pt x="144" y="112"/>
                    <a:pt x="146" y="113"/>
                  </a:cubicBezTo>
                  <a:cubicBezTo>
                    <a:pt x="146" y="112"/>
                    <a:pt x="146" y="111"/>
                    <a:pt x="146" y="110"/>
                  </a:cubicBezTo>
                  <a:cubicBezTo>
                    <a:pt x="145" y="109"/>
                    <a:pt x="145" y="108"/>
                    <a:pt x="145" y="10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5" name="Freeform 74">
              <a:extLst>
                <a:ext uri="{FF2B5EF4-FFF2-40B4-BE49-F238E27FC236}">
                  <a16:creationId xmlns:a16="http://schemas.microsoft.com/office/drawing/2014/main" id="{E5E4C466-A6FB-7333-855A-77CEA0654431}"/>
                </a:ext>
              </a:extLst>
            </p:cNvPr>
            <p:cNvSpPr>
              <a:spLocks noEditPoints="1"/>
            </p:cNvSpPr>
            <p:nvPr/>
          </p:nvSpPr>
          <p:spPr bwMode="auto">
            <a:xfrm>
              <a:off x="1990725" y="4357688"/>
              <a:ext cx="642938" cy="750887"/>
            </a:xfrm>
            <a:custGeom>
              <a:avLst/>
              <a:gdLst>
                <a:gd name="T0" fmla="*/ 83 w 169"/>
                <a:gd name="T1" fmla="*/ 191 h 197"/>
                <a:gd name="T2" fmla="*/ 81 w 169"/>
                <a:gd name="T3" fmla="*/ 194 h 197"/>
                <a:gd name="T4" fmla="*/ 80 w 169"/>
                <a:gd name="T5" fmla="*/ 197 h 197"/>
                <a:gd name="T6" fmla="*/ 76 w 169"/>
                <a:gd name="T7" fmla="*/ 196 h 197"/>
                <a:gd name="T8" fmla="*/ 71 w 169"/>
                <a:gd name="T9" fmla="*/ 191 h 197"/>
                <a:gd name="T10" fmla="*/ 65 w 169"/>
                <a:gd name="T11" fmla="*/ 187 h 197"/>
                <a:gd name="T12" fmla="*/ 68 w 169"/>
                <a:gd name="T13" fmla="*/ 185 h 197"/>
                <a:gd name="T14" fmla="*/ 71 w 169"/>
                <a:gd name="T15" fmla="*/ 184 h 197"/>
                <a:gd name="T16" fmla="*/ 75 w 169"/>
                <a:gd name="T17" fmla="*/ 186 h 197"/>
                <a:gd name="T18" fmla="*/ 79 w 169"/>
                <a:gd name="T19" fmla="*/ 188 h 197"/>
                <a:gd name="T20" fmla="*/ 163 w 169"/>
                <a:gd name="T21" fmla="*/ 155 h 197"/>
                <a:gd name="T22" fmla="*/ 158 w 169"/>
                <a:gd name="T23" fmla="*/ 142 h 197"/>
                <a:gd name="T24" fmla="*/ 150 w 169"/>
                <a:gd name="T25" fmla="*/ 139 h 197"/>
                <a:gd name="T26" fmla="*/ 146 w 169"/>
                <a:gd name="T27" fmla="*/ 130 h 197"/>
                <a:gd name="T28" fmla="*/ 138 w 169"/>
                <a:gd name="T29" fmla="*/ 121 h 197"/>
                <a:gd name="T30" fmla="*/ 127 w 169"/>
                <a:gd name="T31" fmla="*/ 121 h 197"/>
                <a:gd name="T32" fmla="*/ 117 w 169"/>
                <a:gd name="T33" fmla="*/ 112 h 197"/>
                <a:gd name="T34" fmla="*/ 121 w 169"/>
                <a:gd name="T35" fmla="*/ 107 h 197"/>
                <a:gd name="T36" fmla="*/ 107 w 169"/>
                <a:gd name="T37" fmla="*/ 102 h 197"/>
                <a:gd name="T38" fmla="*/ 105 w 169"/>
                <a:gd name="T39" fmla="*/ 87 h 197"/>
                <a:gd name="T40" fmla="*/ 113 w 169"/>
                <a:gd name="T41" fmla="*/ 77 h 197"/>
                <a:gd name="T42" fmla="*/ 118 w 169"/>
                <a:gd name="T43" fmla="*/ 77 h 197"/>
                <a:gd name="T44" fmla="*/ 115 w 169"/>
                <a:gd name="T45" fmla="*/ 65 h 197"/>
                <a:gd name="T46" fmla="*/ 106 w 169"/>
                <a:gd name="T47" fmla="*/ 62 h 197"/>
                <a:gd name="T48" fmla="*/ 102 w 169"/>
                <a:gd name="T49" fmla="*/ 63 h 197"/>
                <a:gd name="T50" fmla="*/ 99 w 169"/>
                <a:gd name="T51" fmla="*/ 65 h 197"/>
                <a:gd name="T52" fmla="*/ 87 w 169"/>
                <a:gd name="T53" fmla="*/ 49 h 197"/>
                <a:gd name="T54" fmla="*/ 80 w 169"/>
                <a:gd name="T55" fmla="*/ 48 h 197"/>
                <a:gd name="T56" fmla="*/ 74 w 169"/>
                <a:gd name="T57" fmla="*/ 44 h 197"/>
                <a:gd name="T58" fmla="*/ 68 w 169"/>
                <a:gd name="T59" fmla="*/ 37 h 197"/>
                <a:gd name="T60" fmla="*/ 57 w 169"/>
                <a:gd name="T61" fmla="*/ 27 h 197"/>
                <a:gd name="T62" fmla="*/ 46 w 169"/>
                <a:gd name="T63" fmla="*/ 21 h 197"/>
                <a:gd name="T64" fmla="*/ 29 w 169"/>
                <a:gd name="T65" fmla="*/ 8 h 197"/>
                <a:gd name="T66" fmla="*/ 14 w 169"/>
                <a:gd name="T67" fmla="*/ 3 h 197"/>
                <a:gd name="T68" fmla="*/ 6 w 169"/>
                <a:gd name="T69" fmla="*/ 9 h 197"/>
                <a:gd name="T70" fmla="*/ 0 w 169"/>
                <a:gd name="T71" fmla="*/ 12 h 197"/>
                <a:gd name="T72" fmla="*/ 14 w 169"/>
                <a:gd name="T73" fmla="*/ 25 h 197"/>
                <a:gd name="T74" fmla="*/ 20 w 169"/>
                <a:gd name="T75" fmla="*/ 32 h 197"/>
                <a:gd name="T76" fmla="*/ 27 w 169"/>
                <a:gd name="T77" fmla="*/ 44 h 197"/>
                <a:gd name="T78" fmla="*/ 32 w 169"/>
                <a:gd name="T79" fmla="*/ 53 h 197"/>
                <a:gd name="T80" fmla="*/ 46 w 169"/>
                <a:gd name="T81" fmla="*/ 65 h 197"/>
                <a:gd name="T82" fmla="*/ 56 w 169"/>
                <a:gd name="T83" fmla="*/ 73 h 197"/>
                <a:gd name="T84" fmla="*/ 69 w 169"/>
                <a:gd name="T85" fmla="*/ 81 h 197"/>
                <a:gd name="T86" fmla="*/ 75 w 169"/>
                <a:gd name="T87" fmla="*/ 89 h 197"/>
                <a:gd name="T88" fmla="*/ 77 w 169"/>
                <a:gd name="T89" fmla="*/ 94 h 197"/>
                <a:gd name="T90" fmla="*/ 77 w 169"/>
                <a:gd name="T91" fmla="*/ 99 h 197"/>
                <a:gd name="T92" fmla="*/ 78 w 169"/>
                <a:gd name="T93" fmla="*/ 104 h 197"/>
                <a:gd name="T94" fmla="*/ 90 w 169"/>
                <a:gd name="T95" fmla="*/ 113 h 197"/>
                <a:gd name="T96" fmla="*/ 102 w 169"/>
                <a:gd name="T97" fmla="*/ 121 h 197"/>
                <a:gd name="T98" fmla="*/ 110 w 169"/>
                <a:gd name="T99" fmla="*/ 128 h 197"/>
                <a:gd name="T100" fmla="*/ 116 w 169"/>
                <a:gd name="T101" fmla="*/ 135 h 197"/>
                <a:gd name="T102" fmla="*/ 124 w 169"/>
                <a:gd name="T103" fmla="*/ 139 h 197"/>
                <a:gd name="T104" fmla="*/ 138 w 169"/>
                <a:gd name="T105" fmla="*/ 148 h 197"/>
                <a:gd name="T106" fmla="*/ 140 w 169"/>
                <a:gd name="T107" fmla="*/ 154 h 197"/>
                <a:gd name="T108" fmla="*/ 145 w 169"/>
                <a:gd name="T109" fmla="*/ 155 h 197"/>
                <a:gd name="T110" fmla="*/ 150 w 169"/>
                <a:gd name="T111" fmla="*/ 157 h 197"/>
                <a:gd name="T112" fmla="*/ 157 w 169"/>
                <a:gd name="T113" fmla="*/ 160 h 197"/>
                <a:gd name="T114" fmla="*/ 158 w 169"/>
                <a:gd name="T115" fmla="*/ 15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9" h="197">
                  <a:moveTo>
                    <a:pt x="82" y="189"/>
                  </a:moveTo>
                  <a:cubicBezTo>
                    <a:pt x="83" y="190"/>
                    <a:pt x="83" y="190"/>
                    <a:pt x="83" y="191"/>
                  </a:cubicBezTo>
                  <a:cubicBezTo>
                    <a:pt x="83" y="192"/>
                    <a:pt x="83" y="193"/>
                    <a:pt x="83" y="193"/>
                  </a:cubicBezTo>
                  <a:cubicBezTo>
                    <a:pt x="82" y="194"/>
                    <a:pt x="81" y="193"/>
                    <a:pt x="81" y="194"/>
                  </a:cubicBezTo>
                  <a:cubicBezTo>
                    <a:pt x="80" y="194"/>
                    <a:pt x="83" y="196"/>
                    <a:pt x="82" y="197"/>
                  </a:cubicBezTo>
                  <a:cubicBezTo>
                    <a:pt x="82" y="197"/>
                    <a:pt x="81" y="197"/>
                    <a:pt x="80" y="197"/>
                  </a:cubicBezTo>
                  <a:cubicBezTo>
                    <a:pt x="79" y="197"/>
                    <a:pt x="79" y="196"/>
                    <a:pt x="78" y="196"/>
                  </a:cubicBezTo>
                  <a:cubicBezTo>
                    <a:pt x="77" y="196"/>
                    <a:pt x="77" y="196"/>
                    <a:pt x="76" y="196"/>
                  </a:cubicBezTo>
                  <a:cubicBezTo>
                    <a:pt x="75" y="197"/>
                    <a:pt x="75" y="196"/>
                    <a:pt x="74" y="195"/>
                  </a:cubicBezTo>
                  <a:cubicBezTo>
                    <a:pt x="74" y="193"/>
                    <a:pt x="73" y="192"/>
                    <a:pt x="71" y="191"/>
                  </a:cubicBezTo>
                  <a:cubicBezTo>
                    <a:pt x="70" y="190"/>
                    <a:pt x="68" y="190"/>
                    <a:pt x="66" y="189"/>
                  </a:cubicBezTo>
                  <a:cubicBezTo>
                    <a:pt x="66" y="189"/>
                    <a:pt x="65" y="188"/>
                    <a:pt x="65" y="187"/>
                  </a:cubicBezTo>
                  <a:cubicBezTo>
                    <a:pt x="65" y="186"/>
                    <a:pt x="65" y="186"/>
                    <a:pt x="66" y="185"/>
                  </a:cubicBezTo>
                  <a:cubicBezTo>
                    <a:pt x="67" y="185"/>
                    <a:pt x="67" y="186"/>
                    <a:pt x="68" y="185"/>
                  </a:cubicBezTo>
                  <a:cubicBezTo>
                    <a:pt x="68" y="185"/>
                    <a:pt x="68" y="185"/>
                    <a:pt x="69" y="185"/>
                  </a:cubicBezTo>
                  <a:cubicBezTo>
                    <a:pt x="69" y="184"/>
                    <a:pt x="69" y="183"/>
                    <a:pt x="71" y="184"/>
                  </a:cubicBezTo>
                  <a:cubicBezTo>
                    <a:pt x="71" y="184"/>
                    <a:pt x="72" y="185"/>
                    <a:pt x="72" y="185"/>
                  </a:cubicBezTo>
                  <a:cubicBezTo>
                    <a:pt x="73" y="186"/>
                    <a:pt x="74" y="186"/>
                    <a:pt x="75" y="186"/>
                  </a:cubicBezTo>
                  <a:cubicBezTo>
                    <a:pt x="76" y="186"/>
                    <a:pt x="76" y="187"/>
                    <a:pt x="77" y="188"/>
                  </a:cubicBezTo>
                  <a:cubicBezTo>
                    <a:pt x="78" y="188"/>
                    <a:pt x="79" y="188"/>
                    <a:pt x="79" y="188"/>
                  </a:cubicBezTo>
                  <a:cubicBezTo>
                    <a:pt x="81" y="188"/>
                    <a:pt x="81" y="188"/>
                    <a:pt x="82" y="189"/>
                  </a:cubicBezTo>
                  <a:close/>
                  <a:moveTo>
                    <a:pt x="163" y="155"/>
                  </a:moveTo>
                  <a:cubicBezTo>
                    <a:pt x="166" y="153"/>
                    <a:pt x="169" y="149"/>
                    <a:pt x="163" y="149"/>
                  </a:cubicBezTo>
                  <a:cubicBezTo>
                    <a:pt x="163" y="145"/>
                    <a:pt x="162" y="143"/>
                    <a:pt x="158" y="142"/>
                  </a:cubicBezTo>
                  <a:cubicBezTo>
                    <a:pt x="157" y="140"/>
                    <a:pt x="159" y="136"/>
                    <a:pt x="155" y="138"/>
                  </a:cubicBezTo>
                  <a:cubicBezTo>
                    <a:pt x="153" y="139"/>
                    <a:pt x="153" y="140"/>
                    <a:pt x="150" y="139"/>
                  </a:cubicBezTo>
                  <a:cubicBezTo>
                    <a:pt x="149" y="138"/>
                    <a:pt x="145" y="137"/>
                    <a:pt x="144" y="136"/>
                  </a:cubicBezTo>
                  <a:cubicBezTo>
                    <a:pt x="143" y="134"/>
                    <a:pt x="145" y="132"/>
                    <a:pt x="146" y="130"/>
                  </a:cubicBezTo>
                  <a:cubicBezTo>
                    <a:pt x="148" y="127"/>
                    <a:pt x="147" y="127"/>
                    <a:pt x="144" y="125"/>
                  </a:cubicBezTo>
                  <a:cubicBezTo>
                    <a:pt x="142" y="124"/>
                    <a:pt x="141" y="122"/>
                    <a:pt x="138" y="121"/>
                  </a:cubicBezTo>
                  <a:cubicBezTo>
                    <a:pt x="136" y="120"/>
                    <a:pt x="133" y="119"/>
                    <a:pt x="131" y="119"/>
                  </a:cubicBezTo>
                  <a:cubicBezTo>
                    <a:pt x="130" y="120"/>
                    <a:pt x="128" y="121"/>
                    <a:pt x="127" y="121"/>
                  </a:cubicBezTo>
                  <a:cubicBezTo>
                    <a:pt x="126" y="121"/>
                    <a:pt x="125" y="119"/>
                    <a:pt x="124" y="119"/>
                  </a:cubicBezTo>
                  <a:cubicBezTo>
                    <a:pt x="121" y="117"/>
                    <a:pt x="119" y="115"/>
                    <a:pt x="117" y="112"/>
                  </a:cubicBezTo>
                  <a:cubicBezTo>
                    <a:pt x="116" y="110"/>
                    <a:pt x="114" y="110"/>
                    <a:pt x="116" y="108"/>
                  </a:cubicBezTo>
                  <a:cubicBezTo>
                    <a:pt x="117" y="107"/>
                    <a:pt x="119" y="108"/>
                    <a:pt x="121" y="107"/>
                  </a:cubicBezTo>
                  <a:cubicBezTo>
                    <a:pt x="120" y="106"/>
                    <a:pt x="117" y="105"/>
                    <a:pt x="116" y="104"/>
                  </a:cubicBezTo>
                  <a:cubicBezTo>
                    <a:pt x="113" y="102"/>
                    <a:pt x="110" y="103"/>
                    <a:pt x="107" y="102"/>
                  </a:cubicBezTo>
                  <a:cubicBezTo>
                    <a:pt x="105" y="101"/>
                    <a:pt x="95" y="94"/>
                    <a:pt x="100" y="91"/>
                  </a:cubicBezTo>
                  <a:cubicBezTo>
                    <a:pt x="102" y="89"/>
                    <a:pt x="104" y="90"/>
                    <a:pt x="105" y="87"/>
                  </a:cubicBezTo>
                  <a:cubicBezTo>
                    <a:pt x="106" y="85"/>
                    <a:pt x="107" y="82"/>
                    <a:pt x="108" y="80"/>
                  </a:cubicBezTo>
                  <a:cubicBezTo>
                    <a:pt x="109" y="78"/>
                    <a:pt x="110" y="76"/>
                    <a:pt x="113" y="77"/>
                  </a:cubicBezTo>
                  <a:cubicBezTo>
                    <a:pt x="113" y="77"/>
                    <a:pt x="114" y="78"/>
                    <a:pt x="115" y="79"/>
                  </a:cubicBezTo>
                  <a:cubicBezTo>
                    <a:pt x="117" y="79"/>
                    <a:pt x="117" y="79"/>
                    <a:pt x="118" y="77"/>
                  </a:cubicBezTo>
                  <a:cubicBezTo>
                    <a:pt x="120" y="75"/>
                    <a:pt x="122" y="72"/>
                    <a:pt x="120" y="69"/>
                  </a:cubicBezTo>
                  <a:cubicBezTo>
                    <a:pt x="119" y="67"/>
                    <a:pt x="115" y="68"/>
                    <a:pt x="115" y="65"/>
                  </a:cubicBezTo>
                  <a:cubicBezTo>
                    <a:pt x="113" y="64"/>
                    <a:pt x="111" y="65"/>
                    <a:pt x="109" y="64"/>
                  </a:cubicBezTo>
                  <a:cubicBezTo>
                    <a:pt x="109" y="64"/>
                    <a:pt x="108" y="61"/>
                    <a:pt x="106" y="62"/>
                  </a:cubicBezTo>
                  <a:cubicBezTo>
                    <a:pt x="106" y="62"/>
                    <a:pt x="105" y="63"/>
                    <a:pt x="105" y="63"/>
                  </a:cubicBezTo>
                  <a:cubicBezTo>
                    <a:pt x="104" y="63"/>
                    <a:pt x="103" y="63"/>
                    <a:pt x="102" y="63"/>
                  </a:cubicBezTo>
                  <a:cubicBezTo>
                    <a:pt x="101" y="63"/>
                    <a:pt x="101" y="63"/>
                    <a:pt x="100" y="64"/>
                  </a:cubicBezTo>
                  <a:cubicBezTo>
                    <a:pt x="99" y="64"/>
                    <a:pt x="99" y="65"/>
                    <a:pt x="99" y="65"/>
                  </a:cubicBezTo>
                  <a:cubicBezTo>
                    <a:pt x="96" y="65"/>
                    <a:pt x="91" y="62"/>
                    <a:pt x="90" y="59"/>
                  </a:cubicBezTo>
                  <a:cubicBezTo>
                    <a:pt x="89" y="55"/>
                    <a:pt x="90" y="52"/>
                    <a:pt x="87" y="49"/>
                  </a:cubicBezTo>
                  <a:cubicBezTo>
                    <a:pt x="85" y="47"/>
                    <a:pt x="84" y="47"/>
                    <a:pt x="82" y="47"/>
                  </a:cubicBezTo>
                  <a:cubicBezTo>
                    <a:pt x="81" y="47"/>
                    <a:pt x="81" y="48"/>
                    <a:pt x="80" y="48"/>
                  </a:cubicBezTo>
                  <a:cubicBezTo>
                    <a:pt x="79" y="48"/>
                    <a:pt x="79" y="47"/>
                    <a:pt x="78" y="47"/>
                  </a:cubicBezTo>
                  <a:cubicBezTo>
                    <a:pt x="76" y="46"/>
                    <a:pt x="75" y="46"/>
                    <a:pt x="74" y="44"/>
                  </a:cubicBezTo>
                  <a:cubicBezTo>
                    <a:pt x="74" y="42"/>
                    <a:pt x="74" y="41"/>
                    <a:pt x="72" y="40"/>
                  </a:cubicBezTo>
                  <a:cubicBezTo>
                    <a:pt x="70" y="38"/>
                    <a:pt x="69" y="39"/>
                    <a:pt x="68" y="37"/>
                  </a:cubicBezTo>
                  <a:cubicBezTo>
                    <a:pt x="68" y="35"/>
                    <a:pt x="67" y="33"/>
                    <a:pt x="66" y="32"/>
                  </a:cubicBezTo>
                  <a:cubicBezTo>
                    <a:pt x="64" y="28"/>
                    <a:pt x="61" y="27"/>
                    <a:pt x="57" y="27"/>
                  </a:cubicBezTo>
                  <a:cubicBezTo>
                    <a:pt x="54" y="27"/>
                    <a:pt x="53" y="28"/>
                    <a:pt x="50" y="26"/>
                  </a:cubicBezTo>
                  <a:cubicBezTo>
                    <a:pt x="49" y="24"/>
                    <a:pt x="47" y="23"/>
                    <a:pt x="46" y="21"/>
                  </a:cubicBezTo>
                  <a:cubicBezTo>
                    <a:pt x="41" y="18"/>
                    <a:pt x="40" y="16"/>
                    <a:pt x="34" y="17"/>
                  </a:cubicBezTo>
                  <a:cubicBezTo>
                    <a:pt x="32" y="13"/>
                    <a:pt x="32" y="11"/>
                    <a:pt x="29" y="8"/>
                  </a:cubicBezTo>
                  <a:cubicBezTo>
                    <a:pt x="25" y="4"/>
                    <a:pt x="20" y="2"/>
                    <a:pt x="15" y="0"/>
                  </a:cubicBezTo>
                  <a:cubicBezTo>
                    <a:pt x="15" y="1"/>
                    <a:pt x="14" y="2"/>
                    <a:pt x="14" y="3"/>
                  </a:cubicBezTo>
                  <a:cubicBezTo>
                    <a:pt x="13" y="4"/>
                    <a:pt x="11" y="5"/>
                    <a:pt x="10" y="6"/>
                  </a:cubicBezTo>
                  <a:cubicBezTo>
                    <a:pt x="9" y="7"/>
                    <a:pt x="8" y="8"/>
                    <a:pt x="6" y="9"/>
                  </a:cubicBezTo>
                  <a:cubicBezTo>
                    <a:pt x="5" y="10"/>
                    <a:pt x="3" y="11"/>
                    <a:pt x="2" y="12"/>
                  </a:cubicBezTo>
                  <a:cubicBezTo>
                    <a:pt x="1" y="12"/>
                    <a:pt x="1" y="12"/>
                    <a:pt x="0" y="12"/>
                  </a:cubicBezTo>
                  <a:cubicBezTo>
                    <a:pt x="2" y="15"/>
                    <a:pt x="5" y="19"/>
                    <a:pt x="6" y="19"/>
                  </a:cubicBezTo>
                  <a:cubicBezTo>
                    <a:pt x="7" y="21"/>
                    <a:pt x="12" y="23"/>
                    <a:pt x="14" y="25"/>
                  </a:cubicBezTo>
                  <a:cubicBezTo>
                    <a:pt x="16" y="26"/>
                    <a:pt x="17" y="28"/>
                    <a:pt x="17" y="28"/>
                  </a:cubicBezTo>
                  <a:cubicBezTo>
                    <a:pt x="17" y="28"/>
                    <a:pt x="19" y="31"/>
                    <a:pt x="20" y="32"/>
                  </a:cubicBezTo>
                  <a:cubicBezTo>
                    <a:pt x="20" y="34"/>
                    <a:pt x="23" y="37"/>
                    <a:pt x="23" y="38"/>
                  </a:cubicBezTo>
                  <a:cubicBezTo>
                    <a:pt x="24" y="39"/>
                    <a:pt x="27" y="43"/>
                    <a:pt x="27" y="44"/>
                  </a:cubicBezTo>
                  <a:cubicBezTo>
                    <a:pt x="28" y="44"/>
                    <a:pt x="29" y="46"/>
                    <a:pt x="29" y="47"/>
                  </a:cubicBezTo>
                  <a:cubicBezTo>
                    <a:pt x="30" y="48"/>
                    <a:pt x="31" y="52"/>
                    <a:pt x="32" y="53"/>
                  </a:cubicBezTo>
                  <a:cubicBezTo>
                    <a:pt x="32" y="54"/>
                    <a:pt x="35" y="57"/>
                    <a:pt x="36" y="58"/>
                  </a:cubicBezTo>
                  <a:cubicBezTo>
                    <a:pt x="38" y="59"/>
                    <a:pt x="45" y="64"/>
                    <a:pt x="46" y="65"/>
                  </a:cubicBezTo>
                  <a:cubicBezTo>
                    <a:pt x="48" y="66"/>
                    <a:pt x="50" y="68"/>
                    <a:pt x="51" y="68"/>
                  </a:cubicBezTo>
                  <a:cubicBezTo>
                    <a:pt x="52" y="69"/>
                    <a:pt x="55" y="72"/>
                    <a:pt x="56" y="73"/>
                  </a:cubicBezTo>
                  <a:cubicBezTo>
                    <a:pt x="56" y="73"/>
                    <a:pt x="65" y="77"/>
                    <a:pt x="66" y="78"/>
                  </a:cubicBezTo>
                  <a:cubicBezTo>
                    <a:pt x="66" y="79"/>
                    <a:pt x="69" y="80"/>
                    <a:pt x="69" y="81"/>
                  </a:cubicBezTo>
                  <a:cubicBezTo>
                    <a:pt x="70" y="82"/>
                    <a:pt x="73" y="85"/>
                    <a:pt x="73" y="85"/>
                  </a:cubicBezTo>
                  <a:cubicBezTo>
                    <a:pt x="74" y="86"/>
                    <a:pt x="75" y="88"/>
                    <a:pt x="75" y="89"/>
                  </a:cubicBezTo>
                  <a:cubicBezTo>
                    <a:pt x="76" y="90"/>
                    <a:pt x="75" y="91"/>
                    <a:pt x="75" y="91"/>
                  </a:cubicBezTo>
                  <a:cubicBezTo>
                    <a:pt x="75" y="91"/>
                    <a:pt x="76" y="93"/>
                    <a:pt x="77" y="94"/>
                  </a:cubicBezTo>
                  <a:cubicBezTo>
                    <a:pt x="78" y="95"/>
                    <a:pt x="78" y="96"/>
                    <a:pt x="78" y="98"/>
                  </a:cubicBezTo>
                  <a:cubicBezTo>
                    <a:pt x="78" y="99"/>
                    <a:pt x="78" y="99"/>
                    <a:pt x="77" y="99"/>
                  </a:cubicBezTo>
                  <a:cubicBezTo>
                    <a:pt x="77" y="99"/>
                    <a:pt x="77" y="100"/>
                    <a:pt x="77" y="101"/>
                  </a:cubicBezTo>
                  <a:cubicBezTo>
                    <a:pt x="77" y="102"/>
                    <a:pt x="77" y="103"/>
                    <a:pt x="78" y="104"/>
                  </a:cubicBezTo>
                  <a:cubicBezTo>
                    <a:pt x="79" y="105"/>
                    <a:pt x="81" y="106"/>
                    <a:pt x="82" y="107"/>
                  </a:cubicBezTo>
                  <a:cubicBezTo>
                    <a:pt x="83" y="108"/>
                    <a:pt x="89" y="113"/>
                    <a:pt x="90" y="113"/>
                  </a:cubicBezTo>
                  <a:cubicBezTo>
                    <a:pt x="91" y="114"/>
                    <a:pt x="95" y="116"/>
                    <a:pt x="97" y="117"/>
                  </a:cubicBezTo>
                  <a:cubicBezTo>
                    <a:pt x="98" y="118"/>
                    <a:pt x="102" y="121"/>
                    <a:pt x="102" y="121"/>
                  </a:cubicBezTo>
                  <a:cubicBezTo>
                    <a:pt x="103" y="122"/>
                    <a:pt x="105" y="124"/>
                    <a:pt x="106" y="125"/>
                  </a:cubicBezTo>
                  <a:cubicBezTo>
                    <a:pt x="107" y="126"/>
                    <a:pt x="109" y="128"/>
                    <a:pt x="110" y="128"/>
                  </a:cubicBezTo>
                  <a:cubicBezTo>
                    <a:pt x="111" y="129"/>
                    <a:pt x="114" y="132"/>
                    <a:pt x="114" y="132"/>
                  </a:cubicBezTo>
                  <a:cubicBezTo>
                    <a:pt x="114" y="132"/>
                    <a:pt x="115" y="135"/>
                    <a:pt x="116" y="135"/>
                  </a:cubicBezTo>
                  <a:cubicBezTo>
                    <a:pt x="117" y="136"/>
                    <a:pt x="119" y="136"/>
                    <a:pt x="119" y="136"/>
                  </a:cubicBezTo>
                  <a:cubicBezTo>
                    <a:pt x="120" y="136"/>
                    <a:pt x="124" y="139"/>
                    <a:pt x="124" y="139"/>
                  </a:cubicBezTo>
                  <a:cubicBezTo>
                    <a:pt x="125" y="140"/>
                    <a:pt x="130" y="142"/>
                    <a:pt x="130" y="142"/>
                  </a:cubicBezTo>
                  <a:cubicBezTo>
                    <a:pt x="130" y="142"/>
                    <a:pt x="137" y="148"/>
                    <a:pt x="138" y="148"/>
                  </a:cubicBezTo>
                  <a:cubicBezTo>
                    <a:pt x="139" y="149"/>
                    <a:pt x="139" y="150"/>
                    <a:pt x="140" y="151"/>
                  </a:cubicBezTo>
                  <a:cubicBezTo>
                    <a:pt x="140" y="152"/>
                    <a:pt x="140" y="154"/>
                    <a:pt x="140" y="154"/>
                  </a:cubicBezTo>
                  <a:cubicBezTo>
                    <a:pt x="144" y="153"/>
                    <a:pt x="144" y="153"/>
                    <a:pt x="144" y="153"/>
                  </a:cubicBezTo>
                  <a:cubicBezTo>
                    <a:pt x="144" y="153"/>
                    <a:pt x="145" y="155"/>
                    <a:pt x="145" y="155"/>
                  </a:cubicBezTo>
                  <a:cubicBezTo>
                    <a:pt x="146" y="156"/>
                    <a:pt x="147" y="157"/>
                    <a:pt x="147" y="158"/>
                  </a:cubicBezTo>
                  <a:cubicBezTo>
                    <a:pt x="148" y="158"/>
                    <a:pt x="150" y="157"/>
                    <a:pt x="150" y="157"/>
                  </a:cubicBezTo>
                  <a:cubicBezTo>
                    <a:pt x="150" y="157"/>
                    <a:pt x="154" y="160"/>
                    <a:pt x="154" y="160"/>
                  </a:cubicBezTo>
                  <a:cubicBezTo>
                    <a:pt x="155" y="161"/>
                    <a:pt x="156" y="160"/>
                    <a:pt x="157" y="160"/>
                  </a:cubicBezTo>
                  <a:cubicBezTo>
                    <a:pt x="157" y="159"/>
                    <a:pt x="157" y="159"/>
                    <a:pt x="157" y="159"/>
                  </a:cubicBezTo>
                  <a:cubicBezTo>
                    <a:pt x="157" y="159"/>
                    <a:pt x="157" y="159"/>
                    <a:pt x="158" y="158"/>
                  </a:cubicBezTo>
                  <a:cubicBezTo>
                    <a:pt x="159" y="157"/>
                    <a:pt x="161" y="156"/>
                    <a:pt x="163" y="15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6" name="Freeform 76">
              <a:extLst>
                <a:ext uri="{FF2B5EF4-FFF2-40B4-BE49-F238E27FC236}">
                  <a16:creationId xmlns:a16="http://schemas.microsoft.com/office/drawing/2014/main" id="{D5EACC01-482C-0367-234E-8703C10486ED}"/>
                </a:ext>
              </a:extLst>
            </p:cNvPr>
            <p:cNvSpPr>
              <a:spLocks noEditPoints="1"/>
            </p:cNvSpPr>
            <p:nvPr/>
          </p:nvSpPr>
          <p:spPr bwMode="auto">
            <a:xfrm>
              <a:off x="2932113" y="5192713"/>
              <a:ext cx="392113" cy="266700"/>
            </a:xfrm>
            <a:custGeom>
              <a:avLst/>
              <a:gdLst>
                <a:gd name="T0" fmla="*/ 5 w 103"/>
                <a:gd name="T1" fmla="*/ 47 h 70"/>
                <a:gd name="T2" fmla="*/ 4 w 103"/>
                <a:gd name="T3" fmla="*/ 44 h 70"/>
                <a:gd name="T4" fmla="*/ 0 w 103"/>
                <a:gd name="T5" fmla="*/ 46 h 70"/>
                <a:gd name="T6" fmla="*/ 4 w 103"/>
                <a:gd name="T7" fmla="*/ 42 h 70"/>
                <a:gd name="T8" fmla="*/ 9 w 103"/>
                <a:gd name="T9" fmla="*/ 41 h 70"/>
                <a:gd name="T10" fmla="*/ 9 w 103"/>
                <a:gd name="T11" fmla="*/ 44 h 70"/>
                <a:gd name="T12" fmla="*/ 7 w 103"/>
                <a:gd name="T13" fmla="*/ 48 h 70"/>
                <a:gd name="T14" fmla="*/ 101 w 103"/>
                <a:gd name="T15" fmla="*/ 23 h 70"/>
                <a:gd name="T16" fmla="*/ 98 w 103"/>
                <a:gd name="T17" fmla="*/ 16 h 70"/>
                <a:gd name="T18" fmla="*/ 99 w 103"/>
                <a:gd name="T19" fmla="*/ 12 h 70"/>
                <a:gd name="T20" fmla="*/ 97 w 103"/>
                <a:gd name="T21" fmla="*/ 9 h 70"/>
                <a:gd name="T22" fmla="*/ 91 w 103"/>
                <a:gd name="T23" fmla="*/ 9 h 70"/>
                <a:gd name="T24" fmla="*/ 84 w 103"/>
                <a:gd name="T25" fmla="*/ 10 h 70"/>
                <a:gd name="T26" fmla="*/ 77 w 103"/>
                <a:gd name="T27" fmla="*/ 5 h 70"/>
                <a:gd name="T28" fmla="*/ 71 w 103"/>
                <a:gd name="T29" fmla="*/ 6 h 70"/>
                <a:gd name="T30" fmla="*/ 68 w 103"/>
                <a:gd name="T31" fmla="*/ 10 h 70"/>
                <a:gd name="T32" fmla="*/ 61 w 103"/>
                <a:gd name="T33" fmla="*/ 7 h 70"/>
                <a:gd name="T34" fmla="*/ 59 w 103"/>
                <a:gd name="T35" fmla="*/ 0 h 70"/>
                <a:gd name="T36" fmla="*/ 55 w 103"/>
                <a:gd name="T37" fmla="*/ 6 h 70"/>
                <a:gd name="T38" fmla="*/ 48 w 103"/>
                <a:gd name="T39" fmla="*/ 12 h 70"/>
                <a:gd name="T40" fmla="*/ 44 w 103"/>
                <a:gd name="T41" fmla="*/ 26 h 70"/>
                <a:gd name="T42" fmla="*/ 42 w 103"/>
                <a:gd name="T43" fmla="*/ 38 h 70"/>
                <a:gd name="T44" fmla="*/ 34 w 103"/>
                <a:gd name="T45" fmla="*/ 39 h 70"/>
                <a:gd name="T46" fmla="*/ 32 w 103"/>
                <a:gd name="T47" fmla="*/ 43 h 70"/>
                <a:gd name="T48" fmla="*/ 30 w 103"/>
                <a:gd name="T49" fmla="*/ 49 h 70"/>
                <a:gd name="T50" fmla="*/ 24 w 103"/>
                <a:gd name="T51" fmla="*/ 57 h 70"/>
                <a:gd name="T52" fmla="*/ 18 w 103"/>
                <a:gd name="T53" fmla="*/ 54 h 70"/>
                <a:gd name="T54" fmla="*/ 17 w 103"/>
                <a:gd name="T55" fmla="*/ 49 h 70"/>
                <a:gd name="T56" fmla="*/ 14 w 103"/>
                <a:gd name="T57" fmla="*/ 51 h 70"/>
                <a:gd name="T58" fmla="*/ 9 w 103"/>
                <a:gd name="T59" fmla="*/ 54 h 70"/>
                <a:gd name="T60" fmla="*/ 7 w 103"/>
                <a:gd name="T61" fmla="*/ 57 h 70"/>
                <a:gd name="T62" fmla="*/ 9 w 103"/>
                <a:gd name="T63" fmla="*/ 60 h 70"/>
                <a:gd name="T64" fmla="*/ 17 w 103"/>
                <a:gd name="T65" fmla="*/ 59 h 70"/>
                <a:gd name="T66" fmla="*/ 24 w 103"/>
                <a:gd name="T67" fmla="*/ 62 h 70"/>
                <a:gd name="T68" fmla="*/ 33 w 103"/>
                <a:gd name="T69" fmla="*/ 60 h 70"/>
                <a:gd name="T70" fmla="*/ 41 w 103"/>
                <a:gd name="T71" fmla="*/ 60 h 70"/>
                <a:gd name="T72" fmla="*/ 50 w 103"/>
                <a:gd name="T73" fmla="*/ 59 h 70"/>
                <a:gd name="T74" fmla="*/ 59 w 103"/>
                <a:gd name="T75" fmla="*/ 61 h 70"/>
                <a:gd name="T76" fmla="*/ 71 w 103"/>
                <a:gd name="T77" fmla="*/ 68 h 70"/>
                <a:gd name="T78" fmla="*/ 80 w 103"/>
                <a:gd name="T79" fmla="*/ 69 h 70"/>
                <a:gd name="T80" fmla="*/ 80 w 103"/>
                <a:gd name="T81" fmla="*/ 65 h 70"/>
                <a:gd name="T82" fmla="*/ 85 w 103"/>
                <a:gd name="T83" fmla="*/ 59 h 70"/>
                <a:gd name="T84" fmla="*/ 85 w 103"/>
                <a:gd name="T85" fmla="*/ 54 h 70"/>
                <a:gd name="T86" fmla="*/ 81 w 103"/>
                <a:gd name="T87" fmla="*/ 39 h 70"/>
                <a:gd name="T88" fmla="*/ 82 w 103"/>
                <a:gd name="T89" fmla="*/ 31 h 70"/>
                <a:gd name="T90" fmla="*/ 84 w 103"/>
                <a:gd name="T91" fmla="*/ 27 h 70"/>
                <a:gd name="T92" fmla="*/ 87 w 103"/>
                <a:gd name="T93" fmla="*/ 30 h 70"/>
                <a:gd name="T94" fmla="*/ 91 w 103"/>
                <a:gd name="T95" fmla="*/ 30 h 70"/>
                <a:gd name="T96" fmla="*/ 95 w 103"/>
                <a:gd name="T97" fmla="*/ 30 h 70"/>
                <a:gd name="T98" fmla="*/ 103 w 103"/>
                <a:gd name="T99"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70">
                  <a:moveTo>
                    <a:pt x="7" y="48"/>
                  </a:moveTo>
                  <a:cubicBezTo>
                    <a:pt x="6" y="49"/>
                    <a:pt x="5" y="48"/>
                    <a:pt x="5" y="47"/>
                  </a:cubicBezTo>
                  <a:cubicBezTo>
                    <a:pt x="5" y="46"/>
                    <a:pt x="4" y="45"/>
                    <a:pt x="4" y="44"/>
                  </a:cubicBezTo>
                  <a:cubicBezTo>
                    <a:pt x="4" y="44"/>
                    <a:pt x="4" y="44"/>
                    <a:pt x="4" y="44"/>
                  </a:cubicBezTo>
                  <a:cubicBezTo>
                    <a:pt x="4" y="44"/>
                    <a:pt x="2" y="46"/>
                    <a:pt x="2" y="46"/>
                  </a:cubicBezTo>
                  <a:cubicBezTo>
                    <a:pt x="1" y="46"/>
                    <a:pt x="0" y="46"/>
                    <a:pt x="0" y="46"/>
                  </a:cubicBezTo>
                  <a:cubicBezTo>
                    <a:pt x="0" y="46"/>
                    <a:pt x="1" y="44"/>
                    <a:pt x="2" y="44"/>
                  </a:cubicBezTo>
                  <a:cubicBezTo>
                    <a:pt x="2" y="43"/>
                    <a:pt x="3" y="42"/>
                    <a:pt x="4" y="42"/>
                  </a:cubicBezTo>
                  <a:cubicBezTo>
                    <a:pt x="4" y="42"/>
                    <a:pt x="6" y="42"/>
                    <a:pt x="6" y="41"/>
                  </a:cubicBezTo>
                  <a:cubicBezTo>
                    <a:pt x="7" y="41"/>
                    <a:pt x="9" y="41"/>
                    <a:pt x="9" y="41"/>
                  </a:cubicBezTo>
                  <a:cubicBezTo>
                    <a:pt x="9" y="40"/>
                    <a:pt x="10" y="40"/>
                    <a:pt x="10" y="41"/>
                  </a:cubicBezTo>
                  <a:cubicBezTo>
                    <a:pt x="9" y="41"/>
                    <a:pt x="9" y="43"/>
                    <a:pt x="9" y="44"/>
                  </a:cubicBezTo>
                  <a:cubicBezTo>
                    <a:pt x="9" y="44"/>
                    <a:pt x="9" y="45"/>
                    <a:pt x="9" y="46"/>
                  </a:cubicBezTo>
                  <a:cubicBezTo>
                    <a:pt x="9" y="47"/>
                    <a:pt x="8" y="48"/>
                    <a:pt x="7" y="48"/>
                  </a:cubicBezTo>
                  <a:close/>
                  <a:moveTo>
                    <a:pt x="103" y="27"/>
                  </a:moveTo>
                  <a:cubicBezTo>
                    <a:pt x="103" y="25"/>
                    <a:pt x="102" y="25"/>
                    <a:pt x="101" y="23"/>
                  </a:cubicBezTo>
                  <a:cubicBezTo>
                    <a:pt x="100" y="22"/>
                    <a:pt x="99" y="21"/>
                    <a:pt x="99" y="20"/>
                  </a:cubicBezTo>
                  <a:cubicBezTo>
                    <a:pt x="98" y="18"/>
                    <a:pt x="98" y="17"/>
                    <a:pt x="98" y="16"/>
                  </a:cubicBezTo>
                  <a:cubicBezTo>
                    <a:pt x="98" y="14"/>
                    <a:pt x="99" y="13"/>
                    <a:pt x="100" y="12"/>
                  </a:cubicBezTo>
                  <a:cubicBezTo>
                    <a:pt x="99" y="12"/>
                    <a:pt x="99" y="12"/>
                    <a:pt x="99" y="12"/>
                  </a:cubicBezTo>
                  <a:cubicBezTo>
                    <a:pt x="99" y="11"/>
                    <a:pt x="99" y="10"/>
                    <a:pt x="99" y="10"/>
                  </a:cubicBezTo>
                  <a:cubicBezTo>
                    <a:pt x="99" y="10"/>
                    <a:pt x="98" y="10"/>
                    <a:pt x="97" y="9"/>
                  </a:cubicBezTo>
                  <a:cubicBezTo>
                    <a:pt x="96" y="8"/>
                    <a:pt x="96" y="8"/>
                    <a:pt x="94" y="9"/>
                  </a:cubicBezTo>
                  <a:cubicBezTo>
                    <a:pt x="93" y="10"/>
                    <a:pt x="93" y="9"/>
                    <a:pt x="91" y="9"/>
                  </a:cubicBezTo>
                  <a:cubicBezTo>
                    <a:pt x="90" y="9"/>
                    <a:pt x="89" y="9"/>
                    <a:pt x="88" y="9"/>
                  </a:cubicBezTo>
                  <a:cubicBezTo>
                    <a:pt x="87" y="10"/>
                    <a:pt x="87" y="10"/>
                    <a:pt x="84" y="10"/>
                  </a:cubicBezTo>
                  <a:cubicBezTo>
                    <a:pt x="82" y="10"/>
                    <a:pt x="82" y="10"/>
                    <a:pt x="81" y="8"/>
                  </a:cubicBezTo>
                  <a:cubicBezTo>
                    <a:pt x="80" y="6"/>
                    <a:pt x="78" y="5"/>
                    <a:pt x="77" y="5"/>
                  </a:cubicBezTo>
                  <a:cubicBezTo>
                    <a:pt x="76" y="5"/>
                    <a:pt x="75" y="6"/>
                    <a:pt x="74" y="6"/>
                  </a:cubicBezTo>
                  <a:cubicBezTo>
                    <a:pt x="73" y="6"/>
                    <a:pt x="72" y="6"/>
                    <a:pt x="71" y="6"/>
                  </a:cubicBezTo>
                  <a:cubicBezTo>
                    <a:pt x="70" y="6"/>
                    <a:pt x="70" y="6"/>
                    <a:pt x="70" y="7"/>
                  </a:cubicBezTo>
                  <a:cubicBezTo>
                    <a:pt x="70" y="8"/>
                    <a:pt x="69" y="9"/>
                    <a:pt x="68" y="10"/>
                  </a:cubicBezTo>
                  <a:cubicBezTo>
                    <a:pt x="66" y="10"/>
                    <a:pt x="64" y="8"/>
                    <a:pt x="63" y="8"/>
                  </a:cubicBezTo>
                  <a:cubicBezTo>
                    <a:pt x="63" y="8"/>
                    <a:pt x="62" y="8"/>
                    <a:pt x="61" y="7"/>
                  </a:cubicBezTo>
                  <a:cubicBezTo>
                    <a:pt x="61" y="5"/>
                    <a:pt x="62" y="4"/>
                    <a:pt x="61" y="3"/>
                  </a:cubicBezTo>
                  <a:cubicBezTo>
                    <a:pt x="61" y="2"/>
                    <a:pt x="61" y="1"/>
                    <a:pt x="59" y="0"/>
                  </a:cubicBezTo>
                  <a:cubicBezTo>
                    <a:pt x="56" y="0"/>
                    <a:pt x="56" y="1"/>
                    <a:pt x="55" y="3"/>
                  </a:cubicBezTo>
                  <a:cubicBezTo>
                    <a:pt x="55" y="4"/>
                    <a:pt x="55" y="4"/>
                    <a:pt x="55" y="6"/>
                  </a:cubicBezTo>
                  <a:cubicBezTo>
                    <a:pt x="55" y="8"/>
                    <a:pt x="55" y="7"/>
                    <a:pt x="53" y="9"/>
                  </a:cubicBezTo>
                  <a:cubicBezTo>
                    <a:pt x="51" y="10"/>
                    <a:pt x="50" y="10"/>
                    <a:pt x="48" y="12"/>
                  </a:cubicBezTo>
                  <a:cubicBezTo>
                    <a:pt x="46" y="14"/>
                    <a:pt x="47" y="14"/>
                    <a:pt x="45" y="19"/>
                  </a:cubicBezTo>
                  <a:cubicBezTo>
                    <a:pt x="44" y="23"/>
                    <a:pt x="44" y="23"/>
                    <a:pt x="44" y="26"/>
                  </a:cubicBezTo>
                  <a:cubicBezTo>
                    <a:pt x="43" y="28"/>
                    <a:pt x="44" y="30"/>
                    <a:pt x="44" y="33"/>
                  </a:cubicBezTo>
                  <a:cubicBezTo>
                    <a:pt x="44" y="35"/>
                    <a:pt x="43" y="36"/>
                    <a:pt x="42" y="38"/>
                  </a:cubicBezTo>
                  <a:cubicBezTo>
                    <a:pt x="41" y="41"/>
                    <a:pt x="39" y="40"/>
                    <a:pt x="38" y="40"/>
                  </a:cubicBezTo>
                  <a:cubicBezTo>
                    <a:pt x="36" y="41"/>
                    <a:pt x="36" y="40"/>
                    <a:pt x="34" y="39"/>
                  </a:cubicBezTo>
                  <a:cubicBezTo>
                    <a:pt x="33" y="37"/>
                    <a:pt x="33" y="39"/>
                    <a:pt x="33" y="40"/>
                  </a:cubicBezTo>
                  <a:cubicBezTo>
                    <a:pt x="32" y="41"/>
                    <a:pt x="32" y="42"/>
                    <a:pt x="32" y="43"/>
                  </a:cubicBezTo>
                  <a:cubicBezTo>
                    <a:pt x="31" y="45"/>
                    <a:pt x="32" y="45"/>
                    <a:pt x="31" y="46"/>
                  </a:cubicBezTo>
                  <a:cubicBezTo>
                    <a:pt x="30" y="48"/>
                    <a:pt x="30" y="48"/>
                    <a:pt x="30" y="49"/>
                  </a:cubicBezTo>
                  <a:cubicBezTo>
                    <a:pt x="29" y="50"/>
                    <a:pt x="27" y="51"/>
                    <a:pt x="26" y="52"/>
                  </a:cubicBezTo>
                  <a:cubicBezTo>
                    <a:pt x="25" y="53"/>
                    <a:pt x="25" y="55"/>
                    <a:pt x="24" y="57"/>
                  </a:cubicBezTo>
                  <a:cubicBezTo>
                    <a:pt x="23" y="60"/>
                    <a:pt x="21" y="58"/>
                    <a:pt x="20" y="57"/>
                  </a:cubicBezTo>
                  <a:cubicBezTo>
                    <a:pt x="19" y="56"/>
                    <a:pt x="19" y="55"/>
                    <a:pt x="18" y="54"/>
                  </a:cubicBezTo>
                  <a:cubicBezTo>
                    <a:pt x="17" y="53"/>
                    <a:pt x="17" y="53"/>
                    <a:pt x="18" y="53"/>
                  </a:cubicBezTo>
                  <a:cubicBezTo>
                    <a:pt x="18" y="52"/>
                    <a:pt x="17" y="50"/>
                    <a:pt x="17" y="49"/>
                  </a:cubicBezTo>
                  <a:cubicBezTo>
                    <a:pt x="16" y="48"/>
                    <a:pt x="15" y="49"/>
                    <a:pt x="14" y="50"/>
                  </a:cubicBezTo>
                  <a:cubicBezTo>
                    <a:pt x="14" y="50"/>
                    <a:pt x="14" y="50"/>
                    <a:pt x="14" y="51"/>
                  </a:cubicBezTo>
                  <a:cubicBezTo>
                    <a:pt x="15" y="52"/>
                    <a:pt x="13" y="52"/>
                    <a:pt x="12" y="53"/>
                  </a:cubicBezTo>
                  <a:cubicBezTo>
                    <a:pt x="11" y="53"/>
                    <a:pt x="10" y="54"/>
                    <a:pt x="9" y="54"/>
                  </a:cubicBezTo>
                  <a:cubicBezTo>
                    <a:pt x="8" y="55"/>
                    <a:pt x="9" y="54"/>
                    <a:pt x="8" y="55"/>
                  </a:cubicBezTo>
                  <a:cubicBezTo>
                    <a:pt x="6" y="55"/>
                    <a:pt x="6" y="56"/>
                    <a:pt x="7" y="57"/>
                  </a:cubicBezTo>
                  <a:cubicBezTo>
                    <a:pt x="9" y="59"/>
                    <a:pt x="8" y="58"/>
                    <a:pt x="8" y="59"/>
                  </a:cubicBezTo>
                  <a:cubicBezTo>
                    <a:pt x="9" y="61"/>
                    <a:pt x="9" y="60"/>
                    <a:pt x="9" y="60"/>
                  </a:cubicBezTo>
                  <a:cubicBezTo>
                    <a:pt x="10" y="60"/>
                    <a:pt x="11" y="59"/>
                    <a:pt x="13" y="58"/>
                  </a:cubicBezTo>
                  <a:cubicBezTo>
                    <a:pt x="14" y="57"/>
                    <a:pt x="15" y="58"/>
                    <a:pt x="17" y="59"/>
                  </a:cubicBezTo>
                  <a:cubicBezTo>
                    <a:pt x="19" y="61"/>
                    <a:pt x="19" y="60"/>
                    <a:pt x="21" y="60"/>
                  </a:cubicBezTo>
                  <a:cubicBezTo>
                    <a:pt x="21" y="60"/>
                    <a:pt x="22" y="61"/>
                    <a:pt x="24" y="62"/>
                  </a:cubicBezTo>
                  <a:cubicBezTo>
                    <a:pt x="26" y="62"/>
                    <a:pt x="25" y="62"/>
                    <a:pt x="27" y="62"/>
                  </a:cubicBezTo>
                  <a:cubicBezTo>
                    <a:pt x="29" y="62"/>
                    <a:pt x="31" y="61"/>
                    <a:pt x="33" y="60"/>
                  </a:cubicBezTo>
                  <a:cubicBezTo>
                    <a:pt x="35" y="60"/>
                    <a:pt x="36" y="60"/>
                    <a:pt x="37" y="60"/>
                  </a:cubicBezTo>
                  <a:cubicBezTo>
                    <a:pt x="38" y="60"/>
                    <a:pt x="39" y="61"/>
                    <a:pt x="41" y="60"/>
                  </a:cubicBezTo>
                  <a:cubicBezTo>
                    <a:pt x="42" y="60"/>
                    <a:pt x="44" y="60"/>
                    <a:pt x="46" y="61"/>
                  </a:cubicBezTo>
                  <a:cubicBezTo>
                    <a:pt x="48" y="61"/>
                    <a:pt x="49" y="60"/>
                    <a:pt x="50" y="59"/>
                  </a:cubicBezTo>
                  <a:cubicBezTo>
                    <a:pt x="51" y="58"/>
                    <a:pt x="52" y="58"/>
                    <a:pt x="54" y="58"/>
                  </a:cubicBezTo>
                  <a:cubicBezTo>
                    <a:pt x="57" y="58"/>
                    <a:pt x="58" y="59"/>
                    <a:pt x="59" y="61"/>
                  </a:cubicBezTo>
                  <a:cubicBezTo>
                    <a:pt x="61" y="62"/>
                    <a:pt x="65" y="64"/>
                    <a:pt x="66" y="65"/>
                  </a:cubicBezTo>
                  <a:cubicBezTo>
                    <a:pt x="68" y="66"/>
                    <a:pt x="69" y="66"/>
                    <a:pt x="71" y="68"/>
                  </a:cubicBezTo>
                  <a:cubicBezTo>
                    <a:pt x="72" y="69"/>
                    <a:pt x="76" y="70"/>
                    <a:pt x="78" y="69"/>
                  </a:cubicBezTo>
                  <a:cubicBezTo>
                    <a:pt x="79" y="69"/>
                    <a:pt x="79" y="69"/>
                    <a:pt x="80" y="69"/>
                  </a:cubicBezTo>
                  <a:cubicBezTo>
                    <a:pt x="80" y="68"/>
                    <a:pt x="80" y="68"/>
                    <a:pt x="80" y="67"/>
                  </a:cubicBezTo>
                  <a:cubicBezTo>
                    <a:pt x="80" y="66"/>
                    <a:pt x="80" y="65"/>
                    <a:pt x="80" y="65"/>
                  </a:cubicBezTo>
                  <a:cubicBezTo>
                    <a:pt x="80" y="63"/>
                    <a:pt x="80" y="63"/>
                    <a:pt x="81" y="62"/>
                  </a:cubicBezTo>
                  <a:cubicBezTo>
                    <a:pt x="82" y="61"/>
                    <a:pt x="83" y="60"/>
                    <a:pt x="85" y="59"/>
                  </a:cubicBezTo>
                  <a:cubicBezTo>
                    <a:pt x="85" y="59"/>
                    <a:pt x="86" y="58"/>
                    <a:pt x="87" y="57"/>
                  </a:cubicBezTo>
                  <a:cubicBezTo>
                    <a:pt x="87" y="56"/>
                    <a:pt x="85" y="55"/>
                    <a:pt x="85" y="54"/>
                  </a:cubicBezTo>
                  <a:cubicBezTo>
                    <a:pt x="82" y="51"/>
                    <a:pt x="82" y="47"/>
                    <a:pt x="82" y="44"/>
                  </a:cubicBezTo>
                  <a:cubicBezTo>
                    <a:pt x="82" y="42"/>
                    <a:pt x="81" y="41"/>
                    <a:pt x="81" y="39"/>
                  </a:cubicBezTo>
                  <a:cubicBezTo>
                    <a:pt x="81" y="38"/>
                    <a:pt x="80" y="36"/>
                    <a:pt x="82" y="36"/>
                  </a:cubicBezTo>
                  <a:cubicBezTo>
                    <a:pt x="83" y="34"/>
                    <a:pt x="82" y="33"/>
                    <a:pt x="82" y="31"/>
                  </a:cubicBezTo>
                  <a:cubicBezTo>
                    <a:pt x="82" y="30"/>
                    <a:pt x="82" y="29"/>
                    <a:pt x="83" y="29"/>
                  </a:cubicBezTo>
                  <a:cubicBezTo>
                    <a:pt x="83" y="28"/>
                    <a:pt x="84" y="27"/>
                    <a:pt x="84" y="27"/>
                  </a:cubicBezTo>
                  <a:cubicBezTo>
                    <a:pt x="85" y="28"/>
                    <a:pt x="85" y="30"/>
                    <a:pt x="85" y="31"/>
                  </a:cubicBezTo>
                  <a:cubicBezTo>
                    <a:pt x="86" y="31"/>
                    <a:pt x="86" y="30"/>
                    <a:pt x="87" y="30"/>
                  </a:cubicBezTo>
                  <a:cubicBezTo>
                    <a:pt x="87" y="29"/>
                    <a:pt x="87" y="29"/>
                    <a:pt x="88" y="29"/>
                  </a:cubicBezTo>
                  <a:cubicBezTo>
                    <a:pt x="89" y="29"/>
                    <a:pt x="90" y="29"/>
                    <a:pt x="91" y="30"/>
                  </a:cubicBezTo>
                  <a:cubicBezTo>
                    <a:pt x="92" y="30"/>
                    <a:pt x="92" y="30"/>
                    <a:pt x="92" y="31"/>
                  </a:cubicBezTo>
                  <a:cubicBezTo>
                    <a:pt x="93" y="31"/>
                    <a:pt x="94" y="31"/>
                    <a:pt x="95" y="30"/>
                  </a:cubicBezTo>
                  <a:cubicBezTo>
                    <a:pt x="97" y="30"/>
                    <a:pt x="99" y="30"/>
                    <a:pt x="101" y="30"/>
                  </a:cubicBezTo>
                  <a:cubicBezTo>
                    <a:pt x="102" y="30"/>
                    <a:pt x="103" y="30"/>
                    <a:pt x="103" y="30"/>
                  </a:cubicBezTo>
                  <a:cubicBezTo>
                    <a:pt x="103" y="29"/>
                    <a:pt x="103" y="28"/>
                    <a:pt x="103" y="2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7" name="Freeform 78">
              <a:extLst>
                <a:ext uri="{FF2B5EF4-FFF2-40B4-BE49-F238E27FC236}">
                  <a16:creationId xmlns:a16="http://schemas.microsoft.com/office/drawing/2014/main" id="{D2BACF56-3E8E-A8EA-11B9-A61192BB4DFA}"/>
                </a:ext>
              </a:extLst>
            </p:cNvPr>
            <p:cNvSpPr>
              <a:spLocks noEditPoints="1"/>
            </p:cNvSpPr>
            <p:nvPr/>
          </p:nvSpPr>
          <p:spPr bwMode="auto">
            <a:xfrm>
              <a:off x="2938463" y="4175125"/>
              <a:ext cx="739775" cy="411162"/>
            </a:xfrm>
            <a:custGeom>
              <a:avLst/>
              <a:gdLst>
                <a:gd name="T0" fmla="*/ 1 w 194"/>
                <a:gd name="T1" fmla="*/ 28 h 108"/>
                <a:gd name="T2" fmla="*/ 17 w 194"/>
                <a:gd name="T3" fmla="*/ 15 h 108"/>
                <a:gd name="T4" fmla="*/ 22 w 194"/>
                <a:gd name="T5" fmla="*/ 5 h 108"/>
                <a:gd name="T6" fmla="*/ 36 w 194"/>
                <a:gd name="T7" fmla="*/ 11 h 108"/>
                <a:gd name="T8" fmla="*/ 43 w 194"/>
                <a:gd name="T9" fmla="*/ 19 h 108"/>
                <a:gd name="T10" fmla="*/ 38 w 194"/>
                <a:gd name="T11" fmla="*/ 7 h 108"/>
                <a:gd name="T12" fmla="*/ 45 w 194"/>
                <a:gd name="T13" fmla="*/ 2 h 108"/>
                <a:gd name="T14" fmla="*/ 55 w 194"/>
                <a:gd name="T15" fmla="*/ 4 h 108"/>
                <a:gd name="T16" fmla="*/ 60 w 194"/>
                <a:gd name="T17" fmla="*/ 17 h 108"/>
                <a:gd name="T18" fmla="*/ 65 w 194"/>
                <a:gd name="T19" fmla="*/ 24 h 108"/>
                <a:gd name="T20" fmla="*/ 67 w 194"/>
                <a:gd name="T21" fmla="*/ 44 h 108"/>
                <a:gd name="T22" fmla="*/ 73 w 194"/>
                <a:gd name="T23" fmla="*/ 56 h 108"/>
                <a:gd name="T24" fmla="*/ 97 w 194"/>
                <a:gd name="T25" fmla="*/ 64 h 108"/>
                <a:gd name="T26" fmla="*/ 98 w 194"/>
                <a:gd name="T27" fmla="*/ 71 h 108"/>
                <a:gd name="T28" fmla="*/ 93 w 194"/>
                <a:gd name="T29" fmla="*/ 90 h 108"/>
                <a:gd name="T30" fmla="*/ 99 w 194"/>
                <a:gd name="T31" fmla="*/ 93 h 108"/>
                <a:gd name="T32" fmla="*/ 91 w 194"/>
                <a:gd name="T33" fmla="*/ 97 h 108"/>
                <a:gd name="T34" fmla="*/ 81 w 194"/>
                <a:gd name="T35" fmla="*/ 91 h 108"/>
                <a:gd name="T36" fmla="*/ 73 w 194"/>
                <a:gd name="T37" fmla="*/ 87 h 108"/>
                <a:gd name="T38" fmla="*/ 63 w 194"/>
                <a:gd name="T39" fmla="*/ 84 h 108"/>
                <a:gd name="T40" fmla="*/ 51 w 194"/>
                <a:gd name="T41" fmla="*/ 79 h 108"/>
                <a:gd name="T42" fmla="*/ 48 w 194"/>
                <a:gd name="T43" fmla="*/ 67 h 108"/>
                <a:gd name="T44" fmla="*/ 43 w 194"/>
                <a:gd name="T45" fmla="*/ 52 h 108"/>
                <a:gd name="T46" fmla="*/ 42 w 194"/>
                <a:gd name="T47" fmla="*/ 42 h 108"/>
                <a:gd name="T48" fmla="*/ 32 w 194"/>
                <a:gd name="T49" fmla="*/ 38 h 108"/>
                <a:gd name="T50" fmla="*/ 23 w 194"/>
                <a:gd name="T51" fmla="*/ 37 h 108"/>
                <a:gd name="T52" fmla="*/ 18 w 194"/>
                <a:gd name="T53" fmla="*/ 39 h 108"/>
                <a:gd name="T54" fmla="*/ 8 w 194"/>
                <a:gd name="T55" fmla="*/ 35 h 108"/>
                <a:gd name="T56" fmla="*/ 103 w 194"/>
                <a:gd name="T57" fmla="*/ 85 h 108"/>
                <a:gd name="T58" fmla="*/ 98 w 194"/>
                <a:gd name="T59" fmla="*/ 89 h 108"/>
                <a:gd name="T60" fmla="*/ 105 w 194"/>
                <a:gd name="T61" fmla="*/ 94 h 108"/>
                <a:gd name="T62" fmla="*/ 109 w 194"/>
                <a:gd name="T63" fmla="*/ 90 h 108"/>
                <a:gd name="T64" fmla="*/ 106 w 194"/>
                <a:gd name="T65" fmla="*/ 87 h 108"/>
                <a:gd name="T66" fmla="*/ 151 w 194"/>
                <a:gd name="T67" fmla="*/ 91 h 108"/>
                <a:gd name="T68" fmla="*/ 155 w 194"/>
                <a:gd name="T69" fmla="*/ 106 h 108"/>
                <a:gd name="T70" fmla="*/ 167 w 194"/>
                <a:gd name="T71" fmla="*/ 99 h 108"/>
                <a:gd name="T72" fmla="*/ 172 w 194"/>
                <a:gd name="T73" fmla="*/ 100 h 108"/>
                <a:gd name="T74" fmla="*/ 180 w 194"/>
                <a:gd name="T75" fmla="*/ 107 h 108"/>
                <a:gd name="T76" fmla="*/ 183 w 194"/>
                <a:gd name="T77" fmla="*/ 103 h 108"/>
                <a:gd name="T78" fmla="*/ 190 w 194"/>
                <a:gd name="T79" fmla="*/ 93 h 108"/>
                <a:gd name="T80" fmla="*/ 191 w 194"/>
                <a:gd name="T81" fmla="*/ 76 h 108"/>
                <a:gd name="T82" fmla="*/ 182 w 194"/>
                <a:gd name="T83" fmla="*/ 68 h 108"/>
                <a:gd name="T84" fmla="*/ 176 w 194"/>
                <a:gd name="T85" fmla="*/ 66 h 108"/>
                <a:gd name="T86" fmla="*/ 168 w 194"/>
                <a:gd name="T87" fmla="*/ 65 h 108"/>
                <a:gd name="T88" fmla="*/ 156 w 194"/>
                <a:gd name="T89" fmla="*/ 66 h 108"/>
                <a:gd name="T90" fmla="*/ 153 w 194"/>
                <a:gd name="T91" fmla="*/ 73 h 108"/>
                <a:gd name="T92" fmla="*/ 152 w 194"/>
                <a:gd name="T93" fmla="*/ 83 h 108"/>
                <a:gd name="T94" fmla="*/ 140 w 194"/>
                <a:gd name="T95" fmla="*/ 88 h 108"/>
                <a:gd name="T96" fmla="*/ 143 w 194"/>
                <a:gd name="T97" fmla="*/ 88 h 108"/>
                <a:gd name="T98" fmla="*/ 144 w 194"/>
                <a:gd name="T99" fmla="*/ 82 h 108"/>
                <a:gd name="T100" fmla="*/ 139 w 194"/>
                <a:gd name="T101" fmla="*/ 80 h 108"/>
                <a:gd name="T102" fmla="*/ 137 w 194"/>
                <a:gd name="T103" fmla="*/ 8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108">
                  <a:moveTo>
                    <a:pt x="1" y="34"/>
                  </a:moveTo>
                  <a:cubicBezTo>
                    <a:pt x="1" y="33"/>
                    <a:pt x="0" y="33"/>
                    <a:pt x="1" y="32"/>
                  </a:cubicBezTo>
                  <a:cubicBezTo>
                    <a:pt x="1" y="31"/>
                    <a:pt x="2" y="31"/>
                    <a:pt x="2" y="30"/>
                  </a:cubicBezTo>
                  <a:cubicBezTo>
                    <a:pt x="2" y="30"/>
                    <a:pt x="1" y="29"/>
                    <a:pt x="1" y="28"/>
                  </a:cubicBezTo>
                  <a:cubicBezTo>
                    <a:pt x="2" y="27"/>
                    <a:pt x="3" y="27"/>
                    <a:pt x="4" y="27"/>
                  </a:cubicBezTo>
                  <a:cubicBezTo>
                    <a:pt x="6" y="26"/>
                    <a:pt x="8" y="25"/>
                    <a:pt x="11" y="24"/>
                  </a:cubicBezTo>
                  <a:cubicBezTo>
                    <a:pt x="14" y="23"/>
                    <a:pt x="19" y="21"/>
                    <a:pt x="18" y="17"/>
                  </a:cubicBezTo>
                  <a:cubicBezTo>
                    <a:pt x="18" y="16"/>
                    <a:pt x="18" y="15"/>
                    <a:pt x="17" y="15"/>
                  </a:cubicBezTo>
                  <a:cubicBezTo>
                    <a:pt x="17" y="14"/>
                    <a:pt x="15" y="14"/>
                    <a:pt x="15" y="13"/>
                  </a:cubicBezTo>
                  <a:cubicBezTo>
                    <a:pt x="14" y="11"/>
                    <a:pt x="16" y="10"/>
                    <a:pt x="17" y="9"/>
                  </a:cubicBezTo>
                  <a:cubicBezTo>
                    <a:pt x="18" y="8"/>
                    <a:pt x="18" y="7"/>
                    <a:pt x="19" y="6"/>
                  </a:cubicBezTo>
                  <a:cubicBezTo>
                    <a:pt x="21" y="6"/>
                    <a:pt x="21" y="5"/>
                    <a:pt x="22" y="5"/>
                  </a:cubicBezTo>
                  <a:cubicBezTo>
                    <a:pt x="23" y="4"/>
                    <a:pt x="25" y="5"/>
                    <a:pt x="26" y="4"/>
                  </a:cubicBezTo>
                  <a:cubicBezTo>
                    <a:pt x="27" y="4"/>
                    <a:pt x="28" y="2"/>
                    <a:pt x="29" y="2"/>
                  </a:cubicBezTo>
                  <a:cubicBezTo>
                    <a:pt x="30" y="5"/>
                    <a:pt x="31" y="8"/>
                    <a:pt x="35" y="8"/>
                  </a:cubicBezTo>
                  <a:cubicBezTo>
                    <a:pt x="37" y="9"/>
                    <a:pt x="37" y="10"/>
                    <a:pt x="36" y="11"/>
                  </a:cubicBezTo>
                  <a:cubicBezTo>
                    <a:pt x="35" y="12"/>
                    <a:pt x="34" y="13"/>
                    <a:pt x="34" y="14"/>
                  </a:cubicBezTo>
                  <a:cubicBezTo>
                    <a:pt x="34" y="16"/>
                    <a:pt x="35" y="17"/>
                    <a:pt x="37" y="17"/>
                  </a:cubicBezTo>
                  <a:cubicBezTo>
                    <a:pt x="38" y="17"/>
                    <a:pt x="40" y="16"/>
                    <a:pt x="41" y="18"/>
                  </a:cubicBezTo>
                  <a:cubicBezTo>
                    <a:pt x="42" y="18"/>
                    <a:pt x="42" y="19"/>
                    <a:pt x="43" y="19"/>
                  </a:cubicBezTo>
                  <a:cubicBezTo>
                    <a:pt x="44" y="17"/>
                    <a:pt x="41" y="15"/>
                    <a:pt x="40" y="14"/>
                  </a:cubicBezTo>
                  <a:cubicBezTo>
                    <a:pt x="38" y="12"/>
                    <a:pt x="40" y="11"/>
                    <a:pt x="40" y="9"/>
                  </a:cubicBezTo>
                  <a:cubicBezTo>
                    <a:pt x="39" y="9"/>
                    <a:pt x="39" y="9"/>
                    <a:pt x="38" y="9"/>
                  </a:cubicBezTo>
                  <a:cubicBezTo>
                    <a:pt x="38" y="8"/>
                    <a:pt x="38" y="7"/>
                    <a:pt x="38" y="7"/>
                  </a:cubicBezTo>
                  <a:cubicBezTo>
                    <a:pt x="38" y="6"/>
                    <a:pt x="38" y="5"/>
                    <a:pt x="38" y="5"/>
                  </a:cubicBezTo>
                  <a:cubicBezTo>
                    <a:pt x="38" y="4"/>
                    <a:pt x="38" y="3"/>
                    <a:pt x="38" y="3"/>
                  </a:cubicBezTo>
                  <a:cubicBezTo>
                    <a:pt x="38" y="2"/>
                    <a:pt x="40" y="3"/>
                    <a:pt x="40" y="3"/>
                  </a:cubicBezTo>
                  <a:cubicBezTo>
                    <a:pt x="42" y="3"/>
                    <a:pt x="44" y="2"/>
                    <a:pt x="45" y="2"/>
                  </a:cubicBezTo>
                  <a:cubicBezTo>
                    <a:pt x="46" y="2"/>
                    <a:pt x="48" y="0"/>
                    <a:pt x="49" y="1"/>
                  </a:cubicBezTo>
                  <a:cubicBezTo>
                    <a:pt x="50" y="1"/>
                    <a:pt x="50" y="2"/>
                    <a:pt x="50" y="2"/>
                  </a:cubicBezTo>
                  <a:cubicBezTo>
                    <a:pt x="50" y="3"/>
                    <a:pt x="51" y="3"/>
                    <a:pt x="52" y="3"/>
                  </a:cubicBezTo>
                  <a:cubicBezTo>
                    <a:pt x="52" y="4"/>
                    <a:pt x="54" y="3"/>
                    <a:pt x="55" y="4"/>
                  </a:cubicBezTo>
                  <a:cubicBezTo>
                    <a:pt x="55" y="4"/>
                    <a:pt x="57" y="5"/>
                    <a:pt x="57" y="6"/>
                  </a:cubicBezTo>
                  <a:cubicBezTo>
                    <a:pt x="58" y="8"/>
                    <a:pt x="55" y="10"/>
                    <a:pt x="57" y="13"/>
                  </a:cubicBezTo>
                  <a:cubicBezTo>
                    <a:pt x="57" y="14"/>
                    <a:pt x="59" y="14"/>
                    <a:pt x="59" y="15"/>
                  </a:cubicBezTo>
                  <a:cubicBezTo>
                    <a:pt x="60" y="15"/>
                    <a:pt x="59" y="16"/>
                    <a:pt x="60" y="17"/>
                  </a:cubicBezTo>
                  <a:cubicBezTo>
                    <a:pt x="60" y="17"/>
                    <a:pt x="61" y="17"/>
                    <a:pt x="62" y="18"/>
                  </a:cubicBezTo>
                  <a:cubicBezTo>
                    <a:pt x="63" y="19"/>
                    <a:pt x="62" y="20"/>
                    <a:pt x="63" y="21"/>
                  </a:cubicBezTo>
                  <a:cubicBezTo>
                    <a:pt x="63" y="22"/>
                    <a:pt x="63" y="22"/>
                    <a:pt x="64" y="23"/>
                  </a:cubicBezTo>
                  <a:cubicBezTo>
                    <a:pt x="64" y="23"/>
                    <a:pt x="65" y="23"/>
                    <a:pt x="65" y="24"/>
                  </a:cubicBezTo>
                  <a:cubicBezTo>
                    <a:pt x="66" y="26"/>
                    <a:pt x="65" y="29"/>
                    <a:pt x="65" y="30"/>
                  </a:cubicBezTo>
                  <a:cubicBezTo>
                    <a:pt x="64" y="32"/>
                    <a:pt x="64" y="33"/>
                    <a:pt x="64" y="35"/>
                  </a:cubicBezTo>
                  <a:cubicBezTo>
                    <a:pt x="65" y="37"/>
                    <a:pt x="66" y="38"/>
                    <a:pt x="66" y="40"/>
                  </a:cubicBezTo>
                  <a:cubicBezTo>
                    <a:pt x="67" y="41"/>
                    <a:pt x="67" y="43"/>
                    <a:pt x="67" y="44"/>
                  </a:cubicBezTo>
                  <a:cubicBezTo>
                    <a:pt x="68" y="46"/>
                    <a:pt x="68" y="47"/>
                    <a:pt x="69" y="49"/>
                  </a:cubicBezTo>
                  <a:cubicBezTo>
                    <a:pt x="69" y="51"/>
                    <a:pt x="70" y="51"/>
                    <a:pt x="70" y="52"/>
                  </a:cubicBezTo>
                  <a:cubicBezTo>
                    <a:pt x="71" y="53"/>
                    <a:pt x="71" y="54"/>
                    <a:pt x="71" y="55"/>
                  </a:cubicBezTo>
                  <a:cubicBezTo>
                    <a:pt x="72" y="55"/>
                    <a:pt x="73" y="56"/>
                    <a:pt x="73" y="56"/>
                  </a:cubicBezTo>
                  <a:cubicBezTo>
                    <a:pt x="74" y="58"/>
                    <a:pt x="75" y="59"/>
                    <a:pt x="77" y="59"/>
                  </a:cubicBezTo>
                  <a:cubicBezTo>
                    <a:pt x="79" y="60"/>
                    <a:pt x="80" y="59"/>
                    <a:pt x="82" y="59"/>
                  </a:cubicBezTo>
                  <a:cubicBezTo>
                    <a:pt x="84" y="60"/>
                    <a:pt x="85" y="62"/>
                    <a:pt x="87" y="62"/>
                  </a:cubicBezTo>
                  <a:cubicBezTo>
                    <a:pt x="91" y="63"/>
                    <a:pt x="94" y="64"/>
                    <a:pt x="97" y="64"/>
                  </a:cubicBezTo>
                  <a:cubicBezTo>
                    <a:pt x="99" y="65"/>
                    <a:pt x="102" y="64"/>
                    <a:pt x="104" y="65"/>
                  </a:cubicBezTo>
                  <a:cubicBezTo>
                    <a:pt x="105" y="66"/>
                    <a:pt x="105" y="66"/>
                    <a:pt x="106" y="66"/>
                  </a:cubicBezTo>
                  <a:cubicBezTo>
                    <a:pt x="105" y="67"/>
                    <a:pt x="103" y="67"/>
                    <a:pt x="102" y="68"/>
                  </a:cubicBezTo>
                  <a:cubicBezTo>
                    <a:pt x="101" y="68"/>
                    <a:pt x="99" y="69"/>
                    <a:pt x="98" y="71"/>
                  </a:cubicBezTo>
                  <a:cubicBezTo>
                    <a:pt x="97" y="72"/>
                    <a:pt x="95" y="74"/>
                    <a:pt x="95" y="75"/>
                  </a:cubicBezTo>
                  <a:cubicBezTo>
                    <a:pt x="94" y="77"/>
                    <a:pt x="93" y="80"/>
                    <a:pt x="92" y="82"/>
                  </a:cubicBezTo>
                  <a:cubicBezTo>
                    <a:pt x="92" y="83"/>
                    <a:pt x="91" y="85"/>
                    <a:pt x="91" y="87"/>
                  </a:cubicBezTo>
                  <a:cubicBezTo>
                    <a:pt x="91" y="88"/>
                    <a:pt x="91" y="89"/>
                    <a:pt x="93" y="90"/>
                  </a:cubicBezTo>
                  <a:cubicBezTo>
                    <a:pt x="94" y="90"/>
                    <a:pt x="95" y="90"/>
                    <a:pt x="95" y="90"/>
                  </a:cubicBezTo>
                  <a:cubicBezTo>
                    <a:pt x="96" y="91"/>
                    <a:pt x="96" y="91"/>
                    <a:pt x="97" y="92"/>
                  </a:cubicBezTo>
                  <a:cubicBezTo>
                    <a:pt x="97" y="92"/>
                    <a:pt x="98" y="92"/>
                    <a:pt x="99" y="92"/>
                  </a:cubicBezTo>
                  <a:cubicBezTo>
                    <a:pt x="100" y="93"/>
                    <a:pt x="99" y="93"/>
                    <a:pt x="99" y="93"/>
                  </a:cubicBezTo>
                  <a:cubicBezTo>
                    <a:pt x="99" y="94"/>
                    <a:pt x="99" y="94"/>
                    <a:pt x="99" y="95"/>
                  </a:cubicBezTo>
                  <a:cubicBezTo>
                    <a:pt x="99" y="96"/>
                    <a:pt x="100" y="97"/>
                    <a:pt x="99" y="98"/>
                  </a:cubicBezTo>
                  <a:cubicBezTo>
                    <a:pt x="99" y="98"/>
                    <a:pt x="98" y="99"/>
                    <a:pt x="97" y="98"/>
                  </a:cubicBezTo>
                  <a:cubicBezTo>
                    <a:pt x="95" y="98"/>
                    <a:pt x="93" y="97"/>
                    <a:pt x="91" y="97"/>
                  </a:cubicBezTo>
                  <a:cubicBezTo>
                    <a:pt x="89" y="98"/>
                    <a:pt x="87" y="100"/>
                    <a:pt x="85" y="97"/>
                  </a:cubicBezTo>
                  <a:cubicBezTo>
                    <a:pt x="85" y="97"/>
                    <a:pt x="85" y="96"/>
                    <a:pt x="85" y="96"/>
                  </a:cubicBezTo>
                  <a:cubicBezTo>
                    <a:pt x="85" y="95"/>
                    <a:pt x="85" y="95"/>
                    <a:pt x="84" y="95"/>
                  </a:cubicBezTo>
                  <a:cubicBezTo>
                    <a:pt x="83" y="94"/>
                    <a:pt x="82" y="92"/>
                    <a:pt x="81" y="91"/>
                  </a:cubicBezTo>
                  <a:cubicBezTo>
                    <a:pt x="80" y="90"/>
                    <a:pt x="78" y="90"/>
                    <a:pt x="76" y="90"/>
                  </a:cubicBezTo>
                  <a:cubicBezTo>
                    <a:pt x="76" y="90"/>
                    <a:pt x="76" y="90"/>
                    <a:pt x="75" y="90"/>
                  </a:cubicBezTo>
                  <a:cubicBezTo>
                    <a:pt x="75" y="89"/>
                    <a:pt x="75" y="89"/>
                    <a:pt x="74" y="88"/>
                  </a:cubicBezTo>
                  <a:cubicBezTo>
                    <a:pt x="74" y="88"/>
                    <a:pt x="73" y="87"/>
                    <a:pt x="73" y="87"/>
                  </a:cubicBezTo>
                  <a:cubicBezTo>
                    <a:pt x="72" y="87"/>
                    <a:pt x="71" y="86"/>
                    <a:pt x="71" y="86"/>
                  </a:cubicBezTo>
                  <a:cubicBezTo>
                    <a:pt x="70" y="85"/>
                    <a:pt x="69" y="85"/>
                    <a:pt x="68" y="85"/>
                  </a:cubicBezTo>
                  <a:cubicBezTo>
                    <a:pt x="67" y="85"/>
                    <a:pt x="66" y="84"/>
                    <a:pt x="65" y="84"/>
                  </a:cubicBezTo>
                  <a:cubicBezTo>
                    <a:pt x="64" y="84"/>
                    <a:pt x="63" y="84"/>
                    <a:pt x="63" y="84"/>
                  </a:cubicBezTo>
                  <a:cubicBezTo>
                    <a:pt x="62" y="84"/>
                    <a:pt x="62" y="83"/>
                    <a:pt x="62" y="83"/>
                  </a:cubicBezTo>
                  <a:cubicBezTo>
                    <a:pt x="60" y="82"/>
                    <a:pt x="59" y="82"/>
                    <a:pt x="57" y="81"/>
                  </a:cubicBezTo>
                  <a:cubicBezTo>
                    <a:pt x="56" y="81"/>
                    <a:pt x="54" y="81"/>
                    <a:pt x="53" y="81"/>
                  </a:cubicBezTo>
                  <a:cubicBezTo>
                    <a:pt x="52" y="80"/>
                    <a:pt x="51" y="80"/>
                    <a:pt x="51" y="79"/>
                  </a:cubicBezTo>
                  <a:cubicBezTo>
                    <a:pt x="51" y="78"/>
                    <a:pt x="51" y="78"/>
                    <a:pt x="50" y="77"/>
                  </a:cubicBezTo>
                  <a:cubicBezTo>
                    <a:pt x="49" y="76"/>
                    <a:pt x="50" y="74"/>
                    <a:pt x="49" y="72"/>
                  </a:cubicBezTo>
                  <a:cubicBezTo>
                    <a:pt x="49" y="71"/>
                    <a:pt x="48" y="71"/>
                    <a:pt x="48" y="70"/>
                  </a:cubicBezTo>
                  <a:cubicBezTo>
                    <a:pt x="48" y="69"/>
                    <a:pt x="48" y="68"/>
                    <a:pt x="48" y="67"/>
                  </a:cubicBezTo>
                  <a:cubicBezTo>
                    <a:pt x="48" y="66"/>
                    <a:pt x="49" y="65"/>
                    <a:pt x="50" y="63"/>
                  </a:cubicBezTo>
                  <a:cubicBezTo>
                    <a:pt x="51" y="62"/>
                    <a:pt x="51" y="61"/>
                    <a:pt x="50" y="60"/>
                  </a:cubicBezTo>
                  <a:cubicBezTo>
                    <a:pt x="49" y="57"/>
                    <a:pt x="45" y="57"/>
                    <a:pt x="44" y="54"/>
                  </a:cubicBezTo>
                  <a:cubicBezTo>
                    <a:pt x="44" y="54"/>
                    <a:pt x="43" y="53"/>
                    <a:pt x="43" y="52"/>
                  </a:cubicBezTo>
                  <a:cubicBezTo>
                    <a:pt x="43" y="52"/>
                    <a:pt x="44" y="51"/>
                    <a:pt x="44" y="51"/>
                  </a:cubicBezTo>
                  <a:cubicBezTo>
                    <a:pt x="44" y="49"/>
                    <a:pt x="43" y="48"/>
                    <a:pt x="42" y="47"/>
                  </a:cubicBezTo>
                  <a:cubicBezTo>
                    <a:pt x="42" y="46"/>
                    <a:pt x="42" y="45"/>
                    <a:pt x="42" y="44"/>
                  </a:cubicBezTo>
                  <a:cubicBezTo>
                    <a:pt x="42" y="44"/>
                    <a:pt x="42" y="43"/>
                    <a:pt x="42" y="42"/>
                  </a:cubicBezTo>
                  <a:cubicBezTo>
                    <a:pt x="42" y="41"/>
                    <a:pt x="40" y="40"/>
                    <a:pt x="39" y="40"/>
                  </a:cubicBezTo>
                  <a:cubicBezTo>
                    <a:pt x="38" y="39"/>
                    <a:pt x="38" y="38"/>
                    <a:pt x="36" y="38"/>
                  </a:cubicBezTo>
                  <a:cubicBezTo>
                    <a:pt x="35" y="38"/>
                    <a:pt x="35" y="38"/>
                    <a:pt x="34" y="38"/>
                  </a:cubicBezTo>
                  <a:cubicBezTo>
                    <a:pt x="33" y="39"/>
                    <a:pt x="33" y="38"/>
                    <a:pt x="32" y="38"/>
                  </a:cubicBezTo>
                  <a:cubicBezTo>
                    <a:pt x="31" y="38"/>
                    <a:pt x="30" y="38"/>
                    <a:pt x="30" y="38"/>
                  </a:cubicBezTo>
                  <a:cubicBezTo>
                    <a:pt x="29" y="38"/>
                    <a:pt x="29" y="37"/>
                    <a:pt x="29" y="37"/>
                  </a:cubicBezTo>
                  <a:cubicBezTo>
                    <a:pt x="28" y="35"/>
                    <a:pt x="26" y="35"/>
                    <a:pt x="25" y="36"/>
                  </a:cubicBezTo>
                  <a:cubicBezTo>
                    <a:pt x="24" y="36"/>
                    <a:pt x="23" y="36"/>
                    <a:pt x="23" y="37"/>
                  </a:cubicBezTo>
                  <a:cubicBezTo>
                    <a:pt x="22" y="37"/>
                    <a:pt x="22" y="38"/>
                    <a:pt x="22" y="38"/>
                  </a:cubicBezTo>
                  <a:cubicBezTo>
                    <a:pt x="21" y="39"/>
                    <a:pt x="21" y="39"/>
                    <a:pt x="20" y="39"/>
                  </a:cubicBezTo>
                  <a:cubicBezTo>
                    <a:pt x="19" y="38"/>
                    <a:pt x="19" y="38"/>
                    <a:pt x="19" y="38"/>
                  </a:cubicBezTo>
                  <a:cubicBezTo>
                    <a:pt x="19" y="38"/>
                    <a:pt x="18" y="38"/>
                    <a:pt x="18" y="39"/>
                  </a:cubicBezTo>
                  <a:cubicBezTo>
                    <a:pt x="16" y="39"/>
                    <a:pt x="14" y="38"/>
                    <a:pt x="13" y="39"/>
                  </a:cubicBezTo>
                  <a:cubicBezTo>
                    <a:pt x="12" y="40"/>
                    <a:pt x="12" y="40"/>
                    <a:pt x="11" y="39"/>
                  </a:cubicBezTo>
                  <a:cubicBezTo>
                    <a:pt x="11" y="38"/>
                    <a:pt x="10" y="38"/>
                    <a:pt x="10" y="37"/>
                  </a:cubicBezTo>
                  <a:cubicBezTo>
                    <a:pt x="9" y="36"/>
                    <a:pt x="8" y="35"/>
                    <a:pt x="8" y="35"/>
                  </a:cubicBezTo>
                  <a:cubicBezTo>
                    <a:pt x="7" y="35"/>
                    <a:pt x="5" y="35"/>
                    <a:pt x="5" y="35"/>
                  </a:cubicBezTo>
                  <a:cubicBezTo>
                    <a:pt x="3" y="36"/>
                    <a:pt x="1" y="36"/>
                    <a:pt x="1" y="34"/>
                  </a:cubicBezTo>
                  <a:close/>
                  <a:moveTo>
                    <a:pt x="104" y="85"/>
                  </a:moveTo>
                  <a:cubicBezTo>
                    <a:pt x="103" y="85"/>
                    <a:pt x="103" y="85"/>
                    <a:pt x="103" y="85"/>
                  </a:cubicBezTo>
                  <a:cubicBezTo>
                    <a:pt x="103" y="86"/>
                    <a:pt x="102" y="86"/>
                    <a:pt x="102" y="87"/>
                  </a:cubicBezTo>
                  <a:cubicBezTo>
                    <a:pt x="101" y="87"/>
                    <a:pt x="101" y="87"/>
                    <a:pt x="100" y="87"/>
                  </a:cubicBezTo>
                  <a:cubicBezTo>
                    <a:pt x="100" y="88"/>
                    <a:pt x="99" y="88"/>
                    <a:pt x="99" y="88"/>
                  </a:cubicBezTo>
                  <a:cubicBezTo>
                    <a:pt x="98" y="89"/>
                    <a:pt x="98" y="89"/>
                    <a:pt x="98" y="89"/>
                  </a:cubicBezTo>
                  <a:cubicBezTo>
                    <a:pt x="98" y="90"/>
                    <a:pt x="98" y="90"/>
                    <a:pt x="99" y="91"/>
                  </a:cubicBezTo>
                  <a:cubicBezTo>
                    <a:pt x="100" y="91"/>
                    <a:pt x="100" y="91"/>
                    <a:pt x="101" y="91"/>
                  </a:cubicBezTo>
                  <a:cubicBezTo>
                    <a:pt x="102" y="92"/>
                    <a:pt x="103" y="92"/>
                    <a:pt x="104" y="93"/>
                  </a:cubicBezTo>
                  <a:cubicBezTo>
                    <a:pt x="105" y="94"/>
                    <a:pt x="105" y="94"/>
                    <a:pt x="105" y="94"/>
                  </a:cubicBezTo>
                  <a:cubicBezTo>
                    <a:pt x="105" y="94"/>
                    <a:pt x="105" y="94"/>
                    <a:pt x="105" y="94"/>
                  </a:cubicBezTo>
                  <a:cubicBezTo>
                    <a:pt x="106" y="94"/>
                    <a:pt x="107" y="94"/>
                    <a:pt x="108" y="94"/>
                  </a:cubicBezTo>
                  <a:cubicBezTo>
                    <a:pt x="108" y="94"/>
                    <a:pt x="109" y="92"/>
                    <a:pt x="109" y="91"/>
                  </a:cubicBezTo>
                  <a:cubicBezTo>
                    <a:pt x="109" y="91"/>
                    <a:pt x="109" y="90"/>
                    <a:pt x="109" y="90"/>
                  </a:cubicBezTo>
                  <a:cubicBezTo>
                    <a:pt x="110" y="90"/>
                    <a:pt x="110" y="89"/>
                    <a:pt x="110" y="89"/>
                  </a:cubicBezTo>
                  <a:cubicBezTo>
                    <a:pt x="110" y="88"/>
                    <a:pt x="110" y="88"/>
                    <a:pt x="110" y="88"/>
                  </a:cubicBezTo>
                  <a:cubicBezTo>
                    <a:pt x="109" y="88"/>
                    <a:pt x="109" y="88"/>
                    <a:pt x="108" y="88"/>
                  </a:cubicBezTo>
                  <a:cubicBezTo>
                    <a:pt x="108" y="88"/>
                    <a:pt x="107" y="87"/>
                    <a:pt x="106" y="87"/>
                  </a:cubicBezTo>
                  <a:cubicBezTo>
                    <a:pt x="106" y="86"/>
                    <a:pt x="105" y="86"/>
                    <a:pt x="105" y="86"/>
                  </a:cubicBezTo>
                  <a:lnTo>
                    <a:pt x="104" y="85"/>
                  </a:lnTo>
                  <a:close/>
                  <a:moveTo>
                    <a:pt x="151" y="87"/>
                  </a:moveTo>
                  <a:cubicBezTo>
                    <a:pt x="153" y="87"/>
                    <a:pt x="151" y="90"/>
                    <a:pt x="151" y="91"/>
                  </a:cubicBezTo>
                  <a:cubicBezTo>
                    <a:pt x="150" y="93"/>
                    <a:pt x="151" y="95"/>
                    <a:pt x="151" y="96"/>
                  </a:cubicBezTo>
                  <a:cubicBezTo>
                    <a:pt x="152" y="98"/>
                    <a:pt x="154" y="100"/>
                    <a:pt x="153" y="102"/>
                  </a:cubicBezTo>
                  <a:cubicBezTo>
                    <a:pt x="152" y="103"/>
                    <a:pt x="151" y="104"/>
                    <a:pt x="151" y="106"/>
                  </a:cubicBezTo>
                  <a:cubicBezTo>
                    <a:pt x="152" y="107"/>
                    <a:pt x="154" y="106"/>
                    <a:pt x="155" y="106"/>
                  </a:cubicBezTo>
                  <a:cubicBezTo>
                    <a:pt x="156" y="106"/>
                    <a:pt x="158" y="104"/>
                    <a:pt x="159" y="104"/>
                  </a:cubicBezTo>
                  <a:cubicBezTo>
                    <a:pt x="161" y="103"/>
                    <a:pt x="163" y="104"/>
                    <a:pt x="164" y="103"/>
                  </a:cubicBezTo>
                  <a:cubicBezTo>
                    <a:pt x="165" y="102"/>
                    <a:pt x="167" y="101"/>
                    <a:pt x="168" y="100"/>
                  </a:cubicBezTo>
                  <a:cubicBezTo>
                    <a:pt x="168" y="100"/>
                    <a:pt x="167" y="99"/>
                    <a:pt x="167" y="99"/>
                  </a:cubicBezTo>
                  <a:cubicBezTo>
                    <a:pt x="166" y="98"/>
                    <a:pt x="165" y="98"/>
                    <a:pt x="166" y="97"/>
                  </a:cubicBezTo>
                  <a:cubicBezTo>
                    <a:pt x="166" y="95"/>
                    <a:pt x="168" y="95"/>
                    <a:pt x="169" y="96"/>
                  </a:cubicBezTo>
                  <a:cubicBezTo>
                    <a:pt x="170" y="97"/>
                    <a:pt x="169" y="98"/>
                    <a:pt x="170" y="99"/>
                  </a:cubicBezTo>
                  <a:cubicBezTo>
                    <a:pt x="170" y="100"/>
                    <a:pt x="171" y="100"/>
                    <a:pt x="172" y="100"/>
                  </a:cubicBezTo>
                  <a:cubicBezTo>
                    <a:pt x="173" y="101"/>
                    <a:pt x="175" y="103"/>
                    <a:pt x="175" y="104"/>
                  </a:cubicBezTo>
                  <a:cubicBezTo>
                    <a:pt x="175" y="105"/>
                    <a:pt x="174" y="106"/>
                    <a:pt x="175" y="107"/>
                  </a:cubicBezTo>
                  <a:cubicBezTo>
                    <a:pt x="176" y="108"/>
                    <a:pt x="176" y="108"/>
                    <a:pt x="177" y="107"/>
                  </a:cubicBezTo>
                  <a:cubicBezTo>
                    <a:pt x="178" y="107"/>
                    <a:pt x="179" y="107"/>
                    <a:pt x="180" y="107"/>
                  </a:cubicBezTo>
                  <a:cubicBezTo>
                    <a:pt x="181" y="107"/>
                    <a:pt x="181" y="107"/>
                    <a:pt x="182" y="106"/>
                  </a:cubicBezTo>
                  <a:cubicBezTo>
                    <a:pt x="182" y="105"/>
                    <a:pt x="181" y="105"/>
                    <a:pt x="181" y="104"/>
                  </a:cubicBezTo>
                  <a:cubicBezTo>
                    <a:pt x="181" y="104"/>
                    <a:pt x="181" y="104"/>
                    <a:pt x="181" y="104"/>
                  </a:cubicBezTo>
                  <a:cubicBezTo>
                    <a:pt x="181" y="103"/>
                    <a:pt x="182" y="103"/>
                    <a:pt x="183" y="103"/>
                  </a:cubicBezTo>
                  <a:cubicBezTo>
                    <a:pt x="184" y="103"/>
                    <a:pt x="184" y="102"/>
                    <a:pt x="185" y="102"/>
                  </a:cubicBezTo>
                  <a:cubicBezTo>
                    <a:pt x="186" y="102"/>
                    <a:pt x="187" y="102"/>
                    <a:pt x="188" y="102"/>
                  </a:cubicBezTo>
                  <a:cubicBezTo>
                    <a:pt x="189" y="101"/>
                    <a:pt x="188" y="99"/>
                    <a:pt x="189" y="98"/>
                  </a:cubicBezTo>
                  <a:cubicBezTo>
                    <a:pt x="189" y="96"/>
                    <a:pt x="189" y="95"/>
                    <a:pt x="190" y="93"/>
                  </a:cubicBezTo>
                  <a:cubicBezTo>
                    <a:pt x="190" y="91"/>
                    <a:pt x="191" y="90"/>
                    <a:pt x="192" y="89"/>
                  </a:cubicBezTo>
                  <a:cubicBezTo>
                    <a:pt x="192" y="87"/>
                    <a:pt x="193" y="86"/>
                    <a:pt x="194" y="85"/>
                  </a:cubicBezTo>
                  <a:cubicBezTo>
                    <a:pt x="194" y="83"/>
                    <a:pt x="194" y="81"/>
                    <a:pt x="194" y="80"/>
                  </a:cubicBezTo>
                  <a:cubicBezTo>
                    <a:pt x="194" y="78"/>
                    <a:pt x="193" y="77"/>
                    <a:pt x="191" y="76"/>
                  </a:cubicBezTo>
                  <a:cubicBezTo>
                    <a:pt x="190" y="75"/>
                    <a:pt x="189" y="72"/>
                    <a:pt x="188" y="72"/>
                  </a:cubicBezTo>
                  <a:cubicBezTo>
                    <a:pt x="187" y="72"/>
                    <a:pt x="186" y="72"/>
                    <a:pt x="186" y="72"/>
                  </a:cubicBezTo>
                  <a:cubicBezTo>
                    <a:pt x="185" y="72"/>
                    <a:pt x="185" y="71"/>
                    <a:pt x="185" y="70"/>
                  </a:cubicBezTo>
                  <a:cubicBezTo>
                    <a:pt x="184" y="69"/>
                    <a:pt x="183" y="68"/>
                    <a:pt x="182" y="68"/>
                  </a:cubicBezTo>
                  <a:cubicBezTo>
                    <a:pt x="181" y="67"/>
                    <a:pt x="181" y="67"/>
                    <a:pt x="180" y="67"/>
                  </a:cubicBezTo>
                  <a:cubicBezTo>
                    <a:pt x="179" y="68"/>
                    <a:pt x="179" y="69"/>
                    <a:pt x="178" y="69"/>
                  </a:cubicBezTo>
                  <a:cubicBezTo>
                    <a:pt x="177" y="69"/>
                    <a:pt x="177" y="68"/>
                    <a:pt x="177" y="68"/>
                  </a:cubicBezTo>
                  <a:cubicBezTo>
                    <a:pt x="177" y="67"/>
                    <a:pt x="176" y="67"/>
                    <a:pt x="176" y="66"/>
                  </a:cubicBezTo>
                  <a:cubicBezTo>
                    <a:pt x="175" y="66"/>
                    <a:pt x="174" y="65"/>
                    <a:pt x="173" y="65"/>
                  </a:cubicBezTo>
                  <a:cubicBezTo>
                    <a:pt x="172" y="65"/>
                    <a:pt x="171" y="66"/>
                    <a:pt x="171" y="66"/>
                  </a:cubicBezTo>
                  <a:cubicBezTo>
                    <a:pt x="170" y="66"/>
                    <a:pt x="171" y="65"/>
                    <a:pt x="170" y="65"/>
                  </a:cubicBezTo>
                  <a:cubicBezTo>
                    <a:pt x="170" y="65"/>
                    <a:pt x="169" y="65"/>
                    <a:pt x="168" y="65"/>
                  </a:cubicBezTo>
                  <a:cubicBezTo>
                    <a:pt x="168" y="65"/>
                    <a:pt x="167" y="65"/>
                    <a:pt x="167" y="64"/>
                  </a:cubicBezTo>
                  <a:cubicBezTo>
                    <a:pt x="165" y="64"/>
                    <a:pt x="165" y="63"/>
                    <a:pt x="163" y="64"/>
                  </a:cubicBezTo>
                  <a:cubicBezTo>
                    <a:pt x="162" y="65"/>
                    <a:pt x="161" y="65"/>
                    <a:pt x="160" y="65"/>
                  </a:cubicBezTo>
                  <a:cubicBezTo>
                    <a:pt x="158" y="65"/>
                    <a:pt x="157" y="65"/>
                    <a:pt x="156" y="66"/>
                  </a:cubicBezTo>
                  <a:cubicBezTo>
                    <a:pt x="155" y="66"/>
                    <a:pt x="154" y="67"/>
                    <a:pt x="154" y="67"/>
                  </a:cubicBezTo>
                  <a:cubicBezTo>
                    <a:pt x="154" y="68"/>
                    <a:pt x="155" y="69"/>
                    <a:pt x="155" y="70"/>
                  </a:cubicBezTo>
                  <a:cubicBezTo>
                    <a:pt x="154" y="71"/>
                    <a:pt x="154" y="71"/>
                    <a:pt x="153" y="72"/>
                  </a:cubicBezTo>
                  <a:cubicBezTo>
                    <a:pt x="153" y="72"/>
                    <a:pt x="153" y="73"/>
                    <a:pt x="153" y="73"/>
                  </a:cubicBezTo>
                  <a:cubicBezTo>
                    <a:pt x="154" y="74"/>
                    <a:pt x="154" y="75"/>
                    <a:pt x="154" y="76"/>
                  </a:cubicBezTo>
                  <a:cubicBezTo>
                    <a:pt x="154" y="77"/>
                    <a:pt x="153" y="77"/>
                    <a:pt x="153" y="78"/>
                  </a:cubicBezTo>
                  <a:cubicBezTo>
                    <a:pt x="152" y="79"/>
                    <a:pt x="152" y="79"/>
                    <a:pt x="152" y="80"/>
                  </a:cubicBezTo>
                  <a:cubicBezTo>
                    <a:pt x="152" y="81"/>
                    <a:pt x="152" y="83"/>
                    <a:pt x="152" y="83"/>
                  </a:cubicBezTo>
                  <a:cubicBezTo>
                    <a:pt x="152" y="84"/>
                    <a:pt x="150" y="84"/>
                    <a:pt x="150" y="85"/>
                  </a:cubicBezTo>
                  <a:cubicBezTo>
                    <a:pt x="149" y="85"/>
                    <a:pt x="149" y="86"/>
                    <a:pt x="149" y="87"/>
                  </a:cubicBezTo>
                  <a:cubicBezTo>
                    <a:pt x="150" y="88"/>
                    <a:pt x="151" y="87"/>
                    <a:pt x="151" y="87"/>
                  </a:cubicBezTo>
                  <a:close/>
                  <a:moveTo>
                    <a:pt x="140" y="88"/>
                  </a:moveTo>
                  <a:cubicBezTo>
                    <a:pt x="141" y="88"/>
                    <a:pt x="141" y="88"/>
                    <a:pt x="142" y="88"/>
                  </a:cubicBezTo>
                  <a:cubicBezTo>
                    <a:pt x="141" y="89"/>
                    <a:pt x="142" y="90"/>
                    <a:pt x="143" y="90"/>
                  </a:cubicBezTo>
                  <a:cubicBezTo>
                    <a:pt x="144" y="91"/>
                    <a:pt x="144" y="89"/>
                    <a:pt x="144" y="89"/>
                  </a:cubicBezTo>
                  <a:cubicBezTo>
                    <a:pt x="143" y="88"/>
                    <a:pt x="143" y="88"/>
                    <a:pt x="143" y="88"/>
                  </a:cubicBezTo>
                  <a:cubicBezTo>
                    <a:pt x="143" y="88"/>
                    <a:pt x="143" y="88"/>
                    <a:pt x="143" y="88"/>
                  </a:cubicBezTo>
                  <a:cubicBezTo>
                    <a:pt x="142" y="87"/>
                    <a:pt x="143" y="87"/>
                    <a:pt x="143" y="87"/>
                  </a:cubicBezTo>
                  <a:cubicBezTo>
                    <a:pt x="144" y="86"/>
                    <a:pt x="144" y="85"/>
                    <a:pt x="145" y="84"/>
                  </a:cubicBezTo>
                  <a:cubicBezTo>
                    <a:pt x="145" y="83"/>
                    <a:pt x="145" y="82"/>
                    <a:pt x="144" y="82"/>
                  </a:cubicBezTo>
                  <a:cubicBezTo>
                    <a:pt x="143" y="82"/>
                    <a:pt x="143" y="82"/>
                    <a:pt x="143" y="82"/>
                  </a:cubicBezTo>
                  <a:cubicBezTo>
                    <a:pt x="141" y="81"/>
                    <a:pt x="141" y="81"/>
                    <a:pt x="141" y="81"/>
                  </a:cubicBezTo>
                  <a:cubicBezTo>
                    <a:pt x="141" y="81"/>
                    <a:pt x="142" y="81"/>
                    <a:pt x="142" y="80"/>
                  </a:cubicBezTo>
                  <a:cubicBezTo>
                    <a:pt x="141" y="79"/>
                    <a:pt x="139" y="79"/>
                    <a:pt x="139" y="80"/>
                  </a:cubicBezTo>
                  <a:cubicBezTo>
                    <a:pt x="138" y="81"/>
                    <a:pt x="140" y="81"/>
                    <a:pt x="140" y="82"/>
                  </a:cubicBezTo>
                  <a:cubicBezTo>
                    <a:pt x="139" y="83"/>
                    <a:pt x="139" y="83"/>
                    <a:pt x="139" y="83"/>
                  </a:cubicBezTo>
                  <a:cubicBezTo>
                    <a:pt x="138" y="84"/>
                    <a:pt x="138" y="84"/>
                    <a:pt x="138" y="84"/>
                  </a:cubicBezTo>
                  <a:cubicBezTo>
                    <a:pt x="138" y="84"/>
                    <a:pt x="137" y="84"/>
                    <a:pt x="137" y="85"/>
                  </a:cubicBezTo>
                  <a:cubicBezTo>
                    <a:pt x="137" y="85"/>
                    <a:pt x="138" y="85"/>
                    <a:pt x="138" y="86"/>
                  </a:cubicBezTo>
                  <a:cubicBezTo>
                    <a:pt x="139" y="86"/>
                    <a:pt x="140" y="87"/>
                    <a:pt x="140" y="8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8" name="Freeform 80">
              <a:extLst>
                <a:ext uri="{FF2B5EF4-FFF2-40B4-BE49-F238E27FC236}">
                  <a16:creationId xmlns:a16="http://schemas.microsoft.com/office/drawing/2014/main" id="{034FF111-4265-373F-DAC5-49666E023B26}"/>
                </a:ext>
              </a:extLst>
            </p:cNvPr>
            <p:cNvSpPr>
              <a:spLocks noEditPoints="1"/>
            </p:cNvSpPr>
            <p:nvPr/>
          </p:nvSpPr>
          <p:spPr bwMode="auto">
            <a:xfrm>
              <a:off x="5129213" y="5713413"/>
              <a:ext cx="303213" cy="187325"/>
            </a:xfrm>
            <a:custGeom>
              <a:avLst/>
              <a:gdLst>
                <a:gd name="T0" fmla="*/ 79 w 80"/>
                <a:gd name="T1" fmla="*/ 19 h 49"/>
                <a:gd name="T2" fmla="*/ 78 w 80"/>
                <a:gd name="T3" fmla="*/ 23 h 49"/>
                <a:gd name="T4" fmla="*/ 74 w 80"/>
                <a:gd name="T5" fmla="*/ 25 h 49"/>
                <a:gd name="T6" fmla="*/ 71 w 80"/>
                <a:gd name="T7" fmla="*/ 28 h 49"/>
                <a:gd name="T8" fmla="*/ 67 w 80"/>
                <a:gd name="T9" fmla="*/ 27 h 49"/>
                <a:gd name="T10" fmla="*/ 64 w 80"/>
                <a:gd name="T11" fmla="*/ 30 h 49"/>
                <a:gd name="T12" fmla="*/ 61 w 80"/>
                <a:gd name="T13" fmla="*/ 32 h 49"/>
                <a:gd name="T14" fmla="*/ 56 w 80"/>
                <a:gd name="T15" fmla="*/ 32 h 49"/>
                <a:gd name="T16" fmla="*/ 52 w 80"/>
                <a:gd name="T17" fmla="*/ 35 h 49"/>
                <a:gd name="T18" fmla="*/ 50 w 80"/>
                <a:gd name="T19" fmla="*/ 37 h 49"/>
                <a:gd name="T20" fmla="*/ 52 w 80"/>
                <a:gd name="T21" fmla="*/ 38 h 49"/>
                <a:gd name="T22" fmla="*/ 49 w 80"/>
                <a:gd name="T23" fmla="*/ 42 h 49"/>
                <a:gd name="T24" fmla="*/ 49 w 80"/>
                <a:gd name="T25" fmla="*/ 44 h 49"/>
                <a:gd name="T26" fmla="*/ 49 w 80"/>
                <a:gd name="T27" fmla="*/ 47 h 49"/>
                <a:gd name="T28" fmla="*/ 46 w 80"/>
                <a:gd name="T29" fmla="*/ 49 h 49"/>
                <a:gd name="T30" fmla="*/ 41 w 80"/>
                <a:gd name="T31" fmla="*/ 48 h 49"/>
                <a:gd name="T32" fmla="*/ 42 w 80"/>
                <a:gd name="T33" fmla="*/ 46 h 49"/>
                <a:gd name="T34" fmla="*/ 44 w 80"/>
                <a:gd name="T35" fmla="*/ 44 h 49"/>
                <a:gd name="T36" fmla="*/ 45 w 80"/>
                <a:gd name="T37" fmla="*/ 41 h 49"/>
                <a:gd name="T38" fmla="*/ 44 w 80"/>
                <a:gd name="T39" fmla="*/ 37 h 49"/>
                <a:gd name="T40" fmla="*/ 38 w 80"/>
                <a:gd name="T41" fmla="*/ 32 h 49"/>
                <a:gd name="T42" fmla="*/ 34 w 80"/>
                <a:gd name="T43" fmla="*/ 28 h 49"/>
                <a:gd name="T44" fmla="*/ 29 w 80"/>
                <a:gd name="T45" fmla="*/ 25 h 49"/>
                <a:gd name="T46" fmla="*/ 24 w 80"/>
                <a:gd name="T47" fmla="*/ 22 h 49"/>
                <a:gd name="T48" fmla="*/ 20 w 80"/>
                <a:gd name="T49" fmla="*/ 21 h 49"/>
                <a:gd name="T50" fmla="*/ 16 w 80"/>
                <a:gd name="T51" fmla="*/ 21 h 49"/>
                <a:gd name="T52" fmla="*/ 10 w 80"/>
                <a:gd name="T53" fmla="*/ 21 h 49"/>
                <a:gd name="T54" fmla="*/ 7 w 80"/>
                <a:gd name="T55" fmla="*/ 19 h 49"/>
                <a:gd name="T56" fmla="*/ 4 w 80"/>
                <a:gd name="T57" fmla="*/ 14 h 49"/>
                <a:gd name="T58" fmla="*/ 3 w 80"/>
                <a:gd name="T59" fmla="*/ 13 h 49"/>
                <a:gd name="T60" fmla="*/ 1 w 80"/>
                <a:gd name="T61" fmla="*/ 8 h 49"/>
                <a:gd name="T62" fmla="*/ 0 w 80"/>
                <a:gd name="T63" fmla="*/ 3 h 49"/>
                <a:gd name="T64" fmla="*/ 3 w 80"/>
                <a:gd name="T65" fmla="*/ 1 h 49"/>
                <a:gd name="T66" fmla="*/ 5 w 80"/>
                <a:gd name="T67" fmla="*/ 4 h 49"/>
                <a:gd name="T68" fmla="*/ 6 w 80"/>
                <a:gd name="T69" fmla="*/ 4 h 49"/>
                <a:gd name="T70" fmla="*/ 7 w 80"/>
                <a:gd name="T71" fmla="*/ 4 h 49"/>
                <a:gd name="T72" fmla="*/ 12 w 80"/>
                <a:gd name="T73" fmla="*/ 4 h 49"/>
                <a:gd name="T74" fmla="*/ 18 w 80"/>
                <a:gd name="T75" fmla="*/ 6 h 49"/>
                <a:gd name="T76" fmla="*/ 25 w 80"/>
                <a:gd name="T77" fmla="*/ 7 h 49"/>
                <a:gd name="T78" fmla="*/ 30 w 80"/>
                <a:gd name="T79" fmla="*/ 7 h 49"/>
                <a:gd name="T80" fmla="*/ 36 w 80"/>
                <a:gd name="T81" fmla="*/ 7 h 49"/>
                <a:gd name="T82" fmla="*/ 40 w 80"/>
                <a:gd name="T83" fmla="*/ 3 h 49"/>
                <a:gd name="T84" fmla="*/ 44 w 80"/>
                <a:gd name="T85" fmla="*/ 0 h 49"/>
                <a:gd name="T86" fmla="*/ 48 w 80"/>
                <a:gd name="T87" fmla="*/ 0 h 49"/>
                <a:gd name="T88" fmla="*/ 53 w 80"/>
                <a:gd name="T89" fmla="*/ 2 h 49"/>
                <a:gd name="T90" fmla="*/ 58 w 80"/>
                <a:gd name="T91" fmla="*/ 4 h 49"/>
                <a:gd name="T92" fmla="*/ 62 w 80"/>
                <a:gd name="T93" fmla="*/ 5 h 49"/>
                <a:gd name="T94" fmla="*/ 66 w 80"/>
                <a:gd name="T95" fmla="*/ 8 h 49"/>
                <a:gd name="T96" fmla="*/ 69 w 80"/>
                <a:gd name="T97" fmla="*/ 11 h 49"/>
                <a:gd name="T98" fmla="*/ 74 w 80"/>
                <a:gd name="T99" fmla="*/ 16 h 49"/>
                <a:gd name="T100" fmla="*/ 77 w 80"/>
                <a:gd name="T101" fmla="*/ 17 h 49"/>
                <a:gd name="T102" fmla="*/ 79 w 80"/>
                <a:gd name="T103" fmla="*/ 19 h 49"/>
                <a:gd name="T104" fmla="*/ 71 w 80"/>
                <a:gd name="T105" fmla="*/ 42 h 49"/>
                <a:gd name="T106" fmla="*/ 71 w 80"/>
                <a:gd name="T107" fmla="*/ 39 h 49"/>
                <a:gd name="T108" fmla="*/ 70 w 80"/>
                <a:gd name="T109" fmla="*/ 38 h 49"/>
                <a:gd name="T110" fmla="*/ 66 w 80"/>
                <a:gd name="T111" fmla="*/ 38 h 49"/>
                <a:gd name="T112" fmla="*/ 64 w 80"/>
                <a:gd name="T113" fmla="*/ 40 h 49"/>
                <a:gd name="T114" fmla="*/ 62 w 80"/>
                <a:gd name="T115" fmla="*/ 41 h 49"/>
                <a:gd name="T116" fmla="*/ 63 w 80"/>
                <a:gd name="T117" fmla="*/ 42 h 49"/>
                <a:gd name="T118" fmla="*/ 67 w 80"/>
                <a:gd name="T119" fmla="*/ 45 h 49"/>
                <a:gd name="T120" fmla="*/ 72 w 80"/>
                <a:gd name="T121" fmla="*/ 46 h 49"/>
                <a:gd name="T122" fmla="*/ 73 w 80"/>
                <a:gd name="T123" fmla="*/ 44 h 49"/>
                <a:gd name="T124" fmla="*/ 71 w 80"/>
                <a:gd name="T125"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49">
                  <a:moveTo>
                    <a:pt x="79" y="19"/>
                  </a:moveTo>
                  <a:cubicBezTo>
                    <a:pt x="79" y="21"/>
                    <a:pt x="79" y="22"/>
                    <a:pt x="78" y="23"/>
                  </a:cubicBezTo>
                  <a:cubicBezTo>
                    <a:pt x="76" y="24"/>
                    <a:pt x="74" y="24"/>
                    <a:pt x="74" y="25"/>
                  </a:cubicBezTo>
                  <a:cubicBezTo>
                    <a:pt x="73" y="26"/>
                    <a:pt x="71" y="28"/>
                    <a:pt x="71" y="28"/>
                  </a:cubicBezTo>
                  <a:cubicBezTo>
                    <a:pt x="70" y="28"/>
                    <a:pt x="67" y="27"/>
                    <a:pt x="67" y="27"/>
                  </a:cubicBezTo>
                  <a:cubicBezTo>
                    <a:pt x="66" y="27"/>
                    <a:pt x="65" y="28"/>
                    <a:pt x="64" y="30"/>
                  </a:cubicBezTo>
                  <a:cubicBezTo>
                    <a:pt x="63" y="31"/>
                    <a:pt x="63" y="32"/>
                    <a:pt x="61" y="32"/>
                  </a:cubicBezTo>
                  <a:cubicBezTo>
                    <a:pt x="58" y="32"/>
                    <a:pt x="58" y="31"/>
                    <a:pt x="56" y="32"/>
                  </a:cubicBezTo>
                  <a:cubicBezTo>
                    <a:pt x="55" y="34"/>
                    <a:pt x="54" y="35"/>
                    <a:pt x="52" y="35"/>
                  </a:cubicBezTo>
                  <a:cubicBezTo>
                    <a:pt x="51" y="36"/>
                    <a:pt x="50" y="36"/>
                    <a:pt x="50" y="37"/>
                  </a:cubicBezTo>
                  <a:cubicBezTo>
                    <a:pt x="51" y="38"/>
                    <a:pt x="52" y="37"/>
                    <a:pt x="52" y="38"/>
                  </a:cubicBezTo>
                  <a:cubicBezTo>
                    <a:pt x="51" y="40"/>
                    <a:pt x="50" y="42"/>
                    <a:pt x="49" y="42"/>
                  </a:cubicBezTo>
                  <a:cubicBezTo>
                    <a:pt x="49" y="43"/>
                    <a:pt x="48" y="43"/>
                    <a:pt x="49" y="44"/>
                  </a:cubicBezTo>
                  <a:cubicBezTo>
                    <a:pt x="49" y="45"/>
                    <a:pt x="51" y="46"/>
                    <a:pt x="49" y="47"/>
                  </a:cubicBezTo>
                  <a:cubicBezTo>
                    <a:pt x="48" y="48"/>
                    <a:pt x="47" y="49"/>
                    <a:pt x="46" y="49"/>
                  </a:cubicBezTo>
                  <a:cubicBezTo>
                    <a:pt x="44" y="49"/>
                    <a:pt x="41" y="49"/>
                    <a:pt x="41" y="48"/>
                  </a:cubicBezTo>
                  <a:cubicBezTo>
                    <a:pt x="40" y="48"/>
                    <a:pt x="41" y="47"/>
                    <a:pt x="42" y="46"/>
                  </a:cubicBezTo>
                  <a:cubicBezTo>
                    <a:pt x="43" y="45"/>
                    <a:pt x="44" y="45"/>
                    <a:pt x="44" y="44"/>
                  </a:cubicBezTo>
                  <a:cubicBezTo>
                    <a:pt x="45" y="43"/>
                    <a:pt x="45" y="42"/>
                    <a:pt x="45" y="41"/>
                  </a:cubicBezTo>
                  <a:cubicBezTo>
                    <a:pt x="45" y="40"/>
                    <a:pt x="44" y="38"/>
                    <a:pt x="44" y="37"/>
                  </a:cubicBezTo>
                  <a:cubicBezTo>
                    <a:pt x="43" y="36"/>
                    <a:pt x="39" y="33"/>
                    <a:pt x="38" y="32"/>
                  </a:cubicBezTo>
                  <a:cubicBezTo>
                    <a:pt x="38" y="32"/>
                    <a:pt x="35" y="29"/>
                    <a:pt x="34" y="28"/>
                  </a:cubicBezTo>
                  <a:cubicBezTo>
                    <a:pt x="33" y="27"/>
                    <a:pt x="30" y="25"/>
                    <a:pt x="29" y="25"/>
                  </a:cubicBezTo>
                  <a:cubicBezTo>
                    <a:pt x="28" y="24"/>
                    <a:pt x="25" y="22"/>
                    <a:pt x="24" y="22"/>
                  </a:cubicBezTo>
                  <a:cubicBezTo>
                    <a:pt x="23" y="22"/>
                    <a:pt x="21" y="21"/>
                    <a:pt x="20" y="21"/>
                  </a:cubicBezTo>
                  <a:cubicBezTo>
                    <a:pt x="19" y="20"/>
                    <a:pt x="18" y="20"/>
                    <a:pt x="16" y="21"/>
                  </a:cubicBezTo>
                  <a:cubicBezTo>
                    <a:pt x="14" y="21"/>
                    <a:pt x="11" y="21"/>
                    <a:pt x="10" y="21"/>
                  </a:cubicBezTo>
                  <a:cubicBezTo>
                    <a:pt x="9" y="20"/>
                    <a:pt x="8" y="20"/>
                    <a:pt x="7" y="19"/>
                  </a:cubicBezTo>
                  <a:cubicBezTo>
                    <a:pt x="6" y="17"/>
                    <a:pt x="5" y="15"/>
                    <a:pt x="4" y="14"/>
                  </a:cubicBezTo>
                  <a:cubicBezTo>
                    <a:pt x="3" y="14"/>
                    <a:pt x="3" y="13"/>
                    <a:pt x="3" y="13"/>
                  </a:cubicBezTo>
                  <a:cubicBezTo>
                    <a:pt x="2" y="11"/>
                    <a:pt x="1" y="9"/>
                    <a:pt x="1" y="8"/>
                  </a:cubicBezTo>
                  <a:cubicBezTo>
                    <a:pt x="1" y="7"/>
                    <a:pt x="0" y="4"/>
                    <a:pt x="0" y="3"/>
                  </a:cubicBezTo>
                  <a:cubicBezTo>
                    <a:pt x="1" y="1"/>
                    <a:pt x="2" y="1"/>
                    <a:pt x="3" y="1"/>
                  </a:cubicBezTo>
                  <a:cubicBezTo>
                    <a:pt x="3" y="1"/>
                    <a:pt x="5" y="3"/>
                    <a:pt x="5" y="4"/>
                  </a:cubicBezTo>
                  <a:cubicBezTo>
                    <a:pt x="5" y="4"/>
                    <a:pt x="6" y="4"/>
                    <a:pt x="6" y="4"/>
                  </a:cubicBezTo>
                  <a:cubicBezTo>
                    <a:pt x="6" y="4"/>
                    <a:pt x="6" y="4"/>
                    <a:pt x="7" y="4"/>
                  </a:cubicBezTo>
                  <a:cubicBezTo>
                    <a:pt x="9" y="3"/>
                    <a:pt x="10" y="3"/>
                    <a:pt x="12" y="4"/>
                  </a:cubicBezTo>
                  <a:cubicBezTo>
                    <a:pt x="13" y="4"/>
                    <a:pt x="17" y="5"/>
                    <a:pt x="18" y="6"/>
                  </a:cubicBezTo>
                  <a:cubicBezTo>
                    <a:pt x="19" y="6"/>
                    <a:pt x="24" y="7"/>
                    <a:pt x="25" y="7"/>
                  </a:cubicBezTo>
                  <a:cubicBezTo>
                    <a:pt x="26" y="8"/>
                    <a:pt x="27" y="7"/>
                    <a:pt x="30" y="7"/>
                  </a:cubicBezTo>
                  <a:cubicBezTo>
                    <a:pt x="32" y="7"/>
                    <a:pt x="34" y="8"/>
                    <a:pt x="36" y="7"/>
                  </a:cubicBezTo>
                  <a:cubicBezTo>
                    <a:pt x="37" y="6"/>
                    <a:pt x="38" y="4"/>
                    <a:pt x="40" y="3"/>
                  </a:cubicBezTo>
                  <a:cubicBezTo>
                    <a:pt x="41" y="2"/>
                    <a:pt x="42" y="1"/>
                    <a:pt x="44" y="0"/>
                  </a:cubicBezTo>
                  <a:cubicBezTo>
                    <a:pt x="45" y="0"/>
                    <a:pt x="47" y="0"/>
                    <a:pt x="48" y="0"/>
                  </a:cubicBezTo>
                  <a:cubicBezTo>
                    <a:pt x="50" y="1"/>
                    <a:pt x="52" y="2"/>
                    <a:pt x="53" y="2"/>
                  </a:cubicBezTo>
                  <a:cubicBezTo>
                    <a:pt x="55" y="2"/>
                    <a:pt x="57" y="3"/>
                    <a:pt x="58" y="4"/>
                  </a:cubicBezTo>
                  <a:cubicBezTo>
                    <a:pt x="60" y="5"/>
                    <a:pt x="61" y="5"/>
                    <a:pt x="62" y="5"/>
                  </a:cubicBezTo>
                  <a:cubicBezTo>
                    <a:pt x="63" y="6"/>
                    <a:pt x="64" y="7"/>
                    <a:pt x="66" y="8"/>
                  </a:cubicBezTo>
                  <a:cubicBezTo>
                    <a:pt x="67" y="9"/>
                    <a:pt x="68" y="10"/>
                    <a:pt x="69" y="11"/>
                  </a:cubicBezTo>
                  <a:cubicBezTo>
                    <a:pt x="71" y="13"/>
                    <a:pt x="73" y="15"/>
                    <a:pt x="74" y="16"/>
                  </a:cubicBezTo>
                  <a:cubicBezTo>
                    <a:pt x="75" y="16"/>
                    <a:pt x="75" y="16"/>
                    <a:pt x="77" y="17"/>
                  </a:cubicBezTo>
                  <a:cubicBezTo>
                    <a:pt x="78" y="18"/>
                    <a:pt x="80" y="18"/>
                    <a:pt x="79" y="19"/>
                  </a:cubicBezTo>
                  <a:close/>
                  <a:moveTo>
                    <a:pt x="71" y="42"/>
                  </a:moveTo>
                  <a:cubicBezTo>
                    <a:pt x="71" y="41"/>
                    <a:pt x="71" y="40"/>
                    <a:pt x="71" y="39"/>
                  </a:cubicBezTo>
                  <a:cubicBezTo>
                    <a:pt x="71" y="38"/>
                    <a:pt x="70" y="38"/>
                    <a:pt x="70" y="38"/>
                  </a:cubicBezTo>
                  <a:cubicBezTo>
                    <a:pt x="69" y="38"/>
                    <a:pt x="67" y="38"/>
                    <a:pt x="66" y="38"/>
                  </a:cubicBezTo>
                  <a:cubicBezTo>
                    <a:pt x="65" y="38"/>
                    <a:pt x="65" y="39"/>
                    <a:pt x="64" y="40"/>
                  </a:cubicBezTo>
                  <a:cubicBezTo>
                    <a:pt x="64" y="40"/>
                    <a:pt x="63" y="40"/>
                    <a:pt x="62" y="41"/>
                  </a:cubicBezTo>
                  <a:cubicBezTo>
                    <a:pt x="62" y="41"/>
                    <a:pt x="62" y="41"/>
                    <a:pt x="63" y="42"/>
                  </a:cubicBezTo>
                  <a:cubicBezTo>
                    <a:pt x="64" y="43"/>
                    <a:pt x="66" y="44"/>
                    <a:pt x="67" y="45"/>
                  </a:cubicBezTo>
                  <a:cubicBezTo>
                    <a:pt x="68" y="46"/>
                    <a:pt x="71" y="47"/>
                    <a:pt x="72" y="46"/>
                  </a:cubicBezTo>
                  <a:cubicBezTo>
                    <a:pt x="73" y="45"/>
                    <a:pt x="73" y="45"/>
                    <a:pt x="73" y="44"/>
                  </a:cubicBezTo>
                  <a:cubicBezTo>
                    <a:pt x="73" y="43"/>
                    <a:pt x="72" y="43"/>
                    <a:pt x="71" y="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9" name="Freeform 82">
              <a:extLst>
                <a:ext uri="{FF2B5EF4-FFF2-40B4-BE49-F238E27FC236}">
                  <a16:creationId xmlns:a16="http://schemas.microsoft.com/office/drawing/2014/main" id="{CA3D1EC1-A072-B2C1-1F0F-E75D42941CDF}"/>
                </a:ext>
              </a:extLst>
            </p:cNvPr>
            <p:cNvSpPr>
              <a:spLocks noEditPoints="1"/>
            </p:cNvSpPr>
            <p:nvPr/>
          </p:nvSpPr>
          <p:spPr bwMode="auto">
            <a:xfrm>
              <a:off x="642938" y="2513013"/>
              <a:ext cx="712788" cy="846137"/>
            </a:xfrm>
            <a:custGeom>
              <a:avLst/>
              <a:gdLst>
                <a:gd name="T0" fmla="*/ 121 w 187"/>
                <a:gd name="T1" fmla="*/ 210 h 222"/>
                <a:gd name="T2" fmla="*/ 131 w 187"/>
                <a:gd name="T3" fmla="*/ 215 h 222"/>
                <a:gd name="T4" fmla="*/ 124 w 187"/>
                <a:gd name="T5" fmla="*/ 213 h 222"/>
                <a:gd name="T6" fmla="*/ 76 w 187"/>
                <a:gd name="T7" fmla="*/ 195 h 222"/>
                <a:gd name="T8" fmla="*/ 70 w 187"/>
                <a:gd name="T9" fmla="*/ 192 h 222"/>
                <a:gd name="T10" fmla="*/ 61 w 187"/>
                <a:gd name="T11" fmla="*/ 183 h 222"/>
                <a:gd name="T12" fmla="*/ 56 w 187"/>
                <a:gd name="T13" fmla="*/ 180 h 222"/>
                <a:gd name="T14" fmla="*/ 43 w 187"/>
                <a:gd name="T15" fmla="*/ 173 h 222"/>
                <a:gd name="T16" fmla="*/ 34 w 187"/>
                <a:gd name="T17" fmla="*/ 169 h 222"/>
                <a:gd name="T18" fmla="*/ 33 w 187"/>
                <a:gd name="T19" fmla="*/ 179 h 222"/>
                <a:gd name="T20" fmla="*/ 44 w 187"/>
                <a:gd name="T21" fmla="*/ 188 h 222"/>
                <a:gd name="T22" fmla="*/ 54 w 187"/>
                <a:gd name="T23" fmla="*/ 190 h 222"/>
                <a:gd name="T24" fmla="*/ 69 w 187"/>
                <a:gd name="T25" fmla="*/ 202 h 222"/>
                <a:gd name="T26" fmla="*/ 88 w 187"/>
                <a:gd name="T27" fmla="*/ 219 h 222"/>
                <a:gd name="T28" fmla="*/ 90 w 187"/>
                <a:gd name="T29" fmla="*/ 216 h 222"/>
                <a:gd name="T30" fmla="*/ 88 w 187"/>
                <a:gd name="T31" fmla="*/ 213 h 222"/>
                <a:gd name="T32" fmla="*/ 119 w 187"/>
                <a:gd name="T33" fmla="*/ 219 h 222"/>
                <a:gd name="T34" fmla="*/ 116 w 187"/>
                <a:gd name="T35" fmla="*/ 216 h 222"/>
                <a:gd name="T36" fmla="*/ 178 w 187"/>
                <a:gd name="T37" fmla="*/ 213 h 222"/>
                <a:gd name="T38" fmla="*/ 163 w 187"/>
                <a:gd name="T39" fmla="*/ 209 h 222"/>
                <a:gd name="T40" fmla="*/ 152 w 187"/>
                <a:gd name="T41" fmla="*/ 201 h 222"/>
                <a:gd name="T42" fmla="*/ 148 w 187"/>
                <a:gd name="T43" fmla="*/ 175 h 222"/>
                <a:gd name="T44" fmla="*/ 138 w 187"/>
                <a:gd name="T45" fmla="*/ 166 h 222"/>
                <a:gd name="T46" fmla="*/ 126 w 187"/>
                <a:gd name="T47" fmla="*/ 151 h 222"/>
                <a:gd name="T48" fmla="*/ 112 w 187"/>
                <a:gd name="T49" fmla="*/ 134 h 222"/>
                <a:gd name="T50" fmla="*/ 100 w 187"/>
                <a:gd name="T51" fmla="*/ 120 h 222"/>
                <a:gd name="T52" fmla="*/ 76 w 187"/>
                <a:gd name="T53" fmla="*/ 115 h 222"/>
                <a:gd name="T54" fmla="*/ 53 w 187"/>
                <a:gd name="T55" fmla="*/ 91 h 222"/>
                <a:gd name="T56" fmla="*/ 13 w 187"/>
                <a:gd name="T57" fmla="*/ 51 h 222"/>
                <a:gd name="T58" fmla="*/ 5 w 187"/>
                <a:gd name="T59" fmla="*/ 28 h 222"/>
                <a:gd name="T60" fmla="*/ 0 w 187"/>
                <a:gd name="T61" fmla="*/ 8 h 222"/>
                <a:gd name="T62" fmla="*/ 15 w 187"/>
                <a:gd name="T63" fmla="*/ 0 h 222"/>
                <a:gd name="T64" fmla="*/ 40 w 187"/>
                <a:gd name="T65" fmla="*/ 8 h 222"/>
                <a:gd name="T66" fmla="*/ 60 w 187"/>
                <a:gd name="T67" fmla="*/ 25 h 222"/>
                <a:gd name="T68" fmla="*/ 80 w 187"/>
                <a:gd name="T69" fmla="*/ 27 h 222"/>
                <a:gd name="T70" fmla="*/ 102 w 187"/>
                <a:gd name="T71" fmla="*/ 25 h 222"/>
                <a:gd name="T72" fmla="*/ 118 w 187"/>
                <a:gd name="T73" fmla="*/ 30 h 222"/>
                <a:gd name="T74" fmla="*/ 143 w 187"/>
                <a:gd name="T75" fmla="*/ 27 h 222"/>
                <a:gd name="T76" fmla="*/ 149 w 187"/>
                <a:gd name="T77" fmla="*/ 35 h 222"/>
                <a:gd name="T78" fmla="*/ 166 w 187"/>
                <a:gd name="T79" fmla="*/ 52 h 222"/>
                <a:gd name="T80" fmla="*/ 168 w 187"/>
                <a:gd name="T81" fmla="*/ 67 h 222"/>
                <a:gd name="T82" fmla="*/ 176 w 187"/>
                <a:gd name="T83" fmla="*/ 70 h 222"/>
                <a:gd name="T84" fmla="*/ 187 w 187"/>
                <a:gd name="T85" fmla="*/ 81 h 222"/>
                <a:gd name="T86" fmla="*/ 175 w 187"/>
                <a:gd name="T87" fmla="*/ 88 h 222"/>
                <a:gd name="T88" fmla="*/ 164 w 187"/>
                <a:gd name="T89" fmla="*/ 112 h 222"/>
                <a:gd name="T90" fmla="*/ 164 w 187"/>
                <a:gd name="T91" fmla="*/ 129 h 222"/>
                <a:gd name="T92" fmla="*/ 170 w 187"/>
                <a:gd name="T93" fmla="*/ 140 h 222"/>
                <a:gd name="T94" fmla="*/ 167 w 187"/>
                <a:gd name="T95" fmla="*/ 153 h 222"/>
                <a:gd name="T96" fmla="*/ 172 w 187"/>
                <a:gd name="T97" fmla="*/ 171 h 222"/>
                <a:gd name="T98" fmla="*/ 176 w 187"/>
                <a:gd name="T99" fmla="*/ 18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7" h="222">
                  <a:moveTo>
                    <a:pt x="117" y="210"/>
                  </a:moveTo>
                  <a:cubicBezTo>
                    <a:pt x="117" y="210"/>
                    <a:pt x="117" y="210"/>
                    <a:pt x="117" y="210"/>
                  </a:cubicBezTo>
                  <a:cubicBezTo>
                    <a:pt x="118" y="209"/>
                    <a:pt x="118" y="209"/>
                    <a:pt x="118" y="209"/>
                  </a:cubicBezTo>
                  <a:cubicBezTo>
                    <a:pt x="119" y="209"/>
                    <a:pt x="120" y="209"/>
                    <a:pt x="121" y="210"/>
                  </a:cubicBezTo>
                  <a:cubicBezTo>
                    <a:pt x="122" y="210"/>
                    <a:pt x="122" y="210"/>
                    <a:pt x="123" y="210"/>
                  </a:cubicBezTo>
                  <a:cubicBezTo>
                    <a:pt x="124" y="209"/>
                    <a:pt x="124" y="209"/>
                    <a:pt x="125" y="209"/>
                  </a:cubicBezTo>
                  <a:cubicBezTo>
                    <a:pt x="127" y="208"/>
                    <a:pt x="127" y="209"/>
                    <a:pt x="128" y="211"/>
                  </a:cubicBezTo>
                  <a:cubicBezTo>
                    <a:pt x="128" y="212"/>
                    <a:pt x="130" y="213"/>
                    <a:pt x="131" y="215"/>
                  </a:cubicBezTo>
                  <a:cubicBezTo>
                    <a:pt x="131" y="216"/>
                    <a:pt x="131" y="218"/>
                    <a:pt x="131" y="219"/>
                  </a:cubicBezTo>
                  <a:cubicBezTo>
                    <a:pt x="130" y="221"/>
                    <a:pt x="129" y="220"/>
                    <a:pt x="128" y="219"/>
                  </a:cubicBezTo>
                  <a:cubicBezTo>
                    <a:pt x="128" y="218"/>
                    <a:pt x="127" y="217"/>
                    <a:pt x="126" y="216"/>
                  </a:cubicBezTo>
                  <a:cubicBezTo>
                    <a:pt x="125" y="215"/>
                    <a:pt x="125" y="214"/>
                    <a:pt x="124" y="213"/>
                  </a:cubicBezTo>
                  <a:cubicBezTo>
                    <a:pt x="123" y="212"/>
                    <a:pt x="122" y="212"/>
                    <a:pt x="121" y="211"/>
                  </a:cubicBezTo>
                  <a:cubicBezTo>
                    <a:pt x="120" y="211"/>
                    <a:pt x="120" y="211"/>
                    <a:pt x="120" y="211"/>
                  </a:cubicBezTo>
                  <a:cubicBezTo>
                    <a:pt x="119" y="211"/>
                    <a:pt x="118" y="211"/>
                    <a:pt x="117" y="210"/>
                  </a:cubicBezTo>
                  <a:close/>
                  <a:moveTo>
                    <a:pt x="76" y="195"/>
                  </a:moveTo>
                  <a:cubicBezTo>
                    <a:pt x="76" y="194"/>
                    <a:pt x="76" y="194"/>
                    <a:pt x="75" y="193"/>
                  </a:cubicBezTo>
                  <a:cubicBezTo>
                    <a:pt x="74" y="193"/>
                    <a:pt x="73" y="194"/>
                    <a:pt x="73" y="194"/>
                  </a:cubicBezTo>
                  <a:cubicBezTo>
                    <a:pt x="73" y="195"/>
                    <a:pt x="72" y="195"/>
                    <a:pt x="72" y="195"/>
                  </a:cubicBezTo>
                  <a:cubicBezTo>
                    <a:pt x="71" y="194"/>
                    <a:pt x="71" y="193"/>
                    <a:pt x="70" y="192"/>
                  </a:cubicBezTo>
                  <a:cubicBezTo>
                    <a:pt x="70" y="191"/>
                    <a:pt x="70" y="189"/>
                    <a:pt x="69" y="189"/>
                  </a:cubicBezTo>
                  <a:cubicBezTo>
                    <a:pt x="68" y="189"/>
                    <a:pt x="67" y="189"/>
                    <a:pt x="66" y="188"/>
                  </a:cubicBezTo>
                  <a:cubicBezTo>
                    <a:pt x="64" y="188"/>
                    <a:pt x="63" y="186"/>
                    <a:pt x="62" y="184"/>
                  </a:cubicBezTo>
                  <a:cubicBezTo>
                    <a:pt x="62" y="184"/>
                    <a:pt x="61" y="184"/>
                    <a:pt x="61" y="183"/>
                  </a:cubicBezTo>
                  <a:cubicBezTo>
                    <a:pt x="61" y="187"/>
                    <a:pt x="58" y="184"/>
                    <a:pt x="57" y="183"/>
                  </a:cubicBezTo>
                  <a:cubicBezTo>
                    <a:pt x="56" y="183"/>
                    <a:pt x="56" y="184"/>
                    <a:pt x="55" y="183"/>
                  </a:cubicBezTo>
                  <a:cubicBezTo>
                    <a:pt x="54" y="183"/>
                    <a:pt x="54" y="182"/>
                    <a:pt x="54" y="181"/>
                  </a:cubicBezTo>
                  <a:cubicBezTo>
                    <a:pt x="54" y="181"/>
                    <a:pt x="56" y="181"/>
                    <a:pt x="56" y="180"/>
                  </a:cubicBezTo>
                  <a:cubicBezTo>
                    <a:pt x="56" y="179"/>
                    <a:pt x="55" y="178"/>
                    <a:pt x="54" y="178"/>
                  </a:cubicBezTo>
                  <a:cubicBezTo>
                    <a:pt x="52" y="177"/>
                    <a:pt x="51" y="177"/>
                    <a:pt x="49" y="176"/>
                  </a:cubicBezTo>
                  <a:cubicBezTo>
                    <a:pt x="48" y="175"/>
                    <a:pt x="48" y="174"/>
                    <a:pt x="46" y="173"/>
                  </a:cubicBezTo>
                  <a:cubicBezTo>
                    <a:pt x="45" y="173"/>
                    <a:pt x="44" y="173"/>
                    <a:pt x="43" y="173"/>
                  </a:cubicBezTo>
                  <a:cubicBezTo>
                    <a:pt x="43" y="173"/>
                    <a:pt x="42" y="172"/>
                    <a:pt x="41" y="172"/>
                  </a:cubicBezTo>
                  <a:cubicBezTo>
                    <a:pt x="42" y="171"/>
                    <a:pt x="43" y="169"/>
                    <a:pt x="42" y="168"/>
                  </a:cubicBezTo>
                  <a:cubicBezTo>
                    <a:pt x="41" y="167"/>
                    <a:pt x="39" y="168"/>
                    <a:pt x="38" y="168"/>
                  </a:cubicBezTo>
                  <a:cubicBezTo>
                    <a:pt x="37" y="167"/>
                    <a:pt x="35" y="167"/>
                    <a:pt x="34" y="169"/>
                  </a:cubicBezTo>
                  <a:cubicBezTo>
                    <a:pt x="34" y="171"/>
                    <a:pt x="36" y="171"/>
                    <a:pt x="35" y="173"/>
                  </a:cubicBezTo>
                  <a:cubicBezTo>
                    <a:pt x="34" y="173"/>
                    <a:pt x="32" y="172"/>
                    <a:pt x="31" y="173"/>
                  </a:cubicBezTo>
                  <a:cubicBezTo>
                    <a:pt x="30" y="174"/>
                    <a:pt x="30" y="176"/>
                    <a:pt x="30" y="176"/>
                  </a:cubicBezTo>
                  <a:cubicBezTo>
                    <a:pt x="30" y="177"/>
                    <a:pt x="32" y="178"/>
                    <a:pt x="33" y="179"/>
                  </a:cubicBezTo>
                  <a:cubicBezTo>
                    <a:pt x="33" y="179"/>
                    <a:pt x="34" y="180"/>
                    <a:pt x="34" y="181"/>
                  </a:cubicBezTo>
                  <a:cubicBezTo>
                    <a:pt x="34" y="182"/>
                    <a:pt x="35" y="183"/>
                    <a:pt x="36" y="184"/>
                  </a:cubicBezTo>
                  <a:cubicBezTo>
                    <a:pt x="37" y="184"/>
                    <a:pt x="38" y="184"/>
                    <a:pt x="39" y="184"/>
                  </a:cubicBezTo>
                  <a:cubicBezTo>
                    <a:pt x="41" y="185"/>
                    <a:pt x="43" y="187"/>
                    <a:pt x="44" y="188"/>
                  </a:cubicBezTo>
                  <a:cubicBezTo>
                    <a:pt x="45" y="188"/>
                    <a:pt x="46" y="188"/>
                    <a:pt x="47" y="188"/>
                  </a:cubicBezTo>
                  <a:cubicBezTo>
                    <a:pt x="48" y="188"/>
                    <a:pt x="48" y="188"/>
                    <a:pt x="49" y="188"/>
                  </a:cubicBezTo>
                  <a:cubicBezTo>
                    <a:pt x="49" y="188"/>
                    <a:pt x="50" y="187"/>
                    <a:pt x="50" y="187"/>
                  </a:cubicBezTo>
                  <a:cubicBezTo>
                    <a:pt x="51" y="187"/>
                    <a:pt x="53" y="190"/>
                    <a:pt x="54" y="190"/>
                  </a:cubicBezTo>
                  <a:cubicBezTo>
                    <a:pt x="56" y="191"/>
                    <a:pt x="58" y="192"/>
                    <a:pt x="59" y="193"/>
                  </a:cubicBezTo>
                  <a:cubicBezTo>
                    <a:pt x="61" y="194"/>
                    <a:pt x="61" y="195"/>
                    <a:pt x="63" y="196"/>
                  </a:cubicBezTo>
                  <a:cubicBezTo>
                    <a:pt x="65" y="196"/>
                    <a:pt x="66" y="197"/>
                    <a:pt x="67" y="198"/>
                  </a:cubicBezTo>
                  <a:cubicBezTo>
                    <a:pt x="68" y="199"/>
                    <a:pt x="68" y="201"/>
                    <a:pt x="69" y="202"/>
                  </a:cubicBezTo>
                  <a:cubicBezTo>
                    <a:pt x="70" y="203"/>
                    <a:pt x="71" y="203"/>
                    <a:pt x="73" y="203"/>
                  </a:cubicBezTo>
                  <a:cubicBezTo>
                    <a:pt x="76" y="203"/>
                    <a:pt x="79" y="202"/>
                    <a:pt x="77" y="199"/>
                  </a:cubicBezTo>
                  <a:cubicBezTo>
                    <a:pt x="77" y="197"/>
                    <a:pt x="77" y="196"/>
                    <a:pt x="76" y="195"/>
                  </a:cubicBezTo>
                  <a:close/>
                  <a:moveTo>
                    <a:pt x="88" y="219"/>
                  </a:moveTo>
                  <a:cubicBezTo>
                    <a:pt x="86" y="219"/>
                    <a:pt x="85" y="218"/>
                    <a:pt x="85" y="216"/>
                  </a:cubicBezTo>
                  <a:cubicBezTo>
                    <a:pt x="86" y="216"/>
                    <a:pt x="86" y="216"/>
                    <a:pt x="87" y="216"/>
                  </a:cubicBezTo>
                  <a:cubicBezTo>
                    <a:pt x="87" y="216"/>
                    <a:pt x="88" y="216"/>
                    <a:pt x="88" y="216"/>
                  </a:cubicBezTo>
                  <a:cubicBezTo>
                    <a:pt x="88" y="216"/>
                    <a:pt x="90" y="216"/>
                    <a:pt x="90" y="216"/>
                  </a:cubicBezTo>
                  <a:cubicBezTo>
                    <a:pt x="92" y="218"/>
                    <a:pt x="89" y="219"/>
                    <a:pt x="88" y="219"/>
                  </a:cubicBezTo>
                  <a:close/>
                  <a:moveTo>
                    <a:pt x="88" y="212"/>
                  </a:moveTo>
                  <a:cubicBezTo>
                    <a:pt x="88" y="212"/>
                    <a:pt x="88" y="212"/>
                    <a:pt x="88" y="212"/>
                  </a:cubicBezTo>
                  <a:cubicBezTo>
                    <a:pt x="88" y="212"/>
                    <a:pt x="88" y="213"/>
                    <a:pt x="88" y="213"/>
                  </a:cubicBezTo>
                  <a:cubicBezTo>
                    <a:pt x="88" y="214"/>
                    <a:pt x="88" y="214"/>
                    <a:pt x="87" y="214"/>
                  </a:cubicBezTo>
                  <a:cubicBezTo>
                    <a:pt x="86" y="214"/>
                    <a:pt x="85" y="213"/>
                    <a:pt x="86" y="212"/>
                  </a:cubicBezTo>
                  <a:cubicBezTo>
                    <a:pt x="86" y="212"/>
                    <a:pt x="87" y="212"/>
                    <a:pt x="88" y="212"/>
                  </a:cubicBezTo>
                  <a:close/>
                  <a:moveTo>
                    <a:pt x="119" y="219"/>
                  </a:moveTo>
                  <a:cubicBezTo>
                    <a:pt x="119" y="220"/>
                    <a:pt x="118" y="220"/>
                    <a:pt x="117" y="220"/>
                  </a:cubicBezTo>
                  <a:cubicBezTo>
                    <a:pt x="116" y="221"/>
                    <a:pt x="116" y="222"/>
                    <a:pt x="116" y="222"/>
                  </a:cubicBezTo>
                  <a:cubicBezTo>
                    <a:pt x="115" y="222"/>
                    <a:pt x="115" y="220"/>
                    <a:pt x="114" y="219"/>
                  </a:cubicBezTo>
                  <a:cubicBezTo>
                    <a:pt x="114" y="219"/>
                    <a:pt x="115" y="217"/>
                    <a:pt x="116" y="216"/>
                  </a:cubicBezTo>
                  <a:cubicBezTo>
                    <a:pt x="116" y="217"/>
                    <a:pt x="119" y="218"/>
                    <a:pt x="119" y="219"/>
                  </a:cubicBezTo>
                  <a:close/>
                  <a:moveTo>
                    <a:pt x="180" y="210"/>
                  </a:moveTo>
                  <a:cubicBezTo>
                    <a:pt x="180" y="212"/>
                    <a:pt x="179" y="212"/>
                    <a:pt x="179" y="213"/>
                  </a:cubicBezTo>
                  <a:cubicBezTo>
                    <a:pt x="178" y="213"/>
                    <a:pt x="178" y="213"/>
                    <a:pt x="178" y="213"/>
                  </a:cubicBezTo>
                  <a:cubicBezTo>
                    <a:pt x="175" y="211"/>
                    <a:pt x="175" y="210"/>
                    <a:pt x="172" y="209"/>
                  </a:cubicBezTo>
                  <a:cubicBezTo>
                    <a:pt x="170" y="208"/>
                    <a:pt x="169" y="206"/>
                    <a:pt x="166" y="206"/>
                  </a:cubicBezTo>
                  <a:cubicBezTo>
                    <a:pt x="164" y="206"/>
                    <a:pt x="165" y="207"/>
                    <a:pt x="164" y="207"/>
                  </a:cubicBezTo>
                  <a:cubicBezTo>
                    <a:pt x="163" y="208"/>
                    <a:pt x="164" y="209"/>
                    <a:pt x="163" y="209"/>
                  </a:cubicBezTo>
                  <a:cubicBezTo>
                    <a:pt x="162" y="208"/>
                    <a:pt x="160" y="206"/>
                    <a:pt x="160" y="207"/>
                  </a:cubicBezTo>
                  <a:cubicBezTo>
                    <a:pt x="159" y="208"/>
                    <a:pt x="160" y="209"/>
                    <a:pt x="158" y="208"/>
                  </a:cubicBezTo>
                  <a:cubicBezTo>
                    <a:pt x="157" y="208"/>
                    <a:pt x="158" y="210"/>
                    <a:pt x="156" y="207"/>
                  </a:cubicBezTo>
                  <a:cubicBezTo>
                    <a:pt x="154" y="204"/>
                    <a:pt x="153" y="203"/>
                    <a:pt x="152" y="201"/>
                  </a:cubicBezTo>
                  <a:cubicBezTo>
                    <a:pt x="151" y="200"/>
                    <a:pt x="149" y="199"/>
                    <a:pt x="149" y="198"/>
                  </a:cubicBezTo>
                  <a:cubicBezTo>
                    <a:pt x="149" y="198"/>
                    <a:pt x="149" y="195"/>
                    <a:pt x="149" y="193"/>
                  </a:cubicBezTo>
                  <a:cubicBezTo>
                    <a:pt x="149" y="191"/>
                    <a:pt x="149" y="187"/>
                    <a:pt x="149" y="185"/>
                  </a:cubicBezTo>
                  <a:cubicBezTo>
                    <a:pt x="148" y="182"/>
                    <a:pt x="148" y="177"/>
                    <a:pt x="148" y="175"/>
                  </a:cubicBezTo>
                  <a:cubicBezTo>
                    <a:pt x="147" y="174"/>
                    <a:pt x="146" y="172"/>
                    <a:pt x="146" y="170"/>
                  </a:cubicBezTo>
                  <a:cubicBezTo>
                    <a:pt x="145" y="169"/>
                    <a:pt x="145" y="167"/>
                    <a:pt x="144" y="168"/>
                  </a:cubicBezTo>
                  <a:cubicBezTo>
                    <a:pt x="143" y="169"/>
                    <a:pt x="141" y="170"/>
                    <a:pt x="140" y="168"/>
                  </a:cubicBezTo>
                  <a:cubicBezTo>
                    <a:pt x="139" y="167"/>
                    <a:pt x="142" y="167"/>
                    <a:pt x="138" y="166"/>
                  </a:cubicBezTo>
                  <a:cubicBezTo>
                    <a:pt x="135" y="166"/>
                    <a:pt x="136" y="167"/>
                    <a:pt x="134" y="165"/>
                  </a:cubicBezTo>
                  <a:cubicBezTo>
                    <a:pt x="132" y="164"/>
                    <a:pt x="130" y="162"/>
                    <a:pt x="129" y="161"/>
                  </a:cubicBezTo>
                  <a:cubicBezTo>
                    <a:pt x="129" y="159"/>
                    <a:pt x="128" y="159"/>
                    <a:pt x="127" y="157"/>
                  </a:cubicBezTo>
                  <a:cubicBezTo>
                    <a:pt x="127" y="155"/>
                    <a:pt x="128" y="154"/>
                    <a:pt x="126" y="151"/>
                  </a:cubicBezTo>
                  <a:cubicBezTo>
                    <a:pt x="125" y="149"/>
                    <a:pt x="124" y="147"/>
                    <a:pt x="122" y="147"/>
                  </a:cubicBezTo>
                  <a:cubicBezTo>
                    <a:pt x="121" y="146"/>
                    <a:pt x="121" y="147"/>
                    <a:pt x="120" y="146"/>
                  </a:cubicBezTo>
                  <a:cubicBezTo>
                    <a:pt x="118" y="144"/>
                    <a:pt x="115" y="138"/>
                    <a:pt x="114" y="138"/>
                  </a:cubicBezTo>
                  <a:cubicBezTo>
                    <a:pt x="114" y="137"/>
                    <a:pt x="112" y="134"/>
                    <a:pt x="112" y="134"/>
                  </a:cubicBezTo>
                  <a:cubicBezTo>
                    <a:pt x="112" y="133"/>
                    <a:pt x="110" y="130"/>
                    <a:pt x="109" y="129"/>
                  </a:cubicBezTo>
                  <a:cubicBezTo>
                    <a:pt x="109" y="128"/>
                    <a:pt x="107" y="128"/>
                    <a:pt x="106" y="127"/>
                  </a:cubicBezTo>
                  <a:cubicBezTo>
                    <a:pt x="105" y="126"/>
                    <a:pt x="104" y="125"/>
                    <a:pt x="103" y="123"/>
                  </a:cubicBezTo>
                  <a:cubicBezTo>
                    <a:pt x="103" y="122"/>
                    <a:pt x="101" y="120"/>
                    <a:pt x="100" y="120"/>
                  </a:cubicBezTo>
                  <a:cubicBezTo>
                    <a:pt x="100" y="119"/>
                    <a:pt x="98" y="117"/>
                    <a:pt x="97" y="117"/>
                  </a:cubicBezTo>
                  <a:cubicBezTo>
                    <a:pt x="95" y="117"/>
                    <a:pt x="91" y="117"/>
                    <a:pt x="89" y="117"/>
                  </a:cubicBezTo>
                  <a:cubicBezTo>
                    <a:pt x="87" y="117"/>
                    <a:pt x="84" y="117"/>
                    <a:pt x="81" y="117"/>
                  </a:cubicBezTo>
                  <a:cubicBezTo>
                    <a:pt x="78" y="116"/>
                    <a:pt x="78" y="116"/>
                    <a:pt x="76" y="115"/>
                  </a:cubicBezTo>
                  <a:cubicBezTo>
                    <a:pt x="74" y="113"/>
                    <a:pt x="72" y="112"/>
                    <a:pt x="71" y="111"/>
                  </a:cubicBezTo>
                  <a:cubicBezTo>
                    <a:pt x="71" y="109"/>
                    <a:pt x="71" y="109"/>
                    <a:pt x="71" y="109"/>
                  </a:cubicBezTo>
                  <a:cubicBezTo>
                    <a:pt x="70" y="107"/>
                    <a:pt x="60" y="95"/>
                    <a:pt x="59" y="94"/>
                  </a:cubicBezTo>
                  <a:cubicBezTo>
                    <a:pt x="58" y="93"/>
                    <a:pt x="54" y="91"/>
                    <a:pt x="53" y="91"/>
                  </a:cubicBezTo>
                  <a:cubicBezTo>
                    <a:pt x="52" y="90"/>
                    <a:pt x="46" y="86"/>
                    <a:pt x="45" y="84"/>
                  </a:cubicBezTo>
                  <a:cubicBezTo>
                    <a:pt x="44" y="83"/>
                    <a:pt x="34" y="71"/>
                    <a:pt x="32" y="69"/>
                  </a:cubicBezTo>
                  <a:cubicBezTo>
                    <a:pt x="30" y="68"/>
                    <a:pt x="25" y="62"/>
                    <a:pt x="23" y="60"/>
                  </a:cubicBezTo>
                  <a:cubicBezTo>
                    <a:pt x="21" y="59"/>
                    <a:pt x="15" y="52"/>
                    <a:pt x="13" y="51"/>
                  </a:cubicBezTo>
                  <a:cubicBezTo>
                    <a:pt x="12" y="49"/>
                    <a:pt x="10" y="47"/>
                    <a:pt x="10" y="45"/>
                  </a:cubicBezTo>
                  <a:cubicBezTo>
                    <a:pt x="10" y="43"/>
                    <a:pt x="10" y="40"/>
                    <a:pt x="9" y="39"/>
                  </a:cubicBezTo>
                  <a:cubicBezTo>
                    <a:pt x="9" y="37"/>
                    <a:pt x="7" y="33"/>
                    <a:pt x="6" y="33"/>
                  </a:cubicBezTo>
                  <a:cubicBezTo>
                    <a:pt x="6" y="32"/>
                    <a:pt x="6" y="29"/>
                    <a:pt x="5" y="28"/>
                  </a:cubicBezTo>
                  <a:cubicBezTo>
                    <a:pt x="4" y="27"/>
                    <a:pt x="1" y="22"/>
                    <a:pt x="1" y="22"/>
                  </a:cubicBezTo>
                  <a:cubicBezTo>
                    <a:pt x="1" y="22"/>
                    <a:pt x="0" y="20"/>
                    <a:pt x="1" y="18"/>
                  </a:cubicBezTo>
                  <a:cubicBezTo>
                    <a:pt x="2" y="17"/>
                    <a:pt x="3" y="13"/>
                    <a:pt x="3" y="13"/>
                  </a:cubicBezTo>
                  <a:cubicBezTo>
                    <a:pt x="3" y="12"/>
                    <a:pt x="0" y="8"/>
                    <a:pt x="0" y="8"/>
                  </a:cubicBezTo>
                  <a:cubicBezTo>
                    <a:pt x="0" y="6"/>
                    <a:pt x="0" y="6"/>
                    <a:pt x="0" y="6"/>
                  </a:cubicBezTo>
                  <a:cubicBezTo>
                    <a:pt x="4" y="6"/>
                    <a:pt x="4" y="6"/>
                    <a:pt x="4" y="6"/>
                  </a:cubicBezTo>
                  <a:cubicBezTo>
                    <a:pt x="4" y="6"/>
                    <a:pt x="8" y="3"/>
                    <a:pt x="9" y="3"/>
                  </a:cubicBezTo>
                  <a:cubicBezTo>
                    <a:pt x="10" y="2"/>
                    <a:pt x="15" y="0"/>
                    <a:pt x="15" y="0"/>
                  </a:cubicBezTo>
                  <a:cubicBezTo>
                    <a:pt x="15" y="0"/>
                    <a:pt x="16" y="2"/>
                    <a:pt x="18" y="2"/>
                  </a:cubicBezTo>
                  <a:cubicBezTo>
                    <a:pt x="20" y="3"/>
                    <a:pt x="20" y="3"/>
                    <a:pt x="22" y="2"/>
                  </a:cubicBezTo>
                  <a:cubicBezTo>
                    <a:pt x="24" y="2"/>
                    <a:pt x="27" y="3"/>
                    <a:pt x="27" y="3"/>
                  </a:cubicBezTo>
                  <a:cubicBezTo>
                    <a:pt x="40" y="8"/>
                    <a:pt x="40" y="8"/>
                    <a:pt x="40" y="8"/>
                  </a:cubicBezTo>
                  <a:cubicBezTo>
                    <a:pt x="40" y="8"/>
                    <a:pt x="41" y="9"/>
                    <a:pt x="42" y="12"/>
                  </a:cubicBezTo>
                  <a:cubicBezTo>
                    <a:pt x="43" y="14"/>
                    <a:pt x="48" y="18"/>
                    <a:pt x="48" y="18"/>
                  </a:cubicBezTo>
                  <a:cubicBezTo>
                    <a:pt x="49" y="19"/>
                    <a:pt x="55" y="23"/>
                    <a:pt x="55" y="23"/>
                  </a:cubicBezTo>
                  <a:cubicBezTo>
                    <a:pt x="55" y="23"/>
                    <a:pt x="60" y="25"/>
                    <a:pt x="60" y="25"/>
                  </a:cubicBezTo>
                  <a:cubicBezTo>
                    <a:pt x="61" y="25"/>
                    <a:pt x="67" y="25"/>
                    <a:pt x="67" y="25"/>
                  </a:cubicBezTo>
                  <a:cubicBezTo>
                    <a:pt x="73" y="28"/>
                    <a:pt x="73" y="28"/>
                    <a:pt x="73" y="28"/>
                  </a:cubicBezTo>
                  <a:cubicBezTo>
                    <a:pt x="73" y="28"/>
                    <a:pt x="76" y="25"/>
                    <a:pt x="76" y="25"/>
                  </a:cubicBezTo>
                  <a:cubicBezTo>
                    <a:pt x="77" y="25"/>
                    <a:pt x="79" y="27"/>
                    <a:pt x="80" y="27"/>
                  </a:cubicBezTo>
                  <a:cubicBezTo>
                    <a:pt x="80" y="28"/>
                    <a:pt x="87" y="27"/>
                    <a:pt x="87" y="27"/>
                  </a:cubicBezTo>
                  <a:cubicBezTo>
                    <a:pt x="88" y="27"/>
                    <a:pt x="94" y="25"/>
                    <a:pt x="96" y="24"/>
                  </a:cubicBezTo>
                  <a:cubicBezTo>
                    <a:pt x="97" y="24"/>
                    <a:pt x="101" y="23"/>
                    <a:pt x="101" y="23"/>
                  </a:cubicBezTo>
                  <a:cubicBezTo>
                    <a:pt x="102" y="25"/>
                    <a:pt x="102" y="25"/>
                    <a:pt x="102" y="25"/>
                  </a:cubicBezTo>
                  <a:cubicBezTo>
                    <a:pt x="106" y="24"/>
                    <a:pt x="106" y="24"/>
                    <a:pt x="106" y="24"/>
                  </a:cubicBezTo>
                  <a:cubicBezTo>
                    <a:pt x="106" y="24"/>
                    <a:pt x="109" y="24"/>
                    <a:pt x="110" y="24"/>
                  </a:cubicBezTo>
                  <a:cubicBezTo>
                    <a:pt x="111" y="25"/>
                    <a:pt x="118" y="26"/>
                    <a:pt x="118" y="27"/>
                  </a:cubicBezTo>
                  <a:cubicBezTo>
                    <a:pt x="119" y="28"/>
                    <a:pt x="118" y="30"/>
                    <a:pt x="118" y="30"/>
                  </a:cubicBezTo>
                  <a:cubicBezTo>
                    <a:pt x="118" y="30"/>
                    <a:pt x="122" y="31"/>
                    <a:pt x="123" y="31"/>
                  </a:cubicBezTo>
                  <a:cubicBezTo>
                    <a:pt x="124" y="30"/>
                    <a:pt x="131" y="28"/>
                    <a:pt x="132" y="27"/>
                  </a:cubicBezTo>
                  <a:cubicBezTo>
                    <a:pt x="134" y="27"/>
                    <a:pt x="139" y="24"/>
                    <a:pt x="141" y="25"/>
                  </a:cubicBezTo>
                  <a:cubicBezTo>
                    <a:pt x="142" y="26"/>
                    <a:pt x="143" y="26"/>
                    <a:pt x="143" y="27"/>
                  </a:cubicBezTo>
                  <a:cubicBezTo>
                    <a:pt x="143" y="27"/>
                    <a:pt x="143" y="28"/>
                    <a:pt x="144" y="29"/>
                  </a:cubicBezTo>
                  <a:cubicBezTo>
                    <a:pt x="144" y="30"/>
                    <a:pt x="146" y="31"/>
                    <a:pt x="146" y="31"/>
                  </a:cubicBezTo>
                  <a:cubicBezTo>
                    <a:pt x="149" y="32"/>
                    <a:pt x="149" y="32"/>
                    <a:pt x="149" y="32"/>
                  </a:cubicBezTo>
                  <a:cubicBezTo>
                    <a:pt x="149" y="35"/>
                    <a:pt x="149" y="35"/>
                    <a:pt x="149" y="35"/>
                  </a:cubicBezTo>
                  <a:cubicBezTo>
                    <a:pt x="160" y="44"/>
                    <a:pt x="160" y="44"/>
                    <a:pt x="160" y="44"/>
                  </a:cubicBezTo>
                  <a:cubicBezTo>
                    <a:pt x="163" y="47"/>
                    <a:pt x="163" y="47"/>
                    <a:pt x="163" y="47"/>
                  </a:cubicBezTo>
                  <a:cubicBezTo>
                    <a:pt x="165" y="47"/>
                    <a:pt x="165" y="47"/>
                    <a:pt x="165" y="47"/>
                  </a:cubicBezTo>
                  <a:cubicBezTo>
                    <a:pt x="165" y="47"/>
                    <a:pt x="166" y="51"/>
                    <a:pt x="166" y="52"/>
                  </a:cubicBezTo>
                  <a:cubicBezTo>
                    <a:pt x="166" y="53"/>
                    <a:pt x="168" y="57"/>
                    <a:pt x="168" y="57"/>
                  </a:cubicBezTo>
                  <a:cubicBezTo>
                    <a:pt x="168" y="61"/>
                    <a:pt x="168" y="61"/>
                    <a:pt x="168" y="61"/>
                  </a:cubicBezTo>
                  <a:cubicBezTo>
                    <a:pt x="171" y="63"/>
                    <a:pt x="171" y="63"/>
                    <a:pt x="171" y="63"/>
                  </a:cubicBezTo>
                  <a:cubicBezTo>
                    <a:pt x="171" y="63"/>
                    <a:pt x="168" y="67"/>
                    <a:pt x="168" y="67"/>
                  </a:cubicBezTo>
                  <a:cubicBezTo>
                    <a:pt x="168" y="68"/>
                    <a:pt x="169" y="69"/>
                    <a:pt x="170" y="69"/>
                  </a:cubicBezTo>
                  <a:cubicBezTo>
                    <a:pt x="170" y="69"/>
                    <a:pt x="172" y="68"/>
                    <a:pt x="172" y="70"/>
                  </a:cubicBezTo>
                  <a:cubicBezTo>
                    <a:pt x="172" y="71"/>
                    <a:pt x="171" y="70"/>
                    <a:pt x="172" y="71"/>
                  </a:cubicBezTo>
                  <a:cubicBezTo>
                    <a:pt x="173" y="71"/>
                    <a:pt x="176" y="70"/>
                    <a:pt x="176" y="70"/>
                  </a:cubicBezTo>
                  <a:cubicBezTo>
                    <a:pt x="177" y="69"/>
                    <a:pt x="180" y="69"/>
                    <a:pt x="181" y="70"/>
                  </a:cubicBezTo>
                  <a:cubicBezTo>
                    <a:pt x="182" y="71"/>
                    <a:pt x="184" y="72"/>
                    <a:pt x="185" y="73"/>
                  </a:cubicBezTo>
                  <a:cubicBezTo>
                    <a:pt x="186" y="74"/>
                    <a:pt x="186" y="73"/>
                    <a:pt x="187" y="75"/>
                  </a:cubicBezTo>
                  <a:cubicBezTo>
                    <a:pt x="187" y="76"/>
                    <a:pt x="187" y="80"/>
                    <a:pt x="187" y="81"/>
                  </a:cubicBezTo>
                  <a:cubicBezTo>
                    <a:pt x="186" y="82"/>
                    <a:pt x="186" y="83"/>
                    <a:pt x="186" y="84"/>
                  </a:cubicBezTo>
                  <a:cubicBezTo>
                    <a:pt x="185" y="83"/>
                    <a:pt x="184" y="83"/>
                    <a:pt x="184" y="83"/>
                  </a:cubicBezTo>
                  <a:cubicBezTo>
                    <a:pt x="182" y="83"/>
                    <a:pt x="182" y="83"/>
                    <a:pt x="181" y="84"/>
                  </a:cubicBezTo>
                  <a:cubicBezTo>
                    <a:pt x="178" y="85"/>
                    <a:pt x="176" y="85"/>
                    <a:pt x="175" y="88"/>
                  </a:cubicBezTo>
                  <a:cubicBezTo>
                    <a:pt x="174" y="91"/>
                    <a:pt x="173" y="94"/>
                    <a:pt x="172" y="96"/>
                  </a:cubicBezTo>
                  <a:cubicBezTo>
                    <a:pt x="171" y="99"/>
                    <a:pt x="172" y="101"/>
                    <a:pt x="171" y="103"/>
                  </a:cubicBezTo>
                  <a:cubicBezTo>
                    <a:pt x="169" y="106"/>
                    <a:pt x="167" y="107"/>
                    <a:pt x="165" y="107"/>
                  </a:cubicBezTo>
                  <a:cubicBezTo>
                    <a:pt x="165" y="109"/>
                    <a:pt x="165" y="111"/>
                    <a:pt x="164" y="112"/>
                  </a:cubicBezTo>
                  <a:cubicBezTo>
                    <a:pt x="163" y="114"/>
                    <a:pt x="162" y="115"/>
                    <a:pt x="160" y="116"/>
                  </a:cubicBezTo>
                  <a:cubicBezTo>
                    <a:pt x="158" y="117"/>
                    <a:pt x="157" y="118"/>
                    <a:pt x="158" y="120"/>
                  </a:cubicBezTo>
                  <a:cubicBezTo>
                    <a:pt x="159" y="122"/>
                    <a:pt x="159" y="124"/>
                    <a:pt x="161" y="126"/>
                  </a:cubicBezTo>
                  <a:cubicBezTo>
                    <a:pt x="161" y="127"/>
                    <a:pt x="163" y="127"/>
                    <a:pt x="164" y="129"/>
                  </a:cubicBezTo>
                  <a:cubicBezTo>
                    <a:pt x="165" y="130"/>
                    <a:pt x="165" y="130"/>
                    <a:pt x="166" y="131"/>
                  </a:cubicBezTo>
                  <a:cubicBezTo>
                    <a:pt x="167" y="132"/>
                    <a:pt x="168" y="132"/>
                    <a:pt x="167" y="133"/>
                  </a:cubicBezTo>
                  <a:cubicBezTo>
                    <a:pt x="167" y="135"/>
                    <a:pt x="164" y="135"/>
                    <a:pt x="164" y="137"/>
                  </a:cubicBezTo>
                  <a:cubicBezTo>
                    <a:pt x="165" y="139"/>
                    <a:pt x="169" y="139"/>
                    <a:pt x="170" y="140"/>
                  </a:cubicBezTo>
                  <a:cubicBezTo>
                    <a:pt x="172" y="142"/>
                    <a:pt x="170" y="144"/>
                    <a:pt x="169" y="145"/>
                  </a:cubicBezTo>
                  <a:cubicBezTo>
                    <a:pt x="168" y="145"/>
                    <a:pt x="167" y="146"/>
                    <a:pt x="166" y="146"/>
                  </a:cubicBezTo>
                  <a:cubicBezTo>
                    <a:pt x="165" y="147"/>
                    <a:pt x="166" y="148"/>
                    <a:pt x="166" y="149"/>
                  </a:cubicBezTo>
                  <a:cubicBezTo>
                    <a:pt x="167" y="150"/>
                    <a:pt x="167" y="152"/>
                    <a:pt x="167" y="153"/>
                  </a:cubicBezTo>
                  <a:cubicBezTo>
                    <a:pt x="168" y="154"/>
                    <a:pt x="168" y="154"/>
                    <a:pt x="168" y="155"/>
                  </a:cubicBezTo>
                  <a:cubicBezTo>
                    <a:pt x="169" y="156"/>
                    <a:pt x="168" y="157"/>
                    <a:pt x="167" y="158"/>
                  </a:cubicBezTo>
                  <a:cubicBezTo>
                    <a:pt x="167" y="159"/>
                    <a:pt x="167" y="160"/>
                    <a:pt x="167" y="161"/>
                  </a:cubicBezTo>
                  <a:cubicBezTo>
                    <a:pt x="167" y="165"/>
                    <a:pt x="167" y="169"/>
                    <a:pt x="172" y="171"/>
                  </a:cubicBezTo>
                  <a:cubicBezTo>
                    <a:pt x="173" y="172"/>
                    <a:pt x="174" y="172"/>
                    <a:pt x="175" y="173"/>
                  </a:cubicBezTo>
                  <a:cubicBezTo>
                    <a:pt x="175" y="174"/>
                    <a:pt x="176" y="174"/>
                    <a:pt x="176" y="175"/>
                  </a:cubicBezTo>
                  <a:cubicBezTo>
                    <a:pt x="176" y="176"/>
                    <a:pt x="175" y="175"/>
                    <a:pt x="175" y="176"/>
                  </a:cubicBezTo>
                  <a:cubicBezTo>
                    <a:pt x="174" y="178"/>
                    <a:pt x="176" y="181"/>
                    <a:pt x="176" y="183"/>
                  </a:cubicBezTo>
                  <a:cubicBezTo>
                    <a:pt x="176" y="187"/>
                    <a:pt x="174" y="192"/>
                    <a:pt x="177" y="196"/>
                  </a:cubicBezTo>
                  <a:cubicBezTo>
                    <a:pt x="179" y="198"/>
                    <a:pt x="180" y="200"/>
                    <a:pt x="180" y="202"/>
                  </a:cubicBezTo>
                  <a:cubicBezTo>
                    <a:pt x="181" y="205"/>
                    <a:pt x="180" y="207"/>
                    <a:pt x="180" y="21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12060925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CF5E1E-07FE-7E7A-4675-60E453914966}"/>
              </a:ext>
            </a:extLst>
          </p:cNvPr>
          <p:cNvGraphicFramePr>
            <a:graphicFrameLocks/>
          </p:cNvGraphicFramePr>
          <p:nvPr>
            <p:custDataLst>
              <p:tags r:id="rId1"/>
            </p:custDataLst>
            <p:extLst>
              <p:ext uri="{D42A27DB-BD31-4B8C-83A1-F6EECF244321}">
                <p14:modId xmlns:p14="http://schemas.microsoft.com/office/powerpoint/2010/main" val="40283867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39AE7DB-4A3A-536F-473C-E8CE44E823E8}"/>
              </a:ext>
            </a:extLst>
          </p:cNvPr>
          <p:cNvSpPr>
            <a:spLocks noGrp="1"/>
          </p:cNvSpPr>
          <p:nvPr>
            <p:ph type="title"/>
          </p:nvPr>
        </p:nvSpPr>
        <p:spPr/>
        <p:txBody>
          <a:bodyPr vert="horz" rIns="91440"/>
          <a:lstStyle/>
          <a:p>
            <a:r>
              <a:rPr lang="en-US" dirty="0"/>
              <a:t>Next-generation technologies enable energy extraction from hot dry rock with little to no natural fluid</a:t>
            </a:r>
          </a:p>
        </p:txBody>
      </p:sp>
      <p:sp>
        <p:nvSpPr>
          <p:cNvPr id="4" name="Footer Placeholder 3">
            <a:extLst>
              <a:ext uri="{FF2B5EF4-FFF2-40B4-BE49-F238E27FC236}">
                <a16:creationId xmlns:a16="http://schemas.microsoft.com/office/drawing/2014/main" id="{706724B7-58F2-DE9C-0E15-2AF9C7A88591}"/>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Superhot Rock Energy</a:t>
            </a:r>
            <a:r>
              <a:rPr lang="en-US" dirty="0"/>
              <a:t> </a:t>
            </a:r>
            <a:r>
              <a:rPr lang="en-US" dirty="0">
                <a:solidFill>
                  <a:srgbClr val="000000"/>
                </a:solidFill>
              </a:rPr>
              <a:t>(CATF, 2022).</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D490BFE6-D957-E092-F967-BE78C2446AF9}"/>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7" name="TextBox 6">
            <a:extLst>
              <a:ext uri="{FF2B5EF4-FFF2-40B4-BE49-F238E27FC236}">
                <a16:creationId xmlns:a16="http://schemas.microsoft.com/office/drawing/2014/main" id="{8EBE1407-EDA7-AB1A-7C38-13B1F3AB70A2}"/>
              </a:ext>
            </a:extLst>
          </p:cNvPr>
          <p:cNvSpPr txBox="1"/>
          <p:nvPr/>
        </p:nvSpPr>
        <p:spPr bwMode="gray">
          <a:xfrm>
            <a:off x="5697772" y="2489107"/>
            <a:ext cx="2926080" cy="914400"/>
          </a:xfrm>
          <a:prstGeom prst="rect">
            <a:avLst/>
          </a:prstGeom>
          <a:solidFill>
            <a:schemeClr val="accent5">
              <a:lumMod val="40000"/>
              <a:lumOff val="60000"/>
            </a:schemeClr>
          </a:solidFill>
          <a:ln w="6350">
            <a:solidFill>
              <a:schemeClr val="bg1"/>
            </a:solid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Advanced geothermal (AGS)/</a:t>
            </a:r>
            <a:br>
              <a:rPr lang="en-US" sz="1400" b="1" dirty="0">
                <a:solidFill>
                  <a:schemeClr val="bg1"/>
                </a:solidFill>
              </a:rPr>
            </a:br>
            <a:r>
              <a:rPr lang="en-US" sz="1400" b="1" dirty="0">
                <a:solidFill>
                  <a:schemeClr val="bg1"/>
                </a:solidFill>
              </a:rPr>
              <a:t>closed-loop systems </a:t>
            </a:r>
          </a:p>
        </p:txBody>
      </p:sp>
      <p:sp>
        <p:nvSpPr>
          <p:cNvPr id="8" name="TextBox 7">
            <a:extLst>
              <a:ext uri="{FF2B5EF4-FFF2-40B4-BE49-F238E27FC236}">
                <a16:creationId xmlns:a16="http://schemas.microsoft.com/office/drawing/2014/main" id="{00BBF731-EE03-B3DA-BA19-116FBB4E0F28}"/>
              </a:ext>
            </a:extLst>
          </p:cNvPr>
          <p:cNvSpPr txBox="1"/>
          <p:nvPr/>
        </p:nvSpPr>
        <p:spPr bwMode="gray">
          <a:xfrm>
            <a:off x="2468080" y="2489107"/>
            <a:ext cx="2926080" cy="914400"/>
          </a:xfrm>
          <a:prstGeom prst="rect">
            <a:avLst/>
          </a:prstGeom>
          <a:solidFill>
            <a:schemeClr val="accent5">
              <a:lumMod val="40000"/>
              <a:lumOff val="60000"/>
            </a:schemeClr>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Enhanced geothermal systems (EGS)</a:t>
            </a:r>
          </a:p>
        </p:txBody>
      </p:sp>
      <p:sp>
        <p:nvSpPr>
          <p:cNvPr id="9" name="TextBox 8">
            <a:extLst>
              <a:ext uri="{FF2B5EF4-FFF2-40B4-BE49-F238E27FC236}">
                <a16:creationId xmlns:a16="http://schemas.microsoft.com/office/drawing/2014/main" id="{FECE3ABE-3629-C75A-4EC2-2269095A5AAF}"/>
              </a:ext>
            </a:extLst>
          </p:cNvPr>
          <p:cNvSpPr txBox="1"/>
          <p:nvPr/>
        </p:nvSpPr>
        <p:spPr bwMode="gray">
          <a:xfrm>
            <a:off x="8889168" y="2489107"/>
            <a:ext cx="2926080" cy="914400"/>
          </a:xfrm>
          <a:prstGeom prst="rect">
            <a:avLst/>
          </a:prstGeom>
          <a:solidFill>
            <a:schemeClr val="accent5">
              <a:lumMod val="40000"/>
              <a:lumOff val="60000"/>
            </a:schemeClr>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Superhot rock geothermal</a:t>
            </a:r>
          </a:p>
        </p:txBody>
      </p:sp>
      <p:sp>
        <p:nvSpPr>
          <p:cNvPr id="10" name="TextBox 9">
            <a:extLst>
              <a:ext uri="{FF2B5EF4-FFF2-40B4-BE49-F238E27FC236}">
                <a16:creationId xmlns:a16="http://schemas.microsoft.com/office/drawing/2014/main" id="{06D30E65-50D3-8255-F753-90A2CEC570D0}"/>
              </a:ext>
            </a:extLst>
          </p:cNvPr>
          <p:cNvSpPr txBox="1"/>
          <p:nvPr/>
        </p:nvSpPr>
        <p:spPr bwMode="gray">
          <a:xfrm>
            <a:off x="4008498" y="1550138"/>
            <a:ext cx="2926080" cy="607121"/>
          </a:xfrm>
          <a:prstGeom prst="rect">
            <a:avLst/>
          </a:prstGeom>
          <a:solidFill>
            <a:schemeClr val="accent5"/>
          </a:solidFill>
          <a:ln w="28575">
            <a:noFill/>
            <a:prstDash val="dash"/>
          </a:ln>
        </p:spPr>
        <p:txBody>
          <a:bodyPr wrap="square" lIns="91440" tIns="91440" rIns="91440" bIns="91440" rtlCol="0" anchor="ctr">
            <a:noAutofit/>
          </a:bodyPr>
          <a:lstStyle/>
          <a:p>
            <a:pPr marL="0" indent="0" algn="ctr">
              <a:spcBef>
                <a:spcPts val="0"/>
              </a:spcBef>
              <a:buNone/>
            </a:pPr>
            <a:r>
              <a:rPr lang="en-US" sz="1400" b="1" dirty="0">
                <a:solidFill>
                  <a:schemeClr val="bg1"/>
                </a:solidFill>
              </a:rPr>
              <a:t>Next-gen technologies</a:t>
            </a:r>
          </a:p>
        </p:txBody>
      </p:sp>
      <p:sp>
        <p:nvSpPr>
          <p:cNvPr id="11" name="TextBox 10">
            <a:extLst>
              <a:ext uri="{FF2B5EF4-FFF2-40B4-BE49-F238E27FC236}">
                <a16:creationId xmlns:a16="http://schemas.microsoft.com/office/drawing/2014/main" id="{D628C0BE-1B87-633A-CCDE-BABC4D3935A3}"/>
              </a:ext>
            </a:extLst>
          </p:cNvPr>
          <p:cNvSpPr txBox="1"/>
          <p:nvPr/>
        </p:nvSpPr>
        <p:spPr bwMode="gray">
          <a:xfrm>
            <a:off x="2462215" y="3454494"/>
            <a:ext cx="2926080" cy="626701"/>
          </a:xfrm>
          <a:prstGeom prst="rect">
            <a:avLst/>
          </a:prstGeom>
          <a:noFill/>
        </p:spPr>
        <p:txBody>
          <a:bodyPr wrap="square" lIns="36000" tIns="36000" rIns="36000" bIns="36000" rtlCol="0">
            <a:spAutoFit/>
          </a:bodyPr>
          <a:lstStyle/>
          <a:p>
            <a:pPr marL="0" indent="0">
              <a:buNone/>
            </a:pPr>
            <a:r>
              <a:rPr lang="en-US" sz="1200" dirty="0"/>
              <a:t>EGS creates or improves permeability in hot dry rock to circulate injected fluid between wells.</a:t>
            </a:r>
          </a:p>
        </p:txBody>
      </p:sp>
      <p:cxnSp>
        <p:nvCxnSpPr>
          <p:cNvPr id="12" name="Elbow Connector 11">
            <a:extLst>
              <a:ext uri="{FF2B5EF4-FFF2-40B4-BE49-F238E27FC236}">
                <a16:creationId xmlns:a16="http://schemas.microsoft.com/office/drawing/2014/main" id="{C9173977-1AC0-3F09-FC4B-2B8814FC3CAD}"/>
              </a:ext>
            </a:extLst>
          </p:cNvPr>
          <p:cNvCxnSpPr>
            <a:cxnSpLocks/>
            <a:stCxn id="10" idx="2"/>
            <a:endCxn id="8" idx="0"/>
          </p:cNvCxnSpPr>
          <p:nvPr/>
        </p:nvCxnSpPr>
        <p:spPr bwMode="gray">
          <a:xfrm rot="5400000">
            <a:off x="4535405" y="1552974"/>
            <a:ext cx="331848" cy="1540418"/>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882916AD-12C0-59D8-D5FA-975E89CA16CB}"/>
              </a:ext>
            </a:extLst>
          </p:cNvPr>
          <p:cNvCxnSpPr>
            <a:cxnSpLocks/>
            <a:stCxn id="10" idx="2"/>
            <a:endCxn id="7" idx="0"/>
          </p:cNvCxnSpPr>
          <p:nvPr/>
        </p:nvCxnSpPr>
        <p:spPr bwMode="gray">
          <a:xfrm rot="16200000" flipH="1">
            <a:off x="6150251" y="1478546"/>
            <a:ext cx="331848" cy="1689274"/>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C9B9D5D-ABE6-CDCF-D125-3E125A303069}"/>
              </a:ext>
            </a:extLst>
          </p:cNvPr>
          <p:cNvSpPr txBox="1"/>
          <p:nvPr/>
        </p:nvSpPr>
        <p:spPr bwMode="gray">
          <a:xfrm>
            <a:off x="5694778" y="3454494"/>
            <a:ext cx="2926080" cy="996033"/>
          </a:xfrm>
          <a:prstGeom prst="rect">
            <a:avLst/>
          </a:prstGeom>
          <a:noFill/>
        </p:spPr>
        <p:txBody>
          <a:bodyPr wrap="square" lIns="36000" tIns="36000" rIns="36000" bIns="36000" rtlCol="0">
            <a:spAutoFit/>
          </a:bodyPr>
          <a:lstStyle/>
          <a:p>
            <a:pPr marL="0" indent="0">
              <a:buNone/>
            </a:pPr>
            <a:r>
              <a:rPr lang="en-US" sz="1200" dirty="0"/>
              <a:t>Closed-loop geothermal circulates a working fluid in sealed pipes to conductively draw heat from hot rock, with no groundwater contact and no reliance on rock permeability.</a:t>
            </a:r>
          </a:p>
        </p:txBody>
      </p:sp>
      <p:sp>
        <p:nvSpPr>
          <p:cNvPr id="15" name="TextBox 14">
            <a:extLst>
              <a:ext uri="{FF2B5EF4-FFF2-40B4-BE49-F238E27FC236}">
                <a16:creationId xmlns:a16="http://schemas.microsoft.com/office/drawing/2014/main" id="{D9074ECB-6C11-93DB-2A50-41AD284DB2E5}"/>
              </a:ext>
            </a:extLst>
          </p:cNvPr>
          <p:cNvSpPr txBox="1"/>
          <p:nvPr/>
        </p:nvSpPr>
        <p:spPr bwMode="gray">
          <a:xfrm>
            <a:off x="8889168" y="3454494"/>
            <a:ext cx="2926080" cy="996033"/>
          </a:xfrm>
          <a:prstGeom prst="rect">
            <a:avLst/>
          </a:prstGeom>
          <a:noFill/>
        </p:spPr>
        <p:txBody>
          <a:bodyPr wrap="square" lIns="36000" tIns="36000" rIns="36000" bIns="36000" rtlCol="0">
            <a:spAutoFit/>
          </a:bodyPr>
          <a:lstStyle/>
          <a:p>
            <a:pPr marL="0" indent="0">
              <a:buNone/>
            </a:pPr>
            <a:r>
              <a:rPr lang="en-US" sz="1200" dirty="0"/>
              <a:t>Superhot rock geothermal taps ultradeep formations where water becomes a supercritical fluid, enabling vastly higher heat and power output than EGS or AGS systems.</a:t>
            </a:r>
          </a:p>
        </p:txBody>
      </p:sp>
      <p:sp>
        <p:nvSpPr>
          <p:cNvPr id="16" name="Oval 15">
            <a:extLst>
              <a:ext uri="{FF2B5EF4-FFF2-40B4-BE49-F238E27FC236}">
                <a16:creationId xmlns:a16="http://schemas.microsoft.com/office/drawing/2014/main" id="{99565C71-D4F8-CB6E-D786-C299AC21E5C9}"/>
              </a:ext>
            </a:extLst>
          </p:cNvPr>
          <p:cNvSpPr/>
          <p:nvPr/>
        </p:nvSpPr>
        <p:spPr bwMode="gray">
          <a:xfrm>
            <a:off x="2266208"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A</a:t>
            </a:r>
          </a:p>
        </p:txBody>
      </p:sp>
      <p:sp>
        <p:nvSpPr>
          <p:cNvPr id="17" name="Oval 16">
            <a:extLst>
              <a:ext uri="{FF2B5EF4-FFF2-40B4-BE49-F238E27FC236}">
                <a16:creationId xmlns:a16="http://schemas.microsoft.com/office/drawing/2014/main" id="{69B70C00-4B39-92C2-A162-4734267BA06B}"/>
              </a:ext>
            </a:extLst>
          </p:cNvPr>
          <p:cNvSpPr/>
          <p:nvPr/>
        </p:nvSpPr>
        <p:spPr bwMode="gray">
          <a:xfrm>
            <a:off x="5521625"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B</a:t>
            </a:r>
          </a:p>
        </p:txBody>
      </p:sp>
      <p:sp>
        <p:nvSpPr>
          <p:cNvPr id="18" name="TextBox 17">
            <a:extLst>
              <a:ext uri="{FF2B5EF4-FFF2-40B4-BE49-F238E27FC236}">
                <a16:creationId xmlns:a16="http://schemas.microsoft.com/office/drawing/2014/main" id="{9B125ECF-CEA3-1A89-AF95-098A199C173F}"/>
              </a:ext>
            </a:extLst>
          </p:cNvPr>
          <p:cNvSpPr txBox="1"/>
          <p:nvPr/>
        </p:nvSpPr>
        <p:spPr bwMode="gray">
          <a:xfrm>
            <a:off x="428711" y="3526016"/>
            <a:ext cx="1857985" cy="241980"/>
          </a:xfrm>
          <a:prstGeom prst="rect">
            <a:avLst/>
          </a:prstGeom>
          <a:noFill/>
        </p:spPr>
        <p:txBody>
          <a:bodyPr wrap="square" lIns="36000" tIns="36000" rIns="36000" bIns="36000" rtlCol="0">
            <a:spAutoFit/>
          </a:bodyPr>
          <a:lstStyle/>
          <a:p>
            <a:pPr marL="0" indent="0">
              <a:buNone/>
            </a:pPr>
            <a:r>
              <a:rPr lang="en-US" sz="1100" b="1" dirty="0"/>
              <a:t>Definition</a:t>
            </a:r>
          </a:p>
        </p:txBody>
      </p:sp>
      <p:cxnSp>
        <p:nvCxnSpPr>
          <p:cNvPr id="19" name="Straight Connector 18">
            <a:extLst>
              <a:ext uri="{FF2B5EF4-FFF2-40B4-BE49-F238E27FC236}">
                <a16:creationId xmlns:a16="http://schemas.microsoft.com/office/drawing/2014/main" id="{9985D5A6-A2F2-0E7A-4938-D452FDB78ED4}"/>
              </a:ext>
            </a:extLst>
          </p:cNvPr>
          <p:cNvCxnSpPr>
            <a:cxnSpLocks/>
          </p:cNvCxnSpPr>
          <p:nvPr/>
        </p:nvCxnSpPr>
        <p:spPr bwMode="gray">
          <a:xfrm>
            <a:off x="428711" y="4729480"/>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0A2368F-9D48-C628-1FF5-071EF724631F}"/>
              </a:ext>
            </a:extLst>
          </p:cNvPr>
          <p:cNvCxnSpPr>
            <a:cxnSpLocks/>
          </p:cNvCxnSpPr>
          <p:nvPr/>
        </p:nvCxnSpPr>
        <p:spPr bwMode="gray">
          <a:xfrm>
            <a:off x="428711" y="3464761"/>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717B4C-D3EC-5643-3749-07394C5F6F73}"/>
              </a:ext>
            </a:extLst>
          </p:cNvPr>
          <p:cNvSpPr txBox="1"/>
          <p:nvPr/>
        </p:nvSpPr>
        <p:spPr bwMode="gray">
          <a:xfrm>
            <a:off x="428711" y="4773305"/>
            <a:ext cx="1587818" cy="411257"/>
          </a:xfrm>
          <a:prstGeom prst="rect">
            <a:avLst/>
          </a:prstGeom>
          <a:noFill/>
        </p:spPr>
        <p:txBody>
          <a:bodyPr wrap="square" lIns="36000" tIns="36000" rIns="36000" bIns="36000" rtlCol="0">
            <a:spAutoFit/>
          </a:bodyPr>
          <a:lstStyle/>
          <a:p>
            <a:pPr marL="0" indent="0">
              <a:buNone/>
            </a:pPr>
            <a:r>
              <a:rPr lang="en-US" sz="1100" b="1" dirty="0"/>
              <a:t>Advantages/</a:t>
            </a:r>
            <a:br>
              <a:rPr lang="en-US" sz="1100" b="1" dirty="0"/>
            </a:br>
            <a:r>
              <a:rPr lang="en-US" sz="1100" b="1" dirty="0"/>
              <a:t>disadvantages</a:t>
            </a:r>
          </a:p>
        </p:txBody>
      </p:sp>
      <p:grpSp>
        <p:nvGrpSpPr>
          <p:cNvPr id="22" name="Group 21">
            <a:extLst>
              <a:ext uri="{FF2B5EF4-FFF2-40B4-BE49-F238E27FC236}">
                <a16:creationId xmlns:a16="http://schemas.microsoft.com/office/drawing/2014/main" id="{BBAA2E25-ABEE-6F28-AD21-9058A0748510}"/>
              </a:ext>
            </a:extLst>
          </p:cNvPr>
          <p:cNvGrpSpPr/>
          <p:nvPr/>
        </p:nvGrpSpPr>
        <p:grpSpPr>
          <a:xfrm>
            <a:off x="2474821" y="4786088"/>
            <a:ext cx="2996717" cy="1145343"/>
            <a:chOff x="1481927" y="3214938"/>
            <a:chExt cx="3558685" cy="1360127"/>
          </a:xfrm>
        </p:grpSpPr>
        <p:grpSp>
          <p:nvGrpSpPr>
            <p:cNvPr id="23" name="Group 22">
              <a:extLst>
                <a:ext uri="{FF2B5EF4-FFF2-40B4-BE49-F238E27FC236}">
                  <a16:creationId xmlns:a16="http://schemas.microsoft.com/office/drawing/2014/main" id="{6606F889-0CD4-6DD0-1D34-D31F54B656CE}"/>
                </a:ext>
              </a:extLst>
            </p:cNvPr>
            <p:cNvGrpSpPr/>
            <p:nvPr/>
          </p:nvGrpSpPr>
          <p:grpSpPr>
            <a:xfrm>
              <a:off x="1481927" y="3214938"/>
              <a:ext cx="3558685" cy="287358"/>
              <a:chOff x="1484971" y="3214938"/>
              <a:chExt cx="3558685" cy="287358"/>
            </a:xfrm>
          </p:grpSpPr>
          <p:pic>
            <p:nvPicPr>
              <p:cNvPr id="37" name="Graphic 36" descr="Badge Follow with solid fill">
                <a:extLst>
                  <a:ext uri="{FF2B5EF4-FFF2-40B4-BE49-F238E27FC236}">
                    <a16:creationId xmlns:a16="http://schemas.microsoft.com/office/drawing/2014/main" id="{7405A85F-E96D-89E5-ADFF-77AB38D261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38" name="TextBox 37">
                <a:extLst>
                  <a:ext uri="{FF2B5EF4-FFF2-40B4-BE49-F238E27FC236}">
                    <a16:creationId xmlns:a16="http://schemas.microsoft.com/office/drawing/2014/main" id="{B41BFF1E-53EE-A7A3-9698-2FE6F7094FD2}"/>
                  </a:ext>
                </a:extLst>
              </p:cNvPr>
              <p:cNvSpPr txBox="1"/>
              <p:nvPr/>
            </p:nvSpPr>
            <p:spPr bwMode="gray">
              <a:xfrm>
                <a:off x="1740217" y="3214938"/>
                <a:ext cx="3303439" cy="287358"/>
              </a:xfrm>
              <a:prstGeom prst="rect">
                <a:avLst/>
              </a:prstGeom>
              <a:noFill/>
            </p:spPr>
            <p:txBody>
              <a:bodyPr wrap="none" lIns="36000" tIns="36000" rIns="36000" bIns="36000" rtlCol="0">
                <a:spAutoFit/>
              </a:bodyPr>
              <a:lstStyle/>
              <a:p>
                <a:pPr marL="0" indent="0">
                  <a:buNone/>
                </a:pPr>
                <a:r>
                  <a:rPr lang="en-US" sz="1100" dirty="0"/>
                  <a:t>Higher thermal efficiency compared to AGS</a:t>
                </a:r>
              </a:p>
            </p:txBody>
          </p:sp>
        </p:grpSp>
        <p:grpSp>
          <p:nvGrpSpPr>
            <p:cNvPr id="24" name="Group 23">
              <a:extLst>
                <a:ext uri="{FF2B5EF4-FFF2-40B4-BE49-F238E27FC236}">
                  <a16:creationId xmlns:a16="http://schemas.microsoft.com/office/drawing/2014/main" id="{3170B862-A0B6-9A57-14C4-0843101BB8B3}"/>
                </a:ext>
              </a:extLst>
            </p:cNvPr>
            <p:cNvGrpSpPr/>
            <p:nvPr/>
          </p:nvGrpSpPr>
          <p:grpSpPr>
            <a:xfrm>
              <a:off x="1481927" y="3483130"/>
              <a:ext cx="2116473" cy="1091935"/>
              <a:chOff x="1481927" y="3483130"/>
              <a:chExt cx="2116473" cy="1091935"/>
            </a:xfrm>
          </p:grpSpPr>
          <p:grpSp>
            <p:nvGrpSpPr>
              <p:cNvPr id="25" name="Group 24">
                <a:extLst>
                  <a:ext uri="{FF2B5EF4-FFF2-40B4-BE49-F238E27FC236}">
                    <a16:creationId xmlns:a16="http://schemas.microsoft.com/office/drawing/2014/main" id="{4F43BC6F-ECE0-E0F1-88A1-7B3C331BFA84}"/>
                  </a:ext>
                </a:extLst>
              </p:cNvPr>
              <p:cNvGrpSpPr/>
              <p:nvPr/>
            </p:nvGrpSpPr>
            <p:grpSpPr>
              <a:xfrm>
                <a:off x="1481927" y="3483130"/>
                <a:ext cx="2116473" cy="287358"/>
                <a:chOff x="1484971" y="3614359"/>
                <a:chExt cx="2116473" cy="287358"/>
              </a:xfrm>
            </p:grpSpPr>
            <p:pic>
              <p:nvPicPr>
                <p:cNvPr id="35" name="Graphic 34" descr="Badge Follow with solid fill">
                  <a:extLst>
                    <a:ext uri="{FF2B5EF4-FFF2-40B4-BE49-F238E27FC236}">
                      <a16:creationId xmlns:a16="http://schemas.microsoft.com/office/drawing/2014/main" id="{02D72D75-B65B-00B2-F8B9-467DAFFC3A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36" name="TextBox 35">
                  <a:extLst>
                    <a:ext uri="{FF2B5EF4-FFF2-40B4-BE49-F238E27FC236}">
                      <a16:creationId xmlns:a16="http://schemas.microsoft.com/office/drawing/2014/main" id="{31A2A895-F540-DB4D-5112-C6A2021704B0}"/>
                    </a:ext>
                  </a:extLst>
                </p:cNvPr>
                <p:cNvSpPr txBox="1"/>
                <p:nvPr/>
              </p:nvSpPr>
              <p:spPr bwMode="gray">
                <a:xfrm>
                  <a:off x="1744749" y="3614359"/>
                  <a:ext cx="1856695" cy="287358"/>
                </a:xfrm>
                <a:prstGeom prst="rect">
                  <a:avLst/>
                </a:prstGeom>
                <a:noFill/>
              </p:spPr>
              <p:txBody>
                <a:bodyPr wrap="none" lIns="36000" tIns="36000" rIns="36000" bIns="36000" rtlCol="0">
                  <a:spAutoFit/>
                </a:bodyPr>
                <a:lstStyle/>
                <a:p>
                  <a:pPr marL="0" indent="0">
                    <a:buNone/>
                  </a:pPr>
                  <a:r>
                    <a:rPr lang="en-US" sz="1100" dirty="0"/>
                    <a:t>Potentially higher scale </a:t>
                  </a:r>
                </a:p>
              </p:txBody>
            </p:sp>
          </p:grpSp>
          <p:grpSp>
            <p:nvGrpSpPr>
              <p:cNvPr id="26" name="Group 25">
                <a:extLst>
                  <a:ext uri="{FF2B5EF4-FFF2-40B4-BE49-F238E27FC236}">
                    <a16:creationId xmlns:a16="http://schemas.microsoft.com/office/drawing/2014/main" id="{E0F3412E-711E-7EE3-B300-68FF05046082}"/>
                  </a:ext>
                </a:extLst>
              </p:cNvPr>
              <p:cNvGrpSpPr/>
              <p:nvPr/>
            </p:nvGrpSpPr>
            <p:grpSpPr>
              <a:xfrm>
                <a:off x="1481927" y="3751322"/>
                <a:ext cx="1492089" cy="287358"/>
                <a:chOff x="1484971" y="3912958"/>
                <a:chExt cx="1492089" cy="287358"/>
              </a:xfrm>
            </p:grpSpPr>
            <p:pic>
              <p:nvPicPr>
                <p:cNvPr id="33" name="Graphic 32" descr="Badge Unfollow outline">
                  <a:extLst>
                    <a:ext uri="{FF2B5EF4-FFF2-40B4-BE49-F238E27FC236}">
                      <a16:creationId xmlns:a16="http://schemas.microsoft.com/office/drawing/2014/main" id="{A2DA756F-FD34-E817-840C-D27A9CC8C9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34" name="TextBox 33">
                  <a:extLst>
                    <a:ext uri="{FF2B5EF4-FFF2-40B4-BE49-F238E27FC236}">
                      <a16:creationId xmlns:a16="http://schemas.microsoft.com/office/drawing/2014/main" id="{115A1355-EBB5-866E-C7E4-66D61E6E427A}"/>
                    </a:ext>
                  </a:extLst>
                </p:cNvPr>
                <p:cNvSpPr txBox="1"/>
                <p:nvPr/>
              </p:nvSpPr>
              <p:spPr bwMode="gray">
                <a:xfrm>
                  <a:off x="1744749" y="3912958"/>
                  <a:ext cx="1232311" cy="287358"/>
                </a:xfrm>
                <a:prstGeom prst="rect">
                  <a:avLst/>
                </a:prstGeom>
                <a:noFill/>
              </p:spPr>
              <p:txBody>
                <a:bodyPr wrap="none" lIns="36000" tIns="36000" rIns="36000" bIns="36000" rtlCol="0">
                  <a:spAutoFit/>
                </a:bodyPr>
                <a:lstStyle/>
                <a:p>
                  <a:pPr marL="0" indent="0">
                    <a:buNone/>
                  </a:pPr>
                  <a:r>
                    <a:rPr lang="en-US" sz="1100" dirty="0"/>
                    <a:t>Seismicity risks</a:t>
                  </a:r>
                </a:p>
              </p:txBody>
            </p:sp>
          </p:grpSp>
          <p:grpSp>
            <p:nvGrpSpPr>
              <p:cNvPr id="27" name="Group 26">
                <a:extLst>
                  <a:ext uri="{FF2B5EF4-FFF2-40B4-BE49-F238E27FC236}">
                    <a16:creationId xmlns:a16="http://schemas.microsoft.com/office/drawing/2014/main" id="{CEBEF508-7063-63CF-679C-0D57EA1A48FF}"/>
                  </a:ext>
                </a:extLst>
              </p:cNvPr>
              <p:cNvGrpSpPr/>
              <p:nvPr/>
            </p:nvGrpSpPr>
            <p:grpSpPr>
              <a:xfrm>
                <a:off x="1481927" y="4019514"/>
                <a:ext cx="1966088" cy="287358"/>
                <a:chOff x="1484971" y="4167294"/>
                <a:chExt cx="1966088" cy="287358"/>
              </a:xfrm>
            </p:grpSpPr>
            <p:pic>
              <p:nvPicPr>
                <p:cNvPr id="31" name="Graphic 30" descr="Badge Unfollow outline">
                  <a:extLst>
                    <a:ext uri="{FF2B5EF4-FFF2-40B4-BE49-F238E27FC236}">
                      <a16:creationId xmlns:a16="http://schemas.microsoft.com/office/drawing/2014/main" id="{5500FE45-D7F4-FBC2-003D-6DC71227CB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32" name="TextBox 31">
                  <a:extLst>
                    <a:ext uri="{FF2B5EF4-FFF2-40B4-BE49-F238E27FC236}">
                      <a16:creationId xmlns:a16="http://schemas.microsoft.com/office/drawing/2014/main" id="{C2083BFD-8ED4-2D17-1BD9-96C93D98FCDE}"/>
                    </a:ext>
                  </a:extLst>
                </p:cNvPr>
                <p:cNvSpPr txBox="1"/>
                <p:nvPr/>
              </p:nvSpPr>
              <p:spPr bwMode="gray">
                <a:xfrm>
                  <a:off x="1744749" y="4167294"/>
                  <a:ext cx="1706310" cy="287358"/>
                </a:xfrm>
                <a:prstGeom prst="rect">
                  <a:avLst/>
                </a:prstGeom>
                <a:noFill/>
              </p:spPr>
              <p:txBody>
                <a:bodyPr wrap="none" lIns="36000" tIns="36000" rIns="36000" bIns="36000" rtlCol="0">
                  <a:spAutoFit/>
                </a:bodyPr>
                <a:lstStyle/>
                <a:p>
                  <a:pPr marL="0" indent="0">
                    <a:buNone/>
                  </a:pPr>
                  <a:r>
                    <a:rPr lang="en-US" sz="1100" dirty="0"/>
                    <a:t>Reservoir uncertainty</a:t>
                  </a:r>
                </a:p>
              </p:txBody>
            </p:sp>
          </p:grpSp>
          <p:grpSp>
            <p:nvGrpSpPr>
              <p:cNvPr id="28" name="Group 27">
                <a:extLst>
                  <a:ext uri="{FF2B5EF4-FFF2-40B4-BE49-F238E27FC236}">
                    <a16:creationId xmlns:a16="http://schemas.microsoft.com/office/drawing/2014/main" id="{1408FAC2-0F5C-98E2-1B59-2946661C2819}"/>
                  </a:ext>
                </a:extLst>
              </p:cNvPr>
              <p:cNvGrpSpPr/>
              <p:nvPr/>
            </p:nvGrpSpPr>
            <p:grpSpPr>
              <a:xfrm>
                <a:off x="1481927" y="4287707"/>
                <a:ext cx="1313150" cy="287358"/>
                <a:chOff x="1484971" y="4397408"/>
                <a:chExt cx="1313150" cy="287358"/>
              </a:xfrm>
            </p:grpSpPr>
            <p:pic>
              <p:nvPicPr>
                <p:cNvPr id="29" name="Graphic 28" descr="Badge Unfollow outline">
                  <a:extLst>
                    <a:ext uri="{FF2B5EF4-FFF2-40B4-BE49-F238E27FC236}">
                      <a16:creationId xmlns:a16="http://schemas.microsoft.com/office/drawing/2014/main" id="{9D2E3EC0-0AD8-1C94-2DCF-C4E1C71CEEF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30" name="TextBox 29">
                  <a:extLst>
                    <a:ext uri="{FF2B5EF4-FFF2-40B4-BE49-F238E27FC236}">
                      <a16:creationId xmlns:a16="http://schemas.microsoft.com/office/drawing/2014/main" id="{8A230283-4864-729C-E183-14104F9F507B}"/>
                    </a:ext>
                  </a:extLst>
                </p:cNvPr>
                <p:cNvSpPr txBox="1"/>
                <p:nvPr/>
              </p:nvSpPr>
              <p:spPr bwMode="gray">
                <a:xfrm>
                  <a:off x="1744749" y="4397408"/>
                  <a:ext cx="1053372" cy="287358"/>
                </a:xfrm>
                <a:prstGeom prst="rect">
                  <a:avLst/>
                </a:prstGeom>
                <a:noFill/>
              </p:spPr>
              <p:txBody>
                <a:bodyPr wrap="none" lIns="36000" tIns="36000" rIns="36000" bIns="36000" rtlCol="0">
                  <a:spAutoFit/>
                </a:bodyPr>
                <a:lstStyle/>
                <a:p>
                  <a:pPr marL="0" indent="0">
                    <a:buNone/>
                  </a:pPr>
                  <a:r>
                    <a:rPr lang="en-US" sz="1100" dirty="0"/>
                    <a:t>Water losses</a:t>
                  </a:r>
                </a:p>
              </p:txBody>
            </p:sp>
          </p:grpSp>
        </p:grpSp>
      </p:grpSp>
      <p:pic>
        <p:nvPicPr>
          <p:cNvPr id="39" name="Graphic 38" descr="Badge Follow with solid fill">
            <a:extLst>
              <a:ext uri="{FF2B5EF4-FFF2-40B4-BE49-F238E27FC236}">
                <a16:creationId xmlns:a16="http://schemas.microsoft.com/office/drawing/2014/main" id="{B09E98ED-5422-981E-A14A-E096F7A9BD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4806822"/>
            <a:ext cx="183035" cy="183035"/>
          </a:xfrm>
          <a:prstGeom prst="rect">
            <a:avLst/>
          </a:prstGeom>
        </p:spPr>
      </p:pic>
      <p:sp>
        <p:nvSpPr>
          <p:cNvPr id="40" name="TextBox 39">
            <a:extLst>
              <a:ext uri="{FF2B5EF4-FFF2-40B4-BE49-F238E27FC236}">
                <a16:creationId xmlns:a16="http://schemas.microsoft.com/office/drawing/2014/main" id="{D99EB458-8E8C-A12D-7070-F772507D175A}"/>
              </a:ext>
            </a:extLst>
          </p:cNvPr>
          <p:cNvSpPr txBox="1"/>
          <p:nvPr/>
        </p:nvSpPr>
        <p:spPr bwMode="gray">
          <a:xfrm>
            <a:off x="5932567" y="4796455"/>
            <a:ext cx="1375946" cy="241980"/>
          </a:xfrm>
          <a:prstGeom prst="rect">
            <a:avLst/>
          </a:prstGeom>
          <a:noFill/>
        </p:spPr>
        <p:txBody>
          <a:bodyPr wrap="none" lIns="36000" tIns="36000" rIns="36000" bIns="36000" rtlCol="0">
            <a:spAutoFit/>
          </a:bodyPr>
          <a:lstStyle/>
          <a:p>
            <a:pPr marL="0" indent="0">
              <a:buNone/>
            </a:pPr>
            <a:r>
              <a:rPr lang="en-US" sz="1100" dirty="0"/>
              <a:t>Geographic flexibility</a:t>
            </a:r>
          </a:p>
        </p:txBody>
      </p:sp>
      <p:pic>
        <p:nvPicPr>
          <p:cNvPr id="41" name="Graphic 40" descr="Badge Follow with solid fill">
            <a:extLst>
              <a:ext uri="{FF2B5EF4-FFF2-40B4-BE49-F238E27FC236}">
                <a16:creationId xmlns:a16="http://schemas.microsoft.com/office/drawing/2014/main" id="{505064BA-EC5D-B952-1A97-E111E8A2D9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5032663"/>
            <a:ext cx="183035" cy="183035"/>
          </a:xfrm>
          <a:prstGeom prst="rect">
            <a:avLst/>
          </a:prstGeom>
        </p:spPr>
      </p:pic>
      <p:sp>
        <p:nvSpPr>
          <p:cNvPr id="42" name="TextBox 41">
            <a:extLst>
              <a:ext uri="{FF2B5EF4-FFF2-40B4-BE49-F238E27FC236}">
                <a16:creationId xmlns:a16="http://schemas.microsoft.com/office/drawing/2014/main" id="{43CDDCA1-654D-A577-5681-60AA65ED13F4}"/>
              </a:ext>
            </a:extLst>
          </p:cNvPr>
          <p:cNvSpPr txBox="1"/>
          <p:nvPr/>
        </p:nvSpPr>
        <p:spPr bwMode="gray">
          <a:xfrm>
            <a:off x="5936387" y="5022296"/>
            <a:ext cx="1396785" cy="241980"/>
          </a:xfrm>
          <a:prstGeom prst="rect">
            <a:avLst/>
          </a:prstGeom>
          <a:noFill/>
        </p:spPr>
        <p:txBody>
          <a:bodyPr wrap="none" lIns="36000" tIns="36000" rIns="36000" bIns="36000" rtlCol="0">
            <a:spAutoFit/>
          </a:bodyPr>
          <a:lstStyle/>
          <a:p>
            <a:pPr marL="0" indent="0">
              <a:buNone/>
            </a:pPr>
            <a:r>
              <a:rPr lang="en-US" sz="1100" dirty="0"/>
              <a:t>No brine requirement</a:t>
            </a:r>
          </a:p>
        </p:txBody>
      </p:sp>
      <p:sp>
        <p:nvSpPr>
          <p:cNvPr id="43" name="TextBox 42">
            <a:extLst>
              <a:ext uri="{FF2B5EF4-FFF2-40B4-BE49-F238E27FC236}">
                <a16:creationId xmlns:a16="http://schemas.microsoft.com/office/drawing/2014/main" id="{AABAA392-DFA0-66F4-6AE0-297B2B8B83DA}"/>
              </a:ext>
            </a:extLst>
          </p:cNvPr>
          <p:cNvSpPr txBox="1"/>
          <p:nvPr/>
        </p:nvSpPr>
        <p:spPr bwMode="gray">
          <a:xfrm>
            <a:off x="5936388" y="5248136"/>
            <a:ext cx="1021681" cy="241980"/>
          </a:xfrm>
          <a:prstGeom prst="rect">
            <a:avLst/>
          </a:prstGeom>
          <a:noFill/>
        </p:spPr>
        <p:txBody>
          <a:bodyPr wrap="none" lIns="36000" tIns="36000" rIns="36000" bIns="36000" rtlCol="0">
            <a:spAutoFit/>
          </a:bodyPr>
          <a:lstStyle/>
          <a:p>
            <a:pPr marL="0" indent="0">
              <a:buNone/>
            </a:pPr>
            <a:r>
              <a:rPr lang="en-US" sz="1100" dirty="0"/>
              <a:t>No seismic risk</a:t>
            </a:r>
          </a:p>
        </p:txBody>
      </p:sp>
      <p:pic>
        <p:nvPicPr>
          <p:cNvPr id="44" name="Graphic 43" descr="Badge Unfollow outline">
            <a:extLst>
              <a:ext uri="{FF2B5EF4-FFF2-40B4-BE49-F238E27FC236}">
                <a16:creationId xmlns:a16="http://schemas.microsoft.com/office/drawing/2014/main" id="{9B846451-6656-52B6-8207-61FE57C38E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17632" y="5484344"/>
            <a:ext cx="183035" cy="183035"/>
          </a:xfrm>
          <a:prstGeom prst="rect">
            <a:avLst/>
          </a:prstGeom>
        </p:spPr>
      </p:pic>
      <p:sp>
        <p:nvSpPr>
          <p:cNvPr id="45" name="TextBox 44">
            <a:extLst>
              <a:ext uri="{FF2B5EF4-FFF2-40B4-BE49-F238E27FC236}">
                <a16:creationId xmlns:a16="http://schemas.microsoft.com/office/drawing/2014/main" id="{309DCD72-A44A-F139-E8A4-83B47E5D4769}"/>
              </a:ext>
            </a:extLst>
          </p:cNvPr>
          <p:cNvSpPr txBox="1"/>
          <p:nvPr/>
        </p:nvSpPr>
        <p:spPr bwMode="gray">
          <a:xfrm>
            <a:off x="5936387" y="5473977"/>
            <a:ext cx="1630823" cy="241980"/>
          </a:xfrm>
          <a:prstGeom prst="rect">
            <a:avLst/>
          </a:prstGeom>
          <a:noFill/>
        </p:spPr>
        <p:txBody>
          <a:bodyPr wrap="none" lIns="36000" tIns="36000" rIns="36000" bIns="36000" rtlCol="0">
            <a:spAutoFit/>
          </a:bodyPr>
          <a:lstStyle/>
          <a:p>
            <a:pPr marL="0" indent="0">
              <a:buNone/>
            </a:pPr>
            <a:r>
              <a:rPr lang="en-US" sz="1100" dirty="0"/>
              <a:t>Lower thermal efficiency </a:t>
            </a:r>
          </a:p>
        </p:txBody>
      </p:sp>
      <p:pic>
        <p:nvPicPr>
          <p:cNvPr id="46" name="Graphic 45" descr="Badge Unfollow outline">
            <a:extLst>
              <a:ext uri="{FF2B5EF4-FFF2-40B4-BE49-F238E27FC236}">
                <a16:creationId xmlns:a16="http://schemas.microsoft.com/office/drawing/2014/main" id="{0712A03F-6FFA-9C62-84D7-DF8437B5478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17632" y="5710185"/>
            <a:ext cx="183035" cy="183035"/>
          </a:xfrm>
          <a:prstGeom prst="rect">
            <a:avLst/>
          </a:prstGeom>
        </p:spPr>
      </p:pic>
      <p:sp>
        <p:nvSpPr>
          <p:cNvPr id="47" name="TextBox 46">
            <a:extLst>
              <a:ext uri="{FF2B5EF4-FFF2-40B4-BE49-F238E27FC236}">
                <a16:creationId xmlns:a16="http://schemas.microsoft.com/office/drawing/2014/main" id="{771FBAA5-A615-EA29-30CA-65788AAEB986}"/>
              </a:ext>
            </a:extLst>
          </p:cNvPr>
          <p:cNvSpPr txBox="1"/>
          <p:nvPr/>
        </p:nvSpPr>
        <p:spPr bwMode="gray">
          <a:xfrm>
            <a:off x="5936385" y="5699818"/>
            <a:ext cx="2478811" cy="411257"/>
          </a:xfrm>
          <a:prstGeom prst="rect">
            <a:avLst/>
          </a:prstGeom>
          <a:noFill/>
        </p:spPr>
        <p:txBody>
          <a:bodyPr wrap="none" lIns="36000" tIns="36000" rIns="36000" bIns="36000" rtlCol="0">
            <a:spAutoFit/>
          </a:bodyPr>
          <a:lstStyle/>
          <a:p>
            <a:pPr marL="0" indent="0">
              <a:buNone/>
            </a:pPr>
            <a:r>
              <a:rPr lang="en-US" sz="1100" dirty="0"/>
              <a:t>Higher CapEx requirements compared</a:t>
            </a:r>
            <a:br>
              <a:rPr lang="en-US" sz="1100" dirty="0"/>
            </a:br>
            <a:r>
              <a:rPr lang="en-US" sz="1100" dirty="0"/>
              <a:t>to EGS</a:t>
            </a:r>
          </a:p>
        </p:txBody>
      </p:sp>
      <p:pic>
        <p:nvPicPr>
          <p:cNvPr id="48" name="Graphic 47" descr="Badge Follow with solid fill">
            <a:extLst>
              <a:ext uri="{FF2B5EF4-FFF2-40B4-BE49-F238E27FC236}">
                <a16:creationId xmlns:a16="http://schemas.microsoft.com/office/drawing/2014/main" id="{77A09343-3B46-EA5E-8DED-42F8157C32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01069" y="4796455"/>
            <a:ext cx="183035" cy="183035"/>
          </a:xfrm>
          <a:prstGeom prst="rect">
            <a:avLst/>
          </a:prstGeom>
        </p:spPr>
      </p:pic>
      <p:sp>
        <p:nvSpPr>
          <p:cNvPr id="49" name="TextBox 48">
            <a:extLst>
              <a:ext uri="{FF2B5EF4-FFF2-40B4-BE49-F238E27FC236}">
                <a16:creationId xmlns:a16="http://schemas.microsoft.com/office/drawing/2014/main" id="{A43D67D6-BC36-C7E5-03EF-0C353EFFFB26}"/>
              </a:ext>
            </a:extLst>
          </p:cNvPr>
          <p:cNvSpPr txBox="1"/>
          <p:nvPr/>
        </p:nvSpPr>
        <p:spPr bwMode="gray">
          <a:xfrm>
            <a:off x="9121946" y="4786088"/>
            <a:ext cx="1318237" cy="241980"/>
          </a:xfrm>
          <a:prstGeom prst="rect">
            <a:avLst/>
          </a:prstGeom>
          <a:noFill/>
        </p:spPr>
        <p:txBody>
          <a:bodyPr wrap="none" lIns="36000" tIns="36000" rIns="36000" bIns="36000" rtlCol="0">
            <a:spAutoFit/>
          </a:bodyPr>
          <a:lstStyle/>
          <a:p>
            <a:pPr marL="0" indent="0">
              <a:buNone/>
            </a:pPr>
            <a:r>
              <a:rPr lang="en-US" sz="1100" dirty="0"/>
              <a:t>Much higher energy</a:t>
            </a:r>
          </a:p>
        </p:txBody>
      </p:sp>
      <p:pic>
        <p:nvPicPr>
          <p:cNvPr id="50" name="Graphic 49" descr="Badge Unfollow outline">
            <a:extLst>
              <a:ext uri="{FF2B5EF4-FFF2-40B4-BE49-F238E27FC236}">
                <a16:creationId xmlns:a16="http://schemas.microsoft.com/office/drawing/2014/main" id="{1DE960ED-AAFC-83F9-B705-9E2CEBE3B6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01069" y="5029022"/>
            <a:ext cx="183035" cy="183035"/>
          </a:xfrm>
          <a:prstGeom prst="rect">
            <a:avLst/>
          </a:prstGeom>
        </p:spPr>
      </p:pic>
      <p:sp>
        <p:nvSpPr>
          <p:cNvPr id="51" name="TextBox 50">
            <a:extLst>
              <a:ext uri="{FF2B5EF4-FFF2-40B4-BE49-F238E27FC236}">
                <a16:creationId xmlns:a16="http://schemas.microsoft.com/office/drawing/2014/main" id="{C1660437-B384-FF13-329C-FA7B97CC0C1A}"/>
              </a:ext>
            </a:extLst>
          </p:cNvPr>
          <p:cNvSpPr txBox="1"/>
          <p:nvPr/>
        </p:nvSpPr>
        <p:spPr bwMode="gray">
          <a:xfrm>
            <a:off x="9119824" y="5018655"/>
            <a:ext cx="2305687" cy="411257"/>
          </a:xfrm>
          <a:prstGeom prst="rect">
            <a:avLst/>
          </a:prstGeom>
          <a:noFill/>
        </p:spPr>
        <p:txBody>
          <a:bodyPr wrap="none" lIns="36000" tIns="36000" rIns="36000" bIns="36000" rtlCol="0">
            <a:spAutoFit/>
          </a:bodyPr>
          <a:lstStyle/>
          <a:p>
            <a:pPr marL="0" indent="0">
              <a:buNone/>
            </a:pPr>
            <a:r>
              <a:rPr lang="en-US" sz="1100" dirty="0"/>
              <a:t>Long development time and highest</a:t>
            </a:r>
            <a:br>
              <a:rPr lang="en-US" sz="1100" dirty="0"/>
            </a:br>
            <a:r>
              <a:rPr lang="en-US" sz="1100" dirty="0"/>
              <a:t>cost requirement</a:t>
            </a:r>
          </a:p>
        </p:txBody>
      </p:sp>
      <p:pic>
        <p:nvPicPr>
          <p:cNvPr id="52" name="Graphic 51" descr="Badge Follow with solid fill">
            <a:extLst>
              <a:ext uri="{FF2B5EF4-FFF2-40B4-BE49-F238E27FC236}">
                <a16:creationId xmlns:a16="http://schemas.microsoft.com/office/drawing/2014/main" id="{76C6E546-F54B-1F3B-CA03-2E994C4E74A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5257746"/>
            <a:ext cx="183035" cy="183035"/>
          </a:xfrm>
          <a:prstGeom prst="rect">
            <a:avLst/>
          </a:prstGeom>
        </p:spPr>
      </p:pic>
      <p:pic>
        <p:nvPicPr>
          <p:cNvPr id="53" name="Graphic 52" descr="Badge Unfollow outline">
            <a:extLst>
              <a:ext uri="{FF2B5EF4-FFF2-40B4-BE49-F238E27FC236}">
                <a16:creationId xmlns:a16="http://schemas.microsoft.com/office/drawing/2014/main" id="{93D74D94-9EEF-D653-0863-DD6A9BE4A2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01069" y="5453565"/>
            <a:ext cx="183035" cy="183035"/>
          </a:xfrm>
          <a:prstGeom prst="rect">
            <a:avLst/>
          </a:prstGeom>
        </p:spPr>
      </p:pic>
      <p:sp>
        <p:nvSpPr>
          <p:cNvPr id="54" name="TextBox 53">
            <a:extLst>
              <a:ext uri="{FF2B5EF4-FFF2-40B4-BE49-F238E27FC236}">
                <a16:creationId xmlns:a16="http://schemas.microsoft.com/office/drawing/2014/main" id="{F285B961-BECA-0AC7-4D35-6A165EB5A7A2}"/>
              </a:ext>
            </a:extLst>
          </p:cNvPr>
          <p:cNvSpPr txBox="1"/>
          <p:nvPr/>
        </p:nvSpPr>
        <p:spPr bwMode="gray">
          <a:xfrm>
            <a:off x="9119824" y="5443198"/>
            <a:ext cx="2643465" cy="411257"/>
          </a:xfrm>
          <a:prstGeom prst="rect">
            <a:avLst/>
          </a:prstGeom>
          <a:noFill/>
        </p:spPr>
        <p:txBody>
          <a:bodyPr wrap="square" lIns="36000" tIns="36000" rIns="36000" bIns="36000" rtlCol="0">
            <a:spAutoFit/>
          </a:bodyPr>
          <a:lstStyle/>
          <a:p>
            <a:pPr marL="0" indent="0">
              <a:buNone/>
            </a:pPr>
            <a:r>
              <a:rPr lang="en-US" sz="1100" dirty="0"/>
              <a:t>Extreme drilling challenges and equipment limitations</a:t>
            </a:r>
          </a:p>
        </p:txBody>
      </p:sp>
      <p:sp>
        <p:nvSpPr>
          <p:cNvPr id="55" name="TextBox 54">
            <a:extLst>
              <a:ext uri="{FF2B5EF4-FFF2-40B4-BE49-F238E27FC236}">
                <a16:creationId xmlns:a16="http://schemas.microsoft.com/office/drawing/2014/main" id="{EE885843-837C-E5A0-B55E-D031CFC883A5}"/>
              </a:ext>
            </a:extLst>
          </p:cNvPr>
          <p:cNvSpPr txBox="1"/>
          <p:nvPr/>
        </p:nvSpPr>
        <p:spPr bwMode="gray">
          <a:xfrm>
            <a:off x="8880535" y="1550138"/>
            <a:ext cx="2926080" cy="607121"/>
          </a:xfrm>
          <a:prstGeom prst="rect">
            <a:avLst/>
          </a:prstGeom>
          <a:solidFill>
            <a:schemeClr val="accent5"/>
          </a:solidFill>
          <a:ln w="28575">
            <a:noFill/>
            <a:prstDash val="dash"/>
          </a:ln>
        </p:spPr>
        <p:txBody>
          <a:bodyPr wrap="square" lIns="91440" tIns="91440" rIns="91440" bIns="91440" rtlCol="0" anchor="ctr">
            <a:noAutofit/>
          </a:bodyPr>
          <a:lstStyle/>
          <a:p>
            <a:pPr marL="0" indent="0" algn="ctr">
              <a:spcBef>
                <a:spcPts val="0"/>
              </a:spcBef>
              <a:buNone/>
            </a:pPr>
            <a:r>
              <a:rPr lang="en-US" sz="1400" b="1" dirty="0">
                <a:solidFill>
                  <a:schemeClr val="bg1"/>
                </a:solidFill>
              </a:rPr>
              <a:t>Frontier technologies</a:t>
            </a:r>
          </a:p>
        </p:txBody>
      </p:sp>
      <p:cxnSp>
        <p:nvCxnSpPr>
          <p:cNvPr id="56" name="Straight Connector 55">
            <a:extLst>
              <a:ext uri="{FF2B5EF4-FFF2-40B4-BE49-F238E27FC236}">
                <a16:creationId xmlns:a16="http://schemas.microsoft.com/office/drawing/2014/main" id="{FCE48DFC-5BD7-D4D3-A220-BAADDCD6355B}"/>
              </a:ext>
            </a:extLst>
          </p:cNvPr>
          <p:cNvCxnSpPr>
            <a:cxnSpLocks/>
            <a:stCxn id="55" idx="2"/>
            <a:endCxn id="9" idx="0"/>
          </p:cNvCxnSpPr>
          <p:nvPr/>
        </p:nvCxnSpPr>
        <p:spPr bwMode="gray">
          <a:xfrm>
            <a:off x="10343575" y="2157259"/>
            <a:ext cx="8633" cy="3318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72BDA30F-84DC-B693-7DC4-88B55171823B}"/>
              </a:ext>
            </a:extLst>
          </p:cNvPr>
          <p:cNvSpPr/>
          <p:nvPr/>
        </p:nvSpPr>
        <p:spPr bwMode="gray">
          <a:xfrm>
            <a:off x="8776006"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C</a:t>
            </a:r>
          </a:p>
        </p:txBody>
      </p:sp>
    </p:spTree>
    <p:extLst>
      <p:ext uri="{BB962C8B-B14F-4D97-AF65-F5344CB8AC3E}">
        <p14:creationId xmlns:p14="http://schemas.microsoft.com/office/powerpoint/2010/main" val="14124254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0FC73-2AE1-90FA-8E1B-8F109DB72221}"/>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4C22CA-8960-22FA-CA7F-66185A72B09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DDCB567-B3EA-1C09-AEA9-95510A33EC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CED342E-6B79-FE93-C897-BAB3074F0280}"/>
              </a:ext>
            </a:extLst>
          </p:cNvPr>
          <p:cNvSpPr>
            <a:spLocks noGrp="1"/>
          </p:cNvSpPr>
          <p:nvPr>
            <p:ph type="title"/>
          </p:nvPr>
        </p:nvSpPr>
        <p:spPr/>
        <p:txBody>
          <a:bodyPr vert="horz" rIns="91440"/>
          <a:lstStyle/>
          <a:p>
            <a:r>
              <a:rPr lang="en-US" dirty="0"/>
              <a:t>Enhanced geothermal systems fracture hot rock to unlock geothermal resources beyond natural hydrothermal zones</a:t>
            </a:r>
          </a:p>
        </p:txBody>
      </p:sp>
      <p:sp>
        <p:nvSpPr>
          <p:cNvPr id="4" name="Footer Placeholder 3">
            <a:extLst>
              <a:ext uri="{FF2B5EF4-FFF2-40B4-BE49-F238E27FC236}">
                <a16:creationId xmlns:a16="http://schemas.microsoft.com/office/drawing/2014/main" id="{DD9DE6BF-30A1-EBE2-E1C2-C24B2012CC6E}"/>
              </a:ext>
            </a:extLst>
          </p:cNvPr>
          <p:cNvSpPr>
            <a:spLocks noGrp="1"/>
          </p:cNvSpPr>
          <p:nvPr>
            <p:ph type="ftr" sz="quarter" idx="3"/>
          </p:nvPr>
        </p:nvSpPr>
        <p:spPr>
          <a:xfrm>
            <a:off x="334962" y="6463182"/>
            <a:ext cx="9147241" cy="216706"/>
          </a:xfrm>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A systematic review of enhanced geothermal systems</a:t>
            </a:r>
            <a:r>
              <a:rPr lang="en-US" dirty="0">
                <a:solidFill>
                  <a:srgbClr val="000000"/>
                </a:solidFill>
              </a:rPr>
              <a:t> (Geothermal Energy, 2013); </a:t>
            </a:r>
            <a:r>
              <a:rPr lang="en-US" dirty="0">
                <a:solidFill>
                  <a:srgbClr val="000000"/>
                </a:solidFill>
                <a:hlinkClick r:id="rId7"/>
              </a:rPr>
              <a:t>Advanced Geothermal Technologies</a:t>
            </a:r>
            <a:r>
              <a:rPr lang="en-US" dirty="0">
                <a:solidFill>
                  <a:srgbClr val="000000"/>
                </a:solidFill>
              </a:rPr>
              <a:t> (</a:t>
            </a:r>
            <a:r>
              <a:rPr lang="en-US" dirty="0" err="1">
                <a:solidFill>
                  <a:srgbClr val="000000"/>
                </a:solidFill>
              </a:rPr>
              <a:t>ThinkGeo</a:t>
            </a:r>
            <a:r>
              <a:rPr lang="en-US" dirty="0">
                <a:solidFill>
                  <a:srgbClr val="000000"/>
                </a:solidFill>
              </a:rPr>
              <a:t>, n.d.).</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8" name="Oval 7">
            <a:extLst>
              <a:ext uri="{FF2B5EF4-FFF2-40B4-BE49-F238E27FC236}">
                <a16:creationId xmlns:a16="http://schemas.microsoft.com/office/drawing/2014/main" id="{0EDADBF0-8C7B-2530-BA22-A768729A0A0C}"/>
              </a:ext>
            </a:extLst>
          </p:cNvPr>
          <p:cNvSpPr>
            <a:spLocks noChangeAspect="1"/>
          </p:cNvSpPr>
          <p:nvPr/>
        </p:nvSpPr>
        <p:spPr bwMode="gray">
          <a:xfrm>
            <a:off x="54230" y="558865"/>
            <a:ext cx="274320" cy="274320"/>
          </a:xfrm>
          <a:prstGeom prst="ellipse">
            <a:avLst/>
          </a:prstGeom>
          <a:solidFill>
            <a:srgbClr val="A7E2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7F2E0CF8-4DF4-0BA8-7386-9575C4255AE4}"/>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t>A</a:t>
            </a:r>
          </a:p>
        </p:txBody>
      </p:sp>
      <p:sp>
        <p:nvSpPr>
          <p:cNvPr id="2" name="Text Placeholder 1">
            <a:extLst>
              <a:ext uri="{FF2B5EF4-FFF2-40B4-BE49-F238E27FC236}">
                <a16:creationId xmlns:a16="http://schemas.microsoft.com/office/drawing/2014/main" id="{F1C672BF-9315-6181-574C-D4CB5D68CC25}"/>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6" name="Rounded Rectangle 5">
            <a:extLst>
              <a:ext uri="{FF2B5EF4-FFF2-40B4-BE49-F238E27FC236}">
                <a16:creationId xmlns:a16="http://schemas.microsoft.com/office/drawing/2014/main" id="{20475F89-A5E2-5FA6-E8E6-9C7DC230E20C}"/>
              </a:ext>
            </a:extLst>
          </p:cNvPr>
          <p:cNvSpPr/>
          <p:nvPr/>
        </p:nvSpPr>
        <p:spPr bwMode="gray">
          <a:xfrm>
            <a:off x="8105486" y="3968595"/>
            <a:ext cx="3756314" cy="2400733"/>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 name="TextBox 6">
            <a:extLst>
              <a:ext uri="{FF2B5EF4-FFF2-40B4-BE49-F238E27FC236}">
                <a16:creationId xmlns:a16="http://schemas.microsoft.com/office/drawing/2014/main" id="{83841595-2FBC-13CF-88B4-BD3721CD4058}"/>
              </a:ext>
            </a:extLst>
          </p:cNvPr>
          <p:cNvSpPr txBox="1"/>
          <p:nvPr/>
        </p:nvSpPr>
        <p:spPr bwMode="gray">
          <a:xfrm>
            <a:off x="8701548" y="4223146"/>
            <a:ext cx="1156333"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Disadvantages</a:t>
            </a:r>
            <a:endParaRPr lang="en-US" sz="1200" dirty="0"/>
          </a:p>
        </p:txBody>
      </p:sp>
      <p:cxnSp>
        <p:nvCxnSpPr>
          <p:cNvPr id="106" name="Straight Connector 105">
            <a:extLst>
              <a:ext uri="{FF2B5EF4-FFF2-40B4-BE49-F238E27FC236}">
                <a16:creationId xmlns:a16="http://schemas.microsoft.com/office/drawing/2014/main" id="{4E91CA13-C32F-C189-2078-867B2C97C364}"/>
              </a:ext>
            </a:extLst>
          </p:cNvPr>
          <p:cNvCxnSpPr>
            <a:cxnSpLocks/>
          </p:cNvCxnSpPr>
          <p:nvPr/>
        </p:nvCxnSpPr>
        <p:spPr bwMode="gray">
          <a:xfrm>
            <a:off x="8354401" y="4564843"/>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07" name="Graphic 106" descr="Badge Unfollow with solid fill">
            <a:extLst>
              <a:ext uri="{FF2B5EF4-FFF2-40B4-BE49-F238E27FC236}">
                <a16:creationId xmlns:a16="http://schemas.microsoft.com/office/drawing/2014/main" id="{54236C91-B8D5-2DB4-7256-CAD1134D05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4401" y="4197853"/>
            <a:ext cx="292608" cy="292608"/>
          </a:xfrm>
          <a:prstGeom prst="rect">
            <a:avLst/>
          </a:prstGeom>
        </p:spPr>
      </p:pic>
      <p:sp>
        <p:nvSpPr>
          <p:cNvPr id="108" name="Rectangle 107">
            <a:extLst>
              <a:ext uri="{FF2B5EF4-FFF2-40B4-BE49-F238E27FC236}">
                <a16:creationId xmlns:a16="http://schemas.microsoft.com/office/drawing/2014/main" id="{C5E585C7-2EFC-1A33-64F2-EE7AAD1AB7E4}"/>
              </a:ext>
            </a:extLst>
          </p:cNvPr>
          <p:cNvSpPr/>
          <p:nvPr/>
        </p:nvSpPr>
        <p:spPr bwMode="gray">
          <a:xfrm>
            <a:off x="792585" y="4176361"/>
            <a:ext cx="130761" cy="223104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Rectangle 108">
            <a:extLst>
              <a:ext uri="{FF2B5EF4-FFF2-40B4-BE49-F238E27FC236}">
                <a16:creationId xmlns:a16="http://schemas.microsoft.com/office/drawing/2014/main" id="{3B98303B-7F26-7FB3-1AE7-B2E63D72892E}"/>
              </a:ext>
            </a:extLst>
          </p:cNvPr>
          <p:cNvSpPr/>
          <p:nvPr/>
        </p:nvSpPr>
        <p:spPr bwMode="gray">
          <a:xfrm>
            <a:off x="3554153" y="4176361"/>
            <a:ext cx="130761" cy="22310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10" name="Group 109">
            <a:extLst>
              <a:ext uri="{FF2B5EF4-FFF2-40B4-BE49-F238E27FC236}">
                <a16:creationId xmlns:a16="http://schemas.microsoft.com/office/drawing/2014/main" id="{DBDA4C17-3AED-682D-03CB-F6B81E12C7B7}"/>
              </a:ext>
            </a:extLst>
          </p:cNvPr>
          <p:cNvGrpSpPr/>
          <p:nvPr/>
        </p:nvGrpSpPr>
        <p:grpSpPr>
          <a:xfrm>
            <a:off x="1310840" y="5575760"/>
            <a:ext cx="1917334" cy="481573"/>
            <a:chOff x="1310840" y="5219814"/>
            <a:chExt cx="1917334" cy="481573"/>
          </a:xfrm>
        </p:grpSpPr>
        <p:cxnSp>
          <p:nvCxnSpPr>
            <p:cNvPr id="111" name="Straight Connector 110">
              <a:extLst>
                <a:ext uri="{FF2B5EF4-FFF2-40B4-BE49-F238E27FC236}">
                  <a16:creationId xmlns:a16="http://schemas.microsoft.com/office/drawing/2014/main" id="{41345E95-738F-33D6-5658-1DC359AA1C19}"/>
                </a:ext>
              </a:extLst>
            </p:cNvPr>
            <p:cNvCxnSpPr/>
            <p:nvPr/>
          </p:nvCxnSpPr>
          <p:spPr bwMode="gray">
            <a:xfrm flipV="1">
              <a:off x="1434341" y="5265529"/>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35A3722-456E-11C1-DD91-5C362DEB8C59}"/>
                </a:ext>
              </a:extLst>
            </p:cNvPr>
            <p:cNvCxnSpPr/>
            <p:nvPr/>
          </p:nvCxnSpPr>
          <p:spPr bwMode="gray">
            <a:xfrm flipV="1">
              <a:off x="1544409" y="5335908"/>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558685B9-A0DA-49CC-A571-E063C6BEC9CE}"/>
                </a:ext>
              </a:extLst>
            </p:cNvPr>
            <p:cNvCxnSpPr/>
            <p:nvPr/>
          </p:nvCxnSpPr>
          <p:spPr bwMode="gray">
            <a:xfrm flipV="1">
              <a:off x="1697803" y="5384152"/>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1BEA7B-4D1D-767B-CDD9-677F8CB03239}"/>
                </a:ext>
              </a:extLst>
            </p:cNvPr>
            <p:cNvCxnSpPr/>
            <p:nvPr/>
          </p:nvCxnSpPr>
          <p:spPr bwMode="gray">
            <a:xfrm rot="11749703" flipV="1">
              <a:off x="1531958" y="5405801"/>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3662EBE-2672-7CF5-4BF4-DDB7934AC752}"/>
                </a:ext>
              </a:extLst>
            </p:cNvPr>
            <p:cNvCxnSpPr/>
            <p:nvPr/>
          </p:nvCxnSpPr>
          <p:spPr bwMode="gray">
            <a:xfrm rot="11749703" flipV="1">
              <a:off x="1445259" y="5308068"/>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CA4CF2B-1C53-66BA-7406-47E732C09544}"/>
                </a:ext>
              </a:extLst>
            </p:cNvPr>
            <p:cNvCxnSpPr/>
            <p:nvPr/>
          </p:nvCxnSpPr>
          <p:spPr bwMode="gray">
            <a:xfrm rot="11749703" flipV="1">
              <a:off x="1310840" y="5219814"/>
              <a:ext cx="1530371" cy="295586"/>
            </a:xfrm>
            <a:prstGeom prst="line">
              <a:avLst/>
            </a:prstGeom>
            <a:ln w="9525" cap="flat">
              <a:gradFill flip="none" rotWithShape="1">
                <a:gsLst>
                  <a:gs pos="0">
                    <a:schemeClr val="accent2">
                      <a:lumMod val="5000"/>
                      <a:lumOff val="95000"/>
                    </a:schemeClr>
                  </a:gs>
                  <a:gs pos="52000">
                    <a:schemeClr val="accent2">
                      <a:lumMod val="45000"/>
                      <a:lumOff val="55000"/>
                    </a:schemeClr>
                  </a:gs>
                  <a:gs pos="66000">
                    <a:schemeClr val="accent5"/>
                  </a:gs>
                  <a:gs pos="100000">
                    <a:schemeClr val="accent5">
                      <a:lumMod val="20000"/>
                      <a:lumOff val="80000"/>
                    </a:schemeClr>
                  </a:gs>
                </a:gsLst>
                <a:lin ang="5400000" scaled="1"/>
                <a:tileRect/>
              </a:gra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7" name="TextBox 116">
            <a:extLst>
              <a:ext uri="{FF2B5EF4-FFF2-40B4-BE49-F238E27FC236}">
                <a16:creationId xmlns:a16="http://schemas.microsoft.com/office/drawing/2014/main" id="{3A85F2DA-28A9-A2D2-C8B1-3EF2057B7BB5}"/>
              </a:ext>
            </a:extLst>
          </p:cNvPr>
          <p:cNvSpPr txBox="1"/>
          <p:nvPr/>
        </p:nvSpPr>
        <p:spPr bwMode="gray">
          <a:xfrm>
            <a:off x="1537307" y="6061499"/>
            <a:ext cx="2314408" cy="226591"/>
          </a:xfrm>
          <a:prstGeom prst="rect">
            <a:avLst/>
          </a:prstGeom>
          <a:noFill/>
        </p:spPr>
        <p:txBody>
          <a:bodyPr wrap="square" lIns="36000" tIns="36000" rIns="36000" bIns="36000" rtlCol="0">
            <a:spAutoFit/>
          </a:bodyPr>
          <a:lstStyle/>
          <a:p>
            <a:pPr marL="0" indent="0">
              <a:buNone/>
            </a:pPr>
            <a:r>
              <a:rPr lang="en-US" sz="1000" dirty="0"/>
              <a:t>Created fracture network</a:t>
            </a:r>
          </a:p>
        </p:txBody>
      </p:sp>
      <p:pic>
        <p:nvPicPr>
          <p:cNvPr id="118" name="Graphic 117" descr="Badge 1 with solid fill">
            <a:extLst>
              <a:ext uri="{FF2B5EF4-FFF2-40B4-BE49-F238E27FC236}">
                <a16:creationId xmlns:a16="http://schemas.microsoft.com/office/drawing/2014/main" id="{B68570AF-B1CB-87A3-7D6A-4A83B9890E9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24929" y="5555888"/>
            <a:ext cx="193802" cy="188377"/>
          </a:xfrm>
          <a:prstGeom prst="rect">
            <a:avLst/>
          </a:prstGeom>
        </p:spPr>
      </p:pic>
      <p:grpSp>
        <p:nvGrpSpPr>
          <p:cNvPr id="119" name="Group 118">
            <a:extLst>
              <a:ext uri="{FF2B5EF4-FFF2-40B4-BE49-F238E27FC236}">
                <a16:creationId xmlns:a16="http://schemas.microsoft.com/office/drawing/2014/main" id="{7ADFA066-9315-F9E2-AB9A-E8CA65E80219}"/>
              </a:ext>
            </a:extLst>
          </p:cNvPr>
          <p:cNvGrpSpPr/>
          <p:nvPr/>
        </p:nvGrpSpPr>
        <p:grpSpPr>
          <a:xfrm>
            <a:off x="4184996" y="1554480"/>
            <a:ext cx="3756314" cy="4842571"/>
            <a:chOff x="4184996" y="1554480"/>
            <a:chExt cx="3756314" cy="4842571"/>
          </a:xfrm>
        </p:grpSpPr>
        <p:sp>
          <p:nvSpPr>
            <p:cNvPr id="120" name="Rounded Rectangle 119">
              <a:extLst>
                <a:ext uri="{FF2B5EF4-FFF2-40B4-BE49-F238E27FC236}">
                  <a16:creationId xmlns:a16="http://schemas.microsoft.com/office/drawing/2014/main" id="{4D307539-032F-97D1-FD2E-1997A5BF2512}"/>
                </a:ext>
              </a:extLst>
            </p:cNvPr>
            <p:cNvSpPr/>
            <p:nvPr/>
          </p:nvSpPr>
          <p:spPr bwMode="gray">
            <a:xfrm>
              <a:off x="4184996" y="1554480"/>
              <a:ext cx="3756314" cy="4842571"/>
            </a:xfrm>
            <a:prstGeom prst="roundRect">
              <a:avLst>
                <a:gd name="adj" fmla="val 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21" name="Graphic 120" descr="Badge 1 with solid fill">
              <a:extLst>
                <a:ext uri="{FF2B5EF4-FFF2-40B4-BE49-F238E27FC236}">
                  <a16:creationId xmlns:a16="http://schemas.microsoft.com/office/drawing/2014/main" id="{3F7226C9-4823-A679-39C1-F008A58C03A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3556" y="2005875"/>
              <a:ext cx="245419" cy="245419"/>
            </a:xfrm>
            <a:prstGeom prst="rect">
              <a:avLst/>
            </a:prstGeom>
          </p:spPr>
        </p:pic>
        <p:sp>
          <p:nvSpPr>
            <p:cNvPr id="122" name="TextBox 121">
              <a:extLst>
                <a:ext uri="{FF2B5EF4-FFF2-40B4-BE49-F238E27FC236}">
                  <a16:creationId xmlns:a16="http://schemas.microsoft.com/office/drawing/2014/main" id="{D682E5EB-9918-E9A5-CB21-F178D1DBF1DE}"/>
                </a:ext>
              </a:extLst>
            </p:cNvPr>
            <p:cNvSpPr txBox="1"/>
            <p:nvPr/>
          </p:nvSpPr>
          <p:spPr bwMode="gray">
            <a:xfrm>
              <a:off x="4723181" y="2005875"/>
              <a:ext cx="3158543" cy="1411531"/>
            </a:xfrm>
            <a:prstGeom prst="rect">
              <a:avLst/>
            </a:prstGeom>
            <a:noFill/>
          </p:spPr>
          <p:txBody>
            <a:bodyPr wrap="square" lIns="36000" tIns="36000" rIns="36000" bIns="36000" rtlCol="0">
              <a:spAutoFit/>
            </a:bodyPr>
            <a:lstStyle/>
            <a:p>
              <a:pPr marL="0" indent="0">
                <a:buNone/>
              </a:pPr>
              <a:r>
                <a:rPr lang="en-US" sz="1100" b="1" dirty="0"/>
                <a:t>Pre-production steps:</a:t>
              </a:r>
              <a:br>
                <a:rPr lang="en-US" sz="1100" dirty="0"/>
              </a:br>
              <a:r>
                <a:rPr lang="en-US" sz="1100" dirty="0"/>
                <a:t>   - Drill an injection well and a production well    into hot, low-permeability rock.</a:t>
              </a:r>
              <a:br>
                <a:rPr lang="en-US" sz="1100" dirty="0"/>
              </a:br>
              <a:r>
                <a:rPr lang="en-US" sz="1100" dirty="0"/>
                <a:t>   - Perform hydraulic stimulation to create/enhance a fracture connecting the wells.</a:t>
              </a:r>
              <a:br>
                <a:rPr lang="en-US" sz="1100" dirty="0"/>
              </a:br>
              <a:r>
                <a:rPr lang="en-US" sz="1100" dirty="0"/>
                <a:t>   - Pump water down the injection well.</a:t>
              </a:r>
            </a:p>
            <a:p>
              <a:pPr marL="0" indent="0">
                <a:buNone/>
              </a:pPr>
              <a:endParaRPr lang="en-US" sz="1100" dirty="0"/>
            </a:p>
          </p:txBody>
        </p:sp>
        <p:sp>
          <p:nvSpPr>
            <p:cNvPr id="123" name="TextBox 122">
              <a:extLst>
                <a:ext uri="{FF2B5EF4-FFF2-40B4-BE49-F238E27FC236}">
                  <a16:creationId xmlns:a16="http://schemas.microsoft.com/office/drawing/2014/main" id="{EAEFAE87-0807-2B3F-C6B3-FA3AD6537B9D}"/>
                </a:ext>
              </a:extLst>
            </p:cNvPr>
            <p:cNvSpPr txBox="1"/>
            <p:nvPr/>
          </p:nvSpPr>
          <p:spPr bwMode="gray">
            <a:xfrm>
              <a:off x="4723181" y="3139087"/>
              <a:ext cx="3101981" cy="749812"/>
            </a:xfrm>
            <a:prstGeom prst="rect">
              <a:avLst/>
            </a:prstGeom>
            <a:noFill/>
          </p:spPr>
          <p:txBody>
            <a:bodyPr wrap="square" lIns="36000" tIns="36000" rIns="36000" bIns="36000" rtlCol="0">
              <a:spAutoFit/>
            </a:bodyPr>
            <a:lstStyle/>
            <a:p>
              <a:pPr marL="0" indent="0">
                <a:buNone/>
              </a:pPr>
              <a:r>
                <a:rPr lang="en-US" sz="1100" b="1" dirty="0"/>
                <a:t>Water flows through the engineered fractures, heating up as it contacts the hot rock</a:t>
              </a:r>
              <a:r>
                <a:rPr lang="en-US" sz="1100" dirty="0"/>
                <a:t>. The heated water returns up the production well to the surface.</a:t>
              </a:r>
              <a:endParaRPr lang="en-US" sz="1100" b="1" dirty="0"/>
            </a:p>
          </p:txBody>
        </p:sp>
        <p:pic>
          <p:nvPicPr>
            <p:cNvPr id="124" name="Graphic 123" descr="Badge with solid fill">
              <a:extLst>
                <a:ext uri="{FF2B5EF4-FFF2-40B4-BE49-F238E27FC236}">
                  <a16:creationId xmlns:a16="http://schemas.microsoft.com/office/drawing/2014/main" id="{95186B3A-0D3E-609E-38C3-F8C7E3E9002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93556" y="3180532"/>
              <a:ext cx="246888" cy="246888"/>
            </a:xfrm>
            <a:prstGeom prst="rect">
              <a:avLst/>
            </a:prstGeom>
          </p:spPr>
        </p:pic>
        <p:sp>
          <p:nvSpPr>
            <p:cNvPr id="125" name="TextBox 124">
              <a:extLst>
                <a:ext uri="{FF2B5EF4-FFF2-40B4-BE49-F238E27FC236}">
                  <a16:creationId xmlns:a16="http://schemas.microsoft.com/office/drawing/2014/main" id="{33B9EB06-F963-94A5-2451-EDA5CBBBAFD1}"/>
                </a:ext>
              </a:extLst>
            </p:cNvPr>
            <p:cNvSpPr txBox="1"/>
            <p:nvPr/>
          </p:nvSpPr>
          <p:spPr bwMode="gray">
            <a:xfrm>
              <a:off x="4723181" y="3936219"/>
              <a:ext cx="3101981" cy="580534"/>
            </a:xfrm>
            <a:prstGeom prst="rect">
              <a:avLst/>
            </a:prstGeom>
            <a:noFill/>
          </p:spPr>
          <p:txBody>
            <a:bodyPr wrap="square" lIns="36000" tIns="36000" rIns="36000" bIns="36000" rtlCol="0">
              <a:spAutoFit/>
            </a:bodyPr>
            <a:lstStyle/>
            <a:p>
              <a:pPr marL="0" indent="0">
                <a:buNone/>
              </a:pPr>
              <a:r>
                <a:rPr lang="en-US" sz="1100" dirty="0"/>
                <a:t>The geothermal fluid enters a heat exchanger. </a:t>
              </a:r>
              <a:r>
                <a:rPr lang="en-US" sz="1100" b="1" dirty="0"/>
                <a:t>It transfers heat to a secondary working fluid </a:t>
              </a:r>
              <a:r>
                <a:rPr lang="en-US" sz="1100" dirty="0"/>
                <a:t>with a lower boiling point.</a:t>
              </a:r>
              <a:endParaRPr lang="en-US" sz="1100" b="1" dirty="0"/>
            </a:p>
          </p:txBody>
        </p:sp>
        <p:pic>
          <p:nvPicPr>
            <p:cNvPr id="126" name="Graphic 125" descr="Badge 3 with solid fill">
              <a:extLst>
                <a:ext uri="{FF2B5EF4-FFF2-40B4-BE49-F238E27FC236}">
                  <a16:creationId xmlns:a16="http://schemas.microsoft.com/office/drawing/2014/main" id="{9FEBF5D0-30C1-3671-3C51-624E1B1B499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93556" y="3960954"/>
              <a:ext cx="246888" cy="246888"/>
            </a:xfrm>
            <a:prstGeom prst="rect">
              <a:avLst/>
            </a:prstGeom>
          </p:spPr>
        </p:pic>
        <p:pic>
          <p:nvPicPr>
            <p:cNvPr id="127" name="Graphic 126" descr="Badge 4 with solid fill">
              <a:extLst>
                <a:ext uri="{FF2B5EF4-FFF2-40B4-BE49-F238E27FC236}">
                  <a16:creationId xmlns:a16="http://schemas.microsoft.com/office/drawing/2014/main" id="{4ECF1306-5887-E864-ECD4-F4144B5C82F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393556" y="4594166"/>
              <a:ext cx="246888" cy="246888"/>
            </a:xfrm>
            <a:prstGeom prst="rect">
              <a:avLst/>
            </a:prstGeom>
          </p:spPr>
        </p:pic>
        <p:sp>
          <p:nvSpPr>
            <p:cNvPr id="128" name="TextBox 127">
              <a:extLst>
                <a:ext uri="{FF2B5EF4-FFF2-40B4-BE49-F238E27FC236}">
                  <a16:creationId xmlns:a16="http://schemas.microsoft.com/office/drawing/2014/main" id="{F1830CD2-CD70-4AC4-5249-C01223FEA115}"/>
                </a:ext>
              </a:extLst>
            </p:cNvPr>
            <p:cNvSpPr txBox="1"/>
            <p:nvPr/>
          </p:nvSpPr>
          <p:spPr bwMode="gray">
            <a:xfrm>
              <a:off x="4723181" y="4594166"/>
              <a:ext cx="3101981" cy="580534"/>
            </a:xfrm>
            <a:prstGeom prst="rect">
              <a:avLst/>
            </a:prstGeom>
            <a:noFill/>
          </p:spPr>
          <p:txBody>
            <a:bodyPr wrap="square" lIns="36000" tIns="36000" rIns="36000" bIns="36000" rtlCol="0">
              <a:spAutoFit/>
            </a:bodyPr>
            <a:lstStyle/>
            <a:p>
              <a:pPr marL="0" indent="0">
                <a:buNone/>
              </a:pPr>
              <a:r>
                <a:rPr lang="en-US" sz="1100" b="1" dirty="0"/>
                <a:t>The secondary fluid absorbs the heat and vaporizes. </a:t>
              </a:r>
              <a:r>
                <a:rPr lang="en-US" sz="1100" dirty="0"/>
                <a:t>This vapor drives the turbine, which spins the generator to produce electricity.</a:t>
              </a:r>
            </a:p>
          </p:txBody>
        </p:sp>
        <p:sp>
          <p:nvSpPr>
            <p:cNvPr id="129" name="TextBox 128">
              <a:extLst>
                <a:ext uri="{FF2B5EF4-FFF2-40B4-BE49-F238E27FC236}">
                  <a16:creationId xmlns:a16="http://schemas.microsoft.com/office/drawing/2014/main" id="{CD4CA204-3C36-4443-7693-4212A3C7022F}"/>
                </a:ext>
              </a:extLst>
            </p:cNvPr>
            <p:cNvSpPr txBox="1"/>
            <p:nvPr/>
          </p:nvSpPr>
          <p:spPr bwMode="gray">
            <a:xfrm>
              <a:off x="4723181" y="5227378"/>
              <a:ext cx="3101981" cy="580534"/>
            </a:xfrm>
            <a:prstGeom prst="rect">
              <a:avLst/>
            </a:prstGeom>
            <a:noFill/>
          </p:spPr>
          <p:txBody>
            <a:bodyPr wrap="square" lIns="36000" tIns="36000" rIns="36000" bIns="36000" rtlCol="0">
              <a:spAutoFit/>
            </a:bodyPr>
            <a:lstStyle/>
            <a:p>
              <a:pPr marL="0" indent="0">
                <a:buNone/>
              </a:pPr>
              <a:r>
                <a:rPr lang="en-US" sz="1100" dirty="0"/>
                <a:t>After passing through the turbine, the </a:t>
              </a:r>
              <a:r>
                <a:rPr lang="en-US" sz="1100" b="1" dirty="0"/>
                <a:t>secondary vapor is cooled in the condenser </a:t>
              </a:r>
              <a:r>
                <a:rPr lang="en-US" sz="1100" dirty="0"/>
                <a:t>and returns to liquid form.</a:t>
              </a:r>
            </a:p>
          </p:txBody>
        </p:sp>
        <p:pic>
          <p:nvPicPr>
            <p:cNvPr id="130" name="Graphic 129" descr="Badge 5 with solid fill">
              <a:extLst>
                <a:ext uri="{FF2B5EF4-FFF2-40B4-BE49-F238E27FC236}">
                  <a16:creationId xmlns:a16="http://schemas.microsoft.com/office/drawing/2014/main" id="{69D01C89-0CF7-3F11-DBE7-5DB094FE42E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93556" y="5235248"/>
              <a:ext cx="246888" cy="246888"/>
            </a:xfrm>
            <a:prstGeom prst="rect">
              <a:avLst/>
            </a:prstGeom>
          </p:spPr>
        </p:pic>
        <p:cxnSp>
          <p:nvCxnSpPr>
            <p:cNvPr id="131" name="Straight Connector 130">
              <a:extLst>
                <a:ext uri="{FF2B5EF4-FFF2-40B4-BE49-F238E27FC236}">
                  <a16:creationId xmlns:a16="http://schemas.microsoft.com/office/drawing/2014/main" id="{2A2B0065-2C44-E5BA-37FF-F54A36978B49}"/>
                </a:ext>
              </a:extLst>
            </p:cNvPr>
            <p:cNvCxnSpPr>
              <a:cxnSpLocks/>
            </p:cNvCxnSpPr>
            <p:nvPr/>
          </p:nvCxnSpPr>
          <p:spPr bwMode="gray">
            <a:xfrm>
              <a:off x="4502744" y="3139087"/>
              <a:ext cx="3246008"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FA9495F-6161-D3D8-A783-032F58A78D02}"/>
                </a:ext>
              </a:extLst>
            </p:cNvPr>
            <p:cNvCxnSpPr>
              <a:cxnSpLocks/>
            </p:cNvCxnSpPr>
            <p:nvPr/>
          </p:nvCxnSpPr>
          <p:spPr bwMode="gray">
            <a:xfrm>
              <a:off x="4502744" y="3915007"/>
              <a:ext cx="3246008"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1568D66-E370-5652-3BA9-8C9999224207}"/>
                </a:ext>
              </a:extLst>
            </p:cNvPr>
            <p:cNvCxnSpPr>
              <a:cxnSpLocks/>
            </p:cNvCxnSpPr>
            <p:nvPr/>
          </p:nvCxnSpPr>
          <p:spPr bwMode="gray">
            <a:xfrm>
              <a:off x="4502744" y="5191033"/>
              <a:ext cx="3246008"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7F118ADA-B3C3-9A9F-2924-BDCA870A00F1}"/>
                </a:ext>
              </a:extLst>
            </p:cNvPr>
            <p:cNvCxnSpPr>
              <a:cxnSpLocks/>
            </p:cNvCxnSpPr>
            <p:nvPr/>
          </p:nvCxnSpPr>
          <p:spPr bwMode="gray">
            <a:xfrm>
              <a:off x="4502744" y="4564843"/>
              <a:ext cx="3246008"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9D6973DF-3CDF-713A-2E8C-055BE98A9F8D}"/>
                </a:ext>
              </a:extLst>
            </p:cNvPr>
            <p:cNvGrpSpPr/>
            <p:nvPr/>
          </p:nvGrpSpPr>
          <p:grpSpPr>
            <a:xfrm>
              <a:off x="4462461" y="1592052"/>
              <a:ext cx="3021924" cy="370155"/>
              <a:chOff x="4462461" y="1383394"/>
              <a:chExt cx="3021924" cy="370155"/>
            </a:xfrm>
          </p:grpSpPr>
          <p:cxnSp>
            <p:nvCxnSpPr>
              <p:cNvPr id="139" name="Straight Connector 138">
                <a:extLst>
                  <a:ext uri="{FF2B5EF4-FFF2-40B4-BE49-F238E27FC236}">
                    <a16:creationId xmlns:a16="http://schemas.microsoft.com/office/drawing/2014/main" id="{9299192C-AD73-4C8A-30B9-8CC187B0C18E}"/>
                  </a:ext>
                </a:extLst>
              </p:cNvPr>
              <p:cNvCxnSpPr>
                <a:cxnSpLocks/>
              </p:cNvCxnSpPr>
              <p:nvPr/>
            </p:nvCxnSpPr>
            <p:spPr bwMode="gray">
              <a:xfrm>
                <a:off x="4502744" y="1753549"/>
                <a:ext cx="29816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D38DDF47-CF0E-329F-FFB9-EA2E14A58D19}"/>
                  </a:ext>
                </a:extLst>
              </p:cNvPr>
              <p:cNvSpPr txBox="1"/>
              <p:nvPr/>
            </p:nvSpPr>
            <p:spPr bwMode="gray">
              <a:xfrm>
                <a:off x="4866884" y="1437590"/>
                <a:ext cx="669020" cy="257369"/>
              </a:xfrm>
              <a:prstGeom prst="rect">
                <a:avLst/>
              </a:prstGeom>
              <a:noFill/>
            </p:spPr>
            <p:txBody>
              <a:bodyPr wrap="none" lIns="36000" tIns="36000" rIns="36000" bIns="36000" rtlCol="0">
                <a:spAutoFit/>
              </a:bodyPr>
              <a:lstStyle/>
              <a:p>
                <a:pPr marL="0" indent="0">
                  <a:buNone/>
                </a:pPr>
                <a:r>
                  <a:rPr lang="en-US" sz="1200" b="1" dirty="0"/>
                  <a:t>Process</a:t>
                </a:r>
                <a:endParaRPr lang="en-US" sz="1200" dirty="0"/>
              </a:p>
            </p:txBody>
          </p:sp>
          <p:pic>
            <p:nvPicPr>
              <p:cNvPr id="141" name="Graphic 140" descr="Single gear with solid fill">
                <a:extLst>
                  <a:ext uri="{FF2B5EF4-FFF2-40B4-BE49-F238E27FC236}">
                    <a16:creationId xmlns:a16="http://schemas.microsoft.com/office/drawing/2014/main" id="{3768E2DD-2F35-D107-6F28-B5FF6179351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2461" y="1383394"/>
                <a:ext cx="365760" cy="365760"/>
              </a:xfrm>
              <a:prstGeom prst="rect">
                <a:avLst/>
              </a:prstGeom>
            </p:spPr>
          </p:pic>
        </p:grpSp>
        <p:sp>
          <p:nvSpPr>
            <p:cNvPr id="136" name="TextBox 135">
              <a:extLst>
                <a:ext uri="{FF2B5EF4-FFF2-40B4-BE49-F238E27FC236}">
                  <a16:creationId xmlns:a16="http://schemas.microsoft.com/office/drawing/2014/main" id="{A1EBECC1-557C-448E-1607-35AD9E91B506}"/>
                </a:ext>
              </a:extLst>
            </p:cNvPr>
            <p:cNvSpPr txBox="1"/>
            <p:nvPr/>
          </p:nvSpPr>
          <p:spPr bwMode="gray">
            <a:xfrm>
              <a:off x="4723181" y="5844256"/>
              <a:ext cx="2927685" cy="411257"/>
            </a:xfrm>
            <a:prstGeom prst="rect">
              <a:avLst/>
            </a:prstGeom>
            <a:noFill/>
          </p:spPr>
          <p:txBody>
            <a:bodyPr wrap="square" lIns="36000" tIns="36000" rIns="36000" bIns="36000" rtlCol="0">
              <a:spAutoFit/>
            </a:bodyPr>
            <a:lstStyle/>
            <a:p>
              <a:pPr marL="0" indent="0">
                <a:buNone/>
              </a:pPr>
              <a:r>
                <a:rPr lang="en-US" sz="1100" dirty="0"/>
                <a:t>The </a:t>
              </a:r>
              <a:r>
                <a:rPr lang="en-US" sz="1100" b="1" dirty="0"/>
                <a:t>cooled geothermal fluid is returned to the reservoir </a:t>
              </a:r>
              <a:r>
                <a:rPr lang="en-US" sz="1100" dirty="0"/>
                <a:t>through a reinjection well.</a:t>
              </a:r>
            </a:p>
          </p:txBody>
        </p:sp>
        <p:cxnSp>
          <p:nvCxnSpPr>
            <p:cNvPr id="137" name="Straight Connector 136">
              <a:extLst>
                <a:ext uri="{FF2B5EF4-FFF2-40B4-BE49-F238E27FC236}">
                  <a16:creationId xmlns:a16="http://schemas.microsoft.com/office/drawing/2014/main" id="{54D7F1EC-17D2-A920-58B1-2CC8A04C4588}"/>
                </a:ext>
              </a:extLst>
            </p:cNvPr>
            <p:cNvCxnSpPr>
              <a:cxnSpLocks/>
            </p:cNvCxnSpPr>
            <p:nvPr/>
          </p:nvCxnSpPr>
          <p:spPr bwMode="gray">
            <a:xfrm>
              <a:off x="4502744" y="5813771"/>
              <a:ext cx="3246008"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38" name="Graphic 137" descr="Badge 6 with solid fill">
              <a:extLst>
                <a:ext uri="{FF2B5EF4-FFF2-40B4-BE49-F238E27FC236}">
                  <a16:creationId xmlns:a16="http://schemas.microsoft.com/office/drawing/2014/main" id="{1C390E46-2C2C-F624-284F-56597872A5D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92821" y="5877489"/>
              <a:ext cx="246888" cy="246888"/>
            </a:xfrm>
            <a:prstGeom prst="rect">
              <a:avLst/>
            </a:prstGeom>
          </p:spPr>
        </p:pic>
      </p:grpSp>
      <p:grpSp>
        <p:nvGrpSpPr>
          <p:cNvPr id="142" name="Group 141">
            <a:extLst>
              <a:ext uri="{FF2B5EF4-FFF2-40B4-BE49-F238E27FC236}">
                <a16:creationId xmlns:a16="http://schemas.microsoft.com/office/drawing/2014/main" id="{11F1342C-0B7F-4570-F621-3E4D391383FD}"/>
              </a:ext>
            </a:extLst>
          </p:cNvPr>
          <p:cNvGrpSpPr/>
          <p:nvPr/>
        </p:nvGrpSpPr>
        <p:grpSpPr>
          <a:xfrm>
            <a:off x="403428" y="1595501"/>
            <a:ext cx="3521308" cy="4691650"/>
            <a:chOff x="403428" y="1239555"/>
            <a:chExt cx="3521308" cy="4691650"/>
          </a:xfrm>
        </p:grpSpPr>
        <p:sp>
          <p:nvSpPr>
            <p:cNvPr id="143" name="Rectangle 142">
              <a:extLst>
                <a:ext uri="{FF2B5EF4-FFF2-40B4-BE49-F238E27FC236}">
                  <a16:creationId xmlns:a16="http://schemas.microsoft.com/office/drawing/2014/main" id="{EA3E2EF7-1AFE-B280-CCBF-74066DDC4E0C}"/>
                </a:ext>
              </a:extLst>
            </p:cNvPr>
            <p:cNvSpPr/>
            <p:nvPr/>
          </p:nvSpPr>
          <p:spPr bwMode="gray">
            <a:xfrm>
              <a:off x="1703624" y="2830002"/>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4" name="Rectangle 143">
              <a:extLst>
                <a:ext uri="{FF2B5EF4-FFF2-40B4-BE49-F238E27FC236}">
                  <a16:creationId xmlns:a16="http://schemas.microsoft.com/office/drawing/2014/main" id="{B14821D6-D403-3E7C-5889-636B7FC2C33D}"/>
                </a:ext>
              </a:extLst>
            </p:cNvPr>
            <p:cNvSpPr/>
            <p:nvPr/>
          </p:nvSpPr>
          <p:spPr bwMode="gray">
            <a:xfrm>
              <a:off x="1179543" y="3010524"/>
              <a:ext cx="2382594" cy="1308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5" name="Bent Arrow 144">
              <a:extLst>
                <a:ext uri="{FF2B5EF4-FFF2-40B4-BE49-F238E27FC236}">
                  <a16:creationId xmlns:a16="http://schemas.microsoft.com/office/drawing/2014/main" id="{F8845DEA-C3A9-911E-ACFE-99405E08B7D6}"/>
                </a:ext>
              </a:extLst>
            </p:cNvPr>
            <p:cNvSpPr/>
            <p:nvPr/>
          </p:nvSpPr>
          <p:spPr bwMode="gray">
            <a:xfrm flipH="1">
              <a:off x="3163341" y="2934907"/>
              <a:ext cx="533462" cy="555415"/>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46" name="Straight Connector 145">
              <a:extLst>
                <a:ext uri="{FF2B5EF4-FFF2-40B4-BE49-F238E27FC236}">
                  <a16:creationId xmlns:a16="http://schemas.microsoft.com/office/drawing/2014/main" id="{B44487ED-372A-4FEA-A82E-B9B2BD6D8CF2}"/>
                </a:ext>
              </a:extLst>
            </p:cNvPr>
            <p:cNvCxnSpPr>
              <a:cxnSpLocks/>
            </p:cNvCxnSpPr>
            <p:nvPr/>
          </p:nvCxnSpPr>
          <p:spPr bwMode="gray">
            <a:xfrm flipV="1">
              <a:off x="650319" y="3638160"/>
              <a:ext cx="3195361" cy="810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E25D8E0D-53B9-2CB7-72B5-3694F16690B0}"/>
                </a:ext>
              </a:extLst>
            </p:cNvPr>
            <p:cNvCxnSpPr/>
            <p:nvPr/>
          </p:nvCxnSpPr>
          <p:spPr bwMode="gray">
            <a:xfrm>
              <a:off x="84549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2F2F420B-3E1A-33F6-D07A-9A4A5C49DD15}"/>
                </a:ext>
              </a:extLst>
            </p:cNvPr>
            <p:cNvCxnSpPr/>
            <p:nvPr/>
          </p:nvCxnSpPr>
          <p:spPr bwMode="gray">
            <a:xfrm>
              <a:off x="646167"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6F170CC-0EFD-0656-446F-D23E7B3F3737}"/>
                </a:ext>
              </a:extLst>
            </p:cNvPr>
            <p:cNvCxnSpPr>
              <a:cxnSpLocks/>
            </p:cNvCxnSpPr>
            <p:nvPr/>
          </p:nvCxnSpPr>
          <p:spPr bwMode="gray">
            <a:xfrm>
              <a:off x="1044814"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3D5ECAD-D16C-F929-54B4-E2031AFBC0AE}"/>
                </a:ext>
              </a:extLst>
            </p:cNvPr>
            <p:cNvCxnSpPr>
              <a:cxnSpLocks/>
            </p:cNvCxnSpPr>
            <p:nvPr/>
          </p:nvCxnSpPr>
          <p:spPr bwMode="gray">
            <a:xfrm>
              <a:off x="124413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08FBFE3-58B2-1B4C-AFA5-1C5C65724B3D}"/>
                </a:ext>
              </a:extLst>
            </p:cNvPr>
            <p:cNvCxnSpPr>
              <a:cxnSpLocks/>
            </p:cNvCxnSpPr>
            <p:nvPr/>
          </p:nvCxnSpPr>
          <p:spPr bwMode="gray">
            <a:xfrm>
              <a:off x="144346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0F4E8A6-7D9E-0C39-BD79-179AA1812A06}"/>
                </a:ext>
              </a:extLst>
            </p:cNvPr>
            <p:cNvCxnSpPr>
              <a:cxnSpLocks/>
            </p:cNvCxnSpPr>
            <p:nvPr/>
          </p:nvCxnSpPr>
          <p:spPr bwMode="gray">
            <a:xfrm>
              <a:off x="164278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5B6B940-3962-5BA2-C04B-E7D9BD46F1DF}"/>
                </a:ext>
              </a:extLst>
            </p:cNvPr>
            <p:cNvCxnSpPr>
              <a:cxnSpLocks/>
            </p:cNvCxnSpPr>
            <p:nvPr/>
          </p:nvCxnSpPr>
          <p:spPr bwMode="gray">
            <a:xfrm>
              <a:off x="184210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A68A3B35-F003-B1EA-F09A-4164AB397393}"/>
                </a:ext>
              </a:extLst>
            </p:cNvPr>
            <p:cNvCxnSpPr>
              <a:cxnSpLocks/>
            </p:cNvCxnSpPr>
            <p:nvPr/>
          </p:nvCxnSpPr>
          <p:spPr bwMode="gray">
            <a:xfrm>
              <a:off x="2041431"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2B08B60-F209-E18F-9950-D776E4A1F473}"/>
                </a:ext>
              </a:extLst>
            </p:cNvPr>
            <p:cNvCxnSpPr>
              <a:cxnSpLocks/>
            </p:cNvCxnSpPr>
            <p:nvPr/>
          </p:nvCxnSpPr>
          <p:spPr bwMode="gray">
            <a:xfrm>
              <a:off x="224075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57625C3-E405-BF9F-2CFF-4DADFD3F999C}"/>
                </a:ext>
              </a:extLst>
            </p:cNvPr>
            <p:cNvCxnSpPr>
              <a:cxnSpLocks/>
            </p:cNvCxnSpPr>
            <p:nvPr/>
          </p:nvCxnSpPr>
          <p:spPr bwMode="gray">
            <a:xfrm>
              <a:off x="2440078"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2203A4F8-7158-0B27-E881-066BD8924D57}"/>
                </a:ext>
              </a:extLst>
            </p:cNvPr>
            <p:cNvCxnSpPr>
              <a:cxnSpLocks/>
            </p:cNvCxnSpPr>
            <p:nvPr/>
          </p:nvCxnSpPr>
          <p:spPr bwMode="gray">
            <a:xfrm>
              <a:off x="2639402"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F544D10-4280-76D7-BCDA-E1D82BBC4009}"/>
                </a:ext>
              </a:extLst>
            </p:cNvPr>
            <p:cNvCxnSpPr>
              <a:cxnSpLocks/>
            </p:cNvCxnSpPr>
            <p:nvPr/>
          </p:nvCxnSpPr>
          <p:spPr bwMode="gray">
            <a:xfrm>
              <a:off x="2838725" y="3646268"/>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E9AECA9-4A9A-8417-65FF-8AAB982838F0}"/>
                </a:ext>
              </a:extLst>
            </p:cNvPr>
            <p:cNvCxnSpPr>
              <a:cxnSpLocks/>
            </p:cNvCxnSpPr>
            <p:nvPr/>
          </p:nvCxnSpPr>
          <p:spPr bwMode="gray">
            <a:xfrm>
              <a:off x="3038049"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7ED292A8-9D1A-43AC-3FC5-E2035F84C7EA}"/>
                </a:ext>
              </a:extLst>
            </p:cNvPr>
            <p:cNvCxnSpPr>
              <a:cxnSpLocks/>
            </p:cNvCxnSpPr>
            <p:nvPr/>
          </p:nvCxnSpPr>
          <p:spPr bwMode="gray">
            <a:xfrm>
              <a:off x="3237372"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CFDFA36D-F325-80ED-028E-68831E179C3F}"/>
                </a:ext>
              </a:extLst>
            </p:cNvPr>
            <p:cNvCxnSpPr>
              <a:cxnSpLocks/>
            </p:cNvCxnSpPr>
            <p:nvPr/>
          </p:nvCxnSpPr>
          <p:spPr bwMode="gray">
            <a:xfrm>
              <a:off x="3436695"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F7B563B-AC97-17A9-333F-14B08C87E413}"/>
                </a:ext>
              </a:extLst>
            </p:cNvPr>
            <p:cNvCxnSpPr>
              <a:cxnSpLocks/>
            </p:cNvCxnSpPr>
            <p:nvPr/>
          </p:nvCxnSpPr>
          <p:spPr bwMode="gray">
            <a:xfrm>
              <a:off x="3636019" y="3638160"/>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3" name="Triangle 162">
              <a:extLst>
                <a:ext uri="{FF2B5EF4-FFF2-40B4-BE49-F238E27FC236}">
                  <a16:creationId xmlns:a16="http://schemas.microsoft.com/office/drawing/2014/main" id="{2ACC7868-FFBA-6EC2-625C-82E6E5B7FAE8}"/>
                </a:ext>
              </a:extLst>
            </p:cNvPr>
            <p:cNvSpPr/>
            <p:nvPr/>
          </p:nvSpPr>
          <p:spPr bwMode="gray">
            <a:xfrm>
              <a:off x="736075" y="3646268"/>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4" name="Triangle 163">
              <a:extLst>
                <a:ext uri="{FF2B5EF4-FFF2-40B4-BE49-F238E27FC236}">
                  <a16:creationId xmlns:a16="http://schemas.microsoft.com/office/drawing/2014/main" id="{A961E118-30FC-BB13-0C5B-A1914E73B52D}"/>
                </a:ext>
              </a:extLst>
            </p:cNvPr>
            <p:cNvSpPr/>
            <p:nvPr/>
          </p:nvSpPr>
          <p:spPr bwMode="gray">
            <a:xfrm>
              <a:off x="3503667" y="3646268"/>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5" name="Triangle 164">
              <a:extLst>
                <a:ext uri="{FF2B5EF4-FFF2-40B4-BE49-F238E27FC236}">
                  <a16:creationId xmlns:a16="http://schemas.microsoft.com/office/drawing/2014/main" id="{9472171F-36FE-A83E-5E3E-7DC90E6402E0}"/>
                </a:ext>
              </a:extLst>
            </p:cNvPr>
            <p:cNvSpPr/>
            <p:nvPr/>
          </p:nvSpPr>
          <p:spPr bwMode="gray">
            <a:xfrm rot="10800000">
              <a:off x="736075" y="3480230"/>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6" name="Triangle 165">
              <a:extLst>
                <a:ext uri="{FF2B5EF4-FFF2-40B4-BE49-F238E27FC236}">
                  <a16:creationId xmlns:a16="http://schemas.microsoft.com/office/drawing/2014/main" id="{B448A4F1-BB41-B072-B370-4DB27FAEF4AF}"/>
                </a:ext>
              </a:extLst>
            </p:cNvPr>
            <p:cNvSpPr/>
            <p:nvPr/>
          </p:nvSpPr>
          <p:spPr bwMode="gray">
            <a:xfrm rot="10800000">
              <a:off x="3503667" y="3480230"/>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7" name="Bent Arrow 166">
              <a:extLst>
                <a:ext uri="{FF2B5EF4-FFF2-40B4-BE49-F238E27FC236}">
                  <a16:creationId xmlns:a16="http://schemas.microsoft.com/office/drawing/2014/main" id="{08B11C31-DE44-D2DB-84FA-AF1FB449F902}"/>
                </a:ext>
              </a:extLst>
            </p:cNvPr>
            <p:cNvSpPr/>
            <p:nvPr/>
          </p:nvSpPr>
          <p:spPr bwMode="gray">
            <a:xfrm>
              <a:off x="793648" y="2924814"/>
              <a:ext cx="517672" cy="555415"/>
            </a:xfrm>
            <a:prstGeom prst="bentArrow">
              <a:avLst>
                <a:gd name="adj1" fmla="val 25000"/>
                <a:gd name="adj2" fmla="val 23273"/>
                <a:gd name="adj3" fmla="val 0"/>
                <a:gd name="adj4" fmla="val 16907"/>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8" name="Rectangle 167">
              <a:extLst>
                <a:ext uri="{FF2B5EF4-FFF2-40B4-BE49-F238E27FC236}">
                  <a16:creationId xmlns:a16="http://schemas.microsoft.com/office/drawing/2014/main" id="{1F5DBD25-406F-28B9-BFD2-9FCF29C355B9}"/>
                </a:ext>
              </a:extLst>
            </p:cNvPr>
            <p:cNvSpPr/>
            <p:nvPr/>
          </p:nvSpPr>
          <p:spPr bwMode="gray">
            <a:xfrm>
              <a:off x="1703624" y="2366907"/>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9" name="Rectangle 168">
              <a:extLst>
                <a:ext uri="{FF2B5EF4-FFF2-40B4-BE49-F238E27FC236}">
                  <a16:creationId xmlns:a16="http://schemas.microsoft.com/office/drawing/2014/main" id="{D4697243-5FC0-4C0D-F186-D22B4C2B58FF}"/>
                </a:ext>
              </a:extLst>
            </p:cNvPr>
            <p:cNvSpPr/>
            <p:nvPr/>
          </p:nvSpPr>
          <p:spPr bwMode="gray">
            <a:xfrm>
              <a:off x="2930457" y="2304004"/>
              <a:ext cx="666236" cy="41191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170" name="Rectangle 169">
              <a:extLst>
                <a:ext uri="{FF2B5EF4-FFF2-40B4-BE49-F238E27FC236}">
                  <a16:creationId xmlns:a16="http://schemas.microsoft.com/office/drawing/2014/main" id="{0B930184-1D2B-949A-6295-440CD170DE96}"/>
                </a:ext>
              </a:extLst>
            </p:cNvPr>
            <p:cNvSpPr/>
            <p:nvPr/>
          </p:nvSpPr>
          <p:spPr bwMode="gray">
            <a:xfrm>
              <a:off x="2820797" y="2655918"/>
              <a:ext cx="944800"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urbine</a:t>
              </a:r>
            </a:p>
          </p:txBody>
        </p:sp>
        <p:sp>
          <p:nvSpPr>
            <p:cNvPr id="171" name="Rectangle 170">
              <a:extLst>
                <a:ext uri="{FF2B5EF4-FFF2-40B4-BE49-F238E27FC236}">
                  <a16:creationId xmlns:a16="http://schemas.microsoft.com/office/drawing/2014/main" id="{8FDE7ABC-1891-6367-A7DB-04CCE832D024}"/>
                </a:ext>
              </a:extLst>
            </p:cNvPr>
            <p:cNvSpPr/>
            <p:nvPr/>
          </p:nvSpPr>
          <p:spPr bwMode="gray">
            <a:xfrm>
              <a:off x="2690240" y="2262879"/>
              <a:ext cx="1146672"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Generator</a:t>
              </a:r>
            </a:p>
          </p:txBody>
        </p:sp>
        <p:pic>
          <p:nvPicPr>
            <p:cNvPr id="172" name="Graphic 171" descr="Electric Tower outline">
              <a:extLst>
                <a:ext uri="{FF2B5EF4-FFF2-40B4-BE49-F238E27FC236}">
                  <a16:creationId xmlns:a16="http://schemas.microsoft.com/office/drawing/2014/main" id="{171DA724-E49E-9A68-3144-0EC81AA29001}"/>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03428" y="1672737"/>
              <a:ext cx="444583" cy="645428"/>
            </a:xfrm>
            <a:prstGeom prst="rect">
              <a:avLst/>
            </a:prstGeom>
          </p:spPr>
        </p:pic>
        <p:sp>
          <p:nvSpPr>
            <p:cNvPr id="173" name="Triangle 172">
              <a:extLst>
                <a:ext uri="{FF2B5EF4-FFF2-40B4-BE49-F238E27FC236}">
                  <a16:creationId xmlns:a16="http://schemas.microsoft.com/office/drawing/2014/main" id="{BC68380C-A536-72E7-E3C6-6C281D158EA3}"/>
                </a:ext>
              </a:extLst>
            </p:cNvPr>
            <p:cNvSpPr/>
            <p:nvPr/>
          </p:nvSpPr>
          <p:spPr bwMode="gray">
            <a:xfrm>
              <a:off x="2970405" y="2177114"/>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4" name="Triangle 173">
              <a:extLst>
                <a:ext uri="{FF2B5EF4-FFF2-40B4-BE49-F238E27FC236}">
                  <a16:creationId xmlns:a16="http://schemas.microsoft.com/office/drawing/2014/main" id="{749DCFF7-217B-6103-9F9D-99819B8EF8C5}"/>
                </a:ext>
              </a:extLst>
            </p:cNvPr>
            <p:cNvSpPr/>
            <p:nvPr/>
          </p:nvSpPr>
          <p:spPr bwMode="gray">
            <a:xfrm>
              <a:off x="3344380" y="2177114"/>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75" name="Straight Connector 174">
              <a:extLst>
                <a:ext uri="{FF2B5EF4-FFF2-40B4-BE49-F238E27FC236}">
                  <a16:creationId xmlns:a16="http://schemas.microsoft.com/office/drawing/2014/main" id="{2BBE78D2-B5A9-4496-3DD7-79E1842CAA67}"/>
                </a:ext>
              </a:extLst>
            </p:cNvPr>
            <p:cNvCxnSpPr>
              <a:cxnSpLocks/>
              <a:stCxn id="173" idx="0"/>
            </p:cNvCxnSpPr>
            <p:nvPr/>
          </p:nvCxnSpPr>
          <p:spPr bwMode="gray">
            <a:xfrm flipV="1">
              <a:off x="3039557" y="1412558"/>
              <a:ext cx="15936" cy="76455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AC997B04-7FD2-3FE2-CCF8-8DE2567304DB}"/>
                </a:ext>
              </a:extLst>
            </p:cNvPr>
            <p:cNvCxnSpPr>
              <a:cxnSpLocks/>
            </p:cNvCxnSpPr>
            <p:nvPr/>
          </p:nvCxnSpPr>
          <p:spPr bwMode="gray">
            <a:xfrm flipH="1" flipV="1">
              <a:off x="3398170" y="1249488"/>
              <a:ext cx="11042" cy="92762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58D4B10E-747A-9CC8-2049-E6DAAAC46F89}"/>
                </a:ext>
              </a:extLst>
            </p:cNvPr>
            <p:cNvCxnSpPr>
              <a:cxnSpLocks/>
            </p:cNvCxnSpPr>
            <p:nvPr/>
          </p:nvCxnSpPr>
          <p:spPr bwMode="gray">
            <a:xfrm flipV="1">
              <a:off x="616104" y="1239555"/>
              <a:ext cx="2784193" cy="72559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F2918E9D-924E-C996-DEC1-88D9B40E04FE}"/>
                </a:ext>
              </a:extLst>
            </p:cNvPr>
            <p:cNvSpPr txBox="1"/>
            <p:nvPr/>
          </p:nvSpPr>
          <p:spPr bwMode="gray">
            <a:xfrm>
              <a:off x="909938" y="3256036"/>
              <a:ext cx="938325" cy="226591"/>
            </a:xfrm>
            <a:prstGeom prst="rect">
              <a:avLst/>
            </a:prstGeom>
            <a:noFill/>
          </p:spPr>
          <p:txBody>
            <a:bodyPr wrap="none" lIns="36000" tIns="36000" rIns="36000" bIns="36000" rtlCol="0">
              <a:spAutoFit/>
            </a:bodyPr>
            <a:lstStyle/>
            <a:p>
              <a:pPr marL="0" indent="0">
                <a:buNone/>
              </a:pPr>
              <a:r>
                <a:rPr lang="en-US" sz="1000" dirty="0"/>
                <a:t>Production well</a:t>
              </a:r>
            </a:p>
          </p:txBody>
        </p:sp>
        <p:sp>
          <p:nvSpPr>
            <p:cNvPr id="179" name="TextBox 178">
              <a:extLst>
                <a:ext uri="{FF2B5EF4-FFF2-40B4-BE49-F238E27FC236}">
                  <a16:creationId xmlns:a16="http://schemas.microsoft.com/office/drawing/2014/main" id="{12469D7B-6E12-B09B-B019-8923F46E9C4C}"/>
                </a:ext>
              </a:extLst>
            </p:cNvPr>
            <p:cNvSpPr txBox="1"/>
            <p:nvPr/>
          </p:nvSpPr>
          <p:spPr bwMode="gray">
            <a:xfrm>
              <a:off x="2745706" y="3256036"/>
              <a:ext cx="803672" cy="226591"/>
            </a:xfrm>
            <a:prstGeom prst="rect">
              <a:avLst/>
            </a:prstGeom>
            <a:noFill/>
          </p:spPr>
          <p:txBody>
            <a:bodyPr wrap="none" lIns="36000" tIns="36000" rIns="36000" bIns="36000" rtlCol="0">
              <a:spAutoFit/>
            </a:bodyPr>
            <a:lstStyle/>
            <a:p>
              <a:pPr marL="0" indent="0">
                <a:buNone/>
              </a:pPr>
              <a:r>
                <a:rPr lang="en-US" sz="1000" dirty="0"/>
                <a:t>Injection well</a:t>
              </a:r>
            </a:p>
          </p:txBody>
        </p:sp>
        <p:sp>
          <p:nvSpPr>
            <p:cNvPr id="180" name="TextBox 179">
              <a:extLst>
                <a:ext uri="{FF2B5EF4-FFF2-40B4-BE49-F238E27FC236}">
                  <a16:creationId xmlns:a16="http://schemas.microsoft.com/office/drawing/2014/main" id="{977804D4-A587-0556-CA4A-E4015C0DF5F1}"/>
                </a:ext>
              </a:extLst>
            </p:cNvPr>
            <p:cNvSpPr txBox="1"/>
            <p:nvPr/>
          </p:nvSpPr>
          <p:spPr bwMode="gray">
            <a:xfrm>
              <a:off x="1703624" y="3866648"/>
              <a:ext cx="1050997" cy="250378"/>
            </a:xfrm>
            <a:prstGeom prst="rect">
              <a:avLst/>
            </a:prstGeom>
            <a:noFill/>
          </p:spPr>
          <p:txBody>
            <a:bodyPr wrap="none" lIns="36000" tIns="36000" rIns="36000" bIns="36000" rtlCol="0">
              <a:spAutoFit/>
            </a:bodyPr>
            <a:lstStyle/>
            <a:p>
              <a:pPr marL="0" indent="0">
                <a:buNone/>
              </a:pPr>
              <a:r>
                <a:rPr lang="en-US" sz="1000" dirty="0"/>
                <a:t>Ground surface</a:t>
              </a:r>
            </a:p>
          </p:txBody>
        </p:sp>
        <p:sp>
          <p:nvSpPr>
            <p:cNvPr id="181" name="TextBox 180">
              <a:extLst>
                <a:ext uri="{FF2B5EF4-FFF2-40B4-BE49-F238E27FC236}">
                  <a16:creationId xmlns:a16="http://schemas.microsoft.com/office/drawing/2014/main" id="{8387877C-BCFA-2C43-AE33-C02BC585ADF1}"/>
                </a:ext>
              </a:extLst>
            </p:cNvPr>
            <p:cNvSpPr txBox="1"/>
            <p:nvPr/>
          </p:nvSpPr>
          <p:spPr bwMode="gray">
            <a:xfrm rot="16200000">
              <a:off x="3201214" y="4809846"/>
              <a:ext cx="1220453" cy="226591"/>
            </a:xfrm>
            <a:prstGeom prst="rect">
              <a:avLst/>
            </a:prstGeom>
            <a:noFill/>
          </p:spPr>
          <p:txBody>
            <a:bodyPr wrap="none" lIns="36000" tIns="36000" rIns="36000" bIns="36000" rtlCol="0">
              <a:spAutoFit/>
            </a:bodyPr>
            <a:lstStyle/>
            <a:p>
              <a:pPr marL="0" indent="0">
                <a:buNone/>
              </a:pPr>
              <a:r>
                <a:rPr lang="en-US" sz="1000" dirty="0"/>
                <a:t>Subsurface injection</a:t>
              </a:r>
            </a:p>
          </p:txBody>
        </p:sp>
        <p:sp>
          <p:nvSpPr>
            <p:cNvPr id="182" name="Up Arrow 181">
              <a:extLst>
                <a:ext uri="{FF2B5EF4-FFF2-40B4-BE49-F238E27FC236}">
                  <a16:creationId xmlns:a16="http://schemas.microsoft.com/office/drawing/2014/main" id="{7B0CFB9C-EDA1-94C7-96DC-712C6BFD72C2}"/>
                </a:ext>
              </a:extLst>
            </p:cNvPr>
            <p:cNvSpPr/>
            <p:nvPr/>
          </p:nvSpPr>
          <p:spPr bwMode="gray">
            <a:xfrm>
              <a:off x="831207" y="3166454"/>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3" name="Up Arrow 182">
              <a:extLst>
                <a:ext uri="{FF2B5EF4-FFF2-40B4-BE49-F238E27FC236}">
                  <a16:creationId xmlns:a16="http://schemas.microsoft.com/office/drawing/2014/main" id="{34C36F23-E89A-07E1-2E20-D465D710E8EB}"/>
                </a:ext>
              </a:extLst>
            </p:cNvPr>
            <p:cNvSpPr/>
            <p:nvPr/>
          </p:nvSpPr>
          <p:spPr bwMode="gray">
            <a:xfrm>
              <a:off x="831207" y="4732636"/>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4" name="Up Arrow 183">
              <a:extLst>
                <a:ext uri="{FF2B5EF4-FFF2-40B4-BE49-F238E27FC236}">
                  <a16:creationId xmlns:a16="http://schemas.microsoft.com/office/drawing/2014/main" id="{EA6CBC99-0D06-60EC-92F0-930725E3649D}"/>
                </a:ext>
              </a:extLst>
            </p:cNvPr>
            <p:cNvSpPr/>
            <p:nvPr/>
          </p:nvSpPr>
          <p:spPr bwMode="gray">
            <a:xfrm rot="10800000">
              <a:off x="3592941" y="4439070"/>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5" name="Up Arrow 184">
              <a:extLst>
                <a:ext uri="{FF2B5EF4-FFF2-40B4-BE49-F238E27FC236}">
                  <a16:creationId xmlns:a16="http://schemas.microsoft.com/office/drawing/2014/main" id="{C7275CD3-7C5C-B3AD-6DA6-053A660E6E52}"/>
                </a:ext>
              </a:extLst>
            </p:cNvPr>
            <p:cNvSpPr/>
            <p:nvPr/>
          </p:nvSpPr>
          <p:spPr bwMode="gray">
            <a:xfrm rot="10800000">
              <a:off x="3600297" y="3178398"/>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86" name="Group 185">
              <a:extLst>
                <a:ext uri="{FF2B5EF4-FFF2-40B4-BE49-F238E27FC236}">
                  <a16:creationId xmlns:a16="http://schemas.microsoft.com/office/drawing/2014/main" id="{53739EDE-1D73-514C-39F8-6D4177DED130}"/>
                </a:ext>
              </a:extLst>
            </p:cNvPr>
            <p:cNvGrpSpPr/>
            <p:nvPr/>
          </p:nvGrpSpPr>
          <p:grpSpPr>
            <a:xfrm>
              <a:off x="962479" y="5653350"/>
              <a:ext cx="128069" cy="277855"/>
              <a:chOff x="972443" y="5691173"/>
              <a:chExt cx="115902" cy="251458"/>
            </a:xfrm>
          </p:grpSpPr>
          <p:sp>
            <p:nvSpPr>
              <p:cNvPr id="206" name="Up Arrow 205">
                <a:extLst>
                  <a:ext uri="{FF2B5EF4-FFF2-40B4-BE49-F238E27FC236}">
                    <a16:creationId xmlns:a16="http://schemas.microsoft.com/office/drawing/2014/main" id="{166EB872-8A68-7A65-4B0F-916E7F0DE18F}"/>
                  </a:ext>
                </a:extLst>
              </p:cNvPr>
              <p:cNvSpPr/>
              <p:nvPr/>
            </p:nvSpPr>
            <p:spPr bwMode="gray">
              <a:xfrm rot="16200000">
                <a:off x="1007534" y="57589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7" name="Up Arrow 206">
                <a:extLst>
                  <a:ext uri="{FF2B5EF4-FFF2-40B4-BE49-F238E27FC236}">
                    <a16:creationId xmlns:a16="http://schemas.microsoft.com/office/drawing/2014/main" id="{B7E06A28-52B2-371D-2E10-C9452A1A99D2}"/>
                  </a:ext>
                </a:extLst>
              </p:cNvPr>
              <p:cNvSpPr/>
              <p:nvPr/>
            </p:nvSpPr>
            <p:spPr bwMode="gray">
              <a:xfrm rot="14470877">
                <a:off x="1007534" y="56560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8" name="Up Arrow 207">
                <a:extLst>
                  <a:ext uri="{FF2B5EF4-FFF2-40B4-BE49-F238E27FC236}">
                    <a16:creationId xmlns:a16="http://schemas.microsoft.com/office/drawing/2014/main" id="{D8EE2CD6-3AAC-C3C2-1450-353972072045}"/>
                  </a:ext>
                </a:extLst>
              </p:cNvPr>
              <p:cNvSpPr/>
              <p:nvPr/>
            </p:nvSpPr>
            <p:spPr bwMode="gray">
              <a:xfrm rot="18286233">
                <a:off x="1007535" y="58618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87" name="Group 186">
              <a:extLst>
                <a:ext uri="{FF2B5EF4-FFF2-40B4-BE49-F238E27FC236}">
                  <a16:creationId xmlns:a16="http://schemas.microsoft.com/office/drawing/2014/main" id="{9AD67049-A7C2-49F7-C4F9-999E8B7179B5}"/>
                </a:ext>
              </a:extLst>
            </p:cNvPr>
            <p:cNvGrpSpPr/>
            <p:nvPr/>
          </p:nvGrpSpPr>
          <p:grpSpPr>
            <a:xfrm rot="10800000">
              <a:off x="607853" y="5653349"/>
              <a:ext cx="128069" cy="277855"/>
              <a:chOff x="1124843" y="5843573"/>
              <a:chExt cx="115902" cy="251458"/>
            </a:xfrm>
          </p:grpSpPr>
          <p:sp>
            <p:nvSpPr>
              <p:cNvPr id="203" name="Up Arrow 202">
                <a:extLst>
                  <a:ext uri="{FF2B5EF4-FFF2-40B4-BE49-F238E27FC236}">
                    <a16:creationId xmlns:a16="http://schemas.microsoft.com/office/drawing/2014/main" id="{92526A86-11CF-7AD6-8359-EDEFD85435B9}"/>
                  </a:ext>
                </a:extLst>
              </p:cNvPr>
              <p:cNvSpPr/>
              <p:nvPr/>
            </p:nvSpPr>
            <p:spPr bwMode="gray">
              <a:xfrm rot="16200000">
                <a:off x="1159934" y="59113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4" name="Up Arrow 203">
                <a:extLst>
                  <a:ext uri="{FF2B5EF4-FFF2-40B4-BE49-F238E27FC236}">
                    <a16:creationId xmlns:a16="http://schemas.microsoft.com/office/drawing/2014/main" id="{DC003A1E-57CD-E878-4E38-056EFBCE843D}"/>
                  </a:ext>
                </a:extLst>
              </p:cNvPr>
              <p:cNvSpPr/>
              <p:nvPr/>
            </p:nvSpPr>
            <p:spPr bwMode="gray">
              <a:xfrm rot="14470877">
                <a:off x="1159934" y="58084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5" name="Up Arrow 204">
                <a:extLst>
                  <a:ext uri="{FF2B5EF4-FFF2-40B4-BE49-F238E27FC236}">
                    <a16:creationId xmlns:a16="http://schemas.microsoft.com/office/drawing/2014/main" id="{034E8DE8-0270-D3D1-38D0-D29A1732D6FD}"/>
                  </a:ext>
                </a:extLst>
              </p:cNvPr>
              <p:cNvSpPr/>
              <p:nvPr/>
            </p:nvSpPr>
            <p:spPr bwMode="gray">
              <a:xfrm rot="18286233">
                <a:off x="1159935" y="60142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88" name="Up Arrow 187">
              <a:extLst>
                <a:ext uri="{FF2B5EF4-FFF2-40B4-BE49-F238E27FC236}">
                  <a16:creationId xmlns:a16="http://schemas.microsoft.com/office/drawing/2014/main" id="{36689D9C-DEC9-9BF4-0835-F02E78288BF2}"/>
                </a:ext>
              </a:extLst>
            </p:cNvPr>
            <p:cNvSpPr/>
            <p:nvPr/>
          </p:nvSpPr>
          <p:spPr bwMode="gray">
            <a:xfrm rot="16200000">
              <a:off x="3347401" y="5728242"/>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9" name="Up Arrow 188">
              <a:extLst>
                <a:ext uri="{FF2B5EF4-FFF2-40B4-BE49-F238E27FC236}">
                  <a16:creationId xmlns:a16="http://schemas.microsoft.com/office/drawing/2014/main" id="{0A8AE92D-6B42-3CD7-B5D2-B5F0FC4882C1}"/>
                </a:ext>
              </a:extLst>
            </p:cNvPr>
            <p:cNvSpPr/>
            <p:nvPr/>
          </p:nvSpPr>
          <p:spPr bwMode="gray">
            <a:xfrm rot="5400000">
              <a:off x="3798452" y="5728241"/>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0" name="Rectangle 189">
              <a:extLst>
                <a:ext uri="{FF2B5EF4-FFF2-40B4-BE49-F238E27FC236}">
                  <a16:creationId xmlns:a16="http://schemas.microsoft.com/office/drawing/2014/main" id="{BE4BE9D5-007F-2948-79C4-BBC1F45BB0F2}"/>
                </a:ext>
              </a:extLst>
            </p:cNvPr>
            <p:cNvSpPr/>
            <p:nvPr/>
          </p:nvSpPr>
          <p:spPr bwMode="gray">
            <a:xfrm>
              <a:off x="979856" y="2807742"/>
              <a:ext cx="944801" cy="379246"/>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Heat exchanger</a:t>
              </a:r>
            </a:p>
          </p:txBody>
        </p:sp>
        <p:cxnSp>
          <p:nvCxnSpPr>
            <p:cNvPr id="191" name="Straight Connector 190">
              <a:extLst>
                <a:ext uri="{FF2B5EF4-FFF2-40B4-BE49-F238E27FC236}">
                  <a16:creationId xmlns:a16="http://schemas.microsoft.com/office/drawing/2014/main" id="{A4B0CD4A-66EC-6594-FD26-A48DC8E17F44}"/>
                </a:ext>
              </a:extLst>
            </p:cNvPr>
            <p:cNvCxnSpPr>
              <a:cxnSpLocks/>
            </p:cNvCxnSpPr>
            <p:nvPr/>
          </p:nvCxnSpPr>
          <p:spPr bwMode="gray">
            <a:xfrm flipV="1">
              <a:off x="621165" y="1412559"/>
              <a:ext cx="2433809" cy="58670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2" name="Bent Arrow 191">
              <a:extLst>
                <a:ext uri="{FF2B5EF4-FFF2-40B4-BE49-F238E27FC236}">
                  <a16:creationId xmlns:a16="http://schemas.microsoft.com/office/drawing/2014/main" id="{B07A5DC6-1130-F49B-3744-16692CC1A6B1}"/>
                </a:ext>
              </a:extLst>
            </p:cNvPr>
            <p:cNvSpPr/>
            <p:nvPr/>
          </p:nvSpPr>
          <p:spPr bwMode="gray">
            <a:xfrm>
              <a:off x="1080850" y="1900979"/>
              <a:ext cx="608153" cy="906763"/>
            </a:xfrm>
            <a:prstGeom prst="bentArrow">
              <a:avLst>
                <a:gd name="adj1" fmla="val 25000"/>
                <a:gd name="adj2" fmla="val 23273"/>
                <a:gd name="adj3" fmla="val 0"/>
                <a:gd name="adj4" fmla="val 16907"/>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3" name="Rectangle 192">
              <a:extLst>
                <a:ext uri="{FF2B5EF4-FFF2-40B4-BE49-F238E27FC236}">
                  <a16:creationId xmlns:a16="http://schemas.microsoft.com/office/drawing/2014/main" id="{6EB0E6B0-B213-2AC6-BF18-D0D92C392C5E}"/>
                </a:ext>
              </a:extLst>
            </p:cNvPr>
            <p:cNvSpPr/>
            <p:nvPr/>
          </p:nvSpPr>
          <p:spPr bwMode="gray">
            <a:xfrm rot="16200000">
              <a:off x="1320419" y="2123860"/>
              <a:ext cx="936939" cy="268455"/>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ndenser</a:t>
              </a:r>
            </a:p>
          </p:txBody>
        </p:sp>
        <p:sp>
          <p:nvSpPr>
            <p:cNvPr id="194" name="Up Arrow 193">
              <a:extLst>
                <a:ext uri="{FF2B5EF4-FFF2-40B4-BE49-F238E27FC236}">
                  <a16:creationId xmlns:a16="http://schemas.microsoft.com/office/drawing/2014/main" id="{7121E464-ED51-A766-427C-8B80847C85E6}"/>
                </a:ext>
              </a:extLst>
            </p:cNvPr>
            <p:cNvSpPr/>
            <p:nvPr/>
          </p:nvSpPr>
          <p:spPr bwMode="gray">
            <a:xfrm rot="5400000">
              <a:off x="2343790" y="2834230"/>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5" name="Up Arrow 194">
              <a:extLst>
                <a:ext uri="{FF2B5EF4-FFF2-40B4-BE49-F238E27FC236}">
                  <a16:creationId xmlns:a16="http://schemas.microsoft.com/office/drawing/2014/main" id="{81E0B92B-B534-A32F-C52D-7FF402684C76}"/>
                </a:ext>
              </a:extLst>
            </p:cNvPr>
            <p:cNvSpPr/>
            <p:nvPr/>
          </p:nvSpPr>
          <p:spPr bwMode="gray">
            <a:xfrm rot="16200000">
              <a:off x="2301594" y="2374888"/>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6" name="Up Arrow 195">
              <a:extLst>
                <a:ext uri="{FF2B5EF4-FFF2-40B4-BE49-F238E27FC236}">
                  <a16:creationId xmlns:a16="http://schemas.microsoft.com/office/drawing/2014/main" id="{815A3744-C062-6447-4AE4-1485704B9C95}"/>
                </a:ext>
              </a:extLst>
            </p:cNvPr>
            <p:cNvSpPr/>
            <p:nvPr/>
          </p:nvSpPr>
          <p:spPr bwMode="gray">
            <a:xfrm rot="10800000">
              <a:off x="1118805" y="2353939"/>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7" name="Rectangle 196">
              <a:extLst>
                <a:ext uri="{FF2B5EF4-FFF2-40B4-BE49-F238E27FC236}">
                  <a16:creationId xmlns:a16="http://schemas.microsoft.com/office/drawing/2014/main" id="{8B49BF75-DB67-13ED-0B67-C0FB7E445D18}"/>
                </a:ext>
              </a:extLst>
            </p:cNvPr>
            <p:cNvSpPr/>
            <p:nvPr/>
          </p:nvSpPr>
          <p:spPr bwMode="gray">
            <a:xfrm rot="16200000">
              <a:off x="591967" y="4093263"/>
              <a:ext cx="507049" cy="256537"/>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Pump</a:t>
              </a:r>
            </a:p>
          </p:txBody>
        </p:sp>
        <p:pic>
          <p:nvPicPr>
            <p:cNvPr id="198" name="Graphic 197" descr="Badge with solid fill">
              <a:extLst>
                <a:ext uri="{FF2B5EF4-FFF2-40B4-BE49-F238E27FC236}">
                  <a16:creationId xmlns:a16="http://schemas.microsoft.com/office/drawing/2014/main" id="{FF8D3F0A-96F1-C7AA-D82F-7D160ABF90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8530" y="4129233"/>
              <a:ext cx="199195" cy="193619"/>
            </a:xfrm>
            <a:prstGeom prst="rect">
              <a:avLst/>
            </a:prstGeom>
          </p:spPr>
        </p:pic>
        <p:pic>
          <p:nvPicPr>
            <p:cNvPr id="199" name="Graphic 198" descr="Badge 4 with solid fill">
              <a:extLst>
                <a:ext uri="{FF2B5EF4-FFF2-40B4-BE49-F238E27FC236}">
                  <a16:creationId xmlns:a16="http://schemas.microsoft.com/office/drawing/2014/main" id="{3299CCD1-9FFC-86AC-371B-447839683C0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599138" y="2459281"/>
              <a:ext cx="199195" cy="193619"/>
            </a:xfrm>
            <a:prstGeom prst="rect">
              <a:avLst/>
            </a:prstGeom>
          </p:spPr>
        </p:pic>
        <p:pic>
          <p:nvPicPr>
            <p:cNvPr id="200" name="Graphic 199" descr="Badge 3 with solid fill">
              <a:extLst>
                <a:ext uri="{FF2B5EF4-FFF2-40B4-BE49-F238E27FC236}">
                  <a16:creationId xmlns:a16="http://schemas.microsoft.com/office/drawing/2014/main" id="{78D3538B-2224-5C39-9569-94BE7F4888D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73246" y="2732581"/>
              <a:ext cx="199195" cy="193619"/>
            </a:xfrm>
            <a:prstGeom prst="rect">
              <a:avLst/>
            </a:prstGeom>
          </p:spPr>
        </p:pic>
        <p:pic>
          <p:nvPicPr>
            <p:cNvPr id="201" name="Graphic 200" descr="Badge 5 with solid fill">
              <a:extLst>
                <a:ext uri="{FF2B5EF4-FFF2-40B4-BE49-F238E27FC236}">
                  <a16:creationId xmlns:a16="http://schemas.microsoft.com/office/drawing/2014/main" id="{A5E8F5D2-A7FD-2759-8B48-1EDA0D21E95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824872" y="1716982"/>
              <a:ext cx="199195" cy="193619"/>
            </a:xfrm>
            <a:prstGeom prst="rect">
              <a:avLst/>
            </a:prstGeom>
          </p:spPr>
        </p:pic>
        <p:pic>
          <p:nvPicPr>
            <p:cNvPr id="202" name="Graphic 201" descr="Badge 6 with solid fill">
              <a:extLst>
                <a:ext uri="{FF2B5EF4-FFF2-40B4-BE49-F238E27FC236}">
                  <a16:creationId xmlns:a16="http://schemas.microsoft.com/office/drawing/2014/main" id="{2EBA3033-81AD-1DFC-1648-F1C7B9352E4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399412" y="4109862"/>
              <a:ext cx="192024" cy="192024"/>
            </a:xfrm>
            <a:prstGeom prst="rect">
              <a:avLst/>
            </a:prstGeom>
          </p:spPr>
        </p:pic>
      </p:grpSp>
      <p:sp>
        <p:nvSpPr>
          <p:cNvPr id="209" name="TextBox 208">
            <a:extLst>
              <a:ext uri="{FF2B5EF4-FFF2-40B4-BE49-F238E27FC236}">
                <a16:creationId xmlns:a16="http://schemas.microsoft.com/office/drawing/2014/main" id="{99BDB345-F1D6-5DEF-065C-46A13BA5DA76}"/>
              </a:ext>
            </a:extLst>
          </p:cNvPr>
          <p:cNvSpPr txBox="1"/>
          <p:nvPr/>
        </p:nvSpPr>
        <p:spPr bwMode="gray">
          <a:xfrm>
            <a:off x="8350626" y="4566235"/>
            <a:ext cx="3445133" cy="1754326"/>
          </a:xfrm>
          <a:prstGeom prst="rect">
            <a:avLst/>
          </a:prstGeom>
          <a:noFill/>
        </p:spPr>
        <p:txBody>
          <a:bodyPr wrap="square">
            <a:spAutoFit/>
          </a:bodyPr>
          <a:lstStyle/>
          <a:p>
            <a:r>
              <a:rPr lang="en-US" sz="1100" b="1" dirty="0"/>
              <a:t>Seismicity risk </a:t>
            </a:r>
            <a:r>
              <a:rPr lang="en-US" sz="1100" dirty="0"/>
              <a:t>– hydraulic stimulation can trigger induced earthquakes, while AGS avoids that</a:t>
            </a:r>
          </a:p>
          <a:p>
            <a:r>
              <a:rPr lang="en-US" sz="1100" b="1" dirty="0"/>
              <a:t>Reservoir uncertainty </a:t>
            </a:r>
            <a:r>
              <a:rPr lang="en-US" sz="1100" dirty="0"/>
              <a:t>– fracture networks may close and permeability can decline, which would decrease productivity</a:t>
            </a:r>
          </a:p>
          <a:p>
            <a:r>
              <a:rPr lang="en-US" sz="1100" b="1" dirty="0"/>
              <a:t>Water losses </a:t>
            </a:r>
            <a:r>
              <a:rPr lang="en-US" sz="1100" dirty="0"/>
              <a:t>– injected fluid may migrate, unlike with AGS, where working fluid is contained</a:t>
            </a:r>
          </a:p>
        </p:txBody>
      </p:sp>
      <p:grpSp>
        <p:nvGrpSpPr>
          <p:cNvPr id="210" name="Group 209">
            <a:extLst>
              <a:ext uri="{FF2B5EF4-FFF2-40B4-BE49-F238E27FC236}">
                <a16:creationId xmlns:a16="http://schemas.microsoft.com/office/drawing/2014/main" id="{84955808-833C-9789-309D-92826B4F37B3}"/>
              </a:ext>
            </a:extLst>
          </p:cNvPr>
          <p:cNvGrpSpPr/>
          <p:nvPr/>
        </p:nvGrpSpPr>
        <p:grpSpPr>
          <a:xfrm>
            <a:off x="8105486" y="1554480"/>
            <a:ext cx="3756314" cy="2322557"/>
            <a:chOff x="8105486" y="1554480"/>
            <a:chExt cx="3756314" cy="2322557"/>
          </a:xfrm>
        </p:grpSpPr>
        <p:sp>
          <p:nvSpPr>
            <p:cNvPr id="211" name="Rounded Rectangle 210">
              <a:extLst>
                <a:ext uri="{FF2B5EF4-FFF2-40B4-BE49-F238E27FC236}">
                  <a16:creationId xmlns:a16="http://schemas.microsoft.com/office/drawing/2014/main" id="{44BC6396-76B0-8589-5893-D95EAD1D9776}"/>
                </a:ext>
              </a:extLst>
            </p:cNvPr>
            <p:cNvSpPr/>
            <p:nvPr/>
          </p:nvSpPr>
          <p:spPr bwMode="gray">
            <a:xfrm>
              <a:off x="8105486" y="1554480"/>
              <a:ext cx="3756314" cy="2322557"/>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2" name="TextBox 211">
              <a:extLst>
                <a:ext uri="{FF2B5EF4-FFF2-40B4-BE49-F238E27FC236}">
                  <a16:creationId xmlns:a16="http://schemas.microsoft.com/office/drawing/2014/main" id="{A6A3F559-3DFF-4009-BF1B-9A2E431504EE}"/>
                </a:ext>
              </a:extLst>
            </p:cNvPr>
            <p:cNvSpPr txBox="1"/>
            <p:nvPr/>
          </p:nvSpPr>
          <p:spPr bwMode="gray">
            <a:xfrm>
              <a:off x="8692729" y="1683345"/>
              <a:ext cx="943134"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Advantages</a:t>
              </a:r>
              <a:endParaRPr lang="en-US" sz="1200" dirty="0"/>
            </a:p>
          </p:txBody>
        </p:sp>
        <p:pic>
          <p:nvPicPr>
            <p:cNvPr id="213" name="Graphic 212" descr="Badge Follow with solid fill">
              <a:extLst>
                <a:ext uri="{FF2B5EF4-FFF2-40B4-BE49-F238E27FC236}">
                  <a16:creationId xmlns:a16="http://schemas.microsoft.com/office/drawing/2014/main" id="{9876044B-374A-78BA-17E6-F89A03832FE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350628" y="1633306"/>
              <a:ext cx="292608" cy="292608"/>
            </a:xfrm>
            <a:prstGeom prst="rect">
              <a:avLst/>
            </a:prstGeom>
          </p:spPr>
        </p:pic>
        <p:cxnSp>
          <p:nvCxnSpPr>
            <p:cNvPr id="214" name="Straight Connector 213">
              <a:extLst>
                <a:ext uri="{FF2B5EF4-FFF2-40B4-BE49-F238E27FC236}">
                  <a16:creationId xmlns:a16="http://schemas.microsoft.com/office/drawing/2014/main" id="{8C096E5B-8AE7-797B-094B-E37FCAA9E890}"/>
                </a:ext>
              </a:extLst>
            </p:cNvPr>
            <p:cNvCxnSpPr>
              <a:cxnSpLocks/>
            </p:cNvCxnSpPr>
            <p:nvPr/>
          </p:nvCxnSpPr>
          <p:spPr bwMode="gray">
            <a:xfrm>
              <a:off x="8354401" y="1972552"/>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5DD87724-F724-6847-CEA2-A06129D88914}"/>
                </a:ext>
              </a:extLst>
            </p:cNvPr>
            <p:cNvSpPr txBox="1"/>
            <p:nvPr/>
          </p:nvSpPr>
          <p:spPr bwMode="gray">
            <a:xfrm>
              <a:off x="8302595" y="1987896"/>
              <a:ext cx="3447101" cy="1585049"/>
            </a:xfrm>
            <a:prstGeom prst="rect">
              <a:avLst/>
            </a:prstGeom>
            <a:noFill/>
          </p:spPr>
          <p:txBody>
            <a:bodyPr wrap="square">
              <a:spAutoFit/>
            </a:bodyPr>
            <a:lstStyle/>
            <a:p>
              <a:r>
                <a:rPr lang="en-US" sz="1100" b="1" dirty="0"/>
                <a:t>Higher thermal efficiency </a:t>
              </a:r>
              <a:r>
                <a:rPr lang="en-US" sz="1100" dirty="0"/>
                <a:t>– direct fluid/rock contact transfers heat more effectively than AGS</a:t>
              </a:r>
            </a:p>
            <a:p>
              <a:r>
                <a:rPr lang="en-US" sz="1100" b="1" dirty="0"/>
                <a:t>Potentially higher scale </a:t>
              </a:r>
              <a:r>
                <a:rPr lang="en-US" sz="1100" dirty="0"/>
                <a:t>– compared to AGS, can access vast resources with stimulation</a:t>
              </a:r>
            </a:p>
            <a:p>
              <a:r>
                <a:rPr lang="en-US" sz="1100" b="1" dirty="0"/>
                <a:t>Leverages oil &amp; gas skills </a:t>
              </a:r>
              <a:r>
                <a:rPr lang="en-US" sz="1100" dirty="0"/>
                <a:t>– uses drilling, fracturing, and reservoir management expertise of the oil and gas sector</a:t>
              </a:r>
            </a:p>
          </p:txBody>
        </p:sp>
      </p:grpSp>
      <p:grpSp>
        <p:nvGrpSpPr>
          <p:cNvPr id="216" name="Group 215">
            <a:extLst>
              <a:ext uri="{FF2B5EF4-FFF2-40B4-BE49-F238E27FC236}">
                <a16:creationId xmlns:a16="http://schemas.microsoft.com/office/drawing/2014/main" id="{3983E2EC-5A4B-E013-91F0-6B19596794D3}"/>
              </a:ext>
            </a:extLst>
          </p:cNvPr>
          <p:cNvGrpSpPr/>
          <p:nvPr/>
        </p:nvGrpSpPr>
        <p:grpSpPr>
          <a:xfrm>
            <a:off x="137343" y="1400606"/>
            <a:ext cx="2435469" cy="382889"/>
            <a:chOff x="137343" y="1400606"/>
            <a:chExt cx="2435469" cy="382889"/>
          </a:xfrm>
        </p:grpSpPr>
        <p:sp>
          <p:nvSpPr>
            <p:cNvPr id="217" name="Rectangle 216">
              <a:extLst>
                <a:ext uri="{FF2B5EF4-FFF2-40B4-BE49-F238E27FC236}">
                  <a16:creationId xmlns:a16="http://schemas.microsoft.com/office/drawing/2014/main" id="{13867252-9925-8A21-ED02-16011AB305E9}"/>
                </a:ext>
              </a:extLst>
            </p:cNvPr>
            <p:cNvSpPr/>
            <p:nvPr/>
          </p:nvSpPr>
          <p:spPr bwMode="gray">
            <a:xfrm>
              <a:off x="1401093" y="1420947"/>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8" name="Rectangle 217">
              <a:extLst>
                <a:ext uri="{FF2B5EF4-FFF2-40B4-BE49-F238E27FC236}">
                  <a16:creationId xmlns:a16="http://schemas.microsoft.com/office/drawing/2014/main" id="{E2CF1807-1516-775D-28C6-D2EBD7D33E6E}"/>
                </a:ext>
              </a:extLst>
            </p:cNvPr>
            <p:cNvSpPr/>
            <p:nvPr/>
          </p:nvSpPr>
          <p:spPr bwMode="gray">
            <a:xfrm>
              <a:off x="137343" y="1415455"/>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9" name="TextBox 218">
              <a:extLst>
                <a:ext uri="{FF2B5EF4-FFF2-40B4-BE49-F238E27FC236}">
                  <a16:creationId xmlns:a16="http://schemas.microsoft.com/office/drawing/2014/main" id="{72F50315-2E03-93B5-558B-4CA152933002}"/>
                </a:ext>
              </a:extLst>
            </p:cNvPr>
            <p:cNvSpPr txBox="1"/>
            <p:nvPr/>
          </p:nvSpPr>
          <p:spPr bwMode="gray">
            <a:xfrm>
              <a:off x="313561" y="1405284"/>
              <a:ext cx="771566" cy="15723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220" name="TextBox 219">
              <a:extLst>
                <a:ext uri="{FF2B5EF4-FFF2-40B4-BE49-F238E27FC236}">
                  <a16:creationId xmlns:a16="http://schemas.microsoft.com/office/drawing/2014/main" id="{E5739C4D-2A0B-08B2-E792-A0785E9138D6}"/>
                </a:ext>
              </a:extLst>
            </p:cNvPr>
            <p:cNvSpPr txBox="1"/>
            <p:nvPr/>
          </p:nvSpPr>
          <p:spPr bwMode="gray">
            <a:xfrm>
              <a:off x="1573320" y="1400606"/>
              <a:ext cx="747385" cy="157234"/>
            </a:xfrm>
            <a:prstGeom prst="rect">
              <a:avLst/>
            </a:prstGeom>
            <a:noFill/>
          </p:spPr>
          <p:txBody>
            <a:bodyPr wrap="none" lIns="36000" tIns="36000" rIns="36000" bIns="36000" rtlCol="0">
              <a:spAutoFit/>
            </a:bodyPr>
            <a:lstStyle/>
            <a:p>
              <a:pPr marL="0" indent="0">
                <a:buNone/>
              </a:pPr>
              <a:r>
                <a:rPr lang="en-US" sz="800" dirty="0"/>
                <a:t>Geothermal water</a:t>
              </a:r>
            </a:p>
          </p:txBody>
        </p:sp>
        <p:sp>
          <p:nvSpPr>
            <p:cNvPr id="221" name="Rectangle 220">
              <a:extLst>
                <a:ext uri="{FF2B5EF4-FFF2-40B4-BE49-F238E27FC236}">
                  <a16:creationId xmlns:a16="http://schemas.microsoft.com/office/drawing/2014/main" id="{1F2B58C7-ECC4-A90D-3970-A5CC2EFB6F5D}"/>
                </a:ext>
              </a:extLst>
            </p:cNvPr>
            <p:cNvSpPr/>
            <p:nvPr/>
          </p:nvSpPr>
          <p:spPr bwMode="gray">
            <a:xfrm>
              <a:off x="137343" y="1597852"/>
              <a:ext cx="142868" cy="136893"/>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2" name="Rectangle 221">
              <a:extLst>
                <a:ext uri="{FF2B5EF4-FFF2-40B4-BE49-F238E27FC236}">
                  <a16:creationId xmlns:a16="http://schemas.microsoft.com/office/drawing/2014/main" id="{97345792-632D-3380-0BA2-F8A1C9C01776}"/>
                </a:ext>
              </a:extLst>
            </p:cNvPr>
            <p:cNvSpPr/>
            <p:nvPr/>
          </p:nvSpPr>
          <p:spPr bwMode="gray">
            <a:xfrm>
              <a:off x="1396537" y="1596978"/>
              <a:ext cx="142868" cy="13689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3" name="TextBox 222">
              <a:extLst>
                <a:ext uri="{FF2B5EF4-FFF2-40B4-BE49-F238E27FC236}">
                  <a16:creationId xmlns:a16="http://schemas.microsoft.com/office/drawing/2014/main" id="{CF23FE07-AE6D-7BB4-4BE2-B5564C1208E7}"/>
                </a:ext>
              </a:extLst>
            </p:cNvPr>
            <p:cNvSpPr txBox="1"/>
            <p:nvPr/>
          </p:nvSpPr>
          <p:spPr bwMode="gray">
            <a:xfrm>
              <a:off x="313561" y="1587681"/>
              <a:ext cx="1055344" cy="195814"/>
            </a:xfrm>
            <a:prstGeom prst="rect">
              <a:avLst/>
            </a:prstGeom>
            <a:noFill/>
          </p:spPr>
          <p:txBody>
            <a:bodyPr wrap="none" lIns="36000" tIns="36000" rIns="36000" bIns="36000" rtlCol="0">
              <a:spAutoFit/>
            </a:bodyPr>
            <a:lstStyle/>
            <a:p>
              <a:pPr marL="0" indent="0">
                <a:buNone/>
              </a:pPr>
              <a:r>
                <a:rPr lang="en-US" sz="800" dirty="0"/>
                <a:t>Working fluid (vapor)</a:t>
              </a:r>
            </a:p>
          </p:txBody>
        </p:sp>
        <p:sp>
          <p:nvSpPr>
            <p:cNvPr id="224" name="TextBox 223">
              <a:extLst>
                <a:ext uri="{FF2B5EF4-FFF2-40B4-BE49-F238E27FC236}">
                  <a16:creationId xmlns:a16="http://schemas.microsoft.com/office/drawing/2014/main" id="{39768E2B-91D6-D176-277D-DBA35502D2E2}"/>
                </a:ext>
              </a:extLst>
            </p:cNvPr>
            <p:cNvSpPr txBox="1"/>
            <p:nvPr/>
          </p:nvSpPr>
          <p:spPr bwMode="gray">
            <a:xfrm>
              <a:off x="1568764" y="1576637"/>
              <a:ext cx="1004048" cy="195814"/>
            </a:xfrm>
            <a:prstGeom prst="rect">
              <a:avLst/>
            </a:prstGeom>
            <a:noFill/>
          </p:spPr>
          <p:txBody>
            <a:bodyPr wrap="none" lIns="36000" tIns="36000" rIns="36000" bIns="36000" rtlCol="0">
              <a:spAutoFit/>
            </a:bodyPr>
            <a:lstStyle/>
            <a:p>
              <a:pPr marL="0" indent="0">
                <a:buNone/>
              </a:pPr>
              <a:r>
                <a:rPr lang="en-US" sz="800" dirty="0"/>
                <a:t>Working fluid (liquid)</a:t>
              </a:r>
            </a:p>
          </p:txBody>
        </p:sp>
        <p:sp>
          <p:nvSpPr>
            <p:cNvPr id="225" name="Rectangle 224">
              <a:extLst>
                <a:ext uri="{FF2B5EF4-FFF2-40B4-BE49-F238E27FC236}">
                  <a16:creationId xmlns:a16="http://schemas.microsoft.com/office/drawing/2014/main" id="{69FAB54D-A927-A598-1D3A-774882D874EC}"/>
                </a:ext>
              </a:extLst>
            </p:cNvPr>
            <p:cNvSpPr/>
            <p:nvPr/>
          </p:nvSpPr>
          <p:spPr bwMode="gray">
            <a:xfrm>
              <a:off x="1452665" y="1425960"/>
              <a:ext cx="95779" cy="13551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Tree>
    <p:extLst>
      <p:ext uri="{BB962C8B-B14F-4D97-AF65-F5344CB8AC3E}">
        <p14:creationId xmlns:p14="http://schemas.microsoft.com/office/powerpoint/2010/main" val="2627513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6E724-9D84-2029-587A-57E93D27AB8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6A346B0-3447-6BE1-93FE-36FC85880E54}"/>
              </a:ext>
            </a:extLst>
          </p:cNvPr>
          <p:cNvGraphicFramePr>
            <a:graphicFrameLocks/>
          </p:cNvGraphicFramePr>
          <p:nvPr>
            <p:custDataLst>
              <p:tags r:id="rId1"/>
            </p:custDataLst>
            <p:extLst>
              <p:ext uri="{D42A27DB-BD31-4B8C-83A1-F6EECF244321}">
                <p14:modId xmlns:p14="http://schemas.microsoft.com/office/powerpoint/2010/main" val="10936414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0" name="think-cell data - do not delete" hidden="1">
                        <a:extLst>
                          <a:ext uri="{FF2B5EF4-FFF2-40B4-BE49-F238E27FC236}">
                            <a16:creationId xmlns:a16="http://schemas.microsoft.com/office/drawing/2014/main" id="{C24C22CA-8960-22FA-CA7F-66185A72B09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F8F9A58-AA30-5CCB-276F-BB48959AC2EB}"/>
              </a:ext>
            </a:extLst>
          </p:cNvPr>
          <p:cNvSpPr>
            <a:spLocks noGrp="1"/>
          </p:cNvSpPr>
          <p:nvPr>
            <p:ph type="title"/>
          </p:nvPr>
        </p:nvSpPr>
        <p:spPr/>
        <p:txBody>
          <a:bodyPr vert="horz" rIns="91440"/>
          <a:lstStyle/>
          <a:p>
            <a:r>
              <a:rPr lang="en-US" dirty="0"/>
              <a:t>Commercial capacity of global EGS could reach 108 TW by 2050, equivalent to 3.5x current global yearly electricity consumption</a:t>
            </a:r>
          </a:p>
        </p:txBody>
      </p:sp>
      <p:sp>
        <p:nvSpPr>
          <p:cNvPr id="4" name="Footer Placeholder 3">
            <a:extLst>
              <a:ext uri="{FF2B5EF4-FFF2-40B4-BE49-F238E27FC236}">
                <a16:creationId xmlns:a16="http://schemas.microsoft.com/office/drawing/2014/main" id="{339F6F29-5C61-2EB3-BE0B-D9DDFE6E28AC}"/>
              </a:ext>
            </a:extLst>
          </p:cNvPr>
          <p:cNvSpPr>
            <a:spLocks noGrp="1"/>
          </p:cNvSpPr>
          <p:nvPr>
            <p:ph type="ftr" sz="quarter" idx="3"/>
          </p:nvPr>
        </p:nvSpPr>
        <p:spPr>
          <a:xfrm>
            <a:off x="334962" y="6463182"/>
            <a:ext cx="9147241" cy="216706"/>
          </a:xfrm>
        </p:spPr>
        <p:txBody>
          <a:bodyPr/>
          <a:lstStyle/>
          <a:p>
            <a:r>
              <a:rPr lang="en-US" dirty="0">
                <a:solidFill>
                  <a:srgbClr val="000000"/>
                </a:solidFill>
              </a:rPr>
              <a:t>Sources:</a:t>
            </a:r>
            <a:r>
              <a:rPr lang="en-US" dirty="0"/>
              <a:t> </a:t>
            </a:r>
            <a:r>
              <a:rPr lang="en-US" dirty="0">
                <a:hlinkClick r:id="" action="ppaction://noaction"/>
              </a:rPr>
              <a:t>From hot rock to useful energy: A global estimate of enhanced geothermal systems potential</a:t>
            </a:r>
            <a:r>
              <a:rPr lang="en-US" dirty="0"/>
              <a:t> </a:t>
            </a:r>
            <a:r>
              <a:rPr lang="en-US" dirty="0">
                <a:solidFill>
                  <a:schemeClr val="tx1"/>
                </a:solidFill>
              </a:rPr>
              <a:t>(Applied Energy, 2020).</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19"/>
              </a:rPr>
              <a:t>Gernot Wagner.</a:t>
            </a:r>
            <a:r>
              <a:rPr lang="en-US" dirty="0">
                <a:solidFill>
                  <a:srgbClr val="000000"/>
                </a:solidFill>
              </a:rPr>
              <a:t> </a:t>
            </a:r>
            <a:r>
              <a:rPr lang="en-US" dirty="0">
                <a:hlinkClick r:id="rId2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8" name="Oval 7">
            <a:extLst>
              <a:ext uri="{FF2B5EF4-FFF2-40B4-BE49-F238E27FC236}">
                <a16:creationId xmlns:a16="http://schemas.microsoft.com/office/drawing/2014/main" id="{B67F89A7-209A-4541-18C5-1842D03FFDB2}"/>
              </a:ext>
            </a:extLst>
          </p:cNvPr>
          <p:cNvSpPr>
            <a:spLocks noChangeAspect="1"/>
          </p:cNvSpPr>
          <p:nvPr/>
        </p:nvSpPr>
        <p:spPr bwMode="gray">
          <a:xfrm>
            <a:off x="54230" y="558865"/>
            <a:ext cx="274320" cy="274320"/>
          </a:xfrm>
          <a:prstGeom prst="ellipse">
            <a:avLst/>
          </a:prstGeom>
          <a:solidFill>
            <a:srgbClr val="A7E2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81B983BA-50E2-36DF-ED38-1717C554D2CC}"/>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t>A</a:t>
            </a:r>
          </a:p>
        </p:txBody>
      </p:sp>
      <p:sp>
        <p:nvSpPr>
          <p:cNvPr id="2" name="Text Placeholder 1">
            <a:extLst>
              <a:ext uri="{FF2B5EF4-FFF2-40B4-BE49-F238E27FC236}">
                <a16:creationId xmlns:a16="http://schemas.microsoft.com/office/drawing/2014/main" id="{04843D26-3A25-74A7-DFDC-53822B12C1BD}"/>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grpSp>
        <p:nvGrpSpPr>
          <p:cNvPr id="5" name="Group 4">
            <a:extLst>
              <a:ext uri="{FF2B5EF4-FFF2-40B4-BE49-F238E27FC236}">
                <a16:creationId xmlns:a16="http://schemas.microsoft.com/office/drawing/2014/main" id="{753591DF-E277-84BA-D77C-BE29D635ECC3}"/>
              </a:ext>
            </a:extLst>
          </p:cNvPr>
          <p:cNvGrpSpPr/>
          <p:nvPr/>
        </p:nvGrpSpPr>
        <p:grpSpPr>
          <a:xfrm>
            <a:off x="414348" y="1576205"/>
            <a:ext cx="713602" cy="4699019"/>
            <a:chOff x="414348" y="1576205"/>
            <a:chExt cx="713602" cy="4464441"/>
          </a:xfrm>
        </p:grpSpPr>
        <p:sp>
          <p:nvSpPr>
            <p:cNvPr id="11" name="Freihandform: Form 38">
              <a:extLst>
                <a:ext uri="{FF2B5EF4-FFF2-40B4-BE49-F238E27FC236}">
                  <a16:creationId xmlns:a16="http://schemas.microsoft.com/office/drawing/2014/main" id="{0D41D22B-5E7A-F0EC-7F9F-AD8016B721EC}"/>
                </a:ext>
              </a:extLst>
            </p:cNvPr>
            <p:cNvSpPr>
              <a:spLocks/>
            </p:cNvSpPr>
            <p:nvPr>
              <p:custDataLst>
                <p:tags r:id="rId13"/>
              </p:custDataLst>
            </p:nvPr>
          </p:nvSpPr>
          <p:spPr bwMode="auto">
            <a:xfrm rot="10800000">
              <a:off x="414348" y="1576205"/>
              <a:ext cx="713602" cy="1404626"/>
            </a:xfrm>
            <a:custGeom>
              <a:avLst/>
              <a:gdLst>
                <a:gd name="connsiteX0" fmla="*/ 428847 w 1363915"/>
                <a:gd name="connsiteY0" fmla="*/ 0 h 752132"/>
                <a:gd name="connsiteX1" fmla="*/ 1363915 w 1363915"/>
                <a:gd name="connsiteY1" fmla="*/ 0 h 752132"/>
                <a:gd name="connsiteX2" fmla="*/ 1363915 w 1363915"/>
                <a:gd name="connsiteY2" fmla="*/ 752132 h 752132"/>
                <a:gd name="connsiteX3" fmla="*/ 0 w 1363915"/>
                <a:gd name="connsiteY3" fmla="*/ 752132 h 752132"/>
              </a:gdLst>
              <a:ahLst/>
              <a:cxnLst>
                <a:cxn ang="0">
                  <a:pos x="connsiteX0" y="connsiteY0"/>
                </a:cxn>
                <a:cxn ang="0">
                  <a:pos x="connsiteX1" y="connsiteY1"/>
                </a:cxn>
                <a:cxn ang="0">
                  <a:pos x="connsiteX2" y="connsiteY2"/>
                </a:cxn>
                <a:cxn ang="0">
                  <a:pos x="connsiteX3" y="connsiteY3"/>
                </a:cxn>
              </a:cxnLst>
              <a:rect l="l" t="t" r="r" b="b"/>
              <a:pathLst>
                <a:path w="1363915" h="752132">
                  <a:moveTo>
                    <a:pt x="428847" y="0"/>
                  </a:moveTo>
                  <a:lnTo>
                    <a:pt x="1363915" y="0"/>
                  </a:lnTo>
                  <a:lnTo>
                    <a:pt x="1363915" y="752132"/>
                  </a:lnTo>
                  <a:lnTo>
                    <a:pt x="0" y="752132"/>
                  </a:lnTo>
                  <a:close/>
                </a:path>
              </a:pathLst>
            </a:custGeom>
            <a:solidFill>
              <a:schemeClr val="accent5"/>
            </a:solidFill>
            <a:ln>
              <a:noFill/>
            </a:ln>
          </p:spPr>
          <p:txBody>
            <a:bodyPr vert="horz" wrap="square" lIns="91416" tIns="45708" rIns="91416" bIns="45708" numCol="1" anchor="t" anchorCtr="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endParaRPr>
            </a:p>
          </p:txBody>
        </p:sp>
        <p:sp>
          <p:nvSpPr>
            <p:cNvPr id="12" name="Freihandform: Form 36">
              <a:extLst>
                <a:ext uri="{FF2B5EF4-FFF2-40B4-BE49-F238E27FC236}">
                  <a16:creationId xmlns:a16="http://schemas.microsoft.com/office/drawing/2014/main" id="{34555822-BD8B-5E17-F962-85477CAECB6C}"/>
                </a:ext>
              </a:extLst>
            </p:cNvPr>
            <p:cNvSpPr>
              <a:spLocks/>
            </p:cNvSpPr>
            <p:nvPr>
              <p:custDataLst>
                <p:tags r:id="rId14"/>
              </p:custDataLst>
            </p:nvPr>
          </p:nvSpPr>
          <p:spPr bwMode="auto">
            <a:xfrm rot="10800000">
              <a:off x="414348" y="3109433"/>
              <a:ext cx="467654" cy="1401547"/>
            </a:xfrm>
            <a:custGeom>
              <a:avLst/>
              <a:gdLst>
                <a:gd name="connsiteX0" fmla="*/ 428847 w 893833"/>
                <a:gd name="connsiteY0" fmla="*/ 0 h 750483"/>
                <a:gd name="connsiteX1" fmla="*/ 893833 w 893833"/>
                <a:gd name="connsiteY1" fmla="*/ 0 h 750483"/>
                <a:gd name="connsiteX2" fmla="*/ 893833 w 893833"/>
                <a:gd name="connsiteY2" fmla="*/ 750483 h 750483"/>
                <a:gd name="connsiteX3" fmla="*/ 0 w 893833"/>
                <a:gd name="connsiteY3" fmla="*/ 750483 h 750483"/>
              </a:gdLst>
              <a:ahLst/>
              <a:cxnLst>
                <a:cxn ang="0">
                  <a:pos x="connsiteX0" y="connsiteY0"/>
                </a:cxn>
                <a:cxn ang="0">
                  <a:pos x="connsiteX1" y="connsiteY1"/>
                </a:cxn>
                <a:cxn ang="0">
                  <a:pos x="connsiteX2" y="connsiteY2"/>
                </a:cxn>
                <a:cxn ang="0">
                  <a:pos x="connsiteX3" y="connsiteY3"/>
                </a:cxn>
              </a:cxnLst>
              <a:rect l="l" t="t" r="r" b="b"/>
              <a:pathLst>
                <a:path w="893833" h="750483">
                  <a:moveTo>
                    <a:pt x="428847" y="0"/>
                  </a:moveTo>
                  <a:lnTo>
                    <a:pt x="893833" y="0"/>
                  </a:lnTo>
                  <a:lnTo>
                    <a:pt x="893833" y="750483"/>
                  </a:lnTo>
                  <a:lnTo>
                    <a:pt x="0" y="750483"/>
                  </a:lnTo>
                  <a:close/>
                </a:path>
              </a:pathLst>
            </a:custGeom>
            <a:solidFill>
              <a:schemeClr val="accent5">
                <a:lumMod val="60000"/>
                <a:lumOff val="40000"/>
              </a:schemeClr>
            </a:solidFill>
            <a:ln>
              <a:noFill/>
            </a:ln>
          </p:spPr>
          <p:txBody>
            <a:bodyPr vert="horz" wrap="square" lIns="91416" tIns="45708" rIns="91416" bIns="45708" numCol="1" anchor="t" anchorCtr="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endParaRPr>
            </a:p>
          </p:txBody>
        </p:sp>
        <p:sp>
          <p:nvSpPr>
            <p:cNvPr id="13" name="Freihandform: Form 34">
              <a:extLst>
                <a:ext uri="{FF2B5EF4-FFF2-40B4-BE49-F238E27FC236}">
                  <a16:creationId xmlns:a16="http://schemas.microsoft.com/office/drawing/2014/main" id="{6CFAB859-0969-0900-2FE9-8D53D2E0A59E}"/>
                </a:ext>
              </a:extLst>
            </p:cNvPr>
            <p:cNvSpPr>
              <a:spLocks/>
            </p:cNvSpPr>
            <p:nvPr>
              <p:custDataLst>
                <p:tags r:id="rId15"/>
              </p:custDataLst>
            </p:nvPr>
          </p:nvSpPr>
          <p:spPr bwMode="auto">
            <a:xfrm rot="10800000">
              <a:off x="414348" y="4639580"/>
              <a:ext cx="224296" cy="1401066"/>
            </a:xfrm>
            <a:custGeom>
              <a:avLst/>
              <a:gdLst>
                <a:gd name="connsiteX0" fmla="*/ 428700 w 428700"/>
                <a:gd name="connsiteY0" fmla="*/ 0 h 750226"/>
                <a:gd name="connsiteX1" fmla="*/ 428700 w 428700"/>
                <a:gd name="connsiteY1" fmla="*/ 750226 h 750226"/>
                <a:gd name="connsiteX2" fmla="*/ 0 w 428700"/>
                <a:gd name="connsiteY2" fmla="*/ 750226 h 750226"/>
              </a:gdLst>
              <a:ahLst/>
              <a:cxnLst>
                <a:cxn ang="0">
                  <a:pos x="connsiteX0" y="connsiteY0"/>
                </a:cxn>
                <a:cxn ang="0">
                  <a:pos x="connsiteX1" y="connsiteY1"/>
                </a:cxn>
                <a:cxn ang="0">
                  <a:pos x="connsiteX2" y="connsiteY2"/>
                </a:cxn>
              </a:cxnLst>
              <a:rect l="l" t="t" r="r" b="b"/>
              <a:pathLst>
                <a:path w="428700" h="750226">
                  <a:moveTo>
                    <a:pt x="428700" y="0"/>
                  </a:moveTo>
                  <a:lnTo>
                    <a:pt x="428700" y="750226"/>
                  </a:lnTo>
                  <a:lnTo>
                    <a:pt x="0" y="750226"/>
                  </a:lnTo>
                  <a:close/>
                </a:path>
              </a:pathLst>
            </a:custGeom>
            <a:solidFill>
              <a:schemeClr val="accent5">
                <a:lumMod val="20000"/>
                <a:lumOff val="80000"/>
              </a:schemeClr>
            </a:solidFill>
            <a:ln>
              <a:noFill/>
            </a:ln>
          </p:spPr>
          <p:txBody>
            <a:bodyPr vert="horz" wrap="square" lIns="91416" tIns="45708" rIns="91416" bIns="45708" numCol="1" anchor="t" anchorCtr="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endParaRPr>
            </a:p>
          </p:txBody>
        </p:sp>
      </p:grpSp>
      <p:sp>
        <p:nvSpPr>
          <p:cNvPr id="14" name="TextBox 13">
            <a:extLst>
              <a:ext uri="{FF2B5EF4-FFF2-40B4-BE49-F238E27FC236}">
                <a16:creationId xmlns:a16="http://schemas.microsoft.com/office/drawing/2014/main" id="{99DC7506-EA97-7BBF-F411-63A0EA6C5D7D}"/>
              </a:ext>
            </a:extLst>
          </p:cNvPr>
          <p:cNvSpPr txBox="1"/>
          <p:nvPr/>
        </p:nvSpPr>
        <p:spPr bwMode="gray">
          <a:xfrm>
            <a:off x="1263258" y="4731739"/>
            <a:ext cx="2028731" cy="278224"/>
          </a:xfrm>
          <a:prstGeom prst="rect">
            <a:avLst/>
          </a:prstGeom>
          <a:noFill/>
        </p:spPr>
        <p:txBody>
          <a:bodyPr wrap="square" lIns="36000" tIns="36000" rIns="36000" bIns="36000" rtlCol="0">
            <a:spAutoFit/>
          </a:bodyPr>
          <a:lstStyle/>
          <a:p>
            <a:pPr marL="0" indent="0">
              <a:buNone/>
            </a:pPr>
            <a:r>
              <a:rPr lang="en-US" sz="1300" b="1" dirty="0"/>
              <a:t>Commercial potential</a:t>
            </a:r>
          </a:p>
        </p:txBody>
      </p:sp>
      <p:sp>
        <p:nvSpPr>
          <p:cNvPr id="15" name="TextBox 14">
            <a:extLst>
              <a:ext uri="{FF2B5EF4-FFF2-40B4-BE49-F238E27FC236}">
                <a16:creationId xmlns:a16="http://schemas.microsoft.com/office/drawing/2014/main" id="{F249F0B6-74E8-E89D-DD06-7065F9284BE7}"/>
              </a:ext>
            </a:extLst>
          </p:cNvPr>
          <p:cNvSpPr txBox="1"/>
          <p:nvPr/>
        </p:nvSpPr>
        <p:spPr bwMode="gray">
          <a:xfrm>
            <a:off x="1263258" y="3189994"/>
            <a:ext cx="1920034" cy="278224"/>
          </a:xfrm>
          <a:prstGeom prst="rect">
            <a:avLst/>
          </a:prstGeom>
          <a:noFill/>
        </p:spPr>
        <p:txBody>
          <a:bodyPr wrap="square" lIns="36000" tIns="36000" rIns="36000" bIns="36000" rtlCol="0">
            <a:spAutoFit/>
          </a:bodyPr>
          <a:lstStyle/>
          <a:p>
            <a:pPr marL="0" indent="0">
              <a:buNone/>
            </a:pPr>
            <a:r>
              <a:rPr lang="en-US" sz="1300" b="1" dirty="0"/>
              <a:t>Technical potential</a:t>
            </a:r>
          </a:p>
        </p:txBody>
      </p:sp>
      <p:sp>
        <p:nvSpPr>
          <p:cNvPr id="16" name="TextBox 15">
            <a:extLst>
              <a:ext uri="{FF2B5EF4-FFF2-40B4-BE49-F238E27FC236}">
                <a16:creationId xmlns:a16="http://schemas.microsoft.com/office/drawing/2014/main" id="{25B2A742-E799-5F6B-72D8-C55CC3B2D4B3}"/>
              </a:ext>
            </a:extLst>
          </p:cNvPr>
          <p:cNvSpPr txBox="1"/>
          <p:nvPr/>
        </p:nvSpPr>
        <p:spPr bwMode="gray">
          <a:xfrm>
            <a:off x="1268752" y="1558630"/>
            <a:ext cx="2360189" cy="272758"/>
          </a:xfrm>
          <a:prstGeom prst="rect">
            <a:avLst/>
          </a:prstGeom>
          <a:noFill/>
        </p:spPr>
        <p:txBody>
          <a:bodyPr wrap="none" lIns="36000" tIns="36000" rIns="36000" bIns="36000" rtlCol="0">
            <a:spAutoFit/>
          </a:bodyPr>
          <a:lstStyle/>
          <a:p>
            <a:pPr marL="0" indent="0">
              <a:buNone/>
            </a:pPr>
            <a:r>
              <a:rPr lang="en-US" sz="1300" b="1" dirty="0"/>
              <a:t>Maximum technical potential</a:t>
            </a:r>
          </a:p>
        </p:txBody>
      </p:sp>
      <p:sp>
        <p:nvSpPr>
          <p:cNvPr id="17" name="TextBox 16">
            <a:extLst>
              <a:ext uri="{FF2B5EF4-FFF2-40B4-BE49-F238E27FC236}">
                <a16:creationId xmlns:a16="http://schemas.microsoft.com/office/drawing/2014/main" id="{2DA53F9B-2DBD-F759-1734-1034E2AFBD8E}"/>
              </a:ext>
            </a:extLst>
          </p:cNvPr>
          <p:cNvSpPr txBox="1"/>
          <p:nvPr/>
        </p:nvSpPr>
        <p:spPr bwMode="gray">
          <a:xfrm>
            <a:off x="1263257" y="5049587"/>
            <a:ext cx="3022599" cy="749812"/>
          </a:xfrm>
          <a:prstGeom prst="rect">
            <a:avLst/>
          </a:prstGeom>
          <a:noFill/>
        </p:spPr>
        <p:txBody>
          <a:bodyPr wrap="square" lIns="36000" tIns="36000" rIns="36000" bIns="36000" rtlCol="0">
            <a:spAutoFit/>
          </a:bodyPr>
          <a:lstStyle/>
          <a:p>
            <a:pPr marL="0" indent="0">
              <a:buNone/>
            </a:pPr>
            <a:r>
              <a:rPr lang="en-US" sz="1100" dirty="0"/>
              <a:t>The economically and environmentally viable portion of the EGS resource that can be developed under current or projected cost and water availability conditions</a:t>
            </a:r>
          </a:p>
        </p:txBody>
      </p:sp>
      <p:sp>
        <p:nvSpPr>
          <p:cNvPr id="18" name="TextBox 17">
            <a:extLst>
              <a:ext uri="{FF2B5EF4-FFF2-40B4-BE49-F238E27FC236}">
                <a16:creationId xmlns:a16="http://schemas.microsoft.com/office/drawing/2014/main" id="{29379BC8-669D-864D-9917-926E62CE63F9}"/>
              </a:ext>
            </a:extLst>
          </p:cNvPr>
          <p:cNvSpPr txBox="1"/>
          <p:nvPr/>
        </p:nvSpPr>
        <p:spPr bwMode="gray">
          <a:xfrm>
            <a:off x="1263257" y="3507842"/>
            <a:ext cx="3022599" cy="749812"/>
          </a:xfrm>
          <a:prstGeom prst="rect">
            <a:avLst/>
          </a:prstGeom>
          <a:noFill/>
        </p:spPr>
        <p:txBody>
          <a:bodyPr wrap="square" lIns="36000" tIns="36000" rIns="36000" bIns="36000" rtlCol="0">
            <a:spAutoFit/>
          </a:bodyPr>
          <a:lstStyle/>
          <a:p>
            <a:pPr marL="0" indent="0">
              <a:buNone/>
            </a:pPr>
            <a:r>
              <a:rPr lang="en-US" sz="1100" dirty="0"/>
              <a:t>The technically recoverable portion of the EGS resources that could be harnessed, ignoring economic limits but still considering water constraints and other physical feasibility factors</a:t>
            </a:r>
          </a:p>
        </p:txBody>
      </p:sp>
      <p:sp>
        <p:nvSpPr>
          <p:cNvPr id="19" name="TextBox 18">
            <a:extLst>
              <a:ext uri="{FF2B5EF4-FFF2-40B4-BE49-F238E27FC236}">
                <a16:creationId xmlns:a16="http://schemas.microsoft.com/office/drawing/2014/main" id="{559C39FA-A77B-E5B4-772A-FCB54CBED166}"/>
              </a:ext>
            </a:extLst>
          </p:cNvPr>
          <p:cNvSpPr txBox="1"/>
          <p:nvPr/>
        </p:nvSpPr>
        <p:spPr bwMode="gray">
          <a:xfrm>
            <a:off x="1263257" y="1971017"/>
            <a:ext cx="3022599" cy="919089"/>
          </a:xfrm>
          <a:prstGeom prst="rect">
            <a:avLst/>
          </a:prstGeom>
          <a:noFill/>
        </p:spPr>
        <p:txBody>
          <a:bodyPr wrap="square" lIns="36000" tIns="36000" rIns="36000" bIns="36000" rtlCol="0">
            <a:spAutoFit/>
          </a:bodyPr>
          <a:lstStyle/>
          <a:p>
            <a:pPr marL="0" indent="0">
              <a:buNone/>
            </a:pPr>
            <a:r>
              <a:rPr lang="en-US" sz="1100" dirty="0"/>
              <a:t>The total capacity in theory that could be developed if both economic and water constraints were removed and capacity be limited only by geology, temperature, and drilling depth</a:t>
            </a:r>
          </a:p>
        </p:txBody>
      </p:sp>
      <p:graphicFrame>
        <p:nvGraphicFramePr>
          <p:cNvPr id="20" name="Chart 19">
            <a:extLst>
              <a:ext uri="{FF2B5EF4-FFF2-40B4-BE49-F238E27FC236}">
                <a16:creationId xmlns:a16="http://schemas.microsoft.com/office/drawing/2014/main" id="{0D1FD03E-8D7E-F2B5-25AE-58DCACD74E47}"/>
              </a:ext>
            </a:extLst>
          </p:cNvPr>
          <p:cNvGraphicFramePr/>
          <p:nvPr>
            <p:custDataLst>
              <p:tags r:id="rId2"/>
            </p:custDataLst>
            <p:extLst>
              <p:ext uri="{D42A27DB-BD31-4B8C-83A1-F6EECF244321}">
                <p14:modId xmlns:p14="http://schemas.microsoft.com/office/powerpoint/2010/main" val="1908898538"/>
              </p:ext>
            </p:extLst>
          </p:nvPr>
        </p:nvGraphicFramePr>
        <p:xfrm>
          <a:off x="4903788" y="2193925"/>
          <a:ext cx="3509962" cy="3875088"/>
        </p:xfrm>
        <a:graphic>
          <a:graphicData uri="http://schemas.openxmlformats.org/drawingml/2006/chart">
            <c:chart xmlns:c="http://schemas.openxmlformats.org/drawingml/2006/chart" xmlns:r="http://schemas.openxmlformats.org/officeDocument/2006/relationships" r:id="rId21"/>
          </a:graphicData>
        </a:graphic>
      </p:graphicFrame>
      <p:sp>
        <p:nvSpPr>
          <p:cNvPr id="21" name="Rectangle 20">
            <a:extLst>
              <a:ext uri="{FF2B5EF4-FFF2-40B4-BE49-F238E27FC236}">
                <a16:creationId xmlns:a16="http://schemas.microsoft.com/office/drawing/2014/main" id="{9B93389B-647E-C694-DE3E-B67444EF27DA}"/>
              </a:ext>
            </a:extLst>
          </p:cNvPr>
          <p:cNvSpPr/>
          <p:nvPr>
            <p:custDataLst>
              <p:tags r:id="rId3"/>
            </p:custDataLst>
          </p:nvPr>
        </p:nvSpPr>
        <p:spPr bwMode="auto">
          <a:xfrm>
            <a:off x="5076825" y="5024438"/>
            <a:ext cx="1703388" cy="687388"/>
          </a:xfrm>
          <a:prstGeom prst="rect">
            <a:avLst/>
          </a:prstGeom>
          <a:noFill/>
          <a:ln w="12700" cap="flat" cmpd="sng" algn="ctr">
            <a:solidFill>
              <a:schemeClr val="accent2"/>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Text Placeholder 10">
            <a:extLst>
              <a:ext uri="{FF2B5EF4-FFF2-40B4-BE49-F238E27FC236}">
                <a16:creationId xmlns:a16="http://schemas.microsoft.com/office/drawing/2014/main" id="{D3A6366C-E82C-DB0B-C674-DF20B3745DE5}"/>
              </a:ext>
            </a:extLst>
          </p:cNvPr>
          <p:cNvSpPr txBox="1">
            <a:spLocks/>
          </p:cNvSpPr>
          <p:nvPr>
            <p:custDataLst>
              <p:tags r:id="rId4"/>
            </p:custDataLst>
          </p:nvPr>
        </p:nvSpPr>
        <p:spPr bwMode="gray">
          <a:xfrm>
            <a:off x="5780088" y="52768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8EE08B-6EF9-4067-9BAD-8184387E8091}" type="datetime'''''1''''0''''''''3'''''''''''''''''''''''''''">
              <a:rPr lang="en-US" altLang="en-US" sz="1200" smtClean="0"/>
              <a:pPr marL="0" indent="0" algn="ctr">
                <a:spcBef>
                  <a:spcPct val="0"/>
                </a:spcBef>
                <a:spcAft>
                  <a:spcPct val="0"/>
                </a:spcAft>
                <a:buNone/>
              </a:pPr>
              <a:t>103</a:t>
            </a:fld>
            <a:endParaRPr lang="en-US" sz="1200" dirty="0"/>
          </a:p>
        </p:txBody>
      </p:sp>
      <p:sp>
        <p:nvSpPr>
          <p:cNvPr id="23" name="Text Placeholder 10">
            <a:extLst>
              <a:ext uri="{FF2B5EF4-FFF2-40B4-BE49-F238E27FC236}">
                <a16:creationId xmlns:a16="http://schemas.microsoft.com/office/drawing/2014/main" id="{53CBDCA7-72C8-4460-4467-09008F2E66CD}"/>
              </a:ext>
            </a:extLst>
          </p:cNvPr>
          <p:cNvSpPr txBox="1">
            <a:spLocks/>
          </p:cNvSpPr>
          <p:nvPr>
            <p:custDataLst>
              <p:tags r:id="rId5"/>
            </p:custDataLst>
          </p:nvPr>
        </p:nvSpPr>
        <p:spPr bwMode="gray">
          <a:xfrm>
            <a:off x="4967288" y="527685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9C5289-767B-40FC-888B-C6F5133C31CF}" type="datetime'''5'''''''">
              <a:rPr lang="en-US" altLang="en-US" sz="1200" smtClean="0">
                <a:solidFill>
                  <a:schemeClr val="bg1"/>
                </a:solidFill>
              </a:rPr>
              <a:pPr marL="0" indent="0" algn="ctr">
                <a:spcBef>
                  <a:spcPct val="0"/>
                </a:spcBef>
                <a:spcAft>
                  <a:spcPct val="0"/>
                </a:spcAft>
                <a:buNone/>
              </a:pPr>
              <a:t>5</a:t>
            </a:fld>
            <a:endParaRPr lang="en-US" sz="1200" dirty="0">
              <a:solidFill>
                <a:schemeClr val="bg1"/>
              </a:solidFill>
            </a:endParaRPr>
          </a:p>
        </p:txBody>
      </p:sp>
      <p:sp>
        <p:nvSpPr>
          <p:cNvPr id="24" name="Text Placeholder 10">
            <a:extLst>
              <a:ext uri="{FF2B5EF4-FFF2-40B4-BE49-F238E27FC236}">
                <a16:creationId xmlns:a16="http://schemas.microsoft.com/office/drawing/2014/main" id="{A65EDC50-2493-333C-A451-B44F861B1E90}"/>
              </a:ext>
            </a:extLst>
          </p:cNvPr>
          <p:cNvSpPr txBox="1">
            <a:spLocks/>
          </p:cNvSpPr>
          <p:nvPr>
            <p:custDataLst>
              <p:tags r:id="rId6"/>
            </p:custDataLst>
          </p:nvPr>
        </p:nvSpPr>
        <p:spPr bwMode="gray">
          <a:xfrm>
            <a:off x="8356600" y="28035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B6F22C4-2285-4391-B98B-EA48E1CDD413}" type="datetime'''2''''''''''''''''''''''''''''''''''0''''''1'''''''">
              <a:rPr lang="en-US" altLang="en-US" sz="1200" smtClean="0"/>
              <a:pPr/>
              <a:t>201</a:t>
            </a:fld>
            <a:endParaRPr lang="en-US" sz="1200" dirty="0"/>
          </a:p>
        </p:txBody>
      </p:sp>
      <p:sp>
        <p:nvSpPr>
          <p:cNvPr id="25" name="Text Placeholder 10">
            <a:extLst>
              <a:ext uri="{FF2B5EF4-FFF2-40B4-BE49-F238E27FC236}">
                <a16:creationId xmlns:a16="http://schemas.microsoft.com/office/drawing/2014/main" id="{B687754F-55BF-6638-8574-7023D3DD4421}"/>
              </a:ext>
            </a:extLst>
          </p:cNvPr>
          <p:cNvSpPr txBox="1">
            <a:spLocks/>
          </p:cNvSpPr>
          <p:nvPr>
            <p:custDataLst>
              <p:tags r:id="rId7"/>
            </p:custDataLst>
          </p:nvPr>
        </p:nvSpPr>
        <p:spPr bwMode="gray">
          <a:xfrm>
            <a:off x="7223125" y="404018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7B05D51-687E-4025-8698-2AB954EB0567}" type="datetime'''''''1''''''''''''''''''''''3''3'''''''''''">
              <a:rPr lang="en-US" altLang="en-US" sz="1200" smtClean="0"/>
              <a:pPr/>
              <a:t>133</a:t>
            </a:fld>
            <a:endParaRPr lang="en-US" sz="1200" dirty="0"/>
          </a:p>
        </p:txBody>
      </p:sp>
      <p:sp>
        <p:nvSpPr>
          <p:cNvPr id="26" name="Text Placeholder 10">
            <a:extLst>
              <a:ext uri="{FF2B5EF4-FFF2-40B4-BE49-F238E27FC236}">
                <a16:creationId xmlns:a16="http://schemas.microsoft.com/office/drawing/2014/main" id="{297E6946-AFE5-BB75-5C7C-ED10BEC8C076}"/>
              </a:ext>
            </a:extLst>
          </p:cNvPr>
          <p:cNvSpPr txBox="1">
            <a:spLocks/>
          </p:cNvSpPr>
          <p:nvPr>
            <p:custDataLst>
              <p:tags r:id="rId8"/>
            </p:custDataLst>
          </p:nvPr>
        </p:nvSpPr>
        <p:spPr bwMode="gray">
          <a:xfrm>
            <a:off x="6805613" y="52768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2908A39-A2AA-431C-B6B4-7FD702005CC7}" type="datetime'''1''''''''0''''''''''''''''''''''''''''''''''8'''''''''''''''">
              <a:rPr lang="en-US" altLang="en-US" sz="1200" smtClean="0"/>
              <a:pPr/>
              <a:t>108</a:t>
            </a:fld>
            <a:endParaRPr lang="en-US" sz="1200" dirty="0"/>
          </a:p>
        </p:txBody>
      </p:sp>
      <p:sp>
        <p:nvSpPr>
          <p:cNvPr id="27" name="Rectangle 26">
            <a:extLst>
              <a:ext uri="{FF2B5EF4-FFF2-40B4-BE49-F238E27FC236}">
                <a16:creationId xmlns:a16="http://schemas.microsoft.com/office/drawing/2014/main" id="{6EC1B8DF-0711-E9F2-5CA3-C684D002DB55}"/>
              </a:ext>
            </a:extLst>
          </p:cNvPr>
          <p:cNvSpPr/>
          <p:nvPr>
            <p:custDataLst>
              <p:tags r:id="rId9"/>
            </p:custDataLst>
          </p:nvPr>
        </p:nvSpPr>
        <p:spPr bwMode="auto">
          <a:xfrm>
            <a:off x="4619625" y="1836738"/>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E1A6EA6C-33E0-B0C4-2E3F-06BB6D58F4F1}"/>
              </a:ext>
            </a:extLst>
          </p:cNvPr>
          <p:cNvSpPr/>
          <p:nvPr>
            <p:custDataLst>
              <p:tags r:id="rId10"/>
            </p:custDataLst>
          </p:nvPr>
        </p:nvSpPr>
        <p:spPr bwMode="auto">
          <a:xfrm>
            <a:off x="5322888" y="1836738"/>
            <a:ext cx="214313" cy="160338"/>
          </a:xfrm>
          <a:prstGeom prst="rect">
            <a:avLst/>
          </a:prstGeom>
          <a:noFill/>
          <a:ln w="12700" cap="flat" cmpd="sng" algn="ctr">
            <a:solidFill>
              <a:schemeClr val="accent2"/>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Text Placeholder 10">
            <a:extLst>
              <a:ext uri="{FF2B5EF4-FFF2-40B4-BE49-F238E27FC236}">
                <a16:creationId xmlns:a16="http://schemas.microsoft.com/office/drawing/2014/main" id="{0E872DBF-12C9-DB01-5FAB-DAF4CCEE8F0C}"/>
              </a:ext>
            </a:extLst>
          </p:cNvPr>
          <p:cNvSpPr txBox="1">
            <a:spLocks/>
          </p:cNvSpPr>
          <p:nvPr>
            <p:custDataLst>
              <p:tags r:id="rId11"/>
            </p:custDataLst>
          </p:nvPr>
        </p:nvSpPr>
        <p:spPr bwMode="auto">
          <a:xfrm>
            <a:off x="4884738" y="183197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20399E6-00E1-4F0C-92EA-01308B0FF189}" type="datetime'''''''''''2''''''''0''''''''3''''''''''0'">
              <a:rPr lang="en-US" altLang="en-US" sz="1200" smtClean="0"/>
              <a:pPr/>
              <a:t>2030</a:t>
            </a:fld>
            <a:endParaRPr lang="en-US" sz="1200" dirty="0"/>
          </a:p>
        </p:txBody>
      </p:sp>
      <p:sp>
        <p:nvSpPr>
          <p:cNvPr id="30" name="Text Placeholder 10">
            <a:extLst>
              <a:ext uri="{FF2B5EF4-FFF2-40B4-BE49-F238E27FC236}">
                <a16:creationId xmlns:a16="http://schemas.microsoft.com/office/drawing/2014/main" id="{6C9EFCBD-0DC0-BDA4-40CC-0D7A0D105A4F}"/>
              </a:ext>
            </a:extLst>
          </p:cNvPr>
          <p:cNvSpPr txBox="1">
            <a:spLocks/>
          </p:cNvSpPr>
          <p:nvPr>
            <p:custDataLst>
              <p:tags r:id="rId12"/>
            </p:custDataLst>
          </p:nvPr>
        </p:nvSpPr>
        <p:spPr bwMode="auto">
          <a:xfrm>
            <a:off x="5588000" y="183197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CB2FAF4-F9EC-4EDF-AA51-CB020D5E6D52}" type="datetime'2''''0''''''''''5''''''''''''''''''''''''''''''0'">
              <a:rPr lang="en-US" altLang="en-US" sz="1200" smtClean="0"/>
              <a:pPr/>
              <a:t>2050</a:t>
            </a:fld>
            <a:endParaRPr lang="en-US" sz="1200" dirty="0"/>
          </a:p>
        </p:txBody>
      </p:sp>
      <p:sp>
        <p:nvSpPr>
          <p:cNvPr id="31" name="TextBox 30">
            <a:extLst>
              <a:ext uri="{FF2B5EF4-FFF2-40B4-BE49-F238E27FC236}">
                <a16:creationId xmlns:a16="http://schemas.microsoft.com/office/drawing/2014/main" id="{D70F8BAC-392D-0F36-C9DF-12EC206FD77B}"/>
              </a:ext>
            </a:extLst>
          </p:cNvPr>
          <p:cNvSpPr txBox="1"/>
          <p:nvPr/>
        </p:nvSpPr>
        <p:spPr bwMode="gray">
          <a:xfrm>
            <a:off x="4534904" y="1554480"/>
            <a:ext cx="4279912" cy="272758"/>
          </a:xfrm>
          <a:prstGeom prst="rect">
            <a:avLst/>
          </a:prstGeom>
          <a:noFill/>
        </p:spPr>
        <p:txBody>
          <a:bodyPr wrap="square" lIns="36000" tIns="36000" rIns="36000" bIns="36000" rtlCol="0">
            <a:spAutoFit/>
          </a:bodyPr>
          <a:lstStyle/>
          <a:p>
            <a:pPr marL="0" indent="0">
              <a:buNone/>
            </a:pPr>
            <a:r>
              <a:rPr lang="en-US" sz="1300" b="1" dirty="0"/>
              <a:t>Estimated global EGS power potential, </a:t>
            </a:r>
            <a:r>
              <a:rPr lang="en-US" sz="1300" dirty="0"/>
              <a:t>TW 2030-2050</a:t>
            </a:r>
          </a:p>
        </p:txBody>
      </p:sp>
      <p:cxnSp>
        <p:nvCxnSpPr>
          <p:cNvPr id="32" name="Straight Connector 31">
            <a:extLst>
              <a:ext uri="{FF2B5EF4-FFF2-40B4-BE49-F238E27FC236}">
                <a16:creationId xmlns:a16="http://schemas.microsoft.com/office/drawing/2014/main" id="{3CACB11E-C39A-CBAB-4751-E09CFF07F92E}"/>
              </a:ext>
            </a:extLst>
          </p:cNvPr>
          <p:cNvCxnSpPr>
            <a:cxnSpLocks/>
          </p:cNvCxnSpPr>
          <p:nvPr/>
        </p:nvCxnSpPr>
        <p:spPr bwMode="gray">
          <a:xfrm>
            <a:off x="4554251" y="1796780"/>
            <a:ext cx="45720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5" name="Text Placeholder 7">
            <a:extLst>
              <a:ext uri="{FF2B5EF4-FFF2-40B4-BE49-F238E27FC236}">
                <a16:creationId xmlns:a16="http://schemas.microsoft.com/office/drawing/2014/main" id="{97C73BA0-DD48-4F2F-003A-E3E1494E408C}"/>
              </a:ext>
            </a:extLst>
          </p:cNvPr>
          <p:cNvSpPr txBox="1">
            <a:spLocks/>
          </p:cNvSpPr>
          <p:nvPr/>
        </p:nvSpPr>
        <p:spPr>
          <a:xfrm>
            <a:off x="9308592" y="1549400"/>
            <a:ext cx="2551176" cy="4546600"/>
          </a:xfrm>
          <a:prstGeom prst="rect">
            <a:avLst/>
          </a:prstGeom>
          <a:solidFill>
            <a:srgbClr val="E5E9EF"/>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b="1" dirty="0"/>
              <a:t>Observations</a:t>
            </a:r>
          </a:p>
          <a:p>
            <a:r>
              <a:rPr lang="en-US" sz="1250" dirty="0"/>
              <a:t>Global commercial </a:t>
            </a:r>
            <a:r>
              <a:rPr lang="en-US" sz="1250" b="1" dirty="0"/>
              <a:t>EGS capacity could reach ~108 TW by 2050</a:t>
            </a:r>
            <a:r>
              <a:rPr lang="en-US" sz="1250" dirty="0"/>
              <a:t>, increasing from ~5 TW in 2030.</a:t>
            </a:r>
          </a:p>
          <a:p>
            <a:endParaRPr lang="en-US" sz="1250" dirty="0"/>
          </a:p>
          <a:p>
            <a:r>
              <a:rPr lang="en-US" sz="1250" dirty="0"/>
              <a:t>This is equivalent to </a:t>
            </a:r>
            <a:r>
              <a:rPr lang="en-US" sz="1250" b="1" dirty="0"/>
              <a:t>3.5 times current global electricity demand</a:t>
            </a:r>
            <a:r>
              <a:rPr lang="en-US" sz="1250" dirty="0"/>
              <a:t>.</a:t>
            </a:r>
          </a:p>
          <a:p>
            <a:endParaRPr lang="en-US" sz="1250" dirty="0"/>
          </a:p>
          <a:p>
            <a:r>
              <a:rPr lang="en-US" sz="1250" dirty="0"/>
              <a:t>The technical potential (~133 TW) and maximum technical potential (~201 TW) show that commercial </a:t>
            </a:r>
            <a:r>
              <a:rPr lang="en-US" sz="1250" b="1" dirty="0"/>
              <a:t>EGS would utilize about 80% of the technical and approximately 54% of the total theoretical resources by 2050</a:t>
            </a:r>
            <a:r>
              <a:rPr lang="en-US" sz="1050" dirty="0"/>
              <a:t>.</a:t>
            </a:r>
          </a:p>
        </p:txBody>
      </p:sp>
    </p:spTree>
    <p:extLst>
      <p:ext uri="{BB962C8B-B14F-4D97-AF65-F5344CB8AC3E}">
        <p14:creationId xmlns:p14="http://schemas.microsoft.com/office/powerpoint/2010/main" val="36760079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453D9-FCA1-D4E6-0CD8-2D23AC7FF56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849F190-7AB0-75E2-44F4-0CDF40830EA0}"/>
              </a:ext>
            </a:extLst>
          </p:cNvPr>
          <p:cNvGraphicFramePr>
            <a:graphicFrameLocks/>
          </p:cNvGraphicFramePr>
          <p:nvPr>
            <p:custDataLst>
              <p:tags r:id="rId1"/>
            </p:custDataLst>
            <p:extLst>
              <p:ext uri="{D42A27DB-BD31-4B8C-83A1-F6EECF244321}">
                <p14:modId xmlns:p14="http://schemas.microsoft.com/office/powerpoint/2010/main" val="29141190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6A346B0-3447-6BE1-93FE-36FC85880E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A2895A8-E174-F861-AC25-1C361B4453E2}"/>
              </a:ext>
            </a:extLst>
          </p:cNvPr>
          <p:cNvSpPr>
            <a:spLocks noGrp="1"/>
          </p:cNvSpPr>
          <p:nvPr>
            <p:ph type="title"/>
          </p:nvPr>
        </p:nvSpPr>
        <p:spPr/>
        <p:txBody>
          <a:bodyPr vert="horz" rIns="91440"/>
          <a:lstStyle/>
          <a:p>
            <a:r>
              <a:rPr lang="en-US" dirty="0"/>
              <a:t>Closed-loop technology circulates fluid through underground pipes, eliminating need for natural reservoirs or fracturing</a:t>
            </a:r>
          </a:p>
        </p:txBody>
      </p:sp>
      <p:sp>
        <p:nvSpPr>
          <p:cNvPr id="4" name="Footer Placeholder 3">
            <a:extLst>
              <a:ext uri="{FF2B5EF4-FFF2-40B4-BE49-F238E27FC236}">
                <a16:creationId xmlns:a16="http://schemas.microsoft.com/office/drawing/2014/main" id="{F52807FE-C26B-20B0-79CC-FD25D592AF3E}"/>
              </a:ext>
            </a:extLst>
          </p:cNvPr>
          <p:cNvSpPr>
            <a:spLocks noGrp="1"/>
          </p:cNvSpPr>
          <p:nvPr>
            <p:ph type="ftr" sz="quarter" idx="3"/>
          </p:nvPr>
        </p:nvSpPr>
        <p:spPr>
          <a:xfrm>
            <a:off x="334962" y="6475057"/>
            <a:ext cx="9147241" cy="216706"/>
          </a:xfrm>
        </p:spPr>
        <p:txBody>
          <a:bodyPr/>
          <a:lstStyle/>
          <a:p>
            <a:r>
              <a:rPr lang="en-US" dirty="0">
                <a:solidFill>
                  <a:srgbClr val="000000"/>
                </a:solidFill>
              </a:rPr>
              <a:t>Sources:</a:t>
            </a:r>
            <a:r>
              <a:rPr lang="en-US" dirty="0"/>
              <a:t> </a:t>
            </a:r>
            <a:r>
              <a:rPr lang="en-US" dirty="0">
                <a:solidFill>
                  <a:srgbClr val="000000"/>
                </a:solidFill>
                <a:hlinkClick r:id="rId5"/>
              </a:rPr>
              <a:t>The Future of Geothermal Energy</a:t>
            </a:r>
            <a:r>
              <a:rPr lang="en-US" dirty="0">
                <a:solidFill>
                  <a:srgbClr val="000000"/>
                </a:solidFill>
              </a:rPr>
              <a:t> (IEA, 2024);</a:t>
            </a:r>
            <a:r>
              <a:rPr lang="en-US" dirty="0">
                <a:solidFill>
                  <a:srgbClr val="000000"/>
                </a:solidFill>
                <a:hlinkClick r:id="rId6"/>
              </a:rPr>
              <a:t> Advanced Geothermal Technologies</a:t>
            </a:r>
            <a:r>
              <a:rPr lang="en-US" dirty="0">
                <a:solidFill>
                  <a:srgbClr val="000000"/>
                </a:solidFill>
              </a:rPr>
              <a:t> (</a:t>
            </a:r>
            <a:r>
              <a:rPr lang="en-US" dirty="0" err="1">
                <a:solidFill>
                  <a:srgbClr val="000000"/>
                </a:solidFill>
              </a:rPr>
              <a:t>ThinkGeo</a:t>
            </a:r>
            <a:r>
              <a:rPr lang="en-US" dirty="0">
                <a:solidFill>
                  <a:srgbClr val="000000"/>
                </a:solidFill>
              </a:rPr>
              <a:t>, n.d.).</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8" name="Oval 7">
            <a:extLst>
              <a:ext uri="{FF2B5EF4-FFF2-40B4-BE49-F238E27FC236}">
                <a16:creationId xmlns:a16="http://schemas.microsoft.com/office/drawing/2014/main" id="{30CF84F2-0561-AC1B-002F-1246883BA81F}"/>
              </a:ext>
            </a:extLst>
          </p:cNvPr>
          <p:cNvSpPr>
            <a:spLocks noChangeAspect="1"/>
          </p:cNvSpPr>
          <p:nvPr/>
        </p:nvSpPr>
        <p:spPr bwMode="gray">
          <a:xfrm>
            <a:off x="54230" y="558865"/>
            <a:ext cx="274320" cy="274320"/>
          </a:xfrm>
          <a:prstGeom prst="ellipse">
            <a:avLst/>
          </a:prstGeom>
          <a:solidFill>
            <a:srgbClr val="A7E2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52E3AB49-ED12-6720-7E17-8A12E55E0708}"/>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t>B</a:t>
            </a:r>
          </a:p>
        </p:txBody>
      </p:sp>
      <p:sp>
        <p:nvSpPr>
          <p:cNvPr id="2" name="Text Placeholder 1">
            <a:extLst>
              <a:ext uri="{FF2B5EF4-FFF2-40B4-BE49-F238E27FC236}">
                <a16:creationId xmlns:a16="http://schemas.microsoft.com/office/drawing/2014/main" id="{408264F9-75F5-63FD-F43C-AE2B66AC8784}"/>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6" name="Rectangle 5">
            <a:extLst>
              <a:ext uri="{FF2B5EF4-FFF2-40B4-BE49-F238E27FC236}">
                <a16:creationId xmlns:a16="http://schemas.microsoft.com/office/drawing/2014/main" id="{EAD29B07-1B88-AB2D-DF5A-5AB3954717B5}"/>
              </a:ext>
            </a:extLst>
          </p:cNvPr>
          <p:cNvSpPr/>
          <p:nvPr/>
        </p:nvSpPr>
        <p:spPr bwMode="gray">
          <a:xfrm>
            <a:off x="3529369" y="4214040"/>
            <a:ext cx="130761" cy="205833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 name="Rectangle 6">
            <a:extLst>
              <a:ext uri="{FF2B5EF4-FFF2-40B4-BE49-F238E27FC236}">
                <a16:creationId xmlns:a16="http://schemas.microsoft.com/office/drawing/2014/main" id="{3754276D-5B08-3DFE-CD40-4BF33A74C64B}"/>
              </a:ext>
            </a:extLst>
          </p:cNvPr>
          <p:cNvSpPr/>
          <p:nvPr/>
        </p:nvSpPr>
        <p:spPr bwMode="gray">
          <a:xfrm>
            <a:off x="752583" y="4219320"/>
            <a:ext cx="130761" cy="20326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Bent Arrow 32">
            <a:extLst>
              <a:ext uri="{FF2B5EF4-FFF2-40B4-BE49-F238E27FC236}">
                <a16:creationId xmlns:a16="http://schemas.microsoft.com/office/drawing/2014/main" id="{29ECF34A-AAAB-A55D-326E-8C8F599E33A1}"/>
              </a:ext>
            </a:extLst>
          </p:cNvPr>
          <p:cNvSpPr/>
          <p:nvPr/>
        </p:nvSpPr>
        <p:spPr bwMode="gray">
          <a:xfrm rot="10800000" flipH="1">
            <a:off x="752584" y="5981272"/>
            <a:ext cx="1422481" cy="563123"/>
          </a:xfrm>
          <a:prstGeom prst="bentArrow">
            <a:avLst>
              <a:gd name="adj1" fmla="val 23510"/>
              <a:gd name="adj2" fmla="val 23273"/>
              <a:gd name="adj3" fmla="val 0"/>
              <a:gd name="adj4" fmla="val 25149"/>
            </a:avLst>
          </a:prstGeom>
          <a:gradFill>
            <a:gsLst>
              <a:gs pos="88000">
                <a:schemeClr val="accent5">
                  <a:lumMod val="40000"/>
                  <a:lumOff val="60000"/>
                </a:schemeClr>
              </a:gs>
              <a:gs pos="9000">
                <a:schemeClr val="accent1">
                  <a:lumMod val="45000"/>
                  <a:lumOff val="55000"/>
                </a:schemeClr>
              </a:gs>
              <a:gs pos="7000">
                <a:schemeClr val="accent5">
                  <a:lumMod val="20000"/>
                  <a:lumOff val="80000"/>
                </a:schemeClr>
              </a:gs>
              <a:gs pos="0">
                <a:schemeClr val="accent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34" name="Group 33">
            <a:extLst>
              <a:ext uri="{FF2B5EF4-FFF2-40B4-BE49-F238E27FC236}">
                <a16:creationId xmlns:a16="http://schemas.microsoft.com/office/drawing/2014/main" id="{EA018010-C5B6-E640-B4AF-297FC49EC5FD}"/>
              </a:ext>
            </a:extLst>
          </p:cNvPr>
          <p:cNvGrpSpPr/>
          <p:nvPr/>
        </p:nvGrpSpPr>
        <p:grpSpPr>
          <a:xfrm>
            <a:off x="4184996" y="1554480"/>
            <a:ext cx="3756314" cy="4575167"/>
            <a:chOff x="4184996" y="1425603"/>
            <a:chExt cx="3756314" cy="4575167"/>
          </a:xfrm>
        </p:grpSpPr>
        <p:sp>
          <p:nvSpPr>
            <p:cNvPr id="36" name="Rounded Rectangle 35">
              <a:extLst>
                <a:ext uri="{FF2B5EF4-FFF2-40B4-BE49-F238E27FC236}">
                  <a16:creationId xmlns:a16="http://schemas.microsoft.com/office/drawing/2014/main" id="{CD808011-266A-B48C-4BEC-DC6257D690DC}"/>
                </a:ext>
              </a:extLst>
            </p:cNvPr>
            <p:cNvSpPr/>
            <p:nvPr/>
          </p:nvSpPr>
          <p:spPr bwMode="gray">
            <a:xfrm>
              <a:off x="4184996" y="1425603"/>
              <a:ext cx="3756314" cy="4575167"/>
            </a:xfrm>
            <a:prstGeom prst="roundRect">
              <a:avLst>
                <a:gd name="adj" fmla="val 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37" name="Graphic 36" descr="Badge 1 with solid fill">
              <a:extLst>
                <a:ext uri="{FF2B5EF4-FFF2-40B4-BE49-F238E27FC236}">
                  <a16:creationId xmlns:a16="http://schemas.microsoft.com/office/drawing/2014/main" id="{16090E6B-5DB7-EAF5-3170-5FE773616F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93556" y="1940833"/>
              <a:ext cx="245419" cy="245419"/>
            </a:xfrm>
            <a:prstGeom prst="rect">
              <a:avLst/>
            </a:prstGeom>
          </p:spPr>
        </p:pic>
        <p:sp>
          <p:nvSpPr>
            <p:cNvPr id="38" name="TextBox 37">
              <a:extLst>
                <a:ext uri="{FF2B5EF4-FFF2-40B4-BE49-F238E27FC236}">
                  <a16:creationId xmlns:a16="http://schemas.microsoft.com/office/drawing/2014/main" id="{0319599D-4CF5-44C3-33EE-377B4CCB170D}"/>
                </a:ext>
              </a:extLst>
            </p:cNvPr>
            <p:cNvSpPr txBox="1"/>
            <p:nvPr/>
          </p:nvSpPr>
          <p:spPr bwMode="gray">
            <a:xfrm>
              <a:off x="4723181" y="1940833"/>
              <a:ext cx="2927685" cy="749812"/>
            </a:xfrm>
            <a:prstGeom prst="rect">
              <a:avLst/>
            </a:prstGeom>
            <a:noFill/>
          </p:spPr>
          <p:txBody>
            <a:bodyPr wrap="square" lIns="36000" tIns="36000" rIns="36000" bIns="36000" rtlCol="0">
              <a:spAutoFit/>
            </a:bodyPr>
            <a:lstStyle/>
            <a:p>
              <a:pPr marL="0" indent="0">
                <a:buNone/>
              </a:pPr>
              <a:r>
                <a:rPr lang="en-US" sz="1100" b="1" dirty="0"/>
                <a:t>Pre-production step: </a:t>
              </a:r>
              <a:r>
                <a:rPr lang="en-US" sz="1100" dirty="0"/>
                <a:t>A sealed well or </a:t>
              </a:r>
              <a:r>
                <a:rPr lang="en-US" sz="1100" b="1" dirty="0"/>
                <a:t>multilateral U-tube is drilled into hot rock</a:t>
              </a:r>
              <a:r>
                <a:rPr lang="en-US" sz="1100" dirty="0"/>
                <a:t>.</a:t>
              </a:r>
              <a:br>
                <a:rPr lang="en-US" sz="1100" dirty="0"/>
              </a:br>
              <a:r>
                <a:rPr lang="en-US" sz="1100" dirty="0"/>
                <a:t>Unlike EGS, no fractures are stimulated and no reservoir water is used.</a:t>
              </a:r>
              <a:endParaRPr lang="en-US" sz="1100" b="1" dirty="0"/>
            </a:p>
          </p:txBody>
        </p:sp>
        <p:sp>
          <p:nvSpPr>
            <p:cNvPr id="39" name="TextBox 38">
              <a:extLst>
                <a:ext uri="{FF2B5EF4-FFF2-40B4-BE49-F238E27FC236}">
                  <a16:creationId xmlns:a16="http://schemas.microsoft.com/office/drawing/2014/main" id="{EF9F1169-9961-6A5E-0173-7F7E87F52169}"/>
                </a:ext>
              </a:extLst>
            </p:cNvPr>
            <p:cNvSpPr txBox="1"/>
            <p:nvPr/>
          </p:nvSpPr>
          <p:spPr bwMode="gray">
            <a:xfrm>
              <a:off x="4723181" y="2737954"/>
              <a:ext cx="2927685" cy="1088366"/>
            </a:xfrm>
            <a:prstGeom prst="rect">
              <a:avLst/>
            </a:prstGeom>
            <a:noFill/>
          </p:spPr>
          <p:txBody>
            <a:bodyPr wrap="square" lIns="36000" tIns="36000" rIns="36000" bIns="36000" rtlCol="0">
              <a:spAutoFit/>
            </a:bodyPr>
            <a:lstStyle/>
            <a:p>
              <a:pPr marL="0" indent="0">
                <a:buNone/>
              </a:pPr>
              <a:r>
                <a:rPr lang="en-US" sz="1100" dirty="0"/>
                <a:t>A working fluid </a:t>
              </a:r>
              <a:r>
                <a:rPr lang="en-US" sz="1100" b="1" dirty="0"/>
                <a:t>circulates inside the closed loop</a:t>
              </a:r>
              <a:r>
                <a:rPr lang="en-US" sz="1100" dirty="0"/>
                <a:t>,</a:t>
              </a:r>
              <a:r>
                <a:rPr lang="en-US" sz="1100" b="1" dirty="0"/>
                <a:t> </a:t>
              </a:r>
              <a:r>
                <a:rPr lang="en-US" sz="1100" dirty="0"/>
                <a:t>heating as it flows through the hot rock.</a:t>
              </a:r>
              <a:br>
                <a:rPr lang="en-US" sz="1100" dirty="0"/>
              </a:br>
              <a:r>
                <a:rPr lang="en-US" sz="1100" dirty="0"/>
                <a:t>The heated loop fluid reaches the surface and enters a heat exchanger. </a:t>
              </a:r>
              <a:r>
                <a:rPr lang="en-US" sz="1100" b="1" dirty="0"/>
                <a:t>Heat is transferred to a secondary working fluid </a:t>
              </a:r>
              <a:r>
                <a:rPr lang="en-US" sz="1100" dirty="0"/>
                <a:t>with a low boiling point. The secondary fluid vaporizes.</a:t>
              </a:r>
              <a:endParaRPr lang="en-US" sz="1100" b="1" dirty="0"/>
            </a:p>
          </p:txBody>
        </p:sp>
        <p:pic>
          <p:nvPicPr>
            <p:cNvPr id="40" name="Graphic 39" descr="Badge with solid fill">
              <a:extLst>
                <a:ext uri="{FF2B5EF4-FFF2-40B4-BE49-F238E27FC236}">
                  <a16:creationId xmlns:a16="http://schemas.microsoft.com/office/drawing/2014/main" id="{5B4BDE64-BC0E-DE60-F4BC-8CDAC8DF3F9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417937" y="2744747"/>
              <a:ext cx="246888" cy="246888"/>
            </a:xfrm>
            <a:prstGeom prst="rect">
              <a:avLst/>
            </a:prstGeom>
          </p:spPr>
        </p:pic>
        <p:sp>
          <p:nvSpPr>
            <p:cNvPr id="41" name="TextBox 40">
              <a:extLst>
                <a:ext uri="{FF2B5EF4-FFF2-40B4-BE49-F238E27FC236}">
                  <a16:creationId xmlns:a16="http://schemas.microsoft.com/office/drawing/2014/main" id="{3CC61F6F-C05B-5EA0-1083-ED0B7D34F142}"/>
                </a:ext>
              </a:extLst>
            </p:cNvPr>
            <p:cNvSpPr txBox="1"/>
            <p:nvPr/>
          </p:nvSpPr>
          <p:spPr bwMode="gray">
            <a:xfrm>
              <a:off x="4723181" y="3948409"/>
              <a:ext cx="2927685" cy="580534"/>
            </a:xfrm>
            <a:prstGeom prst="rect">
              <a:avLst/>
            </a:prstGeom>
            <a:noFill/>
          </p:spPr>
          <p:txBody>
            <a:bodyPr wrap="square" lIns="36000" tIns="36000" rIns="36000" bIns="36000" rtlCol="0">
              <a:spAutoFit/>
            </a:bodyPr>
            <a:lstStyle/>
            <a:p>
              <a:pPr marL="0" indent="0">
                <a:buNone/>
              </a:pPr>
              <a:r>
                <a:rPr lang="en-US" sz="1100" dirty="0"/>
                <a:t>The steam flows into the turbine, and </a:t>
              </a:r>
              <a:r>
                <a:rPr lang="en-US" sz="1100" b="1" dirty="0"/>
                <a:t>as the turbine spins, it drives the generator</a:t>
              </a:r>
              <a:r>
                <a:rPr lang="en-US" sz="1100" dirty="0"/>
                <a:t> to produce electricity.</a:t>
              </a:r>
            </a:p>
          </p:txBody>
        </p:sp>
        <p:pic>
          <p:nvPicPr>
            <p:cNvPr id="42" name="Graphic 41" descr="Badge 3 with solid fill">
              <a:extLst>
                <a:ext uri="{FF2B5EF4-FFF2-40B4-BE49-F238E27FC236}">
                  <a16:creationId xmlns:a16="http://schemas.microsoft.com/office/drawing/2014/main" id="{A8391574-BEB0-A6F2-F7C1-C9CBFFD344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93556" y="3973144"/>
              <a:ext cx="246888" cy="246888"/>
            </a:xfrm>
            <a:prstGeom prst="rect">
              <a:avLst/>
            </a:prstGeom>
          </p:spPr>
        </p:pic>
        <p:cxnSp>
          <p:nvCxnSpPr>
            <p:cNvPr id="43" name="Straight Connector 42">
              <a:extLst>
                <a:ext uri="{FF2B5EF4-FFF2-40B4-BE49-F238E27FC236}">
                  <a16:creationId xmlns:a16="http://schemas.microsoft.com/office/drawing/2014/main" id="{2137F26E-1772-F46C-3A34-CF73A24C6931}"/>
                </a:ext>
              </a:extLst>
            </p:cNvPr>
            <p:cNvCxnSpPr>
              <a:cxnSpLocks/>
            </p:cNvCxnSpPr>
            <p:nvPr/>
          </p:nvCxnSpPr>
          <p:spPr bwMode="gray">
            <a:xfrm>
              <a:off x="4502744" y="2702468"/>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BD3C84F-43A9-AD8F-98B2-FE7AEF52B98F}"/>
                </a:ext>
              </a:extLst>
            </p:cNvPr>
            <p:cNvCxnSpPr>
              <a:cxnSpLocks/>
            </p:cNvCxnSpPr>
            <p:nvPr/>
          </p:nvCxnSpPr>
          <p:spPr bwMode="gray">
            <a:xfrm>
              <a:off x="4502744" y="3870995"/>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8FA7F99-7F9E-FC34-C051-753704806BE4}"/>
                </a:ext>
              </a:extLst>
            </p:cNvPr>
            <p:cNvCxnSpPr>
              <a:cxnSpLocks/>
            </p:cNvCxnSpPr>
            <p:nvPr/>
          </p:nvCxnSpPr>
          <p:spPr bwMode="gray">
            <a:xfrm>
              <a:off x="4502744" y="5341719"/>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6" name="Graphic 45" descr="Badge 4 with solid fill">
              <a:extLst>
                <a:ext uri="{FF2B5EF4-FFF2-40B4-BE49-F238E27FC236}">
                  <a16:creationId xmlns:a16="http://schemas.microsoft.com/office/drawing/2014/main" id="{FC066EDD-E4AB-5C3A-F3F3-E528153314B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93556" y="4683771"/>
              <a:ext cx="246888" cy="246888"/>
            </a:xfrm>
            <a:prstGeom prst="rect">
              <a:avLst/>
            </a:prstGeom>
          </p:spPr>
        </p:pic>
        <p:sp>
          <p:nvSpPr>
            <p:cNvPr id="47" name="TextBox 46">
              <a:extLst>
                <a:ext uri="{FF2B5EF4-FFF2-40B4-BE49-F238E27FC236}">
                  <a16:creationId xmlns:a16="http://schemas.microsoft.com/office/drawing/2014/main" id="{E608647F-79A6-5424-3122-FA947D916675}"/>
                </a:ext>
              </a:extLst>
            </p:cNvPr>
            <p:cNvSpPr txBox="1"/>
            <p:nvPr/>
          </p:nvSpPr>
          <p:spPr bwMode="gray">
            <a:xfrm>
              <a:off x="4723181" y="4683771"/>
              <a:ext cx="2927685" cy="580534"/>
            </a:xfrm>
            <a:prstGeom prst="rect">
              <a:avLst/>
            </a:prstGeom>
            <a:noFill/>
          </p:spPr>
          <p:txBody>
            <a:bodyPr wrap="square" lIns="36000" tIns="36000" rIns="36000" bIns="36000" rtlCol="0">
              <a:spAutoFit/>
            </a:bodyPr>
            <a:lstStyle/>
            <a:p>
              <a:pPr marL="0" indent="0">
                <a:buNone/>
              </a:pPr>
              <a:r>
                <a:rPr lang="en-US" sz="1100" dirty="0"/>
                <a:t>After passing through the turbine, the </a:t>
              </a:r>
              <a:r>
                <a:rPr lang="en-US" sz="1100" b="1" dirty="0"/>
                <a:t>lower-energy steam is cooled in a condenser</a:t>
              </a:r>
              <a:r>
                <a:rPr lang="en-US" sz="1100" dirty="0"/>
                <a:t>, and it condenses back into water.</a:t>
              </a:r>
            </a:p>
          </p:txBody>
        </p:sp>
        <p:sp>
          <p:nvSpPr>
            <p:cNvPr id="48" name="TextBox 47">
              <a:extLst>
                <a:ext uri="{FF2B5EF4-FFF2-40B4-BE49-F238E27FC236}">
                  <a16:creationId xmlns:a16="http://schemas.microsoft.com/office/drawing/2014/main" id="{4A20B583-756C-F9EB-24C6-E16CA711A1C2}"/>
                </a:ext>
              </a:extLst>
            </p:cNvPr>
            <p:cNvSpPr txBox="1"/>
            <p:nvPr/>
          </p:nvSpPr>
          <p:spPr bwMode="gray">
            <a:xfrm>
              <a:off x="4723181" y="5419133"/>
              <a:ext cx="2927685" cy="411257"/>
            </a:xfrm>
            <a:prstGeom prst="rect">
              <a:avLst/>
            </a:prstGeom>
            <a:noFill/>
          </p:spPr>
          <p:txBody>
            <a:bodyPr wrap="square" lIns="36000" tIns="36000" rIns="36000" bIns="36000" rtlCol="0">
              <a:spAutoFit/>
            </a:bodyPr>
            <a:lstStyle/>
            <a:p>
              <a:pPr marL="0" indent="0">
                <a:buNone/>
              </a:pPr>
              <a:r>
                <a:rPr lang="en-US" sz="1100" b="1" dirty="0"/>
                <a:t>The condensed fluid is pumped </a:t>
              </a:r>
              <a:r>
                <a:rPr lang="en-US" sz="1100" dirty="0"/>
                <a:t>back underground to repeat the cycle.</a:t>
              </a:r>
            </a:p>
          </p:txBody>
        </p:sp>
        <p:pic>
          <p:nvPicPr>
            <p:cNvPr id="49" name="Graphic 48" descr="Badge 5 with solid fill">
              <a:extLst>
                <a:ext uri="{FF2B5EF4-FFF2-40B4-BE49-F238E27FC236}">
                  <a16:creationId xmlns:a16="http://schemas.microsoft.com/office/drawing/2014/main" id="{1D7E2E88-3BDE-0717-FB2D-1282507AA4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93556" y="5427003"/>
              <a:ext cx="246888" cy="246888"/>
            </a:xfrm>
            <a:prstGeom prst="rect">
              <a:avLst/>
            </a:prstGeom>
          </p:spPr>
        </p:pic>
        <p:cxnSp>
          <p:nvCxnSpPr>
            <p:cNvPr id="50" name="Straight Connector 49">
              <a:extLst>
                <a:ext uri="{FF2B5EF4-FFF2-40B4-BE49-F238E27FC236}">
                  <a16:creationId xmlns:a16="http://schemas.microsoft.com/office/drawing/2014/main" id="{634C510B-BBA0-CA8F-671A-3A5658169108}"/>
                </a:ext>
              </a:extLst>
            </p:cNvPr>
            <p:cNvCxnSpPr>
              <a:cxnSpLocks/>
            </p:cNvCxnSpPr>
            <p:nvPr/>
          </p:nvCxnSpPr>
          <p:spPr bwMode="gray">
            <a:xfrm>
              <a:off x="4502744" y="4606357"/>
              <a:ext cx="2981641" cy="0"/>
            </a:xfrm>
            <a:prstGeom prst="line">
              <a:avLst/>
            </a:prstGeom>
            <a:ln w="9525" cap="flat">
              <a:solidFill>
                <a:schemeClr val="bg1">
                  <a:lumMod val="8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5C7C8259-FD09-E388-C76A-064B051D83AA}"/>
                </a:ext>
              </a:extLst>
            </p:cNvPr>
            <p:cNvGrpSpPr/>
            <p:nvPr/>
          </p:nvGrpSpPr>
          <p:grpSpPr>
            <a:xfrm>
              <a:off x="4462461" y="1499690"/>
              <a:ext cx="3021924" cy="370155"/>
              <a:chOff x="4462461" y="1691560"/>
              <a:chExt cx="3021924" cy="370155"/>
            </a:xfrm>
          </p:grpSpPr>
          <p:cxnSp>
            <p:nvCxnSpPr>
              <p:cNvPr id="52" name="Straight Connector 51">
                <a:extLst>
                  <a:ext uri="{FF2B5EF4-FFF2-40B4-BE49-F238E27FC236}">
                    <a16:creationId xmlns:a16="http://schemas.microsoft.com/office/drawing/2014/main" id="{410E49B7-71BB-F1A5-AC11-5CECEEF57F6F}"/>
                  </a:ext>
                </a:extLst>
              </p:cNvPr>
              <p:cNvCxnSpPr>
                <a:cxnSpLocks/>
              </p:cNvCxnSpPr>
              <p:nvPr/>
            </p:nvCxnSpPr>
            <p:spPr bwMode="gray">
              <a:xfrm>
                <a:off x="4502744" y="2061715"/>
                <a:ext cx="29816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0A40DC3-862B-6C8B-81D5-225B41CB1082}"/>
                  </a:ext>
                </a:extLst>
              </p:cNvPr>
              <p:cNvSpPr txBox="1"/>
              <p:nvPr/>
            </p:nvSpPr>
            <p:spPr bwMode="gray">
              <a:xfrm>
                <a:off x="4866884" y="1745756"/>
                <a:ext cx="669020" cy="257369"/>
              </a:xfrm>
              <a:prstGeom prst="rect">
                <a:avLst/>
              </a:prstGeom>
              <a:noFill/>
            </p:spPr>
            <p:txBody>
              <a:bodyPr wrap="none" lIns="36000" tIns="36000" rIns="36000" bIns="36000" rtlCol="0">
                <a:spAutoFit/>
              </a:bodyPr>
              <a:lstStyle/>
              <a:p>
                <a:pPr marL="0" indent="0">
                  <a:buNone/>
                </a:pPr>
                <a:r>
                  <a:rPr lang="en-US" sz="1200" b="1" dirty="0"/>
                  <a:t>Process</a:t>
                </a:r>
                <a:endParaRPr lang="en-US" sz="1200" dirty="0"/>
              </a:p>
            </p:txBody>
          </p:sp>
          <p:pic>
            <p:nvPicPr>
              <p:cNvPr id="54" name="Graphic 53" descr="Single gear with solid fill">
                <a:extLst>
                  <a:ext uri="{FF2B5EF4-FFF2-40B4-BE49-F238E27FC236}">
                    <a16:creationId xmlns:a16="http://schemas.microsoft.com/office/drawing/2014/main" id="{B2D2BCF7-E317-EF68-EE1D-424AF712351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462461" y="1691560"/>
                <a:ext cx="365760" cy="365760"/>
              </a:xfrm>
              <a:prstGeom prst="rect">
                <a:avLst/>
              </a:prstGeom>
            </p:spPr>
          </p:pic>
        </p:grpSp>
      </p:grpSp>
      <p:sp>
        <p:nvSpPr>
          <p:cNvPr id="55" name="Bent Arrow 54">
            <a:extLst>
              <a:ext uri="{FF2B5EF4-FFF2-40B4-BE49-F238E27FC236}">
                <a16:creationId xmlns:a16="http://schemas.microsoft.com/office/drawing/2014/main" id="{11CAA533-2CB7-07F9-ED21-49095E6D992C}"/>
              </a:ext>
            </a:extLst>
          </p:cNvPr>
          <p:cNvSpPr/>
          <p:nvPr/>
        </p:nvSpPr>
        <p:spPr bwMode="gray">
          <a:xfrm rot="10800000">
            <a:off x="2175065" y="5981272"/>
            <a:ext cx="1489780" cy="563123"/>
          </a:xfrm>
          <a:prstGeom prst="bentArrow">
            <a:avLst>
              <a:gd name="adj1" fmla="val 25000"/>
              <a:gd name="adj2" fmla="val 23273"/>
              <a:gd name="adj3" fmla="val 0"/>
              <a:gd name="adj4" fmla="val 25149"/>
            </a:avLst>
          </a:prstGeom>
          <a:gradFill>
            <a:gsLst>
              <a:gs pos="0">
                <a:schemeClr val="accent5">
                  <a:lumMod val="40000"/>
                  <a:lumOff val="60000"/>
                </a:schemeClr>
              </a:gs>
              <a:gs pos="39000">
                <a:schemeClr val="accent1">
                  <a:lumMod val="45000"/>
                  <a:lumOff val="55000"/>
                </a:schemeClr>
              </a:gs>
              <a:gs pos="58000">
                <a:schemeClr val="accent1">
                  <a:lumMod val="45000"/>
                  <a:lumOff val="55000"/>
                </a:schemeClr>
              </a:gs>
              <a:gs pos="100000">
                <a:schemeClr val="accent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759A3594-E3F6-E9F8-6314-5786F7E44250}"/>
              </a:ext>
            </a:extLst>
          </p:cNvPr>
          <p:cNvSpPr/>
          <p:nvPr/>
        </p:nvSpPr>
        <p:spPr bwMode="gray">
          <a:xfrm>
            <a:off x="1671666" y="3226481"/>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Rectangle 56">
            <a:extLst>
              <a:ext uri="{FF2B5EF4-FFF2-40B4-BE49-F238E27FC236}">
                <a16:creationId xmlns:a16="http://schemas.microsoft.com/office/drawing/2014/main" id="{5D719215-FEF4-1C18-12D3-FB448DE7A5AF}"/>
              </a:ext>
            </a:extLst>
          </p:cNvPr>
          <p:cNvSpPr/>
          <p:nvPr/>
        </p:nvSpPr>
        <p:spPr bwMode="gray">
          <a:xfrm>
            <a:off x="1147585" y="3407003"/>
            <a:ext cx="2382594" cy="1308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Bent Arrow 57">
            <a:extLst>
              <a:ext uri="{FF2B5EF4-FFF2-40B4-BE49-F238E27FC236}">
                <a16:creationId xmlns:a16="http://schemas.microsoft.com/office/drawing/2014/main" id="{C3D6B2C5-80A7-5FDE-4EB6-7A4857C6F22A}"/>
              </a:ext>
            </a:extLst>
          </p:cNvPr>
          <p:cNvSpPr/>
          <p:nvPr/>
        </p:nvSpPr>
        <p:spPr bwMode="gray">
          <a:xfrm flipH="1">
            <a:off x="3131383" y="3331386"/>
            <a:ext cx="533462" cy="555415"/>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9" name="Straight Connector 58">
            <a:extLst>
              <a:ext uri="{FF2B5EF4-FFF2-40B4-BE49-F238E27FC236}">
                <a16:creationId xmlns:a16="http://schemas.microsoft.com/office/drawing/2014/main" id="{01FF5827-6BF2-4650-7BC1-B116AEDF24AF}"/>
              </a:ext>
            </a:extLst>
          </p:cNvPr>
          <p:cNvCxnSpPr>
            <a:cxnSpLocks/>
          </p:cNvCxnSpPr>
          <p:nvPr/>
        </p:nvCxnSpPr>
        <p:spPr bwMode="gray">
          <a:xfrm flipV="1">
            <a:off x="618361" y="4034639"/>
            <a:ext cx="3195361" cy="810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10AE433-AA81-F75A-18AF-3BFE155E4E1F}"/>
              </a:ext>
            </a:extLst>
          </p:cNvPr>
          <p:cNvCxnSpPr/>
          <p:nvPr/>
        </p:nvCxnSpPr>
        <p:spPr bwMode="gray">
          <a:xfrm>
            <a:off x="813533"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DBD60CE-0C07-78AD-B552-23072F3CA719}"/>
              </a:ext>
            </a:extLst>
          </p:cNvPr>
          <p:cNvCxnSpPr/>
          <p:nvPr/>
        </p:nvCxnSpPr>
        <p:spPr bwMode="gray">
          <a:xfrm>
            <a:off x="614209"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CEB9A48-88F4-65A1-D189-93FEA4F6F868}"/>
              </a:ext>
            </a:extLst>
          </p:cNvPr>
          <p:cNvCxnSpPr>
            <a:cxnSpLocks/>
          </p:cNvCxnSpPr>
          <p:nvPr/>
        </p:nvCxnSpPr>
        <p:spPr bwMode="gray">
          <a:xfrm>
            <a:off x="1012856"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2004B-7A40-3650-F084-B2149A103A5C}"/>
              </a:ext>
            </a:extLst>
          </p:cNvPr>
          <p:cNvCxnSpPr>
            <a:cxnSpLocks/>
          </p:cNvCxnSpPr>
          <p:nvPr/>
        </p:nvCxnSpPr>
        <p:spPr bwMode="gray">
          <a:xfrm>
            <a:off x="1212180"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121448-48AA-8E7C-4C50-21E7364A4685}"/>
              </a:ext>
            </a:extLst>
          </p:cNvPr>
          <p:cNvCxnSpPr>
            <a:cxnSpLocks/>
          </p:cNvCxnSpPr>
          <p:nvPr/>
        </p:nvCxnSpPr>
        <p:spPr bwMode="gray">
          <a:xfrm>
            <a:off x="1411503"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A12A2B-B3AD-5C0A-F0A5-E175D81F8355}"/>
              </a:ext>
            </a:extLst>
          </p:cNvPr>
          <p:cNvCxnSpPr>
            <a:cxnSpLocks/>
          </p:cNvCxnSpPr>
          <p:nvPr/>
        </p:nvCxnSpPr>
        <p:spPr bwMode="gray">
          <a:xfrm>
            <a:off x="1610827"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76D325B-1B87-3D3A-5B88-E79D69C71C13}"/>
              </a:ext>
            </a:extLst>
          </p:cNvPr>
          <p:cNvCxnSpPr>
            <a:cxnSpLocks/>
          </p:cNvCxnSpPr>
          <p:nvPr/>
        </p:nvCxnSpPr>
        <p:spPr bwMode="gray">
          <a:xfrm>
            <a:off x="1810150"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6CD8FEE-4451-F3AD-D866-308B934FB27A}"/>
              </a:ext>
            </a:extLst>
          </p:cNvPr>
          <p:cNvCxnSpPr>
            <a:cxnSpLocks/>
          </p:cNvCxnSpPr>
          <p:nvPr/>
        </p:nvCxnSpPr>
        <p:spPr bwMode="gray">
          <a:xfrm>
            <a:off x="2009473"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4768E17-D1F7-AAC6-F4DF-194CD51E7223}"/>
              </a:ext>
            </a:extLst>
          </p:cNvPr>
          <p:cNvCxnSpPr>
            <a:cxnSpLocks/>
          </p:cNvCxnSpPr>
          <p:nvPr/>
        </p:nvCxnSpPr>
        <p:spPr bwMode="gray">
          <a:xfrm>
            <a:off x="2208797"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99667C-34BD-7232-582D-4F6CB0FA5265}"/>
              </a:ext>
            </a:extLst>
          </p:cNvPr>
          <p:cNvCxnSpPr>
            <a:cxnSpLocks/>
          </p:cNvCxnSpPr>
          <p:nvPr/>
        </p:nvCxnSpPr>
        <p:spPr bwMode="gray">
          <a:xfrm>
            <a:off x="2408120"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BAE7400-EA8F-2F89-572F-928843380825}"/>
              </a:ext>
            </a:extLst>
          </p:cNvPr>
          <p:cNvCxnSpPr>
            <a:cxnSpLocks/>
          </p:cNvCxnSpPr>
          <p:nvPr/>
        </p:nvCxnSpPr>
        <p:spPr bwMode="gray">
          <a:xfrm>
            <a:off x="2607444"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1CED605-4F2C-8D02-116F-5AB2E5509078}"/>
              </a:ext>
            </a:extLst>
          </p:cNvPr>
          <p:cNvCxnSpPr>
            <a:cxnSpLocks/>
          </p:cNvCxnSpPr>
          <p:nvPr/>
        </p:nvCxnSpPr>
        <p:spPr bwMode="gray">
          <a:xfrm>
            <a:off x="2806767" y="4042747"/>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3C44EFE-A6EC-A724-FF4F-D80A577527EF}"/>
              </a:ext>
            </a:extLst>
          </p:cNvPr>
          <p:cNvCxnSpPr>
            <a:cxnSpLocks/>
          </p:cNvCxnSpPr>
          <p:nvPr/>
        </p:nvCxnSpPr>
        <p:spPr bwMode="gray">
          <a:xfrm>
            <a:off x="3006091" y="4034639"/>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AEC43D1-555A-5016-E34A-93A126C3443B}"/>
              </a:ext>
            </a:extLst>
          </p:cNvPr>
          <p:cNvCxnSpPr>
            <a:cxnSpLocks/>
          </p:cNvCxnSpPr>
          <p:nvPr/>
        </p:nvCxnSpPr>
        <p:spPr bwMode="gray">
          <a:xfrm>
            <a:off x="3205414" y="4034639"/>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517D818-88F5-70E8-9494-A3D2266477E1}"/>
              </a:ext>
            </a:extLst>
          </p:cNvPr>
          <p:cNvCxnSpPr>
            <a:cxnSpLocks/>
          </p:cNvCxnSpPr>
          <p:nvPr/>
        </p:nvCxnSpPr>
        <p:spPr bwMode="gray">
          <a:xfrm>
            <a:off x="3404737" y="4034639"/>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D5F192-FEBA-2824-EC17-9D6BB654FA8B}"/>
              </a:ext>
            </a:extLst>
          </p:cNvPr>
          <p:cNvCxnSpPr>
            <a:cxnSpLocks/>
          </p:cNvCxnSpPr>
          <p:nvPr/>
        </p:nvCxnSpPr>
        <p:spPr bwMode="gray">
          <a:xfrm>
            <a:off x="3604061" y="4034639"/>
            <a:ext cx="187692" cy="11366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6" name="Triangle 75">
            <a:extLst>
              <a:ext uri="{FF2B5EF4-FFF2-40B4-BE49-F238E27FC236}">
                <a16:creationId xmlns:a16="http://schemas.microsoft.com/office/drawing/2014/main" id="{4133EE73-A740-2FED-D818-7B00F62174B0}"/>
              </a:ext>
            </a:extLst>
          </p:cNvPr>
          <p:cNvSpPr/>
          <p:nvPr/>
        </p:nvSpPr>
        <p:spPr bwMode="gray">
          <a:xfrm>
            <a:off x="704117" y="4042747"/>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7" name="Triangle 76">
            <a:extLst>
              <a:ext uri="{FF2B5EF4-FFF2-40B4-BE49-F238E27FC236}">
                <a16:creationId xmlns:a16="http://schemas.microsoft.com/office/drawing/2014/main" id="{62EE06F5-984F-BA37-A654-7112F19ABABD}"/>
              </a:ext>
            </a:extLst>
          </p:cNvPr>
          <p:cNvSpPr/>
          <p:nvPr/>
        </p:nvSpPr>
        <p:spPr bwMode="gray">
          <a:xfrm>
            <a:off x="3471709" y="4042747"/>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Triangle 77">
            <a:extLst>
              <a:ext uri="{FF2B5EF4-FFF2-40B4-BE49-F238E27FC236}">
                <a16:creationId xmlns:a16="http://schemas.microsoft.com/office/drawing/2014/main" id="{A6588BDC-BD15-20E2-7759-8251254CDAA7}"/>
              </a:ext>
            </a:extLst>
          </p:cNvPr>
          <p:cNvSpPr/>
          <p:nvPr/>
        </p:nvSpPr>
        <p:spPr bwMode="gray">
          <a:xfrm rot="10800000">
            <a:off x="704117" y="3876709"/>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Triangle 78">
            <a:extLst>
              <a:ext uri="{FF2B5EF4-FFF2-40B4-BE49-F238E27FC236}">
                <a16:creationId xmlns:a16="http://schemas.microsoft.com/office/drawing/2014/main" id="{B2B79737-21AF-F295-3CFC-F1772E7A02F1}"/>
              </a:ext>
            </a:extLst>
          </p:cNvPr>
          <p:cNvSpPr/>
          <p:nvPr/>
        </p:nvSpPr>
        <p:spPr bwMode="gray">
          <a:xfrm rot="10800000">
            <a:off x="3471709" y="3876709"/>
            <a:ext cx="243781" cy="166038"/>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Bent Arrow 79">
            <a:extLst>
              <a:ext uri="{FF2B5EF4-FFF2-40B4-BE49-F238E27FC236}">
                <a16:creationId xmlns:a16="http://schemas.microsoft.com/office/drawing/2014/main" id="{4843A142-AB84-C5E9-935F-7997C3C4752B}"/>
              </a:ext>
            </a:extLst>
          </p:cNvPr>
          <p:cNvSpPr/>
          <p:nvPr/>
        </p:nvSpPr>
        <p:spPr bwMode="gray">
          <a:xfrm>
            <a:off x="761690" y="3321293"/>
            <a:ext cx="517672" cy="555415"/>
          </a:xfrm>
          <a:prstGeom prst="bentArrow">
            <a:avLst>
              <a:gd name="adj1" fmla="val 25000"/>
              <a:gd name="adj2" fmla="val 23273"/>
              <a:gd name="adj3" fmla="val 0"/>
              <a:gd name="adj4" fmla="val 16907"/>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Rectangle 80">
            <a:extLst>
              <a:ext uri="{FF2B5EF4-FFF2-40B4-BE49-F238E27FC236}">
                <a16:creationId xmlns:a16="http://schemas.microsoft.com/office/drawing/2014/main" id="{97D7ACF5-9632-C9F3-072B-695EADA5873F}"/>
              </a:ext>
            </a:extLst>
          </p:cNvPr>
          <p:cNvSpPr/>
          <p:nvPr/>
        </p:nvSpPr>
        <p:spPr bwMode="gray">
          <a:xfrm>
            <a:off x="1671666" y="2763386"/>
            <a:ext cx="1443918" cy="1301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Rectangle 81">
            <a:extLst>
              <a:ext uri="{FF2B5EF4-FFF2-40B4-BE49-F238E27FC236}">
                <a16:creationId xmlns:a16="http://schemas.microsoft.com/office/drawing/2014/main" id="{A81F5AFE-31F3-2C01-49F0-12F407592FA2}"/>
              </a:ext>
            </a:extLst>
          </p:cNvPr>
          <p:cNvSpPr/>
          <p:nvPr/>
        </p:nvSpPr>
        <p:spPr bwMode="gray">
          <a:xfrm>
            <a:off x="2898499" y="2700483"/>
            <a:ext cx="666236" cy="41191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83" name="Rectangle 82">
            <a:extLst>
              <a:ext uri="{FF2B5EF4-FFF2-40B4-BE49-F238E27FC236}">
                <a16:creationId xmlns:a16="http://schemas.microsoft.com/office/drawing/2014/main" id="{325AC75C-859C-79D0-387D-D1DE3D581D71}"/>
              </a:ext>
            </a:extLst>
          </p:cNvPr>
          <p:cNvSpPr/>
          <p:nvPr/>
        </p:nvSpPr>
        <p:spPr bwMode="gray">
          <a:xfrm>
            <a:off x="2788839" y="3052397"/>
            <a:ext cx="944800"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Turbine</a:t>
            </a:r>
          </a:p>
        </p:txBody>
      </p:sp>
      <p:sp>
        <p:nvSpPr>
          <p:cNvPr id="84" name="Rectangle 83">
            <a:extLst>
              <a:ext uri="{FF2B5EF4-FFF2-40B4-BE49-F238E27FC236}">
                <a16:creationId xmlns:a16="http://schemas.microsoft.com/office/drawing/2014/main" id="{90FCE84E-85FA-BF3A-82FE-D0FECE9CD3D5}"/>
              </a:ext>
            </a:extLst>
          </p:cNvPr>
          <p:cNvSpPr/>
          <p:nvPr/>
        </p:nvSpPr>
        <p:spPr bwMode="gray">
          <a:xfrm>
            <a:off x="2658282" y="2659358"/>
            <a:ext cx="1146672" cy="310781"/>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Generator</a:t>
            </a:r>
          </a:p>
        </p:txBody>
      </p:sp>
      <p:pic>
        <p:nvPicPr>
          <p:cNvPr id="85" name="Graphic 84" descr="Electric Tower outline">
            <a:extLst>
              <a:ext uri="{FF2B5EF4-FFF2-40B4-BE49-F238E27FC236}">
                <a16:creationId xmlns:a16="http://schemas.microsoft.com/office/drawing/2014/main" id="{73EF5D7B-B280-E4BF-2EA6-5685187BF6D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71470" y="2069216"/>
            <a:ext cx="444583" cy="645428"/>
          </a:xfrm>
          <a:prstGeom prst="rect">
            <a:avLst/>
          </a:prstGeom>
        </p:spPr>
      </p:pic>
      <p:sp>
        <p:nvSpPr>
          <p:cNvPr id="86" name="Triangle 85">
            <a:extLst>
              <a:ext uri="{FF2B5EF4-FFF2-40B4-BE49-F238E27FC236}">
                <a16:creationId xmlns:a16="http://schemas.microsoft.com/office/drawing/2014/main" id="{F3B54794-C53A-A3D3-F94C-3701CD86A118}"/>
              </a:ext>
            </a:extLst>
          </p:cNvPr>
          <p:cNvSpPr/>
          <p:nvPr/>
        </p:nvSpPr>
        <p:spPr bwMode="gray">
          <a:xfrm>
            <a:off x="2938447" y="2573593"/>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Triangle 86">
            <a:extLst>
              <a:ext uri="{FF2B5EF4-FFF2-40B4-BE49-F238E27FC236}">
                <a16:creationId xmlns:a16="http://schemas.microsoft.com/office/drawing/2014/main" id="{D13F5697-6004-79ED-7C5C-B5D74E805BA7}"/>
              </a:ext>
            </a:extLst>
          </p:cNvPr>
          <p:cNvSpPr/>
          <p:nvPr/>
        </p:nvSpPr>
        <p:spPr bwMode="gray">
          <a:xfrm>
            <a:off x="3312422" y="2573593"/>
            <a:ext cx="138304" cy="94198"/>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8" name="Straight Connector 87">
            <a:extLst>
              <a:ext uri="{FF2B5EF4-FFF2-40B4-BE49-F238E27FC236}">
                <a16:creationId xmlns:a16="http://schemas.microsoft.com/office/drawing/2014/main" id="{C64BAC08-450F-F078-090C-8F4A618147C8}"/>
              </a:ext>
            </a:extLst>
          </p:cNvPr>
          <p:cNvCxnSpPr>
            <a:cxnSpLocks/>
            <a:stCxn id="86" idx="0"/>
          </p:cNvCxnSpPr>
          <p:nvPr/>
        </p:nvCxnSpPr>
        <p:spPr bwMode="gray">
          <a:xfrm flipV="1">
            <a:off x="3007599" y="1809037"/>
            <a:ext cx="15936" cy="76455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D295888-B77C-5CFE-4345-3E11A4E4B7C0}"/>
              </a:ext>
            </a:extLst>
          </p:cNvPr>
          <p:cNvCxnSpPr>
            <a:cxnSpLocks/>
          </p:cNvCxnSpPr>
          <p:nvPr/>
        </p:nvCxnSpPr>
        <p:spPr bwMode="gray">
          <a:xfrm flipH="1" flipV="1">
            <a:off x="3366212" y="1645967"/>
            <a:ext cx="11042" cy="92762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C2E7979-8A00-61BA-B411-349FF5B697FC}"/>
              </a:ext>
            </a:extLst>
          </p:cNvPr>
          <p:cNvCxnSpPr>
            <a:cxnSpLocks/>
          </p:cNvCxnSpPr>
          <p:nvPr/>
        </p:nvCxnSpPr>
        <p:spPr bwMode="gray">
          <a:xfrm flipV="1">
            <a:off x="584146" y="1636034"/>
            <a:ext cx="2784193" cy="72559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14C3FAAC-867E-BDCB-2CD5-40E71CEF1570}"/>
              </a:ext>
            </a:extLst>
          </p:cNvPr>
          <p:cNvSpPr txBox="1"/>
          <p:nvPr/>
        </p:nvSpPr>
        <p:spPr bwMode="gray">
          <a:xfrm>
            <a:off x="877980" y="3652515"/>
            <a:ext cx="938325" cy="226591"/>
          </a:xfrm>
          <a:prstGeom prst="rect">
            <a:avLst/>
          </a:prstGeom>
          <a:noFill/>
        </p:spPr>
        <p:txBody>
          <a:bodyPr wrap="none" lIns="36000" tIns="36000" rIns="36000" bIns="36000" rtlCol="0">
            <a:spAutoFit/>
          </a:bodyPr>
          <a:lstStyle/>
          <a:p>
            <a:pPr marL="0" indent="0">
              <a:buNone/>
            </a:pPr>
            <a:r>
              <a:rPr lang="en-US" sz="1000" dirty="0"/>
              <a:t>Production well</a:t>
            </a:r>
          </a:p>
        </p:txBody>
      </p:sp>
      <p:sp>
        <p:nvSpPr>
          <p:cNvPr id="92" name="TextBox 91">
            <a:extLst>
              <a:ext uri="{FF2B5EF4-FFF2-40B4-BE49-F238E27FC236}">
                <a16:creationId xmlns:a16="http://schemas.microsoft.com/office/drawing/2014/main" id="{0489AC17-52E4-F5CB-0BFD-2AEC1944F218}"/>
              </a:ext>
            </a:extLst>
          </p:cNvPr>
          <p:cNvSpPr txBox="1"/>
          <p:nvPr/>
        </p:nvSpPr>
        <p:spPr bwMode="gray">
          <a:xfrm>
            <a:off x="2713748" y="3652515"/>
            <a:ext cx="803672" cy="226591"/>
          </a:xfrm>
          <a:prstGeom prst="rect">
            <a:avLst/>
          </a:prstGeom>
          <a:noFill/>
        </p:spPr>
        <p:txBody>
          <a:bodyPr wrap="none" lIns="36000" tIns="36000" rIns="36000" bIns="36000" rtlCol="0">
            <a:spAutoFit/>
          </a:bodyPr>
          <a:lstStyle/>
          <a:p>
            <a:pPr marL="0" indent="0">
              <a:buNone/>
            </a:pPr>
            <a:r>
              <a:rPr lang="en-US" sz="1000" dirty="0"/>
              <a:t>Injection well</a:t>
            </a:r>
          </a:p>
        </p:txBody>
      </p:sp>
      <p:sp>
        <p:nvSpPr>
          <p:cNvPr id="93" name="TextBox 92">
            <a:extLst>
              <a:ext uri="{FF2B5EF4-FFF2-40B4-BE49-F238E27FC236}">
                <a16:creationId xmlns:a16="http://schemas.microsoft.com/office/drawing/2014/main" id="{25A078D4-6DA4-F5CE-01C2-4AA757177862}"/>
              </a:ext>
            </a:extLst>
          </p:cNvPr>
          <p:cNvSpPr txBox="1"/>
          <p:nvPr/>
        </p:nvSpPr>
        <p:spPr bwMode="gray">
          <a:xfrm>
            <a:off x="1671666" y="4263127"/>
            <a:ext cx="1050997" cy="250378"/>
          </a:xfrm>
          <a:prstGeom prst="rect">
            <a:avLst/>
          </a:prstGeom>
          <a:noFill/>
        </p:spPr>
        <p:txBody>
          <a:bodyPr wrap="none" lIns="36000" tIns="36000" rIns="36000" bIns="36000" rtlCol="0">
            <a:spAutoFit/>
          </a:bodyPr>
          <a:lstStyle/>
          <a:p>
            <a:pPr marL="0" indent="0">
              <a:buNone/>
            </a:pPr>
            <a:r>
              <a:rPr lang="en-US" sz="1000" dirty="0"/>
              <a:t>Ground surface</a:t>
            </a:r>
          </a:p>
        </p:txBody>
      </p:sp>
      <p:sp>
        <p:nvSpPr>
          <p:cNvPr id="94" name="TextBox 93">
            <a:extLst>
              <a:ext uri="{FF2B5EF4-FFF2-40B4-BE49-F238E27FC236}">
                <a16:creationId xmlns:a16="http://schemas.microsoft.com/office/drawing/2014/main" id="{1E11EBEF-97C2-C65C-B9EA-5DF41240C71B}"/>
              </a:ext>
            </a:extLst>
          </p:cNvPr>
          <p:cNvSpPr txBox="1"/>
          <p:nvPr/>
        </p:nvSpPr>
        <p:spPr bwMode="gray">
          <a:xfrm rot="16200000">
            <a:off x="3169256" y="5206325"/>
            <a:ext cx="1220453" cy="226591"/>
          </a:xfrm>
          <a:prstGeom prst="rect">
            <a:avLst/>
          </a:prstGeom>
          <a:noFill/>
        </p:spPr>
        <p:txBody>
          <a:bodyPr wrap="none" lIns="36000" tIns="36000" rIns="36000" bIns="36000" rtlCol="0">
            <a:spAutoFit/>
          </a:bodyPr>
          <a:lstStyle/>
          <a:p>
            <a:pPr marL="0" indent="0">
              <a:buNone/>
            </a:pPr>
            <a:r>
              <a:rPr lang="en-US" sz="1000" dirty="0"/>
              <a:t>Subsurface injection</a:t>
            </a:r>
          </a:p>
        </p:txBody>
      </p:sp>
      <p:sp>
        <p:nvSpPr>
          <p:cNvPr id="95" name="Up Arrow 94">
            <a:extLst>
              <a:ext uri="{FF2B5EF4-FFF2-40B4-BE49-F238E27FC236}">
                <a16:creationId xmlns:a16="http://schemas.microsoft.com/office/drawing/2014/main" id="{1ABBF3C4-D0DE-380A-8709-4BC4D048D066}"/>
              </a:ext>
            </a:extLst>
          </p:cNvPr>
          <p:cNvSpPr/>
          <p:nvPr/>
        </p:nvSpPr>
        <p:spPr bwMode="gray">
          <a:xfrm>
            <a:off x="799249" y="3562933"/>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Up Arrow 95">
            <a:extLst>
              <a:ext uri="{FF2B5EF4-FFF2-40B4-BE49-F238E27FC236}">
                <a16:creationId xmlns:a16="http://schemas.microsoft.com/office/drawing/2014/main" id="{FC4CDEB9-D6AB-3577-B8B9-0ABE5EAC5D87}"/>
              </a:ext>
            </a:extLst>
          </p:cNvPr>
          <p:cNvSpPr/>
          <p:nvPr/>
        </p:nvSpPr>
        <p:spPr bwMode="gray">
          <a:xfrm>
            <a:off x="799249" y="5129115"/>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Up Arrow 96">
            <a:extLst>
              <a:ext uri="{FF2B5EF4-FFF2-40B4-BE49-F238E27FC236}">
                <a16:creationId xmlns:a16="http://schemas.microsoft.com/office/drawing/2014/main" id="{173B6FE4-B090-02BA-4016-856777A6DCEB}"/>
              </a:ext>
            </a:extLst>
          </p:cNvPr>
          <p:cNvSpPr/>
          <p:nvPr/>
        </p:nvSpPr>
        <p:spPr bwMode="gray">
          <a:xfrm rot="10800000">
            <a:off x="3560983" y="4835549"/>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8" name="Up Arrow 97">
            <a:extLst>
              <a:ext uri="{FF2B5EF4-FFF2-40B4-BE49-F238E27FC236}">
                <a16:creationId xmlns:a16="http://schemas.microsoft.com/office/drawing/2014/main" id="{EC3C3A5D-60DB-5C62-EBA5-5F039D009546}"/>
              </a:ext>
            </a:extLst>
          </p:cNvPr>
          <p:cNvSpPr/>
          <p:nvPr/>
        </p:nvSpPr>
        <p:spPr bwMode="gray">
          <a:xfrm rot="10800000">
            <a:off x="3568339" y="3574877"/>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Up Arrow 98">
            <a:extLst>
              <a:ext uri="{FF2B5EF4-FFF2-40B4-BE49-F238E27FC236}">
                <a16:creationId xmlns:a16="http://schemas.microsoft.com/office/drawing/2014/main" id="{A5B3408E-3909-2034-CB27-F7889B33AFA0}"/>
              </a:ext>
            </a:extLst>
          </p:cNvPr>
          <p:cNvSpPr/>
          <p:nvPr/>
        </p:nvSpPr>
        <p:spPr bwMode="gray">
          <a:xfrm rot="16200000">
            <a:off x="2163477" y="6362737"/>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0" name="Rectangle 99">
            <a:extLst>
              <a:ext uri="{FF2B5EF4-FFF2-40B4-BE49-F238E27FC236}">
                <a16:creationId xmlns:a16="http://schemas.microsoft.com/office/drawing/2014/main" id="{7B21F95B-D67E-F15F-E890-B10E3E1EADA4}"/>
              </a:ext>
            </a:extLst>
          </p:cNvPr>
          <p:cNvSpPr/>
          <p:nvPr/>
        </p:nvSpPr>
        <p:spPr bwMode="gray">
          <a:xfrm>
            <a:off x="947898" y="3204221"/>
            <a:ext cx="944801" cy="379246"/>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Heat exchanger</a:t>
            </a:r>
          </a:p>
        </p:txBody>
      </p:sp>
      <p:cxnSp>
        <p:nvCxnSpPr>
          <p:cNvPr id="101" name="Straight Connector 100">
            <a:extLst>
              <a:ext uri="{FF2B5EF4-FFF2-40B4-BE49-F238E27FC236}">
                <a16:creationId xmlns:a16="http://schemas.microsoft.com/office/drawing/2014/main" id="{2DB3FF20-AD12-8229-8AAA-AA84A5F23CCB}"/>
              </a:ext>
            </a:extLst>
          </p:cNvPr>
          <p:cNvCxnSpPr>
            <a:cxnSpLocks/>
          </p:cNvCxnSpPr>
          <p:nvPr/>
        </p:nvCxnSpPr>
        <p:spPr bwMode="gray">
          <a:xfrm flipV="1">
            <a:off x="589207" y="1809038"/>
            <a:ext cx="2433809" cy="58670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2" name="Bent Arrow 101">
            <a:extLst>
              <a:ext uri="{FF2B5EF4-FFF2-40B4-BE49-F238E27FC236}">
                <a16:creationId xmlns:a16="http://schemas.microsoft.com/office/drawing/2014/main" id="{A4C09F02-0B2D-3DEC-BF47-D82DCE8B1EF6}"/>
              </a:ext>
            </a:extLst>
          </p:cNvPr>
          <p:cNvSpPr/>
          <p:nvPr/>
        </p:nvSpPr>
        <p:spPr bwMode="gray">
          <a:xfrm>
            <a:off x="1048892" y="2297458"/>
            <a:ext cx="608153" cy="906763"/>
          </a:xfrm>
          <a:prstGeom prst="bentArrow">
            <a:avLst>
              <a:gd name="adj1" fmla="val 25000"/>
              <a:gd name="adj2" fmla="val 23273"/>
              <a:gd name="adj3" fmla="val 0"/>
              <a:gd name="adj4" fmla="val 16907"/>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Rectangle 102">
            <a:extLst>
              <a:ext uri="{FF2B5EF4-FFF2-40B4-BE49-F238E27FC236}">
                <a16:creationId xmlns:a16="http://schemas.microsoft.com/office/drawing/2014/main" id="{7A779A7B-156D-090A-5C20-F8CF0AFBAD37}"/>
              </a:ext>
            </a:extLst>
          </p:cNvPr>
          <p:cNvSpPr/>
          <p:nvPr/>
        </p:nvSpPr>
        <p:spPr bwMode="gray">
          <a:xfrm rot="16200000">
            <a:off x="1288461" y="2520339"/>
            <a:ext cx="936939" cy="268455"/>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Condenser</a:t>
            </a:r>
          </a:p>
        </p:txBody>
      </p:sp>
      <p:sp>
        <p:nvSpPr>
          <p:cNvPr id="104" name="Up Arrow 103">
            <a:extLst>
              <a:ext uri="{FF2B5EF4-FFF2-40B4-BE49-F238E27FC236}">
                <a16:creationId xmlns:a16="http://schemas.microsoft.com/office/drawing/2014/main" id="{8DD7F6D2-E69C-A9B2-8821-AB2B9211DE85}"/>
              </a:ext>
            </a:extLst>
          </p:cNvPr>
          <p:cNvSpPr/>
          <p:nvPr/>
        </p:nvSpPr>
        <p:spPr bwMode="gray">
          <a:xfrm rot="5400000">
            <a:off x="2311832" y="3230709"/>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Up Arrow 104">
            <a:extLst>
              <a:ext uri="{FF2B5EF4-FFF2-40B4-BE49-F238E27FC236}">
                <a16:creationId xmlns:a16="http://schemas.microsoft.com/office/drawing/2014/main" id="{A057B69F-1FB5-52E0-CF0F-641FD1B861AC}"/>
              </a:ext>
            </a:extLst>
          </p:cNvPr>
          <p:cNvSpPr/>
          <p:nvPr/>
        </p:nvSpPr>
        <p:spPr bwMode="gray">
          <a:xfrm rot="16200000">
            <a:off x="2269636" y="2771367"/>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Up Arrow 105">
            <a:extLst>
              <a:ext uri="{FF2B5EF4-FFF2-40B4-BE49-F238E27FC236}">
                <a16:creationId xmlns:a16="http://schemas.microsoft.com/office/drawing/2014/main" id="{0FF07148-E846-9AAC-7185-429DA17B850F}"/>
              </a:ext>
            </a:extLst>
          </p:cNvPr>
          <p:cNvSpPr/>
          <p:nvPr/>
        </p:nvSpPr>
        <p:spPr bwMode="gray">
          <a:xfrm rot="10800000">
            <a:off x="1086847" y="2750418"/>
            <a:ext cx="50518" cy="128068"/>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7" name="Rectangle 106">
            <a:extLst>
              <a:ext uri="{FF2B5EF4-FFF2-40B4-BE49-F238E27FC236}">
                <a16:creationId xmlns:a16="http://schemas.microsoft.com/office/drawing/2014/main" id="{F7032221-5445-6C23-D2F5-9EE23C401A89}"/>
              </a:ext>
            </a:extLst>
          </p:cNvPr>
          <p:cNvSpPr/>
          <p:nvPr/>
        </p:nvSpPr>
        <p:spPr bwMode="gray">
          <a:xfrm rot="16200000">
            <a:off x="560009" y="4489742"/>
            <a:ext cx="507049" cy="256537"/>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Pump</a:t>
            </a:r>
          </a:p>
        </p:txBody>
      </p:sp>
      <p:pic>
        <p:nvPicPr>
          <p:cNvPr id="108" name="Graphic 107" descr="Badge with solid fill">
            <a:extLst>
              <a:ext uri="{FF2B5EF4-FFF2-40B4-BE49-F238E27FC236}">
                <a16:creationId xmlns:a16="http://schemas.microsoft.com/office/drawing/2014/main" id="{60E4E696-047E-D5E3-4348-F03784574D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6572" y="4525712"/>
            <a:ext cx="199195" cy="193619"/>
          </a:xfrm>
          <a:prstGeom prst="rect">
            <a:avLst/>
          </a:prstGeom>
        </p:spPr>
      </p:pic>
      <p:pic>
        <p:nvPicPr>
          <p:cNvPr id="109" name="Graphic 108" descr="Badge 4 with solid fill">
            <a:extLst>
              <a:ext uri="{FF2B5EF4-FFF2-40B4-BE49-F238E27FC236}">
                <a16:creationId xmlns:a16="http://schemas.microsoft.com/office/drawing/2014/main" id="{A7B6A233-CFED-B29E-ED2D-7AEA932705B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67180" y="2855760"/>
            <a:ext cx="199195" cy="193619"/>
          </a:xfrm>
          <a:prstGeom prst="rect">
            <a:avLst/>
          </a:prstGeom>
        </p:spPr>
      </p:pic>
      <p:pic>
        <p:nvPicPr>
          <p:cNvPr id="110" name="Graphic 109" descr="Badge 3 with solid fill">
            <a:extLst>
              <a:ext uri="{FF2B5EF4-FFF2-40B4-BE49-F238E27FC236}">
                <a16:creationId xmlns:a16="http://schemas.microsoft.com/office/drawing/2014/main" id="{4C8C10A0-F4DE-FD55-2899-14B0870F2E7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41288" y="3129060"/>
            <a:ext cx="199195" cy="193619"/>
          </a:xfrm>
          <a:prstGeom prst="rect">
            <a:avLst/>
          </a:prstGeom>
        </p:spPr>
      </p:pic>
      <p:pic>
        <p:nvPicPr>
          <p:cNvPr id="111" name="Graphic 110" descr="Badge 5 with solid fill">
            <a:extLst>
              <a:ext uri="{FF2B5EF4-FFF2-40B4-BE49-F238E27FC236}">
                <a16:creationId xmlns:a16="http://schemas.microsoft.com/office/drawing/2014/main" id="{1CF7F91E-A28C-3931-FD2F-41E91CA70B7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92914" y="2113461"/>
            <a:ext cx="199195" cy="193619"/>
          </a:xfrm>
          <a:prstGeom prst="rect">
            <a:avLst/>
          </a:prstGeom>
        </p:spPr>
      </p:pic>
      <p:pic>
        <p:nvPicPr>
          <p:cNvPr id="112" name="Graphic 111" descr="Badge 6 with solid fill">
            <a:extLst>
              <a:ext uri="{FF2B5EF4-FFF2-40B4-BE49-F238E27FC236}">
                <a16:creationId xmlns:a16="http://schemas.microsoft.com/office/drawing/2014/main" id="{F41FB8F4-A7D6-8CEB-1D87-20C2EE6A66B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367454" y="4506341"/>
            <a:ext cx="192024" cy="192024"/>
          </a:xfrm>
          <a:prstGeom prst="rect">
            <a:avLst/>
          </a:prstGeom>
        </p:spPr>
      </p:pic>
      <p:grpSp>
        <p:nvGrpSpPr>
          <p:cNvPr id="113" name="Group 112">
            <a:extLst>
              <a:ext uri="{FF2B5EF4-FFF2-40B4-BE49-F238E27FC236}">
                <a16:creationId xmlns:a16="http://schemas.microsoft.com/office/drawing/2014/main" id="{90927EF0-8A4B-48AC-C0AC-20078B3CAA18}"/>
              </a:ext>
            </a:extLst>
          </p:cNvPr>
          <p:cNvGrpSpPr/>
          <p:nvPr/>
        </p:nvGrpSpPr>
        <p:grpSpPr>
          <a:xfrm>
            <a:off x="8105486" y="1554480"/>
            <a:ext cx="3756314" cy="2412649"/>
            <a:chOff x="8105486" y="1447167"/>
            <a:chExt cx="3756314" cy="2412649"/>
          </a:xfrm>
        </p:grpSpPr>
        <p:sp>
          <p:nvSpPr>
            <p:cNvPr id="114" name="Rounded Rectangle 113">
              <a:extLst>
                <a:ext uri="{FF2B5EF4-FFF2-40B4-BE49-F238E27FC236}">
                  <a16:creationId xmlns:a16="http://schemas.microsoft.com/office/drawing/2014/main" id="{8EB7308C-CFB0-1251-6817-5C6D8C96CAD3}"/>
                </a:ext>
              </a:extLst>
            </p:cNvPr>
            <p:cNvSpPr/>
            <p:nvPr/>
          </p:nvSpPr>
          <p:spPr bwMode="gray">
            <a:xfrm>
              <a:off x="8105486" y="1447167"/>
              <a:ext cx="3756314" cy="2412649"/>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5" name="TextBox 114">
              <a:extLst>
                <a:ext uri="{FF2B5EF4-FFF2-40B4-BE49-F238E27FC236}">
                  <a16:creationId xmlns:a16="http://schemas.microsoft.com/office/drawing/2014/main" id="{CC4A68A1-C242-B3B0-D69D-C76F17B66F68}"/>
                </a:ext>
              </a:extLst>
            </p:cNvPr>
            <p:cNvSpPr txBox="1"/>
            <p:nvPr/>
          </p:nvSpPr>
          <p:spPr bwMode="gray">
            <a:xfrm>
              <a:off x="8692729" y="1531050"/>
              <a:ext cx="943134"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Advantages</a:t>
              </a:r>
              <a:endParaRPr lang="en-US" sz="1200" dirty="0"/>
            </a:p>
          </p:txBody>
        </p:sp>
        <p:pic>
          <p:nvPicPr>
            <p:cNvPr id="116" name="Graphic 115" descr="Badge Follow with solid fill">
              <a:extLst>
                <a:ext uri="{FF2B5EF4-FFF2-40B4-BE49-F238E27FC236}">
                  <a16:creationId xmlns:a16="http://schemas.microsoft.com/office/drawing/2014/main" id="{6C553E50-DD85-9A35-F921-9D4491CB6BF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350628" y="1531050"/>
              <a:ext cx="292608" cy="292608"/>
            </a:xfrm>
            <a:prstGeom prst="rect">
              <a:avLst/>
            </a:prstGeom>
          </p:spPr>
        </p:pic>
        <p:cxnSp>
          <p:nvCxnSpPr>
            <p:cNvPr id="117" name="Straight Connector 116">
              <a:extLst>
                <a:ext uri="{FF2B5EF4-FFF2-40B4-BE49-F238E27FC236}">
                  <a16:creationId xmlns:a16="http://schemas.microsoft.com/office/drawing/2014/main" id="{A4443E84-7784-FB09-4699-1CB1681B4186}"/>
                </a:ext>
              </a:extLst>
            </p:cNvPr>
            <p:cNvCxnSpPr>
              <a:cxnSpLocks/>
            </p:cNvCxnSpPr>
            <p:nvPr/>
          </p:nvCxnSpPr>
          <p:spPr bwMode="gray">
            <a:xfrm>
              <a:off x="8354401" y="1876867"/>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049AD2AA-31FB-0DC2-8FE5-0FCBDF4D639D}"/>
                </a:ext>
              </a:extLst>
            </p:cNvPr>
            <p:cNvSpPr txBox="1"/>
            <p:nvPr/>
          </p:nvSpPr>
          <p:spPr bwMode="gray">
            <a:xfrm>
              <a:off x="8221634" y="1940833"/>
              <a:ext cx="3598896" cy="1585049"/>
            </a:xfrm>
            <a:prstGeom prst="rect">
              <a:avLst/>
            </a:prstGeom>
            <a:noFill/>
          </p:spPr>
          <p:txBody>
            <a:bodyPr wrap="square">
              <a:spAutoFit/>
            </a:bodyPr>
            <a:lstStyle/>
            <a:p>
              <a:r>
                <a:rPr lang="en-US" sz="1100" b="1" dirty="0"/>
                <a:t>No seismicity risk</a:t>
              </a:r>
              <a:r>
                <a:rPr lang="en-US" sz="1100" dirty="0"/>
                <a:t> – avoids because no stimulation or fracture creation is needed</a:t>
              </a:r>
            </a:p>
            <a:p>
              <a:r>
                <a:rPr lang="en-US" sz="1100" b="1" dirty="0"/>
                <a:t>No produced brine </a:t>
              </a:r>
              <a:r>
                <a:rPr lang="en-US" sz="1100" dirty="0"/>
                <a:t>– avoids scaling, corrosion, and handling of H₂S or dissolved minerals</a:t>
              </a:r>
            </a:p>
            <a:p>
              <a:r>
                <a:rPr lang="en-US" sz="1100" b="1" dirty="0"/>
                <a:t>Geographic flexibility </a:t>
              </a:r>
              <a:r>
                <a:rPr lang="en-US" sz="1100" dirty="0"/>
                <a:t>– can work in low-permeability formations where EGS/hydrothermal are not viable</a:t>
              </a:r>
            </a:p>
          </p:txBody>
        </p:sp>
      </p:grpSp>
      <p:grpSp>
        <p:nvGrpSpPr>
          <p:cNvPr id="119" name="Group 118">
            <a:extLst>
              <a:ext uri="{FF2B5EF4-FFF2-40B4-BE49-F238E27FC236}">
                <a16:creationId xmlns:a16="http://schemas.microsoft.com/office/drawing/2014/main" id="{9AC67453-9F22-E73F-CBB1-A4DE490370D9}"/>
              </a:ext>
            </a:extLst>
          </p:cNvPr>
          <p:cNvGrpSpPr/>
          <p:nvPr/>
        </p:nvGrpSpPr>
        <p:grpSpPr>
          <a:xfrm>
            <a:off x="8105486" y="4116398"/>
            <a:ext cx="3756314" cy="2013249"/>
            <a:chOff x="8105486" y="3968023"/>
            <a:chExt cx="3756314" cy="2013249"/>
          </a:xfrm>
        </p:grpSpPr>
        <p:sp>
          <p:nvSpPr>
            <p:cNvPr id="120" name="Rounded Rectangle 119">
              <a:extLst>
                <a:ext uri="{FF2B5EF4-FFF2-40B4-BE49-F238E27FC236}">
                  <a16:creationId xmlns:a16="http://schemas.microsoft.com/office/drawing/2014/main" id="{02E8F3DF-49C2-94FF-7A39-41AF517F8BCF}"/>
                </a:ext>
              </a:extLst>
            </p:cNvPr>
            <p:cNvSpPr/>
            <p:nvPr/>
          </p:nvSpPr>
          <p:spPr bwMode="gray">
            <a:xfrm>
              <a:off x="8105486" y="3968023"/>
              <a:ext cx="3756314" cy="2013249"/>
            </a:xfrm>
            <a:prstGeom prst="roundRect">
              <a:avLst>
                <a:gd name="adj" fmla="val 0"/>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1" name="TextBox 120">
              <a:extLst>
                <a:ext uri="{FF2B5EF4-FFF2-40B4-BE49-F238E27FC236}">
                  <a16:creationId xmlns:a16="http://schemas.microsoft.com/office/drawing/2014/main" id="{77713542-3E2F-ED77-C89F-D01574B82282}"/>
                </a:ext>
              </a:extLst>
            </p:cNvPr>
            <p:cNvSpPr txBox="1"/>
            <p:nvPr/>
          </p:nvSpPr>
          <p:spPr bwMode="gray">
            <a:xfrm>
              <a:off x="8701548" y="4061228"/>
              <a:ext cx="1156333" cy="242022"/>
            </a:xfrm>
            <a:prstGeom prst="rect">
              <a:avLst/>
            </a:prstGeom>
            <a:solidFill>
              <a:schemeClr val="accent2">
                <a:lumMod val="10000"/>
                <a:lumOff val="90000"/>
              </a:schemeClr>
            </a:solidFill>
          </p:spPr>
          <p:txBody>
            <a:bodyPr wrap="none" lIns="36000" tIns="36000" rIns="36000" bIns="36000" rtlCol="0">
              <a:spAutoFit/>
            </a:bodyPr>
            <a:lstStyle/>
            <a:p>
              <a:pPr marL="0" indent="0">
                <a:buNone/>
              </a:pPr>
              <a:r>
                <a:rPr lang="en-US" sz="1200" b="1" dirty="0"/>
                <a:t>Disadvantages</a:t>
              </a:r>
              <a:endParaRPr lang="en-US" sz="1200" dirty="0"/>
            </a:p>
          </p:txBody>
        </p:sp>
        <p:cxnSp>
          <p:nvCxnSpPr>
            <p:cNvPr id="122" name="Straight Connector 121">
              <a:extLst>
                <a:ext uri="{FF2B5EF4-FFF2-40B4-BE49-F238E27FC236}">
                  <a16:creationId xmlns:a16="http://schemas.microsoft.com/office/drawing/2014/main" id="{942F31A7-7339-D08E-0512-14B7853898DC}"/>
                </a:ext>
              </a:extLst>
            </p:cNvPr>
            <p:cNvCxnSpPr>
              <a:cxnSpLocks/>
            </p:cNvCxnSpPr>
            <p:nvPr/>
          </p:nvCxnSpPr>
          <p:spPr bwMode="gray">
            <a:xfrm>
              <a:off x="8354401" y="4427764"/>
              <a:ext cx="3227075" cy="0"/>
            </a:xfrm>
            <a:prstGeom prst="line">
              <a:avLst/>
            </a:prstGeom>
            <a:solidFill>
              <a:schemeClr val="accent2">
                <a:lumMod val="10000"/>
                <a:lumOff val="90000"/>
              </a:schemeClr>
            </a:solidFill>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3" name="Graphic 122" descr="Badge Unfollow with solid fill">
              <a:extLst>
                <a:ext uri="{FF2B5EF4-FFF2-40B4-BE49-F238E27FC236}">
                  <a16:creationId xmlns:a16="http://schemas.microsoft.com/office/drawing/2014/main" id="{E3E64041-8B69-5B40-D280-D50FE0701B28}"/>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354401" y="4061228"/>
              <a:ext cx="292608" cy="292608"/>
            </a:xfrm>
            <a:prstGeom prst="rect">
              <a:avLst/>
            </a:prstGeom>
          </p:spPr>
        </p:pic>
        <p:sp>
          <p:nvSpPr>
            <p:cNvPr id="124" name="TextBox 123">
              <a:extLst>
                <a:ext uri="{FF2B5EF4-FFF2-40B4-BE49-F238E27FC236}">
                  <a16:creationId xmlns:a16="http://schemas.microsoft.com/office/drawing/2014/main" id="{0AB2C8A3-461E-F273-942B-CA3B59871AC9}"/>
                </a:ext>
              </a:extLst>
            </p:cNvPr>
            <p:cNvSpPr txBox="1"/>
            <p:nvPr/>
          </p:nvSpPr>
          <p:spPr bwMode="gray">
            <a:xfrm>
              <a:off x="8221634" y="4498502"/>
              <a:ext cx="3598896" cy="1092607"/>
            </a:xfrm>
            <a:prstGeom prst="rect">
              <a:avLst/>
            </a:prstGeom>
            <a:noFill/>
          </p:spPr>
          <p:txBody>
            <a:bodyPr wrap="square">
              <a:spAutoFit/>
            </a:bodyPr>
            <a:lstStyle/>
            <a:p>
              <a:r>
                <a:rPr lang="en-US" sz="1100" b="1" dirty="0"/>
                <a:t>Lower thermal efficiency</a:t>
              </a:r>
              <a:r>
                <a:rPr lang="en-US" sz="1100" dirty="0"/>
                <a:t> – conductive heat transfer through rock to wellbore is less efficient than fracture-based fluid flow in EGS</a:t>
              </a:r>
            </a:p>
            <a:p>
              <a:r>
                <a:rPr lang="en-US" sz="1100" b="1" dirty="0"/>
                <a:t>High CapEx </a:t>
              </a:r>
              <a:r>
                <a:rPr lang="en-US" sz="1100" dirty="0"/>
                <a:t>– requires advanced well design, materials, and long laterals/coaxial wells</a:t>
              </a:r>
            </a:p>
          </p:txBody>
        </p:sp>
      </p:grpSp>
      <p:grpSp>
        <p:nvGrpSpPr>
          <p:cNvPr id="125" name="Group 124">
            <a:extLst>
              <a:ext uri="{FF2B5EF4-FFF2-40B4-BE49-F238E27FC236}">
                <a16:creationId xmlns:a16="http://schemas.microsoft.com/office/drawing/2014/main" id="{ABBD6E2A-5A97-F498-E057-629D76F76642}"/>
              </a:ext>
            </a:extLst>
          </p:cNvPr>
          <p:cNvGrpSpPr/>
          <p:nvPr/>
        </p:nvGrpSpPr>
        <p:grpSpPr>
          <a:xfrm>
            <a:off x="137343" y="1400606"/>
            <a:ext cx="2435469" cy="382889"/>
            <a:chOff x="137343" y="1400606"/>
            <a:chExt cx="2435469" cy="382889"/>
          </a:xfrm>
        </p:grpSpPr>
        <p:sp>
          <p:nvSpPr>
            <p:cNvPr id="126" name="Rectangle 125">
              <a:extLst>
                <a:ext uri="{FF2B5EF4-FFF2-40B4-BE49-F238E27FC236}">
                  <a16:creationId xmlns:a16="http://schemas.microsoft.com/office/drawing/2014/main" id="{FB125A2B-26A5-537B-EFDD-36331EAEAAD9}"/>
                </a:ext>
              </a:extLst>
            </p:cNvPr>
            <p:cNvSpPr/>
            <p:nvPr/>
          </p:nvSpPr>
          <p:spPr bwMode="gray">
            <a:xfrm>
              <a:off x="1401093" y="1420947"/>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7" name="Rectangle 126">
              <a:extLst>
                <a:ext uri="{FF2B5EF4-FFF2-40B4-BE49-F238E27FC236}">
                  <a16:creationId xmlns:a16="http://schemas.microsoft.com/office/drawing/2014/main" id="{442853FE-56CB-024D-485A-4E0F20FC3D2C}"/>
                </a:ext>
              </a:extLst>
            </p:cNvPr>
            <p:cNvSpPr/>
            <p:nvPr/>
          </p:nvSpPr>
          <p:spPr bwMode="gray">
            <a:xfrm>
              <a:off x="137343" y="1415455"/>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8" name="TextBox 127">
              <a:extLst>
                <a:ext uri="{FF2B5EF4-FFF2-40B4-BE49-F238E27FC236}">
                  <a16:creationId xmlns:a16="http://schemas.microsoft.com/office/drawing/2014/main" id="{923530ED-8AD5-562E-B933-34B4CAEC4EE2}"/>
                </a:ext>
              </a:extLst>
            </p:cNvPr>
            <p:cNvSpPr txBox="1"/>
            <p:nvPr/>
          </p:nvSpPr>
          <p:spPr bwMode="gray">
            <a:xfrm>
              <a:off x="313561" y="1405284"/>
              <a:ext cx="771566" cy="15723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129" name="TextBox 128">
              <a:extLst>
                <a:ext uri="{FF2B5EF4-FFF2-40B4-BE49-F238E27FC236}">
                  <a16:creationId xmlns:a16="http://schemas.microsoft.com/office/drawing/2014/main" id="{360F72D5-22DC-2B53-DAFD-CA0BB922F91F}"/>
                </a:ext>
              </a:extLst>
            </p:cNvPr>
            <p:cNvSpPr txBox="1"/>
            <p:nvPr/>
          </p:nvSpPr>
          <p:spPr bwMode="gray">
            <a:xfrm>
              <a:off x="1573320" y="1400606"/>
              <a:ext cx="747385" cy="157234"/>
            </a:xfrm>
            <a:prstGeom prst="rect">
              <a:avLst/>
            </a:prstGeom>
            <a:noFill/>
          </p:spPr>
          <p:txBody>
            <a:bodyPr wrap="none" lIns="36000" tIns="36000" rIns="36000" bIns="36000" rtlCol="0">
              <a:spAutoFit/>
            </a:bodyPr>
            <a:lstStyle/>
            <a:p>
              <a:pPr marL="0" indent="0">
                <a:buNone/>
              </a:pPr>
              <a:r>
                <a:rPr lang="en-US" sz="800" dirty="0"/>
                <a:t>Geothermal water</a:t>
              </a:r>
            </a:p>
          </p:txBody>
        </p:sp>
        <p:sp>
          <p:nvSpPr>
            <p:cNvPr id="130" name="Rectangle 129">
              <a:extLst>
                <a:ext uri="{FF2B5EF4-FFF2-40B4-BE49-F238E27FC236}">
                  <a16:creationId xmlns:a16="http://schemas.microsoft.com/office/drawing/2014/main" id="{1D432ADE-2E0B-3C98-C775-C5A0F86F133E}"/>
                </a:ext>
              </a:extLst>
            </p:cNvPr>
            <p:cNvSpPr/>
            <p:nvPr/>
          </p:nvSpPr>
          <p:spPr bwMode="gray">
            <a:xfrm>
              <a:off x="137343" y="1597852"/>
              <a:ext cx="142868" cy="136893"/>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1" name="Rectangle 130">
              <a:extLst>
                <a:ext uri="{FF2B5EF4-FFF2-40B4-BE49-F238E27FC236}">
                  <a16:creationId xmlns:a16="http://schemas.microsoft.com/office/drawing/2014/main" id="{8EBD4CC9-6618-7944-4867-A20F8A983450}"/>
                </a:ext>
              </a:extLst>
            </p:cNvPr>
            <p:cNvSpPr/>
            <p:nvPr/>
          </p:nvSpPr>
          <p:spPr bwMode="gray">
            <a:xfrm>
              <a:off x="1396537" y="1596978"/>
              <a:ext cx="142868" cy="13689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2" name="TextBox 131">
              <a:extLst>
                <a:ext uri="{FF2B5EF4-FFF2-40B4-BE49-F238E27FC236}">
                  <a16:creationId xmlns:a16="http://schemas.microsoft.com/office/drawing/2014/main" id="{60043102-F154-FBA9-23F9-F7FADB9A7808}"/>
                </a:ext>
              </a:extLst>
            </p:cNvPr>
            <p:cNvSpPr txBox="1"/>
            <p:nvPr/>
          </p:nvSpPr>
          <p:spPr bwMode="gray">
            <a:xfrm>
              <a:off x="313561" y="1587681"/>
              <a:ext cx="1055344" cy="195814"/>
            </a:xfrm>
            <a:prstGeom prst="rect">
              <a:avLst/>
            </a:prstGeom>
            <a:noFill/>
          </p:spPr>
          <p:txBody>
            <a:bodyPr wrap="none" lIns="36000" tIns="36000" rIns="36000" bIns="36000" rtlCol="0">
              <a:spAutoFit/>
            </a:bodyPr>
            <a:lstStyle/>
            <a:p>
              <a:pPr marL="0" indent="0">
                <a:buNone/>
              </a:pPr>
              <a:r>
                <a:rPr lang="en-US" sz="800" dirty="0"/>
                <a:t>Working fluid (vapor)</a:t>
              </a:r>
            </a:p>
          </p:txBody>
        </p:sp>
        <p:sp>
          <p:nvSpPr>
            <p:cNvPr id="133" name="TextBox 132">
              <a:extLst>
                <a:ext uri="{FF2B5EF4-FFF2-40B4-BE49-F238E27FC236}">
                  <a16:creationId xmlns:a16="http://schemas.microsoft.com/office/drawing/2014/main" id="{1F8D8E5A-E28E-41DB-7C21-B4E2D428F659}"/>
                </a:ext>
              </a:extLst>
            </p:cNvPr>
            <p:cNvSpPr txBox="1"/>
            <p:nvPr/>
          </p:nvSpPr>
          <p:spPr bwMode="gray">
            <a:xfrm>
              <a:off x="1568764" y="1576637"/>
              <a:ext cx="1004048" cy="195814"/>
            </a:xfrm>
            <a:prstGeom prst="rect">
              <a:avLst/>
            </a:prstGeom>
            <a:noFill/>
          </p:spPr>
          <p:txBody>
            <a:bodyPr wrap="none" lIns="36000" tIns="36000" rIns="36000" bIns="36000" rtlCol="0">
              <a:spAutoFit/>
            </a:bodyPr>
            <a:lstStyle/>
            <a:p>
              <a:pPr marL="0" indent="0">
                <a:buNone/>
              </a:pPr>
              <a:r>
                <a:rPr lang="en-US" sz="800" dirty="0"/>
                <a:t>Working fluid (liquid)</a:t>
              </a:r>
            </a:p>
          </p:txBody>
        </p:sp>
        <p:sp>
          <p:nvSpPr>
            <p:cNvPr id="134" name="Rectangle 133">
              <a:extLst>
                <a:ext uri="{FF2B5EF4-FFF2-40B4-BE49-F238E27FC236}">
                  <a16:creationId xmlns:a16="http://schemas.microsoft.com/office/drawing/2014/main" id="{7A68127A-A740-8AD9-446E-A0BCDF83B5DE}"/>
                </a:ext>
              </a:extLst>
            </p:cNvPr>
            <p:cNvSpPr/>
            <p:nvPr/>
          </p:nvSpPr>
          <p:spPr bwMode="gray">
            <a:xfrm>
              <a:off x="1452665" y="1425960"/>
              <a:ext cx="95779" cy="13551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Tree>
    <p:extLst>
      <p:ext uri="{BB962C8B-B14F-4D97-AF65-F5344CB8AC3E}">
        <p14:creationId xmlns:p14="http://schemas.microsoft.com/office/powerpoint/2010/main" val="40350712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F9BE3-4F74-9047-2BCB-445FCF51A2A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23A07F4-ABB0-9446-567C-162DD14C2707}"/>
              </a:ext>
            </a:extLst>
          </p:cNvPr>
          <p:cNvGraphicFramePr>
            <a:graphicFrameLocks/>
          </p:cNvGraphicFramePr>
          <p:nvPr>
            <p:custDataLst>
              <p:tags r:id="rId1"/>
            </p:custDataLst>
            <p:extLst>
              <p:ext uri="{D42A27DB-BD31-4B8C-83A1-F6EECF244321}">
                <p14:modId xmlns:p14="http://schemas.microsoft.com/office/powerpoint/2010/main" val="42629229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6A346B0-3447-6BE1-93FE-36FC85880E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AC89D0-DBEA-80C8-2000-FEDF394C5F47}"/>
              </a:ext>
            </a:extLst>
          </p:cNvPr>
          <p:cNvSpPr>
            <a:spLocks noGrp="1"/>
          </p:cNvSpPr>
          <p:nvPr>
            <p:ph type="title"/>
          </p:nvPr>
        </p:nvSpPr>
        <p:spPr/>
        <p:txBody>
          <a:bodyPr vert="horz" rIns="91440"/>
          <a:lstStyle/>
          <a:p>
            <a:r>
              <a:rPr lang="en-US" dirty="0"/>
              <a:t>Next-generation pilots to increase avg. capacity over time; cost, geologic variability, and seismicity risks uphold commercialization</a:t>
            </a:r>
          </a:p>
        </p:txBody>
      </p:sp>
      <p:sp>
        <p:nvSpPr>
          <p:cNvPr id="4" name="Footer Placeholder 3">
            <a:extLst>
              <a:ext uri="{FF2B5EF4-FFF2-40B4-BE49-F238E27FC236}">
                <a16:creationId xmlns:a16="http://schemas.microsoft.com/office/drawing/2014/main" id="{77FC2777-8C17-B2E5-187F-5EE0B9005592}"/>
              </a:ext>
            </a:extLst>
          </p:cNvPr>
          <p:cNvSpPr>
            <a:spLocks noGrp="1"/>
          </p:cNvSpPr>
          <p:nvPr>
            <p:ph type="ftr" sz="quarter" idx="3"/>
          </p:nvPr>
        </p:nvSpPr>
        <p:spPr>
          <a:xfrm>
            <a:off x="334962" y="6335589"/>
            <a:ext cx="9147241" cy="216706"/>
          </a:xfrm>
        </p:spPr>
        <p:txBody>
          <a:bodyPr/>
          <a:lstStyle/>
          <a:p>
            <a:r>
              <a:rPr lang="en-US" dirty="0">
                <a:solidFill>
                  <a:srgbClr val="000000"/>
                </a:solidFill>
              </a:rPr>
              <a:t>Sources:</a:t>
            </a:r>
            <a:r>
              <a:rPr lang="en-US" dirty="0"/>
              <a:t> </a:t>
            </a:r>
            <a:r>
              <a:rPr lang="en-US" dirty="0">
                <a:hlinkClick r:id="rId5"/>
              </a:rPr>
              <a:t>Enhanced Geothermal Systems (EGS) Pilot Demonstrations</a:t>
            </a:r>
            <a:r>
              <a:rPr lang="en-US" dirty="0"/>
              <a:t> </a:t>
            </a:r>
            <a:r>
              <a:rPr lang="en-US" dirty="0">
                <a:solidFill>
                  <a:schemeClr val="tx1"/>
                </a:solidFill>
              </a:rPr>
              <a:t>(DOE, n.d.); </a:t>
            </a:r>
            <a:r>
              <a:rPr lang="en-US" u="sng" dirty="0">
                <a:hlinkClick r:id="rId6"/>
              </a:rPr>
              <a:t>Enhanced Geothermal Systems</a:t>
            </a:r>
            <a:r>
              <a:rPr lang="en-US" dirty="0">
                <a:solidFill>
                  <a:schemeClr val="tx1"/>
                </a:solidFill>
              </a:rPr>
              <a:t>;</a:t>
            </a:r>
            <a:r>
              <a:rPr lang="en-US" dirty="0"/>
              <a:t> </a:t>
            </a:r>
            <a:r>
              <a:rPr lang="en-US" u="sng" dirty="0">
                <a:hlinkClick r:id="rId7"/>
              </a:rPr>
              <a:t>Mazama Energy</a:t>
            </a:r>
            <a:r>
              <a:rPr lang="en-US" dirty="0">
                <a:solidFill>
                  <a:schemeClr val="tx1"/>
                </a:solidFill>
              </a:rPr>
              <a:t>;</a:t>
            </a:r>
            <a:r>
              <a:rPr lang="en-US" dirty="0"/>
              <a:t> </a:t>
            </a:r>
            <a:r>
              <a:rPr lang="en-US" dirty="0">
                <a:hlinkClick r:id="rId8"/>
              </a:rPr>
              <a:t>XGS Energy</a:t>
            </a:r>
            <a:r>
              <a:rPr lang="en-US" dirty="0">
                <a:solidFill>
                  <a:schemeClr val="tx1"/>
                </a:solidFill>
              </a:rPr>
              <a:t>; </a:t>
            </a:r>
            <a:r>
              <a:rPr lang="en-US" u="sng" dirty="0">
                <a:hlinkClick r:id="rId9"/>
              </a:rPr>
              <a:t>Fervo Energy</a:t>
            </a:r>
            <a:r>
              <a:rPr lang="en-US" dirty="0">
                <a:solidFill>
                  <a:schemeClr val="tx1"/>
                </a:solidFill>
              </a:rPr>
              <a:t>;</a:t>
            </a:r>
            <a:r>
              <a:rPr lang="en-US" dirty="0"/>
              <a:t> </a:t>
            </a:r>
            <a:r>
              <a:rPr lang="en-US" dirty="0">
                <a:hlinkClick r:id="rId10"/>
              </a:rPr>
              <a:t>Eavor Deutschland</a:t>
            </a:r>
            <a:r>
              <a:rPr lang="en-US" dirty="0">
                <a:solidFill>
                  <a:schemeClr val="tx1"/>
                </a:solidFill>
              </a:rPr>
              <a:t>; </a:t>
            </a:r>
            <a:r>
              <a:rPr lang="en-US" u="sng" dirty="0">
                <a:hlinkClick r:id="rId11"/>
              </a:rPr>
              <a:t>The United Downs Geothermal Power Plant, Cornwall, UK</a:t>
            </a:r>
            <a:r>
              <a:rPr lang="en-US" dirty="0"/>
              <a:t> </a:t>
            </a:r>
            <a:r>
              <a:rPr lang="en-US" dirty="0">
                <a:solidFill>
                  <a:schemeClr val="tx1"/>
                </a:solidFill>
              </a:rPr>
              <a:t>(</a:t>
            </a:r>
            <a:r>
              <a:rPr lang="en-US" u="sng" dirty="0" err="1">
                <a:solidFill>
                  <a:schemeClr val="tx1"/>
                </a:solidFill>
              </a:rPr>
              <a:t>ThinkGeo</a:t>
            </a:r>
            <a:r>
              <a:rPr lang="en-US" u="sng" dirty="0">
                <a:solidFill>
                  <a:schemeClr val="tx1"/>
                </a:solidFill>
              </a:rPr>
              <a:t>, </a:t>
            </a:r>
            <a:r>
              <a:rPr lang="en-US" dirty="0">
                <a:solidFill>
                  <a:schemeClr val="tx1"/>
                </a:solidFill>
              </a:rPr>
              <a:t>2025); </a:t>
            </a:r>
            <a:r>
              <a:rPr lang="en-US" u="sng" dirty="0">
                <a:hlinkClick r:id="rId12"/>
              </a:rPr>
              <a:t>First Year of Operation from EGS geothermal plants in Alsace, France: Scaling Issues</a:t>
            </a:r>
            <a:r>
              <a:rPr lang="en-US" dirty="0"/>
              <a:t> </a:t>
            </a:r>
            <a:r>
              <a:rPr lang="en-US" dirty="0">
                <a:solidFill>
                  <a:schemeClr val="tx1"/>
                </a:solidFill>
              </a:rPr>
              <a:t>(2018).</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4"/>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endParaRPr lang="en-US" i="1" dirty="0"/>
          </a:p>
        </p:txBody>
      </p:sp>
      <p:sp>
        <p:nvSpPr>
          <p:cNvPr id="2" name="Text Placeholder 1">
            <a:extLst>
              <a:ext uri="{FF2B5EF4-FFF2-40B4-BE49-F238E27FC236}">
                <a16:creationId xmlns:a16="http://schemas.microsoft.com/office/drawing/2014/main" id="{C4AD4C06-D07B-D5F7-6797-FEBEA5721396}"/>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35" name="Text Placeholder 7">
            <a:extLst>
              <a:ext uri="{FF2B5EF4-FFF2-40B4-BE49-F238E27FC236}">
                <a16:creationId xmlns:a16="http://schemas.microsoft.com/office/drawing/2014/main" id="{C918CFA6-4606-9AF2-F314-0426F49B4657}"/>
              </a:ext>
            </a:extLst>
          </p:cNvPr>
          <p:cNvSpPr txBox="1">
            <a:spLocks/>
          </p:cNvSpPr>
          <p:nvPr/>
        </p:nvSpPr>
        <p:spPr>
          <a:xfrm>
            <a:off x="9308592" y="1549400"/>
            <a:ext cx="2551176" cy="4546600"/>
          </a:xfrm>
          <a:prstGeom prst="rect">
            <a:avLst/>
          </a:prstGeom>
          <a:solidFill>
            <a:srgbClr val="E5E9EF"/>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1250" b="1" dirty="0"/>
              <a:t>Observations</a:t>
            </a:r>
          </a:p>
          <a:p>
            <a:r>
              <a:rPr lang="en-US" sz="1000" dirty="0"/>
              <a:t>Since the 1980s, numerous pilot demonstrations of petro-thermal systems have been conducted. </a:t>
            </a:r>
            <a:r>
              <a:rPr lang="en-US" sz="1000" b="1" dirty="0"/>
              <a:t>In addition to the projects shown left, other early pilots</a:t>
            </a:r>
            <a:r>
              <a:rPr lang="en-US" sz="1000" dirty="0"/>
              <a:t>,</a:t>
            </a:r>
            <a:r>
              <a:rPr lang="en-US" sz="1000" b="1" dirty="0"/>
              <a:t> </a:t>
            </a:r>
            <a:r>
              <a:rPr lang="en-US" sz="1000" dirty="0"/>
              <a:t>such as Ormat in the U.S. and </a:t>
            </a:r>
            <a:r>
              <a:rPr lang="en-US" sz="1000" dirty="0" err="1"/>
              <a:t>Eavor</a:t>
            </a:r>
            <a:r>
              <a:rPr lang="en-US" sz="1000" dirty="0"/>
              <a:t>-Lite in Canada, were completed.</a:t>
            </a:r>
          </a:p>
          <a:p>
            <a:r>
              <a:rPr lang="en-US" sz="1000" dirty="0"/>
              <a:t>However, the transition from pilot/feasibility studies to commercial-scale deployment is still challenging </a:t>
            </a:r>
            <a:r>
              <a:rPr lang="en-US" sz="1000" b="1" dirty="0"/>
              <a:t>due to difficulties in standardization and replication across different geological sites</a:t>
            </a:r>
            <a:r>
              <a:rPr lang="en-US" sz="1000" dirty="0"/>
              <a:t>.</a:t>
            </a:r>
          </a:p>
          <a:p>
            <a:r>
              <a:rPr lang="en-US" sz="1000" dirty="0"/>
              <a:t>Also, induced seismicity is posing a significant risk and can decrease public acceptance. For example, “felt earthquakes” led to the shutdown of EGS projects in Basel, Switzerland (2006), and Pohang, South Korea (2017).</a:t>
            </a:r>
          </a:p>
          <a:p>
            <a:r>
              <a:rPr lang="en-US" sz="1000" dirty="0"/>
              <a:t>Currently, the U.S. dominates EGS pilot projects, with commercial deployment anticipated in the mid- to late 2030s. DOE took action in 2024 by deciding to support three feasibility projects, with the goal being to cut the cost of EGS by 90% by 2035.</a:t>
            </a:r>
          </a:p>
        </p:txBody>
      </p:sp>
      <p:sp>
        <p:nvSpPr>
          <p:cNvPr id="7" name="Rectangle 6">
            <a:extLst>
              <a:ext uri="{FF2B5EF4-FFF2-40B4-BE49-F238E27FC236}">
                <a16:creationId xmlns:a16="http://schemas.microsoft.com/office/drawing/2014/main" id="{05D068DC-D701-5D18-DB0A-94FC73BEEDEB}"/>
              </a:ext>
            </a:extLst>
          </p:cNvPr>
          <p:cNvSpPr/>
          <p:nvPr/>
        </p:nvSpPr>
        <p:spPr bwMode="gray">
          <a:xfrm>
            <a:off x="3683000" y="1554479"/>
            <a:ext cx="1168400" cy="4721367"/>
          </a:xfrm>
          <a:prstGeom prst="rect">
            <a:avLst/>
          </a:prstGeom>
          <a:solidFill>
            <a:schemeClr val="bg1">
              <a:lumMod val="95000"/>
              <a:alpha val="50000"/>
            </a:schemeClr>
          </a:solid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A712D713-95E6-A171-3ACA-20C4326CECA9}"/>
              </a:ext>
            </a:extLst>
          </p:cNvPr>
          <p:cNvSpPr/>
          <p:nvPr/>
        </p:nvSpPr>
        <p:spPr bwMode="gray">
          <a:xfrm>
            <a:off x="409229" y="3035949"/>
            <a:ext cx="7025706" cy="555064"/>
          </a:xfrm>
          <a:prstGeom prst="rect">
            <a:avLst/>
          </a:prstGeom>
          <a:solidFill>
            <a:srgbClr val="F5BBD9">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B1D6C537-ABF2-6267-81A2-66BC8F0EDE7A}"/>
              </a:ext>
            </a:extLst>
          </p:cNvPr>
          <p:cNvSpPr/>
          <p:nvPr/>
        </p:nvSpPr>
        <p:spPr bwMode="gray">
          <a:xfrm>
            <a:off x="409229" y="1916066"/>
            <a:ext cx="7025706" cy="555064"/>
          </a:xfrm>
          <a:prstGeom prst="rect">
            <a:avLst/>
          </a:prstGeom>
          <a:solidFill>
            <a:srgbClr val="F5BBD9">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36" name="Group 35">
            <a:extLst>
              <a:ext uri="{FF2B5EF4-FFF2-40B4-BE49-F238E27FC236}">
                <a16:creationId xmlns:a16="http://schemas.microsoft.com/office/drawing/2014/main" id="{4642AF7D-BFB8-E901-05A1-AA3FFD81E9BB}"/>
              </a:ext>
            </a:extLst>
          </p:cNvPr>
          <p:cNvGrpSpPr/>
          <p:nvPr/>
        </p:nvGrpSpPr>
        <p:grpSpPr>
          <a:xfrm>
            <a:off x="414178" y="1659139"/>
            <a:ext cx="6529644" cy="260907"/>
            <a:chOff x="456746" y="1349845"/>
            <a:chExt cx="6529644" cy="260907"/>
          </a:xfrm>
        </p:grpSpPr>
        <p:sp>
          <p:nvSpPr>
            <p:cNvPr id="37" name="TextBox 36">
              <a:extLst>
                <a:ext uri="{FF2B5EF4-FFF2-40B4-BE49-F238E27FC236}">
                  <a16:creationId xmlns:a16="http://schemas.microsoft.com/office/drawing/2014/main" id="{1D9DAC5C-17A9-E9E5-9201-5FE10FD554DC}"/>
                </a:ext>
              </a:extLst>
            </p:cNvPr>
            <p:cNvSpPr txBox="1"/>
            <p:nvPr/>
          </p:nvSpPr>
          <p:spPr bwMode="gray">
            <a:xfrm>
              <a:off x="2481893" y="1353383"/>
              <a:ext cx="715508" cy="257369"/>
            </a:xfrm>
            <a:prstGeom prst="rect">
              <a:avLst/>
            </a:prstGeom>
            <a:noFill/>
          </p:spPr>
          <p:txBody>
            <a:bodyPr wrap="none" lIns="36000" tIns="36000" rIns="36000" bIns="36000" rtlCol="0">
              <a:spAutoFit/>
            </a:bodyPr>
            <a:lstStyle/>
            <a:p>
              <a:pPr marL="0" indent="0">
                <a:buNone/>
              </a:pPr>
              <a:r>
                <a:rPr lang="en-US" sz="1200" b="1" dirty="0"/>
                <a:t>Location</a:t>
              </a:r>
            </a:p>
          </p:txBody>
        </p:sp>
        <p:sp>
          <p:nvSpPr>
            <p:cNvPr id="38" name="TextBox 37">
              <a:extLst>
                <a:ext uri="{FF2B5EF4-FFF2-40B4-BE49-F238E27FC236}">
                  <a16:creationId xmlns:a16="http://schemas.microsoft.com/office/drawing/2014/main" id="{953B3E97-EA7A-E697-5D6B-B35FD5BF41AF}"/>
                </a:ext>
              </a:extLst>
            </p:cNvPr>
            <p:cNvSpPr txBox="1"/>
            <p:nvPr/>
          </p:nvSpPr>
          <p:spPr bwMode="gray">
            <a:xfrm>
              <a:off x="3749294" y="1353383"/>
              <a:ext cx="1061564" cy="257369"/>
            </a:xfrm>
            <a:prstGeom prst="rect">
              <a:avLst/>
            </a:prstGeom>
            <a:noFill/>
          </p:spPr>
          <p:txBody>
            <a:bodyPr wrap="none" lIns="36000" tIns="36000" rIns="36000" bIns="36000" rtlCol="0">
              <a:spAutoFit/>
            </a:bodyPr>
            <a:lstStyle/>
            <a:p>
              <a:pPr marL="0" indent="0">
                <a:buNone/>
              </a:pPr>
              <a:r>
                <a:rPr lang="en-US" sz="1200" b="1" dirty="0"/>
                <a:t>Capacity, MW</a:t>
              </a:r>
            </a:p>
          </p:txBody>
        </p:sp>
        <p:sp>
          <p:nvSpPr>
            <p:cNvPr id="39" name="TextBox 38">
              <a:extLst>
                <a:ext uri="{FF2B5EF4-FFF2-40B4-BE49-F238E27FC236}">
                  <a16:creationId xmlns:a16="http://schemas.microsoft.com/office/drawing/2014/main" id="{C03CD4C6-F2AB-58A6-2D7A-60F5F8C2FEAB}"/>
                </a:ext>
              </a:extLst>
            </p:cNvPr>
            <p:cNvSpPr txBox="1"/>
            <p:nvPr/>
          </p:nvSpPr>
          <p:spPr bwMode="gray">
            <a:xfrm>
              <a:off x="6444007" y="1353383"/>
              <a:ext cx="542383" cy="257369"/>
            </a:xfrm>
            <a:prstGeom prst="rect">
              <a:avLst/>
            </a:prstGeom>
            <a:noFill/>
          </p:spPr>
          <p:txBody>
            <a:bodyPr wrap="none" lIns="36000" tIns="36000" rIns="36000" bIns="36000" rtlCol="0">
              <a:spAutoFit/>
            </a:bodyPr>
            <a:lstStyle/>
            <a:p>
              <a:pPr marL="0" indent="0">
                <a:buNone/>
              </a:pPr>
              <a:r>
                <a:rPr lang="en-US" sz="1200" b="1" dirty="0"/>
                <a:t>Status</a:t>
              </a:r>
            </a:p>
          </p:txBody>
        </p:sp>
        <p:sp>
          <p:nvSpPr>
            <p:cNvPr id="40" name="TextBox 39">
              <a:extLst>
                <a:ext uri="{FF2B5EF4-FFF2-40B4-BE49-F238E27FC236}">
                  <a16:creationId xmlns:a16="http://schemas.microsoft.com/office/drawing/2014/main" id="{6B7103EC-ECB1-A075-EB36-B8005CCECC5D}"/>
                </a:ext>
              </a:extLst>
            </p:cNvPr>
            <p:cNvSpPr txBox="1"/>
            <p:nvPr/>
          </p:nvSpPr>
          <p:spPr bwMode="gray">
            <a:xfrm>
              <a:off x="456746" y="1349845"/>
              <a:ext cx="1686222" cy="257369"/>
            </a:xfrm>
            <a:prstGeom prst="rect">
              <a:avLst/>
            </a:prstGeom>
            <a:noFill/>
          </p:spPr>
          <p:txBody>
            <a:bodyPr wrap="square" lIns="36000" tIns="36000" rIns="36000" bIns="36000" rtlCol="0">
              <a:spAutoFit/>
            </a:bodyPr>
            <a:lstStyle/>
            <a:p>
              <a:pPr marL="0" indent="0">
                <a:buNone/>
              </a:pPr>
              <a:r>
                <a:rPr lang="en-US" sz="1200" b="1" dirty="0"/>
                <a:t>Projects</a:t>
              </a:r>
            </a:p>
          </p:txBody>
        </p:sp>
        <p:sp>
          <p:nvSpPr>
            <p:cNvPr id="41" name="TextBox 40">
              <a:extLst>
                <a:ext uri="{FF2B5EF4-FFF2-40B4-BE49-F238E27FC236}">
                  <a16:creationId xmlns:a16="http://schemas.microsoft.com/office/drawing/2014/main" id="{08215DC6-F8D4-5026-131B-84C04C0786E9}"/>
                </a:ext>
              </a:extLst>
            </p:cNvPr>
            <p:cNvSpPr txBox="1"/>
            <p:nvPr/>
          </p:nvSpPr>
          <p:spPr bwMode="gray">
            <a:xfrm>
              <a:off x="4939815" y="1353383"/>
              <a:ext cx="1311825" cy="257369"/>
            </a:xfrm>
            <a:prstGeom prst="rect">
              <a:avLst/>
            </a:prstGeom>
            <a:noFill/>
          </p:spPr>
          <p:txBody>
            <a:bodyPr wrap="none" lIns="36000" tIns="36000" rIns="36000" bIns="36000" rtlCol="0">
              <a:spAutoFit/>
            </a:bodyPr>
            <a:lstStyle/>
            <a:p>
              <a:pPr marL="0" indent="0">
                <a:buNone/>
              </a:pPr>
              <a:r>
                <a:rPr lang="en-US" sz="1200" b="1" dirty="0"/>
                <a:t>Deployment date</a:t>
              </a:r>
            </a:p>
          </p:txBody>
        </p:sp>
      </p:grpSp>
      <p:cxnSp>
        <p:nvCxnSpPr>
          <p:cNvPr id="42" name="Straight Connector 41">
            <a:extLst>
              <a:ext uri="{FF2B5EF4-FFF2-40B4-BE49-F238E27FC236}">
                <a16:creationId xmlns:a16="http://schemas.microsoft.com/office/drawing/2014/main" id="{83966C1B-A788-E885-EDB4-2A9E93475D20}"/>
              </a:ext>
            </a:extLst>
          </p:cNvPr>
          <p:cNvCxnSpPr>
            <a:cxnSpLocks/>
          </p:cNvCxnSpPr>
          <p:nvPr/>
        </p:nvCxnSpPr>
        <p:spPr bwMode="gray">
          <a:xfrm>
            <a:off x="409230" y="1895744"/>
            <a:ext cx="702570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E2E246F-046F-A4E6-FBC6-FFE4C8CF4229}"/>
              </a:ext>
            </a:extLst>
          </p:cNvPr>
          <p:cNvCxnSpPr>
            <a:cxnSpLocks/>
          </p:cNvCxnSpPr>
          <p:nvPr/>
        </p:nvCxnSpPr>
        <p:spPr bwMode="gray">
          <a:xfrm>
            <a:off x="409230" y="2480449"/>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204B0144-2839-565C-8CD5-611EB0957328}"/>
              </a:ext>
            </a:extLst>
          </p:cNvPr>
          <p:cNvGrpSpPr/>
          <p:nvPr/>
        </p:nvGrpSpPr>
        <p:grpSpPr>
          <a:xfrm>
            <a:off x="409231" y="2070086"/>
            <a:ext cx="7206085" cy="256548"/>
            <a:chOff x="409231" y="1910988"/>
            <a:chExt cx="7206085" cy="256548"/>
          </a:xfrm>
        </p:grpSpPr>
        <p:sp>
          <p:nvSpPr>
            <p:cNvPr id="45" name="TextBox 44">
              <a:extLst>
                <a:ext uri="{FF2B5EF4-FFF2-40B4-BE49-F238E27FC236}">
                  <a16:creationId xmlns:a16="http://schemas.microsoft.com/office/drawing/2014/main" id="{94F799AE-126C-06E3-4747-3969EE00ED6F}"/>
                </a:ext>
              </a:extLst>
            </p:cNvPr>
            <p:cNvSpPr txBox="1"/>
            <p:nvPr/>
          </p:nvSpPr>
          <p:spPr bwMode="gray">
            <a:xfrm>
              <a:off x="409231" y="1918272"/>
              <a:ext cx="1594246" cy="241980"/>
            </a:xfrm>
            <a:prstGeom prst="rect">
              <a:avLst/>
            </a:prstGeom>
            <a:noFill/>
          </p:spPr>
          <p:txBody>
            <a:bodyPr wrap="square" lIns="36000" tIns="36000" rIns="36000" bIns="36000" rtlCol="0">
              <a:spAutoFit/>
            </a:bodyPr>
            <a:lstStyle/>
            <a:p>
              <a:pPr marL="0" indent="0">
                <a:buNone/>
              </a:pPr>
              <a:r>
                <a:rPr lang="en-US" sz="1100" dirty="0"/>
                <a:t>Chevron New Energies</a:t>
              </a:r>
            </a:p>
          </p:txBody>
        </p:sp>
        <p:sp>
          <p:nvSpPr>
            <p:cNvPr id="46" name="TextBox 45">
              <a:extLst>
                <a:ext uri="{FF2B5EF4-FFF2-40B4-BE49-F238E27FC236}">
                  <a16:creationId xmlns:a16="http://schemas.microsoft.com/office/drawing/2014/main" id="{6124CC76-D7E6-DBEF-2DD0-2AFD0F6FDE23}"/>
                </a:ext>
              </a:extLst>
            </p:cNvPr>
            <p:cNvSpPr txBox="1"/>
            <p:nvPr/>
          </p:nvSpPr>
          <p:spPr bwMode="gray">
            <a:xfrm>
              <a:off x="2478571" y="1918272"/>
              <a:ext cx="1021681" cy="241980"/>
            </a:xfrm>
            <a:prstGeom prst="rect">
              <a:avLst/>
            </a:prstGeom>
            <a:noFill/>
          </p:spPr>
          <p:txBody>
            <a:bodyPr wrap="none" lIns="36000" tIns="36000" rIns="36000" bIns="36000" rtlCol="0">
              <a:spAutoFit/>
            </a:bodyPr>
            <a:lstStyle/>
            <a:p>
              <a:pPr marL="0" indent="0">
                <a:buNone/>
              </a:pPr>
              <a:r>
                <a:rPr lang="en-US" sz="1100" dirty="0"/>
                <a:t>California, U.S.</a:t>
              </a:r>
            </a:p>
          </p:txBody>
        </p:sp>
        <p:sp>
          <p:nvSpPr>
            <p:cNvPr id="47" name="Oval 46">
              <a:extLst>
                <a:ext uri="{FF2B5EF4-FFF2-40B4-BE49-F238E27FC236}">
                  <a16:creationId xmlns:a16="http://schemas.microsoft.com/office/drawing/2014/main" id="{CDF34BF3-3ACA-4E16-161B-246C8F78CE6F}"/>
                </a:ext>
              </a:extLst>
            </p:cNvPr>
            <p:cNvSpPr/>
            <p:nvPr/>
          </p:nvSpPr>
          <p:spPr bwMode="gray">
            <a:xfrm>
              <a:off x="3898402" y="1910988"/>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48" name="TextBox 47">
              <a:extLst>
                <a:ext uri="{FF2B5EF4-FFF2-40B4-BE49-F238E27FC236}">
                  <a16:creationId xmlns:a16="http://schemas.microsoft.com/office/drawing/2014/main" id="{E3CA3EB8-D464-A940-5A81-A1161693AD84}"/>
                </a:ext>
              </a:extLst>
            </p:cNvPr>
            <p:cNvSpPr txBox="1"/>
            <p:nvPr/>
          </p:nvSpPr>
          <p:spPr bwMode="gray">
            <a:xfrm>
              <a:off x="6375286" y="1918272"/>
              <a:ext cx="1240030" cy="241980"/>
            </a:xfrm>
            <a:prstGeom prst="rect">
              <a:avLst/>
            </a:prstGeom>
            <a:noFill/>
          </p:spPr>
          <p:txBody>
            <a:bodyPr wrap="square" lIns="36000" tIns="36000" rIns="36000" bIns="36000" rtlCol="0">
              <a:spAutoFit/>
            </a:bodyPr>
            <a:lstStyle/>
            <a:p>
              <a:pPr marL="0" indent="0">
                <a:buNone/>
              </a:pPr>
              <a:r>
                <a:rPr lang="en-US" sz="1100" dirty="0"/>
                <a:t>Planned</a:t>
              </a:r>
            </a:p>
          </p:txBody>
        </p:sp>
        <p:sp>
          <p:nvSpPr>
            <p:cNvPr id="49" name="TextBox 48">
              <a:extLst>
                <a:ext uri="{FF2B5EF4-FFF2-40B4-BE49-F238E27FC236}">
                  <a16:creationId xmlns:a16="http://schemas.microsoft.com/office/drawing/2014/main" id="{BAEB122F-F561-403D-A923-B1B062252082}"/>
                </a:ext>
              </a:extLst>
            </p:cNvPr>
            <p:cNvSpPr txBox="1"/>
            <p:nvPr/>
          </p:nvSpPr>
          <p:spPr bwMode="gray">
            <a:xfrm>
              <a:off x="5136845" y="1918272"/>
              <a:ext cx="763349" cy="241980"/>
            </a:xfrm>
            <a:prstGeom prst="rect">
              <a:avLst/>
            </a:prstGeom>
            <a:noFill/>
          </p:spPr>
          <p:txBody>
            <a:bodyPr wrap="square" lIns="36000" tIns="36000" rIns="36000" bIns="36000" rtlCol="0">
              <a:spAutoFit/>
            </a:bodyPr>
            <a:lstStyle/>
            <a:p>
              <a:pPr marL="0" indent="0">
                <a:buNone/>
              </a:pPr>
              <a:r>
                <a:rPr lang="en-US" sz="1100" dirty="0"/>
                <a:t>2029-2033</a:t>
              </a:r>
            </a:p>
          </p:txBody>
        </p:sp>
        <p:sp>
          <p:nvSpPr>
            <p:cNvPr id="50" name="TextBox 49">
              <a:extLst>
                <a:ext uri="{FF2B5EF4-FFF2-40B4-BE49-F238E27FC236}">
                  <a16:creationId xmlns:a16="http://schemas.microsoft.com/office/drawing/2014/main" id="{606B4970-2B0C-074E-B957-A76E9C3C4C78}"/>
                </a:ext>
              </a:extLst>
            </p:cNvPr>
            <p:cNvSpPr txBox="1"/>
            <p:nvPr/>
          </p:nvSpPr>
          <p:spPr bwMode="gray">
            <a:xfrm>
              <a:off x="4172012" y="1916089"/>
              <a:ext cx="229797"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20</a:t>
              </a:r>
            </a:p>
          </p:txBody>
        </p:sp>
      </p:grpSp>
      <p:grpSp>
        <p:nvGrpSpPr>
          <p:cNvPr id="51" name="Group 50">
            <a:extLst>
              <a:ext uri="{FF2B5EF4-FFF2-40B4-BE49-F238E27FC236}">
                <a16:creationId xmlns:a16="http://schemas.microsoft.com/office/drawing/2014/main" id="{DD8B41CA-7125-25D3-88D4-14737D26F7D1}"/>
              </a:ext>
            </a:extLst>
          </p:cNvPr>
          <p:cNvGrpSpPr/>
          <p:nvPr/>
        </p:nvGrpSpPr>
        <p:grpSpPr>
          <a:xfrm>
            <a:off x="409230" y="3198647"/>
            <a:ext cx="7206085" cy="256548"/>
            <a:chOff x="409231" y="2383411"/>
            <a:chExt cx="7206085" cy="256548"/>
          </a:xfrm>
        </p:grpSpPr>
        <p:sp>
          <p:nvSpPr>
            <p:cNvPr id="52" name="TextBox 51">
              <a:extLst>
                <a:ext uri="{FF2B5EF4-FFF2-40B4-BE49-F238E27FC236}">
                  <a16:creationId xmlns:a16="http://schemas.microsoft.com/office/drawing/2014/main" id="{3633533F-E68D-4ACE-4750-8D2192223404}"/>
                </a:ext>
              </a:extLst>
            </p:cNvPr>
            <p:cNvSpPr txBox="1"/>
            <p:nvPr/>
          </p:nvSpPr>
          <p:spPr bwMode="gray">
            <a:xfrm>
              <a:off x="409231" y="2383411"/>
              <a:ext cx="1594246" cy="241980"/>
            </a:xfrm>
            <a:prstGeom prst="rect">
              <a:avLst/>
            </a:prstGeom>
            <a:noFill/>
          </p:spPr>
          <p:txBody>
            <a:bodyPr wrap="square" lIns="36000" tIns="36000" rIns="36000" bIns="36000" rtlCol="0">
              <a:spAutoFit/>
            </a:bodyPr>
            <a:lstStyle/>
            <a:p>
              <a:pPr marL="0" indent="0">
                <a:buNone/>
              </a:pPr>
              <a:r>
                <a:rPr lang="en-US" sz="1100" dirty="0"/>
                <a:t>Mazama Energy</a:t>
              </a:r>
            </a:p>
          </p:txBody>
        </p:sp>
        <p:sp>
          <p:nvSpPr>
            <p:cNvPr id="53" name="TextBox 52">
              <a:extLst>
                <a:ext uri="{FF2B5EF4-FFF2-40B4-BE49-F238E27FC236}">
                  <a16:creationId xmlns:a16="http://schemas.microsoft.com/office/drawing/2014/main" id="{F77BEDDD-7D84-4F76-0E55-2DBB088C1123}"/>
                </a:ext>
              </a:extLst>
            </p:cNvPr>
            <p:cNvSpPr txBox="1"/>
            <p:nvPr/>
          </p:nvSpPr>
          <p:spPr bwMode="gray">
            <a:xfrm>
              <a:off x="2478571" y="2383411"/>
              <a:ext cx="893441" cy="241980"/>
            </a:xfrm>
            <a:prstGeom prst="rect">
              <a:avLst/>
            </a:prstGeom>
            <a:noFill/>
          </p:spPr>
          <p:txBody>
            <a:bodyPr wrap="none" lIns="36000" tIns="36000" rIns="36000" bIns="36000" rtlCol="0">
              <a:spAutoFit/>
            </a:bodyPr>
            <a:lstStyle/>
            <a:p>
              <a:pPr marL="0" indent="0">
                <a:buNone/>
              </a:pPr>
              <a:r>
                <a:rPr lang="en-US" sz="1100" dirty="0"/>
                <a:t>Oregon, U.S.</a:t>
              </a:r>
            </a:p>
          </p:txBody>
        </p:sp>
        <p:sp>
          <p:nvSpPr>
            <p:cNvPr id="54" name="Oval 53">
              <a:extLst>
                <a:ext uri="{FF2B5EF4-FFF2-40B4-BE49-F238E27FC236}">
                  <a16:creationId xmlns:a16="http://schemas.microsoft.com/office/drawing/2014/main" id="{56EA9FB2-4A53-2EF6-3765-7381782C370A}"/>
                </a:ext>
              </a:extLst>
            </p:cNvPr>
            <p:cNvSpPr/>
            <p:nvPr/>
          </p:nvSpPr>
          <p:spPr bwMode="gray">
            <a:xfrm>
              <a:off x="3898402" y="2383411"/>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55" name="TextBox 54">
              <a:extLst>
                <a:ext uri="{FF2B5EF4-FFF2-40B4-BE49-F238E27FC236}">
                  <a16:creationId xmlns:a16="http://schemas.microsoft.com/office/drawing/2014/main" id="{8392E4BC-A736-14DC-D450-9506E141C436}"/>
                </a:ext>
              </a:extLst>
            </p:cNvPr>
            <p:cNvSpPr txBox="1"/>
            <p:nvPr/>
          </p:nvSpPr>
          <p:spPr bwMode="gray">
            <a:xfrm>
              <a:off x="6375286" y="2383411"/>
              <a:ext cx="1240030" cy="241980"/>
            </a:xfrm>
            <a:prstGeom prst="rect">
              <a:avLst/>
            </a:prstGeom>
            <a:noFill/>
          </p:spPr>
          <p:txBody>
            <a:bodyPr wrap="square" lIns="36000" tIns="36000" rIns="36000" bIns="36000" rtlCol="0">
              <a:spAutoFit/>
            </a:bodyPr>
            <a:lstStyle/>
            <a:p>
              <a:pPr marL="0" indent="0">
                <a:buNone/>
              </a:pPr>
              <a:r>
                <a:rPr lang="en-US" sz="1100" dirty="0"/>
                <a:t>Planned</a:t>
              </a:r>
            </a:p>
          </p:txBody>
        </p:sp>
        <p:sp>
          <p:nvSpPr>
            <p:cNvPr id="56" name="TextBox 55">
              <a:extLst>
                <a:ext uri="{FF2B5EF4-FFF2-40B4-BE49-F238E27FC236}">
                  <a16:creationId xmlns:a16="http://schemas.microsoft.com/office/drawing/2014/main" id="{AD219338-761A-E443-D43F-DDCB549CC2BD}"/>
                </a:ext>
              </a:extLst>
            </p:cNvPr>
            <p:cNvSpPr txBox="1"/>
            <p:nvPr/>
          </p:nvSpPr>
          <p:spPr bwMode="gray">
            <a:xfrm>
              <a:off x="5136845" y="2383411"/>
              <a:ext cx="763349" cy="241980"/>
            </a:xfrm>
            <a:prstGeom prst="rect">
              <a:avLst/>
            </a:prstGeom>
            <a:noFill/>
          </p:spPr>
          <p:txBody>
            <a:bodyPr wrap="square" lIns="36000" tIns="36000" rIns="36000" bIns="36000" rtlCol="0">
              <a:spAutoFit/>
            </a:bodyPr>
            <a:lstStyle/>
            <a:p>
              <a:pPr marL="0" indent="0">
                <a:buNone/>
              </a:pPr>
              <a:r>
                <a:rPr lang="en-US" sz="1100" dirty="0"/>
                <a:t>2025-26</a:t>
              </a:r>
            </a:p>
          </p:txBody>
        </p:sp>
        <p:sp>
          <p:nvSpPr>
            <p:cNvPr id="57" name="TextBox 56">
              <a:extLst>
                <a:ext uri="{FF2B5EF4-FFF2-40B4-BE49-F238E27FC236}">
                  <a16:creationId xmlns:a16="http://schemas.microsoft.com/office/drawing/2014/main" id="{8D939820-F5DC-C7D4-E2F1-73AA8D7A74E8}"/>
                </a:ext>
              </a:extLst>
            </p:cNvPr>
            <p:cNvSpPr txBox="1"/>
            <p:nvPr/>
          </p:nvSpPr>
          <p:spPr bwMode="gray">
            <a:xfrm>
              <a:off x="4115742" y="2383411"/>
              <a:ext cx="308345"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200</a:t>
              </a:r>
            </a:p>
          </p:txBody>
        </p:sp>
      </p:grpSp>
      <p:cxnSp>
        <p:nvCxnSpPr>
          <p:cNvPr id="58" name="Straight Connector 57">
            <a:extLst>
              <a:ext uri="{FF2B5EF4-FFF2-40B4-BE49-F238E27FC236}">
                <a16:creationId xmlns:a16="http://schemas.microsoft.com/office/drawing/2014/main" id="{F8AAF4D4-39CC-50BE-181A-6A2A5E033B52}"/>
              </a:ext>
            </a:extLst>
          </p:cNvPr>
          <p:cNvCxnSpPr>
            <a:cxnSpLocks/>
          </p:cNvCxnSpPr>
          <p:nvPr/>
        </p:nvCxnSpPr>
        <p:spPr bwMode="gray">
          <a:xfrm>
            <a:off x="409230" y="3044832"/>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574CA0D-6899-273C-60BC-4D5D4071BD77}"/>
              </a:ext>
            </a:extLst>
          </p:cNvPr>
          <p:cNvGrpSpPr/>
          <p:nvPr/>
        </p:nvGrpSpPr>
        <p:grpSpPr>
          <a:xfrm>
            <a:off x="409229" y="2634264"/>
            <a:ext cx="7206086" cy="418746"/>
            <a:chOff x="409230" y="2816699"/>
            <a:chExt cx="7206086" cy="418746"/>
          </a:xfrm>
        </p:grpSpPr>
        <p:sp>
          <p:nvSpPr>
            <p:cNvPr id="60" name="TextBox 59">
              <a:extLst>
                <a:ext uri="{FF2B5EF4-FFF2-40B4-BE49-F238E27FC236}">
                  <a16:creationId xmlns:a16="http://schemas.microsoft.com/office/drawing/2014/main" id="{DD58F6AC-1B14-B4F8-0FE4-02297BE35380}"/>
                </a:ext>
              </a:extLst>
            </p:cNvPr>
            <p:cNvSpPr txBox="1"/>
            <p:nvPr/>
          </p:nvSpPr>
          <p:spPr bwMode="gray">
            <a:xfrm>
              <a:off x="409230" y="2824188"/>
              <a:ext cx="1780251" cy="411257"/>
            </a:xfrm>
            <a:prstGeom prst="rect">
              <a:avLst/>
            </a:prstGeom>
            <a:noFill/>
          </p:spPr>
          <p:txBody>
            <a:bodyPr wrap="square" lIns="36000" tIns="36000" rIns="36000" bIns="36000" rtlCol="0">
              <a:spAutoFit/>
            </a:bodyPr>
            <a:lstStyle/>
            <a:p>
              <a:pPr marL="0" indent="0">
                <a:buNone/>
              </a:pPr>
              <a:r>
                <a:rPr lang="en-US" sz="1100" dirty="0"/>
                <a:t>XGS Energy (Meta collaboration)</a:t>
              </a:r>
            </a:p>
          </p:txBody>
        </p:sp>
        <p:sp>
          <p:nvSpPr>
            <p:cNvPr id="61" name="TextBox 60">
              <a:extLst>
                <a:ext uri="{FF2B5EF4-FFF2-40B4-BE49-F238E27FC236}">
                  <a16:creationId xmlns:a16="http://schemas.microsoft.com/office/drawing/2014/main" id="{A82271CD-3EA3-262A-3A54-2204B6EF6FB1}"/>
                </a:ext>
              </a:extLst>
            </p:cNvPr>
            <p:cNvSpPr txBox="1"/>
            <p:nvPr/>
          </p:nvSpPr>
          <p:spPr bwMode="gray">
            <a:xfrm>
              <a:off x="2478571" y="2824188"/>
              <a:ext cx="1193203" cy="241980"/>
            </a:xfrm>
            <a:prstGeom prst="rect">
              <a:avLst/>
            </a:prstGeom>
            <a:noFill/>
          </p:spPr>
          <p:txBody>
            <a:bodyPr wrap="none" lIns="36000" tIns="36000" rIns="36000" bIns="36000" rtlCol="0">
              <a:spAutoFit/>
            </a:bodyPr>
            <a:lstStyle/>
            <a:p>
              <a:pPr marL="0" indent="0">
                <a:buNone/>
              </a:pPr>
              <a:r>
                <a:rPr lang="en-US" sz="1100" dirty="0"/>
                <a:t>New Mexico, U.S.</a:t>
              </a:r>
            </a:p>
          </p:txBody>
        </p:sp>
        <p:sp>
          <p:nvSpPr>
            <p:cNvPr id="62" name="Oval 61">
              <a:extLst>
                <a:ext uri="{FF2B5EF4-FFF2-40B4-BE49-F238E27FC236}">
                  <a16:creationId xmlns:a16="http://schemas.microsoft.com/office/drawing/2014/main" id="{CC2BD4E9-A4CC-5847-9572-DC073A9EFE27}"/>
                </a:ext>
              </a:extLst>
            </p:cNvPr>
            <p:cNvSpPr/>
            <p:nvPr/>
          </p:nvSpPr>
          <p:spPr bwMode="gray">
            <a:xfrm>
              <a:off x="3898402" y="2816904"/>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63" name="TextBox 62">
              <a:extLst>
                <a:ext uri="{FF2B5EF4-FFF2-40B4-BE49-F238E27FC236}">
                  <a16:creationId xmlns:a16="http://schemas.microsoft.com/office/drawing/2014/main" id="{A56CDDD8-AF4C-5788-8086-5BF3C0674302}"/>
                </a:ext>
              </a:extLst>
            </p:cNvPr>
            <p:cNvSpPr txBox="1"/>
            <p:nvPr/>
          </p:nvSpPr>
          <p:spPr bwMode="gray">
            <a:xfrm>
              <a:off x="6375286" y="2824188"/>
              <a:ext cx="1240030" cy="241980"/>
            </a:xfrm>
            <a:prstGeom prst="rect">
              <a:avLst/>
            </a:prstGeom>
            <a:noFill/>
          </p:spPr>
          <p:txBody>
            <a:bodyPr wrap="square" lIns="36000" tIns="36000" rIns="36000" bIns="36000" rtlCol="0">
              <a:spAutoFit/>
            </a:bodyPr>
            <a:lstStyle/>
            <a:p>
              <a:pPr marL="0" indent="0">
                <a:buNone/>
              </a:pPr>
              <a:r>
                <a:rPr lang="en-US" sz="1100" dirty="0"/>
                <a:t>Planned </a:t>
              </a:r>
            </a:p>
          </p:txBody>
        </p:sp>
        <p:sp>
          <p:nvSpPr>
            <p:cNvPr id="64" name="TextBox 63">
              <a:extLst>
                <a:ext uri="{FF2B5EF4-FFF2-40B4-BE49-F238E27FC236}">
                  <a16:creationId xmlns:a16="http://schemas.microsoft.com/office/drawing/2014/main" id="{435BF3F8-6BF3-FDC8-EAC8-CB113F65E570}"/>
                </a:ext>
              </a:extLst>
            </p:cNvPr>
            <p:cNvSpPr txBox="1"/>
            <p:nvPr/>
          </p:nvSpPr>
          <p:spPr bwMode="gray">
            <a:xfrm>
              <a:off x="5136845" y="2824188"/>
              <a:ext cx="763349" cy="241980"/>
            </a:xfrm>
            <a:prstGeom prst="rect">
              <a:avLst/>
            </a:prstGeom>
            <a:noFill/>
          </p:spPr>
          <p:txBody>
            <a:bodyPr wrap="square" lIns="36000" tIns="36000" rIns="36000" bIns="36000" rtlCol="0">
              <a:spAutoFit/>
            </a:bodyPr>
            <a:lstStyle/>
            <a:p>
              <a:pPr marL="0" indent="0">
                <a:buNone/>
              </a:pPr>
              <a:r>
                <a:rPr lang="en-US" sz="1100" dirty="0"/>
                <a:t>2027-30</a:t>
              </a:r>
            </a:p>
          </p:txBody>
        </p:sp>
        <p:sp>
          <p:nvSpPr>
            <p:cNvPr id="65" name="TextBox 64">
              <a:extLst>
                <a:ext uri="{FF2B5EF4-FFF2-40B4-BE49-F238E27FC236}">
                  <a16:creationId xmlns:a16="http://schemas.microsoft.com/office/drawing/2014/main" id="{B313F538-918B-A102-DFE5-A9CE653A7833}"/>
                </a:ext>
              </a:extLst>
            </p:cNvPr>
            <p:cNvSpPr txBox="1"/>
            <p:nvPr/>
          </p:nvSpPr>
          <p:spPr bwMode="gray">
            <a:xfrm>
              <a:off x="4115742" y="2816699"/>
              <a:ext cx="308345"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150</a:t>
              </a:r>
            </a:p>
          </p:txBody>
        </p:sp>
      </p:grpSp>
      <p:cxnSp>
        <p:nvCxnSpPr>
          <p:cNvPr id="66" name="Straight Connector 65">
            <a:extLst>
              <a:ext uri="{FF2B5EF4-FFF2-40B4-BE49-F238E27FC236}">
                <a16:creationId xmlns:a16="http://schemas.microsoft.com/office/drawing/2014/main" id="{C8F7CBE6-3409-C9ED-ECB3-70B7940438DA}"/>
              </a:ext>
            </a:extLst>
          </p:cNvPr>
          <p:cNvCxnSpPr>
            <a:cxnSpLocks/>
          </p:cNvCxnSpPr>
          <p:nvPr/>
        </p:nvCxnSpPr>
        <p:spPr bwMode="gray">
          <a:xfrm>
            <a:off x="409230" y="4722547"/>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AADE2AE-4661-5D49-6CB9-0B2F22092A2E}"/>
              </a:ext>
            </a:extLst>
          </p:cNvPr>
          <p:cNvCxnSpPr>
            <a:cxnSpLocks/>
          </p:cNvCxnSpPr>
          <p:nvPr/>
        </p:nvCxnSpPr>
        <p:spPr bwMode="gray">
          <a:xfrm>
            <a:off x="409230" y="5286930"/>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1AF516DF-4CE6-79AE-907E-F8939D8D92CA}"/>
              </a:ext>
            </a:extLst>
          </p:cNvPr>
          <p:cNvGrpSpPr/>
          <p:nvPr/>
        </p:nvGrpSpPr>
        <p:grpSpPr>
          <a:xfrm>
            <a:off x="409231" y="4842674"/>
            <a:ext cx="7206084" cy="734423"/>
            <a:chOff x="409231" y="4141885"/>
            <a:chExt cx="7206084" cy="734423"/>
          </a:xfrm>
        </p:grpSpPr>
        <p:sp>
          <p:nvSpPr>
            <p:cNvPr id="69" name="TextBox 68">
              <a:extLst>
                <a:ext uri="{FF2B5EF4-FFF2-40B4-BE49-F238E27FC236}">
                  <a16:creationId xmlns:a16="http://schemas.microsoft.com/office/drawing/2014/main" id="{5385CE07-8BA7-9472-535A-E44E53671058}"/>
                </a:ext>
              </a:extLst>
            </p:cNvPr>
            <p:cNvSpPr txBox="1"/>
            <p:nvPr/>
          </p:nvSpPr>
          <p:spPr bwMode="gray">
            <a:xfrm>
              <a:off x="409231" y="4183062"/>
              <a:ext cx="1594246" cy="241980"/>
            </a:xfrm>
            <a:prstGeom prst="rect">
              <a:avLst/>
            </a:prstGeom>
            <a:noFill/>
          </p:spPr>
          <p:txBody>
            <a:bodyPr wrap="square" lIns="36000" tIns="36000" rIns="36000" bIns="36000" rtlCol="0">
              <a:spAutoFit/>
            </a:bodyPr>
            <a:lstStyle/>
            <a:p>
              <a:pPr marL="0" indent="0">
                <a:buNone/>
              </a:pPr>
              <a:r>
                <a:rPr lang="en-US" sz="1100" dirty="0"/>
                <a:t>Eavor Loop – Geretsried</a:t>
              </a:r>
            </a:p>
          </p:txBody>
        </p:sp>
        <p:sp>
          <p:nvSpPr>
            <p:cNvPr id="70" name="TextBox 69">
              <a:extLst>
                <a:ext uri="{FF2B5EF4-FFF2-40B4-BE49-F238E27FC236}">
                  <a16:creationId xmlns:a16="http://schemas.microsoft.com/office/drawing/2014/main" id="{491838F3-C2A3-167D-EAB1-8FEBFC55272A}"/>
                </a:ext>
              </a:extLst>
            </p:cNvPr>
            <p:cNvSpPr txBox="1"/>
            <p:nvPr/>
          </p:nvSpPr>
          <p:spPr bwMode="gray">
            <a:xfrm>
              <a:off x="2478571" y="4183062"/>
              <a:ext cx="1207629" cy="241980"/>
            </a:xfrm>
            <a:prstGeom prst="rect">
              <a:avLst/>
            </a:prstGeom>
            <a:noFill/>
          </p:spPr>
          <p:txBody>
            <a:bodyPr wrap="none" lIns="36000" tIns="36000" rIns="36000" bIns="36000" rtlCol="0">
              <a:spAutoFit/>
            </a:bodyPr>
            <a:lstStyle/>
            <a:p>
              <a:pPr marL="0" indent="0">
                <a:buNone/>
              </a:pPr>
              <a:r>
                <a:rPr lang="en-US" sz="1100" dirty="0"/>
                <a:t>Bavaria, Germany</a:t>
              </a:r>
            </a:p>
          </p:txBody>
        </p:sp>
        <p:sp>
          <p:nvSpPr>
            <p:cNvPr id="71" name="Oval 70">
              <a:extLst>
                <a:ext uri="{FF2B5EF4-FFF2-40B4-BE49-F238E27FC236}">
                  <a16:creationId xmlns:a16="http://schemas.microsoft.com/office/drawing/2014/main" id="{802012C9-4054-EE7D-10CB-9AF91C9F3AF8}"/>
                </a:ext>
              </a:extLst>
            </p:cNvPr>
            <p:cNvSpPr/>
            <p:nvPr/>
          </p:nvSpPr>
          <p:spPr bwMode="gray">
            <a:xfrm>
              <a:off x="3898402" y="4175778"/>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72" name="TextBox 71">
              <a:extLst>
                <a:ext uri="{FF2B5EF4-FFF2-40B4-BE49-F238E27FC236}">
                  <a16:creationId xmlns:a16="http://schemas.microsoft.com/office/drawing/2014/main" id="{F8B4F783-1E4B-9021-A611-6D9A9EF401B0}"/>
                </a:ext>
              </a:extLst>
            </p:cNvPr>
            <p:cNvSpPr txBox="1"/>
            <p:nvPr/>
          </p:nvSpPr>
          <p:spPr bwMode="gray">
            <a:xfrm>
              <a:off x="6375285" y="4141885"/>
              <a:ext cx="1240030" cy="734423"/>
            </a:xfrm>
            <a:prstGeom prst="rect">
              <a:avLst/>
            </a:prstGeom>
            <a:noFill/>
          </p:spPr>
          <p:txBody>
            <a:bodyPr wrap="square" lIns="36000" tIns="36000" rIns="36000" bIns="36000" rtlCol="0">
              <a:spAutoFit/>
            </a:bodyPr>
            <a:lstStyle/>
            <a:p>
              <a:pPr marL="0" indent="0">
                <a:buNone/>
              </a:pPr>
              <a:r>
                <a:rPr lang="en-US" sz="1100" dirty="0"/>
                <a:t>Ongoing </a:t>
              </a:r>
              <a:br>
                <a:rPr lang="en-US" sz="1100" dirty="0"/>
              </a:br>
              <a:r>
                <a:rPr lang="en-US" sz="1100" dirty="0"/>
                <a:t>construction</a:t>
              </a:r>
            </a:p>
            <a:p>
              <a:pPr marL="0" indent="0">
                <a:buNone/>
              </a:pPr>
              <a:endParaRPr lang="en-US" sz="1100" dirty="0"/>
            </a:p>
          </p:txBody>
        </p:sp>
        <p:sp>
          <p:nvSpPr>
            <p:cNvPr id="73" name="TextBox 72">
              <a:extLst>
                <a:ext uri="{FF2B5EF4-FFF2-40B4-BE49-F238E27FC236}">
                  <a16:creationId xmlns:a16="http://schemas.microsoft.com/office/drawing/2014/main" id="{53E38C5D-882C-7197-0E81-377C83EDEE34}"/>
                </a:ext>
              </a:extLst>
            </p:cNvPr>
            <p:cNvSpPr txBox="1"/>
            <p:nvPr/>
          </p:nvSpPr>
          <p:spPr bwMode="gray">
            <a:xfrm>
              <a:off x="5136845" y="4183062"/>
              <a:ext cx="763349" cy="241980"/>
            </a:xfrm>
            <a:prstGeom prst="rect">
              <a:avLst/>
            </a:prstGeom>
            <a:noFill/>
          </p:spPr>
          <p:txBody>
            <a:bodyPr wrap="square" lIns="36000" tIns="36000" rIns="36000" bIns="36000" rtlCol="0">
              <a:spAutoFit/>
            </a:bodyPr>
            <a:lstStyle/>
            <a:p>
              <a:pPr marL="0" indent="0">
                <a:buNone/>
              </a:pPr>
              <a:r>
                <a:rPr lang="en-US" sz="1100" dirty="0"/>
                <a:t>2025</a:t>
              </a:r>
            </a:p>
          </p:txBody>
        </p:sp>
        <p:sp>
          <p:nvSpPr>
            <p:cNvPr id="74" name="TextBox 73">
              <a:extLst>
                <a:ext uri="{FF2B5EF4-FFF2-40B4-BE49-F238E27FC236}">
                  <a16:creationId xmlns:a16="http://schemas.microsoft.com/office/drawing/2014/main" id="{43DA31AB-98E2-32EB-1757-08FB398A4CA7}"/>
                </a:ext>
              </a:extLst>
            </p:cNvPr>
            <p:cNvSpPr txBox="1"/>
            <p:nvPr/>
          </p:nvSpPr>
          <p:spPr bwMode="gray">
            <a:xfrm>
              <a:off x="4129810" y="4174555"/>
              <a:ext cx="268269"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8.2</a:t>
              </a:r>
            </a:p>
          </p:txBody>
        </p:sp>
      </p:grpSp>
      <p:cxnSp>
        <p:nvCxnSpPr>
          <p:cNvPr id="75" name="Straight Connector 74">
            <a:extLst>
              <a:ext uri="{FF2B5EF4-FFF2-40B4-BE49-F238E27FC236}">
                <a16:creationId xmlns:a16="http://schemas.microsoft.com/office/drawing/2014/main" id="{817F233C-8969-B73B-1A9A-DDB0F1A407C6}"/>
              </a:ext>
            </a:extLst>
          </p:cNvPr>
          <p:cNvCxnSpPr>
            <a:cxnSpLocks/>
          </p:cNvCxnSpPr>
          <p:nvPr/>
        </p:nvCxnSpPr>
        <p:spPr bwMode="gray">
          <a:xfrm>
            <a:off x="409230" y="5851313"/>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DF4E1531-B193-1624-3DBE-33EC68DCD31E}"/>
              </a:ext>
            </a:extLst>
          </p:cNvPr>
          <p:cNvGrpSpPr/>
          <p:nvPr/>
        </p:nvGrpSpPr>
        <p:grpSpPr>
          <a:xfrm>
            <a:off x="409231" y="5440950"/>
            <a:ext cx="7206085" cy="256548"/>
            <a:chOff x="409231" y="4628736"/>
            <a:chExt cx="7206085" cy="256548"/>
          </a:xfrm>
        </p:grpSpPr>
        <p:sp>
          <p:nvSpPr>
            <p:cNvPr id="77" name="TextBox 76">
              <a:extLst>
                <a:ext uri="{FF2B5EF4-FFF2-40B4-BE49-F238E27FC236}">
                  <a16:creationId xmlns:a16="http://schemas.microsoft.com/office/drawing/2014/main" id="{4676DD02-76FD-F54E-CCF3-8EFEC7315197}"/>
                </a:ext>
              </a:extLst>
            </p:cNvPr>
            <p:cNvSpPr txBox="1"/>
            <p:nvPr/>
          </p:nvSpPr>
          <p:spPr bwMode="gray">
            <a:xfrm>
              <a:off x="409231" y="4636020"/>
              <a:ext cx="1594246" cy="241980"/>
            </a:xfrm>
            <a:prstGeom prst="rect">
              <a:avLst/>
            </a:prstGeom>
            <a:noFill/>
          </p:spPr>
          <p:txBody>
            <a:bodyPr wrap="square" lIns="36000" tIns="36000" rIns="36000" bIns="36000" rtlCol="0">
              <a:spAutoFit/>
            </a:bodyPr>
            <a:lstStyle/>
            <a:p>
              <a:pPr marL="0" indent="0">
                <a:buNone/>
              </a:pPr>
              <a:r>
                <a:rPr lang="en-US" sz="1100" dirty="0"/>
                <a:t>GEL – United Downs</a:t>
              </a:r>
            </a:p>
          </p:txBody>
        </p:sp>
        <p:sp>
          <p:nvSpPr>
            <p:cNvPr id="78" name="TextBox 77">
              <a:extLst>
                <a:ext uri="{FF2B5EF4-FFF2-40B4-BE49-F238E27FC236}">
                  <a16:creationId xmlns:a16="http://schemas.microsoft.com/office/drawing/2014/main" id="{FF8F4709-DD74-89D7-A04C-B288B917C131}"/>
                </a:ext>
              </a:extLst>
            </p:cNvPr>
            <p:cNvSpPr txBox="1"/>
            <p:nvPr/>
          </p:nvSpPr>
          <p:spPr bwMode="gray">
            <a:xfrm>
              <a:off x="2478571" y="4636020"/>
              <a:ext cx="898250" cy="241980"/>
            </a:xfrm>
            <a:prstGeom prst="rect">
              <a:avLst/>
            </a:prstGeom>
            <a:noFill/>
          </p:spPr>
          <p:txBody>
            <a:bodyPr wrap="none" lIns="36000" tIns="36000" rIns="36000" bIns="36000" rtlCol="0">
              <a:spAutoFit/>
            </a:bodyPr>
            <a:lstStyle/>
            <a:p>
              <a:pPr marL="0" indent="0">
                <a:buNone/>
              </a:pPr>
              <a:r>
                <a:rPr lang="en-US" sz="1100" dirty="0"/>
                <a:t>Cornwall, UK</a:t>
              </a:r>
            </a:p>
          </p:txBody>
        </p:sp>
        <p:sp>
          <p:nvSpPr>
            <p:cNvPr id="79" name="Oval 78">
              <a:extLst>
                <a:ext uri="{FF2B5EF4-FFF2-40B4-BE49-F238E27FC236}">
                  <a16:creationId xmlns:a16="http://schemas.microsoft.com/office/drawing/2014/main" id="{B38F0EF4-2F26-CF8F-7948-2B34AEEF468A}"/>
                </a:ext>
              </a:extLst>
            </p:cNvPr>
            <p:cNvSpPr/>
            <p:nvPr/>
          </p:nvSpPr>
          <p:spPr bwMode="gray">
            <a:xfrm>
              <a:off x="3898402" y="4628736"/>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80" name="TextBox 79">
              <a:extLst>
                <a:ext uri="{FF2B5EF4-FFF2-40B4-BE49-F238E27FC236}">
                  <a16:creationId xmlns:a16="http://schemas.microsoft.com/office/drawing/2014/main" id="{20068380-C9DB-788F-B759-56FEAF048FD7}"/>
                </a:ext>
              </a:extLst>
            </p:cNvPr>
            <p:cNvSpPr txBox="1"/>
            <p:nvPr/>
          </p:nvSpPr>
          <p:spPr bwMode="gray">
            <a:xfrm>
              <a:off x="6375286" y="4636020"/>
              <a:ext cx="1240030" cy="241980"/>
            </a:xfrm>
            <a:prstGeom prst="rect">
              <a:avLst/>
            </a:prstGeom>
            <a:noFill/>
          </p:spPr>
          <p:txBody>
            <a:bodyPr wrap="square" lIns="36000" tIns="36000" rIns="36000" bIns="36000" rtlCol="0">
              <a:spAutoFit/>
            </a:bodyPr>
            <a:lstStyle/>
            <a:p>
              <a:pPr marL="0" indent="0">
                <a:buNone/>
              </a:pPr>
              <a:r>
                <a:rPr lang="en-US" sz="1100" dirty="0"/>
                <a:t>Operational</a:t>
              </a:r>
            </a:p>
          </p:txBody>
        </p:sp>
        <p:sp>
          <p:nvSpPr>
            <p:cNvPr id="81" name="TextBox 80">
              <a:extLst>
                <a:ext uri="{FF2B5EF4-FFF2-40B4-BE49-F238E27FC236}">
                  <a16:creationId xmlns:a16="http://schemas.microsoft.com/office/drawing/2014/main" id="{B966ED0A-DA0B-0302-196B-A168449E90BA}"/>
                </a:ext>
              </a:extLst>
            </p:cNvPr>
            <p:cNvSpPr txBox="1"/>
            <p:nvPr/>
          </p:nvSpPr>
          <p:spPr bwMode="gray">
            <a:xfrm>
              <a:off x="5136845" y="4636020"/>
              <a:ext cx="763349" cy="241980"/>
            </a:xfrm>
            <a:prstGeom prst="rect">
              <a:avLst/>
            </a:prstGeom>
            <a:noFill/>
          </p:spPr>
          <p:txBody>
            <a:bodyPr wrap="square" lIns="36000" tIns="36000" rIns="36000" bIns="36000" rtlCol="0">
              <a:spAutoFit/>
            </a:bodyPr>
            <a:lstStyle/>
            <a:p>
              <a:pPr marL="0" indent="0">
                <a:buNone/>
              </a:pPr>
              <a:r>
                <a:rPr lang="en-US" sz="1100" dirty="0"/>
                <a:t>2025</a:t>
              </a:r>
            </a:p>
          </p:txBody>
        </p:sp>
        <p:sp>
          <p:nvSpPr>
            <p:cNvPr id="82" name="TextBox 81">
              <a:extLst>
                <a:ext uri="{FF2B5EF4-FFF2-40B4-BE49-F238E27FC236}">
                  <a16:creationId xmlns:a16="http://schemas.microsoft.com/office/drawing/2014/main" id="{E46B50BA-AB83-AEA5-C8CB-DDE6F13BDD5A}"/>
                </a:ext>
              </a:extLst>
            </p:cNvPr>
            <p:cNvSpPr txBox="1"/>
            <p:nvPr/>
          </p:nvSpPr>
          <p:spPr bwMode="gray">
            <a:xfrm>
              <a:off x="4134499" y="4631945"/>
              <a:ext cx="276285"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3-5</a:t>
              </a:r>
            </a:p>
          </p:txBody>
        </p:sp>
      </p:grpSp>
      <p:grpSp>
        <p:nvGrpSpPr>
          <p:cNvPr id="83" name="Group 82">
            <a:extLst>
              <a:ext uri="{FF2B5EF4-FFF2-40B4-BE49-F238E27FC236}">
                <a16:creationId xmlns:a16="http://schemas.microsoft.com/office/drawing/2014/main" id="{FF56A634-3A8A-A528-301A-BCD88B227889}"/>
              </a:ext>
            </a:extLst>
          </p:cNvPr>
          <p:cNvGrpSpPr/>
          <p:nvPr/>
        </p:nvGrpSpPr>
        <p:grpSpPr>
          <a:xfrm>
            <a:off x="409230" y="6005133"/>
            <a:ext cx="7206085" cy="256753"/>
            <a:chOff x="409231" y="4913367"/>
            <a:chExt cx="7206085" cy="256753"/>
          </a:xfrm>
        </p:grpSpPr>
        <p:sp>
          <p:nvSpPr>
            <p:cNvPr id="84" name="TextBox 83">
              <a:extLst>
                <a:ext uri="{FF2B5EF4-FFF2-40B4-BE49-F238E27FC236}">
                  <a16:creationId xmlns:a16="http://schemas.microsoft.com/office/drawing/2014/main" id="{8906B3D5-8C33-E065-20FF-E98AFF60F78B}"/>
                </a:ext>
              </a:extLst>
            </p:cNvPr>
            <p:cNvSpPr txBox="1"/>
            <p:nvPr/>
          </p:nvSpPr>
          <p:spPr bwMode="gray">
            <a:xfrm>
              <a:off x="409231" y="4920856"/>
              <a:ext cx="1594246" cy="241980"/>
            </a:xfrm>
            <a:prstGeom prst="rect">
              <a:avLst/>
            </a:prstGeom>
            <a:noFill/>
          </p:spPr>
          <p:txBody>
            <a:bodyPr wrap="square" lIns="36000" tIns="36000" rIns="36000" bIns="36000" rtlCol="0">
              <a:spAutoFit/>
            </a:bodyPr>
            <a:lstStyle/>
            <a:p>
              <a:pPr marL="0" indent="0">
                <a:buNone/>
              </a:pPr>
              <a:r>
                <a:rPr lang="en-US" sz="1100" dirty="0"/>
                <a:t>Soultz-sous-Forets</a:t>
              </a:r>
            </a:p>
          </p:txBody>
        </p:sp>
        <p:sp>
          <p:nvSpPr>
            <p:cNvPr id="85" name="TextBox 84">
              <a:extLst>
                <a:ext uri="{FF2B5EF4-FFF2-40B4-BE49-F238E27FC236}">
                  <a16:creationId xmlns:a16="http://schemas.microsoft.com/office/drawing/2014/main" id="{C5E14ECF-FE95-70FF-9C12-61868BB8BF5C}"/>
                </a:ext>
              </a:extLst>
            </p:cNvPr>
            <p:cNvSpPr txBox="1"/>
            <p:nvPr/>
          </p:nvSpPr>
          <p:spPr bwMode="gray">
            <a:xfrm>
              <a:off x="2478571" y="4920856"/>
              <a:ext cx="1013666" cy="241980"/>
            </a:xfrm>
            <a:prstGeom prst="rect">
              <a:avLst/>
            </a:prstGeom>
            <a:noFill/>
          </p:spPr>
          <p:txBody>
            <a:bodyPr wrap="none" lIns="36000" tIns="36000" rIns="36000" bIns="36000" rtlCol="0">
              <a:spAutoFit/>
            </a:bodyPr>
            <a:lstStyle/>
            <a:p>
              <a:pPr marL="0" indent="0">
                <a:buNone/>
              </a:pPr>
              <a:r>
                <a:rPr lang="en-US" sz="1100" dirty="0"/>
                <a:t>Alsace, France</a:t>
              </a:r>
            </a:p>
          </p:txBody>
        </p:sp>
        <p:sp>
          <p:nvSpPr>
            <p:cNvPr id="86" name="Oval 85">
              <a:extLst>
                <a:ext uri="{FF2B5EF4-FFF2-40B4-BE49-F238E27FC236}">
                  <a16:creationId xmlns:a16="http://schemas.microsoft.com/office/drawing/2014/main" id="{47474D42-9B95-FA2D-F990-712BB109BAB1}"/>
                </a:ext>
              </a:extLst>
            </p:cNvPr>
            <p:cNvSpPr/>
            <p:nvPr/>
          </p:nvSpPr>
          <p:spPr bwMode="gray">
            <a:xfrm>
              <a:off x="3898402" y="4913572"/>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87" name="TextBox 86">
              <a:extLst>
                <a:ext uri="{FF2B5EF4-FFF2-40B4-BE49-F238E27FC236}">
                  <a16:creationId xmlns:a16="http://schemas.microsoft.com/office/drawing/2014/main" id="{DC9DBE32-4A52-5F82-E438-AA5F8BEE6875}"/>
                </a:ext>
              </a:extLst>
            </p:cNvPr>
            <p:cNvSpPr txBox="1"/>
            <p:nvPr/>
          </p:nvSpPr>
          <p:spPr bwMode="gray">
            <a:xfrm>
              <a:off x="6375286" y="4920856"/>
              <a:ext cx="1240030" cy="241980"/>
            </a:xfrm>
            <a:prstGeom prst="rect">
              <a:avLst/>
            </a:prstGeom>
            <a:noFill/>
          </p:spPr>
          <p:txBody>
            <a:bodyPr wrap="square" lIns="36000" tIns="36000" rIns="36000" bIns="36000" rtlCol="0">
              <a:spAutoFit/>
            </a:bodyPr>
            <a:lstStyle/>
            <a:p>
              <a:pPr marL="0" indent="0">
                <a:buNone/>
              </a:pPr>
              <a:r>
                <a:rPr lang="en-US" sz="1100" dirty="0"/>
                <a:t>Operational</a:t>
              </a:r>
            </a:p>
          </p:txBody>
        </p:sp>
        <p:sp>
          <p:nvSpPr>
            <p:cNvPr id="88" name="TextBox 87">
              <a:extLst>
                <a:ext uri="{FF2B5EF4-FFF2-40B4-BE49-F238E27FC236}">
                  <a16:creationId xmlns:a16="http://schemas.microsoft.com/office/drawing/2014/main" id="{9CC9CEE0-7055-9984-A297-90989BADA277}"/>
                </a:ext>
              </a:extLst>
            </p:cNvPr>
            <p:cNvSpPr txBox="1"/>
            <p:nvPr/>
          </p:nvSpPr>
          <p:spPr bwMode="gray">
            <a:xfrm>
              <a:off x="5136845" y="4920856"/>
              <a:ext cx="959155" cy="241980"/>
            </a:xfrm>
            <a:prstGeom prst="rect">
              <a:avLst/>
            </a:prstGeom>
            <a:noFill/>
          </p:spPr>
          <p:txBody>
            <a:bodyPr wrap="square" lIns="36000" tIns="36000" rIns="36000" bIns="36000" rtlCol="0">
              <a:spAutoFit/>
            </a:bodyPr>
            <a:lstStyle/>
            <a:p>
              <a:pPr marL="0" indent="0">
                <a:buNone/>
              </a:pPr>
              <a:r>
                <a:rPr lang="en-US" sz="1100" dirty="0"/>
                <a:t>2010-present</a:t>
              </a:r>
            </a:p>
          </p:txBody>
        </p:sp>
        <p:sp>
          <p:nvSpPr>
            <p:cNvPr id="89" name="TextBox 88">
              <a:extLst>
                <a:ext uri="{FF2B5EF4-FFF2-40B4-BE49-F238E27FC236}">
                  <a16:creationId xmlns:a16="http://schemas.microsoft.com/office/drawing/2014/main" id="{8389EA4B-D501-B131-D182-7779B764E922}"/>
                </a:ext>
              </a:extLst>
            </p:cNvPr>
            <p:cNvSpPr txBox="1"/>
            <p:nvPr/>
          </p:nvSpPr>
          <p:spPr bwMode="gray">
            <a:xfrm>
              <a:off x="4115742" y="4913367"/>
              <a:ext cx="268269"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1.7</a:t>
              </a:r>
            </a:p>
          </p:txBody>
        </p:sp>
      </p:grpSp>
      <p:grpSp>
        <p:nvGrpSpPr>
          <p:cNvPr id="90" name="Group 89">
            <a:extLst>
              <a:ext uri="{FF2B5EF4-FFF2-40B4-BE49-F238E27FC236}">
                <a16:creationId xmlns:a16="http://schemas.microsoft.com/office/drawing/2014/main" id="{78096990-5268-975A-90C0-CEB23D7BBA65}"/>
              </a:ext>
            </a:extLst>
          </p:cNvPr>
          <p:cNvGrpSpPr/>
          <p:nvPr/>
        </p:nvGrpSpPr>
        <p:grpSpPr>
          <a:xfrm>
            <a:off x="342474" y="1431312"/>
            <a:ext cx="2316845" cy="195814"/>
            <a:chOff x="249370" y="1257468"/>
            <a:chExt cx="2316845" cy="195814"/>
          </a:xfrm>
        </p:grpSpPr>
        <p:sp>
          <p:nvSpPr>
            <p:cNvPr id="91" name="Rectangle 90">
              <a:extLst>
                <a:ext uri="{FF2B5EF4-FFF2-40B4-BE49-F238E27FC236}">
                  <a16:creationId xmlns:a16="http://schemas.microsoft.com/office/drawing/2014/main" id="{1139922B-5880-C83B-073B-83E404DB5FDD}"/>
                </a:ext>
              </a:extLst>
            </p:cNvPr>
            <p:cNvSpPr/>
            <p:nvPr/>
          </p:nvSpPr>
          <p:spPr bwMode="gray">
            <a:xfrm>
              <a:off x="249370" y="1289393"/>
              <a:ext cx="117784" cy="131964"/>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TextBox 91">
              <a:extLst>
                <a:ext uri="{FF2B5EF4-FFF2-40B4-BE49-F238E27FC236}">
                  <a16:creationId xmlns:a16="http://schemas.microsoft.com/office/drawing/2014/main" id="{F1B66664-A420-2EB0-C9BE-B67670E7025D}"/>
                </a:ext>
              </a:extLst>
            </p:cNvPr>
            <p:cNvSpPr txBox="1"/>
            <p:nvPr/>
          </p:nvSpPr>
          <p:spPr bwMode="gray">
            <a:xfrm>
              <a:off x="374997" y="1257468"/>
              <a:ext cx="406108" cy="195814"/>
            </a:xfrm>
            <a:prstGeom prst="rect">
              <a:avLst/>
            </a:prstGeom>
            <a:noFill/>
          </p:spPr>
          <p:txBody>
            <a:bodyPr wrap="square" lIns="36000" tIns="36000" rIns="36000" bIns="36000" rtlCol="0">
              <a:spAutoFit/>
            </a:bodyPr>
            <a:lstStyle/>
            <a:p>
              <a:pPr marL="0" indent="0">
                <a:buNone/>
              </a:pPr>
              <a:r>
                <a:rPr lang="en-US" sz="800" dirty="0"/>
                <a:t>EGS</a:t>
              </a:r>
            </a:p>
          </p:txBody>
        </p:sp>
        <p:sp>
          <p:nvSpPr>
            <p:cNvPr id="93" name="Rectangle 92">
              <a:extLst>
                <a:ext uri="{FF2B5EF4-FFF2-40B4-BE49-F238E27FC236}">
                  <a16:creationId xmlns:a16="http://schemas.microsoft.com/office/drawing/2014/main" id="{1AB81FCE-7C98-F22D-4759-FE4840608484}"/>
                </a:ext>
              </a:extLst>
            </p:cNvPr>
            <p:cNvSpPr/>
            <p:nvPr/>
          </p:nvSpPr>
          <p:spPr bwMode="gray">
            <a:xfrm>
              <a:off x="1725079" y="1289393"/>
              <a:ext cx="117784" cy="131964"/>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4" name="TextBox 93">
              <a:extLst>
                <a:ext uri="{FF2B5EF4-FFF2-40B4-BE49-F238E27FC236}">
                  <a16:creationId xmlns:a16="http://schemas.microsoft.com/office/drawing/2014/main" id="{FD046BE9-167F-B8FC-1ECF-772FCCB82E44}"/>
                </a:ext>
              </a:extLst>
            </p:cNvPr>
            <p:cNvSpPr txBox="1"/>
            <p:nvPr/>
          </p:nvSpPr>
          <p:spPr bwMode="gray">
            <a:xfrm>
              <a:off x="1850707" y="1257468"/>
              <a:ext cx="715508" cy="195814"/>
            </a:xfrm>
            <a:prstGeom prst="rect">
              <a:avLst/>
            </a:prstGeom>
            <a:noFill/>
          </p:spPr>
          <p:txBody>
            <a:bodyPr wrap="none" lIns="36000" tIns="36000" rIns="36000" bIns="36000" rtlCol="0">
              <a:spAutoFit/>
            </a:bodyPr>
            <a:lstStyle/>
            <a:p>
              <a:pPr marL="0" indent="0">
                <a:buNone/>
              </a:pPr>
              <a:r>
                <a:rPr lang="en-US" sz="800" dirty="0"/>
                <a:t>Superhot rock</a:t>
              </a:r>
            </a:p>
          </p:txBody>
        </p:sp>
        <p:sp>
          <p:nvSpPr>
            <p:cNvPr id="95" name="Rectangle 94">
              <a:extLst>
                <a:ext uri="{FF2B5EF4-FFF2-40B4-BE49-F238E27FC236}">
                  <a16:creationId xmlns:a16="http://schemas.microsoft.com/office/drawing/2014/main" id="{1632D9C8-AA53-5F95-4393-27DF6A68C26F}"/>
                </a:ext>
              </a:extLst>
            </p:cNvPr>
            <p:cNvSpPr/>
            <p:nvPr/>
          </p:nvSpPr>
          <p:spPr bwMode="gray">
            <a:xfrm>
              <a:off x="722213" y="1289393"/>
              <a:ext cx="117784" cy="131964"/>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TextBox 95">
              <a:extLst>
                <a:ext uri="{FF2B5EF4-FFF2-40B4-BE49-F238E27FC236}">
                  <a16:creationId xmlns:a16="http://schemas.microsoft.com/office/drawing/2014/main" id="{A82B41A3-F9B2-075E-42CF-E2A84D6CEE91}"/>
                </a:ext>
              </a:extLst>
            </p:cNvPr>
            <p:cNvSpPr txBox="1"/>
            <p:nvPr/>
          </p:nvSpPr>
          <p:spPr bwMode="gray">
            <a:xfrm>
              <a:off x="847840" y="1257468"/>
              <a:ext cx="846954" cy="195814"/>
            </a:xfrm>
            <a:prstGeom prst="rect">
              <a:avLst/>
            </a:prstGeom>
            <a:noFill/>
          </p:spPr>
          <p:txBody>
            <a:bodyPr wrap="none" lIns="36000" tIns="36000" rIns="36000" bIns="36000" rtlCol="0">
              <a:spAutoFit/>
            </a:bodyPr>
            <a:lstStyle/>
            <a:p>
              <a:pPr marL="0" indent="0">
                <a:buNone/>
              </a:pPr>
              <a:r>
                <a:rPr lang="en-US" sz="800" dirty="0"/>
                <a:t>AGS/closed-loop</a:t>
              </a:r>
            </a:p>
          </p:txBody>
        </p:sp>
      </p:grpSp>
      <p:sp>
        <p:nvSpPr>
          <p:cNvPr id="97" name="Rectangle 96">
            <a:extLst>
              <a:ext uri="{FF2B5EF4-FFF2-40B4-BE49-F238E27FC236}">
                <a16:creationId xmlns:a16="http://schemas.microsoft.com/office/drawing/2014/main" id="{808B0141-389C-A2BD-BBB6-C136AD5C32C4}"/>
              </a:ext>
            </a:extLst>
          </p:cNvPr>
          <p:cNvSpPr/>
          <p:nvPr/>
        </p:nvSpPr>
        <p:spPr bwMode="gray">
          <a:xfrm>
            <a:off x="330200" y="1939014"/>
            <a:ext cx="45719" cy="516503"/>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8" name="Rectangle 97">
            <a:extLst>
              <a:ext uri="{FF2B5EF4-FFF2-40B4-BE49-F238E27FC236}">
                <a16:creationId xmlns:a16="http://schemas.microsoft.com/office/drawing/2014/main" id="{90890643-A987-BB55-0BF8-1C5E4651709E}"/>
              </a:ext>
            </a:extLst>
          </p:cNvPr>
          <p:cNvSpPr/>
          <p:nvPr/>
        </p:nvSpPr>
        <p:spPr bwMode="gray">
          <a:xfrm>
            <a:off x="330200" y="3059431"/>
            <a:ext cx="45719" cy="521208"/>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Rectangle 98">
            <a:extLst>
              <a:ext uri="{FF2B5EF4-FFF2-40B4-BE49-F238E27FC236}">
                <a16:creationId xmlns:a16="http://schemas.microsoft.com/office/drawing/2014/main" id="{B192A9FA-4AE4-0F02-CEEA-48784D8F8B5B}"/>
              </a:ext>
            </a:extLst>
          </p:cNvPr>
          <p:cNvSpPr/>
          <p:nvPr/>
        </p:nvSpPr>
        <p:spPr bwMode="gray">
          <a:xfrm>
            <a:off x="330200" y="2496870"/>
            <a:ext cx="45719" cy="521208"/>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0" name="Rectangle 99">
            <a:extLst>
              <a:ext uri="{FF2B5EF4-FFF2-40B4-BE49-F238E27FC236}">
                <a16:creationId xmlns:a16="http://schemas.microsoft.com/office/drawing/2014/main" id="{1CFBA1B7-3235-7A55-E457-629B2D0B1CF5}"/>
              </a:ext>
            </a:extLst>
          </p:cNvPr>
          <p:cNvSpPr/>
          <p:nvPr/>
        </p:nvSpPr>
        <p:spPr bwMode="gray">
          <a:xfrm>
            <a:off x="330200" y="4747114"/>
            <a:ext cx="45719" cy="521208"/>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1" name="Rectangle 100">
            <a:extLst>
              <a:ext uri="{FF2B5EF4-FFF2-40B4-BE49-F238E27FC236}">
                <a16:creationId xmlns:a16="http://schemas.microsoft.com/office/drawing/2014/main" id="{A1B165B9-3F8D-72E9-F0F0-E40E4208FA25}"/>
              </a:ext>
            </a:extLst>
          </p:cNvPr>
          <p:cNvSpPr/>
          <p:nvPr/>
        </p:nvSpPr>
        <p:spPr bwMode="gray">
          <a:xfrm>
            <a:off x="330200" y="5338409"/>
            <a:ext cx="45719" cy="937439"/>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02" name="Group 101">
            <a:extLst>
              <a:ext uri="{FF2B5EF4-FFF2-40B4-BE49-F238E27FC236}">
                <a16:creationId xmlns:a16="http://schemas.microsoft.com/office/drawing/2014/main" id="{A3A465F1-B2F2-A571-F668-C6F9E25599D1}"/>
              </a:ext>
            </a:extLst>
          </p:cNvPr>
          <p:cNvGrpSpPr/>
          <p:nvPr/>
        </p:nvGrpSpPr>
        <p:grpSpPr>
          <a:xfrm>
            <a:off x="2737112" y="1431312"/>
            <a:ext cx="767398" cy="195814"/>
            <a:chOff x="10997954" y="1228659"/>
            <a:chExt cx="767398" cy="195814"/>
          </a:xfrm>
        </p:grpSpPr>
        <p:sp>
          <p:nvSpPr>
            <p:cNvPr id="103" name="Rectangle 102">
              <a:extLst>
                <a:ext uri="{FF2B5EF4-FFF2-40B4-BE49-F238E27FC236}">
                  <a16:creationId xmlns:a16="http://schemas.microsoft.com/office/drawing/2014/main" id="{8734D818-41E6-994F-9370-5AB5B34D5A44}"/>
                </a:ext>
              </a:extLst>
            </p:cNvPr>
            <p:cNvSpPr/>
            <p:nvPr/>
          </p:nvSpPr>
          <p:spPr bwMode="gray">
            <a:xfrm>
              <a:off x="10997954" y="1260584"/>
              <a:ext cx="117784" cy="131964"/>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TextBox 103">
              <a:extLst>
                <a:ext uri="{FF2B5EF4-FFF2-40B4-BE49-F238E27FC236}">
                  <a16:creationId xmlns:a16="http://schemas.microsoft.com/office/drawing/2014/main" id="{BE98B06D-3AE3-15E4-243A-F7D544ACD87B}"/>
                </a:ext>
              </a:extLst>
            </p:cNvPr>
            <p:cNvSpPr txBox="1"/>
            <p:nvPr/>
          </p:nvSpPr>
          <p:spPr bwMode="gray">
            <a:xfrm>
              <a:off x="11123582" y="1228659"/>
              <a:ext cx="641770" cy="195814"/>
            </a:xfrm>
            <a:prstGeom prst="rect">
              <a:avLst/>
            </a:prstGeom>
            <a:noFill/>
          </p:spPr>
          <p:txBody>
            <a:bodyPr wrap="none" lIns="36000" tIns="36000" rIns="36000" bIns="36000" rtlCol="0">
              <a:spAutoFit/>
            </a:bodyPr>
            <a:lstStyle/>
            <a:p>
              <a:pPr marL="0" indent="0">
                <a:buNone/>
              </a:pPr>
              <a:r>
                <a:rPr lang="en-US" sz="800" dirty="0"/>
                <a:t>DOE funded</a:t>
              </a:r>
            </a:p>
          </p:txBody>
        </p:sp>
      </p:grpSp>
      <p:sp>
        <p:nvSpPr>
          <p:cNvPr id="105" name="Rectangle 104">
            <a:extLst>
              <a:ext uri="{FF2B5EF4-FFF2-40B4-BE49-F238E27FC236}">
                <a16:creationId xmlns:a16="http://schemas.microsoft.com/office/drawing/2014/main" id="{1BA19F4D-622A-6CBE-6496-825A6983D6C7}"/>
              </a:ext>
            </a:extLst>
          </p:cNvPr>
          <p:cNvSpPr/>
          <p:nvPr/>
        </p:nvSpPr>
        <p:spPr bwMode="gray">
          <a:xfrm>
            <a:off x="396890" y="4150675"/>
            <a:ext cx="7025706" cy="555064"/>
          </a:xfrm>
          <a:prstGeom prst="rect">
            <a:avLst/>
          </a:prstGeom>
          <a:solidFill>
            <a:srgbClr val="F5BBD9">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Rectangle 105">
            <a:extLst>
              <a:ext uri="{FF2B5EF4-FFF2-40B4-BE49-F238E27FC236}">
                <a16:creationId xmlns:a16="http://schemas.microsoft.com/office/drawing/2014/main" id="{956B8431-BC71-9089-C696-BBD31531A2CD}"/>
              </a:ext>
            </a:extLst>
          </p:cNvPr>
          <p:cNvSpPr/>
          <p:nvPr/>
        </p:nvSpPr>
        <p:spPr bwMode="gray">
          <a:xfrm>
            <a:off x="330200" y="4184553"/>
            <a:ext cx="45719" cy="521208"/>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7" name="Straight Connector 106">
            <a:extLst>
              <a:ext uri="{FF2B5EF4-FFF2-40B4-BE49-F238E27FC236}">
                <a16:creationId xmlns:a16="http://schemas.microsoft.com/office/drawing/2014/main" id="{0BD8D774-F51B-6848-32CB-66767C5F3689}"/>
              </a:ext>
            </a:extLst>
          </p:cNvPr>
          <p:cNvCxnSpPr>
            <a:cxnSpLocks/>
          </p:cNvCxnSpPr>
          <p:nvPr/>
        </p:nvCxnSpPr>
        <p:spPr bwMode="gray">
          <a:xfrm>
            <a:off x="409230" y="4143200"/>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CE281FD9-D4F3-0191-D3B5-1FB5ACEC4A4D}"/>
              </a:ext>
            </a:extLst>
          </p:cNvPr>
          <p:cNvGrpSpPr/>
          <p:nvPr/>
        </p:nvGrpSpPr>
        <p:grpSpPr>
          <a:xfrm>
            <a:off x="396892" y="4233723"/>
            <a:ext cx="7206085" cy="411257"/>
            <a:chOff x="409231" y="3664414"/>
            <a:chExt cx="7206085" cy="411257"/>
          </a:xfrm>
        </p:grpSpPr>
        <p:sp>
          <p:nvSpPr>
            <p:cNvPr id="109" name="TextBox 108">
              <a:extLst>
                <a:ext uri="{FF2B5EF4-FFF2-40B4-BE49-F238E27FC236}">
                  <a16:creationId xmlns:a16="http://schemas.microsoft.com/office/drawing/2014/main" id="{CBA9455D-DC20-6ED2-2B96-E0D267533D2B}"/>
                </a:ext>
              </a:extLst>
            </p:cNvPr>
            <p:cNvSpPr txBox="1"/>
            <p:nvPr/>
          </p:nvSpPr>
          <p:spPr bwMode="gray">
            <a:xfrm>
              <a:off x="409231" y="3730104"/>
              <a:ext cx="1594246" cy="241980"/>
            </a:xfrm>
            <a:prstGeom prst="rect">
              <a:avLst/>
            </a:prstGeom>
            <a:noFill/>
          </p:spPr>
          <p:txBody>
            <a:bodyPr wrap="square" lIns="36000" tIns="36000" rIns="36000" bIns="36000" rtlCol="0">
              <a:spAutoFit/>
            </a:bodyPr>
            <a:lstStyle/>
            <a:p>
              <a:pPr marL="0" indent="0">
                <a:buNone/>
              </a:pPr>
              <a:r>
                <a:rPr lang="en-US" sz="1100" dirty="0"/>
                <a:t>Fervo – Cape Station I</a:t>
              </a:r>
            </a:p>
          </p:txBody>
        </p:sp>
        <p:sp>
          <p:nvSpPr>
            <p:cNvPr id="110" name="TextBox 109">
              <a:extLst>
                <a:ext uri="{FF2B5EF4-FFF2-40B4-BE49-F238E27FC236}">
                  <a16:creationId xmlns:a16="http://schemas.microsoft.com/office/drawing/2014/main" id="{D9A801E7-26BE-2560-B846-29257BE812F0}"/>
                </a:ext>
              </a:extLst>
            </p:cNvPr>
            <p:cNvSpPr txBox="1"/>
            <p:nvPr/>
          </p:nvSpPr>
          <p:spPr bwMode="gray">
            <a:xfrm>
              <a:off x="2478571" y="3730104"/>
              <a:ext cx="721920" cy="241980"/>
            </a:xfrm>
            <a:prstGeom prst="rect">
              <a:avLst/>
            </a:prstGeom>
            <a:noFill/>
          </p:spPr>
          <p:txBody>
            <a:bodyPr wrap="none" lIns="36000" tIns="36000" rIns="36000" bIns="36000" rtlCol="0">
              <a:spAutoFit/>
            </a:bodyPr>
            <a:lstStyle/>
            <a:p>
              <a:pPr marL="0" indent="0">
                <a:buNone/>
              </a:pPr>
              <a:r>
                <a:rPr lang="en-US" sz="1100" dirty="0"/>
                <a:t>Utah, U.S.</a:t>
              </a:r>
            </a:p>
          </p:txBody>
        </p:sp>
        <p:sp>
          <p:nvSpPr>
            <p:cNvPr id="111" name="Oval 110">
              <a:extLst>
                <a:ext uri="{FF2B5EF4-FFF2-40B4-BE49-F238E27FC236}">
                  <a16:creationId xmlns:a16="http://schemas.microsoft.com/office/drawing/2014/main" id="{7C5A52E8-37C6-0D82-95C9-CF0AA59F5718}"/>
                </a:ext>
              </a:extLst>
            </p:cNvPr>
            <p:cNvSpPr/>
            <p:nvPr/>
          </p:nvSpPr>
          <p:spPr bwMode="gray">
            <a:xfrm>
              <a:off x="3898402" y="3722820"/>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112" name="TextBox 111">
              <a:extLst>
                <a:ext uri="{FF2B5EF4-FFF2-40B4-BE49-F238E27FC236}">
                  <a16:creationId xmlns:a16="http://schemas.microsoft.com/office/drawing/2014/main" id="{E9EA9410-53A8-AEE9-60EE-3CB909F3DA40}"/>
                </a:ext>
              </a:extLst>
            </p:cNvPr>
            <p:cNvSpPr txBox="1"/>
            <p:nvPr/>
          </p:nvSpPr>
          <p:spPr bwMode="gray">
            <a:xfrm>
              <a:off x="6375286" y="3664414"/>
              <a:ext cx="1240030" cy="411257"/>
            </a:xfrm>
            <a:prstGeom prst="rect">
              <a:avLst/>
            </a:prstGeom>
            <a:noFill/>
          </p:spPr>
          <p:txBody>
            <a:bodyPr wrap="square" lIns="36000" tIns="36000" rIns="36000" bIns="36000" rtlCol="0">
              <a:spAutoFit/>
            </a:bodyPr>
            <a:lstStyle/>
            <a:p>
              <a:pPr marL="0" indent="0">
                <a:buNone/>
              </a:pPr>
              <a:r>
                <a:rPr lang="en-US" sz="1100" dirty="0"/>
                <a:t>Ongoing </a:t>
              </a:r>
              <a:br>
                <a:rPr lang="en-US" sz="1100" dirty="0"/>
              </a:br>
              <a:r>
                <a:rPr lang="en-US" sz="1100" dirty="0"/>
                <a:t>construction</a:t>
              </a:r>
            </a:p>
          </p:txBody>
        </p:sp>
        <p:sp>
          <p:nvSpPr>
            <p:cNvPr id="113" name="TextBox 112">
              <a:extLst>
                <a:ext uri="{FF2B5EF4-FFF2-40B4-BE49-F238E27FC236}">
                  <a16:creationId xmlns:a16="http://schemas.microsoft.com/office/drawing/2014/main" id="{FB498663-361E-9AEE-C7D1-AF1945B8761B}"/>
                </a:ext>
              </a:extLst>
            </p:cNvPr>
            <p:cNvSpPr txBox="1"/>
            <p:nvPr/>
          </p:nvSpPr>
          <p:spPr bwMode="gray">
            <a:xfrm>
              <a:off x="5136845" y="3730104"/>
              <a:ext cx="763349" cy="241980"/>
            </a:xfrm>
            <a:prstGeom prst="rect">
              <a:avLst/>
            </a:prstGeom>
            <a:noFill/>
          </p:spPr>
          <p:txBody>
            <a:bodyPr wrap="square" lIns="36000" tIns="36000" rIns="36000" bIns="36000" rtlCol="0">
              <a:spAutoFit/>
            </a:bodyPr>
            <a:lstStyle/>
            <a:p>
              <a:pPr marL="0" indent="0">
                <a:buNone/>
              </a:pPr>
              <a:r>
                <a:rPr lang="en-US" sz="1100" dirty="0"/>
                <a:t>2026</a:t>
              </a:r>
            </a:p>
          </p:txBody>
        </p:sp>
        <p:sp>
          <p:nvSpPr>
            <p:cNvPr id="114" name="TextBox 113">
              <a:extLst>
                <a:ext uri="{FF2B5EF4-FFF2-40B4-BE49-F238E27FC236}">
                  <a16:creationId xmlns:a16="http://schemas.microsoft.com/office/drawing/2014/main" id="{042920E3-9F5D-7E42-F14B-97D8E26EAAF7}"/>
                </a:ext>
              </a:extLst>
            </p:cNvPr>
            <p:cNvSpPr txBox="1"/>
            <p:nvPr/>
          </p:nvSpPr>
          <p:spPr bwMode="gray">
            <a:xfrm>
              <a:off x="4115742" y="3722615"/>
              <a:ext cx="308345"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100</a:t>
              </a:r>
            </a:p>
          </p:txBody>
        </p:sp>
      </p:grpSp>
      <p:grpSp>
        <p:nvGrpSpPr>
          <p:cNvPr id="115" name="Group 114">
            <a:extLst>
              <a:ext uri="{FF2B5EF4-FFF2-40B4-BE49-F238E27FC236}">
                <a16:creationId xmlns:a16="http://schemas.microsoft.com/office/drawing/2014/main" id="{61E979E9-3005-5D75-A98C-24EEC063FB80}"/>
              </a:ext>
            </a:extLst>
          </p:cNvPr>
          <p:cNvGrpSpPr/>
          <p:nvPr/>
        </p:nvGrpSpPr>
        <p:grpSpPr>
          <a:xfrm>
            <a:off x="409231" y="3630840"/>
            <a:ext cx="7206085" cy="314954"/>
            <a:chOff x="409231" y="3664414"/>
            <a:chExt cx="7206085" cy="314954"/>
          </a:xfrm>
        </p:grpSpPr>
        <p:sp>
          <p:nvSpPr>
            <p:cNvPr id="116" name="TextBox 115">
              <a:extLst>
                <a:ext uri="{FF2B5EF4-FFF2-40B4-BE49-F238E27FC236}">
                  <a16:creationId xmlns:a16="http://schemas.microsoft.com/office/drawing/2014/main" id="{ECDDD54A-90F4-86E6-D318-CF865F6DA56A}"/>
                </a:ext>
              </a:extLst>
            </p:cNvPr>
            <p:cNvSpPr txBox="1"/>
            <p:nvPr/>
          </p:nvSpPr>
          <p:spPr bwMode="gray">
            <a:xfrm>
              <a:off x="409231" y="3730104"/>
              <a:ext cx="1594246" cy="241980"/>
            </a:xfrm>
            <a:prstGeom prst="rect">
              <a:avLst/>
            </a:prstGeom>
            <a:noFill/>
          </p:spPr>
          <p:txBody>
            <a:bodyPr wrap="square" lIns="36000" tIns="36000" rIns="36000" bIns="36000" rtlCol="0">
              <a:spAutoFit/>
            </a:bodyPr>
            <a:lstStyle/>
            <a:p>
              <a:pPr marL="0" indent="0">
                <a:buNone/>
              </a:pPr>
              <a:r>
                <a:rPr lang="en-US" sz="1100" dirty="0"/>
                <a:t>Fervo – Cape Station II</a:t>
              </a:r>
            </a:p>
          </p:txBody>
        </p:sp>
        <p:sp>
          <p:nvSpPr>
            <p:cNvPr id="117" name="TextBox 116">
              <a:extLst>
                <a:ext uri="{FF2B5EF4-FFF2-40B4-BE49-F238E27FC236}">
                  <a16:creationId xmlns:a16="http://schemas.microsoft.com/office/drawing/2014/main" id="{8E4636C0-9205-9500-1393-61E0CF58C08A}"/>
                </a:ext>
              </a:extLst>
            </p:cNvPr>
            <p:cNvSpPr txBox="1"/>
            <p:nvPr/>
          </p:nvSpPr>
          <p:spPr bwMode="gray">
            <a:xfrm>
              <a:off x="2478571" y="3730104"/>
              <a:ext cx="721920" cy="241980"/>
            </a:xfrm>
            <a:prstGeom prst="rect">
              <a:avLst/>
            </a:prstGeom>
            <a:noFill/>
          </p:spPr>
          <p:txBody>
            <a:bodyPr wrap="none" lIns="36000" tIns="36000" rIns="36000" bIns="36000" rtlCol="0">
              <a:spAutoFit/>
            </a:bodyPr>
            <a:lstStyle/>
            <a:p>
              <a:pPr marL="0" indent="0">
                <a:buNone/>
              </a:pPr>
              <a:r>
                <a:rPr lang="en-US" sz="1100" dirty="0"/>
                <a:t>Utah, U.S.</a:t>
              </a:r>
            </a:p>
          </p:txBody>
        </p:sp>
        <p:sp>
          <p:nvSpPr>
            <p:cNvPr id="118" name="Oval 117">
              <a:extLst>
                <a:ext uri="{FF2B5EF4-FFF2-40B4-BE49-F238E27FC236}">
                  <a16:creationId xmlns:a16="http://schemas.microsoft.com/office/drawing/2014/main" id="{77EBCB98-1976-43CC-258A-E56852EC55C2}"/>
                </a:ext>
              </a:extLst>
            </p:cNvPr>
            <p:cNvSpPr/>
            <p:nvPr/>
          </p:nvSpPr>
          <p:spPr bwMode="gray">
            <a:xfrm>
              <a:off x="3898402" y="3722820"/>
              <a:ext cx="763349" cy="25654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dirty="0">
                <a:solidFill>
                  <a:schemeClr val="bg1"/>
                </a:solidFill>
              </a:endParaRPr>
            </a:p>
          </p:txBody>
        </p:sp>
        <p:sp>
          <p:nvSpPr>
            <p:cNvPr id="119" name="TextBox 118">
              <a:extLst>
                <a:ext uri="{FF2B5EF4-FFF2-40B4-BE49-F238E27FC236}">
                  <a16:creationId xmlns:a16="http://schemas.microsoft.com/office/drawing/2014/main" id="{871B2F74-3CFB-25CD-2412-B3E783F06CE0}"/>
                </a:ext>
              </a:extLst>
            </p:cNvPr>
            <p:cNvSpPr txBox="1"/>
            <p:nvPr/>
          </p:nvSpPr>
          <p:spPr bwMode="gray">
            <a:xfrm>
              <a:off x="6375286" y="3664414"/>
              <a:ext cx="1240030" cy="241980"/>
            </a:xfrm>
            <a:prstGeom prst="rect">
              <a:avLst/>
            </a:prstGeom>
            <a:noFill/>
          </p:spPr>
          <p:txBody>
            <a:bodyPr wrap="square" lIns="36000" tIns="36000" rIns="36000" bIns="36000" rtlCol="0">
              <a:spAutoFit/>
            </a:bodyPr>
            <a:lstStyle/>
            <a:p>
              <a:pPr marL="0" indent="0">
                <a:buNone/>
              </a:pPr>
              <a:r>
                <a:rPr lang="en-US" sz="1100" dirty="0"/>
                <a:t>Planned</a:t>
              </a:r>
            </a:p>
          </p:txBody>
        </p:sp>
        <p:sp>
          <p:nvSpPr>
            <p:cNvPr id="120" name="TextBox 119">
              <a:extLst>
                <a:ext uri="{FF2B5EF4-FFF2-40B4-BE49-F238E27FC236}">
                  <a16:creationId xmlns:a16="http://schemas.microsoft.com/office/drawing/2014/main" id="{594C5BAA-3D55-2D5C-DC78-70AD76E0333B}"/>
                </a:ext>
              </a:extLst>
            </p:cNvPr>
            <p:cNvSpPr txBox="1"/>
            <p:nvPr/>
          </p:nvSpPr>
          <p:spPr bwMode="gray">
            <a:xfrm>
              <a:off x="5136845" y="3730104"/>
              <a:ext cx="763349" cy="241980"/>
            </a:xfrm>
            <a:prstGeom prst="rect">
              <a:avLst/>
            </a:prstGeom>
            <a:noFill/>
          </p:spPr>
          <p:txBody>
            <a:bodyPr wrap="square" lIns="36000" tIns="36000" rIns="36000" bIns="36000" rtlCol="0">
              <a:spAutoFit/>
            </a:bodyPr>
            <a:lstStyle/>
            <a:p>
              <a:pPr marL="0" indent="0">
                <a:buNone/>
              </a:pPr>
              <a:r>
                <a:rPr lang="en-US" sz="1100" dirty="0"/>
                <a:t>2028</a:t>
              </a:r>
            </a:p>
          </p:txBody>
        </p:sp>
        <p:sp>
          <p:nvSpPr>
            <p:cNvPr id="121" name="TextBox 120">
              <a:extLst>
                <a:ext uri="{FF2B5EF4-FFF2-40B4-BE49-F238E27FC236}">
                  <a16:creationId xmlns:a16="http://schemas.microsoft.com/office/drawing/2014/main" id="{60DDB2FA-699D-0249-D6F6-1E82CC3BBB2D}"/>
                </a:ext>
              </a:extLst>
            </p:cNvPr>
            <p:cNvSpPr txBox="1"/>
            <p:nvPr/>
          </p:nvSpPr>
          <p:spPr bwMode="gray">
            <a:xfrm>
              <a:off x="4115742" y="3722615"/>
              <a:ext cx="308345" cy="241980"/>
            </a:xfrm>
            <a:prstGeom prst="rect">
              <a:avLst/>
            </a:prstGeom>
            <a:noFill/>
          </p:spPr>
          <p:txBody>
            <a:bodyPr wrap="none" lIns="36000" tIns="36000" rIns="36000" bIns="36000" rtlCol="0">
              <a:spAutoFit/>
            </a:bodyPr>
            <a:lstStyle/>
            <a:p>
              <a:pPr marL="0" indent="0">
                <a:buNone/>
              </a:pPr>
              <a:r>
                <a:rPr lang="en-US" sz="1100" dirty="0">
                  <a:solidFill>
                    <a:schemeClr val="bg1"/>
                  </a:solidFill>
                </a:rPr>
                <a:t>400</a:t>
              </a:r>
            </a:p>
          </p:txBody>
        </p:sp>
      </p:grpSp>
      <p:sp>
        <p:nvSpPr>
          <p:cNvPr id="122" name="Rectangle 121">
            <a:extLst>
              <a:ext uri="{FF2B5EF4-FFF2-40B4-BE49-F238E27FC236}">
                <a16:creationId xmlns:a16="http://schemas.microsoft.com/office/drawing/2014/main" id="{34661532-14E4-80C6-63CB-A69B46E7341A}"/>
              </a:ext>
            </a:extLst>
          </p:cNvPr>
          <p:cNvSpPr/>
          <p:nvPr/>
        </p:nvSpPr>
        <p:spPr bwMode="gray">
          <a:xfrm>
            <a:off x="330200" y="3621992"/>
            <a:ext cx="45719" cy="521208"/>
          </a:xfrm>
          <a:prstGeom prst="rect">
            <a:avLst/>
          </a:prstGeom>
          <a:solidFill>
            <a:schemeClr val="accent2">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3" name="Straight Connector 122">
            <a:extLst>
              <a:ext uri="{FF2B5EF4-FFF2-40B4-BE49-F238E27FC236}">
                <a16:creationId xmlns:a16="http://schemas.microsoft.com/office/drawing/2014/main" id="{F012DD98-3B0B-B201-98E1-BE87DEA0090A}"/>
              </a:ext>
            </a:extLst>
          </p:cNvPr>
          <p:cNvCxnSpPr>
            <a:cxnSpLocks/>
          </p:cNvCxnSpPr>
          <p:nvPr/>
        </p:nvCxnSpPr>
        <p:spPr bwMode="gray">
          <a:xfrm>
            <a:off x="409230" y="3606487"/>
            <a:ext cx="7025705" cy="0"/>
          </a:xfrm>
          <a:prstGeom prst="line">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7347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27EF7-0A1C-4FDF-E531-015B000378B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7E1DBF2-6EEB-61DD-3EC4-39E3A9D95A28}"/>
              </a:ext>
            </a:extLst>
          </p:cNvPr>
          <p:cNvGraphicFramePr>
            <a:graphicFrameLocks/>
          </p:cNvGraphicFramePr>
          <p:nvPr>
            <p:custDataLst>
              <p:tags r:id="rId1"/>
            </p:custDataLst>
            <p:extLst>
              <p:ext uri="{D42A27DB-BD31-4B8C-83A1-F6EECF244321}">
                <p14:modId xmlns:p14="http://schemas.microsoft.com/office/powerpoint/2010/main" val="1001739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10" name="think-cell data - do not delete" hidden="1">
                        <a:extLst>
                          <a:ext uri="{FF2B5EF4-FFF2-40B4-BE49-F238E27FC236}">
                            <a16:creationId xmlns:a16="http://schemas.microsoft.com/office/drawing/2014/main" id="{E849F190-7AB0-75E2-44F4-0CDF40830EA0}"/>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8F65CA0-6CC4-DA41-1306-1967F33A98EA}"/>
              </a:ext>
            </a:extLst>
          </p:cNvPr>
          <p:cNvSpPr>
            <a:spLocks noGrp="1"/>
          </p:cNvSpPr>
          <p:nvPr>
            <p:ph type="title"/>
          </p:nvPr>
        </p:nvSpPr>
        <p:spPr/>
        <p:txBody>
          <a:bodyPr vert="horz" rIns="91440"/>
          <a:lstStyle/>
          <a:p>
            <a:r>
              <a:rPr lang="en-US" dirty="0"/>
              <a:t>Superhot rock is the least mature geothermal technology, with capacity to surpass the limitations of hydrothermal and EGS/AGS</a:t>
            </a:r>
          </a:p>
        </p:txBody>
      </p:sp>
      <p:sp>
        <p:nvSpPr>
          <p:cNvPr id="4" name="Footer Placeholder 3">
            <a:extLst>
              <a:ext uri="{FF2B5EF4-FFF2-40B4-BE49-F238E27FC236}">
                <a16:creationId xmlns:a16="http://schemas.microsoft.com/office/drawing/2014/main" id="{77FF747D-1722-CF56-8E40-444C1C8147CE}"/>
              </a:ext>
            </a:extLst>
          </p:cNvPr>
          <p:cNvSpPr>
            <a:spLocks noGrp="1"/>
          </p:cNvSpPr>
          <p:nvPr>
            <p:ph type="ftr" sz="quarter" idx="3"/>
          </p:nvPr>
        </p:nvSpPr>
        <p:spPr>
          <a:xfrm>
            <a:off x="334962" y="6475057"/>
            <a:ext cx="9147241" cy="216706"/>
          </a:xfrm>
        </p:spPr>
        <p:txBody>
          <a:bodyPr/>
          <a:lstStyle/>
          <a:p>
            <a:r>
              <a:rPr lang="en-US" dirty="0">
                <a:solidFill>
                  <a:srgbClr val="000000"/>
                </a:solidFill>
              </a:rPr>
              <a:t>Sources:</a:t>
            </a:r>
            <a:r>
              <a:rPr lang="en-US" dirty="0"/>
              <a:t> </a:t>
            </a:r>
            <a:r>
              <a:rPr lang="en-US" dirty="0">
                <a:solidFill>
                  <a:srgbClr val="000000"/>
                </a:solidFill>
                <a:hlinkClick r:id="rId22"/>
              </a:rPr>
              <a:t>The Future of Geothermal Energy</a:t>
            </a:r>
            <a:r>
              <a:rPr lang="en-US" dirty="0">
                <a:solidFill>
                  <a:srgbClr val="000000"/>
                </a:solidFill>
              </a:rPr>
              <a:t> (IEA, 2024);</a:t>
            </a:r>
            <a:r>
              <a:rPr lang="en-US" dirty="0">
                <a:solidFill>
                  <a:srgbClr val="000000"/>
                </a:solidFill>
                <a:hlinkClick r:id="rId23"/>
              </a:rPr>
              <a:t> Advanced Geothermal Technologies</a:t>
            </a:r>
            <a:r>
              <a:rPr lang="en-US" dirty="0">
                <a:solidFill>
                  <a:srgbClr val="000000"/>
                </a:solidFill>
              </a:rPr>
              <a:t> (</a:t>
            </a:r>
            <a:r>
              <a:rPr lang="en-US" dirty="0" err="1">
                <a:solidFill>
                  <a:srgbClr val="000000"/>
                </a:solidFill>
              </a:rPr>
              <a:t>ThinkGeo</a:t>
            </a:r>
            <a:r>
              <a:rPr lang="en-US" dirty="0">
                <a:solidFill>
                  <a:srgbClr val="000000"/>
                </a:solidFill>
              </a:rPr>
              <a:t>, n.d.).</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24"/>
              </a:rPr>
              <a:t>Gernot Wagner.</a:t>
            </a:r>
            <a:r>
              <a:rPr lang="en-US" dirty="0">
                <a:solidFill>
                  <a:srgbClr val="000000"/>
                </a:solidFill>
              </a:rPr>
              <a:t> </a:t>
            </a:r>
            <a:r>
              <a:rPr lang="en-US" dirty="0">
                <a:hlinkClick r:id="rId2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8" name="Oval 7">
            <a:extLst>
              <a:ext uri="{FF2B5EF4-FFF2-40B4-BE49-F238E27FC236}">
                <a16:creationId xmlns:a16="http://schemas.microsoft.com/office/drawing/2014/main" id="{D7C780FA-2ACA-6164-E796-A347775393E5}"/>
              </a:ext>
            </a:extLst>
          </p:cNvPr>
          <p:cNvSpPr>
            <a:spLocks noChangeAspect="1"/>
          </p:cNvSpPr>
          <p:nvPr/>
        </p:nvSpPr>
        <p:spPr bwMode="gray">
          <a:xfrm>
            <a:off x="54230" y="558865"/>
            <a:ext cx="274320" cy="274320"/>
          </a:xfrm>
          <a:prstGeom prst="ellipse">
            <a:avLst/>
          </a:prstGeom>
          <a:solidFill>
            <a:srgbClr val="A7E2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Text Placeholder 2">
            <a:extLst>
              <a:ext uri="{FF2B5EF4-FFF2-40B4-BE49-F238E27FC236}">
                <a16:creationId xmlns:a16="http://schemas.microsoft.com/office/drawing/2014/main" id="{6CA85C1E-A9CE-90AB-1FC0-2A7E74E65A1F}"/>
              </a:ext>
            </a:extLst>
          </p:cNvPr>
          <p:cNvSpPr txBox="1">
            <a:spLocks/>
          </p:cNvSpPr>
          <p:nvPr/>
        </p:nvSpPr>
        <p:spPr>
          <a:xfrm>
            <a:off x="54230" y="558865"/>
            <a:ext cx="274320" cy="274320"/>
          </a:xfrm>
          <a:prstGeom prst="rect">
            <a:avLst/>
          </a:prstGeom>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t>C</a:t>
            </a:r>
          </a:p>
        </p:txBody>
      </p:sp>
      <p:sp>
        <p:nvSpPr>
          <p:cNvPr id="2" name="Text Placeholder 1">
            <a:extLst>
              <a:ext uri="{FF2B5EF4-FFF2-40B4-BE49-F238E27FC236}">
                <a16:creationId xmlns:a16="http://schemas.microsoft.com/office/drawing/2014/main" id="{ED399454-1E00-E36F-F889-E5A7DB5D735F}"/>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5" name="Rounded Rectangle 4">
            <a:extLst>
              <a:ext uri="{FF2B5EF4-FFF2-40B4-BE49-F238E27FC236}">
                <a16:creationId xmlns:a16="http://schemas.microsoft.com/office/drawing/2014/main" id="{7531AA2E-9C12-B267-B3A7-737230B73A9A}"/>
              </a:ext>
            </a:extLst>
          </p:cNvPr>
          <p:cNvSpPr/>
          <p:nvPr/>
        </p:nvSpPr>
        <p:spPr bwMode="gray">
          <a:xfrm>
            <a:off x="4080945" y="1359452"/>
            <a:ext cx="1071357" cy="1396507"/>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How does it </a:t>
            </a:r>
            <a:br>
              <a:rPr lang="en-US" sz="1100" b="1" dirty="0">
                <a:solidFill>
                  <a:schemeClr val="tx1"/>
                </a:solidFill>
              </a:rPr>
            </a:br>
            <a:r>
              <a:rPr lang="en-US" sz="1100" b="1" dirty="0">
                <a:solidFill>
                  <a:schemeClr val="tx1"/>
                </a:solidFill>
              </a:rPr>
              <a:t>work?</a:t>
            </a:r>
          </a:p>
        </p:txBody>
      </p:sp>
      <p:sp>
        <p:nvSpPr>
          <p:cNvPr id="11" name="TextBox 10">
            <a:extLst>
              <a:ext uri="{FF2B5EF4-FFF2-40B4-BE49-F238E27FC236}">
                <a16:creationId xmlns:a16="http://schemas.microsoft.com/office/drawing/2014/main" id="{9BFE60D0-31C5-E78F-42FD-2F88E70F94D5}"/>
              </a:ext>
            </a:extLst>
          </p:cNvPr>
          <p:cNvSpPr txBox="1"/>
          <p:nvPr/>
        </p:nvSpPr>
        <p:spPr bwMode="gray">
          <a:xfrm>
            <a:off x="5248268" y="1359452"/>
            <a:ext cx="2825496" cy="1257643"/>
          </a:xfrm>
          <a:prstGeom prst="rect">
            <a:avLst/>
          </a:prstGeom>
          <a:noFill/>
        </p:spPr>
        <p:txBody>
          <a:bodyPr wrap="square" lIns="36000" tIns="36000" rIns="36000" bIns="36000" rtlCol="0">
            <a:spAutoFit/>
          </a:bodyPr>
          <a:lstStyle/>
          <a:p>
            <a:r>
              <a:rPr lang="en-US" sz="1100" dirty="0"/>
              <a:t>Works by drilling very deep underground and reaching highly heated rocks. When water is injected into these rocks, it changes into a supercritical fluid, a condition that is neither liquid nor steam. Then, the fluid rises to the surface, where electricity is generated using its energy.</a:t>
            </a:r>
          </a:p>
        </p:txBody>
      </p:sp>
      <p:cxnSp>
        <p:nvCxnSpPr>
          <p:cNvPr id="12" name="Straight Connector 11">
            <a:extLst>
              <a:ext uri="{FF2B5EF4-FFF2-40B4-BE49-F238E27FC236}">
                <a16:creationId xmlns:a16="http://schemas.microsoft.com/office/drawing/2014/main" id="{70D24892-1182-0E08-60AF-F31A086982F1}"/>
              </a:ext>
            </a:extLst>
          </p:cNvPr>
          <p:cNvCxnSpPr>
            <a:cxnSpLocks/>
          </p:cNvCxnSpPr>
          <p:nvPr/>
        </p:nvCxnSpPr>
        <p:spPr bwMode="gray">
          <a:xfrm>
            <a:off x="4114800" y="2821501"/>
            <a:ext cx="420014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C8FF637E-BFB2-9951-25CF-48AA7DFD6386}"/>
              </a:ext>
            </a:extLst>
          </p:cNvPr>
          <p:cNvSpPr/>
          <p:nvPr/>
        </p:nvSpPr>
        <p:spPr bwMode="gray">
          <a:xfrm>
            <a:off x="4088226" y="2894372"/>
            <a:ext cx="1071357" cy="1438048"/>
          </a:xfrm>
          <a:prstGeom prst="round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tx1"/>
                </a:solidFill>
              </a:rPr>
              <a:t>How does it </a:t>
            </a:r>
            <a:br>
              <a:rPr lang="en-US" sz="1100" b="1" dirty="0">
                <a:solidFill>
                  <a:schemeClr val="tx1"/>
                </a:solidFill>
              </a:rPr>
            </a:br>
            <a:r>
              <a:rPr lang="en-US" sz="1100" b="1" dirty="0">
                <a:solidFill>
                  <a:schemeClr val="tx1"/>
                </a:solidFill>
              </a:rPr>
              <a:t>differ?</a:t>
            </a:r>
          </a:p>
        </p:txBody>
      </p:sp>
      <p:sp>
        <p:nvSpPr>
          <p:cNvPr id="14" name="TextBox 13">
            <a:extLst>
              <a:ext uri="{FF2B5EF4-FFF2-40B4-BE49-F238E27FC236}">
                <a16:creationId xmlns:a16="http://schemas.microsoft.com/office/drawing/2014/main" id="{BE6808B1-896A-3A11-FBD5-C2C1D3D5D3BD}"/>
              </a:ext>
            </a:extLst>
          </p:cNvPr>
          <p:cNvSpPr txBox="1"/>
          <p:nvPr/>
        </p:nvSpPr>
        <p:spPr bwMode="gray">
          <a:xfrm>
            <a:off x="5243611" y="2838041"/>
            <a:ext cx="2824376" cy="1411531"/>
          </a:xfrm>
          <a:prstGeom prst="rect">
            <a:avLst/>
          </a:prstGeom>
          <a:noFill/>
        </p:spPr>
        <p:txBody>
          <a:bodyPr wrap="square" lIns="36000" tIns="36000" rIns="36000" bIns="36000" rtlCol="0">
            <a:spAutoFit/>
          </a:bodyPr>
          <a:lstStyle/>
          <a:p>
            <a:r>
              <a:rPr lang="en-US" sz="1100" dirty="0"/>
              <a:t>Compared to hydrothermal, uses supercritical reservoir for power generation instead of naturally occurring water.</a:t>
            </a:r>
          </a:p>
          <a:p>
            <a:r>
              <a:rPr lang="en-US" sz="1100" dirty="0"/>
              <a:t>Compared to EGS, it reaches to extreme depths to access naturally supercritical, ultra-high-temperature conditions. </a:t>
            </a:r>
          </a:p>
        </p:txBody>
      </p:sp>
      <p:sp>
        <p:nvSpPr>
          <p:cNvPr id="15" name="Rounded Rectangle 14">
            <a:extLst>
              <a:ext uri="{FF2B5EF4-FFF2-40B4-BE49-F238E27FC236}">
                <a16:creationId xmlns:a16="http://schemas.microsoft.com/office/drawing/2014/main" id="{35CB71CD-A6BD-B736-1FA3-90638E5D0193}"/>
              </a:ext>
            </a:extLst>
          </p:cNvPr>
          <p:cNvSpPr/>
          <p:nvPr/>
        </p:nvSpPr>
        <p:spPr bwMode="gray">
          <a:xfrm>
            <a:off x="4091702" y="4414206"/>
            <a:ext cx="1069848" cy="411257"/>
          </a:xfrm>
          <a:prstGeom prst="round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bg1"/>
                </a:solidFill>
              </a:rPr>
              <a:t>What is the potential?</a:t>
            </a:r>
          </a:p>
        </p:txBody>
      </p:sp>
      <p:sp>
        <p:nvSpPr>
          <p:cNvPr id="16" name="TextBox 15">
            <a:extLst>
              <a:ext uri="{FF2B5EF4-FFF2-40B4-BE49-F238E27FC236}">
                <a16:creationId xmlns:a16="http://schemas.microsoft.com/office/drawing/2014/main" id="{28DDCEF5-9994-36D2-37F4-8E693C2B51B7}"/>
              </a:ext>
            </a:extLst>
          </p:cNvPr>
          <p:cNvSpPr txBox="1"/>
          <p:nvPr/>
        </p:nvSpPr>
        <p:spPr bwMode="gray">
          <a:xfrm>
            <a:off x="5258635" y="4414206"/>
            <a:ext cx="2824376" cy="411257"/>
          </a:xfrm>
          <a:prstGeom prst="rect">
            <a:avLst/>
          </a:prstGeom>
          <a:noFill/>
        </p:spPr>
        <p:txBody>
          <a:bodyPr wrap="square" lIns="36000" tIns="36000" rIns="36000" bIns="36000" rtlCol="0">
            <a:spAutoFit/>
          </a:bodyPr>
          <a:lstStyle/>
          <a:p>
            <a:r>
              <a:rPr lang="en-US" sz="1100" dirty="0"/>
              <a:t>Nearly unlimited — there are different models but potentially 63 TW</a:t>
            </a:r>
          </a:p>
        </p:txBody>
      </p:sp>
      <p:sp>
        <p:nvSpPr>
          <p:cNvPr id="17" name="Rounded Rectangle 16">
            <a:extLst>
              <a:ext uri="{FF2B5EF4-FFF2-40B4-BE49-F238E27FC236}">
                <a16:creationId xmlns:a16="http://schemas.microsoft.com/office/drawing/2014/main" id="{D9644E53-3D8B-08E3-F19F-EB7694772ADC}"/>
              </a:ext>
            </a:extLst>
          </p:cNvPr>
          <p:cNvSpPr/>
          <p:nvPr/>
        </p:nvSpPr>
        <p:spPr bwMode="gray">
          <a:xfrm>
            <a:off x="4091702" y="4945193"/>
            <a:ext cx="1069848" cy="565146"/>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bg1"/>
                </a:solidFill>
              </a:rPr>
              <a:t>Depth and temperature</a:t>
            </a:r>
          </a:p>
        </p:txBody>
      </p:sp>
      <p:sp>
        <p:nvSpPr>
          <p:cNvPr id="18" name="TextBox 17">
            <a:extLst>
              <a:ext uri="{FF2B5EF4-FFF2-40B4-BE49-F238E27FC236}">
                <a16:creationId xmlns:a16="http://schemas.microsoft.com/office/drawing/2014/main" id="{C7C76F6B-C301-4D8D-16C4-08FB3F0A158F}"/>
              </a:ext>
            </a:extLst>
          </p:cNvPr>
          <p:cNvSpPr txBox="1"/>
          <p:nvPr/>
        </p:nvSpPr>
        <p:spPr bwMode="gray">
          <a:xfrm>
            <a:off x="5319925" y="4945193"/>
            <a:ext cx="2824376" cy="565146"/>
          </a:xfrm>
          <a:prstGeom prst="rect">
            <a:avLst/>
          </a:prstGeom>
          <a:noFill/>
        </p:spPr>
        <p:txBody>
          <a:bodyPr wrap="square" lIns="36000" tIns="36000" rIns="36000" bIns="36000" rtlCol="0">
            <a:spAutoFit/>
          </a:bodyPr>
          <a:lstStyle/>
          <a:p>
            <a:r>
              <a:rPr lang="en-US" sz="1100" dirty="0"/>
              <a:t>5-15 km depth</a:t>
            </a:r>
          </a:p>
          <a:p>
            <a:r>
              <a:rPr lang="en-US" sz="1100" dirty="0"/>
              <a:t>&lt;400°C</a:t>
            </a:r>
          </a:p>
        </p:txBody>
      </p:sp>
      <p:sp>
        <p:nvSpPr>
          <p:cNvPr id="19" name="Rounded Rectangle 18">
            <a:extLst>
              <a:ext uri="{FF2B5EF4-FFF2-40B4-BE49-F238E27FC236}">
                <a16:creationId xmlns:a16="http://schemas.microsoft.com/office/drawing/2014/main" id="{02F8AEBC-F60C-183A-162C-8342DED3BE7C}"/>
              </a:ext>
            </a:extLst>
          </p:cNvPr>
          <p:cNvSpPr/>
          <p:nvPr/>
        </p:nvSpPr>
        <p:spPr bwMode="gray">
          <a:xfrm>
            <a:off x="4093210" y="5600223"/>
            <a:ext cx="1081397" cy="849430"/>
          </a:xfrm>
          <a:prstGeom prst="roundRect">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100" b="1" dirty="0">
                <a:solidFill>
                  <a:schemeClr val="bg1"/>
                </a:solidFill>
              </a:rPr>
              <a:t>Examples</a:t>
            </a:r>
          </a:p>
        </p:txBody>
      </p:sp>
      <p:sp>
        <p:nvSpPr>
          <p:cNvPr id="20" name="TextBox 19">
            <a:extLst>
              <a:ext uri="{FF2B5EF4-FFF2-40B4-BE49-F238E27FC236}">
                <a16:creationId xmlns:a16="http://schemas.microsoft.com/office/drawing/2014/main" id="{CB00EF42-5667-A7CD-9080-A9E2FBCD04C4}"/>
              </a:ext>
            </a:extLst>
          </p:cNvPr>
          <p:cNvSpPr txBox="1"/>
          <p:nvPr/>
        </p:nvSpPr>
        <p:spPr bwMode="gray">
          <a:xfrm>
            <a:off x="5258635" y="5561342"/>
            <a:ext cx="2824376" cy="888311"/>
          </a:xfrm>
          <a:prstGeom prst="rect">
            <a:avLst/>
          </a:prstGeom>
          <a:noFill/>
        </p:spPr>
        <p:txBody>
          <a:bodyPr wrap="square" lIns="36000" tIns="36000" rIns="36000" bIns="36000" rtlCol="0">
            <a:spAutoFit/>
          </a:bodyPr>
          <a:lstStyle/>
          <a:p>
            <a:r>
              <a:rPr lang="en-US" sz="1100" dirty="0"/>
              <a:t>IDDP 1 &amp; 2 (Iceland)</a:t>
            </a:r>
          </a:p>
          <a:p>
            <a:r>
              <a:rPr lang="en-US" sz="1100" dirty="0"/>
              <a:t>IDDP-J Project (Japan)</a:t>
            </a:r>
          </a:p>
          <a:p>
            <a:r>
              <a:rPr lang="en-US" sz="1100" dirty="0"/>
              <a:t>DOE Superhot Rock Initiative (U.S.)</a:t>
            </a:r>
          </a:p>
        </p:txBody>
      </p:sp>
      <p:cxnSp>
        <p:nvCxnSpPr>
          <p:cNvPr id="21" name="Straight Connector 20">
            <a:extLst>
              <a:ext uri="{FF2B5EF4-FFF2-40B4-BE49-F238E27FC236}">
                <a16:creationId xmlns:a16="http://schemas.microsoft.com/office/drawing/2014/main" id="{D8FC3C6B-7E2C-BD67-816C-7211BD359395}"/>
              </a:ext>
            </a:extLst>
          </p:cNvPr>
          <p:cNvCxnSpPr>
            <a:cxnSpLocks/>
          </p:cNvCxnSpPr>
          <p:nvPr/>
        </p:nvCxnSpPr>
        <p:spPr bwMode="gray">
          <a:xfrm>
            <a:off x="4091702" y="4380214"/>
            <a:ext cx="420014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8AC45ED-77CC-571B-DBFB-9002895DFB6A}"/>
              </a:ext>
            </a:extLst>
          </p:cNvPr>
          <p:cNvCxnSpPr>
            <a:cxnSpLocks/>
          </p:cNvCxnSpPr>
          <p:nvPr/>
        </p:nvCxnSpPr>
        <p:spPr bwMode="gray">
          <a:xfrm>
            <a:off x="4114800" y="4883370"/>
            <a:ext cx="420014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B087E1-1112-193C-265B-86F5813A5C5B}"/>
              </a:ext>
            </a:extLst>
          </p:cNvPr>
          <p:cNvCxnSpPr>
            <a:cxnSpLocks/>
          </p:cNvCxnSpPr>
          <p:nvPr/>
        </p:nvCxnSpPr>
        <p:spPr bwMode="gray">
          <a:xfrm>
            <a:off x="4114800" y="5558360"/>
            <a:ext cx="420014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1819335-C8D8-EAD1-445E-DCB3A52B39CC}"/>
              </a:ext>
            </a:extLst>
          </p:cNvPr>
          <p:cNvSpPr/>
          <p:nvPr/>
        </p:nvSpPr>
        <p:spPr bwMode="gray">
          <a:xfrm>
            <a:off x="3565596" y="3194052"/>
            <a:ext cx="100160" cy="3283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25" name="TextBox 24">
            <a:extLst>
              <a:ext uri="{FF2B5EF4-FFF2-40B4-BE49-F238E27FC236}">
                <a16:creationId xmlns:a16="http://schemas.microsoft.com/office/drawing/2014/main" id="{91711472-3273-E3DB-90DE-D1AB6F338DF7}"/>
              </a:ext>
            </a:extLst>
          </p:cNvPr>
          <p:cNvSpPr txBox="1"/>
          <p:nvPr/>
        </p:nvSpPr>
        <p:spPr bwMode="gray">
          <a:xfrm rot="16200000">
            <a:off x="3082514" y="4394547"/>
            <a:ext cx="1390372" cy="241980"/>
          </a:xfrm>
          <a:prstGeom prst="rect">
            <a:avLst/>
          </a:prstGeom>
          <a:noFill/>
        </p:spPr>
        <p:txBody>
          <a:bodyPr wrap="none" lIns="36000" tIns="36000" rIns="36000" bIns="36000" rtlCol="0">
            <a:spAutoFit/>
          </a:bodyPr>
          <a:lstStyle/>
          <a:p>
            <a:pPr marL="0" indent="0">
              <a:buNone/>
            </a:pPr>
            <a:r>
              <a:rPr lang="en-US" sz="1100" dirty="0"/>
              <a:t>Subsurface injection</a:t>
            </a:r>
          </a:p>
        </p:txBody>
      </p:sp>
      <p:sp>
        <p:nvSpPr>
          <p:cNvPr id="26" name="Up Arrow 25">
            <a:extLst>
              <a:ext uri="{FF2B5EF4-FFF2-40B4-BE49-F238E27FC236}">
                <a16:creationId xmlns:a16="http://schemas.microsoft.com/office/drawing/2014/main" id="{58F07954-C9A0-8594-075A-8089F38F0F54}"/>
              </a:ext>
            </a:extLst>
          </p:cNvPr>
          <p:cNvSpPr/>
          <p:nvPr/>
        </p:nvSpPr>
        <p:spPr bwMode="gray">
          <a:xfrm rot="16200000">
            <a:off x="3438237" y="5921222"/>
            <a:ext cx="5919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27" name="Up Arrow 26">
            <a:extLst>
              <a:ext uri="{FF2B5EF4-FFF2-40B4-BE49-F238E27FC236}">
                <a16:creationId xmlns:a16="http://schemas.microsoft.com/office/drawing/2014/main" id="{E1F4D738-DE24-3EAA-D168-37A7858BE6F2}"/>
              </a:ext>
            </a:extLst>
          </p:cNvPr>
          <p:cNvSpPr/>
          <p:nvPr/>
        </p:nvSpPr>
        <p:spPr bwMode="gray">
          <a:xfrm rot="5400000">
            <a:off x="3745195" y="5921221"/>
            <a:ext cx="59191" cy="132885"/>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grpSp>
        <p:nvGrpSpPr>
          <p:cNvPr id="28" name="Group 27">
            <a:extLst>
              <a:ext uri="{FF2B5EF4-FFF2-40B4-BE49-F238E27FC236}">
                <a16:creationId xmlns:a16="http://schemas.microsoft.com/office/drawing/2014/main" id="{A03DCDCE-B138-16EE-3E75-83875025D0A4}"/>
              </a:ext>
            </a:extLst>
          </p:cNvPr>
          <p:cNvGrpSpPr/>
          <p:nvPr/>
        </p:nvGrpSpPr>
        <p:grpSpPr>
          <a:xfrm>
            <a:off x="176692" y="1425495"/>
            <a:ext cx="1096910" cy="391025"/>
            <a:chOff x="330200" y="1201000"/>
            <a:chExt cx="1096910" cy="391025"/>
          </a:xfrm>
        </p:grpSpPr>
        <p:sp>
          <p:nvSpPr>
            <p:cNvPr id="29" name="Rectangle 28">
              <a:extLst>
                <a:ext uri="{FF2B5EF4-FFF2-40B4-BE49-F238E27FC236}">
                  <a16:creationId xmlns:a16="http://schemas.microsoft.com/office/drawing/2014/main" id="{68349D82-1256-EC83-77B9-AD7F3FA20009}"/>
                </a:ext>
              </a:extLst>
            </p:cNvPr>
            <p:cNvSpPr/>
            <p:nvPr/>
          </p:nvSpPr>
          <p:spPr bwMode="gray">
            <a:xfrm>
              <a:off x="330200" y="1201000"/>
              <a:ext cx="142868" cy="136893"/>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30" name="Rectangle 29">
              <a:extLst>
                <a:ext uri="{FF2B5EF4-FFF2-40B4-BE49-F238E27FC236}">
                  <a16:creationId xmlns:a16="http://schemas.microsoft.com/office/drawing/2014/main" id="{45079B59-3433-9094-5E52-0EC23E851D8C}"/>
                </a:ext>
              </a:extLst>
            </p:cNvPr>
            <p:cNvSpPr/>
            <p:nvPr/>
          </p:nvSpPr>
          <p:spPr bwMode="gray">
            <a:xfrm>
              <a:off x="332313" y="1396211"/>
              <a:ext cx="142868" cy="13689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31" name="TextBox 30">
              <a:extLst>
                <a:ext uri="{FF2B5EF4-FFF2-40B4-BE49-F238E27FC236}">
                  <a16:creationId xmlns:a16="http://schemas.microsoft.com/office/drawing/2014/main" id="{E6857C94-90DE-BC57-AC93-5A2B93936F47}"/>
                </a:ext>
              </a:extLst>
            </p:cNvPr>
            <p:cNvSpPr txBox="1"/>
            <p:nvPr/>
          </p:nvSpPr>
          <p:spPr bwMode="gray">
            <a:xfrm>
              <a:off x="506418" y="1201000"/>
              <a:ext cx="920692" cy="195814"/>
            </a:xfrm>
            <a:prstGeom prst="rect">
              <a:avLst/>
            </a:prstGeom>
            <a:noFill/>
          </p:spPr>
          <p:txBody>
            <a:bodyPr wrap="none" lIns="36000" tIns="36000" rIns="36000" bIns="36000" rtlCol="0">
              <a:spAutoFit/>
            </a:bodyPr>
            <a:lstStyle/>
            <a:p>
              <a:pPr marL="0" indent="0">
                <a:buNone/>
              </a:pPr>
              <a:r>
                <a:rPr lang="en-US" sz="800" dirty="0"/>
                <a:t>Geothermal steam</a:t>
              </a:r>
            </a:p>
          </p:txBody>
        </p:sp>
        <p:sp>
          <p:nvSpPr>
            <p:cNvPr id="32" name="TextBox 31">
              <a:extLst>
                <a:ext uri="{FF2B5EF4-FFF2-40B4-BE49-F238E27FC236}">
                  <a16:creationId xmlns:a16="http://schemas.microsoft.com/office/drawing/2014/main" id="{473DBF19-4EBA-3858-D1EA-FC24613E6773}"/>
                </a:ext>
              </a:extLst>
            </p:cNvPr>
            <p:cNvSpPr txBox="1"/>
            <p:nvPr/>
          </p:nvSpPr>
          <p:spPr bwMode="gray">
            <a:xfrm>
              <a:off x="504540" y="1396211"/>
              <a:ext cx="919089" cy="195814"/>
            </a:xfrm>
            <a:prstGeom prst="rect">
              <a:avLst/>
            </a:prstGeom>
            <a:noFill/>
          </p:spPr>
          <p:txBody>
            <a:bodyPr wrap="none" lIns="36000" tIns="36000" rIns="36000" bIns="36000" rtlCol="0">
              <a:spAutoFit/>
            </a:bodyPr>
            <a:lstStyle/>
            <a:p>
              <a:pPr marL="0" indent="0">
                <a:buNone/>
              </a:pPr>
              <a:r>
                <a:rPr lang="en-US" sz="800" dirty="0"/>
                <a:t>Supercritical water</a:t>
              </a:r>
            </a:p>
          </p:txBody>
        </p:sp>
      </p:grpSp>
      <p:sp>
        <p:nvSpPr>
          <p:cNvPr id="35" name="Rectangle 34">
            <a:extLst>
              <a:ext uri="{FF2B5EF4-FFF2-40B4-BE49-F238E27FC236}">
                <a16:creationId xmlns:a16="http://schemas.microsoft.com/office/drawing/2014/main" id="{8C924F52-E74D-79B2-B863-C1FE5AD3C9B5}"/>
              </a:ext>
            </a:extLst>
          </p:cNvPr>
          <p:cNvSpPr/>
          <p:nvPr/>
        </p:nvSpPr>
        <p:spPr bwMode="gray">
          <a:xfrm>
            <a:off x="775855" y="3266142"/>
            <a:ext cx="107794" cy="31688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35" name="TextBox 134">
            <a:extLst>
              <a:ext uri="{FF2B5EF4-FFF2-40B4-BE49-F238E27FC236}">
                <a16:creationId xmlns:a16="http://schemas.microsoft.com/office/drawing/2014/main" id="{86B7FD4D-C3E0-A247-BC24-E989CD4C675E}"/>
              </a:ext>
            </a:extLst>
          </p:cNvPr>
          <p:cNvSpPr txBox="1"/>
          <p:nvPr/>
        </p:nvSpPr>
        <p:spPr bwMode="gray">
          <a:xfrm>
            <a:off x="1822157" y="3302028"/>
            <a:ext cx="1042520" cy="241980"/>
          </a:xfrm>
          <a:prstGeom prst="rect">
            <a:avLst/>
          </a:prstGeom>
          <a:noFill/>
        </p:spPr>
        <p:txBody>
          <a:bodyPr wrap="none" lIns="36000" tIns="36000" rIns="36000" bIns="36000" rtlCol="0">
            <a:spAutoFit/>
          </a:bodyPr>
          <a:lstStyle/>
          <a:p>
            <a:pPr marL="0" indent="0">
              <a:buNone/>
            </a:pPr>
            <a:r>
              <a:rPr lang="en-US" sz="1100" dirty="0"/>
              <a:t>Ground surface</a:t>
            </a:r>
          </a:p>
        </p:txBody>
      </p:sp>
      <p:grpSp>
        <p:nvGrpSpPr>
          <p:cNvPr id="136" name="Group 135">
            <a:extLst>
              <a:ext uri="{FF2B5EF4-FFF2-40B4-BE49-F238E27FC236}">
                <a16:creationId xmlns:a16="http://schemas.microsoft.com/office/drawing/2014/main" id="{142F0F8E-6170-99EF-CE56-7F48E55700B2}"/>
              </a:ext>
            </a:extLst>
          </p:cNvPr>
          <p:cNvGrpSpPr/>
          <p:nvPr/>
        </p:nvGrpSpPr>
        <p:grpSpPr>
          <a:xfrm>
            <a:off x="610012" y="3194631"/>
            <a:ext cx="3170309" cy="57075"/>
            <a:chOff x="562699" y="3630929"/>
            <a:chExt cx="3319858" cy="122821"/>
          </a:xfrm>
        </p:grpSpPr>
        <p:cxnSp>
          <p:nvCxnSpPr>
            <p:cNvPr id="137" name="Straight Connector 136">
              <a:extLst>
                <a:ext uri="{FF2B5EF4-FFF2-40B4-BE49-F238E27FC236}">
                  <a16:creationId xmlns:a16="http://schemas.microsoft.com/office/drawing/2014/main" id="{1FDEAF3A-B5FF-EEB8-4BE5-86C752A694F0}"/>
                </a:ext>
              </a:extLst>
            </p:cNvPr>
            <p:cNvCxnSpPr>
              <a:cxnSpLocks/>
            </p:cNvCxnSpPr>
            <p:nvPr/>
          </p:nvCxnSpPr>
          <p:spPr bwMode="gray">
            <a:xfrm flipV="1">
              <a:off x="567006" y="3630929"/>
              <a:ext cx="3315551" cy="817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15DE0DC-FA43-4769-639F-9BD38F46BF97}"/>
                </a:ext>
              </a:extLst>
            </p:cNvPr>
            <p:cNvCxnSpPr/>
            <p:nvPr/>
          </p:nvCxnSpPr>
          <p:spPr bwMode="gray">
            <a:xfrm>
              <a:off x="769520"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2B59EF2-31AA-2F37-8A5E-5EAC0A4700F0}"/>
                </a:ext>
              </a:extLst>
            </p:cNvPr>
            <p:cNvCxnSpPr/>
            <p:nvPr/>
          </p:nvCxnSpPr>
          <p:spPr bwMode="gray">
            <a:xfrm>
              <a:off x="562699"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95418E9-DA4A-30B0-14AE-8FE5F959744E}"/>
                </a:ext>
              </a:extLst>
            </p:cNvPr>
            <p:cNvCxnSpPr>
              <a:cxnSpLocks/>
            </p:cNvCxnSpPr>
            <p:nvPr/>
          </p:nvCxnSpPr>
          <p:spPr bwMode="gray">
            <a:xfrm>
              <a:off x="976340"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938A381-EC74-7622-92BB-C4AC32E76097}"/>
                </a:ext>
              </a:extLst>
            </p:cNvPr>
            <p:cNvCxnSpPr>
              <a:cxnSpLocks/>
            </p:cNvCxnSpPr>
            <p:nvPr/>
          </p:nvCxnSpPr>
          <p:spPr bwMode="gray">
            <a:xfrm>
              <a:off x="1183161"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5E317AE-4C97-EB59-C329-95B5E18B32AD}"/>
                </a:ext>
              </a:extLst>
            </p:cNvPr>
            <p:cNvCxnSpPr>
              <a:cxnSpLocks/>
            </p:cNvCxnSpPr>
            <p:nvPr/>
          </p:nvCxnSpPr>
          <p:spPr bwMode="gray">
            <a:xfrm>
              <a:off x="1389982"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6C8F9F07-28B4-9868-8455-584548B5FD7E}"/>
                </a:ext>
              </a:extLst>
            </p:cNvPr>
            <p:cNvCxnSpPr>
              <a:cxnSpLocks/>
            </p:cNvCxnSpPr>
            <p:nvPr/>
          </p:nvCxnSpPr>
          <p:spPr bwMode="gray">
            <a:xfrm>
              <a:off x="1596803"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BA1995A8-59C3-9F71-1537-B64449C814D7}"/>
                </a:ext>
              </a:extLst>
            </p:cNvPr>
            <p:cNvCxnSpPr>
              <a:cxnSpLocks/>
            </p:cNvCxnSpPr>
            <p:nvPr/>
          </p:nvCxnSpPr>
          <p:spPr bwMode="gray">
            <a:xfrm>
              <a:off x="1803624"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55E53D97-E9C6-FFD4-D3B0-627FA2F947C0}"/>
                </a:ext>
              </a:extLst>
            </p:cNvPr>
            <p:cNvCxnSpPr>
              <a:cxnSpLocks/>
            </p:cNvCxnSpPr>
            <p:nvPr/>
          </p:nvCxnSpPr>
          <p:spPr bwMode="gray">
            <a:xfrm>
              <a:off x="2010444"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EC4F024-3487-A341-9454-00F39ABA591C}"/>
                </a:ext>
              </a:extLst>
            </p:cNvPr>
            <p:cNvCxnSpPr>
              <a:cxnSpLocks/>
            </p:cNvCxnSpPr>
            <p:nvPr/>
          </p:nvCxnSpPr>
          <p:spPr bwMode="gray">
            <a:xfrm>
              <a:off x="2217265"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E09CC913-AC64-49AF-D2BB-72DAABEA9706}"/>
                </a:ext>
              </a:extLst>
            </p:cNvPr>
            <p:cNvCxnSpPr>
              <a:cxnSpLocks/>
            </p:cNvCxnSpPr>
            <p:nvPr/>
          </p:nvCxnSpPr>
          <p:spPr bwMode="gray">
            <a:xfrm>
              <a:off x="2424086"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40FEA6B-C7AB-E5B2-7341-D8E0F33A74ED}"/>
                </a:ext>
              </a:extLst>
            </p:cNvPr>
            <p:cNvCxnSpPr>
              <a:cxnSpLocks/>
            </p:cNvCxnSpPr>
            <p:nvPr/>
          </p:nvCxnSpPr>
          <p:spPr bwMode="gray">
            <a:xfrm>
              <a:off x="2630907"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40A05477-5D38-F366-FED7-ED44469B1E7D}"/>
                </a:ext>
              </a:extLst>
            </p:cNvPr>
            <p:cNvCxnSpPr>
              <a:cxnSpLocks/>
            </p:cNvCxnSpPr>
            <p:nvPr/>
          </p:nvCxnSpPr>
          <p:spPr bwMode="gray">
            <a:xfrm>
              <a:off x="2837728" y="3639107"/>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BEADB84E-6715-0816-E6F1-14DB60757DD3}"/>
                </a:ext>
              </a:extLst>
            </p:cNvPr>
            <p:cNvCxnSpPr>
              <a:cxnSpLocks/>
            </p:cNvCxnSpPr>
            <p:nvPr/>
          </p:nvCxnSpPr>
          <p:spPr bwMode="gray">
            <a:xfrm>
              <a:off x="3044548"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58797D1-691B-91BE-906F-57790ABB1F05}"/>
                </a:ext>
              </a:extLst>
            </p:cNvPr>
            <p:cNvCxnSpPr>
              <a:cxnSpLocks/>
            </p:cNvCxnSpPr>
            <p:nvPr/>
          </p:nvCxnSpPr>
          <p:spPr bwMode="gray">
            <a:xfrm>
              <a:off x="3251369"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2756BE0-9D03-A4D8-66D5-10DAE29978F3}"/>
                </a:ext>
              </a:extLst>
            </p:cNvPr>
            <p:cNvCxnSpPr>
              <a:cxnSpLocks/>
            </p:cNvCxnSpPr>
            <p:nvPr/>
          </p:nvCxnSpPr>
          <p:spPr bwMode="gray">
            <a:xfrm>
              <a:off x="3458190"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6EB13C8-284F-FF8F-8133-D4392EC12EFD}"/>
                </a:ext>
              </a:extLst>
            </p:cNvPr>
            <p:cNvCxnSpPr>
              <a:cxnSpLocks/>
            </p:cNvCxnSpPr>
            <p:nvPr/>
          </p:nvCxnSpPr>
          <p:spPr bwMode="gray">
            <a:xfrm>
              <a:off x="3665011" y="3630929"/>
              <a:ext cx="194752" cy="1146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4" name="Rectangle 153">
            <a:extLst>
              <a:ext uri="{FF2B5EF4-FFF2-40B4-BE49-F238E27FC236}">
                <a16:creationId xmlns:a16="http://schemas.microsoft.com/office/drawing/2014/main" id="{64F5C58A-860E-C97A-8DA2-068369763A28}"/>
              </a:ext>
            </a:extLst>
          </p:cNvPr>
          <p:cNvSpPr/>
          <p:nvPr/>
        </p:nvSpPr>
        <p:spPr bwMode="gray">
          <a:xfrm>
            <a:off x="1142226" y="2770641"/>
            <a:ext cx="2451461" cy="1033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55" name="Bent Arrow 154">
            <a:extLst>
              <a:ext uri="{FF2B5EF4-FFF2-40B4-BE49-F238E27FC236}">
                <a16:creationId xmlns:a16="http://schemas.microsoft.com/office/drawing/2014/main" id="{332A39C8-AA50-1C03-2075-CAE62B6504D3}"/>
              </a:ext>
            </a:extLst>
          </p:cNvPr>
          <p:cNvSpPr/>
          <p:nvPr/>
        </p:nvSpPr>
        <p:spPr bwMode="gray">
          <a:xfrm>
            <a:off x="1067685" y="2217752"/>
            <a:ext cx="600321" cy="534272"/>
          </a:xfrm>
          <a:prstGeom prst="bentArrow">
            <a:avLst>
              <a:gd name="adj1" fmla="val 25000"/>
              <a:gd name="adj2" fmla="val 15495"/>
              <a:gd name="adj3" fmla="val 0"/>
              <a:gd name="adj4" fmla="val 25149"/>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56" name="Rectangle 155">
            <a:extLst>
              <a:ext uri="{FF2B5EF4-FFF2-40B4-BE49-F238E27FC236}">
                <a16:creationId xmlns:a16="http://schemas.microsoft.com/office/drawing/2014/main" id="{BEAA1F0F-49B6-BF69-CE06-7B6F2AEE9D60}"/>
              </a:ext>
            </a:extLst>
          </p:cNvPr>
          <p:cNvSpPr/>
          <p:nvPr/>
        </p:nvSpPr>
        <p:spPr bwMode="gray">
          <a:xfrm rot="5400000">
            <a:off x="2794369" y="2089693"/>
            <a:ext cx="909305" cy="13193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57" name="Bent Arrow 156">
            <a:extLst>
              <a:ext uri="{FF2B5EF4-FFF2-40B4-BE49-F238E27FC236}">
                <a16:creationId xmlns:a16="http://schemas.microsoft.com/office/drawing/2014/main" id="{C44D7582-5561-3A40-FBB4-D3D2C93622E1}"/>
              </a:ext>
            </a:extLst>
          </p:cNvPr>
          <p:cNvSpPr/>
          <p:nvPr/>
        </p:nvSpPr>
        <p:spPr bwMode="gray">
          <a:xfrm flipH="1">
            <a:off x="3131452" y="2389519"/>
            <a:ext cx="538227" cy="409141"/>
          </a:xfrm>
          <a:prstGeom prst="bentArrow">
            <a:avLst>
              <a:gd name="adj1" fmla="val 25000"/>
              <a:gd name="adj2" fmla="val 25000"/>
              <a:gd name="adj3" fmla="val 0"/>
              <a:gd name="adj4" fmla="val 22104"/>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58" name="Triangle 157">
            <a:extLst>
              <a:ext uri="{FF2B5EF4-FFF2-40B4-BE49-F238E27FC236}">
                <a16:creationId xmlns:a16="http://schemas.microsoft.com/office/drawing/2014/main" id="{BA03B9C8-DC91-77CA-9F50-07D30200E124}"/>
              </a:ext>
            </a:extLst>
          </p:cNvPr>
          <p:cNvSpPr/>
          <p:nvPr/>
        </p:nvSpPr>
        <p:spPr bwMode="gray">
          <a:xfrm rot="10800000">
            <a:off x="694502" y="3072009"/>
            <a:ext cx="245959" cy="12231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59" name="Triangle 158">
            <a:extLst>
              <a:ext uri="{FF2B5EF4-FFF2-40B4-BE49-F238E27FC236}">
                <a16:creationId xmlns:a16="http://schemas.microsoft.com/office/drawing/2014/main" id="{EAA8937C-0793-B1FE-ACCD-D3429CD51814}"/>
              </a:ext>
            </a:extLst>
          </p:cNvPr>
          <p:cNvSpPr/>
          <p:nvPr/>
        </p:nvSpPr>
        <p:spPr bwMode="gray">
          <a:xfrm rot="10800000">
            <a:off x="3486814" y="3072009"/>
            <a:ext cx="245959" cy="12231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60" name="Bent Arrow 159">
            <a:extLst>
              <a:ext uri="{FF2B5EF4-FFF2-40B4-BE49-F238E27FC236}">
                <a16:creationId xmlns:a16="http://schemas.microsoft.com/office/drawing/2014/main" id="{D15357D5-D6D0-1620-A897-8BED51088972}"/>
              </a:ext>
            </a:extLst>
          </p:cNvPr>
          <p:cNvSpPr/>
          <p:nvPr/>
        </p:nvSpPr>
        <p:spPr bwMode="gray">
          <a:xfrm>
            <a:off x="775856" y="2532616"/>
            <a:ext cx="499027" cy="539391"/>
          </a:xfrm>
          <a:prstGeom prst="bentArrow">
            <a:avLst>
              <a:gd name="adj1" fmla="val 25000"/>
              <a:gd name="adj2" fmla="val 17525"/>
              <a:gd name="adj3" fmla="val 0"/>
              <a:gd name="adj4" fmla="val 25149"/>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61" name="Rectangle 160">
            <a:extLst>
              <a:ext uri="{FF2B5EF4-FFF2-40B4-BE49-F238E27FC236}">
                <a16:creationId xmlns:a16="http://schemas.microsoft.com/office/drawing/2014/main" id="{A52E9841-56AA-A9E5-438F-9AAEB29F537F}"/>
              </a:ext>
            </a:extLst>
          </p:cNvPr>
          <p:cNvSpPr/>
          <p:nvPr/>
        </p:nvSpPr>
        <p:spPr bwMode="gray">
          <a:xfrm>
            <a:off x="1269355" y="2235417"/>
            <a:ext cx="1852624" cy="130180"/>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62" name="Rectangle 161">
            <a:extLst>
              <a:ext uri="{FF2B5EF4-FFF2-40B4-BE49-F238E27FC236}">
                <a16:creationId xmlns:a16="http://schemas.microsoft.com/office/drawing/2014/main" id="{4BD5FAAA-CD87-6B64-49BA-7EA9F2871AD9}"/>
              </a:ext>
            </a:extLst>
          </p:cNvPr>
          <p:cNvSpPr/>
          <p:nvPr/>
        </p:nvSpPr>
        <p:spPr bwMode="gray">
          <a:xfrm>
            <a:off x="1864793" y="1899520"/>
            <a:ext cx="672188" cy="303428"/>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63" name="Rectangle 162">
            <a:extLst>
              <a:ext uri="{FF2B5EF4-FFF2-40B4-BE49-F238E27FC236}">
                <a16:creationId xmlns:a16="http://schemas.microsoft.com/office/drawing/2014/main" id="{E219E862-955D-A846-713D-D1BA31B527F2}"/>
              </a:ext>
            </a:extLst>
          </p:cNvPr>
          <p:cNvSpPr/>
          <p:nvPr/>
        </p:nvSpPr>
        <p:spPr bwMode="gray">
          <a:xfrm>
            <a:off x="1622430" y="1869226"/>
            <a:ext cx="1156915" cy="228933"/>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Generator</a:t>
            </a:r>
          </a:p>
        </p:txBody>
      </p:sp>
      <p:sp>
        <p:nvSpPr>
          <p:cNvPr id="164" name="Rectangle 163">
            <a:extLst>
              <a:ext uri="{FF2B5EF4-FFF2-40B4-BE49-F238E27FC236}">
                <a16:creationId xmlns:a16="http://schemas.microsoft.com/office/drawing/2014/main" id="{91A1EA07-CD43-057D-F4C6-A610B77F48B3}"/>
              </a:ext>
            </a:extLst>
          </p:cNvPr>
          <p:cNvSpPr/>
          <p:nvPr/>
        </p:nvSpPr>
        <p:spPr bwMode="gray">
          <a:xfrm>
            <a:off x="1754154" y="2158753"/>
            <a:ext cx="953239" cy="255990"/>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Turbine</a:t>
            </a:r>
          </a:p>
        </p:txBody>
      </p:sp>
      <p:sp>
        <p:nvSpPr>
          <p:cNvPr id="165" name="Rectangle 164">
            <a:extLst>
              <a:ext uri="{FF2B5EF4-FFF2-40B4-BE49-F238E27FC236}">
                <a16:creationId xmlns:a16="http://schemas.microsoft.com/office/drawing/2014/main" id="{6102927D-767E-39A1-F94D-544FF341FB41}"/>
              </a:ext>
            </a:extLst>
          </p:cNvPr>
          <p:cNvSpPr/>
          <p:nvPr/>
        </p:nvSpPr>
        <p:spPr bwMode="gray">
          <a:xfrm rot="16200000">
            <a:off x="2836986" y="2213937"/>
            <a:ext cx="804719" cy="271454"/>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Condenser</a:t>
            </a:r>
          </a:p>
        </p:txBody>
      </p:sp>
      <p:sp>
        <p:nvSpPr>
          <p:cNvPr id="166" name="Rectangle 165">
            <a:extLst>
              <a:ext uri="{FF2B5EF4-FFF2-40B4-BE49-F238E27FC236}">
                <a16:creationId xmlns:a16="http://schemas.microsoft.com/office/drawing/2014/main" id="{9A008C43-1374-6AA3-8CED-915974E3475B}"/>
              </a:ext>
            </a:extLst>
          </p:cNvPr>
          <p:cNvSpPr/>
          <p:nvPr/>
        </p:nvSpPr>
        <p:spPr bwMode="gray">
          <a:xfrm>
            <a:off x="3575732" y="2517535"/>
            <a:ext cx="99317" cy="5485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pic>
        <p:nvPicPr>
          <p:cNvPr id="167" name="Graphic 166" descr="Electric Tower outline">
            <a:extLst>
              <a:ext uri="{FF2B5EF4-FFF2-40B4-BE49-F238E27FC236}">
                <a16:creationId xmlns:a16="http://schemas.microsoft.com/office/drawing/2014/main" id="{CF859214-2617-2BD2-0E65-4145750050C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30200" y="1759969"/>
            <a:ext cx="448555" cy="475446"/>
          </a:xfrm>
          <a:prstGeom prst="rect">
            <a:avLst/>
          </a:prstGeom>
        </p:spPr>
      </p:pic>
      <p:sp>
        <p:nvSpPr>
          <p:cNvPr id="168" name="Triangle 167">
            <a:extLst>
              <a:ext uri="{FF2B5EF4-FFF2-40B4-BE49-F238E27FC236}">
                <a16:creationId xmlns:a16="http://schemas.microsoft.com/office/drawing/2014/main" id="{DC94C996-0D65-0DBC-F7C1-B3230ACDCDDD}"/>
              </a:ext>
            </a:extLst>
          </p:cNvPr>
          <p:cNvSpPr/>
          <p:nvPr/>
        </p:nvSpPr>
        <p:spPr bwMode="gray">
          <a:xfrm>
            <a:off x="1905098" y="1806049"/>
            <a:ext cx="139540" cy="69389"/>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69" name="Triangle 168">
            <a:extLst>
              <a:ext uri="{FF2B5EF4-FFF2-40B4-BE49-F238E27FC236}">
                <a16:creationId xmlns:a16="http://schemas.microsoft.com/office/drawing/2014/main" id="{36B79971-6244-685D-8BDD-5E7E807A4247}"/>
              </a:ext>
            </a:extLst>
          </p:cNvPr>
          <p:cNvSpPr/>
          <p:nvPr/>
        </p:nvSpPr>
        <p:spPr bwMode="gray">
          <a:xfrm>
            <a:off x="2282414" y="1806049"/>
            <a:ext cx="139540" cy="69389"/>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cxnSp>
        <p:nvCxnSpPr>
          <p:cNvPr id="170" name="Straight Connector 169">
            <a:extLst>
              <a:ext uri="{FF2B5EF4-FFF2-40B4-BE49-F238E27FC236}">
                <a16:creationId xmlns:a16="http://schemas.microsoft.com/office/drawing/2014/main" id="{51CF365F-8DA4-9EEE-27B8-2CF20731D739}"/>
              </a:ext>
            </a:extLst>
          </p:cNvPr>
          <p:cNvCxnSpPr>
            <a:stCxn id="168" idx="0"/>
          </p:cNvCxnSpPr>
          <p:nvPr/>
        </p:nvCxnSpPr>
        <p:spPr bwMode="gray">
          <a:xfrm flipH="1" flipV="1">
            <a:off x="1974868" y="1622713"/>
            <a:ext cx="1" cy="1833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422FCC9-4C88-D625-3ED9-5BB67404008F}"/>
              </a:ext>
            </a:extLst>
          </p:cNvPr>
          <p:cNvCxnSpPr>
            <a:cxnSpLocks/>
          </p:cNvCxnSpPr>
          <p:nvPr/>
        </p:nvCxnSpPr>
        <p:spPr bwMode="gray">
          <a:xfrm flipV="1">
            <a:off x="2347825" y="1439962"/>
            <a:ext cx="0" cy="3660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E8F2E3D-EBAD-925B-1CAD-D681CC082DEA}"/>
              </a:ext>
            </a:extLst>
          </p:cNvPr>
          <p:cNvCxnSpPr/>
          <p:nvPr/>
        </p:nvCxnSpPr>
        <p:spPr bwMode="gray">
          <a:xfrm flipV="1">
            <a:off x="330200" y="1622713"/>
            <a:ext cx="1644668" cy="47544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87321AB3-4D75-8A62-E3D5-0E8E903F3252}"/>
              </a:ext>
            </a:extLst>
          </p:cNvPr>
          <p:cNvCxnSpPr>
            <a:cxnSpLocks/>
          </p:cNvCxnSpPr>
          <p:nvPr/>
        </p:nvCxnSpPr>
        <p:spPr bwMode="gray">
          <a:xfrm flipV="1">
            <a:off x="330200" y="1451821"/>
            <a:ext cx="2017625" cy="56162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7E12A0E9-FBC0-7F7B-1EA7-99EF0BF31986}"/>
              </a:ext>
            </a:extLst>
          </p:cNvPr>
          <p:cNvSpPr txBox="1"/>
          <p:nvPr/>
        </p:nvSpPr>
        <p:spPr bwMode="gray">
          <a:xfrm>
            <a:off x="869917" y="2906860"/>
            <a:ext cx="662608" cy="241980"/>
          </a:xfrm>
          <a:prstGeom prst="rect">
            <a:avLst/>
          </a:prstGeom>
          <a:noFill/>
        </p:spPr>
        <p:txBody>
          <a:bodyPr wrap="none" lIns="36000" tIns="36000" rIns="36000" bIns="36000" rtlCol="0">
            <a:spAutoFit/>
          </a:bodyPr>
          <a:lstStyle/>
          <a:p>
            <a:pPr marL="0" indent="0">
              <a:buNone/>
            </a:pPr>
            <a:r>
              <a:rPr lang="en-US" sz="1100" dirty="0"/>
              <a:t>Wellhead</a:t>
            </a:r>
          </a:p>
        </p:txBody>
      </p:sp>
      <p:sp>
        <p:nvSpPr>
          <p:cNvPr id="175" name="Up Arrow 174">
            <a:extLst>
              <a:ext uri="{FF2B5EF4-FFF2-40B4-BE49-F238E27FC236}">
                <a16:creationId xmlns:a16="http://schemas.microsoft.com/office/drawing/2014/main" id="{02619DE2-4792-D7B7-9729-8295F5B81CB1}"/>
              </a:ext>
            </a:extLst>
          </p:cNvPr>
          <p:cNvSpPr/>
          <p:nvPr/>
        </p:nvSpPr>
        <p:spPr bwMode="gray">
          <a:xfrm>
            <a:off x="806643" y="2836994"/>
            <a:ext cx="50970" cy="94339"/>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76" name="Up Arrow 175">
            <a:extLst>
              <a:ext uri="{FF2B5EF4-FFF2-40B4-BE49-F238E27FC236}">
                <a16:creationId xmlns:a16="http://schemas.microsoft.com/office/drawing/2014/main" id="{FF330F5B-61CE-5B36-601A-75925B53EEAE}"/>
              </a:ext>
            </a:extLst>
          </p:cNvPr>
          <p:cNvSpPr/>
          <p:nvPr/>
        </p:nvSpPr>
        <p:spPr bwMode="gray">
          <a:xfrm rot="10800000">
            <a:off x="3593687" y="2783925"/>
            <a:ext cx="50970" cy="94339"/>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77" name="Up Arrow 176">
            <a:extLst>
              <a:ext uri="{FF2B5EF4-FFF2-40B4-BE49-F238E27FC236}">
                <a16:creationId xmlns:a16="http://schemas.microsoft.com/office/drawing/2014/main" id="{EB476B34-940B-3B14-047E-1AD9758EC387}"/>
              </a:ext>
            </a:extLst>
          </p:cNvPr>
          <p:cNvSpPr/>
          <p:nvPr/>
        </p:nvSpPr>
        <p:spPr bwMode="gray">
          <a:xfrm>
            <a:off x="3217279" y="1783921"/>
            <a:ext cx="50970" cy="94339"/>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78" name="Rectangle 177">
            <a:extLst>
              <a:ext uri="{FF2B5EF4-FFF2-40B4-BE49-F238E27FC236}">
                <a16:creationId xmlns:a16="http://schemas.microsoft.com/office/drawing/2014/main" id="{E621C916-3594-C404-8C8A-FE904DD56698}"/>
              </a:ext>
            </a:extLst>
          </p:cNvPr>
          <p:cNvSpPr/>
          <p:nvPr/>
        </p:nvSpPr>
        <p:spPr bwMode="gray">
          <a:xfrm rot="16200000">
            <a:off x="800492" y="2397415"/>
            <a:ext cx="758538" cy="281214"/>
          </a:xfrm>
          <a:prstGeom prst="rect">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eparator</a:t>
            </a:r>
          </a:p>
        </p:txBody>
      </p:sp>
      <p:sp>
        <p:nvSpPr>
          <p:cNvPr id="179" name="Up Arrow 178">
            <a:extLst>
              <a:ext uri="{FF2B5EF4-FFF2-40B4-BE49-F238E27FC236}">
                <a16:creationId xmlns:a16="http://schemas.microsoft.com/office/drawing/2014/main" id="{1E7EC985-4AF9-D816-14E0-3178EF1F3647}"/>
              </a:ext>
            </a:extLst>
          </p:cNvPr>
          <p:cNvSpPr/>
          <p:nvPr/>
        </p:nvSpPr>
        <p:spPr bwMode="gray">
          <a:xfrm rot="5400000">
            <a:off x="2268970" y="2752682"/>
            <a:ext cx="37214" cy="12921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0" name="Up Arrow 179">
            <a:extLst>
              <a:ext uri="{FF2B5EF4-FFF2-40B4-BE49-F238E27FC236}">
                <a16:creationId xmlns:a16="http://schemas.microsoft.com/office/drawing/2014/main" id="{4EF00B9A-598E-AB53-A1BF-DBDAA9468620}"/>
              </a:ext>
            </a:extLst>
          </p:cNvPr>
          <p:cNvSpPr/>
          <p:nvPr/>
        </p:nvSpPr>
        <p:spPr bwMode="gray">
          <a:xfrm rot="5400000">
            <a:off x="1442470" y="2242318"/>
            <a:ext cx="37214" cy="12921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1" name="Up Arrow 180">
            <a:extLst>
              <a:ext uri="{FF2B5EF4-FFF2-40B4-BE49-F238E27FC236}">
                <a16:creationId xmlns:a16="http://schemas.microsoft.com/office/drawing/2014/main" id="{89E05BBC-31CE-F811-8C8C-A7135C56CCF2}"/>
              </a:ext>
            </a:extLst>
          </p:cNvPr>
          <p:cNvSpPr/>
          <p:nvPr/>
        </p:nvSpPr>
        <p:spPr bwMode="gray">
          <a:xfrm rot="5400000">
            <a:off x="2879602" y="2232377"/>
            <a:ext cx="37214" cy="12921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2" name="Oval 181">
            <a:extLst>
              <a:ext uri="{FF2B5EF4-FFF2-40B4-BE49-F238E27FC236}">
                <a16:creationId xmlns:a16="http://schemas.microsoft.com/office/drawing/2014/main" id="{43A9EE66-E7E6-0878-B498-EA32A6AF5FC6}"/>
              </a:ext>
            </a:extLst>
          </p:cNvPr>
          <p:cNvSpPr/>
          <p:nvPr/>
        </p:nvSpPr>
        <p:spPr bwMode="gray">
          <a:xfrm>
            <a:off x="963576" y="2582193"/>
            <a:ext cx="50970" cy="37214"/>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3" name="Oval 182">
            <a:extLst>
              <a:ext uri="{FF2B5EF4-FFF2-40B4-BE49-F238E27FC236}">
                <a16:creationId xmlns:a16="http://schemas.microsoft.com/office/drawing/2014/main" id="{AF2F2163-25F8-7D78-2F3E-99BDFCD08693}"/>
              </a:ext>
            </a:extLst>
          </p:cNvPr>
          <p:cNvSpPr/>
          <p:nvPr/>
        </p:nvSpPr>
        <p:spPr bwMode="gray">
          <a:xfrm flipH="1" flipV="1">
            <a:off x="911634" y="2614865"/>
            <a:ext cx="50970" cy="37214"/>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4" name="Oval 183">
            <a:extLst>
              <a:ext uri="{FF2B5EF4-FFF2-40B4-BE49-F238E27FC236}">
                <a16:creationId xmlns:a16="http://schemas.microsoft.com/office/drawing/2014/main" id="{4F97796A-0530-064C-10E4-84C422C3A30B}"/>
              </a:ext>
            </a:extLst>
          </p:cNvPr>
          <p:cNvSpPr/>
          <p:nvPr/>
        </p:nvSpPr>
        <p:spPr bwMode="gray">
          <a:xfrm>
            <a:off x="976965" y="2621072"/>
            <a:ext cx="50970" cy="37214"/>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5" name="Oval 184">
            <a:extLst>
              <a:ext uri="{FF2B5EF4-FFF2-40B4-BE49-F238E27FC236}">
                <a16:creationId xmlns:a16="http://schemas.microsoft.com/office/drawing/2014/main" id="{0E485B4D-9B0F-13D3-8162-823F9406B6CA}"/>
              </a:ext>
            </a:extLst>
          </p:cNvPr>
          <p:cNvSpPr/>
          <p:nvPr/>
        </p:nvSpPr>
        <p:spPr bwMode="gray">
          <a:xfrm flipV="1">
            <a:off x="883649" y="2583857"/>
            <a:ext cx="50970" cy="37214"/>
          </a:xfrm>
          <a:prstGeom prst="ellipse">
            <a:avLst/>
          </a:prstGeom>
          <a:solidFill>
            <a:srgbClr val="E7D9C1">
              <a:alpha val="7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6" name="Rectangle 185">
            <a:extLst>
              <a:ext uri="{FF2B5EF4-FFF2-40B4-BE49-F238E27FC236}">
                <a16:creationId xmlns:a16="http://schemas.microsoft.com/office/drawing/2014/main" id="{F6B5116F-CFD3-33F4-3DCC-39B0A804368C}"/>
              </a:ext>
            </a:extLst>
          </p:cNvPr>
          <p:cNvSpPr/>
          <p:nvPr/>
        </p:nvSpPr>
        <p:spPr bwMode="gray">
          <a:xfrm>
            <a:off x="272265" y="1605610"/>
            <a:ext cx="50507" cy="15729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grpSp>
        <p:nvGrpSpPr>
          <p:cNvPr id="187" name="Group 186">
            <a:extLst>
              <a:ext uri="{FF2B5EF4-FFF2-40B4-BE49-F238E27FC236}">
                <a16:creationId xmlns:a16="http://schemas.microsoft.com/office/drawing/2014/main" id="{94DED446-F345-B465-892C-8D0573B9985D}"/>
              </a:ext>
            </a:extLst>
          </p:cNvPr>
          <p:cNvGrpSpPr/>
          <p:nvPr/>
        </p:nvGrpSpPr>
        <p:grpSpPr>
          <a:xfrm>
            <a:off x="941519" y="5785614"/>
            <a:ext cx="122757" cy="402634"/>
            <a:chOff x="972443" y="5691173"/>
            <a:chExt cx="115902" cy="251458"/>
          </a:xfrm>
        </p:grpSpPr>
        <p:sp>
          <p:nvSpPr>
            <p:cNvPr id="188" name="Up Arrow 187">
              <a:extLst>
                <a:ext uri="{FF2B5EF4-FFF2-40B4-BE49-F238E27FC236}">
                  <a16:creationId xmlns:a16="http://schemas.microsoft.com/office/drawing/2014/main" id="{94EABD27-7377-5469-F83D-BD815C555911}"/>
                </a:ext>
              </a:extLst>
            </p:cNvPr>
            <p:cNvSpPr/>
            <p:nvPr/>
          </p:nvSpPr>
          <p:spPr bwMode="gray">
            <a:xfrm rot="16200000">
              <a:off x="1007534" y="57589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89" name="Up Arrow 188">
              <a:extLst>
                <a:ext uri="{FF2B5EF4-FFF2-40B4-BE49-F238E27FC236}">
                  <a16:creationId xmlns:a16="http://schemas.microsoft.com/office/drawing/2014/main" id="{C0B169BB-9458-0069-FAEE-54DAE27751C0}"/>
                </a:ext>
              </a:extLst>
            </p:cNvPr>
            <p:cNvSpPr/>
            <p:nvPr/>
          </p:nvSpPr>
          <p:spPr bwMode="gray">
            <a:xfrm rot="14470877">
              <a:off x="1007534" y="56560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90" name="Up Arrow 189">
              <a:extLst>
                <a:ext uri="{FF2B5EF4-FFF2-40B4-BE49-F238E27FC236}">
                  <a16:creationId xmlns:a16="http://schemas.microsoft.com/office/drawing/2014/main" id="{0996F016-DCB7-B772-DA81-9DA7AE72229E}"/>
                </a:ext>
              </a:extLst>
            </p:cNvPr>
            <p:cNvSpPr/>
            <p:nvPr/>
          </p:nvSpPr>
          <p:spPr bwMode="gray">
            <a:xfrm rot="18286233">
              <a:off x="1007535" y="58618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grpSp>
      <p:grpSp>
        <p:nvGrpSpPr>
          <p:cNvPr id="191" name="Group 190">
            <a:extLst>
              <a:ext uri="{FF2B5EF4-FFF2-40B4-BE49-F238E27FC236}">
                <a16:creationId xmlns:a16="http://schemas.microsoft.com/office/drawing/2014/main" id="{0A5DD6EE-9987-4523-B305-A32ABA4B4553}"/>
              </a:ext>
            </a:extLst>
          </p:cNvPr>
          <p:cNvGrpSpPr/>
          <p:nvPr/>
        </p:nvGrpSpPr>
        <p:grpSpPr>
          <a:xfrm rot="10800000">
            <a:off x="601604" y="5785613"/>
            <a:ext cx="122757" cy="402634"/>
            <a:chOff x="1124843" y="5843573"/>
            <a:chExt cx="115902" cy="251458"/>
          </a:xfrm>
        </p:grpSpPr>
        <p:sp>
          <p:nvSpPr>
            <p:cNvPr id="192" name="Up Arrow 191">
              <a:extLst>
                <a:ext uri="{FF2B5EF4-FFF2-40B4-BE49-F238E27FC236}">
                  <a16:creationId xmlns:a16="http://schemas.microsoft.com/office/drawing/2014/main" id="{3D0CDF19-1776-8674-D85B-6366925A4CE3}"/>
                </a:ext>
              </a:extLst>
            </p:cNvPr>
            <p:cNvSpPr/>
            <p:nvPr/>
          </p:nvSpPr>
          <p:spPr bwMode="gray">
            <a:xfrm rot="16200000">
              <a:off x="1159934" y="591135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93" name="Up Arrow 192">
              <a:extLst>
                <a:ext uri="{FF2B5EF4-FFF2-40B4-BE49-F238E27FC236}">
                  <a16:creationId xmlns:a16="http://schemas.microsoft.com/office/drawing/2014/main" id="{43C0EA18-FCE4-AD49-6747-B48E06087DB8}"/>
                </a:ext>
              </a:extLst>
            </p:cNvPr>
            <p:cNvSpPr/>
            <p:nvPr/>
          </p:nvSpPr>
          <p:spPr bwMode="gray">
            <a:xfrm rot="14470877">
              <a:off x="1159934" y="5808482"/>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94" name="Up Arrow 193">
              <a:extLst>
                <a:ext uri="{FF2B5EF4-FFF2-40B4-BE49-F238E27FC236}">
                  <a16:creationId xmlns:a16="http://schemas.microsoft.com/office/drawing/2014/main" id="{5E6900D4-E87C-D273-083A-1EA33E446EDF}"/>
                </a:ext>
              </a:extLst>
            </p:cNvPr>
            <p:cNvSpPr/>
            <p:nvPr/>
          </p:nvSpPr>
          <p:spPr bwMode="gray">
            <a:xfrm rot="18286233">
              <a:off x="1159935" y="6014221"/>
              <a:ext cx="45719" cy="115901"/>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grpSp>
      <p:sp>
        <p:nvSpPr>
          <p:cNvPr id="195" name="Up Arrow 194">
            <a:extLst>
              <a:ext uri="{FF2B5EF4-FFF2-40B4-BE49-F238E27FC236}">
                <a16:creationId xmlns:a16="http://schemas.microsoft.com/office/drawing/2014/main" id="{EBE8ED9F-78AD-80B3-E82F-A6B063193955}"/>
              </a:ext>
            </a:extLst>
          </p:cNvPr>
          <p:cNvSpPr/>
          <p:nvPr/>
        </p:nvSpPr>
        <p:spPr bwMode="gray">
          <a:xfrm>
            <a:off x="817128" y="3813892"/>
            <a:ext cx="48423" cy="185580"/>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96" name="TextBox 195">
            <a:extLst>
              <a:ext uri="{FF2B5EF4-FFF2-40B4-BE49-F238E27FC236}">
                <a16:creationId xmlns:a16="http://schemas.microsoft.com/office/drawing/2014/main" id="{470582CA-4161-1290-B06E-6CE69EA9D70A}"/>
              </a:ext>
            </a:extLst>
          </p:cNvPr>
          <p:cNvSpPr txBox="1"/>
          <p:nvPr/>
        </p:nvSpPr>
        <p:spPr bwMode="gray">
          <a:xfrm>
            <a:off x="1420303" y="5894407"/>
            <a:ext cx="1740571" cy="241980"/>
          </a:xfrm>
          <a:prstGeom prst="rect">
            <a:avLst/>
          </a:prstGeom>
          <a:solidFill>
            <a:schemeClr val="accent1"/>
          </a:solidFill>
          <a:ln>
            <a:solidFill>
              <a:schemeClr val="bg1"/>
            </a:solidFill>
          </a:ln>
        </p:spPr>
        <p:txBody>
          <a:bodyPr wrap="square" lIns="36000" tIns="36000" rIns="36000" bIns="36000" rtlCol="0">
            <a:spAutoFit/>
          </a:bodyPr>
          <a:lstStyle/>
          <a:p>
            <a:pPr marL="0" indent="0" algn="ctr">
              <a:buNone/>
            </a:pPr>
            <a:r>
              <a:rPr lang="en-US" sz="1100" b="1" dirty="0">
                <a:solidFill>
                  <a:schemeClr val="bg1"/>
                </a:solidFill>
              </a:rPr>
              <a:t>Supercritical reservoir</a:t>
            </a:r>
          </a:p>
        </p:txBody>
      </p:sp>
      <p:sp>
        <p:nvSpPr>
          <p:cNvPr id="197" name="Triangle 196">
            <a:extLst>
              <a:ext uri="{FF2B5EF4-FFF2-40B4-BE49-F238E27FC236}">
                <a16:creationId xmlns:a16="http://schemas.microsoft.com/office/drawing/2014/main" id="{5A53F313-5207-E311-67D6-7474713A884A}"/>
              </a:ext>
            </a:extLst>
          </p:cNvPr>
          <p:cNvSpPr/>
          <p:nvPr/>
        </p:nvSpPr>
        <p:spPr bwMode="gray">
          <a:xfrm>
            <a:off x="702542" y="3207344"/>
            <a:ext cx="245959" cy="122311"/>
          </a:xfrm>
          <a:prstGeom prs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
        <p:nvSpPr>
          <p:cNvPr id="198" name="TextBox 197">
            <a:extLst>
              <a:ext uri="{FF2B5EF4-FFF2-40B4-BE49-F238E27FC236}">
                <a16:creationId xmlns:a16="http://schemas.microsoft.com/office/drawing/2014/main" id="{6479A113-C65A-CA4A-08CA-F0EDB59F277A}"/>
              </a:ext>
            </a:extLst>
          </p:cNvPr>
          <p:cNvSpPr txBox="1"/>
          <p:nvPr/>
        </p:nvSpPr>
        <p:spPr bwMode="gray">
          <a:xfrm>
            <a:off x="8589818" y="1339630"/>
            <a:ext cx="2578197" cy="241980"/>
          </a:xfrm>
          <a:prstGeom prst="rect">
            <a:avLst/>
          </a:prstGeom>
          <a:noFill/>
        </p:spPr>
        <p:txBody>
          <a:bodyPr wrap="none" lIns="36000" tIns="36000" rIns="36000" bIns="36000" rtlCol="0">
            <a:spAutoFit/>
          </a:bodyPr>
          <a:lstStyle/>
          <a:p>
            <a:pPr marL="0" indent="0">
              <a:buNone/>
            </a:pPr>
            <a:r>
              <a:rPr lang="en-US" sz="1100" b="1" dirty="0"/>
              <a:t>Superhot rock potential, </a:t>
            </a:r>
            <a:r>
              <a:rPr lang="en-US" sz="1100" dirty="0"/>
              <a:t>TW by depth</a:t>
            </a:r>
          </a:p>
        </p:txBody>
      </p:sp>
      <p:cxnSp>
        <p:nvCxnSpPr>
          <p:cNvPr id="199" name="Straight Connector 198">
            <a:extLst>
              <a:ext uri="{FF2B5EF4-FFF2-40B4-BE49-F238E27FC236}">
                <a16:creationId xmlns:a16="http://schemas.microsoft.com/office/drawing/2014/main" id="{9D70F79B-227B-8AC9-85C5-79E9EEC5ED27}"/>
              </a:ext>
            </a:extLst>
          </p:cNvPr>
          <p:cNvCxnSpPr>
            <a:cxnSpLocks/>
          </p:cNvCxnSpPr>
          <p:nvPr/>
        </p:nvCxnSpPr>
        <p:spPr bwMode="gray">
          <a:xfrm>
            <a:off x="8589818" y="1581610"/>
            <a:ext cx="327198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71E41907-78EC-B611-4761-B7F9667C6F4B}"/>
              </a:ext>
            </a:extLst>
          </p:cNvPr>
          <p:cNvCxnSpPr/>
          <p:nvPr>
            <p:custDataLst>
              <p:tags r:id="rId2"/>
            </p:custDataLst>
          </p:nvPr>
        </p:nvCxnSpPr>
        <p:spPr bwMode="auto">
          <a:xfrm>
            <a:off x="9477375" y="2587625"/>
            <a:ext cx="0" cy="515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CF9F54AD-D73F-D11E-C9ED-69A6EE1648ED}"/>
              </a:ext>
            </a:extLst>
          </p:cNvPr>
          <p:cNvCxnSpPr/>
          <p:nvPr>
            <p:custDataLst>
              <p:tags r:id="rId3"/>
            </p:custDataLst>
          </p:nvPr>
        </p:nvCxnSpPr>
        <p:spPr bwMode="auto">
          <a:xfrm>
            <a:off x="10477500" y="3751263"/>
            <a:ext cx="0" cy="515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1A29350E-911B-8513-E640-0ECFC7214000}"/>
              </a:ext>
            </a:extLst>
          </p:cNvPr>
          <p:cNvCxnSpPr/>
          <p:nvPr>
            <p:custDataLst>
              <p:tags r:id="rId4"/>
            </p:custDataLst>
          </p:nvPr>
        </p:nvCxnSpPr>
        <p:spPr bwMode="auto">
          <a:xfrm>
            <a:off x="11547475" y="4913313"/>
            <a:ext cx="0" cy="515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03" name="Chart 202">
            <a:extLst>
              <a:ext uri="{FF2B5EF4-FFF2-40B4-BE49-F238E27FC236}">
                <a16:creationId xmlns:a16="http://schemas.microsoft.com/office/drawing/2014/main" id="{AA16C420-99DA-496D-67DF-4E5C0BDEF291}"/>
              </a:ext>
            </a:extLst>
          </p:cNvPr>
          <p:cNvGraphicFramePr/>
          <p:nvPr>
            <p:custDataLst>
              <p:tags r:id="rId5"/>
            </p:custDataLst>
            <p:extLst>
              <p:ext uri="{D42A27DB-BD31-4B8C-83A1-F6EECF244321}">
                <p14:modId xmlns:p14="http://schemas.microsoft.com/office/powerpoint/2010/main" val="785177582"/>
              </p:ext>
            </p:extLst>
          </p:nvPr>
        </p:nvGraphicFramePr>
        <p:xfrm>
          <a:off x="9186863" y="1601788"/>
          <a:ext cx="2443162" cy="4814887"/>
        </p:xfrm>
        <a:graphic>
          <a:graphicData uri="http://schemas.openxmlformats.org/drawingml/2006/chart">
            <c:chart xmlns:c="http://schemas.openxmlformats.org/drawingml/2006/chart" xmlns:r="http://schemas.openxmlformats.org/officeDocument/2006/relationships" r:id="rId28"/>
          </a:graphicData>
        </a:graphic>
      </p:graphicFrame>
      <p:sp useBgFill="1">
        <p:nvSpPr>
          <p:cNvPr id="204" name="Freeform 203">
            <a:extLst>
              <a:ext uri="{FF2B5EF4-FFF2-40B4-BE49-F238E27FC236}">
                <a16:creationId xmlns:a16="http://schemas.microsoft.com/office/drawing/2014/main" id="{0C435A10-140A-23E6-A806-E087BF082615}"/>
              </a:ext>
            </a:extLst>
          </p:cNvPr>
          <p:cNvSpPr/>
          <p:nvPr>
            <p:custDataLst>
              <p:tags r:id="rId6"/>
            </p:custDataLst>
          </p:nvPr>
        </p:nvSpPr>
        <p:spPr bwMode="auto">
          <a:xfrm>
            <a:off x="10887075" y="4229100"/>
            <a:ext cx="252414" cy="722314"/>
          </a:xfrm>
          <a:custGeom>
            <a:avLst/>
            <a:gdLst/>
            <a:ahLst/>
            <a:cxnLst/>
            <a:rect l="0" t="0" r="0" b="0"/>
            <a:pathLst>
              <a:path w="252414" h="722314">
                <a:moveTo>
                  <a:pt x="252413" y="0"/>
                </a:moveTo>
                <a:lnTo>
                  <a:pt x="57150" y="722313"/>
                </a:lnTo>
                <a:lnTo>
                  <a:pt x="0" y="722313"/>
                </a:lnTo>
                <a:lnTo>
                  <a:pt x="19526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useBgFill="1">
        <p:nvSpPr>
          <p:cNvPr id="205" name="Freeform 204">
            <a:extLst>
              <a:ext uri="{FF2B5EF4-FFF2-40B4-BE49-F238E27FC236}">
                <a16:creationId xmlns:a16="http://schemas.microsoft.com/office/drawing/2014/main" id="{37D03D4C-BDF1-CADD-DD54-1FDE965B9E5F}"/>
              </a:ext>
            </a:extLst>
          </p:cNvPr>
          <p:cNvSpPr/>
          <p:nvPr>
            <p:custDataLst>
              <p:tags r:id="rId7"/>
            </p:custDataLst>
          </p:nvPr>
        </p:nvSpPr>
        <p:spPr bwMode="auto">
          <a:xfrm>
            <a:off x="10887075" y="5391150"/>
            <a:ext cx="252414" cy="722314"/>
          </a:xfrm>
          <a:custGeom>
            <a:avLst/>
            <a:gdLst/>
            <a:ahLst/>
            <a:cxnLst/>
            <a:rect l="0" t="0" r="0" b="0"/>
            <a:pathLst>
              <a:path w="252414" h="722314">
                <a:moveTo>
                  <a:pt x="252413" y="0"/>
                </a:moveTo>
                <a:lnTo>
                  <a:pt x="57150" y="722313"/>
                </a:lnTo>
                <a:lnTo>
                  <a:pt x="0" y="722313"/>
                </a:lnTo>
                <a:lnTo>
                  <a:pt x="19526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6" name="Freeform 205">
            <a:extLst>
              <a:ext uri="{FF2B5EF4-FFF2-40B4-BE49-F238E27FC236}">
                <a16:creationId xmlns:a16="http://schemas.microsoft.com/office/drawing/2014/main" id="{D92A57D3-6746-1C97-9767-193DB45D9779}"/>
              </a:ext>
            </a:extLst>
          </p:cNvPr>
          <p:cNvSpPr/>
          <p:nvPr>
            <p:custDataLst>
              <p:tags r:id="rId8"/>
            </p:custDataLst>
          </p:nvPr>
        </p:nvSpPr>
        <p:spPr bwMode="auto">
          <a:xfrm>
            <a:off x="10887075" y="4229100"/>
            <a:ext cx="195264" cy="722314"/>
          </a:xfrm>
          <a:custGeom>
            <a:avLst/>
            <a:gdLst/>
            <a:ahLst/>
            <a:cxnLst/>
            <a:rect l="0" t="0" r="0" b="0"/>
            <a:pathLst>
              <a:path w="195264" h="722314">
                <a:moveTo>
                  <a:pt x="195263" y="0"/>
                </a:moveTo>
                <a:lnTo>
                  <a:pt x="0" y="7223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7" name="Freeform 206">
            <a:extLst>
              <a:ext uri="{FF2B5EF4-FFF2-40B4-BE49-F238E27FC236}">
                <a16:creationId xmlns:a16="http://schemas.microsoft.com/office/drawing/2014/main" id="{0265E6EE-3BFF-5EB5-C811-CCFE79C4453D}"/>
              </a:ext>
            </a:extLst>
          </p:cNvPr>
          <p:cNvSpPr/>
          <p:nvPr>
            <p:custDataLst>
              <p:tags r:id="rId9"/>
            </p:custDataLst>
          </p:nvPr>
        </p:nvSpPr>
        <p:spPr bwMode="auto">
          <a:xfrm>
            <a:off x="10944225" y="4229100"/>
            <a:ext cx="195264" cy="722314"/>
          </a:xfrm>
          <a:custGeom>
            <a:avLst/>
            <a:gdLst/>
            <a:ahLst/>
            <a:cxnLst/>
            <a:rect l="0" t="0" r="0" b="0"/>
            <a:pathLst>
              <a:path w="195264" h="722314">
                <a:moveTo>
                  <a:pt x="195263" y="0"/>
                </a:moveTo>
                <a:lnTo>
                  <a:pt x="0" y="7223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8" name="Freeform 207">
            <a:extLst>
              <a:ext uri="{FF2B5EF4-FFF2-40B4-BE49-F238E27FC236}">
                <a16:creationId xmlns:a16="http://schemas.microsoft.com/office/drawing/2014/main" id="{2B9CDAC3-5B86-6E85-DA70-CD26870C557D}"/>
              </a:ext>
            </a:extLst>
          </p:cNvPr>
          <p:cNvSpPr/>
          <p:nvPr>
            <p:custDataLst>
              <p:tags r:id="rId10"/>
            </p:custDataLst>
          </p:nvPr>
        </p:nvSpPr>
        <p:spPr bwMode="auto">
          <a:xfrm>
            <a:off x="10887075" y="5391150"/>
            <a:ext cx="195264" cy="722314"/>
          </a:xfrm>
          <a:custGeom>
            <a:avLst/>
            <a:gdLst/>
            <a:ahLst/>
            <a:cxnLst/>
            <a:rect l="0" t="0" r="0" b="0"/>
            <a:pathLst>
              <a:path w="195264" h="722314">
                <a:moveTo>
                  <a:pt x="195263" y="0"/>
                </a:moveTo>
                <a:lnTo>
                  <a:pt x="0" y="7223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9" name="Freeform 208">
            <a:extLst>
              <a:ext uri="{FF2B5EF4-FFF2-40B4-BE49-F238E27FC236}">
                <a16:creationId xmlns:a16="http://schemas.microsoft.com/office/drawing/2014/main" id="{B11527DD-D681-3D9A-80EB-9049A4E0C2B2}"/>
              </a:ext>
            </a:extLst>
          </p:cNvPr>
          <p:cNvSpPr/>
          <p:nvPr>
            <p:custDataLst>
              <p:tags r:id="rId11"/>
            </p:custDataLst>
          </p:nvPr>
        </p:nvSpPr>
        <p:spPr bwMode="auto">
          <a:xfrm>
            <a:off x="10944225" y="5391150"/>
            <a:ext cx="195264" cy="722314"/>
          </a:xfrm>
          <a:custGeom>
            <a:avLst/>
            <a:gdLst/>
            <a:ahLst/>
            <a:cxnLst/>
            <a:rect l="0" t="0" r="0" b="0"/>
            <a:pathLst>
              <a:path w="195264" h="722314">
                <a:moveTo>
                  <a:pt x="195263" y="0"/>
                </a:moveTo>
                <a:lnTo>
                  <a:pt x="0" y="7223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0" name="Text Placeholder 10">
            <a:extLst>
              <a:ext uri="{FF2B5EF4-FFF2-40B4-BE49-F238E27FC236}">
                <a16:creationId xmlns:a16="http://schemas.microsoft.com/office/drawing/2014/main" id="{5E20603E-BCC5-D88B-F93F-EBECA8129AA1}"/>
              </a:ext>
            </a:extLst>
          </p:cNvPr>
          <p:cNvSpPr txBox="1">
            <a:spLocks/>
          </p:cNvSpPr>
          <p:nvPr>
            <p:custDataLst>
              <p:tags r:id="rId12"/>
            </p:custDataLst>
          </p:nvPr>
        </p:nvSpPr>
        <p:spPr bwMode="auto">
          <a:xfrm>
            <a:off x="8539163" y="21875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t>5-7.5 km</a:t>
            </a:r>
            <a:endParaRPr lang="en-US" sz="1000" b="1" dirty="0"/>
          </a:p>
        </p:txBody>
      </p:sp>
      <p:sp>
        <p:nvSpPr>
          <p:cNvPr id="211" name="Text Placeholder 10">
            <a:extLst>
              <a:ext uri="{FF2B5EF4-FFF2-40B4-BE49-F238E27FC236}">
                <a16:creationId xmlns:a16="http://schemas.microsoft.com/office/drawing/2014/main" id="{B6133D26-CCED-EE86-A931-673E282C1369}"/>
              </a:ext>
            </a:extLst>
          </p:cNvPr>
          <p:cNvSpPr txBox="1">
            <a:spLocks/>
          </p:cNvSpPr>
          <p:nvPr>
            <p:custDataLst>
              <p:tags r:id="rId13"/>
            </p:custDataLst>
          </p:nvPr>
        </p:nvSpPr>
        <p:spPr bwMode="gray">
          <a:xfrm>
            <a:off x="9802813" y="3351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733748-257B-41CB-918E-F03909355786}" type="datetime'''''''''1''''6,''''''''''''''''''0''''9'''''''">
              <a:rPr lang="en-US" altLang="en-US" sz="1000" smtClean="0"/>
              <a:pPr marL="0" indent="0" algn="ctr">
                <a:spcBef>
                  <a:spcPct val="0"/>
                </a:spcBef>
                <a:spcAft>
                  <a:spcPct val="0"/>
                </a:spcAft>
                <a:buNone/>
              </a:pPr>
              <a:t>16,09</a:t>
            </a:fld>
            <a:endParaRPr lang="en-US" sz="1000" dirty="0"/>
          </a:p>
        </p:txBody>
      </p:sp>
      <p:sp>
        <p:nvSpPr>
          <p:cNvPr id="212" name="Text Placeholder 10">
            <a:extLst>
              <a:ext uri="{FF2B5EF4-FFF2-40B4-BE49-F238E27FC236}">
                <a16:creationId xmlns:a16="http://schemas.microsoft.com/office/drawing/2014/main" id="{70FEED36-1325-F055-CC3C-530E3F397B08}"/>
              </a:ext>
            </a:extLst>
          </p:cNvPr>
          <p:cNvSpPr txBox="1">
            <a:spLocks/>
          </p:cNvSpPr>
          <p:nvPr>
            <p:custDataLst>
              <p:tags r:id="rId14"/>
            </p:custDataLst>
          </p:nvPr>
        </p:nvSpPr>
        <p:spPr bwMode="auto">
          <a:xfrm>
            <a:off x="8539163" y="3351213"/>
            <a:ext cx="574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t>7.5-10 km</a:t>
            </a:r>
            <a:endParaRPr lang="en-US" sz="1000" b="1" dirty="0"/>
          </a:p>
        </p:txBody>
      </p:sp>
      <p:sp>
        <p:nvSpPr>
          <p:cNvPr id="213" name="Text Placeholder 10">
            <a:extLst>
              <a:ext uri="{FF2B5EF4-FFF2-40B4-BE49-F238E27FC236}">
                <a16:creationId xmlns:a16="http://schemas.microsoft.com/office/drawing/2014/main" id="{DAE2432A-3138-A44F-36A5-67E014E2B1BD}"/>
              </a:ext>
            </a:extLst>
          </p:cNvPr>
          <p:cNvSpPr txBox="1">
            <a:spLocks/>
          </p:cNvSpPr>
          <p:nvPr>
            <p:custDataLst>
              <p:tags r:id="rId15"/>
            </p:custDataLst>
          </p:nvPr>
        </p:nvSpPr>
        <p:spPr bwMode="gray">
          <a:xfrm>
            <a:off x="10556875" y="4513263"/>
            <a:ext cx="349250"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91B7B2-6554-4AD7-81B8-2C97B454A080}" type="datetime'''''''''''''''''''''''''4''''''4'''',''''2''''''''''''''5'''">
              <a:rPr lang="en-US" altLang="en-US" sz="1000" smtClean="0"/>
              <a:pPr marL="0" indent="0" algn="ctr">
                <a:spcBef>
                  <a:spcPct val="0"/>
                </a:spcBef>
                <a:spcAft>
                  <a:spcPct val="0"/>
                </a:spcAft>
                <a:buNone/>
              </a:pPr>
              <a:t>44,25</a:t>
            </a:fld>
            <a:endParaRPr lang="en-US" sz="1000" dirty="0"/>
          </a:p>
        </p:txBody>
      </p:sp>
      <p:sp>
        <p:nvSpPr>
          <p:cNvPr id="214" name="Text Placeholder 10">
            <a:extLst>
              <a:ext uri="{FF2B5EF4-FFF2-40B4-BE49-F238E27FC236}">
                <a16:creationId xmlns:a16="http://schemas.microsoft.com/office/drawing/2014/main" id="{7A9FFED0-4B47-9753-4B54-F6F28C3AC45C}"/>
              </a:ext>
            </a:extLst>
          </p:cNvPr>
          <p:cNvSpPr txBox="1">
            <a:spLocks/>
          </p:cNvSpPr>
          <p:nvPr>
            <p:custDataLst>
              <p:tags r:id="rId16"/>
            </p:custDataLst>
          </p:nvPr>
        </p:nvSpPr>
        <p:spPr bwMode="auto">
          <a:xfrm>
            <a:off x="8539163" y="4513263"/>
            <a:ext cx="644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t>10-12.5 km</a:t>
            </a:r>
            <a:endParaRPr lang="en-US" sz="1000" b="1" dirty="0"/>
          </a:p>
        </p:txBody>
      </p:sp>
      <p:sp>
        <p:nvSpPr>
          <p:cNvPr id="215" name="Text Placeholder 10">
            <a:extLst>
              <a:ext uri="{FF2B5EF4-FFF2-40B4-BE49-F238E27FC236}">
                <a16:creationId xmlns:a16="http://schemas.microsoft.com/office/drawing/2014/main" id="{9F6EF4FC-B39B-0C74-BE67-B2FB54EF2228}"/>
              </a:ext>
            </a:extLst>
          </p:cNvPr>
          <p:cNvSpPr txBox="1">
            <a:spLocks/>
          </p:cNvSpPr>
          <p:nvPr>
            <p:custDataLst>
              <p:tags r:id="rId17"/>
            </p:custDataLst>
          </p:nvPr>
        </p:nvSpPr>
        <p:spPr bwMode="gray">
          <a:xfrm>
            <a:off x="9502775" y="2187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144667F-E3F6-480A-9F86-1602AB397CC0}" type="datetime'''3'''''',''''''''''''''3''''''''''''''''5'''''''''''''''">
              <a:rPr lang="en-US" altLang="en-US" sz="1000" smtClean="0"/>
              <a:pPr/>
              <a:t>3,35</a:t>
            </a:fld>
            <a:endParaRPr lang="en-US" sz="1000" dirty="0"/>
          </a:p>
        </p:txBody>
      </p:sp>
      <p:sp>
        <p:nvSpPr>
          <p:cNvPr id="216" name="Text Placeholder 10">
            <a:extLst>
              <a:ext uri="{FF2B5EF4-FFF2-40B4-BE49-F238E27FC236}">
                <a16:creationId xmlns:a16="http://schemas.microsoft.com/office/drawing/2014/main" id="{DB02893A-8334-08DC-60F2-698AEC92448C}"/>
              </a:ext>
            </a:extLst>
          </p:cNvPr>
          <p:cNvSpPr txBox="1">
            <a:spLocks/>
          </p:cNvSpPr>
          <p:nvPr>
            <p:custDataLst>
              <p:tags r:id="rId18"/>
            </p:custDataLst>
          </p:nvPr>
        </p:nvSpPr>
        <p:spPr bwMode="gray">
          <a:xfrm>
            <a:off x="11572875" y="56753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E7FC391-B71D-410C-9F34-97DB8BE05DA3}" type="datetime'6''''''3'''''''''''''',''6''''''''''''''9'''''''">
              <a:rPr lang="en-US" altLang="en-US" sz="1000" smtClean="0"/>
              <a:pPr/>
              <a:t>63,69</a:t>
            </a:fld>
            <a:endParaRPr lang="en-US" sz="1000" dirty="0"/>
          </a:p>
        </p:txBody>
      </p:sp>
      <p:sp>
        <p:nvSpPr>
          <p:cNvPr id="217" name="Up Arrow 216">
            <a:extLst>
              <a:ext uri="{FF2B5EF4-FFF2-40B4-BE49-F238E27FC236}">
                <a16:creationId xmlns:a16="http://schemas.microsoft.com/office/drawing/2014/main" id="{CC451B08-58E4-0B4F-49EA-EB7C21B70CFA}"/>
              </a:ext>
            </a:extLst>
          </p:cNvPr>
          <p:cNvSpPr/>
          <p:nvPr/>
        </p:nvSpPr>
        <p:spPr bwMode="gray">
          <a:xfrm rot="10800000">
            <a:off x="3589356" y="3755835"/>
            <a:ext cx="48423" cy="185580"/>
          </a:xfrm>
          <a:prstGeom prst="upArrow">
            <a:avLst/>
          </a:prstGeom>
          <a:solidFill>
            <a:schemeClr val="tx2">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100" dirty="0">
              <a:solidFill>
                <a:schemeClr val="tx1"/>
              </a:solidFill>
            </a:endParaRPr>
          </a:p>
        </p:txBody>
      </p:sp>
    </p:spTree>
    <p:extLst>
      <p:ext uri="{BB962C8B-B14F-4D97-AF65-F5344CB8AC3E}">
        <p14:creationId xmlns:p14="http://schemas.microsoft.com/office/powerpoint/2010/main" val="15344229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85019-76A9-E775-7A52-4177774EB7B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4F5508-E8DB-86D5-1329-9F2E5E61CAA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18B4029-61CF-63A0-279D-46D397BFC9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BDDCDF-BCF3-D9D1-23BC-3C38F63C99CE}"/>
              </a:ext>
            </a:extLst>
          </p:cNvPr>
          <p:cNvSpPr>
            <a:spLocks noGrp="1"/>
          </p:cNvSpPr>
          <p:nvPr>
            <p:ph type="title"/>
          </p:nvPr>
        </p:nvSpPr>
        <p:spPr>
          <a:xfrm>
            <a:off x="334963" y="513568"/>
            <a:ext cx="11522075" cy="754846"/>
          </a:xfrm>
        </p:spPr>
        <p:txBody>
          <a:bodyPr vert="horz" rIns="91440"/>
          <a:lstStyle/>
          <a:p>
            <a:r>
              <a:rPr lang="en-US" sz="2400" dirty="0"/>
              <a:t>IDDP-1 and IDDP-2 projects in Iceland are pioneering initiatives advancing the global understanding of superhot rock geothermal</a:t>
            </a:r>
            <a:endParaRPr lang="en-US" sz="2600" dirty="0"/>
          </a:p>
        </p:txBody>
      </p:sp>
      <p:sp>
        <p:nvSpPr>
          <p:cNvPr id="4" name="Footer Placeholder 3">
            <a:extLst>
              <a:ext uri="{FF2B5EF4-FFF2-40B4-BE49-F238E27FC236}">
                <a16:creationId xmlns:a16="http://schemas.microsoft.com/office/drawing/2014/main" id="{FAAFEECA-F21B-1A6B-A7C9-2C8CFC4B8C8E}"/>
              </a:ext>
            </a:extLst>
          </p:cNvPr>
          <p:cNvSpPr>
            <a:spLocks noGrp="1"/>
          </p:cNvSpPr>
          <p:nvPr>
            <p:ph type="ftr" sz="quarter" idx="3"/>
          </p:nvPr>
        </p:nvSpPr>
        <p:spPr>
          <a:xfrm>
            <a:off x="334962" y="6442908"/>
            <a:ext cx="9147241" cy="216706"/>
          </a:xfrm>
        </p:spPr>
        <p:txBody>
          <a:bodyPr/>
          <a:lstStyle/>
          <a:p>
            <a:r>
              <a:rPr lang="en-US" dirty="0">
                <a:solidFill>
                  <a:srgbClr val="000000"/>
                </a:solidFill>
              </a:rPr>
              <a:t>Sources: </a:t>
            </a:r>
            <a:r>
              <a:rPr lang="en-US" dirty="0">
                <a:hlinkClick r:id="rId5"/>
              </a:rPr>
              <a:t>The IDDP success story – Highlights</a:t>
            </a:r>
            <a:r>
              <a:rPr lang="en-US" dirty="0"/>
              <a:t> </a:t>
            </a:r>
            <a:r>
              <a:rPr lang="en-US" dirty="0">
                <a:solidFill>
                  <a:schemeClr val="tx1"/>
                </a:solidFill>
              </a:rPr>
              <a:t>(2021); </a:t>
            </a:r>
            <a:r>
              <a:rPr lang="en-US" dirty="0">
                <a:hlinkClick r:id="rId6"/>
              </a:rPr>
              <a:t>Corrosion damage of injection string from the deep geothermal well IDDP-2 in Reykjanes Iceland</a:t>
            </a:r>
            <a:r>
              <a:rPr lang="en-US" dirty="0"/>
              <a:t> </a:t>
            </a:r>
            <a:r>
              <a:rPr lang="en-US" dirty="0">
                <a:solidFill>
                  <a:schemeClr val="tx1"/>
                </a:solidFill>
              </a:rPr>
              <a:t>(2019).</a:t>
            </a:r>
            <a:br>
              <a:rPr lang="en-US" dirty="0"/>
            </a:br>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E1F3CD16-AF96-B619-E036-12DF6F87EB11}"/>
              </a:ext>
            </a:extLst>
          </p:cNvPr>
          <p:cNvSpPr txBox="1">
            <a:spLocks/>
          </p:cNvSpPr>
          <p:nvPr/>
        </p:nvSpPr>
        <p:spPr>
          <a:xfrm>
            <a:off x="0" y="0"/>
            <a:ext cx="3886200" cy="320040"/>
          </a:xfrm>
          <a:prstGeom prst="rect">
            <a:avLst/>
          </a:prstGeom>
          <a:solidFill>
            <a:schemeClr val="accent1">
              <a:lumMod val="20000"/>
              <a:lumOff val="80000"/>
            </a:schemeClr>
          </a:solidFill>
        </p:spPr>
        <p:txBody>
          <a:bodyPr lIns="0" rIns="0"/>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550" b="1" dirty="0"/>
              <a:t>Case study: Iceland Deep Drilling Project</a:t>
            </a:r>
          </a:p>
        </p:txBody>
      </p:sp>
      <p:sp>
        <p:nvSpPr>
          <p:cNvPr id="2" name="Rectangle 1">
            <a:extLst>
              <a:ext uri="{FF2B5EF4-FFF2-40B4-BE49-F238E27FC236}">
                <a16:creationId xmlns:a16="http://schemas.microsoft.com/office/drawing/2014/main" id="{040F7703-4135-97A8-5CD2-6494D0942F58}"/>
              </a:ext>
            </a:extLst>
          </p:cNvPr>
          <p:cNvSpPr/>
          <p:nvPr/>
        </p:nvSpPr>
        <p:spPr>
          <a:xfrm>
            <a:off x="5057361" y="1385217"/>
            <a:ext cx="6912864" cy="1184651"/>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b="1" dirty="0">
                <a:solidFill>
                  <a:schemeClr val="tx1"/>
                </a:solidFill>
              </a:rPr>
              <a:t>Active volcanic rift systems </a:t>
            </a:r>
            <a:r>
              <a:rPr lang="en-US" sz="1050" dirty="0">
                <a:solidFill>
                  <a:schemeClr val="tx1"/>
                </a:solidFill>
              </a:rPr>
              <a:t>(Krafla for IDDP-1 and Reykjanes for IDDP-2).</a:t>
            </a:r>
          </a:p>
          <a:p>
            <a:r>
              <a:rPr lang="en-US" sz="1050" dirty="0">
                <a:solidFill>
                  <a:schemeClr val="tx1"/>
                </a:solidFill>
              </a:rPr>
              <a:t>IDDP-1 was drilled in 2008 to approximately </a:t>
            </a:r>
            <a:r>
              <a:rPr lang="en-US" sz="1050" b="1" dirty="0">
                <a:solidFill>
                  <a:schemeClr val="tx1"/>
                </a:solidFill>
              </a:rPr>
              <a:t>2.1 km, producing steam at 452°C </a:t>
            </a:r>
            <a:r>
              <a:rPr lang="en-US" sz="1050" dirty="0">
                <a:solidFill>
                  <a:schemeClr val="tx1"/>
                </a:solidFill>
              </a:rPr>
              <a:t>(</a:t>
            </a:r>
            <a:r>
              <a:rPr lang="en-US" sz="1050" b="1" dirty="0">
                <a:solidFill>
                  <a:schemeClr val="tx1"/>
                </a:solidFill>
              </a:rPr>
              <a:t>targeted depth was 4.5 km, but drilling terminated </a:t>
            </a:r>
            <a:r>
              <a:rPr lang="en-US" sz="1050" dirty="0">
                <a:solidFill>
                  <a:schemeClr val="tx1"/>
                </a:solidFill>
              </a:rPr>
              <a:t>upon encountering a rhyolitic magma body at temperatures of &gt;900°C).</a:t>
            </a:r>
          </a:p>
          <a:p>
            <a:r>
              <a:rPr lang="en-US" sz="1050" dirty="0">
                <a:solidFill>
                  <a:schemeClr val="tx1"/>
                </a:solidFill>
              </a:rPr>
              <a:t>IDDP-2 was drilled in 2016 </a:t>
            </a:r>
            <a:r>
              <a:rPr lang="en-US" sz="1050" b="1" dirty="0">
                <a:solidFill>
                  <a:schemeClr val="tx1"/>
                </a:solidFill>
              </a:rPr>
              <a:t>to 4.7 km with temperature measured at 426°C and pressure at 340 bars</a:t>
            </a:r>
            <a:r>
              <a:rPr lang="en-US" sz="1050" dirty="0">
                <a:solidFill>
                  <a:schemeClr val="tx1"/>
                </a:solidFill>
              </a:rPr>
              <a:t>,</a:t>
            </a:r>
            <a:r>
              <a:rPr lang="en-US" sz="1050" b="1" dirty="0">
                <a:solidFill>
                  <a:schemeClr val="tx1"/>
                </a:solidFill>
              </a:rPr>
              <a:t> </a:t>
            </a:r>
            <a:r>
              <a:rPr lang="en-US" sz="1050" dirty="0">
                <a:solidFill>
                  <a:schemeClr val="tx1"/>
                </a:solidFill>
              </a:rPr>
              <a:t>achieving supercritical conditions (formation temperature is estimated to be 500 to 600°C).</a:t>
            </a:r>
          </a:p>
        </p:txBody>
      </p:sp>
      <p:sp>
        <p:nvSpPr>
          <p:cNvPr id="97" name="Rectangle 96">
            <a:extLst>
              <a:ext uri="{FF2B5EF4-FFF2-40B4-BE49-F238E27FC236}">
                <a16:creationId xmlns:a16="http://schemas.microsoft.com/office/drawing/2014/main" id="{687CAD09-CBC4-EB10-9A22-DA43305540D4}"/>
              </a:ext>
            </a:extLst>
          </p:cNvPr>
          <p:cNvSpPr/>
          <p:nvPr/>
        </p:nvSpPr>
        <p:spPr>
          <a:xfrm>
            <a:off x="3457575" y="1385218"/>
            <a:ext cx="1439984" cy="1184650"/>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Resource characteristics</a:t>
            </a:r>
          </a:p>
        </p:txBody>
      </p:sp>
      <p:sp>
        <p:nvSpPr>
          <p:cNvPr id="98" name="Flowchart: Alternate Process 20">
            <a:extLst>
              <a:ext uri="{FF2B5EF4-FFF2-40B4-BE49-F238E27FC236}">
                <a16:creationId xmlns:a16="http://schemas.microsoft.com/office/drawing/2014/main" id="{29DFBDF5-50DB-B791-91C2-5BFFC1AEA4B1}"/>
              </a:ext>
            </a:extLst>
          </p:cNvPr>
          <p:cNvSpPr/>
          <p:nvPr/>
        </p:nvSpPr>
        <p:spPr>
          <a:xfrm>
            <a:off x="4946017" y="1224453"/>
            <a:ext cx="6861547" cy="1006600"/>
          </a:xfrm>
          <a:prstGeom prst="flowChartAlternateProcess">
            <a:avLst/>
          </a:prstGeom>
          <a:noFill/>
          <a:ln w="9525" cap="sq"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endParaRPr lang="en-US" sz="1200" dirty="0">
              <a:solidFill>
                <a:schemeClr val="tx1"/>
              </a:solidFill>
              <a:latin typeface="+mj-lt"/>
            </a:endParaRPr>
          </a:p>
        </p:txBody>
      </p:sp>
      <p:sp>
        <p:nvSpPr>
          <p:cNvPr id="99" name="Rectangle 98">
            <a:extLst>
              <a:ext uri="{FF2B5EF4-FFF2-40B4-BE49-F238E27FC236}">
                <a16:creationId xmlns:a16="http://schemas.microsoft.com/office/drawing/2014/main" id="{D8464A36-1333-47CB-F4D8-C5961C876591}"/>
              </a:ext>
            </a:extLst>
          </p:cNvPr>
          <p:cNvSpPr/>
          <p:nvPr/>
        </p:nvSpPr>
        <p:spPr>
          <a:xfrm>
            <a:off x="3457576" y="2626212"/>
            <a:ext cx="1439984" cy="1135871"/>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Technology &amp; output</a:t>
            </a:r>
          </a:p>
        </p:txBody>
      </p:sp>
      <p:sp>
        <p:nvSpPr>
          <p:cNvPr id="100" name="Rectangle 99">
            <a:extLst>
              <a:ext uri="{FF2B5EF4-FFF2-40B4-BE49-F238E27FC236}">
                <a16:creationId xmlns:a16="http://schemas.microsoft.com/office/drawing/2014/main" id="{DFD179FA-2B60-3810-AE20-346B6A832DAE}"/>
              </a:ext>
            </a:extLst>
          </p:cNvPr>
          <p:cNvSpPr/>
          <p:nvPr/>
        </p:nvSpPr>
        <p:spPr>
          <a:xfrm>
            <a:off x="5057361" y="2633228"/>
            <a:ext cx="6912864" cy="1128855"/>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chemeClr val="tx1"/>
                </a:solidFill>
              </a:rPr>
              <a:t>Both IDDP wells were designed for scientific research rather than electricity generation. They were not connected to power plants but demonstrated that </a:t>
            </a:r>
            <a:r>
              <a:rPr lang="en-US" sz="1050" b="1" dirty="0">
                <a:solidFill>
                  <a:schemeClr val="tx1"/>
                </a:solidFill>
              </a:rPr>
              <a:t>supercritical geothermal fluids exist and can be accessed</a:t>
            </a:r>
            <a:r>
              <a:rPr lang="en-US" sz="1050" dirty="0">
                <a:solidFill>
                  <a:schemeClr val="tx1"/>
                </a:solidFill>
              </a:rPr>
              <a:t>.</a:t>
            </a:r>
          </a:p>
          <a:p>
            <a:r>
              <a:rPr lang="en-US" sz="1050" dirty="0">
                <a:solidFill>
                  <a:schemeClr val="tx1"/>
                </a:solidFill>
              </a:rPr>
              <a:t>Injection/tracer tests at IDDP-2 revealed deep fracture connectivity to nearby shallower wells, </a:t>
            </a:r>
            <a:r>
              <a:rPr lang="en-US" sz="1050" b="1" dirty="0">
                <a:solidFill>
                  <a:schemeClr val="tx1"/>
                </a:solidFill>
              </a:rPr>
              <a:t>supporting the potential for a deep superhot EGS.</a:t>
            </a:r>
          </a:p>
        </p:txBody>
      </p:sp>
      <p:sp>
        <p:nvSpPr>
          <p:cNvPr id="101" name="Rectangle 100">
            <a:extLst>
              <a:ext uri="{FF2B5EF4-FFF2-40B4-BE49-F238E27FC236}">
                <a16:creationId xmlns:a16="http://schemas.microsoft.com/office/drawing/2014/main" id="{E3AD4C65-31B2-D418-1C3B-9C3CAF764F6C}"/>
              </a:ext>
            </a:extLst>
          </p:cNvPr>
          <p:cNvSpPr/>
          <p:nvPr/>
        </p:nvSpPr>
        <p:spPr>
          <a:xfrm>
            <a:off x="3474569" y="3789974"/>
            <a:ext cx="1422990" cy="2571287"/>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i="0" dirty="0">
                <a:effectLst/>
              </a:rPr>
              <a:t>Lessons learned</a:t>
            </a:r>
            <a:endParaRPr lang="en-US" sz="1200" b="0" i="0" dirty="0">
              <a:effectLst/>
            </a:endParaRPr>
          </a:p>
        </p:txBody>
      </p:sp>
      <p:sp>
        <p:nvSpPr>
          <p:cNvPr id="102" name="Rectangle 101">
            <a:extLst>
              <a:ext uri="{FF2B5EF4-FFF2-40B4-BE49-F238E27FC236}">
                <a16:creationId xmlns:a16="http://schemas.microsoft.com/office/drawing/2014/main" id="{6B796E31-71CA-D632-7370-CD9DFA4E9C23}"/>
              </a:ext>
            </a:extLst>
          </p:cNvPr>
          <p:cNvSpPr/>
          <p:nvPr/>
        </p:nvSpPr>
        <p:spPr>
          <a:xfrm>
            <a:off x="5057361" y="3789974"/>
            <a:ext cx="6912864" cy="2571287"/>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chemeClr val="tx1"/>
                </a:solidFill>
              </a:rPr>
              <a:t>IDDP-1 was the world’s hottest production well, but due to the </a:t>
            </a:r>
            <a:r>
              <a:rPr lang="en-US" sz="1050" b="1" dirty="0">
                <a:solidFill>
                  <a:schemeClr val="tx1"/>
                </a:solidFill>
              </a:rPr>
              <a:t>failure of several surface valves in 2012, the well had to be cooled down</a:t>
            </a:r>
            <a:r>
              <a:rPr lang="en-US" sz="1050" dirty="0">
                <a:solidFill>
                  <a:schemeClr val="tx1"/>
                </a:solidFill>
              </a:rPr>
              <a:t>, cemented up, and permanently abandoned with a sunk cost of €15M. However, the project proved </a:t>
            </a:r>
            <a:r>
              <a:rPr lang="en-US" sz="1050" b="1" dirty="0">
                <a:solidFill>
                  <a:schemeClr val="tx1"/>
                </a:solidFill>
              </a:rPr>
              <a:t>magma-enhanced geothermal systems are possible</a:t>
            </a:r>
            <a:r>
              <a:rPr lang="en-US" sz="1050" dirty="0">
                <a:solidFill>
                  <a:schemeClr val="tx1"/>
                </a:solidFill>
              </a:rPr>
              <a:t>.</a:t>
            </a:r>
          </a:p>
          <a:p>
            <a:r>
              <a:rPr lang="en-US" sz="1050" dirty="0">
                <a:solidFill>
                  <a:schemeClr val="tx1"/>
                </a:solidFill>
              </a:rPr>
              <a:t>IDDP-2, the deepest well drilled in Iceland, demonstrated that </a:t>
            </a:r>
            <a:r>
              <a:rPr lang="en-US" sz="1050" b="1" dirty="0">
                <a:solidFill>
                  <a:schemeClr val="tx1"/>
                </a:solidFill>
              </a:rPr>
              <a:t>ultradeep, superhot drilling is feasible </a:t>
            </a:r>
            <a:r>
              <a:rPr lang="en-US" sz="1050" dirty="0">
                <a:solidFill>
                  <a:schemeClr val="tx1"/>
                </a:solidFill>
              </a:rPr>
              <a:t>but also revealed significant challenges, including a </a:t>
            </a:r>
            <a:r>
              <a:rPr lang="en-US" sz="1050" b="1" dirty="0">
                <a:solidFill>
                  <a:schemeClr val="tx1"/>
                </a:solidFill>
              </a:rPr>
              <a:t>casing damage encountered during operations</a:t>
            </a:r>
            <a:r>
              <a:rPr lang="en-US" sz="1050" dirty="0">
                <a:solidFill>
                  <a:schemeClr val="tx1"/>
                </a:solidFill>
              </a:rPr>
              <a:t>.</a:t>
            </a:r>
          </a:p>
          <a:p>
            <a:r>
              <a:rPr lang="en-US" sz="1050" dirty="0">
                <a:solidFill>
                  <a:schemeClr val="tx1"/>
                </a:solidFill>
              </a:rPr>
              <a:t>High-temperature, oxygen-rich injection water and </a:t>
            </a:r>
            <a:r>
              <a:rPr lang="en-US" sz="1050" b="1" dirty="0">
                <a:solidFill>
                  <a:schemeClr val="tx1"/>
                </a:solidFill>
              </a:rPr>
              <a:t>corrosive supercritical reservoir fluids caused rapid casing and valve degradation</a:t>
            </a:r>
            <a:r>
              <a:rPr lang="en-US" sz="1050" dirty="0">
                <a:solidFill>
                  <a:schemeClr val="tx1"/>
                </a:solidFill>
              </a:rPr>
              <a:t>, highlighting the need for corrosion-resistant alloys, improved well design, and strict injection-fluid control in future deep geothermal projects.</a:t>
            </a:r>
          </a:p>
          <a:p>
            <a:r>
              <a:rPr lang="en-US" sz="1050" dirty="0">
                <a:solidFill>
                  <a:schemeClr val="tx1"/>
                </a:solidFill>
              </a:rPr>
              <a:t>The IDDP’s commitment to open publication and data sharing </a:t>
            </a:r>
            <a:r>
              <a:rPr lang="en-US" sz="1050" b="1" dirty="0">
                <a:solidFill>
                  <a:schemeClr val="tx1"/>
                </a:solidFill>
              </a:rPr>
              <a:t>established a new international standard</a:t>
            </a:r>
            <a:r>
              <a:rPr lang="en-US" sz="1050" dirty="0">
                <a:solidFill>
                  <a:schemeClr val="tx1"/>
                </a:solidFill>
              </a:rPr>
              <a:t>, directly influencing Japan’s IDDP-J and the U.S. DOE Superhot Rock initiatives.</a:t>
            </a:r>
          </a:p>
          <a:p>
            <a:r>
              <a:rPr lang="en-US" sz="1050" dirty="0">
                <a:solidFill>
                  <a:schemeClr val="tx1"/>
                </a:solidFill>
              </a:rPr>
              <a:t>IDDP-3 is expected to be drilled in Nesjavellir in 2026, targeting a previously drilled superhot zone, and aims to test improved designs using lessons learned from IDDP-1 and IDDP-2.</a:t>
            </a:r>
          </a:p>
        </p:txBody>
      </p:sp>
      <p:pic>
        <p:nvPicPr>
          <p:cNvPr id="103" name="Graphic 102" descr="Marker with solid fill">
            <a:extLst>
              <a:ext uri="{FF2B5EF4-FFF2-40B4-BE49-F238E27FC236}">
                <a16:creationId xmlns:a16="http://schemas.microsoft.com/office/drawing/2014/main" id="{E3DD504F-AFE6-9946-B840-97518AAF42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4816" y="5766983"/>
            <a:ext cx="340167" cy="340167"/>
          </a:xfrm>
          <a:prstGeom prst="rect">
            <a:avLst/>
          </a:prstGeom>
        </p:spPr>
      </p:pic>
      <p:pic>
        <p:nvPicPr>
          <p:cNvPr id="104" name="Graphic 103" descr="Marker with solid fill">
            <a:extLst>
              <a:ext uri="{FF2B5EF4-FFF2-40B4-BE49-F238E27FC236}">
                <a16:creationId xmlns:a16="http://schemas.microsoft.com/office/drawing/2014/main" id="{9CCA66FF-5372-226C-C8ED-E64E09B088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13345" y="5575467"/>
            <a:ext cx="340167" cy="340167"/>
          </a:xfrm>
          <a:prstGeom prst="rect">
            <a:avLst/>
          </a:prstGeom>
        </p:spPr>
      </p:pic>
      <p:pic>
        <p:nvPicPr>
          <p:cNvPr id="105" name="Graphic 104" descr="Marker with solid fill">
            <a:extLst>
              <a:ext uri="{FF2B5EF4-FFF2-40B4-BE49-F238E27FC236}">
                <a16:creationId xmlns:a16="http://schemas.microsoft.com/office/drawing/2014/main" id="{CA33E465-1F9C-679F-18F0-23896F5AF9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1076" y="4900290"/>
            <a:ext cx="340167" cy="340167"/>
          </a:xfrm>
          <a:prstGeom prst="rect">
            <a:avLst/>
          </a:prstGeom>
        </p:spPr>
      </p:pic>
      <p:sp>
        <p:nvSpPr>
          <p:cNvPr id="106" name="TextBox 105">
            <a:extLst>
              <a:ext uri="{FF2B5EF4-FFF2-40B4-BE49-F238E27FC236}">
                <a16:creationId xmlns:a16="http://schemas.microsoft.com/office/drawing/2014/main" id="{25E5CF2E-82C4-88D2-E408-D9A873282AC1}"/>
              </a:ext>
            </a:extLst>
          </p:cNvPr>
          <p:cNvSpPr txBox="1"/>
          <p:nvPr/>
        </p:nvSpPr>
        <p:spPr bwMode="gray">
          <a:xfrm>
            <a:off x="1083492" y="5872864"/>
            <a:ext cx="515132" cy="234286"/>
          </a:xfrm>
          <a:prstGeom prst="rect">
            <a:avLst/>
          </a:prstGeom>
          <a:noFill/>
        </p:spPr>
        <p:txBody>
          <a:bodyPr wrap="none" lIns="36000" tIns="36000" rIns="36000" bIns="36000" rtlCol="0">
            <a:spAutoFit/>
          </a:bodyPr>
          <a:lstStyle/>
          <a:p>
            <a:pPr marL="0" indent="0">
              <a:buNone/>
            </a:pPr>
            <a:r>
              <a:rPr lang="en-US" sz="1050" dirty="0">
                <a:solidFill>
                  <a:schemeClr val="bg1"/>
                </a:solidFill>
              </a:rPr>
              <a:t>IDDP-2</a:t>
            </a:r>
          </a:p>
        </p:txBody>
      </p:sp>
      <p:sp>
        <p:nvSpPr>
          <p:cNvPr id="107" name="TextBox 106">
            <a:extLst>
              <a:ext uri="{FF2B5EF4-FFF2-40B4-BE49-F238E27FC236}">
                <a16:creationId xmlns:a16="http://schemas.microsoft.com/office/drawing/2014/main" id="{3774431D-1551-333F-2C18-6959DA3E31E0}"/>
              </a:ext>
            </a:extLst>
          </p:cNvPr>
          <p:cNvSpPr txBox="1"/>
          <p:nvPr/>
        </p:nvSpPr>
        <p:spPr bwMode="gray">
          <a:xfrm>
            <a:off x="1468771" y="5615618"/>
            <a:ext cx="1124273" cy="234286"/>
          </a:xfrm>
          <a:prstGeom prst="rect">
            <a:avLst/>
          </a:prstGeom>
          <a:noFill/>
        </p:spPr>
        <p:txBody>
          <a:bodyPr wrap="none" lIns="36000" tIns="36000" rIns="36000" bIns="36000" rtlCol="0">
            <a:spAutoFit/>
          </a:bodyPr>
          <a:lstStyle/>
          <a:p>
            <a:pPr marL="0" indent="0">
              <a:buNone/>
            </a:pPr>
            <a:r>
              <a:rPr lang="en-US" sz="1050" dirty="0">
                <a:solidFill>
                  <a:schemeClr val="bg1"/>
                </a:solidFill>
              </a:rPr>
              <a:t>IDDP-3 </a:t>
            </a:r>
            <a:r>
              <a:rPr lang="en-US" sz="1050" i="1" dirty="0">
                <a:solidFill>
                  <a:schemeClr val="bg1"/>
                </a:solidFill>
              </a:rPr>
              <a:t>(planned)</a:t>
            </a:r>
          </a:p>
        </p:txBody>
      </p:sp>
      <p:sp>
        <p:nvSpPr>
          <p:cNvPr id="108" name="TextBox 107">
            <a:extLst>
              <a:ext uri="{FF2B5EF4-FFF2-40B4-BE49-F238E27FC236}">
                <a16:creationId xmlns:a16="http://schemas.microsoft.com/office/drawing/2014/main" id="{BD6344C6-315B-A775-ADCE-ECCF1B655A0C}"/>
              </a:ext>
            </a:extLst>
          </p:cNvPr>
          <p:cNvSpPr txBox="1"/>
          <p:nvPr/>
        </p:nvSpPr>
        <p:spPr bwMode="gray">
          <a:xfrm>
            <a:off x="2143593" y="5175578"/>
            <a:ext cx="515132" cy="234286"/>
          </a:xfrm>
          <a:prstGeom prst="rect">
            <a:avLst/>
          </a:prstGeom>
          <a:noFill/>
        </p:spPr>
        <p:txBody>
          <a:bodyPr wrap="none" lIns="36000" tIns="36000" rIns="36000" bIns="36000" rtlCol="0">
            <a:spAutoFit/>
          </a:bodyPr>
          <a:lstStyle/>
          <a:p>
            <a:pPr marL="0" indent="0">
              <a:buNone/>
            </a:pPr>
            <a:r>
              <a:rPr lang="en-US" sz="1050" dirty="0">
                <a:solidFill>
                  <a:schemeClr val="bg1"/>
                </a:solidFill>
              </a:rPr>
              <a:t>IDDP-1</a:t>
            </a:r>
          </a:p>
        </p:txBody>
      </p:sp>
      <p:pic>
        <p:nvPicPr>
          <p:cNvPr id="109" name="Picture 108">
            <a:extLst>
              <a:ext uri="{FF2B5EF4-FFF2-40B4-BE49-F238E27FC236}">
                <a16:creationId xmlns:a16="http://schemas.microsoft.com/office/drawing/2014/main" id="{0C11F2D6-6CB0-89AE-395D-034D39B9E750}"/>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544935" y="1382751"/>
            <a:ext cx="2625042" cy="3351940"/>
          </a:xfrm>
          <a:prstGeom prst="rect">
            <a:avLst/>
          </a:prstGeom>
        </p:spPr>
      </p:pic>
      <p:grpSp>
        <p:nvGrpSpPr>
          <p:cNvPr id="110" name="Group 109">
            <a:extLst>
              <a:ext uri="{FF2B5EF4-FFF2-40B4-BE49-F238E27FC236}">
                <a16:creationId xmlns:a16="http://schemas.microsoft.com/office/drawing/2014/main" id="{BD601311-57F1-531C-3701-8B8A2973AC87}"/>
              </a:ext>
            </a:extLst>
          </p:cNvPr>
          <p:cNvGrpSpPr>
            <a:grpSpLocks noChangeAspect="1"/>
          </p:cNvGrpSpPr>
          <p:nvPr/>
        </p:nvGrpSpPr>
        <p:grpSpPr>
          <a:xfrm>
            <a:off x="539688" y="4797641"/>
            <a:ext cx="2339946" cy="1555652"/>
            <a:chOff x="5164138" y="2197100"/>
            <a:chExt cx="6318250" cy="4200525"/>
          </a:xfrm>
          <a:noFill/>
        </p:grpSpPr>
        <p:sp>
          <p:nvSpPr>
            <p:cNvPr id="111" name="Freeform 6">
              <a:extLst>
                <a:ext uri="{FF2B5EF4-FFF2-40B4-BE49-F238E27FC236}">
                  <a16:creationId xmlns:a16="http://schemas.microsoft.com/office/drawing/2014/main" id="{FBD8C13A-9493-13CE-4CAB-AE966C5B4DE1}"/>
                </a:ext>
              </a:extLst>
            </p:cNvPr>
            <p:cNvSpPr>
              <a:spLocks/>
            </p:cNvSpPr>
            <p:nvPr/>
          </p:nvSpPr>
          <p:spPr bwMode="auto">
            <a:xfrm>
              <a:off x="8231188" y="2197100"/>
              <a:ext cx="2489200" cy="2738437"/>
            </a:xfrm>
            <a:custGeom>
              <a:avLst/>
              <a:gdLst>
                <a:gd name="T0" fmla="*/ 347677297 w 654"/>
                <a:gd name="T1" fmla="*/ 2074361072 h 719"/>
                <a:gd name="T2" fmla="*/ 637406475 w 654"/>
                <a:gd name="T3" fmla="*/ 2030843141 h 719"/>
                <a:gd name="T4" fmla="*/ 811247027 w 654"/>
                <a:gd name="T5" fmla="*/ 2132382441 h 719"/>
                <a:gd name="T6" fmla="*/ 1028542007 w 654"/>
                <a:gd name="T7" fmla="*/ 2147483646 h 719"/>
                <a:gd name="T8" fmla="*/ 1796326993 w 654"/>
                <a:gd name="T9" fmla="*/ 2147483646 h 719"/>
                <a:gd name="T10" fmla="*/ 2147483646 w 654"/>
                <a:gd name="T11" fmla="*/ 2147483646 h 719"/>
                <a:gd name="T12" fmla="*/ 2147483646 w 654"/>
                <a:gd name="T13" fmla="*/ 2147483646 h 719"/>
                <a:gd name="T14" fmla="*/ 1970167545 w 654"/>
                <a:gd name="T15" fmla="*/ 2147483646 h 719"/>
                <a:gd name="T16" fmla="*/ 1636976326 w 654"/>
                <a:gd name="T17" fmla="*/ 2059853825 h 719"/>
                <a:gd name="T18" fmla="*/ 2147483646 w 654"/>
                <a:gd name="T19" fmla="*/ 2117879003 h 719"/>
                <a:gd name="T20" fmla="*/ 2147483646 w 654"/>
                <a:gd name="T21" fmla="*/ 2147483646 h 719"/>
                <a:gd name="T22" fmla="*/ 2147483646 w 654"/>
                <a:gd name="T23" fmla="*/ 2147483646 h 719"/>
                <a:gd name="T24" fmla="*/ 2147483646 w 654"/>
                <a:gd name="T25" fmla="*/ 2147483646 h 719"/>
                <a:gd name="T26" fmla="*/ 2147483646 w 654"/>
                <a:gd name="T27" fmla="*/ 2147483646 h 719"/>
                <a:gd name="T28" fmla="*/ 2147483646 w 654"/>
                <a:gd name="T29" fmla="*/ 2147483646 h 719"/>
                <a:gd name="T30" fmla="*/ 2147483646 w 654"/>
                <a:gd name="T31" fmla="*/ 2147483646 h 719"/>
                <a:gd name="T32" fmla="*/ 2147483646 w 654"/>
                <a:gd name="T33" fmla="*/ 1856771416 h 719"/>
                <a:gd name="T34" fmla="*/ 2147483646 w 654"/>
                <a:gd name="T35" fmla="*/ 913880365 h 719"/>
                <a:gd name="T36" fmla="*/ 2147483646 w 654"/>
                <a:gd name="T37" fmla="*/ 188578972 h 719"/>
                <a:gd name="T38" fmla="*/ 2147483646 w 654"/>
                <a:gd name="T39" fmla="*/ 159564478 h 719"/>
                <a:gd name="T40" fmla="*/ 2147483646 w 654"/>
                <a:gd name="T41" fmla="*/ 116046547 h 719"/>
                <a:gd name="T42" fmla="*/ 2147483646 w 654"/>
                <a:gd name="T43" fmla="*/ 14507247 h 719"/>
                <a:gd name="T44" fmla="*/ 2147483646 w 654"/>
                <a:gd name="T45" fmla="*/ 174071725 h 719"/>
                <a:gd name="T46" fmla="*/ 2147483646 w 654"/>
                <a:gd name="T47" fmla="*/ 522215175 h 719"/>
                <a:gd name="T48" fmla="*/ 2147483646 w 654"/>
                <a:gd name="T49" fmla="*/ 652768969 h 719"/>
                <a:gd name="T50" fmla="*/ 2147483646 w 654"/>
                <a:gd name="T51" fmla="*/ 1291034500 h 719"/>
                <a:gd name="T52" fmla="*/ 2147483646 w 654"/>
                <a:gd name="T53" fmla="*/ 1552142088 h 719"/>
                <a:gd name="T54" fmla="*/ 2147483646 w 654"/>
                <a:gd name="T55" fmla="*/ 1203998638 h 719"/>
                <a:gd name="T56" fmla="*/ 2147483646 w 654"/>
                <a:gd name="T57" fmla="*/ 884865872 h 719"/>
                <a:gd name="T58" fmla="*/ 2147483646 w 654"/>
                <a:gd name="T59" fmla="*/ 493204491 h 719"/>
                <a:gd name="T60" fmla="*/ 2147483646 w 654"/>
                <a:gd name="T61" fmla="*/ 1189491391 h 719"/>
                <a:gd name="T62" fmla="*/ 2147483646 w 654"/>
                <a:gd name="T63" fmla="*/ 1798746238 h 719"/>
                <a:gd name="T64" fmla="*/ 2147483646 w 654"/>
                <a:gd name="T65" fmla="*/ 2146889688 h 719"/>
                <a:gd name="T66" fmla="*/ 2147483646 w 654"/>
                <a:gd name="T67" fmla="*/ 2103371757 h 719"/>
                <a:gd name="T68" fmla="*/ 2147483646 w 654"/>
                <a:gd name="T69" fmla="*/ 2147483646 h 719"/>
                <a:gd name="T70" fmla="*/ 2147483646 w 654"/>
                <a:gd name="T71" fmla="*/ 2147483646 h 719"/>
                <a:gd name="T72" fmla="*/ 2147483646 w 654"/>
                <a:gd name="T73" fmla="*/ 2147483646 h 719"/>
                <a:gd name="T74" fmla="*/ 2147483646 w 654"/>
                <a:gd name="T75" fmla="*/ 2147483646 h 719"/>
                <a:gd name="T76" fmla="*/ 2147483646 w 654"/>
                <a:gd name="T77" fmla="*/ 2147483646 h 719"/>
                <a:gd name="T78" fmla="*/ 2147483646 w 654"/>
                <a:gd name="T79" fmla="*/ 2147483646 h 719"/>
                <a:gd name="T80" fmla="*/ 2147483646 w 654"/>
                <a:gd name="T81" fmla="*/ 2147483646 h 719"/>
                <a:gd name="T82" fmla="*/ 2147483646 w 654"/>
                <a:gd name="T83" fmla="*/ 2147483646 h 719"/>
                <a:gd name="T84" fmla="*/ 1506597815 w 654"/>
                <a:gd name="T85" fmla="*/ 2147483646 h 719"/>
                <a:gd name="T86" fmla="*/ 869191340 w 654"/>
                <a:gd name="T87" fmla="*/ 2147483646 h 719"/>
                <a:gd name="T88" fmla="*/ 449083651 w 654"/>
                <a:gd name="T89" fmla="*/ 2147483646 h 719"/>
                <a:gd name="T90" fmla="*/ 260757021 w 654"/>
                <a:gd name="T91" fmla="*/ 2147483646 h 719"/>
                <a:gd name="T92" fmla="*/ 405621610 w 654"/>
                <a:gd name="T93" fmla="*/ 2147483646 h 719"/>
                <a:gd name="T94" fmla="*/ 0 w 654"/>
                <a:gd name="T95" fmla="*/ 2147483646 h 7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54" h="719">
                  <a:moveTo>
                    <a:pt x="0" y="153"/>
                  </a:moveTo>
                  <a:cubicBezTo>
                    <a:pt x="5" y="147"/>
                    <a:pt x="12" y="143"/>
                    <a:pt x="19" y="142"/>
                  </a:cubicBezTo>
                  <a:cubicBezTo>
                    <a:pt x="24" y="143"/>
                    <a:pt x="24" y="143"/>
                    <a:pt x="24" y="143"/>
                  </a:cubicBezTo>
                  <a:cubicBezTo>
                    <a:pt x="26" y="153"/>
                    <a:pt x="26" y="153"/>
                    <a:pt x="26" y="153"/>
                  </a:cubicBezTo>
                  <a:cubicBezTo>
                    <a:pt x="32" y="136"/>
                    <a:pt x="32" y="136"/>
                    <a:pt x="32" y="136"/>
                  </a:cubicBezTo>
                  <a:cubicBezTo>
                    <a:pt x="44" y="140"/>
                    <a:pt x="44" y="140"/>
                    <a:pt x="44" y="140"/>
                  </a:cubicBezTo>
                  <a:cubicBezTo>
                    <a:pt x="41" y="146"/>
                    <a:pt x="40" y="152"/>
                    <a:pt x="42" y="158"/>
                  </a:cubicBezTo>
                  <a:cubicBezTo>
                    <a:pt x="52" y="147"/>
                    <a:pt x="52" y="147"/>
                    <a:pt x="52" y="147"/>
                  </a:cubicBezTo>
                  <a:cubicBezTo>
                    <a:pt x="56" y="147"/>
                    <a:pt x="56" y="147"/>
                    <a:pt x="56" y="147"/>
                  </a:cubicBezTo>
                  <a:cubicBezTo>
                    <a:pt x="67" y="160"/>
                    <a:pt x="67" y="160"/>
                    <a:pt x="67" y="160"/>
                  </a:cubicBezTo>
                  <a:cubicBezTo>
                    <a:pt x="62" y="175"/>
                    <a:pt x="62" y="175"/>
                    <a:pt x="62" y="175"/>
                  </a:cubicBezTo>
                  <a:cubicBezTo>
                    <a:pt x="71" y="169"/>
                    <a:pt x="71" y="169"/>
                    <a:pt x="71" y="169"/>
                  </a:cubicBezTo>
                  <a:cubicBezTo>
                    <a:pt x="87" y="178"/>
                    <a:pt x="83" y="199"/>
                    <a:pt x="81" y="214"/>
                  </a:cubicBezTo>
                  <a:cubicBezTo>
                    <a:pt x="91" y="217"/>
                    <a:pt x="99" y="221"/>
                    <a:pt x="110" y="221"/>
                  </a:cubicBezTo>
                  <a:cubicBezTo>
                    <a:pt x="117" y="230"/>
                    <a:pt x="120" y="236"/>
                    <a:pt x="124" y="247"/>
                  </a:cubicBezTo>
                  <a:cubicBezTo>
                    <a:pt x="132" y="253"/>
                    <a:pt x="132" y="253"/>
                    <a:pt x="132" y="253"/>
                  </a:cubicBezTo>
                  <a:cubicBezTo>
                    <a:pt x="133" y="266"/>
                    <a:pt x="138" y="279"/>
                    <a:pt x="138" y="292"/>
                  </a:cubicBezTo>
                  <a:cubicBezTo>
                    <a:pt x="148" y="304"/>
                    <a:pt x="151" y="309"/>
                    <a:pt x="154" y="324"/>
                  </a:cubicBezTo>
                  <a:cubicBezTo>
                    <a:pt x="158" y="320"/>
                    <a:pt x="158" y="320"/>
                    <a:pt x="158" y="320"/>
                  </a:cubicBezTo>
                  <a:cubicBezTo>
                    <a:pt x="156" y="311"/>
                    <a:pt x="155" y="302"/>
                    <a:pt x="148" y="295"/>
                  </a:cubicBezTo>
                  <a:cubicBezTo>
                    <a:pt x="149" y="278"/>
                    <a:pt x="149" y="278"/>
                    <a:pt x="149" y="278"/>
                  </a:cubicBezTo>
                  <a:cubicBezTo>
                    <a:pt x="153" y="273"/>
                    <a:pt x="153" y="273"/>
                    <a:pt x="153" y="273"/>
                  </a:cubicBezTo>
                  <a:cubicBezTo>
                    <a:pt x="154" y="257"/>
                    <a:pt x="146" y="242"/>
                    <a:pt x="139" y="229"/>
                  </a:cubicBezTo>
                  <a:cubicBezTo>
                    <a:pt x="136" y="233"/>
                    <a:pt x="136" y="233"/>
                    <a:pt x="136" y="233"/>
                  </a:cubicBezTo>
                  <a:cubicBezTo>
                    <a:pt x="127" y="224"/>
                    <a:pt x="127" y="224"/>
                    <a:pt x="127" y="224"/>
                  </a:cubicBezTo>
                  <a:cubicBezTo>
                    <a:pt x="127" y="210"/>
                    <a:pt x="117" y="200"/>
                    <a:pt x="114" y="186"/>
                  </a:cubicBezTo>
                  <a:cubicBezTo>
                    <a:pt x="110" y="172"/>
                    <a:pt x="107" y="156"/>
                    <a:pt x="113" y="142"/>
                  </a:cubicBezTo>
                  <a:cubicBezTo>
                    <a:pt x="124" y="141"/>
                    <a:pt x="135" y="148"/>
                    <a:pt x="145" y="145"/>
                  </a:cubicBezTo>
                  <a:cubicBezTo>
                    <a:pt x="149" y="151"/>
                    <a:pt x="149" y="151"/>
                    <a:pt x="149" y="151"/>
                  </a:cubicBezTo>
                  <a:cubicBezTo>
                    <a:pt x="163" y="146"/>
                    <a:pt x="163" y="146"/>
                    <a:pt x="163" y="146"/>
                  </a:cubicBezTo>
                  <a:cubicBezTo>
                    <a:pt x="170" y="149"/>
                    <a:pt x="170" y="149"/>
                    <a:pt x="170" y="149"/>
                  </a:cubicBezTo>
                  <a:cubicBezTo>
                    <a:pt x="176" y="161"/>
                    <a:pt x="176" y="161"/>
                    <a:pt x="176" y="161"/>
                  </a:cubicBezTo>
                  <a:cubicBezTo>
                    <a:pt x="182" y="160"/>
                    <a:pt x="182" y="160"/>
                    <a:pt x="182" y="160"/>
                  </a:cubicBezTo>
                  <a:cubicBezTo>
                    <a:pt x="203" y="178"/>
                    <a:pt x="216" y="204"/>
                    <a:pt x="227" y="229"/>
                  </a:cubicBezTo>
                  <a:cubicBezTo>
                    <a:pt x="228" y="216"/>
                    <a:pt x="214" y="205"/>
                    <a:pt x="234" y="202"/>
                  </a:cubicBezTo>
                  <a:cubicBezTo>
                    <a:pt x="220" y="204"/>
                    <a:pt x="220" y="204"/>
                    <a:pt x="220" y="204"/>
                  </a:cubicBezTo>
                  <a:cubicBezTo>
                    <a:pt x="217" y="201"/>
                    <a:pt x="217" y="201"/>
                    <a:pt x="217" y="201"/>
                  </a:cubicBezTo>
                  <a:cubicBezTo>
                    <a:pt x="240" y="199"/>
                    <a:pt x="240" y="199"/>
                    <a:pt x="240" y="199"/>
                  </a:cubicBezTo>
                  <a:cubicBezTo>
                    <a:pt x="245" y="211"/>
                    <a:pt x="245" y="211"/>
                    <a:pt x="245" y="211"/>
                  </a:cubicBezTo>
                  <a:cubicBezTo>
                    <a:pt x="240" y="183"/>
                    <a:pt x="267" y="162"/>
                    <a:pt x="263" y="141"/>
                  </a:cubicBezTo>
                  <a:cubicBezTo>
                    <a:pt x="274" y="115"/>
                    <a:pt x="307" y="119"/>
                    <a:pt x="312" y="146"/>
                  </a:cubicBezTo>
                  <a:cubicBezTo>
                    <a:pt x="311" y="153"/>
                    <a:pt x="311" y="153"/>
                    <a:pt x="311" y="153"/>
                  </a:cubicBezTo>
                  <a:cubicBezTo>
                    <a:pt x="318" y="147"/>
                    <a:pt x="327" y="142"/>
                    <a:pt x="337" y="140"/>
                  </a:cubicBezTo>
                  <a:cubicBezTo>
                    <a:pt x="336" y="142"/>
                    <a:pt x="335" y="145"/>
                    <a:pt x="334" y="147"/>
                  </a:cubicBezTo>
                  <a:cubicBezTo>
                    <a:pt x="339" y="153"/>
                    <a:pt x="339" y="153"/>
                    <a:pt x="339" y="153"/>
                  </a:cubicBezTo>
                  <a:cubicBezTo>
                    <a:pt x="346" y="141"/>
                    <a:pt x="346" y="141"/>
                    <a:pt x="346" y="141"/>
                  </a:cubicBezTo>
                  <a:cubicBezTo>
                    <a:pt x="357" y="156"/>
                    <a:pt x="357" y="156"/>
                    <a:pt x="357" y="156"/>
                  </a:cubicBezTo>
                  <a:cubicBezTo>
                    <a:pt x="362" y="157"/>
                    <a:pt x="362" y="157"/>
                    <a:pt x="362" y="157"/>
                  </a:cubicBezTo>
                  <a:cubicBezTo>
                    <a:pt x="339" y="137"/>
                    <a:pt x="350" y="130"/>
                    <a:pt x="372" y="121"/>
                  </a:cubicBezTo>
                  <a:cubicBezTo>
                    <a:pt x="367" y="125"/>
                    <a:pt x="362" y="129"/>
                    <a:pt x="356" y="133"/>
                  </a:cubicBezTo>
                  <a:cubicBezTo>
                    <a:pt x="368" y="128"/>
                    <a:pt x="368" y="128"/>
                    <a:pt x="368" y="128"/>
                  </a:cubicBezTo>
                  <a:cubicBezTo>
                    <a:pt x="379" y="130"/>
                    <a:pt x="377" y="137"/>
                    <a:pt x="385" y="136"/>
                  </a:cubicBezTo>
                  <a:cubicBezTo>
                    <a:pt x="375" y="124"/>
                    <a:pt x="375" y="124"/>
                    <a:pt x="375" y="124"/>
                  </a:cubicBezTo>
                  <a:cubicBezTo>
                    <a:pt x="374" y="98"/>
                    <a:pt x="387" y="85"/>
                    <a:pt x="367" y="63"/>
                  </a:cubicBezTo>
                  <a:cubicBezTo>
                    <a:pt x="367" y="47"/>
                    <a:pt x="352" y="28"/>
                    <a:pt x="359" y="15"/>
                  </a:cubicBezTo>
                  <a:cubicBezTo>
                    <a:pt x="366" y="22"/>
                    <a:pt x="366" y="22"/>
                    <a:pt x="366" y="22"/>
                  </a:cubicBezTo>
                  <a:cubicBezTo>
                    <a:pt x="367" y="13"/>
                    <a:pt x="367" y="13"/>
                    <a:pt x="367" y="13"/>
                  </a:cubicBezTo>
                  <a:cubicBezTo>
                    <a:pt x="375" y="10"/>
                    <a:pt x="375" y="10"/>
                    <a:pt x="375" y="10"/>
                  </a:cubicBezTo>
                  <a:cubicBezTo>
                    <a:pt x="377" y="16"/>
                    <a:pt x="377" y="16"/>
                    <a:pt x="377" y="16"/>
                  </a:cubicBezTo>
                  <a:cubicBezTo>
                    <a:pt x="385" y="11"/>
                    <a:pt x="385" y="11"/>
                    <a:pt x="385" y="11"/>
                  </a:cubicBezTo>
                  <a:cubicBezTo>
                    <a:pt x="393" y="22"/>
                    <a:pt x="393" y="22"/>
                    <a:pt x="393" y="22"/>
                  </a:cubicBezTo>
                  <a:cubicBezTo>
                    <a:pt x="399" y="19"/>
                    <a:pt x="399" y="19"/>
                    <a:pt x="399" y="19"/>
                  </a:cubicBezTo>
                  <a:cubicBezTo>
                    <a:pt x="403" y="8"/>
                    <a:pt x="403" y="8"/>
                    <a:pt x="403" y="8"/>
                  </a:cubicBezTo>
                  <a:cubicBezTo>
                    <a:pt x="408" y="11"/>
                    <a:pt x="408" y="11"/>
                    <a:pt x="408" y="11"/>
                  </a:cubicBezTo>
                  <a:cubicBezTo>
                    <a:pt x="408" y="5"/>
                    <a:pt x="408" y="5"/>
                    <a:pt x="408" y="5"/>
                  </a:cubicBezTo>
                  <a:cubicBezTo>
                    <a:pt x="416" y="1"/>
                    <a:pt x="416" y="1"/>
                    <a:pt x="416" y="1"/>
                  </a:cubicBezTo>
                  <a:cubicBezTo>
                    <a:pt x="425" y="4"/>
                    <a:pt x="425" y="4"/>
                    <a:pt x="425" y="4"/>
                  </a:cubicBezTo>
                  <a:cubicBezTo>
                    <a:pt x="433" y="0"/>
                    <a:pt x="433" y="0"/>
                    <a:pt x="433" y="0"/>
                  </a:cubicBezTo>
                  <a:cubicBezTo>
                    <a:pt x="438" y="6"/>
                    <a:pt x="445" y="10"/>
                    <a:pt x="453" y="12"/>
                  </a:cubicBezTo>
                  <a:cubicBezTo>
                    <a:pt x="451" y="15"/>
                    <a:pt x="449" y="17"/>
                    <a:pt x="447" y="20"/>
                  </a:cubicBezTo>
                  <a:cubicBezTo>
                    <a:pt x="448" y="37"/>
                    <a:pt x="448" y="37"/>
                    <a:pt x="448" y="37"/>
                  </a:cubicBezTo>
                  <a:cubicBezTo>
                    <a:pt x="464" y="36"/>
                    <a:pt x="464" y="36"/>
                    <a:pt x="464" y="36"/>
                  </a:cubicBezTo>
                  <a:cubicBezTo>
                    <a:pt x="463" y="43"/>
                    <a:pt x="463" y="43"/>
                    <a:pt x="463" y="43"/>
                  </a:cubicBezTo>
                  <a:cubicBezTo>
                    <a:pt x="477" y="42"/>
                    <a:pt x="477" y="42"/>
                    <a:pt x="477" y="42"/>
                  </a:cubicBezTo>
                  <a:cubicBezTo>
                    <a:pt x="482" y="45"/>
                    <a:pt x="482" y="45"/>
                    <a:pt x="482" y="45"/>
                  </a:cubicBezTo>
                  <a:cubicBezTo>
                    <a:pt x="488" y="62"/>
                    <a:pt x="488" y="62"/>
                    <a:pt x="488" y="62"/>
                  </a:cubicBezTo>
                  <a:cubicBezTo>
                    <a:pt x="485" y="70"/>
                    <a:pt x="481" y="76"/>
                    <a:pt x="475" y="82"/>
                  </a:cubicBezTo>
                  <a:cubicBezTo>
                    <a:pt x="479" y="84"/>
                    <a:pt x="484" y="88"/>
                    <a:pt x="488" y="89"/>
                  </a:cubicBezTo>
                  <a:cubicBezTo>
                    <a:pt x="488" y="100"/>
                    <a:pt x="488" y="100"/>
                    <a:pt x="488" y="100"/>
                  </a:cubicBezTo>
                  <a:cubicBezTo>
                    <a:pt x="513" y="100"/>
                    <a:pt x="513" y="100"/>
                    <a:pt x="513" y="100"/>
                  </a:cubicBezTo>
                  <a:cubicBezTo>
                    <a:pt x="515" y="107"/>
                    <a:pt x="515" y="107"/>
                    <a:pt x="515" y="107"/>
                  </a:cubicBezTo>
                  <a:cubicBezTo>
                    <a:pt x="523" y="112"/>
                    <a:pt x="531" y="117"/>
                    <a:pt x="537" y="125"/>
                  </a:cubicBezTo>
                  <a:cubicBezTo>
                    <a:pt x="543" y="114"/>
                    <a:pt x="543" y="101"/>
                    <a:pt x="540" y="90"/>
                  </a:cubicBezTo>
                  <a:cubicBezTo>
                    <a:pt x="544" y="83"/>
                    <a:pt x="544" y="83"/>
                    <a:pt x="544" y="83"/>
                  </a:cubicBezTo>
                  <a:cubicBezTo>
                    <a:pt x="554" y="82"/>
                    <a:pt x="563" y="83"/>
                    <a:pt x="572" y="77"/>
                  </a:cubicBezTo>
                  <a:cubicBezTo>
                    <a:pt x="573" y="69"/>
                    <a:pt x="573" y="69"/>
                    <a:pt x="573" y="69"/>
                  </a:cubicBezTo>
                  <a:cubicBezTo>
                    <a:pt x="582" y="61"/>
                    <a:pt x="582" y="61"/>
                    <a:pt x="582" y="61"/>
                  </a:cubicBezTo>
                  <a:cubicBezTo>
                    <a:pt x="585" y="47"/>
                    <a:pt x="591" y="37"/>
                    <a:pt x="607" y="35"/>
                  </a:cubicBezTo>
                  <a:cubicBezTo>
                    <a:pt x="620" y="41"/>
                    <a:pt x="620" y="41"/>
                    <a:pt x="620" y="41"/>
                  </a:cubicBezTo>
                  <a:cubicBezTo>
                    <a:pt x="646" y="34"/>
                    <a:pt x="646" y="34"/>
                    <a:pt x="646" y="34"/>
                  </a:cubicBezTo>
                  <a:cubicBezTo>
                    <a:pt x="639" y="47"/>
                    <a:pt x="608" y="65"/>
                    <a:pt x="593" y="69"/>
                  </a:cubicBezTo>
                  <a:cubicBezTo>
                    <a:pt x="586" y="80"/>
                    <a:pt x="586" y="80"/>
                    <a:pt x="586" y="80"/>
                  </a:cubicBezTo>
                  <a:cubicBezTo>
                    <a:pt x="591" y="82"/>
                    <a:pt x="591" y="82"/>
                    <a:pt x="591" y="82"/>
                  </a:cubicBezTo>
                  <a:cubicBezTo>
                    <a:pt x="599" y="95"/>
                    <a:pt x="599" y="95"/>
                    <a:pt x="599" y="95"/>
                  </a:cubicBezTo>
                  <a:cubicBezTo>
                    <a:pt x="598" y="107"/>
                    <a:pt x="592" y="112"/>
                    <a:pt x="584" y="122"/>
                  </a:cubicBezTo>
                  <a:cubicBezTo>
                    <a:pt x="573" y="124"/>
                    <a:pt x="573" y="124"/>
                    <a:pt x="573" y="124"/>
                  </a:cubicBezTo>
                  <a:cubicBezTo>
                    <a:pt x="567" y="136"/>
                    <a:pt x="567" y="136"/>
                    <a:pt x="567" y="136"/>
                  </a:cubicBezTo>
                  <a:cubicBezTo>
                    <a:pt x="572" y="139"/>
                    <a:pt x="577" y="140"/>
                    <a:pt x="583" y="139"/>
                  </a:cubicBezTo>
                  <a:cubicBezTo>
                    <a:pt x="587" y="148"/>
                    <a:pt x="587" y="148"/>
                    <a:pt x="587" y="148"/>
                  </a:cubicBezTo>
                  <a:cubicBezTo>
                    <a:pt x="584" y="156"/>
                    <a:pt x="584" y="156"/>
                    <a:pt x="584" y="156"/>
                  </a:cubicBezTo>
                  <a:cubicBezTo>
                    <a:pt x="595" y="155"/>
                    <a:pt x="608" y="159"/>
                    <a:pt x="617" y="157"/>
                  </a:cubicBezTo>
                  <a:cubicBezTo>
                    <a:pt x="628" y="145"/>
                    <a:pt x="628" y="145"/>
                    <a:pt x="628" y="145"/>
                  </a:cubicBezTo>
                  <a:cubicBezTo>
                    <a:pt x="635" y="144"/>
                    <a:pt x="635" y="144"/>
                    <a:pt x="635" y="144"/>
                  </a:cubicBezTo>
                  <a:cubicBezTo>
                    <a:pt x="642" y="148"/>
                    <a:pt x="642" y="148"/>
                    <a:pt x="642" y="148"/>
                  </a:cubicBezTo>
                  <a:cubicBezTo>
                    <a:pt x="645" y="156"/>
                    <a:pt x="646" y="165"/>
                    <a:pt x="654" y="171"/>
                  </a:cubicBezTo>
                  <a:cubicBezTo>
                    <a:pt x="647" y="173"/>
                    <a:pt x="647" y="173"/>
                    <a:pt x="647" y="173"/>
                  </a:cubicBezTo>
                  <a:cubicBezTo>
                    <a:pt x="644" y="187"/>
                    <a:pt x="644" y="187"/>
                    <a:pt x="644" y="187"/>
                  </a:cubicBezTo>
                  <a:cubicBezTo>
                    <a:pt x="585" y="200"/>
                    <a:pt x="585" y="200"/>
                    <a:pt x="585" y="200"/>
                  </a:cubicBezTo>
                  <a:cubicBezTo>
                    <a:pt x="582" y="213"/>
                    <a:pt x="569" y="223"/>
                    <a:pt x="556" y="225"/>
                  </a:cubicBezTo>
                  <a:cubicBezTo>
                    <a:pt x="553" y="239"/>
                    <a:pt x="539" y="243"/>
                    <a:pt x="538" y="256"/>
                  </a:cubicBezTo>
                  <a:cubicBezTo>
                    <a:pt x="508" y="267"/>
                    <a:pt x="508" y="267"/>
                    <a:pt x="508" y="267"/>
                  </a:cubicBezTo>
                  <a:cubicBezTo>
                    <a:pt x="503" y="277"/>
                    <a:pt x="510" y="292"/>
                    <a:pt x="511" y="304"/>
                  </a:cubicBezTo>
                  <a:cubicBezTo>
                    <a:pt x="512" y="315"/>
                    <a:pt x="510" y="324"/>
                    <a:pt x="508" y="335"/>
                  </a:cubicBezTo>
                  <a:cubicBezTo>
                    <a:pt x="461" y="330"/>
                    <a:pt x="461" y="330"/>
                    <a:pt x="461" y="330"/>
                  </a:cubicBezTo>
                  <a:cubicBezTo>
                    <a:pt x="458" y="335"/>
                    <a:pt x="458" y="335"/>
                    <a:pt x="458" y="335"/>
                  </a:cubicBezTo>
                  <a:cubicBezTo>
                    <a:pt x="456" y="354"/>
                    <a:pt x="447" y="362"/>
                    <a:pt x="442" y="379"/>
                  </a:cubicBezTo>
                  <a:cubicBezTo>
                    <a:pt x="444" y="390"/>
                    <a:pt x="444" y="390"/>
                    <a:pt x="444" y="390"/>
                  </a:cubicBezTo>
                  <a:cubicBezTo>
                    <a:pt x="456" y="395"/>
                    <a:pt x="460" y="403"/>
                    <a:pt x="466" y="414"/>
                  </a:cubicBezTo>
                  <a:cubicBezTo>
                    <a:pt x="465" y="432"/>
                    <a:pt x="446" y="442"/>
                    <a:pt x="444" y="462"/>
                  </a:cubicBezTo>
                  <a:cubicBezTo>
                    <a:pt x="442" y="474"/>
                    <a:pt x="442" y="504"/>
                    <a:pt x="447" y="515"/>
                  </a:cubicBezTo>
                  <a:cubicBezTo>
                    <a:pt x="442" y="526"/>
                    <a:pt x="430" y="531"/>
                    <a:pt x="423" y="540"/>
                  </a:cubicBezTo>
                  <a:cubicBezTo>
                    <a:pt x="412" y="551"/>
                    <a:pt x="404" y="554"/>
                    <a:pt x="389" y="560"/>
                  </a:cubicBezTo>
                  <a:cubicBezTo>
                    <a:pt x="388" y="573"/>
                    <a:pt x="381" y="587"/>
                    <a:pt x="382" y="599"/>
                  </a:cubicBezTo>
                  <a:cubicBezTo>
                    <a:pt x="383" y="612"/>
                    <a:pt x="390" y="620"/>
                    <a:pt x="389" y="633"/>
                  </a:cubicBezTo>
                  <a:cubicBezTo>
                    <a:pt x="387" y="664"/>
                    <a:pt x="371" y="691"/>
                    <a:pt x="359" y="719"/>
                  </a:cubicBezTo>
                  <a:cubicBezTo>
                    <a:pt x="322" y="700"/>
                    <a:pt x="285" y="682"/>
                    <a:pt x="248" y="663"/>
                  </a:cubicBezTo>
                  <a:cubicBezTo>
                    <a:pt x="204" y="640"/>
                    <a:pt x="152" y="622"/>
                    <a:pt x="114" y="590"/>
                  </a:cubicBezTo>
                  <a:cubicBezTo>
                    <a:pt x="120" y="560"/>
                    <a:pt x="125" y="530"/>
                    <a:pt x="121" y="500"/>
                  </a:cubicBezTo>
                  <a:cubicBezTo>
                    <a:pt x="119" y="483"/>
                    <a:pt x="117" y="474"/>
                    <a:pt x="104" y="464"/>
                  </a:cubicBezTo>
                  <a:cubicBezTo>
                    <a:pt x="90" y="453"/>
                    <a:pt x="87" y="446"/>
                    <a:pt x="83" y="429"/>
                  </a:cubicBezTo>
                  <a:cubicBezTo>
                    <a:pt x="66" y="422"/>
                    <a:pt x="66" y="422"/>
                    <a:pt x="66" y="422"/>
                  </a:cubicBezTo>
                  <a:cubicBezTo>
                    <a:pt x="60" y="407"/>
                    <a:pt x="60" y="407"/>
                    <a:pt x="60" y="407"/>
                  </a:cubicBezTo>
                  <a:cubicBezTo>
                    <a:pt x="54" y="403"/>
                    <a:pt x="54" y="403"/>
                    <a:pt x="54" y="403"/>
                  </a:cubicBezTo>
                  <a:cubicBezTo>
                    <a:pt x="55" y="394"/>
                    <a:pt x="54" y="384"/>
                    <a:pt x="60" y="376"/>
                  </a:cubicBezTo>
                  <a:cubicBezTo>
                    <a:pt x="57" y="362"/>
                    <a:pt x="39" y="360"/>
                    <a:pt x="31" y="350"/>
                  </a:cubicBezTo>
                  <a:cubicBezTo>
                    <a:pt x="34" y="338"/>
                    <a:pt x="35" y="323"/>
                    <a:pt x="46" y="316"/>
                  </a:cubicBezTo>
                  <a:cubicBezTo>
                    <a:pt x="51" y="293"/>
                    <a:pt x="34" y="279"/>
                    <a:pt x="19" y="267"/>
                  </a:cubicBezTo>
                  <a:cubicBezTo>
                    <a:pt x="18" y="255"/>
                    <a:pt x="18" y="255"/>
                    <a:pt x="18" y="255"/>
                  </a:cubicBezTo>
                  <a:cubicBezTo>
                    <a:pt x="26" y="252"/>
                    <a:pt x="33" y="245"/>
                    <a:pt x="35" y="237"/>
                  </a:cubicBezTo>
                  <a:cubicBezTo>
                    <a:pt x="33" y="224"/>
                    <a:pt x="33" y="224"/>
                    <a:pt x="33" y="224"/>
                  </a:cubicBezTo>
                  <a:cubicBezTo>
                    <a:pt x="28" y="220"/>
                    <a:pt x="28" y="220"/>
                    <a:pt x="28" y="220"/>
                  </a:cubicBezTo>
                  <a:cubicBezTo>
                    <a:pt x="35" y="203"/>
                    <a:pt x="35" y="203"/>
                    <a:pt x="35" y="203"/>
                  </a:cubicBezTo>
                  <a:cubicBezTo>
                    <a:pt x="33" y="193"/>
                    <a:pt x="24" y="187"/>
                    <a:pt x="19" y="179"/>
                  </a:cubicBezTo>
                  <a:cubicBezTo>
                    <a:pt x="13" y="170"/>
                    <a:pt x="11" y="159"/>
                    <a:pt x="0" y="153"/>
                  </a:cubicBezTo>
                  <a:close/>
                </a:path>
              </a:pathLst>
            </a:custGeom>
            <a:grpFill/>
            <a:ln w="7938" cap="rnd">
              <a:solidFill>
                <a:schemeClr val="accent1"/>
              </a:solidFill>
              <a:prstDash val="solid"/>
              <a:round/>
              <a:headEnd/>
              <a:tailEnd/>
            </a:ln>
          </p:spPr>
          <p:txBody>
            <a:bodyPr/>
            <a:lstStyle/>
            <a:p>
              <a:endParaRPr lang="ru-RU"/>
            </a:p>
          </p:txBody>
        </p:sp>
        <p:sp>
          <p:nvSpPr>
            <p:cNvPr id="112" name="Freeform 111">
              <a:extLst>
                <a:ext uri="{FF2B5EF4-FFF2-40B4-BE49-F238E27FC236}">
                  <a16:creationId xmlns:a16="http://schemas.microsoft.com/office/drawing/2014/main" id="{82179141-A60D-8EA4-55C3-A2FF986080BE}"/>
                </a:ext>
              </a:extLst>
            </p:cNvPr>
            <p:cNvSpPr>
              <a:spLocks noEditPoints="1"/>
            </p:cNvSpPr>
            <p:nvPr/>
          </p:nvSpPr>
          <p:spPr bwMode="auto">
            <a:xfrm>
              <a:off x="6610350" y="4443412"/>
              <a:ext cx="2987675" cy="1954213"/>
            </a:xfrm>
            <a:custGeom>
              <a:avLst/>
              <a:gdLst>
                <a:gd name="T0" fmla="*/ 2147483646 w 785"/>
                <a:gd name="T1" fmla="*/ 2147483646 h 513"/>
                <a:gd name="T2" fmla="*/ 2147483646 w 785"/>
                <a:gd name="T3" fmla="*/ 2147483646 h 513"/>
                <a:gd name="T4" fmla="*/ 2147483646 w 785"/>
                <a:gd name="T5" fmla="*/ 2147483646 h 513"/>
                <a:gd name="T6" fmla="*/ 2147483646 w 785"/>
                <a:gd name="T7" fmla="*/ 2147483646 h 513"/>
                <a:gd name="T8" fmla="*/ 2147483646 w 785"/>
                <a:gd name="T9" fmla="*/ 2147483646 h 513"/>
                <a:gd name="T10" fmla="*/ 2147483646 w 785"/>
                <a:gd name="T11" fmla="*/ 2147483646 h 513"/>
                <a:gd name="T12" fmla="*/ 2147483646 w 785"/>
                <a:gd name="T13" fmla="*/ 2147483646 h 513"/>
                <a:gd name="T14" fmla="*/ 2147483646 w 785"/>
                <a:gd name="T15" fmla="*/ 2147483646 h 513"/>
                <a:gd name="T16" fmla="*/ 2147483646 w 785"/>
                <a:gd name="T17" fmla="*/ 2147483646 h 513"/>
                <a:gd name="T18" fmla="*/ 2147483646 w 785"/>
                <a:gd name="T19" fmla="*/ 2147483646 h 513"/>
                <a:gd name="T20" fmla="*/ 2147483646 w 785"/>
                <a:gd name="T21" fmla="*/ 2147483646 h 513"/>
                <a:gd name="T22" fmla="*/ 2147483646 w 785"/>
                <a:gd name="T23" fmla="*/ 2147483646 h 513"/>
                <a:gd name="T24" fmla="*/ 2147483646 w 785"/>
                <a:gd name="T25" fmla="*/ 2147483646 h 513"/>
                <a:gd name="T26" fmla="*/ 2147483646 w 785"/>
                <a:gd name="T27" fmla="*/ 2147483646 h 513"/>
                <a:gd name="T28" fmla="*/ 2147483646 w 785"/>
                <a:gd name="T29" fmla="*/ 2147483646 h 513"/>
                <a:gd name="T30" fmla="*/ 2147483646 w 785"/>
                <a:gd name="T31" fmla="*/ 2147483646 h 513"/>
                <a:gd name="T32" fmla="*/ 2147483646 w 785"/>
                <a:gd name="T33" fmla="*/ 2147483646 h 513"/>
                <a:gd name="T34" fmla="*/ 2147483646 w 785"/>
                <a:gd name="T35" fmla="*/ 2147483646 h 513"/>
                <a:gd name="T36" fmla="*/ 2147483646 w 785"/>
                <a:gd name="T37" fmla="*/ 2147483646 h 513"/>
                <a:gd name="T38" fmla="*/ 2147483646 w 785"/>
                <a:gd name="T39" fmla="*/ 2147483646 h 513"/>
                <a:gd name="T40" fmla="*/ 2147483646 w 785"/>
                <a:gd name="T41" fmla="*/ 2147483646 h 513"/>
                <a:gd name="T42" fmla="*/ 2147483646 w 785"/>
                <a:gd name="T43" fmla="*/ 2147483646 h 513"/>
                <a:gd name="T44" fmla="*/ 2147483646 w 785"/>
                <a:gd name="T45" fmla="*/ 2147483646 h 513"/>
                <a:gd name="T46" fmla="*/ 2147483646 w 785"/>
                <a:gd name="T47" fmla="*/ 2147483646 h 513"/>
                <a:gd name="T48" fmla="*/ 2147483646 w 785"/>
                <a:gd name="T49" fmla="*/ 2147483646 h 513"/>
                <a:gd name="T50" fmla="*/ 2147483646 w 785"/>
                <a:gd name="T51" fmla="*/ 2147483646 h 513"/>
                <a:gd name="T52" fmla="*/ 2147483646 w 785"/>
                <a:gd name="T53" fmla="*/ 2147483646 h 513"/>
                <a:gd name="T54" fmla="*/ 2147483646 w 785"/>
                <a:gd name="T55" fmla="*/ 2147483646 h 513"/>
                <a:gd name="T56" fmla="*/ 2147483646 w 785"/>
                <a:gd name="T57" fmla="*/ 2147483646 h 513"/>
                <a:gd name="T58" fmla="*/ 2147483646 w 785"/>
                <a:gd name="T59" fmla="*/ 2147483646 h 513"/>
                <a:gd name="T60" fmla="*/ 2147483646 w 785"/>
                <a:gd name="T61" fmla="*/ 2147483646 h 513"/>
                <a:gd name="T62" fmla="*/ 2147483646 w 785"/>
                <a:gd name="T63" fmla="*/ 2147483646 h 513"/>
                <a:gd name="T64" fmla="*/ 2147483646 w 785"/>
                <a:gd name="T65" fmla="*/ 2147483646 h 513"/>
                <a:gd name="T66" fmla="*/ 2147483646 w 785"/>
                <a:gd name="T67" fmla="*/ 2147483646 h 513"/>
                <a:gd name="T68" fmla="*/ 2027942447 w 785"/>
                <a:gd name="T69" fmla="*/ 2147483646 h 513"/>
                <a:gd name="T70" fmla="*/ 1448531407 w 785"/>
                <a:gd name="T71" fmla="*/ 2147483646 h 513"/>
                <a:gd name="T72" fmla="*/ 1651324129 w 785"/>
                <a:gd name="T73" fmla="*/ 2147483646 h 513"/>
                <a:gd name="T74" fmla="*/ 622867439 w 785"/>
                <a:gd name="T75" fmla="*/ 2147483646 h 513"/>
                <a:gd name="T76" fmla="*/ 651838372 w 785"/>
                <a:gd name="T77" fmla="*/ 2147483646 h 513"/>
                <a:gd name="T78" fmla="*/ 1071913089 w 785"/>
                <a:gd name="T79" fmla="*/ 2147483646 h 513"/>
                <a:gd name="T80" fmla="*/ 1202278480 w 785"/>
                <a:gd name="T81" fmla="*/ 2147483646 h 513"/>
                <a:gd name="T82" fmla="*/ 2129336905 w 785"/>
                <a:gd name="T83" fmla="*/ 2147483646 h 513"/>
                <a:gd name="T84" fmla="*/ 2147483646 w 785"/>
                <a:gd name="T85" fmla="*/ 1625276668 h 513"/>
                <a:gd name="T86" fmla="*/ 2147483646 w 785"/>
                <a:gd name="T87" fmla="*/ 899707475 h 513"/>
                <a:gd name="T88" fmla="*/ 2147483646 w 785"/>
                <a:gd name="T89" fmla="*/ 696545511 h 513"/>
                <a:gd name="T90" fmla="*/ 2147483646 w 785"/>
                <a:gd name="T91" fmla="*/ 536920974 h 513"/>
                <a:gd name="T92" fmla="*/ 2147483646 w 785"/>
                <a:gd name="T93" fmla="*/ 0 h 513"/>
                <a:gd name="T94" fmla="*/ 2147483646 w 785"/>
                <a:gd name="T95" fmla="*/ 1871968441 h 5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85" h="513">
                  <a:moveTo>
                    <a:pt x="279" y="507"/>
                  </a:moveTo>
                  <a:cubicBezTo>
                    <a:pt x="277" y="509"/>
                    <a:pt x="277" y="509"/>
                    <a:pt x="277" y="509"/>
                  </a:cubicBezTo>
                  <a:cubicBezTo>
                    <a:pt x="269" y="497"/>
                    <a:pt x="269" y="497"/>
                    <a:pt x="269" y="497"/>
                  </a:cubicBezTo>
                  <a:cubicBezTo>
                    <a:pt x="274" y="493"/>
                    <a:pt x="274" y="493"/>
                    <a:pt x="274" y="493"/>
                  </a:cubicBezTo>
                  <a:lnTo>
                    <a:pt x="279" y="507"/>
                  </a:lnTo>
                  <a:close/>
                  <a:moveTo>
                    <a:pt x="666" y="401"/>
                  </a:moveTo>
                  <a:cubicBezTo>
                    <a:pt x="653" y="406"/>
                    <a:pt x="653" y="406"/>
                    <a:pt x="653" y="406"/>
                  </a:cubicBezTo>
                  <a:cubicBezTo>
                    <a:pt x="658" y="398"/>
                    <a:pt x="658" y="398"/>
                    <a:pt x="658" y="398"/>
                  </a:cubicBezTo>
                  <a:cubicBezTo>
                    <a:pt x="664" y="396"/>
                    <a:pt x="664" y="396"/>
                    <a:pt x="664" y="396"/>
                  </a:cubicBezTo>
                  <a:lnTo>
                    <a:pt x="666" y="401"/>
                  </a:lnTo>
                  <a:close/>
                  <a:moveTo>
                    <a:pt x="785" y="129"/>
                  </a:moveTo>
                  <a:cubicBezTo>
                    <a:pt x="767" y="174"/>
                    <a:pt x="748" y="220"/>
                    <a:pt x="729" y="265"/>
                  </a:cubicBezTo>
                  <a:cubicBezTo>
                    <a:pt x="714" y="301"/>
                    <a:pt x="719" y="335"/>
                    <a:pt x="721" y="374"/>
                  </a:cubicBezTo>
                  <a:cubicBezTo>
                    <a:pt x="693" y="383"/>
                    <a:pt x="693" y="383"/>
                    <a:pt x="693" y="383"/>
                  </a:cubicBezTo>
                  <a:cubicBezTo>
                    <a:pt x="687" y="378"/>
                    <a:pt x="687" y="378"/>
                    <a:pt x="687" y="378"/>
                  </a:cubicBezTo>
                  <a:cubicBezTo>
                    <a:pt x="689" y="385"/>
                    <a:pt x="689" y="385"/>
                    <a:pt x="689" y="385"/>
                  </a:cubicBezTo>
                  <a:cubicBezTo>
                    <a:pt x="669" y="400"/>
                    <a:pt x="669" y="400"/>
                    <a:pt x="669" y="400"/>
                  </a:cubicBezTo>
                  <a:cubicBezTo>
                    <a:pt x="674" y="388"/>
                    <a:pt x="674" y="388"/>
                    <a:pt x="674" y="388"/>
                  </a:cubicBezTo>
                  <a:cubicBezTo>
                    <a:pt x="683" y="383"/>
                    <a:pt x="683" y="383"/>
                    <a:pt x="683" y="383"/>
                  </a:cubicBezTo>
                  <a:cubicBezTo>
                    <a:pt x="669" y="374"/>
                    <a:pt x="669" y="374"/>
                    <a:pt x="669" y="374"/>
                  </a:cubicBezTo>
                  <a:cubicBezTo>
                    <a:pt x="669" y="383"/>
                    <a:pt x="669" y="383"/>
                    <a:pt x="669" y="383"/>
                  </a:cubicBezTo>
                  <a:cubicBezTo>
                    <a:pt x="665" y="386"/>
                    <a:pt x="665" y="386"/>
                    <a:pt x="665" y="386"/>
                  </a:cubicBezTo>
                  <a:cubicBezTo>
                    <a:pt x="653" y="384"/>
                    <a:pt x="653" y="384"/>
                    <a:pt x="653" y="384"/>
                  </a:cubicBezTo>
                  <a:cubicBezTo>
                    <a:pt x="656" y="389"/>
                    <a:pt x="656" y="389"/>
                    <a:pt x="656" y="389"/>
                  </a:cubicBezTo>
                  <a:cubicBezTo>
                    <a:pt x="646" y="390"/>
                    <a:pt x="646" y="390"/>
                    <a:pt x="646" y="390"/>
                  </a:cubicBezTo>
                  <a:cubicBezTo>
                    <a:pt x="638" y="398"/>
                    <a:pt x="642" y="409"/>
                    <a:pt x="630" y="415"/>
                  </a:cubicBezTo>
                  <a:cubicBezTo>
                    <a:pt x="635" y="417"/>
                    <a:pt x="635" y="417"/>
                    <a:pt x="635" y="417"/>
                  </a:cubicBezTo>
                  <a:cubicBezTo>
                    <a:pt x="641" y="413"/>
                    <a:pt x="641" y="413"/>
                    <a:pt x="641" y="413"/>
                  </a:cubicBezTo>
                  <a:cubicBezTo>
                    <a:pt x="658" y="412"/>
                    <a:pt x="658" y="412"/>
                    <a:pt x="658" y="412"/>
                  </a:cubicBezTo>
                  <a:cubicBezTo>
                    <a:pt x="647" y="429"/>
                    <a:pt x="647" y="429"/>
                    <a:pt x="647" y="429"/>
                  </a:cubicBezTo>
                  <a:cubicBezTo>
                    <a:pt x="644" y="425"/>
                    <a:pt x="644" y="425"/>
                    <a:pt x="644" y="425"/>
                  </a:cubicBezTo>
                  <a:cubicBezTo>
                    <a:pt x="633" y="428"/>
                    <a:pt x="633" y="428"/>
                    <a:pt x="633" y="428"/>
                  </a:cubicBezTo>
                  <a:cubicBezTo>
                    <a:pt x="635" y="437"/>
                    <a:pt x="635" y="437"/>
                    <a:pt x="635" y="437"/>
                  </a:cubicBezTo>
                  <a:cubicBezTo>
                    <a:pt x="647" y="436"/>
                    <a:pt x="647" y="436"/>
                    <a:pt x="647" y="436"/>
                  </a:cubicBezTo>
                  <a:cubicBezTo>
                    <a:pt x="648" y="454"/>
                    <a:pt x="604" y="500"/>
                    <a:pt x="592" y="477"/>
                  </a:cubicBezTo>
                  <a:cubicBezTo>
                    <a:pt x="598" y="473"/>
                    <a:pt x="602" y="468"/>
                    <a:pt x="604" y="462"/>
                  </a:cubicBezTo>
                  <a:cubicBezTo>
                    <a:pt x="600" y="463"/>
                    <a:pt x="595" y="464"/>
                    <a:pt x="591" y="465"/>
                  </a:cubicBezTo>
                  <a:cubicBezTo>
                    <a:pt x="580" y="459"/>
                    <a:pt x="580" y="459"/>
                    <a:pt x="580" y="459"/>
                  </a:cubicBezTo>
                  <a:cubicBezTo>
                    <a:pt x="576" y="464"/>
                    <a:pt x="576" y="464"/>
                    <a:pt x="576" y="464"/>
                  </a:cubicBezTo>
                  <a:cubicBezTo>
                    <a:pt x="586" y="474"/>
                    <a:pt x="581" y="491"/>
                    <a:pt x="599" y="487"/>
                  </a:cubicBezTo>
                  <a:cubicBezTo>
                    <a:pt x="568" y="493"/>
                    <a:pt x="537" y="513"/>
                    <a:pt x="505" y="512"/>
                  </a:cubicBezTo>
                  <a:cubicBezTo>
                    <a:pt x="490" y="512"/>
                    <a:pt x="457" y="512"/>
                    <a:pt x="447" y="501"/>
                  </a:cubicBezTo>
                  <a:cubicBezTo>
                    <a:pt x="444" y="505"/>
                    <a:pt x="444" y="505"/>
                    <a:pt x="444" y="505"/>
                  </a:cubicBezTo>
                  <a:cubicBezTo>
                    <a:pt x="427" y="502"/>
                    <a:pt x="354" y="484"/>
                    <a:pt x="352" y="467"/>
                  </a:cubicBezTo>
                  <a:cubicBezTo>
                    <a:pt x="328" y="467"/>
                    <a:pt x="328" y="467"/>
                    <a:pt x="328" y="467"/>
                  </a:cubicBezTo>
                  <a:cubicBezTo>
                    <a:pt x="344" y="470"/>
                    <a:pt x="344" y="470"/>
                    <a:pt x="344" y="470"/>
                  </a:cubicBezTo>
                  <a:cubicBezTo>
                    <a:pt x="325" y="469"/>
                    <a:pt x="293" y="474"/>
                    <a:pt x="276" y="466"/>
                  </a:cubicBezTo>
                  <a:cubicBezTo>
                    <a:pt x="268" y="463"/>
                    <a:pt x="260" y="454"/>
                    <a:pt x="253" y="448"/>
                  </a:cubicBezTo>
                  <a:cubicBezTo>
                    <a:pt x="261" y="445"/>
                    <a:pt x="261" y="445"/>
                    <a:pt x="261" y="445"/>
                  </a:cubicBezTo>
                  <a:cubicBezTo>
                    <a:pt x="248" y="442"/>
                    <a:pt x="248" y="442"/>
                    <a:pt x="248" y="442"/>
                  </a:cubicBezTo>
                  <a:cubicBezTo>
                    <a:pt x="246" y="431"/>
                    <a:pt x="235" y="414"/>
                    <a:pt x="226" y="415"/>
                  </a:cubicBezTo>
                  <a:cubicBezTo>
                    <a:pt x="238" y="434"/>
                    <a:pt x="238" y="434"/>
                    <a:pt x="238" y="434"/>
                  </a:cubicBezTo>
                  <a:cubicBezTo>
                    <a:pt x="228" y="424"/>
                    <a:pt x="207" y="403"/>
                    <a:pt x="227" y="394"/>
                  </a:cubicBezTo>
                  <a:cubicBezTo>
                    <a:pt x="236" y="389"/>
                    <a:pt x="245" y="394"/>
                    <a:pt x="252" y="402"/>
                  </a:cubicBezTo>
                  <a:cubicBezTo>
                    <a:pt x="257" y="403"/>
                    <a:pt x="257" y="403"/>
                    <a:pt x="257" y="403"/>
                  </a:cubicBezTo>
                  <a:cubicBezTo>
                    <a:pt x="253" y="398"/>
                    <a:pt x="242" y="391"/>
                    <a:pt x="240" y="387"/>
                  </a:cubicBezTo>
                  <a:cubicBezTo>
                    <a:pt x="236" y="378"/>
                    <a:pt x="243" y="380"/>
                    <a:pt x="241" y="368"/>
                  </a:cubicBezTo>
                  <a:cubicBezTo>
                    <a:pt x="231" y="381"/>
                    <a:pt x="213" y="392"/>
                    <a:pt x="215" y="410"/>
                  </a:cubicBezTo>
                  <a:cubicBezTo>
                    <a:pt x="184" y="389"/>
                    <a:pt x="184" y="389"/>
                    <a:pt x="184" y="389"/>
                  </a:cubicBezTo>
                  <a:cubicBezTo>
                    <a:pt x="194" y="389"/>
                    <a:pt x="194" y="389"/>
                    <a:pt x="194" y="389"/>
                  </a:cubicBezTo>
                  <a:cubicBezTo>
                    <a:pt x="200" y="394"/>
                    <a:pt x="200" y="394"/>
                    <a:pt x="200" y="394"/>
                  </a:cubicBezTo>
                  <a:cubicBezTo>
                    <a:pt x="210" y="391"/>
                    <a:pt x="210" y="391"/>
                    <a:pt x="210" y="391"/>
                  </a:cubicBezTo>
                  <a:cubicBezTo>
                    <a:pt x="208" y="384"/>
                    <a:pt x="208" y="384"/>
                    <a:pt x="208" y="384"/>
                  </a:cubicBezTo>
                  <a:cubicBezTo>
                    <a:pt x="196" y="387"/>
                    <a:pt x="196" y="387"/>
                    <a:pt x="196" y="387"/>
                  </a:cubicBezTo>
                  <a:cubicBezTo>
                    <a:pt x="192" y="385"/>
                    <a:pt x="192" y="385"/>
                    <a:pt x="192" y="385"/>
                  </a:cubicBezTo>
                  <a:cubicBezTo>
                    <a:pt x="199" y="378"/>
                    <a:pt x="200" y="367"/>
                    <a:pt x="197" y="358"/>
                  </a:cubicBezTo>
                  <a:cubicBezTo>
                    <a:pt x="194" y="364"/>
                    <a:pt x="184" y="386"/>
                    <a:pt x="176" y="387"/>
                  </a:cubicBezTo>
                  <a:cubicBezTo>
                    <a:pt x="172" y="387"/>
                    <a:pt x="156" y="374"/>
                    <a:pt x="152" y="372"/>
                  </a:cubicBezTo>
                  <a:cubicBezTo>
                    <a:pt x="136" y="363"/>
                    <a:pt x="115" y="358"/>
                    <a:pt x="117" y="335"/>
                  </a:cubicBezTo>
                  <a:cubicBezTo>
                    <a:pt x="125" y="337"/>
                    <a:pt x="133" y="335"/>
                    <a:pt x="140" y="330"/>
                  </a:cubicBezTo>
                  <a:cubicBezTo>
                    <a:pt x="129" y="332"/>
                    <a:pt x="121" y="327"/>
                    <a:pt x="110" y="328"/>
                  </a:cubicBezTo>
                  <a:cubicBezTo>
                    <a:pt x="100" y="340"/>
                    <a:pt x="100" y="340"/>
                    <a:pt x="100" y="340"/>
                  </a:cubicBezTo>
                  <a:cubicBezTo>
                    <a:pt x="112" y="346"/>
                    <a:pt x="112" y="346"/>
                    <a:pt x="112" y="346"/>
                  </a:cubicBezTo>
                  <a:cubicBezTo>
                    <a:pt x="114" y="351"/>
                    <a:pt x="114" y="351"/>
                    <a:pt x="114" y="351"/>
                  </a:cubicBezTo>
                  <a:cubicBezTo>
                    <a:pt x="102" y="346"/>
                    <a:pt x="89" y="348"/>
                    <a:pt x="89" y="363"/>
                  </a:cubicBezTo>
                  <a:cubicBezTo>
                    <a:pt x="43" y="369"/>
                    <a:pt x="43" y="369"/>
                    <a:pt x="43" y="369"/>
                  </a:cubicBezTo>
                  <a:cubicBezTo>
                    <a:pt x="25" y="354"/>
                    <a:pt x="22" y="355"/>
                    <a:pt x="0" y="363"/>
                  </a:cubicBezTo>
                  <a:cubicBezTo>
                    <a:pt x="9" y="343"/>
                    <a:pt x="30" y="327"/>
                    <a:pt x="45" y="311"/>
                  </a:cubicBezTo>
                  <a:cubicBezTo>
                    <a:pt x="52" y="310"/>
                    <a:pt x="52" y="310"/>
                    <a:pt x="52" y="310"/>
                  </a:cubicBezTo>
                  <a:cubicBezTo>
                    <a:pt x="54" y="298"/>
                    <a:pt x="68" y="280"/>
                    <a:pt x="74" y="269"/>
                  </a:cubicBezTo>
                  <a:cubicBezTo>
                    <a:pt x="78" y="263"/>
                    <a:pt x="82" y="257"/>
                    <a:pt x="83" y="251"/>
                  </a:cubicBezTo>
                  <a:cubicBezTo>
                    <a:pt x="85" y="244"/>
                    <a:pt x="82" y="238"/>
                    <a:pt x="83" y="232"/>
                  </a:cubicBezTo>
                  <a:cubicBezTo>
                    <a:pt x="86" y="215"/>
                    <a:pt x="108" y="202"/>
                    <a:pt x="119" y="191"/>
                  </a:cubicBezTo>
                  <a:cubicBezTo>
                    <a:pt x="128" y="181"/>
                    <a:pt x="136" y="171"/>
                    <a:pt x="147" y="162"/>
                  </a:cubicBezTo>
                  <a:cubicBezTo>
                    <a:pt x="158" y="152"/>
                    <a:pt x="168" y="136"/>
                    <a:pt x="180" y="128"/>
                  </a:cubicBezTo>
                  <a:cubicBezTo>
                    <a:pt x="191" y="121"/>
                    <a:pt x="206" y="119"/>
                    <a:pt x="217" y="112"/>
                  </a:cubicBezTo>
                  <a:cubicBezTo>
                    <a:pt x="230" y="103"/>
                    <a:pt x="243" y="95"/>
                    <a:pt x="256" y="88"/>
                  </a:cubicBezTo>
                  <a:cubicBezTo>
                    <a:pt x="270" y="80"/>
                    <a:pt x="292" y="76"/>
                    <a:pt x="301" y="62"/>
                  </a:cubicBezTo>
                  <a:cubicBezTo>
                    <a:pt x="304" y="34"/>
                    <a:pt x="304" y="34"/>
                    <a:pt x="304" y="34"/>
                  </a:cubicBezTo>
                  <a:cubicBezTo>
                    <a:pt x="322" y="42"/>
                    <a:pt x="339" y="53"/>
                    <a:pt x="359" y="48"/>
                  </a:cubicBezTo>
                  <a:cubicBezTo>
                    <a:pt x="370" y="46"/>
                    <a:pt x="380" y="40"/>
                    <a:pt x="391" y="38"/>
                  </a:cubicBezTo>
                  <a:cubicBezTo>
                    <a:pt x="403" y="36"/>
                    <a:pt x="415" y="39"/>
                    <a:pt x="426" y="37"/>
                  </a:cubicBezTo>
                  <a:cubicBezTo>
                    <a:pt x="443" y="34"/>
                    <a:pt x="458" y="22"/>
                    <a:pt x="475" y="16"/>
                  </a:cubicBezTo>
                  <a:cubicBezTo>
                    <a:pt x="496" y="9"/>
                    <a:pt x="518" y="6"/>
                    <a:pt x="540" y="0"/>
                  </a:cubicBezTo>
                  <a:cubicBezTo>
                    <a:pt x="578" y="32"/>
                    <a:pt x="630" y="50"/>
                    <a:pt x="674" y="73"/>
                  </a:cubicBezTo>
                  <a:cubicBezTo>
                    <a:pt x="711" y="92"/>
                    <a:pt x="748" y="110"/>
                    <a:pt x="785" y="129"/>
                  </a:cubicBezTo>
                  <a:close/>
                </a:path>
              </a:pathLst>
            </a:custGeom>
            <a:grpFill/>
            <a:ln w="7938" cap="rnd">
              <a:solidFill>
                <a:schemeClr val="accent1"/>
              </a:solidFill>
              <a:prstDash val="solid"/>
              <a:round/>
              <a:headEnd/>
              <a:tailEnd/>
            </a:ln>
          </p:spPr>
          <p:txBody>
            <a:bodyPr/>
            <a:lstStyle/>
            <a:p>
              <a:endParaRPr lang="ru-RU"/>
            </a:p>
          </p:txBody>
        </p:sp>
        <p:sp>
          <p:nvSpPr>
            <p:cNvPr id="113" name="Freeform 8">
              <a:extLst>
                <a:ext uri="{FF2B5EF4-FFF2-40B4-BE49-F238E27FC236}">
                  <a16:creationId xmlns:a16="http://schemas.microsoft.com/office/drawing/2014/main" id="{B584280C-8A58-CAC7-42BF-3EB04D7F9B9C}"/>
                </a:ext>
              </a:extLst>
            </p:cNvPr>
            <p:cNvSpPr>
              <a:spLocks/>
            </p:cNvSpPr>
            <p:nvPr/>
          </p:nvSpPr>
          <p:spPr bwMode="auto">
            <a:xfrm>
              <a:off x="6122988" y="5499099"/>
              <a:ext cx="658813" cy="365125"/>
            </a:xfrm>
            <a:custGeom>
              <a:avLst/>
              <a:gdLst>
                <a:gd name="T0" fmla="*/ 1856272270 w 173"/>
                <a:gd name="T1" fmla="*/ 1244053139 h 96"/>
                <a:gd name="T2" fmla="*/ 928138039 w 173"/>
                <a:gd name="T3" fmla="*/ 1142791806 h 96"/>
                <a:gd name="T4" fmla="*/ 783115400 w 173"/>
                <a:gd name="T5" fmla="*/ 1287449767 h 96"/>
                <a:gd name="T6" fmla="*/ 725105582 w 173"/>
                <a:gd name="T7" fmla="*/ 1215120786 h 96"/>
                <a:gd name="T8" fmla="*/ 464067116 w 173"/>
                <a:gd name="T9" fmla="*/ 1345314473 h 96"/>
                <a:gd name="T10" fmla="*/ 246536964 w 173"/>
                <a:gd name="T11" fmla="*/ 1316382120 h 96"/>
                <a:gd name="T12" fmla="*/ 145022640 w 173"/>
                <a:gd name="T13" fmla="*/ 1388711100 h 96"/>
                <a:gd name="T14" fmla="*/ 43508315 w 173"/>
                <a:gd name="T15" fmla="*/ 1301917845 h 96"/>
                <a:gd name="T16" fmla="*/ 87012822 w 173"/>
                <a:gd name="T17" fmla="*/ 1070466629 h 96"/>
                <a:gd name="T18" fmla="*/ 29003005 w 173"/>
                <a:gd name="T19" fmla="*/ 998137648 h 96"/>
                <a:gd name="T20" fmla="*/ 130521137 w 173"/>
                <a:gd name="T21" fmla="*/ 723286001 h 96"/>
                <a:gd name="T22" fmla="*/ 232035462 w 173"/>
                <a:gd name="T23" fmla="*/ 723286001 h 96"/>
                <a:gd name="T24" fmla="*/ 72511320 w 173"/>
                <a:gd name="T25" fmla="*/ 636492746 h 96"/>
                <a:gd name="T26" fmla="*/ 145022640 w 173"/>
                <a:gd name="T27" fmla="*/ 0 h 96"/>
                <a:gd name="T28" fmla="*/ 362552791 w 173"/>
                <a:gd name="T29" fmla="*/ 231451216 h 96"/>
                <a:gd name="T30" fmla="*/ 464067116 w 173"/>
                <a:gd name="T31" fmla="*/ 491834785 h 96"/>
                <a:gd name="T32" fmla="*/ 826623715 w 173"/>
                <a:gd name="T33" fmla="*/ 448438158 h 96"/>
                <a:gd name="T34" fmla="*/ 1261687826 w 173"/>
                <a:gd name="T35" fmla="*/ 376109177 h 96"/>
                <a:gd name="T36" fmla="*/ 1435713470 w 173"/>
                <a:gd name="T37" fmla="*/ 260383569 h 96"/>
                <a:gd name="T38" fmla="*/ 1624240617 w 173"/>
                <a:gd name="T39" fmla="*/ 477370510 h 96"/>
                <a:gd name="T40" fmla="*/ 2147483646 w 173"/>
                <a:gd name="T41" fmla="*/ 491834785 h 96"/>
                <a:gd name="T42" fmla="*/ 1856272270 w 173"/>
                <a:gd name="T43" fmla="*/ 1244053139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3" h="96">
                  <a:moveTo>
                    <a:pt x="128" y="86"/>
                  </a:moveTo>
                  <a:cubicBezTo>
                    <a:pt x="104" y="90"/>
                    <a:pt x="87" y="85"/>
                    <a:pt x="64" y="79"/>
                  </a:cubicBezTo>
                  <a:cubicBezTo>
                    <a:pt x="54" y="89"/>
                    <a:pt x="54" y="89"/>
                    <a:pt x="54" y="89"/>
                  </a:cubicBezTo>
                  <a:cubicBezTo>
                    <a:pt x="50" y="84"/>
                    <a:pt x="50" y="84"/>
                    <a:pt x="50" y="84"/>
                  </a:cubicBezTo>
                  <a:cubicBezTo>
                    <a:pt x="32" y="93"/>
                    <a:pt x="32" y="93"/>
                    <a:pt x="32" y="93"/>
                  </a:cubicBezTo>
                  <a:cubicBezTo>
                    <a:pt x="17" y="91"/>
                    <a:pt x="17" y="91"/>
                    <a:pt x="17" y="91"/>
                  </a:cubicBezTo>
                  <a:cubicBezTo>
                    <a:pt x="10" y="96"/>
                    <a:pt x="10" y="96"/>
                    <a:pt x="10" y="96"/>
                  </a:cubicBezTo>
                  <a:cubicBezTo>
                    <a:pt x="3" y="90"/>
                    <a:pt x="3" y="90"/>
                    <a:pt x="3" y="90"/>
                  </a:cubicBezTo>
                  <a:cubicBezTo>
                    <a:pt x="6" y="74"/>
                    <a:pt x="6" y="74"/>
                    <a:pt x="6" y="74"/>
                  </a:cubicBezTo>
                  <a:cubicBezTo>
                    <a:pt x="2" y="69"/>
                    <a:pt x="2" y="69"/>
                    <a:pt x="2" y="69"/>
                  </a:cubicBezTo>
                  <a:cubicBezTo>
                    <a:pt x="9" y="50"/>
                    <a:pt x="9" y="50"/>
                    <a:pt x="9" y="50"/>
                  </a:cubicBezTo>
                  <a:cubicBezTo>
                    <a:pt x="16" y="50"/>
                    <a:pt x="16" y="50"/>
                    <a:pt x="16" y="50"/>
                  </a:cubicBezTo>
                  <a:cubicBezTo>
                    <a:pt x="5" y="44"/>
                    <a:pt x="5" y="44"/>
                    <a:pt x="5" y="44"/>
                  </a:cubicBezTo>
                  <a:cubicBezTo>
                    <a:pt x="0" y="34"/>
                    <a:pt x="2" y="8"/>
                    <a:pt x="10" y="0"/>
                  </a:cubicBezTo>
                  <a:cubicBezTo>
                    <a:pt x="16" y="5"/>
                    <a:pt x="22" y="10"/>
                    <a:pt x="25" y="16"/>
                  </a:cubicBezTo>
                  <a:cubicBezTo>
                    <a:pt x="28" y="21"/>
                    <a:pt x="29" y="30"/>
                    <a:pt x="32" y="34"/>
                  </a:cubicBezTo>
                  <a:cubicBezTo>
                    <a:pt x="35" y="38"/>
                    <a:pt x="61" y="45"/>
                    <a:pt x="57" y="31"/>
                  </a:cubicBezTo>
                  <a:cubicBezTo>
                    <a:pt x="65" y="24"/>
                    <a:pt x="77" y="18"/>
                    <a:pt x="87" y="26"/>
                  </a:cubicBezTo>
                  <a:cubicBezTo>
                    <a:pt x="99" y="18"/>
                    <a:pt x="99" y="18"/>
                    <a:pt x="99" y="18"/>
                  </a:cubicBezTo>
                  <a:cubicBezTo>
                    <a:pt x="112" y="33"/>
                    <a:pt x="112" y="33"/>
                    <a:pt x="112" y="33"/>
                  </a:cubicBezTo>
                  <a:cubicBezTo>
                    <a:pt x="133" y="32"/>
                    <a:pt x="152" y="31"/>
                    <a:pt x="173" y="34"/>
                  </a:cubicBezTo>
                  <a:cubicBezTo>
                    <a:pt x="157" y="50"/>
                    <a:pt x="137" y="66"/>
                    <a:pt x="128" y="86"/>
                  </a:cubicBezTo>
                  <a:close/>
                </a:path>
              </a:pathLst>
            </a:custGeom>
            <a:grpFill/>
            <a:ln w="7938" cap="rnd">
              <a:solidFill>
                <a:schemeClr val="accent1"/>
              </a:solidFill>
              <a:prstDash val="solid"/>
              <a:round/>
              <a:headEnd/>
              <a:tailEnd/>
            </a:ln>
          </p:spPr>
          <p:txBody>
            <a:bodyPr/>
            <a:lstStyle/>
            <a:p>
              <a:endParaRPr lang="ru-RU"/>
            </a:p>
          </p:txBody>
        </p:sp>
        <p:sp>
          <p:nvSpPr>
            <p:cNvPr id="114" name="Freeform 9">
              <a:extLst>
                <a:ext uri="{FF2B5EF4-FFF2-40B4-BE49-F238E27FC236}">
                  <a16:creationId xmlns:a16="http://schemas.microsoft.com/office/drawing/2014/main" id="{80267462-DF68-63A9-2157-86AE15303B71}"/>
                </a:ext>
              </a:extLst>
            </p:cNvPr>
            <p:cNvSpPr>
              <a:spLocks/>
            </p:cNvSpPr>
            <p:nvPr/>
          </p:nvSpPr>
          <p:spPr bwMode="auto">
            <a:xfrm>
              <a:off x="6499225" y="5105399"/>
              <a:ext cx="587375" cy="522288"/>
            </a:xfrm>
            <a:custGeom>
              <a:avLst/>
              <a:gdLst>
                <a:gd name="T0" fmla="*/ 2147483646 w 154"/>
                <a:gd name="T1" fmla="*/ 87203034 h 137"/>
                <a:gd name="T2" fmla="*/ 2147483646 w 154"/>
                <a:gd name="T3" fmla="*/ 174406069 h 137"/>
                <a:gd name="T4" fmla="*/ 1760252265 w 154"/>
                <a:gd name="T5" fmla="*/ 639486377 h 137"/>
                <a:gd name="T6" fmla="*/ 1658418985 w 154"/>
                <a:gd name="T7" fmla="*/ 1046432600 h 137"/>
                <a:gd name="T8" fmla="*/ 1178350532 w 154"/>
                <a:gd name="T9" fmla="*/ 1976597030 h 137"/>
                <a:gd name="T10" fmla="*/ 1061970186 w 154"/>
                <a:gd name="T11" fmla="*/ 1991129598 h 137"/>
                <a:gd name="T12" fmla="*/ 436427253 w 154"/>
                <a:gd name="T13" fmla="*/ 1962060649 h 137"/>
                <a:gd name="T14" fmla="*/ 189119494 w 154"/>
                <a:gd name="T15" fmla="*/ 1976597030 h 137"/>
                <a:gd name="T16" fmla="*/ 0 w 154"/>
                <a:gd name="T17" fmla="*/ 1758589444 h 137"/>
                <a:gd name="T18" fmla="*/ 363688106 w 154"/>
                <a:gd name="T19" fmla="*/ 1569650807 h 137"/>
                <a:gd name="T20" fmla="*/ 276401893 w 154"/>
                <a:gd name="T21" fmla="*/ 1482447772 h 137"/>
                <a:gd name="T22" fmla="*/ 174568613 w 154"/>
                <a:gd name="T23" fmla="*/ 1496980341 h 137"/>
                <a:gd name="T24" fmla="*/ 261854826 w 154"/>
                <a:gd name="T25" fmla="*/ 1380712170 h 137"/>
                <a:gd name="T26" fmla="*/ 305499840 w 154"/>
                <a:gd name="T27" fmla="*/ 1438846255 h 137"/>
                <a:gd name="T28" fmla="*/ 480068453 w 154"/>
                <a:gd name="T29" fmla="*/ 1438846255 h 137"/>
                <a:gd name="T30" fmla="*/ 480068453 w 154"/>
                <a:gd name="T31" fmla="*/ 1366175789 h 137"/>
                <a:gd name="T32" fmla="*/ 189119494 w 154"/>
                <a:gd name="T33" fmla="*/ 1191769720 h 137"/>
                <a:gd name="T34" fmla="*/ 261854826 w 154"/>
                <a:gd name="T35" fmla="*/ 1133635635 h 137"/>
                <a:gd name="T36" fmla="*/ 683735013 w 154"/>
                <a:gd name="T37" fmla="*/ 1220838669 h 137"/>
                <a:gd name="T38" fmla="*/ 756470346 w 154"/>
                <a:gd name="T39" fmla="*/ 1104566686 h 137"/>
                <a:gd name="T40" fmla="*/ 916495706 w 154"/>
                <a:gd name="T41" fmla="*/ 1133635635 h 137"/>
                <a:gd name="T42" fmla="*/ 960136906 w 154"/>
                <a:gd name="T43" fmla="*/ 1031900032 h 137"/>
                <a:gd name="T44" fmla="*/ 843756559 w 154"/>
                <a:gd name="T45" fmla="*/ 1075501549 h 137"/>
                <a:gd name="T46" fmla="*/ 901948640 w 154"/>
                <a:gd name="T47" fmla="*/ 886562912 h 137"/>
                <a:gd name="T48" fmla="*/ 712829146 w 154"/>
                <a:gd name="T49" fmla="*/ 915628049 h 137"/>
                <a:gd name="T50" fmla="*/ 712829146 w 154"/>
                <a:gd name="T51" fmla="*/ 799359878 h 137"/>
                <a:gd name="T52" fmla="*/ 450974320 w 154"/>
                <a:gd name="T53" fmla="*/ 813892446 h 137"/>
                <a:gd name="T54" fmla="*/ 581901733 w 154"/>
                <a:gd name="T55" fmla="*/ 610417428 h 137"/>
                <a:gd name="T56" fmla="*/ 1280183813 w 154"/>
                <a:gd name="T57" fmla="*/ 130804552 h 137"/>
                <a:gd name="T58" fmla="*/ 1454752425 w 154"/>
                <a:gd name="T59" fmla="*/ 174406069 h 137"/>
                <a:gd name="T60" fmla="*/ 1643871919 w 154"/>
                <a:gd name="T61" fmla="*/ 101735603 h 137"/>
                <a:gd name="T62" fmla="*/ 2051201225 w 154"/>
                <a:gd name="T63" fmla="*/ 0 h 137"/>
                <a:gd name="T64" fmla="*/ 2147483646 w 154"/>
                <a:gd name="T65" fmla="*/ 14532568 h 137"/>
                <a:gd name="T66" fmla="*/ 2147483646 w 154"/>
                <a:gd name="T67" fmla="*/ 87203034 h 1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37">
                  <a:moveTo>
                    <a:pt x="154" y="6"/>
                  </a:moveTo>
                  <a:cubicBezTo>
                    <a:pt x="153" y="12"/>
                    <a:pt x="153" y="12"/>
                    <a:pt x="153" y="12"/>
                  </a:cubicBezTo>
                  <a:cubicBezTo>
                    <a:pt x="143" y="22"/>
                    <a:pt x="130" y="32"/>
                    <a:pt x="121" y="44"/>
                  </a:cubicBezTo>
                  <a:cubicBezTo>
                    <a:pt x="111" y="55"/>
                    <a:pt x="115" y="59"/>
                    <a:pt x="114" y="72"/>
                  </a:cubicBezTo>
                  <a:cubicBezTo>
                    <a:pt x="111" y="96"/>
                    <a:pt x="85" y="114"/>
                    <a:pt x="81" y="136"/>
                  </a:cubicBezTo>
                  <a:cubicBezTo>
                    <a:pt x="73" y="137"/>
                    <a:pt x="73" y="137"/>
                    <a:pt x="73" y="137"/>
                  </a:cubicBezTo>
                  <a:cubicBezTo>
                    <a:pt x="58" y="135"/>
                    <a:pt x="45" y="134"/>
                    <a:pt x="30" y="135"/>
                  </a:cubicBezTo>
                  <a:cubicBezTo>
                    <a:pt x="13" y="136"/>
                    <a:pt x="13" y="136"/>
                    <a:pt x="13" y="136"/>
                  </a:cubicBezTo>
                  <a:cubicBezTo>
                    <a:pt x="0" y="121"/>
                    <a:pt x="0" y="121"/>
                    <a:pt x="0" y="121"/>
                  </a:cubicBezTo>
                  <a:cubicBezTo>
                    <a:pt x="10" y="120"/>
                    <a:pt x="17" y="115"/>
                    <a:pt x="25" y="108"/>
                  </a:cubicBezTo>
                  <a:cubicBezTo>
                    <a:pt x="23" y="106"/>
                    <a:pt x="21" y="104"/>
                    <a:pt x="19" y="102"/>
                  </a:cubicBezTo>
                  <a:cubicBezTo>
                    <a:pt x="12" y="103"/>
                    <a:pt x="12" y="103"/>
                    <a:pt x="12" y="103"/>
                  </a:cubicBezTo>
                  <a:cubicBezTo>
                    <a:pt x="18" y="95"/>
                    <a:pt x="18" y="95"/>
                    <a:pt x="18" y="95"/>
                  </a:cubicBezTo>
                  <a:cubicBezTo>
                    <a:pt x="21" y="99"/>
                    <a:pt x="21" y="99"/>
                    <a:pt x="21" y="99"/>
                  </a:cubicBezTo>
                  <a:cubicBezTo>
                    <a:pt x="33" y="99"/>
                    <a:pt x="33" y="99"/>
                    <a:pt x="33" y="99"/>
                  </a:cubicBezTo>
                  <a:cubicBezTo>
                    <a:pt x="33" y="94"/>
                    <a:pt x="33" y="94"/>
                    <a:pt x="33" y="94"/>
                  </a:cubicBezTo>
                  <a:cubicBezTo>
                    <a:pt x="28" y="88"/>
                    <a:pt x="20" y="83"/>
                    <a:pt x="13" y="82"/>
                  </a:cubicBezTo>
                  <a:cubicBezTo>
                    <a:pt x="14" y="81"/>
                    <a:pt x="16" y="79"/>
                    <a:pt x="18" y="78"/>
                  </a:cubicBezTo>
                  <a:cubicBezTo>
                    <a:pt x="47" y="84"/>
                    <a:pt x="47" y="84"/>
                    <a:pt x="47" y="84"/>
                  </a:cubicBezTo>
                  <a:cubicBezTo>
                    <a:pt x="52" y="76"/>
                    <a:pt x="52" y="76"/>
                    <a:pt x="52" y="76"/>
                  </a:cubicBezTo>
                  <a:cubicBezTo>
                    <a:pt x="63" y="78"/>
                    <a:pt x="63" y="78"/>
                    <a:pt x="63" y="78"/>
                  </a:cubicBezTo>
                  <a:cubicBezTo>
                    <a:pt x="66" y="71"/>
                    <a:pt x="66" y="71"/>
                    <a:pt x="66" y="71"/>
                  </a:cubicBezTo>
                  <a:cubicBezTo>
                    <a:pt x="58" y="74"/>
                    <a:pt x="58" y="74"/>
                    <a:pt x="58" y="74"/>
                  </a:cubicBezTo>
                  <a:cubicBezTo>
                    <a:pt x="62" y="61"/>
                    <a:pt x="62" y="61"/>
                    <a:pt x="62" y="61"/>
                  </a:cubicBezTo>
                  <a:cubicBezTo>
                    <a:pt x="49" y="63"/>
                    <a:pt x="49" y="63"/>
                    <a:pt x="49" y="63"/>
                  </a:cubicBezTo>
                  <a:cubicBezTo>
                    <a:pt x="49" y="55"/>
                    <a:pt x="49" y="55"/>
                    <a:pt x="49" y="55"/>
                  </a:cubicBezTo>
                  <a:cubicBezTo>
                    <a:pt x="31" y="56"/>
                    <a:pt x="31" y="56"/>
                    <a:pt x="31" y="56"/>
                  </a:cubicBezTo>
                  <a:cubicBezTo>
                    <a:pt x="40" y="42"/>
                    <a:pt x="40" y="42"/>
                    <a:pt x="40" y="42"/>
                  </a:cubicBezTo>
                  <a:cubicBezTo>
                    <a:pt x="56" y="29"/>
                    <a:pt x="64" y="7"/>
                    <a:pt x="88" y="9"/>
                  </a:cubicBezTo>
                  <a:cubicBezTo>
                    <a:pt x="92" y="9"/>
                    <a:pt x="96" y="12"/>
                    <a:pt x="100" y="12"/>
                  </a:cubicBezTo>
                  <a:cubicBezTo>
                    <a:pt x="106" y="11"/>
                    <a:pt x="107" y="9"/>
                    <a:pt x="113" y="7"/>
                  </a:cubicBezTo>
                  <a:cubicBezTo>
                    <a:pt x="122" y="5"/>
                    <a:pt x="133" y="6"/>
                    <a:pt x="141" y="0"/>
                  </a:cubicBezTo>
                  <a:cubicBezTo>
                    <a:pt x="149" y="1"/>
                    <a:pt x="149" y="1"/>
                    <a:pt x="149" y="1"/>
                  </a:cubicBezTo>
                  <a:lnTo>
                    <a:pt x="154" y="6"/>
                  </a:lnTo>
                  <a:close/>
                </a:path>
              </a:pathLst>
            </a:custGeom>
            <a:grpFill/>
            <a:ln w="7938" cap="rnd">
              <a:solidFill>
                <a:schemeClr val="accent1"/>
              </a:solidFill>
              <a:prstDash val="solid"/>
              <a:round/>
              <a:headEnd/>
              <a:tailEnd/>
            </a:ln>
          </p:spPr>
          <p:txBody>
            <a:bodyPr/>
            <a:lstStyle/>
            <a:p>
              <a:endParaRPr lang="ru-RU"/>
            </a:p>
          </p:txBody>
        </p:sp>
        <p:sp>
          <p:nvSpPr>
            <p:cNvPr id="115" name="Freeform 10">
              <a:extLst>
                <a:ext uri="{FF2B5EF4-FFF2-40B4-BE49-F238E27FC236}">
                  <a16:creationId xmlns:a16="http://schemas.microsoft.com/office/drawing/2014/main" id="{BB10D04D-35F7-0EFD-15A9-F323905F51A8}"/>
                </a:ext>
              </a:extLst>
            </p:cNvPr>
            <p:cNvSpPr>
              <a:spLocks/>
            </p:cNvSpPr>
            <p:nvPr/>
          </p:nvSpPr>
          <p:spPr bwMode="auto">
            <a:xfrm>
              <a:off x="5164138" y="2371725"/>
              <a:ext cx="2017713" cy="1987550"/>
            </a:xfrm>
            <a:custGeom>
              <a:avLst/>
              <a:gdLst>
                <a:gd name="T0" fmla="*/ 2147483646 w 530"/>
                <a:gd name="T1" fmla="*/ 2147483646 h 522"/>
                <a:gd name="T2" fmla="*/ 2147483646 w 530"/>
                <a:gd name="T3" fmla="*/ 2147483646 h 522"/>
                <a:gd name="T4" fmla="*/ 2147483646 w 530"/>
                <a:gd name="T5" fmla="*/ 2147483646 h 522"/>
                <a:gd name="T6" fmla="*/ 2147483646 w 530"/>
                <a:gd name="T7" fmla="*/ 2147483646 h 522"/>
                <a:gd name="T8" fmla="*/ 2147483646 w 530"/>
                <a:gd name="T9" fmla="*/ 2147483646 h 522"/>
                <a:gd name="T10" fmla="*/ 2147483646 w 530"/>
                <a:gd name="T11" fmla="*/ 2147483646 h 522"/>
                <a:gd name="T12" fmla="*/ 2147483646 w 530"/>
                <a:gd name="T13" fmla="*/ 2147483646 h 522"/>
                <a:gd name="T14" fmla="*/ 2147483646 w 530"/>
                <a:gd name="T15" fmla="*/ 2147483646 h 522"/>
                <a:gd name="T16" fmla="*/ 2147483646 w 530"/>
                <a:gd name="T17" fmla="*/ 2147483646 h 522"/>
                <a:gd name="T18" fmla="*/ 1362371239 w 530"/>
                <a:gd name="T19" fmla="*/ 2147483646 h 522"/>
                <a:gd name="T20" fmla="*/ 0 w 530"/>
                <a:gd name="T21" fmla="*/ 2147483646 h 522"/>
                <a:gd name="T22" fmla="*/ 1463824132 w 530"/>
                <a:gd name="T23" fmla="*/ 2147483646 h 522"/>
                <a:gd name="T24" fmla="*/ 1608756838 w 530"/>
                <a:gd name="T25" fmla="*/ 2147483646 h 522"/>
                <a:gd name="T26" fmla="*/ 2147483646 w 530"/>
                <a:gd name="T27" fmla="*/ 2147483646 h 522"/>
                <a:gd name="T28" fmla="*/ 2147483646 w 530"/>
                <a:gd name="T29" fmla="*/ 2147483646 h 522"/>
                <a:gd name="T30" fmla="*/ 2147483646 w 530"/>
                <a:gd name="T31" fmla="*/ 2147483646 h 522"/>
                <a:gd name="T32" fmla="*/ 2147483646 w 530"/>
                <a:gd name="T33" fmla="*/ 2147483646 h 522"/>
                <a:gd name="T34" fmla="*/ 2147483646 w 530"/>
                <a:gd name="T35" fmla="*/ 2147483646 h 522"/>
                <a:gd name="T36" fmla="*/ 2147483646 w 530"/>
                <a:gd name="T37" fmla="*/ 2147483646 h 522"/>
                <a:gd name="T38" fmla="*/ 2014568413 w 530"/>
                <a:gd name="T39" fmla="*/ 1696214007 h 522"/>
                <a:gd name="T40" fmla="*/ 2147483646 w 530"/>
                <a:gd name="T41" fmla="*/ 1536741676 h 522"/>
                <a:gd name="T42" fmla="*/ 2147483646 w 530"/>
                <a:gd name="T43" fmla="*/ 1957173230 h 522"/>
                <a:gd name="T44" fmla="*/ 2147483646 w 530"/>
                <a:gd name="T45" fmla="*/ 2116645561 h 522"/>
                <a:gd name="T46" fmla="*/ 2147483646 w 530"/>
                <a:gd name="T47" fmla="*/ 2147483646 h 522"/>
                <a:gd name="T48" fmla="*/ 2147483646 w 530"/>
                <a:gd name="T49" fmla="*/ 2147483646 h 522"/>
                <a:gd name="T50" fmla="*/ 2147483646 w 530"/>
                <a:gd name="T51" fmla="*/ 2147483646 h 522"/>
                <a:gd name="T52" fmla="*/ 2147483646 w 530"/>
                <a:gd name="T53" fmla="*/ 2147483646 h 522"/>
                <a:gd name="T54" fmla="*/ 2147483646 w 530"/>
                <a:gd name="T55" fmla="*/ 2145640184 h 522"/>
                <a:gd name="T56" fmla="*/ 2147483646 w 530"/>
                <a:gd name="T57" fmla="*/ 1986167853 h 522"/>
                <a:gd name="T58" fmla="*/ 2147483646 w 530"/>
                <a:gd name="T59" fmla="*/ 1246791638 h 522"/>
                <a:gd name="T60" fmla="*/ 2147483646 w 530"/>
                <a:gd name="T61" fmla="*/ 1043825469 h 522"/>
                <a:gd name="T62" fmla="*/ 2147483646 w 530"/>
                <a:gd name="T63" fmla="*/ 913347761 h 522"/>
                <a:gd name="T64" fmla="*/ 2147483646 w 530"/>
                <a:gd name="T65" fmla="*/ 536410046 h 522"/>
                <a:gd name="T66" fmla="*/ 2147483646 w 530"/>
                <a:gd name="T67" fmla="*/ 507415423 h 522"/>
                <a:gd name="T68" fmla="*/ 2147483646 w 530"/>
                <a:gd name="T69" fmla="*/ 246460008 h 522"/>
                <a:gd name="T70" fmla="*/ 2147483646 w 530"/>
                <a:gd name="T71" fmla="*/ 144976923 h 522"/>
                <a:gd name="T72" fmla="*/ 2147483646 w 530"/>
                <a:gd name="T73" fmla="*/ 43493838 h 522"/>
                <a:gd name="T74" fmla="*/ 2147483646 w 530"/>
                <a:gd name="T75" fmla="*/ 652392346 h 522"/>
                <a:gd name="T76" fmla="*/ 2147483646 w 530"/>
                <a:gd name="T77" fmla="*/ 971337007 h 522"/>
                <a:gd name="T78" fmla="*/ 2147483646 w 530"/>
                <a:gd name="T79" fmla="*/ 1014830846 h 522"/>
                <a:gd name="T80" fmla="*/ 2147483646 w 530"/>
                <a:gd name="T81" fmla="*/ 1435258592 h 522"/>
                <a:gd name="T82" fmla="*/ 2147483646 w 530"/>
                <a:gd name="T83" fmla="*/ 2116645561 h 522"/>
                <a:gd name="T84" fmla="*/ 2147483646 w 530"/>
                <a:gd name="T85" fmla="*/ 2044157099 h 522"/>
                <a:gd name="T86" fmla="*/ 2147483646 w 530"/>
                <a:gd name="T87" fmla="*/ 2147483646 h 522"/>
                <a:gd name="T88" fmla="*/ 2147483646 w 530"/>
                <a:gd name="T89" fmla="*/ 2147483646 h 522"/>
                <a:gd name="T90" fmla="*/ 2147483646 w 530"/>
                <a:gd name="T91" fmla="*/ 2147483646 h 522"/>
                <a:gd name="T92" fmla="*/ 2147483646 w 530"/>
                <a:gd name="T93" fmla="*/ 2147483646 h 522"/>
                <a:gd name="T94" fmla="*/ 2147483646 w 530"/>
                <a:gd name="T95" fmla="*/ 2147483646 h 522"/>
                <a:gd name="T96" fmla="*/ 2147483646 w 530"/>
                <a:gd name="T97" fmla="*/ 2147483646 h 522"/>
                <a:gd name="T98" fmla="*/ 2147483646 w 530"/>
                <a:gd name="T99" fmla="*/ 2147483646 h 522"/>
                <a:gd name="T100" fmla="*/ 2147483646 w 530"/>
                <a:gd name="T101" fmla="*/ 2147483646 h 522"/>
                <a:gd name="T102" fmla="*/ 2147483646 w 530"/>
                <a:gd name="T103" fmla="*/ 2147483646 h 52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30" h="522">
                  <a:moveTo>
                    <a:pt x="424" y="354"/>
                  </a:moveTo>
                  <a:cubicBezTo>
                    <a:pt x="410" y="358"/>
                    <a:pt x="395" y="354"/>
                    <a:pt x="382" y="358"/>
                  </a:cubicBezTo>
                  <a:cubicBezTo>
                    <a:pt x="384" y="355"/>
                    <a:pt x="385" y="351"/>
                    <a:pt x="388" y="349"/>
                  </a:cubicBezTo>
                  <a:cubicBezTo>
                    <a:pt x="383" y="345"/>
                    <a:pt x="381" y="340"/>
                    <a:pt x="380" y="335"/>
                  </a:cubicBezTo>
                  <a:cubicBezTo>
                    <a:pt x="376" y="337"/>
                    <a:pt x="372" y="339"/>
                    <a:pt x="367" y="341"/>
                  </a:cubicBezTo>
                  <a:cubicBezTo>
                    <a:pt x="363" y="330"/>
                    <a:pt x="363" y="330"/>
                    <a:pt x="363" y="330"/>
                  </a:cubicBezTo>
                  <a:cubicBezTo>
                    <a:pt x="362" y="339"/>
                    <a:pt x="351" y="364"/>
                    <a:pt x="340" y="359"/>
                  </a:cubicBezTo>
                  <a:cubicBezTo>
                    <a:pt x="335" y="349"/>
                    <a:pt x="313" y="341"/>
                    <a:pt x="327" y="331"/>
                  </a:cubicBezTo>
                  <a:cubicBezTo>
                    <a:pt x="347" y="327"/>
                    <a:pt x="355" y="324"/>
                    <a:pt x="359" y="305"/>
                  </a:cubicBezTo>
                  <a:cubicBezTo>
                    <a:pt x="351" y="315"/>
                    <a:pt x="342" y="329"/>
                    <a:pt x="327" y="326"/>
                  </a:cubicBezTo>
                  <a:cubicBezTo>
                    <a:pt x="329" y="324"/>
                    <a:pt x="331" y="321"/>
                    <a:pt x="333" y="320"/>
                  </a:cubicBezTo>
                  <a:cubicBezTo>
                    <a:pt x="332" y="315"/>
                    <a:pt x="332" y="315"/>
                    <a:pt x="332" y="315"/>
                  </a:cubicBezTo>
                  <a:cubicBezTo>
                    <a:pt x="323" y="323"/>
                    <a:pt x="323" y="323"/>
                    <a:pt x="323" y="323"/>
                  </a:cubicBezTo>
                  <a:cubicBezTo>
                    <a:pt x="317" y="319"/>
                    <a:pt x="317" y="319"/>
                    <a:pt x="317" y="319"/>
                  </a:cubicBezTo>
                  <a:cubicBezTo>
                    <a:pt x="315" y="330"/>
                    <a:pt x="315" y="330"/>
                    <a:pt x="315" y="330"/>
                  </a:cubicBezTo>
                  <a:cubicBezTo>
                    <a:pt x="307" y="333"/>
                    <a:pt x="307" y="333"/>
                    <a:pt x="307" y="333"/>
                  </a:cubicBezTo>
                  <a:cubicBezTo>
                    <a:pt x="299" y="321"/>
                    <a:pt x="302" y="303"/>
                    <a:pt x="298" y="289"/>
                  </a:cubicBezTo>
                  <a:cubicBezTo>
                    <a:pt x="295" y="301"/>
                    <a:pt x="302" y="315"/>
                    <a:pt x="291" y="323"/>
                  </a:cubicBezTo>
                  <a:cubicBezTo>
                    <a:pt x="285" y="313"/>
                    <a:pt x="285" y="313"/>
                    <a:pt x="285" y="313"/>
                  </a:cubicBezTo>
                  <a:cubicBezTo>
                    <a:pt x="282" y="324"/>
                    <a:pt x="282" y="324"/>
                    <a:pt x="282" y="324"/>
                  </a:cubicBezTo>
                  <a:cubicBezTo>
                    <a:pt x="279" y="325"/>
                    <a:pt x="279" y="325"/>
                    <a:pt x="279" y="325"/>
                  </a:cubicBezTo>
                  <a:cubicBezTo>
                    <a:pt x="275" y="315"/>
                    <a:pt x="270" y="303"/>
                    <a:pt x="278" y="292"/>
                  </a:cubicBezTo>
                  <a:cubicBezTo>
                    <a:pt x="275" y="291"/>
                    <a:pt x="271" y="289"/>
                    <a:pt x="267" y="289"/>
                  </a:cubicBezTo>
                  <a:cubicBezTo>
                    <a:pt x="266" y="292"/>
                    <a:pt x="266" y="292"/>
                    <a:pt x="266" y="292"/>
                  </a:cubicBezTo>
                  <a:cubicBezTo>
                    <a:pt x="272" y="332"/>
                    <a:pt x="272" y="332"/>
                    <a:pt x="272" y="332"/>
                  </a:cubicBezTo>
                  <a:cubicBezTo>
                    <a:pt x="261" y="332"/>
                    <a:pt x="261" y="332"/>
                    <a:pt x="261" y="332"/>
                  </a:cubicBezTo>
                  <a:cubicBezTo>
                    <a:pt x="262" y="325"/>
                    <a:pt x="262" y="325"/>
                    <a:pt x="262" y="325"/>
                  </a:cubicBezTo>
                  <a:cubicBezTo>
                    <a:pt x="252" y="323"/>
                    <a:pt x="252" y="323"/>
                    <a:pt x="252" y="323"/>
                  </a:cubicBezTo>
                  <a:cubicBezTo>
                    <a:pt x="247" y="317"/>
                    <a:pt x="247" y="317"/>
                    <a:pt x="247" y="317"/>
                  </a:cubicBezTo>
                  <a:cubicBezTo>
                    <a:pt x="261" y="304"/>
                    <a:pt x="261" y="304"/>
                    <a:pt x="261" y="304"/>
                  </a:cubicBezTo>
                  <a:cubicBezTo>
                    <a:pt x="252" y="294"/>
                    <a:pt x="252" y="294"/>
                    <a:pt x="252" y="294"/>
                  </a:cubicBezTo>
                  <a:cubicBezTo>
                    <a:pt x="252" y="300"/>
                    <a:pt x="249" y="307"/>
                    <a:pt x="244" y="311"/>
                  </a:cubicBezTo>
                  <a:cubicBezTo>
                    <a:pt x="242" y="306"/>
                    <a:pt x="240" y="301"/>
                    <a:pt x="238" y="296"/>
                  </a:cubicBezTo>
                  <a:cubicBezTo>
                    <a:pt x="236" y="312"/>
                    <a:pt x="236" y="312"/>
                    <a:pt x="236" y="312"/>
                  </a:cubicBezTo>
                  <a:cubicBezTo>
                    <a:pt x="225" y="324"/>
                    <a:pt x="211" y="319"/>
                    <a:pt x="203" y="307"/>
                  </a:cubicBezTo>
                  <a:cubicBezTo>
                    <a:pt x="199" y="323"/>
                    <a:pt x="204" y="326"/>
                    <a:pt x="192" y="338"/>
                  </a:cubicBezTo>
                  <a:cubicBezTo>
                    <a:pt x="168" y="331"/>
                    <a:pt x="168" y="331"/>
                    <a:pt x="168" y="331"/>
                  </a:cubicBezTo>
                  <a:cubicBezTo>
                    <a:pt x="157" y="339"/>
                    <a:pt x="141" y="337"/>
                    <a:pt x="131" y="343"/>
                  </a:cubicBezTo>
                  <a:cubicBezTo>
                    <a:pt x="127" y="346"/>
                    <a:pt x="125" y="352"/>
                    <a:pt x="122" y="355"/>
                  </a:cubicBezTo>
                  <a:cubicBezTo>
                    <a:pt x="94" y="362"/>
                    <a:pt x="94" y="362"/>
                    <a:pt x="94" y="362"/>
                  </a:cubicBezTo>
                  <a:cubicBezTo>
                    <a:pt x="81" y="356"/>
                    <a:pt x="81" y="356"/>
                    <a:pt x="81" y="356"/>
                  </a:cubicBezTo>
                  <a:cubicBezTo>
                    <a:pt x="85" y="340"/>
                    <a:pt x="85" y="340"/>
                    <a:pt x="85" y="340"/>
                  </a:cubicBezTo>
                  <a:cubicBezTo>
                    <a:pt x="68" y="333"/>
                    <a:pt x="52" y="329"/>
                    <a:pt x="34" y="328"/>
                  </a:cubicBezTo>
                  <a:cubicBezTo>
                    <a:pt x="22" y="328"/>
                    <a:pt x="8" y="332"/>
                    <a:pt x="0" y="321"/>
                  </a:cubicBezTo>
                  <a:cubicBezTo>
                    <a:pt x="17" y="313"/>
                    <a:pt x="26" y="302"/>
                    <a:pt x="28" y="285"/>
                  </a:cubicBezTo>
                  <a:cubicBezTo>
                    <a:pt x="36" y="279"/>
                    <a:pt x="36" y="279"/>
                    <a:pt x="36" y="279"/>
                  </a:cubicBezTo>
                  <a:cubicBezTo>
                    <a:pt x="51" y="278"/>
                    <a:pt x="62" y="294"/>
                    <a:pt x="73" y="301"/>
                  </a:cubicBezTo>
                  <a:cubicBezTo>
                    <a:pt x="81" y="307"/>
                    <a:pt x="91" y="321"/>
                    <a:pt x="101" y="321"/>
                  </a:cubicBezTo>
                  <a:cubicBezTo>
                    <a:pt x="110" y="317"/>
                    <a:pt x="110" y="317"/>
                    <a:pt x="110" y="317"/>
                  </a:cubicBezTo>
                  <a:cubicBezTo>
                    <a:pt x="97" y="314"/>
                    <a:pt x="97" y="314"/>
                    <a:pt x="97" y="314"/>
                  </a:cubicBezTo>
                  <a:cubicBezTo>
                    <a:pt x="90" y="300"/>
                    <a:pt x="78" y="289"/>
                    <a:pt x="70" y="275"/>
                  </a:cubicBezTo>
                  <a:cubicBezTo>
                    <a:pt x="85" y="279"/>
                    <a:pt x="98" y="284"/>
                    <a:pt x="111" y="291"/>
                  </a:cubicBezTo>
                  <a:cubicBezTo>
                    <a:pt x="100" y="276"/>
                    <a:pt x="79" y="272"/>
                    <a:pt x="71" y="254"/>
                  </a:cubicBezTo>
                  <a:cubicBezTo>
                    <a:pt x="67" y="245"/>
                    <a:pt x="60" y="227"/>
                    <a:pt x="72" y="222"/>
                  </a:cubicBezTo>
                  <a:cubicBezTo>
                    <a:pt x="96" y="223"/>
                    <a:pt x="159" y="262"/>
                    <a:pt x="145" y="290"/>
                  </a:cubicBezTo>
                  <a:cubicBezTo>
                    <a:pt x="147" y="290"/>
                    <a:pt x="149" y="290"/>
                    <a:pt x="151" y="289"/>
                  </a:cubicBezTo>
                  <a:cubicBezTo>
                    <a:pt x="157" y="281"/>
                    <a:pt x="157" y="281"/>
                    <a:pt x="157" y="281"/>
                  </a:cubicBezTo>
                  <a:cubicBezTo>
                    <a:pt x="173" y="284"/>
                    <a:pt x="173" y="284"/>
                    <a:pt x="173" y="284"/>
                  </a:cubicBezTo>
                  <a:cubicBezTo>
                    <a:pt x="171" y="277"/>
                    <a:pt x="171" y="277"/>
                    <a:pt x="171" y="277"/>
                  </a:cubicBezTo>
                  <a:cubicBezTo>
                    <a:pt x="189" y="271"/>
                    <a:pt x="189" y="271"/>
                    <a:pt x="189" y="271"/>
                  </a:cubicBezTo>
                  <a:cubicBezTo>
                    <a:pt x="171" y="271"/>
                    <a:pt x="160" y="270"/>
                    <a:pt x="154" y="253"/>
                  </a:cubicBezTo>
                  <a:cubicBezTo>
                    <a:pt x="163" y="249"/>
                    <a:pt x="163" y="249"/>
                    <a:pt x="163" y="249"/>
                  </a:cubicBezTo>
                  <a:cubicBezTo>
                    <a:pt x="167" y="252"/>
                    <a:pt x="167" y="252"/>
                    <a:pt x="167" y="252"/>
                  </a:cubicBezTo>
                  <a:cubicBezTo>
                    <a:pt x="178" y="253"/>
                    <a:pt x="186" y="243"/>
                    <a:pt x="196" y="250"/>
                  </a:cubicBezTo>
                  <a:cubicBezTo>
                    <a:pt x="195" y="243"/>
                    <a:pt x="195" y="243"/>
                    <a:pt x="195" y="243"/>
                  </a:cubicBezTo>
                  <a:cubicBezTo>
                    <a:pt x="205" y="236"/>
                    <a:pt x="205" y="236"/>
                    <a:pt x="205" y="236"/>
                  </a:cubicBezTo>
                  <a:cubicBezTo>
                    <a:pt x="196" y="236"/>
                    <a:pt x="192" y="242"/>
                    <a:pt x="185" y="244"/>
                  </a:cubicBezTo>
                  <a:cubicBezTo>
                    <a:pt x="178" y="245"/>
                    <a:pt x="165" y="243"/>
                    <a:pt x="158" y="242"/>
                  </a:cubicBezTo>
                  <a:cubicBezTo>
                    <a:pt x="148" y="240"/>
                    <a:pt x="135" y="230"/>
                    <a:pt x="125" y="235"/>
                  </a:cubicBezTo>
                  <a:cubicBezTo>
                    <a:pt x="115" y="223"/>
                    <a:pt x="95" y="195"/>
                    <a:pt x="114" y="183"/>
                  </a:cubicBezTo>
                  <a:cubicBezTo>
                    <a:pt x="126" y="187"/>
                    <a:pt x="146" y="205"/>
                    <a:pt x="158" y="199"/>
                  </a:cubicBezTo>
                  <a:cubicBezTo>
                    <a:pt x="165" y="202"/>
                    <a:pt x="196" y="220"/>
                    <a:pt x="203" y="214"/>
                  </a:cubicBezTo>
                  <a:cubicBezTo>
                    <a:pt x="190" y="210"/>
                    <a:pt x="190" y="210"/>
                    <a:pt x="190" y="210"/>
                  </a:cubicBezTo>
                  <a:cubicBezTo>
                    <a:pt x="187" y="205"/>
                    <a:pt x="187" y="205"/>
                    <a:pt x="187" y="205"/>
                  </a:cubicBezTo>
                  <a:cubicBezTo>
                    <a:pt x="163" y="208"/>
                    <a:pt x="119" y="172"/>
                    <a:pt x="117" y="150"/>
                  </a:cubicBezTo>
                  <a:cubicBezTo>
                    <a:pt x="112" y="108"/>
                    <a:pt x="159" y="159"/>
                    <a:pt x="173" y="149"/>
                  </a:cubicBezTo>
                  <a:cubicBezTo>
                    <a:pt x="177" y="163"/>
                    <a:pt x="177" y="163"/>
                    <a:pt x="177" y="163"/>
                  </a:cubicBezTo>
                  <a:cubicBezTo>
                    <a:pt x="180" y="164"/>
                    <a:pt x="180" y="164"/>
                    <a:pt x="180" y="164"/>
                  </a:cubicBezTo>
                  <a:cubicBezTo>
                    <a:pt x="174" y="147"/>
                    <a:pt x="174" y="147"/>
                    <a:pt x="174" y="147"/>
                  </a:cubicBezTo>
                  <a:cubicBezTo>
                    <a:pt x="159" y="140"/>
                    <a:pt x="149" y="130"/>
                    <a:pt x="139" y="117"/>
                  </a:cubicBezTo>
                  <a:cubicBezTo>
                    <a:pt x="149" y="108"/>
                    <a:pt x="168" y="113"/>
                    <a:pt x="175" y="123"/>
                  </a:cubicBezTo>
                  <a:cubicBezTo>
                    <a:pt x="172" y="119"/>
                    <a:pt x="170" y="115"/>
                    <a:pt x="167" y="111"/>
                  </a:cubicBezTo>
                  <a:cubicBezTo>
                    <a:pt x="153" y="111"/>
                    <a:pt x="153" y="111"/>
                    <a:pt x="153" y="111"/>
                  </a:cubicBezTo>
                  <a:cubicBezTo>
                    <a:pt x="150" y="106"/>
                    <a:pt x="150" y="106"/>
                    <a:pt x="150" y="106"/>
                  </a:cubicBezTo>
                  <a:cubicBezTo>
                    <a:pt x="158" y="97"/>
                    <a:pt x="158" y="97"/>
                    <a:pt x="158" y="97"/>
                  </a:cubicBezTo>
                  <a:cubicBezTo>
                    <a:pt x="164" y="97"/>
                    <a:pt x="164" y="97"/>
                    <a:pt x="164" y="97"/>
                  </a:cubicBezTo>
                  <a:cubicBezTo>
                    <a:pt x="171" y="89"/>
                    <a:pt x="171" y="89"/>
                    <a:pt x="171" y="89"/>
                  </a:cubicBezTo>
                  <a:cubicBezTo>
                    <a:pt x="190" y="95"/>
                    <a:pt x="226" y="109"/>
                    <a:pt x="220" y="135"/>
                  </a:cubicBezTo>
                  <a:cubicBezTo>
                    <a:pt x="223" y="131"/>
                    <a:pt x="225" y="128"/>
                    <a:pt x="228" y="124"/>
                  </a:cubicBezTo>
                  <a:cubicBezTo>
                    <a:pt x="232" y="124"/>
                    <a:pt x="232" y="124"/>
                    <a:pt x="232" y="124"/>
                  </a:cubicBezTo>
                  <a:cubicBezTo>
                    <a:pt x="245" y="139"/>
                    <a:pt x="236" y="155"/>
                    <a:pt x="228" y="169"/>
                  </a:cubicBezTo>
                  <a:cubicBezTo>
                    <a:pt x="234" y="162"/>
                    <a:pt x="242" y="156"/>
                    <a:pt x="244" y="146"/>
                  </a:cubicBezTo>
                  <a:cubicBezTo>
                    <a:pt x="246" y="147"/>
                    <a:pt x="247" y="148"/>
                    <a:pt x="249" y="148"/>
                  </a:cubicBezTo>
                  <a:cubicBezTo>
                    <a:pt x="251" y="157"/>
                    <a:pt x="251" y="157"/>
                    <a:pt x="251" y="157"/>
                  </a:cubicBezTo>
                  <a:cubicBezTo>
                    <a:pt x="259" y="155"/>
                    <a:pt x="259" y="155"/>
                    <a:pt x="259" y="155"/>
                  </a:cubicBezTo>
                  <a:cubicBezTo>
                    <a:pt x="249" y="180"/>
                    <a:pt x="249" y="180"/>
                    <a:pt x="249" y="180"/>
                  </a:cubicBezTo>
                  <a:cubicBezTo>
                    <a:pt x="255" y="175"/>
                    <a:pt x="257" y="168"/>
                    <a:pt x="259" y="162"/>
                  </a:cubicBezTo>
                  <a:cubicBezTo>
                    <a:pt x="265" y="171"/>
                    <a:pt x="262" y="183"/>
                    <a:pt x="261" y="193"/>
                  </a:cubicBezTo>
                  <a:cubicBezTo>
                    <a:pt x="265" y="180"/>
                    <a:pt x="264" y="136"/>
                    <a:pt x="282" y="143"/>
                  </a:cubicBezTo>
                  <a:cubicBezTo>
                    <a:pt x="285" y="162"/>
                    <a:pt x="299" y="166"/>
                    <a:pt x="294" y="186"/>
                  </a:cubicBezTo>
                  <a:cubicBezTo>
                    <a:pt x="292" y="195"/>
                    <a:pt x="281" y="215"/>
                    <a:pt x="287" y="220"/>
                  </a:cubicBezTo>
                  <a:cubicBezTo>
                    <a:pt x="291" y="203"/>
                    <a:pt x="299" y="187"/>
                    <a:pt x="305" y="172"/>
                  </a:cubicBezTo>
                  <a:cubicBezTo>
                    <a:pt x="307" y="176"/>
                    <a:pt x="309" y="180"/>
                    <a:pt x="311" y="184"/>
                  </a:cubicBezTo>
                  <a:cubicBezTo>
                    <a:pt x="315" y="187"/>
                    <a:pt x="315" y="187"/>
                    <a:pt x="315" y="187"/>
                  </a:cubicBezTo>
                  <a:cubicBezTo>
                    <a:pt x="316" y="196"/>
                    <a:pt x="316" y="196"/>
                    <a:pt x="316" y="196"/>
                  </a:cubicBezTo>
                  <a:cubicBezTo>
                    <a:pt x="319" y="189"/>
                    <a:pt x="319" y="189"/>
                    <a:pt x="319" y="189"/>
                  </a:cubicBezTo>
                  <a:cubicBezTo>
                    <a:pt x="318" y="200"/>
                    <a:pt x="315" y="210"/>
                    <a:pt x="311" y="220"/>
                  </a:cubicBezTo>
                  <a:cubicBezTo>
                    <a:pt x="313" y="219"/>
                    <a:pt x="315" y="218"/>
                    <a:pt x="317" y="217"/>
                  </a:cubicBezTo>
                  <a:cubicBezTo>
                    <a:pt x="323" y="198"/>
                    <a:pt x="323" y="198"/>
                    <a:pt x="323" y="198"/>
                  </a:cubicBezTo>
                  <a:cubicBezTo>
                    <a:pt x="328" y="194"/>
                    <a:pt x="328" y="194"/>
                    <a:pt x="328" y="194"/>
                  </a:cubicBezTo>
                  <a:cubicBezTo>
                    <a:pt x="322" y="184"/>
                    <a:pt x="319" y="168"/>
                    <a:pt x="316" y="158"/>
                  </a:cubicBezTo>
                  <a:cubicBezTo>
                    <a:pt x="314" y="150"/>
                    <a:pt x="312" y="157"/>
                    <a:pt x="313" y="148"/>
                  </a:cubicBezTo>
                  <a:cubicBezTo>
                    <a:pt x="313" y="144"/>
                    <a:pt x="315" y="141"/>
                    <a:pt x="316" y="137"/>
                  </a:cubicBezTo>
                  <a:cubicBezTo>
                    <a:pt x="324" y="135"/>
                    <a:pt x="324" y="135"/>
                    <a:pt x="324" y="135"/>
                  </a:cubicBezTo>
                  <a:cubicBezTo>
                    <a:pt x="323" y="130"/>
                    <a:pt x="323" y="130"/>
                    <a:pt x="323" y="130"/>
                  </a:cubicBezTo>
                  <a:cubicBezTo>
                    <a:pt x="310" y="137"/>
                    <a:pt x="310" y="137"/>
                    <a:pt x="310" y="137"/>
                  </a:cubicBezTo>
                  <a:cubicBezTo>
                    <a:pt x="292" y="130"/>
                    <a:pt x="252" y="110"/>
                    <a:pt x="245" y="90"/>
                  </a:cubicBezTo>
                  <a:cubicBezTo>
                    <a:pt x="241" y="80"/>
                    <a:pt x="240" y="82"/>
                    <a:pt x="249" y="77"/>
                  </a:cubicBezTo>
                  <a:cubicBezTo>
                    <a:pt x="254" y="73"/>
                    <a:pt x="265" y="73"/>
                    <a:pt x="271" y="73"/>
                  </a:cubicBezTo>
                  <a:cubicBezTo>
                    <a:pt x="282" y="74"/>
                    <a:pt x="296" y="75"/>
                    <a:pt x="300" y="86"/>
                  </a:cubicBezTo>
                  <a:cubicBezTo>
                    <a:pt x="305" y="85"/>
                    <a:pt x="305" y="85"/>
                    <a:pt x="305" y="85"/>
                  </a:cubicBezTo>
                  <a:cubicBezTo>
                    <a:pt x="302" y="78"/>
                    <a:pt x="302" y="78"/>
                    <a:pt x="302" y="78"/>
                  </a:cubicBezTo>
                  <a:cubicBezTo>
                    <a:pt x="312" y="79"/>
                    <a:pt x="320" y="70"/>
                    <a:pt x="330" y="69"/>
                  </a:cubicBezTo>
                  <a:cubicBezTo>
                    <a:pt x="323" y="70"/>
                    <a:pt x="317" y="71"/>
                    <a:pt x="310" y="72"/>
                  </a:cubicBezTo>
                  <a:cubicBezTo>
                    <a:pt x="301" y="65"/>
                    <a:pt x="301" y="65"/>
                    <a:pt x="301" y="65"/>
                  </a:cubicBezTo>
                  <a:cubicBezTo>
                    <a:pt x="315" y="54"/>
                    <a:pt x="315" y="54"/>
                    <a:pt x="315" y="54"/>
                  </a:cubicBezTo>
                  <a:cubicBezTo>
                    <a:pt x="310" y="53"/>
                    <a:pt x="310" y="53"/>
                    <a:pt x="310" y="53"/>
                  </a:cubicBezTo>
                  <a:cubicBezTo>
                    <a:pt x="297" y="63"/>
                    <a:pt x="297" y="63"/>
                    <a:pt x="297" y="63"/>
                  </a:cubicBezTo>
                  <a:cubicBezTo>
                    <a:pt x="280" y="61"/>
                    <a:pt x="280" y="61"/>
                    <a:pt x="280" y="61"/>
                  </a:cubicBezTo>
                  <a:cubicBezTo>
                    <a:pt x="284" y="55"/>
                    <a:pt x="286" y="46"/>
                    <a:pt x="285" y="39"/>
                  </a:cubicBezTo>
                  <a:cubicBezTo>
                    <a:pt x="279" y="45"/>
                    <a:pt x="273" y="53"/>
                    <a:pt x="264" y="53"/>
                  </a:cubicBezTo>
                  <a:cubicBezTo>
                    <a:pt x="263" y="47"/>
                    <a:pt x="265" y="41"/>
                    <a:pt x="268" y="37"/>
                  </a:cubicBezTo>
                  <a:cubicBezTo>
                    <a:pt x="262" y="40"/>
                    <a:pt x="259" y="45"/>
                    <a:pt x="254" y="49"/>
                  </a:cubicBezTo>
                  <a:cubicBezTo>
                    <a:pt x="246" y="55"/>
                    <a:pt x="253" y="56"/>
                    <a:pt x="240" y="56"/>
                  </a:cubicBezTo>
                  <a:cubicBezTo>
                    <a:pt x="230" y="56"/>
                    <a:pt x="217" y="48"/>
                    <a:pt x="212" y="38"/>
                  </a:cubicBezTo>
                  <a:cubicBezTo>
                    <a:pt x="214" y="37"/>
                    <a:pt x="217" y="35"/>
                    <a:pt x="219" y="35"/>
                  </a:cubicBezTo>
                  <a:cubicBezTo>
                    <a:pt x="232" y="37"/>
                    <a:pt x="232" y="37"/>
                    <a:pt x="232" y="37"/>
                  </a:cubicBezTo>
                  <a:cubicBezTo>
                    <a:pt x="236" y="26"/>
                    <a:pt x="236" y="26"/>
                    <a:pt x="236" y="26"/>
                  </a:cubicBezTo>
                  <a:cubicBezTo>
                    <a:pt x="229" y="24"/>
                    <a:pt x="215" y="13"/>
                    <a:pt x="225" y="8"/>
                  </a:cubicBezTo>
                  <a:cubicBezTo>
                    <a:pt x="238" y="17"/>
                    <a:pt x="238" y="17"/>
                    <a:pt x="238" y="17"/>
                  </a:cubicBezTo>
                  <a:cubicBezTo>
                    <a:pt x="236" y="9"/>
                    <a:pt x="236" y="9"/>
                    <a:pt x="236" y="9"/>
                  </a:cubicBezTo>
                  <a:cubicBezTo>
                    <a:pt x="251" y="7"/>
                    <a:pt x="251" y="7"/>
                    <a:pt x="251" y="7"/>
                  </a:cubicBezTo>
                  <a:cubicBezTo>
                    <a:pt x="255" y="15"/>
                    <a:pt x="255" y="15"/>
                    <a:pt x="255" y="15"/>
                  </a:cubicBezTo>
                  <a:cubicBezTo>
                    <a:pt x="259" y="10"/>
                    <a:pt x="259" y="10"/>
                    <a:pt x="259" y="10"/>
                  </a:cubicBezTo>
                  <a:cubicBezTo>
                    <a:pt x="248" y="1"/>
                    <a:pt x="248" y="1"/>
                    <a:pt x="248" y="1"/>
                  </a:cubicBezTo>
                  <a:cubicBezTo>
                    <a:pt x="259" y="0"/>
                    <a:pt x="266" y="5"/>
                    <a:pt x="276" y="10"/>
                  </a:cubicBezTo>
                  <a:cubicBezTo>
                    <a:pt x="283" y="14"/>
                    <a:pt x="280" y="17"/>
                    <a:pt x="287" y="16"/>
                  </a:cubicBezTo>
                  <a:cubicBezTo>
                    <a:pt x="291" y="15"/>
                    <a:pt x="300" y="5"/>
                    <a:pt x="301" y="3"/>
                  </a:cubicBezTo>
                  <a:cubicBezTo>
                    <a:pt x="307" y="9"/>
                    <a:pt x="314" y="14"/>
                    <a:pt x="322" y="16"/>
                  </a:cubicBezTo>
                  <a:cubicBezTo>
                    <a:pt x="322" y="12"/>
                    <a:pt x="323" y="7"/>
                    <a:pt x="322" y="3"/>
                  </a:cubicBezTo>
                  <a:cubicBezTo>
                    <a:pt x="332" y="16"/>
                    <a:pt x="330" y="26"/>
                    <a:pt x="345" y="35"/>
                  </a:cubicBezTo>
                  <a:cubicBezTo>
                    <a:pt x="346" y="45"/>
                    <a:pt x="346" y="45"/>
                    <a:pt x="346" y="45"/>
                  </a:cubicBezTo>
                  <a:cubicBezTo>
                    <a:pt x="354" y="48"/>
                    <a:pt x="354" y="48"/>
                    <a:pt x="354" y="48"/>
                  </a:cubicBezTo>
                  <a:cubicBezTo>
                    <a:pt x="350" y="51"/>
                    <a:pt x="350" y="51"/>
                    <a:pt x="350" y="51"/>
                  </a:cubicBezTo>
                  <a:cubicBezTo>
                    <a:pt x="351" y="72"/>
                    <a:pt x="351" y="72"/>
                    <a:pt x="351" y="72"/>
                  </a:cubicBezTo>
                  <a:cubicBezTo>
                    <a:pt x="360" y="67"/>
                    <a:pt x="360" y="67"/>
                    <a:pt x="360" y="67"/>
                  </a:cubicBezTo>
                  <a:cubicBezTo>
                    <a:pt x="364" y="72"/>
                    <a:pt x="364" y="72"/>
                    <a:pt x="364" y="72"/>
                  </a:cubicBezTo>
                  <a:cubicBezTo>
                    <a:pt x="368" y="65"/>
                    <a:pt x="368" y="65"/>
                    <a:pt x="368" y="65"/>
                  </a:cubicBezTo>
                  <a:cubicBezTo>
                    <a:pt x="370" y="72"/>
                    <a:pt x="370" y="72"/>
                    <a:pt x="370" y="72"/>
                  </a:cubicBezTo>
                  <a:cubicBezTo>
                    <a:pt x="386" y="70"/>
                    <a:pt x="386" y="70"/>
                    <a:pt x="386" y="70"/>
                  </a:cubicBezTo>
                  <a:cubicBezTo>
                    <a:pt x="394" y="82"/>
                    <a:pt x="394" y="82"/>
                    <a:pt x="394" y="82"/>
                  </a:cubicBezTo>
                  <a:cubicBezTo>
                    <a:pt x="384" y="91"/>
                    <a:pt x="384" y="91"/>
                    <a:pt x="384" y="91"/>
                  </a:cubicBezTo>
                  <a:cubicBezTo>
                    <a:pt x="392" y="89"/>
                    <a:pt x="392" y="89"/>
                    <a:pt x="392" y="89"/>
                  </a:cubicBezTo>
                  <a:cubicBezTo>
                    <a:pt x="404" y="99"/>
                    <a:pt x="404" y="99"/>
                    <a:pt x="404" y="99"/>
                  </a:cubicBezTo>
                  <a:cubicBezTo>
                    <a:pt x="410" y="96"/>
                    <a:pt x="410" y="96"/>
                    <a:pt x="410" y="96"/>
                  </a:cubicBezTo>
                  <a:cubicBezTo>
                    <a:pt x="419" y="101"/>
                    <a:pt x="419" y="101"/>
                    <a:pt x="419" y="101"/>
                  </a:cubicBezTo>
                  <a:cubicBezTo>
                    <a:pt x="420" y="109"/>
                    <a:pt x="417" y="149"/>
                    <a:pt x="432" y="139"/>
                  </a:cubicBezTo>
                  <a:cubicBezTo>
                    <a:pt x="434" y="146"/>
                    <a:pt x="434" y="146"/>
                    <a:pt x="434" y="146"/>
                  </a:cubicBezTo>
                  <a:cubicBezTo>
                    <a:pt x="430" y="158"/>
                    <a:pt x="430" y="158"/>
                    <a:pt x="430" y="158"/>
                  </a:cubicBezTo>
                  <a:cubicBezTo>
                    <a:pt x="436" y="154"/>
                    <a:pt x="436" y="154"/>
                    <a:pt x="436" y="154"/>
                  </a:cubicBezTo>
                  <a:cubicBezTo>
                    <a:pt x="441" y="136"/>
                    <a:pt x="429" y="139"/>
                    <a:pt x="448" y="132"/>
                  </a:cubicBezTo>
                  <a:cubicBezTo>
                    <a:pt x="453" y="141"/>
                    <a:pt x="453" y="141"/>
                    <a:pt x="453" y="141"/>
                  </a:cubicBezTo>
                  <a:cubicBezTo>
                    <a:pt x="446" y="150"/>
                    <a:pt x="446" y="150"/>
                    <a:pt x="446" y="150"/>
                  </a:cubicBezTo>
                  <a:cubicBezTo>
                    <a:pt x="453" y="160"/>
                    <a:pt x="453" y="160"/>
                    <a:pt x="453" y="160"/>
                  </a:cubicBezTo>
                  <a:cubicBezTo>
                    <a:pt x="469" y="155"/>
                    <a:pt x="469" y="155"/>
                    <a:pt x="469" y="155"/>
                  </a:cubicBezTo>
                  <a:cubicBezTo>
                    <a:pt x="476" y="159"/>
                    <a:pt x="476" y="159"/>
                    <a:pt x="476" y="159"/>
                  </a:cubicBezTo>
                  <a:cubicBezTo>
                    <a:pt x="481" y="170"/>
                    <a:pt x="481" y="170"/>
                    <a:pt x="481" y="170"/>
                  </a:cubicBezTo>
                  <a:cubicBezTo>
                    <a:pt x="466" y="171"/>
                    <a:pt x="452" y="176"/>
                    <a:pt x="438" y="179"/>
                  </a:cubicBezTo>
                  <a:cubicBezTo>
                    <a:pt x="439" y="181"/>
                    <a:pt x="440" y="182"/>
                    <a:pt x="441" y="184"/>
                  </a:cubicBezTo>
                  <a:cubicBezTo>
                    <a:pt x="449" y="180"/>
                    <a:pt x="463" y="173"/>
                    <a:pt x="472" y="179"/>
                  </a:cubicBezTo>
                  <a:cubicBezTo>
                    <a:pt x="463" y="189"/>
                    <a:pt x="463" y="189"/>
                    <a:pt x="463" y="189"/>
                  </a:cubicBezTo>
                  <a:cubicBezTo>
                    <a:pt x="479" y="185"/>
                    <a:pt x="479" y="185"/>
                    <a:pt x="479" y="185"/>
                  </a:cubicBezTo>
                  <a:cubicBezTo>
                    <a:pt x="483" y="188"/>
                    <a:pt x="483" y="188"/>
                    <a:pt x="483" y="188"/>
                  </a:cubicBezTo>
                  <a:cubicBezTo>
                    <a:pt x="486" y="201"/>
                    <a:pt x="486" y="201"/>
                    <a:pt x="486" y="201"/>
                  </a:cubicBezTo>
                  <a:cubicBezTo>
                    <a:pt x="480" y="208"/>
                    <a:pt x="480" y="208"/>
                    <a:pt x="480" y="208"/>
                  </a:cubicBezTo>
                  <a:cubicBezTo>
                    <a:pt x="486" y="215"/>
                    <a:pt x="486" y="215"/>
                    <a:pt x="486" y="215"/>
                  </a:cubicBezTo>
                  <a:cubicBezTo>
                    <a:pt x="480" y="230"/>
                    <a:pt x="473" y="240"/>
                    <a:pt x="457" y="245"/>
                  </a:cubicBezTo>
                  <a:cubicBezTo>
                    <a:pt x="465" y="246"/>
                    <a:pt x="473" y="250"/>
                    <a:pt x="478" y="255"/>
                  </a:cubicBezTo>
                  <a:cubicBezTo>
                    <a:pt x="473" y="261"/>
                    <a:pt x="467" y="267"/>
                    <a:pt x="462" y="272"/>
                  </a:cubicBezTo>
                  <a:cubicBezTo>
                    <a:pt x="442" y="271"/>
                    <a:pt x="442" y="271"/>
                    <a:pt x="442" y="271"/>
                  </a:cubicBezTo>
                  <a:cubicBezTo>
                    <a:pt x="435" y="262"/>
                    <a:pt x="430" y="242"/>
                    <a:pt x="417" y="243"/>
                  </a:cubicBezTo>
                  <a:cubicBezTo>
                    <a:pt x="415" y="245"/>
                    <a:pt x="415" y="245"/>
                    <a:pt x="415" y="245"/>
                  </a:cubicBezTo>
                  <a:cubicBezTo>
                    <a:pt x="426" y="251"/>
                    <a:pt x="432" y="260"/>
                    <a:pt x="425" y="271"/>
                  </a:cubicBezTo>
                  <a:cubicBezTo>
                    <a:pt x="432" y="291"/>
                    <a:pt x="440" y="285"/>
                    <a:pt x="455" y="289"/>
                  </a:cubicBezTo>
                  <a:cubicBezTo>
                    <a:pt x="464" y="291"/>
                    <a:pt x="466" y="287"/>
                    <a:pt x="466" y="298"/>
                  </a:cubicBezTo>
                  <a:cubicBezTo>
                    <a:pt x="466" y="304"/>
                    <a:pt x="458" y="312"/>
                    <a:pt x="456" y="317"/>
                  </a:cubicBezTo>
                  <a:cubicBezTo>
                    <a:pt x="463" y="311"/>
                    <a:pt x="470" y="304"/>
                    <a:pt x="480" y="303"/>
                  </a:cubicBezTo>
                  <a:cubicBezTo>
                    <a:pt x="485" y="327"/>
                    <a:pt x="473" y="342"/>
                    <a:pt x="456" y="356"/>
                  </a:cubicBezTo>
                  <a:cubicBezTo>
                    <a:pt x="464" y="353"/>
                    <a:pt x="473" y="351"/>
                    <a:pt x="480" y="345"/>
                  </a:cubicBezTo>
                  <a:cubicBezTo>
                    <a:pt x="501" y="354"/>
                    <a:pt x="497" y="377"/>
                    <a:pt x="499" y="396"/>
                  </a:cubicBezTo>
                  <a:cubicBezTo>
                    <a:pt x="500" y="416"/>
                    <a:pt x="511" y="432"/>
                    <a:pt x="511" y="451"/>
                  </a:cubicBezTo>
                  <a:cubicBezTo>
                    <a:pt x="515" y="453"/>
                    <a:pt x="515" y="453"/>
                    <a:pt x="515" y="453"/>
                  </a:cubicBezTo>
                  <a:cubicBezTo>
                    <a:pt x="516" y="477"/>
                    <a:pt x="524" y="497"/>
                    <a:pt x="530" y="520"/>
                  </a:cubicBezTo>
                  <a:cubicBezTo>
                    <a:pt x="516" y="522"/>
                    <a:pt x="508" y="514"/>
                    <a:pt x="498" y="506"/>
                  </a:cubicBezTo>
                  <a:cubicBezTo>
                    <a:pt x="498" y="499"/>
                    <a:pt x="498" y="499"/>
                    <a:pt x="498" y="499"/>
                  </a:cubicBezTo>
                  <a:cubicBezTo>
                    <a:pt x="486" y="485"/>
                    <a:pt x="478" y="470"/>
                    <a:pt x="490" y="452"/>
                  </a:cubicBezTo>
                  <a:cubicBezTo>
                    <a:pt x="484" y="426"/>
                    <a:pt x="466" y="407"/>
                    <a:pt x="453" y="382"/>
                  </a:cubicBezTo>
                  <a:cubicBezTo>
                    <a:pt x="435" y="386"/>
                    <a:pt x="435" y="386"/>
                    <a:pt x="435" y="386"/>
                  </a:cubicBezTo>
                  <a:cubicBezTo>
                    <a:pt x="429" y="376"/>
                    <a:pt x="429" y="376"/>
                    <a:pt x="429" y="376"/>
                  </a:cubicBezTo>
                  <a:cubicBezTo>
                    <a:pt x="435" y="371"/>
                    <a:pt x="444" y="341"/>
                    <a:pt x="432" y="340"/>
                  </a:cubicBezTo>
                  <a:lnTo>
                    <a:pt x="424" y="354"/>
                  </a:lnTo>
                  <a:close/>
                </a:path>
              </a:pathLst>
            </a:custGeom>
            <a:grpFill/>
            <a:ln w="7938" cap="rnd">
              <a:solidFill>
                <a:schemeClr val="accent1"/>
              </a:solidFill>
              <a:prstDash val="solid"/>
              <a:round/>
              <a:headEnd/>
              <a:tailEnd/>
            </a:ln>
          </p:spPr>
          <p:txBody>
            <a:bodyPr/>
            <a:lstStyle/>
            <a:p>
              <a:endParaRPr lang="ru-RU"/>
            </a:p>
          </p:txBody>
        </p:sp>
        <p:sp>
          <p:nvSpPr>
            <p:cNvPr id="116" name="Freeform 11">
              <a:extLst>
                <a:ext uri="{FF2B5EF4-FFF2-40B4-BE49-F238E27FC236}">
                  <a16:creationId xmlns:a16="http://schemas.microsoft.com/office/drawing/2014/main" id="{15C36F6B-0CA6-0FB5-D7AD-AF33CDBA145D}"/>
                </a:ext>
              </a:extLst>
            </p:cNvPr>
            <p:cNvSpPr>
              <a:spLocks/>
            </p:cNvSpPr>
            <p:nvPr/>
          </p:nvSpPr>
          <p:spPr bwMode="auto">
            <a:xfrm>
              <a:off x="9328150" y="2847975"/>
              <a:ext cx="2154238" cy="3019424"/>
            </a:xfrm>
            <a:custGeom>
              <a:avLst/>
              <a:gdLst>
                <a:gd name="T0" fmla="*/ 2147483646 w 566"/>
                <a:gd name="T1" fmla="*/ 971352449 h 793"/>
                <a:gd name="T2" fmla="*/ 2147483646 w 566"/>
                <a:gd name="T3" fmla="*/ 1290303488 h 793"/>
                <a:gd name="T4" fmla="*/ 2147483646 w 566"/>
                <a:gd name="T5" fmla="*/ 956853117 h 793"/>
                <a:gd name="T6" fmla="*/ 2147483646 w 566"/>
                <a:gd name="T7" fmla="*/ 1594759003 h 793"/>
                <a:gd name="T8" fmla="*/ 2147483646 w 566"/>
                <a:gd name="T9" fmla="*/ 1594759003 h 793"/>
                <a:gd name="T10" fmla="*/ 2147483646 w 566"/>
                <a:gd name="T11" fmla="*/ 1522269957 h 793"/>
                <a:gd name="T12" fmla="*/ 2147483646 w 566"/>
                <a:gd name="T13" fmla="*/ 1681743573 h 793"/>
                <a:gd name="T14" fmla="*/ 2147483646 w 566"/>
                <a:gd name="T15" fmla="*/ 2131177179 h 793"/>
                <a:gd name="T16" fmla="*/ 2147483646 w 566"/>
                <a:gd name="T17" fmla="*/ 2116677847 h 793"/>
                <a:gd name="T18" fmla="*/ 2147483646 w 566"/>
                <a:gd name="T19" fmla="*/ 2147483646 h 793"/>
                <a:gd name="T20" fmla="*/ 2147483646 w 566"/>
                <a:gd name="T21" fmla="*/ 2147483646 h 793"/>
                <a:gd name="T22" fmla="*/ 2147483646 w 566"/>
                <a:gd name="T23" fmla="*/ 2147483646 h 793"/>
                <a:gd name="T24" fmla="*/ 2147483646 w 566"/>
                <a:gd name="T25" fmla="*/ 2147483646 h 793"/>
                <a:gd name="T26" fmla="*/ 2147483646 w 566"/>
                <a:gd name="T27" fmla="*/ 2147483646 h 793"/>
                <a:gd name="T28" fmla="*/ 2147483646 w 566"/>
                <a:gd name="T29" fmla="*/ 2147483646 h 793"/>
                <a:gd name="T30" fmla="*/ 2147483646 w 566"/>
                <a:gd name="T31" fmla="*/ 2147483646 h 793"/>
                <a:gd name="T32" fmla="*/ 2147483646 w 566"/>
                <a:gd name="T33" fmla="*/ 2147483646 h 793"/>
                <a:gd name="T34" fmla="*/ 2147483646 w 566"/>
                <a:gd name="T35" fmla="*/ 2147483646 h 793"/>
                <a:gd name="T36" fmla="*/ 2147483646 w 566"/>
                <a:gd name="T37" fmla="*/ 2147483646 h 793"/>
                <a:gd name="T38" fmla="*/ 2147483646 w 566"/>
                <a:gd name="T39" fmla="*/ 2147483646 h 793"/>
                <a:gd name="T40" fmla="*/ 2147483646 w 566"/>
                <a:gd name="T41" fmla="*/ 2147483646 h 793"/>
                <a:gd name="T42" fmla="*/ 2147483646 w 566"/>
                <a:gd name="T43" fmla="*/ 2147483646 h 793"/>
                <a:gd name="T44" fmla="*/ 2147483646 w 566"/>
                <a:gd name="T45" fmla="*/ 2147483646 h 793"/>
                <a:gd name="T46" fmla="*/ 2147483646 w 566"/>
                <a:gd name="T47" fmla="*/ 2147483646 h 793"/>
                <a:gd name="T48" fmla="*/ 2147483646 w 566"/>
                <a:gd name="T49" fmla="*/ 2147483646 h 793"/>
                <a:gd name="T50" fmla="*/ 2147483646 w 566"/>
                <a:gd name="T51" fmla="*/ 2147483646 h 793"/>
                <a:gd name="T52" fmla="*/ 2147483646 w 566"/>
                <a:gd name="T53" fmla="*/ 2147483646 h 793"/>
                <a:gd name="T54" fmla="*/ 2147483646 w 566"/>
                <a:gd name="T55" fmla="*/ 2147483646 h 793"/>
                <a:gd name="T56" fmla="*/ 2147483646 w 566"/>
                <a:gd name="T57" fmla="*/ 2147483646 h 793"/>
                <a:gd name="T58" fmla="*/ 2147483646 w 566"/>
                <a:gd name="T59" fmla="*/ 2147483646 h 793"/>
                <a:gd name="T60" fmla="*/ 2147483646 w 566"/>
                <a:gd name="T61" fmla="*/ 2147483646 h 793"/>
                <a:gd name="T62" fmla="*/ 2147483646 w 566"/>
                <a:gd name="T63" fmla="*/ 2147483646 h 793"/>
                <a:gd name="T64" fmla="*/ 2147483646 w 566"/>
                <a:gd name="T65" fmla="*/ 2147483646 h 793"/>
                <a:gd name="T66" fmla="*/ 2147483646 w 566"/>
                <a:gd name="T67" fmla="*/ 2147483646 h 793"/>
                <a:gd name="T68" fmla="*/ 2147483646 w 566"/>
                <a:gd name="T69" fmla="*/ 2147483646 h 793"/>
                <a:gd name="T70" fmla="*/ 2147483646 w 566"/>
                <a:gd name="T71" fmla="*/ 2147483646 h 793"/>
                <a:gd name="T72" fmla="*/ 2147483646 w 566"/>
                <a:gd name="T73" fmla="*/ 2147483646 h 793"/>
                <a:gd name="T74" fmla="*/ 2147483646 w 566"/>
                <a:gd name="T75" fmla="*/ 2147483646 h 793"/>
                <a:gd name="T76" fmla="*/ 2147483646 w 566"/>
                <a:gd name="T77" fmla="*/ 2147483646 h 793"/>
                <a:gd name="T78" fmla="*/ 2147483646 w 566"/>
                <a:gd name="T79" fmla="*/ 2147483646 h 793"/>
                <a:gd name="T80" fmla="*/ 1463104403 w 566"/>
                <a:gd name="T81" fmla="*/ 2147483646 h 793"/>
                <a:gd name="T82" fmla="*/ 1216839984 w 566"/>
                <a:gd name="T83" fmla="*/ 2147483646 h 793"/>
                <a:gd name="T84" fmla="*/ 1144410392 w 566"/>
                <a:gd name="T85" fmla="*/ 2147483646 h 793"/>
                <a:gd name="T86" fmla="*/ 1014033320 w 566"/>
                <a:gd name="T87" fmla="*/ 2147483646 h 793"/>
                <a:gd name="T88" fmla="*/ 970575565 w 566"/>
                <a:gd name="T89" fmla="*/ 2147483646 h 793"/>
                <a:gd name="T90" fmla="*/ 507018563 w 566"/>
                <a:gd name="T91" fmla="*/ 2147483646 h 793"/>
                <a:gd name="T92" fmla="*/ 130377072 w 566"/>
                <a:gd name="T93" fmla="*/ 2147483646 h 793"/>
                <a:gd name="T94" fmla="*/ 1419646648 w 566"/>
                <a:gd name="T95" fmla="*/ 2147483646 h 793"/>
                <a:gd name="T96" fmla="*/ 2147483646 w 566"/>
                <a:gd name="T97" fmla="*/ 2147483646 h 793"/>
                <a:gd name="T98" fmla="*/ 2147483646 w 566"/>
                <a:gd name="T99" fmla="*/ 2147483646 h 793"/>
                <a:gd name="T100" fmla="*/ 2147483646 w 566"/>
                <a:gd name="T101" fmla="*/ 2147483646 h 793"/>
                <a:gd name="T102" fmla="*/ 2147483646 w 566"/>
                <a:gd name="T103" fmla="*/ 1391787391 h 793"/>
                <a:gd name="T104" fmla="*/ 2147483646 w 566"/>
                <a:gd name="T105" fmla="*/ 420434941 h 793"/>
                <a:gd name="T106" fmla="*/ 2147483646 w 566"/>
                <a:gd name="T107" fmla="*/ 0 h 79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66" h="793">
                  <a:moveTo>
                    <a:pt x="366" y="0"/>
                  </a:moveTo>
                  <a:cubicBezTo>
                    <a:pt x="374" y="25"/>
                    <a:pt x="357" y="45"/>
                    <a:pt x="341" y="61"/>
                  </a:cubicBezTo>
                  <a:cubicBezTo>
                    <a:pt x="342" y="67"/>
                    <a:pt x="342" y="67"/>
                    <a:pt x="342" y="67"/>
                  </a:cubicBezTo>
                  <a:cubicBezTo>
                    <a:pt x="333" y="81"/>
                    <a:pt x="333" y="81"/>
                    <a:pt x="333" y="81"/>
                  </a:cubicBezTo>
                  <a:cubicBezTo>
                    <a:pt x="340" y="79"/>
                    <a:pt x="345" y="74"/>
                    <a:pt x="347" y="68"/>
                  </a:cubicBezTo>
                  <a:cubicBezTo>
                    <a:pt x="341" y="89"/>
                    <a:pt x="341" y="89"/>
                    <a:pt x="341" y="89"/>
                  </a:cubicBezTo>
                  <a:cubicBezTo>
                    <a:pt x="347" y="92"/>
                    <a:pt x="347" y="92"/>
                    <a:pt x="347" y="92"/>
                  </a:cubicBezTo>
                  <a:cubicBezTo>
                    <a:pt x="367" y="79"/>
                    <a:pt x="389" y="73"/>
                    <a:pt x="410" y="61"/>
                  </a:cubicBezTo>
                  <a:cubicBezTo>
                    <a:pt x="415" y="66"/>
                    <a:pt x="415" y="66"/>
                    <a:pt x="415" y="66"/>
                  </a:cubicBezTo>
                  <a:cubicBezTo>
                    <a:pt x="407" y="85"/>
                    <a:pt x="407" y="85"/>
                    <a:pt x="407" y="85"/>
                  </a:cubicBezTo>
                  <a:cubicBezTo>
                    <a:pt x="409" y="95"/>
                    <a:pt x="419" y="98"/>
                    <a:pt x="427" y="103"/>
                  </a:cubicBezTo>
                  <a:cubicBezTo>
                    <a:pt x="416" y="110"/>
                    <a:pt x="416" y="110"/>
                    <a:pt x="416" y="110"/>
                  </a:cubicBezTo>
                  <a:cubicBezTo>
                    <a:pt x="413" y="125"/>
                    <a:pt x="403" y="138"/>
                    <a:pt x="394" y="150"/>
                  </a:cubicBezTo>
                  <a:cubicBezTo>
                    <a:pt x="395" y="155"/>
                    <a:pt x="395" y="155"/>
                    <a:pt x="395" y="155"/>
                  </a:cubicBezTo>
                  <a:cubicBezTo>
                    <a:pt x="408" y="144"/>
                    <a:pt x="414" y="125"/>
                    <a:pt x="421" y="110"/>
                  </a:cubicBezTo>
                  <a:cubicBezTo>
                    <a:pt x="428" y="108"/>
                    <a:pt x="428" y="108"/>
                    <a:pt x="428" y="108"/>
                  </a:cubicBezTo>
                  <a:cubicBezTo>
                    <a:pt x="441" y="115"/>
                    <a:pt x="441" y="115"/>
                    <a:pt x="441" y="115"/>
                  </a:cubicBezTo>
                  <a:cubicBezTo>
                    <a:pt x="431" y="105"/>
                    <a:pt x="431" y="105"/>
                    <a:pt x="431" y="105"/>
                  </a:cubicBezTo>
                  <a:cubicBezTo>
                    <a:pt x="466" y="120"/>
                    <a:pt x="466" y="120"/>
                    <a:pt x="466" y="120"/>
                  </a:cubicBezTo>
                  <a:cubicBezTo>
                    <a:pt x="486" y="115"/>
                    <a:pt x="486" y="115"/>
                    <a:pt x="486" y="115"/>
                  </a:cubicBezTo>
                  <a:cubicBezTo>
                    <a:pt x="491" y="116"/>
                    <a:pt x="491" y="116"/>
                    <a:pt x="491" y="116"/>
                  </a:cubicBezTo>
                  <a:cubicBezTo>
                    <a:pt x="491" y="129"/>
                    <a:pt x="491" y="129"/>
                    <a:pt x="491" y="129"/>
                  </a:cubicBezTo>
                  <a:cubicBezTo>
                    <a:pt x="498" y="129"/>
                    <a:pt x="498" y="129"/>
                    <a:pt x="498" y="129"/>
                  </a:cubicBezTo>
                  <a:cubicBezTo>
                    <a:pt x="497" y="136"/>
                    <a:pt x="500" y="142"/>
                    <a:pt x="505" y="147"/>
                  </a:cubicBezTo>
                  <a:cubicBezTo>
                    <a:pt x="507" y="143"/>
                    <a:pt x="510" y="140"/>
                    <a:pt x="511" y="136"/>
                  </a:cubicBezTo>
                  <a:cubicBezTo>
                    <a:pt x="519" y="134"/>
                    <a:pt x="519" y="134"/>
                    <a:pt x="519" y="134"/>
                  </a:cubicBezTo>
                  <a:cubicBezTo>
                    <a:pt x="532" y="146"/>
                    <a:pt x="532" y="146"/>
                    <a:pt x="532" y="146"/>
                  </a:cubicBezTo>
                  <a:cubicBezTo>
                    <a:pt x="535" y="158"/>
                    <a:pt x="525" y="166"/>
                    <a:pt x="531" y="179"/>
                  </a:cubicBezTo>
                  <a:cubicBezTo>
                    <a:pt x="526" y="183"/>
                    <a:pt x="526" y="183"/>
                    <a:pt x="526" y="183"/>
                  </a:cubicBezTo>
                  <a:cubicBezTo>
                    <a:pt x="528" y="194"/>
                    <a:pt x="528" y="194"/>
                    <a:pt x="528" y="194"/>
                  </a:cubicBezTo>
                  <a:cubicBezTo>
                    <a:pt x="524" y="198"/>
                    <a:pt x="524" y="198"/>
                    <a:pt x="524" y="198"/>
                  </a:cubicBezTo>
                  <a:cubicBezTo>
                    <a:pt x="510" y="198"/>
                    <a:pt x="510" y="198"/>
                    <a:pt x="510" y="198"/>
                  </a:cubicBezTo>
                  <a:cubicBezTo>
                    <a:pt x="504" y="202"/>
                    <a:pt x="504" y="202"/>
                    <a:pt x="504" y="202"/>
                  </a:cubicBezTo>
                  <a:cubicBezTo>
                    <a:pt x="521" y="207"/>
                    <a:pt x="521" y="207"/>
                    <a:pt x="521" y="207"/>
                  </a:cubicBezTo>
                  <a:cubicBezTo>
                    <a:pt x="522" y="213"/>
                    <a:pt x="522" y="213"/>
                    <a:pt x="522" y="213"/>
                  </a:cubicBezTo>
                  <a:cubicBezTo>
                    <a:pt x="514" y="219"/>
                    <a:pt x="514" y="219"/>
                    <a:pt x="514" y="219"/>
                  </a:cubicBezTo>
                  <a:cubicBezTo>
                    <a:pt x="503" y="219"/>
                    <a:pt x="488" y="226"/>
                    <a:pt x="485" y="236"/>
                  </a:cubicBezTo>
                  <a:cubicBezTo>
                    <a:pt x="503" y="227"/>
                    <a:pt x="528" y="212"/>
                    <a:pt x="546" y="227"/>
                  </a:cubicBezTo>
                  <a:cubicBezTo>
                    <a:pt x="549" y="233"/>
                    <a:pt x="549" y="233"/>
                    <a:pt x="549" y="233"/>
                  </a:cubicBezTo>
                  <a:cubicBezTo>
                    <a:pt x="532" y="256"/>
                    <a:pt x="507" y="255"/>
                    <a:pt x="481" y="261"/>
                  </a:cubicBezTo>
                  <a:cubicBezTo>
                    <a:pt x="483" y="262"/>
                    <a:pt x="485" y="263"/>
                    <a:pt x="486" y="264"/>
                  </a:cubicBezTo>
                  <a:cubicBezTo>
                    <a:pt x="505" y="258"/>
                    <a:pt x="525" y="259"/>
                    <a:pt x="544" y="255"/>
                  </a:cubicBezTo>
                  <a:cubicBezTo>
                    <a:pt x="543" y="259"/>
                    <a:pt x="543" y="265"/>
                    <a:pt x="542" y="269"/>
                  </a:cubicBezTo>
                  <a:cubicBezTo>
                    <a:pt x="527" y="275"/>
                    <a:pt x="527" y="275"/>
                    <a:pt x="527" y="275"/>
                  </a:cubicBezTo>
                  <a:cubicBezTo>
                    <a:pt x="541" y="276"/>
                    <a:pt x="541" y="276"/>
                    <a:pt x="541" y="276"/>
                  </a:cubicBezTo>
                  <a:cubicBezTo>
                    <a:pt x="537" y="284"/>
                    <a:pt x="537" y="284"/>
                    <a:pt x="537" y="284"/>
                  </a:cubicBezTo>
                  <a:cubicBezTo>
                    <a:pt x="548" y="286"/>
                    <a:pt x="548" y="286"/>
                    <a:pt x="548" y="286"/>
                  </a:cubicBezTo>
                  <a:cubicBezTo>
                    <a:pt x="550" y="277"/>
                    <a:pt x="554" y="269"/>
                    <a:pt x="560" y="262"/>
                  </a:cubicBezTo>
                  <a:cubicBezTo>
                    <a:pt x="560" y="271"/>
                    <a:pt x="561" y="279"/>
                    <a:pt x="562" y="288"/>
                  </a:cubicBezTo>
                  <a:cubicBezTo>
                    <a:pt x="566" y="293"/>
                    <a:pt x="566" y="293"/>
                    <a:pt x="566" y="293"/>
                  </a:cubicBezTo>
                  <a:cubicBezTo>
                    <a:pt x="563" y="302"/>
                    <a:pt x="563" y="302"/>
                    <a:pt x="563" y="302"/>
                  </a:cubicBezTo>
                  <a:cubicBezTo>
                    <a:pt x="552" y="311"/>
                    <a:pt x="552" y="311"/>
                    <a:pt x="552" y="311"/>
                  </a:cubicBezTo>
                  <a:cubicBezTo>
                    <a:pt x="557" y="318"/>
                    <a:pt x="557" y="318"/>
                    <a:pt x="557" y="318"/>
                  </a:cubicBezTo>
                  <a:cubicBezTo>
                    <a:pt x="548" y="328"/>
                    <a:pt x="548" y="328"/>
                    <a:pt x="548" y="328"/>
                  </a:cubicBezTo>
                  <a:cubicBezTo>
                    <a:pt x="525" y="328"/>
                    <a:pt x="525" y="328"/>
                    <a:pt x="525" y="328"/>
                  </a:cubicBezTo>
                  <a:cubicBezTo>
                    <a:pt x="519" y="316"/>
                    <a:pt x="519" y="316"/>
                    <a:pt x="519" y="316"/>
                  </a:cubicBezTo>
                  <a:cubicBezTo>
                    <a:pt x="508" y="312"/>
                    <a:pt x="496" y="307"/>
                    <a:pt x="486" y="301"/>
                  </a:cubicBezTo>
                  <a:cubicBezTo>
                    <a:pt x="488" y="304"/>
                    <a:pt x="491" y="307"/>
                    <a:pt x="493" y="310"/>
                  </a:cubicBezTo>
                  <a:cubicBezTo>
                    <a:pt x="489" y="316"/>
                    <a:pt x="489" y="316"/>
                    <a:pt x="489" y="316"/>
                  </a:cubicBezTo>
                  <a:cubicBezTo>
                    <a:pt x="458" y="321"/>
                    <a:pt x="458" y="321"/>
                    <a:pt x="458" y="321"/>
                  </a:cubicBezTo>
                  <a:cubicBezTo>
                    <a:pt x="458" y="323"/>
                    <a:pt x="458" y="323"/>
                    <a:pt x="458" y="323"/>
                  </a:cubicBezTo>
                  <a:cubicBezTo>
                    <a:pt x="506" y="323"/>
                    <a:pt x="506" y="323"/>
                    <a:pt x="506" y="323"/>
                  </a:cubicBezTo>
                  <a:cubicBezTo>
                    <a:pt x="517" y="336"/>
                    <a:pt x="532" y="339"/>
                    <a:pt x="543" y="350"/>
                  </a:cubicBezTo>
                  <a:cubicBezTo>
                    <a:pt x="537" y="355"/>
                    <a:pt x="537" y="355"/>
                    <a:pt x="537" y="355"/>
                  </a:cubicBezTo>
                  <a:cubicBezTo>
                    <a:pt x="520" y="351"/>
                    <a:pt x="505" y="356"/>
                    <a:pt x="489" y="353"/>
                  </a:cubicBezTo>
                  <a:cubicBezTo>
                    <a:pt x="497" y="360"/>
                    <a:pt x="557" y="366"/>
                    <a:pt x="527" y="385"/>
                  </a:cubicBezTo>
                  <a:cubicBezTo>
                    <a:pt x="510" y="381"/>
                    <a:pt x="510" y="381"/>
                    <a:pt x="510" y="381"/>
                  </a:cubicBezTo>
                  <a:cubicBezTo>
                    <a:pt x="506" y="385"/>
                    <a:pt x="506" y="385"/>
                    <a:pt x="506" y="385"/>
                  </a:cubicBezTo>
                  <a:cubicBezTo>
                    <a:pt x="523" y="390"/>
                    <a:pt x="523" y="390"/>
                    <a:pt x="523" y="390"/>
                  </a:cubicBezTo>
                  <a:cubicBezTo>
                    <a:pt x="527" y="396"/>
                    <a:pt x="527" y="396"/>
                    <a:pt x="527" y="396"/>
                  </a:cubicBezTo>
                  <a:cubicBezTo>
                    <a:pt x="516" y="397"/>
                    <a:pt x="505" y="398"/>
                    <a:pt x="495" y="402"/>
                  </a:cubicBezTo>
                  <a:cubicBezTo>
                    <a:pt x="499" y="407"/>
                    <a:pt x="502" y="414"/>
                    <a:pt x="507" y="418"/>
                  </a:cubicBezTo>
                  <a:cubicBezTo>
                    <a:pt x="497" y="430"/>
                    <a:pt x="469" y="442"/>
                    <a:pt x="454" y="432"/>
                  </a:cubicBezTo>
                  <a:cubicBezTo>
                    <a:pt x="450" y="422"/>
                    <a:pt x="444" y="414"/>
                    <a:pt x="436" y="406"/>
                  </a:cubicBezTo>
                  <a:cubicBezTo>
                    <a:pt x="435" y="410"/>
                    <a:pt x="433" y="415"/>
                    <a:pt x="433" y="418"/>
                  </a:cubicBezTo>
                  <a:cubicBezTo>
                    <a:pt x="446" y="424"/>
                    <a:pt x="446" y="424"/>
                    <a:pt x="446" y="424"/>
                  </a:cubicBezTo>
                  <a:cubicBezTo>
                    <a:pt x="446" y="440"/>
                    <a:pt x="463" y="442"/>
                    <a:pt x="466" y="453"/>
                  </a:cubicBezTo>
                  <a:cubicBezTo>
                    <a:pt x="440" y="447"/>
                    <a:pt x="440" y="447"/>
                    <a:pt x="440" y="447"/>
                  </a:cubicBezTo>
                  <a:cubicBezTo>
                    <a:pt x="433" y="454"/>
                    <a:pt x="433" y="454"/>
                    <a:pt x="433" y="454"/>
                  </a:cubicBezTo>
                  <a:cubicBezTo>
                    <a:pt x="445" y="462"/>
                    <a:pt x="445" y="462"/>
                    <a:pt x="445" y="462"/>
                  </a:cubicBezTo>
                  <a:cubicBezTo>
                    <a:pt x="447" y="469"/>
                    <a:pt x="447" y="469"/>
                    <a:pt x="447" y="469"/>
                  </a:cubicBezTo>
                  <a:cubicBezTo>
                    <a:pt x="443" y="474"/>
                    <a:pt x="443" y="474"/>
                    <a:pt x="443" y="474"/>
                  </a:cubicBezTo>
                  <a:cubicBezTo>
                    <a:pt x="423" y="477"/>
                    <a:pt x="423" y="477"/>
                    <a:pt x="423" y="477"/>
                  </a:cubicBezTo>
                  <a:cubicBezTo>
                    <a:pt x="423" y="483"/>
                    <a:pt x="423" y="483"/>
                    <a:pt x="423" y="483"/>
                  </a:cubicBezTo>
                  <a:cubicBezTo>
                    <a:pt x="437" y="492"/>
                    <a:pt x="437" y="492"/>
                    <a:pt x="437" y="492"/>
                  </a:cubicBezTo>
                  <a:cubicBezTo>
                    <a:pt x="446" y="486"/>
                    <a:pt x="448" y="476"/>
                    <a:pt x="455" y="474"/>
                  </a:cubicBezTo>
                  <a:cubicBezTo>
                    <a:pt x="444" y="490"/>
                    <a:pt x="445" y="507"/>
                    <a:pt x="439" y="525"/>
                  </a:cubicBezTo>
                  <a:cubicBezTo>
                    <a:pt x="431" y="546"/>
                    <a:pt x="424" y="542"/>
                    <a:pt x="403" y="552"/>
                  </a:cubicBezTo>
                  <a:cubicBezTo>
                    <a:pt x="410" y="545"/>
                    <a:pt x="421" y="542"/>
                    <a:pt x="430" y="538"/>
                  </a:cubicBezTo>
                  <a:cubicBezTo>
                    <a:pt x="423" y="537"/>
                    <a:pt x="415" y="536"/>
                    <a:pt x="408" y="535"/>
                  </a:cubicBezTo>
                  <a:cubicBezTo>
                    <a:pt x="409" y="550"/>
                    <a:pt x="392" y="562"/>
                    <a:pt x="383" y="571"/>
                  </a:cubicBezTo>
                  <a:cubicBezTo>
                    <a:pt x="382" y="570"/>
                    <a:pt x="382" y="568"/>
                    <a:pt x="381" y="566"/>
                  </a:cubicBezTo>
                  <a:cubicBezTo>
                    <a:pt x="374" y="577"/>
                    <a:pt x="374" y="577"/>
                    <a:pt x="374" y="577"/>
                  </a:cubicBezTo>
                  <a:cubicBezTo>
                    <a:pt x="376" y="582"/>
                    <a:pt x="376" y="582"/>
                    <a:pt x="376" y="582"/>
                  </a:cubicBezTo>
                  <a:cubicBezTo>
                    <a:pt x="384" y="580"/>
                    <a:pt x="384" y="580"/>
                    <a:pt x="384" y="580"/>
                  </a:cubicBezTo>
                  <a:cubicBezTo>
                    <a:pt x="387" y="589"/>
                    <a:pt x="387" y="589"/>
                    <a:pt x="387" y="589"/>
                  </a:cubicBezTo>
                  <a:cubicBezTo>
                    <a:pt x="376" y="598"/>
                    <a:pt x="376" y="598"/>
                    <a:pt x="376" y="598"/>
                  </a:cubicBezTo>
                  <a:cubicBezTo>
                    <a:pt x="368" y="598"/>
                    <a:pt x="361" y="589"/>
                    <a:pt x="354" y="588"/>
                  </a:cubicBezTo>
                  <a:cubicBezTo>
                    <a:pt x="345" y="588"/>
                    <a:pt x="345" y="595"/>
                    <a:pt x="333" y="599"/>
                  </a:cubicBezTo>
                  <a:cubicBezTo>
                    <a:pt x="334" y="595"/>
                    <a:pt x="334" y="591"/>
                    <a:pt x="335" y="587"/>
                  </a:cubicBezTo>
                  <a:cubicBezTo>
                    <a:pt x="328" y="589"/>
                    <a:pt x="328" y="589"/>
                    <a:pt x="328" y="589"/>
                  </a:cubicBezTo>
                  <a:cubicBezTo>
                    <a:pt x="321" y="577"/>
                    <a:pt x="321" y="577"/>
                    <a:pt x="321" y="577"/>
                  </a:cubicBezTo>
                  <a:cubicBezTo>
                    <a:pt x="324" y="590"/>
                    <a:pt x="324" y="590"/>
                    <a:pt x="324" y="590"/>
                  </a:cubicBezTo>
                  <a:cubicBezTo>
                    <a:pt x="315" y="586"/>
                    <a:pt x="315" y="586"/>
                    <a:pt x="315" y="586"/>
                  </a:cubicBezTo>
                  <a:cubicBezTo>
                    <a:pt x="315" y="579"/>
                    <a:pt x="315" y="579"/>
                    <a:pt x="315" y="579"/>
                  </a:cubicBezTo>
                  <a:cubicBezTo>
                    <a:pt x="312" y="572"/>
                    <a:pt x="307" y="565"/>
                    <a:pt x="301" y="560"/>
                  </a:cubicBezTo>
                  <a:cubicBezTo>
                    <a:pt x="304" y="566"/>
                    <a:pt x="306" y="572"/>
                    <a:pt x="309" y="577"/>
                  </a:cubicBezTo>
                  <a:cubicBezTo>
                    <a:pt x="304" y="580"/>
                    <a:pt x="304" y="580"/>
                    <a:pt x="304" y="580"/>
                  </a:cubicBezTo>
                  <a:cubicBezTo>
                    <a:pt x="309" y="588"/>
                    <a:pt x="309" y="588"/>
                    <a:pt x="309" y="588"/>
                  </a:cubicBezTo>
                  <a:cubicBezTo>
                    <a:pt x="306" y="599"/>
                    <a:pt x="306" y="599"/>
                    <a:pt x="306" y="599"/>
                  </a:cubicBezTo>
                  <a:cubicBezTo>
                    <a:pt x="290" y="603"/>
                    <a:pt x="290" y="603"/>
                    <a:pt x="290" y="603"/>
                  </a:cubicBezTo>
                  <a:cubicBezTo>
                    <a:pt x="300" y="604"/>
                    <a:pt x="300" y="604"/>
                    <a:pt x="300" y="604"/>
                  </a:cubicBezTo>
                  <a:cubicBezTo>
                    <a:pt x="282" y="615"/>
                    <a:pt x="261" y="620"/>
                    <a:pt x="246" y="635"/>
                  </a:cubicBezTo>
                  <a:cubicBezTo>
                    <a:pt x="250" y="633"/>
                    <a:pt x="254" y="631"/>
                    <a:pt x="258" y="629"/>
                  </a:cubicBezTo>
                  <a:cubicBezTo>
                    <a:pt x="257" y="636"/>
                    <a:pt x="257" y="636"/>
                    <a:pt x="257" y="636"/>
                  </a:cubicBezTo>
                  <a:cubicBezTo>
                    <a:pt x="242" y="641"/>
                    <a:pt x="222" y="643"/>
                    <a:pt x="212" y="656"/>
                  </a:cubicBezTo>
                  <a:cubicBezTo>
                    <a:pt x="215" y="657"/>
                    <a:pt x="217" y="657"/>
                    <a:pt x="220" y="658"/>
                  </a:cubicBezTo>
                  <a:cubicBezTo>
                    <a:pt x="211" y="665"/>
                    <a:pt x="190" y="681"/>
                    <a:pt x="191" y="688"/>
                  </a:cubicBezTo>
                  <a:cubicBezTo>
                    <a:pt x="179" y="697"/>
                    <a:pt x="179" y="697"/>
                    <a:pt x="179" y="697"/>
                  </a:cubicBezTo>
                  <a:cubicBezTo>
                    <a:pt x="179" y="692"/>
                    <a:pt x="179" y="692"/>
                    <a:pt x="179" y="692"/>
                  </a:cubicBezTo>
                  <a:cubicBezTo>
                    <a:pt x="173" y="696"/>
                    <a:pt x="168" y="702"/>
                    <a:pt x="165" y="709"/>
                  </a:cubicBezTo>
                  <a:cubicBezTo>
                    <a:pt x="167" y="708"/>
                    <a:pt x="169" y="707"/>
                    <a:pt x="171" y="705"/>
                  </a:cubicBezTo>
                  <a:cubicBezTo>
                    <a:pt x="164" y="732"/>
                    <a:pt x="95" y="758"/>
                    <a:pt x="101" y="776"/>
                  </a:cubicBezTo>
                  <a:cubicBezTo>
                    <a:pt x="88" y="759"/>
                    <a:pt x="88" y="759"/>
                    <a:pt x="88" y="759"/>
                  </a:cubicBezTo>
                  <a:cubicBezTo>
                    <a:pt x="83" y="758"/>
                    <a:pt x="83" y="758"/>
                    <a:pt x="83" y="758"/>
                  </a:cubicBezTo>
                  <a:cubicBezTo>
                    <a:pt x="84" y="777"/>
                    <a:pt x="84" y="777"/>
                    <a:pt x="84" y="777"/>
                  </a:cubicBezTo>
                  <a:cubicBezTo>
                    <a:pt x="81" y="778"/>
                    <a:pt x="81" y="778"/>
                    <a:pt x="81" y="778"/>
                  </a:cubicBezTo>
                  <a:cubicBezTo>
                    <a:pt x="82" y="771"/>
                    <a:pt x="81" y="765"/>
                    <a:pt x="77" y="759"/>
                  </a:cubicBezTo>
                  <a:cubicBezTo>
                    <a:pt x="77" y="767"/>
                    <a:pt x="78" y="774"/>
                    <a:pt x="79" y="782"/>
                  </a:cubicBezTo>
                  <a:cubicBezTo>
                    <a:pt x="73" y="784"/>
                    <a:pt x="73" y="784"/>
                    <a:pt x="73" y="784"/>
                  </a:cubicBezTo>
                  <a:cubicBezTo>
                    <a:pt x="75" y="746"/>
                    <a:pt x="75" y="746"/>
                    <a:pt x="75" y="746"/>
                  </a:cubicBezTo>
                  <a:cubicBezTo>
                    <a:pt x="70" y="739"/>
                    <a:pt x="70" y="739"/>
                    <a:pt x="70" y="739"/>
                  </a:cubicBezTo>
                  <a:cubicBezTo>
                    <a:pt x="69" y="759"/>
                    <a:pt x="69" y="759"/>
                    <a:pt x="69" y="759"/>
                  </a:cubicBezTo>
                  <a:cubicBezTo>
                    <a:pt x="62" y="764"/>
                    <a:pt x="62" y="764"/>
                    <a:pt x="62" y="764"/>
                  </a:cubicBezTo>
                  <a:cubicBezTo>
                    <a:pt x="67" y="781"/>
                    <a:pt x="67" y="781"/>
                    <a:pt x="67" y="781"/>
                  </a:cubicBezTo>
                  <a:cubicBezTo>
                    <a:pt x="49" y="783"/>
                    <a:pt x="49" y="783"/>
                    <a:pt x="49" y="783"/>
                  </a:cubicBezTo>
                  <a:cubicBezTo>
                    <a:pt x="41" y="779"/>
                    <a:pt x="41" y="779"/>
                    <a:pt x="41" y="779"/>
                  </a:cubicBezTo>
                  <a:cubicBezTo>
                    <a:pt x="35" y="783"/>
                    <a:pt x="35" y="783"/>
                    <a:pt x="35" y="783"/>
                  </a:cubicBezTo>
                  <a:cubicBezTo>
                    <a:pt x="34" y="777"/>
                    <a:pt x="34" y="777"/>
                    <a:pt x="34" y="777"/>
                  </a:cubicBezTo>
                  <a:cubicBezTo>
                    <a:pt x="26" y="783"/>
                    <a:pt x="17" y="790"/>
                    <a:pt x="7" y="793"/>
                  </a:cubicBezTo>
                  <a:cubicBezTo>
                    <a:pt x="5" y="762"/>
                    <a:pt x="0" y="729"/>
                    <a:pt x="9" y="699"/>
                  </a:cubicBezTo>
                  <a:cubicBezTo>
                    <a:pt x="23" y="656"/>
                    <a:pt x="44" y="614"/>
                    <a:pt x="61" y="573"/>
                  </a:cubicBezTo>
                  <a:cubicBezTo>
                    <a:pt x="73" y="545"/>
                    <a:pt x="88" y="517"/>
                    <a:pt x="97" y="488"/>
                  </a:cubicBezTo>
                  <a:cubicBezTo>
                    <a:pt x="102" y="469"/>
                    <a:pt x="102" y="456"/>
                    <a:pt x="98" y="438"/>
                  </a:cubicBezTo>
                  <a:cubicBezTo>
                    <a:pt x="93" y="421"/>
                    <a:pt x="100" y="407"/>
                    <a:pt x="101" y="389"/>
                  </a:cubicBezTo>
                  <a:cubicBezTo>
                    <a:pt x="116" y="383"/>
                    <a:pt x="124" y="380"/>
                    <a:pt x="135" y="369"/>
                  </a:cubicBezTo>
                  <a:cubicBezTo>
                    <a:pt x="142" y="361"/>
                    <a:pt x="154" y="355"/>
                    <a:pt x="159" y="344"/>
                  </a:cubicBezTo>
                  <a:cubicBezTo>
                    <a:pt x="154" y="333"/>
                    <a:pt x="154" y="303"/>
                    <a:pt x="156" y="291"/>
                  </a:cubicBezTo>
                  <a:cubicBezTo>
                    <a:pt x="158" y="271"/>
                    <a:pt x="177" y="261"/>
                    <a:pt x="178" y="243"/>
                  </a:cubicBezTo>
                  <a:cubicBezTo>
                    <a:pt x="172" y="232"/>
                    <a:pt x="168" y="224"/>
                    <a:pt x="156" y="219"/>
                  </a:cubicBezTo>
                  <a:cubicBezTo>
                    <a:pt x="154" y="208"/>
                    <a:pt x="154" y="208"/>
                    <a:pt x="154" y="208"/>
                  </a:cubicBezTo>
                  <a:cubicBezTo>
                    <a:pt x="160" y="191"/>
                    <a:pt x="168" y="183"/>
                    <a:pt x="170" y="164"/>
                  </a:cubicBezTo>
                  <a:cubicBezTo>
                    <a:pt x="173" y="159"/>
                    <a:pt x="173" y="159"/>
                    <a:pt x="173" y="159"/>
                  </a:cubicBezTo>
                  <a:cubicBezTo>
                    <a:pt x="220" y="164"/>
                    <a:pt x="220" y="164"/>
                    <a:pt x="220" y="164"/>
                  </a:cubicBezTo>
                  <a:cubicBezTo>
                    <a:pt x="222" y="153"/>
                    <a:pt x="224" y="144"/>
                    <a:pt x="223" y="133"/>
                  </a:cubicBezTo>
                  <a:cubicBezTo>
                    <a:pt x="222" y="121"/>
                    <a:pt x="214" y="106"/>
                    <a:pt x="220" y="96"/>
                  </a:cubicBezTo>
                  <a:cubicBezTo>
                    <a:pt x="250" y="85"/>
                    <a:pt x="250" y="85"/>
                    <a:pt x="250" y="85"/>
                  </a:cubicBezTo>
                  <a:cubicBezTo>
                    <a:pt x="251" y="72"/>
                    <a:pt x="265" y="67"/>
                    <a:pt x="268" y="54"/>
                  </a:cubicBezTo>
                  <a:cubicBezTo>
                    <a:pt x="281" y="52"/>
                    <a:pt x="294" y="42"/>
                    <a:pt x="297" y="29"/>
                  </a:cubicBezTo>
                  <a:cubicBezTo>
                    <a:pt x="356" y="16"/>
                    <a:pt x="356" y="16"/>
                    <a:pt x="356" y="16"/>
                  </a:cubicBezTo>
                  <a:cubicBezTo>
                    <a:pt x="359" y="2"/>
                    <a:pt x="359" y="2"/>
                    <a:pt x="359" y="2"/>
                  </a:cubicBezTo>
                  <a:lnTo>
                    <a:pt x="366" y="0"/>
                  </a:lnTo>
                  <a:close/>
                </a:path>
              </a:pathLst>
            </a:custGeom>
            <a:grpFill/>
            <a:ln w="7938" cap="rnd">
              <a:solidFill>
                <a:schemeClr val="accent1"/>
              </a:solidFill>
              <a:prstDash val="solid"/>
              <a:round/>
              <a:headEnd/>
              <a:tailEnd/>
            </a:ln>
          </p:spPr>
          <p:txBody>
            <a:bodyPr/>
            <a:lstStyle/>
            <a:p>
              <a:endParaRPr lang="ru-RU"/>
            </a:p>
          </p:txBody>
        </p:sp>
        <p:sp>
          <p:nvSpPr>
            <p:cNvPr id="117" name="Freeform 12">
              <a:extLst>
                <a:ext uri="{FF2B5EF4-FFF2-40B4-BE49-F238E27FC236}">
                  <a16:creationId xmlns:a16="http://schemas.microsoft.com/office/drawing/2014/main" id="{1E759949-1C21-85F2-530F-7E1B35A674C3}"/>
                </a:ext>
              </a:extLst>
            </p:cNvPr>
            <p:cNvSpPr>
              <a:spLocks/>
            </p:cNvSpPr>
            <p:nvPr/>
          </p:nvSpPr>
          <p:spPr bwMode="auto">
            <a:xfrm>
              <a:off x="5395913" y="3654425"/>
              <a:ext cx="2474913" cy="1581150"/>
            </a:xfrm>
            <a:custGeom>
              <a:avLst/>
              <a:gdLst>
                <a:gd name="T0" fmla="*/ 2147483646 w 650"/>
                <a:gd name="T1" fmla="*/ 2147483646 h 415"/>
                <a:gd name="T2" fmla="*/ 2147483646 w 650"/>
                <a:gd name="T3" fmla="*/ 2147483646 h 415"/>
                <a:gd name="T4" fmla="*/ 2147483646 w 650"/>
                <a:gd name="T5" fmla="*/ 2147483646 h 415"/>
                <a:gd name="T6" fmla="*/ 2147483646 w 650"/>
                <a:gd name="T7" fmla="*/ 2147483646 h 415"/>
                <a:gd name="T8" fmla="*/ 2147483646 w 650"/>
                <a:gd name="T9" fmla="*/ 2147483646 h 415"/>
                <a:gd name="T10" fmla="*/ 2147483646 w 650"/>
                <a:gd name="T11" fmla="*/ 2147483646 h 415"/>
                <a:gd name="T12" fmla="*/ 2147483646 w 650"/>
                <a:gd name="T13" fmla="*/ 2147483646 h 415"/>
                <a:gd name="T14" fmla="*/ 2147483646 w 650"/>
                <a:gd name="T15" fmla="*/ 2147483646 h 415"/>
                <a:gd name="T16" fmla="*/ 2147483646 w 650"/>
                <a:gd name="T17" fmla="*/ 2147483646 h 415"/>
                <a:gd name="T18" fmla="*/ 2147483646 w 650"/>
                <a:gd name="T19" fmla="*/ 2147483646 h 415"/>
                <a:gd name="T20" fmla="*/ 2147483646 w 650"/>
                <a:gd name="T21" fmla="*/ 2147483646 h 415"/>
                <a:gd name="T22" fmla="*/ 2147483646 w 650"/>
                <a:gd name="T23" fmla="*/ 2147483646 h 415"/>
                <a:gd name="T24" fmla="*/ 2147483646 w 650"/>
                <a:gd name="T25" fmla="*/ 2147483646 h 415"/>
                <a:gd name="T26" fmla="*/ 2147483646 w 650"/>
                <a:gd name="T27" fmla="*/ 2147483646 h 415"/>
                <a:gd name="T28" fmla="*/ 2147483646 w 650"/>
                <a:gd name="T29" fmla="*/ 2147483646 h 415"/>
                <a:gd name="T30" fmla="*/ 2147483646 w 650"/>
                <a:gd name="T31" fmla="*/ 2147483646 h 415"/>
                <a:gd name="T32" fmla="*/ 2147483646 w 650"/>
                <a:gd name="T33" fmla="*/ 2147483646 h 415"/>
                <a:gd name="T34" fmla="*/ 2147483646 w 650"/>
                <a:gd name="T35" fmla="*/ 2147483646 h 415"/>
                <a:gd name="T36" fmla="*/ 2147483646 w 650"/>
                <a:gd name="T37" fmla="*/ 2147483646 h 415"/>
                <a:gd name="T38" fmla="*/ 2147483646 w 650"/>
                <a:gd name="T39" fmla="*/ 2147483646 h 415"/>
                <a:gd name="T40" fmla="*/ 2147483646 w 650"/>
                <a:gd name="T41" fmla="*/ 2147483646 h 415"/>
                <a:gd name="T42" fmla="*/ 2147483646 w 650"/>
                <a:gd name="T43" fmla="*/ 2147483646 h 415"/>
                <a:gd name="T44" fmla="*/ 1014824749 w 650"/>
                <a:gd name="T45" fmla="*/ 2147483646 h 415"/>
                <a:gd name="T46" fmla="*/ 217461086 w 650"/>
                <a:gd name="T47" fmla="*/ 2147483646 h 415"/>
                <a:gd name="T48" fmla="*/ 652387067 w 650"/>
                <a:gd name="T49" fmla="*/ 2147483646 h 415"/>
                <a:gd name="T50" fmla="*/ 1217790461 w 650"/>
                <a:gd name="T51" fmla="*/ 2147483646 h 415"/>
                <a:gd name="T52" fmla="*/ 1609222701 w 650"/>
                <a:gd name="T53" fmla="*/ 2147483646 h 415"/>
                <a:gd name="T54" fmla="*/ 1696206374 w 650"/>
                <a:gd name="T55" fmla="*/ 2147483646 h 415"/>
                <a:gd name="T56" fmla="*/ 1826683787 w 650"/>
                <a:gd name="T57" fmla="*/ 2147483646 h 415"/>
                <a:gd name="T58" fmla="*/ 2058644056 w 650"/>
                <a:gd name="T59" fmla="*/ 2147483646 h 415"/>
                <a:gd name="T60" fmla="*/ 2102137796 w 650"/>
                <a:gd name="T61" fmla="*/ 2147483646 h 415"/>
                <a:gd name="T62" fmla="*/ 2147483646 w 650"/>
                <a:gd name="T63" fmla="*/ 2147483646 h 415"/>
                <a:gd name="T64" fmla="*/ 2147483646 w 650"/>
                <a:gd name="T65" fmla="*/ 2104834500 h 415"/>
                <a:gd name="T66" fmla="*/ 2147483646 w 650"/>
                <a:gd name="T67" fmla="*/ 2147483646 h 415"/>
                <a:gd name="T68" fmla="*/ 2147483646 w 650"/>
                <a:gd name="T69" fmla="*/ 2147483646 h 415"/>
                <a:gd name="T70" fmla="*/ 2147483646 w 650"/>
                <a:gd name="T71" fmla="*/ 2147483646 h 415"/>
                <a:gd name="T72" fmla="*/ 2147483646 w 650"/>
                <a:gd name="T73" fmla="*/ 2147483646 h 415"/>
                <a:gd name="T74" fmla="*/ 2147483646 w 650"/>
                <a:gd name="T75" fmla="*/ 1538706600 h 415"/>
                <a:gd name="T76" fmla="*/ 2147483646 w 650"/>
                <a:gd name="T77" fmla="*/ 1669351500 h 415"/>
                <a:gd name="T78" fmla="*/ 2147483646 w 650"/>
                <a:gd name="T79" fmla="*/ 1553222700 h 415"/>
                <a:gd name="T80" fmla="*/ 2147483646 w 650"/>
                <a:gd name="T81" fmla="*/ 1146771900 h 415"/>
                <a:gd name="T82" fmla="*/ 2147483646 w 650"/>
                <a:gd name="T83" fmla="*/ 580644000 h 415"/>
                <a:gd name="T84" fmla="*/ 2147483646 w 650"/>
                <a:gd name="T85" fmla="*/ 72580500 h 415"/>
                <a:gd name="T86" fmla="*/ 2147483646 w 650"/>
                <a:gd name="T87" fmla="*/ 653224500 h 415"/>
                <a:gd name="T88" fmla="*/ 2147483646 w 650"/>
                <a:gd name="T89" fmla="*/ 2147483646 h 415"/>
                <a:gd name="T90" fmla="*/ 2147483646 w 650"/>
                <a:gd name="T91" fmla="*/ 2147483646 h 415"/>
                <a:gd name="T92" fmla="*/ 2147483646 w 650"/>
                <a:gd name="T93" fmla="*/ 2147483646 h 41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415">
                  <a:moveTo>
                    <a:pt x="623" y="241"/>
                  </a:moveTo>
                  <a:cubicBezTo>
                    <a:pt x="620" y="269"/>
                    <a:pt x="620" y="269"/>
                    <a:pt x="620" y="269"/>
                  </a:cubicBezTo>
                  <a:cubicBezTo>
                    <a:pt x="610" y="284"/>
                    <a:pt x="586" y="288"/>
                    <a:pt x="572" y="296"/>
                  </a:cubicBezTo>
                  <a:cubicBezTo>
                    <a:pt x="556" y="305"/>
                    <a:pt x="541" y="318"/>
                    <a:pt x="524" y="326"/>
                  </a:cubicBezTo>
                  <a:cubicBezTo>
                    <a:pt x="517" y="330"/>
                    <a:pt x="507" y="330"/>
                    <a:pt x="500" y="335"/>
                  </a:cubicBezTo>
                  <a:cubicBezTo>
                    <a:pt x="493" y="339"/>
                    <a:pt x="487" y="349"/>
                    <a:pt x="480" y="355"/>
                  </a:cubicBezTo>
                  <a:cubicBezTo>
                    <a:pt x="468" y="368"/>
                    <a:pt x="454" y="379"/>
                    <a:pt x="443" y="393"/>
                  </a:cubicBezTo>
                  <a:cubicBezTo>
                    <a:pt x="444" y="387"/>
                    <a:pt x="444" y="387"/>
                    <a:pt x="444" y="387"/>
                  </a:cubicBezTo>
                  <a:cubicBezTo>
                    <a:pt x="439" y="382"/>
                    <a:pt x="439" y="382"/>
                    <a:pt x="439" y="382"/>
                  </a:cubicBezTo>
                  <a:cubicBezTo>
                    <a:pt x="431" y="381"/>
                    <a:pt x="431" y="381"/>
                    <a:pt x="431" y="381"/>
                  </a:cubicBezTo>
                  <a:cubicBezTo>
                    <a:pt x="422" y="388"/>
                    <a:pt x="401" y="391"/>
                    <a:pt x="391" y="386"/>
                  </a:cubicBezTo>
                  <a:cubicBezTo>
                    <a:pt x="393" y="384"/>
                    <a:pt x="395" y="383"/>
                    <a:pt x="396" y="381"/>
                  </a:cubicBezTo>
                  <a:cubicBezTo>
                    <a:pt x="386" y="380"/>
                    <a:pt x="374" y="378"/>
                    <a:pt x="363" y="381"/>
                  </a:cubicBezTo>
                  <a:cubicBezTo>
                    <a:pt x="348" y="384"/>
                    <a:pt x="348" y="392"/>
                    <a:pt x="339" y="401"/>
                  </a:cubicBezTo>
                  <a:cubicBezTo>
                    <a:pt x="323" y="415"/>
                    <a:pt x="313" y="414"/>
                    <a:pt x="295" y="409"/>
                  </a:cubicBezTo>
                  <a:cubicBezTo>
                    <a:pt x="307" y="397"/>
                    <a:pt x="317" y="388"/>
                    <a:pt x="333" y="383"/>
                  </a:cubicBezTo>
                  <a:cubicBezTo>
                    <a:pt x="322" y="380"/>
                    <a:pt x="308" y="391"/>
                    <a:pt x="304" y="378"/>
                  </a:cubicBezTo>
                  <a:cubicBezTo>
                    <a:pt x="308" y="360"/>
                    <a:pt x="308" y="360"/>
                    <a:pt x="308" y="360"/>
                  </a:cubicBezTo>
                  <a:cubicBezTo>
                    <a:pt x="311" y="361"/>
                    <a:pt x="311" y="361"/>
                    <a:pt x="311" y="361"/>
                  </a:cubicBezTo>
                  <a:cubicBezTo>
                    <a:pt x="316" y="344"/>
                    <a:pt x="316" y="344"/>
                    <a:pt x="316" y="344"/>
                  </a:cubicBezTo>
                  <a:cubicBezTo>
                    <a:pt x="325" y="338"/>
                    <a:pt x="335" y="330"/>
                    <a:pt x="346" y="331"/>
                  </a:cubicBezTo>
                  <a:cubicBezTo>
                    <a:pt x="344" y="329"/>
                    <a:pt x="342" y="327"/>
                    <a:pt x="340" y="326"/>
                  </a:cubicBezTo>
                  <a:cubicBezTo>
                    <a:pt x="346" y="317"/>
                    <a:pt x="354" y="305"/>
                    <a:pt x="367" y="308"/>
                  </a:cubicBezTo>
                  <a:cubicBezTo>
                    <a:pt x="366" y="314"/>
                    <a:pt x="366" y="314"/>
                    <a:pt x="366" y="314"/>
                  </a:cubicBezTo>
                  <a:cubicBezTo>
                    <a:pt x="377" y="306"/>
                    <a:pt x="377" y="306"/>
                    <a:pt x="377" y="306"/>
                  </a:cubicBezTo>
                  <a:cubicBezTo>
                    <a:pt x="361" y="305"/>
                    <a:pt x="361" y="305"/>
                    <a:pt x="361" y="305"/>
                  </a:cubicBezTo>
                  <a:cubicBezTo>
                    <a:pt x="361" y="303"/>
                    <a:pt x="361" y="303"/>
                    <a:pt x="361" y="303"/>
                  </a:cubicBezTo>
                  <a:cubicBezTo>
                    <a:pt x="376" y="294"/>
                    <a:pt x="376" y="294"/>
                    <a:pt x="376" y="294"/>
                  </a:cubicBezTo>
                  <a:cubicBezTo>
                    <a:pt x="388" y="296"/>
                    <a:pt x="388" y="296"/>
                    <a:pt x="388" y="296"/>
                  </a:cubicBezTo>
                  <a:cubicBezTo>
                    <a:pt x="388" y="293"/>
                    <a:pt x="388" y="293"/>
                    <a:pt x="388" y="293"/>
                  </a:cubicBezTo>
                  <a:cubicBezTo>
                    <a:pt x="372" y="291"/>
                    <a:pt x="372" y="291"/>
                    <a:pt x="372" y="291"/>
                  </a:cubicBezTo>
                  <a:cubicBezTo>
                    <a:pt x="362" y="300"/>
                    <a:pt x="362" y="300"/>
                    <a:pt x="362" y="300"/>
                  </a:cubicBezTo>
                  <a:cubicBezTo>
                    <a:pt x="355" y="298"/>
                    <a:pt x="355" y="298"/>
                    <a:pt x="355" y="298"/>
                  </a:cubicBezTo>
                  <a:cubicBezTo>
                    <a:pt x="354" y="306"/>
                    <a:pt x="354" y="306"/>
                    <a:pt x="354" y="306"/>
                  </a:cubicBezTo>
                  <a:cubicBezTo>
                    <a:pt x="349" y="311"/>
                    <a:pt x="332" y="316"/>
                    <a:pt x="335" y="324"/>
                  </a:cubicBezTo>
                  <a:cubicBezTo>
                    <a:pt x="326" y="323"/>
                    <a:pt x="326" y="323"/>
                    <a:pt x="326" y="323"/>
                  </a:cubicBezTo>
                  <a:cubicBezTo>
                    <a:pt x="310" y="336"/>
                    <a:pt x="310" y="336"/>
                    <a:pt x="310" y="336"/>
                  </a:cubicBezTo>
                  <a:cubicBezTo>
                    <a:pt x="304" y="326"/>
                    <a:pt x="304" y="326"/>
                    <a:pt x="304" y="326"/>
                  </a:cubicBezTo>
                  <a:cubicBezTo>
                    <a:pt x="305" y="338"/>
                    <a:pt x="301" y="357"/>
                    <a:pt x="286" y="358"/>
                  </a:cubicBezTo>
                  <a:cubicBezTo>
                    <a:pt x="281" y="355"/>
                    <a:pt x="278" y="350"/>
                    <a:pt x="277" y="344"/>
                  </a:cubicBezTo>
                  <a:cubicBezTo>
                    <a:pt x="276" y="346"/>
                    <a:pt x="273" y="347"/>
                    <a:pt x="272" y="349"/>
                  </a:cubicBezTo>
                  <a:cubicBezTo>
                    <a:pt x="276" y="339"/>
                    <a:pt x="276" y="339"/>
                    <a:pt x="276" y="339"/>
                  </a:cubicBezTo>
                  <a:cubicBezTo>
                    <a:pt x="272" y="325"/>
                    <a:pt x="272" y="325"/>
                    <a:pt x="272" y="325"/>
                  </a:cubicBezTo>
                  <a:cubicBezTo>
                    <a:pt x="275" y="318"/>
                    <a:pt x="275" y="318"/>
                    <a:pt x="275" y="318"/>
                  </a:cubicBezTo>
                  <a:cubicBezTo>
                    <a:pt x="260" y="325"/>
                    <a:pt x="260" y="325"/>
                    <a:pt x="260" y="325"/>
                  </a:cubicBezTo>
                  <a:cubicBezTo>
                    <a:pt x="255" y="317"/>
                    <a:pt x="257" y="308"/>
                    <a:pt x="254" y="300"/>
                  </a:cubicBezTo>
                  <a:cubicBezTo>
                    <a:pt x="252" y="296"/>
                    <a:pt x="248" y="291"/>
                    <a:pt x="245" y="287"/>
                  </a:cubicBezTo>
                  <a:cubicBezTo>
                    <a:pt x="256" y="295"/>
                    <a:pt x="256" y="295"/>
                    <a:pt x="256" y="295"/>
                  </a:cubicBezTo>
                  <a:cubicBezTo>
                    <a:pt x="262" y="278"/>
                    <a:pt x="262" y="278"/>
                    <a:pt x="262" y="278"/>
                  </a:cubicBezTo>
                  <a:cubicBezTo>
                    <a:pt x="280" y="269"/>
                    <a:pt x="280" y="269"/>
                    <a:pt x="280" y="269"/>
                  </a:cubicBezTo>
                  <a:cubicBezTo>
                    <a:pt x="284" y="262"/>
                    <a:pt x="284" y="262"/>
                    <a:pt x="284" y="262"/>
                  </a:cubicBezTo>
                  <a:cubicBezTo>
                    <a:pt x="278" y="267"/>
                    <a:pt x="253" y="285"/>
                    <a:pt x="248" y="280"/>
                  </a:cubicBezTo>
                  <a:cubicBezTo>
                    <a:pt x="254" y="273"/>
                    <a:pt x="273" y="257"/>
                    <a:pt x="256" y="251"/>
                  </a:cubicBezTo>
                  <a:cubicBezTo>
                    <a:pt x="246" y="252"/>
                    <a:pt x="246" y="252"/>
                    <a:pt x="246" y="252"/>
                  </a:cubicBezTo>
                  <a:cubicBezTo>
                    <a:pt x="245" y="245"/>
                    <a:pt x="249" y="239"/>
                    <a:pt x="251" y="232"/>
                  </a:cubicBezTo>
                  <a:cubicBezTo>
                    <a:pt x="249" y="235"/>
                    <a:pt x="247" y="237"/>
                    <a:pt x="246" y="239"/>
                  </a:cubicBezTo>
                  <a:cubicBezTo>
                    <a:pt x="232" y="237"/>
                    <a:pt x="232" y="237"/>
                    <a:pt x="232" y="237"/>
                  </a:cubicBezTo>
                  <a:cubicBezTo>
                    <a:pt x="222" y="246"/>
                    <a:pt x="222" y="246"/>
                    <a:pt x="222" y="246"/>
                  </a:cubicBezTo>
                  <a:cubicBezTo>
                    <a:pt x="226" y="249"/>
                    <a:pt x="226" y="249"/>
                    <a:pt x="226" y="249"/>
                  </a:cubicBezTo>
                  <a:cubicBezTo>
                    <a:pt x="212" y="251"/>
                    <a:pt x="212" y="251"/>
                    <a:pt x="212" y="251"/>
                  </a:cubicBezTo>
                  <a:cubicBezTo>
                    <a:pt x="216" y="247"/>
                    <a:pt x="216" y="247"/>
                    <a:pt x="216" y="247"/>
                  </a:cubicBezTo>
                  <a:cubicBezTo>
                    <a:pt x="211" y="239"/>
                    <a:pt x="211" y="239"/>
                    <a:pt x="211" y="239"/>
                  </a:cubicBezTo>
                  <a:cubicBezTo>
                    <a:pt x="194" y="238"/>
                    <a:pt x="194" y="238"/>
                    <a:pt x="194" y="238"/>
                  </a:cubicBezTo>
                  <a:cubicBezTo>
                    <a:pt x="205" y="246"/>
                    <a:pt x="205" y="246"/>
                    <a:pt x="205" y="246"/>
                  </a:cubicBezTo>
                  <a:cubicBezTo>
                    <a:pt x="200" y="248"/>
                    <a:pt x="200" y="248"/>
                    <a:pt x="200" y="248"/>
                  </a:cubicBezTo>
                  <a:cubicBezTo>
                    <a:pt x="193" y="242"/>
                    <a:pt x="193" y="242"/>
                    <a:pt x="193" y="242"/>
                  </a:cubicBezTo>
                  <a:cubicBezTo>
                    <a:pt x="171" y="238"/>
                    <a:pt x="139" y="244"/>
                    <a:pt x="123" y="226"/>
                  </a:cubicBezTo>
                  <a:cubicBezTo>
                    <a:pt x="108" y="223"/>
                    <a:pt x="100" y="228"/>
                    <a:pt x="90" y="238"/>
                  </a:cubicBezTo>
                  <a:cubicBezTo>
                    <a:pt x="70" y="231"/>
                    <a:pt x="70" y="231"/>
                    <a:pt x="70" y="231"/>
                  </a:cubicBezTo>
                  <a:cubicBezTo>
                    <a:pt x="62" y="238"/>
                    <a:pt x="65" y="250"/>
                    <a:pt x="56" y="255"/>
                  </a:cubicBezTo>
                  <a:cubicBezTo>
                    <a:pt x="47" y="253"/>
                    <a:pt x="37" y="259"/>
                    <a:pt x="29" y="257"/>
                  </a:cubicBezTo>
                  <a:cubicBezTo>
                    <a:pt x="24" y="255"/>
                    <a:pt x="19" y="249"/>
                    <a:pt x="15" y="246"/>
                  </a:cubicBezTo>
                  <a:cubicBezTo>
                    <a:pt x="15" y="230"/>
                    <a:pt x="3" y="216"/>
                    <a:pt x="0" y="201"/>
                  </a:cubicBezTo>
                  <a:cubicBezTo>
                    <a:pt x="2" y="200"/>
                    <a:pt x="5" y="200"/>
                    <a:pt x="7" y="200"/>
                  </a:cubicBezTo>
                  <a:cubicBezTo>
                    <a:pt x="17" y="186"/>
                    <a:pt x="32" y="189"/>
                    <a:pt x="45" y="195"/>
                  </a:cubicBezTo>
                  <a:cubicBezTo>
                    <a:pt x="54" y="198"/>
                    <a:pt x="65" y="205"/>
                    <a:pt x="70" y="194"/>
                  </a:cubicBezTo>
                  <a:cubicBezTo>
                    <a:pt x="77" y="195"/>
                    <a:pt x="77" y="195"/>
                    <a:pt x="77" y="195"/>
                  </a:cubicBezTo>
                  <a:cubicBezTo>
                    <a:pt x="84" y="185"/>
                    <a:pt x="84" y="185"/>
                    <a:pt x="84" y="185"/>
                  </a:cubicBezTo>
                  <a:cubicBezTo>
                    <a:pt x="91" y="183"/>
                    <a:pt x="98" y="184"/>
                    <a:pt x="104" y="186"/>
                  </a:cubicBezTo>
                  <a:cubicBezTo>
                    <a:pt x="104" y="184"/>
                    <a:pt x="103" y="181"/>
                    <a:pt x="102" y="179"/>
                  </a:cubicBezTo>
                  <a:cubicBezTo>
                    <a:pt x="111" y="180"/>
                    <a:pt x="111" y="180"/>
                    <a:pt x="111" y="180"/>
                  </a:cubicBezTo>
                  <a:cubicBezTo>
                    <a:pt x="111" y="188"/>
                    <a:pt x="111" y="188"/>
                    <a:pt x="111" y="188"/>
                  </a:cubicBezTo>
                  <a:cubicBezTo>
                    <a:pt x="116" y="184"/>
                    <a:pt x="116" y="184"/>
                    <a:pt x="116" y="184"/>
                  </a:cubicBezTo>
                  <a:cubicBezTo>
                    <a:pt x="117" y="194"/>
                    <a:pt x="117" y="194"/>
                    <a:pt x="117" y="194"/>
                  </a:cubicBezTo>
                  <a:cubicBezTo>
                    <a:pt x="125" y="192"/>
                    <a:pt x="125" y="192"/>
                    <a:pt x="125" y="192"/>
                  </a:cubicBezTo>
                  <a:cubicBezTo>
                    <a:pt x="128" y="185"/>
                    <a:pt x="128" y="185"/>
                    <a:pt x="128" y="185"/>
                  </a:cubicBezTo>
                  <a:cubicBezTo>
                    <a:pt x="126" y="173"/>
                    <a:pt x="126" y="173"/>
                    <a:pt x="126" y="173"/>
                  </a:cubicBezTo>
                  <a:cubicBezTo>
                    <a:pt x="131" y="162"/>
                    <a:pt x="131" y="162"/>
                    <a:pt x="131" y="162"/>
                  </a:cubicBezTo>
                  <a:cubicBezTo>
                    <a:pt x="150" y="164"/>
                    <a:pt x="150" y="164"/>
                    <a:pt x="150" y="164"/>
                  </a:cubicBezTo>
                  <a:cubicBezTo>
                    <a:pt x="142" y="173"/>
                    <a:pt x="142" y="173"/>
                    <a:pt x="142" y="173"/>
                  </a:cubicBezTo>
                  <a:cubicBezTo>
                    <a:pt x="143" y="178"/>
                    <a:pt x="143" y="178"/>
                    <a:pt x="143" y="178"/>
                  </a:cubicBezTo>
                  <a:cubicBezTo>
                    <a:pt x="138" y="185"/>
                    <a:pt x="138" y="185"/>
                    <a:pt x="138" y="185"/>
                  </a:cubicBezTo>
                  <a:cubicBezTo>
                    <a:pt x="145" y="197"/>
                    <a:pt x="145" y="197"/>
                    <a:pt x="145" y="197"/>
                  </a:cubicBezTo>
                  <a:cubicBezTo>
                    <a:pt x="147" y="180"/>
                    <a:pt x="147" y="180"/>
                    <a:pt x="147" y="180"/>
                  </a:cubicBezTo>
                  <a:cubicBezTo>
                    <a:pt x="155" y="176"/>
                    <a:pt x="156" y="166"/>
                    <a:pt x="164" y="164"/>
                  </a:cubicBezTo>
                  <a:cubicBezTo>
                    <a:pt x="171" y="174"/>
                    <a:pt x="171" y="174"/>
                    <a:pt x="171" y="174"/>
                  </a:cubicBezTo>
                  <a:cubicBezTo>
                    <a:pt x="177" y="166"/>
                    <a:pt x="188" y="167"/>
                    <a:pt x="196" y="160"/>
                  </a:cubicBezTo>
                  <a:cubicBezTo>
                    <a:pt x="191" y="160"/>
                    <a:pt x="187" y="160"/>
                    <a:pt x="182" y="160"/>
                  </a:cubicBezTo>
                  <a:cubicBezTo>
                    <a:pt x="200" y="145"/>
                    <a:pt x="200" y="145"/>
                    <a:pt x="200" y="145"/>
                  </a:cubicBezTo>
                  <a:cubicBezTo>
                    <a:pt x="209" y="149"/>
                    <a:pt x="209" y="149"/>
                    <a:pt x="209" y="149"/>
                  </a:cubicBezTo>
                  <a:cubicBezTo>
                    <a:pt x="209" y="153"/>
                    <a:pt x="209" y="153"/>
                    <a:pt x="209" y="153"/>
                  </a:cubicBezTo>
                  <a:cubicBezTo>
                    <a:pt x="201" y="161"/>
                    <a:pt x="201" y="161"/>
                    <a:pt x="201" y="161"/>
                  </a:cubicBezTo>
                  <a:cubicBezTo>
                    <a:pt x="210" y="158"/>
                    <a:pt x="210" y="158"/>
                    <a:pt x="210" y="158"/>
                  </a:cubicBezTo>
                  <a:cubicBezTo>
                    <a:pt x="212" y="168"/>
                    <a:pt x="212" y="168"/>
                    <a:pt x="212" y="168"/>
                  </a:cubicBezTo>
                  <a:cubicBezTo>
                    <a:pt x="224" y="177"/>
                    <a:pt x="224" y="177"/>
                    <a:pt x="224" y="177"/>
                  </a:cubicBezTo>
                  <a:cubicBezTo>
                    <a:pt x="226" y="175"/>
                    <a:pt x="226" y="175"/>
                    <a:pt x="226" y="175"/>
                  </a:cubicBezTo>
                  <a:cubicBezTo>
                    <a:pt x="219" y="166"/>
                    <a:pt x="219" y="166"/>
                    <a:pt x="219" y="166"/>
                  </a:cubicBezTo>
                  <a:cubicBezTo>
                    <a:pt x="224" y="163"/>
                    <a:pt x="229" y="154"/>
                    <a:pt x="232" y="153"/>
                  </a:cubicBezTo>
                  <a:cubicBezTo>
                    <a:pt x="238" y="151"/>
                    <a:pt x="252" y="154"/>
                    <a:pt x="258" y="155"/>
                  </a:cubicBezTo>
                  <a:cubicBezTo>
                    <a:pt x="267" y="155"/>
                    <a:pt x="292" y="165"/>
                    <a:pt x="296" y="158"/>
                  </a:cubicBezTo>
                  <a:cubicBezTo>
                    <a:pt x="310" y="156"/>
                    <a:pt x="326" y="170"/>
                    <a:pt x="339" y="161"/>
                  </a:cubicBezTo>
                  <a:cubicBezTo>
                    <a:pt x="347" y="155"/>
                    <a:pt x="343" y="153"/>
                    <a:pt x="340" y="144"/>
                  </a:cubicBezTo>
                  <a:cubicBezTo>
                    <a:pt x="351" y="138"/>
                    <a:pt x="364" y="110"/>
                    <a:pt x="351" y="101"/>
                  </a:cubicBezTo>
                  <a:cubicBezTo>
                    <a:pt x="340" y="106"/>
                    <a:pt x="340" y="106"/>
                    <a:pt x="340" y="106"/>
                  </a:cubicBezTo>
                  <a:cubicBezTo>
                    <a:pt x="341" y="111"/>
                    <a:pt x="341" y="111"/>
                    <a:pt x="341" y="111"/>
                  </a:cubicBezTo>
                  <a:cubicBezTo>
                    <a:pt x="320" y="128"/>
                    <a:pt x="307" y="137"/>
                    <a:pt x="280" y="128"/>
                  </a:cubicBezTo>
                  <a:cubicBezTo>
                    <a:pt x="272" y="125"/>
                    <a:pt x="262" y="117"/>
                    <a:pt x="255" y="115"/>
                  </a:cubicBezTo>
                  <a:cubicBezTo>
                    <a:pt x="250" y="114"/>
                    <a:pt x="243" y="117"/>
                    <a:pt x="238" y="118"/>
                  </a:cubicBezTo>
                  <a:cubicBezTo>
                    <a:pt x="231" y="113"/>
                    <a:pt x="231" y="113"/>
                    <a:pt x="231" y="113"/>
                  </a:cubicBezTo>
                  <a:cubicBezTo>
                    <a:pt x="242" y="107"/>
                    <a:pt x="242" y="107"/>
                    <a:pt x="242" y="107"/>
                  </a:cubicBezTo>
                  <a:cubicBezTo>
                    <a:pt x="232" y="107"/>
                    <a:pt x="232" y="107"/>
                    <a:pt x="232" y="107"/>
                  </a:cubicBezTo>
                  <a:cubicBezTo>
                    <a:pt x="237" y="100"/>
                    <a:pt x="253" y="86"/>
                    <a:pt x="252" y="79"/>
                  </a:cubicBezTo>
                  <a:cubicBezTo>
                    <a:pt x="259" y="79"/>
                    <a:pt x="259" y="79"/>
                    <a:pt x="259" y="79"/>
                  </a:cubicBezTo>
                  <a:cubicBezTo>
                    <a:pt x="269" y="67"/>
                    <a:pt x="269" y="67"/>
                    <a:pt x="269" y="67"/>
                  </a:cubicBezTo>
                  <a:cubicBezTo>
                    <a:pt x="283" y="63"/>
                    <a:pt x="296" y="57"/>
                    <a:pt x="307" y="48"/>
                  </a:cubicBezTo>
                  <a:cubicBezTo>
                    <a:pt x="314" y="44"/>
                    <a:pt x="319" y="31"/>
                    <a:pt x="326" y="40"/>
                  </a:cubicBezTo>
                  <a:cubicBezTo>
                    <a:pt x="324" y="33"/>
                    <a:pt x="324" y="33"/>
                    <a:pt x="324" y="33"/>
                  </a:cubicBezTo>
                  <a:cubicBezTo>
                    <a:pt x="334" y="27"/>
                    <a:pt x="345" y="25"/>
                    <a:pt x="355" y="19"/>
                  </a:cubicBezTo>
                  <a:cubicBezTo>
                    <a:pt x="362" y="15"/>
                    <a:pt x="369" y="0"/>
                    <a:pt x="376" y="5"/>
                  </a:cubicBezTo>
                  <a:cubicBezTo>
                    <a:pt x="376" y="16"/>
                    <a:pt x="371" y="27"/>
                    <a:pt x="370" y="36"/>
                  </a:cubicBezTo>
                  <a:cubicBezTo>
                    <a:pt x="370" y="41"/>
                    <a:pt x="369" y="44"/>
                    <a:pt x="374" y="49"/>
                  </a:cubicBezTo>
                  <a:cubicBezTo>
                    <a:pt x="392" y="45"/>
                    <a:pt x="392" y="45"/>
                    <a:pt x="392" y="45"/>
                  </a:cubicBezTo>
                  <a:cubicBezTo>
                    <a:pt x="405" y="70"/>
                    <a:pt x="423" y="89"/>
                    <a:pt x="429" y="115"/>
                  </a:cubicBezTo>
                  <a:cubicBezTo>
                    <a:pt x="417" y="133"/>
                    <a:pt x="425" y="148"/>
                    <a:pt x="437" y="162"/>
                  </a:cubicBezTo>
                  <a:cubicBezTo>
                    <a:pt x="437" y="169"/>
                    <a:pt x="437" y="169"/>
                    <a:pt x="437" y="169"/>
                  </a:cubicBezTo>
                  <a:cubicBezTo>
                    <a:pt x="447" y="177"/>
                    <a:pt x="455" y="185"/>
                    <a:pt x="469" y="183"/>
                  </a:cubicBezTo>
                  <a:cubicBezTo>
                    <a:pt x="470" y="187"/>
                    <a:pt x="470" y="187"/>
                    <a:pt x="470" y="187"/>
                  </a:cubicBezTo>
                  <a:cubicBezTo>
                    <a:pt x="482" y="194"/>
                    <a:pt x="498" y="194"/>
                    <a:pt x="508" y="203"/>
                  </a:cubicBezTo>
                  <a:cubicBezTo>
                    <a:pt x="557" y="189"/>
                    <a:pt x="557" y="189"/>
                    <a:pt x="557" y="189"/>
                  </a:cubicBezTo>
                  <a:cubicBezTo>
                    <a:pt x="579" y="202"/>
                    <a:pt x="622" y="194"/>
                    <a:pt x="648" y="194"/>
                  </a:cubicBezTo>
                  <a:cubicBezTo>
                    <a:pt x="650" y="198"/>
                    <a:pt x="650" y="198"/>
                    <a:pt x="650" y="198"/>
                  </a:cubicBezTo>
                  <a:cubicBezTo>
                    <a:pt x="650" y="214"/>
                    <a:pt x="630" y="228"/>
                    <a:pt x="623" y="241"/>
                  </a:cubicBezTo>
                  <a:close/>
                </a:path>
              </a:pathLst>
            </a:custGeom>
            <a:grpFill/>
            <a:ln w="7938" cap="rnd">
              <a:solidFill>
                <a:schemeClr val="accent1"/>
              </a:solidFill>
              <a:prstDash val="solid"/>
              <a:round/>
              <a:headEnd/>
              <a:tailEnd/>
            </a:ln>
          </p:spPr>
          <p:txBody>
            <a:bodyPr/>
            <a:lstStyle/>
            <a:p>
              <a:endParaRPr lang="ru-RU"/>
            </a:p>
          </p:txBody>
        </p:sp>
        <p:sp>
          <p:nvSpPr>
            <p:cNvPr id="118" name="Freeform 13">
              <a:extLst>
                <a:ext uri="{FF2B5EF4-FFF2-40B4-BE49-F238E27FC236}">
                  <a16:creationId xmlns:a16="http://schemas.microsoft.com/office/drawing/2014/main" id="{E0FFD017-2C30-D266-C89A-EF1F8AE81471}"/>
                </a:ext>
              </a:extLst>
            </p:cNvPr>
            <p:cNvSpPr>
              <a:spLocks/>
            </p:cNvSpPr>
            <p:nvPr/>
          </p:nvSpPr>
          <p:spPr bwMode="auto">
            <a:xfrm>
              <a:off x="7092950" y="2779713"/>
              <a:ext cx="1614488" cy="1865313"/>
            </a:xfrm>
            <a:custGeom>
              <a:avLst/>
              <a:gdLst>
                <a:gd name="T0" fmla="*/ 144991684 w 424"/>
                <a:gd name="T1" fmla="*/ 2147483646 h 490"/>
                <a:gd name="T2" fmla="*/ 72495842 w 424"/>
                <a:gd name="T3" fmla="*/ 2147483646 h 490"/>
                <a:gd name="T4" fmla="*/ 376975332 w 424"/>
                <a:gd name="T5" fmla="*/ 2147483646 h 490"/>
                <a:gd name="T6" fmla="*/ 376975332 w 424"/>
                <a:gd name="T7" fmla="*/ 2147483646 h 490"/>
                <a:gd name="T8" fmla="*/ 1101922330 w 424"/>
                <a:gd name="T9" fmla="*/ 2147483646 h 490"/>
                <a:gd name="T10" fmla="*/ 1145422120 w 424"/>
                <a:gd name="T11" fmla="*/ 2147483646 h 490"/>
                <a:gd name="T12" fmla="*/ 1203418032 w 424"/>
                <a:gd name="T13" fmla="*/ 2147483646 h 490"/>
                <a:gd name="T14" fmla="*/ 1478897662 w 424"/>
                <a:gd name="T15" fmla="*/ 2147483646 h 490"/>
                <a:gd name="T16" fmla="*/ 1464397732 w 424"/>
                <a:gd name="T17" fmla="*/ 2147483646 h 490"/>
                <a:gd name="T18" fmla="*/ 1594889486 w 424"/>
                <a:gd name="T19" fmla="*/ 2147483646 h 490"/>
                <a:gd name="T20" fmla="*/ 1638385469 w 424"/>
                <a:gd name="T21" fmla="*/ 2147483646 h 490"/>
                <a:gd name="T22" fmla="*/ 1739881171 w 424"/>
                <a:gd name="T23" fmla="*/ 2147483646 h 490"/>
                <a:gd name="T24" fmla="*/ 1783377153 w 424"/>
                <a:gd name="T25" fmla="*/ 2147483646 h 490"/>
                <a:gd name="T26" fmla="*/ 1754377293 w 424"/>
                <a:gd name="T27" fmla="*/ 1637531635 h 490"/>
                <a:gd name="T28" fmla="*/ 1464397732 w 424"/>
                <a:gd name="T29" fmla="*/ 695590445 h 490"/>
                <a:gd name="T30" fmla="*/ 1507893714 w 424"/>
                <a:gd name="T31" fmla="*/ 434743552 h 490"/>
                <a:gd name="T32" fmla="*/ 1870369117 w 424"/>
                <a:gd name="T33" fmla="*/ 333304786 h 490"/>
                <a:gd name="T34" fmla="*/ 2147483646 w 424"/>
                <a:gd name="T35" fmla="*/ 231862213 h 490"/>
                <a:gd name="T36" fmla="*/ 2147483646 w 424"/>
                <a:gd name="T37" fmla="*/ 347793319 h 490"/>
                <a:gd name="T38" fmla="*/ 2147483646 w 424"/>
                <a:gd name="T39" fmla="*/ 956433531 h 490"/>
                <a:gd name="T40" fmla="*/ 2147483646 w 424"/>
                <a:gd name="T41" fmla="*/ 1217280423 h 490"/>
                <a:gd name="T42" fmla="*/ 2147483646 w 424"/>
                <a:gd name="T43" fmla="*/ 1478127316 h 490"/>
                <a:gd name="T44" fmla="*/ 2147483646 w 424"/>
                <a:gd name="T45" fmla="*/ 2144733081 h 490"/>
                <a:gd name="T46" fmla="*/ 2147483646 w 424"/>
                <a:gd name="T47" fmla="*/ 2144733081 h 490"/>
                <a:gd name="T48" fmla="*/ 2147483646 w 424"/>
                <a:gd name="T49" fmla="*/ 927452657 h 490"/>
                <a:gd name="T50" fmla="*/ 2147483646 w 424"/>
                <a:gd name="T51" fmla="*/ 536182318 h 490"/>
                <a:gd name="T52" fmla="*/ 2147483646 w 424"/>
                <a:gd name="T53" fmla="*/ 391270339 h 490"/>
                <a:gd name="T54" fmla="*/ 2147483646 w 424"/>
                <a:gd name="T55" fmla="*/ 434743552 h 490"/>
                <a:gd name="T56" fmla="*/ 2147483646 w 424"/>
                <a:gd name="T57" fmla="*/ 376777999 h 490"/>
                <a:gd name="T58" fmla="*/ 2147483646 w 424"/>
                <a:gd name="T59" fmla="*/ 970925871 h 490"/>
                <a:gd name="T60" fmla="*/ 2147483646 w 424"/>
                <a:gd name="T61" fmla="*/ 1217280423 h 490"/>
                <a:gd name="T62" fmla="*/ 2147483646 w 424"/>
                <a:gd name="T63" fmla="*/ 1652023975 h 490"/>
                <a:gd name="T64" fmla="*/ 2147483646 w 424"/>
                <a:gd name="T65" fmla="*/ 2147483646 h 490"/>
                <a:gd name="T66" fmla="*/ 2147483646 w 424"/>
                <a:gd name="T67" fmla="*/ 2147483646 h 490"/>
                <a:gd name="T68" fmla="*/ 2147483646 w 424"/>
                <a:gd name="T69" fmla="*/ 2147483646 h 490"/>
                <a:gd name="T70" fmla="*/ 2147483646 w 424"/>
                <a:gd name="T71" fmla="*/ 2147483646 h 490"/>
                <a:gd name="T72" fmla="*/ 2147483646 w 424"/>
                <a:gd name="T73" fmla="*/ 2147483646 h 490"/>
                <a:gd name="T74" fmla="*/ 2147483646 w 424"/>
                <a:gd name="T75" fmla="*/ 2147483646 h 490"/>
                <a:gd name="T76" fmla="*/ 2147483646 w 424"/>
                <a:gd name="T77" fmla="*/ 2147483646 h 490"/>
                <a:gd name="T78" fmla="*/ 2147483646 w 424"/>
                <a:gd name="T79" fmla="*/ 2147483646 h 490"/>
                <a:gd name="T80" fmla="*/ 1609389416 w 424"/>
                <a:gd name="T81" fmla="*/ 2147483646 h 490"/>
                <a:gd name="T82" fmla="*/ 347975473 w 424"/>
                <a:gd name="T83" fmla="*/ 2147483646 h 4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24" h="490">
                  <a:moveTo>
                    <a:pt x="23" y="413"/>
                  </a:moveTo>
                  <a:cubicBezTo>
                    <a:pt x="17" y="393"/>
                    <a:pt x="0" y="360"/>
                    <a:pt x="10" y="340"/>
                  </a:cubicBezTo>
                  <a:cubicBezTo>
                    <a:pt x="9" y="330"/>
                    <a:pt x="7" y="320"/>
                    <a:pt x="2" y="311"/>
                  </a:cubicBezTo>
                  <a:cubicBezTo>
                    <a:pt x="12" y="290"/>
                    <a:pt x="8" y="273"/>
                    <a:pt x="5" y="250"/>
                  </a:cubicBezTo>
                  <a:cubicBezTo>
                    <a:pt x="12" y="248"/>
                    <a:pt x="12" y="248"/>
                    <a:pt x="12" y="248"/>
                  </a:cubicBezTo>
                  <a:cubicBezTo>
                    <a:pt x="26" y="282"/>
                    <a:pt x="26" y="282"/>
                    <a:pt x="26" y="282"/>
                  </a:cubicBezTo>
                  <a:cubicBezTo>
                    <a:pt x="33" y="285"/>
                    <a:pt x="33" y="285"/>
                    <a:pt x="33" y="285"/>
                  </a:cubicBezTo>
                  <a:cubicBezTo>
                    <a:pt x="26" y="261"/>
                    <a:pt x="19" y="239"/>
                    <a:pt x="26" y="214"/>
                  </a:cubicBezTo>
                  <a:cubicBezTo>
                    <a:pt x="31" y="195"/>
                    <a:pt x="50" y="177"/>
                    <a:pt x="66" y="165"/>
                  </a:cubicBezTo>
                  <a:cubicBezTo>
                    <a:pt x="76" y="169"/>
                    <a:pt x="76" y="169"/>
                    <a:pt x="76" y="169"/>
                  </a:cubicBezTo>
                  <a:cubicBezTo>
                    <a:pt x="75" y="184"/>
                    <a:pt x="71" y="201"/>
                    <a:pt x="74" y="216"/>
                  </a:cubicBezTo>
                  <a:cubicBezTo>
                    <a:pt x="79" y="200"/>
                    <a:pt x="79" y="200"/>
                    <a:pt x="79" y="200"/>
                  </a:cubicBezTo>
                  <a:cubicBezTo>
                    <a:pt x="83" y="205"/>
                    <a:pt x="83" y="205"/>
                    <a:pt x="83" y="205"/>
                  </a:cubicBezTo>
                  <a:cubicBezTo>
                    <a:pt x="83" y="219"/>
                    <a:pt x="83" y="219"/>
                    <a:pt x="83" y="219"/>
                  </a:cubicBezTo>
                  <a:cubicBezTo>
                    <a:pt x="95" y="233"/>
                    <a:pt x="95" y="233"/>
                    <a:pt x="95" y="233"/>
                  </a:cubicBezTo>
                  <a:cubicBezTo>
                    <a:pt x="102" y="231"/>
                    <a:pt x="102" y="231"/>
                    <a:pt x="102" y="231"/>
                  </a:cubicBezTo>
                  <a:cubicBezTo>
                    <a:pt x="106" y="214"/>
                    <a:pt x="106" y="214"/>
                    <a:pt x="106" y="214"/>
                  </a:cubicBezTo>
                  <a:cubicBezTo>
                    <a:pt x="101" y="208"/>
                    <a:pt x="101" y="208"/>
                    <a:pt x="101" y="208"/>
                  </a:cubicBezTo>
                  <a:cubicBezTo>
                    <a:pt x="90" y="205"/>
                    <a:pt x="90" y="205"/>
                    <a:pt x="90" y="205"/>
                  </a:cubicBezTo>
                  <a:cubicBezTo>
                    <a:pt x="110" y="201"/>
                    <a:pt x="110" y="201"/>
                    <a:pt x="110" y="201"/>
                  </a:cubicBezTo>
                  <a:cubicBezTo>
                    <a:pt x="109" y="216"/>
                    <a:pt x="109" y="216"/>
                    <a:pt x="109" y="216"/>
                  </a:cubicBezTo>
                  <a:cubicBezTo>
                    <a:pt x="113" y="207"/>
                    <a:pt x="113" y="207"/>
                    <a:pt x="113" y="207"/>
                  </a:cubicBezTo>
                  <a:cubicBezTo>
                    <a:pt x="111" y="202"/>
                    <a:pt x="111" y="202"/>
                    <a:pt x="111" y="202"/>
                  </a:cubicBezTo>
                  <a:cubicBezTo>
                    <a:pt x="116" y="194"/>
                    <a:pt x="121" y="188"/>
                    <a:pt x="120" y="179"/>
                  </a:cubicBezTo>
                  <a:cubicBezTo>
                    <a:pt x="125" y="173"/>
                    <a:pt x="125" y="173"/>
                    <a:pt x="125" y="173"/>
                  </a:cubicBezTo>
                  <a:cubicBezTo>
                    <a:pt x="123" y="164"/>
                    <a:pt x="123" y="164"/>
                    <a:pt x="123" y="164"/>
                  </a:cubicBezTo>
                  <a:cubicBezTo>
                    <a:pt x="136" y="152"/>
                    <a:pt x="126" y="129"/>
                    <a:pt x="118" y="117"/>
                  </a:cubicBezTo>
                  <a:cubicBezTo>
                    <a:pt x="121" y="113"/>
                    <a:pt x="121" y="113"/>
                    <a:pt x="121" y="113"/>
                  </a:cubicBezTo>
                  <a:cubicBezTo>
                    <a:pt x="121" y="101"/>
                    <a:pt x="114" y="91"/>
                    <a:pt x="110" y="80"/>
                  </a:cubicBezTo>
                  <a:cubicBezTo>
                    <a:pt x="107" y="69"/>
                    <a:pt x="109" y="57"/>
                    <a:pt x="101" y="48"/>
                  </a:cubicBezTo>
                  <a:cubicBezTo>
                    <a:pt x="105" y="40"/>
                    <a:pt x="105" y="40"/>
                    <a:pt x="105" y="40"/>
                  </a:cubicBezTo>
                  <a:cubicBezTo>
                    <a:pt x="104" y="30"/>
                    <a:pt x="104" y="30"/>
                    <a:pt x="104" y="30"/>
                  </a:cubicBezTo>
                  <a:cubicBezTo>
                    <a:pt x="110" y="30"/>
                    <a:pt x="117" y="28"/>
                    <a:pt x="122" y="23"/>
                  </a:cubicBezTo>
                  <a:cubicBezTo>
                    <a:pt x="129" y="23"/>
                    <a:pt x="129" y="23"/>
                    <a:pt x="129" y="23"/>
                  </a:cubicBezTo>
                  <a:cubicBezTo>
                    <a:pt x="139" y="13"/>
                    <a:pt x="139" y="13"/>
                    <a:pt x="139" y="13"/>
                  </a:cubicBezTo>
                  <a:cubicBezTo>
                    <a:pt x="149" y="16"/>
                    <a:pt x="149" y="16"/>
                    <a:pt x="149" y="16"/>
                  </a:cubicBezTo>
                  <a:cubicBezTo>
                    <a:pt x="152" y="13"/>
                    <a:pt x="152" y="13"/>
                    <a:pt x="152" y="13"/>
                  </a:cubicBezTo>
                  <a:cubicBezTo>
                    <a:pt x="155" y="24"/>
                    <a:pt x="155" y="24"/>
                    <a:pt x="155" y="24"/>
                  </a:cubicBezTo>
                  <a:cubicBezTo>
                    <a:pt x="161" y="29"/>
                    <a:pt x="161" y="29"/>
                    <a:pt x="161" y="29"/>
                  </a:cubicBezTo>
                  <a:cubicBezTo>
                    <a:pt x="166" y="43"/>
                    <a:pt x="171" y="54"/>
                    <a:pt x="177" y="66"/>
                  </a:cubicBezTo>
                  <a:cubicBezTo>
                    <a:pt x="175" y="71"/>
                    <a:pt x="175" y="71"/>
                    <a:pt x="175" y="71"/>
                  </a:cubicBezTo>
                  <a:cubicBezTo>
                    <a:pt x="185" y="84"/>
                    <a:pt x="185" y="84"/>
                    <a:pt x="185" y="84"/>
                  </a:cubicBezTo>
                  <a:cubicBezTo>
                    <a:pt x="185" y="90"/>
                    <a:pt x="185" y="90"/>
                    <a:pt x="185" y="90"/>
                  </a:cubicBezTo>
                  <a:cubicBezTo>
                    <a:pt x="194" y="93"/>
                    <a:pt x="202" y="97"/>
                    <a:pt x="210" y="102"/>
                  </a:cubicBezTo>
                  <a:cubicBezTo>
                    <a:pt x="214" y="114"/>
                    <a:pt x="217" y="125"/>
                    <a:pt x="219" y="138"/>
                  </a:cubicBezTo>
                  <a:cubicBezTo>
                    <a:pt x="233" y="148"/>
                    <a:pt x="233" y="148"/>
                    <a:pt x="233" y="148"/>
                  </a:cubicBezTo>
                  <a:cubicBezTo>
                    <a:pt x="235" y="138"/>
                    <a:pt x="235" y="138"/>
                    <a:pt x="235" y="138"/>
                  </a:cubicBezTo>
                  <a:cubicBezTo>
                    <a:pt x="241" y="139"/>
                    <a:pt x="246" y="143"/>
                    <a:pt x="251" y="148"/>
                  </a:cubicBezTo>
                  <a:cubicBezTo>
                    <a:pt x="260" y="128"/>
                    <a:pt x="258" y="87"/>
                    <a:pt x="238" y="73"/>
                  </a:cubicBezTo>
                  <a:cubicBezTo>
                    <a:pt x="240" y="64"/>
                    <a:pt x="240" y="64"/>
                    <a:pt x="240" y="64"/>
                  </a:cubicBezTo>
                  <a:cubicBezTo>
                    <a:pt x="246" y="62"/>
                    <a:pt x="250" y="59"/>
                    <a:pt x="252" y="53"/>
                  </a:cubicBezTo>
                  <a:cubicBezTo>
                    <a:pt x="246" y="37"/>
                    <a:pt x="246" y="37"/>
                    <a:pt x="246" y="37"/>
                  </a:cubicBezTo>
                  <a:cubicBezTo>
                    <a:pt x="252" y="24"/>
                    <a:pt x="266" y="24"/>
                    <a:pt x="278" y="22"/>
                  </a:cubicBezTo>
                  <a:cubicBezTo>
                    <a:pt x="289" y="27"/>
                    <a:pt x="289" y="27"/>
                    <a:pt x="289" y="27"/>
                  </a:cubicBezTo>
                  <a:cubicBezTo>
                    <a:pt x="288" y="21"/>
                    <a:pt x="288" y="21"/>
                    <a:pt x="288" y="21"/>
                  </a:cubicBezTo>
                  <a:cubicBezTo>
                    <a:pt x="300" y="30"/>
                    <a:pt x="300" y="30"/>
                    <a:pt x="300" y="30"/>
                  </a:cubicBezTo>
                  <a:cubicBezTo>
                    <a:pt x="296" y="18"/>
                    <a:pt x="297" y="12"/>
                    <a:pt x="299" y="0"/>
                  </a:cubicBezTo>
                  <a:cubicBezTo>
                    <a:pt x="310" y="6"/>
                    <a:pt x="312" y="17"/>
                    <a:pt x="318" y="26"/>
                  </a:cubicBezTo>
                  <a:cubicBezTo>
                    <a:pt x="323" y="34"/>
                    <a:pt x="332" y="40"/>
                    <a:pt x="334" y="50"/>
                  </a:cubicBezTo>
                  <a:cubicBezTo>
                    <a:pt x="327" y="67"/>
                    <a:pt x="327" y="67"/>
                    <a:pt x="327" y="67"/>
                  </a:cubicBezTo>
                  <a:cubicBezTo>
                    <a:pt x="332" y="71"/>
                    <a:pt x="332" y="71"/>
                    <a:pt x="332" y="71"/>
                  </a:cubicBezTo>
                  <a:cubicBezTo>
                    <a:pt x="334" y="84"/>
                    <a:pt x="334" y="84"/>
                    <a:pt x="334" y="84"/>
                  </a:cubicBezTo>
                  <a:cubicBezTo>
                    <a:pt x="332" y="92"/>
                    <a:pt x="325" y="99"/>
                    <a:pt x="317" y="102"/>
                  </a:cubicBezTo>
                  <a:cubicBezTo>
                    <a:pt x="318" y="114"/>
                    <a:pt x="318" y="114"/>
                    <a:pt x="318" y="114"/>
                  </a:cubicBezTo>
                  <a:cubicBezTo>
                    <a:pt x="333" y="126"/>
                    <a:pt x="350" y="140"/>
                    <a:pt x="345" y="163"/>
                  </a:cubicBezTo>
                  <a:cubicBezTo>
                    <a:pt x="334" y="169"/>
                    <a:pt x="333" y="186"/>
                    <a:pt x="330" y="197"/>
                  </a:cubicBezTo>
                  <a:cubicBezTo>
                    <a:pt x="339" y="207"/>
                    <a:pt x="355" y="209"/>
                    <a:pt x="359" y="223"/>
                  </a:cubicBezTo>
                  <a:cubicBezTo>
                    <a:pt x="353" y="231"/>
                    <a:pt x="354" y="241"/>
                    <a:pt x="353" y="250"/>
                  </a:cubicBezTo>
                  <a:cubicBezTo>
                    <a:pt x="359" y="254"/>
                    <a:pt x="359" y="254"/>
                    <a:pt x="359" y="254"/>
                  </a:cubicBezTo>
                  <a:cubicBezTo>
                    <a:pt x="365" y="269"/>
                    <a:pt x="365" y="269"/>
                    <a:pt x="365" y="269"/>
                  </a:cubicBezTo>
                  <a:cubicBezTo>
                    <a:pt x="382" y="276"/>
                    <a:pt x="382" y="276"/>
                    <a:pt x="382" y="276"/>
                  </a:cubicBezTo>
                  <a:cubicBezTo>
                    <a:pt x="386" y="293"/>
                    <a:pt x="389" y="300"/>
                    <a:pt x="403" y="311"/>
                  </a:cubicBezTo>
                  <a:cubicBezTo>
                    <a:pt x="416" y="321"/>
                    <a:pt x="418" y="330"/>
                    <a:pt x="420" y="347"/>
                  </a:cubicBezTo>
                  <a:cubicBezTo>
                    <a:pt x="424" y="377"/>
                    <a:pt x="419" y="407"/>
                    <a:pt x="413" y="437"/>
                  </a:cubicBezTo>
                  <a:cubicBezTo>
                    <a:pt x="391" y="443"/>
                    <a:pt x="369" y="446"/>
                    <a:pt x="348" y="453"/>
                  </a:cubicBezTo>
                  <a:cubicBezTo>
                    <a:pt x="331" y="459"/>
                    <a:pt x="316" y="471"/>
                    <a:pt x="299" y="474"/>
                  </a:cubicBezTo>
                  <a:cubicBezTo>
                    <a:pt x="288" y="476"/>
                    <a:pt x="276" y="473"/>
                    <a:pt x="264" y="475"/>
                  </a:cubicBezTo>
                  <a:cubicBezTo>
                    <a:pt x="253" y="477"/>
                    <a:pt x="243" y="483"/>
                    <a:pt x="232" y="485"/>
                  </a:cubicBezTo>
                  <a:cubicBezTo>
                    <a:pt x="212" y="490"/>
                    <a:pt x="195" y="479"/>
                    <a:pt x="177" y="471"/>
                  </a:cubicBezTo>
                  <a:cubicBezTo>
                    <a:pt x="184" y="458"/>
                    <a:pt x="204" y="443"/>
                    <a:pt x="204" y="428"/>
                  </a:cubicBezTo>
                  <a:cubicBezTo>
                    <a:pt x="202" y="424"/>
                    <a:pt x="202" y="424"/>
                    <a:pt x="202" y="424"/>
                  </a:cubicBezTo>
                  <a:cubicBezTo>
                    <a:pt x="176" y="424"/>
                    <a:pt x="133" y="432"/>
                    <a:pt x="111" y="419"/>
                  </a:cubicBezTo>
                  <a:cubicBezTo>
                    <a:pt x="62" y="433"/>
                    <a:pt x="62" y="433"/>
                    <a:pt x="62" y="433"/>
                  </a:cubicBezTo>
                  <a:cubicBezTo>
                    <a:pt x="52" y="424"/>
                    <a:pt x="36" y="425"/>
                    <a:pt x="24" y="417"/>
                  </a:cubicBezTo>
                  <a:lnTo>
                    <a:pt x="23" y="413"/>
                  </a:lnTo>
                  <a:close/>
                </a:path>
              </a:pathLst>
            </a:custGeom>
            <a:grpFill/>
            <a:ln w="7938" cap="rnd">
              <a:solidFill>
                <a:schemeClr val="accent1"/>
              </a:solidFill>
              <a:prstDash val="solid"/>
              <a:round/>
              <a:headEnd/>
              <a:tailEnd/>
            </a:ln>
          </p:spPr>
          <p:txBody>
            <a:bodyPr/>
            <a:lstStyle/>
            <a:p>
              <a:endParaRPr lang="ru-RU"/>
            </a:p>
          </p:txBody>
        </p:sp>
      </p:grpSp>
    </p:spTree>
    <p:extLst>
      <p:ext uri="{BB962C8B-B14F-4D97-AF65-F5344CB8AC3E}">
        <p14:creationId xmlns:p14="http://schemas.microsoft.com/office/powerpoint/2010/main" val="1487171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9D35536-FE21-07AA-8C58-CB5F0DEF76E8}"/>
              </a:ext>
            </a:extLst>
          </p:cNvPr>
          <p:cNvGraphicFramePr>
            <a:graphicFrameLocks/>
          </p:cNvGraphicFramePr>
          <p:nvPr>
            <p:custDataLst>
              <p:tags r:id="rId1"/>
            </p:custDataLst>
            <p:extLst>
              <p:ext uri="{D42A27DB-BD31-4B8C-83A1-F6EECF244321}">
                <p14:modId xmlns:p14="http://schemas.microsoft.com/office/powerpoint/2010/main" val="1135068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0A6B435-B5EB-8686-F136-0E6BC74A9638}"/>
              </a:ext>
            </a:extLst>
          </p:cNvPr>
          <p:cNvSpPr>
            <a:spLocks noGrp="1"/>
          </p:cNvSpPr>
          <p:nvPr>
            <p:ph type="title"/>
          </p:nvPr>
        </p:nvSpPr>
        <p:spPr>
          <a:xfrm>
            <a:off x="334963" y="513568"/>
            <a:ext cx="11718492" cy="754846"/>
          </a:xfrm>
        </p:spPr>
        <p:txBody>
          <a:bodyPr vert="horz" rIns="91440"/>
          <a:lstStyle/>
          <a:p>
            <a:r>
              <a:rPr lang="en-US" dirty="0"/>
              <a:t>Geothermal storage for electricity has relatively lower technological readiness compared with heating and cooling applications</a:t>
            </a:r>
          </a:p>
        </p:txBody>
      </p:sp>
      <p:sp>
        <p:nvSpPr>
          <p:cNvPr id="4" name="Footer Placeholder 3">
            <a:extLst>
              <a:ext uri="{FF2B5EF4-FFF2-40B4-BE49-F238E27FC236}">
                <a16:creationId xmlns:a16="http://schemas.microsoft.com/office/drawing/2014/main" id="{A8ED243B-C2D9-5284-A40A-C18B9207D584}"/>
              </a:ext>
            </a:extLst>
          </p:cNvPr>
          <p:cNvSpPr>
            <a:spLocks noGrp="1"/>
          </p:cNvSpPr>
          <p:nvPr>
            <p:ph type="ftr" sz="quarter" idx="3"/>
          </p:nvPr>
        </p:nvSpPr>
        <p:spPr/>
        <p:txBody>
          <a:bodyPr/>
          <a:lstStyle/>
          <a:p>
            <a:r>
              <a:rPr lang="en-US" dirty="0">
                <a:solidFill>
                  <a:srgbClr val="000000"/>
                </a:solidFill>
              </a:rPr>
              <a:t>Sourc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A review of Geological Thermal Energy Storage for seasonal, grid-scale dispatching</a:t>
            </a:r>
            <a:r>
              <a:rPr lang="en-US" dirty="0">
                <a:solidFill>
                  <a:srgbClr val="000000"/>
                </a:solidFill>
              </a:rPr>
              <a:t> (Renewable and Sustainable Energy Reviews, 2025</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EarthBridg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Quidne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Sage</a:t>
            </a:r>
            <a:r>
              <a:rPr kumimoji="0" lang="en-US" sz="800" b="0" i="0" u="none" strike="noStrike" kern="1200" cap="none" spc="0" normalizeH="0" baseline="0" noProof="0" dirty="0">
                <a:ln>
                  <a:noFill/>
                </a:ln>
                <a:solidFill>
                  <a:srgbClr val="000000"/>
                </a:solidFill>
                <a:effectLst/>
                <a:uLnTx/>
                <a:uFillTx/>
                <a:latin typeface="Arial"/>
                <a:ea typeface="+mn-ea"/>
                <a:cs typeface="+mn-cs"/>
              </a:rPr>
              <a:t>.</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Sevgi Hel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Tilkicioglu</a:t>
            </a:r>
            <a:r>
              <a:rPr kumimoji="0" lang="en-US" sz="800" b="0" i="0" u="none" strike="noStrike" kern="1200" cap="none" spc="0" normalizeH="0" baseline="0" noProof="0" dirty="0">
                <a:ln>
                  <a:noFill/>
                </a:ln>
                <a:solidFill>
                  <a:srgbClr val="000000"/>
                </a:solidFill>
                <a:effectLst/>
                <a:uLnTx/>
                <a:uFillTx/>
                <a:latin typeface="Arial"/>
                <a:ea typeface="+mn-ea"/>
                <a:cs typeface="+mn-cs"/>
              </a:rPr>
              <a:t>, Isabel Hoyos, and </a:t>
            </a:r>
            <a:r>
              <a:rPr lang="en-US" dirty="0">
                <a:solidFill>
                  <a:srgbClr val="000000">
                    <a:tint val="82000"/>
                  </a:srgbClr>
                </a:solidFill>
                <a:hlinkClick r:id="rId9"/>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1">
            <a:extLst>
              <a:ext uri="{FF2B5EF4-FFF2-40B4-BE49-F238E27FC236}">
                <a16:creationId xmlns:a16="http://schemas.microsoft.com/office/drawing/2014/main" id="{C15286B9-6014-EB8F-2274-A77942988144}"/>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Storage technology</a:t>
            </a:r>
          </a:p>
        </p:txBody>
      </p:sp>
      <p:graphicFrame>
        <p:nvGraphicFramePr>
          <p:cNvPr id="10" name="Table 9">
            <a:extLst>
              <a:ext uri="{FF2B5EF4-FFF2-40B4-BE49-F238E27FC236}">
                <a16:creationId xmlns:a16="http://schemas.microsoft.com/office/drawing/2014/main" id="{8D26AAFE-B09D-5C0A-7BCC-F8C88495F145}"/>
              </a:ext>
            </a:extLst>
          </p:cNvPr>
          <p:cNvGraphicFramePr>
            <a:graphicFrameLocks noGrp="1"/>
          </p:cNvGraphicFramePr>
          <p:nvPr>
            <p:extLst>
              <p:ext uri="{D42A27DB-BD31-4B8C-83A1-F6EECF244321}">
                <p14:modId xmlns:p14="http://schemas.microsoft.com/office/powerpoint/2010/main" val="3921655151"/>
              </p:ext>
            </p:extLst>
          </p:nvPr>
        </p:nvGraphicFramePr>
        <p:xfrm>
          <a:off x="334962" y="1472543"/>
          <a:ext cx="11419562" cy="4738846"/>
        </p:xfrm>
        <a:graphic>
          <a:graphicData uri="http://schemas.openxmlformats.org/drawingml/2006/table">
            <a:tbl>
              <a:tblPr firstRow="1" bandRow="1">
                <a:tableStyleId>{2D5ABB26-0587-4C30-8999-92F81FD0307C}</a:tableStyleId>
              </a:tblPr>
              <a:tblGrid>
                <a:gridCol w="2113998">
                  <a:extLst>
                    <a:ext uri="{9D8B030D-6E8A-4147-A177-3AD203B41FA5}">
                      <a16:colId xmlns:a16="http://schemas.microsoft.com/office/drawing/2014/main" val="1209005246"/>
                    </a:ext>
                  </a:extLst>
                </a:gridCol>
                <a:gridCol w="4652782">
                  <a:extLst>
                    <a:ext uri="{9D8B030D-6E8A-4147-A177-3AD203B41FA5}">
                      <a16:colId xmlns:a16="http://schemas.microsoft.com/office/drawing/2014/main" val="3599612213"/>
                    </a:ext>
                  </a:extLst>
                </a:gridCol>
                <a:gridCol w="4652782">
                  <a:extLst>
                    <a:ext uri="{9D8B030D-6E8A-4147-A177-3AD203B41FA5}">
                      <a16:colId xmlns:a16="http://schemas.microsoft.com/office/drawing/2014/main" val="1085159325"/>
                    </a:ext>
                  </a:extLst>
                </a:gridCol>
              </a:tblGrid>
              <a:tr h="507650">
                <a:tc>
                  <a:txBody>
                    <a:bodyPr/>
                    <a:lstStyle/>
                    <a:p>
                      <a:pPr marL="0" indent="0">
                        <a:buNone/>
                      </a:pPr>
                      <a:r>
                        <a:rPr lang="en-US" sz="1200" b="1" dirty="0">
                          <a:solidFill>
                            <a:schemeClr val="tx1"/>
                          </a:solidFill>
                        </a:rPr>
                        <a:t> </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i="0" u="none" strike="noStrike" kern="1200" dirty="0">
                          <a:solidFill>
                            <a:schemeClr val="bg1"/>
                          </a:solidFill>
                          <a:effectLst/>
                          <a:latin typeface="+mn-lt"/>
                          <a:ea typeface="+mn-ea"/>
                          <a:cs typeface="+mn-cs"/>
                        </a:rPr>
                        <a:t>High-temperature geological thermal</a:t>
                      </a:r>
                      <a:br>
                        <a:rPr lang="en-US" sz="1400" b="1" i="0" u="none" strike="noStrike" kern="1200" dirty="0">
                          <a:solidFill>
                            <a:schemeClr val="bg1"/>
                          </a:solidFill>
                          <a:effectLst/>
                          <a:latin typeface="+mn-lt"/>
                          <a:ea typeface="+mn-ea"/>
                          <a:cs typeface="+mn-cs"/>
                        </a:rPr>
                      </a:br>
                      <a:r>
                        <a:rPr lang="en-US" sz="1400" b="1" i="0" u="none" strike="noStrike" kern="1200" dirty="0">
                          <a:solidFill>
                            <a:schemeClr val="bg1"/>
                          </a:solidFill>
                          <a:effectLst/>
                          <a:latin typeface="+mn-lt"/>
                          <a:ea typeface="+mn-ea"/>
                          <a:cs typeface="+mn-cs"/>
                        </a:rPr>
                        <a:t> energy storage</a:t>
                      </a:r>
                      <a:endParaRPr kumimoji="0" lang="en-US" sz="1400" b="1" i="0" u="none" strike="noStrike" kern="1200" cap="none" spc="0" normalizeH="0" baseline="0" noProof="0" dirty="0">
                        <a:ln>
                          <a:noFill/>
                        </a:ln>
                        <a:solidFill>
                          <a:schemeClr val="bg1"/>
                        </a:solidFill>
                        <a:effectLst/>
                        <a:uLnTx/>
                        <a:uFillTx/>
                        <a:latin typeface="+mn-lt"/>
                        <a:ea typeface="+mn-ea"/>
                        <a:cs typeface="+mn-cs"/>
                      </a:endParaRPr>
                    </a:p>
                  </a:txBody>
                  <a:tcPr anchor="ctr">
                    <a:lnR w="6350" cap="flat" cmpd="sng" algn="ctr">
                      <a:solidFill>
                        <a:schemeClr val="bg1"/>
                      </a:solidFill>
                      <a:prstDash val="solid"/>
                      <a:round/>
                      <a:headEnd type="none" w="med" len="med"/>
                      <a:tailEnd type="none" w="med" len="med"/>
                    </a:lnR>
                    <a:solidFill>
                      <a:schemeClr val="accent6"/>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1" i="0" u="none" strike="noStrike" kern="1200" dirty="0">
                          <a:solidFill>
                            <a:schemeClr val="bg1"/>
                          </a:solidFill>
                          <a:effectLst/>
                          <a:latin typeface="+mn-lt"/>
                          <a:ea typeface="+mn-ea"/>
                          <a:cs typeface="+mn-cs"/>
                        </a:rPr>
                        <a:t>Geomechanical energy storage</a:t>
                      </a:r>
                      <a:endParaRPr kumimoji="0" lang="en-US" sz="1400" b="1" i="0" u="none" strike="noStrike" kern="1200" cap="none" spc="0" normalizeH="0" baseline="0" noProof="0" dirty="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solidFill>
                      <a:schemeClr val="accent6"/>
                    </a:solidFill>
                  </a:tcPr>
                </a:tc>
                <a:extLst>
                  <a:ext uri="{0D108BD9-81ED-4DB2-BD59-A6C34878D82A}">
                    <a16:rowId xmlns:a16="http://schemas.microsoft.com/office/drawing/2014/main" val="1912434023"/>
                  </a:ext>
                </a:extLst>
              </a:tr>
              <a:tr h="387338">
                <a:tc>
                  <a:txBody>
                    <a:bodyPr/>
                    <a:lstStyle/>
                    <a:p>
                      <a:pPr marL="0" indent="0">
                        <a:buNone/>
                      </a:pPr>
                      <a:endParaRPr lang="en-US" sz="1200" b="1" dirty="0">
                        <a:solidFill>
                          <a:schemeClr val="tx1"/>
                        </a:solidFill>
                      </a:endParaRPr>
                    </a:p>
                  </a:txBody>
                  <a:tcPr>
                    <a:lnB w="3175" cap="flat" cmpd="sng" algn="ctr">
                      <a:solidFill>
                        <a:schemeClr val="tx1"/>
                      </a:solidFill>
                      <a:prstDash val="solid"/>
                      <a:round/>
                      <a:headEnd type="none" w="med" len="med"/>
                      <a:tailEnd type="none" w="med" len="med"/>
                    </a:lnB>
                  </a:tcPr>
                </a:tc>
                <a:tc>
                  <a:txBody>
                    <a:bodyPr/>
                    <a:lstStyle/>
                    <a:p>
                      <a:pPr marL="0" indent="0" algn="ctr">
                        <a:buNone/>
                      </a:pPr>
                      <a:r>
                        <a:rPr lang="en-US" sz="1400" b="1" i="0" u="none" strike="noStrike" kern="1200" dirty="0">
                          <a:solidFill>
                            <a:schemeClr val="tx1"/>
                          </a:solidFill>
                          <a:effectLst/>
                          <a:latin typeface="+mn-lt"/>
                          <a:ea typeface="+mn-ea"/>
                          <a:cs typeface="+mn-cs"/>
                        </a:rPr>
                        <a:t>Geological thermal energy storage</a:t>
                      </a:r>
                      <a:endParaRPr lang="en-US" sz="1400" b="1" dirty="0"/>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400" b="1" dirty="0"/>
                        <a:t>Geopressure sto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93161297"/>
                  </a:ext>
                </a:extLst>
              </a:tr>
              <a:tr h="925714">
                <a:tc>
                  <a:txBody>
                    <a:bodyPr/>
                    <a:lstStyle/>
                    <a:p>
                      <a:pPr marL="0" indent="0">
                        <a:buNone/>
                      </a:pPr>
                      <a:r>
                        <a:rPr lang="en-US" sz="12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0" i="0" u="none" strike="noStrike" kern="1200" dirty="0">
                          <a:solidFill>
                            <a:schemeClr val="tx1"/>
                          </a:solidFill>
                          <a:effectLst/>
                          <a:latin typeface="+mn-lt"/>
                          <a:ea typeface="+mn-ea"/>
                          <a:cs typeface="+mn-cs"/>
                        </a:rPr>
                        <a:t>Deep geologic reservoirs engineered to store </a:t>
                      </a:r>
                      <a:br>
                        <a:rPr lang="en-US" sz="1400" b="0" i="0" u="none" strike="noStrike" kern="1200" dirty="0">
                          <a:solidFill>
                            <a:schemeClr val="tx1"/>
                          </a:solidFill>
                          <a:effectLst/>
                          <a:latin typeface="+mn-lt"/>
                          <a:ea typeface="+mn-ea"/>
                          <a:cs typeface="+mn-cs"/>
                        </a:rPr>
                      </a:br>
                      <a:r>
                        <a:rPr lang="en-US" sz="1400" b="0" i="0" u="none" strike="noStrike" kern="1200" dirty="0">
                          <a:solidFill>
                            <a:schemeClr val="tx1"/>
                          </a:solidFill>
                          <a:effectLst/>
                          <a:latin typeface="+mn-lt"/>
                          <a:ea typeface="+mn-ea"/>
                          <a:cs typeface="+mn-cs"/>
                        </a:rPr>
                        <a:t>high-temperature heat (often charged by solar or intermittent resources) and discharge as firm power and/or industrial heat</a:t>
                      </a:r>
                      <a:endParaRPr lang="en-US" sz="1400" dirty="0"/>
                    </a:p>
                  </a:txBody>
                  <a:tcPr anchor="ct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400" b="0" i="0" u="none" strike="noStrike" kern="1200" dirty="0">
                          <a:solidFill>
                            <a:schemeClr val="tx1"/>
                          </a:solidFill>
                          <a:effectLst/>
                          <a:latin typeface="+mn-lt"/>
                          <a:ea typeface="+mn-ea"/>
                          <a:cs typeface="+mn-cs"/>
                        </a:rPr>
                        <a:t>Subsurface reservoirs that store energy as pressurized water in rock and release it through turbin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791720535"/>
                  </a:ext>
                </a:extLst>
              </a:tr>
              <a:tr h="466879">
                <a:tc>
                  <a:txBody>
                    <a:bodyPr/>
                    <a:lstStyle/>
                    <a:p>
                      <a:pPr marL="0" indent="0">
                        <a:buNone/>
                      </a:pPr>
                      <a:r>
                        <a:rPr lang="en-US" sz="1200" b="1" dirty="0"/>
                        <a:t>Usage are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400" b="0" i="0" u="none" strike="noStrike" kern="1200" dirty="0">
                          <a:solidFill>
                            <a:schemeClr val="tx1"/>
                          </a:solidFill>
                          <a:effectLst/>
                          <a:latin typeface="+mn-lt"/>
                          <a:ea typeface="+mn-ea"/>
                          <a:cs typeface="+mn-cs"/>
                        </a:rPr>
                        <a:t>Multi-hour to seasonal storage of electricity and heat</a:t>
                      </a:r>
                      <a:endParaRPr lang="en-US" sz="1400" dirty="0"/>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400" b="0" i="0" u="none" strike="noStrike" kern="1200" dirty="0">
                          <a:solidFill>
                            <a:schemeClr val="tx1"/>
                          </a:solidFill>
                          <a:effectLst/>
                          <a:latin typeface="+mn-lt"/>
                          <a:ea typeface="+mn-ea"/>
                          <a:cs typeface="+mn-cs"/>
                        </a:rPr>
                        <a:t>Multi-hour to seasonal storage of electricity and heat</a:t>
                      </a:r>
                      <a:endParaRPr lang="en-US" sz="14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25383279"/>
                  </a:ext>
                </a:extLst>
              </a:tr>
              <a:tr h="447926">
                <a:tc>
                  <a:txBody>
                    <a:bodyPr/>
                    <a:lstStyle/>
                    <a:p>
                      <a:pPr marL="0" indent="0">
                        <a:buNone/>
                      </a:pPr>
                      <a:r>
                        <a:rPr lang="en-US" sz="1200" b="1" i="0" u="none" strike="noStrike" kern="1200" dirty="0">
                          <a:solidFill>
                            <a:schemeClr val="tx1"/>
                          </a:solidFill>
                          <a:effectLst/>
                          <a:latin typeface="+mn-lt"/>
                          <a:ea typeface="+mn-ea"/>
                          <a:cs typeface="+mn-cs"/>
                        </a:rPr>
                        <a:t>Grid-scale long-duration storage</a:t>
                      </a:r>
                      <a:endParaRPr lang="en-US" sz="12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400" dirty="0"/>
                        <a:t>Ye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400" dirty="0"/>
                        <a:t>Y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87815052"/>
                  </a:ext>
                </a:extLst>
              </a:tr>
              <a:tr h="507650">
                <a:tc>
                  <a:txBody>
                    <a:bodyPr/>
                    <a:lstStyle/>
                    <a:p>
                      <a:pPr marL="0" indent="0">
                        <a:buNone/>
                      </a:pPr>
                      <a:r>
                        <a:rPr lang="en-US" sz="1200" b="1" dirty="0"/>
                        <a:t>Depth</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400" b="0" i="0" u="none" strike="noStrike" kern="1200" dirty="0">
                          <a:solidFill>
                            <a:schemeClr val="tx1"/>
                          </a:solidFill>
                          <a:effectLst/>
                          <a:latin typeface="+mn-lt"/>
                          <a:ea typeface="+mn-ea"/>
                          <a:cs typeface="+mn-cs"/>
                        </a:rPr>
                        <a:t>Deep ~500-3,000 meters</a:t>
                      </a:r>
                      <a:endParaRPr lang="en-US" sz="1400" dirty="0"/>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600"/>
                        </a:spcBef>
                        <a:buNone/>
                      </a:pPr>
                      <a:r>
                        <a:rPr lang="en-US" sz="1400" b="0" i="0" u="none" strike="noStrike" kern="1200" dirty="0">
                          <a:solidFill>
                            <a:schemeClr val="tx1"/>
                          </a:solidFill>
                          <a:effectLst/>
                          <a:latin typeface="+mn-lt"/>
                          <a:ea typeface="+mn-ea"/>
                          <a:cs typeface="+mn-cs"/>
                        </a:rPr>
                        <a:t>Shallow to deep: ~500-2,500 meters </a:t>
                      </a:r>
                      <a:br>
                        <a:rPr lang="en-US" sz="1400" b="0" i="0" u="none" strike="noStrike" kern="1200" dirty="0">
                          <a:solidFill>
                            <a:schemeClr val="tx1"/>
                          </a:solidFill>
                          <a:effectLst/>
                          <a:latin typeface="+mn-lt"/>
                          <a:ea typeface="+mn-ea"/>
                          <a:cs typeface="+mn-cs"/>
                        </a:rPr>
                      </a:br>
                      <a:r>
                        <a:rPr lang="en-US" sz="1400" b="0" i="0" u="none" strike="noStrike" kern="1200" dirty="0">
                          <a:solidFill>
                            <a:schemeClr val="tx1"/>
                          </a:solidFill>
                          <a:effectLst/>
                          <a:latin typeface="+mn-lt"/>
                          <a:ea typeface="+mn-ea"/>
                          <a:cs typeface="+mn-cs"/>
                        </a:rPr>
                        <a:t>(formation dependent)</a:t>
                      </a:r>
                      <a:endParaRPr lang="en-US" sz="1400" dirty="0">
                        <a:solidFill>
                          <a:schemeClr val="tx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964313410"/>
                  </a:ext>
                </a:extLst>
              </a:tr>
              <a:tr h="507650">
                <a:tc>
                  <a:txBody>
                    <a:bodyPr/>
                    <a:lstStyle/>
                    <a:p>
                      <a:pPr marL="0" indent="0">
                        <a:buNone/>
                      </a:pPr>
                      <a:r>
                        <a:rPr lang="en-US" sz="1200" b="1" dirty="0"/>
                        <a:t>Temperatur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400" b="0" i="0" u="none" strike="noStrike" kern="1200" dirty="0">
                          <a:solidFill>
                            <a:schemeClr val="tx1"/>
                          </a:solidFill>
                          <a:effectLst/>
                          <a:latin typeface="+mn-lt"/>
                          <a:ea typeface="+mn-ea"/>
                          <a:cs typeface="+mn-cs"/>
                        </a:rPr>
                        <a:t>&lt; 80-250°C</a:t>
                      </a:r>
                      <a:endParaRPr lang="en-US" sz="1400" dirty="0"/>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600"/>
                        </a:spcBef>
                        <a:buNone/>
                      </a:pPr>
                      <a:r>
                        <a:rPr lang="en-US" sz="1400" b="0" i="0" u="none" strike="noStrike" kern="1200" dirty="0">
                          <a:solidFill>
                            <a:schemeClr val="tx1"/>
                          </a:solidFill>
                          <a:effectLst/>
                          <a:latin typeface="+mn-lt"/>
                          <a:ea typeface="+mn-ea"/>
                          <a:cs typeface="+mn-cs"/>
                        </a:rPr>
                        <a:t>Not temperature-driven; energy stored as pressure, </a:t>
                      </a:r>
                      <a:br>
                        <a:rPr lang="en-US" sz="1400" b="0" i="0" u="none" strike="noStrike" kern="1200" dirty="0">
                          <a:solidFill>
                            <a:schemeClr val="tx1"/>
                          </a:solidFill>
                          <a:effectLst/>
                          <a:latin typeface="+mn-lt"/>
                          <a:ea typeface="+mn-ea"/>
                          <a:cs typeface="+mn-cs"/>
                        </a:rPr>
                      </a:br>
                      <a:r>
                        <a:rPr lang="en-US" sz="1400" b="0" i="0" u="none" strike="noStrike" kern="1200" dirty="0">
                          <a:solidFill>
                            <a:schemeClr val="tx1"/>
                          </a:solidFill>
                          <a:effectLst/>
                          <a:latin typeface="+mn-lt"/>
                          <a:ea typeface="+mn-ea"/>
                          <a:cs typeface="+mn-cs"/>
                        </a:rPr>
                        <a:t>not heat</a:t>
                      </a:r>
                      <a:endParaRPr lang="en-US" sz="1400" dirty="0">
                        <a:solidFill>
                          <a:schemeClr val="tx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79426727"/>
                  </a:ext>
                </a:extLst>
              </a:tr>
              <a:tr h="928069">
                <a:tc>
                  <a:txBody>
                    <a:bodyPr/>
                    <a:lstStyle/>
                    <a:p>
                      <a:pPr marL="0" indent="0">
                        <a:buNone/>
                      </a:pPr>
                      <a:r>
                        <a:rPr lang="en-US" sz="1200" b="1" dirty="0"/>
                        <a:t>Example project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ctr"/>
                      <a:r>
                        <a:rPr lang="en-US" sz="1400" b="0" dirty="0" err="1">
                          <a:solidFill>
                            <a:schemeClr val="tx1"/>
                          </a:solidFill>
                        </a:rPr>
                        <a:t>EarthBridge</a:t>
                      </a:r>
                      <a:r>
                        <a:rPr lang="en-US" sz="1400" b="0" dirty="0">
                          <a:solidFill>
                            <a:schemeClr val="tx1"/>
                          </a:solidFill>
                        </a:rPr>
                        <a:t> Energy (Texas)</a:t>
                      </a:r>
                    </a:p>
                    <a:p>
                      <a:pPr marL="177800" indent="-177800" algn="ctr"/>
                      <a:r>
                        <a:rPr lang="en-US" sz="1400" b="0" dirty="0" err="1">
                          <a:solidFill>
                            <a:schemeClr val="tx1"/>
                          </a:solidFill>
                        </a:rPr>
                        <a:t>GeoBattery</a:t>
                      </a:r>
                      <a:r>
                        <a:rPr lang="en-US" sz="1400" b="0" dirty="0">
                          <a:solidFill>
                            <a:schemeClr val="tx1"/>
                          </a:solidFill>
                        </a:rPr>
                        <a:t> (West Texa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lvl="0" indent="-177800" algn="ctr" defTabSz="711200" rtl="0" eaLnBrk="1" fontAlgn="auto" latinLnBrk="0" hangingPunct="1">
                        <a:lnSpc>
                          <a:spcPct val="100000"/>
                        </a:lnSpc>
                        <a:spcBef>
                          <a:spcPts val="1200"/>
                        </a:spcBef>
                        <a:spcAft>
                          <a:spcPts val="0"/>
                        </a:spcAft>
                        <a:buClrTx/>
                        <a:buSzTx/>
                        <a:tabLst/>
                        <a:defRPr/>
                      </a:pPr>
                      <a:r>
                        <a:rPr lang="en-US" sz="1400" b="0" i="0" u="none" strike="noStrike" kern="1200" dirty="0" err="1">
                          <a:solidFill>
                            <a:schemeClr val="tx1"/>
                          </a:solidFill>
                          <a:effectLst/>
                          <a:latin typeface="+mn-lt"/>
                          <a:ea typeface="+mn-ea"/>
                          <a:cs typeface="+mn-cs"/>
                        </a:rPr>
                        <a:t>Quidnet</a:t>
                      </a:r>
                      <a:r>
                        <a:rPr lang="en-US" sz="1400" b="0" i="0" u="none" strike="noStrike" kern="1200" dirty="0">
                          <a:solidFill>
                            <a:schemeClr val="tx1"/>
                          </a:solidFill>
                          <a:effectLst/>
                          <a:latin typeface="+mn-lt"/>
                          <a:ea typeface="+mn-ea"/>
                          <a:cs typeface="+mn-cs"/>
                        </a:rPr>
                        <a:t> Energy (Texas)</a:t>
                      </a:r>
                    </a:p>
                    <a:p>
                      <a:pPr marL="177800" marR="0" lvl="0" indent="-177800" algn="ctr" defTabSz="711200" rtl="0" eaLnBrk="1" fontAlgn="auto" latinLnBrk="0" hangingPunct="1">
                        <a:lnSpc>
                          <a:spcPct val="100000"/>
                        </a:lnSpc>
                        <a:spcBef>
                          <a:spcPts val="1200"/>
                        </a:spcBef>
                        <a:spcAft>
                          <a:spcPts val="0"/>
                        </a:spcAft>
                        <a:buClrTx/>
                        <a:buSzTx/>
                        <a:tabLst/>
                        <a:defRPr/>
                      </a:pPr>
                      <a:r>
                        <a:rPr lang="en-US" sz="1400" b="0" i="0" u="none" strike="noStrike" kern="1200" dirty="0">
                          <a:solidFill>
                            <a:schemeClr val="tx1"/>
                          </a:solidFill>
                          <a:effectLst/>
                          <a:latin typeface="+mn-lt"/>
                          <a:ea typeface="+mn-ea"/>
                          <a:cs typeface="+mn-cs"/>
                        </a:rPr>
                        <a:t>Sage Geosystems (Texas)</a:t>
                      </a:r>
                      <a:endParaRPr lang="en-US" sz="1400" b="0" dirty="0">
                        <a:solidFill>
                          <a:schemeClr val="tx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851238842"/>
                  </a:ext>
                </a:extLst>
              </a:tr>
            </a:tbl>
          </a:graphicData>
        </a:graphic>
      </p:graphicFrame>
    </p:spTree>
    <p:extLst>
      <p:ext uri="{BB962C8B-B14F-4D97-AF65-F5344CB8AC3E}">
        <p14:creationId xmlns:p14="http://schemas.microsoft.com/office/powerpoint/2010/main" val="2778992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0E6CE1-7AE9-185E-C979-9038887336DD}"/>
              </a:ext>
            </a:extLst>
          </p:cNvPr>
          <p:cNvGraphicFramePr>
            <a:graphicFrameLocks/>
          </p:cNvGraphicFramePr>
          <p:nvPr>
            <p:custDataLst>
              <p:tags r:id="rId1"/>
            </p:custDataLst>
            <p:extLst>
              <p:ext uri="{D42A27DB-BD31-4B8C-83A1-F6EECF244321}">
                <p14:modId xmlns:p14="http://schemas.microsoft.com/office/powerpoint/2010/main" val="1032387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B0E6CE1-7AE9-185E-C979-9038887336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F6EC8E-4EAA-1F84-89E1-6EA97A30BF31}"/>
              </a:ext>
            </a:extLst>
          </p:cNvPr>
          <p:cNvSpPr>
            <a:spLocks noGrp="1"/>
          </p:cNvSpPr>
          <p:nvPr>
            <p:ph type="body" sz="quarter" idx="15"/>
          </p:nvPr>
        </p:nvSpPr>
        <p:spPr/>
        <p:txBody>
          <a:bodyPr>
            <a:normAutofit lnSpcReduction="10000"/>
          </a:bodyPr>
          <a:lstStyle/>
          <a:p>
            <a:r>
              <a:rPr lang="en-US" dirty="0">
                <a:solidFill>
                  <a:schemeClr val="bg1"/>
                </a:solidFill>
              </a:rPr>
              <a:t>Geothermal Opportunity</a:t>
            </a:r>
          </a:p>
        </p:txBody>
      </p:sp>
      <p:sp>
        <p:nvSpPr>
          <p:cNvPr id="3" name="Title 2">
            <a:extLst>
              <a:ext uri="{FF2B5EF4-FFF2-40B4-BE49-F238E27FC236}">
                <a16:creationId xmlns:a16="http://schemas.microsoft.com/office/drawing/2014/main" id="{90524EC7-D04F-2906-B483-795D7F9E32E5}"/>
              </a:ext>
            </a:extLst>
          </p:cNvPr>
          <p:cNvSpPr>
            <a:spLocks noGrp="1"/>
          </p:cNvSpPr>
          <p:nvPr>
            <p:ph type="title"/>
          </p:nvPr>
        </p:nvSpPr>
        <p:spPr>
          <a:xfrm>
            <a:off x="334962" y="513568"/>
            <a:ext cx="11643677" cy="754846"/>
          </a:xfrm>
        </p:spPr>
        <p:txBody>
          <a:bodyPr vert="horz" rIns="91440"/>
          <a:lstStyle/>
          <a:p>
            <a:r>
              <a:rPr lang="en-US" dirty="0">
                <a:ea typeface="+mj-lt"/>
                <a:cs typeface="+mj-lt"/>
              </a:rPr>
              <a:t>Geothermal energy technologies span heating &amp; cooling and power generation, with conventional approaches most widely deployed</a:t>
            </a:r>
            <a:endParaRPr lang="en-US" dirty="0"/>
          </a:p>
        </p:txBody>
      </p:sp>
      <p:cxnSp>
        <p:nvCxnSpPr>
          <p:cNvPr id="7" name="Elbow Connector 6">
            <a:extLst>
              <a:ext uri="{FF2B5EF4-FFF2-40B4-BE49-F238E27FC236}">
                <a16:creationId xmlns:a16="http://schemas.microsoft.com/office/drawing/2014/main" id="{64477813-AEB3-968C-DA6C-F0D2E7133A32}"/>
              </a:ext>
            </a:extLst>
          </p:cNvPr>
          <p:cNvCxnSpPr>
            <a:cxnSpLocks/>
          </p:cNvCxnSpPr>
          <p:nvPr/>
        </p:nvCxnSpPr>
        <p:spPr bwMode="gray">
          <a:xfrm rot="10800000" flipH="1" flipV="1">
            <a:off x="9396104"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9BCA6D36-FDDE-CCAB-165F-A03F128B098D}"/>
              </a:ext>
            </a:extLst>
          </p:cNvPr>
          <p:cNvCxnSpPr/>
          <p:nvPr/>
        </p:nvCxnSpPr>
        <p:spPr bwMode="gray">
          <a:xfrm rot="10800000" flipH="1" flipV="1">
            <a:off x="9396104"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418D253D-9B08-3275-4409-7905B7D63FDE}"/>
              </a:ext>
            </a:extLst>
          </p:cNvPr>
          <p:cNvCxnSpPr>
            <a:cxnSpLocks/>
          </p:cNvCxnSpPr>
          <p:nvPr/>
        </p:nvCxnSpPr>
        <p:spPr bwMode="gray">
          <a:xfrm rot="16200000" flipH="1">
            <a:off x="6464634" y="52269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12DD290-CB03-35F6-506A-59AB1600D3C2}"/>
              </a:ext>
            </a:extLst>
          </p:cNvPr>
          <p:cNvCxnSpPr>
            <a:cxnSpLocks/>
          </p:cNvCxnSpPr>
          <p:nvPr/>
        </p:nvCxnSpPr>
        <p:spPr bwMode="gray">
          <a:xfrm rot="16200000" flipH="1">
            <a:off x="6464634" y="56396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E5847081-2793-A37E-5411-2EC96ED9F268}"/>
              </a:ext>
            </a:extLst>
          </p:cNvPr>
          <p:cNvCxnSpPr>
            <a:cxnSpLocks/>
          </p:cNvCxnSpPr>
          <p:nvPr/>
        </p:nvCxnSpPr>
        <p:spPr bwMode="gray">
          <a:xfrm rot="16200000" flipH="1">
            <a:off x="6464634" y="364901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8EDBB389-4F79-49AB-5FA0-10B1164456FE}"/>
              </a:ext>
            </a:extLst>
          </p:cNvPr>
          <p:cNvCxnSpPr>
            <a:cxnSpLocks/>
          </p:cNvCxnSpPr>
          <p:nvPr/>
        </p:nvCxnSpPr>
        <p:spPr bwMode="gray">
          <a:xfrm rot="16200000" flipH="1">
            <a:off x="6464634" y="40580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3C6B1CD3-0C64-B425-75E7-67521C63748B}"/>
              </a:ext>
            </a:extLst>
          </p:cNvPr>
          <p:cNvCxnSpPr>
            <a:cxnSpLocks/>
          </p:cNvCxnSpPr>
          <p:nvPr/>
        </p:nvCxnSpPr>
        <p:spPr bwMode="gray">
          <a:xfrm rot="16200000" flipH="1">
            <a:off x="6464634" y="44707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4C8B3DF6-F35C-46BA-3AA9-9DF5D3703BA8}"/>
              </a:ext>
            </a:extLst>
          </p:cNvPr>
          <p:cNvCxnSpPr>
            <a:cxnSpLocks/>
            <a:endCxn id="32" idx="1"/>
          </p:cNvCxnSpPr>
          <p:nvPr/>
        </p:nvCxnSpPr>
        <p:spPr bwMode="gray">
          <a:xfrm rot="16200000" flipH="1">
            <a:off x="5670661" y="4280509"/>
            <a:ext cx="1646398" cy="105706"/>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93A1FE6F-BAE0-834C-CB1F-C734DA2CAA73}"/>
              </a:ext>
            </a:extLst>
          </p:cNvPr>
          <p:cNvCxnSpPr>
            <a:cxnSpLocks/>
            <a:stCxn id="36" idx="1"/>
            <a:endCxn id="21" idx="1"/>
          </p:cNvCxnSpPr>
          <p:nvPr/>
        </p:nvCxnSpPr>
        <p:spPr bwMode="gray">
          <a:xfrm rot="10800000" flipH="1" flipV="1">
            <a:off x="523875"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04937EC0-8D31-55F5-275F-9535CACC928D}"/>
              </a:ext>
            </a:extLst>
          </p:cNvPr>
          <p:cNvCxnSpPr>
            <a:stCxn id="36" idx="1"/>
            <a:endCxn id="22" idx="1"/>
          </p:cNvCxnSpPr>
          <p:nvPr/>
        </p:nvCxnSpPr>
        <p:spPr bwMode="gray">
          <a:xfrm rot="10800000" flipH="1" flipV="1">
            <a:off x="523875"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6B2ECEEA-6094-C028-C4D0-C332E3C8B099}"/>
              </a:ext>
            </a:extLst>
          </p:cNvPr>
          <p:cNvCxnSpPr>
            <a:cxnSpLocks/>
            <a:endCxn id="20" idx="1"/>
          </p:cNvCxnSpPr>
          <p:nvPr/>
        </p:nvCxnSpPr>
        <p:spPr bwMode="gray">
          <a:xfrm rot="16200000" flipH="1">
            <a:off x="3336993"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0A51EB4-96AB-827D-52E9-B93ECC0A0724}"/>
              </a:ext>
            </a:extLst>
          </p:cNvPr>
          <p:cNvSpPr txBox="1"/>
          <p:nvPr/>
        </p:nvSpPr>
        <p:spPr bwMode="gray">
          <a:xfrm>
            <a:off x="1286303" y="1452103"/>
            <a:ext cx="9619393" cy="354696"/>
          </a:xfrm>
          <a:prstGeom prst="rect">
            <a:avLst/>
          </a:prstGeom>
          <a:solidFill>
            <a:schemeClr val="bg2">
              <a:lumMod val="5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Key pathways for harnessing geothermal energy for heating &amp; cooling and power generation</a:t>
            </a:r>
          </a:p>
        </p:txBody>
      </p:sp>
      <p:sp>
        <p:nvSpPr>
          <p:cNvPr id="19" name="TextBox 18">
            <a:extLst>
              <a:ext uri="{FF2B5EF4-FFF2-40B4-BE49-F238E27FC236}">
                <a16:creationId xmlns:a16="http://schemas.microsoft.com/office/drawing/2014/main" id="{F0B149D9-4D55-5F86-24CC-59295624A085}"/>
              </a:ext>
            </a:extLst>
          </p:cNvPr>
          <p:cNvSpPr txBox="1"/>
          <p:nvPr/>
        </p:nvSpPr>
        <p:spPr bwMode="gray">
          <a:xfrm>
            <a:off x="6546713" y="2945638"/>
            <a:ext cx="2429386" cy="374904"/>
          </a:xfrm>
          <a:prstGeom prst="rect">
            <a:avLst/>
          </a:prstGeom>
          <a:solidFill>
            <a:schemeClr val="accent5">
              <a:lumMod val="60000"/>
              <a:lumOff val="40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Conventional/hydrothermal</a:t>
            </a:r>
            <a:endParaRPr lang="en-US" sz="1000" b="1" dirty="0">
              <a:solidFill>
                <a:schemeClr val="bg1"/>
              </a:solidFill>
              <a:cs typeface="Arial"/>
            </a:endParaRPr>
          </a:p>
        </p:txBody>
      </p:sp>
      <p:sp>
        <p:nvSpPr>
          <p:cNvPr id="20" name="TextBox 19">
            <a:extLst>
              <a:ext uri="{FF2B5EF4-FFF2-40B4-BE49-F238E27FC236}">
                <a16:creationId xmlns:a16="http://schemas.microsoft.com/office/drawing/2014/main" id="{A29E5EF8-A978-9672-3858-8E3112D589B2}"/>
              </a:ext>
            </a:extLst>
          </p:cNvPr>
          <p:cNvSpPr txBox="1"/>
          <p:nvPr/>
        </p:nvSpPr>
        <p:spPr bwMode="gray">
          <a:xfrm>
            <a:off x="3591616" y="2945638"/>
            <a:ext cx="2429386" cy="374904"/>
          </a:xfrm>
          <a:prstGeom prst="rect">
            <a:avLst/>
          </a:prstGeom>
          <a:solidFill>
            <a:schemeClr val="accent3">
              <a:lumMod val="60000"/>
              <a:lumOff val="40000"/>
            </a:schemeClr>
          </a:solidFill>
          <a:ln w="28575">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Underground thermal energy storage </a:t>
            </a:r>
            <a:endParaRPr lang="en-US" sz="1000" dirty="0">
              <a:solidFill>
                <a:schemeClr val="bg1"/>
              </a:solidFill>
              <a:cs typeface="Arial"/>
            </a:endParaRPr>
          </a:p>
        </p:txBody>
      </p:sp>
      <p:sp>
        <p:nvSpPr>
          <p:cNvPr id="21" name="TextBox 20">
            <a:extLst>
              <a:ext uri="{FF2B5EF4-FFF2-40B4-BE49-F238E27FC236}">
                <a16:creationId xmlns:a16="http://schemas.microsoft.com/office/drawing/2014/main" id="{3722E817-05C9-13B7-7245-4CAF4DA1BD6C}"/>
              </a:ext>
            </a:extLst>
          </p:cNvPr>
          <p:cNvSpPr txBox="1"/>
          <p:nvPr/>
        </p:nvSpPr>
        <p:spPr bwMode="gray">
          <a:xfrm>
            <a:off x="636519" y="2945638"/>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Geothermal heat pumps</a:t>
            </a:r>
          </a:p>
        </p:txBody>
      </p:sp>
      <p:sp>
        <p:nvSpPr>
          <p:cNvPr id="22" name="TextBox 21">
            <a:extLst>
              <a:ext uri="{FF2B5EF4-FFF2-40B4-BE49-F238E27FC236}">
                <a16:creationId xmlns:a16="http://schemas.microsoft.com/office/drawing/2014/main" id="{29050020-41C3-ADF2-5414-34E1E2BE9D74}"/>
              </a:ext>
            </a:extLst>
          </p:cNvPr>
          <p:cNvSpPr txBox="1"/>
          <p:nvPr/>
        </p:nvSpPr>
        <p:spPr bwMode="gray">
          <a:xfrm>
            <a:off x="636521" y="3352613"/>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Direct-use heat</a:t>
            </a:r>
          </a:p>
        </p:txBody>
      </p:sp>
      <p:sp>
        <p:nvSpPr>
          <p:cNvPr id="23" name="TextBox 22">
            <a:extLst>
              <a:ext uri="{FF2B5EF4-FFF2-40B4-BE49-F238E27FC236}">
                <a16:creationId xmlns:a16="http://schemas.microsoft.com/office/drawing/2014/main" id="{33805DF8-73F4-F602-DA66-6F392FEFE71F}"/>
              </a:ext>
            </a:extLst>
          </p:cNvPr>
          <p:cNvSpPr txBox="1"/>
          <p:nvPr/>
        </p:nvSpPr>
        <p:spPr bwMode="gray">
          <a:xfrm>
            <a:off x="3828288" y="335261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Borehole thermal energy storage</a:t>
            </a:r>
          </a:p>
        </p:txBody>
      </p:sp>
      <p:sp>
        <p:nvSpPr>
          <p:cNvPr id="24" name="TextBox 23">
            <a:extLst>
              <a:ext uri="{FF2B5EF4-FFF2-40B4-BE49-F238E27FC236}">
                <a16:creationId xmlns:a16="http://schemas.microsoft.com/office/drawing/2014/main" id="{BCCED0C8-4F78-FBBA-FDE9-BA74BD2133C0}"/>
              </a:ext>
            </a:extLst>
          </p:cNvPr>
          <p:cNvSpPr txBox="1"/>
          <p:nvPr/>
        </p:nvSpPr>
        <p:spPr bwMode="gray">
          <a:xfrm>
            <a:off x="3828288" y="3756737"/>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quifer thermal energy storage</a:t>
            </a:r>
          </a:p>
        </p:txBody>
      </p:sp>
      <p:sp>
        <p:nvSpPr>
          <p:cNvPr id="25" name="TextBox 24">
            <a:extLst>
              <a:ext uri="{FF2B5EF4-FFF2-40B4-BE49-F238E27FC236}">
                <a16:creationId xmlns:a16="http://schemas.microsoft.com/office/drawing/2014/main" id="{6C582D28-509C-A2C7-2C40-174EFCC5572A}"/>
              </a:ext>
            </a:extLst>
          </p:cNvPr>
          <p:cNvSpPr txBox="1"/>
          <p:nvPr/>
        </p:nvSpPr>
        <p:spPr bwMode="gray">
          <a:xfrm>
            <a:off x="3828288" y="4160861"/>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ine thermal energy storage</a:t>
            </a:r>
          </a:p>
        </p:txBody>
      </p:sp>
      <p:cxnSp>
        <p:nvCxnSpPr>
          <p:cNvPr id="26" name="Elbow Connector 25">
            <a:extLst>
              <a:ext uri="{FF2B5EF4-FFF2-40B4-BE49-F238E27FC236}">
                <a16:creationId xmlns:a16="http://schemas.microsoft.com/office/drawing/2014/main" id="{B631D0FE-ECC7-6BA2-2078-A948557B26B6}"/>
              </a:ext>
            </a:extLst>
          </p:cNvPr>
          <p:cNvCxnSpPr>
            <a:cxnSpLocks/>
            <a:stCxn id="35" idx="0"/>
            <a:endCxn id="18" idx="2"/>
          </p:cNvCxnSpPr>
          <p:nvPr/>
        </p:nvCxnSpPr>
        <p:spPr bwMode="gray">
          <a:xfrm rot="16200000" flipV="1">
            <a:off x="7519686" y="383114"/>
            <a:ext cx="233611" cy="3080982"/>
          </a:xfrm>
          <a:prstGeom prst="bentConnector3">
            <a:avLst>
              <a:gd name="adj1" fmla="val 45448"/>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9473811E-FB84-F120-6F2F-9F4DAA98FB8C}"/>
              </a:ext>
            </a:extLst>
          </p:cNvPr>
          <p:cNvCxnSpPr>
            <a:cxnSpLocks/>
            <a:stCxn id="18" idx="2"/>
            <a:endCxn id="34" idx="0"/>
          </p:cNvCxnSpPr>
          <p:nvPr/>
        </p:nvCxnSpPr>
        <p:spPr bwMode="gray">
          <a:xfrm rot="5400000">
            <a:off x="4529569" y="500870"/>
            <a:ext cx="260502" cy="2872360"/>
          </a:xfrm>
          <a:prstGeom prst="bentConnector3">
            <a:avLst>
              <a:gd name="adj1" fmla="val 50000"/>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CB888BA-E7C6-E058-BB4C-4121FFE8B9FA}"/>
              </a:ext>
            </a:extLst>
          </p:cNvPr>
          <p:cNvSpPr txBox="1"/>
          <p:nvPr/>
        </p:nvSpPr>
        <p:spPr bwMode="gray">
          <a:xfrm>
            <a:off x="6774609" y="3756737"/>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dvanced geothermal/</a:t>
            </a:r>
            <a:br>
              <a:rPr lang="en-US" sz="1000" dirty="0"/>
            </a:br>
            <a:r>
              <a:rPr lang="en-US" sz="1000" dirty="0"/>
              <a:t>closed-loop systems </a:t>
            </a:r>
          </a:p>
        </p:txBody>
      </p:sp>
      <p:sp>
        <p:nvSpPr>
          <p:cNvPr id="29" name="TextBox 28">
            <a:extLst>
              <a:ext uri="{FF2B5EF4-FFF2-40B4-BE49-F238E27FC236}">
                <a16:creationId xmlns:a16="http://schemas.microsoft.com/office/drawing/2014/main" id="{C38F65FE-DE7E-FA51-DF99-7F0B6242D105}"/>
              </a:ext>
            </a:extLst>
          </p:cNvPr>
          <p:cNvSpPr txBox="1"/>
          <p:nvPr/>
        </p:nvSpPr>
        <p:spPr bwMode="gray">
          <a:xfrm>
            <a:off x="6774609" y="4160861"/>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Enhanced geothermal systems</a:t>
            </a:r>
          </a:p>
        </p:txBody>
      </p:sp>
      <p:sp>
        <p:nvSpPr>
          <p:cNvPr id="30" name="TextBox 29">
            <a:extLst>
              <a:ext uri="{FF2B5EF4-FFF2-40B4-BE49-F238E27FC236}">
                <a16:creationId xmlns:a16="http://schemas.microsoft.com/office/drawing/2014/main" id="{38139D2E-27C7-F525-AB5A-1FBCD1226B1D}"/>
              </a:ext>
            </a:extLst>
          </p:cNvPr>
          <p:cNvSpPr txBox="1"/>
          <p:nvPr/>
        </p:nvSpPr>
        <p:spPr bwMode="gray">
          <a:xfrm>
            <a:off x="6546713" y="3352613"/>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Next-generation technologies </a:t>
            </a:r>
            <a:br>
              <a:rPr lang="en-US" sz="1000" b="1" dirty="0">
                <a:solidFill>
                  <a:schemeClr val="bg1"/>
                </a:solidFill>
              </a:rPr>
            </a:br>
            <a:r>
              <a:rPr lang="en-US" sz="1000" dirty="0">
                <a:solidFill>
                  <a:schemeClr val="bg1"/>
                </a:solidFill>
              </a:rPr>
              <a:t>(commercialization &lt;5 years)</a:t>
            </a:r>
          </a:p>
        </p:txBody>
      </p:sp>
      <p:sp>
        <p:nvSpPr>
          <p:cNvPr id="31" name="TextBox 30">
            <a:extLst>
              <a:ext uri="{FF2B5EF4-FFF2-40B4-BE49-F238E27FC236}">
                <a16:creationId xmlns:a16="http://schemas.microsoft.com/office/drawing/2014/main" id="{57A2F777-1BCF-1F2C-CAB2-DA2E2BF2EB05}"/>
              </a:ext>
            </a:extLst>
          </p:cNvPr>
          <p:cNvSpPr txBox="1"/>
          <p:nvPr/>
        </p:nvSpPr>
        <p:spPr bwMode="gray">
          <a:xfrm>
            <a:off x="6774609" y="5373233"/>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Superhot rock </a:t>
            </a:r>
          </a:p>
        </p:txBody>
      </p:sp>
      <p:sp>
        <p:nvSpPr>
          <p:cNvPr id="32" name="TextBox 31">
            <a:extLst>
              <a:ext uri="{FF2B5EF4-FFF2-40B4-BE49-F238E27FC236}">
                <a16:creationId xmlns:a16="http://schemas.microsoft.com/office/drawing/2014/main" id="{C4902426-D760-BB12-22C8-A67C406A6421}"/>
              </a:ext>
            </a:extLst>
          </p:cNvPr>
          <p:cNvSpPr txBox="1"/>
          <p:nvPr/>
        </p:nvSpPr>
        <p:spPr bwMode="gray">
          <a:xfrm>
            <a:off x="6546713" y="4969109"/>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Frontier technologies</a:t>
            </a:r>
            <a:br>
              <a:rPr lang="en-US" sz="1000" b="1" dirty="0">
                <a:solidFill>
                  <a:schemeClr val="bg1"/>
                </a:solidFill>
              </a:rPr>
            </a:br>
            <a:r>
              <a:rPr lang="en-US" sz="1000" dirty="0">
                <a:solidFill>
                  <a:schemeClr val="bg1"/>
                </a:solidFill>
              </a:rPr>
              <a:t>(commercialization 5+ years)</a:t>
            </a:r>
          </a:p>
        </p:txBody>
      </p:sp>
      <p:sp>
        <p:nvSpPr>
          <p:cNvPr id="33" name="TextBox 32">
            <a:extLst>
              <a:ext uri="{FF2B5EF4-FFF2-40B4-BE49-F238E27FC236}">
                <a16:creationId xmlns:a16="http://schemas.microsoft.com/office/drawing/2014/main" id="{00A04C82-7379-C87E-0225-9455A5716278}"/>
              </a:ext>
            </a:extLst>
          </p:cNvPr>
          <p:cNvSpPr txBox="1"/>
          <p:nvPr/>
        </p:nvSpPr>
        <p:spPr bwMode="gray">
          <a:xfrm>
            <a:off x="6774609" y="4564985"/>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Geopressured systems</a:t>
            </a:r>
          </a:p>
        </p:txBody>
      </p:sp>
      <p:sp>
        <p:nvSpPr>
          <p:cNvPr id="34" name="TextBox 33">
            <a:extLst>
              <a:ext uri="{FF2B5EF4-FFF2-40B4-BE49-F238E27FC236}">
                <a16:creationId xmlns:a16="http://schemas.microsoft.com/office/drawing/2014/main" id="{900977D5-C1DB-EFE5-A1A9-4AC2CCDE97F9}"/>
              </a:ext>
            </a:extLst>
          </p:cNvPr>
          <p:cNvSpPr txBox="1"/>
          <p:nvPr/>
        </p:nvSpPr>
        <p:spPr bwMode="gray">
          <a:xfrm>
            <a:off x="1952624" y="2067301"/>
            <a:ext cx="2542032"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Heating and cooling</a:t>
            </a:r>
          </a:p>
        </p:txBody>
      </p:sp>
      <p:sp>
        <p:nvSpPr>
          <p:cNvPr id="35" name="TextBox 34">
            <a:extLst>
              <a:ext uri="{FF2B5EF4-FFF2-40B4-BE49-F238E27FC236}">
                <a16:creationId xmlns:a16="http://schemas.microsoft.com/office/drawing/2014/main" id="{2BD9D39F-B61B-4263-F8DF-3F295786A34C}"/>
              </a:ext>
            </a:extLst>
          </p:cNvPr>
          <p:cNvSpPr txBox="1"/>
          <p:nvPr/>
        </p:nvSpPr>
        <p:spPr bwMode="gray">
          <a:xfrm>
            <a:off x="7906188" y="2040410"/>
            <a:ext cx="2541588"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Power</a:t>
            </a:r>
          </a:p>
        </p:txBody>
      </p:sp>
      <p:sp>
        <p:nvSpPr>
          <p:cNvPr id="36" name="TextBox 35">
            <a:extLst>
              <a:ext uri="{FF2B5EF4-FFF2-40B4-BE49-F238E27FC236}">
                <a16:creationId xmlns:a16="http://schemas.microsoft.com/office/drawing/2014/main" id="{B351B74E-7980-8D20-3267-2A5EB81466C6}"/>
              </a:ext>
            </a:extLst>
          </p:cNvPr>
          <p:cNvSpPr txBox="1"/>
          <p:nvPr/>
        </p:nvSpPr>
        <p:spPr bwMode="gray">
          <a:xfrm>
            <a:off x="523875" y="2544365"/>
            <a:ext cx="2542032" cy="374904"/>
          </a:xfrm>
          <a:prstGeom prst="rect">
            <a:avLst/>
          </a:prstGeom>
          <a:solidFill>
            <a:schemeClr val="accent1"/>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7" name="TextBox 36">
            <a:extLst>
              <a:ext uri="{FF2B5EF4-FFF2-40B4-BE49-F238E27FC236}">
                <a16:creationId xmlns:a16="http://schemas.microsoft.com/office/drawing/2014/main" id="{F1686CE4-48A7-5603-B817-18E7ACF8342C}"/>
              </a:ext>
            </a:extLst>
          </p:cNvPr>
          <p:cNvSpPr txBox="1"/>
          <p:nvPr/>
        </p:nvSpPr>
        <p:spPr bwMode="gray">
          <a:xfrm>
            <a:off x="3478971" y="2544365"/>
            <a:ext cx="2542032" cy="374904"/>
          </a:xfrm>
          <a:prstGeom prst="rect">
            <a:avLst/>
          </a:prstGeom>
          <a:solidFill>
            <a:schemeClr val="accent3">
              <a:lumMod val="75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38" name="TextBox 37">
            <a:extLst>
              <a:ext uri="{FF2B5EF4-FFF2-40B4-BE49-F238E27FC236}">
                <a16:creationId xmlns:a16="http://schemas.microsoft.com/office/drawing/2014/main" id="{D3D7BC04-4E7F-6A71-7D7E-C6E6347362EB}"/>
              </a:ext>
            </a:extLst>
          </p:cNvPr>
          <p:cNvSpPr txBox="1"/>
          <p:nvPr/>
        </p:nvSpPr>
        <p:spPr bwMode="gray">
          <a:xfrm>
            <a:off x="6434067" y="2544365"/>
            <a:ext cx="2542032" cy="374904"/>
          </a:xfrm>
          <a:prstGeom prst="rect">
            <a:avLst/>
          </a:prstGeom>
          <a:solidFill>
            <a:schemeClr val="accent5"/>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9" name="TextBox 38">
            <a:extLst>
              <a:ext uri="{FF2B5EF4-FFF2-40B4-BE49-F238E27FC236}">
                <a16:creationId xmlns:a16="http://schemas.microsoft.com/office/drawing/2014/main" id="{53EAE52D-40AA-8370-05F4-586BC6F15152}"/>
              </a:ext>
            </a:extLst>
          </p:cNvPr>
          <p:cNvSpPr txBox="1"/>
          <p:nvPr/>
        </p:nvSpPr>
        <p:spPr bwMode="gray">
          <a:xfrm>
            <a:off x="9389163" y="2544365"/>
            <a:ext cx="2542032" cy="374904"/>
          </a:xfrm>
          <a:prstGeom prst="rect">
            <a:avLst/>
          </a:prstGeom>
          <a:solidFill>
            <a:schemeClr val="accent6"/>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40" name="TextBox 39">
            <a:extLst>
              <a:ext uri="{FF2B5EF4-FFF2-40B4-BE49-F238E27FC236}">
                <a16:creationId xmlns:a16="http://schemas.microsoft.com/office/drawing/2014/main" id="{A057D2C1-6BC3-4562-DE49-0254B2ED68DF}"/>
              </a:ext>
            </a:extLst>
          </p:cNvPr>
          <p:cNvSpPr txBox="1"/>
          <p:nvPr/>
        </p:nvSpPr>
        <p:spPr bwMode="gray">
          <a:xfrm>
            <a:off x="3828288" y="4564985"/>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Cavern thermal energy storage</a:t>
            </a:r>
          </a:p>
        </p:txBody>
      </p:sp>
      <p:sp>
        <p:nvSpPr>
          <p:cNvPr id="41" name="TextBox 40">
            <a:extLst>
              <a:ext uri="{FF2B5EF4-FFF2-40B4-BE49-F238E27FC236}">
                <a16:creationId xmlns:a16="http://schemas.microsoft.com/office/drawing/2014/main" id="{1EF2B6EB-FA71-91AF-6CA6-D809E1E18E73}"/>
              </a:ext>
            </a:extLst>
          </p:cNvPr>
          <p:cNvSpPr txBox="1"/>
          <p:nvPr/>
        </p:nvSpPr>
        <p:spPr bwMode="gray">
          <a:xfrm>
            <a:off x="3828288" y="4969109"/>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Pit thermal storage</a:t>
            </a:r>
          </a:p>
        </p:txBody>
      </p:sp>
      <p:sp>
        <p:nvSpPr>
          <p:cNvPr id="42" name="TextBox 41">
            <a:extLst>
              <a:ext uri="{FF2B5EF4-FFF2-40B4-BE49-F238E27FC236}">
                <a16:creationId xmlns:a16="http://schemas.microsoft.com/office/drawing/2014/main" id="{2250C594-7037-2ACB-B57D-57CA2FE4D260}"/>
              </a:ext>
            </a:extLst>
          </p:cNvPr>
          <p:cNvSpPr txBox="1"/>
          <p:nvPr/>
        </p:nvSpPr>
        <p:spPr bwMode="gray">
          <a:xfrm>
            <a:off x="3828288" y="537323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Reservoir thermal storage</a:t>
            </a:r>
          </a:p>
        </p:txBody>
      </p:sp>
      <p:sp>
        <p:nvSpPr>
          <p:cNvPr id="43" name="TextBox 42">
            <a:extLst>
              <a:ext uri="{FF2B5EF4-FFF2-40B4-BE49-F238E27FC236}">
                <a16:creationId xmlns:a16="http://schemas.microsoft.com/office/drawing/2014/main" id="{971FAB2E-4707-1248-597F-00F4E1E3AD1B}"/>
              </a:ext>
            </a:extLst>
          </p:cNvPr>
          <p:cNvSpPr txBox="1"/>
          <p:nvPr/>
        </p:nvSpPr>
        <p:spPr bwMode="gray">
          <a:xfrm>
            <a:off x="6774609" y="5777356"/>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agma-based geothermal</a:t>
            </a:r>
          </a:p>
        </p:txBody>
      </p:sp>
      <p:sp>
        <p:nvSpPr>
          <p:cNvPr id="44" name="TextBox 43">
            <a:extLst>
              <a:ext uri="{FF2B5EF4-FFF2-40B4-BE49-F238E27FC236}">
                <a16:creationId xmlns:a16="http://schemas.microsoft.com/office/drawing/2014/main" id="{E58BDD20-D2DE-4940-3D07-2A5C37DC2B52}"/>
              </a:ext>
            </a:extLst>
          </p:cNvPr>
          <p:cNvSpPr txBox="1"/>
          <p:nvPr/>
        </p:nvSpPr>
        <p:spPr bwMode="gray">
          <a:xfrm>
            <a:off x="9501189" y="2945638"/>
            <a:ext cx="2428875" cy="374650"/>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High-temperature geothermal </a:t>
            </a:r>
            <a:br>
              <a:rPr lang="en-US" sz="1000" b="1" dirty="0">
                <a:solidFill>
                  <a:schemeClr val="bg1"/>
                </a:solidFill>
              </a:rPr>
            </a:br>
            <a:r>
              <a:rPr lang="en-US" sz="1000" b="1" dirty="0">
                <a:solidFill>
                  <a:schemeClr val="bg1"/>
                </a:solidFill>
              </a:rPr>
              <a:t>energy storage</a:t>
            </a:r>
          </a:p>
        </p:txBody>
      </p:sp>
      <p:sp>
        <p:nvSpPr>
          <p:cNvPr id="45" name="TextBox 44">
            <a:extLst>
              <a:ext uri="{FF2B5EF4-FFF2-40B4-BE49-F238E27FC236}">
                <a16:creationId xmlns:a16="http://schemas.microsoft.com/office/drawing/2014/main" id="{87A17872-0D9D-5B98-BEC7-8C8C61258830}"/>
              </a:ext>
            </a:extLst>
          </p:cNvPr>
          <p:cNvSpPr txBox="1"/>
          <p:nvPr/>
        </p:nvSpPr>
        <p:spPr bwMode="gray">
          <a:xfrm>
            <a:off x="9497951" y="3352613"/>
            <a:ext cx="2429386" cy="368104"/>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Geomechanical energy storage</a:t>
            </a:r>
          </a:p>
        </p:txBody>
      </p:sp>
      <p:cxnSp>
        <p:nvCxnSpPr>
          <p:cNvPr id="46" name="Elbow Connector 45">
            <a:extLst>
              <a:ext uri="{FF2B5EF4-FFF2-40B4-BE49-F238E27FC236}">
                <a16:creationId xmlns:a16="http://schemas.microsoft.com/office/drawing/2014/main" id="{D7E7B00F-280E-90F7-A306-8E7BE90F63CD}"/>
              </a:ext>
            </a:extLst>
          </p:cNvPr>
          <p:cNvCxnSpPr>
            <a:cxnSpLocks/>
            <a:stCxn id="20" idx="1"/>
            <a:endCxn id="23" idx="1"/>
          </p:cNvCxnSpPr>
          <p:nvPr/>
        </p:nvCxnSpPr>
        <p:spPr bwMode="gray">
          <a:xfrm rot="10800000" flipH="1" flipV="1">
            <a:off x="3591616" y="3133089"/>
            <a:ext cx="236672" cy="406975"/>
          </a:xfrm>
          <a:prstGeom prst="bentConnector3">
            <a:avLst>
              <a:gd name="adj1" fmla="val 0"/>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131B1C5-0D23-A6C5-6221-F99A34D4EBFB}"/>
              </a:ext>
            </a:extLst>
          </p:cNvPr>
          <p:cNvCxnSpPr>
            <a:cxnSpLocks/>
            <a:endCxn id="24" idx="1"/>
          </p:cNvCxnSpPr>
          <p:nvPr/>
        </p:nvCxnSpPr>
        <p:spPr bwMode="gray">
          <a:xfrm rot="16200000" flipH="1">
            <a:off x="3496906" y="3612807"/>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1CC20956-C009-5C51-CECE-8AB514164E6F}"/>
              </a:ext>
            </a:extLst>
          </p:cNvPr>
          <p:cNvCxnSpPr>
            <a:cxnSpLocks/>
          </p:cNvCxnSpPr>
          <p:nvPr/>
        </p:nvCxnSpPr>
        <p:spPr bwMode="gray">
          <a:xfrm rot="16200000" flipH="1">
            <a:off x="3496906" y="40218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5A5A459A-7B26-2EF6-0F23-D43204696C64}"/>
              </a:ext>
            </a:extLst>
          </p:cNvPr>
          <p:cNvCxnSpPr>
            <a:cxnSpLocks/>
          </p:cNvCxnSpPr>
          <p:nvPr/>
        </p:nvCxnSpPr>
        <p:spPr bwMode="gray">
          <a:xfrm rot="16200000" flipH="1">
            <a:off x="3496906" y="44345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92910D67-C058-995A-523B-0582208181F9}"/>
              </a:ext>
            </a:extLst>
          </p:cNvPr>
          <p:cNvCxnSpPr>
            <a:cxnSpLocks/>
          </p:cNvCxnSpPr>
          <p:nvPr/>
        </p:nvCxnSpPr>
        <p:spPr bwMode="gray">
          <a:xfrm rot="16200000" flipH="1">
            <a:off x="3496906" y="484967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0284D81A-929B-BF20-CACF-A1A01D608F07}"/>
              </a:ext>
            </a:extLst>
          </p:cNvPr>
          <p:cNvCxnSpPr>
            <a:cxnSpLocks/>
          </p:cNvCxnSpPr>
          <p:nvPr/>
        </p:nvCxnSpPr>
        <p:spPr bwMode="gray">
          <a:xfrm rot="16200000" flipH="1">
            <a:off x="3496906" y="5270775"/>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993E3E18-DE27-C8B7-9C29-4A2EB495280A}"/>
              </a:ext>
            </a:extLst>
          </p:cNvPr>
          <p:cNvCxnSpPr>
            <a:cxnSpLocks/>
          </p:cNvCxnSpPr>
          <p:nvPr/>
        </p:nvCxnSpPr>
        <p:spPr bwMode="gray">
          <a:xfrm rot="16200000" flipH="1">
            <a:off x="6290258"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C61A3174-7A7F-83BA-D734-66101D9B771C}"/>
              </a:ext>
            </a:extLst>
          </p:cNvPr>
          <p:cNvCxnSpPr>
            <a:cxnSpLocks/>
          </p:cNvCxnSpPr>
          <p:nvPr/>
        </p:nvCxnSpPr>
        <p:spPr bwMode="gray">
          <a:xfrm rot="16200000" flipH="1">
            <a:off x="6290258" y="3273883"/>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7599AAEF-CA11-6438-3518-DE2C5F616E1B}"/>
              </a:ext>
            </a:extLst>
          </p:cNvPr>
          <p:cNvCxnSpPr>
            <a:stCxn id="36" idx="0"/>
            <a:endCxn id="34" idx="2"/>
          </p:cNvCxnSpPr>
          <p:nvPr/>
        </p:nvCxnSpPr>
        <p:spPr bwMode="gray">
          <a:xfrm rot="5400000" flipH="1" flipV="1">
            <a:off x="2458185" y="1778911"/>
            <a:ext cx="102160" cy="142874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BE06B94D-BF3C-036E-32C9-5CAEE2F1B0CE}"/>
              </a:ext>
            </a:extLst>
          </p:cNvPr>
          <p:cNvCxnSpPr>
            <a:stCxn id="34" idx="2"/>
            <a:endCxn id="37" idx="0"/>
          </p:cNvCxnSpPr>
          <p:nvPr/>
        </p:nvCxnSpPr>
        <p:spPr bwMode="gray">
          <a:xfrm rot="16200000" flipH="1">
            <a:off x="3935733" y="1730111"/>
            <a:ext cx="102160" cy="152634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8B6A50EF-6ACD-8C70-2295-580F46070591}"/>
              </a:ext>
            </a:extLst>
          </p:cNvPr>
          <p:cNvCxnSpPr>
            <a:stCxn id="38" idx="0"/>
            <a:endCxn id="35" idx="2"/>
          </p:cNvCxnSpPr>
          <p:nvPr/>
        </p:nvCxnSpPr>
        <p:spPr bwMode="gray">
          <a:xfrm rot="5400000" flipH="1" flipV="1">
            <a:off x="8376507" y="1743891"/>
            <a:ext cx="129051" cy="147189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A6CA5BA8-DA1C-5A23-B49D-ADF80969C969}"/>
              </a:ext>
            </a:extLst>
          </p:cNvPr>
          <p:cNvCxnSpPr>
            <a:stCxn id="35" idx="2"/>
            <a:endCxn id="39" idx="0"/>
          </p:cNvCxnSpPr>
          <p:nvPr/>
        </p:nvCxnSpPr>
        <p:spPr bwMode="gray">
          <a:xfrm rot="16200000" flipH="1">
            <a:off x="9854055" y="1738240"/>
            <a:ext cx="129051" cy="148319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9" name="Footer Placeholder 4">
            <a:extLst>
              <a:ext uri="{FF2B5EF4-FFF2-40B4-BE49-F238E27FC236}">
                <a16:creationId xmlns:a16="http://schemas.microsoft.com/office/drawing/2014/main" id="{2D9E401A-B5AD-9352-1A75-57239CBF0068}"/>
              </a:ext>
            </a:extLst>
          </p:cNvPr>
          <p:cNvSpPr txBox="1">
            <a:spLocks/>
          </p:cNvSpPr>
          <p:nvPr/>
        </p:nvSpPr>
        <p:spPr>
          <a:xfrm>
            <a:off x="334962" y="6344432"/>
            <a:ext cx="9147241" cy="216706"/>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Underground Thermal Energy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Nature, 2012); </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hlinkClick r:id="rId6"/>
              </a:rPr>
              <a:t>Pathways to Commercial Liftoff: Geothermal Heating and Cooling</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OE,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evgi Hel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Tilkicioglu</a:t>
            </a:r>
            <a:r>
              <a:rPr kumimoji="0" lang="en-US" sz="800" b="0" i="0" u="none" strike="noStrike" kern="1200" cap="none" spc="0" normalizeH="0" baseline="0" noProof="0" dirty="0">
                <a:ln>
                  <a:noFill/>
                </a:ln>
                <a:solidFill>
                  <a:srgbClr val="000000"/>
                </a:solidFill>
                <a:effectLst/>
                <a:uLnTx/>
                <a:uFillTx/>
                <a:latin typeface="Arial"/>
                <a:ea typeface="+mn-ea"/>
                <a:cs typeface="+mn-cs"/>
              </a:rPr>
              <a: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sp>
        <p:nvSpPr>
          <p:cNvPr id="5" name="Rectangle 4">
            <a:extLst>
              <a:ext uri="{FF2B5EF4-FFF2-40B4-BE49-F238E27FC236}">
                <a16:creationId xmlns:a16="http://schemas.microsoft.com/office/drawing/2014/main" id="{AA725632-0FE4-C6DA-D578-416F0A2D4D29}"/>
              </a:ext>
            </a:extLst>
          </p:cNvPr>
          <p:cNvSpPr/>
          <p:nvPr/>
        </p:nvSpPr>
        <p:spPr bwMode="gray">
          <a:xfrm>
            <a:off x="6258432" y="2000263"/>
            <a:ext cx="5791669" cy="4254064"/>
          </a:xfrm>
          <a:prstGeom prst="rect">
            <a:avLst/>
          </a:prstGeom>
          <a:noFill/>
          <a:ln w="9525">
            <a:solidFill>
              <a:schemeClr val="tx1">
                <a:lumMod val="95000"/>
                <a:lumOff val="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7522302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D2B928-283A-AE3F-2038-2347EDF219E2}"/>
              </a:ext>
            </a:extLst>
          </p:cNvPr>
          <p:cNvGraphicFramePr>
            <a:graphicFrameLocks/>
          </p:cNvGraphicFramePr>
          <p:nvPr>
            <p:custDataLst>
              <p:tags r:id="rId1"/>
            </p:custDataLst>
            <p:extLst>
              <p:ext uri="{D42A27DB-BD31-4B8C-83A1-F6EECF244321}">
                <p14:modId xmlns:p14="http://schemas.microsoft.com/office/powerpoint/2010/main" val="3281418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DBDEFE-D6D8-C54A-A805-A489DC6EA0FC}"/>
              </a:ext>
            </a:extLst>
          </p:cNvPr>
          <p:cNvSpPr>
            <a:spLocks noGrp="1"/>
          </p:cNvSpPr>
          <p:nvPr>
            <p:ph type="title"/>
          </p:nvPr>
        </p:nvSpPr>
        <p:spPr/>
        <p:txBody>
          <a:bodyPr vert="horz" rIns="91440"/>
          <a:lstStyle/>
          <a:p>
            <a:r>
              <a:rPr lang="en-US" dirty="0"/>
              <a:t>Sage Geosystems is advancing long-duration geothermal storage that can deliver firm, flexible clean power</a:t>
            </a:r>
          </a:p>
        </p:txBody>
      </p:sp>
      <p:sp>
        <p:nvSpPr>
          <p:cNvPr id="4" name="Footer Placeholder 3">
            <a:extLst>
              <a:ext uri="{FF2B5EF4-FFF2-40B4-BE49-F238E27FC236}">
                <a16:creationId xmlns:a16="http://schemas.microsoft.com/office/drawing/2014/main" id="{5CA52A04-7831-9668-7C91-BD70CCEDF12B}"/>
              </a:ext>
            </a:extLst>
          </p:cNvPr>
          <p:cNvSpPr>
            <a:spLocks noGrp="1"/>
          </p:cNvSpPr>
          <p:nvPr>
            <p:ph type="ftr" sz="quarter" idx="3"/>
          </p:nvPr>
        </p:nvSpPr>
        <p:spPr>
          <a:xfrm>
            <a:off x="334962" y="6248735"/>
            <a:ext cx="9147241" cy="216706"/>
          </a:xfrm>
        </p:spPr>
        <p:txBody>
          <a:bodyPr/>
          <a:lstStyle/>
          <a:p>
            <a:r>
              <a:rPr lang="en-US" dirty="0">
                <a:solidFill>
                  <a:srgbClr val="000000"/>
                </a:solidFill>
              </a:rPr>
              <a:t>Sourc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omechanical Energy Storage (SGES) Overview</a:t>
            </a:r>
            <a:r>
              <a:rPr lang="en-US" dirty="0">
                <a:solidFill>
                  <a:srgbClr val="000000"/>
                </a:solidFill>
              </a:rPr>
              <a:t> (Sage Geosystems, 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Sage Geosystems 200-hour pilot test results</a:t>
            </a:r>
            <a:r>
              <a:rPr lang="en-US" dirty="0">
                <a:solidFill>
                  <a:srgbClr val="000000"/>
                </a:solidFill>
              </a:rPr>
              <a:t> (PR Newswire,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Sage Geosystems raises $17M for geothermal energy storage</a:t>
            </a:r>
            <a:r>
              <a:rPr lang="en-US" dirty="0">
                <a:solidFill>
                  <a:srgbClr val="000000"/>
                </a:solidFill>
              </a:rPr>
              <a:t> (Canary Media,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Sage Geosystems: Next-Gen Geothermal Sources Driven by Earth’s Pressure</a:t>
            </a:r>
            <a:r>
              <a:rPr lang="en-US" dirty="0">
                <a:solidFill>
                  <a:srgbClr val="000000"/>
                </a:solidFill>
              </a:rPr>
              <a:t> (Forbes, 2025</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age’s First 3-MW Geothermal Power and Energy Storage Project Will Feed ERCOT</a:t>
            </a:r>
            <a:r>
              <a:rPr lang="en-US" dirty="0">
                <a:solidFill>
                  <a:srgbClr val="000000"/>
                </a:solidFill>
              </a:rPr>
              <a:t> (Power Magazine, 2024</a:t>
            </a:r>
            <a:r>
              <a:rPr kumimoji="0" lang="en-US" sz="800" b="0" i="0" u="none" strike="noStrike" kern="1200" cap="none" spc="0" normalizeH="0" baseline="0" noProof="0" dirty="0">
                <a:ln>
                  <a:noFill/>
                </a:ln>
                <a:solidFill>
                  <a:srgbClr val="000000"/>
                </a:solidFill>
                <a:effectLst/>
                <a:uLnTx/>
                <a:uFillTx/>
                <a:latin typeface="Arial"/>
                <a:ea typeface="+mn-ea"/>
                <a:cs typeface="+mn-cs"/>
              </a:rPr>
              <a:t>).</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eather Hartel, Isabel Hoyos, and </a:t>
            </a:r>
            <a:r>
              <a:rPr lang="en-US" dirty="0">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E9463CD9-945E-BF53-7389-B67B78064501}"/>
              </a:ext>
            </a:extLst>
          </p:cNvPr>
          <p:cNvSpPr txBox="1">
            <a:spLocks/>
          </p:cNvSpPr>
          <p:nvPr/>
        </p:nvSpPr>
        <p:spPr>
          <a:xfrm>
            <a:off x="0" y="0"/>
            <a:ext cx="3886200" cy="320040"/>
          </a:xfrm>
          <a:prstGeom prst="rect">
            <a:avLst/>
          </a:prstGeom>
          <a:solidFill>
            <a:schemeClr val="accent1">
              <a:lumMod val="20000"/>
              <a:lumOff val="80000"/>
            </a:schemeClr>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Sage Geosystems</a:t>
            </a:r>
          </a:p>
        </p:txBody>
      </p:sp>
      <p:sp>
        <p:nvSpPr>
          <p:cNvPr id="7" name="Rectangle 6">
            <a:extLst>
              <a:ext uri="{FF2B5EF4-FFF2-40B4-BE49-F238E27FC236}">
                <a16:creationId xmlns:a16="http://schemas.microsoft.com/office/drawing/2014/main" id="{C0FDB171-1C68-B4D5-095A-CCE1AC932B54}"/>
              </a:ext>
            </a:extLst>
          </p:cNvPr>
          <p:cNvSpPr/>
          <p:nvPr/>
        </p:nvSpPr>
        <p:spPr>
          <a:xfrm>
            <a:off x="5057361" y="1442369"/>
            <a:ext cx="6912864" cy="1425183"/>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r>
              <a:rPr lang="en-US" sz="1050" dirty="0">
                <a:solidFill>
                  <a:schemeClr val="tx1"/>
                </a:solidFill>
              </a:rPr>
              <a:t>Sage is </a:t>
            </a:r>
            <a:r>
              <a:rPr lang="en-US" sz="1050" b="1" dirty="0">
                <a:solidFill>
                  <a:schemeClr val="tx1"/>
                </a:solidFill>
              </a:rPr>
              <a:t>developing projects in Texas</a:t>
            </a:r>
            <a:r>
              <a:rPr lang="en-US" sz="1050" dirty="0">
                <a:solidFill>
                  <a:schemeClr val="tx1"/>
                </a:solidFill>
              </a:rPr>
              <a:t>, including its full-scale commercial demonstration near Brooks County.</a:t>
            </a:r>
          </a:p>
          <a:p>
            <a:pPr>
              <a:spcBef>
                <a:spcPts val="600"/>
              </a:spcBef>
            </a:pPr>
            <a:r>
              <a:rPr lang="en-US" sz="1050" dirty="0">
                <a:solidFill>
                  <a:schemeClr val="tx1"/>
                </a:solidFill>
              </a:rPr>
              <a:t>The company uses subsurface formations to create </a:t>
            </a:r>
            <a:r>
              <a:rPr lang="en-US" sz="1050" b="1" dirty="0">
                <a:solidFill>
                  <a:schemeClr val="tx1"/>
                </a:solidFill>
              </a:rPr>
              <a:t>pressure-based energy storage</a:t>
            </a:r>
            <a:r>
              <a:rPr lang="en-US" sz="1050" dirty="0">
                <a:solidFill>
                  <a:schemeClr val="tx1"/>
                </a:solidFill>
              </a:rPr>
              <a:t>, not dependent on high geothermal heat.</a:t>
            </a:r>
          </a:p>
          <a:p>
            <a:pPr>
              <a:spcBef>
                <a:spcPts val="600"/>
              </a:spcBef>
            </a:pPr>
            <a:r>
              <a:rPr lang="en-US" sz="1050" dirty="0">
                <a:solidFill>
                  <a:schemeClr val="tx1"/>
                </a:solidFill>
              </a:rPr>
              <a:t>Sage’s system is designed to work in </a:t>
            </a:r>
            <a:r>
              <a:rPr lang="en-US" sz="1050" b="1" dirty="0">
                <a:solidFill>
                  <a:schemeClr val="tx1"/>
                </a:solidFill>
              </a:rPr>
              <a:t>sedimentary formations with suitable mechanical properties</a:t>
            </a:r>
            <a:r>
              <a:rPr lang="en-US" sz="1050" dirty="0">
                <a:solidFill>
                  <a:schemeClr val="tx1"/>
                </a:solidFill>
              </a:rPr>
              <a:t>, but the company does </a:t>
            </a:r>
            <a:r>
              <a:rPr lang="en-US" sz="1050" b="1" dirty="0">
                <a:solidFill>
                  <a:schemeClr val="tx1"/>
                </a:solidFill>
              </a:rPr>
              <a:t>not</a:t>
            </a:r>
            <a:r>
              <a:rPr lang="en-US" sz="1050" dirty="0">
                <a:solidFill>
                  <a:schemeClr val="tx1"/>
                </a:solidFill>
              </a:rPr>
              <a:t> publicly disclose specific reservoir depths or geology.</a:t>
            </a:r>
          </a:p>
        </p:txBody>
      </p:sp>
      <p:sp>
        <p:nvSpPr>
          <p:cNvPr id="8" name="Rectangle 7">
            <a:extLst>
              <a:ext uri="{FF2B5EF4-FFF2-40B4-BE49-F238E27FC236}">
                <a16:creationId xmlns:a16="http://schemas.microsoft.com/office/drawing/2014/main" id="{EF93CAB7-D59A-CA1D-7244-7638FF41EA55}"/>
              </a:ext>
            </a:extLst>
          </p:cNvPr>
          <p:cNvSpPr/>
          <p:nvPr/>
        </p:nvSpPr>
        <p:spPr>
          <a:xfrm>
            <a:off x="3457575" y="1442370"/>
            <a:ext cx="1439984" cy="1425182"/>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Resource characteristics</a:t>
            </a:r>
          </a:p>
        </p:txBody>
      </p:sp>
      <p:sp>
        <p:nvSpPr>
          <p:cNvPr id="9" name="Rectangle 8">
            <a:extLst>
              <a:ext uri="{FF2B5EF4-FFF2-40B4-BE49-F238E27FC236}">
                <a16:creationId xmlns:a16="http://schemas.microsoft.com/office/drawing/2014/main" id="{5F5E6A7E-8A92-5729-F58B-BF8A4B43BD89}"/>
              </a:ext>
            </a:extLst>
          </p:cNvPr>
          <p:cNvSpPr/>
          <p:nvPr/>
        </p:nvSpPr>
        <p:spPr>
          <a:xfrm>
            <a:off x="3457576" y="3009129"/>
            <a:ext cx="1439984" cy="1862883"/>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dirty="0">
                <a:solidFill>
                  <a:srgbClr val="FFFFFF"/>
                </a:solidFill>
              </a:rPr>
              <a:t>Technology &amp; output</a:t>
            </a:r>
          </a:p>
        </p:txBody>
      </p:sp>
      <p:sp>
        <p:nvSpPr>
          <p:cNvPr id="10" name="Rectangle 9">
            <a:extLst>
              <a:ext uri="{FF2B5EF4-FFF2-40B4-BE49-F238E27FC236}">
                <a16:creationId xmlns:a16="http://schemas.microsoft.com/office/drawing/2014/main" id="{D31865B6-5465-024C-CD25-7BD514440F83}"/>
              </a:ext>
            </a:extLst>
          </p:cNvPr>
          <p:cNvSpPr/>
          <p:nvPr/>
        </p:nvSpPr>
        <p:spPr>
          <a:xfrm>
            <a:off x="5057361" y="3014133"/>
            <a:ext cx="6912864" cy="1851377"/>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r>
              <a:rPr lang="en-US" sz="1050" dirty="0">
                <a:solidFill>
                  <a:schemeClr val="tx1"/>
                </a:solidFill>
              </a:rPr>
              <a:t>Sage’s system, </a:t>
            </a:r>
            <a:r>
              <a:rPr lang="en-US" sz="1050" b="1" dirty="0">
                <a:solidFill>
                  <a:schemeClr val="tx1"/>
                </a:solidFill>
              </a:rPr>
              <a:t>Sage Geomechanical Energy Storage</a:t>
            </a:r>
            <a:r>
              <a:rPr lang="en-US" sz="1050" dirty="0">
                <a:solidFill>
                  <a:schemeClr val="tx1"/>
                </a:solidFill>
              </a:rPr>
              <a:t>, stores energy by injecting fluid into a sealed subsurface reservoir and releases it to generate power through controlled depressurization.</a:t>
            </a:r>
          </a:p>
          <a:p>
            <a:pPr>
              <a:spcBef>
                <a:spcPts val="600"/>
              </a:spcBef>
            </a:pPr>
            <a:r>
              <a:rPr lang="en-US" sz="1050" dirty="0">
                <a:solidFill>
                  <a:schemeClr val="tx1"/>
                </a:solidFill>
              </a:rPr>
              <a:t>The company achieved </a:t>
            </a:r>
            <a:r>
              <a:rPr lang="en-US" sz="1050" b="1" dirty="0">
                <a:solidFill>
                  <a:schemeClr val="tx1"/>
                </a:solidFill>
              </a:rPr>
              <a:t>16-hour-long discharge</a:t>
            </a:r>
            <a:r>
              <a:rPr lang="en-US" sz="1050" dirty="0">
                <a:solidFill>
                  <a:schemeClr val="tx1"/>
                </a:solidFill>
              </a:rPr>
              <a:t> in its early Texas pilot. </a:t>
            </a:r>
          </a:p>
          <a:p>
            <a:pPr>
              <a:spcBef>
                <a:spcPts val="600"/>
              </a:spcBef>
            </a:pPr>
            <a:r>
              <a:rPr lang="en-US" sz="1050" dirty="0">
                <a:solidFill>
                  <a:schemeClr val="tx1"/>
                </a:solidFill>
              </a:rPr>
              <a:t>In 2023, Sage completed a </a:t>
            </a:r>
            <a:r>
              <a:rPr lang="en-US" sz="1050" b="1" dirty="0">
                <a:solidFill>
                  <a:schemeClr val="tx1"/>
                </a:solidFill>
              </a:rPr>
              <a:t>200-hour-long storage demonstration</a:t>
            </a:r>
            <a:r>
              <a:rPr lang="en-US" sz="1050" dirty="0">
                <a:solidFill>
                  <a:schemeClr val="tx1"/>
                </a:solidFill>
              </a:rPr>
              <a:t>, validating multiday storage.</a:t>
            </a:r>
          </a:p>
          <a:p>
            <a:pPr>
              <a:spcBef>
                <a:spcPts val="600"/>
              </a:spcBef>
            </a:pPr>
            <a:r>
              <a:rPr lang="en-US" sz="1050" dirty="0">
                <a:solidFill>
                  <a:schemeClr val="tx1"/>
                </a:solidFill>
              </a:rPr>
              <a:t>Sage plans to deploy a </a:t>
            </a:r>
            <a:r>
              <a:rPr lang="en-US" sz="1050" b="1" dirty="0">
                <a:solidFill>
                  <a:schemeClr val="tx1"/>
                </a:solidFill>
              </a:rPr>
              <a:t>3 MW commercial project</a:t>
            </a:r>
            <a:r>
              <a:rPr lang="en-US" sz="1050" dirty="0">
                <a:solidFill>
                  <a:schemeClr val="tx1"/>
                </a:solidFill>
              </a:rPr>
              <a:t> integrated with ERCOT.</a:t>
            </a:r>
          </a:p>
        </p:txBody>
      </p:sp>
      <p:sp>
        <p:nvSpPr>
          <p:cNvPr id="11" name="Rectangle 10">
            <a:extLst>
              <a:ext uri="{FF2B5EF4-FFF2-40B4-BE49-F238E27FC236}">
                <a16:creationId xmlns:a16="http://schemas.microsoft.com/office/drawing/2014/main" id="{340AB2B1-7227-F207-2E31-2508A9D09122}"/>
              </a:ext>
            </a:extLst>
          </p:cNvPr>
          <p:cNvSpPr/>
          <p:nvPr/>
        </p:nvSpPr>
        <p:spPr>
          <a:xfrm>
            <a:off x="3474569" y="5012091"/>
            <a:ext cx="1422990" cy="1228689"/>
          </a:xfrm>
          <a:prstGeom prst="rect">
            <a:avLst/>
          </a:prstGeom>
          <a:solidFill>
            <a:schemeClr val="accent2">
              <a:lumMod val="75000"/>
              <a:lumOff val="2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r>
              <a:rPr lang="en-US" sz="1400" b="1" i="0" dirty="0">
                <a:effectLst/>
              </a:rPr>
              <a:t>Lessons learned</a:t>
            </a:r>
            <a:endParaRPr lang="en-US" sz="1200" b="0" i="0" dirty="0">
              <a:effectLst/>
            </a:endParaRPr>
          </a:p>
        </p:txBody>
      </p:sp>
      <p:sp>
        <p:nvSpPr>
          <p:cNvPr id="12" name="Rectangle 11">
            <a:extLst>
              <a:ext uri="{FF2B5EF4-FFF2-40B4-BE49-F238E27FC236}">
                <a16:creationId xmlns:a16="http://schemas.microsoft.com/office/drawing/2014/main" id="{1FF3B814-689F-3FB4-C235-48767FA8E55B}"/>
              </a:ext>
            </a:extLst>
          </p:cNvPr>
          <p:cNvSpPr/>
          <p:nvPr/>
        </p:nvSpPr>
        <p:spPr>
          <a:xfrm>
            <a:off x="5057361" y="5012091"/>
            <a:ext cx="6912864" cy="1228689"/>
          </a:xfrm>
          <a:prstGeom prst="rect">
            <a:avLst/>
          </a:prstGeom>
          <a:solidFill>
            <a:srgbClr val="FFFFFF"/>
          </a:solidFill>
          <a:ln w="9525" cap="rnd" cmpd="sng" algn="ctr">
            <a:solidFill>
              <a:schemeClr val="accent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buFont typeface="Arial" panose="020B0604020202020204" pitchFamily="34" charset="0"/>
              <a:buChar char="•"/>
            </a:pPr>
            <a:r>
              <a:rPr lang="en-US" sz="1050" dirty="0">
                <a:solidFill>
                  <a:schemeClr val="tx1"/>
                </a:solidFill>
              </a:rPr>
              <a:t>Pilot results showed </a:t>
            </a:r>
            <a:r>
              <a:rPr lang="en-US" sz="1050" b="1" dirty="0">
                <a:solidFill>
                  <a:schemeClr val="tx1"/>
                </a:solidFill>
              </a:rPr>
              <a:t>repeatable charge-discharge cycles</a:t>
            </a:r>
            <a:r>
              <a:rPr lang="en-US" sz="1050" dirty="0">
                <a:solidFill>
                  <a:schemeClr val="tx1"/>
                </a:solidFill>
              </a:rPr>
              <a:t> with controlled pressure management.</a:t>
            </a:r>
          </a:p>
          <a:p>
            <a:pPr>
              <a:spcBef>
                <a:spcPts val="600"/>
              </a:spcBef>
              <a:buFont typeface="Arial" panose="020B0604020202020204" pitchFamily="34" charset="0"/>
              <a:buChar char="•"/>
            </a:pPr>
            <a:r>
              <a:rPr lang="en-US" sz="1050" dirty="0">
                <a:solidFill>
                  <a:schemeClr val="tx1"/>
                </a:solidFill>
              </a:rPr>
              <a:t>The 200-hour test confirmed potential for </a:t>
            </a:r>
            <a:r>
              <a:rPr lang="en-US" sz="1050" b="1" dirty="0">
                <a:solidFill>
                  <a:schemeClr val="tx1"/>
                </a:solidFill>
              </a:rPr>
              <a:t>multiday and resilience-focused applications</a:t>
            </a:r>
            <a:r>
              <a:rPr lang="en-US" sz="1050" dirty="0">
                <a:solidFill>
                  <a:schemeClr val="tx1"/>
                </a:solidFill>
              </a:rPr>
              <a:t>.</a:t>
            </a:r>
          </a:p>
          <a:p>
            <a:pPr>
              <a:spcBef>
                <a:spcPts val="600"/>
              </a:spcBef>
              <a:buFont typeface="Arial" panose="020B0604020202020204" pitchFamily="34" charset="0"/>
              <a:buChar char="•"/>
            </a:pPr>
            <a:r>
              <a:rPr lang="en-US" sz="1050" dirty="0">
                <a:solidFill>
                  <a:schemeClr val="tx1"/>
                </a:solidFill>
              </a:rPr>
              <a:t>Findings supported Sage’s progression toward </a:t>
            </a:r>
            <a:r>
              <a:rPr lang="en-US" sz="1050" b="1" dirty="0">
                <a:solidFill>
                  <a:schemeClr val="tx1"/>
                </a:solidFill>
              </a:rPr>
              <a:t>commercial-scale deployment</a:t>
            </a:r>
            <a:r>
              <a:rPr lang="en-US" sz="1050" dirty="0">
                <a:solidFill>
                  <a:schemeClr val="tx1"/>
                </a:solidFill>
              </a:rPr>
              <a:t>.</a:t>
            </a:r>
          </a:p>
        </p:txBody>
      </p:sp>
      <p:pic>
        <p:nvPicPr>
          <p:cNvPr id="13" name="Picture 2" descr="ABB, Sage and Meta: Partnering to Boost Geothermal Energy | Energy Magazine">
            <a:extLst>
              <a:ext uri="{FF2B5EF4-FFF2-40B4-BE49-F238E27FC236}">
                <a16:creationId xmlns:a16="http://schemas.microsoft.com/office/drawing/2014/main" id="{2A4BEF7E-6A2A-C24E-9511-05E6CCB89171}"/>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a:fillRect/>
          </a:stretch>
        </p:blipFill>
        <p:spPr bwMode="auto">
          <a:xfrm>
            <a:off x="447461" y="1463258"/>
            <a:ext cx="2847453" cy="4777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76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2BC6480-BF09-F016-20DC-0A4AC46BB5D5}"/>
              </a:ext>
            </a:extLst>
          </p:cNvPr>
          <p:cNvGraphicFramePr>
            <a:graphicFrameLocks/>
          </p:cNvGraphicFramePr>
          <p:nvPr>
            <p:custDataLst>
              <p:tags r:id="rId1"/>
            </p:custDataLst>
            <p:extLst>
              <p:ext uri="{D42A27DB-BD31-4B8C-83A1-F6EECF244321}">
                <p14:modId xmlns:p14="http://schemas.microsoft.com/office/powerpoint/2010/main" val="4098215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6503042-6A10-33FF-4613-6BC2BCFDB027}"/>
              </a:ext>
            </a:extLst>
          </p:cNvPr>
          <p:cNvSpPr>
            <a:spLocks noGrp="1"/>
          </p:cNvSpPr>
          <p:nvPr>
            <p:ph type="title"/>
          </p:nvPr>
        </p:nvSpPr>
        <p:spPr/>
        <p:txBody>
          <a:bodyPr vert="horz" rIns="91440"/>
          <a:lstStyle/>
          <a:p>
            <a:r>
              <a:rPr lang="en-US" dirty="0"/>
              <a:t>Innovations in drilling technologies are key to accessing higher thermal potential</a:t>
            </a:r>
          </a:p>
        </p:txBody>
      </p:sp>
      <p:sp>
        <p:nvSpPr>
          <p:cNvPr id="6" name="Footer Placeholder 5">
            <a:extLst>
              <a:ext uri="{FF2B5EF4-FFF2-40B4-BE49-F238E27FC236}">
                <a16:creationId xmlns:a16="http://schemas.microsoft.com/office/drawing/2014/main" id="{3EE5B189-8330-E3BB-4487-1E156C271E92}"/>
              </a:ext>
            </a:extLst>
          </p:cNvPr>
          <p:cNvSpPr>
            <a:spLocks noGrp="1"/>
          </p:cNvSpPr>
          <p:nvPr>
            <p:ph type="ftr" sz="quarter" idx="3"/>
          </p:nvPr>
        </p:nvSpPr>
        <p:spPr/>
        <p:txBody>
          <a:bodyPr/>
          <a:lstStyle/>
          <a:p>
            <a:r>
              <a:rPr lang="en-US" dirty="0">
                <a:solidFill>
                  <a:srgbClr val="000000"/>
                </a:solidFill>
              </a:rPr>
              <a:t>Sources: </a:t>
            </a:r>
            <a:r>
              <a:rPr lang="en-US" dirty="0">
                <a:hlinkClick r:id="rId5"/>
              </a:rPr>
              <a:t>Superhot Rock Energy</a:t>
            </a:r>
            <a:r>
              <a:rPr lang="en-US" dirty="0">
                <a:solidFill>
                  <a:srgbClr val="000000"/>
                </a:solidFill>
              </a:rPr>
              <a:t> (CATF, 2022).</a:t>
            </a:r>
          </a:p>
          <a:p>
            <a:pPr>
              <a:defRPr/>
            </a:pPr>
            <a:r>
              <a:rPr lang="en-US" dirty="0">
                <a:solidFill>
                  <a:srgbClr val="000000"/>
                </a:solidFill>
              </a:rPr>
              <a:t>Credit: Pia Doris Morrow, Isabel Hoyos, and </a:t>
            </a:r>
            <a:r>
              <a:rPr lang="en-US" dirty="0">
                <a:solidFill>
                  <a:srgbClr val="000000">
                    <a:tint val="82000"/>
                  </a:srgbClr>
                </a:solidFill>
                <a:hlinkClick r:id="rId6"/>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12FF872B-EADE-FCBB-D7DC-1F5954971669}"/>
              </a:ext>
            </a:extLst>
          </p:cNvPr>
          <p:cNvSpPr>
            <a:spLocks noGrp="1"/>
          </p:cNvSpPr>
          <p:nvPr>
            <p:ph type="body" sz="quarter" idx="13"/>
          </p:nvPr>
        </p:nvSpPr>
        <p:spPr/>
        <p:txBody>
          <a:bodyPr/>
          <a:lstStyle/>
          <a:p>
            <a:r>
              <a:rPr lang="en-US" dirty="0">
                <a:solidFill>
                  <a:srgbClr val="000000"/>
                </a:solidFill>
                <a:ea typeface="+mn-lt"/>
                <a:cs typeface="+mn-lt"/>
              </a:rPr>
              <a:t>Comparison of drilling technologies </a:t>
            </a:r>
            <a:r>
              <a:rPr lang="en-US" i="1" dirty="0">
                <a:solidFill>
                  <a:srgbClr val="000000"/>
                </a:solidFill>
                <a:ea typeface="+mn-lt"/>
                <a:cs typeface="+mn-lt"/>
              </a:rPr>
              <a:t>(non-exhaustive)</a:t>
            </a:r>
            <a:endParaRPr lang="en-US" i="1" dirty="0"/>
          </a:p>
        </p:txBody>
      </p:sp>
      <p:sp>
        <p:nvSpPr>
          <p:cNvPr id="9" name="Rectangle 8">
            <a:extLst>
              <a:ext uri="{FF2B5EF4-FFF2-40B4-BE49-F238E27FC236}">
                <a16:creationId xmlns:a16="http://schemas.microsoft.com/office/drawing/2014/main" id="{C73D08A0-CBF8-165F-C858-6F036E8C1001}"/>
              </a:ext>
            </a:extLst>
          </p:cNvPr>
          <p:cNvSpPr/>
          <p:nvPr/>
        </p:nvSpPr>
        <p:spPr bwMode="gray">
          <a:xfrm>
            <a:off x="6096000" y="1959429"/>
            <a:ext cx="5850577" cy="20188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 name="Text Placeholder 1">
            <a:extLst>
              <a:ext uri="{FF2B5EF4-FFF2-40B4-BE49-F238E27FC236}">
                <a16:creationId xmlns:a16="http://schemas.microsoft.com/office/drawing/2014/main" id="{E74C637C-74FB-73FD-D16A-0AD9F3500DE0}"/>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rilling technology</a:t>
            </a:r>
          </a:p>
        </p:txBody>
      </p:sp>
      <p:sp>
        <p:nvSpPr>
          <p:cNvPr id="12" name="Rectangle 11">
            <a:extLst>
              <a:ext uri="{FF2B5EF4-FFF2-40B4-BE49-F238E27FC236}">
                <a16:creationId xmlns:a16="http://schemas.microsoft.com/office/drawing/2014/main" id="{4F4A2D99-8F51-4866-989F-56150E50AB07}"/>
              </a:ext>
            </a:extLst>
          </p:cNvPr>
          <p:cNvSpPr/>
          <p:nvPr/>
        </p:nvSpPr>
        <p:spPr bwMode="gray">
          <a:xfrm>
            <a:off x="342746" y="2681895"/>
            <a:ext cx="6691716" cy="3595151"/>
          </a:xfrm>
          <a:prstGeom prst="rect">
            <a:avLst/>
          </a:prstGeom>
          <a:solidFill>
            <a:srgbClr val="EDEA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Straight Connector 12">
            <a:extLst>
              <a:ext uri="{FF2B5EF4-FFF2-40B4-BE49-F238E27FC236}">
                <a16:creationId xmlns:a16="http://schemas.microsoft.com/office/drawing/2014/main" id="{175863D4-8162-0716-65A2-701F447AC6FB}"/>
              </a:ext>
            </a:extLst>
          </p:cNvPr>
          <p:cNvCxnSpPr/>
          <p:nvPr/>
        </p:nvCxnSpPr>
        <p:spPr bwMode="gray">
          <a:xfrm>
            <a:off x="1500809" y="2681895"/>
            <a:ext cx="0" cy="344843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AC07260-FB7D-60D3-F4E7-2D219FA93BA8}"/>
              </a:ext>
            </a:extLst>
          </p:cNvPr>
          <p:cNvCxnSpPr>
            <a:cxnSpLocks/>
          </p:cNvCxnSpPr>
          <p:nvPr/>
        </p:nvCxnSpPr>
        <p:spPr bwMode="gray">
          <a:xfrm>
            <a:off x="1500809" y="2681895"/>
            <a:ext cx="553365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EFEA74-5ADE-1439-D3F1-58B4FD7E3607}"/>
              </a:ext>
            </a:extLst>
          </p:cNvPr>
          <p:cNvCxnSpPr>
            <a:cxnSpLocks/>
          </p:cNvCxnSpPr>
          <p:nvPr/>
        </p:nvCxnSpPr>
        <p:spPr bwMode="gray">
          <a:xfrm flipH="1">
            <a:off x="1311965" y="5833113"/>
            <a:ext cx="1888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9CCE3DD-AB9D-33BA-3C1B-48CA142B67EF}"/>
              </a:ext>
            </a:extLst>
          </p:cNvPr>
          <p:cNvCxnSpPr>
            <a:cxnSpLocks/>
          </p:cNvCxnSpPr>
          <p:nvPr/>
        </p:nvCxnSpPr>
        <p:spPr bwMode="gray">
          <a:xfrm flipH="1">
            <a:off x="1311965" y="4257503"/>
            <a:ext cx="1888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98AA565-AF03-4F02-FA27-BA4DCD74BF4B}"/>
              </a:ext>
            </a:extLst>
          </p:cNvPr>
          <p:cNvCxnSpPr>
            <a:cxnSpLocks/>
          </p:cNvCxnSpPr>
          <p:nvPr/>
        </p:nvCxnSpPr>
        <p:spPr bwMode="gray">
          <a:xfrm flipH="1">
            <a:off x="1311965" y="2788426"/>
            <a:ext cx="1888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F31B67E-6320-45AB-65F3-ABA176693917}"/>
              </a:ext>
            </a:extLst>
          </p:cNvPr>
          <p:cNvCxnSpPr>
            <a:cxnSpLocks/>
          </p:cNvCxnSpPr>
          <p:nvPr/>
        </p:nvCxnSpPr>
        <p:spPr bwMode="gray">
          <a:xfrm flipH="1">
            <a:off x="1311965" y="3469699"/>
            <a:ext cx="1888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5AB1F-AF1E-7167-E76A-7991EA8F2B55}"/>
              </a:ext>
            </a:extLst>
          </p:cNvPr>
          <p:cNvCxnSpPr>
            <a:cxnSpLocks/>
          </p:cNvCxnSpPr>
          <p:nvPr/>
        </p:nvCxnSpPr>
        <p:spPr bwMode="gray">
          <a:xfrm flipH="1">
            <a:off x="1311965" y="5045307"/>
            <a:ext cx="1888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D9503EF1-BC3B-6E15-59B5-05385E0BD51A}"/>
              </a:ext>
            </a:extLst>
          </p:cNvPr>
          <p:cNvSpPr/>
          <p:nvPr/>
        </p:nvSpPr>
        <p:spPr bwMode="gray">
          <a:xfrm>
            <a:off x="334963" y="2699620"/>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dirty="0">
                <a:solidFill>
                  <a:schemeClr val="tx1"/>
                </a:solidFill>
              </a:rPr>
              <a:t>10-500 m</a:t>
            </a:r>
          </a:p>
          <a:p>
            <a:pPr marL="0" indent="0" algn="ctr">
              <a:spcBef>
                <a:spcPts val="0"/>
              </a:spcBef>
              <a:buNone/>
            </a:pPr>
            <a:r>
              <a:rPr lang="en-US" sz="800" dirty="0">
                <a:solidFill>
                  <a:schemeClr val="tx1"/>
                </a:solidFill>
              </a:rPr>
              <a:t>Groundwater</a:t>
            </a:r>
          </a:p>
        </p:txBody>
      </p:sp>
      <p:sp>
        <p:nvSpPr>
          <p:cNvPr id="21" name="Rectangle 20">
            <a:extLst>
              <a:ext uri="{FF2B5EF4-FFF2-40B4-BE49-F238E27FC236}">
                <a16:creationId xmlns:a16="http://schemas.microsoft.com/office/drawing/2014/main" id="{972630DB-E58D-A6CE-6DFA-0EBAE2EEA599}"/>
              </a:ext>
            </a:extLst>
          </p:cNvPr>
          <p:cNvSpPr/>
          <p:nvPr/>
        </p:nvSpPr>
        <p:spPr bwMode="gray">
          <a:xfrm>
            <a:off x="388257" y="3377786"/>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dirty="0">
                <a:solidFill>
                  <a:schemeClr val="tx1"/>
                </a:solidFill>
              </a:rPr>
              <a:t>5 km</a:t>
            </a:r>
          </a:p>
          <a:p>
            <a:pPr marL="0" indent="0" algn="ctr">
              <a:spcBef>
                <a:spcPts val="0"/>
              </a:spcBef>
              <a:buNone/>
            </a:pPr>
            <a:r>
              <a:rPr lang="en-US" sz="800" dirty="0">
                <a:solidFill>
                  <a:schemeClr val="tx1"/>
                </a:solidFill>
              </a:rPr>
              <a:t>3 mi</a:t>
            </a:r>
          </a:p>
        </p:txBody>
      </p:sp>
      <p:sp>
        <p:nvSpPr>
          <p:cNvPr id="22" name="Rectangle 21">
            <a:extLst>
              <a:ext uri="{FF2B5EF4-FFF2-40B4-BE49-F238E27FC236}">
                <a16:creationId xmlns:a16="http://schemas.microsoft.com/office/drawing/2014/main" id="{5D8011AA-B42D-77E4-17B8-4B2FEAFF40BB}"/>
              </a:ext>
            </a:extLst>
          </p:cNvPr>
          <p:cNvSpPr/>
          <p:nvPr/>
        </p:nvSpPr>
        <p:spPr bwMode="gray">
          <a:xfrm>
            <a:off x="388257" y="4165591"/>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dirty="0">
                <a:solidFill>
                  <a:schemeClr val="tx1"/>
                </a:solidFill>
              </a:rPr>
              <a:t>10 km</a:t>
            </a:r>
          </a:p>
          <a:p>
            <a:pPr marL="0" indent="0" algn="ctr">
              <a:spcBef>
                <a:spcPts val="0"/>
              </a:spcBef>
              <a:buNone/>
            </a:pPr>
            <a:r>
              <a:rPr lang="en-US" sz="800" dirty="0">
                <a:solidFill>
                  <a:schemeClr val="tx1"/>
                </a:solidFill>
              </a:rPr>
              <a:t>6 mi</a:t>
            </a:r>
          </a:p>
        </p:txBody>
      </p:sp>
      <p:sp>
        <p:nvSpPr>
          <p:cNvPr id="23" name="Rectangle 22">
            <a:extLst>
              <a:ext uri="{FF2B5EF4-FFF2-40B4-BE49-F238E27FC236}">
                <a16:creationId xmlns:a16="http://schemas.microsoft.com/office/drawing/2014/main" id="{963F0B86-2242-13CF-4CE7-337E676EBDF4}"/>
              </a:ext>
            </a:extLst>
          </p:cNvPr>
          <p:cNvSpPr/>
          <p:nvPr/>
        </p:nvSpPr>
        <p:spPr bwMode="gray">
          <a:xfrm>
            <a:off x="388257" y="4953396"/>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dirty="0">
                <a:solidFill>
                  <a:schemeClr val="tx1"/>
                </a:solidFill>
              </a:rPr>
              <a:t>15 km</a:t>
            </a:r>
          </a:p>
          <a:p>
            <a:pPr marL="0" indent="0" algn="ctr">
              <a:spcBef>
                <a:spcPts val="0"/>
              </a:spcBef>
              <a:buNone/>
            </a:pPr>
            <a:r>
              <a:rPr lang="en-US" sz="800" dirty="0">
                <a:solidFill>
                  <a:schemeClr val="tx1"/>
                </a:solidFill>
              </a:rPr>
              <a:t>9 mi</a:t>
            </a:r>
          </a:p>
        </p:txBody>
      </p:sp>
      <p:sp>
        <p:nvSpPr>
          <p:cNvPr id="24" name="Rectangle 23">
            <a:extLst>
              <a:ext uri="{FF2B5EF4-FFF2-40B4-BE49-F238E27FC236}">
                <a16:creationId xmlns:a16="http://schemas.microsoft.com/office/drawing/2014/main" id="{5A606D22-2C56-6DF2-2D5C-C5D7535EC89B}"/>
              </a:ext>
            </a:extLst>
          </p:cNvPr>
          <p:cNvSpPr/>
          <p:nvPr/>
        </p:nvSpPr>
        <p:spPr bwMode="gray">
          <a:xfrm>
            <a:off x="388257" y="5741198"/>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dirty="0">
                <a:solidFill>
                  <a:schemeClr val="tx1"/>
                </a:solidFill>
              </a:rPr>
              <a:t>20 km</a:t>
            </a:r>
          </a:p>
          <a:p>
            <a:pPr marL="0" indent="0" algn="ctr">
              <a:spcBef>
                <a:spcPts val="0"/>
              </a:spcBef>
              <a:buNone/>
            </a:pPr>
            <a:r>
              <a:rPr lang="en-US" sz="800" dirty="0">
                <a:solidFill>
                  <a:schemeClr val="tx1"/>
                </a:solidFill>
              </a:rPr>
              <a:t>12 mi</a:t>
            </a:r>
          </a:p>
        </p:txBody>
      </p:sp>
      <p:pic>
        <p:nvPicPr>
          <p:cNvPr id="25" name="Picture 2" descr="Oil Platform Icon - Free PNG &amp; SVG 28764 - Noun Project">
            <a:extLst>
              <a:ext uri="{FF2B5EF4-FFF2-40B4-BE49-F238E27FC236}">
                <a16:creationId xmlns:a16="http://schemas.microsoft.com/office/drawing/2014/main" id="{F8C5C851-7371-6677-3876-45BAF631CB53}"/>
              </a:ext>
            </a:extLst>
          </p:cNvPr>
          <p:cNvPicPr>
            <a:picLocks noChangeAspect="1" noChangeArrowheads="1"/>
          </p:cNvPicPr>
          <p:nvPr/>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1821140" y="2417412"/>
            <a:ext cx="292368" cy="292368"/>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a:extLst>
              <a:ext uri="{FF2B5EF4-FFF2-40B4-BE49-F238E27FC236}">
                <a16:creationId xmlns:a16="http://schemas.microsoft.com/office/drawing/2014/main" id="{DE9BDE1E-043F-8B8B-A4F3-10C0EA755086}"/>
              </a:ext>
            </a:extLst>
          </p:cNvPr>
          <p:cNvCxnSpPr>
            <a:cxnSpLocks/>
          </p:cNvCxnSpPr>
          <p:nvPr/>
        </p:nvCxnSpPr>
        <p:spPr bwMode="gray">
          <a:xfrm>
            <a:off x="1960251" y="2709780"/>
            <a:ext cx="0" cy="173664"/>
          </a:xfrm>
          <a:prstGeom prst="line">
            <a:avLst/>
          </a:prstGeom>
          <a:ln w="19050" cap="flat">
            <a:solidFill>
              <a:srgbClr val="CDCDCD"/>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828C463B-3142-1438-D45C-D0EEF7C1D8B2}"/>
              </a:ext>
            </a:extLst>
          </p:cNvPr>
          <p:cNvSpPr/>
          <p:nvPr/>
        </p:nvSpPr>
        <p:spPr bwMode="gray">
          <a:xfrm>
            <a:off x="1366996" y="2166959"/>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000" dirty="0">
                <a:solidFill>
                  <a:schemeClr val="tx1"/>
                </a:solidFill>
              </a:rPr>
              <a:t>Conventional</a:t>
            </a:r>
          </a:p>
          <a:p>
            <a:pPr marL="0" indent="0" algn="ctr">
              <a:spcBef>
                <a:spcPts val="0"/>
              </a:spcBef>
              <a:buNone/>
            </a:pPr>
            <a:r>
              <a:rPr lang="en-US" sz="1000" dirty="0">
                <a:solidFill>
                  <a:schemeClr val="tx1"/>
                </a:solidFill>
              </a:rPr>
              <a:t>Oil &amp; Gas Drilling</a:t>
            </a:r>
          </a:p>
          <a:p>
            <a:pPr marL="0" indent="0" algn="ctr">
              <a:spcBef>
                <a:spcPts val="0"/>
              </a:spcBef>
              <a:buNone/>
            </a:pPr>
            <a:r>
              <a:rPr lang="en-US" sz="800" dirty="0">
                <a:solidFill>
                  <a:schemeClr val="tx1"/>
                </a:solidFill>
              </a:rPr>
              <a:t>(Reference)</a:t>
            </a:r>
          </a:p>
        </p:txBody>
      </p:sp>
      <p:pic>
        <p:nvPicPr>
          <p:cNvPr id="28" name="Picture 2" descr="Oil Platform Icon - Free PNG &amp; SVG 28764 - Noun Project">
            <a:extLst>
              <a:ext uri="{FF2B5EF4-FFF2-40B4-BE49-F238E27FC236}">
                <a16:creationId xmlns:a16="http://schemas.microsoft.com/office/drawing/2014/main" id="{68AEFEA2-985F-FC27-9EE8-703DE7CDAE84}"/>
              </a:ext>
            </a:extLst>
          </p:cNvPr>
          <p:cNvPicPr>
            <a:picLocks noChangeAspect="1" noChangeArrowheads="1"/>
          </p:cNvPicPr>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977337" y="2417412"/>
            <a:ext cx="292368" cy="292368"/>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a:extLst>
              <a:ext uri="{FF2B5EF4-FFF2-40B4-BE49-F238E27FC236}">
                <a16:creationId xmlns:a16="http://schemas.microsoft.com/office/drawing/2014/main" id="{FAA92D37-984E-6A10-A76E-7D83EB103B48}"/>
              </a:ext>
            </a:extLst>
          </p:cNvPr>
          <p:cNvCxnSpPr>
            <a:cxnSpLocks/>
          </p:cNvCxnSpPr>
          <p:nvPr/>
        </p:nvCxnSpPr>
        <p:spPr bwMode="gray">
          <a:xfrm>
            <a:off x="3112312" y="2709780"/>
            <a:ext cx="0" cy="759919"/>
          </a:xfrm>
          <a:prstGeom prst="line">
            <a:avLst/>
          </a:prstGeom>
          <a:ln w="19050" cap="flat">
            <a:solidFill>
              <a:srgbClr val="2676B4"/>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E94943C-72FF-31FB-4903-2F358D65CB50}"/>
              </a:ext>
            </a:extLst>
          </p:cNvPr>
          <p:cNvSpPr/>
          <p:nvPr/>
        </p:nvSpPr>
        <p:spPr bwMode="gray">
          <a:xfrm>
            <a:off x="2511623" y="2168443"/>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000" dirty="0">
                <a:solidFill>
                  <a:schemeClr val="tx1"/>
                </a:solidFill>
              </a:rPr>
              <a:t>Conventional Geothermal</a:t>
            </a:r>
          </a:p>
        </p:txBody>
      </p:sp>
      <p:pic>
        <p:nvPicPr>
          <p:cNvPr id="31" name="Picture 2" descr="Oil Platform Icon - Free PNG &amp; SVG 28764 - Noun Project">
            <a:extLst>
              <a:ext uri="{FF2B5EF4-FFF2-40B4-BE49-F238E27FC236}">
                <a16:creationId xmlns:a16="http://schemas.microsoft.com/office/drawing/2014/main" id="{B27EBD7F-BA2E-CE5C-AAAA-3B416F55C38A}"/>
              </a:ext>
            </a:extLst>
          </p:cNvPr>
          <p:cNvPicPr>
            <a:picLocks noChangeAspect="1" noChangeArrowheads="1"/>
          </p:cNvPicPr>
          <p:nvPr/>
        </p:nvPicPr>
        <p:blipFill>
          <a:blip r:embed="rId8"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121659" y="2417412"/>
            <a:ext cx="292368" cy="292368"/>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Connector 31">
            <a:extLst>
              <a:ext uri="{FF2B5EF4-FFF2-40B4-BE49-F238E27FC236}">
                <a16:creationId xmlns:a16="http://schemas.microsoft.com/office/drawing/2014/main" id="{545352FC-B0E7-38B8-3816-22DF462EE676}"/>
              </a:ext>
            </a:extLst>
          </p:cNvPr>
          <p:cNvCxnSpPr>
            <a:cxnSpLocks/>
          </p:cNvCxnSpPr>
          <p:nvPr/>
        </p:nvCxnSpPr>
        <p:spPr bwMode="gray">
          <a:xfrm>
            <a:off x="4258210" y="2709780"/>
            <a:ext cx="0" cy="1547723"/>
          </a:xfrm>
          <a:prstGeom prst="line">
            <a:avLst/>
          </a:prstGeom>
          <a:ln w="19050" cap="flat">
            <a:solidFill>
              <a:srgbClr val="24796D"/>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F5FD876-A52D-9640-75A2-733F5472EE9D}"/>
              </a:ext>
            </a:extLst>
          </p:cNvPr>
          <p:cNvSpPr/>
          <p:nvPr/>
        </p:nvSpPr>
        <p:spPr bwMode="gray">
          <a:xfrm>
            <a:off x="3646502" y="2146219"/>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000" dirty="0">
                <a:solidFill>
                  <a:schemeClr val="tx1"/>
                </a:solidFill>
              </a:rPr>
              <a:t>Recent EGS </a:t>
            </a:r>
          </a:p>
        </p:txBody>
      </p:sp>
      <p:graphicFrame>
        <p:nvGraphicFramePr>
          <p:cNvPr id="34" name="Table 33">
            <a:extLst>
              <a:ext uri="{FF2B5EF4-FFF2-40B4-BE49-F238E27FC236}">
                <a16:creationId xmlns:a16="http://schemas.microsoft.com/office/drawing/2014/main" id="{FC8756CE-9AC7-713C-AF38-28487867C454}"/>
              </a:ext>
            </a:extLst>
          </p:cNvPr>
          <p:cNvGraphicFramePr>
            <a:graphicFrameLocks noGrp="1"/>
          </p:cNvGraphicFramePr>
          <p:nvPr>
            <p:extLst>
              <p:ext uri="{D42A27DB-BD31-4B8C-83A1-F6EECF244321}">
                <p14:modId xmlns:p14="http://schemas.microsoft.com/office/powerpoint/2010/main" val="879521429"/>
              </p:ext>
            </p:extLst>
          </p:nvPr>
        </p:nvGraphicFramePr>
        <p:xfrm>
          <a:off x="7397008" y="1424090"/>
          <a:ext cx="4523255" cy="4783526"/>
        </p:xfrm>
        <a:graphic>
          <a:graphicData uri="http://schemas.openxmlformats.org/drawingml/2006/table">
            <a:tbl>
              <a:tblPr firstRow="1" bandRow="1">
                <a:tableStyleId>{5940675A-B579-460E-94D1-54222C63F5DA}</a:tableStyleId>
              </a:tblPr>
              <a:tblGrid>
                <a:gridCol w="977372">
                  <a:extLst>
                    <a:ext uri="{9D8B030D-6E8A-4147-A177-3AD203B41FA5}">
                      <a16:colId xmlns:a16="http://schemas.microsoft.com/office/drawing/2014/main" val="3067892960"/>
                    </a:ext>
                  </a:extLst>
                </a:gridCol>
                <a:gridCol w="1112520">
                  <a:extLst>
                    <a:ext uri="{9D8B030D-6E8A-4147-A177-3AD203B41FA5}">
                      <a16:colId xmlns:a16="http://schemas.microsoft.com/office/drawing/2014/main" val="4265440467"/>
                    </a:ext>
                  </a:extLst>
                </a:gridCol>
                <a:gridCol w="1194535">
                  <a:extLst>
                    <a:ext uri="{9D8B030D-6E8A-4147-A177-3AD203B41FA5}">
                      <a16:colId xmlns:a16="http://schemas.microsoft.com/office/drawing/2014/main" val="1029997905"/>
                    </a:ext>
                  </a:extLst>
                </a:gridCol>
                <a:gridCol w="1238828">
                  <a:extLst>
                    <a:ext uri="{9D8B030D-6E8A-4147-A177-3AD203B41FA5}">
                      <a16:colId xmlns:a16="http://schemas.microsoft.com/office/drawing/2014/main" val="963718757"/>
                    </a:ext>
                  </a:extLst>
                </a:gridCol>
              </a:tblGrid>
              <a:tr h="464590">
                <a:tc>
                  <a:txBody>
                    <a:bodyPr/>
                    <a:lstStyle/>
                    <a:p>
                      <a:pPr marL="0" indent="0">
                        <a:buNone/>
                      </a:pPr>
                      <a:endParaRPr lang="en-US" sz="900" b="1" dirty="0">
                        <a:solidFill>
                          <a:sysClr val="windowText" lastClr="000000"/>
                        </a:solidFill>
                        <a:latin typeface="+mn-lt"/>
                      </a:endParaRPr>
                    </a:p>
                  </a:txBody>
                  <a:tcP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US" sz="900" b="1" dirty="0">
                        <a:solidFill>
                          <a:sysClr val="windowText" lastClr="000000"/>
                        </a:solidFill>
                        <a:latin typeface="+mn-lt"/>
                      </a:endParaRPr>
                    </a:p>
                  </a:txBody>
                  <a:tcPr marL="36576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US" sz="900" b="1" dirty="0">
                        <a:solidFill>
                          <a:sysClr val="windowText" lastClr="000000"/>
                        </a:solidFill>
                        <a:latin typeface="+mn-lt"/>
                      </a:endParaRPr>
                    </a:p>
                  </a:txBody>
                  <a:tcPr marL="36576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US" sz="900" b="1" dirty="0">
                        <a:solidFill>
                          <a:sysClr val="windowText" lastClr="000000"/>
                        </a:solidFill>
                        <a:latin typeface="+mn-lt"/>
                      </a:endParaRPr>
                    </a:p>
                  </a:txBody>
                  <a:tcPr marL="36576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59980"/>
                  </a:ext>
                </a:extLst>
              </a:tr>
              <a:tr h="806765">
                <a:tc>
                  <a:txBody>
                    <a:bodyPr/>
                    <a:lstStyle/>
                    <a:p>
                      <a:pPr marL="0" indent="0">
                        <a:buNone/>
                      </a:pPr>
                      <a:r>
                        <a:rPr lang="en-US" sz="900" b="1" dirty="0">
                          <a:solidFill>
                            <a:sysClr val="windowText" lastClr="000000"/>
                          </a:solidFill>
                        </a:rPr>
                        <a:t>Description</a:t>
                      </a:r>
                      <a:endParaRPr lang="en-US" sz="900" b="1"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dirty="0">
                          <a:solidFill>
                            <a:sysClr val="windowText" lastClr="000000"/>
                          </a:solidFill>
                        </a:rPr>
                        <a:t>Baseline method for moderate depths, well-known in oil &amp; gas, adapted to geothermal</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b="0" u="none" strike="noStrike" kern="1200" dirty="0">
                          <a:solidFill>
                            <a:sysClr val="windowText" lastClr="000000"/>
                          </a:solidFill>
                          <a:effectLst/>
                        </a:rPr>
                        <a:t>Enhanced drilling with high-temp tools, directional drilling for reservoir targeting, or EGS creation</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b="0" u="none" strike="noStrike" kern="1200" dirty="0">
                          <a:solidFill>
                            <a:sysClr val="windowText" lastClr="000000"/>
                          </a:solidFill>
                          <a:effectLst/>
                        </a:rPr>
                        <a:t>Millimeter-wave drilling, plasma/ hybrid thermal drilling</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034294"/>
                  </a:ext>
                </a:extLst>
              </a:tr>
              <a:tr h="2072278">
                <a:tc>
                  <a:txBody>
                    <a:bodyPr/>
                    <a:lstStyle/>
                    <a:p>
                      <a:pPr marL="0" indent="0">
                        <a:buNone/>
                      </a:pPr>
                      <a:r>
                        <a:rPr lang="en-US" sz="900" b="1" dirty="0">
                          <a:solidFill>
                            <a:sysClr val="windowText" lastClr="000000"/>
                          </a:solidFill>
                        </a:rPr>
                        <a:t>Drilling bits</a:t>
                      </a:r>
                      <a:endParaRPr lang="en-US" sz="900" b="1"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r>
                        <a:rPr lang="en-US" sz="900" dirty="0">
                          <a:solidFill>
                            <a:sysClr val="windowText" lastClr="000000"/>
                          </a:solidFill>
                        </a:rPr>
                        <a:t>Tricone </a:t>
                      </a:r>
                      <a:br>
                        <a:rPr lang="en-US" sz="900" dirty="0">
                          <a:solidFill>
                            <a:sysClr val="windowText" lastClr="000000"/>
                          </a:solidFill>
                        </a:rPr>
                      </a:br>
                      <a:r>
                        <a:rPr lang="en-US" sz="900" dirty="0">
                          <a:solidFill>
                            <a:sysClr val="windowText" lastClr="000000"/>
                          </a:solidFill>
                        </a:rPr>
                        <a:t>roller-cone</a:t>
                      </a:r>
                    </a:p>
                    <a:p>
                      <a:pPr marL="177800" lvl="1" indent="0">
                        <a:buNone/>
                      </a:pPr>
                      <a:r>
                        <a:rPr lang="en-US" sz="900" b="1" dirty="0">
                          <a:solidFill>
                            <a:srgbClr val="2676B4"/>
                          </a:solidFill>
                        </a:rPr>
                        <a:t>0-3 km</a:t>
                      </a:r>
                    </a:p>
                    <a:p>
                      <a:pPr marL="177800" indent="-177800"/>
                      <a:r>
                        <a:rPr lang="en-US" sz="900" dirty="0">
                          <a:solidFill>
                            <a:sysClr val="windowText" lastClr="000000"/>
                          </a:solidFill>
                        </a:rPr>
                        <a:t>Polycrystalline diamond compact (PDC)</a:t>
                      </a:r>
                    </a:p>
                    <a:p>
                      <a:pPr marL="177800" lvl="1" indent="0">
                        <a:buNone/>
                      </a:pPr>
                      <a:r>
                        <a:rPr lang="en-US" sz="900" b="1" dirty="0">
                          <a:solidFill>
                            <a:srgbClr val="2676B4"/>
                          </a:solidFill>
                          <a:latin typeface="+mn-lt"/>
                        </a:rPr>
                        <a:t>3-5 km</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r>
                        <a:rPr lang="en-US" sz="900" dirty="0">
                          <a:solidFill>
                            <a:sysClr val="windowText" lastClr="000000"/>
                          </a:solidFill>
                        </a:rPr>
                        <a:t>Thermally stable PDC (TSP)</a:t>
                      </a:r>
                    </a:p>
                    <a:p>
                      <a:pPr marL="177800" lvl="1" indent="0">
                        <a:buNone/>
                      </a:pPr>
                      <a:r>
                        <a:rPr lang="en-US" sz="900" b="1" dirty="0">
                          <a:solidFill>
                            <a:srgbClr val="24796D"/>
                          </a:solidFill>
                        </a:rPr>
                        <a:t>5-8 km</a:t>
                      </a:r>
                    </a:p>
                    <a:p>
                      <a:pPr marL="177800" indent="-177800"/>
                      <a:r>
                        <a:rPr lang="en-US" sz="900" dirty="0">
                          <a:solidFill>
                            <a:sysClr val="windowText" lastClr="000000"/>
                          </a:solidFill>
                        </a:rPr>
                        <a:t>Diamond-impregnated bits</a:t>
                      </a:r>
                    </a:p>
                    <a:p>
                      <a:pPr marL="177800" lvl="1" indent="0">
                        <a:buNone/>
                      </a:pPr>
                      <a:r>
                        <a:rPr lang="en-US" sz="900" b="1" dirty="0">
                          <a:solidFill>
                            <a:srgbClr val="24796D"/>
                          </a:solidFill>
                          <a:latin typeface="+mn-lt"/>
                        </a:rPr>
                        <a:t>6-10 km</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r>
                        <a:rPr lang="en-US" sz="900" dirty="0">
                          <a:solidFill>
                            <a:sysClr val="windowText" lastClr="000000"/>
                          </a:solidFill>
                        </a:rPr>
                        <a:t>Millimeter-wave (gyrotron)</a:t>
                      </a:r>
                    </a:p>
                    <a:p>
                      <a:pPr marL="177800" lvl="1" indent="0">
                        <a:buNone/>
                      </a:pPr>
                      <a:r>
                        <a:rPr lang="en-US" sz="900" b="1" dirty="0">
                          <a:solidFill>
                            <a:srgbClr val="A70056"/>
                          </a:solidFill>
                        </a:rPr>
                        <a:t>10-15 km</a:t>
                      </a:r>
                    </a:p>
                    <a:p>
                      <a:pPr marL="177800" indent="-177800"/>
                      <a:r>
                        <a:rPr lang="en-US" sz="900" dirty="0">
                          <a:solidFill>
                            <a:sysClr val="windowText" lastClr="000000"/>
                          </a:solidFill>
                        </a:rPr>
                        <a:t>Plasma or thermal spallation</a:t>
                      </a:r>
                    </a:p>
                    <a:p>
                      <a:pPr marL="177800" lvl="1" indent="0">
                        <a:buNone/>
                      </a:pPr>
                      <a:r>
                        <a:rPr lang="en-US" sz="900" b="1" dirty="0">
                          <a:solidFill>
                            <a:srgbClr val="A70056"/>
                          </a:solidFill>
                        </a:rPr>
                        <a:t>15-20 km</a:t>
                      </a:r>
                    </a:p>
                    <a:p>
                      <a:pPr marL="177800" indent="-177800"/>
                      <a:r>
                        <a:rPr lang="en-US" sz="900" dirty="0">
                          <a:solidFill>
                            <a:sysClr val="windowText" lastClr="000000"/>
                          </a:solidFill>
                        </a:rPr>
                        <a:t>Laser-assisted drilling</a:t>
                      </a:r>
                    </a:p>
                    <a:p>
                      <a:pPr marL="177800" lvl="1" indent="0">
                        <a:buNone/>
                      </a:pPr>
                      <a:r>
                        <a:rPr lang="en-US" sz="900" b="1" dirty="0">
                          <a:solidFill>
                            <a:srgbClr val="A70056"/>
                          </a:solidFill>
                          <a:latin typeface="+mn-lt"/>
                        </a:rPr>
                        <a:t>20+ km</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7962296"/>
                  </a:ext>
                </a:extLst>
              </a:tr>
              <a:tr h="666129">
                <a:tc>
                  <a:txBody>
                    <a:bodyPr/>
                    <a:lstStyle/>
                    <a:p>
                      <a:pPr marL="0" indent="0">
                        <a:buNone/>
                      </a:pPr>
                      <a:r>
                        <a:rPr lang="en-US" sz="900" b="1" dirty="0">
                          <a:solidFill>
                            <a:sysClr val="windowText" lastClr="000000"/>
                          </a:solidFill>
                        </a:rPr>
                        <a:t>Opportunities</a:t>
                      </a:r>
                      <a:endParaRPr lang="en-US" sz="900" b="1"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Mature and reliable</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Reaches harder rock (basalt, granite, etc.)</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Potential to unlock superhot rock</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2267497"/>
                  </a:ext>
                </a:extLst>
              </a:tr>
              <a:tr h="666129">
                <a:tc>
                  <a:txBody>
                    <a:bodyPr/>
                    <a:lstStyle/>
                    <a:p>
                      <a:pPr marL="0" indent="0">
                        <a:buNone/>
                      </a:pPr>
                      <a:r>
                        <a:rPr lang="en-US" sz="900" b="1" dirty="0">
                          <a:solidFill>
                            <a:sysClr val="windowText" lastClr="000000"/>
                          </a:solidFill>
                        </a:rPr>
                        <a:t>Challenges</a:t>
                      </a:r>
                      <a:endParaRPr lang="en-US" sz="900" b="1"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Slow, wear issues</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Higher cost, stress on materials and wellbore stability</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buNone/>
                      </a:pPr>
                      <a:r>
                        <a:rPr lang="en-US" sz="900" dirty="0">
                          <a:solidFill>
                            <a:sysClr val="windowText" lastClr="000000"/>
                          </a:solidFill>
                        </a:rPr>
                        <a:t>Cost and uncertainty risk</a:t>
                      </a:r>
                      <a:endParaRPr lang="en-US" sz="900" dirty="0">
                        <a:solidFill>
                          <a:sysClr val="windowText" lastClr="000000"/>
                        </a:solidFill>
                        <a:latin typeface="+mn-lt"/>
                      </a:endParaRP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0804712"/>
                  </a:ext>
                </a:extLst>
              </a:tr>
            </a:tbl>
          </a:graphicData>
        </a:graphic>
      </p:graphicFrame>
      <p:pic>
        <p:nvPicPr>
          <p:cNvPr id="35" name="Picture 34">
            <a:extLst>
              <a:ext uri="{FF2B5EF4-FFF2-40B4-BE49-F238E27FC236}">
                <a16:creationId xmlns:a16="http://schemas.microsoft.com/office/drawing/2014/main" id="{581F9C09-5E0A-694D-B2CB-3A27F4EAAC92}"/>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6591099" y="2722494"/>
            <a:ext cx="330606" cy="378978"/>
          </a:xfrm>
          <a:prstGeom prst="rect">
            <a:avLst/>
          </a:prstGeom>
        </p:spPr>
      </p:pic>
      <p:pic>
        <p:nvPicPr>
          <p:cNvPr id="36" name="Picture 35">
            <a:extLst>
              <a:ext uri="{FF2B5EF4-FFF2-40B4-BE49-F238E27FC236}">
                <a16:creationId xmlns:a16="http://schemas.microsoft.com/office/drawing/2014/main" id="{10873525-A7AA-38E1-B1C3-E787BCA6751F}"/>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6638311" y="3137042"/>
            <a:ext cx="243100" cy="347500"/>
          </a:xfrm>
          <a:prstGeom prst="rect">
            <a:avLst/>
          </a:prstGeom>
        </p:spPr>
      </p:pic>
      <p:pic>
        <p:nvPicPr>
          <p:cNvPr id="37" name="Picture 36">
            <a:extLst>
              <a:ext uri="{FF2B5EF4-FFF2-40B4-BE49-F238E27FC236}">
                <a16:creationId xmlns:a16="http://schemas.microsoft.com/office/drawing/2014/main" id="{C149F099-1C8A-A334-C829-B8A23274F82F}"/>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6535758" y="3417712"/>
            <a:ext cx="401672" cy="556986"/>
          </a:xfrm>
          <a:prstGeom prst="rect">
            <a:avLst/>
          </a:prstGeom>
        </p:spPr>
      </p:pic>
      <p:pic>
        <p:nvPicPr>
          <p:cNvPr id="38" name="Picture 37">
            <a:extLst>
              <a:ext uri="{FF2B5EF4-FFF2-40B4-BE49-F238E27FC236}">
                <a16:creationId xmlns:a16="http://schemas.microsoft.com/office/drawing/2014/main" id="{12809B3C-5E94-922F-AA00-662BAA500157}"/>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6595811" y="3972023"/>
            <a:ext cx="338421" cy="351112"/>
          </a:xfrm>
          <a:prstGeom prst="rect">
            <a:avLst/>
          </a:prstGeom>
        </p:spPr>
      </p:pic>
      <p:pic>
        <p:nvPicPr>
          <p:cNvPr id="39" name="Picture 8" descr="Reaching underground resources | MIT News | Massachusetts Institute of  Technology">
            <a:extLst>
              <a:ext uri="{FF2B5EF4-FFF2-40B4-BE49-F238E27FC236}">
                <a16:creationId xmlns:a16="http://schemas.microsoft.com/office/drawing/2014/main" id="{58A95899-9937-DC1A-5174-59F5F3C352A9}"/>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593174" y="4419755"/>
            <a:ext cx="338421" cy="47572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Undergrounding Case Study: EarthGrid™ Plasma Tunnel-Boring Technology |  Scenic America">
            <a:extLst>
              <a:ext uri="{FF2B5EF4-FFF2-40B4-BE49-F238E27FC236}">
                <a16:creationId xmlns:a16="http://schemas.microsoft.com/office/drawing/2014/main" id="{FD561E52-B083-9646-BA01-81DD37B327D4}"/>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529792" y="5290338"/>
            <a:ext cx="472497" cy="294416"/>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174B46F5-6B1F-0D64-4689-31997AB70D60}"/>
              </a:ext>
            </a:extLst>
          </p:cNvPr>
          <p:cNvSpPr/>
          <p:nvPr/>
        </p:nvSpPr>
        <p:spPr bwMode="gray">
          <a:xfrm>
            <a:off x="5906110" y="2169731"/>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000" dirty="0">
                <a:solidFill>
                  <a:schemeClr val="tx1"/>
                </a:solidFill>
              </a:rPr>
              <a:t>Drilling Bits/</a:t>
            </a:r>
          </a:p>
          <a:p>
            <a:pPr marL="0" indent="0" algn="ctr">
              <a:spcBef>
                <a:spcPts val="0"/>
              </a:spcBef>
              <a:buNone/>
            </a:pPr>
            <a:r>
              <a:rPr lang="en-US" sz="1000" dirty="0">
                <a:solidFill>
                  <a:schemeClr val="tx1"/>
                </a:solidFill>
              </a:rPr>
              <a:t>Technology</a:t>
            </a:r>
          </a:p>
        </p:txBody>
      </p:sp>
      <p:pic>
        <p:nvPicPr>
          <p:cNvPr id="42" name="Picture 4" descr="Drill-Bit Icons - Free SVG &amp; PNG Drill-Bit Images - Noun Project">
            <a:extLst>
              <a:ext uri="{FF2B5EF4-FFF2-40B4-BE49-F238E27FC236}">
                <a16:creationId xmlns:a16="http://schemas.microsoft.com/office/drawing/2014/main" id="{EE336647-913C-DC22-2218-0EA23BFD0D2D}"/>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345233" y="2396125"/>
            <a:ext cx="292368" cy="29236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Oil Platform Icon - Free PNG &amp; SVG 28764 - Noun Project">
            <a:extLst>
              <a:ext uri="{FF2B5EF4-FFF2-40B4-BE49-F238E27FC236}">
                <a16:creationId xmlns:a16="http://schemas.microsoft.com/office/drawing/2014/main" id="{C972B6BC-E738-2C4A-BE4D-258BE7BB9B71}"/>
              </a:ext>
            </a:extLst>
          </p:cNvPr>
          <p:cNvPicPr>
            <a:picLocks noChangeAspect="1" noChangeArrowheads="1"/>
          </p:cNvPicPr>
          <p:nvPr/>
        </p:nvPicPr>
        <p:blipFill>
          <a:blip r:embed="rId8"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265981" y="2417412"/>
            <a:ext cx="292368" cy="292368"/>
          </a:xfrm>
          <a:prstGeom prst="rect">
            <a:avLst/>
          </a:prstGeom>
          <a:noFill/>
          <a:extLst>
            <a:ext uri="{909E8E84-426E-40DD-AFC4-6F175D3DCCD1}">
              <a14:hiddenFill xmlns:a14="http://schemas.microsoft.com/office/drawing/2010/main">
                <a:solidFill>
                  <a:srgbClr val="FFFFFF"/>
                </a:solidFill>
              </a14:hiddenFill>
            </a:ext>
          </a:extLst>
        </p:spPr>
      </p:pic>
      <p:cxnSp>
        <p:nvCxnSpPr>
          <p:cNvPr id="44" name="Straight Connector 43">
            <a:extLst>
              <a:ext uri="{FF2B5EF4-FFF2-40B4-BE49-F238E27FC236}">
                <a16:creationId xmlns:a16="http://schemas.microsoft.com/office/drawing/2014/main" id="{35E9EFFF-5AE5-3A36-AA6C-2641D0ECE4BA}"/>
              </a:ext>
            </a:extLst>
          </p:cNvPr>
          <p:cNvCxnSpPr>
            <a:cxnSpLocks/>
          </p:cNvCxnSpPr>
          <p:nvPr/>
        </p:nvCxnSpPr>
        <p:spPr bwMode="gray">
          <a:xfrm>
            <a:off x="5404108" y="2699620"/>
            <a:ext cx="0" cy="3542916"/>
          </a:xfrm>
          <a:prstGeom prst="line">
            <a:avLst/>
          </a:prstGeom>
          <a:ln w="19050" cap="flat">
            <a:solidFill>
              <a:srgbClr val="A70056"/>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43693DD-2E34-BFC9-938C-6360F8480EF1}"/>
              </a:ext>
            </a:extLst>
          </p:cNvPr>
          <p:cNvSpPr/>
          <p:nvPr/>
        </p:nvSpPr>
        <p:spPr bwMode="gray">
          <a:xfrm>
            <a:off x="4725625" y="2158844"/>
            <a:ext cx="1282475" cy="2132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000" dirty="0">
                <a:solidFill>
                  <a:schemeClr val="tx1"/>
                </a:solidFill>
              </a:rPr>
              <a:t>Superhot Rock</a:t>
            </a:r>
          </a:p>
          <a:p>
            <a:pPr marL="0" indent="0" algn="ctr">
              <a:spcBef>
                <a:spcPts val="0"/>
              </a:spcBef>
              <a:buNone/>
            </a:pPr>
            <a:r>
              <a:rPr lang="en-US" sz="1000" dirty="0">
                <a:solidFill>
                  <a:schemeClr val="tx1"/>
                </a:solidFill>
              </a:rPr>
              <a:t>(Developing)</a:t>
            </a:r>
          </a:p>
        </p:txBody>
      </p:sp>
      <p:cxnSp>
        <p:nvCxnSpPr>
          <p:cNvPr id="46" name="Straight Connector 45">
            <a:extLst>
              <a:ext uri="{FF2B5EF4-FFF2-40B4-BE49-F238E27FC236}">
                <a16:creationId xmlns:a16="http://schemas.microsoft.com/office/drawing/2014/main" id="{F961A6B3-D92D-63A5-0D2C-DEA1912E7435}"/>
              </a:ext>
            </a:extLst>
          </p:cNvPr>
          <p:cNvCxnSpPr>
            <a:cxnSpLocks/>
          </p:cNvCxnSpPr>
          <p:nvPr/>
        </p:nvCxnSpPr>
        <p:spPr bwMode="gray">
          <a:xfrm>
            <a:off x="6495004" y="2709780"/>
            <a:ext cx="0" cy="3542916"/>
          </a:xfrm>
          <a:prstGeom prst="line">
            <a:avLst/>
          </a:prstGeom>
          <a:ln w="19050" cap="flat">
            <a:solidFill>
              <a:schemeClr val="tx1"/>
            </a:solidFill>
            <a:prstDash val="solid"/>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BE3CFC9-E016-A9AA-977B-73CD6A2F2365}"/>
              </a:ext>
            </a:extLst>
          </p:cNvPr>
          <p:cNvCxnSpPr>
            <a:cxnSpLocks/>
          </p:cNvCxnSpPr>
          <p:nvPr/>
        </p:nvCxnSpPr>
        <p:spPr bwMode="gray">
          <a:xfrm>
            <a:off x="1406387" y="3186608"/>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9F6691-F4DF-9408-3849-D0691D93D095}"/>
              </a:ext>
            </a:extLst>
          </p:cNvPr>
          <p:cNvCxnSpPr>
            <a:cxnSpLocks/>
          </p:cNvCxnSpPr>
          <p:nvPr/>
        </p:nvCxnSpPr>
        <p:spPr bwMode="gray">
          <a:xfrm>
            <a:off x="1406387" y="3469699"/>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5E945CD-570B-1DBC-869D-3D8931712872}"/>
              </a:ext>
            </a:extLst>
          </p:cNvPr>
          <p:cNvCxnSpPr>
            <a:cxnSpLocks/>
          </p:cNvCxnSpPr>
          <p:nvPr/>
        </p:nvCxnSpPr>
        <p:spPr bwMode="gray">
          <a:xfrm>
            <a:off x="1406387" y="4023109"/>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E9B6315-8289-B7AC-EB8B-97461497B442}"/>
              </a:ext>
            </a:extLst>
          </p:cNvPr>
          <p:cNvCxnSpPr>
            <a:cxnSpLocks/>
          </p:cNvCxnSpPr>
          <p:nvPr/>
        </p:nvCxnSpPr>
        <p:spPr bwMode="gray">
          <a:xfrm>
            <a:off x="1406387" y="4257503"/>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D2F9D54-FCC2-D202-B64D-4DB3461E2129}"/>
              </a:ext>
            </a:extLst>
          </p:cNvPr>
          <p:cNvCxnSpPr>
            <a:cxnSpLocks/>
          </p:cNvCxnSpPr>
          <p:nvPr/>
        </p:nvCxnSpPr>
        <p:spPr bwMode="gray">
          <a:xfrm>
            <a:off x="1406387" y="5045307"/>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262C69B-7787-06EE-BB35-5A9B1EEC590B}"/>
              </a:ext>
            </a:extLst>
          </p:cNvPr>
          <p:cNvCxnSpPr>
            <a:cxnSpLocks/>
          </p:cNvCxnSpPr>
          <p:nvPr/>
        </p:nvCxnSpPr>
        <p:spPr bwMode="gray">
          <a:xfrm>
            <a:off x="1406387" y="5833113"/>
            <a:ext cx="5628075" cy="0"/>
          </a:xfrm>
          <a:prstGeom prst="line">
            <a:avLst/>
          </a:prstGeom>
          <a:ln w="1270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AAFF4B87-418B-A52F-62AB-0746D09B722C}"/>
              </a:ext>
            </a:extLst>
          </p:cNvPr>
          <p:cNvSpPr/>
          <p:nvPr/>
        </p:nvSpPr>
        <p:spPr bwMode="gray">
          <a:xfrm>
            <a:off x="6169223" y="5952980"/>
            <a:ext cx="1177788" cy="1838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i="1" dirty="0">
                <a:solidFill>
                  <a:schemeClr val="tx1"/>
                </a:solidFill>
              </a:rPr>
              <a:t>Laser-</a:t>
            </a:r>
          </a:p>
          <a:p>
            <a:pPr marL="0" indent="0" algn="ctr">
              <a:spcBef>
                <a:spcPts val="0"/>
              </a:spcBef>
              <a:buNone/>
            </a:pPr>
            <a:r>
              <a:rPr lang="en-US" sz="800" i="1" dirty="0">
                <a:solidFill>
                  <a:schemeClr val="tx1"/>
                </a:solidFill>
              </a:rPr>
              <a:t>assisted</a:t>
            </a:r>
          </a:p>
          <a:p>
            <a:pPr marL="0" indent="0" algn="ctr">
              <a:spcBef>
                <a:spcPts val="0"/>
              </a:spcBef>
              <a:buNone/>
            </a:pPr>
            <a:r>
              <a:rPr lang="en-US" sz="800" i="1" dirty="0">
                <a:solidFill>
                  <a:schemeClr val="tx1"/>
                </a:solidFill>
              </a:rPr>
              <a:t>drilling</a:t>
            </a:r>
          </a:p>
        </p:txBody>
      </p:sp>
      <p:pic>
        <p:nvPicPr>
          <p:cNvPr id="54" name="Picture 2" descr="Oil Platform Icon - Free PNG &amp; SVG 28764 - Noun Project">
            <a:extLst>
              <a:ext uri="{FF2B5EF4-FFF2-40B4-BE49-F238E27FC236}">
                <a16:creationId xmlns:a16="http://schemas.microsoft.com/office/drawing/2014/main" id="{D936FCD6-F58D-2329-3E96-05ADB185BFEF}"/>
              </a:ext>
            </a:extLst>
          </p:cNvPr>
          <p:cNvPicPr>
            <a:picLocks noChangeAspect="1" noChangeArrowheads="1"/>
          </p:cNvPicPr>
          <p:nvPr/>
        </p:nvPicPr>
        <p:blipFill>
          <a:blip r:embed="rId16"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559660" y="1473327"/>
            <a:ext cx="332737" cy="33273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Oil Platform Icon - Free PNG &amp; SVG 28764 - Noun Project">
            <a:extLst>
              <a:ext uri="{FF2B5EF4-FFF2-40B4-BE49-F238E27FC236}">
                <a16:creationId xmlns:a16="http://schemas.microsoft.com/office/drawing/2014/main" id="{454BEDC6-C817-AC74-02D9-7AC0FA09B4B7}"/>
              </a:ext>
            </a:extLst>
          </p:cNvPr>
          <p:cNvPicPr>
            <a:picLocks noChangeAspect="1" noChangeArrowheads="1"/>
          </p:cNvPicPr>
          <p:nvPr/>
        </p:nvPicPr>
        <p:blipFill>
          <a:blip r:embed="rId1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87976" y="1473327"/>
            <a:ext cx="332737" cy="33273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Oil Platform Icon - Free PNG &amp; SVG 28764 - Noun Project">
            <a:extLst>
              <a:ext uri="{FF2B5EF4-FFF2-40B4-BE49-F238E27FC236}">
                <a16:creationId xmlns:a16="http://schemas.microsoft.com/office/drawing/2014/main" id="{9EF2A0DA-5E82-40F5-DF82-FCE722ACA9C7}"/>
              </a:ext>
            </a:extLst>
          </p:cNvPr>
          <p:cNvPicPr>
            <a:picLocks noChangeAspect="1" noChangeArrowheads="1"/>
          </p:cNvPicPr>
          <p:nvPr/>
        </p:nvPicPr>
        <p:blipFill>
          <a:blip r:embed="rId16"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094009" y="1464858"/>
            <a:ext cx="332737" cy="332737"/>
          </a:xfrm>
          <a:prstGeom prst="rect">
            <a:avLst/>
          </a:prstGeom>
          <a:noFill/>
          <a:extLst>
            <a:ext uri="{909E8E84-426E-40DD-AFC4-6F175D3DCCD1}">
              <a14:hiddenFill xmlns:a14="http://schemas.microsoft.com/office/drawing/2010/main">
                <a:solidFill>
                  <a:srgbClr val="FFFFFF"/>
                </a:solidFill>
              </a14:hiddenFill>
            </a:ext>
          </a:extLst>
        </p:spPr>
      </p:pic>
      <p:cxnSp>
        <p:nvCxnSpPr>
          <p:cNvPr id="57" name="Straight Connector 56">
            <a:extLst>
              <a:ext uri="{FF2B5EF4-FFF2-40B4-BE49-F238E27FC236}">
                <a16:creationId xmlns:a16="http://schemas.microsoft.com/office/drawing/2014/main" id="{052C8F72-5B96-C96B-40B8-802E52E94803}"/>
              </a:ext>
            </a:extLst>
          </p:cNvPr>
          <p:cNvCxnSpPr>
            <a:cxnSpLocks/>
          </p:cNvCxnSpPr>
          <p:nvPr/>
        </p:nvCxnSpPr>
        <p:spPr bwMode="gray">
          <a:xfrm>
            <a:off x="7225748" y="1268413"/>
            <a:ext cx="0" cy="498428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974502F4-8585-1684-9E84-DAE762BAF633}"/>
              </a:ext>
            </a:extLst>
          </p:cNvPr>
          <p:cNvSpPr/>
          <p:nvPr/>
        </p:nvSpPr>
        <p:spPr bwMode="gray">
          <a:xfrm>
            <a:off x="8052547" y="1188575"/>
            <a:ext cx="1366684" cy="21625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bg1"/>
                </a:solidFill>
              </a:rPr>
              <a:t>Conventional </a:t>
            </a:r>
          </a:p>
        </p:txBody>
      </p:sp>
      <p:sp>
        <p:nvSpPr>
          <p:cNvPr id="59" name="Rectangle 58">
            <a:extLst>
              <a:ext uri="{FF2B5EF4-FFF2-40B4-BE49-F238E27FC236}">
                <a16:creationId xmlns:a16="http://schemas.microsoft.com/office/drawing/2014/main" id="{85770DD0-506A-1A66-807A-51BFC786BDEB}"/>
              </a:ext>
            </a:extLst>
          </p:cNvPr>
          <p:cNvSpPr/>
          <p:nvPr/>
        </p:nvSpPr>
        <p:spPr bwMode="gray">
          <a:xfrm>
            <a:off x="9477694" y="1188575"/>
            <a:ext cx="1141145" cy="20565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bg1"/>
                </a:solidFill>
              </a:rPr>
              <a:t>Next Generation </a:t>
            </a:r>
          </a:p>
        </p:txBody>
      </p:sp>
      <p:sp>
        <p:nvSpPr>
          <p:cNvPr id="60" name="Rectangle 59">
            <a:extLst>
              <a:ext uri="{FF2B5EF4-FFF2-40B4-BE49-F238E27FC236}">
                <a16:creationId xmlns:a16="http://schemas.microsoft.com/office/drawing/2014/main" id="{FA66496E-DC6C-CC59-2624-1F47BB71F26D}"/>
              </a:ext>
            </a:extLst>
          </p:cNvPr>
          <p:cNvSpPr/>
          <p:nvPr/>
        </p:nvSpPr>
        <p:spPr bwMode="gray">
          <a:xfrm>
            <a:off x="3779356" y="2705288"/>
            <a:ext cx="1044918" cy="1548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Next Generation </a:t>
            </a:r>
          </a:p>
        </p:txBody>
      </p:sp>
      <p:sp>
        <p:nvSpPr>
          <p:cNvPr id="61" name="Rectangle 60">
            <a:extLst>
              <a:ext uri="{FF2B5EF4-FFF2-40B4-BE49-F238E27FC236}">
                <a16:creationId xmlns:a16="http://schemas.microsoft.com/office/drawing/2014/main" id="{42980AAC-A1DE-05F7-A528-84098D943A9F}"/>
              </a:ext>
            </a:extLst>
          </p:cNvPr>
          <p:cNvSpPr/>
          <p:nvPr/>
        </p:nvSpPr>
        <p:spPr bwMode="gray">
          <a:xfrm>
            <a:off x="2378103" y="2698636"/>
            <a:ext cx="1366684" cy="1683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Conventional </a:t>
            </a:r>
          </a:p>
        </p:txBody>
      </p:sp>
      <p:sp>
        <p:nvSpPr>
          <p:cNvPr id="62" name="Rectangle 61">
            <a:extLst>
              <a:ext uri="{FF2B5EF4-FFF2-40B4-BE49-F238E27FC236}">
                <a16:creationId xmlns:a16="http://schemas.microsoft.com/office/drawing/2014/main" id="{D042E726-D02D-A4A5-5158-ABCACA62F107}"/>
              </a:ext>
            </a:extLst>
          </p:cNvPr>
          <p:cNvSpPr/>
          <p:nvPr/>
        </p:nvSpPr>
        <p:spPr bwMode="gray">
          <a:xfrm>
            <a:off x="10668001" y="1188574"/>
            <a:ext cx="1141145" cy="2056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bg1"/>
                </a:solidFill>
              </a:rPr>
              <a:t>Frontier</a:t>
            </a:r>
          </a:p>
        </p:txBody>
      </p:sp>
      <p:sp>
        <p:nvSpPr>
          <p:cNvPr id="63" name="Rectangle 62">
            <a:extLst>
              <a:ext uri="{FF2B5EF4-FFF2-40B4-BE49-F238E27FC236}">
                <a16:creationId xmlns:a16="http://schemas.microsoft.com/office/drawing/2014/main" id="{E2C35B49-5BEB-A4E1-6518-6A87642F96BF}"/>
              </a:ext>
            </a:extLst>
          </p:cNvPr>
          <p:cNvSpPr/>
          <p:nvPr/>
        </p:nvSpPr>
        <p:spPr bwMode="gray">
          <a:xfrm>
            <a:off x="4852173" y="2703616"/>
            <a:ext cx="1141145" cy="16334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bg1"/>
                </a:solidFill>
              </a:rPr>
              <a:t>Frontier</a:t>
            </a:r>
          </a:p>
        </p:txBody>
      </p:sp>
    </p:spTree>
    <p:extLst>
      <p:ext uri="{BB962C8B-B14F-4D97-AF65-F5344CB8AC3E}">
        <p14:creationId xmlns:p14="http://schemas.microsoft.com/office/powerpoint/2010/main" val="23291532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167EC28-EE5B-9FC9-AAD3-200A41D2D324}"/>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10" name="think-cell data - do not delete" hidden="1">
                        <a:extLst>
                          <a:ext uri="{FF2B5EF4-FFF2-40B4-BE49-F238E27FC236}">
                            <a16:creationId xmlns:a16="http://schemas.microsoft.com/office/drawing/2014/main" id="{2167EC28-EE5B-9FC9-AAD3-200A41D2D324}"/>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601D9B0-F3DF-781B-0560-18618606215A}"/>
              </a:ext>
            </a:extLst>
          </p:cNvPr>
          <p:cNvSpPr>
            <a:spLocks noGrp="1"/>
          </p:cNvSpPr>
          <p:nvPr>
            <p:ph type="title"/>
          </p:nvPr>
        </p:nvSpPr>
        <p:spPr>
          <a:xfrm>
            <a:off x="334963" y="513568"/>
            <a:ext cx="11522075" cy="754846"/>
          </a:xfrm>
        </p:spPr>
        <p:txBody>
          <a:bodyPr vert="horz" lIns="91440" rIns="0"/>
          <a:lstStyle/>
          <a:p>
            <a:r>
              <a:rPr lang="en-US" sz="2500" dirty="0"/>
              <a:t>Drilling currently drives ~54% of next-gen geothermal LCOE; investments to reduce that share target heat resistance, permeability, and drill-bit life</a:t>
            </a:r>
          </a:p>
        </p:txBody>
      </p:sp>
      <p:sp>
        <p:nvSpPr>
          <p:cNvPr id="6" name="Footer Placeholder 5">
            <a:extLst>
              <a:ext uri="{FF2B5EF4-FFF2-40B4-BE49-F238E27FC236}">
                <a16:creationId xmlns:a16="http://schemas.microsoft.com/office/drawing/2014/main" id="{22C12C0C-CB02-088D-A053-17761F1F10D6}"/>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000000"/>
                </a:solidFill>
                <a:hlinkClick r:id="rId26"/>
              </a:rPr>
              <a:t>The Future of Geothermal Energy</a:t>
            </a:r>
            <a:r>
              <a:rPr lang="en-US" dirty="0">
                <a:latin typeface="Arial" panose="020B0604020202020204" pitchFamily="34" charset="0"/>
                <a:cs typeface="Arial" panose="020B0604020202020204" pitchFamily="34" charset="0"/>
              </a:rPr>
              <a:t> </a:t>
            </a:r>
            <a:r>
              <a:rPr lang="en-US" dirty="0">
                <a:solidFill>
                  <a:srgbClr val="000000"/>
                </a:solidFill>
              </a:rPr>
              <a:t>(IEA, 2024); </a:t>
            </a:r>
            <a:r>
              <a:rPr lang="en-US" dirty="0">
                <a:solidFill>
                  <a:srgbClr val="000000"/>
                </a:solidFill>
                <a:hlinkClick r:id="rId27"/>
              </a:rPr>
              <a:t>Global Geothermal Market and Technology Assessment</a:t>
            </a:r>
            <a:r>
              <a:rPr lang="en-US" dirty="0">
                <a:latin typeface="Arial" panose="020B0604020202020204" pitchFamily="34" charset="0"/>
                <a:cs typeface="Arial" panose="020B0604020202020204" pitchFamily="34" charset="0"/>
              </a:rPr>
              <a:t> </a:t>
            </a:r>
            <a:r>
              <a:rPr lang="en-US" dirty="0">
                <a:solidFill>
                  <a:srgbClr val="000000"/>
                </a:solidFill>
              </a:rPr>
              <a:t>(IRENA, 2023); </a:t>
            </a:r>
            <a:r>
              <a:rPr lang="en-US" dirty="0">
                <a:solidFill>
                  <a:srgbClr val="000000"/>
                </a:solidFill>
                <a:hlinkClick r:id="rId28"/>
              </a:rPr>
              <a:t>Quaise Energy's Breakthrough in Geothermal Drilling Technology</a:t>
            </a:r>
            <a:r>
              <a:rPr lang="en-US" dirty="0">
                <a:solidFill>
                  <a:srgbClr val="000000"/>
                </a:solidFill>
              </a:rPr>
              <a:t> (ACO Cleantech, 2025); </a:t>
            </a:r>
            <a:r>
              <a:rPr lang="en-US" dirty="0">
                <a:solidFill>
                  <a:srgbClr val="000000"/>
                </a:solidFill>
                <a:hlinkClick r:id="rId29"/>
              </a:rPr>
              <a:t>New High-Rate Drilling System Could Revolutionize High-Temperature Power Electronics</a:t>
            </a:r>
            <a:r>
              <a:rPr lang="en-US" dirty="0">
                <a:solidFill>
                  <a:srgbClr val="000000"/>
                </a:solidFill>
              </a:rPr>
              <a:t> (NREL, 2020); </a:t>
            </a:r>
            <a:r>
              <a:rPr lang="en-US" dirty="0">
                <a:solidFill>
                  <a:srgbClr val="000000"/>
                </a:solidFill>
                <a:hlinkClick r:id="rId30"/>
              </a:rPr>
              <a:t>DEPLOI</a:t>
            </a:r>
            <a:r>
              <a:rPr lang="en-US" dirty="0">
                <a:solidFill>
                  <a:srgbClr val="000000"/>
                </a:solidFill>
              </a:rPr>
              <a:t> (TNO, 2024); </a:t>
            </a:r>
            <a:r>
              <a:rPr lang="en-US" dirty="0">
                <a:solidFill>
                  <a:srgbClr val="000000"/>
                </a:solidFill>
                <a:hlinkClick r:id="rId31"/>
              </a:rPr>
              <a:t>ORCHYD</a:t>
            </a:r>
            <a:r>
              <a:rPr lang="en-US" dirty="0">
                <a:solidFill>
                  <a:srgbClr val="000000"/>
                </a:solidFill>
              </a:rPr>
              <a:t> (2021).</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tint val="82000"/>
                  </a:srgbClr>
                </a:solidFill>
                <a:hlinkClick r:id="rId32"/>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3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FDB4BE58-0288-82D9-4A81-1900B249ED04}"/>
              </a:ext>
            </a:extLst>
          </p:cNvPr>
          <p:cNvSpPr>
            <a:spLocks noGrp="1"/>
          </p:cNvSpPr>
          <p:nvPr>
            <p:ph type="body" sz="quarter" idx="13"/>
          </p:nvPr>
        </p:nvSpPr>
        <p:spPr/>
        <p:txBody>
          <a:bodyPr/>
          <a:lstStyle/>
          <a:p>
            <a:r>
              <a:rPr lang="en-US" dirty="0">
                <a:solidFill>
                  <a:srgbClr val="000000"/>
                </a:solidFill>
              </a:rPr>
              <a:t>Emerging technologies aimed at lowering next-generation geothermal drilling costs</a:t>
            </a:r>
          </a:p>
        </p:txBody>
      </p:sp>
      <p:sp>
        <p:nvSpPr>
          <p:cNvPr id="8" name="Text Placeholder 7">
            <a:extLst>
              <a:ext uri="{FF2B5EF4-FFF2-40B4-BE49-F238E27FC236}">
                <a16:creationId xmlns:a16="http://schemas.microsoft.com/office/drawing/2014/main" id="{9336BD80-4FA9-E144-DF9B-71FBFD078BBB}"/>
              </a:ext>
            </a:extLst>
          </p:cNvPr>
          <p:cNvSpPr>
            <a:spLocks noGrp="1"/>
          </p:cNvSpPr>
          <p:nvPr>
            <p:ph type="body" sz="quarter" idx="18"/>
          </p:nvPr>
        </p:nvSpPr>
        <p:spPr/>
        <p:txBody>
          <a:bodyPr/>
          <a:lstStyle/>
          <a:p>
            <a:r>
              <a:rPr lang="en-US" sz="1200" dirty="0">
                <a:solidFill>
                  <a:srgbClr val="000000"/>
                </a:solidFill>
              </a:rPr>
              <a:t>Breakdown of projected LCOE components of next-generation geothermal in a low-cost case (US$/MWh)</a:t>
            </a:r>
          </a:p>
        </p:txBody>
      </p:sp>
      <p:sp>
        <p:nvSpPr>
          <p:cNvPr id="9" name="Text Placeholder 1">
            <a:extLst>
              <a:ext uri="{FF2B5EF4-FFF2-40B4-BE49-F238E27FC236}">
                <a16:creationId xmlns:a16="http://schemas.microsoft.com/office/drawing/2014/main" id="{15134837-B20B-76F7-3059-784897820276}"/>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rilling technology</a:t>
            </a:r>
          </a:p>
        </p:txBody>
      </p:sp>
      <p:grpSp>
        <p:nvGrpSpPr>
          <p:cNvPr id="11" name="Group 10">
            <a:extLst>
              <a:ext uri="{FF2B5EF4-FFF2-40B4-BE49-F238E27FC236}">
                <a16:creationId xmlns:a16="http://schemas.microsoft.com/office/drawing/2014/main" id="{1FD3CB7E-B637-560E-F07C-4D2165821CD0}"/>
              </a:ext>
            </a:extLst>
          </p:cNvPr>
          <p:cNvGrpSpPr/>
          <p:nvPr/>
        </p:nvGrpSpPr>
        <p:grpSpPr>
          <a:xfrm>
            <a:off x="329183" y="2179383"/>
            <a:ext cx="3413602" cy="2423034"/>
            <a:chOff x="5055933" y="2159000"/>
            <a:chExt cx="3413602" cy="2423034"/>
          </a:xfrm>
        </p:grpSpPr>
        <p:sp>
          <p:nvSpPr>
            <p:cNvPr id="12" name="Rectangle 11">
              <a:extLst>
                <a:ext uri="{FF2B5EF4-FFF2-40B4-BE49-F238E27FC236}">
                  <a16:creationId xmlns:a16="http://schemas.microsoft.com/office/drawing/2014/main" id="{DB8354D1-5852-7E9A-CE51-7CBA6DCB2C61}"/>
                </a:ext>
              </a:extLst>
            </p:cNvPr>
            <p:cNvSpPr/>
            <p:nvPr/>
          </p:nvSpPr>
          <p:spPr bwMode="gray">
            <a:xfrm>
              <a:off x="5055935" y="2467827"/>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owered millimeter-wave beams from a gyrotron vaporize rock and drill ultradeep boreholes, bypassing the wear and tear of traditional drilling methods.</a:t>
              </a:r>
            </a:p>
          </p:txBody>
        </p:sp>
        <p:sp>
          <p:nvSpPr>
            <p:cNvPr id="13" name="btfpBulletedList826938">
              <a:extLst>
                <a:ext uri="{FF2B5EF4-FFF2-40B4-BE49-F238E27FC236}">
                  <a16:creationId xmlns:a16="http://schemas.microsoft.com/office/drawing/2014/main" id="{FED5EAF0-7955-09B9-EF80-BE4F477BAE27}"/>
                </a:ext>
              </a:extLst>
            </p:cNvPr>
            <p:cNvSpPr txBox="1"/>
            <p:nvPr>
              <p:custDataLst>
                <p:tags r:id="rId21"/>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Millimeter-Wave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sp>
          <p:nvSpPr>
            <p:cNvPr id="14" name="btfpBulletedList826938">
              <a:extLst>
                <a:ext uri="{FF2B5EF4-FFF2-40B4-BE49-F238E27FC236}">
                  <a16:creationId xmlns:a16="http://schemas.microsoft.com/office/drawing/2014/main" id="{D03DFFF3-9936-356F-42D4-3B819331DD78}"/>
                </a:ext>
              </a:extLst>
            </p:cNvPr>
            <p:cNvSpPr txBox="1"/>
            <p:nvPr>
              <p:custDataLst>
                <p:tags r:id="rId22"/>
              </p:custDataLst>
            </p:nvPr>
          </p:nvSpPr>
          <p:spPr bwMode="gray">
            <a:xfrm>
              <a:off x="5055933"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Directional Steel-Shot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grpSp>
      <p:grpSp>
        <p:nvGrpSpPr>
          <p:cNvPr id="15" name="Group 14">
            <a:extLst>
              <a:ext uri="{FF2B5EF4-FFF2-40B4-BE49-F238E27FC236}">
                <a16:creationId xmlns:a16="http://schemas.microsoft.com/office/drawing/2014/main" id="{44C6FBCB-2CBB-A113-5732-3BFA1EFCA9DD}"/>
              </a:ext>
            </a:extLst>
          </p:cNvPr>
          <p:cNvGrpSpPr/>
          <p:nvPr/>
        </p:nvGrpSpPr>
        <p:grpSpPr>
          <a:xfrm>
            <a:off x="3988288" y="2179383"/>
            <a:ext cx="3407319" cy="2423034"/>
            <a:chOff x="5062216" y="2159000"/>
            <a:chExt cx="3407319" cy="2423034"/>
          </a:xfrm>
        </p:grpSpPr>
        <p:sp>
          <p:nvSpPr>
            <p:cNvPr id="16" name="btfpBulletedList826938">
              <a:extLst>
                <a:ext uri="{FF2B5EF4-FFF2-40B4-BE49-F238E27FC236}">
                  <a16:creationId xmlns:a16="http://schemas.microsoft.com/office/drawing/2014/main" id="{86CADAF3-1C94-564D-35D1-ACE9BD64A124}"/>
                </a:ext>
              </a:extLst>
            </p:cNvPr>
            <p:cNvSpPr txBox="1"/>
            <p:nvPr>
              <p:custDataLst>
                <p:tags r:id="rId19"/>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Repetitive Pulsed Electric Drill (RePED)</a:t>
              </a:r>
            </a:p>
          </p:txBody>
        </p:sp>
        <p:sp>
          <p:nvSpPr>
            <p:cNvPr id="17" name="btfpBulletedList826938">
              <a:extLst>
                <a:ext uri="{FF2B5EF4-FFF2-40B4-BE49-F238E27FC236}">
                  <a16:creationId xmlns:a16="http://schemas.microsoft.com/office/drawing/2014/main" id="{C68A559A-8479-B012-0D18-43B32897BBDD}"/>
                </a:ext>
              </a:extLst>
            </p:cNvPr>
            <p:cNvSpPr txBox="1"/>
            <p:nvPr>
              <p:custDataLst>
                <p:tags r:id="rId20"/>
              </p:custDataLst>
            </p:nvPr>
          </p:nvSpPr>
          <p:spPr bwMode="gray">
            <a:xfrm>
              <a:off x="5062216"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High-Pressure Water Jet-Assisted Drilling</a:t>
              </a:r>
            </a:p>
          </p:txBody>
        </p:sp>
      </p:grpSp>
      <p:pic>
        <p:nvPicPr>
          <p:cNvPr id="18" name="Picture 17" descr="A logo with a letter m&#10;&#10;AI-generated content may be incorrect.">
            <a:extLst>
              <a:ext uri="{FF2B5EF4-FFF2-40B4-BE49-F238E27FC236}">
                <a16:creationId xmlns:a16="http://schemas.microsoft.com/office/drawing/2014/main" id="{AD2CC148-60EA-CB52-BDEA-A3947A312445}"/>
              </a:ext>
            </a:extLst>
          </p:cNvPr>
          <p:cNvPicPr>
            <a:picLocks noChangeAspect="1"/>
          </p:cNvPicPr>
          <p:nvPr/>
        </p:nvPicPr>
        <p:blipFill>
          <a:blip r:embed="rId34" cstate="screen">
            <a:extLst>
              <a:ext uri="{28A0092B-C50C-407E-A947-70E740481C1C}">
                <a14:useLocalDpi xmlns:a14="http://schemas.microsoft.com/office/drawing/2010/main"/>
              </a:ext>
            </a:extLst>
          </a:blip>
          <a:srcRect/>
          <a:stretch>
            <a:fillRect/>
          </a:stretch>
        </p:blipFill>
        <p:spPr>
          <a:xfrm>
            <a:off x="375259" y="3210953"/>
            <a:ext cx="733273" cy="800040"/>
          </a:xfrm>
          <a:prstGeom prst="rect">
            <a:avLst/>
          </a:prstGeom>
        </p:spPr>
      </p:pic>
      <p:sp>
        <p:nvSpPr>
          <p:cNvPr id="19" name="Rectangle 18">
            <a:extLst>
              <a:ext uri="{FF2B5EF4-FFF2-40B4-BE49-F238E27FC236}">
                <a16:creationId xmlns:a16="http://schemas.microsoft.com/office/drawing/2014/main" id="{141CEA17-F399-DB57-4DC5-A79563CEE951}"/>
              </a:ext>
            </a:extLst>
          </p:cNvPr>
          <p:cNvSpPr/>
          <p:nvPr/>
        </p:nvSpPr>
        <p:spPr bwMode="gray">
          <a:xfrm>
            <a:off x="1243363" y="3209306"/>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A full-scale demonstration drilled 10 feet deep using 100 kW of millimeter-wave power; Quaise also plans to deploy a </a:t>
            </a:r>
            <a:br>
              <a:rPr lang="en-US" sz="1050" dirty="0">
                <a:solidFill>
                  <a:schemeClr val="tx1"/>
                </a:solidFill>
                <a:latin typeface="Arial" panose="020B0604020202020204" pitchFamily="34" charset="0"/>
                <a:cs typeface="Arial" panose="020B0604020202020204" pitchFamily="34" charset="0"/>
              </a:rPr>
            </a:br>
            <a:r>
              <a:rPr lang="en-US" sz="1050" dirty="0">
                <a:solidFill>
                  <a:schemeClr val="tx1"/>
                </a:solidFill>
                <a:latin typeface="Arial" panose="020B0604020202020204" pitchFamily="34" charset="0"/>
                <a:cs typeface="Arial" panose="020B0604020202020204" pitchFamily="34" charset="0"/>
              </a:rPr>
              <a:t>1 mW gyrotron within two years to reach commercially viable depths.</a:t>
            </a:r>
            <a:endParaRPr lang="en-US" sz="1050" b="1" dirty="0">
              <a:solidFill>
                <a:schemeClr val="tx1"/>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D3CF73FD-C3FD-22A2-19D0-05BA7385BAA9}"/>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4010090" y="3209366"/>
            <a:ext cx="733273" cy="800040"/>
          </a:xfrm>
          <a:prstGeom prst="rect">
            <a:avLst/>
          </a:prstGeom>
        </p:spPr>
      </p:pic>
      <p:sp>
        <p:nvSpPr>
          <p:cNvPr id="21" name="Rectangle 20">
            <a:extLst>
              <a:ext uri="{FF2B5EF4-FFF2-40B4-BE49-F238E27FC236}">
                <a16:creationId xmlns:a16="http://schemas.microsoft.com/office/drawing/2014/main" id="{2EECE5D2-FD2C-967E-28E0-C7BDB0A7881C}"/>
              </a:ext>
            </a:extLst>
          </p:cNvPr>
          <p:cNvSpPr/>
          <p:nvPr/>
        </p:nvSpPr>
        <p:spPr bwMode="gray">
          <a:xfrm>
            <a:off x="4878194" y="3207719"/>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Tetra Innovation Institute</a:t>
            </a:r>
            <a:r>
              <a:rPr lang="en-US" sz="1050" dirty="0">
                <a:solidFill>
                  <a:schemeClr val="tx1"/>
                </a:solidFill>
                <a:latin typeface="Arial" panose="020B0604020202020204" pitchFamily="34" charset="0"/>
                <a:cs typeface="Arial" panose="020B0604020202020204" pitchFamily="34" charset="0"/>
              </a:rPr>
              <a:t> and </a:t>
            </a:r>
            <a:r>
              <a:rPr lang="en-US" sz="1050" b="1" dirty="0">
                <a:solidFill>
                  <a:schemeClr val="tx1"/>
                </a:solidFill>
                <a:latin typeface="Arial" panose="020B0604020202020204" pitchFamily="34" charset="0"/>
                <a:cs typeface="Arial" panose="020B0604020202020204" pitchFamily="34" charset="0"/>
              </a:rPr>
              <a:t>NREL</a:t>
            </a:r>
            <a:r>
              <a:rPr lang="en-US" sz="1050" dirty="0">
                <a:solidFill>
                  <a:schemeClr val="tx1"/>
                </a:solidFill>
                <a:latin typeface="Arial" panose="020B0604020202020204" pitchFamily="34" charset="0"/>
                <a:cs typeface="Arial" panose="020B0604020202020204" pitchFamily="34" charset="0"/>
              </a:rPr>
              <a:t> partnered to advance the technology, with potential drilling cost reductions of 75% and applications in industries beyond geothermal.</a:t>
            </a:r>
            <a:endParaRPr lang="en-US" sz="1050" b="1"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B64C35FC-AD87-1005-C259-92AB1D561E49}"/>
              </a:ext>
            </a:extLst>
          </p:cNvPr>
          <p:cNvSpPr/>
          <p:nvPr/>
        </p:nvSpPr>
        <p:spPr bwMode="gray">
          <a:xfrm>
            <a:off x="4057061" y="2488210"/>
            <a:ext cx="3361243"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voltage electric pulses fracture rock, avoiding mechanical contact. Reduces wear on equipment and is designed to work with existing drilling infrastructure.</a:t>
            </a:r>
          </a:p>
        </p:txBody>
      </p:sp>
      <p:pic>
        <p:nvPicPr>
          <p:cNvPr id="23" name="Picture 22">
            <a:extLst>
              <a:ext uri="{FF2B5EF4-FFF2-40B4-BE49-F238E27FC236}">
                <a16:creationId xmlns:a16="http://schemas.microsoft.com/office/drawing/2014/main" id="{AA46177E-CC59-814A-28C2-1D6E05870A47}"/>
              </a:ext>
            </a:extLst>
          </p:cNvPr>
          <p:cNvPicPr>
            <a:picLocks noChangeAspect="1"/>
          </p:cNvPicPr>
          <p:nvPr/>
        </p:nvPicPr>
        <p:blipFill>
          <a:blip r:embed="rId36" cstate="screen">
            <a:extLst>
              <a:ext uri="{28A0092B-C50C-407E-A947-70E740481C1C}">
                <a14:useLocalDpi xmlns:a14="http://schemas.microsoft.com/office/drawing/2010/main"/>
              </a:ext>
            </a:extLst>
          </a:blip>
          <a:srcRect l="-2123" r="-1396"/>
          <a:stretch>
            <a:fillRect/>
          </a:stretch>
        </p:blipFill>
        <p:spPr>
          <a:xfrm>
            <a:off x="375259" y="5316386"/>
            <a:ext cx="748339" cy="267156"/>
          </a:xfrm>
          <a:prstGeom prst="rect">
            <a:avLst/>
          </a:prstGeom>
        </p:spPr>
      </p:pic>
      <p:sp>
        <p:nvSpPr>
          <p:cNvPr id="24" name="Rectangle 23">
            <a:extLst>
              <a:ext uri="{FF2B5EF4-FFF2-40B4-BE49-F238E27FC236}">
                <a16:creationId xmlns:a16="http://schemas.microsoft.com/office/drawing/2014/main" id="{50D0A5FA-18EF-EDB3-A53B-EB9609E5B6AF}"/>
              </a:ext>
            </a:extLst>
          </p:cNvPr>
          <p:cNvSpPr/>
          <p:nvPr/>
        </p:nvSpPr>
        <p:spPr bwMode="gray">
          <a:xfrm>
            <a:off x="121606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Drilling solutions startup </a:t>
            </a:r>
            <a:r>
              <a:rPr lang="en-US" sz="1050" b="1" dirty="0">
                <a:solidFill>
                  <a:schemeClr val="tx1"/>
                </a:solidFill>
                <a:latin typeface="Arial" panose="020B0604020202020204" pitchFamily="34" charset="0"/>
                <a:cs typeface="Arial" panose="020B0604020202020204" pitchFamily="34" charset="0"/>
              </a:rPr>
              <a:t>Canopus</a:t>
            </a:r>
            <a:r>
              <a:rPr lang="en-US" sz="1050" dirty="0">
                <a:solidFill>
                  <a:schemeClr val="tx1"/>
                </a:solidFill>
                <a:latin typeface="Arial" panose="020B0604020202020204" pitchFamily="34" charset="0"/>
                <a:cs typeface="Arial" panose="020B0604020202020204" pitchFamily="34" charset="0"/>
              </a:rPr>
              <a:t> is collaborating with </a:t>
            </a:r>
            <a:r>
              <a:rPr lang="en-US" sz="1050" b="1" dirty="0">
                <a:solidFill>
                  <a:schemeClr val="tx1"/>
                </a:solidFill>
                <a:latin typeface="Arial" panose="020B0604020202020204" pitchFamily="34" charset="0"/>
                <a:cs typeface="Arial" panose="020B0604020202020204" pitchFamily="34" charset="0"/>
              </a:rPr>
              <a:t>TNO</a:t>
            </a:r>
            <a:r>
              <a:rPr lang="en-US" sz="1050" dirty="0">
                <a:solidFill>
                  <a:schemeClr val="tx1"/>
                </a:solidFill>
                <a:latin typeface="Arial" panose="020B0604020202020204" pitchFamily="34" charset="0"/>
                <a:cs typeface="Arial" panose="020B0604020202020204" pitchFamily="34" charset="0"/>
              </a:rPr>
              <a:t> and European partners to test the drill system in the Netherlands, funded by a Dutch subsidy scheme.</a:t>
            </a:r>
            <a:endParaRPr lang="en-US" sz="1050" b="1"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A25AFA3-A389-E528-D9FE-E37A47A460EC}"/>
              </a:ext>
            </a:extLst>
          </p:cNvPr>
          <p:cNvSpPr/>
          <p:nvPr/>
        </p:nvSpPr>
        <p:spPr bwMode="gray">
          <a:xfrm>
            <a:off x="34795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Steel-shot particles are released under high pressure to erode rock formations and reduce resistance to further rotary drilling.</a:t>
            </a:r>
          </a:p>
        </p:txBody>
      </p:sp>
      <p:pic>
        <p:nvPicPr>
          <p:cNvPr id="26" name="Picture 25">
            <a:extLst>
              <a:ext uri="{FF2B5EF4-FFF2-40B4-BE49-F238E27FC236}">
                <a16:creationId xmlns:a16="http://schemas.microsoft.com/office/drawing/2014/main" id="{98B73AAC-F5E2-05CF-22E7-3C845310272F}"/>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a:xfrm>
            <a:off x="4015589" y="5316386"/>
            <a:ext cx="748339" cy="267156"/>
          </a:xfrm>
          <a:prstGeom prst="rect">
            <a:avLst/>
          </a:prstGeom>
        </p:spPr>
      </p:pic>
      <p:sp>
        <p:nvSpPr>
          <p:cNvPr id="27" name="Rectangle 26">
            <a:extLst>
              <a:ext uri="{FF2B5EF4-FFF2-40B4-BE49-F238E27FC236}">
                <a16:creationId xmlns:a16="http://schemas.microsoft.com/office/drawing/2014/main" id="{37FB8F07-AD43-BAE7-6330-B2CFC5220860}"/>
              </a:ext>
            </a:extLst>
          </p:cNvPr>
          <p:cNvSpPr/>
          <p:nvPr/>
        </p:nvSpPr>
        <p:spPr bwMode="gray">
          <a:xfrm>
            <a:off x="485639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ORCHYD</a:t>
            </a:r>
            <a:r>
              <a:rPr lang="en-US" sz="1050" dirty="0">
                <a:solidFill>
                  <a:schemeClr val="tx1"/>
                </a:solidFill>
                <a:latin typeface="Arial" panose="020B0604020202020204" pitchFamily="34" charset="0"/>
                <a:cs typeface="Arial" panose="020B0604020202020204" pitchFamily="34" charset="0"/>
              </a:rPr>
              <a:t> combines high-pressure water jets with fluid-driven percussion drilling, aiming to cut drilling costs by 65%. The project received Horizon 2020 funding from the EU in 2021.</a:t>
            </a:r>
            <a:endParaRPr lang="en-US" sz="1050" b="1" dirty="0">
              <a:solidFill>
                <a:schemeClr val="tx1"/>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EA40A32-B437-717A-B4CD-5E1EFABA242E}"/>
              </a:ext>
            </a:extLst>
          </p:cNvPr>
          <p:cNvSpPr/>
          <p:nvPr/>
        </p:nvSpPr>
        <p:spPr bwMode="gray">
          <a:xfrm>
            <a:off x="398828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ressure water jets cut rock into shapes that can be broken apart more easily by fluid-powered percussive hammers.</a:t>
            </a:r>
          </a:p>
        </p:txBody>
      </p:sp>
      <p:graphicFrame>
        <p:nvGraphicFramePr>
          <p:cNvPr id="50" name="Chart 49">
            <a:extLst>
              <a:ext uri="{FF2B5EF4-FFF2-40B4-BE49-F238E27FC236}">
                <a16:creationId xmlns:a16="http://schemas.microsoft.com/office/drawing/2014/main" id="{C74C1037-C7E2-CCCD-E613-735C9FC019D7}"/>
              </a:ext>
            </a:extLst>
          </p:cNvPr>
          <p:cNvGraphicFramePr/>
          <p:nvPr>
            <p:custDataLst>
              <p:tags r:id="rId2"/>
            </p:custDataLst>
          </p:nvPr>
        </p:nvGraphicFramePr>
        <p:xfrm>
          <a:off x="8116888" y="2276475"/>
          <a:ext cx="3822700" cy="3924300"/>
        </p:xfrm>
        <a:graphic>
          <a:graphicData uri="http://schemas.openxmlformats.org/drawingml/2006/chart">
            <c:chart xmlns:c="http://schemas.openxmlformats.org/drawingml/2006/chart" xmlns:r="http://schemas.openxmlformats.org/officeDocument/2006/relationships" r:id="rId38"/>
          </a:graphicData>
        </a:graphic>
      </p:graphicFrame>
      <p:sp>
        <p:nvSpPr>
          <p:cNvPr id="35" name="Text Placeholder 10">
            <a:extLst>
              <a:ext uri="{FF2B5EF4-FFF2-40B4-BE49-F238E27FC236}">
                <a16:creationId xmlns:a16="http://schemas.microsoft.com/office/drawing/2014/main" id="{8ADC9A0A-42D2-5CA3-372D-D7E8CABE570A}"/>
              </a:ext>
            </a:extLst>
          </p:cNvPr>
          <p:cNvSpPr txBox="1">
            <a:spLocks/>
          </p:cNvSpPr>
          <p:nvPr>
            <p:custDataLst>
              <p:tags r:id="rId3"/>
            </p:custDataLst>
          </p:nvPr>
        </p:nvSpPr>
        <p:spPr bwMode="gray">
          <a:xfrm>
            <a:off x="8664575" y="3297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8F6731-D374-497C-91CF-87BC24B38FAD}" type="datetime'''''''''''''5''''''''''''''''''''''''''''4''''%'">
              <a:rPr lang="en-US" altLang="en-US" sz="1000" smtClean="0">
                <a:solidFill>
                  <a:schemeClr val="bg1"/>
                </a:solidFill>
              </a:rPr>
              <a:pPr marL="0" indent="0" algn="ctr">
                <a:spcBef>
                  <a:spcPct val="0"/>
                </a:spcBef>
                <a:spcAft>
                  <a:spcPct val="0"/>
                </a:spcAft>
                <a:buNone/>
              </a:pPr>
              <a:t>54%</a:t>
            </a:fld>
            <a:endParaRPr lang="en-US" sz="1000" dirty="0">
              <a:solidFill>
                <a:schemeClr val="bg1"/>
              </a:solidFill>
            </a:endParaRPr>
          </a:p>
        </p:txBody>
      </p:sp>
      <p:sp>
        <p:nvSpPr>
          <p:cNvPr id="30" name="Text Placeholder 10">
            <a:extLst>
              <a:ext uri="{FF2B5EF4-FFF2-40B4-BE49-F238E27FC236}">
                <a16:creationId xmlns:a16="http://schemas.microsoft.com/office/drawing/2014/main" id="{1C463BF2-AA15-2701-6A7A-BD3D48DAD7D2}"/>
              </a:ext>
            </a:extLst>
          </p:cNvPr>
          <p:cNvSpPr txBox="1">
            <a:spLocks/>
          </p:cNvSpPr>
          <p:nvPr>
            <p:custDataLst>
              <p:tags r:id="rId4"/>
            </p:custDataLst>
          </p:nvPr>
        </p:nvSpPr>
        <p:spPr bwMode="gray">
          <a:xfrm>
            <a:off x="8664575" y="51768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4BA24B-6408-4310-B58C-EFDBD3E79E0D}" type="datetime'''''''''''''''''''''4''''''''''''''''''''''6''''''''%'''''''''">
              <a:rPr lang="en-US" altLang="en-US" sz="1000" smtClean="0">
                <a:solidFill>
                  <a:schemeClr val="bg1"/>
                </a:solidFill>
              </a:rPr>
              <a:pPr marL="0" indent="0" algn="ctr">
                <a:spcBef>
                  <a:spcPct val="0"/>
                </a:spcBef>
                <a:spcAft>
                  <a:spcPct val="0"/>
                </a:spcAft>
                <a:buNone/>
              </a:pPr>
              <a:t>46%</a:t>
            </a:fld>
            <a:endParaRPr lang="en-US" sz="1000" dirty="0">
              <a:solidFill>
                <a:schemeClr val="bg1"/>
              </a:solidFill>
            </a:endParaRPr>
          </a:p>
        </p:txBody>
      </p:sp>
      <p:sp>
        <p:nvSpPr>
          <p:cNvPr id="31" name="Text Placeholder 10">
            <a:extLst>
              <a:ext uri="{FF2B5EF4-FFF2-40B4-BE49-F238E27FC236}">
                <a16:creationId xmlns:a16="http://schemas.microsoft.com/office/drawing/2014/main" id="{96AE9C19-FEF6-075D-04BC-DF74F3EB30D7}"/>
              </a:ext>
            </a:extLst>
          </p:cNvPr>
          <p:cNvSpPr txBox="1">
            <a:spLocks/>
          </p:cNvSpPr>
          <p:nvPr>
            <p:custDataLst>
              <p:tags r:id="rId5"/>
            </p:custDataLst>
          </p:nvPr>
        </p:nvSpPr>
        <p:spPr bwMode="auto">
          <a:xfrm>
            <a:off x="86614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218E7-BA28-4909-8A7D-2BF066D003A1}" type="datetime'''''''2''''0''''''''''''''''''''''2''''''''''''''''''''5'''''">
              <a:rPr lang="en-US" altLang="en-US" sz="1000" smtClean="0"/>
              <a:pPr marL="0" indent="0" algn="ctr">
                <a:spcBef>
                  <a:spcPct val="0"/>
                </a:spcBef>
                <a:spcAft>
                  <a:spcPct val="0"/>
                </a:spcAft>
                <a:buNone/>
              </a:pPr>
              <a:t>2025</a:t>
            </a:fld>
            <a:endParaRPr lang="en-US" sz="1000" dirty="0"/>
          </a:p>
        </p:txBody>
      </p:sp>
      <p:sp>
        <p:nvSpPr>
          <p:cNvPr id="32" name="Text Placeholder 10">
            <a:extLst>
              <a:ext uri="{FF2B5EF4-FFF2-40B4-BE49-F238E27FC236}">
                <a16:creationId xmlns:a16="http://schemas.microsoft.com/office/drawing/2014/main" id="{DFAB3898-59F4-4137-6BF7-21841848FD03}"/>
              </a:ext>
            </a:extLst>
          </p:cNvPr>
          <p:cNvSpPr txBox="1">
            <a:spLocks/>
          </p:cNvSpPr>
          <p:nvPr>
            <p:custDataLst>
              <p:tags r:id="rId6"/>
            </p:custDataLst>
          </p:nvPr>
        </p:nvSpPr>
        <p:spPr bwMode="gray">
          <a:xfrm>
            <a:off x="9883775" y="47450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3B2844-08AC-46E5-82B9-A03DA6CD1D56}"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3" name="Text Placeholder 10">
            <a:extLst>
              <a:ext uri="{FF2B5EF4-FFF2-40B4-BE49-F238E27FC236}">
                <a16:creationId xmlns:a16="http://schemas.microsoft.com/office/drawing/2014/main" id="{4640242C-C6D9-96EE-1F2D-316241CFBD6F}"/>
              </a:ext>
            </a:extLst>
          </p:cNvPr>
          <p:cNvSpPr txBox="1">
            <a:spLocks/>
          </p:cNvSpPr>
          <p:nvPr>
            <p:custDataLst>
              <p:tags r:id="rId7"/>
            </p:custDataLst>
          </p:nvPr>
        </p:nvSpPr>
        <p:spPr bwMode="gray">
          <a:xfrm>
            <a:off x="9883775" y="56102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F0CF6B-D60C-465E-A49D-E54C49BAE38E}"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4" name="Text Placeholder 10">
            <a:extLst>
              <a:ext uri="{FF2B5EF4-FFF2-40B4-BE49-F238E27FC236}">
                <a16:creationId xmlns:a16="http://schemas.microsoft.com/office/drawing/2014/main" id="{CB7316A6-5410-8052-679A-C11E0A6A5851}"/>
              </a:ext>
            </a:extLst>
          </p:cNvPr>
          <p:cNvSpPr txBox="1">
            <a:spLocks/>
          </p:cNvSpPr>
          <p:nvPr>
            <p:custDataLst>
              <p:tags r:id="rId8"/>
            </p:custDataLst>
          </p:nvPr>
        </p:nvSpPr>
        <p:spPr bwMode="auto">
          <a:xfrm>
            <a:off x="98806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8E3729-E2C5-48F2-A41F-32D99BF3E272}" type="datetime'2''''''0''''''''''''''''3''''''''''''''''''''''''''''''5'''''">
              <a:rPr lang="en-US" altLang="en-US" sz="1000" smtClean="0"/>
              <a:pPr marL="0" indent="0" algn="ctr">
                <a:spcBef>
                  <a:spcPct val="0"/>
                </a:spcBef>
                <a:spcAft>
                  <a:spcPct val="0"/>
                </a:spcAft>
                <a:buNone/>
              </a:pPr>
              <a:t>2035</a:t>
            </a:fld>
            <a:endParaRPr lang="en-US" sz="1000" dirty="0"/>
          </a:p>
        </p:txBody>
      </p:sp>
      <p:sp>
        <p:nvSpPr>
          <p:cNvPr id="41" name="Text Placeholder 10">
            <a:extLst>
              <a:ext uri="{FF2B5EF4-FFF2-40B4-BE49-F238E27FC236}">
                <a16:creationId xmlns:a16="http://schemas.microsoft.com/office/drawing/2014/main" id="{ADA658F0-3685-0167-CD7D-30E432FCA40D}"/>
              </a:ext>
            </a:extLst>
          </p:cNvPr>
          <p:cNvSpPr txBox="1">
            <a:spLocks/>
          </p:cNvSpPr>
          <p:nvPr>
            <p:custDataLst>
              <p:tags r:id="rId9"/>
            </p:custDataLst>
          </p:nvPr>
        </p:nvSpPr>
        <p:spPr bwMode="gray">
          <a:xfrm>
            <a:off x="11102975" y="5159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5BA9D4-4777-47AC-9008-9B9976ED685E}" type="datetime'''''''''''''''''''''''2''''''''5''%'''''''''''''''''''''''">
              <a:rPr lang="en-US" altLang="en-US" sz="1000" smtClean="0">
                <a:solidFill>
                  <a:schemeClr val="bg1"/>
                </a:solidFill>
              </a:rPr>
              <a:pPr marL="0" indent="0" algn="ctr">
                <a:spcBef>
                  <a:spcPct val="0"/>
                </a:spcBef>
                <a:spcAft>
                  <a:spcPct val="0"/>
                </a:spcAft>
                <a:buNone/>
              </a:pPr>
              <a:t>25%</a:t>
            </a:fld>
            <a:endParaRPr lang="en-US" sz="1000" dirty="0">
              <a:solidFill>
                <a:schemeClr val="bg1"/>
              </a:solidFill>
            </a:endParaRPr>
          </a:p>
        </p:txBody>
      </p:sp>
      <p:sp>
        <p:nvSpPr>
          <p:cNvPr id="36" name="Text Placeholder 10">
            <a:extLst>
              <a:ext uri="{FF2B5EF4-FFF2-40B4-BE49-F238E27FC236}">
                <a16:creationId xmlns:a16="http://schemas.microsoft.com/office/drawing/2014/main" id="{CB0CFB75-5758-917B-9EFE-B02334A65F2A}"/>
              </a:ext>
            </a:extLst>
          </p:cNvPr>
          <p:cNvSpPr txBox="1">
            <a:spLocks/>
          </p:cNvSpPr>
          <p:nvPr>
            <p:custDataLst>
              <p:tags r:id="rId10"/>
            </p:custDataLst>
          </p:nvPr>
        </p:nvSpPr>
        <p:spPr bwMode="gray">
          <a:xfrm>
            <a:off x="11102975" y="56642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0ABAD-2507-4D57-9790-3CDA5457B4B0}" type="datetime'''''''''''7''''''''''''5''''''''''''''''%'''''''''''">
              <a:rPr lang="en-US" altLang="en-US" sz="1000" smtClean="0">
                <a:solidFill>
                  <a:schemeClr val="bg1"/>
                </a:solidFill>
              </a:rPr>
              <a:pPr marL="0" indent="0" algn="ctr">
                <a:spcBef>
                  <a:spcPct val="0"/>
                </a:spcBef>
                <a:spcAft>
                  <a:spcPct val="0"/>
                </a:spcAft>
                <a:buNone/>
              </a:pPr>
              <a:t>75%</a:t>
            </a:fld>
            <a:endParaRPr lang="en-US" sz="1000" dirty="0">
              <a:solidFill>
                <a:schemeClr val="bg1"/>
              </a:solidFill>
            </a:endParaRPr>
          </a:p>
        </p:txBody>
      </p:sp>
      <p:sp>
        <p:nvSpPr>
          <p:cNvPr id="37" name="Text Placeholder 10">
            <a:extLst>
              <a:ext uri="{FF2B5EF4-FFF2-40B4-BE49-F238E27FC236}">
                <a16:creationId xmlns:a16="http://schemas.microsoft.com/office/drawing/2014/main" id="{C12B25F4-9CDA-FACC-3346-5813938E514C}"/>
              </a:ext>
            </a:extLst>
          </p:cNvPr>
          <p:cNvSpPr txBox="1">
            <a:spLocks/>
          </p:cNvSpPr>
          <p:nvPr>
            <p:custDataLst>
              <p:tags r:id="rId11"/>
            </p:custDataLst>
          </p:nvPr>
        </p:nvSpPr>
        <p:spPr bwMode="auto">
          <a:xfrm>
            <a:off x="110998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217D3F-B956-4593-96AF-4E5120592D88}" type="datetime'''''''''''2''''''''''''''''''''0''''''5''''''''''''''0'">
              <a:rPr lang="en-US" altLang="en-US" sz="1000" smtClean="0"/>
              <a:pPr marL="0" indent="0" algn="ctr">
                <a:spcBef>
                  <a:spcPct val="0"/>
                </a:spcBef>
                <a:spcAft>
                  <a:spcPct val="0"/>
                </a:spcAft>
                <a:buNone/>
              </a:pPr>
              <a:t>2050</a:t>
            </a:fld>
            <a:endParaRPr lang="en-US" sz="1000" dirty="0"/>
          </a:p>
        </p:txBody>
      </p:sp>
      <p:sp>
        <p:nvSpPr>
          <p:cNvPr id="38" name="Text Placeholder 10">
            <a:extLst>
              <a:ext uri="{FF2B5EF4-FFF2-40B4-BE49-F238E27FC236}">
                <a16:creationId xmlns:a16="http://schemas.microsoft.com/office/drawing/2014/main" id="{10C08619-A65D-0F98-5FD4-9A8CD1F1DA18}"/>
              </a:ext>
            </a:extLst>
          </p:cNvPr>
          <p:cNvSpPr txBox="1">
            <a:spLocks/>
          </p:cNvSpPr>
          <p:nvPr>
            <p:custDataLst>
              <p:tags r:id="rId12"/>
            </p:custDataLst>
          </p:nvPr>
        </p:nvSpPr>
        <p:spPr bwMode="gray">
          <a:xfrm>
            <a:off x="8685213" y="2181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A68916-D742-4DD1-86A8-C3DBA59696A0}" type="datetime'1''1''''''1'''''''''''''''''''''''''">
              <a:rPr lang="en-US" altLang="en-US" sz="1000" b="1" smtClean="0"/>
              <a:pPr marL="0" indent="0" algn="ctr">
                <a:spcBef>
                  <a:spcPct val="0"/>
                </a:spcBef>
                <a:spcAft>
                  <a:spcPct val="0"/>
                </a:spcAft>
                <a:buNone/>
              </a:pPr>
              <a:t>111</a:t>
            </a:fld>
            <a:endParaRPr lang="en-US" sz="1000" b="1" dirty="0"/>
          </a:p>
        </p:txBody>
      </p:sp>
      <p:sp>
        <p:nvSpPr>
          <p:cNvPr id="39" name="Text Placeholder 10">
            <a:extLst>
              <a:ext uri="{FF2B5EF4-FFF2-40B4-BE49-F238E27FC236}">
                <a16:creationId xmlns:a16="http://schemas.microsoft.com/office/drawing/2014/main" id="{CC7C7014-4DED-19C5-0556-CB1CA333DB09}"/>
              </a:ext>
            </a:extLst>
          </p:cNvPr>
          <p:cNvSpPr txBox="1">
            <a:spLocks/>
          </p:cNvSpPr>
          <p:nvPr>
            <p:custDataLst>
              <p:tags r:id="rId13"/>
            </p:custDataLst>
          </p:nvPr>
        </p:nvSpPr>
        <p:spPr bwMode="gray">
          <a:xfrm>
            <a:off x="9939338"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58A40A-3D9A-4F9A-9C99-7A26A0F32B9E}" type="datetime'''''''''5''''''''''''1'''''''''''''''''''''''''''''''''''''''">
              <a:rPr lang="en-US" altLang="en-US" sz="1000" b="1" smtClean="0"/>
              <a:pPr marL="0" indent="0" algn="ctr">
                <a:spcBef>
                  <a:spcPct val="0"/>
                </a:spcBef>
                <a:spcAft>
                  <a:spcPct val="0"/>
                </a:spcAft>
                <a:buNone/>
              </a:pPr>
              <a:t>51</a:t>
            </a:fld>
            <a:endParaRPr lang="en-US" sz="1000" b="1" dirty="0"/>
          </a:p>
        </p:txBody>
      </p:sp>
      <p:sp>
        <p:nvSpPr>
          <p:cNvPr id="40" name="Text Placeholder 10">
            <a:extLst>
              <a:ext uri="{FF2B5EF4-FFF2-40B4-BE49-F238E27FC236}">
                <a16:creationId xmlns:a16="http://schemas.microsoft.com/office/drawing/2014/main" id="{A29C7CDA-FC5F-8EB4-F822-48B415B13007}"/>
              </a:ext>
            </a:extLst>
          </p:cNvPr>
          <p:cNvSpPr txBox="1">
            <a:spLocks/>
          </p:cNvSpPr>
          <p:nvPr>
            <p:custDataLst>
              <p:tags r:id="rId14"/>
            </p:custDataLst>
          </p:nvPr>
        </p:nvSpPr>
        <p:spPr bwMode="gray">
          <a:xfrm>
            <a:off x="11158538" y="4930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A303F9-6028-4B8D-BD90-D4A4DAC5B5CA}" type="datetime'''''3''''''0'''''''''''''''''''''">
              <a:rPr lang="en-US" altLang="en-US" sz="1000" b="1" smtClean="0"/>
              <a:pPr marL="0" indent="0" algn="ctr">
                <a:spcBef>
                  <a:spcPct val="0"/>
                </a:spcBef>
                <a:spcAft>
                  <a:spcPct val="0"/>
                </a:spcAft>
                <a:buNone/>
              </a:pPr>
              <a:t>30</a:t>
            </a:fld>
            <a:endParaRPr lang="en-US" sz="1000" b="1" dirty="0"/>
          </a:p>
        </p:txBody>
      </p:sp>
      <p:sp>
        <p:nvSpPr>
          <p:cNvPr id="42" name="Rectangle 41">
            <a:extLst>
              <a:ext uri="{FF2B5EF4-FFF2-40B4-BE49-F238E27FC236}">
                <a16:creationId xmlns:a16="http://schemas.microsoft.com/office/drawing/2014/main" id="{54588A82-6F8A-60A9-7F90-9FFA0EEE724A}"/>
              </a:ext>
            </a:extLst>
          </p:cNvPr>
          <p:cNvSpPr/>
          <p:nvPr>
            <p:custDataLst>
              <p:tags r:id="rId15"/>
            </p:custDataLst>
          </p:nvPr>
        </p:nvSpPr>
        <p:spPr bwMode="auto">
          <a:xfrm>
            <a:off x="10906125" y="223678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D1DD1FCD-BA7C-BF4D-EA51-51E03171736B}"/>
              </a:ext>
            </a:extLst>
          </p:cNvPr>
          <p:cNvSpPr/>
          <p:nvPr>
            <p:custDataLst>
              <p:tags r:id="rId16"/>
            </p:custDataLst>
          </p:nvPr>
        </p:nvSpPr>
        <p:spPr bwMode="auto">
          <a:xfrm>
            <a:off x="10906125" y="2439988"/>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Text Placeholder 10">
            <a:extLst>
              <a:ext uri="{FF2B5EF4-FFF2-40B4-BE49-F238E27FC236}">
                <a16:creationId xmlns:a16="http://schemas.microsoft.com/office/drawing/2014/main" id="{34E145E1-460B-3E83-4FFA-9F45A33E6B87}"/>
              </a:ext>
            </a:extLst>
          </p:cNvPr>
          <p:cNvSpPr txBox="1">
            <a:spLocks/>
          </p:cNvSpPr>
          <p:nvPr>
            <p:custDataLst>
              <p:tags r:id="rId17"/>
            </p:custDataLst>
          </p:nvPr>
        </p:nvSpPr>
        <p:spPr bwMode="auto">
          <a:xfrm>
            <a:off x="11136313" y="22320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2C9FCE-1375-4475-9CA5-F2E76690F8B4}" type="datetime'''Dr''''i''''l''''''lin''''''g'''''''' ''c''o''st''''s'''''">
              <a:rPr lang="en-US" altLang="en-US" sz="1000" smtClean="0"/>
              <a:pPr/>
              <a:t>Drilling costs</a:t>
            </a:fld>
            <a:endParaRPr lang="en-US" sz="1000" dirty="0"/>
          </a:p>
        </p:txBody>
      </p:sp>
      <p:sp>
        <p:nvSpPr>
          <p:cNvPr id="45" name="Text Placeholder 10">
            <a:extLst>
              <a:ext uri="{FF2B5EF4-FFF2-40B4-BE49-F238E27FC236}">
                <a16:creationId xmlns:a16="http://schemas.microsoft.com/office/drawing/2014/main" id="{50216D4C-DACF-078F-4CFA-D071FA2F4FD8}"/>
              </a:ext>
            </a:extLst>
          </p:cNvPr>
          <p:cNvSpPr txBox="1">
            <a:spLocks/>
          </p:cNvSpPr>
          <p:nvPr>
            <p:custDataLst>
              <p:tags r:id="rId18"/>
            </p:custDataLst>
          </p:nvPr>
        </p:nvSpPr>
        <p:spPr bwMode="auto">
          <a:xfrm>
            <a:off x="11136313" y="243522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BA3E31-9497-43F4-94AF-7022E9370204}" type="datetime'''''''''''Ot''''''''he''''''''''''''r'''''''''''''''''''''">
              <a:rPr lang="en-US" altLang="en-US" sz="1000" smtClean="0"/>
              <a:pPr/>
              <a:t>Other</a:t>
            </a:fld>
            <a:endParaRPr lang="en-US" sz="1000" dirty="0"/>
          </a:p>
        </p:txBody>
      </p:sp>
      <p:sp>
        <p:nvSpPr>
          <p:cNvPr id="46" name="btfpCallout843070">
            <a:extLst>
              <a:ext uri="{FF2B5EF4-FFF2-40B4-BE49-F238E27FC236}">
                <a16:creationId xmlns:a16="http://schemas.microsoft.com/office/drawing/2014/main" id="{B58B5B20-52AD-822E-016E-21A66CF37500}"/>
              </a:ext>
            </a:extLst>
          </p:cNvPr>
          <p:cNvSpPr/>
          <p:nvPr/>
        </p:nvSpPr>
        <p:spPr bwMode="gray">
          <a:xfrm flipH="1">
            <a:off x="9350375" y="2469406"/>
            <a:ext cx="1381125" cy="1222772"/>
          </a:xfrm>
          <a:prstGeom prst="wedgeRectCallout">
            <a:avLst>
              <a:gd name="adj1" fmla="val 62219"/>
              <a:gd name="adj2" fmla="val -234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Drilling, loop supplies, and installation also comprise 55-65% of conventional geothermal (GHP) costs in the U.S. (2025).</a:t>
            </a:r>
          </a:p>
        </p:txBody>
      </p:sp>
    </p:spTree>
    <p:extLst>
      <p:ext uri="{BB962C8B-B14F-4D97-AF65-F5344CB8AC3E}">
        <p14:creationId xmlns:p14="http://schemas.microsoft.com/office/powerpoint/2010/main" val="32372503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584CF0-C23B-65E5-C947-3269B95FDB3E}"/>
              </a:ext>
            </a:extLst>
          </p:cNvPr>
          <p:cNvGraphicFramePr>
            <a:graphicFrameLocks/>
          </p:cNvGraphicFramePr>
          <p:nvPr>
            <p:custDataLst>
              <p:tags r:id="rId1"/>
            </p:custDataLst>
            <p:extLst>
              <p:ext uri="{D42A27DB-BD31-4B8C-83A1-F6EECF244321}">
                <p14:modId xmlns:p14="http://schemas.microsoft.com/office/powerpoint/2010/main" val="25338473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20C02E-9032-ED40-6F29-2808D25DD268}"/>
              </a:ext>
            </a:extLst>
          </p:cNvPr>
          <p:cNvSpPr>
            <a:spLocks noGrp="1"/>
          </p:cNvSpPr>
          <p:nvPr>
            <p:ph type="title"/>
          </p:nvPr>
        </p:nvSpPr>
        <p:spPr/>
        <p:txBody>
          <a:bodyPr vert="horz" rIns="91440"/>
          <a:lstStyle/>
          <a:p>
            <a:r>
              <a:rPr lang="en-US" dirty="0"/>
              <a:t>Companies at the frontier of drilling technology innovation show successes in pilots and field testing</a:t>
            </a:r>
          </a:p>
        </p:txBody>
      </p:sp>
      <p:sp>
        <p:nvSpPr>
          <p:cNvPr id="5" name="Text Placeholder 1">
            <a:extLst>
              <a:ext uri="{FF2B5EF4-FFF2-40B4-BE49-F238E27FC236}">
                <a16:creationId xmlns:a16="http://schemas.microsoft.com/office/drawing/2014/main" id="{F176CCB2-1C72-A3A9-9D6B-8D0EDC60EE87}"/>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rilling technology</a:t>
            </a:r>
          </a:p>
        </p:txBody>
      </p:sp>
      <p:sp>
        <p:nvSpPr>
          <p:cNvPr id="7" name="Rectangle 6">
            <a:extLst>
              <a:ext uri="{FF2B5EF4-FFF2-40B4-BE49-F238E27FC236}">
                <a16:creationId xmlns:a16="http://schemas.microsoft.com/office/drawing/2014/main" id="{9B0BA2D1-39A3-E4D2-3FF9-0437363F7EE5}"/>
              </a:ext>
            </a:extLst>
          </p:cNvPr>
          <p:cNvSpPr/>
          <p:nvPr/>
        </p:nvSpPr>
        <p:spPr bwMode="gray">
          <a:xfrm>
            <a:off x="101600" y="2938196"/>
            <a:ext cx="11708378" cy="1643259"/>
          </a:xfrm>
          <a:prstGeom prst="rect">
            <a:avLst/>
          </a:prstGeom>
          <a:solidFill>
            <a:schemeClr val="bg1">
              <a:lumMod val="95000"/>
              <a:alpha val="50000"/>
            </a:schemeClr>
          </a:solid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36000" tIns="36000" rIns="36000" bIns="36000" numCol="1" spcCol="0" rtlCol="0" fromWordArt="0" anchor="t" anchorCtr="0" forceAA="0" compatLnSpc="1">
            <a:prstTxWarp prst="textNoShape">
              <a:avLst/>
            </a:prstTxWarp>
            <a:noAutofit/>
          </a:bodyPr>
          <a:lstStyle/>
          <a:p>
            <a:pPr marL="0" indent="0" algn="ctr">
              <a:buNone/>
            </a:pPr>
            <a:r>
              <a:rPr lang="en-US" sz="1100" b="1" dirty="0">
                <a:solidFill>
                  <a:schemeClr val="tx1"/>
                </a:solidFill>
              </a:rPr>
              <a:t>Key Highlights </a:t>
            </a:r>
          </a:p>
        </p:txBody>
      </p:sp>
      <p:graphicFrame>
        <p:nvGraphicFramePr>
          <p:cNvPr id="8" name="Table 7">
            <a:extLst>
              <a:ext uri="{FF2B5EF4-FFF2-40B4-BE49-F238E27FC236}">
                <a16:creationId xmlns:a16="http://schemas.microsoft.com/office/drawing/2014/main" id="{9CF76831-B5A4-4E02-934B-F1AC0C3B3117}"/>
              </a:ext>
            </a:extLst>
          </p:cNvPr>
          <p:cNvGraphicFramePr>
            <a:graphicFrameLocks noGrp="1"/>
          </p:cNvGraphicFramePr>
          <p:nvPr>
            <p:extLst>
              <p:ext uri="{D42A27DB-BD31-4B8C-83A1-F6EECF244321}">
                <p14:modId xmlns:p14="http://schemas.microsoft.com/office/powerpoint/2010/main" val="657603148"/>
              </p:ext>
            </p:extLst>
          </p:nvPr>
        </p:nvGraphicFramePr>
        <p:xfrm>
          <a:off x="329184" y="1974849"/>
          <a:ext cx="11480794" cy="4357394"/>
        </p:xfrm>
        <a:graphic>
          <a:graphicData uri="http://schemas.openxmlformats.org/drawingml/2006/table">
            <a:tbl>
              <a:tblPr firstRow="1" bandRow="1">
                <a:tableStyleId>{5940675A-B579-460E-94D1-54222C63F5DA}</a:tableStyleId>
              </a:tblPr>
              <a:tblGrid>
                <a:gridCol w="1233263">
                  <a:extLst>
                    <a:ext uri="{9D8B030D-6E8A-4147-A177-3AD203B41FA5}">
                      <a16:colId xmlns:a16="http://schemas.microsoft.com/office/drawing/2014/main" val="544980925"/>
                    </a:ext>
                  </a:extLst>
                </a:gridCol>
                <a:gridCol w="2046966">
                  <a:extLst>
                    <a:ext uri="{9D8B030D-6E8A-4147-A177-3AD203B41FA5}">
                      <a16:colId xmlns:a16="http://schemas.microsoft.com/office/drawing/2014/main" val="1398901965"/>
                    </a:ext>
                  </a:extLst>
                </a:gridCol>
                <a:gridCol w="1640113">
                  <a:extLst>
                    <a:ext uri="{9D8B030D-6E8A-4147-A177-3AD203B41FA5}">
                      <a16:colId xmlns:a16="http://schemas.microsoft.com/office/drawing/2014/main" val="3680365789"/>
                    </a:ext>
                  </a:extLst>
                </a:gridCol>
                <a:gridCol w="1640113">
                  <a:extLst>
                    <a:ext uri="{9D8B030D-6E8A-4147-A177-3AD203B41FA5}">
                      <a16:colId xmlns:a16="http://schemas.microsoft.com/office/drawing/2014/main" val="2158953890"/>
                    </a:ext>
                  </a:extLst>
                </a:gridCol>
                <a:gridCol w="1640113">
                  <a:extLst>
                    <a:ext uri="{9D8B030D-6E8A-4147-A177-3AD203B41FA5}">
                      <a16:colId xmlns:a16="http://schemas.microsoft.com/office/drawing/2014/main" val="224785770"/>
                    </a:ext>
                  </a:extLst>
                </a:gridCol>
                <a:gridCol w="1640113">
                  <a:extLst>
                    <a:ext uri="{9D8B030D-6E8A-4147-A177-3AD203B41FA5}">
                      <a16:colId xmlns:a16="http://schemas.microsoft.com/office/drawing/2014/main" val="2810153339"/>
                    </a:ext>
                  </a:extLst>
                </a:gridCol>
                <a:gridCol w="1640113">
                  <a:extLst>
                    <a:ext uri="{9D8B030D-6E8A-4147-A177-3AD203B41FA5}">
                      <a16:colId xmlns:a16="http://schemas.microsoft.com/office/drawing/2014/main" val="3091187698"/>
                    </a:ext>
                  </a:extLst>
                </a:gridCol>
              </a:tblGrid>
              <a:tr h="557703">
                <a:tc>
                  <a:txBody>
                    <a:bodyPr/>
                    <a:lstStyle/>
                    <a:p>
                      <a:pPr marL="0" lv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endParaRPr lang="en-US" sz="1000" dirty="0"/>
                    </a:p>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1956009"/>
                  </a:ext>
                </a:extLst>
              </a:tr>
              <a:tr h="355256">
                <a:tc>
                  <a:txBody>
                    <a:bodyPr/>
                    <a:lstStyle/>
                    <a:p>
                      <a:pPr lvl="0">
                        <a:spcBef>
                          <a:spcPts val="600"/>
                        </a:spcBef>
                        <a:buNone/>
                      </a:pPr>
                      <a:r>
                        <a:rPr lang="en-US" sz="1000" b="1" dirty="0"/>
                        <a:t>Tech</a:t>
                      </a:r>
                      <a:r>
                        <a:rPr lang="en-US" sz="1000" b="0" dirty="0"/>
                        <a:t> </a:t>
                      </a:r>
                      <a:r>
                        <a:rPr lang="en-US" sz="1000" b="1" dirty="0"/>
                        <a:t>Approach</a:t>
                      </a:r>
                      <a:endParaRPr lang="en-US" sz="1000" dirty="0"/>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marL="0" indent="0">
                        <a:buNone/>
                      </a:pPr>
                      <a:r>
                        <a:rPr lang="en-US" sz="1000" dirty="0"/>
                        <a:t>EGS/horizontal drilling</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buNone/>
                      </a:pPr>
                      <a:r>
                        <a:rPr lang="en-US" sz="1000" dirty="0"/>
                        <a:t>Geopressure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dirty="0"/>
                        <a:t>Laser-assisted drilling</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dirty="0"/>
                        <a:t>Conductive heat transfer</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dirty="0"/>
                        <a:t>Plasma drilling</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dirty="0"/>
                        <a:t>Millimeter-wave (gyrotr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8209982"/>
                  </a:ext>
                </a:extLst>
              </a:tr>
              <a:tr h="589085">
                <a:tc>
                  <a:txBody>
                    <a:bodyPr/>
                    <a:lstStyle/>
                    <a:p>
                      <a:pPr lvl="0">
                        <a:spcBef>
                          <a:spcPts val="600"/>
                        </a:spcBef>
                        <a:buNone/>
                      </a:pPr>
                      <a:r>
                        <a:rPr lang="en-US" sz="1000" b="1" dirty="0"/>
                        <a:t>Technology</a:t>
                      </a:r>
                      <a:endParaRPr lang="en-US" sz="1000" dirty="0"/>
                    </a:p>
                    <a:p>
                      <a:pPr lvl="0">
                        <a:spcBef>
                          <a:spcPts val="600"/>
                        </a:spcBef>
                        <a:buNone/>
                      </a:pPr>
                      <a:r>
                        <a:rPr lang="en-US" sz="1000" b="1" dirty="0"/>
                        <a:t>Readiness</a:t>
                      </a:r>
                    </a:p>
                    <a:p>
                      <a:pPr lvl="0">
                        <a:spcBef>
                          <a:spcPts val="600"/>
                        </a:spcBef>
                        <a:buNone/>
                      </a:pPr>
                      <a:r>
                        <a:rPr lang="en-US" sz="1000" b="1" dirty="0"/>
                        <a:t>Level</a:t>
                      </a: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Commercial pilo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Commercial pilo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Pilot/demo</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Early pilot/demo</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Pilot/field tes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Pilot/field tes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689202653"/>
                  </a:ext>
                </a:extLst>
              </a:tr>
              <a:tr h="548663">
                <a:tc>
                  <a:txBody>
                    <a:bodyPr/>
                    <a:lstStyle/>
                    <a:p>
                      <a:pPr lvl="0" algn="l">
                        <a:spcBef>
                          <a:spcPts val="600"/>
                        </a:spcBef>
                        <a:buNone/>
                      </a:pPr>
                      <a:r>
                        <a:rPr lang="en-US" sz="1000" b="1" dirty="0"/>
                        <a:t>Target depth/</a:t>
                      </a:r>
                    </a:p>
                    <a:p>
                      <a:pPr lvl="0" algn="l">
                        <a:spcBef>
                          <a:spcPts val="600"/>
                        </a:spcBef>
                        <a:buNone/>
                      </a:pPr>
                      <a:r>
                        <a:rPr lang="en-US" sz="1000" b="1" dirty="0"/>
                        <a:t>temperatur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2-4 km</a:t>
                      </a:r>
                    </a:p>
                    <a:p>
                      <a:pPr lvl="0">
                        <a:buNone/>
                      </a:pPr>
                      <a:r>
                        <a:rPr lang="en-US" sz="1000" dirty="0"/>
                        <a:t>175-250° C</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3-5 km</a:t>
                      </a:r>
                    </a:p>
                    <a:p>
                      <a:pPr lvl="0">
                        <a:buNone/>
                      </a:pPr>
                      <a:r>
                        <a:rPr lang="en-US" sz="1000" dirty="0"/>
                        <a:t>150-200°C</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3-6 km</a:t>
                      </a:r>
                    </a:p>
                    <a:p>
                      <a:pPr lvl="0">
                        <a:buNone/>
                      </a:pPr>
                      <a:r>
                        <a:rPr lang="en-US" sz="1000" dirty="0"/>
                        <a:t>High-temp rock</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3-6 km</a:t>
                      </a:r>
                    </a:p>
                    <a:p>
                      <a:pPr lvl="0">
                        <a:buNone/>
                      </a:pPr>
                      <a:r>
                        <a:rPr lang="en-US" sz="1000" dirty="0"/>
                        <a:t>&gt;200° C (superho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5-10 km</a:t>
                      </a:r>
                    </a:p>
                    <a:p>
                      <a:pPr lvl="0">
                        <a:buNone/>
                      </a:pPr>
                      <a:r>
                        <a:rPr lang="en-US" sz="1000" dirty="0"/>
                        <a:t>High-temp, hard rock</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10-20 km</a:t>
                      </a:r>
                    </a:p>
                    <a:p>
                      <a:pPr lvl="0">
                        <a:buNone/>
                      </a:pPr>
                      <a:r>
                        <a:rPr lang="en-US" sz="1000" dirty="0"/>
                        <a:t>&gt;374°C (superho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918073969"/>
                  </a:ext>
                </a:extLst>
              </a:tr>
              <a:tr h="431605">
                <a:tc>
                  <a:txBody>
                    <a:bodyPr/>
                    <a:lstStyle/>
                    <a:p>
                      <a:pPr lvl="0" algn="l">
                        <a:spcBef>
                          <a:spcPts val="1200"/>
                        </a:spcBef>
                        <a:buNone/>
                      </a:pPr>
                      <a:r>
                        <a:rPr lang="en-US" sz="1000" b="1" dirty="0"/>
                        <a:t>Valu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1.4B</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150M</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3.8M-$4M</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50M</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140M</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gn="l">
                        <a:buNone/>
                      </a:pPr>
                      <a:r>
                        <a:rPr lang="en-US" sz="1000" dirty="0"/>
                        <a:t>$95M-$105M</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917649961"/>
                  </a:ext>
                </a:extLst>
              </a:tr>
              <a:tr h="355353">
                <a:tc>
                  <a:txBody>
                    <a:bodyPr/>
                    <a:lstStyle/>
                    <a:p>
                      <a:pPr lvl="0" algn="l">
                        <a:spcBef>
                          <a:spcPts val="600"/>
                        </a:spcBef>
                        <a:buNone/>
                      </a:pPr>
                      <a:r>
                        <a:rPr lang="en-US" sz="1000" b="1" dirty="0"/>
                        <a:t>Geographic</a:t>
                      </a:r>
                    </a:p>
                    <a:p>
                      <a:pPr lvl="0" algn="l">
                        <a:spcBef>
                          <a:spcPts val="600"/>
                        </a:spcBef>
                        <a:buNone/>
                      </a:pPr>
                      <a:r>
                        <a:rPr lang="en-US" sz="1000" b="1" dirty="0"/>
                        <a:t>focus</a:t>
                      </a: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U.S. (Nevada, Utah)</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U.S. (Texas, Gulf Coas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U.S. (California, Oreg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U.S. (Texa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Slovakia, U.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U.S./global through MIT </a:t>
                      </a:r>
                    </a:p>
                    <a:p>
                      <a:pPr lvl="0">
                        <a:spcBef>
                          <a:spcPts val="0"/>
                        </a:spcBef>
                        <a:buNone/>
                      </a:pPr>
                      <a:r>
                        <a:rPr lang="en-US" sz="1000" dirty="0"/>
                        <a:t>link</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2100444366"/>
                  </a:ext>
                </a:extLst>
              </a:tr>
              <a:tr h="548663">
                <a:tc>
                  <a:txBody>
                    <a:bodyPr/>
                    <a:lstStyle/>
                    <a:p>
                      <a:pPr lvl="0">
                        <a:spcBef>
                          <a:spcPts val="600"/>
                        </a:spcBef>
                        <a:buNone/>
                      </a:pPr>
                      <a:r>
                        <a:rPr lang="en-US" sz="1000" b="1" dirty="0"/>
                        <a:t>Major</a:t>
                      </a:r>
                    </a:p>
                    <a:p>
                      <a:pPr lvl="0">
                        <a:spcBef>
                          <a:spcPts val="600"/>
                        </a:spcBef>
                        <a:buNone/>
                      </a:pPr>
                      <a:r>
                        <a:rPr lang="en-US" sz="1000" b="1" dirty="0"/>
                        <a:t>project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Project Red (Nevada EG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Pilot plant in Christine,</a:t>
                      </a:r>
                    </a:p>
                    <a:p>
                      <a:pPr lvl="0">
                        <a:spcBef>
                          <a:spcPts val="0"/>
                        </a:spcBef>
                        <a:buNone/>
                      </a:pPr>
                      <a:r>
                        <a:rPr lang="en-US" sz="1000" dirty="0"/>
                        <a:t>Texa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Early EGS tests, laser </a:t>
                      </a:r>
                    </a:p>
                    <a:p>
                      <a:pPr lvl="0">
                        <a:spcBef>
                          <a:spcPts val="0"/>
                        </a:spcBef>
                        <a:buNone/>
                      </a:pPr>
                      <a:r>
                        <a:rPr lang="en-US" sz="1000" dirty="0"/>
                        <a:t>enhanced drilling R&amp;D</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buNone/>
                      </a:pPr>
                      <a:r>
                        <a:rPr lang="en-US" sz="1000" dirty="0"/>
                        <a:t>Pilot with DOE suppor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Field trials with oilfield </a:t>
                      </a:r>
                    </a:p>
                    <a:p>
                      <a:pPr lvl="0">
                        <a:spcBef>
                          <a:spcPts val="0"/>
                        </a:spcBef>
                        <a:buNone/>
                      </a:pPr>
                      <a:r>
                        <a:rPr lang="en-US" sz="1000" dirty="0"/>
                        <a:t>partn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tc>
                  <a:txBody>
                    <a:bodyPr/>
                    <a:lstStyle/>
                    <a:p>
                      <a:pPr lvl="0">
                        <a:lnSpc>
                          <a:spcPct val="100000"/>
                        </a:lnSpc>
                        <a:spcBef>
                          <a:spcPts val="0"/>
                        </a:spcBef>
                        <a:buNone/>
                      </a:pPr>
                      <a:r>
                        <a:rPr lang="en-US" sz="1000" dirty="0"/>
                        <a:t>MIT test rigs, demo </a:t>
                      </a:r>
                    </a:p>
                    <a:p>
                      <a:pPr lvl="0">
                        <a:lnSpc>
                          <a:spcPct val="100000"/>
                        </a:lnSpc>
                        <a:spcBef>
                          <a:spcPts val="0"/>
                        </a:spcBef>
                        <a:buNone/>
                      </a:pPr>
                      <a:r>
                        <a:rPr lang="en-US" sz="1000" dirty="0"/>
                        <a:t>planned approx. 2028</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1925431079"/>
                  </a:ext>
                </a:extLst>
              </a:tr>
              <a:tr h="548663">
                <a:tc>
                  <a:txBody>
                    <a:bodyPr/>
                    <a:lstStyle/>
                    <a:p>
                      <a:pPr lvl="0">
                        <a:spcBef>
                          <a:spcPts val="600"/>
                        </a:spcBef>
                        <a:buNone/>
                      </a:pPr>
                      <a:r>
                        <a:rPr lang="en-US" sz="1000" b="1" dirty="0"/>
                        <a:t>Key</a:t>
                      </a:r>
                    </a:p>
                    <a:p>
                      <a:pPr lvl="0">
                        <a:spcBef>
                          <a:spcPts val="600"/>
                        </a:spcBef>
                        <a:buNone/>
                      </a:pPr>
                      <a:r>
                        <a:rPr lang="en-US" sz="1000" b="1" dirty="0"/>
                        <a:t>advantage</a:t>
                      </a:r>
                      <a:endParaRPr lang="en-US" sz="10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Proven horizontal EGS, scalable </a:t>
                      </a:r>
                    </a:p>
                    <a:p>
                      <a:pPr lvl="0">
                        <a:spcBef>
                          <a:spcPts val="0"/>
                        </a:spcBef>
                        <a:buNone/>
                      </a:pPr>
                      <a:r>
                        <a:rPr lang="en-US" sz="1000" dirty="0"/>
                        <a:t>beyond volcanic zon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Hybrid approach allows</a:t>
                      </a:r>
                    </a:p>
                    <a:p>
                      <a:pPr lvl="0">
                        <a:spcBef>
                          <a:spcPts val="0"/>
                        </a:spcBef>
                        <a:buNone/>
                      </a:pPr>
                      <a:r>
                        <a:rPr lang="en-US" sz="1000" dirty="0"/>
                        <a:t>energy storage and</a:t>
                      </a:r>
                    </a:p>
                    <a:p>
                      <a:pPr lvl="0">
                        <a:spcBef>
                          <a:spcPts val="0"/>
                        </a:spcBef>
                        <a:buNone/>
                      </a:pPr>
                      <a:r>
                        <a:rPr lang="en-US" sz="1000" dirty="0"/>
                        <a:t>power generation</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Novel stimulation and </a:t>
                      </a:r>
                    </a:p>
                    <a:p>
                      <a:pPr lvl="0">
                        <a:spcBef>
                          <a:spcPts val="0"/>
                        </a:spcBef>
                        <a:buNone/>
                      </a:pPr>
                      <a:r>
                        <a:rPr lang="en-US" sz="1000" dirty="0"/>
                        <a:t>rock weakening with </a:t>
                      </a:r>
                    </a:p>
                    <a:p>
                      <a:pPr lvl="0">
                        <a:spcBef>
                          <a:spcPts val="0"/>
                        </a:spcBef>
                        <a:buNone/>
                      </a:pPr>
                      <a:r>
                        <a:rPr lang="en-US" sz="1000" dirty="0"/>
                        <a:t>las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Closed-loop avoid fluid-</a:t>
                      </a:r>
                    </a:p>
                    <a:p>
                      <a:pPr lvl="0">
                        <a:spcBef>
                          <a:spcPts val="0"/>
                        </a:spcBef>
                        <a:buNone/>
                      </a:pPr>
                      <a:r>
                        <a:rPr lang="en-US" sz="1000" dirty="0"/>
                        <a:t>loss and is scalable in </a:t>
                      </a:r>
                    </a:p>
                    <a:p>
                      <a:pPr lvl="0">
                        <a:spcBef>
                          <a:spcPts val="0"/>
                        </a:spcBef>
                        <a:buNone/>
                      </a:pPr>
                      <a:r>
                        <a:rPr lang="en-US" sz="1000" dirty="0"/>
                        <a:t>many regi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Works in ultrahard </a:t>
                      </a:r>
                    </a:p>
                    <a:p>
                      <a:pPr lvl="0">
                        <a:spcBef>
                          <a:spcPts val="0"/>
                        </a:spcBef>
                        <a:buNone/>
                      </a:pPr>
                      <a:r>
                        <a:rPr lang="en-US" sz="1000" dirty="0"/>
                        <a:t>formations, extended </a:t>
                      </a:r>
                      <a:br>
                        <a:rPr lang="en-US" sz="1000" dirty="0"/>
                      </a:br>
                      <a:r>
                        <a:rPr lang="en-US" sz="1000" dirty="0"/>
                        <a:t>tool </a:t>
                      </a:r>
                    </a:p>
                    <a:p>
                      <a:pPr lvl="0">
                        <a:spcBef>
                          <a:spcPts val="0"/>
                        </a:spcBef>
                        <a:buNone/>
                      </a:pPr>
                      <a:r>
                        <a:rPr lang="en-US" sz="1000" dirty="0"/>
                        <a:t>lif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tc>
                  <a:txBody>
                    <a:bodyPr/>
                    <a:lstStyle/>
                    <a:p>
                      <a:pPr lvl="0">
                        <a:spcBef>
                          <a:spcPts val="0"/>
                        </a:spcBef>
                        <a:buNone/>
                      </a:pPr>
                      <a:r>
                        <a:rPr lang="en-US" sz="1000" dirty="0"/>
                        <a:t>Ultra-deep, contactless </a:t>
                      </a:r>
                    </a:p>
                    <a:p>
                      <a:pPr lvl="0">
                        <a:spcBef>
                          <a:spcPts val="0"/>
                        </a:spcBef>
                        <a:buNone/>
                      </a:pPr>
                      <a:r>
                        <a:rPr lang="en-US" sz="1000" dirty="0"/>
                        <a:t>drilling enables access to </a:t>
                      </a:r>
                    </a:p>
                    <a:p>
                      <a:pPr lvl="0">
                        <a:spcBef>
                          <a:spcPts val="0"/>
                        </a:spcBef>
                        <a:buNone/>
                      </a:pPr>
                      <a:r>
                        <a:rPr lang="en-US" sz="1000" dirty="0"/>
                        <a:t>superhot rock</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2428355997"/>
                  </a:ext>
                </a:extLst>
              </a:tr>
            </a:tbl>
          </a:graphicData>
        </a:graphic>
      </p:graphicFrame>
      <p:pic>
        <p:nvPicPr>
          <p:cNvPr id="9" name="Picture 12" descr="Quaise Energy Secures $40M Series A to Unlock Terawatt-Scale Geothermal  Energy">
            <a:extLst>
              <a:ext uri="{FF2B5EF4-FFF2-40B4-BE49-F238E27FC236}">
                <a16:creationId xmlns:a16="http://schemas.microsoft.com/office/drawing/2014/main" id="{0FF6F4EE-CB62-6864-959B-5FAF32F7A1B3}"/>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226568" y="1980486"/>
            <a:ext cx="1272099" cy="3206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4" descr="GA Drilling - Wikipedia">
            <a:extLst>
              <a:ext uri="{FF2B5EF4-FFF2-40B4-BE49-F238E27FC236}">
                <a16:creationId xmlns:a16="http://schemas.microsoft.com/office/drawing/2014/main" id="{917EEAC2-80F0-4203-2126-895A077D3605}"/>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624888" y="1738325"/>
            <a:ext cx="1146237" cy="77311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Careers - Fervo Energy">
            <a:extLst>
              <a:ext uri="{FF2B5EF4-FFF2-40B4-BE49-F238E27FC236}">
                <a16:creationId xmlns:a16="http://schemas.microsoft.com/office/drawing/2014/main" id="{2276B9FC-CED8-A945-C150-888D71722257}"/>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662113" y="1967703"/>
            <a:ext cx="1626575" cy="3524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Home - AltaRock">
            <a:extLst>
              <a:ext uri="{FF2B5EF4-FFF2-40B4-BE49-F238E27FC236}">
                <a16:creationId xmlns:a16="http://schemas.microsoft.com/office/drawing/2014/main" id="{A88AA4A1-7500-5782-FEB9-371281E7D841}"/>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354178" y="1872536"/>
            <a:ext cx="1497876" cy="4095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descr="June 2025 Updates | ClearSky">
            <a:extLst>
              <a:ext uri="{FF2B5EF4-FFF2-40B4-BE49-F238E27FC236}">
                <a16:creationId xmlns:a16="http://schemas.microsoft.com/office/drawing/2014/main" id="{CB6C22B0-3817-FDAD-35EE-A10954E3D97A}"/>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7113650" y="1808163"/>
            <a:ext cx="1188571" cy="70485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tfpColumnHeaderBoxLine223027">
            <a:extLst>
              <a:ext uri="{FF2B5EF4-FFF2-40B4-BE49-F238E27FC236}">
                <a16:creationId xmlns:a16="http://schemas.microsoft.com/office/drawing/2014/main" id="{DA040739-0891-1A66-5F96-631507F71D97}"/>
              </a:ext>
            </a:extLst>
          </p:cNvPr>
          <p:cNvCxnSpPr>
            <a:cxnSpLocks/>
          </p:cNvCxnSpPr>
          <p:nvPr/>
        </p:nvCxnSpPr>
        <p:spPr bwMode="gray">
          <a:xfrm>
            <a:off x="329184" y="1751013"/>
            <a:ext cx="11430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btfpColumnHeaderBoxText223027">
            <a:extLst>
              <a:ext uri="{FF2B5EF4-FFF2-40B4-BE49-F238E27FC236}">
                <a16:creationId xmlns:a16="http://schemas.microsoft.com/office/drawing/2014/main" id="{D2346271-A914-A938-6508-ABEF1A523AC2}"/>
              </a:ext>
            </a:extLst>
          </p:cNvPr>
          <p:cNvSpPr txBox="1"/>
          <p:nvPr/>
        </p:nvSpPr>
        <p:spPr bwMode="gray">
          <a:xfrm>
            <a:off x="329184" y="1455649"/>
            <a:ext cx="5501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ea typeface="+mn-lt"/>
                <a:cs typeface="+mn-lt"/>
              </a:rPr>
              <a:t>Overview of first-mover companies </a:t>
            </a:r>
            <a:r>
              <a:rPr lang="en-US" sz="1400" b="1" i="1" dirty="0">
                <a:solidFill>
                  <a:srgbClr val="000000"/>
                </a:solidFill>
                <a:ea typeface="+mn-lt"/>
                <a:cs typeface="+mn-lt"/>
              </a:rPr>
              <a:t>(non-exhaustive)</a:t>
            </a:r>
            <a:endParaRPr lang="en-US" i="1" dirty="0"/>
          </a:p>
        </p:txBody>
      </p:sp>
      <p:sp>
        <p:nvSpPr>
          <p:cNvPr id="16" name="Oval 15">
            <a:extLst>
              <a:ext uri="{FF2B5EF4-FFF2-40B4-BE49-F238E27FC236}">
                <a16:creationId xmlns:a16="http://schemas.microsoft.com/office/drawing/2014/main" id="{67B40759-E458-D0AA-EB83-16E2439E74B2}"/>
              </a:ext>
            </a:extLst>
          </p:cNvPr>
          <p:cNvSpPr/>
          <p:nvPr>
            <p:custDataLst>
              <p:tags r:id="rId2"/>
            </p:custDataLst>
          </p:nvPr>
        </p:nvSpPr>
        <p:spPr bwMode="auto">
          <a:xfrm>
            <a:off x="10294938" y="3405188"/>
            <a:ext cx="187325" cy="187325"/>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Arc 16">
            <a:extLst>
              <a:ext uri="{FF2B5EF4-FFF2-40B4-BE49-F238E27FC236}">
                <a16:creationId xmlns:a16="http://schemas.microsoft.com/office/drawing/2014/main" id="{0BBC9B20-58BE-7C2A-912A-B39E8E303EE3}"/>
              </a:ext>
            </a:extLst>
          </p:cNvPr>
          <p:cNvSpPr/>
          <p:nvPr>
            <p:custDataLst>
              <p:tags r:id="rId3"/>
            </p:custDataLst>
          </p:nvPr>
        </p:nvSpPr>
        <p:spPr bwMode="gray">
          <a:xfrm>
            <a:off x="10294938" y="3405188"/>
            <a:ext cx="187324" cy="187324"/>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a:extLst>
              <a:ext uri="{FF2B5EF4-FFF2-40B4-BE49-F238E27FC236}">
                <a16:creationId xmlns:a16="http://schemas.microsoft.com/office/drawing/2014/main" id="{AE0D58F9-76D1-836F-1457-41256E4873C7}"/>
              </a:ext>
            </a:extLst>
          </p:cNvPr>
          <p:cNvSpPr/>
          <p:nvPr>
            <p:custDataLst>
              <p:tags r:id="rId4"/>
            </p:custDataLst>
          </p:nvPr>
        </p:nvSpPr>
        <p:spPr bwMode="auto">
          <a:xfrm>
            <a:off x="8624888" y="3405188"/>
            <a:ext cx="187325" cy="187325"/>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Arc 18">
            <a:extLst>
              <a:ext uri="{FF2B5EF4-FFF2-40B4-BE49-F238E27FC236}">
                <a16:creationId xmlns:a16="http://schemas.microsoft.com/office/drawing/2014/main" id="{E639C83E-1BD4-4771-125F-83634A4805E2}"/>
              </a:ext>
            </a:extLst>
          </p:cNvPr>
          <p:cNvSpPr/>
          <p:nvPr>
            <p:custDataLst>
              <p:tags r:id="rId5"/>
            </p:custDataLst>
          </p:nvPr>
        </p:nvSpPr>
        <p:spPr bwMode="gray">
          <a:xfrm>
            <a:off x="8624889" y="3405188"/>
            <a:ext cx="187324" cy="187324"/>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 name="Oval 19">
            <a:extLst>
              <a:ext uri="{FF2B5EF4-FFF2-40B4-BE49-F238E27FC236}">
                <a16:creationId xmlns:a16="http://schemas.microsoft.com/office/drawing/2014/main" id="{14DD5915-77E9-14C1-2790-03C4FD8951ED}"/>
              </a:ext>
            </a:extLst>
          </p:cNvPr>
          <p:cNvSpPr/>
          <p:nvPr>
            <p:custDataLst>
              <p:tags r:id="rId6"/>
            </p:custDataLst>
          </p:nvPr>
        </p:nvSpPr>
        <p:spPr bwMode="auto">
          <a:xfrm>
            <a:off x="7032625" y="3405188"/>
            <a:ext cx="187325" cy="187325"/>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Arc 20">
            <a:extLst>
              <a:ext uri="{FF2B5EF4-FFF2-40B4-BE49-F238E27FC236}">
                <a16:creationId xmlns:a16="http://schemas.microsoft.com/office/drawing/2014/main" id="{68F85EF4-5205-1FFE-6F8A-D00FF9B7E792}"/>
              </a:ext>
            </a:extLst>
          </p:cNvPr>
          <p:cNvSpPr/>
          <p:nvPr>
            <p:custDataLst>
              <p:tags r:id="rId7"/>
            </p:custDataLst>
          </p:nvPr>
        </p:nvSpPr>
        <p:spPr bwMode="gray">
          <a:xfrm>
            <a:off x="7032625" y="3405188"/>
            <a:ext cx="187324" cy="187325"/>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Oval 21">
            <a:extLst>
              <a:ext uri="{FF2B5EF4-FFF2-40B4-BE49-F238E27FC236}">
                <a16:creationId xmlns:a16="http://schemas.microsoft.com/office/drawing/2014/main" id="{7902B6BE-3155-692B-C82E-3B3302BF7C2A}"/>
              </a:ext>
            </a:extLst>
          </p:cNvPr>
          <p:cNvSpPr/>
          <p:nvPr>
            <p:custDataLst>
              <p:tags r:id="rId8"/>
            </p:custDataLst>
          </p:nvPr>
        </p:nvSpPr>
        <p:spPr bwMode="auto">
          <a:xfrm>
            <a:off x="5330825" y="3405188"/>
            <a:ext cx="187325" cy="187325"/>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Arc 22">
            <a:extLst>
              <a:ext uri="{FF2B5EF4-FFF2-40B4-BE49-F238E27FC236}">
                <a16:creationId xmlns:a16="http://schemas.microsoft.com/office/drawing/2014/main" id="{0E84C1BC-E2D4-39B5-FC27-346C32D280C3}"/>
              </a:ext>
            </a:extLst>
          </p:cNvPr>
          <p:cNvSpPr/>
          <p:nvPr>
            <p:custDataLst>
              <p:tags r:id="rId9"/>
            </p:custDataLst>
          </p:nvPr>
        </p:nvSpPr>
        <p:spPr bwMode="gray">
          <a:xfrm>
            <a:off x="5330825" y="3405188"/>
            <a:ext cx="187324" cy="187325"/>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Oval 23">
            <a:extLst>
              <a:ext uri="{FF2B5EF4-FFF2-40B4-BE49-F238E27FC236}">
                <a16:creationId xmlns:a16="http://schemas.microsoft.com/office/drawing/2014/main" id="{ACD41E71-7BB3-07FD-8337-D158D768F8B0}"/>
              </a:ext>
            </a:extLst>
          </p:cNvPr>
          <p:cNvSpPr/>
          <p:nvPr>
            <p:custDataLst>
              <p:tags r:id="rId10"/>
            </p:custDataLst>
          </p:nvPr>
        </p:nvSpPr>
        <p:spPr bwMode="auto">
          <a:xfrm>
            <a:off x="1662113" y="3405188"/>
            <a:ext cx="187325" cy="1873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51FE2203-3678-D7C3-2AA4-F531B01B2264}"/>
              </a:ext>
            </a:extLst>
          </p:cNvPr>
          <p:cNvSpPr/>
          <p:nvPr>
            <p:custDataLst>
              <p:tags r:id="rId11"/>
            </p:custDataLst>
          </p:nvPr>
        </p:nvSpPr>
        <p:spPr bwMode="auto">
          <a:xfrm>
            <a:off x="3706813" y="3406775"/>
            <a:ext cx="187325" cy="1873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6" name="Picture 2" descr="Sage Geosystems, Inc. and California Resources Corporation Announce  Strategic Partnership for Subsurface Energy Storage and Geothermal Power  Generation in California">
            <a:extLst>
              <a:ext uri="{FF2B5EF4-FFF2-40B4-BE49-F238E27FC236}">
                <a16:creationId xmlns:a16="http://schemas.microsoft.com/office/drawing/2014/main" id="{08C0C10A-4605-F2C7-8786-50B5300D41C4}"/>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a:fillRect/>
          </a:stretch>
        </p:blipFill>
        <p:spPr bwMode="auto">
          <a:xfrm>
            <a:off x="3892550" y="1774686"/>
            <a:ext cx="886442" cy="577058"/>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46A7D4D4-2E88-05D4-2E5B-5E52C6FC6AF4}"/>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hlinkClick r:id="rId21"/>
              </a:rPr>
              <a:t>Superhot Rock Energy</a:t>
            </a:r>
            <a:r>
              <a:rPr lang="en-US" dirty="0">
                <a:solidFill>
                  <a:srgbClr val="000000"/>
                </a:solidFill>
              </a:rPr>
              <a:t> (CATF, 2022); </a:t>
            </a:r>
            <a:r>
              <a:rPr lang="en-US" u="sng" dirty="0">
                <a:hlinkClick r:id="rId22"/>
              </a:rPr>
              <a:t>Geothermal Energy Startups</a:t>
            </a:r>
            <a:r>
              <a:rPr lang="en-US" dirty="0"/>
              <a:t> </a:t>
            </a:r>
            <a:r>
              <a:rPr lang="en-US" dirty="0">
                <a:solidFill>
                  <a:schemeClr val="tx1"/>
                </a:solidFill>
              </a:rPr>
              <a:t>(</a:t>
            </a:r>
            <a:r>
              <a:rPr lang="en-US" dirty="0" err="1">
                <a:solidFill>
                  <a:schemeClr val="tx1"/>
                </a:solidFill>
              </a:rPr>
              <a:t>Dealroom</a:t>
            </a:r>
            <a:r>
              <a:rPr lang="en-US" dirty="0">
                <a:solidFill>
                  <a:schemeClr val="tx1"/>
                </a:solidFill>
              </a:rPr>
              <a:t>, 2025)​.</a:t>
            </a:r>
          </a:p>
          <a:p>
            <a:pPr marL="0" indent="0">
              <a:spcBef>
                <a:spcPts val="0"/>
              </a:spcBef>
              <a:buNone/>
              <a:defRPr/>
            </a:pPr>
            <a:r>
              <a:rPr lang="en-US" dirty="0">
                <a:solidFill>
                  <a:srgbClr val="000000"/>
                </a:solidFill>
              </a:rPr>
              <a:t>Credit: </a:t>
            </a:r>
            <a:r>
              <a:rPr lang="en-US" dirty="0">
                <a:solidFill>
                  <a:schemeClr val="tx1"/>
                </a:solidFill>
              </a:rPr>
              <a:t>Pia Doris Morrow, </a:t>
            </a:r>
            <a:r>
              <a:rPr lang="en-US" dirty="0" err="1">
                <a:solidFill>
                  <a:schemeClr val="tx1"/>
                </a:solidFill>
              </a:rPr>
              <a:t>Faradisa</a:t>
            </a:r>
            <a:r>
              <a:rPr lang="en-US" dirty="0">
                <a:solidFill>
                  <a:schemeClr val="tx1"/>
                </a:solidFill>
              </a:rPr>
              <a:t> </a:t>
            </a:r>
            <a:r>
              <a:rPr lang="en-US" dirty="0" err="1">
                <a:solidFill>
                  <a:schemeClr val="tx1"/>
                </a:solidFill>
              </a:rPr>
              <a:t>Anintya</a:t>
            </a:r>
            <a:r>
              <a:rPr lang="en-US" dirty="0">
                <a:solidFill>
                  <a:schemeClr val="tx1"/>
                </a:solidFill>
              </a:rPr>
              <a:t>, Isabel Hoyos</a:t>
            </a:r>
            <a:r>
              <a:rPr lang="en-US" dirty="0">
                <a:solidFill>
                  <a:srgbClr val="000000"/>
                </a:solidFill>
              </a:rPr>
              <a:t>, and </a:t>
            </a:r>
            <a:r>
              <a:rPr lang="en-US" dirty="0">
                <a:solidFill>
                  <a:srgbClr val="000000">
                    <a:tint val="82000"/>
                  </a:srgbClr>
                </a:solidFill>
                <a:hlinkClick r:id="rId23"/>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2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Tree>
    <p:extLst>
      <p:ext uri="{BB962C8B-B14F-4D97-AF65-F5344CB8AC3E}">
        <p14:creationId xmlns:p14="http://schemas.microsoft.com/office/powerpoint/2010/main" val="40531504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1F60E-E8C4-3444-967B-0BFE50C70571}"/>
              </a:ext>
            </a:extLst>
          </p:cNvPr>
          <p:cNvGraphicFramePr>
            <a:graphicFrameLocks/>
          </p:cNvGraphicFramePr>
          <p:nvPr>
            <p:custDataLst>
              <p:tags r:id="rId1"/>
            </p:custDataLst>
            <p:extLst>
              <p:ext uri="{D42A27DB-BD31-4B8C-83A1-F6EECF244321}">
                <p14:modId xmlns:p14="http://schemas.microsoft.com/office/powerpoint/2010/main" val="3398452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CA7463-F3AC-EEE3-227D-2B2D742D2B29}"/>
              </a:ext>
            </a:extLst>
          </p:cNvPr>
          <p:cNvSpPr>
            <a:spLocks noGrp="1"/>
          </p:cNvSpPr>
          <p:nvPr>
            <p:ph type="body" sz="quarter" idx="13"/>
          </p:nvPr>
        </p:nvSpPr>
        <p:spPr/>
        <p:txBody>
          <a:bodyPr/>
          <a:lstStyle/>
          <a:p>
            <a:r>
              <a:rPr lang="en-US" dirty="0">
                <a:solidFill>
                  <a:srgbClr val="000000"/>
                </a:solidFill>
                <a:ea typeface="+mn-lt"/>
                <a:cs typeface="+mn-lt"/>
              </a:rPr>
              <a:t>CO₂/</a:t>
            </a:r>
            <a:r>
              <a:rPr lang="en-US" dirty="0" err="1">
                <a:solidFill>
                  <a:srgbClr val="000000"/>
                </a:solidFill>
                <a:ea typeface="+mn-lt"/>
                <a:cs typeface="+mn-lt"/>
              </a:rPr>
              <a:t>sCO</a:t>
            </a:r>
            <a:r>
              <a:rPr lang="en-US" dirty="0">
                <a:solidFill>
                  <a:srgbClr val="000000"/>
                </a:solidFill>
                <a:ea typeface="+mn-lt"/>
                <a:cs typeface="+mn-lt"/>
              </a:rPr>
              <a:t>₂ turbines in superhot geothermal systems</a:t>
            </a:r>
            <a:endParaRPr lang="en-US" dirty="0"/>
          </a:p>
        </p:txBody>
      </p:sp>
      <p:sp>
        <p:nvSpPr>
          <p:cNvPr id="3" name="Title 2">
            <a:extLst>
              <a:ext uri="{FF2B5EF4-FFF2-40B4-BE49-F238E27FC236}">
                <a16:creationId xmlns:a16="http://schemas.microsoft.com/office/drawing/2014/main" id="{D0FD376D-7DC4-0054-D30F-177F400BF3C0}"/>
              </a:ext>
            </a:extLst>
          </p:cNvPr>
          <p:cNvSpPr>
            <a:spLocks noGrp="1"/>
          </p:cNvSpPr>
          <p:nvPr>
            <p:ph type="title"/>
          </p:nvPr>
        </p:nvSpPr>
        <p:spPr/>
        <p:txBody>
          <a:bodyPr vert="horz" rIns="91440"/>
          <a:lstStyle/>
          <a:p>
            <a:r>
              <a:rPr lang="en-US" dirty="0">
                <a:solidFill>
                  <a:srgbClr val="000000"/>
                </a:solidFill>
                <a:ea typeface="+mj-lt"/>
                <a:cs typeface="+mj-lt"/>
              </a:rPr>
              <a:t>High-efficiency CO₂ turbines can accelerate geothermal commercialization</a:t>
            </a:r>
            <a:endParaRPr lang="en-US" dirty="0"/>
          </a:p>
        </p:txBody>
      </p:sp>
      <p:sp>
        <p:nvSpPr>
          <p:cNvPr id="5" name="Footer Placeholder 4">
            <a:extLst>
              <a:ext uri="{FF2B5EF4-FFF2-40B4-BE49-F238E27FC236}">
                <a16:creationId xmlns:a16="http://schemas.microsoft.com/office/drawing/2014/main" id="{4AAAE666-3533-A0CE-3D06-C80FD8FF46C5}"/>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hlinkClick r:id="rId5"/>
              </a:rPr>
              <a:t>Superhot Rock Thermal</a:t>
            </a:r>
            <a:r>
              <a:rPr lang="en-US" dirty="0">
                <a:solidFill>
                  <a:srgbClr val="000000"/>
                </a:solidFill>
              </a:rPr>
              <a:t> (Chen, 2024).</a:t>
            </a:r>
          </a:p>
          <a:p>
            <a:pPr marL="0" indent="0">
              <a:spcBef>
                <a:spcPts val="0"/>
              </a:spcBef>
              <a:buNone/>
              <a:defRPr/>
            </a:pPr>
            <a:r>
              <a:rPr lang="en-US" dirty="0">
                <a:solidFill>
                  <a:srgbClr val="000000"/>
                </a:solidFill>
              </a:rPr>
              <a:t>Credit: Pia Doris Morrow, Isabel Hoyos, and </a:t>
            </a:r>
            <a:r>
              <a:rPr lang="en-US" dirty="0">
                <a:solidFill>
                  <a:srgbClr val="000000">
                    <a:tint val="82000"/>
                  </a:srgbClr>
                </a:solidFill>
                <a:hlinkClick r:id="rId6"/>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1">
            <a:extLst>
              <a:ext uri="{FF2B5EF4-FFF2-40B4-BE49-F238E27FC236}">
                <a16:creationId xmlns:a16="http://schemas.microsoft.com/office/drawing/2014/main" id="{D81D0456-D4B7-97D2-8DD7-D8AC1DD29784}"/>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rilling technology</a:t>
            </a:r>
          </a:p>
        </p:txBody>
      </p:sp>
      <p:pic>
        <p:nvPicPr>
          <p:cNvPr id="8" name="Picture 7" descr="A diagram of a turbine&#10;&#10;AI-generated content may be incorrect.">
            <a:extLst>
              <a:ext uri="{FF2B5EF4-FFF2-40B4-BE49-F238E27FC236}">
                <a16:creationId xmlns:a16="http://schemas.microsoft.com/office/drawing/2014/main" id="{E52AB467-9114-1B54-CDDE-BB8D3D2EC4C1}"/>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1749287" y="2145375"/>
            <a:ext cx="4002157" cy="2093631"/>
          </a:xfrm>
          <a:prstGeom prst="rect">
            <a:avLst/>
          </a:prstGeom>
        </p:spPr>
      </p:pic>
      <p:sp>
        <p:nvSpPr>
          <p:cNvPr id="9" name="TextBox 8">
            <a:extLst>
              <a:ext uri="{FF2B5EF4-FFF2-40B4-BE49-F238E27FC236}">
                <a16:creationId xmlns:a16="http://schemas.microsoft.com/office/drawing/2014/main" id="{7A48E2FF-A0B1-76BC-96FA-FB7EB71D14A0}"/>
              </a:ext>
            </a:extLst>
          </p:cNvPr>
          <p:cNvSpPr txBox="1"/>
          <p:nvPr/>
        </p:nvSpPr>
        <p:spPr bwMode="gray">
          <a:xfrm>
            <a:off x="353378" y="3871980"/>
            <a:ext cx="6902290" cy="2389430"/>
          </a:xfrm>
          <a:prstGeom prst="rect">
            <a:avLst/>
          </a:prstGeom>
          <a:noFill/>
          <a:ln>
            <a:noFill/>
          </a:ln>
        </p:spPr>
        <p:txBody>
          <a:bodyPr wrap="square" lIns="91440" tIns="91440" rIns="91440" bIns="91440" rtlCol="0" anchor="t">
            <a:noAutofit/>
          </a:bodyPr>
          <a:lstStyle/>
          <a:p>
            <a:pPr marL="0" indent="0">
              <a:buNone/>
            </a:pPr>
            <a:r>
              <a:rPr lang="en-US" sz="1200" b="1" dirty="0"/>
              <a:t>Why CO</a:t>
            </a:r>
            <a:r>
              <a:rPr lang="en-US" sz="1200" b="1" baseline="-25000" dirty="0"/>
              <a:t>2</a:t>
            </a:r>
            <a:r>
              <a:rPr lang="en-US" sz="1200" b="1" dirty="0"/>
              <a:t>?</a:t>
            </a:r>
          </a:p>
          <a:p>
            <a:r>
              <a:rPr lang="en-US" sz="1200" b="1" dirty="0"/>
              <a:t>CO₂ as a working fluid:</a:t>
            </a:r>
            <a:r>
              <a:rPr lang="en-US" sz="1200" dirty="0"/>
              <a:t> Provides non-explosive, non-flammable, non-toxic, and low-cost alternative to water.</a:t>
            </a:r>
          </a:p>
          <a:p>
            <a:r>
              <a:rPr lang="en-US" sz="1200" b="1" dirty="0"/>
              <a:t>Thermosiphon effect:</a:t>
            </a:r>
            <a:r>
              <a:rPr lang="en-US" sz="1200" dirty="0"/>
              <a:t> Large density change with temperature creates strong buoyancy forces, </a:t>
            </a:r>
            <a:r>
              <a:rPr lang="en-US" sz="1200" b="1" dirty="0"/>
              <a:t>reducing or eliminating pumping power</a:t>
            </a:r>
            <a:r>
              <a:rPr lang="en-US" sz="1200" dirty="0"/>
              <a:t> in geothermal wells.</a:t>
            </a:r>
          </a:p>
          <a:p>
            <a:r>
              <a:rPr lang="en-US" sz="1200" b="1" dirty="0"/>
              <a:t>High thermal efficiency:</a:t>
            </a:r>
            <a:r>
              <a:rPr lang="en-US" sz="1200" dirty="0"/>
              <a:t> Achieved through </a:t>
            </a:r>
            <a:r>
              <a:rPr lang="en-US" sz="1200" b="1" dirty="0"/>
              <a:t>low compression work</a:t>
            </a:r>
            <a:r>
              <a:rPr lang="en-US" sz="1200" dirty="0"/>
              <a:t> and </a:t>
            </a:r>
            <a:r>
              <a:rPr lang="en-US" sz="1200" b="1" dirty="0"/>
              <a:t>extensive heat recovery</a:t>
            </a:r>
            <a:r>
              <a:rPr lang="en-US" sz="1200" dirty="0"/>
              <a:t> from turbine exhaust.</a:t>
            </a:r>
          </a:p>
          <a:p>
            <a:r>
              <a:rPr lang="en-US" sz="1200" b="1" dirty="0"/>
              <a:t>Compact, efficient design:</a:t>
            </a:r>
            <a:r>
              <a:rPr lang="en-US" sz="1200" dirty="0"/>
              <a:t> In its supercritical state, CO₂ is </a:t>
            </a:r>
            <a:r>
              <a:rPr lang="en-US" sz="1200" b="1" dirty="0"/>
              <a:t>nearly twice as dense as steam</a:t>
            </a:r>
            <a:r>
              <a:rPr lang="en-US" sz="1200" dirty="0"/>
              <a:t>, allowing for </a:t>
            </a:r>
            <a:r>
              <a:rPr lang="en-US" sz="1200" b="1" dirty="0"/>
              <a:t>smaller turbines and pumps</a:t>
            </a:r>
            <a:r>
              <a:rPr lang="en-US" sz="1200" dirty="0"/>
              <a:t>, a </a:t>
            </a:r>
            <a:r>
              <a:rPr lang="en-US" sz="1200" b="1" dirty="0"/>
              <a:t>reduced plant footprint</a:t>
            </a:r>
            <a:r>
              <a:rPr lang="en-US" sz="1200" dirty="0"/>
              <a:t>, and </a:t>
            </a:r>
            <a:r>
              <a:rPr lang="en-US" sz="1200" b="1" dirty="0"/>
              <a:t>lower capital costs</a:t>
            </a:r>
            <a:r>
              <a:rPr lang="en-US" sz="1200" dirty="0"/>
              <a:t>.</a:t>
            </a:r>
          </a:p>
        </p:txBody>
      </p:sp>
      <p:sp>
        <p:nvSpPr>
          <p:cNvPr id="10" name="TextBox 9">
            <a:extLst>
              <a:ext uri="{FF2B5EF4-FFF2-40B4-BE49-F238E27FC236}">
                <a16:creationId xmlns:a16="http://schemas.microsoft.com/office/drawing/2014/main" id="{F3C70C7B-9370-9DCF-53BC-1A227884C92C}"/>
              </a:ext>
            </a:extLst>
          </p:cNvPr>
          <p:cNvSpPr txBox="1"/>
          <p:nvPr/>
        </p:nvSpPr>
        <p:spPr bwMode="gray">
          <a:xfrm>
            <a:off x="8468685" y="2145375"/>
            <a:ext cx="3389939" cy="4189305"/>
          </a:xfrm>
          <a:prstGeom prst="rect">
            <a:avLst/>
          </a:prstGeom>
          <a:noFill/>
          <a:ln>
            <a:noFill/>
          </a:ln>
        </p:spPr>
        <p:txBody>
          <a:bodyPr wrap="square" lIns="91440" tIns="91440" rIns="91440" bIns="91440" rtlCol="0" anchor="t">
            <a:noAutofit/>
          </a:bodyPr>
          <a:lstStyle/>
          <a:p>
            <a:pPr marL="0" indent="0">
              <a:spcBef>
                <a:spcPts val="0"/>
              </a:spcBef>
              <a:buNone/>
            </a:pPr>
            <a:r>
              <a:rPr lang="en-US" sz="1400" b="1" dirty="0">
                <a:solidFill>
                  <a:srgbClr val="00B050"/>
                </a:solidFill>
              </a:rPr>
              <a:t>Advantages</a:t>
            </a:r>
          </a:p>
          <a:p>
            <a:pPr marL="0" indent="0">
              <a:spcBef>
                <a:spcPts val="0"/>
              </a:spcBef>
              <a:buNone/>
            </a:pPr>
            <a:endParaRPr lang="en-US" sz="1400" b="1" dirty="0">
              <a:solidFill>
                <a:srgbClr val="00B050"/>
              </a:solidFill>
            </a:endParaRPr>
          </a:p>
          <a:p>
            <a:pPr>
              <a:spcBef>
                <a:spcPts val="0"/>
              </a:spcBef>
            </a:pPr>
            <a:r>
              <a:rPr lang="en-US" sz="1200" dirty="0"/>
              <a:t>Higher efficiency (especially at high temperatures) vs. steam cycles </a:t>
            </a:r>
            <a:endParaRPr lang="en-US" sz="1200" dirty="0">
              <a:cs typeface="Arial"/>
            </a:endParaRPr>
          </a:p>
          <a:p>
            <a:pPr>
              <a:spcBef>
                <a:spcPts val="0"/>
              </a:spcBef>
            </a:pPr>
            <a:r>
              <a:rPr lang="en-US" sz="1200" dirty="0"/>
              <a:t>More compact turbine/less bulky equipment (higher power density) </a:t>
            </a:r>
            <a:endParaRPr lang="en-US" sz="1200" dirty="0">
              <a:cs typeface="Arial"/>
            </a:endParaRPr>
          </a:p>
          <a:p>
            <a:pPr>
              <a:spcBef>
                <a:spcPts val="0"/>
              </a:spcBef>
            </a:pPr>
            <a:r>
              <a:rPr lang="en-US" sz="1200" dirty="0"/>
              <a:t>Lower parasitic losses (reduced compression work) and strong heat recovery potential </a:t>
            </a:r>
            <a:endParaRPr lang="en-US" sz="1200" dirty="0">
              <a:cs typeface="Arial"/>
            </a:endParaRPr>
          </a:p>
          <a:p>
            <a:pPr marL="0" indent="0">
              <a:spcBef>
                <a:spcPts val="0"/>
              </a:spcBef>
              <a:buNone/>
            </a:pPr>
            <a:endParaRPr lang="en-US" sz="1400" b="1" dirty="0">
              <a:solidFill>
                <a:srgbClr val="C00000"/>
              </a:solidFill>
            </a:endParaRPr>
          </a:p>
          <a:p>
            <a:pPr marL="0" indent="0">
              <a:spcBef>
                <a:spcPts val="0"/>
              </a:spcBef>
              <a:buNone/>
            </a:pPr>
            <a:r>
              <a:rPr lang="en-US" sz="1400" b="1" dirty="0">
                <a:solidFill>
                  <a:srgbClr val="C00000"/>
                </a:solidFill>
              </a:rPr>
              <a:t>Key Challenges</a:t>
            </a:r>
          </a:p>
          <a:p>
            <a:pPr marL="0" indent="0">
              <a:spcBef>
                <a:spcPts val="0"/>
              </a:spcBef>
              <a:buNone/>
            </a:pPr>
            <a:endParaRPr lang="en-US" sz="1400" b="1" dirty="0">
              <a:solidFill>
                <a:srgbClr val="C00000"/>
              </a:solidFill>
              <a:cs typeface="Arial"/>
            </a:endParaRPr>
          </a:p>
          <a:p>
            <a:pPr>
              <a:spcBef>
                <a:spcPts val="0"/>
              </a:spcBef>
            </a:pPr>
            <a:r>
              <a:rPr lang="en-US" sz="1200" dirty="0"/>
              <a:t>Materials and durability under high temperature, performance, corrosion</a:t>
            </a:r>
            <a:endParaRPr lang="en-US" sz="1200" dirty="0">
              <a:cs typeface="Arial"/>
            </a:endParaRPr>
          </a:p>
          <a:p>
            <a:pPr>
              <a:spcBef>
                <a:spcPts val="0"/>
              </a:spcBef>
            </a:pPr>
            <a:r>
              <a:rPr lang="en-US" sz="1200" dirty="0"/>
              <a:t>Heat exchanger design and integration</a:t>
            </a:r>
            <a:endParaRPr lang="en-US" sz="1200" dirty="0">
              <a:cs typeface="Arial"/>
            </a:endParaRPr>
          </a:p>
          <a:p>
            <a:pPr>
              <a:spcBef>
                <a:spcPts val="0"/>
              </a:spcBef>
            </a:pPr>
            <a:r>
              <a:rPr lang="en-US" sz="1200" dirty="0"/>
              <a:t>Turbomachinery sealing, leakage, and fluid purity</a:t>
            </a:r>
            <a:endParaRPr lang="en-US" sz="1200" dirty="0">
              <a:cs typeface="Arial"/>
            </a:endParaRPr>
          </a:p>
          <a:p>
            <a:pPr>
              <a:spcBef>
                <a:spcPts val="0"/>
              </a:spcBef>
            </a:pPr>
            <a:r>
              <a:rPr lang="en-US" sz="1200" dirty="0"/>
              <a:t>Control complexity (nonideal gas behavior)</a:t>
            </a:r>
            <a:endParaRPr lang="en-US" sz="1200" dirty="0">
              <a:cs typeface="Arial"/>
            </a:endParaRPr>
          </a:p>
          <a:p>
            <a:pPr>
              <a:spcBef>
                <a:spcPts val="0"/>
              </a:spcBef>
            </a:pPr>
            <a:r>
              <a:rPr lang="en-US" sz="1200" dirty="0"/>
              <a:t>Matching geothermal temperature and heat delivery to turbine design</a:t>
            </a:r>
            <a:endParaRPr lang="en-US" sz="1200" b="1" dirty="0">
              <a:cs typeface="Arial"/>
            </a:endParaRPr>
          </a:p>
        </p:txBody>
      </p:sp>
      <p:cxnSp>
        <p:nvCxnSpPr>
          <p:cNvPr id="11" name="Straight Connector 10">
            <a:extLst>
              <a:ext uri="{FF2B5EF4-FFF2-40B4-BE49-F238E27FC236}">
                <a16:creationId xmlns:a16="http://schemas.microsoft.com/office/drawing/2014/main" id="{5FDCF34B-F097-774E-5D3F-86AB3D42FDB1}"/>
              </a:ext>
            </a:extLst>
          </p:cNvPr>
          <p:cNvCxnSpPr>
            <a:cxnSpLocks/>
          </p:cNvCxnSpPr>
          <p:nvPr/>
        </p:nvCxnSpPr>
        <p:spPr bwMode="gray">
          <a:xfrm>
            <a:off x="7837488" y="2129291"/>
            <a:ext cx="0" cy="420538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E4E11220-F6A1-F039-8989-5A628A0237C6}"/>
              </a:ext>
            </a:extLst>
          </p:cNvPr>
          <p:cNvSpPr/>
          <p:nvPr/>
        </p:nvSpPr>
        <p:spPr bwMode="gray">
          <a:xfrm>
            <a:off x="7952511" y="2129291"/>
            <a:ext cx="457200" cy="4572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3" name="Graphic 12" descr="Checkmark with solid fill">
            <a:extLst>
              <a:ext uri="{FF2B5EF4-FFF2-40B4-BE49-F238E27FC236}">
                <a16:creationId xmlns:a16="http://schemas.microsoft.com/office/drawing/2014/main" id="{7A6DAD6F-05B2-4A5C-B1FA-C933D4DBB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04849" y="2129291"/>
            <a:ext cx="457200" cy="457200"/>
          </a:xfrm>
          <a:prstGeom prst="rect">
            <a:avLst/>
          </a:prstGeom>
        </p:spPr>
      </p:pic>
      <p:sp>
        <p:nvSpPr>
          <p:cNvPr id="14" name="Oval 13">
            <a:extLst>
              <a:ext uri="{FF2B5EF4-FFF2-40B4-BE49-F238E27FC236}">
                <a16:creationId xmlns:a16="http://schemas.microsoft.com/office/drawing/2014/main" id="{00D13682-C98C-F3FD-1712-5A596FE0B5F5}"/>
              </a:ext>
            </a:extLst>
          </p:cNvPr>
          <p:cNvSpPr/>
          <p:nvPr/>
        </p:nvSpPr>
        <p:spPr bwMode="gray">
          <a:xfrm>
            <a:off x="7979825" y="4051317"/>
            <a:ext cx="457200" cy="457200"/>
          </a:xfrm>
          <a:prstGeom prst="ellipse">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5" name="Graphic 14" descr="Close with solid fill">
            <a:extLst>
              <a:ext uri="{FF2B5EF4-FFF2-40B4-BE49-F238E27FC236}">
                <a16:creationId xmlns:a16="http://schemas.microsoft.com/office/drawing/2014/main" id="{B617ED55-9E3B-B6CC-D777-856F63127AD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26709" y="4098201"/>
            <a:ext cx="363433" cy="363433"/>
          </a:xfrm>
          <a:prstGeom prst="rect">
            <a:avLst/>
          </a:prstGeom>
        </p:spPr>
      </p:pic>
    </p:spTree>
    <p:extLst>
      <p:ext uri="{BB962C8B-B14F-4D97-AF65-F5344CB8AC3E}">
        <p14:creationId xmlns:p14="http://schemas.microsoft.com/office/powerpoint/2010/main" val="26334110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618871F-6656-F5C1-52F2-D6944F7B2BED}"/>
              </a:ext>
            </a:extLst>
          </p:cNvPr>
          <p:cNvGraphicFramePr>
            <a:graphicFrameLocks/>
          </p:cNvGraphicFramePr>
          <p:nvPr>
            <p:custDataLst>
              <p:tags r:id="rId1"/>
            </p:custDataLst>
            <p:extLst>
              <p:ext uri="{D42A27DB-BD31-4B8C-83A1-F6EECF244321}">
                <p14:modId xmlns:p14="http://schemas.microsoft.com/office/powerpoint/2010/main" val="120800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0" name=""/>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DB5F0B6-9F33-F4D4-2C8E-EBA645376367}"/>
              </a:ext>
            </a:extLst>
          </p:cNvPr>
          <p:cNvSpPr>
            <a:spLocks noGrp="1"/>
          </p:cNvSpPr>
          <p:nvPr>
            <p:ph type="title"/>
          </p:nvPr>
        </p:nvSpPr>
        <p:spPr/>
        <p:txBody>
          <a:bodyPr vert="horz" rIns="91440"/>
          <a:lstStyle/>
          <a:p>
            <a:r>
              <a:rPr lang="en-US" dirty="0"/>
              <a:t>Millimeter-wave drilling, pioneered for nuclear fusion, is being adapted to unlock terawatt-scale geothermal potential </a:t>
            </a:r>
          </a:p>
        </p:txBody>
      </p:sp>
      <p:sp>
        <p:nvSpPr>
          <p:cNvPr id="5" name="Footer Placeholder 4">
            <a:extLst>
              <a:ext uri="{FF2B5EF4-FFF2-40B4-BE49-F238E27FC236}">
                <a16:creationId xmlns:a16="http://schemas.microsoft.com/office/drawing/2014/main" id="{D9CCDEB6-FA87-AFF3-0658-0AC03A6C67D2}"/>
              </a:ext>
            </a:extLst>
          </p:cNvPr>
          <p:cNvSpPr>
            <a:spLocks noGrp="1"/>
          </p:cNvSpPr>
          <p:nvPr>
            <p:ph type="ftr" sz="quarter" idx="3"/>
          </p:nvPr>
        </p:nvSpPr>
        <p:spPr>
          <a:xfrm>
            <a:off x="334962" y="6203628"/>
            <a:ext cx="9147241" cy="216706"/>
          </a:xfrm>
        </p:spPr>
        <p:txBody>
          <a:bodyPr/>
          <a:lstStyle/>
          <a:p>
            <a:pPr marL="0" lvl="0" indent="0">
              <a:spcBef>
                <a:spcPts val="0"/>
              </a:spcBef>
              <a:buNone/>
              <a:defRPr/>
            </a:pPr>
            <a:r>
              <a:rPr lang="en-US" dirty="0">
                <a:solidFill>
                  <a:srgbClr val="000000"/>
                </a:solidFill>
              </a:rPr>
              <a:t>Sourc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A Preliminary Techno-Economic Model of Superhot Rock Energy</a:t>
            </a:r>
            <a:r>
              <a:rPr lang="en-US" dirty="0">
                <a:solidFill>
                  <a:srgbClr val="000000"/>
                </a:solidFill>
              </a:rPr>
              <a:t> (Clean Air Task Force,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The Potential for Superhot Rock Energy in the United States</a:t>
            </a:r>
            <a:r>
              <a:rPr lang="en-US" dirty="0">
                <a:solidFill>
                  <a:srgbClr val="000000"/>
                </a:solidFill>
              </a:rPr>
              <a:t> (Clean Air Task Force, n.d.)</a:t>
            </a:r>
            <a:r>
              <a:rPr lang="en-US" i="1" dirty="0">
                <a:solidFill>
                  <a:srgbClr val="000000"/>
                </a:solidFill>
                <a:latin typeface="Arial"/>
              </a:rPr>
              <a:t>;</a:t>
            </a:r>
            <a:r>
              <a:rPr lang="en-US"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Unlocking deep superhot rock resources through millimeter wave drilling technology</a:t>
            </a:r>
            <a:r>
              <a:rPr lang="en-US" dirty="0">
                <a:solidFill>
                  <a:srgbClr val="000000"/>
                </a:solidFill>
              </a:rPr>
              <a:t> (Oak Ridge National Laboratory, 2021</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Fusion Tech Finds Geothermal Energy Application</a:t>
            </a:r>
            <a:r>
              <a:rPr lang="en-US" dirty="0">
                <a:solidFill>
                  <a:srgbClr val="000000"/>
                </a:solidFill>
              </a:rPr>
              <a:t> (IEEE Spectrum,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Bridging the Gaps: A Survey of Methods, Challenges, and Pathways Forward for Superhot Rock</a:t>
            </a:r>
            <a:r>
              <a:rPr lang="en-US" dirty="0">
                <a:solidFill>
                  <a:srgbClr val="000000"/>
                </a:solidFill>
              </a:rPr>
              <a:t> (Clean Air Task Force, n.d.).</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eather Hartel, Isabel Hoyos, and </a:t>
            </a:r>
            <a:r>
              <a:rPr lang="en-US" dirty="0">
                <a:solidFill>
                  <a:srgbClr val="000000">
                    <a:tint val="82000"/>
                  </a:srgbClr>
                </a:solidFill>
                <a:hlinkClick r:id="rId2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2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E754F719-5947-341B-D0D3-5AB253A6A559}"/>
              </a:ext>
            </a:extLst>
          </p:cNvPr>
          <p:cNvSpPr>
            <a:spLocks noGrp="1"/>
          </p:cNvSpPr>
          <p:nvPr>
            <p:ph type="body" sz="quarter" idx="13"/>
          </p:nvPr>
        </p:nvSpPr>
        <p:spPr/>
        <p:txBody>
          <a:bodyPr/>
          <a:lstStyle/>
          <a:p>
            <a:r>
              <a:rPr lang="en-US" dirty="0">
                <a:cs typeface="Arial"/>
              </a:rPr>
              <a:t>MMW from nuclear innovation to geothermal application</a:t>
            </a:r>
            <a:endParaRPr lang="en-US" dirty="0"/>
          </a:p>
        </p:txBody>
      </p:sp>
      <p:sp>
        <p:nvSpPr>
          <p:cNvPr id="7" name="Text Placeholder 6">
            <a:extLst>
              <a:ext uri="{FF2B5EF4-FFF2-40B4-BE49-F238E27FC236}">
                <a16:creationId xmlns:a16="http://schemas.microsoft.com/office/drawing/2014/main" id="{4BF61434-9567-BA3D-73CB-D722B68F1BD5}"/>
              </a:ext>
            </a:extLst>
          </p:cNvPr>
          <p:cNvSpPr>
            <a:spLocks noGrp="1"/>
          </p:cNvSpPr>
          <p:nvPr>
            <p:ph type="body" sz="quarter" idx="19"/>
          </p:nvPr>
        </p:nvSpPr>
        <p:spPr/>
        <p:txBody>
          <a:bodyPr/>
          <a:lstStyle/>
          <a:p>
            <a:r>
              <a:rPr lang="en-US" dirty="0">
                <a:cs typeface="Arial"/>
              </a:rPr>
              <a:t>Superhot rock could unlock TW of firm power</a:t>
            </a:r>
            <a:endParaRPr lang="en-US" dirty="0"/>
          </a:p>
        </p:txBody>
      </p:sp>
      <p:sp>
        <p:nvSpPr>
          <p:cNvPr id="8" name="Text Placeholder 7">
            <a:extLst>
              <a:ext uri="{FF2B5EF4-FFF2-40B4-BE49-F238E27FC236}">
                <a16:creationId xmlns:a16="http://schemas.microsoft.com/office/drawing/2014/main" id="{DF49C065-39C5-83B8-5E99-74B04AA8DC3A}"/>
              </a:ext>
            </a:extLst>
          </p:cNvPr>
          <p:cNvSpPr>
            <a:spLocks noGrp="1"/>
          </p:cNvSpPr>
          <p:nvPr>
            <p:ph type="body" sz="quarter" idx="14"/>
          </p:nvPr>
        </p:nvSpPr>
        <p:spPr>
          <a:solidFill>
            <a:srgbClr val="E5E9EF"/>
          </a:solidFill>
        </p:spPr>
        <p:txBody>
          <a:bodyPr/>
          <a:lstStyle/>
          <a:p>
            <a:pPr marL="0" indent="0">
              <a:spcAft>
                <a:spcPts val="600"/>
              </a:spcAft>
              <a:buNone/>
            </a:pPr>
            <a:r>
              <a:rPr lang="en-US" b="1" dirty="0"/>
              <a:t>Observations</a:t>
            </a:r>
          </a:p>
          <a:p>
            <a:pPr>
              <a:spcAft>
                <a:spcPts val="600"/>
              </a:spcAft>
            </a:pPr>
            <a:r>
              <a:rPr lang="en-US" sz="1050" b="1" dirty="0"/>
              <a:t>Technology: </a:t>
            </a:r>
            <a:r>
              <a:rPr lang="en-US" sz="1050" dirty="0"/>
              <a:t>MMW drilling originated from nuclear fusion research in the mid 20</a:t>
            </a:r>
            <a:r>
              <a:rPr lang="en-US" sz="1050" baseline="30000" dirty="0"/>
              <a:t>th</a:t>
            </a:r>
            <a:r>
              <a:rPr lang="en-US" sz="1050" dirty="0"/>
              <a:t> century and has recently been leveraged for geothermal applications. </a:t>
            </a:r>
          </a:p>
          <a:p>
            <a:pPr>
              <a:spcAft>
                <a:spcPts val="600"/>
              </a:spcAft>
            </a:pPr>
            <a:r>
              <a:rPr lang="en-US" sz="1050" b="1" dirty="0"/>
              <a:t>Power potential: </a:t>
            </a:r>
            <a:r>
              <a:rPr lang="en-US" sz="1050" dirty="0"/>
              <a:t>Accessing superhot rock at greater depths (10-20km) by using MMW drilling technology could unlock terawatts of power in the U.S.</a:t>
            </a:r>
          </a:p>
          <a:p>
            <a:pPr>
              <a:spcAft>
                <a:spcPts val="600"/>
              </a:spcAft>
            </a:pPr>
            <a:r>
              <a:rPr lang="en-US" sz="1050" b="1" dirty="0"/>
              <a:t>Cost trajectory: </a:t>
            </a:r>
            <a:r>
              <a:rPr lang="en-US" sz="1050" dirty="0"/>
              <a:t>As MMW drilling matures and learning curves accelerate, LCOE is projected to fall from early pilot levels (~$150/MWh) to ~$20-$35/MWh, reaching parity with solar and wind.</a:t>
            </a:r>
          </a:p>
          <a:p>
            <a:pPr>
              <a:spcAft>
                <a:spcPts val="600"/>
              </a:spcAft>
            </a:pPr>
            <a:r>
              <a:rPr lang="en-US" sz="1050" b="1" dirty="0"/>
              <a:t>Challenge:</a:t>
            </a:r>
            <a:br>
              <a:rPr lang="en-US" sz="1050" dirty="0"/>
            </a:br>
            <a:r>
              <a:rPr lang="en-US" sz="1050" dirty="0"/>
              <a:t>Conventional drilling struggles with extreme temperature and pressure at superhot depths, which MMW aims to overcome by minimizing mechanical contact and material wear.</a:t>
            </a:r>
          </a:p>
          <a:p>
            <a:endParaRPr lang="en-US" dirty="0"/>
          </a:p>
        </p:txBody>
      </p:sp>
      <p:sp>
        <p:nvSpPr>
          <p:cNvPr id="9" name="Text Placeholder 1">
            <a:extLst>
              <a:ext uri="{FF2B5EF4-FFF2-40B4-BE49-F238E27FC236}">
                <a16:creationId xmlns:a16="http://schemas.microsoft.com/office/drawing/2014/main" id="{11B046E6-F225-8599-F88B-ADAC7128B759}"/>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rilling technology: Superhot</a:t>
            </a:r>
          </a:p>
        </p:txBody>
      </p:sp>
      <p:cxnSp>
        <p:nvCxnSpPr>
          <p:cNvPr id="57" name="Straight Arrow Connector 56">
            <a:extLst>
              <a:ext uri="{FF2B5EF4-FFF2-40B4-BE49-F238E27FC236}">
                <a16:creationId xmlns:a16="http://schemas.microsoft.com/office/drawing/2014/main" id="{E05A91AB-ABC9-BE80-0BAF-0E6378CC2396}"/>
              </a:ext>
            </a:extLst>
          </p:cNvPr>
          <p:cNvCxnSpPr>
            <a:cxnSpLocks/>
          </p:cNvCxnSpPr>
          <p:nvPr/>
        </p:nvCxnSpPr>
        <p:spPr bwMode="gray">
          <a:xfrm>
            <a:off x="304800" y="2452749"/>
            <a:ext cx="4368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10B96B3E-42FD-500F-A8EB-08F5EAA8AFAD}"/>
              </a:ext>
            </a:extLst>
          </p:cNvPr>
          <p:cNvSpPr/>
          <p:nvPr/>
        </p:nvSpPr>
        <p:spPr bwMode="gray">
          <a:xfrm>
            <a:off x="679022" y="2386013"/>
            <a:ext cx="154449" cy="152400"/>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59" name="Rectangle 58">
            <a:extLst>
              <a:ext uri="{FF2B5EF4-FFF2-40B4-BE49-F238E27FC236}">
                <a16:creationId xmlns:a16="http://schemas.microsoft.com/office/drawing/2014/main" id="{51DF1B01-BCC3-480D-11BA-F5A2F26209F7}"/>
              </a:ext>
            </a:extLst>
          </p:cNvPr>
          <p:cNvSpPr/>
          <p:nvPr/>
        </p:nvSpPr>
        <p:spPr bwMode="gray">
          <a:xfrm>
            <a:off x="183766" y="2200275"/>
            <a:ext cx="1027718" cy="1237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50-1960</a:t>
            </a:r>
          </a:p>
        </p:txBody>
      </p:sp>
      <p:sp>
        <p:nvSpPr>
          <p:cNvPr id="60" name="Rectangle 59">
            <a:extLst>
              <a:ext uri="{FF2B5EF4-FFF2-40B4-BE49-F238E27FC236}">
                <a16:creationId xmlns:a16="http://schemas.microsoft.com/office/drawing/2014/main" id="{82F8EBCF-44F7-BF52-EB62-5306D33EBF61}"/>
              </a:ext>
            </a:extLst>
          </p:cNvPr>
          <p:cNvSpPr/>
          <p:nvPr/>
        </p:nvSpPr>
        <p:spPr bwMode="gray">
          <a:xfrm>
            <a:off x="268197" y="3282240"/>
            <a:ext cx="976098" cy="78483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Gyrotron technology is developed </a:t>
            </a:r>
            <a:r>
              <a:rPr lang="en-US" sz="700" b="1" dirty="0">
                <a:solidFill>
                  <a:schemeClr val="tx1"/>
                </a:solidFill>
              </a:rPr>
              <a:t>to create high-power millimeter waves</a:t>
            </a:r>
            <a:r>
              <a:rPr lang="en-US" sz="700" dirty="0">
                <a:solidFill>
                  <a:schemeClr val="tx1"/>
                </a:solidFill>
              </a:rPr>
              <a:t> for </a:t>
            </a:r>
            <a:r>
              <a:rPr lang="en-US" sz="700" b="1" dirty="0">
                <a:solidFill>
                  <a:schemeClr val="tx1"/>
                </a:solidFill>
              </a:rPr>
              <a:t>plasma heating in nuclear fusion</a:t>
            </a:r>
            <a:r>
              <a:rPr lang="en-US" sz="700" dirty="0">
                <a:solidFill>
                  <a:schemeClr val="tx1"/>
                </a:solidFill>
              </a:rPr>
              <a:t>.</a:t>
            </a:r>
          </a:p>
        </p:txBody>
      </p:sp>
      <p:sp>
        <p:nvSpPr>
          <p:cNvPr id="61" name="Oval 60">
            <a:extLst>
              <a:ext uri="{FF2B5EF4-FFF2-40B4-BE49-F238E27FC236}">
                <a16:creationId xmlns:a16="http://schemas.microsoft.com/office/drawing/2014/main" id="{E922C4BA-C51B-2301-A507-B4FE977C0C36}"/>
              </a:ext>
            </a:extLst>
          </p:cNvPr>
          <p:cNvSpPr/>
          <p:nvPr/>
        </p:nvSpPr>
        <p:spPr bwMode="gray">
          <a:xfrm>
            <a:off x="1514772" y="2379663"/>
            <a:ext cx="154449" cy="152400"/>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62" name="Rectangle 61">
            <a:extLst>
              <a:ext uri="{FF2B5EF4-FFF2-40B4-BE49-F238E27FC236}">
                <a16:creationId xmlns:a16="http://schemas.microsoft.com/office/drawing/2014/main" id="{D1D8AA5B-ADE8-6502-4B3F-28803CFBB1B1}"/>
              </a:ext>
            </a:extLst>
          </p:cNvPr>
          <p:cNvSpPr/>
          <p:nvPr/>
        </p:nvSpPr>
        <p:spPr bwMode="gray">
          <a:xfrm>
            <a:off x="1177206" y="2182813"/>
            <a:ext cx="670196" cy="1381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70-1990</a:t>
            </a:r>
          </a:p>
        </p:txBody>
      </p:sp>
      <p:sp>
        <p:nvSpPr>
          <p:cNvPr id="63" name="Rectangle 62">
            <a:extLst>
              <a:ext uri="{FF2B5EF4-FFF2-40B4-BE49-F238E27FC236}">
                <a16:creationId xmlns:a16="http://schemas.microsoft.com/office/drawing/2014/main" id="{2EC908E9-50C3-6680-9F1B-DD7993FC8ED0}"/>
              </a:ext>
            </a:extLst>
          </p:cNvPr>
          <p:cNvSpPr/>
          <p:nvPr/>
        </p:nvSpPr>
        <p:spPr bwMode="gray">
          <a:xfrm>
            <a:off x="870595" y="2655888"/>
            <a:ext cx="1442801" cy="4304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b="1" dirty="0">
                <a:solidFill>
                  <a:schemeClr val="tx1"/>
                </a:solidFill>
              </a:rPr>
              <a:t>Fusion research accelerates</a:t>
            </a:r>
            <a:r>
              <a:rPr lang="en-US" sz="700" dirty="0">
                <a:solidFill>
                  <a:schemeClr val="tx1"/>
                </a:solidFill>
              </a:rPr>
              <a:t>, with gyrotrons refined for use in magnetic confinement systems.</a:t>
            </a:r>
          </a:p>
        </p:txBody>
      </p:sp>
      <p:sp>
        <p:nvSpPr>
          <p:cNvPr id="64" name="Oval 63">
            <a:extLst>
              <a:ext uri="{FF2B5EF4-FFF2-40B4-BE49-F238E27FC236}">
                <a16:creationId xmlns:a16="http://schemas.microsoft.com/office/drawing/2014/main" id="{BDA58CC0-9751-CB12-1EFF-7F8DECB0FC0A}"/>
              </a:ext>
            </a:extLst>
          </p:cNvPr>
          <p:cNvSpPr/>
          <p:nvPr/>
        </p:nvSpPr>
        <p:spPr bwMode="gray">
          <a:xfrm>
            <a:off x="2288858" y="2379663"/>
            <a:ext cx="154449" cy="152399"/>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65" name="Rectangle 64">
            <a:extLst>
              <a:ext uri="{FF2B5EF4-FFF2-40B4-BE49-F238E27FC236}">
                <a16:creationId xmlns:a16="http://schemas.microsoft.com/office/drawing/2014/main" id="{2694EC42-2F7C-60BB-CA28-FF7904DDB25C}"/>
              </a:ext>
            </a:extLst>
          </p:cNvPr>
          <p:cNvSpPr/>
          <p:nvPr/>
        </p:nvSpPr>
        <p:spPr bwMode="gray">
          <a:xfrm>
            <a:off x="1964398" y="2170113"/>
            <a:ext cx="803368" cy="14539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00-2010</a:t>
            </a:r>
          </a:p>
        </p:txBody>
      </p:sp>
      <p:sp>
        <p:nvSpPr>
          <p:cNvPr id="66" name="Rectangle 65">
            <a:extLst>
              <a:ext uri="{FF2B5EF4-FFF2-40B4-BE49-F238E27FC236}">
                <a16:creationId xmlns:a16="http://schemas.microsoft.com/office/drawing/2014/main" id="{85EDF46A-E92E-5151-E587-2C09421419B8}"/>
              </a:ext>
            </a:extLst>
          </p:cNvPr>
          <p:cNvSpPr/>
          <p:nvPr/>
        </p:nvSpPr>
        <p:spPr bwMode="gray">
          <a:xfrm>
            <a:off x="1539027" y="3263348"/>
            <a:ext cx="1079216" cy="8037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Advances in materials and controls (vacuum tubes, superconducting magnets, beam focusing) </a:t>
            </a:r>
            <a:r>
              <a:rPr lang="en-US" sz="700" b="1" dirty="0">
                <a:solidFill>
                  <a:schemeClr val="tx1"/>
                </a:solidFill>
              </a:rPr>
              <a:t>make gyrotrons more efficient</a:t>
            </a:r>
            <a:r>
              <a:rPr lang="en-US" sz="700" dirty="0">
                <a:solidFill>
                  <a:schemeClr val="tx1"/>
                </a:solidFill>
              </a:rPr>
              <a:t>.</a:t>
            </a:r>
          </a:p>
        </p:txBody>
      </p:sp>
      <p:sp>
        <p:nvSpPr>
          <p:cNvPr id="67" name="Oval 66">
            <a:extLst>
              <a:ext uri="{FF2B5EF4-FFF2-40B4-BE49-F238E27FC236}">
                <a16:creationId xmlns:a16="http://schemas.microsoft.com/office/drawing/2014/main" id="{CB2BEF6C-5964-F141-59B7-9CFB3888B877}"/>
              </a:ext>
            </a:extLst>
          </p:cNvPr>
          <p:cNvSpPr/>
          <p:nvPr/>
        </p:nvSpPr>
        <p:spPr bwMode="gray">
          <a:xfrm>
            <a:off x="3249442" y="2379663"/>
            <a:ext cx="154449" cy="15239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68" name="Rectangle 67">
            <a:extLst>
              <a:ext uri="{FF2B5EF4-FFF2-40B4-BE49-F238E27FC236}">
                <a16:creationId xmlns:a16="http://schemas.microsoft.com/office/drawing/2014/main" id="{1CD46717-A63C-4AB4-9063-5E6944AC97C4}"/>
              </a:ext>
            </a:extLst>
          </p:cNvPr>
          <p:cNvSpPr/>
          <p:nvPr/>
        </p:nvSpPr>
        <p:spPr bwMode="gray">
          <a:xfrm>
            <a:off x="2905690" y="2176463"/>
            <a:ext cx="815175" cy="1167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10-2020</a:t>
            </a:r>
          </a:p>
        </p:txBody>
      </p:sp>
      <p:sp>
        <p:nvSpPr>
          <p:cNvPr id="69" name="Rectangle 68">
            <a:extLst>
              <a:ext uri="{FF2B5EF4-FFF2-40B4-BE49-F238E27FC236}">
                <a16:creationId xmlns:a16="http://schemas.microsoft.com/office/drawing/2014/main" id="{0D911BB3-0DB8-78CD-0744-231598F9DF4C}"/>
              </a:ext>
            </a:extLst>
          </p:cNvPr>
          <p:cNvSpPr/>
          <p:nvPr/>
        </p:nvSpPr>
        <p:spPr bwMode="gray">
          <a:xfrm>
            <a:off x="2616534" y="2665413"/>
            <a:ext cx="1409766" cy="442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MIT spinoff Quaise Energy </a:t>
            </a:r>
            <a:r>
              <a:rPr lang="en-US" sz="700" b="1" dirty="0">
                <a:solidFill>
                  <a:schemeClr val="tx1"/>
                </a:solidFill>
              </a:rPr>
              <a:t>begins adapting gyrotron-based MMW drilling to </a:t>
            </a:r>
            <a:br>
              <a:rPr lang="en-US" sz="700" b="1" dirty="0">
                <a:solidFill>
                  <a:schemeClr val="tx1"/>
                </a:solidFill>
              </a:rPr>
            </a:br>
            <a:r>
              <a:rPr lang="en-US" sz="700" b="1" dirty="0">
                <a:solidFill>
                  <a:schemeClr val="tx1"/>
                </a:solidFill>
              </a:rPr>
              <a:t>vaporize rock</a:t>
            </a:r>
            <a:r>
              <a:rPr lang="en-US" sz="700" dirty="0">
                <a:solidFill>
                  <a:schemeClr val="tx1"/>
                </a:solidFill>
              </a:rPr>
              <a:t>.</a:t>
            </a:r>
          </a:p>
        </p:txBody>
      </p:sp>
      <p:sp>
        <p:nvSpPr>
          <p:cNvPr id="70" name="Oval 69">
            <a:extLst>
              <a:ext uri="{FF2B5EF4-FFF2-40B4-BE49-F238E27FC236}">
                <a16:creationId xmlns:a16="http://schemas.microsoft.com/office/drawing/2014/main" id="{3949EFFD-D95A-2873-9720-03351A9CCD4D}"/>
              </a:ext>
            </a:extLst>
          </p:cNvPr>
          <p:cNvSpPr/>
          <p:nvPr/>
        </p:nvSpPr>
        <p:spPr bwMode="gray">
          <a:xfrm>
            <a:off x="4406091" y="2398713"/>
            <a:ext cx="154449" cy="15239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71" name="Rectangle 70">
            <a:extLst>
              <a:ext uri="{FF2B5EF4-FFF2-40B4-BE49-F238E27FC236}">
                <a16:creationId xmlns:a16="http://schemas.microsoft.com/office/drawing/2014/main" id="{1F7A0B9B-3818-ACC5-99C2-B598E659A152}"/>
              </a:ext>
            </a:extLst>
          </p:cNvPr>
          <p:cNvSpPr/>
          <p:nvPr/>
        </p:nvSpPr>
        <p:spPr bwMode="gray">
          <a:xfrm>
            <a:off x="4075727" y="2170113"/>
            <a:ext cx="815175" cy="1167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20+</a:t>
            </a:r>
          </a:p>
        </p:txBody>
      </p:sp>
      <p:sp>
        <p:nvSpPr>
          <p:cNvPr id="72" name="Rectangle 71">
            <a:extLst>
              <a:ext uri="{FF2B5EF4-FFF2-40B4-BE49-F238E27FC236}">
                <a16:creationId xmlns:a16="http://schemas.microsoft.com/office/drawing/2014/main" id="{5BEA1DEC-7385-DFFC-C70D-CAD9BCED98F5}"/>
              </a:ext>
            </a:extLst>
          </p:cNvPr>
          <p:cNvSpPr/>
          <p:nvPr/>
        </p:nvSpPr>
        <p:spPr bwMode="gray">
          <a:xfrm>
            <a:off x="3416895" y="3176647"/>
            <a:ext cx="1079216" cy="8904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National labs (DOE and ORNL</a:t>
            </a:r>
            <a:r>
              <a:rPr lang="en-US" sz="700" b="1" dirty="0">
                <a:solidFill>
                  <a:schemeClr val="tx1"/>
                </a:solidFill>
              </a:rPr>
              <a:t>) identify superhot rock as a terawatt-scale resource</a:t>
            </a:r>
            <a:r>
              <a:rPr lang="en-US" sz="700" dirty="0">
                <a:solidFill>
                  <a:schemeClr val="tx1"/>
                </a:solidFill>
              </a:rPr>
              <a:t>, begin development of pilot projects. </a:t>
            </a:r>
          </a:p>
        </p:txBody>
      </p:sp>
      <p:cxnSp>
        <p:nvCxnSpPr>
          <p:cNvPr id="73" name="Elbow Connector 72">
            <a:extLst>
              <a:ext uri="{FF2B5EF4-FFF2-40B4-BE49-F238E27FC236}">
                <a16:creationId xmlns:a16="http://schemas.microsoft.com/office/drawing/2014/main" id="{882370FB-BEDC-130F-ABCC-2C5924B7B7B3}"/>
              </a:ext>
            </a:extLst>
          </p:cNvPr>
          <p:cNvCxnSpPr>
            <a:cxnSpLocks/>
            <a:stCxn id="58" idx="4"/>
            <a:endCxn id="60" idx="0"/>
          </p:cNvCxnSpPr>
          <p:nvPr/>
        </p:nvCxnSpPr>
        <p:spPr bwMode="gray">
          <a:xfrm rot="5400000">
            <a:off x="384334" y="2910326"/>
            <a:ext cx="743827" cy="1"/>
          </a:xfrm>
          <a:prstGeom prst="bentConnector3">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74" name="Elbow Connector 73">
            <a:extLst>
              <a:ext uri="{FF2B5EF4-FFF2-40B4-BE49-F238E27FC236}">
                <a16:creationId xmlns:a16="http://schemas.microsoft.com/office/drawing/2014/main" id="{9EBCAE45-4609-BC3F-D1E4-D7A0ECDFFA14}"/>
              </a:ext>
            </a:extLst>
          </p:cNvPr>
          <p:cNvCxnSpPr>
            <a:cxnSpLocks/>
            <a:stCxn id="61" idx="4"/>
            <a:endCxn id="63" idx="0"/>
          </p:cNvCxnSpPr>
          <p:nvPr/>
        </p:nvCxnSpPr>
        <p:spPr bwMode="gray">
          <a:xfrm rot="5400000">
            <a:off x="1530085" y="2593975"/>
            <a:ext cx="123825" cy="1"/>
          </a:xfrm>
          <a:prstGeom prst="bentConnector3">
            <a:avLst>
              <a:gd name="adj1" fmla="val 50000"/>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75" name="Elbow Connector 74">
            <a:extLst>
              <a:ext uri="{FF2B5EF4-FFF2-40B4-BE49-F238E27FC236}">
                <a16:creationId xmlns:a16="http://schemas.microsoft.com/office/drawing/2014/main" id="{6EB03886-0E98-4769-0371-09BE99BDCF8B}"/>
              </a:ext>
            </a:extLst>
          </p:cNvPr>
          <p:cNvCxnSpPr>
            <a:cxnSpLocks/>
            <a:stCxn id="64" idx="4"/>
          </p:cNvCxnSpPr>
          <p:nvPr/>
        </p:nvCxnSpPr>
        <p:spPr bwMode="gray">
          <a:xfrm rot="16200000" flipH="1">
            <a:off x="2074818" y="2823326"/>
            <a:ext cx="731286" cy="148757"/>
          </a:xfrm>
          <a:prstGeom prst="bentConnector3">
            <a:avLst>
              <a:gd name="adj1" fmla="val 50000"/>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76" name="Elbow Connector 75">
            <a:extLst>
              <a:ext uri="{FF2B5EF4-FFF2-40B4-BE49-F238E27FC236}">
                <a16:creationId xmlns:a16="http://schemas.microsoft.com/office/drawing/2014/main" id="{ED7E7CD9-6507-613B-CF0F-0F20E70B32F5}"/>
              </a:ext>
            </a:extLst>
          </p:cNvPr>
          <p:cNvCxnSpPr>
            <a:cxnSpLocks/>
            <a:stCxn id="67" idx="4"/>
            <a:endCxn id="69" idx="0"/>
          </p:cNvCxnSpPr>
          <p:nvPr/>
        </p:nvCxnSpPr>
        <p:spPr bwMode="gray">
          <a:xfrm rot="5400000">
            <a:off x="3257366" y="2596112"/>
            <a:ext cx="133352" cy="5250"/>
          </a:xfrm>
          <a:prstGeom prst="bentConnector3">
            <a:avLst>
              <a:gd name="adj1" fmla="val 50000"/>
            </a:avLst>
          </a:prstGeom>
          <a:ln>
            <a:tailEnd type="none" w="med" len="lg"/>
          </a:ln>
        </p:spPr>
        <p:style>
          <a:lnRef idx="1">
            <a:schemeClr val="accent1"/>
          </a:lnRef>
          <a:fillRef idx="0">
            <a:schemeClr val="accent1"/>
          </a:fillRef>
          <a:effectRef idx="0">
            <a:schemeClr val="accent1"/>
          </a:effectRef>
          <a:fontRef idx="minor">
            <a:schemeClr val="tx1"/>
          </a:fontRef>
        </p:style>
      </p:cxnSp>
      <p:cxnSp>
        <p:nvCxnSpPr>
          <p:cNvPr id="77" name="Elbow Connector 76">
            <a:extLst>
              <a:ext uri="{FF2B5EF4-FFF2-40B4-BE49-F238E27FC236}">
                <a16:creationId xmlns:a16="http://schemas.microsoft.com/office/drawing/2014/main" id="{0B29A3D7-8B5A-966C-253F-62BEFD062A18}"/>
              </a:ext>
            </a:extLst>
          </p:cNvPr>
          <p:cNvCxnSpPr>
            <a:cxnSpLocks/>
            <a:stCxn id="70" idx="4"/>
            <a:endCxn id="72" idx="0"/>
          </p:cNvCxnSpPr>
          <p:nvPr/>
        </p:nvCxnSpPr>
        <p:spPr bwMode="gray">
          <a:xfrm rot="5400000">
            <a:off x="3907142" y="2600473"/>
            <a:ext cx="625536" cy="526813"/>
          </a:xfrm>
          <a:prstGeom prst="bentConnector3">
            <a:avLst>
              <a:gd name="adj1" fmla="val 92635"/>
            </a:avLst>
          </a:prstGeom>
          <a:ln>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19" name="Chart 118">
            <a:extLst>
              <a:ext uri="{FF2B5EF4-FFF2-40B4-BE49-F238E27FC236}">
                <a16:creationId xmlns:a16="http://schemas.microsoft.com/office/drawing/2014/main" id="{D8782993-9201-2D5C-D179-5A2932CFF18D}"/>
              </a:ext>
            </a:extLst>
          </p:cNvPr>
          <p:cNvGraphicFramePr/>
          <p:nvPr>
            <p:custDataLst>
              <p:tags r:id="rId2"/>
            </p:custDataLst>
            <p:extLst>
              <p:ext uri="{D42A27DB-BD31-4B8C-83A1-F6EECF244321}">
                <p14:modId xmlns:p14="http://schemas.microsoft.com/office/powerpoint/2010/main" val="2725185536"/>
              </p:ext>
            </p:extLst>
          </p:nvPr>
        </p:nvGraphicFramePr>
        <p:xfrm>
          <a:off x="5494338" y="2819400"/>
          <a:ext cx="3224212" cy="2620963"/>
        </p:xfrm>
        <a:graphic>
          <a:graphicData uri="http://schemas.openxmlformats.org/drawingml/2006/chart">
            <c:chart xmlns:c="http://schemas.openxmlformats.org/drawingml/2006/chart" xmlns:r="http://schemas.openxmlformats.org/officeDocument/2006/relationships" r:id="rId29"/>
          </a:graphicData>
        </a:graphic>
      </p:graphicFrame>
      <p:sp>
        <p:nvSpPr>
          <p:cNvPr id="79" name="Text Placeholder 10">
            <a:extLst>
              <a:ext uri="{FF2B5EF4-FFF2-40B4-BE49-F238E27FC236}">
                <a16:creationId xmlns:a16="http://schemas.microsoft.com/office/drawing/2014/main" id="{E8C72B95-C0DB-5E78-E415-A36EB5E30C79}"/>
              </a:ext>
            </a:extLst>
          </p:cNvPr>
          <p:cNvSpPr txBox="1">
            <a:spLocks/>
          </p:cNvSpPr>
          <p:nvPr>
            <p:custDataLst>
              <p:tags r:id="rId3"/>
            </p:custDataLst>
          </p:nvPr>
        </p:nvSpPr>
        <p:spPr bwMode="auto">
          <a:xfrm>
            <a:off x="5818188" y="5416550"/>
            <a:ext cx="10477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16356B-EB8F-4002-A116-435C6FBCF2D9}" type="datetime'Convent''''''i''''''''o''na''''l Ge''ot''h''''e''rm''a''''l'''">
              <a:rPr lang="en-US" altLang="en-US" sz="1400" smtClean="0"/>
              <a:pPr marL="0" indent="0" algn="ctr">
                <a:spcBef>
                  <a:spcPct val="0"/>
                </a:spcBef>
                <a:spcAft>
                  <a:spcPct val="0"/>
                </a:spcAft>
                <a:buNone/>
              </a:pPr>
              <a:t>Conventional Geothermal</a:t>
            </a:fld>
            <a:endParaRPr lang="en-US" sz="1400" dirty="0"/>
          </a:p>
        </p:txBody>
      </p:sp>
      <p:sp>
        <p:nvSpPr>
          <p:cNvPr id="80" name="Text Placeholder 10">
            <a:extLst>
              <a:ext uri="{FF2B5EF4-FFF2-40B4-BE49-F238E27FC236}">
                <a16:creationId xmlns:a16="http://schemas.microsoft.com/office/drawing/2014/main" id="{04E17DF3-C97F-BA63-F8BD-257563DB8100}"/>
              </a:ext>
            </a:extLst>
          </p:cNvPr>
          <p:cNvSpPr txBox="1">
            <a:spLocks/>
          </p:cNvSpPr>
          <p:nvPr>
            <p:custDataLst>
              <p:tags r:id="rId4"/>
            </p:custDataLst>
          </p:nvPr>
        </p:nvSpPr>
        <p:spPr bwMode="gray">
          <a:xfrm>
            <a:off x="7610475" y="2908300"/>
            <a:ext cx="520700" cy="2127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effectLst/>
              </a:rPr>
              <a:t>.4 TW</a:t>
            </a:r>
            <a:endParaRPr lang="en-US" sz="1400" dirty="0">
              <a:solidFill>
                <a:schemeClr val="bg1"/>
              </a:solidFill>
            </a:endParaRPr>
          </a:p>
        </p:txBody>
      </p:sp>
      <p:sp>
        <p:nvSpPr>
          <p:cNvPr id="81" name="Text Placeholder 10">
            <a:extLst>
              <a:ext uri="{FF2B5EF4-FFF2-40B4-BE49-F238E27FC236}">
                <a16:creationId xmlns:a16="http://schemas.microsoft.com/office/drawing/2014/main" id="{C97DA0B4-A085-F7FB-2CC9-DC4847D39CB5}"/>
              </a:ext>
            </a:extLst>
          </p:cNvPr>
          <p:cNvSpPr txBox="1">
            <a:spLocks/>
          </p:cNvSpPr>
          <p:nvPr>
            <p:custDataLst>
              <p:tags r:id="rId5"/>
            </p:custDataLst>
          </p:nvPr>
        </p:nvSpPr>
        <p:spPr bwMode="gray">
          <a:xfrm>
            <a:off x="7610475" y="3279775"/>
            <a:ext cx="520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effectLst/>
              </a:rPr>
              <a:t>.9 TW</a:t>
            </a:r>
            <a:endParaRPr lang="en-US" sz="1400" dirty="0">
              <a:solidFill>
                <a:schemeClr val="bg1"/>
              </a:solidFill>
            </a:endParaRPr>
          </a:p>
        </p:txBody>
      </p:sp>
      <p:sp>
        <p:nvSpPr>
          <p:cNvPr id="82" name="Text Placeholder 10">
            <a:extLst>
              <a:ext uri="{FF2B5EF4-FFF2-40B4-BE49-F238E27FC236}">
                <a16:creationId xmlns:a16="http://schemas.microsoft.com/office/drawing/2014/main" id="{F70E0605-BEA5-8A18-E443-67C581FAE3A2}"/>
              </a:ext>
            </a:extLst>
          </p:cNvPr>
          <p:cNvSpPr txBox="1">
            <a:spLocks/>
          </p:cNvSpPr>
          <p:nvPr>
            <p:custDataLst>
              <p:tags r:id="rId6"/>
            </p:custDataLst>
          </p:nvPr>
        </p:nvSpPr>
        <p:spPr bwMode="gray">
          <a:xfrm>
            <a:off x="7635875" y="4394200"/>
            <a:ext cx="471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effectLst/>
              </a:rPr>
              <a:t>3 TW</a:t>
            </a:r>
            <a:endParaRPr lang="en-US" sz="1400" dirty="0">
              <a:solidFill>
                <a:schemeClr val="bg1"/>
              </a:solidFill>
            </a:endParaRPr>
          </a:p>
        </p:txBody>
      </p:sp>
      <p:sp>
        <p:nvSpPr>
          <p:cNvPr id="83" name="Text Placeholder 10">
            <a:extLst>
              <a:ext uri="{FF2B5EF4-FFF2-40B4-BE49-F238E27FC236}">
                <a16:creationId xmlns:a16="http://schemas.microsoft.com/office/drawing/2014/main" id="{A97CA038-86FF-1069-A02E-DF971E33BE3A}"/>
              </a:ext>
            </a:extLst>
          </p:cNvPr>
          <p:cNvSpPr txBox="1">
            <a:spLocks/>
          </p:cNvSpPr>
          <p:nvPr>
            <p:custDataLst>
              <p:tags r:id="rId7"/>
            </p:custDataLst>
          </p:nvPr>
        </p:nvSpPr>
        <p:spPr bwMode="auto">
          <a:xfrm>
            <a:off x="7346950" y="5416550"/>
            <a:ext cx="10477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B02EB3-B604-4064-8580-1ACDA9BA56F4}" type="datetime'Su''p''e''''rhot'''' R''o''ck ''(M''''''''''''''M''''W'''')'">
              <a:rPr lang="en-US" altLang="en-US" sz="1400" smtClean="0"/>
              <a:pPr marL="0" indent="0" algn="ctr">
                <a:spcBef>
                  <a:spcPct val="0"/>
                </a:spcBef>
                <a:spcAft>
                  <a:spcPct val="0"/>
                </a:spcAft>
                <a:buNone/>
              </a:pPr>
              <a:t>Superhot Rock (MMW)</a:t>
            </a:fld>
            <a:endParaRPr lang="en-US" sz="1400" dirty="0"/>
          </a:p>
        </p:txBody>
      </p:sp>
      <p:sp>
        <p:nvSpPr>
          <p:cNvPr id="84" name="Text Placeholder 10">
            <a:extLst>
              <a:ext uri="{FF2B5EF4-FFF2-40B4-BE49-F238E27FC236}">
                <a16:creationId xmlns:a16="http://schemas.microsoft.com/office/drawing/2014/main" id="{24627FA7-11D5-5245-058F-D83B07BD0AC4}"/>
              </a:ext>
            </a:extLst>
          </p:cNvPr>
          <p:cNvSpPr txBox="1">
            <a:spLocks/>
          </p:cNvSpPr>
          <p:nvPr>
            <p:custDataLst>
              <p:tags r:id="rId8"/>
            </p:custDataLst>
          </p:nvPr>
        </p:nvSpPr>
        <p:spPr bwMode="gray">
          <a:xfrm>
            <a:off x="6081713" y="4605338"/>
            <a:ext cx="520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t>.9 TW</a:t>
            </a:r>
          </a:p>
        </p:txBody>
      </p:sp>
      <p:sp>
        <p:nvSpPr>
          <p:cNvPr id="85" name="Text Placeholder 10">
            <a:extLst>
              <a:ext uri="{FF2B5EF4-FFF2-40B4-BE49-F238E27FC236}">
                <a16:creationId xmlns:a16="http://schemas.microsoft.com/office/drawing/2014/main" id="{B9D6C18A-50DE-3C91-E90D-092B0265E4B6}"/>
              </a:ext>
            </a:extLst>
          </p:cNvPr>
          <p:cNvSpPr txBox="1">
            <a:spLocks/>
          </p:cNvSpPr>
          <p:nvPr>
            <p:custDataLst>
              <p:tags r:id="rId9"/>
            </p:custDataLst>
          </p:nvPr>
        </p:nvSpPr>
        <p:spPr bwMode="gray">
          <a:xfrm>
            <a:off x="7561263" y="2663825"/>
            <a:ext cx="619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98E9C9-D279-4C92-8EFD-B49C16B01787}" type="datetime'''''''''''''''''4'''''''''''''''''''''''''''''''''''''''''''">
              <a:rPr lang="en-US" altLang="en-US" sz="1400" smtClean="0"/>
              <a:pPr marL="0" indent="0" algn="ctr">
                <a:spcBef>
                  <a:spcPct val="0"/>
                </a:spcBef>
                <a:spcAft>
                  <a:spcPct val="0"/>
                </a:spcAft>
                <a:buNone/>
              </a:pPr>
              <a:t>4</a:t>
            </a:fld>
            <a:r>
              <a:rPr lang="en-US" altLang="en-US" sz="1400"/>
              <a:t>.3 </a:t>
            </a:r>
            <a:r>
              <a:rPr lang="en-US" altLang="en-US" sz="1400" dirty="0"/>
              <a:t>TW</a:t>
            </a:r>
            <a:endParaRPr lang="en-US" sz="1400" dirty="0"/>
          </a:p>
        </p:txBody>
      </p:sp>
      <p:sp>
        <p:nvSpPr>
          <p:cNvPr id="86" name="Rectangle 85">
            <a:extLst>
              <a:ext uri="{FF2B5EF4-FFF2-40B4-BE49-F238E27FC236}">
                <a16:creationId xmlns:a16="http://schemas.microsoft.com/office/drawing/2014/main" id="{9585BD58-D31B-0751-97F1-0B01EAB83241}"/>
              </a:ext>
            </a:extLst>
          </p:cNvPr>
          <p:cNvSpPr/>
          <p:nvPr/>
        </p:nvSpPr>
        <p:spPr bwMode="gray">
          <a:xfrm>
            <a:off x="4825689" y="2126635"/>
            <a:ext cx="3932238" cy="3016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dirty="0">
                <a:solidFill>
                  <a:srgbClr val="061C2C"/>
                </a:solidFill>
              </a:rPr>
              <a:t>Estimated U.S. energy potential from conventional vs. SHR geothermal</a:t>
            </a:r>
            <a:endParaRPr lang="en-US" dirty="0"/>
          </a:p>
        </p:txBody>
      </p:sp>
      <p:sp>
        <p:nvSpPr>
          <p:cNvPr id="87" name="Rectangular Callout 86">
            <a:extLst>
              <a:ext uri="{FF2B5EF4-FFF2-40B4-BE49-F238E27FC236}">
                <a16:creationId xmlns:a16="http://schemas.microsoft.com/office/drawing/2014/main" id="{97C62E98-539E-FF5B-A4F6-DFB1CA346E70}"/>
              </a:ext>
            </a:extLst>
          </p:cNvPr>
          <p:cNvSpPr/>
          <p:nvPr/>
        </p:nvSpPr>
        <p:spPr bwMode="gray">
          <a:xfrm>
            <a:off x="8496300" y="5019675"/>
            <a:ext cx="564760" cy="249238"/>
          </a:xfrm>
          <a:prstGeom prst="wedgeRectCallout">
            <a:avLst>
              <a:gd name="adj1" fmla="val -68892"/>
              <a:gd name="adj2" fmla="val 4444"/>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dirty="0"/>
              <a:t>12.5 km</a:t>
            </a:r>
          </a:p>
        </p:txBody>
      </p:sp>
      <p:sp>
        <p:nvSpPr>
          <p:cNvPr id="88" name="Rectangular Callout 87">
            <a:extLst>
              <a:ext uri="{FF2B5EF4-FFF2-40B4-BE49-F238E27FC236}">
                <a16:creationId xmlns:a16="http://schemas.microsoft.com/office/drawing/2014/main" id="{34ED736F-5C7D-1AFB-8D76-A210E0033807}"/>
              </a:ext>
            </a:extLst>
          </p:cNvPr>
          <p:cNvSpPr/>
          <p:nvPr/>
        </p:nvSpPr>
        <p:spPr bwMode="gray">
          <a:xfrm>
            <a:off x="8496300" y="3338513"/>
            <a:ext cx="533400" cy="250825"/>
          </a:xfrm>
          <a:prstGeom prst="wedgeRectCallout">
            <a:avLst>
              <a:gd name="adj1" fmla="val -68892"/>
              <a:gd name="adj2" fmla="val 4444"/>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dirty="0"/>
              <a:t>10 km</a:t>
            </a:r>
          </a:p>
        </p:txBody>
      </p:sp>
      <p:sp>
        <p:nvSpPr>
          <p:cNvPr id="89" name="Rectangular Callout 88">
            <a:extLst>
              <a:ext uri="{FF2B5EF4-FFF2-40B4-BE49-F238E27FC236}">
                <a16:creationId xmlns:a16="http://schemas.microsoft.com/office/drawing/2014/main" id="{00FBF715-E32E-853D-8FAA-7A5EED499602}"/>
              </a:ext>
            </a:extLst>
          </p:cNvPr>
          <p:cNvSpPr/>
          <p:nvPr/>
        </p:nvSpPr>
        <p:spPr bwMode="gray">
          <a:xfrm>
            <a:off x="6759575" y="2908300"/>
            <a:ext cx="533400" cy="250825"/>
          </a:xfrm>
          <a:prstGeom prst="wedgeRectCallout">
            <a:avLst>
              <a:gd name="adj1" fmla="val 71107"/>
              <a:gd name="adj2" fmla="val 13376"/>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dirty="0"/>
              <a:t>7.5 km</a:t>
            </a:r>
          </a:p>
        </p:txBody>
      </p:sp>
      <p:graphicFrame>
        <p:nvGraphicFramePr>
          <p:cNvPr id="109" name="Chart 108">
            <a:extLst>
              <a:ext uri="{FF2B5EF4-FFF2-40B4-BE49-F238E27FC236}">
                <a16:creationId xmlns:a16="http://schemas.microsoft.com/office/drawing/2014/main" id="{D71B1FAE-0E88-BBE4-D8D0-318F10325106}"/>
              </a:ext>
            </a:extLst>
          </p:cNvPr>
          <p:cNvGraphicFramePr/>
          <p:nvPr>
            <p:custDataLst>
              <p:tags r:id="rId10"/>
            </p:custDataLst>
            <p:extLst>
              <p:ext uri="{D42A27DB-BD31-4B8C-83A1-F6EECF244321}">
                <p14:modId xmlns:p14="http://schemas.microsoft.com/office/powerpoint/2010/main" val="3584545264"/>
              </p:ext>
            </p:extLst>
          </p:nvPr>
        </p:nvGraphicFramePr>
        <p:xfrm>
          <a:off x="2568575" y="4489450"/>
          <a:ext cx="1220788" cy="1757363"/>
        </p:xfrm>
        <a:graphic>
          <a:graphicData uri="http://schemas.openxmlformats.org/drawingml/2006/chart">
            <c:chart xmlns:c="http://schemas.openxmlformats.org/drawingml/2006/chart" xmlns:r="http://schemas.openxmlformats.org/officeDocument/2006/relationships" r:id="rId30"/>
          </a:graphicData>
        </a:graphic>
      </p:graphicFrame>
      <p:sp>
        <p:nvSpPr>
          <p:cNvPr id="91" name="Text Placeholder 10">
            <a:extLst>
              <a:ext uri="{FF2B5EF4-FFF2-40B4-BE49-F238E27FC236}">
                <a16:creationId xmlns:a16="http://schemas.microsoft.com/office/drawing/2014/main" id="{C860E74E-B7EA-C524-AE86-5D8B1A7659B0}"/>
              </a:ext>
            </a:extLst>
          </p:cNvPr>
          <p:cNvSpPr txBox="1">
            <a:spLocks/>
          </p:cNvSpPr>
          <p:nvPr>
            <p:custDataLst>
              <p:tags r:id="rId11"/>
            </p:custDataLst>
          </p:nvPr>
        </p:nvSpPr>
        <p:spPr bwMode="auto">
          <a:xfrm>
            <a:off x="655638" y="4679950"/>
            <a:ext cx="1538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75642A-E38C-4EA2-ABD5-3AA170D81BF8}" type="datetime'Tradi''''ti''''o''na''l'''' ''''''''Geo''t''''''h''er''''mal'">
              <a:rPr lang="en-US" altLang="en-US" sz="1200" smtClean="0"/>
              <a:pPr marL="0" indent="0" algn="ctr">
                <a:spcBef>
                  <a:spcPct val="0"/>
                </a:spcBef>
                <a:spcAft>
                  <a:spcPct val="0"/>
                </a:spcAft>
                <a:buNone/>
              </a:pPr>
              <a:t>Traditional Geothermal</a:t>
            </a:fld>
            <a:endParaRPr lang="en-US" sz="1200" dirty="0"/>
          </a:p>
        </p:txBody>
      </p:sp>
      <p:sp>
        <p:nvSpPr>
          <p:cNvPr id="92" name="Text Placeholder 10">
            <a:extLst>
              <a:ext uri="{FF2B5EF4-FFF2-40B4-BE49-F238E27FC236}">
                <a16:creationId xmlns:a16="http://schemas.microsoft.com/office/drawing/2014/main" id="{5B5601C8-F9BF-115C-838A-EF2A26321C9D}"/>
              </a:ext>
            </a:extLst>
          </p:cNvPr>
          <p:cNvSpPr txBox="1">
            <a:spLocks/>
          </p:cNvSpPr>
          <p:nvPr>
            <p:custDataLst>
              <p:tags r:id="rId12"/>
            </p:custDataLst>
          </p:nvPr>
        </p:nvSpPr>
        <p:spPr bwMode="auto">
          <a:xfrm>
            <a:off x="431800" y="5078413"/>
            <a:ext cx="1985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Enhanced Geothermal (EGS)</a:t>
            </a:r>
            <a:endParaRPr lang="en-US" sz="1200" dirty="0"/>
          </a:p>
        </p:txBody>
      </p:sp>
      <p:sp>
        <p:nvSpPr>
          <p:cNvPr id="93" name="Text Placeholder 10">
            <a:extLst>
              <a:ext uri="{FF2B5EF4-FFF2-40B4-BE49-F238E27FC236}">
                <a16:creationId xmlns:a16="http://schemas.microsoft.com/office/drawing/2014/main" id="{C62A7E8E-981F-13A7-C67B-0F518DB84184}"/>
              </a:ext>
            </a:extLst>
          </p:cNvPr>
          <p:cNvSpPr txBox="1">
            <a:spLocks/>
          </p:cNvSpPr>
          <p:nvPr>
            <p:custDataLst>
              <p:tags r:id="rId13"/>
            </p:custDataLst>
          </p:nvPr>
        </p:nvSpPr>
        <p:spPr bwMode="auto">
          <a:xfrm>
            <a:off x="565150" y="5475288"/>
            <a:ext cx="1717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EC63B9-2C35-4CBD-AB61-B222B042172B}" type="datetime'SHR ''''''''G''eo''''the''''''''rm''al'''''' (''FOA''K)'''''">
              <a:rPr lang="en-US" altLang="en-US" sz="1200" smtClean="0"/>
              <a:pPr marL="0" indent="0" algn="ctr">
                <a:spcBef>
                  <a:spcPct val="0"/>
                </a:spcBef>
                <a:spcAft>
                  <a:spcPct val="0"/>
                </a:spcAft>
                <a:buNone/>
              </a:pPr>
              <a:t>SHR Geothermal (FOAK)</a:t>
            </a:fld>
            <a:endParaRPr lang="en-US" sz="1200" dirty="0"/>
          </a:p>
        </p:txBody>
      </p:sp>
      <p:sp>
        <p:nvSpPr>
          <p:cNvPr id="94" name="Text Placeholder 10">
            <a:extLst>
              <a:ext uri="{FF2B5EF4-FFF2-40B4-BE49-F238E27FC236}">
                <a16:creationId xmlns:a16="http://schemas.microsoft.com/office/drawing/2014/main" id="{C3BAC786-C2FD-693B-975C-3520E1502715}"/>
              </a:ext>
            </a:extLst>
          </p:cNvPr>
          <p:cNvSpPr txBox="1">
            <a:spLocks/>
          </p:cNvSpPr>
          <p:nvPr>
            <p:custDataLst>
              <p:tags r:id="rId14"/>
            </p:custDataLst>
          </p:nvPr>
        </p:nvSpPr>
        <p:spPr bwMode="auto">
          <a:xfrm>
            <a:off x="300038" y="5873750"/>
            <a:ext cx="2249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104431-F6C6-45D0-933B-276F82CFBD8D}" type="datetime'''''Mature'' ''S''HR Geo''th''''erm''a''''''l ''(N''OAK'')'''">
              <a:rPr lang="en-US" altLang="en-US" sz="1200" smtClean="0"/>
              <a:pPr marL="0" indent="0" algn="ctr">
                <a:spcBef>
                  <a:spcPct val="0"/>
                </a:spcBef>
                <a:spcAft>
                  <a:spcPct val="0"/>
                </a:spcAft>
                <a:buNone/>
              </a:pPr>
              <a:t>Mature SHR Geothermal (NOAK)</a:t>
            </a:fld>
            <a:endParaRPr lang="en-US" sz="1200" dirty="0"/>
          </a:p>
        </p:txBody>
      </p:sp>
      <p:sp>
        <p:nvSpPr>
          <p:cNvPr id="95" name="Text Placeholder 10">
            <a:extLst>
              <a:ext uri="{FF2B5EF4-FFF2-40B4-BE49-F238E27FC236}">
                <a16:creationId xmlns:a16="http://schemas.microsoft.com/office/drawing/2014/main" id="{CEFF874F-FAF9-0851-729A-5C53149DEBA2}"/>
              </a:ext>
            </a:extLst>
          </p:cNvPr>
          <p:cNvSpPr txBox="1">
            <a:spLocks/>
          </p:cNvSpPr>
          <p:nvPr>
            <p:custDataLst>
              <p:tags r:id="rId15"/>
            </p:custDataLst>
          </p:nvPr>
        </p:nvSpPr>
        <p:spPr bwMode="gray">
          <a:xfrm>
            <a:off x="3060700" y="4679950"/>
            <a:ext cx="684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66-$109</a:t>
            </a:r>
          </a:p>
        </p:txBody>
      </p:sp>
      <p:sp>
        <p:nvSpPr>
          <p:cNvPr id="96" name="Text Placeholder 10">
            <a:extLst>
              <a:ext uri="{FF2B5EF4-FFF2-40B4-BE49-F238E27FC236}">
                <a16:creationId xmlns:a16="http://schemas.microsoft.com/office/drawing/2014/main" id="{06252111-B925-B114-37E8-DD343FD055DE}"/>
              </a:ext>
            </a:extLst>
          </p:cNvPr>
          <p:cNvSpPr txBox="1">
            <a:spLocks/>
          </p:cNvSpPr>
          <p:nvPr>
            <p:custDataLst>
              <p:tags r:id="rId16"/>
            </p:custDataLst>
          </p:nvPr>
        </p:nvSpPr>
        <p:spPr bwMode="gray">
          <a:xfrm>
            <a:off x="2940050" y="5078413"/>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a:t>
            </a:r>
            <a:r>
              <a:rPr lang="en-US" altLang="en-US" sz="1200">
                <a:effectLst/>
              </a:rPr>
              <a:t>45-$</a:t>
            </a:r>
            <a:fld id="{45B9CDC4-9FF0-480B-B86B-B862F20259E5}" type="datetime'''''''''''''''''''''7''''''''''''''''''''''''''''5'''''''''">
              <a:rPr lang="en-US" altLang="en-US" sz="1200" smtClean="0"/>
              <a:pPr/>
              <a:t>75</a:t>
            </a:fld>
            <a:endParaRPr lang="en-US" sz="1200" dirty="0"/>
          </a:p>
        </p:txBody>
      </p:sp>
      <p:sp>
        <p:nvSpPr>
          <p:cNvPr id="97" name="Text Placeholder 10">
            <a:extLst>
              <a:ext uri="{FF2B5EF4-FFF2-40B4-BE49-F238E27FC236}">
                <a16:creationId xmlns:a16="http://schemas.microsoft.com/office/drawing/2014/main" id="{669731B0-F67C-B896-4124-FD7FCBB6C71B}"/>
              </a:ext>
            </a:extLst>
          </p:cNvPr>
          <p:cNvSpPr txBox="1">
            <a:spLocks/>
          </p:cNvSpPr>
          <p:nvPr>
            <p:custDataLst>
              <p:tags r:id="rId17"/>
            </p:custDataLst>
          </p:nvPr>
        </p:nvSpPr>
        <p:spPr bwMode="gray">
          <a:xfrm>
            <a:off x="3732213" y="5475288"/>
            <a:ext cx="768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150-$300</a:t>
            </a:r>
            <a:endParaRPr lang="en-US" sz="1200" dirty="0"/>
          </a:p>
        </p:txBody>
      </p:sp>
      <p:sp>
        <p:nvSpPr>
          <p:cNvPr id="98" name="Text Placeholder 10">
            <a:extLst>
              <a:ext uri="{FF2B5EF4-FFF2-40B4-BE49-F238E27FC236}">
                <a16:creationId xmlns:a16="http://schemas.microsoft.com/office/drawing/2014/main" id="{94036B57-C980-358F-49A0-62124142F168}"/>
              </a:ext>
            </a:extLst>
          </p:cNvPr>
          <p:cNvSpPr txBox="1">
            <a:spLocks/>
          </p:cNvSpPr>
          <p:nvPr>
            <p:custDataLst>
              <p:tags r:id="rId18"/>
            </p:custDataLst>
          </p:nvPr>
        </p:nvSpPr>
        <p:spPr bwMode="gray">
          <a:xfrm>
            <a:off x="2800350" y="5873750"/>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20-$35</a:t>
            </a:r>
          </a:p>
        </p:txBody>
      </p:sp>
      <p:sp>
        <p:nvSpPr>
          <p:cNvPr id="99" name="Rectangle 98">
            <a:extLst>
              <a:ext uri="{FF2B5EF4-FFF2-40B4-BE49-F238E27FC236}">
                <a16:creationId xmlns:a16="http://schemas.microsoft.com/office/drawing/2014/main" id="{3757E49D-7ED8-2F6D-957B-74E6EDF6825A}"/>
              </a:ext>
            </a:extLst>
          </p:cNvPr>
          <p:cNvSpPr/>
          <p:nvPr/>
        </p:nvSpPr>
        <p:spPr bwMode="gray">
          <a:xfrm>
            <a:off x="388258" y="4352925"/>
            <a:ext cx="5187673" cy="3017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dirty="0">
                <a:solidFill>
                  <a:srgbClr val="061C2C"/>
                </a:solidFill>
              </a:rPr>
              <a:t>LCOE for traditional, EGS, and SHR geothermal power</a:t>
            </a:r>
            <a:endParaRPr lang="en-US" dirty="0"/>
          </a:p>
        </p:txBody>
      </p:sp>
    </p:spTree>
    <p:extLst>
      <p:ext uri="{BB962C8B-B14F-4D97-AF65-F5344CB8AC3E}">
        <p14:creationId xmlns:p14="http://schemas.microsoft.com/office/powerpoint/2010/main" val="1134426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6B51B9-7EE3-352F-B93B-1FBC32CAE52F}"/>
              </a:ext>
            </a:extLst>
          </p:cNvPr>
          <p:cNvGraphicFramePr>
            <a:graphicFrameLocks/>
          </p:cNvGraphicFramePr>
          <p:nvPr>
            <p:custDataLst>
              <p:tags r:id="rId1"/>
            </p:custDataLst>
            <p:extLst>
              <p:ext uri="{D42A27DB-BD31-4B8C-83A1-F6EECF244321}">
                <p14:modId xmlns:p14="http://schemas.microsoft.com/office/powerpoint/2010/main" val="16631458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936A447-BFD3-31E9-4753-20B3703E7A24}"/>
              </a:ext>
            </a:extLst>
          </p:cNvPr>
          <p:cNvSpPr>
            <a:spLocks noGrp="1"/>
          </p:cNvSpPr>
          <p:nvPr>
            <p:ph type="title"/>
          </p:nvPr>
        </p:nvSpPr>
        <p:spPr/>
        <p:txBody>
          <a:bodyPr vert="horz" rIns="91440"/>
          <a:lstStyle/>
          <a:p>
            <a:r>
              <a:rPr lang="en-AU" dirty="0"/>
              <a:t>AI can improve accuracy in geothermal exploration and reduce the costs and timelines of project development</a:t>
            </a:r>
            <a:endParaRPr lang="en-US" dirty="0"/>
          </a:p>
        </p:txBody>
      </p:sp>
      <p:sp>
        <p:nvSpPr>
          <p:cNvPr id="4" name="Footer Placeholder 3">
            <a:extLst>
              <a:ext uri="{FF2B5EF4-FFF2-40B4-BE49-F238E27FC236}">
                <a16:creationId xmlns:a16="http://schemas.microsoft.com/office/drawing/2014/main" id="{79B7B6D1-384D-2F0F-2906-805531928DE6}"/>
              </a:ext>
            </a:extLst>
          </p:cNvPr>
          <p:cNvSpPr>
            <a:spLocks noGrp="1"/>
          </p:cNvSpPr>
          <p:nvPr>
            <p:ph type="ftr" sz="quarter" idx="3"/>
          </p:nvPr>
        </p:nvSpPr>
        <p:spPr/>
        <p:txBody>
          <a:bodyPr/>
          <a:lstStyle/>
          <a:p>
            <a:pPr indent="0">
              <a:spcBef>
                <a:spcPts val="0"/>
              </a:spcBef>
              <a:buNone/>
            </a:pPr>
            <a:r>
              <a:rPr lang="en-US" dirty="0">
                <a:solidFill>
                  <a:srgbClr val="000000"/>
                </a:solidFill>
              </a:rPr>
              <a:t>Sources: </a:t>
            </a:r>
            <a:r>
              <a:rPr lang="en-US" dirty="0">
                <a:hlinkClick r:id="rId5"/>
              </a:rPr>
              <a:t>The Geothermal Artificial Intelligence for geothermal exploration</a:t>
            </a:r>
            <a:r>
              <a:rPr lang="en-US" dirty="0"/>
              <a:t> </a:t>
            </a:r>
            <a:r>
              <a:rPr lang="en-US" dirty="0">
                <a:solidFill>
                  <a:schemeClr val="tx1"/>
                </a:solidFill>
              </a:rPr>
              <a:t>(OSTI, 2022).</a:t>
            </a:r>
          </a:p>
          <a:p>
            <a:pPr indent="0">
              <a:spcBef>
                <a:spcPts val="0"/>
              </a:spcBef>
              <a:buNone/>
            </a:pPr>
            <a:r>
              <a:rPr lang="en-US" dirty="0">
                <a:solidFill>
                  <a:srgbClr val="000000"/>
                </a:solidFill>
              </a:rPr>
              <a:t>Credit: Stephanie Chen, Isabel Hoyos, and </a:t>
            </a:r>
            <a:r>
              <a:rPr lang="en-US" dirty="0">
                <a:solidFill>
                  <a:srgbClr val="000000">
                    <a:tint val="82000"/>
                  </a:srgbClr>
                </a:solidFill>
                <a:hlinkClick r:id="rId6"/>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0A9E2377-C9EA-5335-77CE-B92139F15282}"/>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rilling technology: AI</a:t>
            </a:r>
          </a:p>
        </p:txBody>
      </p:sp>
      <p:grpSp>
        <p:nvGrpSpPr>
          <p:cNvPr id="7" name="Group 6">
            <a:extLst>
              <a:ext uri="{FF2B5EF4-FFF2-40B4-BE49-F238E27FC236}">
                <a16:creationId xmlns:a16="http://schemas.microsoft.com/office/drawing/2014/main" id="{B35C9AF3-D971-1159-D422-63EB547F0BE9}"/>
              </a:ext>
            </a:extLst>
          </p:cNvPr>
          <p:cNvGrpSpPr/>
          <p:nvPr/>
        </p:nvGrpSpPr>
        <p:grpSpPr>
          <a:xfrm>
            <a:off x="580401" y="3507892"/>
            <a:ext cx="4443518" cy="640080"/>
            <a:chOff x="618413" y="3320443"/>
            <a:chExt cx="4443518" cy="640080"/>
          </a:xfrm>
        </p:grpSpPr>
        <p:grpSp>
          <p:nvGrpSpPr>
            <p:cNvPr id="8" name="Group 7">
              <a:extLst>
                <a:ext uri="{FF2B5EF4-FFF2-40B4-BE49-F238E27FC236}">
                  <a16:creationId xmlns:a16="http://schemas.microsoft.com/office/drawing/2014/main" id="{A7E03E1A-986E-F62E-8C28-6B050E045CA9}"/>
                </a:ext>
              </a:extLst>
            </p:cNvPr>
            <p:cNvGrpSpPr/>
            <p:nvPr/>
          </p:nvGrpSpPr>
          <p:grpSpPr>
            <a:xfrm>
              <a:off x="618413" y="3320443"/>
              <a:ext cx="4443518" cy="640080"/>
              <a:chOff x="618413" y="3320443"/>
              <a:chExt cx="4443518" cy="640080"/>
            </a:xfrm>
          </p:grpSpPr>
          <p:sp>
            <p:nvSpPr>
              <p:cNvPr id="10" name="Rounded Rectangle 9">
                <a:extLst>
                  <a:ext uri="{FF2B5EF4-FFF2-40B4-BE49-F238E27FC236}">
                    <a16:creationId xmlns:a16="http://schemas.microsoft.com/office/drawing/2014/main" id="{383DDD3C-0BB5-4DBC-42CF-4C1200D23453}"/>
                  </a:ext>
                </a:extLst>
              </p:cNvPr>
              <p:cNvSpPr/>
              <p:nvPr/>
            </p:nvSpPr>
            <p:spPr bwMode="gray">
              <a:xfrm>
                <a:off x="909738" y="3320443"/>
                <a:ext cx="4152193" cy="640080"/>
              </a:xfrm>
              <a:prstGeom prst="round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Oval 10">
                <a:extLst>
                  <a:ext uri="{FF2B5EF4-FFF2-40B4-BE49-F238E27FC236}">
                    <a16:creationId xmlns:a16="http://schemas.microsoft.com/office/drawing/2014/main" id="{AA480EA6-5798-1EAD-05F6-AA5B2F16F506}"/>
                  </a:ext>
                </a:extLst>
              </p:cNvPr>
              <p:cNvSpPr/>
              <p:nvPr/>
            </p:nvSpPr>
            <p:spPr bwMode="gray">
              <a:xfrm>
                <a:off x="618413" y="3320443"/>
                <a:ext cx="640080" cy="640080"/>
              </a:xfrm>
              <a:prstGeom prst="ellipse">
                <a:avLst/>
              </a:prstGeom>
              <a:solidFill>
                <a:schemeClr val="bg1"/>
              </a:solidFill>
              <a:ln w="127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9" name="Rounded Rectangle 8">
              <a:extLst>
                <a:ext uri="{FF2B5EF4-FFF2-40B4-BE49-F238E27FC236}">
                  <a16:creationId xmlns:a16="http://schemas.microsoft.com/office/drawing/2014/main" id="{0303E5B7-B48B-317A-B3AA-632B11411983}"/>
                </a:ext>
              </a:extLst>
            </p:cNvPr>
            <p:cNvSpPr/>
            <p:nvPr/>
          </p:nvSpPr>
          <p:spPr bwMode="gray">
            <a:xfrm>
              <a:off x="1460353" y="3494821"/>
              <a:ext cx="3402771" cy="29132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Remote sensors collect geological data.</a:t>
              </a:r>
            </a:p>
          </p:txBody>
        </p:sp>
      </p:grpSp>
      <p:grpSp>
        <p:nvGrpSpPr>
          <p:cNvPr id="12" name="Group 11">
            <a:extLst>
              <a:ext uri="{FF2B5EF4-FFF2-40B4-BE49-F238E27FC236}">
                <a16:creationId xmlns:a16="http://schemas.microsoft.com/office/drawing/2014/main" id="{3F5E3375-2AF3-EE7A-65D7-F8F3021C95E9}"/>
              </a:ext>
            </a:extLst>
          </p:cNvPr>
          <p:cNvGrpSpPr/>
          <p:nvPr/>
        </p:nvGrpSpPr>
        <p:grpSpPr>
          <a:xfrm>
            <a:off x="580401" y="4436044"/>
            <a:ext cx="4443518" cy="640080"/>
            <a:chOff x="618413" y="3320443"/>
            <a:chExt cx="4443518" cy="640080"/>
          </a:xfrm>
        </p:grpSpPr>
        <p:grpSp>
          <p:nvGrpSpPr>
            <p:cNvPr id="13" name="Group 12">
              <a:extLst>
                <a:ext uri="{FF2B5EF4-FFF2-40B4-BE49-F238E27FC236}">
                  <a16:creationId xmlns:a16="http://schemas.microsoft.com/office/drawing/2014/main" id="{7A1FD77D-7065-1D0A-7B2D-53A3A7200E9A}"/>
                </a:ext>
              </a:extLst>
            </p:cNvPr>
            <p:cNvGrpSpPr/>
            <p:nvPr/>
          </p:nvGrpSpPr>
          <p:grpSpPr>
            <a:xfrm>
              <a:off x="618413" y="3320443"/>
              <a:ext cx="4443518" cy="640080"/>
              <a:chOff x="618413" y="3320443"/>
              <a:chExt cx="4443518" cy="640080"/>
            </a:xfrm>
          </p:grpSpPr>
          <p:sp>
            <p:nvSpPr>
              <p:cNvPr id="15" name="Rounded Rectangle 14">
                <a:extLst>
                  <a:ext uri="{FF2B5EF4-FFF2-40B4-BE49-F238E27FC236}">
                    <a16:creationId xmlns:a16="http://schemas.microsoft.com/office/drawing/2014/main" id="{DFE9E0DC-F416-D9EB-AAB9-5D6FCB7E77A0}"/>
                  </a:ext>
                </a:extLst>
              </p:cNvPr>
              <p:cNvSpPr/>
              <p:nvPr/>
            </p:nvSpPr>
            <p:spPr bwMode="gray">
              <a:xfrm>
                <a:off x="909738" y="3320443"/>
                <a:ext cx="4152193" cy="640080"/>
              </a:xfrm>
              <a:prstGeom prst="round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313A51D9-995A-2D39-788F-48D6E3D54A09}"/>
                  </a:ext>
                </a:extLst>
              </p:cNvPr>
              <p:cNvSpPr/>
              <p:nvPr/>
            </p:nvSpPr>
            <p:spPr bwMode="gray">
              <a:xfrm>
                <a:off x="618413" y="3320443"/>
                <a:ext cx="640080" cy="640080"/>
              </a:xfrm>
              <a:prstGeom prst="ellipse">
                <a:avLst/>
              </a:prstGeom>
              <a:solidFill>
                <a:schemeClr val="bg1"/>
              </a:solidFill>
              <a:ln w="127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4" name="Rounded Rectangle 13">
              <a:extLst>
                <a:ext uri="{FF2B5EF4-FFF2-40B4-BE49-F238E27FC236}">
                  <a16:creationId xmlns:a16="http://schemas.microsoft.com/office/drawing/2014/main" id="{66383F6E-CF2F-9712-F5FD-659185F34AB5}"/>
                </a:ext>
              </a:extLst>
            </p:cNvPr>
            <p:cNvSpPr/>
            <p:nvPr/>
          </p:nvSpPr>
          <p:spPr bwMode="gray">
            <a:xfrm>
              <a:off x="1460353" y="3494821"/>
              <a:ext cx="3402771" cy="29132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AI/ML models process geological data.</a:t>
              </a:r>
            </a:p>
          </p:txBody>
        </p:sp>
      </p:grpSp>
      <p:grpSp>
        <p:nvGrpSpPr>
          <p:cNvPr id="17" name="Group 16">
            <a:extLst>
              <a:ext uri="{FF2B5EF4-FFF2-40B4-BE49-F238E27FC236}">
                <a16:creationId xmlns:a16="http://schemas.microsoft.com/office/drawing/2014/main" id="{56A78137-C453-2B10-8F12-2A3DC896CBE5}"/>
              </a:ext>
            </a:extLst>
          </p:cNvPr>
          <p:cNvGrpSpPr/>
          <p:nvPr/>
        </p:nvGrpSpPr>
        <p:grpSpPr>
          <a:xfrm>
            <a:off x="580401" y="5364197"/>
            <a:ext cx="4443518" cy="640080"/>
            <a:chOff x="618413" y="3320443"/>
            <a:chExt cx="4443518" cy="640080"/>
          </a:xfrm>
        </p:grpSpPr>
        <p:grpSp>
          <p:nvGrpSpPr>
            <p:cNvPr id="18" name="Group 17">
              <a:extLst>
                <a:ext uri="{FF2B5EF4-FFF2-40B4-BE49-F238E27FC236}">
                  <a16:creationId xmlns:a16="http://schemas.microsoft.com/office/drawing/2014/main" id="{F57017C0-FF2F-051A-B0A9-18209B9C7126}"/>
                </a:ext>
              </a:extLst>
            </p:cNvPr>
            <p:cNvGrpSpPr/>
            <p:nvPr/>
          </p:nvGrpSpPr>
          <p:grpSpPr>
            <a:xfrm>
              <a:off x="618413" y="3320443"/>
              <a:ext cx="4443518" cy="640080"/>
              <a:chOff x="618413" y="3320443"/>
              <a:chExt cx="4443518" cy="640080"/>
            </a:xfrm>
          </p:grpSpPr>
          <p:sp>
            <p:nvSpPr>
              <p:cNvPr id="20" name="Rounded Rectangle 19">
                <a:extLst>
                  <a:ext uri="{FF2B5EF4-FFF2-40B4-BE49-F238E27FC236}">
                    <a16:creationId xmlns:a16="http://schemas.microsoft.com/office/drawing/2014/main" id="{63A5B253-2CC5-EE16-6D5D-DFA2B830593C}"/>
                  </a:ext>
                </a:extLst>
              </p:cNvPr>
              <p:cNvSpPr/>
              <p:nvPr/>
            </p:nvSpPr>
            <p:spPr bwMode="gray">
              <a:xfrm>
                <a:off x="909738" y="3320443"/>
                <a:ext cx="4152193" cy="640080"/>
              </a:xfrm>
              <a:prstGeom prst="round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Oval 20">
                <a:extLst>
                  <a:ext uri="{FF2B5EF4-FFF2-40B4-BE49-F238E27FC236}">
                    <a16:creationId xmlns:a16="http://schemas.microsoft.com/office/drawing/2014/main" id="{F03AFC86-B6A0-8681-615D-9F80ACA1B7BF}"/>
                  </a:ext>
                </a:extLst>
              </p:cNvPr>
              <p:cNvSpPr/>
              <p:nvPr/>
            </p:nvSpPr>
            <p:spPr bwMode="gray">
              <a:xfrm>
                <a:off x="618413" y="3320443"/>
                <a:ext cx="640080" cy="640080"/>
              </a:xfrm>
              <a:prstGeom prst="ellipse">
                <a:avLst/>
              </a:prstGeom>
              <a:solidFill>
                <a:schemeClr val="bg1"/>
              </a:solidFill>
              <a:ln w="127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19" name="Rounded Rectangle 18">
              <a:extLst>
                <a:ext uri="{FF2B5EF4-FFF2-40B4-BE49-F238E27FC236}">
                  <a16:creationId xmlns:a16="http://schemas.microsoft.com/office/drawing/2014/main" id="{756DF0F5-70EF-D216-8A8B-914A4C06D8BA}"/>
                </a:ext>
              </a:extLst>
            </p:cNvPr>
            <p:cNvSpPr/>
            <p:nvPr/>
          </p:nvSpPr>
          <p:spPr bwMode="gray">
            <a:xfrm>
              <a:off x="1460353" y="3494821"/>
              <a:ext cx="3402771" cy="29132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dirty="0">
                  <a:solidFill>
                    <a:schemeClr val="tx1"/>
                  </a:solidFill>
                </a:rPr>
                <a:t>Data is translated into real-time and predictive models.</a:t>
              </a:r>
            </a:p>
          </p:txBody>
        </p:sp>
      </p:grpSp>
      <p:sp>
        <p:nvSpPr>
          <p:cNvPr id="22" name="TextBox 21">
            <a:extLst>
              <a:ext uri="{FF2B5EF4-FFF2-40B4-BE49-F238E27FC236}">
                <a16:creationId xmlns:a16="http://schemas.microsoft.com/office/drawing/2014/main" id="{B489C98D-36C8-5D9B-180F-E05F2237DFE0}"/>
              </a:ext>
            </a:extLst>
          </p:cNvPr>
          <p:cNvSpPr txBox="1"/>
          <p:nvPr/>
        </p:nvSpPr>
        <p:spPr bwMode="gray">
          <a:xfrm>
            <a:off x="456264" y="1979069"/>
            <a:ext cx="4988673" cy="1354217"/>
          </a:xfrm>
          <a:prstGeom prst="rect">
            <a:avLst/>
          </a:prstGeom>
          <a:noFill/>
        </p:spPr>
        <p:txBody>
          <a:bodyPr wrap="square">
            <a:spAutoFit/>
          </a:bodyPr>
          <a:lstStyle/>
          <a:p>
            <a:pPr marL="0" indent="0">
              <a:buNone/>
            </a:pPr>
            <a:r>
              <a:rPr lang="en-US" sz="1200" b="1" dirty="0"/>
              <a:t>Geosensing</a:t>
            </a:r>
            <a:r>
              <a:rPr lang="en-US" sz="1200" dirty="0"/>
              <a:t> is the use of remote sensing such as drones, satellites, </a:t>
            </a:r>
            <a:br>
              <a:rPr lang="en-US" sz="1200" dirty="0"/>
            </a:br>
            <a:r>
              <a:rPr lang="en-US" sz="1200" dirty="0"/>
              <a:t>or sensors to detect geological characteristics. </a:t>
            </a:r>
          </a:p>
          <a:p>
            <a:pPr marL="0" indent="0">
              <a:buNone/>
            </a:pPr>
            <a:r>
              <a:rPr lang="en-US" sz="1200" dirty="0"/>
              <a:t>With the use of AI, geothermal reservoirs will be more easily and accurately identified. AI-enabled geosensing will address the uncertainties and challenges of geothermal exploration including identifying sites, subsurface characteristics, and geological risks.</a:t>
            </a:r>
          </a:p>
        </p:txBody>
      </p:sp>
      <p:sp>
        <p:nvSpPr>
          <p:cNvPr id="23" name="Oval 22">
            <a:extLst>
              <a:ext uri="{FF2B5EF4-FFF2-40B4-BE49-F238E27FC236}">
                <a16:creationId xmlns:a16="http://schemas.microsoft.com/office/drawing/2014/main" id="{CBE995AF-5F7C-A194-52B7-F294B7A793E5}"/>
              </a:ext>
            </a:extLst>
          </p:cNvPr>
          <p:cNvSpPr/>
          <p:nvPr/>
        </p:nvSpPr>
        <p:spPr bwMode="gray">
          <a:xfrm>
            <a:off x="5914006" y="4403064"/>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3</a:t>
            </a:r>
          </a:p>
        </p:txBody>
      </p:sp>
      <p:sp>
        <p:nvSpPr>
          <p:cNvPr id="24" name="Oval 23">
            <a:extLst>
              <a:ext uri="{FF2B5EF4-FFF2-40B4-BE49-F238E27FC236}">
                <a16:creationId xmlns:a16="http://schemas.microsoft.com/office/drawing/2014/main" id="{B6DEB7E1-2CBE-B29E-8F4C-ADB11CC5305A}"/>
              </a:ext>
            </a:extLst>
          </p:cNvPr>
          <p:cNvSpPr/>
          <p:nvPr/>
        </p:nvSpPr>
        <p:spPr bwMode="gray">
          <a:xfrm>
            <a:off x="5914006" y="2132042"/>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sp>
        <p:nvSpPr>
          <p:cNvPr id="25" name="Oval 24">
            <a:extLst>
              <a:ext uri="{FF2B5EF4-FFF2-40B4-BE49-F238E27FC236}">
                <a16:creationId xmlns:a16="http://schemas.microsoft.com/office/drawing/2014/main" id="{378E864D-BEA3-ED8B-F44D-A9C6813E6A25}"/>
              </a:ext>
            </a:extLst>
          </p:cNvPr>
          <p:cNvSpPr/>
          <p:nvPr/>
        </p:nvSpPr>
        <p:spPr bwMode="gray">
          <a:xfrm>
            <a:off x="5914006" y="5538575"/>
            <a:ext cx="274320" cy="274320"/>
          </a:xfrm>
          <a:prstGeom prst="ellipse">
            <a:avLst/>
          </a:prstGeom>
          <a:solidFill>
            <a:srgbClr val="7F5B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150" b="1" dirty="0">
                <a:solidFill>
                  <a:srgbClr val="FFFFFF"/>
                </a:solidFill>
                <a:latin typeface="Arial"/>
              </a:rPr>
              <a:t>4</a:t>
            </a:r>
            <a:endParaRPr kumimoji="0" lang="en-US" sz="1150" b="1"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ounded Rectangle 25">
            <a:extLst>
              <a:ext uri="{FF2B5EF4-FFF2-40B4-BE49-F238E27FC236}">
                <a16:creationId xmlns:a16="http://schemas.microsoft.com/office/drawing/2014/main" id="{688FF42B-A57D-0F80-85C1-0D1385D309CC}"/>
              </a:ext>
            </a:extLst>
          </p:cNvPr>
          <p:cNvSpPr/>
          <p:nvPr/>
        </p:nvSpPr>
        <p:spPr bwMode="gray">
          <a:xfrm>
            <a:off x="6390168" y="2081138"/>
            <a:ext cx="3518053" cy="972838"/>
          </a:xfrm>
          <a:prstGeom prst="roundRect">
            <a:avLst/>
          </a:prstGeom>
          <a:solidFill>
            <a:srgbClr val="D2F1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tx1"/>
                </a:solidFill>
              </a:rPr>
              <a:t>Data Collection</a:t>
            </a:r>
          </a:p>
          <a:p>
            <a:pPr marL="0" indent="0" algn="ctr">
              <a:buNone/>
            </a:pPr>
            <a:r>
              <a:rPr lang="en-US" sz="1000" i="1" dirty="0">
                <a:solidFill>
                  <a:schemeClr val="tx1"/>
                </a:solidFill>
              </a:rPr>
              <a:t>Data collected through remote sensing (satellite thermal imaging, LiDAR), seismic surveys, magnetic/gravity data, or well logs.</a:t>
            </a:r>
          </a:p>
        </p:txBody>
      </p:sp>
      <p:sp>
        <p:nvSpPr>
          <p:cNvPr id="27" name="Rounded Rectangle 26">
            <a:extLst>
              <a:ext uri="{FF2B5EF4-FFF2-40B4-BE49-F238E27FC236}">
                <a16:creationId xmlns:a16="http://schemas.microsoft.com/office/drawing/2014/main" id="{A1D608DA-AA61-3E8C-7D30-FB0CBFEAF78E}"/>
              </a:ext>
            </a:extLst>
          </p:cNvPr>
          <p:cNvSpPr/>
          <p:nvPr/>
        </p:nvSpPr>
        <p:spPr bwMode="gray">
          <a:xfrm>
            <a:off x="6390168" y="3294419"/>
            <a:ext cx="3495530" cy="934193"/>
          </a:xfrm>
          <a:prstGeom prst="roundRect">
            <a:avLst/>
          </a:prstGeom>
          <a:solidFill>
            <a:srgbClr val="F1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tx1"/>
                </a:solidFill>
              </a:rPr>
              <a:t>Data Processing</a:t>
            </a:r>
          </a:p>
          <a:p>
            <a:pPr marL="0" indent="0" algn="ctr">
              <a:buNone/>
            </a:pPr>
            <a:r>
              <a:rPr lang="en-US" sz="1000" i="1" dirty="0">
                <a:solidFill>
                  <a:schemeClr val="tx1"/>
                </a:solidFill>
              </a:rPr>
              <a:t>Utilize AI models (e.g., convolutional neural networks, random forests) to detect correlations and hidden patterns</a:t>
            </a:r>
            <a:r>
              <a:rPr lang="en-US" dirty="0">
                <a:solidFill>
                  <a:schemeClr val="tx1"/>
                </a:solidFill>
              </a:rPr>
              <a:t>.</a:t>
            </a:r>
            <a:endParaRPr lang="en-US" sz="1600" dirty="0">
              <a:solidFill>
                <a:schemeClr val="tx1"/>
              </a:solidFill>
            </a:endParaRPr>
          </a:p>
        </p:txBody>
      </p:sp>
      <p:sp>
        <p:nvSpPr>
          <p:cNvPr id="28" name="Rounded Rectangle 27">
            <a:extLst>
              <a:ext uri="{FF2B5EF4-FFF2-40B4-BE49-F238E27FC236}">
                <a16:creationId xmlns:a16="http://schemas.microsoft.com/office/drawing/2014/main" id="{47DBD8EA-91A3-1422-377D-85AA75790968}"/>
              </a:ext>
            </a:extLst>
          </p:cNvPr>
          <p:cNvSpPr/>
          <p:nvPr/>
        </p:nvSpPr>
        <p:spPr bwMode="gray">
          <a:xfrm>
            <a:off x="6390168" y="4469055"/>
            <a:ext cx="3495530" cy="781051"/>
          </a:xfrm>
          <a:prstGeom prst="round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tx1"/>
                </a:solidFill>
              </a:rPr>
              <a:t>Prediction &amp; Mapping</a:t>
            </a:r>
          </a:p>
          <a:p>
            <a:pPr marL="0" indent="0" algn="ctr">
              <a:buNone/>
            </a:pPr>
            <a:r>
              <a:rPr lang="en-US" sz="1000" i="1" dirty="0">
                <a:solidFill>
                  <a:schemeClr val="tx1"/>
                </a:solidFill>
              </a:rPr>
              <a:t>AI generates heat flow maps, reservoir probability zones, and drilling targets.</a:t>
            </a:r>
          </a:p>
          <a:p>
            <a:pPr marL="0" indent="0" algn="ctr">
              <a:buNone/>
            </a:pPr>
            <a:endParaRPr lang="en-US" sz="1600" dirty="0">
              <a:solidFill>
                <a:schemeClr val="tx1"/>
              </a:solidFill>
            </a:endParaRPr>
          </a:p>
        </p:txBody>
      </p:sp>
      <p:sp>
        <p:nvSpPr>
          <p:cNvPr id="29" name="Rounded Rectangle 28">
            <a:extLst>
              <a:ext uri="{FF2B5EF4-FFF2-40B4-BE49-F238E27FC236}">
                <a16:creationId xmlns:a16="http://schemas.microsoft.com/office/drawing/2014/main" id="{BBDB41B1-FC9A-E0D7-A981-90C0373CABAE}"/>
              </a:ext>
            </a:extLst>
          </p:cNvPr>
          <p:cNvSpPr/>
          <p:nvPr/>
        </p:nvSpPr>
        <p:spPr bwMode="gray">
          <a:xfrm>
            <a:off x="6390168" y="5490550"/>
            <a:ext cx="3518053" cy="781051"/>
          </a:xfrm>
          <a:prstGeom prst="roundRect">
            <a:avLst/>
          </a:prstGeom>
          <a:solidFill>
            <a:srgbClr val="E0D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tx1"/>
                </a:solidFill>
              </a:rPr>
              <a:t>Feedback Loop</a:t>
            </a:r>
          </a:p>
          <a:p>
            <a:pPr marL="0" indent="0" algn="ctr">
              <a:buNone/>
            </a:pPr>
            <a:r>
              <a:rPr lang="en-US" sz="1000" dirty="0">
                <a:solidFill>
                  <a:schemeClr val="tx1"/>
                </a:solidFill>
              </a:rPr>
              <a:t>AI refines predictions as new drilling/seismic data is collected.</a:t>
            </a:r>
          </a:p>
          <a:p>
            <a:pPr marL="0" indent="0" algn="ctr">
              <a:buNone/>
            </a:pPr>
            <a:endParaRPr lang="en-US" sz="1600" dirty="0">
              <a:solidFill>
                <a:schemeClr val="tx1"/>
              </a:solidFill>
            </a:endParaRPr>
          </a:p>
          <a:p>
            <a:pPr marL="0" indent="0" algn="ctr">
              <a:buNone/>
            </a:pPr>
            <a:endParaRPr lang="en-US" sz="1600" dirty="0">
              <a:solidFill>
                <a:schemeClr val="tx1"/>
              </a:solidFill>
            </a:endParaRPr>
          </a:p>
        </p:txBody>
      </p:sp>
      <p:sp>
        <p:nvSpPr>
          <p:cNvPr id="30" name="TextBox 29">
            <a:extLst>
              <a:ext uri="{FF2B5EF4-FFF2-40B4-BE49-F238E27FC236}">
                <a16:creationId xmlns:a16="http://schemas.microsoft.com/office/drawing/2014/main" id="{70BA77F0-2AD1-A919-3A25-DCC41D633BFE}"/>
              </a:ext>
            </a:extLst>
          </p:cNvPr>
          <p:cNvSpPr txBox="1"/>
          <p:nvPr/>
        </p:nvSpPr>
        <p:spPr bwMode="gray">
          <a:xfrm>
            <a:off x="5951908" y="1596894"/>
            <a:ext cx="1600365" cy="318924"/>
          </a:xfrm>
          <a:prstGeom prst="rect">
            <a:avLst/>
          </a:prstGeom>
          <a:noFill/>
        </p:spPr>
        <p:txBody>
          <a:bodyPr wrap="none" lIns="36000" tIns="36000" rIns="36000" bIns="36000" rtlCol="0">
            <a:spAutoFit/>
          </a:bodyPr>
          <a:lstStyle/>
          <a:p>
            <a:pPr marL="0" indent="0">
              <a:buNone/>
            </a:pPr>
            <a:r>
              <a:rPr lang="en-US" b="1" dirty="0"/>
              <a:t>AI Process Map</a:t>
            </a:r>
            <a:endParaRPr lang="en-US" sz="1600" b="1" dirty="0"/>
          </a:p>
        </p:txBody>
      </p:sp>
      <p:sp>
        <p:nvSpPr>
          <p:cNvPr id="31" name="TextBox 30">
            <a:extLst>
              <a:ext uri="{FF2B5EF4-FFF2-40B4-BE49-F238E27FC236}">
                <a16:creationId xmlns:a16="http://schemas.microsoft.com/office/drawing/2014/main" id="{5FAD8EBB-7D57-8D8A-4B0F-96EE252386DE}"/>
              </a:ext>
            </a:extLst>
          </p:cNvPr>
          <p:cNvSpPr txBox="1"/>
          <p:nvPr/>
        </p:nvSpPr>
        <p:spPr bwMode="gray">
          <a:xfrm>
            <a:off x="10210415" y="1633854"/>
            <a:ext cx="1189997" cy="318924"/>
          </a:xfrm>
          <a:prstGeom prst="rect">
            <a:avLst/>
          </a:prstGeom>
          <a:noFill/>
        </p:spPr>
        <p:txBody>
          <a:bodyPr wrap="none" lIns="36000" tIns="36000" rIns="36000" bIns="36000" rtlCol="0">
            <a:spAutoFit/>
          </a:bodyPr>
          <a:lstStyle/>
          <a:p>
            <a:pPr marL="0" indent="0">
              <a:buNone/>
            </a:pPr>
            <a:r>
              <a:rPr lang="en-US" b="1" dirty="0"/>
              <a:t>Application</a:t>
            </a:r>
            <a:endParaRPr lang="en-US" sz="1600" b="1" dirty="0"/>
          </a:p>
        </p:txBody>
      </p:sp>
      <p:sp>
        <p:nvSpPr>
          <p:cNvPr id="32" name="Oval 31">
            <a:extLst>
              <a:ext uri="{FF2B5EF4-FFF2-40B4-BE49-F238E27FC236}">
                <a16:creationId xmlns:a16="http://schemas.microsoft.com/office/drawing/2014/main" id="{3B2BB579-29DC-A98A-0735-9A70282EF56D}"/>
              </a:ext>
            </a:extLst>
          </p:cNvPr>
          <p:cNvSpPr/>
          <p:nvPr/>
        </p:nvSpPr>
        <p:spPr bwMode="gray">
          <a:xfrm>
            <a:off x="5914006" y="3267553"/>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2</a:t>
            </a:r>
          </a:p>
        </p:txBody>
      </p:sp>
      <p:graphicFrame>
        <p:nvGraphicFramePr>
          <p:cNvPr id="33" name="Diagram 32">
            <a:extLst>
              <a:ext uri="{FF2B5EF4-FFF2-40B4-BE49-F238E27FC236}">
                <a16:creationId xmlns:a16="http://schemas.microsoft.com/office/drawing/2014/main" id="{146E97DD-335C-593F-9CEC-FD8F76DDDF16}"/>
              </a:ext>
            </a:extLst>
          </p:cNvPr>
          <p:cNvGraphicFramePr/>
          <p:nvPr>
            <p:extLst>
              <p:ext uri="{D42A27DB-BD31-4B8C-83A1-F6EECF244321}">
                <p14:modId xmlns:p14="http://schemas.microsoft.com/office/powerpoint/2010/main" val="2216529086"/>
              </p:ext>
            </p:extLst>
          </p:nvPr>
        </p:nvGraphicFramePr>
        <p:xfrm>
          <a:off x="7649109" y="2085753"/>
          <a:ext cx="6692723" cy="41949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34" name="btfpColumnHeaderBoxLine223027">
            <a:extLst>
              <a:ext uri="{FF2B5EF4-FFF2-40B4-BE49-F238E27FC236}">
                <a16:creationId xmlns:a16="http://schemas.microsoft.com/office/drawing/2014/main" id="{AE01985F-A105-7FA3-C14B-CA1264ADF6F4}"/>
              </a:ext>
            </a:extLst>
          </p:cNvPr>
          <p:cNvCxnSpPr>
            <a:cxnSpLocks/>
          </p:cNvCxnSpPr>
          <p:nvPr/>
        </p:nvCxnSpPr>
        <p:spPr bwMode="gray">
          <a:xfrm>
            <a:off x="5646784" y="1657528"/>
            <a:ext cx="0" cy="46817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5" name="Graphic 34" descr="Illustrator outline">
            <a:extLst>
              <a:ext uri="{FF2B5EF4-FFF2-40B4-BE49-F238E27FC236}">
                <a16:creationId xmlns:a16="http://schemas.microsoft.com/office/drawing/2014/main" id="{F442F639-30C6-DF38-C095-609AF7E20F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852" y="4527484"/>
            <a:ext cx="471670" cy="457200"/>
          </a:xfrm>
          <a:prstGeom prst="rect">
            <a:avLst/>
          </a:prstGeom>
        </p:spPr>
      </p:pic>
      <p:pic>
        <p:nvPicPr>
          <p:cNvPr id="36" name="Graphic 35" descr="Topography Map outline">
            <a:extLst>
              <a:ext uri="{FF2B5EF4-FFF2-40B4-BE49-F238E27FC236}">
                <a16:creationId xmlns:a16="http://schemas.microsoft.com/office/drawing/2014/main" id="{F6EF4B2D-AC31-6C11-7635-17BEE6F0A6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3087" y="5455637"/>
            <a:ext cx="457200" cy="457200"/>
          </a:xfrm>
          <a:prstGeom prst="rect">
            <a:avLst/>
          </a:prstGeom>
        </p:spPr>
      </p:pic>
      <p:pic>
        <p:nvPicPr>
          <p:cNvPr id="37" name="Graphic 36" descr="Satellite with solid fill">
            <a:extLst>
              <a:ext uri="{FF2B5EF4-FFF2-40B4-BE49-F238E27FC236}">
                <a16:creationId xmlns:a16="http://schemas.microsoft.com/office/drawing/2014/main" id="{36A48F79-877D-D1C0-6878-AC2E1B8B2EE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flipH="1">
            <a:off x="663087" y="3599332"/>
            <a:ext cx="457200" cy="457200"/>
          </a:xfrm>
          <a:prstGeom prst="rect">
            <a:avLst/>
          </a:prstGeom>
        </p:spPr>
      </p:pic>
    </p:spTree>
    <p:extLst>
      <p:ext uri="{BB962C8B-B14F-4D97-AF65-F5344CB8AC3E}">
        <p14:creationId xmlns:p14="http://schemas.microsoft.com/office/powerpoint/2010/main" val="37420873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C3C17297-FF8D-E4FB-6E6C-8FBA07BADCE6}"/>
              </a:ext>
            </a:extLst>
          </p:cNvPr>
          <p:cNvGraphicFramePr>
            <a:graphicFrameLocks/>
          </p:cNvGraphicFramePr>
          <p:nvPr>
            <p:custDataLst>
              <p:tags r:id="rId1"/>
            </p:custDataLst>
            <p:extLst>
              <p:ext uri="{D42A27DB-BD31-4B8C-83A1-F6EECF244321}">
                <p14:modId xmlns:p14="http://schemas.microsoft.com/office/powerpoint/2010/main" val="3996306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797A78D-1787-1A12-CD4F-A9D764D9E800}"/>
              </a:ext>
            </a:extLst>
          </p:cNvPr>
          <p:cNvSpPr>
            <a:spLocks noGrp="1"/>
          </p:cNvSpPr>
          <p:nvPr>
            <p:ph type="title"/>
          </p:nvPr>
        </p:nvSpPr>
        <p:spPr/>
        <p:txBody>
          <a:bodyPr vert="horz" rIns="91440"/>
          <a:lstStyle/>
          <a:p>
            <a:r>
              <a:rPr lang="en-US" dirty="0">
                <a:ea typeface="+mj-lt"/>
                <a:cs typeface="+mj-lt"/>
              </a:rPr>
              <a:t>AI is transforming geothermal deployment by enabling faster, more accurate subsurface characterization</a:t>
            </a:r>
            <a:endParaRPr lang="en-US" dirty="0"/>
          </a:p>
        </p:txBody>
      </p:sp>
      <p:sp>
        <p:nvSpPr>
          <p:cNvPr id="7" name="Text Placeholder 6">
            <a:extLst>
              <a:ext uri="{FF2B5EF4-FFF2-40B4-BE49-F238E27FC236}">
                <a16:creationId xmlns:a16="http://schemas.microsoft.com/office/drawing/2014/main" id="{0D9E5576-096D-E565-1A11-30CE7DA83979}"/>
              </a:ext>
            </a:extLst>
          </p:cNvPr>
          <p:cNvSpPr>
            <a:spLocks noGrp="1"/>
          </p:cNvSpPr>
          <p:nvPr>
            <p:ph type="body" sz="quarter" idx="13"/>
          </p:nvPr>
        </p:nvSpPr>
        <p:spPr/>
        <p:txBody>
          <a:bodyPr/>
          <a:lstStyle/>
          <a:p>
            <a:r>
              <a:rPr lang="en-US" dirty="0"/>
              <a:t>Key characteristics across exploration and project development</a:t>
            </a:r>
          </a:p>
        </p:txBody>
      </p:sp>
      <p:sp>
        <p:nvSpPr>
          <p:cNvPr id="8" name="Text Placeholder 7">
            <a:extLst>
              <a:ext uri="{FF2B5EF4-FFF2-40B4-BE49-F238E27FC236}">
                <a16:creationId xmlns:a16="http://schemas.microsoft.com/office/drawing/2014/main" id="{0C46AC86-6388-2963-49C6-E7C119B58D31}"/>
              </a:ext>
            </a:extLst>
          </p:cNvPr>
          <p:cNvSpPr>
            <a:spLocks noGrp="1"/>
          </p:cNvSpPr>
          <p:nvPr>
            <p:ph type="body" sz="quarter" idx="16"/>
          </p:nvPr>
        </p:nvSpPr>
        <p:spPr/>
        <p:txBody>
          <a:bodyPr/>
          <a:lstStyle/>
          <a:p>
            <a:r>
              <a:rPr lang="en-US" dirty="0"/>
              <a:t>AI will transform deployment across the geothermal value chain</a:t>
            </a:r>
          </a:p>
        </p:txBody>
      </p:sp>
      <p:sp>
        <p:nvSpPr>
          <p:cNvPr id="9" name="Footer Placeholder 3">
            <a:extLst>
              <a:ext uri="{FF2B5EF4-FFF2-40B4-BE49-F238E27FC236}">
                <a16:creationId xmlns:a16="http://schemas.microsoft.com/office/drawing/2014/main" id="{86865ADB-4AC3-3126-EC64-A104967D9035}"/>
              </a:ext>
            </a:extLst>
          </p:cNvPr>
          <p:cNvSpPr>
            <a:spLocks noGrp="1"/>
          </p:cNvSpPr>
          <p:nvPr>
            <p:ph type="ftr" sz="quarter" idx="3"/>
          </p:nvPr>
        </p:nvSpPr>
        <p:spPr>
          <a:xfrm>
            <a:off x="334962" y="6344432"/>
            <a:ext cx="9147241" cy="216706"/>
          </a:xfrm>
        </p:spPr>
        <p:txBody>
          <a:bodyPr/>
          <a:lstStyle/>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dirty="0">
                <a:hlinkClick r:id="rId5"/>
              </a:rPr>
              <a:t>The geothermal artificial intelligence for geothermal exploration</a:t>
            </a:r>
            <a:r>
              <a:rPr lang="en-US" dirty="0"/>
              <a:t> </a:t>
            </a:r>
            <a:r>
              <a:rPr lang="en-US" dirty="0">
                <a:solidFill>
                  <a:schemeClr val="tx1"/>
                </a:solidFill>
              </a:rPr>
              <a:t>(</a:t>
            </a:r>
            <a:r>
              <a:rPr lang="en-US" dirty="0">
                <a:solidFill>
                  <a:srgbClr val="000000"/>
                </a:solidFill>
              </a:rPr>
              <a:t>OSTI, </a:t>
            </a:r>
            <a:r>
              <a:rPr lang="en-US" dirty="0">
                <a:solidFill>
                  <a:schemeClr val="tx1"/>
                </a:solidFill>
              </a:rPr>
              <a:t>2022); </a:t>
            </a:r>
            <a:r>
              <a:rPr lang="en-US" dirty="0">
                <a:solidFill>
                  <a:srgbClr val="45647B"/>
                </a:solidFill>
                <a:hlinkClick r:id="rId6">
                  <a:extLst>
                    <a:ext uri="{A12FA001-AC4F-418D-AE19-62706E023703}">
                      <ahyp:hlinkClr xmlns:ahyp="http://schemas.microsoft.com/office/drawing/2018/hyperlinkcolor" val="tx"/>
                    </a:ext>
                  </a:extLst>
                </a:hlinkClick>
              </a:rPr>
              <a:t>Geothermal FAQs</a:t>
            </a:r>
            <a:r>
              <a:rPr lang="en-US" dirty="0">
                <a:solidFill>
                  <a:srgbClr val="45647B"/>
                </a:solidFill>
              </a:rPr>
              <a:t> </a:t>
            </a:r>
            <a:r>
              <a:rPr lang="en-US" dirty="0">
                <a:solidFill>
                  <a:schemeClr val="tx1"/>
                </a:solidFill>
              </a:rPr>
              <a:t>(DOE, 2025); </a:t>
            </a:r>
            <a:r>
              <a:rPr lang="en-US" dirty="0">
                <a:solidFill>
                  <a:srgbClr val="45647B"/>
                </a:solidFill>
                <a:hlinkClick r:id="rId7">
                  <a:extLst>
                    <a:ext uri="{A12FA001-AC4F-418D-AE19-62706E023703}">
                      <ahyp:hlinkClr xmlns:ahyp="http://schemas.microsoft.com/office/drawing/2018/hyperlinkcolor" val="tx"/>
                    </a:ext>
                  </a:extLst>
                </a:hlinkClick>
              </a:rPr>
              <a:t>Generative AI: Prospects and Applications in Geothermal Energy</a:t>
            </a:r>
            <a:r>
              <a:rPr lang="en-US" dirty="0">
                <a:solidFill>
                  <a:srgbClr val="45647B"/>
                </a:solidFill>
              </a:rPr>
              <a:t> </a:t>
            </a:r>
            <a:r>
              <a:rPr lang="en-US" dirty="0">
                <a:solidFill>
                  <a:srgbClr val="000000"/>
                </a:solidFill>
              </a:rPr>
              <a:t>(</a:t>
            </a:r>
            <a:r>
              <a:rPr lang="en-US" dirty="0">
                <a:solidFill>
                  <a:schemeClr val="tx1"/>
                </a:solidFill>
              </a:rPr>
              <a:t>Pangea Stanford, </a:t>
            </a:r>
            <a:r>
              <a:rPr lang="en-US" dirty="0">
                <a:solidFill>
                  <a:srgbClr val="000000"/>
                </a:solidFill>
              </a:rPr>
              <a:t>2024); </a:t>
            </a:r>
            <a:r>
              <a:rPr lang="en-US" dirty="0">
                <a:solidFill>
                  <a:srgbClr val="000000"/>
                </a:solidFill>
                <a:hlinkClick r:id="rId8"/>
              </a:rPr>
              <a:t>The Future of Geothermal Energy</a:t>
            </a:r>
            <a:r>
              <a:rPr lang="en-US" dirty="0">
                <a:solidFill>
                  <a:srgbClr val="000000"/>
                </a:solidFill>
              </a:rPr>
              <a:t> (IEA, 2024); </a:t>
            </a:r>
            <a:r>
              <a:rPr lang="en-US" dirty="0">
                <a:solidFill>
                  <a:srgbClr val="000000"/>
                </a:solidFill>
                <a:hlinkClick r:id="rId9"/>
              </a:rPr>
              <a:t>Phases of Geothermal Development</a:t>
            </a:r>
            <a:r>
              <a:rPr lang="en-US" dirty="0">
                <a:solidFill>
                  <a:srgbClr val="000000"/>
                </a:solidFill>
              </a:rPr>
              <a:t> (ISOR, 2013); </a:t>
            </a:r>
            <a:r>
              <a:rPr lang="en-US" dirty="0">
                <a:solidFill>
                  <a:srgbClr val="000000"/>
                </a:solidFill>
                <a:hlinkClick r:id="rId10"/>
              </a:rPr>
              <a:t>Advances in geothermal energy</a:t>
            </a:r>
            <a:r>
              <a:rPr lang="en-US" dirty="0">
                <a:solidFill>
                  <a:schemeClr val="tx1"/>
                </a:solidFill>
              </a:rPr>
              <a:t> </a:t>
            </a:r>
            <a:r>
              <a:rPr lang="en-US" dirty="0">
                <a:solidFill>
                  <a:srgbClr val="000000"/>
                </a:solidFill>
              </a:rPr>
              <a:t>(Science Direct, 2023).</a:t>
            </a:r>
          </a:p>
          <a:p>
            <a:pPr marL="0" lvl="0" indent="0" defTabSz="914400">
              <a:spcBef>
                <a:spcPts val="0"/>
              </a:spcBef>
              <a:buNone/>
              <a:defRPr/>
            </a:pPr>
            <a:r>
              <a:rPr lang="en-US" dirty="0">
                <a:solidFill>
                  <a:srgbClr val="000000"/>
                </a:solidFill>
              </a:rPr>
              <a:t>Credit: Stephanie Chen, Isabel Hoyos, and </a:t>
            </a:r>
            <a:r>
              <a:rPr lang="en-US" dirty="0">
                <a:solidFill>
                  <a:srgbClr val="000000">
                    <a:tint val="82000"/>
                  </a:srgbClr>
                </a:solidFill>
                <a:hlinkClick r:id="rId11"/>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56266474-CB5A-29DF-6168-8FE7924012F2}"/>
              </a:ext>
            </a:extLst>
          </p:cNvPr>
          <p:cNvGrpSpPr/>
          <p:nvPr/>
        </p:nvGrpSpPr>
        <p:grpSpPr>
          <a:xfrm>
            <a:off x="976884" y="2194662"/>
            <a:ext cx="4651333" cy="3924562"/>
            <a:chOff x="522244" y="2161909"/>
            <a:chExt cx="4651333" cy="3924562"/>
          </a:xfrm>
        </p:grpSpPr>
        <p:sp>
          <p:nvSpPr>
            <p:cNvPr id="11" name="Rounded Rectangle 10">
              <a:extLst>
                <a:ext uri="{FF2B5EF4-FFF2-40B4-BE49-F238E27FC236}">
                  <a16:creationId xmlns:a16="http://schemas.microsoft.com/office/drawing/2014/main" id="{3E239645-DA44-107B-4A38-7E8E397F8D44}"/>
                </a:ext>
              </a:extLst>
            </p:cNvPr>
            <p:cNvSpPr/>
            <p:nvPr/>
          </p:nvSpPr>
          <p:spPr>
            <a:xfrm>
              <a:off x="522244" y="2161909"/>
              <a:ext cx="1453541" cy="872124"/>
            </a:xfrm>
            <a:prstGeom prst="roundRect">
              <a:avLst/>
            </a:prstGeom>
            <a:solidFill>
              <a:srgbClr val="D2F1E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rPr>
                <a:t>Temperature</a:t>
              </a:r>
            </a:p>
            <a:p>
              <a:pPr marL="0" lvl="0" indent="0" algn="ctr" defTabSz="533400">
                <a:lnSpc>
                  <a:spcPct val="90000"/>
                </a:lnSpc>
                <a:spcBef>
                  <a:spcPct val="0"/>
                </a:spcBef>
                <a:spcAft>
                  <a:spcPct val="35000"/>
                </a:spcAft>
                <a:buNone/>
              </a:pPr>
              <a:r>
                <a:rPr lang="en-US" sz="1000" kern="1200" dirty="0">
                  <a:solidFill>
                    <a:schemeClr val="tx1"/>
                  </a:solidFill>
                </a:rPr>
                <a:t>Temperature range of 210-300</a:t>
              </a:r>
              <a:r>
                <a:rPr lang="en-US" sz="1000" kern="1200" dirty="0">
                  <a:solidFill>
                    <a:schemeClr val="tx1"/>
                  </a:solidFill>
                  <a:latin typeface="Times New Roman" panose="02020603050405020304" pitchFamily="18" charset="0"/>
                  <a:cs typeface="Times New Roman" panose="02020603050405020304" pitchFamily="18" charset="0"/>
                </a:rPr>
                <a:t>℉</a:t>
              </a:r>
              <a:r>
                <a:rPr lang="en-US" sz="1000" kern="1200" dirty="0">
                  <a:solidFill>
                    <a:schemeClr val="tx1"/>
                  </a:solidFill>
                </a:rPr>
                <a:t>/99-</a:t>
              </a:r>
              <a:r>
                <a:rPr lang="en-US" sz="1000" dirty="0">
                  <a:solidFill>
                    <a:schemeClr val="tx1"/>
                  </a:solidFill>
                </a:rPr>
                <a:t>1</a:t>
              </a:r>
              <a:r>
                <a:rPr lang="en-US" sz="1000" kern="1200" dirty="0">
                  <a:solidFill>
                    <a:schemeClr val="tx1"/>
                  </a:solidFill>
                </a:rPr>
                <a:t>49</a:t>
              </a:r>
              <a:r>
                <a:rPr lang="en-US" sz="1000" kern="1200" dirty="0">
                  <a:solidFill>
                    <a:schemeClr val="tx1"/>
                  </a:solidFill>
                  <a:latin typeface="Times New Roman" panose="02020603050405020304" pitchFamily="18" charset="0"/>
                  <a:cs typeface="Times New Roman" panose="02020603050405020304" pitchFamily="18" charset="0"/>
                </a:rPr>
                <a:t>℃</a:t>
              </a:r>
              <a:endParaRPr lang="en-US" sz="1000" kern="1200" dirty="0">
                <a:solidFill>
                  <a:schemeClr val="tx1"/>
                </a:solidFill>
              </a:endParaRPr>
            </a:p>
          </p:txBody>
        </p:sp>
        <p:sp>
          <p:nvSpPr>
            <p:cNvPr id="12" name="Rounded Rectangle 11">
              <a:extLst>
                <a:ext uri="{FF2B5EF4-FFF2-40B4-BE49-F238E27FC236}">
                  <a16:creationId xmlns:a16="http://schemas.microsoft.com/office/drawing/2014/main" id="{D2B27BD6-5388-1563-2002-23B81B851952}"/>
                </a:ext>
              </a:extLst>
            </p:cNvPr>
            <p:cNvSpPr/>
            <p:nvPr/>
          </p:nvSpPr>
          <p:spPr>
            <a:xfrm>
              <a:off x="2121140" y="2161909"/>
              <a:ext cx="1453541" cy="872124"/>
            </a:xfrm>
            <a:prstGeom prst="roundRect">
              <a:avLst/>
            </a:prstGeom>
            <a:solidFill>
              <a:srgbClr val="D2F1EF"/>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Minerals</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Low mineral content</a:t>
              </a:r>
            </a:p>
          </p:txBody>
        </p:sp>
        <p:sp>
          <p:nvSpPr>
            <p:cNvPr id="13" name="Rounded Rectangle 12">
              <a:extLst>
                <a:ext uri="{FF2B5EF4-FFF2-40B4-BE49-F238E27FC236}">
                  <a16:creationId xmlns:a16="http://schemas.microsoft.com/office/drawing/2014/main" id="{A8B06212-BBA5-9C01-5636-24D0E2E7A61D}"/>
                </a:ext>
              </a:extLst>
            </p:cNvPr>
            <p:cNvSpPr/>
            <p:nvPr/>
          </p:nvSpPr>
          <p:spPr>
            <a:xfrm>
              <a:off x="3720036" y="2161909"/>
              <a:ext cx="1453541" cy="872124"/>
            </a:xfrm>
            <a:prstGeom prst="roundRect">
              <a:avLst/>
            </a:prstGeom>
            <a:solidFill>
              <a:srgbClr val="D2F1EF"/>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rPr>
                <a:t>Seismic Activity</a:t>
              </a:r>
            </a:p>
            <a:p>
              <a:pPr marL="0" lvl="0" indent="0" algn="ctr" defTabSz="533400">
                <a:lnSpc>
                  <a:spcPct val="90000"/>
                </a:lnSpc>
                <a:spcBef>
                  <a:spcPct val="0"/>
                </a:spcBef>
                <a:spcAft>
                  <a:spcPct val="35000"/>
                </a:spcAft>
                <a:buNone/>
              </a:pPr>
              <a:r>
                <a:rPr lang="en-US" sz="1000" b="0" kern="1200" dirty="0">
                  <a:solidFill>
                    <a:schemeClr val="tx1"/>
                  </a:solidFill>
                </a:rPr>
                <a:t>Limiting seismic activity</a:t>
              </a:r>
            </a:p>
          </p:txBody>
        </p:sp>
        <p:sp>
          <p:nvSpPr>
            <p:cNvPr id="14" name="Rounded Rectangle 13">
              <a:extLst>
                <a:ext uri="{FF2B5EF4-FFF2-40B4-BE49-F238E27FC236}">
                  <a16:creationId xmlns:a16="http://schemas.microsoft.com/office/drawing/2014/main" id="{47F01745-95E0-1838-AC81-7AE9B10BAC76}"/>
                </a:ext>
              </a:extLst>
            </p:cNvPr>
            <p:cNvSpPr/>
            <p:nvPr/>
          </p:nvSpPr>
          <p:spPr>
            <a:xfrm>
              <a:off x="522244" y="3179388"/>
              <a:ext cx="1453541" cy="872124"/>
            </a:xfrm>
            <a:prstGeom prst="roundRect">
              <a:avLst/>
            </a:prstGeom>
            <a:solidFill>
              <a:srgbClr val="D2F1EF"/>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Permeability</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Assess fluidity for traditional geothermal or EGS</a:t>
              </a:r>
            </a:p>
          </p:txBody>
        </p:sp>
        <p:sp>
          <p:nvSpPr>
            <p:cNvPr id="15" name="Rounded Rectangle 14">
              <a:extLst>
                <a:ext uri="{FF2B5EF4-FFF2-40B4-BE49-F238E27FC236}">
                  <a16:creationId xmlns:a16="http://schemas.microsoft.com/office/drawing/2014/main" id="{E8AA4FF1-79D2-7CB3-237E-24655FD0C289}"/>
                </a:ext>
              </a:extLst>
            </p:cNvPr>
            <p:cNvSpPr/>
            <p:nvPr/>
          </p:nvSpPr>
          <p:spPr>
            <a:xfrm>
              <a:off x="2121140" y="3179388"/>
              <a:ext cx="1453541" cy="872124"/>
            </a:xfrm>
            <a:prstGeom prst="roundRect">
              <a:avLst/>
            </a:prstGeom>
            <a:solidFill>
              <a:srgbClr val="D2F1EF"/>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Gaseous</a:t>
              </a:r>
              <a:r>
                <a:rPr lang="en-US" sz="1200" b="1" kern="1200" dirty="0"/>
                <a:t> </a:t>
              </a:r>
              <a:r>
                <a:rPr lang="en-US" sz="1200" b="1" kern="1200" dirty="0">
                  <a:solidFill>
                    <a:srgbClr val="000000"/>
                  </a:solidFill>
                  <a:latin typeface="Arial"/>
                  <a:ea typeface="+mn-ea"/>
                  <a:cs typeface="+mn-cs"/>
                </a:rPr>
                <a:t>Emissions</a:t>
              </a:r>
            </a:p>
            <a:p>
              <a:pPr marL="0" lvl="0" indent="0" algn="ctr" defTabSz="533400">
                <a:lnSpc>
                  <a:spcPct val="90000"/>
                </a:lnSpc>
                <a:spcBef>
                  <a:spcPct val="0"/>
                </a:spcBef>
                <a:spcAft>
                  <a:spcPct val="35000"/>
                </a:spcAft>
                <a:buNone/>
              </a:pPr>
              <a:r>
                <a:rPr lang="en-US" sz="1000" kern="1200" dirty="0">
                  <a:solidFill>
                    <a:schemeClr val="tx1"/>
                  </a:solidFill>
                </a:rPr>
                <a:t>Low gas content</a:t>
              </a:r>
            </a:p>
          </p:txBody>
        </p:sp>
        <p:sp>
          <p:nvSpPr>
            <p:cNvPr id="16" name="Rounded Rectangle 15">
              <a:extLst>
                <a:ext uri="{FF2B5EF4-FFF2-40B4-BE49-F238E27FC236}">
                  <a16:creationId xmlns:a16="http://schemas.microsoft.com/office/drawing/2014/main" id="{1CC371AA-D2D9-44BE-02F6-78A252F7FBCE}"/>
                </a:ext>
              </a:extLst>
            </p:cNvPr>
            <p:cNvSpPr/>
            <p:nvPr/>
          </p:nvSpPr>
          <p:spPr>
            <a:xfrm>
              <a:off x="3720036" y="3179388"/>
              <a:ext cx="1453541" cy="872124"/>
            </a:xfrm>
            <a:prstGeom prst="roundRect">
              <a:avLst/>
            </a:prstGeom>
            <a:solidFill>
              <a:srgbClr val="D2F1EF"/>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Geochemistry</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Assess composition for siting and drilling </a:t>
              </a:r>
            </a:p>
          </p:txBody>
        </p:sp>
        <p:sp>
          <p:nvSpPr>
            <p:cNvPr id="17" name="Rounded Rectangle 16">
              <a:extLst>
                <a:ext uri="{FF2B5EF4-FFF2-40B4-BE49-F238E27FC236}">
                  <a16:creationId xmlns:a16="http://schemas.microsoft.com/office/drawing/2014/main" id="{EF0DE3B2-8C04-D7D6-4149-79565A48C028}"/>
                </a:ext>
              </a:extLst>
            </p:cNvPr>
            <p:cNvSpPr/>
            <p:nvPr/>
          </p:nvSpPr>
          <p:spPr>
            <a:xfrm>
              <a:off x="522244" y="4196868"/>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Transmission</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Availability of transmission lines</a:t>
              </a:r>
            </a:p>
          </p:txBody>
        </p:sp>
        <p:sp>
          <p:nvSpPr>
            <p:cNvPr id="18" name="Rounded Rectangle 17">
              <a:extLst>
                <a:ext uri="{FF2B5EF4-FFF2-40B4-BE49-F238E27FC236}">
                  <a16:creationId xmlns:a16="http://schemas.microsoft.com/office/drawing/2014/main" id="{E05E4370-F69B-3B75-9257-D6E9B3387735}"/>
                </a:ext>
              </a:extLst>
            </p:cNvPr>
            <p:cNvSpPr/>
            <p:nvPr/>
          </p:nvSpPr>
          <p:spPr>
            <a:xfrm>
              <a:off x="2121140" y="4196868"/>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Permitting &amp; Regulatory</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Timelines and regulatory standards</a:t>
              </a:r>
            </a:p>
          </p:txBody>
        </p:sp>
        <p:sp>
          <p:nvSpPr>
            <p:cNvPr id="19" name="Rounded Rectangle 18">
              <a:extLst>
                <a:ext uri="{FF2B5EF4-FFF2-40B4-BE49-F238E27FC236}">
                  <a16:creationId xmlns:a16="http://schemas.microsoft.com/office/drawing/2014/main" id="{B4816330-5C79-440D-DC14-E4FBCE37AB79}"/>
                </a:ext>
              </a:extLst>
            </p:cNvPr>
            <p:cNvSpPr/>
            <p:nvPr/>
          </p:nvSpPr>
          <p:spPr>
            <a:xfrm>
              <a:off x="3720036" y="4196868"/>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Finance</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Assess project risk, returns, and financing</a:t>
              </a:r>
              <a:endParaRPr lang="en-US" sz="1000" b="1" kern="1200" dirty="0">
                <a:solidFill>
                  <a:srgbClr val="000000"/>
                </a:solidFill>
                <a:latin typeface="Arial"/>
                <a:ea typeface="+mn-ea"/>
                <a:cs typeface="+mn-cs"/>
              </a:endParaRPr>
            </a:p>
          </p:txBody>
        </p:sp>
        <p:sp>
          <p:nvSpPr>
            <p:cNvPr id="20" name="Rounded Rectangle 19">
              <a:extLst>
                <a:ext uri="{FF2B5EF4-FFF2-40B4-BE49-F238E27FC236}">
                  <a16:creationId xmlns:a16="http://schemas.microsoft.com/office/drawing/2014/main" id="{3F768704-7288-6051-8BBD-CF2CC0D9BCAB}"/>
                </a:ext>
              </a:extLst>
            </p:cNvPr>
            <p:cNvSpPr/>
            <p:nvPr/>
          </p:nvSpPr>
          <p:spPr>
            <a:xfrm>
              <a:off x="522244" y="5214347"/>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Siting &amp; Design</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Siting and</a:t>
              </a:r>
              <a:r>
                <a:rPr lang="en-US" sz="1000" dirty="0">
                  <a:solidFill>
                    <a:srgbClr val="000000"/>
                  </a:solidFill>
                  <a:latin typeface="Arial"/>
                </a:rPr>
                <a:t> d</a:t>
              </a:r>
              <a:r>
                <a:rPr lang="en-US" sz="1000" b="0" kern="1200" dirty="0">
                  <a:solidFill>
                    <a:srgbClr val="000000"/>
                  </a:solidFill>
                  <a:latin typeface="Arial"/>
                  <a:ea typeface="+mn-ea"/>
                  <a:cs typeface="+mn-cs"/>
                </a:rPr>
                <a:t>esign plant and wellbores</a:t>
              </a:r>
            </a:p>
          </p:txBody>
        </p:sp>
        <p:sp>
          <p:nvSpPr>
            <p:cNvPr id="21" name="Rounded Rectangle 20">
              <a:extLst>
                <a:ext uri="{FF2B5EF4-FFF2-40B4-BE49-F238E27FC236}">
                  <a16:creationId xmlns:a16="http://schemas.microsoft.com/office/drawing/2014/main" id="{93F5775C-592D-A9B6-A5EB-97DD26CA2A62}"/>
                </a:ext>
              </a:extLst>
            </p:cNvPr>
            <p:cNvSpPr/>
            <p:nvPr/>
          </p:nvSpPr>
          <p:spPr>
            <a:xfrm>
              <a:off x="2121140" y="5214347"/>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Drilling</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Improved drilling performance</a:t>
              </a:r>
            </a:p>
          </p:txBody>
        </p:sp>
        <p:sp>
          <p:nvSpPr>
            <p:cNvPr id="22" name="Rounded Rectangle 21">
              <a:extLst>
                <a:ext uri="{FF2B5EF4-FFF2-40B4-BE49-F238E27FC236}">
                  <a16:creationId xmlns:a16="http://schemas.microsoft.com/office/drawing/2014/main" id="{FD806C3A-B027-4340-3751-D35C69672AAC}"/>
                </a:ext>
              </a:extLst>
            </p:cNvPr>
            <p:cNvSpPr/>
            <p:nvPr/>
          </p:nvSpPr>
          <p:spPr>
            <a:xfrm>
              <a:off x="3720036" y="5214347"/>
              <a:ext cx="1453541" cy="872124"/>
            </a:xfrm>
            <a:prstGeom prst="roundRect">
              <a:avLst/>
            </a:prstGeom>
            <a:solidFill>
              <a:srgbClr val="E7DEF4"/>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0000"/>
                  </a:solidFill>
                  <a:latin typeface="Arial"/>
                  <a:ea typeface="+mn-ea"/>
                  <a:cs typeface="+mn-cs"/>
                </a:rPr>
                <a:t>Operations</a:t>
              </a:r>
            </a:p>
            <a:p>
              <a:pPr marL="0" lvl="0" indent="0" algn="ctr" defTabSz="533400">
                <a:lnSpc>
                  <a:spcPct val="90000"/>
                </a:lnSpc>
                <a:spcBef>
                  <a:spcPct val="0"/>
                </a:spcBef>
                <a:spcAft>
                  <a:spcPct val="35000"/>
                </a:spcAft>
                <a:buNone/>
              </a:pPr>
              <a:r>
                <a:rPr lang="en-US" sz="1000" b="0" kern="1200" dirty="0">
                  <a:solidFill>
                    <a:srgbClr val="000000"/>
                  </a:solidFill>
                  <a:latin typeface="Arial"/>
                  <a:ea typeface="+mn-ea"/>
                  <a:cs typeface="+mn-cs"/>
                </a:rPr>
                <a:t>Continuous assessment of performance</a:t>
              </a:r>
            </a:p>
          </p:txBody>
        </p:sp>
      </p:grpSp>
      <p:cxnSp>
        <p:nvCxnSpPr>
          <p:cNvPr id="23" name="btfpColumnHeaderBoxLine223027">
            <a:extLst>
              <a:ext uri="{FF2B5EF4-FFF2-40B4-BE49-F238E27FC236}">
                <a16:creationId xmlns:a16="http://schemas.microsoft.com/office/drawing/2014/main" id="{BBFA24BB-36C2-39B9-8E7E-624909E8FD90}"/>
              </a:ext>
            </a:extLst>
          </p:cNvPr>
          <p:cNvCxnSpPr>
            <a:cxnSpLocks/>
          </p:cNvCxnSpPr>
          <p:nvPr/>
        </p:nvCxnSpPr>
        <p:spPr bwMode="gray">
          <a:xfrm flipV="1">
            <a:off x="855957" y="2231637"/>
            <a:ext cx="35464" cy="3876735"/>
          </a:xfrm>
          <a:prstGeom prst="line">
            <a:avLst/>
          </a:prstGeom>
          <a:ln w="1905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65051CB-F335-387E-0892-9B64BDFCC355}"/>
              </a:ext>
            </a:extLst>
          </p:cNvPr>
          <p:cNvSpPr txBox="1"/>
          <p:nvPr/>
        </p:nvSpPr>
        <p:spPr bwMode="gray">
          <a:xfrm rot="16200000">
            <a:off x="-93142" y="4973060"/>
            <a:ext cx="1622211" cy="257369"/>
          </a:xfrm>
          <a:prstGeom prst="rect">
            <a:avLst/>
          </a:prstGeom>
          <a:noFill/>
        </p:spPr>
        <p:txBody>
          <a:bodyPr wrap="square" lIns="36000" tIns="36000" rIns="36000" bIns="36000" rtlCol="0">
            <a:spAutoFit/>
          </a:bodyPr>
          <a:lstStyle/>
          <a:p>
            <a:pPr marL="0" indent="0">
              <a:buNone/>
            </a:pPr>
            <a:r>
              <a:rPr lang="en-US" sz="1200" b="1" dirty="0"/>
              <a:t>Project Development</a:t>
            </a:r>
          </a:p>
        </p:txBody>
      </p:sp>
      <p:sp>
        <p:nvSpPr>
          <p:cNvPr id="25" name="TextBox 24">
            <a:extLst>
              <a:ext uri="{FF2B5EF4-FFF2-40B4-BE49-F238E27FC236}">
                <a16:creationId xmlns:a16="http://schemas.microsoft.com/office/drawing/2014/main" id="{842FDE6E-0DA0-70E7-E2C4-73553629A72D}"/>
              </a:ext>
            </a:extLst>
          </p:cNvPr>
          <p:cNvSpPr txBox="1"/>
          <p:nvPr/>
        </p:nvSpPr>
        <p:spPr bwMode="gray">
          <a:xfrm rot="16200000">
            <a:off x="185198" y="2918133"/>
            <a:ext cx="1065531" cy="257369"/>
          </a:xfrm>
          <a:prstGeom prst="rect">
            <a:avLst/>
          </a:prstGeom>
          <a:noFill/>
        </p:spPr>
        <p:txBody>
          <a:bodyPr wrap="square" lIns="36000" tIns="36000" rIns="36000" bIns="36000" rtlCol="0">
            <a:spAutoFit/>
          </a:bodyPr>
          <a:lstStyle/>
          <a:p>
            <a:pPr marL="0" indent="0">
              <a:buNone/>
            </a:pPr>
            <a:r>
              <a:rPr lang="en-US" sz="1200" b="1" dirty="0"/>
              <a:t>Exploration</a:t>
            </a:r>
          </a:p>
        </p:txBody>
      </p:sp>
      <p:graphicFrame>
        <p:nvGraphicFramePr>
          <p:cNvPr id="26" name="Table 25">
            <a:extLst>
              <a:ext uri="{FF2B5EF4-FFF2-40B4-BE49-F238E27FC236}">
                <a16:creationId xmlns:a16="http://schemas.microsoft.com/office/drawing/2014/main" id="{40B280FA-4297-C613-EF88-0691C1B046BD}"/>
              </a:ext>
            </a:extLst>
          </p:cNvPr>
          <p:cNvGraphicFramePr>
            <a:graphicFrameLocks noGrp="1"/>
          </p:cNvGraphicFramePr>
          <p:nvPr>
            <p:extLst>
              <p:ext uri="{D42A27DB-BD31-4B8C-83A1-F6EECF244321}">
                <p14:modId xmlns:p14="http://schemas.microsoft.com/office/powerpoint/2010/main" val="972353337"/>
              </p:ext>
            </p:extLst>
          </p:nvPr>
        </p:nvGraphicFramePr>
        <p:xfrm>
          <a:off x="6334104" y="2182864"/>
          <a:ext cx="5171633" cy="3802802"/>
        </p:xfrm>
        <a:graphic>
          <a:graphicData uri="http://schemas.openxmlformats.org/drawingml/2006/table">
            <a:tbl>
              <a:tblPr firstRow="1" bandRow="1">
                <a:tableStyleId>{2D5ABB26-0587-4C30-8999-92F81FD0307C}</a:tableStyleId>
              </a:tblPr>
              <a:tblGrid>
                <a:gridCol w="1238996">
                  <a:extLst>
                    <a:ext uri="{9D8B030D-6E8A-4147-A177-3AD203B41FA5}">
                      <a16:colId xmlns:a16="http://schemas.microsoft.com/office/drawing/2014/main" val="1209005246"/>
                    </a:ext>
                  </a:extLst>
                </a:gridCol>
                <a:gridCol w="1979076">
                  <a:extLst>
                    <a:ext uri="{9D8B030D-6E8A-4147-A177-3AD203B41FA5}">
                      <a16:colId xmlns:a16="http://schemas.microsoft.com/office/drawing/2014/main" val="858342927"/>
                    </a:ext>
                  </a:extLst>
                </a:gridCol>
                <a:gridCol w="1953561">
                  <a:extLst>
                    <a:ext uri="{9D8B030D-6E8A-4147-A177-3AD203B41FA5}">
                      <a16:colId xmlns:a16="http://schemas.microsoft.com/office/drawing/2014/main" val="1122349281"/>
                    </a:ext>
                  </a:extLst>
                </a:gridCol>
              </a:tblGrid>
              <a:tr h="367093">
                <a:tc>
                  <a:txBody>
                    <a:bodyPr/>
                    <a:lstStyle/>
                    <a:p>
                      <a:pPr marL="0" indent="0">
                        <a:buNone/>
                      </a:pPr>
                      <a:endParaRPr lang="en-US" sz="1400" b="1" dirty="0">
                        <a:solidFill>
                          <a:schemeClr val="tx1"/>
                        </a:solidFill>
                      </a:endParaRP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Traditional</a:t>
                      </a:r>
                    </a:p>
                  </a:txBody>
                  <a:tcPr anchor="ctr">
                    <a:solidFill>
                      <a:srgbClr val="8BDDFF"/>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AI-Enabled</a:t>
                      </a:r>
                    </a:p>
                  </a:txBody>
                  <a:tcPr anchor="ctr">
                    <a:solidFill>
                      <a:srgbClr val="C5EFFF"/>
                    </a:solidFill>
                  </a:tcPr>
                </a:tc>
                <a:extLst>
                  <a:ext uri="{0D108BD9-81ED-4DB2-BD59-A6C34878D82A}">
                    <a16:rowId xmlns:a16="http://schemas.microsoft.com/office/drawing/2014/main" val="1912434023"/>
                  </a:ext>
                </a:extLst>
              </a:tr>
              <a:tr h="595314">
                <a:tc>
                  <a:txBody>
                    <a:bodyPr/>
                    <a:lstStyle/>
                    <a:p>
                      <a:pPr marL="0" indent="0">
                        <a:buNone/>
                      </a:pPr>
                      <a:r>
                        <a:rPr lang="en-US" sz="1000" b="1" dirty="0">
                          <a:solidFill>
                            <a:schemeClr val="tx1"/>
                          </a:solidFill>
                        </a:rPr>
                        <a:t>Time</a:t>
                      </a:r>
                    </a:p>
                  </a:txBody>
                  <a:tcPr>
                    <a:lnB w="63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kumimoji="0" lang="en-US" sz="1000" b="1" i="1" u="none" strike="noStrike" kern="1200" cap="none" spc="0" normalizeH="0" baseline="0" noProof="0" dirty="0">
                          <a:ln>
                            <a:noFill/>
                          </a:ln>
                          <a:solidFill>
                            <a:schemeClr val="tx1"/>
                          </a:solidFill>
                          <a:effectLst/>
                          <a:uLnTx/>
                          <a:uFillTx/>
                          <a:latin typeface="+mn-lt"/>
                          <a:ea typeface="+mn-ea"/>
                          <a:cs typeface="+mn-cs"/>
                        </a:rPr>
                        <a:t>Up to 10 years</a:t>
                      </a:r>
                      <a:r>
                        <a:rPr kumimoji="0" lang="en-US" sz="1000" b="0" i="0" u="none" strike="noStrike" kern="1200" cap="none" spc="0" normalizeH="0" baseline="0" noProof="0" dirty="0">
                          <a:ln>
                            <a:noFill/>
                          </a:ln>
                          <a:solidFill>
                            <a:schemeClr val="tx1"/>
                          </a:solidFill>
                          <a:effectLst/>
                          <a:uLnTx/>
                          <a:uFillTx/>
                          <a:latin typeface="+mn-lt"/>
                          <a:ea typeface="+mn-ea"/>
                          <a:cs typeface="+mn-cs"/>
                        </a:rPr>
                        <a:t> to commission a geothermal project</a:t>
                      </a:r>
                    </a:p>
                  </a:txBody>
                  <a:tcPr>
                    <a:lnB w="6350" cap="flat" cmpd="sng" algn="ctr">
                      <a:solidFill>
                        <a:schemeClr val="tx1"/>
                      </a:solidFill>
                      <a:prstDash val="solid"/>
                      <a:round/>
                      <a:headEnd type="none" w="med" len="med"/>
                      <a:tailEnd type="none" w="med" len="med"/>
                    </a:lnB>
                    <a:solidFill>
                      <a:srgbClr val="8BDDFF"/>
                    </a:solidFill>
                  </a:tcPr>
                </a:tc>
                <a:tc>
                  <a:txBody>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crease exploration and project development timeline</a:t>
                      </a:r>
                    </a:p>
                  </a:txBody>
                  <a:tcPr>
                    <a:lnB w="6350" cap="flat" cmpd="sng" algn="ctr">
                      <a:solidFill>
                        <a:schemeClr val="tx1"/>
                      </a:solidFill>
                      <a:prstDash val="solid"/>
                      <a:round/>
                      <a:headEnd type="none" w="med" len="med"/>
                      <a:tailEnd type="none" w="med" len="med"/>
                    </a:lnB>
                    <a:solidFill>
                      <a:srgbClr val="C5EFFF"/>
                    </a:solidFill>
                  </a:tcPr>
                </a:tc>
                <a:extLst>
                  <a:ext uri="{0D108BD9-81ED-4DB2-BD59-A6C34878D82A}">
                    <a16:rowId xmlns:a16="http://schemas.microsoft.com/office/drawing/2014/main" val="3105080875"/>
                  </a:ext>
                </a:extLst>
              </a:tr>
              <a:tr h="429949">
                <a:tc>
                  <a:txBody>
                    <a:bodyPr/>
                    <a:lstStyle/>
                    <a:p>
                      <a:pPr marL="0" indent="0">
                        <a:spcBef>
                          <a:spcPts val="0"/>
                        </a:spcBef>
                        <a:buNone/>
                      </a:pPr>
                      <a:r>
                        <a:rPr lang="en-US" sz="1000" b="1" dirty="0">
                          <a:solidFill>
                            <a:schemeClr val="tx1"/>
                          </a:solidFill>
                        </a:rPr>
                        <a:t>Cost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6350" algn="ctr" defTabSz="711200" rtl="0" eaLnBrk="1" fontAlgn="auto" latinLnBrk="0" hangingPunct="1">
                        <a:lnSpc>
                          <a:spcPct val="100000"/>
                        </a:lnSpc>
                        <a:spcBef>
                          <a:spcPts val="1200"/>
                        </a:spcBef>
                        <a:spcAft>
                          <a:spcPts val="0"/>
                        </a:spcAft>
                        <a:buClrTx/>
                        <a:buSzTx/>
                        <a:buFontTx/>
                        <a:buNone/>
                        <a:tabLst/>
                        <a:defRPr/>
                      </a:pPr>
                      <a:r>
                        <a:rPr lang="en-US" sz="1000" b="0" dirty="0"/>
                        <a:t>Exploration, preparation, and drilling accounts for </a:t>
                      </a:r>
                      <a:r>
                        <a:rPr lang="en-US" sz="1000" b="1" i="1" dirty="0"/>
                        <a:t>more than 50% of LCOE</a:t>
                      </a:r>
                      <a:endParaRPr lang="en-US" sz="1000" b="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BDDFF"/>
                    </a:solidFill>
                  </a:tcPr>
                </a:tc>
                <a:tc>
                  <a:txBody>
                    <a:bodyPr/>
                    <a:lstStyle/>
                    <a:p>
                      <a:pPr marL="0" indent="6350" algn="ctr">
                        <a:buNone/>
                        <a:tabLst/>
                      </a:pPr>
                      <a:r>
                        <a:rPr lang="en-US" sz="1000" b="0" dirty="0">
                          <a:solidFill>
                            <a:schemeClr val="tx1"/>
                          </a:solidFill>
                        </a:rPr>
                        <a:t>Reduce costs across geothermal development, especially drilling, the most expensive cost.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FFF"/>
                    </a:solidFill>
                  </a:tcPr>
                </a:tc>
                <a:extLst>
                  <a:ext uri="{0D108BD9-81ED-4DB2-BD59-A6C34878D82A}">
                    <a16:rowId xmlns:a16="http://schemas.microsoft.com/office/drawing/2014/main" val="2274235953"/>
                  </a:ext>
                </a:extLst>
              </a:tr>
              <a:tr h="692241">
                <a:tc>
                  <a:txBody>
                    <a:bodyPr/>
                    <a:lstStyle/>
                    <a:p>
                      <a:pPr marL="0" indent="0">
                        <a:spcBef>
                          <a:spcPts val="0"/>
                        </a:spcBef>
                        <a:buNone/>
                      </a:pPr>
                      <a:r>
                        <a:rPr lang="en-US" sz="1000" b="1" dirty="0">
                          <a:solidFill>
                            <a:schemeClr val="tx1"/>
                          </a:solidFill>
                        </a:rPr>
                        <a:t>Drilling Rat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dirty="0">
                          <a:solidFill>
                            <a:schemeClr val="tx1"/>
                          </a:solidFill>
                        </a:rPr>
                        <a:t>Exploratory drilling has a </a:t>
                      </a:r>
                      <a:r>
                        <a:rPr lang="en-US" sz="1000" b="1" i="1" dirty="0">
                          <a:solidFill>
                            <a:schemeClr val="tx1"/>
                          </a:solidFill>
                        </a:rPr>
                        <a:t>success rate of only 2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BDDFF"/>
                    </a:solidFill>
                  </a:tcPr>
                </a:tc>
                <a:tc>
                  <a:txBody>
                    <a:bodyPr/>
                    <a:lstStyle/>
                    <a:p>
                      <a:pPr marL="0" indent="0" algn="ctr">
                        <a:buNone/>
                      </a:pPr>
                      <a:r>
                        <a:rPr lang="en-US" sz="1000" b="0" dirty="0">
                          <a:solidFill>
                            <a:schemeClr val="tx1"/>
                          </a:solidFill>
                        </a:rPr>
                        <a:t>Achieve higher success rate with increased accuracy and improved drilling performanc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FFF"/>
                    </a:solidFill>
                  </a:tcPr>
                </a:tc>
                <a:extLst>
                  <a:ext uri="{0D108BD9-81ED-4DB2-BD59-A6C34878D82A}">
                    <a16:rowId xmlns:a16="http://schemas.microsoft.com/office/drawing/2014/main" val="3964313410"/>
                  </a:ext>
                </a:extLst>
              </a:tr>
              <a:tr h="851800">
                <a:tc>
                  <a:txBody>
                    <a:bodyPr/>
                    <a:lstStyle/>
                    <a:p>
                      <a:pPr marL="0" indent="0">
                        <a:spcBef>
                          <a:spcPts val="0"/>
                        </a:spcBef>
                        <a:buNone/>
                      </a:pPr>
                      <a:r>
                        <a:rPr lang="en-US" sz="1000" b="1" dirty="0">
                          <a:solidFill>
                            <a:schemeClr val="tx1"/>
                          </a:solidFill>
                        </a:rPr>
                        <a:t>New Reg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dirty="0">
                          <a:solidFill>
                            <a:schemeClr val="tx1"/>
                          </a:solidFill>
                        </a:rPr>
                        <a:t>Challenges to resource mapping due to complexities of geographical regions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BDDFF"/>
                    </a:solidFill>
                  </a:tcPr>
                </a:tc>
                <a:tc>
                  <a:txBody>
                    <a:bodyPr/>
                    <a:lstStyle/>
                    <a:p>
                      <a:pPr marL="0" indent="0" algn="ctr">
                        <a:buNone/>
                      </a:pPr>
                      <a:r>
                        <a:rPr lang="en-US" sz="1000" dirty="0"/>
                        <a:t>Enables resource mapping in unexplored regions (Africa, SE Asia, Latin America) and improves accuracy</a:t>
                      </a:r>
                      <a:endParaRPr lang="en-US" sz="1000" b="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FFF"/>
                    </a:solidFill>
                  </a:tcPr>
                </a:tc>
                <a:extLst>
                  <a:ext uri="{0D108BD9-81ED-4DB2-BD59-A6C34878D82A}">
                    <a16:rowId xmlns:a16="http://schemas.microsoft.com/office/drawing/2014/main" val="3145507205"/>
                  </a:ext>
                </a:extLst>
              </a:tr>
              <a:tr h="595314">
                <a:tc>
                  <a:txBody>
                    <a:bodyPr/>
                    <a:lstStyle/>
                    <a:p>
                      <a:pPr marL="0" indent="0">
                        <a:spcBef>
                          <a:spcPts val="0"/>
                        </a:spcBef>
                        <a:buNone/>
                      </a:pPr>
                      <a:r>
                        <a:rPr lang="en-US" sz="1000" b="1" dirty="0">
                          <a:solidFill>
                            <a:schemeClr val="tx1"/>
                          </a:solidFill>
                        </a:rPr>
                        <a:t>Sustainabilit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dirty="0">
                          <a:solidFill>
                            <a:schemeClr val="tx1"/>
                          </a:solidFill>
                        </a:rPr>
                        <a:t>Exploratory drilling required for feasibility studies, with a success rate of 2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8BDDFF"/>
                    </a:solidFill>
                  </a:tcPr>
                </a:tc>
                <a:tc>
                  <a:txBody>
                    <a:bodyPr/>
                    <a:lstStyle/>
                    <a:p>
                      <a:pPr marL="0" indent="0" algn="ctr">
                        <a:buNone/>
                      </a:pPr>
                      <a:r>
                        <a:rPr lang="en-US" sz="1000" dirty="0"/>
                        <a:t>Minimizes environmental footprint by reducing exploratory drilling.</a:t>
                      </a:r>
                      <a:endParaRPr lang="en-US" sz="1000" b="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FFF"/>
                    </a:solidFill>
                  </a:tcPr>
                </a:tc>
                <a:extLst>
                  <a:ext uri="{0D108BD9-81ED-4DB2-BD59-A6C34878D82A}">
                    <a16:rowId xmlns:a16="http://schemas.microsoft.com/office/drawing/2014/main" val="1690010661"/>
                  </a:ext>
                </a:extLst>
              </a:tr>
            </a:tbl>
          </a:graphicData>
        </a:graphic>
      </p:graphicFrame>
      <p:sp>
        <p:nvSpPr>
          <p:cNvPr id="28" name="Text Placeholder 1">
            <a:extLst>
              <a:ext uri="{FF2B5EF4-FFF2-40B4-BE49-F238E27FC236}">
                <a16:creationId xmlns:a16="http://schemas.microsoft.com/office/drawing/2014/main" id="{A01C2B5C-59D5-2FC0-B2EB-4A246D7E8F93}"/>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rilling technology: AI</a:t>
            </a:r>
          </a:p>
        </p:txBody>
      </p:sp>
    </p:spTree>
    <p:extLst>
      <p:ext uri="{BB962C8B-B14F-4D97-AF65-F5344CB8AC3E}">
        <p14:creationId xmlns:p14="http://schemas.microsoft.com/office/powerpoint/2010/main" val="31921239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445EBE7-633C-DEA9-040C-48D2F1BDF5D0}"/>
              </a:ext>
            </a:extLst>
          </p:cNvPr>
          <p:cNvGraphicFramePr>
            <a:graphicFrameLocks/>
          </p:cNvGraphicFramePr>
          <p:nvPr>
            <p:custDataLst>
              <p:tags r:id="rId1"/>
            </p:custDataLst>
            <p:extLst>
              <p:ext uri="{D42A27DB-BD31-4B8C-83A1-F6EECF244321}">
                <p14:modId xmlns:p14="http://schemas.microsoft.com/office/powerpoint/2010/main" val="22566342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D64666-F394-35EA-4F48-BFF559B44A6D}"/>
              </a:ext>
            </a:extLst>
          </p:cNvPr>
          <p:cNvSpPr>
            <a:spLocks noGrp="1"/>
          </p:cNvSpPr>
          <p:nvPr>
            <p:ph type="title"/>
          </p:nvPr>
        </p:nvSpPr>
        <p:spPr/>
        <p:txBody>
          <a:bodyPr vert="horz" rIns="91440"/>
          <a:lstStyle/>
          <a:p>
            <a:r>
              <a:rPr lang="en-US" dirty="0"/>
              <a:t>Geothermal Power</a:t>
            </a:r>
            <a:br>
              <a:rPr lang="en-US" dirty="0"/>
            </a:br>
            <a:r>
              <a:rPr lang="en-US" dirty="0"/>
              <a:t>Global Policy</a:t>
            </a:r>
          </a:p>
        </p:txBody>
      </p:sp>
    </p:spTree>
    <p:extLst>
      <p:ext uri="{BB962C8B-B14F-4D97-AF65-F5344CB8AC3E}">
        <p14:creationId xmlns:p14="http://schemas.microsoft.com/office/powerpoint/2010/main" val="5063234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Several flags on poles&#10;&#10;AI-generated content may be incorrect.">
            <a:extLst>
              <a:ext uri="{FF2B5EF4-FFF2-40B4-BE49-F238E27FC236}">
                <a16:creationId xmlns:a16="http://schemas.microsoft.com/office/drawing/2014/main" id="{299B49B7-D3CA-D0C4-C09D-999880E714AC}"/>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a:extLst>
              <a:ext uri="{FF2B5EF4-FFF2-40B4-BE49-F238E27FC236}">
                <a16:creationId xmlns:a16="http://schemas.microsoft.com/office/drawing/2014/main" id="{531DF086-33E1-2974-93DE-B9293B380856}"/>
              </a:ext>
            </a:extLst>
          </p:cNvPr>
          <p:cNvSpPr>
            <a:spLocks noGrp="1"/>
          </p:cNvSpPr>
          <p:nvPr>
            <p:ph type="body" sz="quarter" idx="13"/>
          </p:nvPr>
        </p:nvSpPr>
        <p:spPr/>
        <p:txBody>
          <a:bodyPr/>
          <a:lstStyle/>
          <a:p>
            <a:pPr marL="0" lvl="0" indent="0" defTabSz="711200">
              <a:spcBef>
                <a:spcPts val="600"/>
              </a:spcBef>
              <a:buNone/>
              <a:defRPr/>
            </a:pPr>
            <a:r>
              <a:rPr lang="en-US" sz="1200" b="1" dirty="0">
                <a:solidFill>
                  <a:srgbClr val="000000"/>
                </a:solidFill>
              </a:rPr>
              <a:t>Four key policy priorities </a:t>
            </a:r>
            <a:r>
              <a:rPr lang="en-US" sz="1200" dirty="0">
                <a:solidFill>
                  <a:srgbClr val="000000"/>
                </a:solidFill>
              </a:rPr>
              <a:t>can help scale geothermal heating and cooling (H&amp;C) deployment and lower costs.</a:t>
            </a:r>
          </a:p>
          <a:p>
            <a:pPr lvl="1" defTabSz="711200">
              <a:spcBef>
                <a:spcPts val="600"/>
              </a:spcBef>
              <a:defRPr/>
            </a:pPr>
            <a:r>
              <a:rPr lang="en-US" sz="1150" b="1" dirty="0">
                <a:solidFill>
                  <a:srgbClr val="000000"/>
                </a:solidFill>
              </a:rPr>
              <a:t>Global collaboration </a:t>
            </a:r>
            <a:r>
              <a:rPr lang="en-US" sz="1150" dirty="0">
                <a:solidFill>
                  <a:srgbClr val="000000"/>
                </a:solidFill>
              </a:rPr>
              <a:t>on geothermal energy largely favors power generation over H&amp;C.</a:t>
            </a:r>
            <a:endParaRPr lang="en-US" sz="1150" b="1" dirty="0">
              <a:solidFill>
                <a:srgbClr val="000000"/>
              </a:solidFill>
              <a:cs typeface="Arial"/>
            </a:endParaRPr>
          </a:p>
          <a:p>
            <a:pPr marL="365760" lvl="1" defTabSz="711200">
              <a:spcBef>
                <a:spcPts val="600"/>
              </a:spcBef>
              <a:defRPr/>
            </a:pPr>
            <a:r>
              <a:rPr lang="en-US" sz="1150" dirty="0">
                <a:solidFill>
                  <a:srgbClr val="000000"/>
                </a:solidFill>
              </a:rPr>
              <a:t>As a human capital-intensive industry, </a:t>
            </a:r>
            <a:r>
              <a:rPr lang="en-US" sz="1150" b="1" dirty="0">
                <a:solidFill>
                  <a:srgbClr val="000000"/>
                </a:solidFill>
              </a:rPr>
              <a:t>transitioning the oil and gas workforce</a:t>
            </a:r>
            <a:r>
              <a:rPr lang="en-US" sz="1150" dirty="0">
                <a:solidFill>
                  <a:srgbClr val="000000"/>
                </a:solidFill>
              </a:rPr>
              <a:t>, which has extensive overlapping competencies with the geothermal sector, is a high policy priority.</a:t>
            </a:r>
            <a:endParaRPr lang="en-US" sz="1150" dirty="0">
              <a:solidFill>
                <a:srgbClr val="000000"/>
              </a:solidFill>
              <a:cs typeface="Arial"/>
            </a:endParaRPr>
          </a:p>
          <a:p>
            <a:pPr marL="365760" lvl="1" defTabSz="711200">
              <a:spcBef>
                <a:spcPts val="600"/>
              </a:spcBef>
              <a:defRPr/>
            </a:pPr>
            <a:r>
              <a:rPr lang="en-US" sz="1150" b="1" dirty="0">
                <a:solidFill>
                  <a:srgbClr val="000000"/>
                </a:solidFill>
              </a:rPr>
              <a:t>Strong funding for R&amp;D </a:t>
            </a:r>
            <a:r>
              <a:rPr lang="en-US" sz="1150" dirty="0">
                <a:solidFill>
                  <a:srgbClr val="000000"/>
                </a:solidFill>
              </a:rPr>
              <a:t>is key in scaling geothermal H&amp;C across diverse geographies and in driving down next-generation geothermal costs.</a:t>
            </a:r>
            <a:endParaRPr lang="en-US" sz="1150" dirty="0">
              <a:solidFill>
                <a:srgbClr val="000000"/>
              </a:solidFill>
              <a:cs typeface="Arial"/>
            </a:endParaRPr>
          </a:p>
          <a:p>
            <a:pPr marL="365760" lvl="1" defTabSz="711200">
              <a:spcBef>
                <a:spcPts val="600"/>
              </a:spcBef>
              <a:defRPr/>
            </a:pPr>
            <a:r>
              <a:rPr lang="en-US" sz="1150" dirty="0">
                <a:solidFill>
                  <a:srgbClr val="000000"/>
                </a:solidFill>
              </a:rPr>
              <a:t>Geothermal projects carry high early-stage risks, necessitating strong </a:t>
            </a:r>
            <a:r>
              <a:rPr lang="en-US" sz="1150" b="1" dirty="0">
                <a:solidFill>
                  <a:srgbClr val="000000"/>
                </a:solidFill>
              </a:rPr>
              <a:t>risk mitigation policies </a:t>
            </a:r>
            <a:r>
              <a:rPr lang="en-US" sz="1150" dirty="0">
                <a:solidFill>
                  <a:srgbClr val="000000"/>
                </a:solidFill>
              </a:rPr>
              <a:t>to incentivize adoption.</a:t>
            </a:r>
          </a:p>
          <a:p>
            <a:pPr marL="0" indent="0">
              <a:spcBef>
                <a:spcPts val="1800"/>
              </a:spcBef>
              <a:buNone/>
            </a:pPr>
            <a:r>
              <a:rPr lang="en-US" sz="1200" b="1" dirty="0">
                <a:solidFill>
                  <a:srgbClr val="000000"/>
                </a:solidFill>
              </a:rPr>
              <a:t>Drilling is the largest and most variable cost driver </a:t>
            </a:r>
            <a:r>
              <a:rPr lang="en-US" sz="1200" dirty="0">
                <a:solidFill>
                  <a:srgbClr val="000000"/>
                </a:solidFill>
              </a:rPr>
              <a:t>of both conventional and next-generation geothermal heating &amp; cooling, typically contributing over 50% of total project cost and/or LCOE.</a:t>
            </a:r>
          </a:p>
          <a:p>
            <a:pPr marL="355600" lvl="1" indent="-177800" defTabSz="711200">
              <a:buFontTx/>
              <a:buChar char="–"/>
              <a:defRPr/>
            </a:pPr>
            <a:r>
              <a:rPr lang="en-US" dirty="0"/>
              <a:t>For conventional geothermal technologies, geography and loop design are the primary drivers of drilling costs, due to dependence on hydrothermal reservoirs and comparative costs of vertical versus horizontal borehole loops.</a:t>
            </a:r>
          </a:p>
          <a:p>
            <a:pPr marL="0" indent="0">
              <a:spcBef>
                <a:spcPts val="1800"/>
              </a:spcBef>
              <a:buNone/>
            </a:pPr>
            <a:r>
              <a:rPr lang="en-US" sz="1200" b="1" dirty="0">
                <a:solidFill>
                  <a:srgbClr val="000000"/>
                </a:solidFill>
                <a:cs typeface="Arial"/>
              </a:rPr>
              <a:t>Synergies with the oil &amp; gas industry </a:t>
            </a:r>
            <a:r>
              <a:rPr lang="en-US" sz="1200" dirty="0">
                <a:solidFill>
                  <a:srgbClr val="000000"/>
                </a:solidFill>
                <a:cs typeface="Arial"/>
              </a:rPr>
              <a:t>can drive down geothermal power costs and improve efficiency, and growing interest from the O&amp;G industry has led to partnerships and upfront investments, particularly for next-generation geothermal.</a:t>
            </a:r>
          </a:p>
          <a:p>
            <a:pPr marL="355600" lvl="1" indent="-177800" defTabSz="711200">
              <a:buFontTx/>
              <a:buChar char="–"/>
              <a:defRPr/>
            </a:pPr>
            <a:r>
              <a:rPr lang="en-US" dirty="0"/>
              <a:t>Subsurface data and modeling techniques from the oil &amp; gas industry can help de-risk geothermal heating projects and drive down costs, as demonstrated by the </a:t>
            </a:r>
            <a:r>
              <a:rPr lang="en-US" dirty="0" err="1"/>
              <a:t>Eavor-Lite</a:t>
            </a:r>
            <a:r>
              <a:rPr lang="en-US" baseline="30000" dirty="0" err="1"/>
              <a:t>TM</a:t>
            </a:r>
            <a:r>
              <a:rPr lang="en-US" dirty="0"/>
              <a:t> demonstration project in Alberta, Canada.</a:t>
            </a:r>
            <a:endParaRPr lang="en-US" dirty="0">
              <a:cs typeface="Arial"/>
            </a:endParaRPr>
          </a:p>
          <a:p>
            <a:pPr marL="355600" lvl="1" indent="-177800" defTabSz="711200">
              <a:buFontTx/>
              <a:buChar char="–"/>
              <a:defRPr/>
            </a:pPr>
            <a:r>
              <a:rPr lang="en-US" dirty="0"/>
              <a:t>Improved oil &amp; gas drilling techniques (e.g., fracking) can drive down drill time and risk and improve drilling efficiency.</a:t>
            </a:r>
            <a:endParaRPr lang="en-US" dirty="0">
              <a:cs typeface="Arial"/>
            </a:endParaRPr>
          </a:p>
          <a:p>
            <a:pPr marL="355600" lvl="1" indent="-177800" defTabSz="711200">
              <a:buFontTx/>
              <a:buChar char="–"/>
              <a:defRPr/>
            </a:pPr>
            <a:r>
              <a:rPr lang="en-US" dirty="0"/>
              <a:t>Technical synergies between the geothermal and the oil &amp; gas industries highlight strong workforce transferability, which can help streamline geothermal commercialization.</a:t>
            </a:r>
            <a:endParaRPr lang="en-US" dirty="0">
              <a:cs typeface="Arial"/>
            </a:endParaRPr>
          </a:p>
          <a:p>
            <a:endParaRPr lang="en-US" dirty="0"/>
          </a:p>
        </p:txBody>
      </p:sp>
      <p:sp>
        <p:nvSpPr>
          <p:cNvPr id="5" name="Content Placeholder 4">
            <a:extLst>
              <a:ext uri="{FF2B5EF4-FFF2-40B4-BE49-F238E27FC236}">
                <a16:creationId xmlns:a16="http://schemas.microsoft.com/office/drawing/2014/main" id="{49CA0163-7288-38C3-5A52-1BD3467E7280}"/>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Global Policy</a:t>
            </a:r>
          </a:p>
        </p:txBody>
      </p:sp>
      <p:sp>
        <p:nvSpPr>
          <p:cNvPr id="8" name="Footer Placeholder 4">
            <a:extLst>
              <a:ext uri="{FF2B5EF4-FFF2-40B4-BE49-F238E27FC236}">
                <a16:creationId xmlns:a16="http://schemas.microsoft.com/office/drawing/2014/main" id="{AA528AD3-73C7-BEF0-0FA7-A6105D09EEEC}"/>
              </a:ext>
            </a:extLst>
          </p:cNvPr>
          <p:cNvSpPr>
            <a:spLocks noGrp="1"/>
          </p:cNvSpPr>
          <p:nvPr>
            <p:ph type="ftr" sz="quarter" idx="3"/>
          </p:nvPr>
        </p:nvSpPr>
        <p:spPr>
          <a:xfrm>
            <a:off x="334962" y="6435873"/>
            <a:ext cx="9147241" cy="216706"/>
          </a:xfrm>
        </p:spPr>
        <p:txBody>
          <a:bodyPr/>
          <a:lstStyle/>
          <a:p>
            <a:pPr marL="0" indent="0">
              <a:buNone/>
            </a:pPr>
            <a:r>
              <a:rPr lang="en-US" dirty="0">
                <a:hlinkClick r:id="rId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cxnSp>
        <p:nvCxnSpPr>
          <p:cNvPr id="9" name="Straight Connector 8">
            <a:extLst>
              <a:ext uri="{FF2B5EF4-FFF2-40B4-BE49-F238E27FC236}">
                <a16:creationId xmlns:a16="http://schemas.microsoft.com/office/drawing/2014/main" id="{351DBB55-F8AB-5144-F348-AE1AE82F45A8}"/>
              </a:ext>
            </a:extLst>
          </p:cNvPr>
          <p:cNvCxnSpPr>
            <a:cxnSpLocks/>
          </p:cNvCxnSpPr>
          <p:nvPr/>
        </p:nvCxnSpPr>
        <p:spPr bwMode="gray">
          <a:xfrm>
            <a:off x="4186443" y="397195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65F13B-E2CE-DA91-64B8-ACD5D2697477}"/>
              </a:ext>
            </a:extLst>
          </p:cNvPr>
          <p:cNvCxnSpPr>
            <a:cxnSpLocks/>
          </p:cNvCxnSpPr>
          <p:nvPr/>
        </p:nvCxnSpPr>
        <p:spPr bwMode="gray">
          <a:xfrm>
            <a:off x="4183266" y="283320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147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F496D63-0C62-8B50-D0E1-346DF3F52B6A}"/>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10" name="think-cell data - do not delete" hidden="1">
                        <a:extLst>
                          <a:ext uri="{FF2B5EF4-FFF2-40B4-BE49-F238E27FC236}">
                            <a16:creationId xmlns:a16="http://schemas.microsoft.com/office/drawing/2014/main" id="{3F496D63-0C62-8B50-D0E1-346DF3F52B6A}"/>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46F902F-E92D-24B1-0860-DEC38264C900}"/>
              </a:ext>
            </a:extLst>
          </p:cNvPr>
          <p:cNvSpPr>
            <a:spLocks noGrp="1"/>
          </p:cNvSpPr>
          <p:nvPr>
            <p:ph type="body" sz="quarter" idx="14"/>
          </p:nvPr>
        </p:nvSpPr>
        <p:spPr/>
        <p:txBody>
          <a:bodyPr/>
          <a:lstStyle/>
          <a:p>
            <a:pPr>
              <a:spcAft>
                <a:spcPts val="400"/>
              </a:spcAft>
            </a:pPr>
            <a:r>
              <a:rPr lang="en-US" b="1" dirty="0"/>
              <a:t>Heating: China</a:t>
            </a:r>
            <a:r>
              <a:rPr lang="en-US" dirty="0"/>
              <a:t> is the most significant country, accounts for nearly 50% of global geothermal final energy consumption, dedicated entirely to </a:t>
            </a:r>
            <a:r>
              <a:rPr lang="en-US" b="1" dirty="0"/>
              <a:t>space heating.</a:t>
            </a:r>
          </a:p>
          <a:p>
            <a:pPr>
              <a:spcAft>
                <a:spcPts val="400"/>
              </a:spcAft>
            </a:pPr>
            <a:r>
              <a:rPr lang="en-US" b="1" dirty="0"/>
              <a:t>Electricity: </a:t>
            </a:r>
            <a:r>
              <a:rPr lang="en-US" dirty="0"/>
              <a:t>The </a:t>
            </a:r>
            <a:r>
              <a:rPr lang="en-US" b="1" dirty="0"/>
              <a:t>U.S., Indonesia, Türkiye, the Philippines, and New Zealand</a:t>
            </a:r>
            <a:r>
              <a:rPr lang="en-US" dirty="0"/>
              <a:t> generate </a:t>
            </a:r>
            <a:r>
              <a:rPr lang="en-US" b="1" dirty="0"/>
              <a:t>two-thirds of global geothermal electricity</a:t>
            </a:r>
            <a:r>
              <a:rPr lang="en-US" dirty="0"/>
              <a:t>, with </a:t>
            </a:r>
            <a:r>
              <a:rPr lang="en-US" b="1" dirty="0"/>
              <a:t>Iceland, Italy, Kenya, Mexico, and Japan</a:t>
            </a:r>
            <a:r>
              <a:rPr lang="en-US" dirty="0"/>
              <a:t> contributing an additional 25%.</a:t>
            </a:r>
          </a:p>
        </p:txBody>
      </p:sp>
      <p:sp>
        <p:nvSpPr>
          <p:cNvPr id="5" name="Title 4">
            <a:extLst>
              <a:ext uri="{FF2B5EF4-FFF2-40B4-BE49-F238E27FC236}">
                <a16:creationId xmlns:a16="http://schemas.microsoft.com/office/drawing/2014/main" id="{41D056B6-5EB2-D37E-C08F-C9308A954FCA}"/>
              </a:ext>
            </a:extLst>
          </p:cNvPr>
          <p:cNvSpPr>
            <a:spLocks noGrp="1"/>
          </p:cNvSpPr>
          <p:nvPr>
            <p:ph type="title"/>
          </p:nvPr>
        </p:nvSpPr>
        <p:spPr/>
        <p:txBody>
          <a:bodyPr vert="horz" rIns="91440"/>
          <a:lstStyle/>
          <a:p>
            <a:r>
              <a:rPr lang="en-US" dirty="0"/>
              <a:t>Today, 10 countries consume 90% of global geothermal energy, with almost 80% of end use for heating and cooling</a:t>
            </a:r>
          </a:p>
        </p:txBody>
      </p:sp>
      <p:sp>
        <p:nvSpPr>
          <p:cNvPr id="6" name="Footer Placeholder 5">
            <a:extLst>
              <a:ext uri="{FF2B5EF4-FFF2-40B4-BE49-F238E27FC236}">
                <a16:creationId xmlns:a16="http://schemas.microsoft.com/office/drawing/2014/main" id="{E648EB44-96C9-B037-A331-64C07D4F3B2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Faradis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Aninty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nd </a:t>
            </a:r>
            <a:r>
              <a:rPr lang="en-US" dirty="0">
                <a:solidFill>
                  <a:srgbClr val="000000">
                    <a:tint val="82000"/>
                  </a:srgbClr>
                </a:solidFill>
                <a:hlinkClick r:id="rId5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5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0AAA3316-26B2-1890-D0CC-91E16938BFEF}"/>
              </a:ext>
            </a:extLst>
          </p:cNvPr>
          <p:cNvSpPr>
            <a:spLocks noGrp="1"/>
          </p:cNvSpPr>
          <p:nvPr>
            <p:ph type="body" sz="quarter" idx="13"/>
          </p:nvPr>
        </p:nvSpPr>
        <p:spPr/>
        <p:txBody>
          <a:bodyPr/>
          <a:lstStyle/>
          <a:p>
            <a:pPr lvl="0">
              <a:spcBef>
                <a:spcPct val="0"/>
              </a:spcBef>
              <a:spcAft>
                <a:spcPct val="0"/>
              </a:spcAft>
              <a:defRPr/>
            </a:pPr>
            <a:r>
              <a:rPr lang="en-US" altLang="en-US" dirty="0">
                <a:solidFill>
                  <a:srgbClr val="000000"/>
                </a:solidFill>
              </a:rPr>
              <a:t>Total final geothermal energy consumption </a:t>
            </a:r>
          </a:p>
          <a:p>
            <a:pPr lvl="0">
              <a:spcBef>
                <a:spcPct val="0"/>
              </a:spcBef>
              <a:spcAft>
                <a:spcPct val="0"/>
              </a:spcAft>
              <a:defRPr/>
            </a:pPr>
            <a:r>
              <a:rPr lang="en-US" altLang="en-US" dirty="0">
                <a:solidFill>
                  <a:srgbClr val="000000"/>
                </a:solidFill>
              </a:rPr>
              <a:t>by consuming countries, 2023</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4C5BFF2D-B69C-9CCD-877A-2CEEAEAFD767}"/>
              </a:ext>
            </a:extLst>
          </p:cNvPr>
          <p:cNvSpPr>
            <a:spLocks noGrp="1"/>
          </p:cNvSpPr>
          <p:nvPr>
            <p:ph type="body" sz="quarter" idx="16"/>
          </p:nvPr>
        </p:nvSpPr>
        <p:spPr/>
        <p:txBody>
          <a:bodyPr/>
          <a:lstStyle/>
          <a:p>
            <a:pPr lvl="0">
              <a:spcBef>
                <a:spcPct val="0"/>
              </a:spcBef>
              <a:spcAft>
                <a:spcPct val="0"/>
              </a:spcAft>
              <a:defRPr/>
            </a:pPr>
            <a:r>
              <a:rPr lang="en-US" altLang="en-US" dirty="0">
                <a:solidFill>
                  <a:srgbClr val="000000"/>
                </a:solidFill>
              </a:rPr>
              <a:t>Total final geothermal energy consumption </a:t>
            </a:r>
          </a:p>
          <a:p>
            <a:pPr lvl="0">
              <a:spcBef>
                <a:spcPct val="0"/>
              </a:spcBef>
              <a:spcAft>
                <a:spcPct val="0"/>
              </a:spcAft>
              <a:defRPr/>
            </a:pPr>
            <a:r>
              <a:rPr lang="en-US" altLang="en-US" dirty="0">
                <a:solidFill>
                  <a:srgbClr val="000000"/>
                </a:solidFill>
              </a:rPr>
              <a:t>by application, 2023</a:t>
            </a:r>
            <a:endParaRPr lang="en-US" baseline="-25000" dirty="0">
              <a:solidFill>
                <a:srgbClr val="000000"/>
              </a:solidFill>
            </a:endParaRPr>
          </a:p>
        </p:txBody>
      </p:sp>
      <p:sp>
        <p:nvSpPr>
          <p:cNvPr id="9" name="Text Placeholder 1">
            <a:extLst>
              <a:ext uri="{FF2B5EF4-FFF2-40B4-BE49-F238E27FC236}">
                <a16:creationId xmlns:a16="http://schemas.microsoft.com/office/drawing/2014/main" id="{A073777F-06E3-9720-0412-43686963EA4D}"/>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Heating &amp; cooling</a:t>
            </a:r>
          </a:p>
        </p:txBody>
      </p:sp>
      <p:cxnSp>
        <p:nvCxnSpPr>
          <p:cNvPr id="15" name="Straight Connector 14">
            <a:extLst>
              <a:ext uri="{FF2B5EF4-FFF2-40B4-BE49-F238E27FC236}">
                <a16:creationId xmlns:a16="http://schemas.microsoft.com/office/drawing/2014/main" id="{8A0FCBD4-78B3-8F66-1583-B664D2EBFB57}"/>
              </a:ext>
            </a:extLst>
          </p:cNvPr>
          <p:cNvCxnSpPr/>
          <p:nvPr>
            <p:custDataLst>
              <p:tags r:id="rId2"/>
            </p:custDataLst>
          </p:nvPr>
        </p:nvCxnSpPr>
        <p:spPr bwMode="gray">
          <a:xfrm>
            <a:off x="3533775"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7B62FB-E04F-3E77-EDD3-BEA547719C0B}"/>
              </a:ext>
            </a:extLst>
          </p:cNvPr>
          <p:cNvCxnSpPr/>
          <p:nvPr>
            <p:custDataLst>
              <p:tags r:id="rId3"/>
            </p:custDataLst>
          </p:nvPr>
        </p:nvCxnSpPr>
        <p:spPr bwMode="gray">
          <a:xfrm>
            <a:off x="1881188"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028B8FF-3119-48D6-1112-18538E22617F}"/>
              </a:ext>
            </a:extLst>
          </p:cNvPr>
          <p:cNvCxnSpPr/>
          <p:nvPr>
            <p:custDataLst>
              <p:tags r:id="rId4"/>
            </p:custDataLst>
          </p:nvPr>
        </p:nvCxnSpPr>
        <p:spPr bwMode="gray">
          <a:xfrm>
            <a:off x="4749800"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E5927AD-9289-C657-ED76-589E897DAFE3}"/>
              </a:ext>
            </a:extLst>
          </p:cNvPr>
          <p:cNvCxnSpPr/>
          <p:nvPr>
            <p:custDataLst>
              <p:tags r:id="rId5"/>
            </p:custDataLst>
          </p:nvPr>
        </p:nvCxnSpPr>
        <p:spPr bwMode="gray">
          <a:xfrm>
            <a:off x="2432050"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121F27B-ABFA-4327-5B42-C8E566C58D82}"/>
              </a:ext>
            </a:extLst>
          </p:cNvPr>
          <p:cNvCxnSpPr/>
          <p:nvPr>
            <p:custDataLst>
              <p:tags r:id="rId6"/>
            </p:custDataLst>
          </p:nvPr>
        </p:nvCxnSpPr>
        <p:spPr bwMode="gray">
          <a:xfrm>
            <a:off x="4084638"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2B8733A-D157-57B1-682D-DB9CC25C768B}"/>
              </a:ext>
            </a:extLst>
          </p:cNvPr>
          <p:cNvCxnSpPr/>
          <p:nvPr>
            <p:custDataLst>
              <p:tags r:id="rId7"/>
            </p:custDataLst>
          </p:nvPr>
        </p:nvCxnSpPr>
        <p:spPr bwMode="gray">
          <a:xfrm>
            <a:off x="2982913" y="2428875"/>
            <a:ext cx="0" cy="2651125"/>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7" name="Chart 66">
            <a:extLst>
              <a:ext uri="{FF2B5EF4-FFF2-40B4-BE49-F238E27FC236}">
                <a16:creationId xmlns:a16="http://schemas.microsoft.com/office/drawing/2014/main" id="{FEA99062-0414-22E5-E9D4-7211E5C1782D}"/>
              </a:ext>
            </a:extLst>
          </p:cNvPr>
          <p:cNvGraphicFramePr/>
          <p:nvPr>
            <p:custDataLst>
              <p:tags r:id="rId8"/>
            </p:custDataLst>
          </p:nvPr>
        </p:nvGraphicFramePr>
        <p:xfrm>
          <a:off x="1247775" y="2346325"/>
          <a:ext cx="3584575" cy="2816225"/>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911F153B-C570-707A-C64A-A12DD24B827D}"/>
              </a:ext>
            </a:extLst>
          </p:cNvPr>
          <p:cNvSpPr>
            <a:spLocks/>
          </p:cNvSpPr>
          <p:nvPr>
            <p:custDataLst>
              <p:tags r:id="rId9"/>
            </p:custDataLst>
          </p:nvPr>
        </p:nvSpPr>
        <p:spPr bwMode="gray">
          <a:xfrm>
            <a:off x="1289050" y="219551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B6F017-684F-4728-853B-6A71C6E3F289}" type="datetime'''''''''''''''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98867C69-9982-50BE-D1F8-298BC4C23B06}"/>
              </a:ext>
            </a:extLst>
          </p:cNvPr>
          <p:cNvSpPr>
            <a:spLocks/>
          </p:cNvSpPr>
          <p:nvPr>
            <p:custDataLst>
              <p:tags r:id="rId10"/>
            </p:custDataLst>
          </p:nvPr>
        </p:nvSpPr>
        <p:spPr bwMode="gray">
          <a:xfrm>
            <a:off x="3408363"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14010A-E2D1-4835-8280-41FD5DD2B2C0}" type="datetime'''''''''''''''''''''''''''''4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75963588-3E78-0133-030E-D770E18B7623}"/>
              </a:ext>
            </a:extLst>
          </p:cNvPr>
          <p:cNvSpPr>
            <a:spLocks/>
          </p:cNvSpPr>
          <p:nvPr>
            <p:custDataLst>
              <p:tags r:id="rId11"/>
            </p:custDataLst>
          </p:nvPr>
        </p:nvSpPr>
        <p:spPr bwMode="gray">
          <a:xfrm>
            <a:off x="3959225"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B83E8E-A3F0-4CD0-B51F-061A10845661}" type="datetime'5''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48A56D71-A353-23D5-8901-D78FD04264ED}"/>
              </a:ext>
            </a:extLst>
          </p:cNvPr>
          <p:cNvSpPr>
            <a:spLocks/>
          </p:cNvSpPr>
          <p:nvPr>
            <p:custDataLst>
              <p:tags r:id="rId12"/>
            </p:custDataLst>
          </p:nvPr>
        </p:nvSpPr>
        <p:spPr bwMode="gray">
          <a:xfrm>
            <a:off x="2857500"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1C168C-039C-4CB2-B748-08D3B1515437}" type="datetime'''''''3''''''''''''''''''''''''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635F9FC6-2FE7-AC75-F44A-E7F90B1FEAEC}"/>
              </a:ext>
            </a:extLst>
          </p:cNvPr>
          <p:cNvSpPr>
            <a:spLocks/>
          </p:cNvSpPr>
          <p:nvPr>
            <p:custDataLst>
              <p:tags r:id="rId13"/>
            </p:custDataLst>
          </p:nvPr>
        </p:nvSpPr>
        <p:spPr bwMode="gray">
          <a:xfrm>
            <a:off x="4560888" y="21955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BAF755-9EE2-404A-B9DA-79E982011BD0}" type="datetime'''''''''1''''''''.4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BB2205D1-3E1A-745F-8BB6-F061AA819EF8}"/>
              </a:ext>
            </a:extLst>
          </p:cNvPr>
          <p:cNvSpPr>
            <a:spLocks/>
          </p:cNvSpPr>
          <p:nvPr>
            <p:custDataLst>
              <p:tags r:id="rId14"/>
            </p:custDataLst>
          </p:nvPr>
        </p:nvSpPr>
        <p:spPr bwMode="gray">
          <a:xfrm>
            <a:off x="2306638"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7E7FDB-4112-43DC-B53E-F361C120F581}" type="datetime'''''''''2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40B7DD99-89F1-2B81-168C-3E63A8AF9BBE}"/>
              </a:ext>
            </a:extLst>
          </p:cNvPr>
          <p:cNvSpPr>
            <a:spLocks/>
          </p:cNvSpPr>
          <p:nvPr>
            <p:custDataLst>
              <p:tags r:id="rId15"/>
            </p:custDataLst>
          </p:nvPr>
        </p:nvSpPr>
        <p:spPr bwMode="gray">
          <a:xfrm>
            <a:off x="1755775" y="21955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724FB6-4F88-432D-9CB6-F5B6E25C99F1}" type="datetime'''1''0''''''''''''''''''''0'''''''''''''''''''">
              <a:rPr kumimoji="0" lang="en-US" altLang="en-US" sz="1200" b="0" i="0" u="none" strike="noStrike" kern="1200" cap="none" spc="0" normalizeH="0" baseline="0" noProof="0" smtClean="0">
                <a:ln>
                  <a:noFill/>
                </a:ln>
                <a:solidFill>
                  <a:srgbClr val="969696"/>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dirty="0">
              <a:ln>
                <a:noFill/>
              </a:ln>
              <a:solidFill>
                <a:srgbClr val="969696"/>
              </a:solidFill>
              <a:effectLst/>
              <a:uLnTx/>
              <a:uFillTx/>
              <a:latin typeface="Arial"/>
              <a:ea typeface="+mn-ea"/>
              <a:cs typeface="+mn-cs"/>
            </a:endParaRPr>
          </a:p>
        </p:txBody>
      </p:sp>
      <p:sp useBgFill="1">
        <p:nvSpPr>
          <p:cNvPr id="62" name="Freeform 61">
            <a:extLst>
              <a:ext uri="{FF2B5EF4-FFF2-40B4-BE49-F238E27FC236}">
                <a16:creationId xmlns:a16="http://schemas.microsoft.com/office/drawing/2014/main" id="{D8124980-FC6D-E95D-B49E-054D5F1C5C1F}"/>
              </a:ext>
            </a:extLst>
          </p:cNvPr>
          <p:cNvSpPr/>
          <p:nvPr>
            <p:custDataLst>
              <p:tags r:id="rId16"/>
            </p:custDataLst>
          </p:nvPr>
        </p:nvSpPr>
        <p:spPr bwMode="auto">
          <a:xfrm>
            <a:off x="4606925" y="2435225"/>
            <a:ext cx="119064" cy="227014"/>
          </a:xfrm>
          <a:custGeom>
            <a:avLst/>
            <a:gdLst/>
            <a:ahLst/>
            <a:cxnLst/>
            <a:rect l="0" t="0" r="0" b="0"/>
            <a:pathLst>
              <a:path w="119064" h="227014">
                <a:moveTo>
                  <a:pt x="119063" y="0"/>
                </a:moveTo>
                <a:lnTo>
                  <a:pt x="57150" y="227013"/>
                </a:lnTo>
                <a:lnTo>
                  <a:pt x="0" y="227013"/>
                </a:lnTo>
                <a:lnTo>
                  <a:pt x="61913"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0" name="Freeform 59">
            <a:extLst>
              <a:ext uri="{FF2B5EF4-FFF2-40B4-BE49-F238E27FC236}">
                <a16:creationId xmlns:a16="http://schemas.microsoft.com/office/drawing/2014/main" id="{C9A0D60B-CCE6-F79C-C335-782516B44FB4}"/>
              </a:ext>
            </a:extLst>
          </p:cNvPr>
          <p:cNvSpPr/>
          <p:nvPr>
            <p:custDataLst>
              <p:tags r:id="rId17"/>
            </p:custDataLst>
          </p:nvPr>
        </p:nvSpPr>
        <p:spPr bwMode="auto">
          <a:xfrm>
            <a:off x="4606925" y="2435225"/>
            <a:ext cx="61914" cy="227014"/>
          </a:xfrm>
          <a:custGeom>
            <a:avLst/>
            <a:gdLst/>
            <a:ahLst/>
            <a:cxnLst/>
            <a:rect l="0" t="0" r="0" b="0"/>
            <a:pathLst>
              <a:path w="61914" h="227014">
                <a:moveTo>
                  <a:pt x="61913" y="0"/>
                </a:moveTo>
                <a:lnTo>
                  <a:pt x="0" y="2270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60">
            <a:extLst>
              <a:ext uri="{FF2B5EF4-FFF2-40B4-BE49-F238E27FC236}">
                <a16:creationId xmlns:a16="http://schemas.microsoft.com/office/drawing/2014/main" id="{844DA44F-3512-7617-935B-55BC2201E7E3}"/>
              </a:ext>
            </a:extLst>
          </p:cNvPr>
          <p:cNvSpPr/>
          <p:nvPr>
            <p:custDataLst>
              <p:tags r:id="rId18"/>
            </p:custDataLst>
          </p:nvPr>
        </p:nvSpPr>
        <p:spPr bwMode="auto">
          <a:xfrm>
            <a:off x="4664075" y="2435225"/>
            <a:ext cx="61914" cy="227014"/>
          </a:xfrm>
          <a:custGeom>
            <a:avLst/>
            <a:gdLst/>
            <a:ahLst/>
            <a:cxnLst/>
            <a:rect l="0" t="0" r="0" b="0"/>
            <a:pathLst>
              <a:path w="61914" h="227014">
                <a:moveTo>
                  <a:pt x="61913" y="0"/>
                </a:moveTo>
                <a:lnTo>
                  <a:pt x="0" y="227013"/>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E45FE142-994D-6760-3C11-C38FFEA08A26}"/>
              </a:ext>
            </a:extLst>
          </p:cNvPr>
          <p:cNvSpPr>
            <a:spLocks/>
          </p:cNvSpPr>
          <p:nvPr>
            <p:custDataLst>
              <p:tags r:id="rId19"/>
            </p:custDataLst>
          </p:nvPr>
        </p:nvSpPr>
        <p:spPr bwMode="auto">
          <a:xfrm>
            <a:off x="790575" y="2457450"/>
            <a:ext cx="438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6F559F-674E-4CE9-98E4-9FE160A13B7C}" type="datetime'''''''G''''''l''ob''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lobal</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0BBEB48B-7CB0-D8B0-A300-2CEBBC7146ED}"/>
              </a:ext>
            </a:extLst>
          </p:cNvPr>
          <p:cNvSpPr>
            <a:spLocks/>
          </p:cNvSpPr>
          <p:nvPr>
            <p:custDataLst>
              <p:tags r:id="rId20"/>
            </p:custDataLst>
          </p:nvPr>
        </p:nvSpPr>
        <p:spPr bwMode="auto">
          <a:xfrm>
            <a:off x="931863" y="29400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U.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51614FCA-CD06-9685-C6C1-6E09AD9A2286}"/>
              </a:ext>
            </a:extLst>
          </p:cNvPr>
          <p:cNvSpPr>
            <a:spLocks/>
          </p:cNvSpPr>
          <p:nvPr>
            <p:custDataLst>
              <p:tags r:id="rId21"/>
            </p:custDataLst>
          </p:nvPr>
        </p:nvSpPr>
        <p:spPr bwMode="auto">
          <a:xfrm>
            <a:off x="736600" y="3179763"/>
            <a:ext cx="49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A20024-2B29-41ED-A986-B1F0AFFCC1B2}" type="datetime'''Tu''''''''''''''''''''''rk''''''''i''y''''''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urkiye</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0F1F149B-D230-7214-5004-49BBB58E4BFD}"/>
              </a:ext>
            </a:extLst>
          </p:cNvPr>
          <p:cNvSpPr>
            <a:spLocks/>
          </p:cNvSpPr>
          <p:nvPr>
            <p:custDataLst>
              <p:tags r:id="rId22"/>
            </p:custDataLst>
          </p:nvPr>
        </p:nvSpPr>
        <p:spPr bwMode="auto">
          <a:xfrm>
            <a:off x="681038" y="3421063"/>
            <a:ext cx="547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3CF2C5-1E59-4BC2-9E62-C521E6ACF641}" type="datetime'''''''''''''''''''S''''''''''''''''''w''e''''''''de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weden</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D38EE58A-2BCE-8F91-106F-CC22E5832A9F}"/>
              </a:ext>
            </a:extLst>
          </p:cNvPr>
          <p:cNvSpPr>
            <a:spLocks/>
          </p:cNvSpPr>
          <p:nvPr>
            <p:custDataLst>
              <p:tags r:id="rId23"/>
            </p:custDataLst>
          </p:nvPr>
        </p:nvSpPr>
        <p:spPr bwMode="auto">
          <a:xfrm>
            <a:off x="571500" y="3662363"/>
            <a:ext cx="657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D0112F-4A0B-440D-B8C1-85032E76F0D6}" type="datetime'I''nd''one''''''''''''''''''''''''''s''''''i''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onesi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16BD7B4D-B9ED-E5A8-5260-8B980E4E91CA}"/>
              </a:ext>
            </a:extLst>
          </p:cNvPr>
          <p:cNvSpPr>
            <a:spLocks/>
          </p:cNvSpPr>
          <p:nvPr>
            <p:custDataLst>
              <p:tags r:id="rId24"/>
            </p:custDataLst>
          </p:nvPr>
        </p:nvSpPr>
        <p:spPr bwMode="auto">
          <a:xfrm>
            <a:off x="739775" y="3903663"/>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80E7C5-7941-4FD7-99B8-D49D187B0B18}" type="datetime'''''''Ic''''''e''''''''''''''''''l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celand</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3AF0447C-FA5E-B938-FCE8-5CF8CFBD7DCC}"/>
              </a:ext>
            </a:extLst>
          </p:cNvPr>
          <p:cNvSpPr>
            <a:spLocks/>
          </p:cNvSpPr>
          <p:nvPr>
            <p:custDataLst>
              <p:tags r:id="rId25"/>
            </p:custDataLst>
          </p:nvPr>
        </p:nvSpPr>
        <p:spPr bwMode="auto">
          <a:xfrm>
            <a:off x="815975" y="4144963"/>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81BF9E-1CB9-40A7-9654-DF274C1DAD06}" type="datetime'''''J''''''''''''''''''''''a''''''''pa''''''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519145B0-A4DB-290A-2FA5-7ACDD5EBEA55}"/>
              </a:ext>
            </a:extLst>
          </p:cNvPr>
          <p:cNvSpPr>
            <a:spLocks/>
          </p:cNvSpPr>
          <p:nvPr>
            <p:custDataLst>
              <p:tags r:id="rId26"/>
            </p:custDataLst>
          </p:nvPr>
        </p:nvSpPr>
        <p:spPr bwMode="auto">
          <a:xfrm>
            <a:off x="334963" y="4386263"/>
            <a:ext cx="893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34BEEA7-7922-435C-809D-E907D069FA62}" type="datetime'N''''e''''''''''''''''''w'''''' Z''e''al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Zealand</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 Placeholder 10">
            <a:extLst>
              <a:ext uri="{FF2B5EF4-FFF2-40B4-BE49-F238E27FC236}">
                <a16:creationId xmlns:a16="http://schemas.microsoft.com/office/drawing/2014/main" id="{E65E4633-6F87-ED82-C0DE-4986A6698560}"/>
              </a:ext>
            </a:extLst>
          </p:cNvPr>
          <p:cNvSpPr>
            <a:spLocks/>
          </p:cNvSpPr>
          <p:nvPr>
            <p:custDataLst>
              <p:tags r:id="rId27"/>
            </p:custDataLst>
          </p:nvPr>
        </p:nvSpPr>
        <p:spPr bwMode="auto">
          <a:xfrm>
            <a:off x="603250" y="4625975"/>
            <a:ext cx="625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E653FA-3ECE-4B94-96EF-A598FFD3E848}" type="datetime'G''''''''''''''''''er''''ma''''''''n''''''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rmany</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2317CEAC-70E3-E8AB-2126-5132AB7E6463}"/>
              </a:ext>
            </a:extLst>
          </p:cNvPr>
          <p:cNvSpPr>
            <a:spLocks/>
          </p:cNvSpPr>
          <p:nvPr>
            <p:custDataLst>
              <p:tags r:id="rId28"/>
            </p:custDataLst>
          </p:nvPr>
        </p:nvSpPr>
        <p:spPr bwMode="auto">
          <a:xfrm>
            <a:off x="496888" y="4867275"/>
            <a:ext cx="731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Philippine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988C3AF5-01B5-BCC1-FDF0-9FAFCCD44BA7}"/>
              </a:ext>
            </a:extLst>
          </p:cNvPr>
          <p:cNvSpPr>
            <a:spLocks/>
          </p:cNvSpPr>
          <p:nvPr>
            <p:custDataLst>
              <p:tags r:id="rId29"/>
            </p:custDataLst>
          </p:nvPr>
        </p:nvSpPr>
        <p:spPr bwMode="auto">
          <a:xfrm>
            <a:off x="1355725" y="5202238"/>
            <a:ext cx="1216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2A34FE-7344-4D58-948F-0E9B20043F95}" type="datetime'C''''ons''''''um''''''''p''''t''i''''''o''''''''n ''(P''J'')'">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nsumption (PJ)</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8EE37B07-0345-B27F-773C-91773AC6182C}"/>
              </a:ext>
            </a:extLst>
          </p:cNvPr>
          <p:cNvSpPr>
            <a:spLocks/>
          </p:cNvSpPr>
          <p:nvPr>
            <p:custDataLst>
              <p:tags r:id="rId30"/>
            </p:custDataLst>
          </p:nvPr>
        </p:nvSpPr>
        <p:spPr bwMode="auto">
          <a:xfrm>
            <a:off x="833438" y="2698750"/>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549AFE-C45E-44A6-87C9-BBD9B22FC2F0}" type="datetime'''''''''''''''C''h''''''''''''''''''i''n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65" name="Table 64">
            <a:extLst>
              <a:ext uri="{FF2B5EF4-FFF2-40B4-BE49-F238E27FC236}">
                <a16:creationId xmlns:a16="http://schemas.microsoft.com/office/drawing/2014/main" id="{A0EF7758-C926-6BFE-00D8-30EED6EE781D}"/>
              </a:ext>
            </a:extLst>
          </p:cNvPr>
          <p:cNvGraphicFramePr>
            <a:graphicFrameLocks noGrp="1"/>
          </p:cNvGraphicFramePr>
          <p:nvPr/>
        </p:nvGraphicFramePr>
        <p:xfrm>
          <a:off x="5034860" y="2131895"/>
          <a:ext cx="574992" cy="2690149"/>
        </p:xfrm>
        <a:graphic>
          <a:graphicData uri="http://schemas.openxmlformats.org/drawingml/2006/table">
            <a:tbl>
              <a:tblPr firstRow="1" bandRow="1">
                <a:tableStyleId>{2D5ABB26-0587-4C30-8999-92F81FD0307C}</a:tableStyleId>
              </a:tblPr>
              <a:tblGrid>
                <a:gridCol w="574992">
                  <a:extLst>
                    <a:ext uri="{9D8B030D-6E8A-4147-A177-3AD203B41FA5}">
                      <a16:colId xmlns:a16="http://schemas.microsoft.com/office/drawing/2014/main" val="398230493"/>
                    </a:ext>
                  </a:extLst>
                </a:gridCol>
              </a:tblGrid>
              <a:tr h="244559">
                <a:tc>
                  <a:txBody>
                    <a:bodyPr/>
                    <a:lstStyle/>
                    <a:p>
                      <a:pPr marL="0" indent="0" algn="r">
                        <a:buNone/>
                      </a:pPr>
                      <a:r>
                        <a:rPr lang="en-US" sz="1000" b="1" dirty="0"/>
                        <a:t>0.2%</a:t>
                      </a:r>
                    </a:p>
                  </a:txBody>
                  <a:tcPr/>
                </a:tc>
                <a:extLst>
                  <a:ext uri="{0D108BD9-81ED-4DB2-BD59-A6C34878D82A}">
                    <a16:rowId xmlns:a16="http://schemas.microsoft.com/office/drawing/2014/main" val="3405553848"/>
                  </a:ext>
                </a:extLst>
              </a:tr>
              <a:tr h="244559">
                <a:tc>
                  <a:txBody>
                    <a:bodyPr/>
                    <a:lstStyle/>
                    <a:p>
                      <a:pPr marL="0" indent="0" algn="r">
                        <a:buNone/>
                      </a:pPr>
                      <a:r>
                        <a:rPr lang="en-US" sz="1000" b="1" dirty="0"/>
                        <a:t>0.5%</a:t>
                      </a:r>
                    </a:p>
                  </a:txBody>
                  <a:tcPr/>
                </a:tc>
                <a:extLst>
                  <a:ext uri="{0D108BD9-81ED-4DB2-BD59-A6C34878D82A}">
                    <a16:rowId xmlns:a16="http://schemas.microsoft.com/office/drawing/2014/main" val="2517721976"/>
                  </a:ext>
                </a:extLst>
              </a:tr>
              <a:tr h="244559">
                <a:tc>
                  <a:txBody>
                    <a:bodyPr/>
                    <a:lstStyle/>
                    <a:p>
                      <a:pPr marL="0" indent="0" algn="r">
                        <a:buNone/>
                      </a:pPr>
                      <a:r>
                        <a:rPr lang="en-US" sz="1000" b="1" dirty="0"/>
                        <a:t>1.0%</a:t>
                      </a:r>
                    </a:p>
                  </a:txBody>
                  <a:tcPr/>
                </a:tc>
                <a:extLst>
                  <a:ext uri="{0D108BD9-81ED-4DB2-BD59-A6C34878D82A}">
                    <a16:rowId xmlns:a16="http://schemas.microsoft.com/office/drawing/2014/main" val="66181144"/>
                  </a:ext>
                </a:extLst>
              </a:tr>
              <a:tr h="244559">
                <a:tc>
                  <a:txBody>
                    <a:bodyPr/>
                    <a:lstStyle/>
                    <a:p>
                      <a:pPr marL="0" indent="0" algn="r">
                        <a:buNone/>
                      </a:pPr>
                      <a:r>
                        <a:rPr lang="en-US" sz="1000" b="1" dirty="0"/>
                        <a:t>3.7%</a:t>
                      </a:r>
                    </a:p>
                  </a:txBody>
                  <a:tcPr/>
                </a:tc>
                <a:extLst>
                  <a:ext uri="{0D108BD9-81ED-4DB2-BD59-A6C34878D82A}">
                    <a16:rowId xmlns:a16="http://schemas.microsoft.com/office/drawing/2014/main" val="669792065"/>
                  </a:ext>
                </a:extLst>
              </a:tr>
              <a:tr h="244559">
                <a:tc>
                  <a:txBody>
                    <a:bodyPr/>
                    <a:lstStyle/>
                    <a:p>
                      <a:pPr marL="0" indent="0" algn="r">
                        <a:buNone/>
                      </a:pPr>
                      <a:r>
                        <a:rPr lang="en-US" sz="1000" b="1" dirty="0"/>
                        <a:t>2.5%</a:t>
                      </a:r>
                    </a:p>
                  </a:txBody>
                  <a:tcPr/>
                </a:tc>
                <a:extLst>
                  <a:ext uri="{0D108BD9-81ED-4DB2-BD59-A6C34878D82A}">
                    <a16:rowId xmlns:a16="http://schemas.microsoft.com/office/drawing/2014/main" val="3284348142"/>
                  </a:ext>
                </a:extLst>
              </a:tr>
              <a:tr h="244559">
                <a:tc>
                  <a:txBody>
                    <a:bodyPr/>
                    <a:lstStyle/>
                    <a:p>
                      <a:pPr marL="0" indent="0" algn="r">
                        <a:buNone/>
                      </a:pPr>
                      <a:r>
                        <a:rPr lang="en-US" sz="1000" b="1" dirty="0"/>
                        <a:t>5.2%</a:t>
                      </a:r>
                    </a:p>
                  </a:txBody>
                  <a:tcPr/>
                </a:tc>
                <a:extLst>
                  <a:ext uri="{0D108BD9-81ED-4DB2-BD59-A6C34878D82A}">
                    <a16:rowId xmlns:a16="http://schemas.microsoft.com/office/drawing/2014/main" val="2631390721"/>
                  </a:ext>
                </a:extLst>
              </a:tr>
              <a:tr h="244559">
                <a:tc>
                  <a:txBody>
                    <a:bodyPr/>
                    <a:lstStyle/>
                    <a:p>
                      <a:pPr marL="0" indent="0" algn="r">
                        <a:buNone/>
                      </a:pPr>
                      <a:r>
                        <a:rPr lang="en-US" sz="1000" b="1" dirty="0"/>
                        <a:t>30.0%</a:t>
                      </a:r>
                    </a:p>
                  </a:txBody>
                  <a:tcPr/>
                </a:tc>
                <a:extLst>
                  <a:ext uri="{0D108BD9-81ED-4DB2-BD59-A6C34878D82A}">
                    <a16:rowId xmlns:a16="http://schemas.microsoft.com/office/drawing/2014/main" val="3126542604"/>
                  </a:ext>
                </a:extLst>
              </a:tr>
              <a:tr h="244559">
                <a:tc>
                  <a:txBody>
                    <a:bodyPr/>
                    <a:lstStyle/>
                    <a:p>
                      <a:pPr marL="0" indent="0" algn="r">
                        <a:buNone/>
                      </a:pPr>
                      <a:r>
                        <a:rPr lang="en-US" sz="1000" b="1" dirty="0"/>
                        <a:t>0.3%</a:t>
                      </a:r>
                    </a:p>
                  </a:txBody>
                  <a:tcPr/>
                </a:tc>
                <a:extLst>
                  <a:ext uri="{0D108BD9-81ED-4DB2-BD59-A6C34878D82A}">
                    <a16:rowId xmlns:a16="http://schemas.microsoft.com/office/drawing/2014/main" val="4263430252"/>
                  </a:ext>
                </a:extLst>
              </a:tr>
              <a:tr h="244559">
                <a:tc>
                  <a:txBody>
                    <a:bodyPr/>
                    <a:lstStyle/>
                    <a:p>
                      <a:pPr marL="0" indent="0" algn="r">
                        <a:buNone/>
                      </a:pPr>
                      <a:r>
                        <a:rPr lang="en-US" sz="1000" b="1" dirty="0"/>
                        <a:t>18.8%</a:t>
                      </a:r>
                    </a:p>
                  </a:txBody>
                  <a:tcPr/>
                </a:tc>
                <a:extLst>
                  <a:ext uri="{0D108BD9-81ED-4DB2-BD59-A6C34878D82A}">
                    <a16:rowId xmlns:a16="http://schemas.microsoft.com/office/drawing/2014/main" val="1537232412"/>
                  </a:ext>
                </a:extLst>
              </a:tr>
              <a:tr h="244559">
                <a:tc>
                  <a:txBody>
                    <a:bodyPr/>
                    <a:lstStyle/>
                    <a:p>
                      <a:pPr marL="0" indent="0" algn="r">
                        <a:buNone/>
                      </a:pPr>
                      <a:r>
                        <a:rPr lang="en-US" sz="1000" b="1" dirty="0"/>
                        <a:t>0.3%</a:t>
                      </a:r>
                    </a:p>
                  </a:txBody>
                  <a:tcPr/>
                </a:tc>
                <a:extLst>
                  <a:ext uri="{0D108BD9-81ED-4DB2-BD59-A6C34878D82A}">
                    <a16:rowId xmlns:a16="http://schemas.microsoft.com/office/drawing/2014/main" val="2357198128"/>
                  </a:ext>
                </a:extLst>
              </a:tr>
              <a:tr h="244559">
                <a:tc>
                  <a:txBody>
                    <a:bodyPr/>
                    <a:lstStyle/>
                    <a:p>
                      <a:pPr marL="0" indent="0" algn="r">
                        <a:buNone/>
                      </a:pPr>
                      <a:r>
                        <a:rPr lang="en-US" sz="1000" b="1" dirty="0"/>
                        <a:t>14.6%</a:t>
                      </a:r>
                    </a:p>
                  </a:txBody>
                  <a:tcPr/>
                </a:tc>
                <a:extLst>
                  <a:ext uri="{0D108BD9-81ED-4DB2-BD59-A6C34878D82A}">
                    <a16:rowId xmlns:a16="http://schemas.microsoft.com/office/drawing/2014/main" val="1537925609"/>
                  </a:ext>
                </a:extLst>
              </a:tr>
            </a:tbl>
          </a:graphicData>
        </a:graphic>
      </p:graphicFrame>
      <p:sp>
        <p:nvSpPr>
          <p:cNvPr id="66" name="TextBox 65">
            <a:extLst>
              <a:ext uri="{FF2B5EF4-FFF2-40B4-BE49-F238E27FC236}">
                <a16:creationId xmlns:a16="http://schemas.microsoft.com/office/drawing/2014/main" id="{8251D696-5F7E-6940-0B35-F652299D23FC}"/>
              </a:ext>
            </a:extLst>
          </p:cNvPr>
          <p:cNvSpPr txBox="1"/>
          <p:nvPr/>
        </p:nvSpPr>
        <p:spPr bwMode="gray">
          <a:xfrm>
            <a:off x="4940907" y="4937670"/>
            <a:ext cx="1296740" cy="53436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 of geothermal</a:t>
            </a:r>
            <a:br>
              <a:rPr kumimoji="0" lang="en-US" sz="1000" b="0" i="1" u="none" strike="noStrike" kern="1200" cap="none" spc="0" normalizeH="0" baseline="0" noProof="0" dirty="0">
                <a:ln>
                  <a:noFill/>
                </a:ln>
                <a:solidFill>
                  <a:srgbClr val="000000"/>
                </a:solidFill>
                <a:effectLst/>
                <a:uLnTx/>
                <a:uFillTx/>
                <a:latin typeface="Arial"/>
                <a:ea typeface="+mn-ea"/>
                <a:cs typeface="+mn-cs"/>
              </a:rPr>
            </a:br>
            <a:r>
              <a:rPr kumimoji="0" lang="en-US" sz="1000" b="0" i="1" u="none" strike="noStrike" kern="1200" cap="none" spc="0" normalizeH="0" baseline="0" noProof="0" dirty="0">
                <a:ln>
                  <a:noFill/>
                </a:ln>
                <a:solidFill>
                  <a:srgbClr val="000000"/>
                </a:solidFill>
                <a:effectLst/>
                <a:uLnTx/>
                <a:uFillTx/>
                <a:latin typeface="Arial"/>
                <a:ea typeface="+mn-ea"/>
                <a:cs typeface="+mn-cs"/>
              </a:rPr>
              <a:t> to total energy consumption, 2023</a:t>
            </a:r>
          </a:p>
        </p:txBody>
      </p:sp>
      <p:sp>
        <p:nvSpPr>
          <p:cNvPr id="68" name="Left Bracket 67">
            <a:extLst>
              <a:ext uri="{FF2B5EF4-FFF2-40B4-BE49-F238E27FC236}">
                <a16:creationId xmlns:a16="http://schemas.microsoft.com/office/drawing/2014/main" id="{DA15C2C9-67E9-4E73-4C66-F674EE3AC206}"/>
              </a:ext>
            </a:extLst>
          </p:cNvPr>
          <p:cNvSpPr/>
          <p:nvPr/>
        </p:nvSpPr>
        <p:spPr bwMode="gray">
          <a:xfrm rot="5400000">
            <a:off x="9075738" y="520700"/>
            <a:ext cx="104775" cy="3810000"/>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9" name="Straight Connector 68">
            <a:extLst>
              <a:ext uri="{FF2B5EF4-FFF2-40B4-BE49-F238E27FC236}">
                <a16:creationId xmlns:a16="http://schemas.microsoft.com/office/drawing/2014/main" id="{8BC2591D-8756-FC60-7D25-37C9C201C466}"/>
              </a:ext>
            </a:extLst>
          </p:cNvPr>
          <p:cNvCxnSpPr/>
          <p:nvPr>
            <p:custDataLst>
              <p:tags r:id="rId31"/>
            </p:custDataLst>
          </p:nvPr>
        </p:nvCxnSpPr>
        <p:spPr bwMode="auto">
          <a:xfrm>
            <a:off x="6826250" y="2530475"/>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B77099B7-DDAA-79EA-CD89-D4CAA9A086E1}"/>
              </a:ext>
            </a:extLst>
          </p:cNvPr>
          <p:cNvCxnSpPr/>
          <p:nvPr>
            <p:custDataLst>
              <p:tags r:id="rId32"/>
            </p:custDataLst>
          </p:nvPr>
        </p:nvCxnSpPr>
        <p:spPr bwMode="auto">
          <a:xfrm>
            <a:off x="7635875" y="347503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18BB04E-5AE9-6B99-049C-EA87C2DB239B}"/>
              </a:ext>
            </a:extLst>
          </p:cNvPr>
          <p:cNvCxnSpPr/>
          <p:nvPr>
            <p:custDataLst>
              <p:tags r:id="rId33"/>
            </p:custDataLst>
          </p:nvPr>
        </p:nvCxnSpPr>
        <p:spPr bwMode="auto">
          <a:xfrm>
            <a:off x="8443913" y="4062413"/>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3E633650-79CA-63DB-CC76-2F29D435696F}"/>
              </a:ext>
            </a:extLst>
          </p:cNvPr>
          <p:cNvCxnSpPr/>
          <p:nvPr>
            <p:custDataLst>
              <p:tags r:id="rId34"/>
            </p:custDataLst>
          </p:nvPr>
        </p:nvCxnSpPr>
        <p:spPr bwMode="auto">
          <a:xfrm>
            <a:off x="9251950" y="4222750"/>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A21952AF-6E0E-0C20-CE38-5B4D41AD9EC0}"/>
              </a:ext>
            </a:extLst>
          </p:cNvPr>
          <p:cNvCxnSpPr/>
          <p:nvPr>
            <p:custDataLst>
              <p:tags r:id="rId35"/>
            </p:custDataLst>
          </p:nvPr>
        </p:nvCxnSpPr>
        <p:spPr bwMode="auto">
          <a:xfrm>
            <a:off x="10059988" y="429418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58D7D1B-8EF8-4BB4-4178-37A5E0DCA4BA}"/>
              </a:ext>
            </a:extLst>
          </p:cNvPr>
          <p:cNvCxnSpPr/>
          <p:nvPr>
            <p:custDataLst>
              <p:tags r:id="rId36"/>
            </p:custDataLst>
          </p:nvPr>
        </p:nvCxnSpPr>
        <p:spPr bwMode="auto">
          <a:xfrm>
            <a:off x="10869613" y="4313238"/>
            <a:ext cx="3587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7" name="Chart 96">
            <a:extLst>
              <a:ext uri="{FF2B5EF4-FFF2-40B4-BE49-F238E27FC236}">
                <a16:creationId xmlns:a16="http://schemas.microsoft.com/office/drawing/2014/main" id="{FF8C70F8-C64A-5FB3-384D-FF1AEA2D14B0}"/>
              </a:ext>
            </a:extLst>
          </p:cNvPr>
          <p:cNvGraphicFramePr/>
          <p:nvPr>
            <p:custDataLst>
              <p:tags r:id="rId37"/>
            </p:custDataLst>
          </p:nvPr>
        </p:nvGraphicFramePr>
        <p:xfrm>
          <a:off x="6115050" y="2447925"/>
          <a:ext cx="5824538" cy="2420938"/>
        </p:xfrm>
        <a:graphic>
          <a:graphicData uri="http://schemas.openxmlformats.org/drawingml/2006/chart">
            <c:chart xmlns:c="http://schemas.openxmlformats.org/drawingml/2006/chart" xmlns:r="http://schemas.openxmlformats.org/officeDocument/2006/relationships" r:id="rId60"/>
          </a:graphicData>
        </a:graphic>
      </p:graphicFrame>
      <p:sp>
        <p:nvSpPr>
          <p:cNvPr id="76" name="Text Placeholder 10">
            <a:extLst>
              <a:ext uri="{FF2B5EF4-FFF2-40B4-BE49-F238E27FC236}">
                <a16:creationId xmlns:a16="http://schemas.microsoft.com/office/drawing/2014/main" id="{EC4F6DD7-76FB-6D31-DA87-341768653263}"/>
              </a:ext>
            </a:extLst>
          </p:cNvPr>
          <p:cNvSpPr>
            <a:spLocks/>
          </p:cNvSpPr>
          <p:nvPr>
            <p:custDataLst>
              <p:tags r:id="rId38"/>
            </p:custDataLst>
          </p:nvPr>
        </p:nvSpPr>
        <p:spPr bwMode="auto">
          <a:xfrm>
            <a:off x="6434138" y="4837113"/>
            <a:ext cx="333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511920-E3E6-43E2-B880-EE5D8C3BEDB6}" type="datetime'''''''''''T''ot''''''''''''''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otal</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24DBBF0B-EC78-3139-201A-9F86692AFD94}"/>
              </a:ext>
            </a:extLst>
          </p:cNvPr>
          <p:cNvSpPr>
            <a:spLocks/>
          </p:cNvSpPr>
          <p:nvPr>
            <p:custDataLst>
              <p:tags r:id="rId39"/>
            </p:custDataLst>
          </p:nvPr>
        </p:nvSpPr>
        <p:spPr bwMode="gray">
          <a:xfrm>
            <a:off x="7237413" y="29114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D5D3C8B-E305-4B70-86F0-B1F7A6ED13F9}" type="datetime'''''42''''''''''''''%'''''''''''''''''''''''''''''''''''''''">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Text Placeholder 10">
            <a:extLst>
              <a:ext uri="{FF2B5EF4-FFF2-40B4-BE49-F238E27FC236}">
                <a16:creationId xmlns:a16="http://schemas.microsoft.com/office/drawing/2014/main" id="{55131AD9-4C76-9BF2-9F2F-31A3AFACD364}"/>
              </a:ext>
            </a:extLst>
          </p:cNvPr>
          <p:cNvSpPr>
            <a:spLocks/>
          </p:cNvSpPr>
          <p:nvPr>
            <p:custDataLst>
              <p:tags r:id="rId40"/>
            </p:custDataLst>
          </p:nvPr>
        </p:nvSpPr>
        <p:spPr bwMode="auto">
          <a:xfrm>
            <a:off x="7007225" y="4837113"/>
            <a:ext cx="8064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242051-518C-4E2F-B2AD-478A3AFF57A9}" type="datetime'''''G''eo''the''r''''''''''''mal'' ''''''heat ''''pump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othermal heat pumps</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B35CCF05-D814-CE5A-F9AA-1CC6493330EF}"/>
              </a:ext>
            </a:extLst>
          </p:cNvPr>
          <p:cNvSpPr>
            <a:spLocks/>
          </p:cNvSpPr>
          <p:nvPr>
            <p:custDataLst>
              <p:tags r:id="rId41"/>
            </p:custDataLst>
          </p:nvPr>
        </p:nvSpPr>
        <p:spPr bwMode="gray">
          <a:xfrm>
            <a:off x="8045450" y="367823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FC0C14-E00D-480F-AC06-F59993B43D0C}" type="datetime'''''''''2''''6''''''''%'''''''''''''''''''''''''''''">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Text Placeholder 10">
            <a:extLst>
              <a:ext uri="{FF2B5EF4-FFF2-40B4-BE49-F238E27FC236}">
                <a16:creationId xmlns:a16="http://schemas.microsoft.com/office/drawing/2014/main" id="{2C3C2668-1E9B-35C4-7218-866AE6D94508}"/>
              </a:ext>
            </a:extLst>
          </p:cNvPr>
          <p:cNvSpPr>
            <a:spLocks/>
          </p:cNvSpPr>
          <p:nvPr>
            <p:custDataLst>
              <p:tags r:id="rId42"/>
            </p:custDataLst>
          </p:nvPr>
        </p:nvSpPr>
        <p:spPr bwMode="auto">
          <a:xfrm>
            <a:off x="7980363" y="4837113"/>
            <a:ext cx="4778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557520-7972-4FB8-AEF3-D25A5B2148CF}" type="datetime'D''i''''''''''''st''''''''ri''c''t'''''' ''''h''''e''''''''at'">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ct heat</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Text Placeholder 10">
            <a:extLst>
              <a:ext uri="{FF2B5EF4-FFF2-40B4-BE49-F238E27FC236}">
                <a16:creationId xmlns:a16="http://schemas.microsoft.com/office/drawing/2014/main" id="{1B35807A-A1DF-1D15-E149-CEB50471F42B}"/>
              </a:ext>
            </a:extLst>
          </p:cNvPr>
          <p:cNvSpPr>
            <a:spLocks/>
          </p:cNvSpPr>
          <p:nvPr>
            <p:custDataLst>
              <p:tags r:id="rId43"/>
            </p:custDataLst>
          </p:nvPr>
        </p:nvSpPr>
        <p:spPr bwMode="gray">
          <a:xfrm>
            <a:off x="8894763" y="4051300"/>
            <a:ext cx="2635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6D4E05-7BA0-4EB8-9752-74AC402157EB}" type="datetime'''7''''''''''''''''''''''''''''''''%'''''''''''''''''''''''''">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 Placeholder 10">
            <a:extLst>
              <a:ext uri="{FF2B5EF4-FFF2-40B4-BE49-F238E27FC236}">
                <a16:creationId xmlns:a16="http://schemas.microsoft.com/office/drawing/2014/main" id="{22FDFCC7-815B-B76F-BEEB-F2AF79F76638}"/>
              </a:ext>
            </a:extLst>
          </p:cNvPr>
          <p:cNvSpPr>
            <a:spLocks/>
          </p:cNvSpPr>
          <p:nvPr>
            <p:custDataLst>
              <p:tags r:id="rId44"/>
            </p:custDataLst>
          </p:nvPr>
        </p:nvSpPr>
        <p:spPr bwMode="auto">
          <a:xfrm>
            <a:off x="8675688" y="4837113"/>
            <a:ext cx="7032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21CA5F-EB93-47A3-A73A-919DCB2DF6E4}" type="datetime'Dir''ec''t'' ''''re''s''ide''''nti''a''''''l'' &amp;'''' comm.'''">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rect residential &amp; comm.</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3E481C7A-5FCE-B134-5498-F1512283E50B}"/>
              </a:ext>
            </a:extLst>
          </p:cNvPr>
          <p:cNvSpPr>
            <a:spLocks/>
          </p:cNvSpPr>
          <p:nvPr>
            <p:custDataLst>
              <p:tags r:id="rId45"/>
            </p:custDataLst>
          </p:nvPr>
        </p:nvSpPr>
        <p:spPr bwMode="gray">
          <a:xfrm>
            <a:off x="9702800" y="4167188"/>
            <a:ext cx="2635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C56DA9-B7D4-4F96-BDD8-ADD6D0E229CA}" type="datetime'''''''''''''''''''''''''3''''%'''''''''''''''''''''''''''''''">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Text Placeholder 10">
            <a:extLst>
              <a:ext uri="{FF2B5EF4-FFF2-40B4-BE49-F238E27FC236}">
                <a16:creationId xmlns:a16="http://schemas.microsoft.com/office/drawing/2014/main" id="{119DCB8C-9010-4382-3CC3-ED62A43C4BF8}"/>
              </a:ext>
            </a:extLst>
          </p:cNvPr>
          <p:cNvSpPr>
            <a:spLocks/>
          </p:cNvSpPr>
          <p:nvPr>
            <p:custDataLst>
              <p:tags r:id="rId46"/>
            </p:custDataLst>
          </p:nvPr>
        </p:nvSpPr>
        <p:spPr bwMode="auto">
          <a:xfrm>
            <a:off x="9466263" y="4837113"/>
            <a:ext cx="738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6C0931-61D7-4168-B565-33A16F9AB976}" type="datetime'Ag''ric''u''l''''''''''''''tu''re'' &amp; f''''i''s''h''''''i''ng'">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griculture &amp; fishing</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 Placeholder 10">
            <a:extLst>
              <a:ext uri="{FF2B5EF4-FFF2-40B4-BE49-F238E27FC236}">
                <a16:creationId xmlns:a16="http://schemas.microsoft.com/office/drawing/2014/main" id="{5E276272-7299-F7BA-69F4-E14D3C3CED72}"/>
              </a:ext>
            </a:extLst>
          </p:cNvPr>
          <p:cNvSpPr>
            <a:spLocks/>
          </p:cNvSpPr>
          <p:nvPr>
            <p:custDataLst>
              <p:tags r:id="rId47"/>
            </p:custDataLst>
          </p:nvPr>
        </p:nvSpPr>
        <p:spPr bwMode="gray">
          <a:xfrm>
            <a:off x="10512425" y="4213225"/>
            <a:ext cx="2635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157435-CC1C-4B60-B72F-EB6D770E1EC0}" type="datetime'1''''''''''''''''''''''''''''''''''''''%'''''''''''''''''''''">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1" name="Text Placeholder 10">
            <a:extLst>
              <a:ext uri="{FF2B5EF4-FFF2-40B4-BE49-F238E27FC236}">
                <a16:creationId xmlns:a16="http://schemas.microsoft.com/office/drawing/2014/main" id="{3A24103F-B539-63A5-82F2-53A7991FBC26}"/>
              </a:ext>
            </a:extLst>
          </p:cNvPr>
          <p:cNvSpPr>
            <a:spLocks/>
          </p:cNvSpPr>
          <p:nvPr>
            <p:custDataLst>
              <p:tags r:id="rId48"/>
            </p:custDataLst>
          </p:nvPr>
        </p:nvSpPr>
        <p:spPr bwMode="auto">
          <a:xfrm>
            <a:off x="10367963" y="4837113"/>
            <a:ext cx="5540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3F7B02-83F0-475C-9F35-440950B93488}" type="datetime'''In''''''d''''''us''''''tr''''''y &amp; ''''o''''t''''''he''''r'">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ustry &amp; other</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Text Placeholder 10">
            <a:extLst>
              <a:ext uri="{FF2B5EF4-FFF2-40B4-BE49-F238E27FC236}">
                <a16:creationId xmlns:a16="http://schemas.microsoft.com/office/drawing/2014/main" id="{B3229554-787F-830A-C731-215E0591A153}"/>
              </a:ext>
            </a:extLst>
          </p:cNvPr>
          <p:cNvSpPr>
            <a:spLocks/>
          </p:cNvSpPr>
          <p:nvPr>
            <p:custDataLst>
              <p:tags r:id="rId49"/>
            </p:custDataLst>
          </p:nvPr>
        </p:nvSpPr>
        <p:spPr bwMode="auto">
          <a:xfrm>
            <a:off x="11069638" y="4837113"/>
            <a:ext cx="7651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FA0AB3-2659-4582-9466-91598A10447B}" type="datetime'''''P''owe''''''r ''(''''El''ec''''tr''i''''ci''''''''t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ower (Electricity)</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Text Placeholder 10">
            <a:extLst>
              <a:ext uri="{FF2B5EF4-FFF2-40B4-BE49-F238E27FC236}">
                <a16:creationId xmlns:a16="http://schemas.microsoft.com/office/drawing/2014/main" id="{5BF4ADED-07B5-CDF9-935F-FDEA4E7897BF}"/>
              </a:ext>
            </a:extLst>
          </p:cNvPr>
          <p:cNvSpPr>
            <a:spLocks/>
          </p:cNvSpPr>
          <p:nvPr>
            <p:custDataLst>
              <p:tags r:id="rId50"/>
            </p:custDataLst>
          </p:nvPr>
        </p:nvSpPr>
        <p:spPr bwMode="gray">
          <a:xfrm>
            <a:off x="6384925" y="2322513"/>
            <a:ext cx="431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EECC7-96E0-4BB2-AAC7-638A6A6C287A}"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9A2801D2-8610-24E1-2A9F-C2FB8BE22EBB}"/>
              </a:ext>
            </a:extLst>
          </p:cNvPr>
          <p:cNvSpPr>
            <a:spLocks/>
          </p:cNvSpPr>
          <p:nvPr>
            <p:custDataLst>
              <p:tags r:id="rId51"/>
            </p:custDataLst>
          </p:nvPr>
        </p:nvSpPr>
        <p:spPr bwMode="gray">
          <a:xfrm>
            <a:off x="11279188" y="41052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A9B20A6-FA01-4BE8-BAC3-AD6283019AAE}" type="datetime'''''''''''''''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TextBox 89">
            <a:extLst>
              <a:ext uri="{FF2B5EF4-FFF2-40B4-BE49-F238E27FC236}">
                <a16:creationId xmlns:a16="http://schemas.microsoft.com/office/drawing/2014/main" id="{83B8D40C-3A40-34D8-0D95-D7BEB57CDC56}"/>
              </a:ext>
            </a:extLst>
          </p:cNvPr>
          <p:cNvSpPr txBox="1"/>
          <p:nvPr/>
        </p:nvSpPr>
        <p:spPr bwMode="gray">
          <a:xfrm>
            <a:off x="6155590" y="2117135"/>
            <a:ext cx="954088" cy="25736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400 PJ</a:t>
            </a:r>
          </a:p>
        </p:txBody>
      </p:sp>
      <p:sp>
        <p:nvSpPr>
          <p:cNvPr id="98" name="Text Placeholder 10">
            <a:extLst>
              <a:ext uri="{FF2B5EF4-FFF2-40B4-BE49-F238E27FC236}">
                <a16:creationId xmlns:a16="http://schemas.microsoft.com/office/drawing/2014/main" id="{D9D20C5C-5FCF-D0E6-C843-85A6E70A09D3}"/>
              </a:ext>
            </a:extLst>
          </p:cNvPr>
          <p:cNvSpPr>
            <a:spLocks noGrp="1"/>
          </p:cNvSpPr>
          <p:nvPr>
            <p:custDataLst>
              <p:tags r:id="rId52"/>
            </p:custDataLst>
          </p:nvPr>
        </p:nvSpPr>
        <p:spPr bwMode="auto">
          <a:xfrm>
            <a:off x="8648189" y="2114484"/>
            <a:ext cx="1031886" cy="260349"/>
          </a:xfrm>
          <a:prstGeom prst="rect">
            <a:avLst/>
          </a:prstGeom>
          <a:noFill/>
          <a:ln>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Heating &amp; cooling (79%)</a:t>
            </a:r>
            <a:endParaRPr kumimoji="0" lang="en-US" sz="1200" b="0" i="0" u="none" strike="noStrike" kern="1200" cap="none" spc="0" normalizeH="0" baseline="-2500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872425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1D24505A-5397-962D-EAD7-56FE2222A93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1D24505A-5397-962D-EAD7-56FE2222A93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9D2CD71-9D3C-DC4A-42DB-5527146454B7}"/>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1050" dirty="0"/>
              <a:t>Stronger implementation of policy goals could </a:t>
            </a:r>
            <a:r>
              <a:rPr lang="en-US" sz="1050" b="1" dirty="0"/>
              <a:t>boost new geothermal heat developments 50% by 2030</a:t>
            </a:r>
            <a:r>
              <a:rPr lang="en-US" sz="1050" dirty="0"/>
              <a:t> in the APS compared with the Stated Policies scenario.</a:t>
            </a:r>
          </a:p>
          <a:p>
            <a:r>
              <a:rPr lang="en-US" sz="1050" dirty="0"/>
              <a:t>Strong policy can also help drive </a:t>
            </a:r>
            <a:r>
              <a:rPr lang="en-US" sz="1050" b="1" dirty="0"/>
              <a:t>next-generation geothermal cost reductions of up to 80% </a:t>
            </a:r>
            <a:r>
              <a:rPr lang="en-US" sz="1050" dirty="0"/>
              <a:t>by 2035.</a:t>
            </a:r>
          </a:p>
          <a:p>
            <a:r>
              <a:rPr lang="en-US" sz="1050" dirty="0"/>
              <a:t>In the APS, expanding policy support and cost reductions would </a:t>
            </a:r>
            <a:r>
              <a:rPr lang="en-US" sz="1050" b="1" dirty="0"/>
              <a:t>scale GHP consumption to almost 3,000 PJ — 50% higher than in the Stated Policy scenario </a:t>
            </a:r>
            <a:r>
              <a:rPr lang="en-US" sz="1050" dirty="0"/>
              <a:t>(China, U.S., and Europe together account for 80% of this growth).</a:t>
            </a:r>
          </a:p>
          <a:p>
            <a:r>
              <a:rPr lang="en-US" sz="1050" dirty="0"/>
              <a:t>Almost </a:t>
            </a:r>
            <a:r>
              <a:rPr lang="en-US" sz="1050" b="1" dirty="0"/>
              <a:t>two-thirds of geothermal power capacity additions between 2024 and 2030 </a:t>
            </a:r>
            <a:r>
              <a:rPr lang="en-US" sz="1050" dirty="0"/>
              <a:t>are expected to be policy-driven – primarily tax credits, fixed tariffs, and premiums.</a:t>
            </a:r>
          </a:p>
        </p:txBody>
      </p:sp>
      <p:sp>
        <p:nvSpPr>
          <p:cNvPr id="4" name="Title 3">
            <a:extLst>
              <a:ext uri="{FF2B5EF4-FFF2-40B4-BE49-F238E27FC236}">
                <a16:creationId xmlns:a16="http://schemas.microsoft.com/office/drawing/2014/main" id="{E50AAE8C-3562-86AC-8F79-139A8AA01CAA}"/>
              </a:ext>
            </a:extLst>
          </p:cNvPr>
          <p:cNvSpPr>
            <a:spLocks noGrp="1"/>
          </p:cNvSpPr>
          <p:nvPr>
            <p:ph type="title"/>
          </p:nvPr>
        </p:nvSpPr>
        <p:spPr/>
        <p:txBody>
          <a:bodyPr vert="horz" rIns="91440"/>
          <a:lstStyle/>
          <a:p>
            <a:pPr marL="0" indent="0"/>
            <a:r>
              <a:rPr lang="en-US" dirty="0">
                <a:cs typeface="Arial"/>
              </a:rPr>
              <a:t>Four key policy priorities can help scale geothermal power deployment and drive down costs</a:t>
            </a:r>
            <a:endParaRPr lang="en-US" dirty="0"/>
          </a:p>
        </p:txBody>
      </p:sp>
      <p:sp>
        <p:nvSpPr>
          <p:cNvPr id="5" name="Footer Placeholder 4">
            <a:extLst>
              <a:ext uri="{FF2B5EF4-FFF2-40B4-BE49-F238E27FC236}">
                <a16:creationId xmlns:a16="http://schemas.microsoft.com/office/drawing/2014/main" id="{B939CB73-262B-75CB-6AD7-AE9001E7B6A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a:t>
            </a:r>
          </a:p>
          <a:p>
            <a:pPr mar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1">
            <a:extLst>
              <a:ext uri="{FF2B5EF4-FFF2-40B4-BE49-F238E27FC236}">
                <a16:creationId xmlns:a16="http://schemas.microsoft.com/office/drawing/2014/main" id="{5E2EE406-6338-D954-4614-3C26EB6EB480}"/>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lobal policy</a:t>
            </a:r>
          </a:p>
        </p:txBody>
      </p:sp>
      <p:grpSp>
        <p:nvGrpSpPr>
          <p:cNvPr id="8" name="Group 7">
            <a:extLst>
              <a:ext uri="{FF2B5EF4-FFF2-40B4-BE49-F238E27FC236}">
                <a16:creationId xmlns:a16="http://schemas.microsoft.com/office/drawing/2014/main" id="{03D5594D-49E5-2A85-A7A2-F23FEF0A0A49}"/>
              </a:ext>
            </a:extLst>
          </p:cNvPr>
          <p:cNvGrpSpPr/>
          <p:nvPr/>
        </p:nvGrpSpPr>
        <p:grpSpPr>
          <a:xfrm>
            <a:off x="325670" y="1916317"/>
            <a:ext cx="2529000" cy="731520"/>
            <a:chOff x="480418" y="1916317"/>
            <a:chExt cx="2529000" cy="731520"/>
          </a:xfrm>
        </p:grpSpPr>
        <p:sp>
          <p:nvSpPr>
            <p:cNvPr id="10" name="Rounded Rectangle 9">
              <a:extLst>
                <a:ext uri="{FF2B5EF4-FFF2-40B4-BE49-F238E27FC236}">
                  <a16:creationId xmlns:a16="http://schemas.microsoft.com/office/drawing/2014/main" id="{4CE6A427-3E62-ACAD-D060-86F6BB44DF34}"/>
                </a:ext>
              </a:extLst>
            </p:cNvPr>
            <p:cNvSpPr/>
            <p:nvPr/>
          </p:nvSpPr>
          <p:spPr bwMode="gray">
            <a:xfrm>
              <a:off x="846178" y="1916317"/>
              <a:ext cx="2163240" cy="73152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Global Collaboration</a:t>
              </a:r>
            </a:p>
          </p:txBody>
        </p:sp>
        <p:sp>
          <p:nvSpPr>
            <p:cNvPr id="11" name="Oval 10">
              <a:extLst>
                <a:ext uri="{FF2B5EF4-FFF2-40B4-BE49-F238E27FC236}">
                  <a16:creationId xmlns:a16="http://schemas.microsoft.com/office/drawing/2014/main" id="{448C5B55-2B86-FCC4-6938-3BA2C2CABA2C}"/>
                </a:ext>
              </a:extLst>
            </p:cNvPr>
            <p:cNvSpPr/>
            <p:nvPr/>
          </p:nvSpPr>
          <p:spPr bwMode="gray">
            <a:xfrm>
              <a:off x="480418" y="1916317"/>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Graphic 11" descr="Construction worker male outline">
              <a:extLst>
                <a:ext uri="{FF2B5EF4-FFF2-40B4-BE49-F238E27FC236}">
                  <a16:creationId xmlns:a16="http://schemas.microsoft.com/office/drawing/2014/main" id="{139CACA4-F622-9DF0-6AB9-F48E821D52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1730" y="1944894"/>
              <a:ext cx="668895" cy="668895"/>
            </a:xfrm>
            <a:prstGeom prst="rect">
              <a:avLst/>
            </a:prstGeom>
          </p:spPr>
        </p:pic>
      </p:grpSp>
      <p:sp>
        <p:nvSpPr>
          <p:cNvPr id="9" name="Rounded Rectangle 8">
            <a:extLst>
              <a:ext uri="{FF2B5EF4-FFF2-40B4-BE49-F238E27FC236}">
                <a16:creationId xmlns:a16="http://schemas.microsoft.com/office/drawing/2014/main" id="{4F74C9B5-289A-727A-1F4A-7A7E86C5D79C}"/>
              </a:ext>
            </a:extLst>
          </p:cNvPr>
          <p:cNvSpPr/>
          <p:nvPr/>
        </p:nvSpPr>
        <p:spPr bwMode="gray">
          <a:xfrm>
            <a:off x="2930008" y="1916316"/>
            <a:ext cx="6099288" cy="697473"/>
          </a:xfrm>
          <a:prstGeom prst="roundRect">
            <a:avLst/>
          </a:prstGeom>
          <a:solidFill>
            <a:srgbClr val="C1E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lobal collaboration on geothermal energy – particularly heating and cooling – lags behind other renewables, slowing innovation and increasing risk. Stronger, more large-scale collaboration is a priority.</a:t>
            </a:r>
          </a:p>
        </p:txBody>
      </p:sp>
      <p:grpSp>
        <p:nvGrpSpPr>
          <p:cNvPr id="14" name="Group 13">
            <a:extLst>
              <a:ext uri="{FF2B5EF4-FFF2-40B4-BE49-F238E27FC236}">
                <a16:creationId xmlns:a16="http://schemas.microsoft.com/office/drawing/2014/main" id="{169AE1D8-87C2-2888-C7E4-DD023BEFDDBC}"/>
              </a:ext>
            </a:extLst>
          </p:cNvPr>
          <p:cNvGrpSpPr/>
          <p:nvPr/>
        </p:nvGrpSpPr>
        <p:grpSpPr>
          <a:xfrm>
            <a:off x="325670" y="3002934"/>
            <a:ext cx="2529000" cy="731520"/>
            <a:chOff x="480418" y="2793713"/>
            <a:chExt cx="2529000" cy="731520"/>
          </a:xfrm>
        </p:grpSpPr>
        <p:grpSp>
          <p:nvGrpSpPr>
            <p:cNvPr id="16" name="Group 15">
              <a:extLst>
                <a:ext uri="{FF2B5EF4-FFF2-40B4-BE49-F238E27FC236}">
                  <a16:creationId xmlns:a16="http://schemas.microsoft.com/office/drawing/2014/main" id="{89B53B13-E92C-A48E-951F-575E447908C3}"/>
                </a:ext>
              </a:extLst>
            </p:cNvPr>
            <p:cNvGrpSpPr/>
            <p:nvPr/>
          </p:nvGrpSpPr>
          <p:grpSpPr>
            <a:xfrm>
              <a:off x="480418" y="2793713"/>
              <a:ext cx="2529000" cy="731520"/>
              <a:chOff x="7599146" y="3074878"/>
              <a:chExt cx="2529000" cy="731520"/>
            </a:xfrm>
          </p:grpSpPr>
          <p:sp>
            <p:nvSpPr>
              <p:cNvPr id="18" name="Rounded Rectangle 17">
                <a:extLst>
                  <a:ext uri="{FF2B5EF4-FFF2-40B4-BE49-F238E27FC236}">
                    <a16:creationId xmlns:a16="http://schemas.microsoft.com/office/drawing/2014/main" id="{5D386FA3-4CFB-853A-3E89-3FE9954723BF}"/>
                  </a:ext>
                </a:extLst>
              </p:cNvPr>
              <p:cNvSpPr/>
              <p:nvPr/>
            </p:nvSpPr>
            <p:spPr bwMode="gray">
              <a:xfrm>
                <a:off x="7964906" y="3074878"/>
                <a:ext cx="2163240" cy="731520"/>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Workforce Development</a:t>
                </a:r>
              </a:p>
            </p:txBody>
          </p:sp>
          <p:sp>
            <p:nvSpPr>
              <p:cNvPr id="19" name="Oval 18">
                <a:extLst>
                  <a:ext uri="{FF2B5EF4-FFF2-40B4-BE49-F238E27FC236}">
                    <a16:creationId xmlns:a16="http://schemas.microsoft.com/office/drawing/2014/main" id="{A01BABF6-1924-9E5C-AA67-34B294DFFA37}"/>
                  </a:ext>
                </a:extLst>
              </p:cNvPr>
              <p:cNvSpPr/>
              <p:nvPr/>
            </p:nvSpPr>
            <p:spPr bwMode="gray">
              <a:xfrm>
                <a:off x="7599146" y="3074878"/>
                <a:ext cx="731520" cy="73152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7" name="Graphic 16" descr="Earth globe: Americas with solid fill">
              <a:extLst>
                <a:ext uri="{FF2B5EF4-FFF2-40B4-BE49-F238E27FC236}">
                  <a16:creationId xmlns:a16="http://schemas.microsoft.com/office/drawing/2014/main" id="{F8014641-FE32-48B2-144E-B7A4AFE207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7518" y="2864505"/>
              <a:ext cx="597317" cy="597317"/>
            </a:xfrm>
            <a:prstGeom prst="rect">
              <a:avLst/>
            </a:prstGeom>
          </p:spPr>
        </p:pic>
      </p:grpSp>
      <p:sp>
        <p:nvSpPr>
          <p:cNvPr id="15" name="Rounded Rectangle 14">
            <a:extLst>
              <a:ext uri="{FF2B5EF4-FFF2-40B4-BE49-F238E27FC236}">
                <a16:creationId xmlns:a16="http://schemas.microsoft.com/office/drawing/2014/main" id="{2822375C-09DC-F135-979C-E83CA7E65B91}"/>
              </a:ext>
            </a:extLst>
          </p:cNvPr>
          <p:cNvSpPr/>
          <p:nvPr/>
        </p:nvSpPr>
        <p:spPr bwMode="gray">
          <a:xfrm>
            <a:off x="2930008" y="3019957"/>
            <a:ext cx="6099288" cy="697473"/>
          </a:xfrm>
          <a:prstGeom prst="round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eothermal expansion will require a skilled workforce in engineering, geology, and drilling sectors. Transitioning the oil and gas workforce will streamline geothermal workforce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0557C30E-633B-E3FA-91B7-81F1DF483413}"/>
              </a:ext>
            </a:extLst>
          </p:cNvPr>
          <p:cNvGrpSpPr/>
          <p:nvPr/>
        </p:nvGrpSpPr>
        <p:grpSpPr>
          <a:xfrm>
            <a:off x="325670" y="4089551"/>
            <a:ext cx="2529000" cy="731520"/>
            <a:chOff x="6176400" y="1913581"/>
            <a:chExt cx="2529000" cy="731520"/>
          </a:xfrm>
        </p:grpSpPr>
        <p:grpSp>
          <p:nvGrpSpPr>
            <p:cNvPr id="23" name="Group 22">
              <a:extLst>
                <a:ext uri="{FF2B5EF4-FFF2-40B4-BE49-F238E27FC236}">
                  <a16:creationId xmlns:a16="http://schemas.microsoft.com/office/drawing/2014/main" id="{2106EB47-0690-663F-69B3-B6678A29B817}"/>
                </a:ext>
              </a:extLst>
            </p:cNvPr>
            <p:cNvGrpSpPr/>
            <p:nvPr/>
          </p:nvGrpSpPr>
          <p:grpSpPr>
            <a:xfrm>
              <a:off x="6176400" y="1913581"/>
              <a:ext cx="2529000" cy="731520"/>
              <a:chOff x="480418" y="3671109"/>
              <a:chExt cx="2529000" cy="731520"/>
            </a:xfrm>
          </p:grpSpPr>
          <p:sp>
            <p:nvSpPr>
              <p:cNvPr id="25" name="Rounded Rectangle 24">
                <a:extLst>
                  <a:ext uri="{FF2B5EF4-FFF2-40B4-BE49-F238E27FC236}">
                    <a16:creationId xmlns:a16="http://schemas.microsoft.com/office/drawing/2014/main" id="{65595E3B-2B0E-74C3-8722-453241187F10}"/>
                  </a:ext>
                </a:extLst>
              </p:cNvPr>
              <p:cNvSpPr/>
              <p:nvPr/>
            </p:nvSpPr>
            <p:spPr bwMode="gray">
              <a:xfrm>
                <a:off x="846178" y="3671109"/>
                <a:ext cx="2163240" cy="73152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search &amp; Development</a:t>
                </a:r>
              </a:p>
            </p:txBody>
          </p:sp>
          <p:sp>
            <p:nvSpPr>
              <p:cNvPr id="26" name="Oval 25">
                <a:extLst>
                  <a:ext uri="{FF2B5EF4-FFF2-40B4-BE49-F238E27FC236}">
                    <a16:creationId xmlns:a16="http://schemas.microsoft.com/office/drawing/2014/main" id="{E0BB30E1-68D7-6F4C-DF5F-3B4AEDC843B9}"/>
                  </a:ext>
                </a:extLst>
              </p:cNvPr>
              <p:cNvSpPr/>
              <p:nvPr/>
            </p:nvSpPr>
            <p:spPr bwMode="gray">
              <a:xfrm>
                <a:off x="480418" y="3671109"/>
                <a:ext cx="731520" cy="731520"/>
              </a:xfrm>
              <a:prstGeom prst="ellips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24" name="Graphic 23" descr="Microscope with solid fill">
              <a:extLst>
                <a:ext uri="{FF2B5EF4-FFF2-40B4-BE49-F238E27FC236}">
                  <a16:creationId xmlns:a16="http://schemas.microsoft.com/office/drawing/2014/main" id="{52D5125C-A9C1-DA9F-8CF9-732DA733107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8654" y="1991044"/>
              <a:ext cx="576594" cy="576594"/>
            </a:xfrm>
            <a:prstGeom prst="rect">
              <a:avLst/>
            </a:prstGeom>
          </p:spPr>
        </p:pic>
      </p:grpSp>
      <p:sp>
        <p:nvSpPr>
          <p:cNvPr id="22" name="Rounded Rectangle 21">
            <a:extLst>
              <a:ext uri="{FF2B5EF4-FFF2-40B4-BE49-F238E27FC236}">
                <a16:creationId xmlns:a16="http://schemas.microsoft.com/office/drawing/2014/main" id="{7685C6A7-DD59-9036-7E65-6942E9CC780B}"/>
              </a:ext>
            </a:extLst>
          </p:cNvPr>
          <p:cNvSpPr/>
          <p:nvPr/>
        </p:nvSpPr>
        <p:spPr bwMode="gray">
          <a:xfrm>
            <a:off x="2930008" y="4089551"/>
            <a:ext cx="6099288" cy="697473"/>
          </a:xfrm>
          <a:prstGeom prst="roundRect">
            <a:avLst/>
          </a:prstGeom>
          <a:solidFill>
            <a:srgbClr val="F8D1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oor funding infrastructure for geothermal exploration and drilling drives up investment costs and slows technological progress. Strong funding mechanisms will be necessary to speed geothermal deployment.</a:t>
            </a:r>
          </a:p>
        </p:txBody>
      </p:sp>
      <p:grpSp>
        <p:nvGrpSpPr>
          <p:cNvPr id="28" name="Group 27">
            <a:extLst>
              <a:ext uri="{FF2B5EF4-FFF2-40B4-BE49-F238E27FC236}">
                <a16:creationId xmlns:a16="http://schemas.microsoft.com/office/drawing/2014/main" id="{3CACF3CE-9FA8-769D-A8FD-64DB6720B21E}"/>
              </a:ext>
            </a:extLst>
          </p:cNvPr>
          <p:cNvGrpSpPr/>
          <p:nvPr/>
        </p:nvGrpSpPr>
        <p:grpSpPr>
          <a:xfrm>
            <a:off x="325670" y="5176169"/>
            <a:ext cx="2529000" cy="697474"/>
            <a:chOff x="480418" y="5072141"/>
            <a:chExt cx="2529000" cy="697474"/>
          </a:xfrm>
        </p:grpSpPr>
        <p:sp>
          <p:nvSpPr>
            <p:cNvPr id="30" name="Rounded Rectangle 29">
              <a:extLst>
                <a:ext uri="{FF2B5EF4-FFF2-40B4-BE49-F238E27FC236}">
                  <a16:creationId xmlns:a16="http://schemas.microsoft.com/office/drawing/2014/main" id="{1373C352-3E5F-4B43-D847-22DCA24F6B1C}"/>
                </a:ext>
              </a:extLst>
            </p:cNvPr>
            <p:cNvSpPr/>
            <p:nvPr/>
          </p:nvSpPr>
          <p:spPr bwMode="gray">
            <a:xfrm>
              <a:off x="846178" y="5072141"/>
              <a:ext cx="2163240" cy="697474"/>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isk Mitigation</a:t>
              </a:r>
            </a:p>
          </p:txBody>
        </p:sp>
        <p:sp>
          <p:nvSpPr>
            <p:cNvPr id="31" name="Oval 30">
              <a:extLst>
                <a:ext uri="{FF2B5EF4-FFF2-40B4-BE49-F238E27FC236}">
                  <a16:creationId xmlns:a16="http://schemas.microsoft.com/office/drawing/2014/main" id="{D25C02D9-EF90-B54D-1366-18415F9AED01}"/>
                </a:ext>
              </a:extLst>
            </p:cNvPr>
            <p:cNvSpPr/>
            <p:nvPr/>
          </p:nvSpPr>
          <p:spPr bwMode="gray">
            <a:xfrm>
              <a:off x="480418" y="5072141"/>
              <a:ext cx="731520" cy="685800"/>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9" name="Rounded Rectangle 28">
            <a:extLst>
              <a:ext uri="{FF2B5EF4-FFF2-40B4-BE49-F238E27FC236}">
                <a16:creationId xmlns:a16="http://schemas.microsoft.com/office/drawing/2014/main" id="{19FF367B-09A0-05CC-FFC8-20DEC5AEAA14}"/>
              </a:ext>
            </a:extLst>
          </p:cNvPr>
          <p:cNvSpPr/>
          <p:nvPr/>
        </p:nvSpPr>
        <p:spPr bwMode="gray">
          <a:xfrm>
            <a:off x="2943112" y="5181326"/>
            <a:ext cx="6099288" cy="697473"/>
          </a:xfrm>
          <a:prstGeom prst="roundRect">
            <a:avLst/>
          </a:prstGeom>
          <a:solidFill>
            <a:srgbClr val="D2F1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eothermal projects have higher predevelopment risks compared with other renewable energy technologies due to complex geological and subsurface conditions. Mitigating risk is critical in lowering project costs.</a:t>
            </a:r>
          </a:p>
        </p:txBody>
      </p:sp>
      <p:pic>
        <p:nvPicPr>
          <p:cNvPr id="32" name="Graphic 31" descr="Radioactive outline">
            <a:extLst>
              <a:ext uri="{FF2B5EF4-FFF2-40B4-BE49-F238E27FC236}">
                <a16:creationId xmlns:a16="http://schemas.microsoft.com/office/drawing/2014/main" id="{826EAEEA-84E2-B1F3-861D-99E7384244B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528" y="5176169"/>
            <a:ext cx="685800" cy="685800"/>
          </a:xfrm>
          <a:prstGeom prst="rect">
            <a:avLst/>
          </a:prstGeom>
        </p:spPr>
      </p:pic>
    </p:spTree>
    <p:extLst>
      <p:ext uri="{BB962C8B-B14F-4D97-AF65-F5344CB8AC3E}">
        <p14:creationId xmlns:p14="http://schemas.microsoft.com/office/powerpoint/2010/main" val="9721877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BC76D5-29D0-5627-2C75-89B5D1573292}"/>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CFBC76D5-29D0-5627-2C75-89B5D157329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7528BD-032B-D748-0A2D-689D284F58E6}"/>
              </a:ext>
            </a:extLst>
          </p:cNvPr>
          <p:cNvSpPr>
            <a:spLocks noGrp="1"/>
          </p:cNvSpPr>
          <p:nvPr>
            <p:ph type="body" sz="quarter" idx="14"/>
          </p:nvPr>
        </p:nvSpPr>
        <p:spPr/>
        <p:txBody>
          <a:bodyPr rIns="91440"/>
          <a:lstStyle/>
          <a:p>
            <a:pPr marL="0" indent="0">
              <a:spcAft>
                <a:spcPts val="600"/>
              </a:spcAft>
              <a:buNone/>
            </a:pPr>
            <a:r>
              <a:rPr lang="en-US" b="1" dirty="0"/>
              <a:t>Observations </a:t>
            </a:r>
            <a:endParaRPr lang="en-US" dirty="0">
              <a:solidFill>
                <a:srgbClr val="000000"/>
              </a:solidFill>
            </a:endParaRPr>
          </a:p>
          <a:p>
            <a:r>
              <a:rPr lang="en-US" sz="1000" dirty="0"/>
              <a:t>Over half of all countries with geothermal policies in place (16 of 31) focus </a:t>
            </a:r>
            <a:r>
              <a:rPr lang="en-US" sz="1000" b="1" dirty="0"/>
              <a:t>exclusively on power generation</a:t>
            </a:r>
            <a:r>
              <a:rPr lang="en-US" sz="1000" dirty="0"/>
              <a:t>.</a:t>
            </a:r>
          </a:p>
          <a:p>
            <a:r>
              <a:rPr lang="en-US" sz="1000" dirty="0"/>
              <a:t>Regional policy schemes in </a:t>
            </a:r>
            <a:r>
              <a:rPr lang="en-US" sz="1000" b="1" dirty="0"/>
              <a:t>Latin America</a:t>
            </a:r>
            <a:r>
              <a:rPr lang="en-US" sz="1000" dirty="0"/>
              <a:t> and </a:t>
            </a:r>
            <a:r>
              <a:rPr lang="en-US" sz="1000" b="1" dirty="0"/>
              <a:t>East Africa</a:t>
            </a:r>
            <a:r>
              <a:rPr lang="en-US" sz="1000" dirty="0"/>
              <a:t> are not included in this map.</a:t>
            </a:r>
            <a:endParaRPr lang="en-US" sz="1000" b="1" dirty="0"/>
          </a:p>
          <a:p>
            <a:r>
              <a:rPr lang="en-US" sz="1000" dirty="0"/>
              <a:t>Only </a:t>
            </a:r>
            <a:r>
              <a:rPr lang="en-US" sz="1000" b="1" dirty="0"/>
              <a:t>eight countries</a:t>
            </a:r>
            <a:r>
              <a:rPr lang="en-US" sz="1000" dirty="0"/>
              <a:t> (all in Europe) have adopted geothermal roadmaps for their heating &amp; cooling sectors.</a:t>
            </a:r>
          </a:p>
          <a:p>
            <a:r>
              <a:rPr lang="en-US" sz="1000" b="1" dirty="0"/>
              <a:t>&gt;100 countries</a:t>
            </a:r>
            <a:r>
              <a:rPr lang="en-US" sz="1000" dirty="0"/>
              <a:t> have policies in place for solar PV and onshore wind — over 3x as many as for geothermal energy.</a:t>
            </a:r>
          </a:p>
          <a:p>
            <a:r>
              <a:rPr lang="en-US" sz="1000" b="1" dirty="0"/>
              <a:t>Europe</a:t>
            </a:r>
            <a:r>
              <a:rPr lang="en-US" sz="1000" dirty="0"/>
              <a:t> is a regional hub for geothermal heating &amp; cooling policies, while </a:t>
            </a:r>
            <a:r>
              <a:rPr lang="en-US" sz="1000" b="1" dirty="0"/>
              <a:t>China</a:t>
            </a:r>
            <a:r>
              <a:rPr lang="en-US" sz="1000" dirty="0"/>
              <a:t> leads on the country level.</a:t>
            </a:r>
          </a:p>
          <a:p>
            <a:r>
              <a:rPr lang="en-US" sz="1000" dirty="0"/>
              <a:t>Geothermal energy is a priority mitigation option in only </a:t>
            </a:r>
            <a:r>
              <a:rPr lang="en-US" sz="1000" b="1" dirty="0"/>
              <a:t>9% of NDCs’ </a:t>
            </a:r>
            <a:r>
              <a:rPr lang="en-US" sz="1000" dirty="0"/>
              <a:t>submitted data.</a:t>
            </a:r>
            <a:endParaRPr lang="en-US" sz="1000" dirty="0">
              <a:cs typeface="Arial"/>
            </a:endParaRPr>
          </a:p>
          <a:p>
            <a:r>
              <a:rPr lang="en-US" sz="1000" dirty="0"/>
              <a:t>While the risk mitigation-to-remuneration policy ratio is ~1:2 for solar and wind energy, the ratio for geothermal energy is ~1:1 due to high early-stage risk.</a:t>
            </a:r>
          </a:p>
          <a:p>
            <a:endParaRPr lang="en-US" dirty="0"/>
          </a:p>
        </p:txBody>
      </p:sp>
      <p:sp>
        <p:nvSpPr>
          <p:cNvPr id="3" name="Title 2">
            <a:extLst>
              <a:ext uri="{FF2B5EF4-FFF2-40B4-BE49-F238E27FC236}">
                <a16:creationId xmlns:a16="http://schemas.microsoft.com/office/drawing/2014/main" id="{35A18E1F-80E2-0AF2-C7C9-E52566E03988}"/>
              </a:ext>
            </a:extLst>
          </p:cNvPr>
          <p:cNvSpPr>
            <a:spLocks noGrp="1"/>
          </p:cNvSpPr>
          <p:nvPr>
            <p:ph type="title"/>
          </p:nvPr>
        </p:nvSpPr>
        <p:spPr/>
        <p:txBody>
          <a:bodyPr vert="horz" rIns="91440"/>
          <a:lstStyle/>
          <a:p>
            <a:r>
              <a:rPr lang="en-US" dirty="0"/>
              <a:t>Global leaders in deployment are developing policies not only for geothermal power but heating and cooling as well</a:t>
            </a:r>
          </a:p>
        </p:txBody>
      </p:sp>
      <p:sp>
        <p:nvSpPr>
          <p:cNvPr id="4" name="Footer Placeholder 3">
            <a:extLst>
              <a:ext uri="{FF2B5EF4-FFF2-40B4-BE49-F238E27FC236}">
                <a16:creationId xmlns:a16="http://schemas.microsoft.com/office/drawing/2014/main" id="{FA8A0C05-579D-9A98-E3D1-8C5B36F86EF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othermal Energy Database</a:t>
            </a:r>
            <a:r>
              <a:rPr kumimoji="0" lang="en-US" sz="800" b="0" i="0" u="none" strike="noStrike" kern="1200" cap="none" spc="0" normalizeH="0" baseline="0" noProof="0" dirty="0">
                <a:ln>
                  <a:noFill/>
                </a:ln>
                <a:solidFill>
                  <a:srgbClr val="000000"/>
                </a:solidFill>
                <a:effectLst/>
                <a:uLnTx/>
                <a:uFillTx/>
                <a:latin typeface="Arial"/>
                <a:ea typeface="+mn-ea"/>
                <a:cs typeface="+mn-cs"/>
              </a:rPr>
              <a:t> (IG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a:t>
            </a:r>
          </a:p>
          <a:p>
            <a:pPr mar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4">
            <a:extLst>
              <a:ext uri="{FF2B5EF4-FFF2-40B4-BE49-F238E27FC236}">
                <a16:creationId xmlns:a16="http://schemas.microsoft.com/office/drawing/2014/main" id="{8406A196-325C-854F-03D8-AB79051FAEF5}"/>
              </a:ext>
            </a:extLst>
          </p:cNvPr>
          <p:cNvSpPr>
            <a:spLocks noGrp="1"/>
          </p:cNvSpPr>
          <p:nvPr>
            <p:ph type="body" sz="quarter" idx="13"/>
          </p:nvPr>
        </p:nvSpPr>
        <p:spPr/>
        <p:txBody>
          <a:bodyPr/>
          <a:lstStyle/>
          <a:p>
            <a:r>
              <a:rPr lang="en-US" dirty="0">
                <a:solidFill>
                  <a:srgbClr val="000000"/>
                </a:solidFill>
              </a:rPr>
              <a:t>Countries with geothermal policies in place, 2024 </a:t>
            </a:r>
            <a:r>
              <a:rPr lang="en-US" b="0" dirty="0">
                <a:solidFill>
                  <a:srgbClr val="000000"/>
                </a:solidFill>
              </a:rPr>
              <a:t>(risk mitigation and/or remuneration)</a:t>
            </a:r>
          </a:p>
        </p:txBody>
      </p:sp>
      <p:sp>
        <p:nvSpPr>
          <p:cNvPr id="7" name="Text Placeholder 1">
            <a:extLst>
              <a:ext uri="{FF2B5EF4-FFF2-40B4-BE49-F238E27FC236}">
                <a16:creationId xmlns:a16="http://schemas.microsoft.com/office/drawing/2014/main" id="{332EEE83-7AAE-472A-780C-883E8BAA135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lobal policy</a:t>
            </a:r>
          </a:p>
        </p:txBody>
      </p:sp>
      <p:pic>
        <p:nvPicPr>
          <p:cNvPr id="9" name="Picture 8">
            <a:extLst>
              <a:ext uri="{FF2B5EF4-FFF2-40B4-BE49-F238E27FC236}">
                <a16:creationId xmlns:a16="http://schemas.microsoft.com/office/drawing/2014/main" id="{EC4C0242-73F5-B9E4-14C8-ECFCB548513C}"/>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29207" y="2193076"/>
            <a:ext cx="7844975" cy="3949814"/>
          </a:xfrm>
          <a:prstGeom prst="rect">
            <a:avLst/>
          </a:prstGeom>
        </p:spPr>
      </p:pic>
    </p:spTree>
    <p:extLst>
      <p:ext uri="{BB962C8B-B14F-4D97-AF65-F5344CB8AC3E}">
        <p14:creationId xmlns:p14="http://schemas.microsoft.com/office/powerpoint/2010/main" val="28235763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0578B-8540-F473-8758-4E292447E289}"/>
            </a:ext>
          </a:extLst>
        </p:cNvPr>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DACB1F22-53F4-D870-4FB2-A5CBBF773DC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443A0EA1-83FF-0B62-004A-469974681C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A2CBDD8-3DAB-7368-F0BC-E183BD8F8E00}"/>
              </a:ext>
            </a:extLst>
          </p:cNvPr>
          <p:cNvSpPr>
            <a:spLocks noGrp="1"/>
          </p:cNvSpPr>
          <p:nvPr>
            <p:ph type="body" sz="quarter" idx="14"/>
          </p:nvPr>
        </p:nvSpPr>
        <p:spPr/>
        <p:txBody>
          <a:bodyPr rIns="182880"/>
          <a:lstStyle/>
          <a:p>
            <a:pPr marL="0" indent="0">
              <a:buNone/>
            </a:pPr>
            <a:r>
              <a:rPr lang="en-US" b="1" dirty="0"/>
              <a:t>Drivers of variable global collaboration on geothermal power versus heat</a:t>
            </a:r>
            <a:endParaRPr lang="en-US" sz="850" dirty="0"/>
          </a:p>
          <a:p>
            <a:pPr>
              <a:spcAft>
                <a:spcPts val="600"/>
              </a:spcAft>
            </a:pPr>
            <a:endParaRPr lang="en-US" sz="850" dirty="0"/>
          </a:p>
          <a:p>
            <a:pPr marL="342900" indent="-342900">
              <a:spcAft>
                <a:spcPts val="600"/>
              </a:spcAft>
              <a:buFont typeface="+mj-lt"/>
              <a:buAutoNum type="arabicPeriod"/>
            </a:pPr>
            <a:r>
              <a:rPr lang="en-US" dirty="0"/>
              <a:t>Power projects tend to be larger and have bigger returns compared to more localized heating projects.</a:t>
            </a:r>
          </a:p>
          <a:p>
            <a:pPr marL="342900" indent="-342900">
              <a:spcAft>
                <a:spcPts val="600"/>
              </a:spcAft>
              <a:buFont typeface="+mj-lt"/>
              <a:buAutoNum type="arabicPeriod"/>
            </a:pPr>
            <a:r>
              <a:rPr lang="en-US" dirty="0"/>
              <a:t>There is a differential global emphasis on electricity access compared to heating access.</a:t>
            </a:r>
          </a:p>
          <a:p>
            <a:pPr marL="342900" indent="-342900">
              <a:spcAft>
                <a:spcPts val="600"/>
              </a:spcAft>
              <a:buFont typeface="+mj-lt"/>
              <a:buAutoNum type="arabicPeriod"/>
            </a:pPr>
            <a:r>
              <a:rPr lang="en-US" dirty="0"/>
              <a:t>The development of EGS has spurred greater collaboration on geothermal power generation.</a:t>
            </a:r>
          </a:p>
          <a:p>
            <a:pPr marL="342900" indent="-342900">
              <a:spcAft>
                <a:spcPts val="600"/>
              </a:spcAft>
              <a:buFont typeface="+mj-lt"/>
              <a:buAutoNum type="arabicPeriod"/>
            </a:pPr>
            <a:r>
              <a:rPr lang="en-US" dirty="0"/>
              <a:t>Scalability of power projects attracts greater private investment.</a:t>
            </a:r>
          </a:p>
        </p:txBody>
      </p:sp>
      <p:sp>
        <p:nvSpPr>
          <p:cNvPr id="4" name="Title 3">
            <a:extLst>
              <a:ext uri="{FF2B5EF4-FFF2-40B4-BE49-F238E27FC236}">
                <a16:creationId xmlns:a16="http://schemas.microsoft.com/office/drawing/2014/main" id="{F8515D7F-B002-1F71-9E29-5F901FAD5BAD}"/>
              </a:ext>
            </a:extLst>
          </p:cNvPr>
          <p:cNvSpPr>
            <a:spLocks noGrp="1"/>
          </p:cNvSpPr>
          <p:nvPr>
            <p:ph type="title"/>
          </p:nvPr>
        </p:nvSpPr>
        <p:spPr/>
        <p:txBody>
          <a:bodyPr vert="horz" rIns="91440"/>
          <a:lstStyle/>
          <a:p>
            <a:r>
              <a:rPr lang="en-US" dirty="0"/>
              <a:t>Global collaboration favors geothermal power production, leaving room for growth in heating and cooling expansion</a:t>
            </a:r>
          </a:p>
        </p:txBody>
      </p:sp>
      <p:sp>
        <p:nvSpPr>
          <p:cNvPr id="5" name="Footer Placeholder 4">
            <a:extLst>
              <a:ext uri="{FF2B5EF4-FFF2-40B4-BE49-F238E27FC236}">
                <a16:creationId xmlns:a16="http://schemas.microsoft.com/office/drawing/2014/main" id="{6B4DF252-3421-714A-16CA-0466D9B6070B}"/>
              </a:ext>
            </a:extLst>
          </p:cNvPr>
          <p:cNvSpPr>
            <a:spLocks noGrp="1"/>
          </p:cNvSpPr>
          <p:nvPr>
            <p:ph type="ftr" sz="quarter" idx="3"/>
          </p:nvPr>
        </p:nvSpPr>
        <p:spPr>
          <a:xfrm>
            <a:off x="334962" y="6202914"/>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GRMF</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Promoting Development in Kenya: Six Years of Partnerships</a:t>
            </a:r>
            <a:r>
              <a:rPr kumimoji="0" lang="en-US" sz="800" b="0" i="0" u="none" strike="noStrike" kern="1200" cap="none" spc="0" normalizeH="0" baseline="0" noProof="0" dirty="0">
                <a:ln>
                  <a:noFill/>
                </a:ln>
                <a:solidFill>
                  <a:srgbClr val="000000"/>
                </a:solidFill>
                <a:effectLst/>
                <a:uLnTx/>
                <a:uFillTx/>
                <a:latin typeface="Arial"/>
                <a:ea typeface="+mn-ea"/>
                <a:cs typeface="+mn-cs"/>
              </a:rPr>
              <a:t> (JICA,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Third series of funded project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Geothermica</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lobal Geothermal Development Plan</a:t>
            </a:r>
            <a:r>
              <a:rPr kumimoji="0" lang="en-US" sz="800" b="0" i="0" u="none" strike="noStrike" kern="1200" cap="none" spc="0" normalizeH="0" baseline="0" noProof="0" dirty="0">
                <a:ln>
                  <a:noFill/>
                </a:ln>
                <a:solidFill>
                  <a:srgbClr val="000000"/>
                </a:solidFill>
                <a:effectLst/>
                <a:uLnTx/>
                <a:uFillTx/>
                <a:latin typeface="Arial"/>
                <a:ea typeface="+mn-ea"/>
                <a:cs typeface="+mn-cs"/>
              </a:rPr>
              <a:t> (ESMAP, GGDP,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The Global Geothermal Development Plan: Mitigating Upstream Cost and Risk</a:t>
            </a:r>
            <a:r>
              <a:rPr kumimoji="0" lang="en-US" sz="800" b="0" i="0" u="none" strike="noStrike" kern="1200" cap="none" spc="0" normalizeH="0" baseline="0" noProof="0" dirty="0">
                <a:ln>
                  <a:noFill/>
                </a:ln>
                <a:solidFill>
                  <a:srgbClr val="000000"/>
                </a:solidFill>
                <a:effectLst/>
                <a:uLnTx/>
                <a:uFillTx/>
                <a:latin typeface="Arial"/>
                <a:ea typeface="+mn-ea"/>
                <a:cs typeface="+mn-cs"/>
              </a:rPr>
              <a:t> (World Bank Group, 2020).</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rPr>
              <a:t>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6" name="Text Placeholder 1">
            <a:extLst>
              <a:ext uri="{FF2B5EF4-FFF2-40B4-BE49-F238E27FC236}">
                <a16:creationId xmlns:a16="http://schemas.microsoft.com/office/drawing/2014/main" id="{87B54DC5-61B4-D0D5-63B9-EE78C5FA4E29}"/>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FFFFFF"/>
                </a:solidFill>
                <a:latin typeface="Arial"/>
              </a:rPr>
              <a:t>Global policy</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pic>
        <p:nvPicPr>
          <p:cNvPr id="32" name="Graphic 31" descr="Radioactive outline">
            <a:extLst>
              <a:ext uri="{FF2B5EF4-FFF2-40B4-BE49-F238E27FC236}">
                <a16:creationId xmlns:a16="http://schemas.microsoft.com/office/drawing/2014/main" id="{9030C168-470B-AC9C-D9A6-6C6D186D604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528" y="5176169"/>
            <a:ext cx="685800" cy="685800"/>
          </a:xfrm>
          <a:prstGeom prst="rect">
            <a:avLst/>
          </a:prstGeom>
        </p:spPr>
      </p:pic>
      <p:cxnSp>
        <p:nvCxnSpPr>
          <p:cNvPr id="13" name="btfpColumnHeaderBoxLine912903">
            <a:extLst>
              <a:ext uri="{FF2B5EF4-FFF2-40B4-BE49-F238E27FC236}">
                <a16:creationId xmlns:a16="http://schemas.microsoft.com/office/drawing/2014/main" id="{484EFFCE-7F7D-CD15-920E-FA9927FF318C}"/>
              </a:ext>
            </a:extLst>
          </p:cNvPr>
          <p:cNvCxnSpPr>
            <a:cxnSpLocks/>
          </p:cNvCxnSpPr>
          <p:nvPr/>
        </p:nvCxnSpPr>
        <p:spPr bwMode="gray">
          <a:xfrm>
            <a:off x="9439999" y="2342815"/>
            <a:ext cx="22080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737602C-0316-F415-E0AD-CA4FF8FF4227}"/>
              </a:ext>
            </a:extLst>
          </p:cNvPr>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7" name="Table 26">
            <a:extLst>
              <a:ext uri="{FF2B5EF4-FFF2-40B4-BE49-F238E27FC236}">
                <a16:creationId xmlns:a16="http://schemas.microsoft.com/office/drawing/2014/main" id="{4D63DE76-4A6F-B112-7C6F-6E783A4E9DB6}"/>
              </a:ext>
            </a:extLst>
          </p:cNvPr>
          <p:cNvGraphicFramePr>
            <a:graphicFrameLocks noGrp="1"/>
          </p:cNvGraphicFramePr>
          <p:nvPr>
            <p:extLst>
              <p:ext uri="{D42A27DB-BD31-4B8C-83A1-F6EECF244321}">
                <p14:modId xmlns:p14="http://schemas.microsoft.com/office/powerpoint/2010/main" val="732601963"/>
              </p:ext>
            </p:extLst>
          </p:nvPr>
        </p:nvGraphicFramePr>
        <p:xfrm>
          <a:off x="330200" y="1534680"/>
          <a:ext cx="8712200" cy="4472478"/>
        </p:xfrm>
        <a:graphic>
          <a:graphicData uri="http://schemas.openxmlformats.org/drawingml/2006/table">
            <a:tbl>
              <a:tblPr/>
              <a:tblGrid>
                <a:gridCol w="1040145">
                  <a:extLst>
                    <a:ext uri="{9D8B030D-6E8A-4147-A177-3AD203B41FA5}">
                      <a16:colId xmlns:a16="http://schemas.microsoft.com/office/drawing/2014/main" val="847480815"/>
                    </a:ext>
                  </a:extLst>
                </a:gridCol>
                <a:gridCol w="1203548">
                  <a:extLst>
                    <a:ext uri="{9D8B030D-6E8A-4147-A177-3AD203B41FA5}">
                      <a16:colId xmlns:a16="http://schemas.microsoft.com/office/drawing/2014/main" val="2885810355"/>
                    </a:ext>
                  </a:extLst>
                </a:gridCol>
                <a:gridCol w="2632480">
                  <a:extLst>
                    <a:ext uri="{9D8B030D-6E8A-4147-A177-3AD203B41FA5}">
                      <a16:colId xmlns:a16="http://schemas.microsoft.com/office/drawing/2014/main" val="1369122570"/>
                    </a:ext>
                  </a:extLst>
                </a:gridCol>
                <a:gridCol w="1273633">
                  <a:extLst>
                    <a:ext uri="{9D8B030D-6E8A-4147-A177-3AD203B41FA5}">
                      <a16:colId xmlns:a16="http://schemas.microsoft.com/office/drawing/2014/main" val="1865393617"/>
                    </a:ext>
                  </a:extLst>
                </a:gridCol>
                <a:gridCol w="2562394">
                  <a:extLst>
                    <a:ext uri="{9D8B030D-6E8A-4147-A177-3AD203B41FA5}">
                      <a16:colId xmlns:a16="http://schemas.microsoft.com/office/drawing/2014/main" val="1139359559"/>
                    </a:ext>
                  </a:extLst>
                </a:gridCol>
              </a:tblGrid>
              <a:tr h="395613">
                <a:tc>
                  <a:txBody>
                    <a:bodyPr/>
                    <a:lstStyle/>
                    <a:p>
                      <a:pPr marL="0" indent="0" algn="ctr" fontAlgn="b">
                        <a:buNone/>
                      </a:pPr>
                      <a:r>
                        <a:rPr lang="en-US" sz="1400" b="1" i="0" u="none" strike="noStrike" dirty="0">
                          <a:solidFill>
                            <a:srgbClr val="000000"/>
                          </a:solidFill>
                          <a:effectLst/>
                          <a:latin typeface="Arial"/>
                          <a:cs typeface="Arial"/>
                        </a:rPr>
                        <a:t>Scale</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gridSpan="2">
                  <a:txBody>
                    <a:bodyPr/>
                    <a:lstStyle/>
                    <a:p>
                      <a:pPr marL="0" indent="0" algn="ctr" fontAlgn="b">
                        <a:buNone/>
                      </a:pPr>
                      <a:r>
                        <a:rPr lang="en-US" sz="1400" b="1" i="0" u="none" strike="noStrike" dirty="0">
                          <a:solidFill>
                            <a:srgbClr val="000000"/>
                          </a:solidFill>
                          <a:effectLst/>
                          <a:latin typeface="Arial"/>
                          <a:cs typeface="Arial"/>
                        </a:rPr>
                        <a:t>Power Generation</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marL="0" indent="0" algn="ctr" fontAlgn="b">
                        <a:buNone/>
                      </a:pPr>
                      <a:r>
                        <a:rPr lang="en-US" sz="1400" b="1" i="0" u="none" strike="noStrike" dirty="0">
                          <a:solidFill>
                            <a:srgbClr val="000000"/>
                          </a:solidFill>
                          <a:effectLst/>
                          <a:latin typeface="Arial"/>
                          <a:cs typeface="Arial"/>
                        </a:rPr>
                        <a:t>Heating &amp; Cooling</a:t>
                      </a:r>
                    </a:p>
                  </a:txBody>
                  <a:tcPr anchor="b">
                    <a:lnL>
                      <a:noFill/>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68151813"/>
                  </a:ext>
                </a:extLst>
              </a:tr>
              <a:tr h="1385785">
                <a:tc>
                  <a:txBody>
                    <a:bodyPr/>
                    <a:lstStyle/>
                    <a:p>
                      <a:pPr marL="0" indent="0" algn="l" fontAlgn="b">
                        <a:buNone/>
                      </a:pPr>
                      <a:r>
                        <a:rPr lang="en-US" sz="1400" b="1" i="0" u="none" strike="noStrike" dirty="0">
                          <a:solidFill>
                            <a:srgbClr val="000000"/>
                          </a:solidFill>
                          <a:effectLst/>
                          <a:latin typeface="Arial"/>
                          <a:cs typeface="Arial"/>
                        </a:rPr>
                        <a:t>Global</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The </a:t>
                      </a:r>
                      <a:r>
                        <a:rPr kumimoji="0" lang="en-US" sz="1050" b="1" i="0" u="none" strike="noStrike" kern="1200" cap="none" spc="0" normalizeH="0" baseline="0" noProof="0" dirty="0">
                          <a:ln>
                            <a:noFill/>
                          </a:ln>
                          <a:solidFill>
                            <a:srgbClr val="000000"/>
                          </a:solidFill>
                          <a:effectLst/>
                          <a:uLnTx/>
                          <a:uFillTx/>
                          <a:latin typeface="+mn-lt"/>
                          <a:ea typeface="+mn-ea"/>
                          <a:cs typeface="+mn-cs"/>
                        </a:rPr>
                        <a:t>Global Geothermal Development Plan (GGDP)</a:t>
                      </a:r>
                      <a:r>
                        <a:rPr kumimoji="0" lang="en-US" sz="1050" b="0" i="0" u="none" strike="noStrike" kern="1200" cap="none" spc="0" normalizeH="0" baseline="0" noProof="0" dirty="0">
                          <a:ln>
                            <a:noFill/>
                          </a:ln>
                          <a:solidFill>
                            <a:srgbClr val="000000"/>
                          </a:solidFill>
                          <a:effectLst/>
                          <a:uLnTx/>
                          <a:uFillTx/>
                          <a:latin typeface="+mn-lt"/>
                          <a:ea typeface="+mn-ea"/>
                          <a:cs typeface="+mn-cs"/>
                        </a:rPr>
                        <a:t>, launched by ESMAP in 2013 to scale geothermal power, has </a:t>
                      </a:r>
                      <a:r>
                        <a:rPr kumimoji="0" lang="en-US" sz="1050" b="1" i="0" u="none" strike="noStrike" kern="1200" cap="none" spc="0" normalizeH="0" baseline="0" noProof="0" dirty="0">
                          <a:ln>
                            <a:noFill/>
                          </a:ln>
                          <a:solidFill>
                            <a:srgbClr val="000000"/>
                          </a:solidFill>
                          <a:effectLst/>
                          <a:uLnTx/>
                          <a:uFillTx/>
                          <a:latin typeface="+mn-lt"/>
                          <a:ea typeface="+mn-ea"/>
                          <a:cs typeface="+mn-cs"/>
                        </a:rPr>
                        <a:t>supported 13 countries and brought three projects online.</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b="0" i="0" u="none" strike="noStrike" dirty="0">
                          <a:solidFill>
                            <a:srgbClr val="000000"/>
                          </a:solidFill>
                          <a:effectLst/>
                          <a:latin typeface="+mn-lt"/>
                          <a:cs typeface="Arial"/>
                        </a:rPr>
                        <a:t>Although </a:t>
                      </a:r>
                      <a:r>
                        <a:rPr lang="en-US" sz="1050" b="1" i="0" u="none" strike="noStrike" dirty="0">
                          <a:solidFill>
                            <a:srgbClr val="000000"/>
                          </a:solidFill>
                          <a:effectLst/>
                          <a:latin typeface="+mn-lt"/>
                          <a:cs typeface="Arial"/>
                        </a:rPr>
                        <a:t>World Bank </a:t>
                      </a:r>
                      <a:r>
                        <a:rPr lang="en-US" sz="1050" b="0" i="0" u="none" strike="noStrike" dirty="0">
                          <a:solidFill>
                            <a:srgbClr val="000000"/>
                          </a:solidFill>
                          <a:effectLst/>
                          <a:latin typeface="+mn-lt"/>
                          <a:cs typeface="Arial"/>
                        </a:rPr>
                        <a:t>does not have a dedicated global program for geothermal heating, it has provided one-off investments in district heating in countries </a:t>
                      </a:r>
                      <a:r>
                        <a:rPr lang="en-US" sz="1050" b="1" i="0" u="none" strike="noStrike" dirty="0">
                          <a:solidFill>
                            <a:srgbClr val="000000"/>
                          </a:solidFill>
                          <a:effectLst/>
                          <a:latin typeface="+mn-lt"/>
                          <a:cs typeface="Arial"/>
                        </a:rPr>
                        <a:t>including Türkiye and El Salvador</a:t>
                      </a:r>
                      <a:r>
                        <a:rPr lang="en-US" sz="1050" b="0" i="0" u="none" strike="noStrike" dirty="0">
                          <a:solidFill>
                            <a:srgbClr val="000000"/>
                          </a:solidFill>
                          <a:effectLst/>
                          <a:latin typeface="+mn-lt"/>
                          <a:cs typeface="Arial"/>
                        </a:rPr>
                        <a:t>.</a:t>
                      </a:r>
                      <a:endParaRPr lang="en-US" sz="1050" b="0" dirty="0">
                        <a:latin typeface="+mn-lt"/>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213009">
                <a:tc>
                  <a:txBody>
                    <a:bodyPr/>
                    <a:lstStyle/>
                    <a:p>
                      <a:pPr marL="0" indent="0" algn="l" fontAlgn="b">
                        <a:buNone/>
                      </a:pPr>
                      <a:r>
                        <a:rPr lang="en-US" sz="1400" b="1" i="0" u="none" strike="noStrike" dirty="0">
                          <a:solidFill>
                            <a:srgbClr val="000000"/>
                          </a:solidFill>
                          <a:effectLst/>
                          <a:latin typeface="Arial"/>
                          <a:cs typeface="Arial"/>
                        </a:rPr>
                        <a:t>Region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Arial"/>
                        </a:rPr>
                        <a:t>The </a:t>
                      </a:r>
                      <a:r>
                        <a:rPr kumimoji="0" lang="en-US" sz="1050" b="1" i="0" u="none" strike="noStrike" kern="1200" cap="none" spc="0" normalizeH="0" baseline="0" noProof="0" dirty="0">
                          <a:ln>
                            <a:noFill/>
                          </a:ln>
                          <a:solidFill>
                            <a:srgbClr val="000000"/>
                          </a:solidFill>
                          <a:effectLst/>
                          <a:uLnTx/>
                          <a:uFillTx/>
                          <a:latin typeface="+mn-lt"/>
                          <a:ea typeface="+mn-ea"/>
                          <a:cs typeface="Arial"/>
                        </a:rPr>
                        <a:t>GRMF </a:t>
                      </a:r>
                      <a:r>
                        <a:rPr kumimoji="0" lang="en-US" sz="1050" b="0" i="0" u="none" strike="noStrike" kern="1200" cap="none" spc="0" normalizeH="0" baseline="0" noProof="0" dirty="0">
                          <a:ln>
                            <a:noFill/>
                          </a:ln>
                          <a:solidFill>
                            <a:srgbClr val="000000"/>
                          </a:solidFill>
                          <a:effectLst/>
                          <a:uLnTx/>
                          <a:uFillTx/>
                          <a:latin typeface="+mn-lt"/>
                          <a:ea typeface="+mn-ea"/>
                          <a:cs typeface="Arial"/>
                        </a:rPr>
                        <a:t>finances geothermal power projects in East Africa, expanding to include heating in 2022; </a:t>
                      </a:r>
                      <a:r>
                        <a:rPr kumimoji="0" lang="en-US" sz="1050" b="1" i="0" u="none" strike="noStrike" kern="1200" cap="none" spc="0" normalizeH="0" baseline="0" noProof="0" dirty="0">
                          <a:ln>
                            <a:noFill/>
                          </a:ln>
                          <a:solidFill>
                            <a:srgbClr val="000000"/>
                          </a:solidFill>
                          <a:effectLst/>
                          <a:uLnTx/>
                          <a:uFillTx/>
                          <a:latin typeface="+mn-lt"/>
                          <a:ea typeface="+mn-ea"/>
                          <a:cs typeface="Arial"/>
                        </a:rPr>
                        <a:t>26 power and 5 direct-use projects </a:t>
                      </a:r>
                      <a:r>
                        <a:rPr kumimoji="0" lang="en-US" sz="1050" b="0" i="0" u="none" strike="noStrike" kern="1200" cap="none" spc="0" normalizeH="0" baseline="0" noProof="0" dirty="0">
                          <a:ln>
                            <a:noFill/>
                          </a:ln>
                          <a:solidFill>
                            <a:srgbClr val="000000"/>
                          </a:solidFill>
                          <a:effectLst/>
                          <a:uLnTx/>
                          <a:uFillTx/>
                          <a:latin typeface="+mn-lt"/>
                          <a:ea typeface="+mn-ea"/>
                          <a:cs typeface="Arial"/>
                        </a:rPr>
                        <a:t>have received funding.</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buNone/>
                      </a:pPr>
                      <a:r>
                        <a:rPr lang="en-US" sz="1050" b="1" i="0" u="none" strike="noStrike" dirty="0" err="1">
                          <a:solidFill>
                            <a:srgbClr val="000000"/>
                          </a:solidFill>
                          <a:effectLst/>
                          <a:latin typeface="+mn-lt"/>
                          <a:cs typeface="Arial"/>
                        </a:rPr>
                        <a:t>Geothermica’s</a:t>
                      </a:r>
                      <a:r>
                        <a:rPr lang="en-US" sz="1050" b="0" i="0" u="none" strike="noStrike" dirty="0">
                          <a:solidFill>
                            <a:srgbClr val="000000"/>
                          </a:solidFill>
                          <a:effectLst/>
                          <a:latin typeface="+mn-lt"/>
                          <a:cs typeface="Arial"/>
                        </a:rPr>
                        <a:t> </a:t>
                      </a:r>
                      <a:r>
                        <a:rPr lang="en-US" sz="1050" b="1" i="0" u="none" strike="noStrike" dirty="0">
                          <a:solidFill>
                            <a:srgbClr val="000000"/>
                          </a:solidFill>
                          <a:effectLst/>
                          <a:latin typeface="+mn-lt"/>
                          <a:cs typeface="Arial"/>
                        </a:rPr>
                        <a:t>€32.5 million</a:t>
                      </a:r>
                      <a:r>
                        <a:rPr lang="en-US" sz="1050" b="0" i="0" u="none" strike="noStrike" dirty="0">
                          <a:solidFill>
                            <a:srgbClr val="000000"/>
                          </a:solidFill>
                          <a:effectLst/>
                          <a:latin typeface="+mn-lt"/>
                          <a:cs typeface="Arial"/>
                        </a:rPr>
                        <a:t> </a:t>
                      </a:r>
                      <a:br>
                        <a:rPr lang="en-US" sz="1050" b="0" i="0" u="none" strike="noStrike" dirty="0">
                          <a:solidFill>
                            <a:srgbClr val="000000"/>
                          </a:solidFill>
                          <a:effectLst/>
                          <a:latin typeface="+mn-lt"/>
                          <a:cs typeface="Arial"/>
                        </a:rPr>
                      </a:br>
                      <a:r>
                        <a:rPr lang="en-US" sz="1050" b="0" i="0" u="none" strike="noStrike" dirty="0">
                          <a:solidFill>
                            <a:srgbClr val="000000"/>
                          </a:solidFill>
                          <a:effectLst/>
                          <a:latin typeface="+mn-lt"/>
                          <a:cs typeface="Arial"/>
                        </a:rPr>
                        <a:t>Joint Call 2021 aims to accelerate  geothermal heating and cooling projects by 2030 through large-scale, commercially viable projects.</a:t>
                      </a:r>
                      <a:endParaRPr lang="en-US" sz="1050" dirty="0">
                        <a:latin typeface="+mn-lt"/>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478071">
                <a:tc>
                  <a:txBody>
                    <a:bodyPr/>
                    <a:lstStyle/>
                    <a:p>
                      <a:pPr marL="0" indent="0" algn="l" fontAlgn="b">
                        <a:buNone/>
                      </a:pPr>
                      <a:r>
                        <a:rPr lang="en-US" sz="1400" b="1" i="0" u="none" strike="noStrike" dirty="0">
                          <a:solidFill>
                            <a:srgbClr val="000000"/>
                          </a:solidFill>
                          <a:effectLst/>
                          <a:latin typeface="Arial"/>
                          <a:cs typeface="Arial"/>
                        </a:rPr>
                        <a:t>Bilater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1200"/>
                        </a:spcBef>
                        <a:spcAft>
                          <a:spcPts val="0"/>
                        </a:spcAft>
                        <a:buClrTx/>
                        <a:buSzTx/>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Japan’s International Cooperation Agency</a:t>
                      </a:r>
                      <a:r>
                        <a:rPr kumimoji="0" lang="en-US" sz="1050" b="0" i="0" u="none" strike="noStrike" kern="1200" cap="none" spc="0" normalizeH="0" baseline="0" noProof="0" dirty="0">
                          <a:ln>
                            <a:noFill/>
                          </a:ln>
                          <a:solidFill>
                            <a:srgbClr val="000000"/>
                          </a:solidFill>
                          <a:effectLst/>
                          <a:uLnTx/>
                          <a:uFillTx/>
                          <a:latin typeface="+mn-lt"/>
                          <a:ea typeface="+mn-ea"/>
                          <a:cs typeface="+mn-cs"/>
                        </a:rPr>
                        <a:t> invests in building geothermal power capacity in Latin America and Africa, including over </a:t>
                      </a:r>
                      <a:r>
                        <a:rPr kumimoji="0" lang="en-US" sz="1050" b="1" i="0" u="none" strike="noStrike" kern="1200" cap="none" spc="0" normalizeH="0" baseline="0" noProof="0" dirty="0">
                          <a:ln>
                            <a:noFill/>
                          </a:ln>
                          <a:solidFill>
                            <a:srgbClr val="000000"/>
                          </a:solidFill>
                          <a:effectLst/>
                          <a:uLnTx/>
                          <a:uFillTx/>
                          <a:latin typeface="+mn-lt"/>
                          <a:ea typeface="+mn-ea"/>
                          <a:cs typeface="+mn-cs"/>
                        </a:rPr>
                        <a:t>400 MW</a:t>
                      </a:r>
                      <a:r>
                        <a:rPr kumimoji="0" lang="en-US" sz="1050" b="0" i="0" u="none" strike="noStrike" kern="1200" cap="none" spc="0" normalizeH="0" baseline="0" noProof="0" dirty="0">
                          <a:ln>
                            <a:noFill/>
                          </a:ln>
                          <a:solidFill>
                            <a:srgbClr val="000000"/>
                          </a:solidFill>
                          <a:effectLst/>
                          <a:uLnTx/>
                          <a:uFillTx/>
                          <a:latin typeface="+mn-lt"/>
                          <a:ea typeface="+mn-ea"/>
                          <a:cs typeface="+mn-cs"/>
                        </a:rPr>
                        <a:t> of geothermal power plants in Kenya.</a:t>
                      </a: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050" dirty="0">
                          <a:solidFill>
                            <a:schemeClr val="tx1"/>
                          </a:solidFill>
                        </a:rPr>
                        <a:t>The </a:t>
                      </a:r>
                      <a:r>
                        <a:rPr lang="en-US" sz="1050" b="1" dirty="0">
                          <a:solidFill>
                            <a:schemeClr val="tx1"/>
                          </a:solidFill>
                        </a:rPr>
                        <a:t>German Agency for International Cooperation</a:t>
                      </a:r>
                      <a:r>
                        <a:rPr lang="en-US" sz="1050" dirty="0">
                          <a:solidFill>
                            <a:schemeClr val="tx1"/>
                          </a:solidFill>
                        </a:rPr>
                        <a:t> and the </a:t>
                      </a:r>
                      <a:r>
                        <a:rPr lang="en-US" sz="1050" b="1" dirty="0">
                          <a:solidFill>
                            <a:schemeClr val="tx1"/>
                          </a:solidFill>
                        </a:rPr>
                        <a:t>Central American Integration System</a:t>
                      </a:r>
                      <a:r>
                        <a:rPr lang="en-US" sz="1050" dirty="0">
                          <a:solidFill>
                            <a:schemeClr val="tx1"/>
                          </a:solidFill>
                        </a:rPr>
                        <a:t> have cooperated on geothermal heating and cooling in </a:t>
                      </a:r>
                      <a:br>
                        <a:rPr lang="en-US" sz="1050" dirty="0">
                          <a:solidFill>
                            <a:schemeClr val="tx1"/>
                          </a:solidFill>
                        </a:rPr>
                      </a:br>
                      <a:r>
                        <a:rPr lang="en-US" sz="1050" b="1" dirty="0">
                          <a:solidFill>
                            <a:schemeClr val="tx1"/>
                          </a:solidFill>
                        </a:rPr>
                        <a:t>El Salvador,</a:t>
                      </a:r>
                      <a:r>
                        <a:rPr lang="en-US" sz="1050" dirty="0">
                          <a:solidFill>
                            <a:schemeClr val="tx1"/>
                          </a:solidFill>
                        </a:rPr>
                        <a:t> including a pilot geothermal-powered coffee dry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pic>
        <p:nvPicPr>
          <p:cNvPr id="34" name="Picture 33" descr="A black background with red text&#10;&#10;AI-generated content may be incorrect.">
            <a:extLst>
              <a:ext uri="{FF2B5EF4-FFF2-40B4-BE49-F238E27FC236}">
                <a16:creationId xmlns:a16="http://schemas.microsoft.com/office/drawing/2014/main" id="{9185F57E-04EE-F969-6FA6-997F37F95F67}"/>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5628105" y="4505024"/>
            <a:ext cx="599662" cy="526530"/>
          </a:xfrm>
          <a:prstGeom prst="rect">
            <a:avLst/>
          </a:prstGeom>
        </p:spPr>
      </p:pic>
      <p:pic>
        <p:nvPicPr>
          <p:cNvPr id="35" name="Picture 34" descr="A map of the country&#10;&#10;AI-generated content may be incorrect.">
            <a:extLst>
              <a:ext uri="{FF2B5EF4-FFF2-40B4-BE49-F238E27FC236}">
                <a16:creationId xmlns:a16="http://schemas.microsoft.com/office/drawing/2014/main" id="{94159BA6-E4EB-E7EF-87DD-15BAA061246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491596" y="5031554"/>
            <a:ext cx="872680" cy="872680"/>
          </a:xfrm>
          <a:prstGeom prst="rect">
            <a:avLst/>
          </a:prstGeom>
        </p:spPr>
      </p:pic>
      <p:pic>
        <p:nvPicPr>
          <p:cNvPr id="38" name="Picture 37" descr="A logo with stars and a circle&#10;&#10;AI-generated content may be incorrect.">
            <a:extLst>
              <a:ext uri="{FF2B5EF4-FFF2-40B4-BE49-F238E27FC236}">
                <a16:creationId xmlns:a16="http://schemas.microsoft.com/office/drawing/2014/main" id="{DAD94861-35FB-5A06-4FC4-4A7588D4349D}"/>
              </a:ext>
            </a:extLst>
          </p:cNvPr>
          <p:cNvPicPr>
            <a:picLocks noChangeAspect="1"/>
          </p:cNvPicPr>
          <p:nvPr/>
        </p:nvPicPr>
        <p:blipFill>
          <a:blip r:embed="rId17" cstate="screen">
            <a:alphaModFix/>
            <a:extLst>
              <a:ext uri="{28A0092B-C50C-407E-A947-70E740481C1C}">
                <a14:useLocalDpi xmlns:a14="http://schemas.microsoft.com/office/drawing/2010/main"/>
              </a:ext>
            </a:extLst>
          </a:blip>
          <a:srcRect/>
          <a:stretch/>
        </p:blipFill>
        <p:spPr>
          <a:xfrm>
            <a:off x="5491596" y="3737942"/>
            <a:ext cx="954566" cy="459666"/>
          </a:xfrm>
          <a:prstGeom prst="rect">
            <a:avLst/>
          </a:prstGeom>
        </p:spPr>
      </p:pic>
      <p:pic>
        <p:nvPicPr>
          <p:cNvPr id="41" name="Picture 40" descr="A blue globe with a black background&#10;&#10;AI-generated content may be incorrect.">
            <a:extLst>
              <a:ext uri="{FF2B5EF4-FFF2-40B4-BE49-F238E27FC236}">
                <a16:creationId xmlns:a16="http://schemas.microsoft.com/office/drawing/2014/main" id="{72AABEE7-520C-EE81-82BD-1FB32C255EE0}"/>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491596" y="2065520"/>
            <a:ext cx="650509" cy="650509"/>
          </a:xfrm>
          <a:prstGeom prst="rect">
            <a:avLst/>
          </a:prstGeom>
        </p:spPr>
      </p:pic>
      <p:pic>
        <p:nvPicPr>
          <p:cNvPr id="2" name="Picture 1" descr="A logo with a circle and a red circle&#10;&#10;AI-generated content may be incorrect.">
            <a:extLst>
              <a:ext uri="{FF2B5EF4-FFF2-40B4-BE49-F238E27FC236}">
                <a16:creationId xmlns:a16="http://schemas.microsoft.com/office/drawing/2014/main" id="{9F611B18-C1A2-5F7A-3338-3A02935FC4B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627665" y="5007519"/>
            <a:ext cx="646938" cy="526530"/>
          </a:xfrm>
          <a:prstGeom prst="rect">
            <a:avLst/>
          </a:prstGeom>
        </p:spPr>
      </p:pic>
      <p:pic>
        <p:nvPicPr>
          <p:cNvPr id="7" name="Picture 6" descr="Green text on a black background&#10;&#10;AI-generated content may be incorrect.">
            <a:extLst>
              <a:ext uri="{FF2B5EF4-FFF2-40B4-BE49-F238E27FC236}">
                <a16:creationId xmlns:a16="http://schemas.microsoft.com/office/drawing/2014/main" id="{0E198488-BB41-DCFE-3365-8A959F7FDDD8}"/>
              </a:ext>
            </a:extLst>
          </p:cNvPr>
          <p:cNvPicPr>
            <a:picLocks noChangeAspect="1"/>
          </p:cNvPicPr>
          <p:nvPr/>
        </p:nvPicPr>
        <p:blipFill>
          <a:blip r:embed="rId20" cstate="screen">
            <a:extLst>
              <a:ext uri="{28A0092B-C50C-407E-A947-70E740481C1C}">
                <a14:useLocalDpi xmlns:a14="http://schemas.microsoft.com/office/drawing/2010/main"/>
              </a:ext>
            </a:extLst>
          </a:blip>
          <a:srcRect b="-14257"/>
          <a:stretch/>
        </p:blipFill>
        <p:spPr>
          <a:xfrm>
            <a:off x="1529594" y="3548532"/>
            <a:ext cx="839507" cy="964975"/>
          </a:xfrm>
          <a:prstGeom prst="rect">
            <a:avLst/>
          </a:prstGeom>
        </p:spPr>
      </p:pic>
      <p:pic>
        <p:nvPicPr>
          <p:cNvPr id="8" name="Picture 7" descr="A blue globe with a black background&#10;&#10;AI-generated content may be incorrect.">
            <a:extLst>
              <a:ext uri="{FF2B5EF4-FFF2-40B4-BE49-F238E27FC236}">
                <a16:creationId xmlns:a16="http://schemas.microsoft.com/office/drawing/2014/main" id="{5491C7DD-D11B-2537-6F49-5257B045B21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624094" y="2065520"/>
            <a:ext cx="650509" cy="650509"/>
          </a:xfrm>
          <a:prstGeom prst="rect">
            <a:avLst/>
          </a:prstGeom>
        </p:spPr>
      </p:pic>
      <p:pic>
        <p:nvPicPr>
          <p:cNvPr id="9" name="Picture 8" descr="A blue and black logo&#10;&#10;AI-generated content may be incorrect.">
            <a:extLst>
              <a:ext uri="{FF2B5EF4-FFF2-40B4-BE49-F238E27FC236}">
                <a16:creationId xmlns:a16="http://schemas.microsoft.com/office/drawing/2014/main" id="{DE6ACA37-9A4B-A9F9-2733-3EC13664545E}"/>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87196" y="2785873"/>
            <a:ext cx="1056976" cy="268648"/>
          </a:xfrm>
          <a:prstGeom prst="rect">
            <a:avLst/>
          </a:prstGeom>
        </p:spPr>
      </p:pic>
    </p:spTree>
    <p:extLst>
      <p:ext uri="{BB962C8B-B14F-4D97-AF65-F5344CB8AC3E}">
        <p14:creationId xmlns:p14="http://schemas.microsoft.com/office/powerpoint/2010/main" val="26625286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B30BEC-9A34-6611-61C9-0D1D6D0D0149}"/>
              </a:ext>
            </a:extLst>
          </p:cNvPr>
          <p:cNvGraphicFramePr>
            <a:graphicFrameLocks/>
          </p:cNvGraphicFramePr>
          <p:nvPr>
            <p:custDataLst>
              <p:tags r:id="rId1"/>
            </p:custDataLst>
            <p:extLst>
              <p:ext uri="{D42A27DB-BD31-4B8C-83A1-F6EECF244321}">
                <p14:modId xmlns:p14="http://schemas.microsoft.com/office/powerpoint/2010/main" val="28854222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9" name="think-cell data - do not delete" hidden="1">
                        <a:extLst>
                          <a:ext uri="{FF2B5EF4-FFF2-40B4-BE49-F238E27FC236}">
                            <a16:creationId xmlns:a16="http://schemas.microsoft.com/office/drawing/2014/main" id="{AEB30BEC-9A34-6611-61C9-0D1D6D0D014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16CCD74-7151-FA24-EEB3-F3653AC75CEF}"/>
              </a:ext>
            </a:extLst>
          </p:cNvPr>
          <p:cNvSpPr>
            <a:spLocks noGrp="1"/>
          </p:cNvSpPr>
          <p:nvPr>
            <p:ph type="title"/>
          </p:nvPr>
        </p:nvSpPr>
        <p:spPr/>
        <p:txBody>
          <a:bodyPr vert="horz" rIns="91440"/>
          <a:lstStyle/>
          <a:p>
            <a:r>
              <a:rPr lang="en-US" sz="2400" dirty="0">
                <a:cs typeface="Arial"/>
              </a:rPr>
              <a:t>Successful geothermal risk mitigation policies target early-stage resource and exploration risks; grant schemes lead in nascent geothermal markets</a:t>
            </a:r>
            <a:endParaRPr lang="en-US" sz="2400" dirty="0"/>
          </a:p>
        </p:txBody>
      </p:sp>
      <p:sp>
        <p:nvSpPr>
          <p:cNvPr id="7" name="Text Placeholder 6">
            <a:extLst>
              <a:ext uri="{FF2B5EF4-FFF2-40B4-BE49-F238E27FC236}">
                <a16:creationId xmlns:a16="http://schemas.microsoft.com/office/drawing/2014/main" id="{FC406E69-0172-BAB8-8412-1FDDF604EFA5}"/>
              </a:ext>
            </a:extLst>
          </p:cNvPr>
          <p:cNvSpPr>
            <a:spLocks noGrp="1"/>
          </p:cNvSpPr>
          <p:nvPr>
            <p:ph type="body" sz="quarter" idx="13"/>
          </p:nvPr>
        </p:nvSpPr>
        <p:spPr>
          <a:xfrm>
            <a:off x="329183" y="1498005"/>
            <a:ext cx="7589799" cy="548640"/>
          </a:xfrm>
        </p:spPr>
        <p:txBody>
          <a:bodyPr/>
          <a:lstStyle/>
          <a:p>
            <a:r>
              <a:rPr lang="en-US" dirty="0"/>
              <a:t>Early-stage geothermal risks and relevant risk mitigation schemes</a:t>
            </a:r>
          </a:p>
        </p:txBody>
      </p:sp>
      <p:sp>
        <p:nvSpPr>
          <p:cNvPr id="10" name="Text Placeholder 7">
            <a:extLst>
              <a:ext uri="{FF2B5EF4-FFF2-40B4-BE49-F238E27FC236}">
                <a16:creationId xmlns:a16="http://schemas.microsoft.com/office/drawing/2014/main" id="{6F3AF6B0-6B07-5B55-0A6D-92E589701427}"/>
              </a:ext>
            </a:extLst>
          </p:cNvPr>
          <p:cNvSpPr txBox="1">
            <a:spLocks/>
          </p:cNvSpPr>
          <p:nvPr/>
        </p:nvSpPr>
        <p:spPr>
          <a:xfrm>
            <a:off x="8199438" y="1873910"/>
            <a:ext cx="3657600" cy="548640"/>
          </a:xfrm>
          <a:prstGeom prst="rect">
            <a:avLst/>
          </a:prstGeom>
        </p:spPr>
        <p:txBody>
          <a:bodyPr vert="horz" lIns="91440" tIns="45720" rIns="91440" bIns="45720" rtlCol="0" anchor="b">
            <a:noAutofit/>
          </a:bodyPr>
          <a:lstStyle>
            <a:lvl1pPr marL="0" indent="0"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i="1" dirty="0"/>
              <a:t>2024-2030</a:t>
            </a:r>
          </a:p>
        </p:txBody>
      </p:sp>
      <p:graphicFrame>
        <p:nvGraphicFramePr>
          <p:cNvPr id="43" name="Chart 42">
            <a:extLst>
              <a:ext uri="{FF2B5EF4-FFF2-40B4-BE49-F238E27FC236}">
                <a16:creationId xmlns:a16="http://schemas.microsoft.com/office/drawing/2014/main" id="{EE2F6A35-E145-9F9A-D741-14A90378D6A3}"/>
              </a:ext>
            </a:extLst>
          </p:cNvPr>
          <p:cNvGraphicFramePr/>
          <p:nvPr>
            <p:custDataLst>
              <p:tags r:id="rId2"/>
            </p:custDataLst>
          </p:nvPr>
        </p:nvGraphicFramePr>
        <p:xfrm>
          <a:off x="8878888" y="2160588"/>
          <a:ext cx="2419350" cy="2546350"/>
        </p:xfrm>
        <a:graphic>
          <a:graphicData uri="http://schemas.openxmlformats.org/drawingml/2006/chart">
            <c:chart xmlns:c="http://schemas.openxmlformats.org/drawingml/2006/chart" xmlns:r="http://schemas.openxmlformats.org/officeDocument/2006/relationships" r:id="rId13"/>
          </a:graphicData>
        </a:graphic>
      </p:graphicFrame>
      <p:sp>
        <p:nvSpPr>
          <p:cNvPr id="12" name="Text Placeholder 10">
            <a:extLst>
              <a:ext uri="{FF2B5EF4-FFF2-40B4-BE49-F238E27FC236}">
                <a16:creationId xmlns:a16="http://schemas.microsoft.com/office/drawing/2014/main" id="{ECC4E92A-6973-2E67-18B0-8D070DC6865E}"/>
              </a:ext>
            </a:extLst>
          </p:cNvPr>
          <p:cNvSpPr txBox="1">
            <a:spLocks/>
          </p:cNvSpPr>
          <p:nvPr>
            <p:custDataLst>
              <p:tags r:id="rId3"/>
            </p:custDataLst>
          </p:nvPr>
        </p:nvSpPr>
        <p:spPr bwMode="auto">
          <a:xfrm>
            <a:off x="10148888" y="2333625"/>
            <a:ext cx="1265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CDA4D96-A230-4AE2-9C30-C3B763C66FC0}" type="datetime'''''Re''s''''''''''o''u''''r''c''''e'''' ''''As''sessm''''ent'">
              <a:rPr lang="en-US" altLang="en-US" sz="1000" smtClean="0"/>
              <a:pPr/>
              <a:t>Resource Assessment</a:t>
            </a:fld>
            <a:endParaRPr lang="en-US" sz="1000" dirty="0"/>
          </a:p>
        </p:txBody>
      </p:sp>
      <p:sp>
        <p:nvSpPr>
          <p:cNvPr id="13" name="Text Placeholder 10">
            <a:extLst>
              <a:ext uri="{FF2B5EF4-FFF2-40B4-BE49-F238E27FC236}">
                <a16:creationId xmlns:a16="http://schemas.microsoft.com/office/drawing/2014/main" id="{C43A678C-BC22-2050-B216-558FFCE966A5}"/>
              </a:ext>
            </a:extLst>
          </p:cNvPr>
          <p:cNvSpPr txBox="1">
            <a:spLocks/>
          </p:cNvSpPr>
          <p:nvPr>
            <p:custDataLst>
              <p:tags r:id="rId4"/>
            </p:custDataLst>
          </p:nvPr>
        </p:nvSpPr>
        <p:spPr bwMode="auto">
          <a:xfrm>
            <a:off x="10688638" y="2543175"/>
            <a:ext cx="995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786210-02A7-4371-9FEB-F1112899603E}" type="datetime'''Su''b''''''s''i''''''''''d''ized L''''o''''''''an''s'''''">
              <a:rPr lang="en-US" altLang="en-US" sz="1000" smtClean="0"/>
              <a:pPr/>
              <a:t>Subsidized Loans</a:t>
            </a:fld>
            <a:endParaRPr lang="en-US" sz="1000" dirty="0"/>
          </a:p>
        </p:txBody>
      </p:sp>
      <p:sp>
        <p:nvSpPr>
          <p:cNvPr id="14" name="Text Placeholder 10">
            <a:extLst>
              <a:ext uri="{FF2B5EF4-FFF2-40B4-BE49-F238E27FC236}">
                <a16:creationId xmlns:a16="http://schemas.microsoft.com/office/drawing/2014/main" id="{7BEB24E2-9400-5E7E-AA28-890179CD32AF}"/>
              </a:ext>
            </a:extLst>
          </p:cNvPr>
          <p:cNvSpPr txBox="1">
            <a:spLocks/>
          </p:cNvSpPr>
          <p:nvPr>
            <p:custDataLst>
              <p:tags r:id="rId5"/>
            </p:custDataLst>
          </p:nvPr>
        </p:nvSpPr>
        <p:spPr bwMode="auto">
          <a:xfrm>
            <a:off x="11007725" y="374332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7A3E4C-31D7-4C3B-97AD-76726103469B}" type="datetime'''''''G''''''''''''''''''''ra''''''''n''''t''''''''''''''''s'">
              <a:rPr lang="en-US" altLang="en-US" sz="1000" smtClean="0"/>
              <a:pPr/>
              <a:t>Grants</a:t>
            </a:fld>
            <a:endParaRPr lang="en-US" sz="1000" dirty="0"/>
          </a:p>
        </p:txBody>
      </p:sp>
      <p:sp>
        <p:nvSpPr>
          <p:cNvPr id="15" name="Text Placeholder 10">
            <a:extLst>
              <a:ext uri="{FF2B5EF4-FFF2-40B4-BE49-F238E27FC236}">
                <a16:creationId xmlns:a16="http://schemas.microsoft.com/office/drawing/2014/main" id="{7E094E5C-858B-3073-3C9B-20E93FDB184C}"/>
              </a:ext>
            </a:extLst>
          </p:cNvPr>
          <p:cNvSpPr txBox="1">
            <a:spLocks/>
          </p:cNvSpPr>
          <p:nvPr>
            <p:custDataLst>
              <p:tags r:id="rId6"/>
            </p:custDataLst>
          </p:nvPr>
        </p:nvSpPr>
        <p:spPr bwMode="auto">
          <a:xfrm>
            <a:off x="8421688" y="4056063"/>
            <a:ext cx="933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65D478-3272-4FFE-A497-8858B87D15E8}" type="datetime'''P''''u''''b''''''l''''ic Ins''''u''''r''a''n''''c''''e'''">
              <a:rPr lang="en-US" altLang="en-US" sz="1000" smtClean="0"/>
              <a:pPr marL="0" indent="0" algn="r">
                <a:spcBef>
                  <a:spcPct val="0"/>
                </a:spcBef>
                <a:spcAft>
                  <a:spcPct val="0"/>
                </a:spcAft>
                <a:buNone/>
              </a:pPr>
              <a:t>Public Insurance</a:t>
            </a:fld>
            <a:endParaRPr lang="en-US" sz="1000" dirty="0"/>
          </a:p>
        </p:txBody>
      </p:sp>
      <p:sp>
        <p:nvSpPr>
          <p:cNvPr id="16" name="Text Placeholder 10">
            <a:extLst>
              <a:ext uri="{FF2B5EF4-FFF2-40B4-BE49-F238E27FC236}">
                <a16:creationId xmlns:a16="http://schemas.microsoft.com/office/drawing/2014/main" id="{9A75CC71-56CE-7530-CA79-F10D21BC8634}"/>
              </a:ext>
            </a:extLst>
          </p:cNvPr>
          <p:cNvSpPr txBox="1">
            <a:spLocks/>
          </p:cNvSpPr>
          <p:nvPr>
            <p:custDataLst>
              <p:tags r:id="rId7"/>
            </p:custDataLst>
          </p:nvPr>
        </p:nvSpPr>
        <p:spPr bwMode="auto">
          <a:xfrm>
            <a:off x="8189913" y="2522538"/>
            <a:ext cx="1325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6580B0-76A2-43B2-A4A3-A12DE764E18D}" type="datetime'S''''''tat''''''''''''e-''Led'''' D''''e''v''''elopmen''''t'">
              <a:rPr lang="en-US" altLang="en-US" sz="1000" smtClean="0"/>
              <a:pPr marL="0" indent="0" algn="r">
                <a:spcBef>
                  <a:spcPct val="0"/>
                </a:spcBef>
                <a:spcAft>
                  <a:spcPct val="0"/>
                </a:spcAft>
                <a:buNone/>
              </a:pPr>
              <a:t>State-Led Development</a:t>
            </a:fld>
            <a:endParaRPr lang="en-US" sz="1000" dirty="0"/>
          </a:p>
        </p:txBody>
      </p:sp>
      <p:grpSp>
        <p:nvGrpSpPr>
          <p:cNvPr id="17" name="Group 16">
            <a:extLst>
              <a:ext uri="{FF2B5EF4-FFF2-40B4-BE49-F238E27FC236}">
                <a16:creationId xmlns:a16="http://schemas.microsoft.com/office/drawing/2014/main" id="{F7DC944D-5EC3-B203-F54A-C85966CFEE60}"/>
              </a:ext>
            </a:extLst>
          </p:cNvPr>
          <p:cNvGrpSpPr/>
          <p:nvPr/>
        </p:nvGrpSpPr>
        <p:grpSpPr>
          <a:xfrm>
            <a:off x="289089" y="2223317"/>
            <a:ext cx="1596152" cy="1290908"/>
            <a:chOff x="178792" y="2220913"/>
            <a:chExt cx="1596152" cy="1290908"/>
          </a:xfrm>
        </p:grpSpPr>
        <p:pic>
          <p:nvPicPr>
            <p:cNvPr id="18" name="Picture 4" descr="Statistics with solid fill">
              <a:extLst>
                <a:ext uri="{FF2B5EF4-FFF2-40B4-BE49-F238E27FC236}">
                  <a16:creationId xmlns:a16="http://schemas.microsoft.com/office/drawing/2014/main" id="{A7645B3A-9751-CE01-F830-A15F7F8D3CCE}"/>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669167" y="2220913"/>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F748A97F-245B-537F-66AF-2BACE6C5071C}"/>
                </a:ext>
              </a:extLst>
            </p:cNvPr>
            <p:cNvSpPr/>
            <p:nvPr/>
          </p:nvSpPr>
          <p:spPr bwMode="gray">
            <a:xfrm>
              <a:off x="178792" y="2956624"/>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Limited geological data increases uncertainty.</a:t>
              </a:r>
            </a:p>
          </p:txBody>
        </p:sp>
      </p:grpSp>
      <p:grpSp>
        <p:nvGrpSpPr>
          <p:cNvPr id="20" name="Group 19">
            <a:extLst>
              <a:ext uri="{FF2B5EF4-FFF2-40B4-BE49-F238E27FC236}">
                <a16:creationId xmlns:a16="http://schemas.microsoft.com/office/drawing/2014/main" id="{87ECC1DD-13E6-8178-7A5F-1DD01A0E4FC5}"/>
              </a:ext>
            </a:extLst>
          </p:cNvPr>
          <p:cNvGrpSpPr/>
          <p:nvPr/>
        </p:nvGrpSpPr>
        <p:grpSpPr>
          <a:xfrm>
            <a:off x="2161682" y="2211118"/>
            <a:ext cx="1596152" cy="1289175"/>
            <a:chOff x="2058229" y="2211118"/>
            <a:chExt cx="1596152" cy="1289175"/>
          </a:xfrm>
        </p:grpSpPr>
        <p:pic>
          <p:nvPicPr>
            <p:cNvPr id="21" name="Picture 6" descr="Document with solid fill">
              <a:extLst>
                <a:ext uri="{FF2B5EF4-FFF2-40B4-BE49-F238E27FC236}">
                  <a16:creationId xmlns:a16="http://schemas.microsoft.com/office/drawing/2014/main" id="{7656135D-AA94-891A-2D9B-C79CD66DB4D7}"/>
                </a:ext>
              </a:extLst>
            </p:cNvPr>
            <p:cNvPicPr>
              <a:picLocks noChangeAspect="1" noChangeArrowheads="1"/>
            </p:cNvPicPr>
            <p:nvPr/>
          </p:nvPicPr>
          <p:blipFill>
            <a:blip r:embed="rId16">
              <a:extLst>
                <a:ext uri="{96DAC541-7B7A-43D3-8B79-37D633B846F1}">
                  <asvg:svgBlip xmlns:asvg="http://schemas.microsoft.com/office/drawing/2016/SVG/main" r:embed="rId17"/>
                </a:ext>
              </a:extLst>
            </a:blip>
            <a:srcRect/>
            <a:stretch/>
          </p:blipFill>
          <p:spPr bwMode="auto">
            <a:xfrm>
              <a:off x="2543501" y="2211118"/>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7FD4436E-9672-72FC-D794-1D597F6E7A84}"/>
                </a:ext>
              </a:extLst>
            </p:cNvPr>
            <p:cNvSpPr/>
            <p:nvPr/>
          </p:nvSpPr>
          <p:spPr bwMode="gray">
            <a:xfrm>
              <a:off x="2058229"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Lengthy permitting processes can slow project timelines.</a:t>
              </a:r>
            </a:p>
          </p:txBody>
        </p:sp>
      </p:grpSp>
      <p:grpSp>
        <p:nvGrpSpPr>
          <p:cNvPr id="23" name="Group 22">
            <a:extLst>
              <a:ext uri="{FF2B5EF4-FFF2-40B4-BE49-F238E27FC236}">
                <a16:creationId xmlns:a16="http://schemas.microsoft.com/office/drawing/2014/main" id="{D92AD660-8D7B-92EB-BE0B-E014D8F11365}"/>
              </a:ext>
            </a:extLst>
          </p:cNvPr>
          <p:cNvGrpSpPr/>
          <p:nvPr/>
        </p:nvGrpSpPr>
        <p:grpSpPr>
          <a:xfrm>
            <a:off x="4034275" y="2211118"/>
            <a:ext cx="1596152" cy="1289175"/>
            <a:chOff x="3921800" y="2211118"/>
            <a:chExt cx="1596152" cy="1289175"/>
          </a:xfrm>
        </p:grpSpPr>
        <p:pic>
          <p:nvPicPr>
            <p:cNvPr id="24" name="Picture 2" descr="Labor with solid fill">
              <a:extLst>
                <a:ext uri="{FF2B5EF4-FFF2-40B4-BE49-F238E27FC236}">
                  <a16:creationId xmlns:a16="http://schemas.microsoft.com/office/drawing/2014/main" id="{3B0052F5-DC7D-83AB-5999-EEC9747203CD}"/>
                </a:ext>
              </a:extLst>
            </p:cNvPr>
            <p:cNvPicPr>
              <a:picLocks noChangeAspect="1" noChangeArrowheads="1"/>
            </p:cNvPicPr>
            <p:nvPr/>
          </p:nvPicPr>
          <p:blipFill>
            <a:blip r:embed="rId18">
              <a:extLst>
                <a:ext uri="{96DAC541-7B7A-43D3-8B79-37D633B846F1}">
                  <asvg:svgBlip xmlns:asvg="http://schemas.microsoft.com/office/drawing/2016/SVG/main" r:embed="rId19"/>
                </a:ext>
              </a:extLst>
            </a:blip>
            <a:srcRect/>
            <a:stretch/>
          </p:blipFill>
          <p:spPr bwMode="auto">
            <a:xfrm>
              <a:off x="4399836" y="2211118"/>
              <a:ext cx="640080" cy="640080"/>
            </a:xfrm>
            <a:prstGeom prst="rect">
              <a:avLst/>
            </a:prstGeom>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B5AA06B0-24F3-934C-B509-72B0581BC15C}"/>
                </a:ext>
              </a:extLst>
            </p:cNvPr>
            <p:cNvSpPr/>
            <p:nvPr/>
          </p:nvSpPr>
          <p:spPr bwMode="gray">
            <a:xfrm>
              <a:off x="3921800"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High upfront drilling costs can stunt private investment.</a:t>
              </a:r>
            </a:p>
          </p:txBody>
        </p:sp>
      </p:grpSp>
      <p:grpSp>
        <p:nvGrpSpPr>
          <p:cNvPr id="26" name="Group 25">
            <a:extLst>
              <a:ext uri="{FF2B5EF4-FFF2-40B4-BE49-F238E27FC236}">
                <a16:creationId xmlns:a16="http://schemas.microsoft.com/office/drawing/2014/main" id="{42EC8A55-EE71-7EBB-510A-EE50B0AE875E}"/>
              </a:ext>
            </a:extLst>
          </p:cNvPr>
          <p:cNvGrpSpPr/>
          <p:nvPr/>
        </p:nvGrpSpPr>
        <p:grpSpPr>
          <a:xfrm>
            <a:off x="5906867" y="2223588"/>
            <a:ext cx="1596152" cy="1289175"/>
            <a:chOff x="5519367" y="2211118"/>
            <a:chExt cx="1596152" cy="1289175"/>
          </a:xfrm>
        </p:grpSpPr>
        <p:pic>
          <p:nvPicPr>
            <p:cNvPr id="27" name="Picture 2" descr="Thermometer with solid fill">
              <a:extLst>
                <a:ext uri="{FF2B5EF4-FFF2-40B4-BE49-F238E27FC236}">
                  <a16:creationId xmlns:a16="http://schemas.microsoft.com/office/drawing/2014/main" id="{D63B81AB-915F-2064-762B-26E4128DDF32}"/>
                </a:ext>
              </a:extLst>
            </p:cNvPr>
            <p:cNvPicPr>
              <a:picLocks noChangeAspect="1" noChangeArrowheads="1"/>
            </p:cNvPicPr>
            <p:nvPr/>
          </p:nvPicPr>
          <p:blipFill>
            <a:blip r:embed="rId20">
              <a:extLst>
                <a:ext uri="{96DAC541-7B7A-43D3-8B79-37D633B846F1}">
                  <asvg:svgBlip xmlns:asvg="http://schemas.microsoft.com/office/drawing/2016/SVG/main" r:embed="rId21"/>
                </a:ext>
              </a:extLst>
            </a:blip>
            <a:srcRect/>
            <a:stretch/>
          </p:blipFill>
          <p:spPr bwMode="auto">
            <a:xfrm>
              <a:off x="5997403" y="2211118"/>
              <a:ext cx="640080" cy="640080"/>
            </a:xfrm>
            <a:prstGeom prst="rect">
              <a:avLst/>
            </a:prstGeom>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E5D23ECC-1FD3-BF36-E490-98321A949979}"/>
                </a:ext>
              </a:extLst>
            </p:cNvPr>
            <p:cNvSpPr/>
            <p:nvPr/>
          </p:nvSpPr>
          <p:spPr bwMode="gray">
            <a:xfrm>
              <a:off x="5519367" y="2945096"/>
              <a:ext cx="1596152" cy="555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dirty="0">
                  <a:solidFill>
                    <a:schemeClr val="tx1"/>
                  </a:solidFill>
                </a:rPr>
                <a:t>Wells may have low temperature or flowrates.</a:t>
              </a:r>
            </a:p>
          </p:txBody>
        </p:sp>
      </p:grpSp>
      <p:graphicFrame>
        <p:nvGraphicFramePr>
          <p:cNvPr id="29" name="Table 28">
            <a:extLst>
              <a:ext uri="{FF2B5EF4-FFF2-40B4-BE49-F238E27FC236}">
                <a16:creationId xmlns:a16="http://schemas.microsoft.com/office/drawing/2014/main" id="{81C29031-5DBB-6299-F296-89401D4D93C9}"/>
              </a:ext>
            </a:extLst>
          </p:cNvPr>
          <p:cNvGraphicFramePr>
            <a:graphicFrameLocks noGrp="1"/>
          </p:cNvGraphicFramePr>
          <p:nvPr/>
        </p:nvGraphicFramePr>
        <p:xfrm>
          <a:off x="8199436" y="4532327"/>
          <a:ext cx="3570198" cy="1533523"/>
        </p:xfrm>
        <a:graphic>
          <a:graphicData uri="http://schemas.openxmlformats.org/drawingml/2006/table">
            <a:tbl>
              <a:tblPr firstRow="1" bandRow="1">
                <a:tableStyleId>{2D5ABB26-0587-4C30-8999-92F81FD0307C}</a:tableStyleId>
              </a:tblPr>
              <a:tblGrid>
                <a:gridCol w="3570198">
                  <a:extLst>
                    <a:ext uri="{9D8B030D-6E8A-4147-A177-3AD203B41FA5}">
                      <a16:colId xmlns:a16="http://schemas.microsoft.com/office/drawing/2014/main" val="1771678942"/>
                    </a:ext>
                  </a:extLst>
                </a:gridCol>
              </a:tblGrid>
              <a:tr h="1533523">
                <a:tc>
                  <a:txBody>
                    <a:bodyPr/>
                    <a:lstStyle/>
                    <a:p>
                      <a:pPr marL="0" indent="0" algn="l">
                        <a:buNone/>
                      </a:pPr>
                      <a:r>
                        <a:rPr lang="en-US" sz="1200" b="1" dirty="0"/>
                        <a:t>Observations</a:t>
                      </a:r>
                    </a:p>
                    <a:p>
                      <a:pPr marL="177800" indent="-177800" algn="l">
                        <a:buFont typeface="Arial"/>
                        <a:buChar char="•"/>
                      </a:pPr>
                      <a:r>
                        <a:rPr lang="en-US" sz="1050" b="0" dirty="0"/>
                        <a:t>Grants are useful and most common in nascent geothermal markets.</a:t>
                      </a:r>
                    </a:p>
                    <a:p>
                      <a:pPr marL="177800" indent="-177800" algn="l">
                        <a:buFont typeface="Arial"/>
                        <a:buChar char="•"/>
                      </a:pPr>
                      <a:r>
                        <a:rPr lang="en-US" sz="1050" b="0" dirty="0"/>
                        <a:t>Some schemes target exploration only, while others also support drilling and operations; strong policy supports both.</a:t>
                      </a:r>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3E9EE"/>
                    </a:solidFill>
                  </a:tcPr>
                </a:tc>
                <a:extLst>
                  <a:ext uri="{0D108BD9-81ED-4DB2-BD59-A6C34878D82A}">
                    <a16:rowId xmlns:a16="http://schemas.microsoft.com/office/drawing/2014/main" val="2690757663"/>
                  </a:ext>
                </a:extLst>
              </a:tr>
            </a:tbl>
          </a:graphicData>
        </a:graphic>
      </p:graphicFrame>
      <p:sp>
        <p:nvSpPr>
          <p:cNvPr id="30" name="btfpBulletedList826938">
            <a:extLst>
              <a:ext uri="{FF2B5EF4-FFF2-40B4-BE49-F238E27FC236}">
                <a16:creationId xmlns:a16="http://schemas.microsoft.com/office/drawing/2014/main" id="{3DAFDCAF-D6B8-5C29-20BA-DBF3A4923F6A}"/>
              </a:ext>
            </a:extLst>
          </p:cNvPr>
          <p:cNvSpPr txBox="1"/>
          <p:nvPr>
            <p:custDataLst>
              <p:tags r:id="rId8"/>
            </p:custDataLst>
          </p:nvPr>
        </p:nvSpPr>
        <p:spPr bwMode="gray">
          <a:xfrm>
            <a:off x="220529" y="3690710"/>
            <a:ext cx="7350098"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Policy Priorities</a:t>
            </a:r>
          </a:p>
        </p:txBody>
      </p:sp>
      <p:sp>
        <p:nvSpPr>
          <p:cNvPr id="31" name="btfpBulletedList826938">
            <a:extLst>
              <a:ext uri="{FF2B5EF4-FFF2-40B4-BE49-F238E27FC236}">
                <a16:creationId xmlns:a16="http://schemas.microsoft.com/office/drawing/2014/main" id="{59E28A90-43E8-EA5E-C052-BF05654C40D3}"/>
              </a:ext>
            </a:extLst>
          </p:cNvPr>
          <p:cNvSpPr txBox="1"/>
          <p:nvPr>
            <p:custDataLst>
              <p:tags r:id="rId9"/>
            </p:custDataLst>
          </p:nvPr>
        </p:nvSpPr>
        <p:spPr bwMode="gray">
          <a:xfrm>
            <a:off x="220529" y="5093184"/>
            <a:ext cx="7350098"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Relevant Risk Mitigation Scheme(s)</a:t>
            </a:r>
          </a:p>
        </p:txBody>
      </p:sp>
      <p:sp>
        <p:nvSpPr>
          <p:cNvPr id="32" name="Rectangle 31">
            <a:extLst>
              <a:ext uri="{FF2B5EF4-FFF2-40B4-BE49-F238E27FC236}">
                <a16:creationId xmlns:a16="http://schemas.microsoft.com/office/drawing/2014/main" id="{A4079036-5787-3CFE-7A1A-A38B8769CD72}"/>
              </a:ext>
            </a:extLst>
          </p:cNvPr>
          <p:cNvSpPr/>
          <p:nvPr/>
        </p:nvSpPr>
        <p:spPr bwMode="gray">
          <a:xfrm>
            <a:off x="860262" y="3249416"/>
            <a:ext cx="1619911" cy="8066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endParaRPr lang="en-US" sz="1050" dirty="0">
              <a:solidFill>
                <a:schemeClr val="tx1"/>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FFD652BB-343F-142D-516D-30DF9B2ED5C6}"/>
              </a:ext>
            </a:extLst>
          </p:cNvPr>
          <p:cNvSpPr/>
          <p:nvPr/>
        </p:nvSpPr>
        <p:spPr bwMode="gray">
          <a:xfrm>
            <a:off x="220529" y="4003800"/>
            <a:ext cx="1757950" cy="996103"/>
          </a:xfrm>
          <a:prstGeom prst="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Increase data quality and accuracy</a:t>
            </a:r>
          </a:p>
          <a:p>
            <a:r>
              <a:rPr lang="en-US" sz="1050" dirty="0">
                <a:solidFill>
                  <a:schemeClr val="tx1"/>
                </a:solidFill>
              </a:rPr>
              <a:t>Create open-source data repositories</a:t>
            </a:r>
          </a:p>
        </p:txBody>
      </p:sp>
      <p:sp>
        <p:nvSpPr>
          <p:cNvPr id="34" name="Rectangle 33">
            <a:extLst>
              <a:ext uri="{FF2B5EF4-FFF2-40B4-BE49-F238E27FC236}">
                <a16:creationId xmlns:a16="http://schemas.microsoft.com/office/drawing/2014/main" id="{D9B5556A-0DD3-6A75-E627-294CFC067134}"/>
              </a:ext>
            </a:extLst>
          </p:cNvPr>
          <p:cNvSpPr/>
          <p:nvPr/>
        </p:nvSpPr>
        <p:spPr bwMode="gray">
          <a:xfrm>
            <a:off x="220529" y="5412245"/>
            <a:ext cx="1757950" cy="699418"/>
          </a:xfrm>
          <a:prstGeom prst="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Resource assessment</a:t>
            </a:r>
          </a:p>
          <a:p>
            <a:r>
              <a:rPr lang="en-US" sz="1050" dirty="0">
                <a:solidFill>
                  <a:schemeClr val="tx1"/>
                </a:solidFill>
              </a:rPr>
              <a:t>State-led development</a:t>
            </a:r>
          </a:p>
        </p:txBody>
      </p:sp>
      <p:sp>
        <p:nvSpPr>
          <p:cNvPr id="35" name="Rectangle 34">
            <a:extLst>
              <a:ext uri="{FF2B5EF4-FFF2-40B4-BE49-F238E27FC236}">
                <a16:creationId xmlns:a16="http://schemas.microsoft.com/office/drawing/2014/main" id="{EFD715D7-7325-C1CC-F511-4E2A89233805}"/>
              </a:ext>
            </a:extLst>
          </p:cNvPr>
          <p:cNvSpPr/>
          <p:nvPr/>
        </p:nvSpPr>
        <p:spPr bwMode="gray">
          <a:xfrm>
            <a:off x="2092148" y="4020978"/>
            <a:ext cx="1757950" cy="996103"/>
          </a:xfrm>
          <a:prstGeom prst="rect">
            <a:avLst/>
          </a:prstGeom>
          <a:solidFill>
            <a:srgbClr val="D2F1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Simplify and consolidate permitting processes</a:t>
            </a:r>
          </a:p>
          <a:p>
            <a:r>
              <a:rPr lang="en-US" sz="1050" dirty="0">
                <a:solidFill>
                  <a:schemeClr val="tx1"/>
                </a:solidFill>
              </a:rPr>
              <a:t>Expand geothermal-specific permitting regimes</a:t>
            </a:r>
          </a:p>
        </p:txBody>
      </p:sp>
      <p:sp>
        <p:nvSpPr>
          <p:cNvPr id="36" name="Rectangle 35">
            <a:extLst>
              <a:ext uri="{FF2B5EF4-FFF2-40B4-BE49-F238E27FC236}">
                <a16:creationId xmlns:a16="http://schemas.microsoft.com/office/drawing/2014/main" id="{F30FFF56-A932-5112-2107-03B1FBE68890}"/>
              </a:ext>
            </a:extLst>
          </p:cNvPr>
          <p:cNvSpPr/>
          <p:nvPr/>
        </p:nvSpPr>
        <p:spPr bwMode="gray">
          <a:xfrm>
            <a:off x="2094367" y="5409165"/>
            <a:ext cx="1757950" cy="699418"/>
          </a:xfrm>
          <a:prstGeom prst="rect">
            <a:avLst/>
          </a:prstGeom>
          <a:solidFill>
            <a:srgbClr val="D2F1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Public insurance</a:t>
            </a:r>
          </a:p>
          <a:p>
            <a:r>
              <a:rPr lang="en-US" sz="1050" dirty="0">
                <a:solidFill>
                  <a:schemeClr val="tx1"/>
                </a:solidFill>
              </a:rPr>
              <a:t>State-led development</a:t>
            </a:r>
          </a:p>
        </p:txBody>
      </p:sp>
      <p:sp>
        <p:nvSpPr>
          <p:cNvPr id="37" name="Rectangle 36">
            <a:extLst>
              <a:ext uri="{FF2B5EF4-FFF2-40B4-BE49-F238E27FC236}">
                <a16:creationId xmlns:a16="http://schemas.microsoft.com/office/drawing/2014/main" id="{B0DDC921-D28F-6468-89D4-C9ABFE62AFB5}"/>
              </a:ext>
            </a:extLst>
          </p:cNvPr>
          <p:cNvSpPr/>
          <p:nvPr/>
        </p:nvSpPr>
        <p:spPr bwMode="gray">
          <a:xfrm>
            <a:off x="3963767" y="4003800"/>
            <a:ext cx="1757950" cy="996103"/>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Invest in drill efficiency technologies</a:t>
            </a:r>
          </a:p>
          <a:p>
            <a:r>
              <a:rPr lang="en-US" sz="1050" dirty="0">
                <a:solidFill>
                  <a:schemeClr val="tx1"/>
                </a:solidFill>
              </a:rPr>
              <a:t>Expand financial incentives for private-sector investment</a:t>
            </a:r>
          </a:p>
        </p:txBody>
      </p:sp>
      <p:sp>
        <p:nvSpPr>
          <p:cNvPr id="38" name="Rectangle 37">
            <a:extLst>
              <a:ext uri="{FF2B5EF4-FFF2-40B4-BE49-F238E27FC236}">
                <a16:creationId xmlns:a16="http://schemas.microsoft.com/office/drawing/2014/main" id="{E21020EF-338A-841E-B4BF-C83EA19BD706}"/>
              </a:ext>
            </a:extLst>
          </p:cNvPr>
          <p:cNvSpPr/>
          <p:nvPr/>
        </p:nvSpPr>
        <p:spPr bwMode="gray">
          <a:xfrm>
            <a:off x="3965986" y="5391987"/>
            <a:ext cx="1757950" cy="699418"/>
          </a:xfrm>
          <a:prstGeom prst="rect">
            <a:avLst/>
          </a:prstGeom>
          <a:solidFill>
            <a:srgbClr val="F6D2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Grants</a:t>
            </a:r>
          </a:p>
          <a:p>
            <a:r>
              <a:rPr lang="en-US" sz="1050" dirty="0">
                <a:solidFill>
                  <a:schemeClr val="tx1"/>
                </a:solidFill>
              </a:rPr>
              <a:t>Subsidized loans</a:t>
            </a:r>
          </a:p>
        </p:txBody>
      </p:sp>
      <p:sp>
        <p:nvSpPr>
          <p:cNvPr id="39" name="Rectangle 38">
            <a:extLst>
              <a:ext uri="{FF2B5EF4-FFF2-40B4-BE49-F238E27FC236}">
                <a16:creationId xmlns:a16="http://schemas.microsoft.com/office/drawing/2014/main" id="{750C1017-9A76-922C-F561-6F0405B8B24B}"/>
              </a:ext>
            </a:extLst>
          </p:cNvPr>
          <p:cNvSpPr/>
          <p:nvPr/>
        </p:nvSpPr>
        <p:spPr bwMode="gray">
          <a:xfrm>
            <a:off x="5812677" y="4006691"/>
            <a:ext cx="1757950" cy="996103"/>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Strengthen R&amp;D on subsurface modeling</a:t>
            </a:r>
          </a:p>
          <a:p>
            <a:r>
              <a:rPr lang="en-US" sz="1050" dirty="0">
                <a:solidFill>
                  <a:schemeClr val="tx1"/>
                </a:solidFill>
              </a:rPr>
              <a:t>Account for well failure in subsidies and grants</a:t>
            </a:r>
          </a:p>
        </p:txBody>
      </p:sp>
      <p:sp>
        <p:nvSpPr>
          <p:cNvPr id="40" name="Rectangle 39">
            <a:extLst>
              <a:ext uri="{FF2B5EF4-FFF2-40B4-BE49-F238E27FC236}">
                <a16:creationId xmlns:a16="http://schemas.microsoft.com/office/drawing/2014/main" id="{B7BEF68B-E605-2823-FD4D-0ACCDE796B69}"/>
              </a:ext>
            </a:extLst>
          </p:cNvPr>
          <p:cNvSpPr/>
          <p:nvPr/>
        </p:nvSpPr>
        <p:spPr bwMode="gray">
          <a:xfrm>
            <a:off x="5814896" y="5394878"/>
            <a:ext cx="1757950" cy="699418"/>
          </a:xfrm>
          <a:prstGeom prst="rect">
            <a:avLst/>
          </a:prstGeom>
          <a:solidFill>
            <a:srgbClr val="C5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Grants</a:t>
            </a:r>
          </a:p>
          <a:p>
            <a:r>
              <a:rPr lang="en-US" sz="1050" dirty="0">
                <a:solidFill>
                  <a:schemeClr val="tx1"/>
                </a:solidFill>
              </a:rPr>
              <a:t>Public insurance</a:t>
            </a:r>
          </a:p>
        </p:txBody>
      </p:sp>
      <p:sp>
        <p:nvSpPr>
          <p:cNvPr id="44" name="Text Placeholder 1">
            <a:extLst>
              <a:ext uri="{FF2B5EF4-FFF2-40B4-BE49-F238E27FC236}">
                <a16:creationId xmlns:a16="http://schemas.microsoft.com/office/drawing/2014/main" id="{EC2EAB66-0AB2-FB6F-F677-B90C54CAFC6E}"/>
              </a:ext>
            </a:extLst>
          </p:cNvPr>
          <p:cNvSpPr txBox="1">
            <a:spLocks/>
          </p:cNvSpPr>
          <p:nvPr/>
        </p:nvSpPr>
        <p:spPr>
          <a:xfrm>
            <a:off x="0" y="0"/>
            <a:ext cx="3886200" cy="320040"/>
          </a:xfrm>
          <a:prstGeom prst="rect">
            <a:avLst/>
          </a:prstGeom>
          <a:solidFill>
            <a:schemeClr val="accent1">
              <a:lumMod val="20000"/>
              <a:lumOff val="80000"/>
            </a:schemeClr>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ysClr val="windowText" lastClr="000000"/>
                </a:solidFill>
              </a:rPr>
              <a:t>Case study: France</a:t>
            </a:r>
          </a:p>
        </p:txBody>
      </p:sp>
      <p:sp>
        <p:nvSpPr>
          <p:cNvPr id="3" name="Footer Placeholder 5">
            <a:extLst>
              <a:ext uri="{FF2B5EF4-FFF2-40B4-BE49-F238E27FC236}">
                <a16:creationId xmlns:a16="http://schemas.microsoft.com/office/drawing/2014/main" id="{E70B5EC1-80C2-BABE-CEA5-07A81E93E4A9}"/>
              </a:ext>
            </a:extLst>
          </p:cNvPr>
          <p:cNvSpPr txBox="1">
            <a:spLocks/>
          </p:cNvSpPr>
          <p:nvPr/>
        </p:nvSpPr>
        <p:spPr>
          <a:xfrm>
            <a:off x="334962" y="6224686"/>
            <a:ext cx="9147241" cy="216706"/>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The successful geothermal risk mitigation system in France from 1980 to 2015</a:t>
            </a:r>
            <a:r>
              <a:rPr kumimoji="0" lang="en-US" sz="800" b="0" i="0" u="none" strike="noStrike" kern="1200" cap="none" spc="0" normalizeH="0" baseline="0" noProof="0" dirty="0">
                <a:ln>
                  <a:noFill/>
                </a:ln>
                <a:solidFill>
                  <a:srgbClr val="000000"/>
                </a:solidFill>
                <a:effectLst/>
                <a:uLnTx/>
                <a:uFillTx/>
                <a:latin typeface="Arial"/>
                <a:ea typeface="+mn-ea"/>
                <a:cs typeface="+mn-cs"/>
              </a:rPr>
              <a:t> (European Federation of Geologists, 2016);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France launches $54m geothermal risk mitigation fu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hinkGeo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1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EUR 195M guarantee fund approved for deep geothermal projects in Franc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hinkGeo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lv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2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rPr>
              <a:t>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 name="Text Placeholder 6">
            <a:extLst>
              <a:ext uri="{FF2B5EF4-FFF2-40B4-BE49-F238E27FC236}">
                <a16:creationId xmlns:a16="http://schemas.microsoft.com/office/drawing/2014/main" id="{2A24215C-0862-C3E8-447B-DB3EFD22FE89}"/>
              </a:ext>
            </a:extLst>
          </p:cNvPr>
          <p:cNvSpPr txBox="1">
            <a:spLocks/>
          </p:cNvSpPr>
          <p:nvPr/>
        </p:nvSpPr>
        <p:spPr>
          <a:xfrm>
            <a:off x="8189913" y="1498005"/>
            <a:ext cx="3667125" cy="548640"/>
          </a:xfrm>
          <a:prstGeom prst="rect">
            <a:avLst/>
          </a:prstGeom>
        </p:spPr>
        <p:txBody>
          <a:bodyPr vert="horz" lIns="91440" tIns="45720" rIns="91440" bIns="45720" rtlCol="0" anchor="b">
            <a:noAutofit/>
          </a:bodyPr>
          <a:lstStyle>
            <a:lvl1pPr marL="0" indent="0"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nventional geothermal capacity additions by risk mitigation scheme</a:t>
            </a:r>
          </a:p>
        </p:txBody>
      </p:sp>
    </p:spTree>
    <p:extLst>
      <p:ext uri="{BB962C8B-B14F-4D97-AF65-F5344CB8AC3E}">
        <p14:creationId xmlns:p14="http://schemas.microsoft.com/office/powerpoint/2010/main" val="1669499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F3418A6-4287-D0E3-03E5-E7BA9E1A5B22}"/>
              </a:ext>
            </a:extLst>
          </p:cNvPr>
          <p:cNvGraphicFramePr>
            <a:graphicFrameLocks/>
          </p:cNvGraphicFramePr>
          <p:nvPr>
            <p:custDataLst>
              <p:tags r:id="rId1"/>
            </p:custDataLst>
            <p:extLst>
              <p:ext uri="{D42A27DB-BD31-4B8C-83A1-F6EECF244321}">
                <p14:modId xmlns:p14="http://schemas.microsoft.com/office/powerpoint/2010/main" val="31175905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0" name=""/>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92FAC3-3A96-826C-73F1-E2109F226B8A}"/>
              </a:ext>
            </a:extLst>
          </p:cNvPr>
          <p:cNvSpPr>
            <a:spLocks noGrp="1"/>
          </p:cNvSpPr>
          <p:nvPr>
            <p:ph type="title"/>
          </p:nvPr>
        </p:nvSpPr>
        <p:spPr/>
        <p:txBody>
          <a:bodyPr vert="horz" rIns="91440"/>
          <a:lstStyle/>
          <a:p>
            <a:r>
              <a:rPr lang="en-US" dirty="0"/>
              <a:t>U.S. ranks No. 3 in superhot rock potential, has 12% of total global geothermal potential, and is set to scale with policy support</a:t>
            </a:r>
          </a:p>
        </p:txBody>
      </p:sp>
      <p:sp>
        <p:nvSpPr>
          <p:cNvPr id="6" name="Footer Placeholder 5">
            <a:extLst>
              <a:ext uri="{FF2B5EF4-FFF2-40B4-BE49-F238E27FC236}">
                <a16:creationId xmlns:a16="http://schemas.microsoft.com/office/drawing/2014/main" id="{F60AF1B7-CB7B-55C5-8942-F850CA77C3FB}"/>
              </a:ext>
            </a:extLst>
          </p:cNvPr>
          <p:cNvSpPr>
            <a:spLocks noGrp="1"/>
          </p:cNvSpPr>
          <p:nvPr>
            <p:ph type="ftr" sz="quarter" idx="3"/>
          </p:nvPr>
        </p:nvSpPr>
        <p:spPr>
          <a:xfrm>
            <a:off x="334962" y="6259370"/>
            <a:ext cx="9147241" cy="216706"/>
          </a:xfrm>
        </p:spPr>
        <p:txBody>
          <a:bodyPr/>
          <a:lstStyle/>
          <a:p>
            <a:pPr lvl="0">
              <a:defRPr/>
            </a:pPr>
            <a:r>
              <a:rPr lang="en-US" dirty="0">
                <a:solidFill>
                  <a:srgbClr val="000000"/>
                </a:solidFill>
              </a:rPr>
              <a:t>Sources: </a:t>
            </a:r>
            <a:r>
              <a:rPr lang="en-US" dirty="0">
                <a:solidFill>
                  <a:srgbClr val="000000"/>
                </a:solidFill>
                <a:hlinkClick r:id="rId9"/>
              </a:rPr>
              <a:t>Super hot Rock and the future of geothermal</a:t>
            </a:r>
            <a:r>
              <a:rPr lang="en-US" dirty="0">
                <a:solidFill>
                  <a:srgbClr val="000000"/>
                </a:solidFill>
              </a:rPr>
              <a:t> (CATF, 2025); </a:t>
            </a:r>
            <a:r>
              <a:rPr lang="en-US" dirty="0">
                <a:solidFill>
                  <a:srgbClr val="000000"/>
                </a:solidFill>
                <a:hlinkClick r:id="rId10"/>
              </a:rPr>
              <a:t>Cumulative CO2 Emissions 2023</a:t>
            </a:r>
            <a:r>
              <a:rPr lang="en-US" dirty="0">
                <a:solidFill>
                  <a:srgbClr val="000000"/>
                </a:solidFill>
              </a:rPr>
              <a:t> (Our World in Data, 2024); </a:t>
            </a:r>
            <a:r>
              <a:rPr lang="en-US" dirty="0">
                <a:solidFill>
                  <a:srgbClr val="000000"/>
                </a:solidFill>
                <a:hlinkClick r:id="rId11"/>
              </a:rPr>
              <a:t>The U.S. Archipelago</a:t>
            </a:r>
            <a:r>
              <a:rPr lang="en-US" dirty="0">
                <a:solidFill>
                  <a:srgbClr val="000000"/>
                </a:solidFill>
              </a:rPr>
              <a:t> (Vivid Maps, 2020); </a:t>
            </a:r>
            <a:r>
              <a:rPr lang="en-US" dirty="0">
                <a:solidFill>
                  <a:srgbClr val="000000"/>
                </a:solidFill>
                <a:hlinkClick r:id="rId12"/>
              </a:rPr>
              <a:t>U.S. Electricity Generation Mix</a:t>
            </a:r>
            <a:r>
              <a:rPr lang="en-US" dirty="0">
                <a:solidFill>
                  <a:srgbClr val="000000"/>
                </a:solidFill>
              </a:rPr>
              <a:t> (IEA, 2024), </a:t>
            </a:r>
            <a:r>
              <a:rPr lang="en-US" dirty="0">
                <a:hlinkClick r:id="rId13"/>
              </a:rPr>
              <a:t>Project InnerSpace Analysis Shows Geothermal Can Cost-Effectively Scale to Power the AI Data Center Boom</a:t>
            </a:r>
            <a:r>
              <a:rPr lang="en-US" dirty="0"/>
              <a:t> </a:t>
            </a:r>
            <a:r>
              <a:rPr lang="en-US" dirty="0">
                <a:solidFill>
                  <a:schemeClr val="tx1"/>
                </a:solidFill>
              </a:rPr>
              <a:t>(Project </a:t>
            </a:r>
            <a:r>
              <a:rPr lang="en-US" dirty="0" err="1">
                <a:solidFill>
                  <a:schemeClr val="tx1"/>
                </a:solidFill>
              </a:rPr>
              <a:t>InnerSpace</a:t>
            </a:r>
            <a:r>
              <a:rPr lang="en-US" dirty="0">
                <a:solidFill>
                  <a:schemeClr val="tx1"/>
                </a:solidFill>
              </a:rPr>
              <a:t>, 2025).</a:t>
            </a:r>
          </a:p>
          <a:p>
            <a:pPr>
              <a:defRPr/>
            </a:pPr>
            <a:r>
              <a:rPr lang="en-US" dirty="0">
                <a:solidFill>
                  <a:srgbClr val="000000"/>
                </a:solidFill>
              </a:rPr>
              <a:t>Credit: Zacharia Thurston, Isabel Hoyos, and </a:t>
            </a:r>
            <a:r>
              <a:rPr lang="en-US" dirty="0">
                <a:solidFill>
                  <a:srgbClr val="000000"/>
                </a:solidFill>
                <a:hlinkClick r:id="rId14"/>
              </a:rPr>
              <a:t>Gernot Wagner</a:t>
            </a:r>
            <a:r>
              <a:rPr lang="en-US" dirty="0">
                <a:solidFill>
                  <a:srgbClr val="000000"/>
                </a:solidFill>
              </a:rPr>
              <a:t>. </a:t>
            </a:r>
            <a:r>
              <a:rPr lang="en-US" dirty="0">
                <a:solidFill>
                  <a:srgbClr val="000000">
                    <a:tint val="82000"/>
                  </a:srgbClr>
                </a:solidFill>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E8F753A6-6353-32D0-A31E-04632036A6BF}"/>
              </a:ext>
            </a:extLst>
          </p:cNvPr>
          <p:cNvSpPr>
            <a:spLocks noGrp="1"/>
          </p:cNvSpPr>
          <p:nvPr>
            <p:ph type="body" sz="quarter" idx="13"/>
          </p:nvPr>
        </p:nvSpPr>
        <p:spPr/>
        <p:txBody>
          <a:bodyPr/>
          <a:lstStyle/>
          <a:p>
            <a:r>
              <a:rPr lang="en-US" dirty="0"/>
              <a:t>U.S. geothermal power policy timeline</a:t>
            </a:r>
          </a:p>
        </p:txBody>
      </p:sp>
      <p:sp>
        <p:nvSpPr>
          <p:cNvPr id="8" name="Text Placeholder 7">
            <a:extLst>
              <a:ext uri="{FF2B5EF4-FFF2-40B4-BE49-F238E27FC236}">
                <a16:creationId xmlns:a16="http://schemas.microsoft.com/office/drawing/2014/main" id="{E0659382-6174-AE47-1759-57D8FD83E8CB}"/>
              </a:ext>
            </a:extLst>
          </p:cNvPr>
          <p:cNvSpPr>
            <a:spLocks noGrp="1"/>
          </p:cNvSpPr>
          <p:nvPr>
            <p:ph type="body" sz="quarter" idx="16"/>
          </p:nvPr>
        </p:nvSpPr>
        <p:spPr/>
        <p:txBody>
          <a:bodyPr/>
          <a:lstStyle/>
          <a:p>
            <a:r>
              <a:rPr lang="en-US" dirty="0"/>
              <a:t>U.S. 2021 energy demand  vs. 1% geothermal power potential, </a:t>
            </a:r>
            <a:r>
              <a:rPr lang="en-US" i="1" dirty="0"/>
              <a:t>GWh</a:t>
            </a:r>
          </a:p>
        </p:txBody>
      </p:sp>
      <p:sp>
        <p:nvSpPr>
          <p:cNvPr id="9" name="Text Placeholder 1">
            <a:extLst>
              <a:ext uri="{FF2B5EF4-FFF2-40B4-BE49-F238E27FC236}">
                <a16:creationId xmlns:a16="http://schemas.microsoft.com/office/drawing/2014/main" id="{9A186C0A-0F56-C11B-077F-1B5975798150}"/>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United States</a:t>
            </a:r>
          </a:p>
        </p:txBody>
      </p:sp>
      <p:sp>
        <p:nvSpPr>
          <p:cNvPr id="11" name="Rectangle 10">
            <a:extLst>
              <a:ext uri="{FF2B5EF4-FFF2-40B4-BE49-F238E27FC236}">
                <a16:creationId xmlns:a16="http://schemas.microsoft.com/office/drawing/2014/main" id="{FE029643-4067-B420-577F-57BAE284C182}"/>
              </a:ext>
            </a:extLst>
          </p:cNvPr>
          <p:cNvSpPr/>
          <p:nvPr/>
        </p:nvSpPr>
        <p:spPr bwMode="gray">
          <a:xfrm>
            <a:off x="324000" y="2122396"/>
            <a:ext cx="5010767" cy="410025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Straight Arrow Connector 11">
            <a:extLst>
              <a:ext uri="{FF2B5EF4-FFF2-40B4-BE49-F238E27FC236}">
                <a16:creationId xmlns:a16="http://schemas.microsoft.com/office/drawing/2014/main" id="{E4C99E0C-8BCA-0AF1-5F57-900246C1C909}"/>
              </a:ext>
            </a:extLst>
          </p:cNvPr>
          <p:cNvCxnSpPr>
            <a:cxnSpLocks/>
          </p:cNvCxnSpPr>
          <p:nvPr/>
        </p:nvCxnSpPr>
        <p:spPr bwMode="gray">
          <a:xfrm>
            <a:off x="533909" y="2201979"/>
            <a:ext cx="0" cy="397553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2622DAF-6040-B2EC-E91E-619146826153}"/>
              </a:ext>
            </a:extLst>
          </p:cNvPr>
          <p:cNvSpPr/>
          <p:nvPr/>
        </p:nvSpPr>
        <p:spPr bwMode="gray">
          <a:xfrm>
            <a:off x="465131" y="2645358"/>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1A8BFD4C-087D-F8FE-21A6-6A5C73F6BF6D}"/>
              </a:ext>
            </a:extLst>
          </p:cNvPr>
          <p:cNvSpPr/>
          <p:nvPr/>
        </p:nvSpPr>
        <p:spPr bwMode="gray">
          <a:xfrm>
            <a:off x="379797" y="2363799"/>
            <a:ext cx="645842"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70</a:t>
            </a:r>
          </a:p>
        </p:txBody>
      </p:sp>
      <p:sp>
        <p:nvSpPr>
          <p:cNvPr id="15" name="Rectangle 14">
            <a:extLst>
              <a:ext uri="{FF2B5EF4-FFF2-40B4-BE49-F238E27FC236}">
                <a16:creationId xmlns:a16="http://schemas.microsoft.com/office/drawing/2014/main" id="{18FA9823-1F1D-F4BE-9746-5483EE9AF512}"/>
              </a:ext>
            </a:extLst>
          </p:cNvPr>
          <p:cNvSpPr/>
          <p:nvPr/>
        </p:nvSpPr>
        <p:spPr bwMode="gray">
          <a:xfrm>
            <a:off x="782687" y="2304800"/>
            <a:ext cx="4399579" cy="6498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Landmark law grants federal authority over geothermal leasing on public lands (via BLM and U.S. Forest Service), enabling competitive leasing with royalties and rentals as part of a broader energy policy to address rising demand and foreign oil dependence.</a:t>
            </a:r>
          </a:p>
        </p:txBody>
      </p:sp>
      <p:sp>
        <p:nvSpPr>
          <p:cNvPr id="16" name="Rectangle 15">
            <a:extLst>
              <a:ext uri="{FF2B5EF4-FFF2-40B4-BE49-F238E27FC236}">
                <a16:creationId xmlns:a16="http://schemas.microsoft.com/office/drawing/2014/main" id="{15F461C8-41A9-0D1A-26B9-D85ED2A5233B}"/>
              </a:ext>
            </a:extLst>
          </p:cNvPr>
          <p:cNvSpPr/>
          <p:nvPr/>
        </p:nvSpPr>
        <p:spPr bwMode="gray">
          <a:xfrm>
            <a:off x="320247" y="3742306"/>
            <a:ext cx="703599"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9-16</a:t>
            </a:r>
          </a:p>
        </p:txBody>
      </p:sp>
      <p:sp>
        <p:nvSpPr>
          <p:cNvPr id="17" name="Rectangle 16">
            <a:extLst>
              <a:ext uri="{FF2B5EF4-FFF2-40B4-BE49-F238E27FC236}">
                <a16:creationId xmlns:a16="http://schemas.microsoft.com/office/drawing/2014/main" id="{F85BA5A5-F495-AB35-1891-FFEA06A40418}"/>
              </a:ext>
            </a:extLst>
          </p:cNvPr>
          <p:cNvSpPr/>
          <p:nvPr/>
        </p:nvSpPr>
        <p:spPr bwMode="gray">
          <a:xfrm>
            <a:off x="332418" y="5622157"/>
            <a:ext cx="70359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b="1" dirty="0">
                <a:solidFill>
                  <a:schemeClr val="accent5"/>
                </a:solidFill>
              </a:rPr>
              <a:t>2024-25</a:t>
            </a:r>
          </a:p>
        </p:txBody>
      </p:sp>
      <p:sp>
        <p:nvSpPr>
          <p:cNvPr id="18" name="Rectangle 17">
            <a:extLst>
              <a:ext uri="{FF2B5EF4-FFF2-40B4-BE49-F238E27FC236}">
                <a16:creationId xmlns:a16="http://schemas.microsoft.com/office/drawing/2014/main" id="{177F0A86-6D5D-EC5A-8613-758F6D3E743F}"/>
              </a:ext>
            </a:extLst>
          </p:cNvPr>
          <p:cNvSpPr/>
          <p:nvPr/>
        </p:nvSpPr>
        <p:spPr bwMode="gray">
          <a:xfrm>
            <a:off x="754482" y="3253027"/>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19" name="Rectangle 18">
            <a:extLst>
              <a:ext uri="{FF2B5EF4-FFF2-40B4-BE49-F238E27FC236}">
                <a16:creationId xmlns:a16="http://schemas.microsoft.com/office/drawing/2014/main" id="{59336E9D-4252-4632-45EC-E46492AA40A8}"/>
              </a:ext>
            </a:extLst>
          </p:cNvPr>
          <p:cNvSpPr/>
          <p:nvPr/>
        </p:nvSpPr>
        <p:spPr bwMode="gray">
          <a:xfrm>
            <a:off x="704222" y="3937072"/>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0" name="Rectangle 19">
            <a:extLst>
              <a:ext uri="{FF2B5EF4-FFF2-40B4-BE49-F238E27FC236}">
                <a16:creationId xmlns:a16="http://schemas.microsoft.com/office/drawing/2014/main" id="{F48DAC62-F3E9-7312-B195-05F7C2351F6C}"/>
              </a:ext>
            </a:extLst>
          </p:cNvPr>
          <p:cNvSpPr/>
          <p:nvPr/>
        </p:nvSpPr>
        <p:spPr bwMode="gray">
          <a:xfrm>
            <a:off x="775326" y="5067107"/>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1" name="Rectangle 20">
            <a:extLst>
              <a:ext uri="{FF2B5EF4-FFF2-40B4-BE49-F238E27FC236}">
                <a16:creationId xmlns:a16="http://schemas.microsoft.com/office/drawing/2014/main" id="{830E7649-C1CE-951A-57E8-75759EFEACEA}"/>
              </a:ext>
            </a:extLst>
          </p:cNvPr>
          <p:cNvSpPr/>
          <p:nvPr/>
        </p:nvSpPr>
        <p:spPr bwMode="gray">
          <a:xfrm>
            <a:off x="730252" y="5583949"/>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2" name="Rectangle 21">
            <a:extLst>
              <a:ext uri="{FF2B5EF4-FFF2-40B4-BE49-F238E27FC236}">
                <a16:creationId xmlns:a16="http://schemas.microsoft.com/office/drawing/2014/main" id="{4A0A01F6-DB56-3A55-1CFF-EECEC8C34604}"/>
              </a:ext>
            </a:extLst>
          </p:cNvPr>
          <p:cNvSpPr/>
          <p:nvPr/>
        </p:nvSpPr>
        <p:spPr bwMode="gray">
          <a:xfrm>
            <a:off x="837747" y="5528323"/>
            <a:ext cx="4373764" cy="6521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accent5"/>
                </a:solidFill>
              </a:rPr>
              <a:t>IRA incentives repealed but geothermal spared — tax credits phase down after 2033. Global tariffs and U.S. support for tech reshoring boost emerging EGS startups (Fervo, Sage) supplying data centers with baseload power.</a:t>
            </a:r>
          </a:p>
        </p:txBody>
      </p:sp>
      <p:sp>
        <p:nvSpPr>
          <p:cNvPr id="23" name="Rectangle 22">
            <a:extLst>
              <a:ext uri="{FF2B5EF4-FFF2-40B4-BE49-F238E27FC236}">
                <a16:creationId xmlns:a16="http://schemas.microsoft.com/office/drawing/2014/main" id="{2FE66B81-7A03-58BA-86E7-47BD75F5B240}"/>
              </a:ext>
            </a:extLst>
          </p:cNvPr>
          <p:cNvSpPr/>
          <p:nvPr/>
        </p:nvSpPr>
        <p:spPr bwMode="gray">
          <a:xfrm>
            <a:off x="392373" y="3158250"/>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5</a:t>
            </a:r>
          </a:p>
        </p:txBody>
      </p:sp>
      <p:sp>
        <p:nvSpPr>
          <p:cNvPr id="24" name="Rectangle 23">
            <a:extLst>
              <a:ext uri="{FF2B5EF4-FFF2-40B4-BE49-F238E27FC236}">
                <a16:creationId xmlns:a16="http://schemas.microsoft.com/office/drawing/2014/main" id="{56481CBD-D495-219F-78EC-0293787E6BBA}"/>
              </a:ext>
            </a:extLst>
          </p:cNvPr>
          <p:cNvSpPr/>
          <p:nvPr/>
        </p:nvSpPr>
        <p:spPr bwMode="gray">
          <a:xfrm>
            <a:off x="778354" y="3182213"/>
            <a:ext cx="4399578" cy="3359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Font typeface="Arial" panose="020B0604020202020204" pitchFamily="34" charset="0"/>
              <a:buChar char="•"/>
            </a:pPr>
            <a:r>
              <a:rPr lang="en-US" sz="1050" dirty="0">
                <a:solidFill>
                  <a:schemeClr val="tx1"/>
                </a:solidFill>
              </a:rPr>
              <a:t>Energy Policy Act: Is overhauled, streamlining leasing and permitting and adjusting royalty structures.</a:t>
            </a:r>
          </a:p>
        </p:txBody>
      </p:sp>
      <p:sp>
        <p:nvSpPr>
          <p:cNvPr id="25" name="Rectangle 24">
            <a:extLst>
              <a:ext uri="{FF2B5EF4-FFF2-40B4-BE49-F238E27FC236}">
                <a16:creationId xmlns:a16="http://schemas.microsoft.com/office/drawing/2014/main" id="{9E11BB24-9EB5-2F4C-0B9F-23CEAAC3E3FC}"/>
              </a:ext>
            </a:extLst>
          </p:cNvPr>
          <p:cNvSpPr/>
          <p:nvPr/>
        </p:nvSpPr>
        <p:spPr bwMode="gray">
          <a:xfrm>
            <a:off x="775328" y="4504874"/>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b="1" dirty="0">
              <a:solidFill>
                <a:schemeClr val="tx1"/>
              </a:solidFill>
            </a:endParaRPr>
          </a:p>
        </p:txBody>
      </p:sp>
      <p:sp>
        <p:nvSpPr>
          <p:cNvPr id="26" name="Oval 25">
            <a:extLst>
              <a:ext uri="{FF2B5EF4-FFF2-40B4-BE49-F238E27FC236}">
                <a16:creationId xmlns:a16="http://schemas.microsoft.com/office/drawing/2014/main" id="{C883B4A0-743B-6FC7-F59F-CE2747091237}"/>
              </a:ext>
            </a:extLst>
          </p:cNvPr>
          <p:cNvSpPr/>
          <p:nvPr/>
        </p:nvSpPr>
        <p:spPr bwMode="gray">
          <a:xfrm>
            <a:off x="465131" y="3352527"/>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Oval 26">
            <a:extLst>
              <a:ext uri="{FF2B5EF4-FFF2-40B4-BE49-F238E27FC236}">
                <a16:creationId xmlns:a16="http://schemas.microsoft.com/office/drawing/2014/main" id="{ED38F29C-3D48-42FA-3C82-D3C676930370}"/>
              </a:ext>
            </a:extLst>
          </p:cNvPr>
          <p:cNvSpPr/>
          <p:nvPr/>
        </p:nvSpPr>
        <p:spPr bwMode="gray">
          <a:xfrm>
            <a:off x="465131" y="3951843"/>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Oval 27">
            <a:extLst>
              <a:ext uri="{FF2B5EF4-FFF2-40B4-BE49-F238E27FC236}">
                <a16:creationId xmlns:a16="http://schemas.microsoft.com/office/drawing/2014/main" id="{5DF121C6-9552-5DCB-C644-C8DBAB8702B5}"/>
              </a:ext>
            </a:extLst>
          </p:cNvPr>
          <p:cNvSpPr/>
          <p:nvPr/>
        </p:nvSpPr>
        <p:spPr bwMode="gray">
          <a:xfrm>
            <a:off x="465131" y="4510642"/>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Oval 28">
            <a:extLst>
              <a:ext uri="{FF2B5EF4-FFF2-40B4-BE49-F238E27FC236}">
                <a16:creationId xmlns:a16="http://schemas.microsoft.com/office/drawing/2014/main" id="{717549FC-DED6-98CC-12B5-956862C148FD}"/>
              </a:ext>
            </a:extLst>
          </p:cNvPr>
          <p:cNvSpPr/>
          <p:nvPr/>
        </p:nvSpPr>
        <p:spPr bwMode="gray">
          <a:xfrm>
            <a:off x="465131" y="5890921"/>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0" name="Rectangle 29">
            <a:extLst>
              <a:ext uri="{FF2B5EF4-FFF2-40B4-BE49-F238E27FC236}">
                <a16:creationId xmlns:a16="http://schemas.microsoft.com/office/drawing/2014/main" id="{3BDF8A20-3F01-E8EE-9273-5C2E37BB8A60}"/>
              </a:ext>
            </a:extLst>
          </p:cNvPr>
          <p:cNvSpPr/>
          <p:nvPr/>
        </p:nvSpPr>
        <p:spPr bwMode="gray">
          <a:xfrm>
            <a:off x="329618" y="4316851"/>
            <a:ext cx="697566"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7-21</a:t>
            </a:r>
          </a:p>
        </p:txBody>
      </p:sp>
      <p:sp>
        <p:nvSpPr>
          <p:cNvPr id="31" name="Rectangle 30">
            <a:extLst>
              <a:ext uri="{FF2B5EF4-FFF2-40B4-BE49-F238E27FC236}">
                <a16:creationId xmlns:a16="http://schemas.microsoft.com/office/drawing/2014/main" id="{1214CD49-0C94-2B7B-D81C-35ACF8B14ECB}"/>
              </a:ext>
            </a:extLst>
          </p:cNvPr>
          <p:cNvSpPr/>
          <p:nvPr/>
        </p:nvSpPr>
        <p:spPr bwMode="gray">
          <a:xfrm>
            <a:off x="799197" y="5351282"/>
            <a:ext cx="4406050" cy="1319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accent5"/>
                </a:solidFill>
              </a:rPr>
              <a:t>Trump 2.0: OBBA, Global Tariffs, Domestic Tech Giant Incentives</a:t>
            </a:r>
          </a:p>
        </p:txBody>
      </p:sp>
      <p:sp>
        <p:nvSpPr>
          <p:cNvPr id="32" name="Rectangle 31">
            <a:extLst>
              <a:ext uri="{FF2B5EF4-FFF2-40B4-BE49-F238E27FC236}">
                <a16:creationId xmlns:a16="http://schemas.microsoft.com/office/drawing/2014/main" id="{45B530A4-C4A6-CD1C-61DF-9FCE3F924559}"/>
              </a:ext>
            </a:extLst>
          </p:cNvPr>
          <p:cNvSpPr/>
          <p:nvPr/>
        </p:nvSpPr>
        <p:spPr bwMode="gray">
          <a:xfrm>
            <a:off x="1237506" y="4683138"/>
            <a:ext cx="3584424" cy="23164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Biden: Bipartisan Infrastructure Law (2021) + IRA (2022)</a:t>
            </a:r>
          </a:p>
        </p:txBody>
      </p:sp>
      <p:sp>
        <p:nvSpPr>
          <p:cNvPr id="33" name="Rectangle 32">
            <a:extLst>
              <a:ext uri="{FF2B5EF4-FFF2-40B4-BE49-F238E27FC236}">
                <a16:creationId xmlns:a16="http://schemas.microsoft.com/office/drawing/2014/main" id="{4CB956ED-1D89-4CE8-73FD-94B69108217E}"/>
              </a:ext>
            </a:extLst>
          </p:cNvPr>
          <p:cNvSpPr/>
          <p:nvPr/>
        </p:nvSpPr>
        <p:spPr bwMode="gray">
          <a:xfrm>
            <a:off x="2144132" y="4062158"/>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Trump 1.0:</a:t>
            </a:r>
          </a:p>
        </p:txBody>
      </p:sp>
      <p:sp>
        <p:nvSpPr>
          <p:cNvPr id="34" name="Rectangle 33">
            <a:extLst>
              <a:ext uri="{FF2B5EF4-FFF2-40B4-BE49-F238E27FC236}">
                <a16:creationId xmlns:a16="http://schemas.microsoft.com/office/drawing/2014/main" id="{91DC5AF4-2B48-4DCD-3E81-C15C2A404222}"/>
              </a:ext>
            </a:extLst>
          </p:cNvPr>
          <p:cNvSpPr/>
          <p:nvPr/>
        </p:nvSpPr>
        <p:spPr bwMode="gray">
          <a:xfrm>
            <a:off x="2144132" y="3563263"/>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Obama Era</a:t>
            </a:r>
          </a:p>
        </p:txBody>
      </p:sp>
      <p:sp>
        <p:nvSpPr>
          <p:cNvPr id="35" name="Rectangle 34">
            <a:extLst>
              <a:ext uri="{FF2B5EF4-FFF2-40B4-BE49-F238E27FC236}">
                <a16:creationId xmlns:a16="http://schemas.microsoft.com/office/drawing/2014/main" id="{C7B645FA-E145-F797-B957-97B438C76C0F}"/>
              </a:ext>
            </a:extLst>
          </p:cNvPr>
          <p:cNvSpPr/>
          <p:nvPr/>
        </p:nvSpPr>
        <p:spPr bwMode="gray">
          <a:xfrm>
            <a:off x="2144132" y="2999809"/>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Energy Policy Act</a:t>
            </a:r>
          </a:p>
        </p:txBody>
      </p:sp>
      <p:sp>
        <p:nvSpPr>
          <p:cNvPr id="36" name="Rectangle 35">
            <a:extLst>
              <a:ext uri="{FF2B5EF4-FFF2-40B4-BE49-F238E27FC236}">
                <a16:creationId xmlns:a16="http://schemas.microsoft.com/office/drawing/2014/main" id="{C3C6FD5B-14E2-2FB9-8880-C1849ECF8263}"/>
              </a:ext>
            </a:extLst>
          </p:cNvPr>
          <p:cNvSpPr/>
          <p:nvPr/>
        </p:nvSpPr>
        <p:spPr bwMode="gray">
          <a:xfrm>
            <a:off x="2144132" y="2160496"/>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Geothermal Steam Act</a:t>
            </a:r>
          </a:p>
        </p:txBody>
      </p:sp>
      <p:graphicFrame>
        <p:nvGraphicFramePr>
          <p:cNvPr id="37" name="Chart 36">
            <a:extLst>
              <a:ext uri="{FF2B5EF4-FFF2-40B4-BE49-F238E27FC236}">
                <a16:creationId xmlns:a16="http://schemas.microsoft.com/office/drawing/2014/main" id="{C319ADE8-A1C9-E911-E4BE-430A54E761B1}"/>
              </a:ext>
            </a:extLst>
          </p:cNvPr>
          <p:cNvGraphicFramePr/>
          <p:nvPr>
            <p:custDataLst>
              <p:tags r:id="rId2"/>
            </p:custDataLst>
            <p:extLst>
              <p:ext uri="{D42A27DB-BD31-4B8C-83A1-F6EECF244321}">
                <p14:modId xmlns:p14="http://schemas.microsoft.com/office/powerpoint/2010/main" val="576023081"/>
              </p:ext>
            </p:extLst>
          </p:nvPr>
        </p:nvGraphicFramePr>
        <p:xfrm>
          <a:off x="7031038" y="3535363"/>
          <a:ext cx="4989512" cy="2619375"/>
        </p:xfrm>
        <a:graphic>
          <a:graphicData uri="http://schemas.openxmlformats.org/drawingml/2006/chart">
            <c:chart xmlns:c="http://schemas.openxmlformats.org/drawingml/2006/chart" xmlns:r="http://schemas.openxmlformats.org/officeDocument/2006/relationships" r:id="rId16"/>
          </a:graphicData>
        </a:graphic>
      </p:graphicFrame>
      <p:sp>
        <p:nvSpPr>
          <p:cNvPr id="38" name="Rectangle 37">
            <a:extLst>
              <a:ext uri="{FF2B5EF4-FFF2-40B4-BE49-F238E27FC236}">
                <a16:creationId xmlns:a16="http://schemas.microsoft.com/office/drawing/2014/main" id="{5E0C5B73-F3D8-98A0-C0DC-56485461A4F8}"/>
              </a:ext>
            </a:extLst>
          </p:cNvPr>
          <p:cNvSpPr/>
          <p:nvPr/>
        </p:nvSpPr>
        <p:spPr bwMode="gray">
          <a:xfrm>
            <a:off x="5569044" y="1897855"/>
            <a:ext cx="6545929" cy="457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US" sz="1200" i="1" dirty="0">
              <a:solidFill>
                <a:schemeClr val="tx1"/>
              </a:solidFill>
            </a:endParaRPr>
          </a:p>
        </p:txBody>
      </p:sp>
      <p:sp>
        <p:nvSpPr>
          <p:cNvPr id="39" name="Rectangle 38">
            <a:extLst>
              <a:ext uri="{FF2B5EF4-FFF2-40B4-BE49-F238E27FC236}">
                <a16:creationId xmlns:a16="http://schemas.microsoft.com/office/drawing/2014/main" id="{831FD485-C5A7-5D7D-F1E3-EC5B6FF88BA3}"/>
              </a:ext>
            </a:extLst>
          </p:cNvPr>
          <p:cNvSpPr/>
          <p:nvPr/>
        </p:nvSpPr>
        <p:spPr bwMode="gray">
          <a:xfrm>
            <a:off x="10974431" y="2129019"/>
            <a:ext cx="139337" cy="78092"/>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C3661D9B-6011-DE39-1FAC-81C738B58440}"/>
              </a:ext>
            </a:extLst>
          </p:cNvPr>
          <p:cNvSpPr/>
          <p:nvPr/>
        </p:nvSpPr>
        <p:spPr bwMode="gray">
          <a:xfrm>
            <a:off x="11148874" y="2123887"/>
            <a:ext cx="652871" cy="780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41" name="Rectangle 40">
            <a:extLst>
              <a:ext uri="{FF2B5EF4-FFF2-40B4-BE49-F238E27FC236}">
                <a16:creationId xmlns:a16="http://schemas.microsoft.com/office/drawing/2014/main" id="{FA7DE4E1-3651-4DA0-1FC3-DE0E95DE93CB}"/>
              </a:ext>
            </a:extLst>
          </p:cNvPr>
          <p:cNvSpPr/>
          <p:nvPr/>
        </p:nvSpPr>
        <p:spPr bwMode="gray">
          <a:xfrm>
            <a:off x="10974431" y="2254736"/>
            <a:ext cx="139337" cy="78092"/>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DE504654-012B-4DC5-04C3-5854B8F607EE}"/>
              </a:ext>
            </a:extLst>
          </p:cNvPr>
          <p:cNvSpPr/>
          <p:nvPr/>
        </p:nvSpPr>
        <p:spPr bwMode="gray">
          <a:xfrm>
            <a:off x="11148874" y="2249604"/>
            <a:ext cx="652871" cy="780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43" name="Rectangle 42">
            <a:extLst>
              <a:ext uri="{FF2B5EF4-FFF2-40B4-BE49-F238E27FC236}">
                <a16:creationId xmlns:a16="http://schemas.microsoft.com/office/drawing/2014/main" id="{DA883617-9B25-C45A-EB9D-38E0149C723C}"/>
              </a:ext>
            </a:extLst>
          </p:cNvPr>
          <p:cNvSpPr/>
          <p:nvPr/>
        </p:nvSpPr>
        <p:spPr bwMode="gray">
          <a:xfrm>
            <a:off x="10974431" y="2389304"/>
            <a:ext cx="139337"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1FF1D651-645C-B9D9-2E79-DED3983763C0}"/>
              </a:ext>
            </a:extLst>
          </p:cNvPr>
          <p:cNvSpPr/>
          <p:nvPr/>
        </p:nvSpPr>
        <p:spPr bwMode="gray">
          <a:xfrm>
            <a:off x="11148874" y="2382954"/>
            <a:ext cx="652871"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45" name="Rectangle 44">
            <a:extLst>
              <a:ext uri="{FF2B5EF4-FFF2-40B4-BE49-F238E27FC236}">
                <a16:creationId xmlns:a16="http://schemas.microsoft.com/office/drawing/2014/main" id="{CB3F5EF6-97E0-AE19-B9A7-1C53B315F6D7}"/>
              </a:ext>
            </a:extLst>
          </p:cNvPr>
          <p:cNvSpPr/>
          <p:nvPr/>
        </p:nvSpPr>
        <p:spPr bwMode="gray">
          <a:xfrm>
            <a:off x="10974431" y="2519479"/>
            <a:ext cx="139337"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25650F3B-3241-1633-E8B8-16783510AF85}"/>
              </a:ext>
            </a:extLst>
          </p:cNvPr>
          <p:cNvSpPr/>
          <p:nvPr/>
        </p:nvSpPr>
        <p:spPr bwMode="gray">
          <a:xfrm>
            <a:off x="11148874" y="2514717"/>
            <a:ext cx="652871"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47" name="Left Brace 46">
            <a:extLst>
              <a:ext uri="{FF2B5EF4-FFF2-40B4-BE49-F238E27FC236}">
                <a16:creationId xmlns:a16="http://schemas.microsoft.com/office/drawing/2014/main" id="{2447766F-B9CA-B314-068D-2F692F72F476}"/>
              </a:ext>
            </a:extLst>
          </p:cNvPr>
          <p:cNvSpPr/>
          <p:nvPr/>
        </p:nvSpPr>
        <p:spPr bwMode="gray">
          <a:xfrm flipH="1">
            <a:off x="10977123" y="3759200"/>
            <a:ext cx="200325" cy="1865313"/>
          </a:xfrm>
          <a:prstGeom prst="leftBrace">
            <a:avLst>
              <a:gd name="adj1" fmla="val 0"/>
              <a:gd name="adj2" fmla="val 45173"/>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AAA64CED-7463-9D9C-C56C-17AD7E5F131E}"/>
              </a:ext>
            </a:extLst>
          </p:cNvPr>
          <p:cNvSpPr/>
          <p:nvPr/>
        </p:nvSpPr>
        <p:spPr bwMode="gray">
          <a:xfrm>
            <a:off x="330206" y="5006278"/>
            <a:ext cx="703598"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1-24</a:t>
            </a:r>
          </a:p>
        </p:txBody>
      </p:sp>
      <p:sp>
        <p:nvSpPr>
          <p:cNvPr id="49" name="Rectangle 48">
            <a:extLst>
              <a:ext uri="{FF2B5EF4-FFF2-40B4-BE49-F238E27FC236}">
                <a16:creationId xmlns:a16="http://schemas.microsoft.com/office/drawing/2014/main" id="{A6F811E7-F5C1-457E-0B5E-9C8597D212BA}"/>
              </a:ext>
            </a:extLst>
          </p:cNvPr>
          <p:cNvSpPr/>
          <p:nvPr/>
        </p:nvSpPr>
        <p:spPr bwMode="gray">
          <a:xfrm>
            <a:off x="11148875" y="4425950"/>
            <a:ext cx="853549" cy="466725"/>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accent5"/>
                </a:solidFill>
              </a:rPr>
              <a:t>Excess of 31,336,521 GWh </a:t>
            </a:r>
          </a:p>
        </p:txBody>
      </p:sp>
      <p:sp>
        <p:nvSpPr>
          <p:cNvPr id="50" name="Rectangle 49">
            <a:extLst>
              <a:ext uri="{FF2B5EF4-FFF2-40B4-BE49-F238E27FC236}">
                <a16:creationId xmlns:a16="http://schemas.microsoft.com/office/drawing/2014/main" id="{CB8F599A-08AC-9723-FD43-9BEA6C587373}"/>
              </a:ext>
            </a:extLst>
          </p:cNvPr>
          <p:cNvSpPr/>
          <p:nvPr/>
        </p:nvSpPr>
        <p:spPr bwMode="gray">
          <a:xfrm>
            <a:off x="11117440" y="4902200"/>
            <a:ext cx="812708" cy="996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Ability to power NYC</a:t>
            </a:r>
          </a:p>
          <a:p>
            <a:pPr marL="0" indent="0">
              <a:spcBef>
                <a:spcPts val="0"/>
              </a:spcBef>
              <a:buNone/>
            </a:pPr>
            <a:r>
              <a:rPr lang="en-US" sz="1200" b="1" i="1" dirty="0">
                <a:solidFill>
                  <a:schemeClr val="tx1"/>
                </a:solidFill>
              </a:rPr>
              <a:t>660x </a:t>
            </a:r>
            <a:r>
              <a:rPr lang="en-US" sz="900" i="1" dirty="0">
                <a:solidFill>
                  <a:schemeClr val="tx1"/>
                </a:solidFill>
              </a:rPr>
              <a:t>over</a:t>
            </a:r>
          </a:p>
        </p:txBody>
      </p:sp>
      <p:grpSp>
        <p:nvGrpSpPr>
          <p:cNvPr id="51" name="Group 50">
            <a:extLst>
              <a:ext uri="{FF2B5EF4-FFF2-40B4-BE49-F238E27FC236}">
                <a16:creationId xmlns:a16="http://schemas.microsoft.com/office/drawing/2014/main" id="{E89C1858-B72F-06B4-616B-6D07736611AD}"/>
              </a:ext>
            </a:extLst>
          </p:cNvPr>
          <p:cNvGrpSpPr/>
          <p:nvPr/>
        </p:nvGrpSpPr>
        <p:grpSpPr>
          <a:xfrm>
            <a:off x="5512013" y="2129631"/>
            <a:ext cx="4832981" cy="2868613"/>
            <a:chOff x="5633020" y="1275150"/>
            <a:chExt cx="4832981" cy="2868016"/>
          </a:xfrm>
        </p:grpSpPr>
        <p:grpSp>
          <p:nvGrpSpPr>
            <p:cNvPr id="52" name="Group 51">
              <a:extLst>
                <a:ext uri="{FF2B5EF4-FFF2-40B4-BE49-F238E27FC236}">
                  <a16:creationId xmlns:a16="http://schemas.microsoft.com/office/drawing/2014/main" id="{0C058331-1D00-6A0E-B6EA-ABBCD7456BCC}"/>
                </a:ext>
              </a:extLst>
            </p:cNvPr>
            <p:cNvGrpSpPr/>
            <p:nvPr/>
          </p:nvGrpSpPr>
          <p:grpSpPr>
            <a:xfrm>
              <a:off x="5803045" y="1275150"/>
              <a:ext cx="4662956" cy="2868016"/>
              <a:chOff x="5998701" y="1712447"/>
              <a:chExt cx="3884781" cy="2525332"/>
            </a:xfrm>
          </p:grpSpPr>
          <p:grpSp>
            <p:nvGrpSpPr>
              <p:cNvPr id="57" name="Group 56">
                <a:extLst>
                  <a:ext uri="{FF2B5EF4-FFF2-40B4-BE49-F238E27FC236}">
                    <a16:creationId xmlns:a16="http://schemas.microsoft.com/office/drawing/2014/main" id="{FFAE3ACA-908F-E238-3C77-5B0F1A06F061}"/>
                  </a:ext>
                </a:extLst>
              </p:cNvPr>
              <p:cNvGrpSpPr/>
              <p:nvPr/>
            </p:nvGrpSpPr>
            <p:grpSpPr>
              <a:xfrm>
                <a:off x="5998701" y="1712447"/>
                <a:ext cx="3884781" cy="2525332"/>
                <a:chOff x="-355357" y="737198"/>
                <a:chExt cx="5625383" cy="3650916"/>
              </a:xfrm>
            </p:grpSpPr>
            <p:pic>
              <p:nvPicPr>
                <p:cNvPr id="110" name="Picture 109" descr="A map of the united states&#10;&#10;AI-generated content may be incorrect.">
                  <a:extLst>
                    <a:ext uri="{FF2B5EF4-FFF2-40B4-BE49-F238E27FC236}">
                      <a16:creationId xmlns:a16="http://schemas.microsoft.com/office/drawing/2014/main" id="{CE6ED5CE-4822-A6C3-1167-7F8F1163508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43374" y="737198"/>
                  <a:ext cx="5613400" cy="3556000"/>
                </a:xfrm>
                <a:prstGeom prst="rect">
                  <a:avLst/>
                </a:prstGeom>
              </p:spPr>
            </p:pic>
            <p:sp>
              <p:nvSpPr>
                <p:cNvPr id="111" name="Rectangle 110">
                  <a:extLst>
                    <a:ext uri="{FF2B5EF4-FFF2-40B4-BE49-F238E27FC236}">
                      <a16:creationId xmlns:a16="http://schemas.microsoft.com/office/drawing/2014/main" id="{663082C9-FB7E-F067-2F7D-69311B50D8DD}"/>
                    </a:ext>
                  </a:extLst>
                </p:cNvPr>
                <p:cNvSpPr/>
                <p:nvPr/>
              </p:nvSpPr>
              <p:spPr bwMode="gray">
                <a:xfrm>
                  <a:off x="-355357" y="3651804"/>
                  <a:ext cx="1385504" cy="6249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2" name="Rectangle 111">
                  <a:extLst>
                    <a:ext uri="{FF2B5EF4-FFF2-40B4-BE49-F238E27FC236}">
                      <a16:creationId xmlns:a16="http://schemas.microsoft.com/office/drawing/2014/main" id="{2F469308-36C2-315A-E67A-240A66B831D9}"/>
                    </a:ext>
                  </a:extLst>
                </p:cNvPr>
                <p:cNvSpPr/>
                <p:nvPr/>
              </p:nvSpPr>
              <p:spPr bwMode="gray">
                <a:xfrm>
                  <a:off x="-331923" y="3724122"/>
                  <a:ext cx="2276610" cy="6639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58" name="Group 57">
                <a:extLst>
                  <a:ext uri="{FF2B5EF4-FFF2-40B4-BE49-F238E27FC236}">
                    <a16:creationId xmlns:a16="http://schemas.microsoft.com/office/drawing/2014/main" id="{3016BEF0-6A34-800E-76E1-05B7064A790F}"/>
                  </a:ext>
                </a:extLst>
              </p:cNvPr>
              <p:cNvGrpSpPr/>
              <p:nvPr/>
            </p:nvGrpSpPr>
            <p:grpSpPr>
              <a:xfrm>
                <a:off x="6103308" y="1798435"/>
                <a:ext cx="3677299" cy="2284604"/>
                <a:chOff x="5239212" y="1665629"/>
                <a:chExt cx="2855147" cy="1782569"/>
              </a:xfrm>
              <a:noFill/>
            </p:grpSpPr>
            <p:sp>
              <p:nvSpPr>
                <p:cNvPr id="59" name="Freeform 58">
                  <a:extLst>
                    <a:ext uri="{FF2B5EF4-FFF2-40B4-BE49-F238E27FC236}">
                      <a16:creationId xmlns:a16="http://schemas.microsoft.com/office/drawing/2014/main" id="{97942E7B-24CD-6ED3-321C-0A3C234C1085}"/>
                    </a:ext>
                  </a:extLst>
                </p:cNvPr>
                <p:cNvSpPr>
                  <a:spLocks/>
                </p:cNvSpPr>
                <p:nvPr/>
              </p:nvSpPr>
              <p:spPr bwMode="auto">
                <a:xfrm>
                  <a:off x="5379188" y="1665629"/>
                  <a:ext cx="365958" cy="271518"/>
                </a:xfrm>
                <a:custGeom>
                  <a:avLst/>
                  <a:gdLst>
                    <a:gd name="T0" fmla="*/ 228 w 257"/>
                    <a:gd name="T1" fmla="*/ 167 h 190"/>
                    <a:gd name="T2" fmla="*/ 227 w 257"/>
                    <a:gd name="T3" fmla="*/ 190 h 190"/>
                    <a:gd name="T4" fmla="*/ 150 w 257"/>
                    <a:gd name="T5" fmla="*/ 172 h 190"/>
                    <a:gd name="T6" fmla="*/ 141 w 257"/>
                    <a:gd name="T7" fmla="*/ 172 h 190"/>
                    <a:gd name="T8" fmla="*/ 108 w 257"/>
                    <a:gd name="T9" fmla="*/ 174 h 190"/>
                    <a:gd name="T10" fmla="*/ 102 w 257"/>
                    <a:gd name="T11" fmla="*/ 173 h 190"/>
                    <a:gd name="T12" fmla="*/ 97 w 257"/>
                    <a:gd name="T13" fmla="*/ 174 h 190"/>
                    <a:gd name="T14" fmla="*/ 94 w 257"/>
                    <a:gd name="T15" fmla="*/ 172 h 190"/>
                    <a:gd name="T16" fmla="*/ 86 w 257"/>
                    <a:gd name="T17" fmla="*/ 171 h 190"/>
                    <a:gd name="T18" fmla="*/ 85 w 257"/>
                    <a:gd name="T19" fmla="*/ 168 h 190"/>
                    <a:gd name="T20" fmla="*/ 73 w 257"/>
                    <a:gd name="T21" fmla="*/ 165 h 190"/>
                    <a:gd name="T22" fmla="*/ 66 w 257"/>
                    <a:gd name="T23" fmla="*/ 162 h 190"/>
                    <a:gd name="T24" fmla="*/ 51 w 257"/>
                    <a:gd name="T25" fmla="*/ 165 h 190"/>
                    <a:gd name="T26" fmla="*/ 33 w 257"/>
                    <a:gd name="T27" fmla="*/ 156 h 190"/>
                    <a:gd name="T28" fmla="*/ 29 w 257"/>
                    <a:gd name="T29" fmla="*/ 128 h 190"/>
                    <a:gd name="T30" fmla="*/ 20 w 257"/>
                    <a:gd name="T31" fmla="*/ 126 h 190"/>
                    <a:gd name="T32" fmla="*/ 10 w 257"/>
                    <a:gd name="T33" fmla="*/ 120 h 190"/>
                    <a:gd name="T34" fmla="*/ 0 w 257"/>
                    <a:gd name="T35" fmla="*/ 116 h 190"/>
                    <a:gd name="T36" fmla="*/ 3 w 257"/>
                    <a:gd name="T37" fmla="*/ 103 h 190"/>
                    <a:gd name="T38" fmla="*/ 5 w 257"/>
                    <a:gd name="T39" fmla="*/ 105 h 190"/>
                    <a:gd name="T40" fmla="*/ 7 w 257"/>
                    <a:gd name="T41" fmla="*/ 105 h 190"/>
                    <a:gd name="T42" fmla="*/ 11 w 257"/>
                    <a:gd name="T43" fmla="*/ 99 h 190"/>
                    <a:gd name="T44" fmla="*/ 9 w 257"/>
                    <a:gd name="T45" fmla="*/ 96 h 190"/>
                    <a:gd name="T46" fmla="*/ 7 w 257"/>
                    <a:gd name="T47" fmla="*/ 88 h 190"/>
                    <a:gd name="T48" fmla="*/ 16 w 257"/>
                    <a:gd name="T49" fmla="*/ 85 h 190"/>
                    <a:gd name="T50" fmla="*/ 8 w 257"/>
                    <a:gd name="T51" fmla="*/ 78 h 190"/>
                    <a:gd name="T52" fmla="*/ 6 w 257"/>
                    <a:gd name="T53" fmla="*/ 60 h 190"/>
                    <a:gd name="T54" fmla="*/ 8 w 257"/>
                    <a:gd name="T55" fmla="*/ 41 h 190"/>
                    <a:gd name="T56" fmla="*/ 3 w 257"/>
                    <a:gd name="T57" fmla="*/ 23 h 190"/>
                    <a:gd name="T58" fmla="*/ 10 w 257"/>
                    <a:gd name="T59" fmla="*/ 10 h 190"/>
                    <a:gd name="T60" fmla="*/ 33 w 257"/>
                    <a:gd name="T61" fmla="*/ 30 h 190"/>
                    <a:gd name="T62" fmla="*/ 49 w 257"/>
                    <a:gd name="T63" fmla="*/ 36 h 190"/>
                    <a:gd name="T64" fmla="*/ 55 w 257"/>
                    <a:gd name="T65" fmla="*/ 36 h 190"/>
                    <a:gd name="T66" fmla="*/ 65 w 257"/>
                    <a:gd name="T67" fmla="*/ 42 h 190"/>
                    <a:gd name="T68" fmla="*/ 63 w 257"/>
                    <a:gd name="T69" fmla="*/ 56 h 190"/>
                    <a:gd name="T70" fmla="*/ 48 w 257"/>
                    <a:gd name="T71" fmla="*/ 69 h 190"/>
                    <a:gd name="T72" fmla="*/ 48 w 257"/>
                    <a:gd name="T73" fmla="*/ 74 h 190"/>
                    <a:gd name="T74" fmla="*/ 55 w 257"/>
                    <a:gd name="T75" fmla="*/ 66 h 190"/>
                    <a:gd name="T76" fmla="*/ 70 w 257"/>
                    <a:gd name="T77" fmla="*/ 57 h 190"/>
                    <a:gd name="T78" fmla="*/ 66 w 257"/>
                    <a:gd name="T79" fmla="*/ 64 h 190"/>
                    <a:gd name="T80" fmla="*/ 52 w 257"/>
                    <a:gd name="T81" fmla="*/ 80 h 190"/>
                    <a:gd name="T82" fmla="*/ 46 w 257"/>
                    <a:gd name="T83" fmla="*/ 91 h 190"/>
                    <a:gd name="T84" fmla="*/ 55 w 257"/>
                    <a:gd name="T85" fmla="*/ 87 h 190"/>
                    <a:gd name="T86" fmla="*/ 65 w 257"/>
                    <a:gd name="T87" fmla="*/ 82 h 190"/>
                    <a:gd name="T88" fmla="*/ 71 w 257"/>
                    <a:gd name="T89" fmla="*/ 68 h 190"/>
                    <a:gd name="T90" fmla="*/ 80 w 257"/>
                    <a:gd name="T91" fmla="*/ 54 h 190"/>
                    <a:gd name="T92" fmla="*/ 78 w 257"/>
                    <a:gd name="T93" fmla="*/ 42 h 190"/>
                    <a:gd name="T94" fmla="*/ 75 w 257"/>
                    <a:gd name="T95" fmla="*/ 35 h 190"/>
                    <a:gd name="T96" fmla="*/ 74 w 257"/>
                    <a:gd name="T97" fmla="*/ 46 h 190"/>
                    <a:gd name="T98" fmla="*/ 76 w 257"/>
                    <a:gd name="T99" fmla="*/ 54 h 190"/>
                    <a:gd name="T100" fmla="*/ 72 w 257"/>
                    <a:gd name="T101" fmla="*/ 51 h 190"/>
                    <a:gd name="T102" fmla="*/ 68 w 257"/>
                    <a:gd name="T103" fmla="*/ 41 h 190"/>
                    <a:gd name="T104" fmla="*/ 73 w 257"/>
                    <a:gd name="T105" fmla="*/ 32 h 190"/>
                    <a:gd name="T106" fmla="*/ 74 w 257"/>
                    <a:gd name="T107" fmla="*/ 24 h 190"/>
                    <a:gd name="T108" fmla="*/ 80 w 257"/>
                    <a:gd name="T109" fmla="*/ 30 h 190"/>
                    <a:gd name="T110" fmla="*/ 79 w 257"/>
                    <a:gd name="T111" fmla="*/ 15 h 190"/>
                    <a:gd name="T112" fmla="*/ 77 w 257"/>
                    <a:gd name="T113" fmla="*/ 11 h 190"/>
                    <a:gd name="T114" fmla="*/ 145 w 257"/>
                    <a:gd name="T115" fmla="*/ 19 h 190"/>
                    <a:gd name="T116" fmla="*/ 246 w 257"/>
                    <a:gd name="T117" fmla="*/ 4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90">
                      <a:moveTo>
                        <a:pt x="257" y="47"/>
                      </a:moveTo>
                      <a:cubicBezTo>
                        <a:pt x="257" y="47"/>
                        <a:pt x="233" y="161"/>
                        <a:pt x="228" y="167"/>
                      </a:cubicBezTo>
                      <a:cubicBezTo>
                        <a:pt x="224" y="174"/>
                        <a:pt x="229" y="172"/>
                        <a:pt x="229" y="179"/>
                      </a:cubicBezTo>
                      <a:cubicBezTo>
                        <a:pt x="229" y="185"/>
                        <a:pt x="227" y="190"/>
                        <a:pt x="227" y="190"/>
                      </a:cubicBezTo>
                      <a:cubicBezTo>
                        <a:pt x="161" y="173"/>
                        <a:pt x="161" y="173"/>
                        <a:pt x="161" y="173"/>
                      </a:cubicBezTo>
                      <a:cubicBezTo>
                        <a:pt x="150" y="172"/>
                        <a:pt x="150" y="172"/>
                        <a:pt x="150" y="172"/>
                      </a:cubicBezTo>
                      <a:cubicBezTo>
                        <a:pt x="146" y="173"/>
                        <a:pt x="146" y="173"/>
                        <a:pt x="146" y="173"/>
                      </a:cubicBezTo>
                      <a:cubicBezTo>
                        <a:pt x="141" y="172"/>
                        <a:pt x="141" y="172"/>
                        <a:pt x="141" y="172"/>
                      </a:cubicBezTo>
                      <a:cubicBezTo>
                        <a:pt x="137" y="173"/>
                        <a:pt x="137" y="173"/>
                        <a:pt x="137" y="173"/>
                      </a:cubicBezTo>
                      <a:cubicBezTo>
                        <a:pt x="108" y="174"/>
                        <a:pt x="108" y="174"/>
                        <a:pt x="108" y="174"/>
                      </a:cubicBezTo>
                      <a:cubicBezTo>
                        <a:pt x="105" y="172"/>
                        <a:pt x="105" y="172"/>
                        <a:pt x="105" y="172"/>
                      </a:cubicBezTo>
                      <a:cubicBezTo>
                        <a:pt x="102" y="173"/>
                        <a:pt x="102" y="173"/>
                        <a:pt x="102" y="173"/>
                      </a:cubicBezTo>
                      <a:cubicBezTo>
                        <a:pt x="99" y="174"/>
                        <a:pt x="99" y="174"/>
                        <a:pt x="99" y="174"/>
                      </a:cubicBezTo>
                      <a:cubicBezTo>
                        <a:pt x="97" y="174"/>
                        <a:pt x="97" y="174"/>
                        <a:pt x="97" y="174"/>
                      </a:cubicBezTo>
                      <a:cubicBezTo>
                        <a:pt x="94" y="173"/>
                        <a:pt x="94" y="173"/>
                        <a:pt x="94" y="173"/>
                      </a:cubicBezTo>
                      <a:cubicBezTo>
                        <a:pt x="94" y="172"/>
                        <a:pt x="94" y="172"/>
                        <a:pt x="94" y="172"/>
                      </a:cubicBezTo>
                      <a:cubicBezTo>
                        <a:pt x="89" y="172"/>
                        <a:pt x="89" y="172"/>
                        <a:pt x="89" y="172"/>
                      </a:cubicBezTo>
                      <a:cubicBezTo>
                        <a:pt x="86" y="171"/>
                        <a:pt x="86" y="171"/>
                        <a:pt x="86" y="171"/>
                      </a:cubicBezTo>
                      <a:cubicBezTo>
                        <a:pt x="85" y="169"/>
                        <a:pt x="85" y="169"/>
                        <a:pt x="85" y="169"/>
                      </a:cubicBezTo>
                      <a:cubicBezTo>
                        <a:pt x="85" y="168"/>
                        <a:pt x="85" y="168"/>
                        <a:pt x="85" y="168"/>
                      </a:cubicBezTo>
                      <a:cubicBezTo>
                        <a:pt x="81" y="167"/>
                        <a:pt x="81" y="167"/>
                        <a:pt x="81" y="167"/>
                      </a:cubicBezTo>
                      <a:cubicBezTo>
                        <a:pt x="73" y="165"/>
                        <a:pt x="73" y="165"/>
                        <a:pt x="73" y="165"/>
                      </a:cubicBezTo>
                      <a:cubicBezTo>
                        <a:pt x="68" y="163"/>
                        <a:pt x="68" y="163"/>
                        <a:pt x="68" y="163"/>
                      </a:cubicBezTo>
                      <a:cubicBezTo>
                        <a:pt x="66" y="162"/>
                        <a:pt x="66" y="162"/>
                        <a:pt x="66" y="162"/>
                      </a:cubicBezTo>
                      <a:cubicBezTo>
                        <a:pt x="60" y="163"/>
                        <a:pt x="60" y="163"/>
                        <a:pt x="60" y="163"/>
                      </a:cubicBezTo>
                      <a:cubicBezTo>
                        <a:pt x="51" y="165"/>
                        <a:pt x="51" y="165"/>
                        <a:pt x="51" y="165"/>
                      </a:cubicBezTo>
                      <a:cubicBezTo>
                        <a:pt x="40" y="162"/>
                        <a:pt x="40" y="162"/>
                        <a:pt x="40" y="162"/>
                      </a:cubicBezTo>
                      <a:cubicBezTo>
                        <a:pt x="33" y="156"/>
                        <a:pt x="33" y="156"/>
                        <a:pt x="33" y="156"/>
                      </a:cubicBezTo>
                      <a:cubicBezTo>
                        <a:pt x="33" y="156"/>
                        <a:pt x="36" y="149"/>
                        <a:pt x="35" y="140"/>
                      </a:cubicBezTo>
                      <a:cubicBezTo>
                        <a:pt x="34" y="130"/>
                        <a:pt x="29" y="128"/>
                        <a:pt x="29" y="128"/>
                      </a:cubicBezTo>
                      <a:cubicBezTo>
                        <a:pt x="24" y="128"/>
                        <a:pt x="24" y="128"/>
                        <a:pt x="24" y="128"/>
                      </a:cubicBezTo>
                      <a:cubicBezTo>
                        <a:pt x="20" y="126"/>
                        <a:pt x="20" y="126"/>
                        <a:pt x="20" y="126"/>
                      </a:cubicBezTo>
                      <a:cubicBezTo>
                        <a:pt x="20" y="126"/>
                        <a:pt x="20" y="120"/>
                        <a:pt x="15" y="120"/>
                      </a:cubicBezTo>
                      <a:cubicBezTo>
                        <a:pt x="10" y="120"/>
                        <a:pt x="10" y="120"/>
                        <a:pt x="10" y="120"/>
                      </a:cubicBezTo>
                      <a:cubicBezTo>
                        <a:pt x="4" y="119"/>
                        <a:pt x="4" y="119"/>
                        <a:pt x="4" y="119"/>
                      </a:cubicBezTo>
                      <a:cubicBezTo>
                        <a:pt x="0" y="116"/>
                        <a:pt x="0" y="116"/>
                        <a:pt x="0" y="116"/>
                      </a:cubicBezTo>
                      <a:cubicBezTo>
                        <a:pt x="1" y="109"/>
                        <a:pt x="1" y="109"/>
                        <a:pt x="1" y="109"/>
                      </a:cubicBezTo>
                      <a:cubicBezTo>
                        <a:pt x="3" y="103"/>
                        <a:pt x="3" y="103"/>
                        <a:pt x="3" y="103"/>
                      </a:cubicBezTo>
                      <a:cubicBezTo>
                        <a:pt x="4" y="102"/>
                        <a:pt x="4" y="102"/>
                        <a:pt x="4" y="102"/>
                      </a:cubicBezTo>
                      <a:cubicBezTo>
                        <a:pt x="5" y="105"/>
                        <a:pt x="5" y="105"/>
                        <a:pt x="5" y="105"/>
                      </a:cubicBezTo>
                      <a:cubicBezTo>
                        <a:pt x="6" y="106"/>
                        <a:pt x="6" y="106"/>
                        <a:pt x="6" y="106"/>
                      </a:cubicBezTo>
                      <a:cubicBezTo>
                        <a:pt x="7" y="105"/>
                        <a:pt x="7" y="105"/>
                        <a:pt x="7" y="105"/>
                      </a:cubicBezTo>
                      <a:cubicBezTo>
                        <a:pt x="7" y="101"/>
                        <a:pt x="7" y="101"/>
                        <a:pt x="7" y="101"/>
                      </a:cubicBezTo>
                      <a:cubicBezTo>
                        <a:pt x="11" y="99"/>
                        <a:pt x="11" y="99"/>
                        <a:pt x="11" y="99"/>
                      </a:cubicBezTo>
                      <a:cubicBezTo>
                        <a:pt x="11" y="98"/>
                        <a:pt x="11" y="98"/>
                        <a:pt x="11" y="98"/>
                      </a:cubicBezTo>
                      <a:cubicBezTo>
                        <a:pt x="9" y="96"/>
                        <a:pt x="9" y="96"/>
                        <a:pt x="9" y="96"/>
                      </a:cubicBezTo>
                      <a:cubicBezTo>
                        <a:pt x="8" y="95"/>
                        <a:pt x="8" y="95"/>
                        <a:pt x="8" y="95"/>
                      </a:cubicBezTo>
                      <a:cubicBezTo>
                        <a:pt x="7" y="88"/>
                        <a:pt x="7" y="88"/>
                        <a:pt x="7" y="88"/>
                      </a:cubicBezTo>
                      <a:cubicBezTo>
                        <a:pt x="14" y="87"/>
                        <a:pt x="14" y="87"/>
                        <a:pt x="14" y="87"/>
                      </a:cubicBezTo>
                      <a:cubicBezTo>
                        <a:pt x="16" y="85"/>
                        <a:pt x="16" y="85"/>
                        <a:pt x="16" y="85"/>
                      </a:cubicBezTo>
                      <a:cubicBezTo>
                        <a:pt x="10" y="80"/>
                        <a:pt x="10" y="80"/>
                        <a:pt x="10" y="80"/>
                      </a:cubicBezTo>
                      <a:cubicBezTo>
                        <a:pt x="8" y="78"/>
                        <a:pt x="8" y="78"/>
                        <a:pt x="8" y="78"/>
                      </a:cubicBezTo>
                      <a:cubicBezTo>
                        <a:pt x="6" y="64"/>
                        <a:pt x="6" y="64"/>
                        <a:pt x="6" y="64"/>
                      </a:cubicBezTo>
                      <a:cubicBezTo>
                        <a:pt x="6" y="60"/>
                        <a:pt x="6" y="60"/>
                        <a:pt x="6" y="60"/>
                      </a:cubicBezTo>
                      <a:cubicBezTo>
                        <a:pt x="8" y="59"/>
                        <a:pt x="8" y="59"/>
                        <a:pt x="8" y="59"/>
                      </a:cubicBezTo>
                      <a:cubicBezTo>
                        <a:pt x="8" y="41"/>
                        <a:pt x="8" y="41"/>
                        <a:pt x="8" y="41"/>
                      </a:cubicBezTo>
                      <a:cubicBezTo>
                        <a:pt x="3" y="37"/>
                        <a:pt x="3" y="37"/>
                        <a:pt x="3" y="37"/>
                      </a:cubicBezTo>
                      <a:cubicBezTo>
                        <a:pt x="3" y="23"/>
                        <a:pt x="3" y="23"/>
                        <a:pt x="3" y="23"/>
                      </a:cubicBezTo>
                      <a:cubicBezTo>
                        <a:pt x="8" y="17"/>
                        <a:pt x="8" y="17"/>
                        <a:pt x="8" y="17"/>
                      </a:cubicBezTo>
                      <a:cubicBezTo>
                        <a:pt x="10" y="10"/>
                        <a:pt x="10" y="10"/>
                        <a:pt x="10" y="10"/>
                      </a:cubicBezTo>
                      <a:cubicBezTo>
                        <a:pt x="21" y="21"/>
                        <a:pt x="21" y="21"/>
                        <a:pt x="21" y="21"/>
                      </a:cubicBezTo>
                      <a:cubicBezTo>
                        <a:pt x="33" y="30"/>
                        <a:pt x="33" y="30"/>
                        <a:pt x="33" y="30"/>
                      </a:cubicBezTo>
                      <a:cubicBezTo>
                        <a:pt x="42" y="34"/>
                        <a:pt x="42" y="34"/>
                        <a:pt x="42" y="34"/>
                      </a:cubicBezTo>
                      <a:cubicBezTo>
                        <a:pt x="49" y="36"/>
                        <a:pt x="49" y="36"/>
                        <a:pt x="49" y="36"/>
                      </a:cubicBezTo>
                      <a:cubicBezTo>
                        <a:pt x="52" y="36"/>
                        <a:pt x="52" y="36"/>
                        <a:pt x="52" y="36"/>
                      </a:cubicBezTo>
                      <a:cubicBezTo>
                        <a:pt x="55" y="36"/>
                        <a:pt x="55" y="36"/>
                        <a:pt x="55" y="36"/>
                      </a:cubicBezTo>
                      <a:cubicBezTo>
                        <a:pt x="57" y="43"/>
                        <a:pt x="57" y="43"/>
                        <a:pt x="57" y="43"/>
                      </a:cubicBezTo>
                      <a:cubicBezTo>
                        <a:pt x="65" y="42"/>
                        <a:pt x="65" y="42"/>
                        <a:pt x="65" y="42"/>
                      </a:cubicBezTo>
                      <a:cubicBezTo>
                        <a:pt x="66" y="52"/>
                        <a:pt x="66" y="52"/>
                        <a:pt x="66" y="52"/>
                      </a:cubicBezTo>
                      <a:cubicBezTo>
                        <a:pt x="63" y="56"/>
                        <a:pt x="63" y="56"/>
                        <a:pt x="63" y="56"/>
                      </a:cubicBezTo>
                      <a:cubicBezTo>
                        <a:pt x="54" y="61"/>
                        <a:pt x="54" y="61"/>
                        <a:pt x="54" y="61"/>
                      </a:cubicBezTo>
                      <a:cubicBezTo>
                        <a:pt x="48" y="69"/>
                        <a:pt x="48" y="69"/>
                        <a:pt x="48" y="69"/>
                      </a:cubicBezTo>
                      <a:cubicBezTo>
                        <a:pt x="46" y="73"/>
                        <a:pt x="46" y="73"/>
                        <a:pt x="46" y="73"/>
                      </a:cubicBezTo>
                      <a:cubicBezTo>
                        <a:pt x="48" y="74"/>
                        <a:pt x="48" y="74"/>
                        <a:pt x="48" y="74"/>
                      </a:cubicBezTo>
                      <a:cubicBezTo>
                        <a:pt x="52" y="70"/>
                        <a:pt x="52" y="70"/>
                        <a:pt x="52" y="70"/>
                      </a:cubicBezTo>
                      <a:cubicBezTo>
                        <a:pt x="55" y="66"/>
                        <a:pt x="55" y="66"/>
                        <a:pt x="55" y="66"/>
                      </a:cubicBezTo>
                      <a:cubicBezTo>
                        <a:pt x="64" y="60"/>
                        <a:pt x="64" y="60"/>
                        <a:pt x="64" y="60"/>
                      </a:cubicBezTo>
                      <a:cubicBezTo>
                        <a:pt x="70" y="57"/>
                        <a:pt x="70" y="57"/>
                        <a:pt x="70" y="57"/>
                      </a:cubicBezTo>
                      <a:cubicBezTo>
                        <a:pt x="69" y="61"/>
                        <a:pt x="69" y="61"/>
                        <a:pt x="69" y="61"/>
                      </a:cubicBezTo>
                      <a:cubicBezTo>
                        <a:pt x="66" y="64"/>
                        <a:pt x="66" y="64"/>
                        <a:pt x="66" y="64"/>
                      </a:cubicBezTo>
                      <a:cubicBezTo>
                        <a:pt x="62" y="74"/>
                        <a:pt x="62" y="74"/>
                        <a:pt x="62" y="74"/>
                      </a:cubicBezTo>
                      <a:cubicBezTo>
                        <a:pt x="52" y="80"/>
                        <a:pt x="52" y="80"/>
                        <a:pt x="52" y="80"/>
                      </a:cubicBezTo>
                      <a:cubicBezTo>
                        <a:pt x="46" y="86"/>
                        <a:pt x="46" y="86"/>
                        <a:pt x="46" y="86"/>
                      </a:cubicBezTo>
                      <a:cubicBezTo>
                        <a:pt x="46" y="91"/>
                        <a:pt x="46" y="91"/>
                        <a:pt x="46" y="91"/>
                      </a:cubicBezTo>
                      <a:cubicBezTo>
                        <a:pt x="50" y="92"/>
                        <a:pt x="50" y="92"/>
                        <a:pt x="50" y="92"/>
                      </a:cubicBezTo>
                      <a:cubicBezTo>
                        <a:pt x="55" y="87"/>
                        <a:pt x="55" y="87"/>
                        <a:pt x="55" y="87"/>
                      </a:cubicBezTo>
                      <a:cubicBezTo>
                        <a:pt x="60" y="83"/>
                        <a:pt x="60" y="83"/>
                        <a:pt x="60" y="83"/>
                      </a:cubicBezTo>
                      <a:cubicBezTo>
                        <a:pt x="65" y="82"/>
                        <a:pt x="65" y="82"/>
                        <a:pt x="65" y="82"/>
                      </a:cubicBezTo>
                      <a:cubicBezTo>
                        <a:pt x="69" y="78"/>
                        <a:pt x="69" y="78"/>
                        <a:pt x="69" y="78"/>
                      </a:cubicBezTo>
                      <a:cubicBezTo>
                        <a:pt x="71" y="68"/>
                        <a:pt x="71" y="68"/>
                        <a:pt x="71" y="68"/>
                      </a:cubicBezTo>
                      <a:cubicBezTo>
                        <a:pt x="75" y="60"/>
                        <a:pt x="75" y="60"/>
                        <a:pt x="75" y="60"/>
                      </a:cubicBezTo>
                      <a:cubicBezTo>
                        <a:pt x="80" y="54"/>
                        <a:pt x="80" y="54"/>
                        <a:pt x="80" y="54"/>
                      </a:cubicBezTo>
                      <a:cubicBezTo>
                        <a:pt x="81" y="50"/>
                        <a:pt x="81" y="50"/>
                        <a:pt x="81" y="50"/>
                      </a:cubicBezTo>
                      <a:cubicBezTo>
                        <a:pt x="78" y="42"/>
                        <a:pt x="78" y="42"/>
                        <a:pt x="78" y="42"/>
                      </a:cubicBezTo>
                      <a:cubicBezTo>
                        <a:pt x="78" y="34"/>
                        <a:pt x="78" y="34"/>
                        <a:pt x="78" y="34"/>
                      </a:cubicBezTo>
                      <a:cubicBezTo>
                        <a:pt x="75" y="35"/>
                        <a:pt x="75" y="35"/>
                        <a:pt x="75" y="35"/>
                      </a:cubicBezTo>
                      <a:cubicBezTo>
                        <a:pt x="73" y="38"/>
                        <a:pt x="73" y="38"/>
                        <a:pt x="73" y="38"/>
                      </a:cubicBezTo>
                      <a:cubicBezTo>
                        <a:pt x="74" y="46"/>
                        <a:pt x="74" y="46"/>
                        <a:pt x="74" y="46"/>
                      </a:cubicBezTo>
                      <a:cubicBezTo>
                        <a:pt x="76" y="52"/>
                        <a:pt x="76" y="52"/>
                        <a:pt x="76" y="52"/>
                      </a:cubicBezTo>
                      <a:cubicBezTo>
                        <a:pt x="76" y="54"/>
                        <a:pt x="76" y="54"/>
                        <a:pt x="76" y="54"/>
                      </a:cubicBezTo>
                      <a:cubicBezTo>
                        <a:pt x="74" y="53"/>
                        <a:pt x="74" y="53"/>
                        <a:pt x="74" y="53"/>
                      </a:cubicBezTo>
                      <a:cubicBezTo>
                        <a:pt x="72" y="51"/>
                        <a:pt x="72" y="51"/>
                        <a:pt x="72" y="51"/>
                      </a:cubicBezTo>
                      <a:cubicBezTo>
                        <a:pt x="70" y="46"/>
                        <a:pt x="70" y="46"/>
                        <a:pt x="70" y="46"/>
                      </a:cubicBezTo>
                      <a:cubicBezTo>
                        <a:pt x="68" y="41"/>
                        <a:pt x="68" y="41"/>
                        <a:pt x="68" y="41"/>
                      </a:cubicBezTo>
                      <a:cubicBezTo>
                        <a:pt x="68" y="37"/>
                        <a:pt x="68" y="37"/>
                        <a:pt x="68" y="37"/>
                      </a:cubicBezTo>
                      <a:cubicBezTo>
                        <a:pt x="73" y="32"/>
                        <a:pt x="73" y="32"/>
                        <a:pt x="73" y="32"/>
                      </a:cubicBezTo>
                      <a:cubicBezTo>
                        <a:pt x="75" y="28"/>
                        <a:pt x="75" y="28"/>
                        <a:pt x="75" y="28"/>
                      </a:cubicBezTo>
                      <a:cubicBezTo>
                        <a:pt x="74" y="24"/>
                        <a:pt x="74" y="24"/>
                        <a:pt x="74" y="24"/>
                      </a:cubicBezTo>
                      <a:cubicBezTo>
                        <a:pt x="79" y="29"/>
                        <a:pt x="79" y="29"/>
                        <a:pt x="79" y="29"/>
                      </a:cubicBezTo>
                      <a:cubicBezTo>
                        <a:pt x="80" y="30"/>
                        <a:pt x="80" y="30"/>
                        <a:pt x="80" y="30"/>
                      </a:cubicBezTo>
                      <a:cubicBezTo>
                        <a:pt x="81" y="24"/>
                        <a:pt x="81" y="24"/>
                        <a:pt x="81" y="24"/>
                      </a:cubicBezTo>
                      <a:cubicBezTo>
                        <a:pt x="79" y="15"/>
                        <a:pt x="79" y="15"/>
                        <a:pt x="79" y="15"/>
                      </a:cubicBezTo>
                      <a:cubicBezTo>
                        <a:pt x="80" y="12"/>
                        <a:pt x="80" y="12"/>
                        <a:pt x="80" y="12"/>
                      </a:cubicBezTo>
                      <a:cubicBezTo>
                        <a:pt x="77" y="11"/>
                        <a:pt x="77" y="11"/>
                        <a:pt x="77" y="11"/>
                      </a:cubicBezTo>
                      <a:cubicBezTo>
                        <a:pt x="76" y="0"/>
                        <a:pt x="76" y="0"/>
                        <a:pt x="76" y="0"/>
                      </a:cubicBezTo>
                      <a:cubicBezTo>
                        <a:pt x="76" y="0"/>
                        <a:pt x="133" y="16"/>
                        <a:pt x="145" y="19"/>
                      </a:cubicBezTo>
                      <a:cubicBezTo>
                        <a:pt x="156" y="22"/>
                        <a:pt x="230" y="42"/>
                        <a:pt x="235" y="43"/>
                      </a:cubicBezTo>
                      <a:cubicBezTo>
                        <a:pt x="240" y="45"/>
                        <a:pt x="246" y="45"/>
                        <a:pt x="246" y="45"/>
                      </a:cubicBezTo>
                      <a:lnTo>
                        <a:pt x="257" y="4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0" name="Freeform 59">
                  <a:extLst>
                    <a:ext uri="{FF2B5EF4-FFF2-40B4-BE49-F238E27FC236}">
                      <a16:creationId xmlns:a16="http://schemas.microsoft.com/office/drawing/2014/main" id="{AAD42835-EE88-54FC-A6BF-088C44200400}"/>
                    </a:ext>
                  </a:extLst>
                </p:cNvPr>
                <p:cNvSpPr>
                  <a:spLocks/>
                </p:cNvSpPr>
                <p:nvPr/>
              </p:nvSpPr>
              <p:spPr bwMode="auto">
                <a:xfrm>
                  <a:off x="5925595" y="2621841"/>
                  <a:ext cx="384509" cy="394627"/>
                </a:xfrm>
                <a:custGeom>
                  <a:avLst/>
                  <a:gdLst>
                    <a:gd name="T0" fmla="*/ 34 w 228"/>
                    <a:gd name="T1" fmla="*/ 0 h 234"/>
                    <a:gd name="T2" fmla="*/ 228 w 228"/>
                    <a:gd name="T3" fmla="*/ 23 h 234"/>
                    <a:gd name="T4" fmla="*/ 227 w 228"/>
                    <a:gd name="T5" fmla="*/ 44 h 234"/>
                    <a:gd name="T6" fmla="*/ 224 w 228"/>
                    <a:gd name="T7" fmla="*/ 44 h 234"/>
                    <a:gd name="T8" fmla="*/ 210 w 228"/>
                    <a:gd name="T9" fmla="*/ 226 h 234"/>
                    <a:gd name="T10" fmla="*/ 91 w 228"/>
                    <a:gd name="T11" fmla="*/ 215 h 234"/>
                    <a:gd name="T12" fmla="*/ 90 w 228"/>
                    <a:gd name="T13" fmla="*/ 224 h 234"/>
                    <a:gd name="T14" fmla="*/ 32 w 228"/>
                    <a:gd name="T15" fmla="*/ 218 h 234"/>
                    <a:gd name="T16" fmla="*/ 29 w 228"/>
                    <a:gd name="T17" fmla="*/ 234 h 234"/>
                    <a:gd name="T18" fmla="*/ 0 w 228"/>
                    <a:gd name="T19" fmla="*/ 230 h 234"/>
                    <a:gd name="T20" fmla="*/ 34 w 228"/>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34">
                      <a:moveTo>
                        <a:pt x="34" y="0"/>
                      </a:moveTo>
                      <a:lnTo>
                        <a:pt x="228" y="23"/>
                      </a:lnTo>
                      <a:lnTo>
                        <a:pt x="227" y="44"/>
                      </a:lnTo>
                      <a:lnTo>
                        <a:pt x="224" y="44"/>
                      </a:lnTo>
                      <a:lnTo>
                        <a:pt x="210" y="226"/>
                      </a:lnTo>
                      <a:lnTo>
                        <a:pt x="91" y="215"/>
                      </a:lnTo>
                      <a:lnTo>
                        <a:pt x="90" y="224"/>
                      </a:lnTo>
                      <a:lnTo>
                        <a:pt x="32" y="218"/>
                      </a:lnTo>
                      <a:lnTo>
                        <a:pt x="29" y="234"/>
                      </a:lnTo>
                      <a:lnTo>
                        <a:pt x="0" y="230"/>
                      </a:lnTo>
                      <a:lnTo>
                        <a:pt x="3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1" name="Freeform 60">
                  <a:extLst>
                    <a:ext uri="{FF2B5EF4-FFF2-40B4-BE49-F238E27FC236}">
                      <a16:creationId xmlns:a16="http://schemas.microsoft.com/office/drawing/2014/main" id="{D9A3F1A9-80EE-6DBC-90DF-1F31FB12DB42}"/>
                    </a:ext>
                  </a:extLst>
                </p:cNvPr>
                <p:cNvSpPr>
                  <a:spLocks/>
                </p:cNvSpPr>
                <p:nvPr/>
              </p:nvSpPr>
              <p:spPr bwMode="auto">
                <a:xfrm>
                  <a:off x="6068941" y="2696045"/>
                  <a:ext cx="762272" cy="752153"/>
                </a:xfrm>
                <a:custGeom>
                  <a:avLst/>
                  <a:gdLst>
                    <a:gd name="T0" fmla="*/ 450 w 452"/>
                    <a:gd name="T1" fmla="*/ 234 h 446"/>
                    <a:gd name="T2" fmla="*/ 446 w 452"/>
                    <a:gd name="T3" fmla="*/ 215 h 446"/>
                    <a:gd name="T4" fmla="*/ 435 w 452"/>
                    <a:gd name="T5" fmla="*/ 131 h 446"/>
                    <a:gd name="T6" fmla="*/ 417 w 452"/>
                    <a:gd name="T7" fmla="*/ 128 h 446"/>
                    <a:gd name="T8" fmla="*/ 398 w 452"/>
                    <a:gd name="T9" fmla="*/ 117 h 446"/>
                    <a:gd name="T10" fmla="*/ 378 w 452"/>
                    <a:gd name="T11" fmla="*/ 116 h 446"/>
                    <a:gd name="T12" fmla="*/ 365 w 452"/>
                    <a:gd name="T13" fmla="*/ 118 h 446"/>
                    <a:gd name="T14" fmla="*/ 352 w 452"/>
                    <a:gd name="T15" fmla="*/ 122 h 446"/>
                    <a:gd name="T16" fmla="*/ 332 w 452"/>
                    <a:gd name="T17" fmla="*/ 118 h 446"/>
                    <a:gd name="T18" fmla="*/ 325 w 452"/>
                    <a:gd name="T19" fmla="*/ 116 h 446"/>
                    <a:gd name="T20" fmla="*/ 310 w 452"/>
                    <a:gd name="T21" fmla="*/ 112 h 446"/>
                    <a:gd name="T22" fmla="*/ 301 w 452"/>
                    <a:gd name="T23" fmla="*/ 111 h 446"/>
                    <a:gd name="T24" fmla="*/ 284 w 452"/>
                    <a:gd name="T25" fmla="*/ 107 h 446"/>
                    <a:gd name="T26" fmla="*/ 269 w 452"/>
                    <a:gd name="T27" fmla="*/ 101 h 446"/>
                    <a:gd name="T28" fmla="*/ 253 w 452"/>
                    <a:gd name="T29" fmla="*/ 93 h 446"/>
                    <a:gd name="T30" fmla="*/ 242 w 452"/>
                    <a:gd name="T31" fmla="*/ 90 h 446"/>
                    <a:gd name="T32" fmla="*/ 125 w 452"/>
                    <a:gd name="T33" fmla="*/ 182 h 446"/>
                    <a:gd name="T34" fmla="*/ 2 w 452"/>
                    <a:gd name="T35" fmla="*/ 183 h 446"/>
                    <a:gd name="T36" fmla="*/ 13 w 452"/>
                    <a:gd name="T37" fmla="*/ 197 h 446"/>
                    <a:gd name="T38" fmla="*/ 22 w 452"/>
                    <a:gd name="T39" fmla="*/ 205 h 446"/>
                    <a:gd name="T40" fmla="*/ 41 w 452"/>
                    <a:gd name="T41" fmla="*/ 224 h 446"/>
                    <a:gd name="T42" fmla="*/ 55 w 452"/>
                    <a:gd name="T43" fmla="*/ 238 h 446"/>
                    <a:gd name="T44" fmla="*/ 59 w 452"/>
                    <a:gd name="T45" fmla="*/ 259 h 446"/>
                    <a:gd name="T46" fmla="*/ 66 w 452"/>
                    <a:gd name="T47" fmla="*/ 278 h 446"/>
                    <a:gd name="T48" fmla="*/ 74 w 452"/>
                    <a:gd name="T49" fmla="*/ 286 h 446"/>
                    <a:gd name="T50" fmla="*/ 88 w 452"/>
                    <a:gd name="T51" fmla="*/ 296 h 446"/>
                    <a:gd name="T52" fmla="*/ 109 w 452"/>
                    <a:gd name="T53" fmla="*/ 307 h 446"/>
                    <a:gd name="T54" fmla="*/ 120 w 452"/>
                    <a:gd name="T55" fmla="*/ 298 h 446"/>
                    <a:gd name="T56" fmla="*/ 127 w 452"/>
                    <a:gd name="T57" fmla="*/ 283 h 446"/>
                    <a:gd name="T58" fmla="*/ 148 w 452"/>
                    <a:gd name="T59" fmla="*/ 275 h 446"/>
                    <a:gd name="T60" fmla="*/ 170 w 452"/>
                    <a:gd name="T61" fmla="*/ 279 h 446"/>
                    <a:gd name="T62" fmla="*/ 183 w 452"/>
                    <a:gd name="T63" fmla="*/ 292 h 446"/>
                    <a:gd name="T64" fmla="*/ 200 w 452"/>
                    <a:gd name="T65" fmla="*/ 320 h 446"/>
                    <a:gd name="T66" fmla="*/ 210 w 452"/>
                    <a:gd name="T67" fmla="*/ 343 h 446"/>
                    <a:gd name="T68" fmla="*/ 235 w 452"/>
                    <a:gd name="T69" fmla="*/ 372 h 446"/>
                    <a:gd name="T70" fmla="*/ 237 w 452"/>
                    <a:gd name="T71" fmla="*/ 388 h 446"/>
                    <a:gd name="T72" fmla="*/ 249 w 452"/>
                    <a:gd name="T73" fmla="*/ 416 h 446"/>
                    <a:gd name="T74" fmla="*/ 273 w 452"/>
                    <a:gd name="T75" fmla="*/ 427 h 446"/>
                    <a:gd name="T76" fmla="*/ 291 w 452"/>
                    <a:gd name="T77" fmla="*/ 438 h 446"/>
                    <a:gd name="T78" fmla="*/ 305 w 452"/>
                    <a:gd name="T79" fmla="*/ 442 h 446"/>
                    <a:gd name="T80" fmla="*/ 321 w 452"/>
                    <a:gd name="T81" fmla="*/ 441 h 446"/>
                    <a:gd name="T82" fmla="*/ 317 w 452"/>
                    <a:gd name="T83" fmla="*/ 425 h 446"/>
                    <a:gd name="T84" fmla="*/ 308 w 452"/>
                    <a:gd name="T85" fmla="*/ 404 h 446"/>
                    <a:gd name="T86" fmla="*/ 318 w 452"/>
                    <a:gd name="T87" fmla="*/ 370 h 446"/>
                    <a:gd name="T88" fmla="*/ 311 w 452"/>
                    <a:gd name="T89" fmla="*/ 361 h 446"/>
                    <a:gd name="T90" fmla="*/ 326 w 452"/>
                    <a:gd name="T91" fmla="*/ 355 h 446"/>
                    <a:gd name="T92" fmla="*/ 324 w 452"/>
                    <a:gd name="T93" fmla="*/ 350 h 446"/>
                    <a:gd name="T94" fmla="*/ 338 w 452"/>
                    <a:gd name="T95" fmla="*/ 350 h 446"/>
                    <a:gd name="T96" fmla="*/ 336 w 452"/>
                    <a:gd name="T97" fmla="*/ 345 h 446"/>
                    <a:gd name="T98" fmla="*/ 347 w 452"/>
                    <a:gd name="T99" fmla="*/ 342 h 446"/>
                    <a:gd name="T100" fmla="*/ 346 w 452"/>
                    <a:gd name="T101" fmla="*/ 331 h 446"/>
                    <a:gd name="T102" fmla="*/ 357 w 452"/>
                    <a:gd name="T103" fmla="*/ 329 h 446"/>
                    <a:gd name="T104" fmla="*/ 367 w 452"/>
                    <a:gd name="T105" fmla="*/ 329 h 446"/>
                    <a:gd name="T106" fmla="*/ 395 w 452"/>
                    <a:gd name="T107" fmla="*/ 314 h 446"/>
                    <a:gd name="T108" fmla="*/ 403 w 452"/>
                    <a:gd name="T109" fmla="*/ 305 h 446"/>
                    <a:gd name="T110" fmla="*/ 403 w 452"/>
                    <a:gd name="T111" fmla="*/ 296 h 446"/>
                    <a:gd name="T112" fmla="*/ 410 w 452"/>
                    <a:gd name="T113" fmla="*/ 286 h 446"/>
                    <a:gd name="T114" fmla="*/ 412 w 452"/>
                    <a:gd name="T115" fmla="*/ 299 h 446"/>
                    <a:gd name="T116" fmla="*/ 439 w 452"/>
                    <a:gd name="T117" fmla="*/ 288 h 446"/>
                    <a:gd name="T118" fmla="*/ 447 w 452"/>
                    <a:gd name="T119" fmla="*/ 26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446">
                      <a:moveTo>
                        <a:pt x="446" y="253"/>
                      </a:moveTo>
                      <a:lnTo>
                        <a:pt x="448" y="245"/>
                      </a:lnTo>
                      <a:lnTo>
                        <a:pt x="452" y="240"/>
                      </a:lnTo>
                      <a:lnTo>
                        <a:pt x="450" y="234"/>
                      </a:lnTo>
                      <a:lnTo>
                        <a:pt x="448" y="226"/>
                      </a:lnTo>
                      <a:lnTo>
                        <a:pt x="447" y="223"/>
                      </a:lnTo>
                      <a:lnTo>
                        <a:pt x="447" y="217"/>
                      </a:lnTo>
                      <a:lnTo>
                        <a:pt x="446" y="215"/>
                      </a:lnTo>
                      <a:lnTo>
                        <a:pt x="442" y="206"/>
                      </a:lnTo>
                      <a:lnTo>
                        <a:pt x="442" y="204"/>
                      </a:lnTo>
                      <a:lnTo>
                        <a:pt x="435" y="198"/>
                      </a:lnTo>
                      <a:lnTo>
                        <a:pt x="435" y="131"/>
                      </a:lnTo>
                      <a:lnTo>
                        <a:pt x="425" y="130"/>
                      </a:lnTo>
                      <a:lnTo>
                        <a:pt x="423" y="132"/>
                      </a:lnTo>
                      <a:lnTo>
                        <a:pt x="420" y="131"/>
                      </a:lnTo>
                      <a:lnTo>
                        <a:pt x="417" y="128"/>
                      </a:lnTo>
                      <a:lnTo>
                        <a:pt x="413" y="126"/>
                      </a:lnTo>
                      <a:lnTo>
                        <a:pt x="408" y="126"/>
                      </a:lnTo>
                      <a:lnTo>
                        <a:pt x="402" y="122"/>
                      </a:lnTo>
                      <a:lnTo>
                        <a:pt x="398" y="117"/>
                      </a:lnTo>
                      <a:lnTo>
                        <a:pt x="393" y="116"/>
                      </a:lnTo>
                      <a:lnTo>
                        <a:pt x="385" y="118"/>
                      </a:lnTo>
                      <a:lnTo>
                        <a:pt x="383" y="117"/>
                      </a:lnTo>
                      <a:lnTo>
                        <a:pt x="378" y="116"/>
                      </a:lnTo>
                      <a:lnTo>
                        <a:pt x="374" y="119"/>
                      </a:lnTo>
                      <a:lnTo>
                        <a:pt x="372" y="120"/>
                      </a:lnTo>
                      <a:lnTo>
                        <a:pt x="369" y="118"/>
                      </a:lnTo>
                      <a:lnTo>
                        <a:pt x="365" y="118"/>
                      </a:lnTo>
                      <a:lnTo>
                        <a:pt x="363" y="121"/>
                      </a:lnTo>
                      <a:lnTo>
                        <a:pt x="358" y="124"/>
                      </a:lnTo>
                      <a:lnTo>
                        <a:pt x="354" y="125"/>
                      </a:lnTo>
                      <a:lnTo>
                        <a:pt x="352" y="122"/>
                      </a:lnTo>
                      <a:lnTo>
                        <a:pt x="349" y="119"/>
                      </a:lnTo>
                      <a:lnTo>
                        <a:pt x="341" y="120"/>
                      </a:lnTo>
                      <a:lnTo>
                        <a:pt x="336" y="117"/>
                      </a:lnTo>
                      <a:lnTo>
                        <a:pt x="332" y="118"/>
                      </a:lnTo>
                      <a:lnTo>
                        <a:pt x="330" y="122"/>
                      </a:lnTo>
                      <a:lnTo>
                        <a:pt x="328" y="123"/>
                      </a:lnTo>
                      <a:lnTo>
                        <a:pt x="327" y="118"/>
                      </a:lnTo>
                      <a:lnTo>
                        <a:pt x="325" y="116"/>
                      </a:lnTo>
                      <a:lnTo>
                        <a:pt x="319" y="120"/>
                      </a:lnTo>
                      <a:lnTo>
                        <a:pt x="318" y="116"/>
                      </a:lnTo>
                      <a:lnTo>
                        <a:pt x="312" y="112"/>
                      </a:lnTo>
                      <a:lnTo>
                        <a:pt x="310" y="112"/>
                      </a:lnTo>
                      <a:lnTo>
                        <a:pt x="308" y="115"/>
                      </a:lnTo>
                      <a:lnTo>
                        <a:pt x="305" y="117"/>
                      </a:lnTo>
                      <a:lnTo>
                        <a:pt x="302" y="116"/>
                      </a:lnTo>
                      <a:lnTo>
                        <a:pt x="301" y="111"/>
                      </a:lnTo>
                      <a:lnTo>
                        <a:pt x="298" y="111"/>
                      </a:lnTo>
                      <a:lnTo>
                        <a:pt x="295" y="105"/>
                      </a:lnTo>
                      <a:lnTo>
                        <a:pt x="287" y="105"/>
                      </a:lnTo>
                      <a:lnTo>
                        <a:pt x="284" y="107"/>
                      </a:lnTo>
                      <a:lnTo>
                        <a:pt x="281" y="104"/>
                      </a:lnTo>
                      <a:lnTo>
                        <a:pt x="280" y="104"/>
                      </a:lnTo>
                      <a:lnTo>
                        <a:pt x="275" y="105"/>
                      </a:lnTo>
                      <a:lnTo>
                        <a:pt x="269" y="101"/>
                      </a:lnTo>
                      <a:lnTo>
                        <a:pt x="261" y="101"/>
                      </a:lnTo>
                      <a:lnTo>
                        <a:pt x="259" y="94"/>
                      </a:lnTo>
                      <a:lnTo>
                        <a:pt x="255" y="92"/>
                      </a:lnTo>
                      <a:lnTo>
                        <a:pt x="253" y="93"/>
                      </a:lnTo>
                      <a:lnTo>
                        <a:pt x="250" y="92"/>
                      </a:lnTo>
                      <a:lnTo>
                        <a:pt x="247" y="93"/>
                      </a:lnTo>
                      <a:lnTo>
                        <a:pt x="244" y="93"/>
                      </a:lnTo>
                      <a:lnTo>
                        <a:pt x="242" y="90"/>
                      </a:lnTo>
                      <a:lnTo>
                        <a:pt x="235" y="83"/>
                      </a:lnTo>
                      <a:lnTo>
                        <a:pt x="239" y="6"/>
                      </a:lnTo>
                      <a:lnTo>
                        <a:pt x="139" y="0"/>
                      </a:lnTo>
                      <a:lnTo>
                        <a:pt x="125" y="182"/>
                      </a:lnTo>
                      <a:lnTo>
                        <a:pt x="6" y="171"/>
                      </a:lnTo>
                      <a:lnTo>
                        <a:pt x="5" y="180"/>
                      </a:lnTo>
                      <a:lnTo>
                        <a:pt x="0" y="180"/>
                      </a:lnTo>
                      <a:lnTo>
                        <a:pt x="2" y="183"/>
                      </a:lnTo>
                      <a:lnTo>
                        <a:pt x="7" y="186"/>
                      </a:lnTo>
                      <a:lnTo>
                        <a:pt x="10" y="190"/>
                      </a:lnTo>
                      <a:lnTo>
                        <a:pt x="11" y="193"/>
                      </a:lnTo>
                      <a:lnTo>
                        <a:pt x="13" y="197"/>
                      </a:lnTo>
                      <a:lnTo>
                        <a:pt x="15" y="198"/>
                      </a:lnTo>
                      <a:lnTo>
                        <a:pt x="18" y="200"/>
                      </a:lnTo>
                      <a:lnTo>
                        <a:pt x="21" y="202"/>
                      </a:lnTo>
                      <a:lnTo>
                        <a:pt x="22" y="205"/>
                      </a:lnTo>
                      <a:lnTo>
                        <a:pt x="26" y="210"/>
                      </a:lnTo>
                      <a:lnTo>
                        <a:pt x="30" y="213"/>
                      </a:lnTo>
                      <a:lnTo>
                        <a:pt x="38" y="224"/>
                      </a:lnTo>
                      <a:lnTo>
                        <a:pt x="41" y="224"/>
                      </a:lnTo>
                      <a:lnTo>
                        <a:pt x="44" y="227"/>
                      </a:lnTo>
                      <a:lnTo>
                        <a:pt x="48" y="230"/>
                      </a:lnTo>
                      <a:lnTo>
                        <a:pt x="53" y="234"/>
                      </a:lnTo>
                      <a:lnTo>
                        <a:pt x="55" y="238"/>
                      </a:lnTo>
                      <a:lnTo>
                        <a:pt x="55" y="245"/>
                      </a:lnTo>
                      <a:lnTo>
                        <a:pt x="59" y="251"/>
                      </a:lnTo>
                      <a:lnTo>
                        <a:pt x="60" y="255"/>
                      </a:lnTo>
                      <a:lnTo>
                        <a:pt x="59" y="259"/>
                      </a:lnTo>
                      <a:lnTo>
                        <a:pt x="59" y="264"/>
                      </a:lnTo>
                      <a:lnTo>
                        <a:pt x="60" y="270"/>
                      </a:lnTo>
                      <a:lnTo>
                        <a:pt x="65" y="275"/>
                      </a:lnTo>
                      <a:lnTo>
                        <a:pt x="66" y="278"/>
                      </a:lnTo>
                      <a:lnTo>
                        <a:pt x="67" y="279"/>
                      </a:lnTo>
                      <a:lnTo>
                        <a:pt x="69" y="281"/>
                      </a:lnTo>
                      <a:lnTo>
                        <a:pt x="71" y="283"/>
                      </a:lnTo>
                      <a:lnTo>
                        <a:pt x="74" y="286"/>
                      </a:lnTo>
                      <a:lnTo>
                        <a:pt x="78" y="289"/>
                      </a:lnTo>
                      <a:lnTo>
                        <a:pt x="81" y="292"/>
                      </a:lnTo>
                      <a:lnTo>
                        <a:pt x="84" y="293"/>
                      </a:lnTo>
                      <a:lnTo>
                        <a:pt x="88" y="296"/>
                      </a:lnTo>
                      <a:lnTo>
                        <a:pt x="94" y="299"/>
                      </a:lnTo>
                      <a:lnTo>
                        <a:pt x="101" y="304"/>
                      </a:lnTo>
                      <a:lnTo>
                        <a:pt x="104" y="305"/>
                      </a:lnTo>
                      <a:lnTo>
                        <a:pt x="109" y="307"/>
                      </a:lnTo>
                      <a:lnTo>
                        <a:pt x="113" y="307"/>
                      </a:lnTo>
                      <a:lnTo>
                        <a:pt x="115" y="303"/>
                      </a:lnTo>
                      <a:lnTo>
                        <a:pt x="118" y="300"/>
                      </a:lnTo>
                      <a:lnTo>
                        <a:pt x="120" y="298"/>
                      </a:lnTo>
                      <a:lnTo>
                        <a:pt x="123" y="297"/>
                      </a:lnTo>
                      <a:lnTo>
                        <a:pt x="123" y="292"/>
                      </a:lnTo>
                      <a:lnTo>
                        <a:pt x="125" y="288"/>
                      </a:lnTo>
                      <a:lnTo>
                        <a:pt x="127" y="283"/>
                      </a:lnTo>
                      <a:lnTo>
                        <a:pt x="132" y="277"/>
                      </a:lnTo>
                      <a:lnTo>
                        <a:pt x="139" y="276"/>
                      </a:lnTo>
                      <a:lnTo>
                        <a:pt x="143" y="275"/>
                      </a:lnTo>
                      <a:lnTo>
                        <a:pt x="148" y="275"/>
                      </a:lnTo>
                      <a:lnTo>
                        <a:pt x="153" y="277"/>
                      </a:lnTo>
                      <a:lnTo>
                        <a:pt x="159" y="278"/>
                      </a:lnTo>
                      <a:lnTo>
                        <a:pt x="162" y="278"/>
                      </a:lnTo>
                      <a:lnTo>
                        <a:pt x="170" y="279"/>
                      </a:lnTo>
                      <a:lnTo>
                        <a:pt x="173" y="281"/>
                      </a:lnTo>
                      <a:lnTo>
                        <a:pt x="176" y="287"/>
                      </a:lnTo>
                      <a:lnTo>
                        <a:pt x="178" y="287"/>
                      </a:lnTo>
                      <a:lnTo>
                        <a:pt x="183" y="292"/>
                      </a:lnTo>
                      <a:lnTo>
                        <a:pt x="187" y="294"/>
                      </a:lnTo>
                      <a:lnTo>
                        <a:pt x="190" y="300"/>
                      </a:lnTo>
                      <a:lnTo>
                        <a:pt x="196" y="308"/>
                      </a:lnTo>
                      <a:lnTo>
                        <a:pt x="200" y="320"/>
                      </a:lnTo>
                      <a:lnTo>
                        <a:pt x="203" y="324"/>
                      </a:lnTo>
                      <a:lnTo>
                        <a:pt x="207" y="332"/>
                      </a:lnTo>
                      <a:lnTo>
                        <a:pt x="207" y="335"/>
                      </a:lnTo>
                      <a:lnTo>
                        <a:pt x="210" y="343"/>
                      </a:lnTo>
                      <a:lnTo>
                        <a:pt x="218" y="350"/>
                      </a:lnTo>
                      <a:lnTo>
                        <a:pt x="220" y="358"/>
                      </a:lnTo>
                      <a:lnTo>
                        <a:pt x="230" y="370"/>
                      </a:lnTo>
                      <a:lnTo>
                        <a:pt x="235" y="372"/>
                      </a:lnTo>
                      <a:lnTo>
                        <a:pt x="234" y="381"/>
                      </a:lnTo>
                      <a:lnTo>
                        <a:pt x="232" y="383"/>
                      </a:lnTo>
                      <a:lnTo>
                        <a:pt x="234" y="385"/>
                      </a:lnTo>
                      <a:lnTo>
                        <a:pt x="237" y="388"/>
                      </a:lnTo>
                      <a:lnTo>
                        <a:pt x="237" y="394"/>
                      </a:lnTo>
                      <a:lnTo>
                        <a:pt x="243" y="405"/>
                      </a:lnTo>
                      <a:lnTo>
                        <a:pt x="246" y="411"/>
                      </a:lnTo>
                      <a:lnTo>
                        <a:pt x="249" y="416"/>
                      </a:lnTo>
                      <a:lnTo>
                        <a:pt x="251" y="421"/>
                      </a:lnTo>
                      <a:lnTo>
                        <a:pt x="259" y="422"/>
                      </a:lnTo>
                      <a:lnTo>
                        <a:pt x="264" y="427"/>
                      </a:lnTo>
                      <a:lnTo>
                        <a:pt x="273" y="427"/>
                      </a:lnTo>
                      <a:lnTo>
                        <a:pt x="280" y="434"/>
                      </a:lnTo>
                      <a:lnTo>
                        <a:pt x="284" y="434"/>
                      </a:lnTo>
                      <a:lnTo>
                        <a:pt x="286" y="437"/>
                      </a:lnTo>
                      <a:lnTo>
                        <a:pt x="291" y="438"/>
                      </a:lnTo>
                      <a:lnTo>
                        <a:pt x="292" y="436"/>
                      </a:lnTo>
                      <a:lnTo>
                        <a:pt x="302" y="438"/>
                      </a:lnTo>
                      <a:lnTo>
                        <a:pt x="302" y="439"/>
                      </a:lnTo>
                      <a:lnTo>
                        <a:pt x="305" y="442"/>
                      </a:lnTo>
                      <a:lnTo>
                        <a:pt x="310" y="446"/>
                      </a:lnTo>
                      <a:lnTo>
                        <a:pt x="313" y="444"/>
                      </a:lnTo>
                      <a:lnTo>
                        <a:pt x="314" y="442"/>
                      </a:lnTo>
                      <a:lnTo>
                        <a:pt x="321" y="441"/>
                      </a:lnTo>
                      <a:lnTo>
                        <a:pt x="319" y="436"/>
                      </a:lnTo>
                      <a:lnTo>
                        <a:pt x="319" y="433"/>
                      </a:lnTo>
                      <a:lnTo>
                        <a:pt x="318" y="429"/>
                      </a:lnTo>
                      <a:lnTo>
                        <a:pt x="317" y="425"/>
                      </a:lnTo>
                      <a:lnTo>
                        <a:pt x="314" y="423"/>
                      </a:lnTo>
                      <a:lnTo>
                        <a:pt x="312" y="417"/>
                      </a:lnTo>
                      <a:lnTo>
                        <a:pt x="311" y="411"/>
                      </a:lnTo>
                      <a:lnTo>
                        <a:pt x="308" y="404"/>
                      </a:lnTo>
                      <a:lnTo>
                        <a:pt x="308" y="398"/>
                      </a:lnTo>
                      <a:lnTo>
                        <a:pt x="311" y="389"/>
                      </a:lnTo>
                      <a:lnTo>
                        <a:pt x="314" y="380"/>
                      </a:lnTo>
                      <a:lnTo>
                        <a:pt x="318" y="370"/>
                      </a:lnTo>
                      <a:lnTo>
                        <a:pt x="317" y="368"/>
                      </a:lnTo>
                      <a:lnTo>
                        <a:pt x="314" y="366"/>
                      </a:lnTo>
                      <a:lnTo>
                        <a:pt x="311" y="363"/>
                      </a:lnTo>
                      <a:lnTo>
                        <a:pt x="311" y="361"/>
                      </a:lnTo>
                      <a:lnTo>
                        <a:pt x="313" y="362"/>
                      </a:lnTo>
                      <a:lnTo>
                        <a:pt x="322" y="361"/>
                      </a:lnTo>
                      <a:lnTo>
                        <a:pt x="323" y="361"/>
                      </a:lnTo>
                      <a:lnTo>
                        <a:pt x="326" y="355"/>
                      </a:lnTo>
                      <a:lnTo>
                        <a:pt x="323" y="355"/>
                      </a:lnTo>
                      <a:lnTo>
                        <a:pt x="322" y="353"/>
                      </a:lnTo>
                      <a:lnTo>
                        <a:pt x="322" y="351"/>
                      </a:lnTo>
                      <a:lnTo>
                        <a:pt x="324" y="350"/>
                      </a:lnTo>
                      <a:lnTo>
                        <a:pt x="328" y="350"/>
                      </a:lnTo>
                      <a:lnTo>
                        <a:pt x="333" y="350"/>
                      </a:lnTo>
                      <a:lnTo>
                        <a:pt x="335" y="351"/>
                      </a:lnTo>
                      <a:lnTo>
                        <a:pt x="338" y="350"/>
                      </a:lnTo>
                      <a:lnTo>
                        <a:pt x="343" y="346"/>
                      </a:lnTo>
                      <a:lnTo>
                        <a:pt x="341" y="346"/>
                      </a:lnTo>
                      <a:lnTo>
                        <a:pt x="337" y="349"/>
                      </a:lnTo>
                      <a:lnTo>
                        <a:pt x="336" y="345"/>
                      </a:lnTo>
                      <a:lnTo>
                        <a:pt x="338" y="339"/>
                      </a:lnTo>
                      <a:lnTo>
                        <a:pt x="340" y="341"/>
                      </a:lnTo>
                      <a:lnTo>
                        <a:pt x="342" y="342"/>
                      </a:lnTo>
                      <a:lnTo>
                        <a:pt x="347" y="342"/>
                      </a:lnTo>
                      <a:lnTo>
                        <a:pt x="349" y="340"/>
                      </a:lnTo>
                      <a:lnTo>
                        <a:pt x="348" y="336"/>
                      </a:lnTo>
                      <a:lnTo>
                        <a:pt x="345" y="332"/>
                      </a:lnTo>
                      <a:lnTo>
                        <a:pt x="346" y="331"/>
                      </a:lnTo>
                      <a:lnTo>
                        <a:pt x="349" y="331"/>
                      </a:lnTo>
                      <a:lnTo>
                        <a:pt x="352" y="329"/>
                      </a:lnTo>
                      <a:lnTo>
                        <a:pt x="354" y="331"/>
                      </a:lnTo>
                      <a:lnTo>
                        <a:pt x="357" y="329"/>
                      </a:lnTo>
                      <a:lnTo>
                        <a:pt x="358" y="331"/>
                      </a:lnTo>
                      <a:lnTo>
                        <a:pt x="361" y="333"/>
                      </a:lnTo>
                      <a:lnTo>
                        <a:pt x="364" y="331"/>
                      </a:lnTo>
                      <a:lnTo>
                        <a:pt x="367" y="329"/>
                      </a:lnTo>
                      <a:lnTo>
                        <a:pt x="374" y="327"/>
                      </a:lnTo>
                      <a:lnTo>
                        <a:pt x="381" y="326"/>
                      </a:lnTo>
                      <a:lnTo>
                        <a:pt x="392" y="320"/>
                      </a:lnTo>
                      <a:lnTo>
                        <a:pt x="395" y="314"/>
                      </a:lnTo>
                      <a:lnTo>
                        <a:pt x="396" y="309"/>
                      </a:lnTo>
                      <a:lnTo>
                        <a:pt x="399" y="307"/>
                      </a:lnTo>
                      <a:lnTo>
                        <a:pt x="402" y="306"/>
                      </a:lnTo>
                      <a:lnTo>
                        <a:pt x="403" y="305"/>
                      </a:lnTo>
                      <a:lnTo>
                        <a:pt x="406" y="303"/>
                      </a:lnTo>
                      <a:lnTo>
                        <a:pt x="405" y="300"/>
                      </a:lnTo>
                      <a:lnTo>
                        <a:pt x="404" y="297"/>
                      </a:lnTo>
                      <a:lnTo>
                        <a:pt x="403" y="296"/>
                      </a:lnTo>
                      <a:lnTo>
                        <a:pt x="402" y="294"/>
                      </a:lnTo>
                      <a:lnTo>
                        <a:pt x="403" y="291"/>
                      </a:lnTo>
                      <a:lnTo>
                        <a:pt x="407" y="288"/>
                      </a:lnTo>
                      <a:lnTo>
                        <a:pt x="410" y="286"/>
                      </a:lnTo>
                      <a:lnTo>
                        <a:pt x="412" y="286"/>
                      </a:lnTo>
                      <a:lnTo>
                        <a:pt x="412" y="289"/>
                      </a:lnTo>
                      <a:lnTo>
                        <a:pt x="412" y="293"/>
                      </a:lnTo>
                      <a:lnTo>
                        <a:pt x="412" y="299"/>
                      </a:lnTo>
                      <a:lnTo>
                        <a:pt x="413" y="300"/>
                      </a:lnTo>
                      <a:lnTo>
                        <a:pt x="419" y="295"/>
                      </a:lnTo>
                      <a:lnTo>
                        <a:pt x="424" y="294"/>
                      </a:lnTo>
                      <a:lnTo>
                        <a:pt x="439" y="288"/>
                      </a:lnTo>
                      <a:lnTo>
                        <a:pt x="441" y="287"/>
                      </a:lnTo>
                      <a:lnTo>
                        <a:pt x="444" y="282"/>
                      </a:lnTo>
                      <a:lnTo>
                        <a:pt x="447" y="272"/>
                      </a:lnTo>
                      <a:lnTo>
                        <a:pt x="447" y="268"/>
                      </a:lnTo>
                      <a:lnTo>
                        <a:pt x="444" y="261"/>
                      </a:lnTo>
                      <a:lnTo>
                        <a:pt x="446" y="256"/>
                      </a:lnTo>
                      <a:lnTo>
                        <a:pt x="446" y="25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2" name="Freeform 61">
                  <a:extLst>
                    <a:ext uri="{FF2B5EF4-FFF2-40B4-BE49-F238E27FC236}">
                      <a16:creationId xmlns:a16="http://schemas.microsoft.com/office/drawing/2014/main" id="{1E186E20-D112-4D4C-8FFA-77D4CCE76B3C}"/>
                    </a:ext>
                  </a:extLst>
                </p:cNvPr>
                <p:cNvSpPr>
                  <a:spLocks/>
                </p:cNvSpPr>
                <p:nvPr/>
              </p:nvSpPr>
              <p:spPr bwMode="auto">
                <a:xfrm>
                  <a:off x="5613602" y="2574620"/>
                  <a:ext cx="369330" cy="435102"/>
                </a:xfrm>
                <a:custGeom>
                  <a:avLst/>
                  <a:gdLst>
                    <a:gd name="T0" fmla="*/ 73 w 259"/>
                    <a:gd name="T1" fmla="*/ 0 h 304"/>
                    <a:gd name="T2" fmla="*/ 68 w 259"/>
                    <a:gd name="T3" fmla="*/ 25 h 304"/>
                    <a:gd name="T4" fmla="*/ 62 w 259"/>
                    <a:gd name="T5" fmla="*/ 43 h 304"/>
                    <a:gd name="T6" fmla="*/ 59 w 259"/>
                    <a:gd name="T7" fmla="*/ 45 h 304"/>
                    <a:gd name="T8" fmla="*/ 56 w 259"/>
                    <a:gd name="T9" fmla="*/ 43 h 304"/>
                    <a:gd name="T10" fmla="*/ 51 w 259"/>
                    <a:gd name="T11" fmla="*/ 39 h 304"/>
                    <a:gd name="T12" fmla="*/ 47 w 259"/>
                    <a:gd name="T13" fmla="*/ 41 h 304"/>
                    <a:gd name="T14" fmla="*/ 45 w 259"/>
                    <a:gd name="T15" fmla="*/ 37 h 304"/>
                    <a:gd name="T16" fmla="*/ 38 w 259"/>
                    <a:gd name="T17" fmla="*/ 39 h 304"/>
                    <a:gd name="T18" fmla="*/ 35 w 259"/>
                    <a:gd name="T19" fmla="*/ 42 h 304"/>
                    <a:gd name="T20" fmla="*/ 35 w 259"/>
                    <a:gd name="T21" fmla="*/ 53 h 304"/>
                    <a:gd name="T22" fmla="*/ 35 w 259"/>
                    <a:gd name="T23" fmla="*/ 67 h 304"/>
                    <a:gd name="T24" fmla="*/ 35 w 259"/>
                    <a:gd name="T25" fmla="*/ 80 h 304"/>
                    <a:gd name="T26" fmla="*/ 34 w 259"/>
                    <a:gd name="T27" fmla="*/ 84 h 304"/>
                    <a:gd name="T28" fmla="*/ 31 w 259"/>
                    <a:gd name="T29" fmla="*/ 89 h 304"/>
                    <a:gd name="T30" fmla="*/ 30 w 259"/>
                    <a:gd name="T31" fmla="*/ 94 h 304"/>
                    <a:gd name="T32" fmla="*/ 30 w 259"/>
                    <a:gd name="T33" fmla="*/ 101 h 304"/>
                    <a:gd name="T34" fmla="*/ 34 w 259"/>
                    <a:gd name="T35" fmla="*/ 110 h 304"/>
                    <a:gd name="T36" fmla="*/ 35 w 259"/>
                    <a:gd name="T37" fmla="*/ 119 h 304"/>
                    <a:gd name="T38" fmla="*/ 37 w 259"/>
                    <a:gd name="T39" fmla="*/ 122 h 304"/>
                    <a:gd name="T40" fmla="*/ 42 w 259"/>
                    <a:gd name="T41" fmla="*/ 128 h 304"/>
                    <a:gd name="T42" fmla="*/ 39 w 259"/>
                    <a:gd name="T43" fmla="*/ 130 h 304"/>
                    <a:gd name="T44" fmla="*/ 34 w 259"/>
                    <a:gd name="T45" fmla="*/ 134 h 304"/>
                    <a:gd name="T46" fmla="*/ 24 w 259"/>
                    <a:gd name="T47" fmla="*/ 141 h 304"/>
                    <a:gd name="T48" fmla="*/ 21 w 259"/>
                    <a:gd name="T49" fmla="*/ 154 h 304"/>
                    <a:gd name="T50" fmla="*/ 17 w 259"/>
                    <a:gd name="T51" fmla="*/ 162 h 304"/>
                    <a:gd name="T52" fmla="*/ 13 w 259"/>
                    <a:gd name="T53" fmla="*/ 166 h 304"/>
                    <a:gd name="T54" fmla="*/ 11 w 259"/>
                    <a:gd name="T55" fmla="*/ 167 h 304"/>
                    <a:gd name="T56" fmla="*/ 9 w 259"/>
                    <a:gd name="T57" fmla="*/ 171 h 304"/>
                    <a:gd name="T58" fmla="*/ 10 w 259"/>
                    <a:gd name="T59" fmla="*/ 178 h 304"/>
                    <a:gd name="T60" fmla="*/ 9 w 259"/>
                    <a:gd name="T61" fmla="*/ 183 h 304"/>
                    <a:gd name="T62" fmla="*/ 15 w 259"/>
                    <a:gd name="T63" fmla="*/ 188 h 304"/>
                    <a:gd name="T64" fmla="*/ 13 w 259"/>
                    <a:gd name="T65" fmla="*/ 192 h 304"/>
                    <a:gd name="T66" fmla="*/ 5 w 259"/>
                    <a:gd name="T67" fmla="*/ 196 h 304"/>
                    <a:gd name="T68" fmla="*/ 3 w 259"/>
                    <a:gd name="T69" fmla="*/ 200 h 304"/>
                    <a:gd name="T70" fmla="*/ 0 w 259"/>
                    <a:gd name="T71" fmla="*/ 206 h 304"/>
                    <a:gd name="T72" fmla="*/ 139 w 259"/>
                    <a:gd name="T73" fmla="*/ 291 h 304"/>
                    <a:gd name="T74" fmla="*/ 182 w 259"/>
                    <a:gd name="T75" fmla="*/ 299 h 304"/>
                    <a:gd name="T76" fmla="*/ 218 w 259"/>
                    <a:gd name="T77" fmla="*/ 304 h 304"/>
                    <a:gd name="T78" fmla="*/ 219 w 259"/>
                    <a:gd name="T79" fmla="*/ 304 h 304"/>
                    <a:gd name="T80" fmla="*/ 259 w 259"/>
                    <a:gd name="T81" fmla="*/ 33 h 304"/>
                    <a:gd name="T82" fmla="*/ 73 w 259"/>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9" h="304">
                      <a:moveTo>
                        <a:pt x="73" y="0"/>
                      </a:moveTo>
                      <a:cubicBezTo>
                        <a:pt x="73" y="0"/>
                        <a:pt x="69" y="19"/>
                        <a:pt x="68" y="25"/>
                      </a:cubicBezTo>
                      <a:cubicBezTo>
                        <a:pt x="66" y="29"/>
                        <a:pt x="62" y="43"/>
                        <a:pt x="62" y="43"/>
                      </a:cubicBezTo>
                      <a:cubicBezTo>
                        <a:pt x="59" y="45"/>
                        <a:pt x="59" y="45"/>
                        <a:pt x="59" y="45"/>
                      </a:cubicBezTo>
                      <a:cubicBezTo>
                        <a:pt x="56" y="43"/>
                        <a:pt x="56" y="43"/>
                        <a:pt x="56" y="43"/>
                      </a:cubicBezTo>
                      <a:cubicBezTo>
                        <a:pt x="51" y="39"/>
                        <a:pt x="51" y="39"/>
                        <a:pt x="51" y="39"/>
                      </a:cubicBezTo>
                      <a:cubicBezTo>
                        <a:pt x="47" y="41"/>
                        <a:pt x="47" y="41"/>
                        <a:pt x="47" y="41"/>
                      </a:cubicBezTo>
                      <a:cubicBezTo>
                        <a:pt x="45" y="37"/>
                        <a:pt x="45" y="37"/>
                        <a:pt x="45" y="37"/>
                      </a:cubicBezTo>
                      <a:cubicBezTo>
                        <a:pt x="38" y="39"/>
                        <a:pt x="38" y="39"/>
                        <a:pt x="38" y="39"/>
                      </a:cubicBezTo>
                      <a:cubicBezTo>
                        <a:pt x="35" y="42"/>
                        <a:pt x="35" y="42"/>
                        <a:pt x="35" y="42"/>
                      </a:cubicBezTo>
                      <a:cubicBezTo>
                        <a:pt x="35" y="53"/>
                        <a:pt x="35" y="53"/>
                        <a:pt x="35" y="53"/>
                      </a:cubicBezTo>
                      <a:cubicBezTo>
                        <a:pt x="35" y="67"/>
                        <a:pt x="35" y="67"/>
                        <a:pt x="35" y="67"/>
                      </a:cubicBezTo>
                      <a:cubicBezTo>
                        <a:pt x="35" y="80"/>
                        <a:pt x="35" y="80"/>
                        <a:pt x="35" y="80"/>
                      </a:cubicBezTo>
                      <a:cubicBezTo>
                        <a:pt x="34" y="84"/>
                        <a:pt x="34" y="84"/>
                        <a:pt x="34" y="84"/>
                      </a:cubicBezTo>
                      <a:cubicBezTo>
                        <a:pt x="31" y="89"/>
                        <a:pt x="31" y="89"/>
                        <a:pt x="31" y="89"/>
                      </a:cubicBezTo>
                      <a:cubicBezTo>
                        <a:pt x="30" y="94"/>
                        <a:pt x="30" y="94"/>
                        <a:pt x="30" y="94"/>
                      </a:cubicBezTo>
                      <a:cubicBezTo>
                        <a:pt x="30" y="101"/>
                        <a:pt x="30" y="101"/>
                        <a:pt x="30" y="101"/>
                      </a:cubicBezTo>
                      <a:cubicBezTo>
                        <a:pt x="34" y="110"/>
                        <a:pt x="34" y="110"/>
                        <a:pt x="34" y="110"/>
                      </a:cubicBezTo>
                      <a:cubicBezTo>
                        <a:pt x="35" y="119"/>
                        <a:pt x="35" y="119"/>
                        <a:pt x="35" y="119"/>
                      </a:cubicBezTo>
                      <a:cubicBezTo>
                        <a:pt x="37" y="122"/>
                        <a:pt x="37" y="122"/>
                        <a:pt x="37" y="122"/>
                      </a:cubicBezTo>
                      <a:cubicBezTo>
                        <a:pt x="42" y="128"/>
                        <a:pt x="42" y="128"/>
                        <a:pt x="42" y="128"/>
                      </a:cubicBezTo>
                      <a:cubicBezTo>
                        <a:pt x="39" y="130"/>
                        <a:pt x="39" y="130"/>
                        <a:pt x="39" y="130"/>
                      </a:cubicBezTo>
                      <a:cubicBezTo>
                        <a:pt x="34" y="134"/>
                        <a:pt x="34" y="134"/>
                        <a:pt x="34" y="134"/>
                      </a:cubicBezTo>
                      <a:cubicBezTo>
                        <a:pt x="24" y="141"/>
                        <a:pt x="24" y="141"/>
                        <a:pt x="24" y="141"/>
                      </a:cubicBezTo>
                      <a:cubicBezTo>
                        <a:pt x="21" y="154"/>
                        <a:pt x="21" y="154"/>
                        <a:pt x="21" y="154"/>
                      </a:cubicBezTo>
                      <a:cubicBezTo>
                        <a:pt x="17" y="162"/>
                        <a:pt x="17" y="162"/>
                        <a:pt x="17" y="162"/>
                      </a:cubicBezTo>
                      <a:cubicBezTo>
                        <a:pt x="13" y="166"/>
                        <a:pt x="13" y="166"/>
                        <a:pt x="13" y="166"/>
                      </a:cubicBezTo>
                      <a:cubicBezTo>
                        <a:pt x="11" y="167"/>
                        <a:pt x="11" y="167"/>
                        <a:pt x="11" y="167"/>
                      </a:cubicBezTo>
                      <a:cubicBezTo>
                        <a:pt x="9" y="171"/>
                        <a:pt x="9" y="171"/>
                        <a:pt x="9" y="171"/>
                      </a:cubicBezTo>
                      <a:cubicBezTo>
                        <a:pt x="10" y="178"/>
                        <a:pt x="10" y="178"/>
                        <a:pt x="10" y="178"/>
                      </a:cubicBezTo>
                      <a:cubicBezTo>
                        <a:pt x="9" y="183"/>
                        <a:pt x="9" y="183"/>
                        <a:pt x="9" y="183"/>
                      </a:cubicBezTo>
                      <a:cubicBezTo>
                        <a:pt x="15" y="188"/>
                        <a:pt x="15" y="188"/>
                        <a:pt x="15" y="188"/>
                      </a:cubicBezTo>
                      <a:cubicBezTo>
                        <a:pt x="13" y="192"/>
                        <a:pt x="13" y="192"/>
                        <a:pt x="13" y="192"/>
                      </a:cubicBezTo>
                      <a:cubicBezTo>
                        <a:pt x="5" y="196"/>
                        <a:pt x="5" y="196"/>
                        <a:pt x="5" y="196"/>
                      </a:cubicBezTo>
                      <a:cubicBezTo>
                        <a:pt x="3" y="200"/>
                        <a:pt x="3" y="200"/>
                        <a:pt x="3" y="200"/>
                      </a:cubicBezTo>
                      <a:cubicBezTo>
                        <a:pt x="0" y="206"/>
                        <a:pt x="0" y="206"/>
                        <a:pt x="0" y="206"/>
                      </a:cubicBezTo>
                      <a:cubicBezTo>
                        <a:pt x="139" y="291"/>
                        <a:pt x="139" y="291"/>
                        <a:pt x="139" y="291"/>
                      </a:cubicBezTo>
                      <a:cubicBezTo>
                        <a:pt x="182" y="299"/>
                        <a:pt x="182" y="299"/>
                        <a:pt x="182" y="299"/>
                      </a:cubicBezTo>
                      <a:cubicBezTo>
                        <a:pt x="218" y="304"/>
                        <a:pt x="218" y="304"/>
                        <a:pt x="218" y="304"/>
                      </a:cubicBezTo>
                      <a:cubicBezTo>
                        <a:pt x="219" y="304"/>
                        <a:pt x="219" y="304"/>
                        <a:pt x="219" y="304"/>
                      </a:cubicBezTo>
                      <a:cubicBezTo>
                        <a:pt x="259" y="33"/>
                        <a:pt x="259" y="33"/>
                        <a:pt x="259" y="33"/>
                      </a:cubicBezTo>
                      <a:lnTo>
                        <a:pt x="73"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3" name="Freeform 62">
                  <a:extLst>
                    <a:ext uri="{FF2B5EF4-FFF2-40B4-BE49-F238E27FC236}">
                      <a16:creationId xmlns:a16="http://schemas.microsoft.com/office/drawing/2014/main" id="{E54CFE46-A5C6-468F-84DF-5064C960CF9C}"/>
                    </a:ext>
                  </a:extLst>
                </p:cNvPr>
                <p:cNvSpPr>
                  <a:spLocks/>
                </p:cNvSpPr>
                <p:nvPr/>
              </p:nvSpPr>
              <p:spPr bwMode="auto">
                <a:xfrm>
                  <a:off x="5239212" y="2105790"/>
                  <a:ext cx="433415" cy="750467"/>
                </a:xfrm>
                <a:custGeom>
                  <a:avLst/>
                  <a:gdLst>
                    <a:gd name="T0" fmla="*/ 229 w 257"/>
                    <a:gd name="T1" fmla="*/ 433 h 445"/>
                    <a:gd name="T2" fmla="*/ 231 w 257"/>
                    <a:gd name="T3" fmla="*/ 420 h 445"/>
                    <a:gd name="T4" fmla="*/ 239 w 257"/>
                    <a:gd name="T5" fmla="*/ 409 h 445"/>
                    <a:gd name="T6" fmla="*/ 255 w 257"/>
                    <a:gd name="T7" fmla="*/ 388 h 445"/>
                    <a:gd name="T8" fmla="*/ 251 w 257"/>
                    <a:gd name="T9" fmla="*/ 379 h 445"/>
                    <a:gd name="T10" fmla="*/ 247 w 257"/>
                    <a:gd name="T11" fmla="*/ 358 h 445"/>
                    <a:gd name="T12" fmla="*/ 118 w 257"/>
                    <a:gd name="T13" fmla="*/ 158 h 445"/>
                    <a:gd name="T14" fmla="*/ 113 w 257"/>
                    <a:gd name="T15" fmla="*/ 153 h 445"/>
                    <a:gd name="T16" fmla="*/ 117 w 257"/>
                    <a:gd name="T17" fmla="*/ 146 h 445"/>
                    <a:gd name="T18" fmla="*/ 26 w 257"/>
                    <a:gd name="T19" fmla="*/ 0 h 445"/>
                    <a:gd name="T20" fmla="*/ 23 w 257"/>
                    <a:gd name="T21" fmla="*/ 9 h 445"/>
                    <a:gd name="T22" fmla="*/ 22 w 257"/>
                    <a:gd name="T23" fmla="*/ 25 h 445"/>
                    <a:gd name="T24" fmla="*/ 17 w 257"/>
                    <a:gd name="T25" fmla="*/ 34 h 445"/>
                    <a:gd name="T26" fmla="*/ 7 w 257"/>
                    <a:gd name="T27" fmla="*/ 50 h 445"/>
                    <a:gd name="T28" fmla="*/ 0 w 257"/>
                    <a:gd name="T29" fmla="*/ 62 h 445"/>
                    <a:gd name="T30" fmla="*/ 3 w 257"/>
                    <a:gd name="T31" fmla="*/ 75 h 445"/>
                    <a:gd name="T32" fmla="*/ 9 w 257"/>
                    <a:gd name="T33" fmla="*/ 90 h 445"/>
                    <a:gd name="T34" fmla="*/ 5 w 257"/>
                    <a:gd name="T35" fmla="*/ 110 h 445"/>
                    <a:gd name="T36" fmla="*/ 2 w 257"/>
                    <a:gd name="T37" fmla="*/ 122 h 445"/>
                    <a:gd name="T38" fmla="*/ 11 w 257"/>
                    <a:gd name="T39" fmla="*/ 145 h 445"/>
                    <a:gd name="T40" fmla="*/ 17 w 257"/>
                    <a:gd name="T41" fmla="*/ 161 h 445"/>
                    <a:gd name="T42" fmla="*/ 14 w 257"/>
                    <a:gd name="T43" fmla="*/ 169 h 445"/>
                    <a:gd name="T44" fmla="*/ 23 w 257"/>
                    <a:gd name="T45" fmla="*/ 176 h 445"/>
                    <a:gd name="T46" fmla="*/ 29 w 257"/>
                    <a:gd name="T47" fmla="*/ 175 h 445"/>
                    <a:gd name="T48" fmla="*/ 37 w 257"/>
                    <a:gd name="T49" fmla="*/ 172 h 445"/>
                    <a:gd name="T50" fmla="*/ 51 w 257"/>
                    <a:gd name="T51" fmla="*/ 177 h 445"/>
                    <a:gd name="T52" fmla="*/ 49 w 257"/>
                    <a:gd name="T53" fmla="*/ 179 h 445"/>
                    <a:gd name="T54" fmla="*/ 40 w 257"/>
                    <a:gd name="T55" fmla="*/ 176 h 445"/>
                    <a:gd name="T56" fmla="*/ 33 w 257"/>
                    <a:gd name="T57" fmla="*/ 175 h 445"/>
                    <a:gd name="T58" fmla="*/ 35 w 257"/>
                    <a:gd name="T59" fmla="*/ 187 h 445"/>
                    <a:gd name="T60" fmla="*/ 30 w 257"/>
                    <a:gd name="T61" fmla="*/ 192 h 445"/>
                    <a:gd name="T62" fmla="*/ 29 w 257"/>
                    <a:gd name="T63" fmla="*/ 185 h 445"/>
                    <a:gd name="T64" fmla="*/ 24 w 257"/>
                    <a:gd name="T65" fmla="*/ 187 h 445"/>
                    <a:gd name="T66" fmla="*/ 23 w 257"/>
                    <a:gd name="T67" fmla="*/ 204 h 445"/>
                    <a:gd name="T68" fmla="*/ 30 w 257"/>
                    <a:gd name="T69" fmla="*/ 217 h 445"/>
                    <a:gd name="T70" fmla="*/ 35 w 257"/>
                    <a:gd name="T71" fmla="*/ 229 h 445"/>
                    <a:gd name="T72" fmla="*/ 28 w 257"/>
                    <a:gd name="T73" fmla="*/ 234 h 445"/>
                    <a:gd name="T74" fmla="*/ 34 w 257"/>
                    <a:gd name="T75" fmla="*/ 255 h 445"/>
                    <a:gd name="T76" fmla="*/ 42 w 257"/>
                    <a:gd name="T77" fmla="*/ 275 h 445"/>
                    <a:gd name="T78" fmla="*/ 50 w 257"/>
                    <a:gd name="T79" fmla="*/ 288 h 445"/>
                    <a:gd name="T80" fmla="*/ 50 w 257"/>
                    <a:gd name="T81" fmla="*/ 298 h 445"/>
                    <a:gd name="T82" fmla="*/ 53 w 257"/>
                    <a:gd name="T83" fmla="*/ 307 h 445"/>
                    <a:gd name="T84" fmla="*/ 50 w 257"/>
                    <a:gd name="T85" fmla="*/ 327 h 445"/>
                    <a:gd name="T86" fmla="*/ 73 w 257"/>
                    <a:gd name="T87" fmla="*/ 339 h 445"/>
                    <a:gd name="T88" fmla="*/ 91 w 257"/>
                    <a:gd name="T89" fmla="*/ 355 h 445"/>
                    <a:gd name="T90" fmla="*/ 112 w 257"/>
                    <a:gd name="T91" fmla="*/ 374 h 445"/>
                    <a:gd name="T92" fmla="*/ 128 w 257"/>
                    <a:gd name="T93" fmla="*/ 388 h 445"/>
                    <a:gd name="T94" fmla="*/ 143 w 257"/>
                    <a:gd name="T95" fmla="*/ 414 h 445"/>
                    <a:gd name="T96" fmla="*/ 143 w 257"/>
                    <a:gd name="T97" fmla="*/ 434 h 445"/>
                    <a:gd name="T98" fmla="*/ 226 w 257"/>
                    <a:gd name="T99" fmla="*/ 44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445">
                      <a:moveTo>
                        <a:pt x="233" y="441"/>
                      </a:moveTo>
                      <a:lnTo>
                        <a:pt x="234" y="438"/>
                      </a:lnTo>
                      <a:lnTo>
                        <a:pt x="229" y="433"/>
                      </a:lnTo>
                      <a:lnTo>
                        <a:pt x="230" y="429"/>
                      </a:lnTo>
                      <a:lnTo>
                        <a:pt x="229" y="423"/>
                      </a:lnTo>
                      <a:lnTo>
                        <a:pt x="231" y="420"/>
                      </a:lnTo>
                      <a:lnTo>
                        <a:pt x="233" y="419"/>
                      </a:lnTo>
                      <a:lnTo>
                        <a:pt x="236" y="416"/>
                      </a:lnTo>
                      <a:lnTo>
                        <a:pt x="239" y="409"/>
                      </a:lnTo>
                      <a:lnTo>
                        <a:pt x="242" y="398"/>
                      </a:lnTo>
                      <a:lnTo>
                        <a:pt x="250" y="392"/>
                      </a:lnTo>
                      <a:lnTo>
                        <a:pt x="255" y="388"/>
                      </a:lnTo>
                      <a:lnTo>
                        <a:pt x="257" y="387"/>
                      </a:lnTo>
                      <a:lnTo>
                        <a:pt x="253" y="382"/>
                      </a:lnTo>
                      <a:lnTo>
                        <a:pt x="251" y="379"/>
                      </a:lnTo>
                      <a:lnTo>
                        <a:pt x="250" y="372"/>
                      </a:lnTo>
                      <a:lnTo>
                        <a:pt x="247" y="364"/>
                      </a:lnTo>
                      <a:lnTo>
                        <a:pt x="247" y="358"/>
                      </a:lnTo>
                      <a:lnTo>
                        <a:pt x="248" y="354"/>
                      </a:lnTo>
                      <a:lnTo>
                        <a:pt x="248" y="353"/>
                      </a:lnTo>
                      <a:lnTo>
                        <a:pt x="118" y="158"/>
                      </a:lnTo>
                      <a:lnTo>
                        <a:pt x="115" y="156"/>
                      </a:lnTo>
                      <a:lnTo>
                        <a:pt x="114" y="155"/>
                      </a:lnTo>
                      <a:lnTo>
                        <a:pt x="113" y="153"/>
                      </a:lnTo>
                      <a:lnTo>
                        <a:pt x="112" y="150"/>
                      </a:lnTo>
                      <a:lnTo>
                        <a:pt x="113" y="147"/>
                      </a:lnTo>
                      <a:lnTo>
                        <a:pt x="117" y="146"/>
                      </a:lnTo>
                      <a:lnTo>
                        <a:pt x="119" y="145"/>
                      </a:lnTo>
                      <a:lnTo>
                        <a:pt x="148" y="35"/>
                      </a:lnTo>
                      <a:lnTo>
                        <a:pt x="26" y="0"/>
                      </a:lnTo>
                      <a:lnTo>
                        <a:pt x="25" y="4"/>
                      </a:lnTo>
                      <a:lnTo>
                        <a:pt x="23" y="5"/>
                      </a:lnTo>
                      <a:lnTo>
                        <a:pt x="23" y="9"/>
                      </a:lnTo>
                      <a:lnTo>
                        <a:pt x="23" y="12"/>
                      </a:lnTo>
                      <a:lnTo>
                        <a:pt x="23" y="21"/>
                      </a:lnTo>
                      <a:lnTo>
                        <a:pt x="22" y="25"/>
                      </a:lnTo>
                      <a:lnTo>
                        <a:pt x="19" y="30"/>
                      </a:lnTo>
                      <a:lnTo>
                        <a:pt x="17" y="33"/>
                      </a:lnTo>
                      <a:lnTo>
                        <a:pt x="17" y="34"/>
                      </a:lnTo>
                      <a:lnTo>
                        <a:pt x="17" y="40"/>
                      </a:lnTo>
                      <a:lnTo>
                        <a:pt x="13" y="45"/>
                      </a:lnTo>
                      <a:lnTo>
                        <a:pt x="7" y="50"/>
                      </a:lnTo>
                      <a:lnTo>
                        <a:pt x="2" y="55"/>
                      </a:lnTo>
                      <a:lnTo>
                        <a:pt x="1" y="57"/>
                      </a:lnTo>
                      <a:lnTo>
                        <a:pt x="0" y="62"/>
                      </a:lnTo>
                      <a:lnTo>
                        <a:pt x="0" y="66"/>
                      </a:lnTo>
                      <a:lnTo>
                        <a:pt x="1" y="71"/>
                      </a:lnTo>
                      <a:lnTo>
                        <a:pt x="3" y="75"/>
                      </a:lnTo>
                      <a:lnTo>
                        <a:pt x="7" y="81"/>
                      </a:lnTo>
                      <a:lnTo>
                        <a:pt x="8" y="85"/>
                      </a:lnTo>
                      <a:lnTo>
                        <a:pt x="9" y="90"/>
                      </a:lnTo>
                      <a:lnTo>
                        <a:pt x="9" y="98"/>
                      </a:lnTo>
                      <a:lnTo>
                        <a:pt x="6" y="104"/>
                      </a:lnTo>
                      <a:lnTo>
                        <a:pt x="5" y="110"/>
                      </a:lnTo>
                      <a:lnTo>
                        <a:pt x="5" y="117"/>
                      </a:lnTo>
                      <a:lnTo>
                        <a:pt x="4" y="120"/>
                      </a:lnTo>
                      <a:lnTo>
                        <a:pt x="2" y="122"/>
                      </a:lnTo>
                      <a:lnTo>
                        <a:pt x="3" y="126"/>
                      </a:lnTo>
                      <a:lnTo>
                        <a:pt x="7" y="133"/>
                      </a:lnTo>
                      <a:lnTo>
                        <a:pt x="11" y="145"/>
                      </a:lnTo>
                      <a:lnTo>
                        <a:pt x="15" y="153"/>
                      </a:lnTo>
                      <a:lnTo>
                        <a:pt x="17" y="156"/>
                      </a:lnTo>
                      <a:lnTo>
                        <a:pt x="17" y="161"/>
                      </a:lnTo>
                      <a:lnTo>
                        <a:pt x="16" y="164"/>
                      </a:lnTo>
                      <a:lnTo>
                        <a:pt x="14" y="166"/>
                      </a:lnTo>
                      <a:lnTo>
                        <a:pt x="14" y="169"/>
                      </a:lnTo>
                      <a:lnTo>
                        <a:pt x="18" y="169"/>
                      </a:lnTo>
                      <a:lnTo>
                        <a:pt x="20" y="172"/>
                      </a:lnTo>
                      <a:lnTo>
                        <a:pt x="23" y="176"/>
                      </a:lnTo>
                      <a:lnTo>
                        <a:pt x="24" y="178"/>
                      </a:lnTo>
                      <a:lnTo>
                        <a:pt x="27" y="179"/>
                      </a:lnTo>
                      <a:lnTo>
                        <a:pt x="29" y="175"/>
                      </a:lnTo>
                      <a:lnTo>
                        <a:pt x="29" y="170"/>
                      </a:lnTo>
                      <a:lnTo>
                        <a:pt x="34" y="169"/>
                      </a:lnTo>
                      <a:lnTo>
                        <a:pt x="37" y="172"/>
                      </a:lnTo>
                      <a:lnTo>
                        <a:pt x="44" y="172"/>
                      </a:lnTo>
                      <a:lnTo>
                        <a:pt x="48" y="176"/>
                      </a:lnTo>
                      <a:lnTo>
                        <a:pt x="51" y="177"/>
                      </a:lnTo>
                      <a:lnTo>
                        <a:pt x="53" y="178"/>
                      </a:lnTo>
                      <a:lnTo>
                        <a:pt x="51" y="180"/>
                      </a:lnTo>
                      <a:lnTo>
                        <a:pt x="49" y="179"/>
                      </a:lnTo>
                      <a:lnTo>
                        <a:pt x="45" y="177"/>
                      </a:lnTo>
                      <a:lnTo>
                        <a:pt x="44" y="177"/>
                      </a:lnTo>
                      <a:lnTo>
                        <a:pt x="40" y="176"/>
                      </a:lnTo>
                      <a:lnTo>
                        <a:pt x="38" y="175"/>
                      </a:lnTo>
                      <a:lnTo>
                        <a:pt x="35" y="174"/>
                      </a:lnTo>
                      <a:lnTo>
                        <a:pt x="33" y="175"/>
                      </a:lnTo>
                      <a:lnTo>
                        <a:pt x="33" y="177"/>
                      </a:lnTo>
                      <a:lnTo>
                        <a:pt x="33" y="184"/>
                      </a:lnTo>
                      <a:lnTo>
                        <a:pt x="35" y="187"/>
                      </a:lnTo>
                      <a:lnTo>
                        <a:pt x="34" y="194"/>
                      </a:lnTo>
                      <a:lnTo>
                        <a:pt x="33" y="194"/>
                      </a:lnTo>
                      <a:lnTo>
                        <a:pt x="30" y="192"/>
                      </a:lnTo>
                      <a:lnTo>
                        <a:pt x="29" y="190"/>
                      </a:lnTo>
                      <a:lnTo>
                        <a:pt x="29" y="186"/>
                      </a:lnTo>
                      <a:lnTo>
                        <a:pt x="29" y="185"/>
                      </a:lnTo>
                      <a:lnTo>
                        <a:pt x="28" y="184"/>
                      </a:lnTo>
                      <a:lnTo>
                        <a:pt x="25" y="183"/>
                      </a:lnTo>
                      <a:lnTo>
                        <a:pt x="24" y="187"/>
                      </a:lnTo>
                      <a:lnTo>
                        <a:pt x="23" y="189"/>
                      </a:lnTo>
                      <a:lnTo>
                        <a:pt x="23" y="195"/>
                      </a:lnTo>
                      <a:lnTo>
                        <a:pt x="23" y="204"/>
                      </a:lnTo>
                      <a:lnTo>
                        <a:pt x="23" y="209"/>
                      </a:lnTo>
                      <a:lnTo>
                        <a:pt x="26" y="214"/>
                      </a:lnTo>
                      <a:lnTo>
                        <a:pt x="30" y="217"/>
                      </a:lnTo>
                      <a:lnTo>
                        <a:pt x="34" y="220"/>
                      </a:lnTo>
                      <a:lnTo>
                        <a:pt x="35" y="225"/>
                      </a:lnTo>
                      <a:lnTo>
                        <a:pt x="35" y="229"/>
                      </a:lnTo>
                      <a:lnTo>
                        <a:pt x="34" y="233"/>
                      </a:lnTo>
                      <a:lnTo>
                        <a:pt x="31" y="234"/>
                      </a:lnTo>
                      <a:lnTo>
                        <a:pt x="28" y="234"/>
                      </a:lnTo>
                      <a:lnTo>
                        <a:pt x="28" y="244"/>
                      </a:lnTo>
                      <a:lnTo>
                        <a:pt x="29" y="247"/>
                      </a:lnTo>
                      <a:lnTo>
                        <a:pt x="34" y="255"/>
                      </a:lnTo>
                      <a:lnTo>
                        <a:pt x="35" y="261"/>
                      </a:lnTo>
                      <a:lnTo>
                        <a:pt x="40" y="268"/>
                      </a:lnTo>
                      <a:lnTo>
                        <a:pt x="42" y="275"/>
                      </a:lnTo>
                      <a:lnTo>
                        <a:pt x="45" y="280"/>
                      </a:lnTo>
                      <a:lnTo>
                        <a:pt x="48" y="287"/>
                      </a:lnTo>
                      <a:lnTo>
                        <a:pt x="50" y="288"/>
                      </a:lnTo>
                      <a:lnTo>
                        <a:pt x="50" y="293"/>
                      </a:lnTo>
                      <a:lnTo>
                        <a:pt x="50" y="296"/>
                      </a:lnTo>
                      <a:lnTo>
                        <a:pt x="50" y="298"/>
                      </a:lnTo>
                      <a:lnTo>
                        <a:pt x="52" y="300"/>
                      </a:lnTo>
                      <a:lnTo>
                        <a:pt x="53" y="303"/>
                      </a:lnTo>
                      <a:lnTo>
                        <a:pt x="53" y="307"/>
                      </a:lnTo>
                      <a:lnTo>
                        <a:pt x="52" y="316"/>
                      </a:lnTo>
                      <a:lnTo>
                        <a:pt x="51" y="322"/>
                      </a:lnTo>
                      <a:lnTo>
                        <a:pt x="50" y="327"/>
                      </a:lnTo>
                      <a:lnTo>
                        <a:pt x="59" y="332"/>
                      </a:lnTo>
                      <a:lnTo>
                        <a:pt x="67" y="335"/>
                      </a:lnTo>
                      <a:lnTo>
                        <a:pt x="73" y="339"/>
                      </a:lnTo>
                      <a:lnTo>
                        <a:pt x="82" y="342"/>
                      </a:lnTo>
                      <a:lnTo>
                        <a:pt x="85" y="345"/>
                      </a:lnTo>
                      <a:lnTo>
                        <a:pt x="91" y="355"/>
                      </a:lnTo>
                      <a:lnTo>
                        <a:pt x="99" y="362"/>
                      </a:lnTo>
                      <a:lnTo>
                        <a:pt x="111" y="365"/>
                      </a:lnTo>
                      <a:lnTo>
                        <a:pt x="112" y="374"/>
                      </a:lnTo>
                      <a:lnTo>
                        <a:pt x="114" y="378"/>
                      </a:lnTo>
                      <a:lnTo>
                        <a:pt x="121" y="380"/>
                      </a:lnTo>
                      <a:lnTo>
                        <a:pt x="128" y="388"/>
                      </a:lnTo>
                      <a:lnTo>
                        <a:pt x="136" y="400"/>
                      </a:lnTo>
                      <a:lnTo>
                        <a:pt x="140" y="405"/>
                      </a:lnTo>
                      <a:lnTo>
                        <a:pt x="143" y="414"/>
                      </a:lnTo>
                      <a:lnTo>
                        <a:pt x="140" y="422"/>
                      </a:lnTo>
                      <a:lnTo>
                        <a:pt x="140" y="427"/>
                      </a:lnTo>
                      <a:lnTo>
                        <a:pt x="143" y="434"/>
                      </a:lnTo>
                      <a:lnTo>
                        <a:pt x="147" y="435"/>
                      </a:lnTo>
                      <a:lnTo>
                        <a:pt x="225" y="445"/>
                      </a:lnTo>
                      <a:lnTo>
                        <a:pt x="226" y="444"/>
                      </a:lnTo>
                      <a:lnTo>
                        <a:pt x="233" y="44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4" name="Freeform 63">
                  <a:extLst>
                    <a:ext uri="{FF2B5EF4-FFF2-40B4-BE49-F238E27FC236}">
                      <a16:creationId xmlns:a16="http://schemas.microsoft.com/office/drawing/2014/main" id="{C255AEC1-82E5-7EAF-4BCC-06588CD1625E}"/>
                    </a:ext>
                  </a:extLst>
                </p:cNvPr>
                <p:cNvSpPr>
                  <a:spLocks/>
                </p:cNvSpPr>
                <p:nvPr/>
              </p:nvSpPr>
              <p:spPr bwMode="auto">
                <a:xfrm>
                  <a:off x="6303358" y="2660630"/>
                  <a:ext cx="473890" cy="254654"/>
                </a:xfrm>
                <a:custGeom>
                  <a:avLst/>
                  <a:gdLst>
                    <a:gd name="T0" fmla="*/ 0 w 332"/>
                    <a:gd name="T1" fmla="*/ 25 h 178"/>
                    <a:gd name="T2" fmla="*/ 0 w 332"/>
                    <a:gd name="T3" fmla="*/ 28 h 178"/>
                    <a:gd name="T4" fmla="*/ 0 w 332"/>
                    <a:gd name="T5" fmla="*/ 25 h 178"/>
                    <a:gd name="T6" fmla="*/ 118 w 332"/>
                    <a:gd name="T7" fmla="*/ 32 h 178"/>
                    <a:gd name="T8" fmla="*/ 113 w 332"/>
                    <a:gd name="T9" fmla="*/ 123 h 178"/>
                    <a:gd name="T10" fmla="*/ 121 w 332"/>
                    <a:gd name="T11" fmla="*/ 131 h 178"/>
                    <a:gd name="T12" fmla="*/ 124 w 332"/>
                    <a:gd name="T13" fmla="*/ 134 h 178"/>
                    <a:gd name="T14" fmla="*/ 127 w 332"/>
                    <a:gd name="T15" fmla="*/ 134 h 178"/>
                    <a:gd name="T16" fmla="*/ 131 w 332"/>
                    <a:gd name="T17" fmla="*/ 133 h 178"/>
                    <a:gd name="T18" fmla="*/ 134 w 332"/>
                    <a:gd name="T19" fmla="*/ 134 h 178"/>
                    <a:gd name="T20" fmla="*/ 137 w 332"/>
                    <a:gd name="T21" fmla="*/ 133 h 178"/>
                    <a:gd name="T22" fmla="*/ 141 w 332"/>
                    <a:gd name="T23" fmla="*/ 135 h 178"/>
                    <a:gd name="T24" fmla="*/ 144 w 332"/>
                    <a:gd name="T25" fmla="*/ 144 h 178"/>
                    <a:gd name="T26" fmla="*/ 153 w 332"/>
                    <a:gd name="T27" fmla="*/ 144 h 178"/>
                    <a:gd name="T28" fmla="*/ 160 w 332"/>
                    <a:gd name="T29" fmla="*/ 148 h 178"/>
                    <a:gd name="T30" fmla="*/ 166 w 332"/>
                    <a:gd name="T31" fmla="*/ 147 h 178"/>
                    <a:gd name="T32" fmla="*/ 167 w 332"/>
                    <a:gd name="T33" fmla="*/ 147 h 178"/>
                    <a:gd name="T34" fmla="*/ 171 w 332"/>
                    <a:gd name="T35" fmla="*/ 151 h 178"/>
                    <a:gd name="T36" fmla="*/ 175 w 332"/>
                    <a:gd name="T37" fmla="*/ 148 h 178"/>
                    <a:gd name="T38" fmla="*/ 184 w 332"/>
                    <a:gd name="T39" fmla="*/ 149 h 178"/>
                    <a:gd name="T40" fmla="*/ 188 w 332"/>
                    <a:gd name="T41" fmla="*/ 156 h 178"/>
                    <a:gd name="T42" fmla="*/ 191 w 332"/>
                    <a:gd name="T43" fmla="*/ 156 h 178"/>
                    <a:gd name="T44" fmla="*/ 192 w 332"/>
                    <a:gd name="T45" fmla="*/ 162 h 178"/>
                    <a:gd name="T46" fmla="*/ 196 w 332"/>
                    <a:gd name="T47" fmla="*/ 163 h 178"/>
                    <a:gd name="T48" fmla="*/ 200 w 332"/>
                    <a:gd name="T49" fmla="*/ 160 h 178"/>
                    <a:gd name="T50" fmla="*/ 202 w 332"/>
                    <a:gd name="T51" fmla="*/ 157 h 178"/>
                    <a:gd name="T52" fmla="*/ 204 w 332"/>
                    <a:gd name="T53" fmla="*/ 157 h 178"/>
                    <a:gd name="T54" fmla="*/ 211 w 332"/>
                    <a:gd name="T55" fmla="*/ 162 h 178"/>
                    <a:gd name="T56" fmla="*/ 213 w 332"/>
                    <a:gd name="T57" fmla="*/ 166 h 178"/>
                    <a:gd name="T58" fmla="*/ 220 w 332"/>
                    <a:gd name="T59" fmla="*/ 162 h 178"/>
                    <a:gd name="T60" fmla="*/ 222 w 332"/>
                    <a:gd name="T61" fmla="*/ 164 h 178"/>
                    <a:gd name="T62" fmla="*/ 223 w 332"/>
                    <a:gd name="T63" fmla="*/ 170 h 178"/>
                    <a:gd name="T64" fmla="*/ 225 w 332"/>
                    <a:gd name="T65" fmla="*/ 169 h 178"/>
                    <a:gd name="T66" fmla="*/ 228 w 332"/>
                    <a:gd name="T67" fmla="*/ 164 h 178"/>
                    <a:gd name="T68" fmla="*/ 233 w 332"/>
                    <a:gd name="T69" fmla="*/ 163 h 178"/>
                    <a:gd name="T70" fmla="*/ 239 w 332"/>
                    <a:gd name="T71" fmla="*/ 166 h 178"/>
                    <a:gd name="T72" fmla="*/ 248 w 332"/>
                    <a:gd name="T73" fmla="*/ 165 h 178"/>
                    <a:gd name="T74" fmla="*/ 252 w 332"/>
                    <a:gd name="T75" fmla="*/ 169 h 178"/>
                    <a:gd name="T76" fmla="*/ 254 w 332"/>
                    <a:gd name="T77" fmla="*/ 172 h 178"/>
                    <a:gd name="T78" fmla="*/ 259 w 332"/>
                    <a:gd name="T79" fmla="*/ 171 h 178"/>
                    <a:gd name="T80" fmla="*/ 264 w 332"/>
                    <a:gd name="T81" fmla="*/ 167 h 178"/>
                    <a:gd name="T82" fmla="*/ 267 w 332"/>
                    <a:gd name="T83" fmla="*/ 164 h 178"/>
                    <a:gd name="T84" fmla="*/ 271 w 332"/>
                    <a:gd name="T85" fmla="*/ 164 h 178"/>
                    <a:gd name="T86" fmla="*/ 275 w 332"/>
                    <a:gd name="T87" fmla="*/ 166 h 178"/>
                    <a:gd name="T88" fmla="*/ 278 w 332"/>
                    <a:gd name="T89" fmla="*/ 165 h 178"/>
                    <a:gd name="T90" fmla="*/ 282 w 332"/>
                    <a:gd name="T91" fmla="*/ 162 h 178"/>
                    <a:gd name="T92" fmla="*/ 288 w 332"/>
                    <a:gd name="T93" fmla="*/ 163 h 178"/>
                    <a:gd name="T94" fmla="*/ 291 w 332"/>
                    <a:gd name="T95" fmla="*/ 164 h 178"/>
                    <a:gd name="T96" fmla="*/ 300 w 332"/>
                    <a:gd name="T97" fmla="*/ 161 h 178"/>
                    <a:gd name="T98" fmla="*/ 306 w 332"/>
                    <a:gd name="T99" fmla="*/ 163 h 178"/>
                    <a:gd name="T100" fmla="*/ 311 w 332"/>
                    <a:gd name="T101" fmla="*/ 168 h 178"/>
                    <a:gd name="T102" fmla="*/ 318 w 332"/>
                    <a:gd name="T103" fmla="*/ 173 h 178"/>
                    <a:gd name="T104" fmla="*/ 324 w 332"/>
                    <a:gd name="T105" fmla="*/ 173 h 178"/>
                    <a:gd name="T106" fmla="*/ 328 w 332"/>
                    <a:gd name="T107" fmla="*/ 176 h 178"/>
                    <a:gd name="T108" fmla="*/ 331 w 332"/>
                    <a:gd name="T109" fmla="*/ 178 h 178"/>
                    <a:gd name="T110" fmla="*/ 332 w 332"/>
                    <a:gd name="T111" fmla="*/ 88 h 178"/>
                    <a:gd name="T112" fmla="*/ 324 w 332"/>
                    <a:gd name="T113" fmla="*/ 37 h 178"/>
                    <a:gd name="T114" fmla="*/ 324 w 332"/>
                    <a:gd name="T115" fmla="*/ 12 h 178"/>
                    <a:gd name="T116" fmla="*/ 175 w 332"/>
                    <a:gd name="T117" fmla="*/ 9 h 178"/>
                    <a:gd name="T118" fmla="*/ 4 w 332"/>
                    <a:gd name="T119" fmla="*/ 0 h 178"/>
                    <a:gd name="T120" fmla="*/ 3 w 332"/>
                    <a:gd name="T121" fmla="*/ 25 h 178"/>
                    <a:gd name="T122" fmla="*/ 0 w 332"/>
                    <a:gd name="T123" fmla="*/ 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178">
                      <a:moveTo>
                        <a:pt x="0" y="25"/>
                      </a:moveTo>
                      <a:cubicBezTo>
                        <a:pt x="0" y="28"/>
                        <a:pt x="0" y="28"/>
                        <a:pt x="0" y="28"/>
                      </a:cubicBezTo>
                      <a:cubicBezTo>
                        <a:pt x="0" y="25"/>
                        <a:pt x="0" y="25"/>
                        <a:pt x="0" y="25"/>
                      </a:cubicBezTo>
                      <a:cubicBezTo>
                        <a:pt x="118" y="32"/>
                        <a:pt x="118" y="32"/>
                        <a:pt x="118" y="32"/>
                      </a:cubicBezTo>
                      <a:cubicBezTo>
                        <a:pt x="113" y="123"/>
                        <a:pt x="113" y="123"/>
                        <a:pt x="113" y="123"/>
                      </a:cubicBezTo>
                      <a:cubicBezTo>
                        <a:pt x="121" y="131"/>
                        <a:pt x="121" y="131"/>
                        <a:pt x="121" y="131"/>
                      </a:cubicBezTo>
                      <a:cubicBezTo>
                        <a:pt x="124" y="134"/>
                        <a:pt x="124" y="134"/>
                        <a:pt x="124" y="134"/>
                      </a:cubicBezTo>
                      <a:cubicBezTo>
                        <a:pt x="127" y="134"/>
                        <a:pt x="127" y="134"/>
                        <a:pt x="127" y="134"/>
                      </a:cubicBezTo>
                      <a:cubicBezTo>
                        <a:pt x="131" y="133"/>
                        <a:pt x="131" y="133"/>
                        <a:pt x="131" y="133"/>
                      </a:cubicBezTo>
                      <a:cubicBezTo>
                        <a:pt x="134" y="134"/>
                        <a:pt x="134" y="134"/>
                        <a:pt x="134" y="134"/>
                      </a:cubicBezTo>
                      <a:cubicBezTo>
                        <a:pt x="137" y="133"/>
                        <a:pt x="137" y="133"/>
                        <a:pt x="137" y="133"/>
                      </a:cubicBezTo>
                      <a:cubicBezTo>
                        <a:pt x="141" y="135"/>
                        <a:pt x="141" y="135"/>
                        <a:pt x="141" y="135"/>
                      </a:cubicBezTo>
                      <a:cubicBezTo>
                        <a:pt x="144" y="144"/>
                        <a:pt x="144" y="144"/>
                        <a:pt x="144" y="144"/>
                      </a:cubicBezTo>
                      <a:cubicBezTo>
                        <a:pt x="153" y="144"/>
                        <a:pt x="153" y="144"/>
                        <a:pt x="153" y="144"/>
                      </a:cubicBezTo>
                      <a:cubicBezTo>
                        <a:pt x="160" y="148"/>
                        <a:pt x="160" y="148"/>
                        <a:pt x="160" y="148"/>
                      </a:cubicBezTo>
                      <a:cubicBezTo>
                        <a:pt x="166" y="147"/>
                        <a:pt x="166" y="147"/>
                        <a:pt x="166" y="147"/>
                      </a:cubicBezTo>
                      <a:cubicBezTo>
                        <a:pt x="167" y="147"/>
                        <a:pt x="167" y="147"/>
                        <a:pt x="167" y="147"/>
                      </a:cubicBezTo>
                      <a:cubicBezTo>
                        <a:pt x="171" y="151"/>
                        <a:pt x="171" y="151"/>
                        <a:pt x="171" y="151"/>
                      </a:cubicBezTo>
                      <a:cubicBezTo>
                        <a:pt x="175" y="148"/>
                        <a:pt x="175" y="148"/>
                        <a:pt x="175" y="148"/>
                      </a:cubicBezTo>
                      <a:cubicBezTo>
                        <a:pt x="184" y="149"/>
                        <a:pt x="184" y="149"/>
                        <a:pt x="184" y="149"/>
                      </a:cubicBezTo>
                      <a:cubicBezTo>
                        <a:pt x="188" y="156"/>
                        <a:pt x="188" y="156"/>
                        <a:pt x="188" y="156"/>
                      </a:cubicBezTo>
                      <a:cubicBezTo>
                        <a:pt x="191" y="156"/>
                        <a:pt x="191" y="156"/>
                        <a:pt x="191" y="156"/>
                      </a:cubicBezTo>
                      <a:cubicBezTo>
                        <a:pt x="192" y="162"/>
                        <a:pt x="192" y="162"/>
                        <a:pt x="192" y="162"/>
                      </a:cubicBezTo>
                      <a:cubicBezTo>
                        <a:pt x="196" y="163"/>
                        <a:pt x="196" y="163"/>
                        <a:pt x="196" y="163"/>
                      </a:cubicBezTo>
                      <a:cubicBezTo>
                        <a:pt x="200" y="160"/>
                        <a:pt x="200" y="160"/>
                        <a:pt x="200" y="160"/>
                      </a:cubicBezTo>
                      <a:cubicBezTo>
                        <a:pt x="202" y="157"/>
                        <a:pt x="202" y="157"/>
                        <a:pt x="202" y="157"/>
                      </a:cubicBezTo>
                      <a:cubicBezTo>
                        <a:pt x="204" y="157"/>
                        <a:pt x="204" y="157"/>
                        <a:pt x="204" y="157"/>
                      </a:cubicBezTo>
                      <a:cubicBezTo>
                        <a:pt x="211" y="162"/>
                        <a:pt x="211" y="162"/>
                        <a:pt x="211" y="162"/>
                      </a:cubicBezTo>
                      <a:cubicBezTo>
                        <a:pt x="213" y="166"/>
                        <a:pt x="213" y="166"/>
                        <a:pt x="213" y="166"/>
                      </a:cubicBezTo>
                      <a:cubicBezTo>
                        <a:pt x="220" y="162"/>
                        <a:pt x="220" y="162"/>
                        <a:pt x="220" y="162"/>
                      </a:cubicBezTo>
                      <a:cubicBezTo>
                        <a:pt x="222" y="164"/>
                        <a:pt x="222" y="164"/>
                        <a:pt x="222" y="164"/>
                      </a:cubicBezTo>
                      <a:cubicBezTo>
                        <a:pt x="223" y="170"/>
                        <a:pt x="223" y="170"/>
                        <a:pt x="223" y="170"/>
                      </a:cubicBezTo>
                      <a:cubicBezTo>
                        <a:pt x="225" y="169"/>
                        <a:pt x="225" y="169"/>
                        <a:pt x="225" y="169"/>
                      </a:cubicBezTo>
                      <a:cubicBezTo>
                        <a:pt x="228" y="164"/>
                        <a:pt x="228" y="164"/>
                        <a:pt x="228" y="164"/>
                      </a:cubicBezTo>
                      <a:cubicBezTo>
                        <a:pt x="233" y="163"/>
                        <a:pt x="233" y="163"/>
                        <a:pt x="233" y="163"/>
                      </a:cubicBezTo>
                      <a:cubicBezTo>
                        <a:pt x="239" y="166"/>
                        <a:pt x="239" y="166"/>
                        <a:pt x="239" y="166"/>
                      </a:cubicBezTo>
                      <a:cubicBezTo>
                        <a:pt x="248" y="165"/>
                        <a:pt x="248" y="165"/>
                        <a:pt x="248" y="165"/>
                      </a:cubicBezTo>
                      <a:cubicBezTo>
                        <a:pt x="252" y="169"/>
                        <a:pt x="252" y="169"/>
                        <a:pt x="252" y="169"/>
                      </a:cubicBezTo>
                      <a:cubicBezTo>
                        <a:pt x="254" y="172"/>
                        <a:pt x="254" y="172"/>
                        <a:pt x="254" y="172"/>
                      </a:cubicBezTo>
                      <a:cubicBezTo>
                        <a:pt x="259" y="171"/>
                        <a:pt x="259" y="171"/>
                        <a:pt x="259" y="171"/>
                      </a:cubicBezTo>
                      <a:cubicBezTo>
                        <a:pt x="264" y="167"/>
                        <a:pt x="264" y="167"/>
                        <a:pt x="264" y="167"/>
                      </a:cubicBezTo>
                      <a:cubicBezTo>
                        <a:pt x="267" y="164"/>
                        <a:pt x="267" y="164"/>
                        <a:pt x="267" y="164"/>
                      </a:cubicBezTo>
                      <a:cubicBezTo>
                        <a:pt x="271" y="164"/>
                        <a:pt x="271" y="164"/>
                        <a:pt x="271" y="164"/>
                      </a:cubicBezTo>
                      <a:cubicBezTo>
                        <a:pt x="275" y="166"/>
                        <a:pt x="275" y="166"/>
                        <a:pt x="275" y="166"/>
                      </a:cubicBezTo>
                      <a:cubicBezTo>
                        <a:pt x="278" y="165"/>
                        <a:pt x="278" y="165"/>
                        <a:pt x="278" y="165"/>
                      </a:cubicBezTo>
                      <a:cubicBezTo>
                        <a:pt x="282" y="162"/>
                        <a:pt x="282" y="162"/>
                        <a:pt x="282" y="162"/>
                      </a:cubicBezTo>
                      <a:cubicBezTo>
                        <a:pt x="288" y="163"/>
                        <a:pt x="288" y="163"/>
                        <a:pt x="288" y="163"/>
                      </a:cubicBezTo>
                      <a:cubicBezTo>
                        <a:pt x="291" y="164"/>
                        <a:pt x="291" y="164"/>
                        <a:pt x="291" y="164"/>
                      </a:cubicBezTo>
                      <a:cubicBezTo>
                        <a:pt x="300" y="161"/>
                        <a:pt x="300" y="161"/>
                        <a:pt x="300" y="161"/>
                      </a:cubicBezTo>
                      <a:cubicBezTo>
                        <a:pt x="306" y="163"/>
                        <a:pt x="306" y="163"/>
                        <a:pt x="306" y="163"/>
                      </a:cubicBezTo>
                      <a:cubicBezTo>
                        <a:pt x="311" y="168"/>
                        <a:pt x="311" y="168"/>
                        <a:pt x="311" y="168"/>
                      </a:cubicBezTo>
                      <a:cubicBezTo>
                        <a:pt x="318" y="173"/>
                        <a:pt x="318" y="173"/>
                        <a:pt x="318" y="173"/>
                      </a:cubicBezTo>
                      <a:cubicBezTo>
                        <a:pt x="324" y="173"/>
                        <a:pt x="324" y="173"/>
                        <a:pt x="324" y="173"/>
                      </a:cubicBezTo>
                      <a:cubicBezTo>
                        <a:pt x="328" y="176"/>
                        <a:pt x="328" y="176"/>
                        <a:pt x="328" y="176"/>
                      </a:cubicBezTo>
                      <a:cubicBezTo>
                        <a:pt x="331" y="178"/>
                        <a:pt x="331" y="178"/>
                        <a:pt x="331" y="178"/>
                      </a:cubicBezTo>
                      <a:cubicBezTo>
                        <a:pt x="332" y="88"/>
                        <a:pt x="332" y="88"/>
                        <a:pt x="332" y="88"/>
                      </a:cubicBezTo>
                      <a:cubicBezTo>
                        <a:pt x="324" y="37"/>
                        <a:pt x="324" y="37"/>
                        <a:pt x="324" y="37"/>
                      </a:cubicBezTo>
                      <a:cubicBezTo>
                        <a:pt x="324" y="12"/>
                        <a:pt x="324" y="12"/>
                        <a:pt x="324" y="12"/>
                      </a:cubicBezTo>
                      <a:cubicBezTo>
                        <a:pt x="324" y="12"/>
                        <a:pt x="211" y="10"/>
                        <a:pt x="175" y="9"/>
                      </a:cubicBezTo>
                      <a:cubicBezTo>
                        <a:pt x="131" y="7"/>
                        <a:pt x="4" y="0"/>
                        <a:pt x="4" y="0"/>
                      </a:cubicBezTo>
                      <a:cubicBezTo>
                        <a:pt x="3" y="25"/>
                        <a:pt x="3" y="25"/>
                        <a:pt x="3" y="25"/>
                      </a:cubicBezTo>
                      <a:lnTo>
                        <a:pt x="0" y="2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5" name="Freeform 64">
                  <a:extLst>
                    <a:ext uri="{FF2B5EF4-FFF2-40B4-BE49-F238E27FC236}">
                      <a16:creationId xmlns:a16="http://schemas.microsoft.com/office/drawing/2014/main" id="{CE31A716-69B9-FE2A-F946-F9C39968ED16}"/>
                    </a:ext>
                  </a:extLst>
                </p:cNvPr>
                <p:cNvSpPr>
                  <a:spLocks/>
                </p:cNvSpPr>
                <p:nvPr/>
              </p:nvSpPr>
              <p:spPr bwMode="auto">
                <a:xfrm>
                  <a:off x="6364070" y="2454884"/>
                  <a:ext cx="401373" cy="222611"/>
                </a:xfrm>
                <a:custGeom>
                  <a:avLst/>
                  <a:gdLst>
                    <a:gd name="T0" fmla="*/ 282 w 282"/>
                    <a:gd name="T1" fmla="*/ 156 h 156"/>
                    <a:gd name="T2" fmla="*/ 282 w 282"/>
                    <a:gd name="T3" fmla="*/ 52 h 156"/>
                    <a:gd name="T4" fmla="*/ 276 w 282"/>
                    <a:gd name="T5" fmla="*/ 49 h 156"/>
                    <a:gd name="T6" fmla="*/ 273 w 282"/>
                    <a:gd name="T7" fmla="*/ 47 h 156"/>
                    <a:gd name="T8" fmla="*/ 271 w 282"/>
                    <a:gd name="T9" fmla="*/ 41 h 156"/>
                    <a:gd name="T10" fmla="*/ 265 w 282"/>
                    <a:gd name="T11" fmla="*/ 35 h 156"/>
                    <a:gd name="T12" fmla="*/ 268 w 282"/>
                    <a:gd name="T13" fmla="*/ 30 h 156"/>
                    <a:gd name="T14" fmla="*/ 271 w 282"/>
                    <a:gd name="T15" fmla="*/ 24 h 156"/>
                    <a:gd name="T16" fmla="*/ 271 w 282"/>
                    <a:gd name="T17" fmla="*/ 19 h 156"/>
                    <a:gd name="T18" fmla="*/ 269 w 282"/>
                    <a:gd name="T19" fmla="*/ 19 h 156"/>
                    <a:gd name="T20" fmla="*/ 260 w 282"/>
                    <a:gd name="T21" fmla="*/ 19 h 156"/>
                    <a:gd name="T22" fmla="*/ 258 w 282"/>
                    <a:gd name="T23" fmla="*/ 15 h 156"/>
                    <a:gd name="T24" fmla="*/ 254 w 282"/>
                    <a:gd name="T25" fmla="*/ 9 h 156"/>
                    <a:gd name="T26" fmla="*/ 165 w 282"/>
                    <a:gd name="T27" fmla="*/ 6 h 156"/>
                    <a:gd name="T28" fmla="*/ 10 w 282"/>
                    <a:gd name="T29" fmla="*/ 0 h 156"/>
                    <a:gd name="T30" fmla="*/ 0 w 282"/>
                    <a:gd name="T31" fmla="*/ 146 h 156"/>
                    <a:gd name="T32" fmla="*/ 133 w 282"/>
                    <a:gd name="T33" fmla="*/ 153 h 156"/>
                    <a:gd name="T34" fmla="*/ 282 w 282"/>
                    <a:gd name="T3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156">
                      <a:moveTo>
                        <a:pt x="282" y="156"/>
                      </a:moveTo>
                      <a:cubicBezTo>
                        <a:pt x="282" y="52"/>
                        <a:pt x="282" y="52"/>
                        <a:pt x="282" y="52"/>
                      </a:cubicBezTo>
                      <a:cubicBezTo>
                        <a:pt x="276" y="49"/>
                        <a:pt x="276" y="49"/>
                        <a:pt x="276" y="49"/>
                      </a:cubicBezTo>
                      <a:cubicBezTo>
                        <a:pt x="273" y="47"/>
                        <a:pt x="273" y="47"/>
                        <a:pt x="273" y="47"/>
                      </a:cubicBezTo>
                      <a:cubicBezTo>
                        <a:pt x="271" y="41"/>
                        <a:pt x="271" y="41"/>
                        <a:pt x="271" y="41"/>
                      </a:cubicBezTo>
                      <a:cubicBezTo>
                        <a:pt x="265" y="35"/>
                        <a:pt x="265" y="35"/>
                        <a:pt x="265" y="35"/>
                      </a:cubicBezTo>
                      <a:cubicBezTo>
                        <a:pt x="268" y="30"/>
                        <a:pt x="268" y="30"/>
                        <a:pt x="268" y="30"/>
                      </a:cubicBezTo>
                      <a:cubicBezTo>
                        <a:pt x="271" y="24"/>
                        <a:pt x="271" y="24"/>
                        <a:pt x="271" y="24"/>
                      </a:cubicBezTo>
                      <a:cubicBezTo>
                        <a:pt x="271" y="19"/>
                        <a:pt x="271" y="19"/>
                        <a:pt x="271" y="19"/>
                      </a:cubicBezTo>
                      <a:cubicBezTo>
                        <a:pt x="269" y="19"/>
                        <a:pt x="269" y="19"/>
                        <a:pt x="269" y="19"/>
                      </a:cubicBezTo>
                      <a:cubicBezTo>
                        <a:pt x="260" y="19"/>
                        <a:pt x="260" y="19"/>
                        <a:pt x="260" y="19"/>
                      </a:cubicBezTo>
                      <a:cubicBezTo>
                        <a:pt x="258" y="15"/>
                        <a:pt x="258" y="15"/>
                        <a:pt x="258" y="15"/>
                      </a:cubicBezTo>
                      <a:cubicBezTo>
                        <a:pt x="254" y="9"/>
                        <a:pt x="254" y="9"/>
                        <a:pt x="254" y="9"/>
                      </a:cubicBezTo>
                      <a:cubicBezTo>
                        <a:pt x="254" y="9"/>
                        <a:pt x="187" y="7"/>
                        <a:pt x="165" y="6"/>
                      </a:cubicBezTo>
                      <a:cubicBezTo>
                        <a:pt x="126" y="5"/>
                        <a:pt x="10" y="0"/>
                        <a:pt x="10" y="0"/>
                      </a:cubicBezTo>
                      <a:cubicBezTo>
                        <a:pt x="0" y="146"/>
                        <a:pt x="0" y="146"/>
                        <a:pt x="0" y="146"/>
                      </a:cubicBezTo>
                      <a:cubicBezTo>
                        <a:pt x="41" y="148"/>
                        <a:pt x="104" y="151"/>
                        <a:pt x="133" y="153"/>
                      </a:cubicBezTo>
                      <a:cubicBezTo>
                        <a:pt x="169" y="154"/>
                        <a:pt x="282" y="156"/>
                        <a:pt x="282" y="156"/>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6" name="Freeform 65">
                  <a:extLst>
                    <a:ext uri="{FF2B5EF4-FFF2-40B4-BE49-F238E27FC236}">
                      <a16:creationId xmlns:a16="http://schemas.microsoft.com/office/drawing/2014/main" id="{276A2770-A786-27CD-6D89-06217A0B121B}"/>
                    </a:ext>
                  </a:extLst>
                </p:cNvPr>
                <p:cNvSpPr>
                  <a:spLocks/>
                </p:cNvSpPr>
                <p:nvPr/>
              </p:nvSpPr>
              <p:spPr bwMode="auto">
                <a:xfrm>
                  <a:off x="6279748" y="2242392"/>
                  <a:ext cx="446907" cy="225984"/>
                </a:xfrm>
                <a:custGeom>
                  <a:avLst/>
                  <a:gdLst>
                    <a:gd name="T0" fmla="*/ 313 w 313"/>
                    <a:gd name="T1" fmla="*/ 158 h 158"/>
                    <a:gd name="T2" fmla="*/ 313 w 313"/>
                    <a:gd name="T3" fmla="*/ 158 h 158"/>
                    <a:gd name="T4" fmla="*/ 313 w 313"/>
                    <a:gd name="T5" fmla="*/ 158 h 158"/>
                    <a:gd name="T6" fmla="*/ 311 w 313"/>
                    <a:gd name="T7" fmla="*/ 154 h 158"/>
                    <a:gd name="T8" fmla="*/ 310 w 313"/>
                    <a:gd name="T9" fmla="*/ 148 h 158"/>
                    <a:gd name="T10" fmla="*/ 304 w 313"/>
                    <a:gd name="T11" fmla="*/ 146 h 158"/>
                    <a:gd name="T12" fmla="*/ 304 w 313"/>
                    <a:gd name="T13" fmla="*/ 145 h 158"/>
                    <a:gd name="T14" fmla="*/ 302 w 313"/>
                    <a:gd name="T15" fmla="*/ 142 h 158"/>
                    <a:gd name="T16" fmla="*/ 304 w 313"/>
                    <a:gd name="T17" fmla="*/ 140 h 158"/>
                    <a:gd name="T18" fmla="*/ 303 w 313"/>
                    <a:gd name="T19" fmla="*/ 135 h 158"/>
                    <a:gd name="T20" fmla="*/ 300 w 313"/>
                    <a:gd name="T21" fmla="*/ 133 h 158"/>
                    <a:gd name="T22" fmla="*/ 299 w 313"/>
                    <a:gd name="T23" fmla="*/ 130 h 158"/>
                    <a:gd name="T24" fmla="*/ 297 w 313"/>
                    <a:gd name="T25" fmla="*/ 123 h 158"/>
                    <a:gd name="T26" fmla="*/ 297 w 313"/>
                    <a:gd name="T27" fmla="*/ 113 h 158"/>
                    <a:gd name="T28" fmla="*/ 296 w 313"/>
                    <a:gd name="T29" fmla="*/ 111 h 158"/>
                    <a:gd name="T30" fmla="*/ 294 w 313"/>
                    <a:gd name="T31" fmla="*/ 108 h 158"/>
                    <a:gd name="T32" fmla="*/ 295 w 313"/>
                    <a:gd name="T33" fmla="*/ 104 h 158"/>
                    <a:gd name="T34" fmla="*/ 295 w 313"/>
                    <a:gd name="T35" fmla="*/ 94 h 158"/>
                    <a:gd name="T36" fmla="*/ 293 w 313"/>
                    <a:gd name="T37" fmla="*/ 87 h 158"/>
                    <a:gd name="T38" fmla="*/ 291 w 313"/>
                    <a:gd name="T39" fmla="*/ 85 h 158"/>
                    <a:gd name="T40" fmla="*/ 289 w 313"/>
                    <a:gd name="T41" fmla="*/ 85 h 158"/>
                    <a:gd name="T42" fmla="*/ 288 w 313"/>
                    <a:gd name="T43" fmla="*/ 83 h 158"/>
                    <a:gd name="T44" fmla="*/ 287 w 313"/>
                    <a:gd name="T45" fmla="*/ 78 h 158"/>
                    <a:gd name="T46" fmla="*/ 286 w 313"/>
                    <a:gd name="T47" fmla="*/ 74 h 158"/>
                    <a:gd name="T48" fmla="*/ 289 w 313"/>
                    <a:gd name="T49" fmla="*/ 73 h 158"/>
                    <a:gd name="T50" fmla="*/ 289 w 313"/>
                    <a:gd name="T51" fmla="*/ 72 h 158"/>
                    <a:gd name="T52" fmla="*/ 288 w 313"/>
                    <a:gd name="T53" fmla="*/ 71 h 158"/>
                    <a:gd name="T54" fmla="*/ 287 w 313"/>
                    <a:gd name="T55" fmla="*/ 68 h 158"/>
                    <a:gd name="T56" fmla="*/ 285 w 313"/>
                    <a:gd name="T57" fmla="*/ 65 h 158"/>
                    <a:gd name="T58" fmla="*/ 283 w 313"/>
                    <a:gd name="T59" fmla="*/ 60 h 158"/>
                    <a:gd name="T60" fmla="*/ 281 w 313"/>
                    <a:gd name="T61" fmla="*/ 54 h 158"/>
                    <a:gd name="T62" fmla="*/ 278 w 313"/>
                    <a:gd name="T63" fmla="*/ 49 h 158"/>
                    <a:gd name="T64" fmla="*/ 275 w 313"/>
                    <a:gd name="T65" fmla="*/ 40 h 158"/>
                    <a:gd name="T66" fmla="*/ 272 w 313"/>
                    <a:gd name="T67" fmla="*/ 36 h 158"/>
                    <a:gd name="T68" fmla="*/ 271 w 313"/>
                    <a:gd name="T69" fmla="*/ 35 h 158"/>
                    <a:gd name="T70" fmla="*/ 267 w 313"/>
                    <a:gd name="T71" fmla="*/ 32 h 158"/>
                    <a:gd name="T72" fmla="*/ 260 w 313"/>
                    <a:gd name="T73" fmla="*/ 27 h 158"/>
                    <a:gd name="T74" fmla="*/ 255 w 313"/>
                    <a:gd name="T75" fmla="*/ 25 h 158"/>
                    <a:gd name="T76" fmla="*/ 250 w 313"/>
                    <a:gd name="T77" fmla="*/ 23 h 158"/>
                    <a:gd name="T78" fmla="*/ 246 w 313"/>
                    <a:gd name="T79" fmla="*/ 19 h 158"/>
                    <a:gd name="T80" fmla="*/ 239 w 313"/>
                    <a:gd name="T81" fmla="*/ 18 h 158"/>
                    <a:gd name="T82" fmla="*/ 230 w 313"/>
                    <a:gd name="T83" fmla="*/ 19 h 158"/>
                    <a:gd name="T84" fmla="*/ 227 w 313"/>
                    <a:gd name="T85" fmla="*/ 19 h 158"/>
                    <a:gd name="T86" fmla="*/ 224 w 313"/>
                    <a:gd name="T87" fmla="*/ 20 h 158"/>
                    <a:gd name="T88" fmla="*/ 222 w 313"/>
                    <a:gd name="T89" fmla="*/ 22 h 158"/>
                    <a:gd name="T90" fmla="*/ 219 w 313"/>
                    <a:gd name="T91" fmla="*/ 21 h 158"/>
                    <a:gd name="T92" fmla="*/ 216 w 313"/>
                    <a:gd name="T93" fmla="*/ 19 h 158"/>
                    <a:gd name="T94" fmla="*/ 210 w 313"/>
                    <a:gd name="T95" fmla="*/ 16 h 158"/>
                    <a:gd name="T96" fmla="*/ 202 w 313"/>
                    <a:gd name="T97" fmla="*/ 12 h 158"/>
                    <a:gd name="T98" fmla="*/ 10 w 313"/>
                    <a:gd name="T99" fmla="*/ 0 h 158"/>
                    <a:gd name="T100" fmla="*/ 0 w 313"/>
                    <a:gd name="T101" fmla="*/ 95 h 158"/>
                    <a:gd name="T102" fmla="*/ 73 w 313"/>
                    <a:gd name="T103" fmla="*/ 102 h 158"/>
                    <a:gd name="T104" fmla="*/ 69 w 313"/>
                    <a:gd name="T105" fmla="*/ 149 h 158"/>
                    <a:gd name="T106" fmla="*/ 69 w 313"/>
                    <a:gd name="T107" fmla="*/ 149 h 158"/>
                    <a:gd name="T108" fmla="*/ 224 w 313"/>
                    <a:gd name="T109" fmla="*/ 155 h 158"/>
                    <a:gd name="T110" fmla="*/ 313 w 313"/>
                    <a:gd name="T11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158">
                      <a:moveTo>
                        <a:pt x="313" y="158"/>
                      </a:moveTo>
                      <a:cubicBezTo>
                        <a:pt x="313" y="158"/>
                        <a:pt x="313" y="158"/>
                        <a:pt x="313" y="158"/>
                      </a:cubicBezTo>
                      <a:cubicBezTo>
                        <a:pt x="313" y="158"/>
                        <a:pt x="313" y="158"/>
                        <a:pt x="313" y="158"/>
                      </a:cubicBezTo>
                      <a:cubicBezTo>
                        <a:pt x="311" y="154"/>
                        <a:pt x="311" y="154"/>
                        <a:pt x="311" y="154"/>
                      </a:cubicBezTo>
                      <a:cubicBezTo>
                        <a:pt x="310" y="148"/>
                        <a:pt x="310" y="148"/>
                        <a:pt x="310" y="148"/>
                      </a:cubicBezTo>
                      <a:cubicBezTo>
                        <a:pt x="310" y="148"/>
                        <a:pt x="305" y="147"/>
                        <a:pt x="304" y="146"/>
                      </a:cubicBezTo>
                      <a:cubicBezTo>
                        <a:pt x="303" y="145"/>
                        <a:pt x="304" y="145"/>
                        <a:pt x="304" y="145"/>
                      </a:cubicBezTo>
                      <a:cubicBezTo>
                        <a:pt x="302" y="142"/>
                        <a:pt x="302" y="142"/>
                        <a:pt x="302" y="142"/>
                      </a:cubicBezTo>
                      <a:cubicBezTo>
                        <a:pt x="304" y="140"/>
                        <a:pt x="304" y="140"/>
                        <a:pt x="304" y="140"/>
                      </a:cubicBezTo>
                      <a:cubicBezTo>
                        <a:pt x="303" y="135"/>
                        <a:pt x="303" y="135"/>
                        <a:pt x="303" y="135"/>
                      </a:cubicBezTo>
                      <a:cubicBezTo>
                        <a:pt x="300" y="133"/>
                        <a:pt x="300" y="133"/>
                        <a:pt x="300" y="133"/>
                      </a:cubicBezTo>
                      <a:cubicBezTo>
                        <a:pt x="299" y="130"/>
                        <a:pt x="299" y="130"/>
                        <a:pt x="299" y="130"/>
                      </a:cubicBezTo>
                      <a:cubicBezTo>
                        <a:pt x="297" y="123"/>
                        <a:pt x="297" y="123"/>
                        <a:pt x="297" y="123"/>
                      </a:cubicBezTo>
                      <a:cubicBezTo>
                        <a:pt x="297" y="113"/>
                        <a:pt x="297" y="113"/>
                        <a:pt x="297" y="113"/>
                      </a:cubicBezTo>
                      <a:cubicBezTo>
                        <a:pt x="296" y="111"/>
                        <a:pt x="296" y="111"/>
                        <a:pt x="296" y="111"/>
                      </a:cubicBezTo>
                      <a:cubicBezTo>
                        <a:pt x="294" y="108"/>
                        <a:pt x="294" y="108"/>
                        <a:pt x="294" y="108"/>
                      </a:cubicBezTo>
                      <a:cubicBezTo>
                        <a:pt x="295" y="104"/>
                        <a:pt x="295" y="104"/>
                        <a:pt x="295" y="104"/>
                      </a:cubicBezTo>
                      <a:cubicBezTo>
                        <a:pt x="295" y="94"/>
                        <a:pt x="295" y="94"/>
                        <a:pt x="295" y="94"/>
                      </a:cubicBezTo>
                      <a:cubicBezTo>
                        <a:pt x="293" y="87"/>
                        <a:pt x="293" y="87"/>
                        <a:pt x="293" y="87"/>
                      </a:cubicBezTo>
                      <a:cubicBezTo>
                        <a:pt x="291" y="85"/>
                        <a:pt x="291" y="85"/>
                        <a:pt x="291" y="85"/>
                      </a:cubicBezTo>
                      <a:cubicBezTo>
                        <a:pt x="289" y="85"/>
                        <a:pt x="289" y="85"/>
                        <a:pt x="289" y="85"/>
                      </a:cubicBezTo>
                      <a:cubicBezTo>
                        <a:pt x="288" y="83"/>
                        <a:pt x="288" y="83"/>
                        <a:pt x="288" y="83"/>
                      </a:cubicBezTo>
                      <a:cubicBezTo>
                        <a:pt x="287" y="78"/>
                        <a:pt x="287" y="78"/>
                        <a:pt x="287" y="78"/>
                      </a:cubicBezTo>
                      <a:cubicBezTo>
                        <a:pt x="286" y="74"/>
                        <a:pt x="286" y="74"/>
                        <a:pt x="286" y="74"/>
                      </a:cubicBezTo>
                      <a:cubicBezTo>
                        <a:pt x="289" y="73"/>
                        <a:pt x="289" y="73"/>
                        <a:pt x="289" y="73"/>
                      </a:cubicBezTo>
                      <a:cubicBezTo>
                        <a:pt x="289" y="72"/>
                        <a:pt x="289" y="72"/>
                        <a:pt x="289" y="72"/>
                      </a:cubicBezTo>
                      <a:cubicBezTo>
                        <a:pt x="288" y="71"/>
                        <a:pt x="288" y="71"/>
                        <a:pt x="288" y="71"/>
                      </a:cubicBezTo>
                      <a:cubicBezTo>
                        <a:pt x="287" y="68"/>
                        <a:pt x="287" y="68"/>
                        <a:pt x="287" y="68"/>
                      </a:cubicBezTo>
                      <a:cubicBezTo>
                        <a:pt x="285" y="65"/>
                        <a:pt x="285" y="65"/>
                        <a:pt x="285" y="65"/>
                      </a:cubicBezTo>
                      <a:cubicBezTo>
                        <a:pt x="283" y="60"/>
                        <a:pt x="283" y="60"/>
                        <a:pt x="283" y="60"/>
                      </a:cubicBezTo>
                      <a:cubicBezTo>
                        <a:pt x="281" y="54"/>
                        <a:pt x="281" y="54"/>
                        <a:pt x="281" y="54"/>
                      </a:cubicBezTo>
                      <a:cubicBezTo>
                        <a:pt x="278" y="49"/>
                        <a:pt x="278" y="49"/>
                        <a:pt x="278" y="49"/>
                      </a:cubicBezTo>
                      <a:cubicBezTo>
                        <a:pt x="275" y="40"/>
                        <a:pt x="275" y="40"/>
                        <a:pt x="275" y="40"/>
                      </a:cubicBezTo>
                      <a:cubicBezTo>
                        <a:pt x="272" y="36"/>
                        <a:pt x="272" y="36"/>
                        <a:pt x="272" y="36"/>
                      </a:cubicBezTo>
                      <a:cubicBezTo>
                        <a:pt x="271" y="35"/>
                        <a:pt x="271" y="35"/>
                        <a:pt x="271" y="35"/>
                      </a:cubicBezTo>
                      <a:cubicBezTo>
                        <a:pt x="267" y="32"/>
                        <a:pt x="267" y="32"/>
                        <a:pt x="267" y="32"/>
                      </a:cubicBezTo>
                      <a:cubicBezTo>
                        <a:pt x="260" y="27"/>
                        <a:pt x="260" y="27"/>
                        <a:pt x="260" y="27"/>
                      </a:cubicBezTo>
                      <a:cubicBezTo>
                        <a:pt x="255" y="25"/>
                        <a:pt x="255" y="25"/>
                        <a:pt x="255" y="25"/>
                      </a:cubicBezTo>
                      <a:cubicBezTo>
                        <a:pt x="250" y="23"/>
                        <a:pt x="250" y="23"/>
                        <a:pt x="250" y="23"/>
                      </a:cubicBezTo>
                      <a:cubicBezTo>
                        <a:pt x="246" y="19"/>
                        <a:pt x="246" y="19"/>
                        <a:pt x="246" y="19"/>
                      </a:cubicBezTo>
                      <a:cubicBezTo>
                        <a:pt x="239" y="18"/>
                        <a:pt x="239" y="18"/>
                        <a:pt x="239" y="18"/>
                      </a:cubicBezTo>
                      <a:cubicBezTo>
                        <a:pt x="230" y="19"/>
                        <a:pt x="230" y="19"/>
                        <a:pt x="230" y="19"/>
                      </a:cubicBezTo>
                      <a:cubicBezTo>
                        <a:pt x="227" y="19"/>
                        <a:pt x="227" y="19"/>
                        <a:pt x="227" y="19"/>
                      </a:cubicBezTo>
                      <a:cubicBezTo>
                        <a:pt x="224" y="20"/>
                        <a:pt x="224" y="20"/>
                        <a:pt x="224" y="20"/>
                      </a:cubicBezTo>
                      <a:cubicBezTo>
                        <a:pt x="222" y="22"/>
                        <a:pt x="222" y="22"/>
                        <a:pt x="222" y="22"/>
                      </a:cubicBezTo>
                      <a:cubicBezTo>
                        <a:pt x="219" y="21"/>
                        <a:pt x="219" y="21"/>
                        <a:pt x="219" y="21"/>
                      </a:cubicBezTo>
                      <a:cubicBezTo>
                        <a:pt x="216" y="19"/>
                        <a:pt x="216" y="19"/>
                        <a:pt x="216" y="19"/>
                      </a:cubicBezTo>
                      <a:cubicBezTo>
                        <a:pt x="210" y="16"/>
                        <a:pt x="210" y="16"/>
                        <a:pt x="210" y="16"/>
                      </a:cubicBezTo>
                      <a:cubicBezTo>
                        <a:pt x="202" y="12"/>
                        <a:pt x="202" y="12"/>
                        <a:pt x="202" y="12"/>
                      </a:cubicBezTo>
                      <a:cubicBezTo>
                        <a:pt x="10" y="0"/>
                        <a:pt x="10" y="0"/>
                        <a:pt x="10" y="0"/>
                      </a:cubicBezTo>
                      <a:cubicBezTo>
                        <a:pt x="0" y="95"/>
                        <a:pt x="0" y="95"/>
                        <a:pt x="0" y="95"/>
                      </a:cubicBezTo>
                      <a:cubicBezTo>
                        <a:pt x="73" y="102"/>
                        <a:pt x="73" y="102"/>
                        <a:pt x="73" y="102"/>
                      </a:cubicBezTo>
                      <a:cubicBezTo>
                        <a:pt x="69" y="149"/>
                        <a:pt x="69" y="149"/>
                        <a:pt x="69" y="149"/>
                      </a:cubicBezTo>
                      <a:cubicBezTo>
                        <a:pt x="69" y="149"/>
                        <a:pt x="69" y="149"/>
                        <a:pt x="69" y="149"/>
                      </a:cubicBezTo>
                      <a:cubicBezTo>
                        <a:pt x="75" y="149"/>
                        <a:pt x="186" y="154"/>
                        <a:pt x="224" y="155"/>
                      </a:cubicBezTo>
                      <a:cubicBezTo>
                        <a:pt x="246" y="156"/>
                        <a:pt x="313" y="158"/>
                        <a:pt x="313" y="158"/>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7" name="Freeform 66">
                  <a:extLst>
                    <a:ext uri="{FF2B5EF4-FFF2-40B4-BE49-F238E27FC236}">
                      <a16:creationId xmlns:a16="http://schemas.microsoft.com/office/drawing/2014/main" id="{D66F4C67-4CDA-154E-E3A7-7EB9AFE968A5}"/>
                    </a:ext>
                  </a:extLst>
                </p:cNvPr>
                <p:cNvSpPr>
                  <a:spLocks/>
                </p:cNvSpPr>
                <p:nvPr/>
              </p:nvSpPr>
              <p:spPr bwMode="auto">
                <a:xfrm>
                  <a:off x="6293239" y="2040019"/>
                  <a:ext cx="384509" cy="256340"/>
                </a:xfrm>
                <a:custGeom>
                  <a:avLst/>
                  <a:gdLst>
                    <a:gd name="T0" fmla="*/ 200 w 269"/>
                    <a:gd name="T1" fmla="*/ 158 h 180"/>
                    <a:gd name="T2" fmla="*/ 206 w 269"/>
                    <a:gd name="T3" fmla="*/ 161 h 180"/>
                    <a:gd name="T4" fmla="*/ 209 w 269"/>
                    <a:gd name="T5" fmla="*/ 163 h 180"/>
                    <a:gd name="T6" fmla="*/ 212 w 269"/>
                    <a:gd name="T7" fmla="*/ 164 h 180"/>
                    <a:gd name="T8" fmla="*/ 214 w 269"/>
                    <a:gd name="T9" fmla="*/ 162 h 180"/>
                    <a:gd name="T10" fmla="*/ 217 w 269"/>
                    <a:gd name="T11" fmla="*/ 161 h 180"/>
                    <a:gd name="T12" fmla="*/ 220 w 269"/>
                    <a:gd name="T13" fmla="*/ 161 h 180"/>
                    <a:gd name="T14" fmla="*/ 229 w 269"/>
                    <a:gd name="T15" fmla="*/ 160 h 180"/>
                    <a:gd name="T16" fmla="*/ 236 w 269"/>
                    <a:gd name="T17" fmla="*/ 161 h 180"/>
                    <a:gd name="T18" fmla="*/ 240 w 269"/>
                    <a:gd name="T19" fmla="*/ 165 h 180"/>
                    <a:gd name="T20" fmla="*/ 245 w 269"/>
                    <a:gd name="T21" fmla="*/ 167 h 180"/>
                    <a:gd name="T22" fmla="*/ 250 w 269"/>
                    <a:gd name="T23" fmla="*/ 169 h 180"/>
                    <a:gd name="T24" fmla="*/ 257 w 269"/>
                    <a:gd name="T25" fmla="*/ 174 h 180"/>
                    <a:gd name="T26" fmla="*/ 261 w 269"/>
                    <a:gd name="T27" fmla="*/ 177 h 180"/>
                    <a:gd name="T28" fmla="*/ 262 w 269"/>
                    <a:gd name="T29" fmla="*/ 178 h 180"/>
                    <a:gd name="T30" fmla="*/ 263 w 269"/>
                    <a:gd name="T31" fmla="*/ 180 h 180"/>
                    <a:gd name="T32" fmla="*/ 263 w 269"/>
                    <a:gd name="T33" fmla="*/ 180 h 180"/>
                    <a:gd name="T34" fmla="*/ 263 w 269"/>
                    <a:gd name="T35" fmla="*/ 177 h 180"/>
                    <a:gd name="T36" fmla="*/ 263 w 269"/>
                    <a:gd name="T37" fmla="*/ 173 h 180"/>
                    <a:gd name="T38" fmla="*/ 259 w 269"/>
                    <a:gd name="T39" fmla="*/ 170 h 180"/>
                    <a:gd name="T40" fmla="*/ 259 w 269"/>
                    <a:gd name="T41" fmla="*/ 167 h 180"/>
                    <a:gd name="T42" fmla="*/ 260 w 269"/>
                    <a:gd name="T43" fmla="*/ 164 h 180"/>
                    <a:gd name="T44" fmla="*/ 263 w 269"/>
                    <a:gd name="T45" fmla="*/ 163 h 180"/>
                    <a:gd name="T46" fmla="*/ 263 w 269"/>
                    <a:gd name="T47" fmla="*/ 156 h 180"/>
                    <a:gd name="T48" fmla="*/ 264 w 269"/>
                    <a:gd name="T49" fmla="*/ 153 h 180"/>
                    <a:gd name="T50" fmla="*/ 266 w 269"/>
                    <a:gd name="T51" fmla="*/ 152 h 180"/>
                    <a:gd name="T52" fmla="*/ 266 w 269"/>
                    <a:gd name="T53" fmla="*/ 148 h 180"/>
                    <a:gd name="T54" fmla="*/ 264 w 269"/>
                    <a:gd name="T55" fmla="*/ 143 h 180"/>
                    <a:gd name="T56" fmla="*/ 262 w 269"/>
                    <a:gd name="T57" fmla="*/ 142 h 180"/>
                    <a:gd name="T58" fmla="*/ 263 w 269"/>
                    <a:gd name="T59" fmla="*/ 137 h 180"/>
                    <a:gd name="T60" fmla="*/ 263 w 269"/>
                    <a:gd name="T61" fmla="*/ 134 h 180"/>
                    <a:gd name="T62" fmla="*/ 266 w 269"/>
                    <a:gd name="T63" fmla="*/ 134 h 180"/>
                    <a:gd name="T64" fmla="*/ 269 w 269"/>
                    <a:gd name="T65" fmla="*/ 47 h 180"/>
                    <a:gd name="T66" fmla="*/ 266 w 269"/>
                    <a:gd name="T67" fmla="*/ 44 h 180"/>
                    <a:gd name="T68" fmla="*/ 264 w 269"/>
                    <a:gd name="T69" fmla="*/ 41 h 180"/>
                    <a:gd name="T70" fmla="*/ 259 w 269"/>
                    <a:gd name="T71" fmla="*/ 39 h 180"/>
                    <a:gd name="T72" fmla="*/ 258 w 269"/>
                    <a:gd name="T73" fmla="*/ 36 h 180"/>
                    <a:gd name="T74" fmla="*/ 255 w 269"/>
                    <a:gd name="T75" fmla="*/ 33 h 180"/>
                    <a:gd name="T76" fmla="*/ 254 w 269"/>
                    <a:gd name="T77" fmla="*/ 31 h 180"/>
                    <a:gd name="T78" fmla="*/ 254 w 269"/>
                    <a:gd name="T79" fmla="*/ 29 h 180"/>
                    <a:gd name="T80" fmla="*/ 254 w 269"/>
                    <a:gd name="T81" fmla="*/ 27 h 180"/>
                    <a:gd name="T82" fmla="*/ 257 w 269"/>
                    <a:gd name="T83" fmla="*/ 24 h 180"/>
                    <a:gd name="T84" fmla="*/ 260 w 269"/>
                    <a:gd name="T85" fmla="*/ 21 h 180"/>
                    <a:gd name="T86" fmla="*/ 264 w 269"/>
                    <a:gd name="T87" fmla="*/ 17 h 180"/>
                    <a:gd name="T88" fmla="*/ 263 w 269"/>
                    <a:gd name="T89" fmla="*/ 15 h 180"/>
                    <a:gd name="T90" fmla="*/ 263 w 269"/>
                    <a:gd name="T91" fmla="*/ 14 h 180"/>
                    <a:gd name="T92" fmla="*/ 136 w 269"/>
                    <a:gd name="T93" fmla="*/ 8 h 180"/>
                    <a:gd name="T94" fmla="*/ 14 w 269"/>
                    <a:gd name="T95" fmla="*/ 0 h 180"/>
                    <a:gd name="T96" fmla="*/ 0 w 269"/>
                    <a:gd name="T97" fmla="*/ 142 h 180"/>
                    <a:gd name="T98" fmla="*/ 192 w 269"/>
                    <a:gd name="T99" fmla="*/ 154 h 180"/>
                    <a:gd name="T100" fmla="*/ 200 w 269"/>
                    <a:gd name="T101" fmla="*/ 15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180">
                      <a:moveTo>
                        <a:pt x="200" y="158"/>
                      </a:moveTo>
                      <a:cubicBezTo>
                        <a:pt x="206" y="161"/>
                        <a:pt x="206" y="161"/>
                        <a:pt x="206" y="161"/>
                      </a:cubicBezTo>
                      <a:cubicBezTo>
                        <a:pt x="209" y="163"/>
                        <a:pt x="209" y="163"/>
                        <a:pt x="209" y="163"/>
                      </a:cubicBezTo>
                      <a:cubicBezTo>
                        <a:pt x="212" y="164"/>
                        <a:pt x="212" y="164"/>
                        <a:pt x="212" y="164"/>
                      </a:cubicBezTo>
                      <a:cubicBezTo>
                        <a:pt x="214" y="162"/>
                        <a:pt x="214" y="162"/>
                        <a:pt x="214" y="162"/>
                      </a:cubicBezTo>
                      <a:cubicBezTo>
                        <a:pt x="217" y="161"/>
                        <a:pt x="217" y="161"/>
                        <a:pt x="217" y="161"/>
                      </a:cubicBezTo>
                      <a:cubicBezTo>
                        <a:pt x="220" y="161"/>
                        <a:pt x="220" y="161"/>
                        <a:pt x="220" y="161"/>
                      </a:cubicBezTo>
                      <a:cubicBezTo>
                        <a:pt x="229" y="160"/>
                        <a:pt x="229" y="160"/>
                        <a:pt x="229" y="160"/>
                      </a:cubicBezTo>
                      <a:cubicBezTo>
                        <a:pt x="236" y="161"/>
                        <a:pt x="236" y="161"/>
                        <a:pt x="236" y="161"/>
                      </a:cubicBezTo>
                      <a:cubicBezTo>
                        <a:pt x="240" y="165"/>
                        <a:pt x="240" y="165"/>
                        <a:pt x="240" y="165"/>
                      </a:cubicBezTo>
                      <a:cubicBezTo>
                        <a:pt x="245" y="167"/>
                        <a:pt x="245" y="167"/>
                        <a:pt x="245" y="167"/>
                      </a:cubicBezTo>
                      <a:cubicBezTo>
                        <a:pt x="250" y="169"/>
                        <a:pt x="250" y="169"/>
                        <a:pt x="250" y="169"/>
                      </a:cubicBezTo>
                      <a:cubicBezTo>
                        <a:pt x="257" y="174"/>
                        <a:pt x="257" y="174"/>
                        <a:pt x="257" y="174"/>
                      </a:cubicBezTo>
                      <a:cubicBezTo>
                        <a:pt x="261" y="177"/>
                        <a:pt x="261" y="177"/>
                        <a:pt x="261" y="177"/>
                      </a:cubicBezTo>
                      <a:cubicBezTo>
                        <a:pt x="262" y="178"/>
                        <a:pt x="262" y="178"/>
                        <a:pt x="262" y="178"/>
                      </a:cubicBezTo>
                      <a:cubicBezTo>
                        <a:pt x="263" y="180"/>
                        <a:pt x="263" y="180"/>
                        <a:pt x="263" y="180"/>
                      </a:cubicBezTo>
                      <a:cubicBezTo>
                        <a:pt x="263" y="180"/>
                        <a:pt x="263" y="180"/>
                        <a:pt x="263" y="180"/>
                      </a:cubicBezTo>
                      <a:cubicBezTo>
                        <a:pt x="263" y="177"/>
                        <a:pt x="263" y="177"/>
                        <a:pt x="263" y="177"/>
                      </a:cubicBezTo>
                      <a:cubicBezTo>
                        <a:pt x="263" y="173"/>
                        <a:pt x="263" y="173"/>
                        <a:pt x="263" y="173"/>
                      </a:cubicBezTo>
                      <a:cubicBezTo>
                        <a:pt x="259" y="170"/>
                        <a:pt x="259" y="170"/>
                        <a:pt x="259" y="170"/>
                      </a:cubicBezTo>
                      <a:cubicBezTo>
                        <a:pt x="259" y="167"/>
                        <a:pt x="259" y="167"/>
                        <a:pt x="259" y="167"/>
                      </a:cubicBezTo>
                      <a:cubicBezTo>
                        <a:pt x="260" y="164"/>
                        <a:pt x="260" y="164"/>
                        <a:pt x="260" y="164"/>
                      </a:cubicBezTo>
                      <a:cubicBezTo>
                        <a:pt x="263" y="163"/>
                        <a:pt x="263" y="163"/>
                        <a:pt x="263" y="163"/>
                      </a:cubicBezTo>
                      <a:cubicBezTo>
                        <a:pt x="263" y="156"/>
                        <a:pt x="263" y="156"/>
                        <a:pt x="263" y="156"/>
                      </a:cubicBezTo>
                      <a:cubicBezTo>
                        <a:pt x="264" y="153"/>
                        <a:pt x="264" y="153"/>
                        <a:pt x="264" y="153"/>
                      </a:cubicBezTo>
                      <a:cubicBezTo>
                        <a:pt x="266" y="152"/>
                        <a:pt x="266" y="152"/>
                        <a:pt x="266" y="152"/>
                      </a:cubicBezTo>
                      <a:cubicBezTo>
                        <a:pt x="266" y="148"/>
                        <a:pt x="266" y="148"/>
                        <a:pt x="266" y="148"/>
                      </a:cubicBezTo>
                      <a:cubicBezTo>
                        <a:pt x="264" y="143"/>
                        <a:pt x="264" y="143"/>
                        <a:pt x="264" y="143"/>
                      </a:cubicBezTo>
                      <a:cubicBezTo>
                        <a:pt x="262" y="142"/>
                        <a:pt x="262" y="142"/>
                        <a:pt x="262" y="142"/>
                      </a:cubicBezTo>
                      <a:cubicBezTo>
                        <a:pt x="263" y="137"/>
                        <a:pt x="263" y="137"/>
                        <a:pt x="263" y="137"/>
                      </a:cubicBezTo>
                      <a:cubicBezTo>
                        <a:pt x="263" y="134"/>
                        <a:pt x="263" y="134"/>
                        <a:pt x="263" y="134"/>
                      </a:cubicBezTo>
                      <a:cubicBezTo>
                        <a:pt x="266" y="134"/>
                        <a:pt x="266" y="134"/>
                        <a:pt x="266" y="134"/>
                      </a:cubicBezTo>
                      <a:cubicBezTo>
                        <a:pt x="269" y="47"/>
                        <a:pt x="269" y="47"/>
                        <a:pt x="269" y="47"/>
                      </a:cubicBezTo>
                      <a:cubicBezTo>
                        <a:pt x="266" y="44"/>
                        <a:pt x="266" y="44"/>
                        <a:pt x="266" y="44"/>
                      </a:cubicBezTo>
                      <a:cubicBezTo>
                        <a:pt x="264" y="41"/>
                        <a:pt x="264" y="41"/>
                        <a:pt x="264" y="41"/>
                      </a:cubicBezTo>
                      <a:cubicBezTo>
                        <a:pt x="259" y="39"/>
                        <a:pt x="259" y="39"/>
                        <a:pt x="259" y="39"/>
                      </a:cubicBezTo>
                      <a:cubicBezTo>
                        <a:pt x="258" y="36"/>
                        <a:pt x="258" y="36"/>
                        <a:pt x="258" y="36"/>
                      </a:cubicBezTo>
                      <a:cubicBezTo>
                        <a:pt x="255" y="33"/>
                        <a:pt x="255" y="33"/>
                        <a:pt x="255" y="33"/>
                      </a:cubicBezTo>
                      <a:cubicBezTo>
                        <a:pt x="254" y="31"/>
                        <a:pt x="254" y="31"/>
                        <a:pt x="254" y="31"/>
                      </a:cubicBezTo>
                      <a:cubicBezTo>
                        <a:pt x="254" y="29"/>
                        <a:pt x="254" y="29"/>
                        <a:pt x="254" y="29"/>
                      </a:cubicBezTo>
                      <a:cubicBezTo>
                        <a:pt x="254" y="27"/>
                        <a:pt x="254" y="27"/>
                        <a:pt x="254" y="27"/>
                      </a:cubicBezTo>
                      <a:cubicBezTo>
                        <a:pt x="257" y="24"/>
                        <a:pt x="257" y="24"/>
                        <a:pt x="257" y="24"/>
                      </a:cubicBezTo>
                      <a:cubicBezTo>
                        <a:pt x="260" y="21"/>
                        <a:pt x="260" y="21"/>
                        <a:pt x="260" y="21"/>
                      </a:cubicBezTo>
                      <a:cubicBezTo>
                        <a:pt x="264" y="17"/>
                        <a:pt x="264" y="17"/>
                        <a:pt x="264" y="17"/>
                      </a:cubicBezTo>
                      <a:cubicBezTo>
                        <a:pt x="263" y="15"/>
                        <a:pt x="263" y="15"/>
                        <a:pt x="263" y="15"/>
                      </a:cubicBezTo>
                      <a:cubicBezTo>
                        <a:pt x="263" y="14"/>
                        <a:pt x="263" y="14"/>
                        <a:pt x="263" y="14"/>
                      </a:cubicBezTo>
                      <a:cubicBezTo>
                        <a:pt x="263" y="14"/>
                        <a:pt x="167" y="10"/>
                        <a:pt x="136" y="8"/>
                      </a:cubicBezTo>
                      <a:cubicBezTo>
                        <a:pt x="105" y="6"/>
                        <a:pt x="14" y="0"/>
                        <a:pt x="14" y="0"/>
                      </a:cubicBezTo>
                      <a:cubicBezTo>
                        <a:pt x="0" y="142"/>
                        <a:pt x="0" y="142"/>
                        <a:pt x="0" y="142"/>
                      </a:cubicBezTo>
                      <a:cubicBezTo>
                        <a:pt x="192" y="154"/>
                        <a:pt x="192" y="154"/>
                        <a:pt x="192" y="154"/>
                      </a:cubicBezTo>
                      <a:lnTo>
                        <a:pt x="200" y="15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8" name="Freeform 67">
                  <a:extLst>
                    <a:ext uri="{FF2B5EF4-FFF2-40B4-BE49-F238E27FC236}">
                      <a16:creationId xmlns:a16="http://schemas.microsoft.com/office/drawing/2014/main" id="{BAA66B49-47E9-4B21-D067-9081B3ABFC5A}"/>
                    </a:ext>
                  </a:extLst>
                </p:cNvPr>
                <p:cNvSpPr>
                  <a:spLocks/>
                </p:cNvSpPr>
                <p:nvPr/>
              </p:nvSpPr>
              <p:spPr bwMode="auto">
                <a:xfrm>
                  <a:off x="5922222" y="2058569"/>
                  <a:ext cx="386195" cy="318738"/>
                </a:xfrm>
                <a:custGeom>
                  <a:avLst/>
                  <a:gdLst>
                    <a:gd name="T0" fmla="*/ 229 w 229"/>
                    <a:gd name="T1" fmla="*/ 27 h 189"/>
                    <a:gd name="T2" fmla="*/ 228 w 229"/>
                    <a:gd name="T3" fmla="*/ 27 h 189"/>
                    <a:gd name="T4" fmla="*/ 28 w 229"/>
                    <a:gd name="T5" fmla="*/ 0 h 189"/>
                    <a:gd name="T6" fmla="*/ 24 w 229"/>
                    <a:gd name="T7" fmla="*/ 23 h 189"/>
                    <a:gd name="T8" fmla="*/ 7 w 229"/>
                    <a:gd name="T9" fmla="*/ 122 h 189"/>
                    <a:gd name="T10" fmla="*/ 0 w 229"/>
                    <a:gd name="T11" fmla="*/ 162 h 189"/>
                    <a:gd name="T12" fmla="*/ 61 w 229"/>
                    <a:gd name="T13" fmla="*/ 172 h 189"/>
                    <a:gd name="T14" fmla="*/ 212 w 229"/>
                    <a:gd name="T15" fmla="*/ 189 h 189"/>
                    <a:gd name="T16" fmla="*/ 220 w 229"/>
                    <a:gd name="T17" fmla="*/ 109 h 189"/>
                    <a:gd name="T18" fmla="*/ 229 w 229"/>
                    <a:gd name="T19"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9">
                      <a:moveTo>
                        <a:pt x="229" y="27"/>
                      </a:moveTo>
                      <a:lnTo>
                        <a:pt x="228" y="27"/>
                      </a:lnTo>
                      <a:lnTo>
                        <a:pt x="28" y="0"/>
                      </a:lnTo>
                      <a:lnTo>
                        <a:pt x="24" y="23"/>
                      </a:lnTo>
                      <a:lnTo>
                        <a:pt x="7" y="122"/>
                      </a:lnTo>
                      <a:lnTo>
                        <a:pt x="0" y="162"/>
                      </a:lnTo>
                      <a:lnTo>
                        <a:pt x="61" y="172"/>
                      </a:lnTo>
                      <a:lnTo>
                        <a:pt x="212" y="189"/>
                      </a:lnTo>
                      <a:lnTo>
                        <a:pt x="220" y="109"/>
                      </a:lnTo>
                      <a:lnTo>
                        <a:pt x="229" y="2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9" name="Freeform 68">
                  <a:extLst>
                    <a:ext uri="{FF2B5EF4-FFF2-40B4-BE49-F238E27FC236}">
                      <a16:creationId xmlns:a16="http://schemas.microsoft.com/office/drawing/2014/main" id="{D18F6947-5D67-118D-E419-4A7B190AB243}"/>
                    </a:ext>
                  </a:extLst>
                </p:cNvPr>
                <p:cNvSpPr>
                  <a:spLocks/>
                </p:cNvSpPr>
                <p:nvPr/>
              </p:nvSpPr>
              <p:spPr bwMode="auto">
                <a:xfrm>
                  <a:off x="6313477" y="1829213"/>
                  <a:ext cx="359212" cy="231044"/>
                </a:xfrm>
                <a:custGeom>
                  <a:avLst/>
                  <a:gdLst>
                    <a:gd name="T0" fmla="*/ 249 w 251"/>
                    <a:gd name="T1" fmla="*/ 161 h 162"/>
                    <a:gd name="T2" fmla="*/ 249 w 251"/>
                    <a:gd name="T3" fmla="*/ 162 h 162"/>
                    <a:gd name="T4" fmla="*/ 249 w 251"/>
                    <a:gd name="T5" fmla="*/ 162 h 162"/>
                    <a:gd name="T6" fmla="*/ 251 w 251"/>
                    <a:gd name="T7" fmla="*/ 160 h 162"/>
                    <a:gd name="T8" fmla="*/ 251 w 251"/>
                    <a:gd name="T9" fmla="*/ 155 h 162"/>
                    <a:gd name="T10" fmla="*/ 251 w 251"/>
                    <a:gd name="T11" fmla="*/ 150 h 162"/>
                    <a:gd name="T12" fmla="*/ 250 w 251"/>
                    <a:gd name="T13" fmla="*/ 144 h 162"/>
                    <a:gd name="T14" fmla="*/ 248 w 251"/>
                    <a:gd name="T15" fmla="*/ 141 h 162"/>
                    <a:gd name="T16" fmla="*/ 245 w 251"/>
                    <a:gd name="T17" fmla="*/ 138 h 162"/>
                    <a:gd name="T18" fmla="*/ 245 w 251"/>
                    <a:gd name="T19" fmla="*/ 131 h 162"/>
                    <a:gd name="T20" fmla="*/ 244 w 251"/>
                    <a:gd name="T21" fmla="*/ 129 h 162"/>
                    <a:gd name="T22" fmla="*/ 242 w 251"/>
                    <a:gd name="T23" fmla="*/ 126 h 162"/>
                    <a:gd name="T24" fmla="*/ 242 w 251"/>
                    <a:gd name="T25" fmla="*/ 117 h 162"/>
                    <a:gd name="T26" fmla="*/ 242 w 251"/>
                    <a:gd name="T27" fmla="*/ 103 h 162"/>
                    <a:gd name="T28" fmla="*/ 241 w 251"/>
                    <a:gd name="T29" fmla="*/ 86 h 162"/>
                    <a:gd name="T30" fmla="*/ 241 w 251"/>
                    <a:gd name="T31" fmla="*/ 77 h 162"/>
                    <a:gd name="T32" fmla="*/ 237 w 251"/>
                    <a:gd name="T33" fmla="*/ 70 h 162"/>
                    <a:gd name="T34" fmla="*/ 234 w 251"/>
                    <a:gd name="T35" fmla="*/ 60 h 162"/>
                    <a:gd name="T36" fmla="*/ 232 w 251"/>
                    <a:gd name="T37" fmla="*/ 54 h 162"/>
                    <a:gd name="T38" fmla="*/ 234 w 251"/>
                    <a:gd name="T39" fmla="*/ 47 h 162"/>
                    <a:gd name="T40" fmla="*/ 233 w 251"/>
                    <a:gd name="T41" fmla="*/ 41 h 162"/>
                    <a:gd name="T42" fmla="*/ 232 w 251"/>
                    <a:gd name="T43" fmla="*/ 39 h 162"/>
                    <a:gd name="T44" fmla="*/ 232 w 251"/>
                    <a:gd name="T45" fmla="*/ 34 h 162"/>
                    <a:gd name="T46" fmla="*/ 232 w 251"/>
                    <a:gd name="T47" fmla="*/ 33 h 162"/>
                    <a:gd name="T48" fmla="*/ 234 w 251"/>
                    <a:gd name="T49" fmla="*/ 31 h 162"/>
                    <a:gd name="T50" fmla="*/ 235 w 251"/>
                    <a:gd name="T51" fmla="*/ 29 h 162"/>
                    <a:gd name="T52" fmla="*/ 235 w 251"/>
                    <a:gd name="T53" fmla="*/ 25 h 162"/>
                    <a:gd name="T54" fmla="*/ 232 w 251"/>
                    <a:gd name="T55" fmla="*/ 22 h 162"/>
                    <a:gd name="T56" fmla="*/ 232 w 251"/>
                    <a:gd name="T57" fmla="*/ 21 h 162"/>
                    <a:gd name="T58" fmla="*/ 231 w 251"/>
                    <a:gd name="T59" fmla="*/ 18 h 162"/>
                    <a:gd name="T60" fmla="*/ 230 w 251"/>
                    <a:gd name="T61" fmla="*/ 13 h 162"/>
                    <a:gd name="T62" fmla="*/ 97 w 251"/>
                    <a:gd name="T63" fmla="*/ 7 h 162"/>
                    <a:gd name="T64" fmla="*/ 14 w 251"/>
                    <a:gd name="T65" fmla="*/ 0 h 162"/>
                    <a:gd name="T66" fmla="*/ 0 w 251"/>
                    <a:gd name="T67" fmla="*/ 147 h 162"/>
                    <a:gd name="T68" fmla="*/ 122 w 251"/>
                    <a:gd name="T69" fmla="*/ 155 h 162"/>
                    <a:gd name="T70" fmla="*/ 249 w 251"/>
                    <a:gd name="T71"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62">
                      <a:moveTo>
                        <a:pt x="249" y="161"/>
                      </a:moveTo>
                      <a:cubicBezTo>
                        <a:pt x="249" y="162"/>
                        <a:pt x="249" y="162"/>
                        <a:pt x="249" y="162"/>
                      </a:cubicBezTo>
                      <a:cubicBezTo>
                        <a:pt x="249" y="162"/>
                        <a:pt x="249" y="162"/>
                        <a:pt x="249" y="162"/>
                      </a:cubicBezTo>
                      <a:cubicBezTo>
                        <a:pt x="251" y="160"/>
                        <a:pt x="251" y="160"/>
                        <a:pt x="251" y="160"/>
                      </a:cubicBezTo>
                      <a:cubicBezTo>
                        <a:pt x="251" y="155"/>
                        <a:pt x="251" y="155"/>
                        <a:pt x="251" y="155"/>
                      </a:cubicBezTo>
                      <a:cubicBezTo>
                        <a:pt x="251" y="150"/>
                        <a:pt x="251" y="150"/>
                        <a:pt x="251" y="150"/>
                      </a:cubicBezTo>
                      <a:cubicBezTo>
                        <a:pt x="250" y="144"/>
                        <a:pt x="250" y="144"/>
                        <a:pt x="250" y="144"/>
                      </a:cubicBezTo>
                      <a:cubicBezTo>
                        <a:pt x="248" y="141"/>
                        <a:pt x="248" y="141"/>
                        <a:pt x="248" y="141"/>
                      </a:cubicBezTo>
                      <a:cubicBezTo>
                        <a:pt x="245" y="138"/>
                        <a:pt x="245" y="138"/>
                        <a:pt x="245" y="138"/>
                      </a:cubicBezTo>
                      <a:cubicBezTo>
                        <a:pt x="245" y="131"/>
                        <a:pt x="245" y="131"/>
                        <a:pt x="245" y="131"/>
                      </a:cubicBezTo>
                      <a:cubicBezTo>
                        <a:pt x="244" y="129"/>
                        <a:pt x="244" y="129"/>
                        <a:pt x="244" y="129"/>
                      </a:cubicBezTo>
                      <a:cubicBezTo>
                        <a:pt x="242" y="126"/>
                        <a:pt x="242" y="126"/>
                        <a:pt x="242" y="126"/>
                      </a:cubicBezTo>
                      <a:cubicBezTo>
                        <a:pt x="242" y="117"/>
                        <a:pt x="242" y="117"/>
                        <a:pt x="242" y="117"/>
                      </a:cubicBezTo>
                      <a:cubicBezTo>
                        <a:pt x="242" y="103"/>
                        <a:pt x="242" y="103"/>
                        <a:pt x="242" y="103"/>
                      </a:cubicBezTo>
                      <a:cubicBezTo>
                        <a:pt x="241" y="86"/>
                        <a:pt x="241" y="86"/>
                        <a:pt x="241" y="86"/>
                      </a:cubicBezTo>
                      <a:cubicBezTo>
                        <a:pt x="241" y="77"/>
                        <a:pt x="241" y="77"/>
                        <a:pt x="241" y="77"/>
                      </a:cubicBezTo>
                      <a:cubicBezTo>
                        <a:pt x="237" y="70"/>
                        <a:pt x="237" y="70"/>
                        <a:pt x="237" y="70"/>
                      </a:cubicBezTo>
                      <a:cubicBezTo>
                        <a:pt x="234" y="60"/>
                        <a:pt x="234" y="60"/>
                        <a:pt x="234" y="60"/>
                      </a:cubicBezTo>
                      <a:cubicBezTo>
                        <a:pt x="232" y="54"/>
                        <a:pt x="232" y="54"/>
                        <a:pt x="232" y="54"/>
                      </a:cubicBezTo>
                      <a:cubicBezTo>
                        <a:pt x="234" y="47"/>
                        <a:pt x="234" y="47"/>
                        <a:pt x="234" y="47"/>
                      </a:cubicBezTo>
                      <a:cubicBezTo>
                        <a:pt x="233" y="41"/>
                        <a:pt x="233" y="41"/>
                        <a:pt x="233" y="41"/>
                      </a:cubicBezTo>
                      <a:cubicBezTo>
                        <a:pt x="232" y="39"/>
                        <a:pt x="232" y="39"/>
                        <a:pt x="232" y="39"/>
                      </a:cubicBezTo>
                      <a:cubicBezTo>
                        <a:pt x="232" y="34"/>
                        <a:pt x="232" y="34"/>
                        <a:pt x="232" y="34"/>
                      </a:cubicBezTo>
                      <a:cubicBezTo>
                        <a:pt x="232" y="33"/>
                        <a:pt x="232" y="33"/>
                        <a:pt x="232" y="33"/>
                      </a:cubicBezTo>
                      <a:cubicBezTo>
                        <a:pt x="234" y="31"/>
                        <a:pt x="234" y="31"/>
                        <a:pt x="234" y="31"/>
                      </a:cubicBezTo>
                      <a:cubicBezTo>
                        <a:pt x="235" y="29"/>
                        <a:pt x="235" y="29"/>
                        <a:pt x="235" y="29"/>
                      </a:cubicBezTo>
                      <a:cubicBezTo>
                        <a:pt x="235" y="25"/>
                        <a:pt x="235" y="25"/>
                        <a:pt x="235" y="25"/>
                      </a:cubicBezTo>
                      <a:cubicBezTo>
                        <a:pt x="232" y="22"/>
                        <a:pt x="232" y="22"/>
                        <a:pt x="232" y="22"/>
                      </a:cubicBezTo>
                      <a:cubicBezTo>
                        <a:pt x="232" y="21"/>
                        <a:pt x="232" y="21"/>
                        <a:pt x="232" y="21"/>
                      </a:cubicBezTo>
                      <a:cubicBezTo>
                        <a:pt x="231" y="18"/>
                        <a:pt x="231" y="18"/>
                        <a:pt x="231" y="18"/>
                      </a:cubicBezTo>
                      <a:cubicBezTo>
                        <a:pt x="230" y="13"/>
                        <a:pt x="230" y="13"/>
                        <a:pt x="230" y="13"/>
                      </a:cubicBezTo>
                      <a:cubicBezTo>
                        <a:pt x="230" y="13"/>
                        <a:pt x="130" y="9"/>
                        <a:pt x="97" y="7"/>
                      </a:cubicBezTo>
                      <a:cubicBezTo>
                        <a:pt x="76" y="6"/>
                        <a:pt x="14" y="0"/>
                        <a:pt x="14" y="0"/>
                      </a:cubicBezTo>
                      <a:cubicBezTo>
                        <a:pt x="0" y="147"/>
                        <a:pt x="0" y="147"/>
                        <a:pt x="0" y="147"/>
                      </a:cubicBezTo>
                      <a:cubicBezTo>
                        <a:pt x="0" y="147"/>
                        <a:pt x="91" y="153"/>
                        <a:pt x="122" y="155"/>
                      </a:cubicBezTo>
                      <a:cubicBezTo>
                        <a:pt x="153" y="157"/>
                        <a:pt x="249" y="161"/>
                        <a:pt x="249" y="16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0" name="Freeform 69">
                  <a:extLst>
                    <a:ext uri="{FF2B5EF4-FFF2-40B4-BE49-F238E27FC236}">
                      <a16:creationId xmlns:a16="http://schemas.microsoft.com/office/drawing/2014/main" id="{FE9B8AC6-21D0-479D-A3C7-73A63A562716}"/>
                    </a:ext>
                  </a:extLst>
                </p:cNvPr>
                <p:cNvSpPr>
                  <a:spLocks/>
                </p:cNvSpPr>
                <p:nvPr/>
              </p:nvSpPr>
              <p:spPr bwMode="auto">
                <a:xfrm>
                  <a:off x="5982934" y="2348638"/>
                  <a:ext cx="401373" cy="315365"/>
                </a:xfrm>
                <a:custGeom>
                  <a:avLst/>
                  <a:gdLst>
                    <a:gd name="T0" fmla="*/ 267 w 281"/>
                    <a:gd name="T1" fmla="*/ 221 h 221"/>
                    <a:gd name="T2" fmla="*/ 277 w 281"/>
                    <a:gd name="T3" fmla="*/ 75 h 221"/>
                    <a:gd name="T4" fmla="*/ 277 w 281"/>
                    <a:gd name="T5" fmla="*/ 75 h 221"/>
                    <a:gd name="T6" fmla="*/ 277 w 281"/>
                    <a:gd name="T7" fmla="*/ 75 h 221"/>
                    <a:gd name="T8" fmla="*/ 281 w 281"/>
                    <a:gd name="T9" fmla="*/ 28 h 221"/>
                    <a:gd name="T10" fmla="*/ 208 w 281"/>
                    <a:gd name="T11" fmla="*/ 21 h 221"/>
                    <a:gd name="T12" fmla="*/ 30 w 281"/>
                    <a:gd name="T13" fmla="*/ 0 h 221"/>
                    <a:gd name="T14" fmla="*/ 0 w 281"/>
                    <a:gd name="T15" fmla="*/ 192 h 221"/>
                    <a:gd name="T16" fmla="*/ 229 w 281"/>
                    <a:gd name="T17" fmla="*/ 219 h 221"/>
                    <a:gd name="T18" fmla="*/ 267 w 281"/>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21">
                      <a:moveTo>
                        <a:pt x="267" y="221"/>
                      </a:moveTo>
                      <a:cubicBezTo>
                        <a:pt x="277" y="75"/>
                        <a:pt x="277" y="75"/>
                        <a:pt x="277" y="75"/>
                      </a:cubicBezTo>
                      <a:cubicBezTo>
                        <a:pt x="277" y="75"/>
                        <a:pt x="277" y="75"/>
                        <a:pt x="277" y="75"/>
                      </a:cubicBezTo>
                      <a:cubicBezTo>
                        <a:pt x="277" y="75"/>
                        <a:pt x="277" y="75"/>
                        <a:pt x="277" y="75"/>
                      </a:cubicBezTo>
                      <a:cubicBezTo>
                        <a:pt x="281" y="28"/>
                        <a:pt x="281" y="28"/>
                        <a:pt x="281" y="28"/>
                      </a:cubicBezTo>
                      <a:cubicBezTo>
                        <a:pt x="208" y="21"/>
                        <a:pt x="208" y="21"/>
                        <a:pt x="208" y="21"/>
                      </a:cubicBezTo>
                      <a:cubicBezTo>
                        <a:pt x="30" y="0"/>
                        <a:pt x="30" y="0"/>
                        <a:pt x="30" y="0"/>
                      </a:cubicBezTo>
                      <a:cubicBezTo>
                        <a:pt x="0" y="192"/>
                        <a:pt x="0" y="192"/>
                        <a:pt x="0" y="192"/>
                      </a:cubicBezTo>
                      <a:cubicBezTo>
                        <a:pt x="229" y="219"/>
                        <a:pt x="229" y="219"/>
                        <a:pt x="229" y="219"/>
                      </a:cubicBezTo>
                      <a:cubicBezTo>
                        <a:pt x="229" y="219"/>
                        <a:pt x="245" y="220"/>
                        <a:pt x="267" y="22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1" name="Freeform 70">
                  <a:extLst>
                    <a:ext uri="{FF2B5EF4-FFF2-40B4-BE49-F238E27FC236}">
                      <a16:creationId xmlns:a16="http://schemas.microsoft.com/office/drawing/2014/main" id="{C7DE62EC-4D10-0DBA-6BBE-2DBB9C563FB7}"/>
                    </a:ext>
                  </a:extLst>
                </p:cNvPr>
                <p:cNvSpPr>
                  <a:spLocks/>
                </p:cNvSpPr>
                <p:nvPr/>
              </p:nvSpPr>
              <p:spPr bwMode="auto">
                <a:xfrm>
                  <a:off x="5716476" y="2235646"/>
                  <a:ext cx="308619" cy="386196"/>
                </a:xfrm>
                <a:custGeom>
                  <a:avLst/>
                  <a:gdLst>
                    <a:gd name="T0" fmla="*/ 183 w 183"/>
                    <a:gd name="T1" fmla="*/ 67 h 229"/>
                    <a:gd name="T2" fmla="*/ 122 w 183"/>
                    <a:gd name="T3" fmla="*/ 57 h 229"/>
                    <a:gd name="T4" fmla="*/ 129 w 183"/>
                    <a:gd name="T5" fmla="*/ 17 h 229"/>
                    <a:gd name="T6" fmla="*/ 39 w 183"/>
                    <a:gd name="T7" fmla="*/ 0 h 229"/>
                    <a:gd name="T8" fmla="*/ 0 w 183"/>
                    <a:gd name="T9" fmla="*/ 201 h 229"/>
                    <a:gd name="T10" fmla="*/ 158 w 183"/>
                    <a:gd name="T11" fmla="*/ 229 h 229"/>
                    <a:gd name="T12" fmla="*/ 183 w 183"/>
                    <a:gd name="T13" fmla="*/ 67 h 229"/>
                  </a:gdLst>
                  <a:ahLst/>
                  <a:cxnLst>
                    <a:cxn ang="0">
                      <a:pos x="T0" y="T1"/>
                    </a:cxn>
                    <a:cxn ang="0">
                      <a:pos x="T2" y="T3"/>
                    </a:cxn>
                    <a:cxn ang="0">
                      <a:pos x="T4" y="T5"/>
                    </a:cxn>
                    <a:cxn ang="0">
                      <a:pos x="T6" y="T7"/>
                    </a:cxn>
                    <a:cxn ang="0">
                      <a:pos x="T8" y="T9"/>
                    </a:cxn>
                    <a:cxn ang="0">
                      <a:pos x="T10" y="T11"/>
                    </a:cxn>
                    <a:cxn ang="0">
                      <a:pos x="T12" y="T13"/>
                    </a:cxn>
                  </a:cxnLst>
                  <a:rect l="0" t="0" r="r" b="b"/>
                  <a:pathLst>
                    <a:path w="183" h="229">
                      <a:moveTo>
                        <a:pt x="183" y="67"/>
                      </a:moveTo>
                      <a:lnTo>
                        <a:pt x="122" y="57"/>
                      </a:lnTo>
                      <a:lnTo>
                        <a:pt x="129" y="17"/>
                      </a:lnTo>
                      <a:lnTo>
                        <a:pt x="39" y="0"/>
                      </a:lnTo>
                      <a:lnTo>
                        <a:pt x="0" y="201"/>
                      </a:lnTo>
                      <a:lnTo>
                        <a:pt x="158" y="229"/>
                      </a:lnTo>
                      <a:lnTo>
                        <a:pt x="183" y="6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2" name="Freeform 71">
                  <a:extLst>
                    <a:ext uri="{FF2B5EF4-FFF2-40B4-BE49-F238E27FC236}">
                      <a16:creationId xmlns:a16="http://schemas.microsoft.com/office/drawing/2014/main" id="{337B0D14-4880-E459-BA57-2EFC062B5802}"/>
                    </a:ext>
                  </a:extLst>
                </p:cNvPr>
                <p:cNvSpPr>
                  <a:spLocks/>
                </p:cNvSpPr>
                <p:nvPr/>
              </p:nvSpPr>
              <p:spPr bwMode="auto">
                <a:xfrm>
                  <a:off x="5428094" y="2164816"/>
                  <a:ext cx="354153" cy="536288"/>
                </a:xfrm>
                <a:custGeom>
                  <a:avLst/>
                  <a:gdLst>
                    <a:gd name="T0" fmla="*/ 5 w 248"/>
                    <a:gd name="T1" fmla="*/ 131 h 375"/>
                    <a:gd name="T2" fmla="*/ 1 w 248"/>
                    <a:gd name="T3" fmla="*/ 132 h 375"/>
                    <a:gd name="T4" fmla="*/ 0 w 248"/>
                    <a:gd name="T5" fmla="*/ 135 h 375"/>
                    <a:gd name="T6" fmla="*/ 1 w 248"/>
                    <a:gd name="T7" fmla="*/ 139 h 375"/>
                    <a:gd name="T8" fmla="*/ 2 w 248"/>
                    <a:gd name="T9" fmla="*/ 142 h 375"/>
                    <a:gd name="T10" fmla="*/ 3 w 248"/>
                    <a:gd name="T11" fmla="*/ 143 h 375"/>
                    <a:gd name="T12" fmla="*/ 7 w 248"/>
                    <a:gd name="T13" fmla="*/ 145 h 375"/>
                    <a:gd name="T14" fmla="*/ 160 w 248"/>
                    <a:gd name="T15" fmla="*/ 375 h 375"/>
                    <a:gd name="T16" fmla="*/ 163 w 248"/>
                    <a:gd name="T17" fmla="*/ 371 h 375"/>
                    <a:gd name="T18" fmla="*/ 164 w 248"/>
                    <a:gd name="T19" fmla="*/ 367 h 375"/>
                    <a:gd name="T20" fmla="*/ 164 w 248"/>
                    <a:gd name="T21" fmla="*/ 354 h 375"/>
                    <a:gd name="T22" fmla="*/ 164 w 248"/>
                    <a:gd name="T23" fmla="*/ 340 h 375"/>
                    <a:gd name="T24" fmla="*/ 164 w 248"/>
                    <a:gd name="T25" fmla="*/ 329 h 375"/>
                    <a:gd name="T26" fmla="*/ 167 w 248"/>
                    <a:gd name="T27" fmla="*/ 326 h 375"/>
                    <a:gd name="T28" fmla="*/ 174 w 248"/>
                    <a:gd name="T29" fmla="*/ 324 h 375"/>
                    <a:gd name="T30" fmla="*/ 176 w 248"/>
                    <a:gd name="T31" fmla="*/ 328 h 375"/>
                    <a:gd name="T32" fmla="*/ 180 w 248"/>
                    <a:gd name="T33" fmla="*/ 326 h 375"/>
                    <a:gd name="T34" fmla="*/ 185 w 248"/>
                    <a:gd name="T35" fmla="*/ 330 h 375"/>
                    <a:gd name="T36" fmla="*/ 188 w 248"/>
                    <a:gd name="T37" fmla="*/ 332 h 375"/>
                    <a:gd name="T38" fmla="*/ 191 w 248"/>
                    <a:gd name="T39" fmla="*/ 330 h 375"/>
                    <a:gd name="T40" fmla="*/ 197 w 248"/>
                    <a:gd name="T41" fmla="*/ 312 h 375"/>
                    <a:gd name="T42" fmla="*/ 202 w 248"/>
                    <a:gd name="T43" fmla="*/ 287 h 375"/>
                    <a:gd name="T44" fmla="*/ 248 w 248"/>
                    <a:gd name="T45" fmla="*/ 49 h 375"/>
                    <a:gd name="T46" fmla="*/ 134 w 248"/>
                    <a:gd name="T47" fmla="*/ 24 h 375"/>
                    <a:gd name="T48" fmla="*/ 42 w 248"/>
                    <a:gd name="T49" fmla="*/ 0 h 375"/>
                    <a:gd name="T50" fmla="*/ 8 w 248"/>
                    <a:gd name="T51" fmla="*/ 130 h 375"/>
                    <a:gd name="T52" fmla="*/ 5 w 248"/>
                    <a:gd name="T53" fmla="*/ 1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8" h="375">
                      <a:moveTo>
                        <a:pt x="5" y="131"/>
                      </a:moveTo>
                      <a:cubicBezTo>
                        <a:pt x="1" y="132"/>
                        <a:pt x="1" y="132"/>
                        <a:pt x="1" y="132"/>
                      </a:cubicBezTo>
                      <a:cubicBezTo>
                        <a:pt x="0" y="135"/>
                        <a:pt x="0" y="135"/>
                        <a:pt x="0" y="135"/>
                      </a:cubicBezTo>
                      <a:cubicBezTo>
                        <a:pt x="1" y="139"/>
                        <a:pt x="1" y="139"/>
                        <a:pt x="1" y="139"/>
                      </a:cubicBezTo>
                      <a:cubicBezTo>
                        <a:pt x="2" y="142"/>
                        <a:pt x="2" y="142"/>
                        <a:pt x="2" y="142"/>
                      </a:cubicBezTo>
                      <a:cubicBezTo>
                        <a:pt x="3" y="143"/>
                        <a:pt x="3" y="143"/>
                        <a:pt x="3" y="143"/>
                      </a:cubicBezTo>
                      <a:cubicBezTo>
                        <a:pt x="7" y="145"/>
                        <a:pt x="7" y="145"/>
                        <a:pt x="7" y="145"/>
                      </a:cubicBezTo>
                      <a:cubicBezTo>
                        <a:pt x="160" y="375"/>
                        <a:pt x="160" y="375"/>
                        <a:pt x="160" y="375"/>
                      </a:cubicBezTo>
                      <a:cubicBezTo>
                        <a:pt x="163" y="371"/>
                        <a:pt x="163" y="371"/>
                        <a:pt x="163" y="371"/>
                      </a:cubicBezTo>
                      <a:cubicBezTo>
                        <a:pt x="164" y="367"/>
                        <a:pt x="164" y="367"/>
                        <a:pt x="164" y="367"/>
                      </a:cubicBezTo>
                      <a:cubicBezTo>
                        <a:pt x="164" y="354"/>
                        <a:pt x="164" y="354"/>
                        <a:pt x="164" y="354"/>
                      </a:cubicBezTo>
                      <a:cubicBezTo>
                        <a:pt x="164" y="340"/>
                        <a:pt x="164" y="340"/>
                        <a:pt x="164" y="340"/>
                      </a:cubicBezTo>
                      <a:cubicBezTo>
                        <a:pt x="164" y="329"/>
                        <a:pt x="164" y="329"/>
                        <a:pt x="164" y="329"/>
                      </a:cubicBezTo>
                      <a:cubicBezTo>
                        <a:pt x="167" y="326"/>
                        <a:pt x="167" y="326"/>
                        <a:pt x="167" y="326"/>
                      </a:cubicBezTo>
                      <a:cubicBezTo>
                        <a:pt x="174" y="324"/>
                        <a:pt x="174" y="324"/>
                        <a:pt x="174" y="324"/>
                      </a:cubicBezTo>
                      <a:cubicBezTo>
                        <a:pt x="176" y="328"/>
                        <a:pt x="176" y="328"/>
                        <a:pt x="176" y="328"/>
                      </a:cubicBezTo>
                      <a:cubicBezTo>
                        <a:pt x="180" y="326"/>
                        <a:pt x="180" y="326"/>
                        <a:pt x="180" y="326"/>
                      </a:cubicBezTo>
                      <a:cubicBezTo>
                        <a:pt x="185" y="330"/>
                        <a:pt x="185" y="330"/>
                        <a:pt x="185" y="330"/>
                      </a:cubicBezTo>
                      <a:cubicBezTo>
                        <a:pt x="188" y="332"/>
                        <a:pt x="188" y="332"/>
                        <a:pt x="188" y="332"/>
                      </a:cubicBezTo>
                      <a:cubicBezTo>
                        <a:pt x="191" y="330"/>
                        <a:pt x="191" y="330"/>
                        <a:pt x="191" y="330"/>
                      </a:cubicBezTo>
                      <a:cubicBezTo>
                        <a:pt x="191" y="330"/>
                        <a:pt x="195" y="316"/>
                        <a:pt x="197" y="312"/>
                      </a:cubicBezTo>
                      <a:cubicBezTo>
                        <a:pt x="198" y="306"/>
                        <a:pt x="202" y="287"/>
                        <a:pt x="202" y="287"/>
                      </a:cubicBezTo>
                      <a:cubicBezTo>
                        <a:pt x="248" y="49"/>
                        <a:pt x="248" y="49"/>
                        <a:pt x="248" y="49"/>
                      </a:cubicBezTo>
                      <a:cubicBezTo>
                        <a:pt x="248" y="49"/>
                        <a:pt x="163" y="31"/>
                        <a:pt x="134" y="24"/>
                      </a:cubicBezTo>
                      <a:cubicBezTo>
                        <a:pt x="111" y="19"/>
                        <a:pt x="42" y="0"/>
                        <a:pt x="42" y="0"/>
                      </a:cubicBezTo>
                      <a:cubicBezTo>
                        <a:pt x="8" y="130"/>
                        <a:pt x="8" y="130"/>
                        <a:pt x="8" y="130"/>
                      </a:cubicBezTo>
                      <a:lnTo>
                        <a:pt x="5" y="13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3" name="Freeform 72">
                  <a:extLst>
                    <a:ext uri="{FF2B5EF4-FFF2-40B4-BE49-F238E27FC236}">
                      <a16:creationId xmlns:a16="http://schemas.microsoft.com/office/drawing/2014/main" id="{2779545C-B895-D3EB-406F-0D0910B0184F}"/>
                    </a:ext>
                  </a:extLst>
                </p:cNvPr>
                <p:cNvSpPr>
                  <a:spLocks/>
                </p:cNvSpPr>
                <p:nvPr/>
              </p:nvSpPr>
              <p:spPr bwMode="auto">
                <a:xfrm>
                  <a:off x="5278001" y="1830900"/>
                  <a:ext cx="440161" cy="372704"/>
                </a:xfrm>
                <a:custGeom>
                  <a:avLst/>
                  <a:gdLst>
                    <a:gd name="T0" fmla="*/ 269 w 308"/>
                    <a:gd name="T1" fmla="*/ 182 h 261"/>
                    <a:gd name="T2" fmla="*/ 270 w 308"/>
                    <a:gd name="T3" fmla="*/ 175 h 261"/>
                    <a:gd name="T4" fmla="*/ 275 w 308"/>
                    <a:gd name="T5" fmla="*/ 171 h 261"/>
                    <a:gd name="T6" fmla="*/ 276 w 308"/>
                    <a:gd name="T7" fmla="*/ 159 h 261"/>
                    <a:gd name="T8" fmla="*/ 274 w 308"/>
                    <a:gd name="T9" fmla="*/ 154 h 261"/>
                    <a:gd name="T10" fmla="*/ 271 w 308"/>
                    <a:gd name="T11" fmla="*/ 153 h 261"/>
                    <a:gd name="T12" fmla="*/ 270 w 308"/>
                    <a:gd name="T13" fmla="*/ 145 h 261"/>
                    <a:gd name="T14" fmla="*/ 277 w 308"/>
                    <a:gd name="T15" fmla="*/ 137 h 261"/>
                    <a:gd name="T16" fmla="*/ 288 w 308"/>
                    <a:gd name="T17" fmla="*/ 125 h 261"/>
                    <a:gd name="T18" fmla="*/ 291 w 308"/>
                    <a:gd name="T19" fmla="*/ 120 h 261"/>
                    <a:gd name="T20" fmla="*/ 297 w 308"/>
                    <a:gd name="T21" fmla="*/ 111 h 261"/>
                    <a:gd name="T22" fmla="*/ 304 w 308"/>
                    <a:gd name="T23" fmla="*/ 104 h 261"/>
                    <a:gd name="T24" fmla="*/ 308 w 308"/>
                    <a:gd name="T25" fmla="*/ 98 h 261"/>
                    <a:gd name="T26" fmla="*/ 307 w 308"/>
                    <a:gd name="T27" fmla="*/ 90 h 261"/>
                    <a:gd name="T28" fmla="*/ 300 w 308"/>
                    <a:gd name="T29" fmla="*/ 83 h 261"/>
                    <a:gd name="T30" fmla="*/ 297 w 308"/>
                    <a:gd name="T31" fmla="*/ 74 h 261"/>
                    <a:gd name="T32" fmla="*/ 220 w 308"/>
                    <a:gd name="T33" fmla="*/ 56 h 261"/>
                    <a:gd name="T34" fmla="*/ 211 w 308"/>
                    <a:gd name="T35" fmla="*/ 56 h 261"/>
                    <a:gd name="T36" fmla="*/ 178 w 308"/>
                    <a:gd name="T37" fmla="*/ 58 h 261"/>
                    <a:gd name="T38" fmla="*/ 172 w 308"/>
                    <a:gd name="T39" fmla="*/ 57 h 261"/>
                    <a:gd name="T40" fmla="*/ 167 w 308"/>
                    <a:gd name="T41" fmla="*/ 58 h 261"/>
                    <a:gd name="T42" fmla="*/ 164 w 308"/>
                    <a:gd name="T43" fmla="*/ 56 h 261"/>
                    <a:gd name="T44" fmla="*/ 156 w 308"/>
                    <a:gd name="T45" fmla="*/ 55 h 261"/>
                    <a:gd name="T46" fmla="*/ 155 w 308"/>
                    <a:gd name="T47" fmla="*/ 52 h 261"/>
                    <a:gd name="T48" fmla="*/ 143 w 308"/>
                    <a:gd name="T49" fmla="*/ 49 h 261"/>
                    <a:gd name="T50" fmla="*/ 136 w 308"/>
                    <a:gd name="T51" fmla="*/ 46 h 261"/>
                    <a:gd name="T52" fmla="*/ 121 w 308"/>
                    <a:gd name="T53" fmla="*/ 49 h 261"/>
                    <a:gd name="T54" fmla="*/ 103 w 308"/>
                    <a:gd name="T55" fmla="*/ 40 h 261"/>
                    <a:gd name="T56" fmla="*/ 99 w 308"/>
                    <a:gd name="T57" fmla="*/ 12 h 261"/>
                    <a:gd name="T58" fmla="*/ 90 w 308"/>
                    <a:gd name="T59" fmla="*/ 10 h 261"/>
                    <a:gd name="T60" fmla="*/ 80 w 308"/>
                    <a:gd name="T61" fmla="*/ 4 h 261"/>
                    <a:gd name="T62" fmla="*/ 70 w 308"/>
                    <a:gd name="T63" fmla="*/ 0 h 261"/>
                    <a:gd name="T64" fmla="*/ 68 w 308"/>
                    <a:gd name="T65" fmla="*/ 13 h 261"/>
                    <a:gd name="T66" fmla="*/ 64 w 308"/>
                    <a:gd name="T67" fmla="*/ 28 h 261"/>
                    <a:gd name="T68" fmla="*/ 60 w 308"/>
                    <a:gd name="T69" fmla="*/ 38 h 261"/>
                    <a:gd name="T70" fmla="*/ 55 w 308"/>
                    <a:gd name="T71" fmla="*/ 50 h 261"/>
                    <a:gd name="T72" fmla="*/ 47 w 308"/>
                    <a:gd name="T73" fmla="*/ 67 h 261"/>
                    <a:gd name="T74" fmla="*/ 35 w 308"/>
                    <a:gd name="T75" fmla="*/ 98 h 261"/>
                    <a:gd name="T76" fmla="*/ 24 w 308"/>
                    <a:gd name="T77" fmla="*/ 120 h 261"/>
                    <a:gd name="T78" fmla="*/ 18 w 308"/>
                    <a:gd name="T79" fmla="*/ 130 h 261"/>
                    <a:gd name="T80" fmla="*/ 14 w 308"/>
                    <a:gd name="T81" fmla="*/ 136 h 261"/>
                    <a:gd name="T82" fmla="*/ 5 w 308"/>
                    <a:gd name="T83" fmla="*/ 148 h 261"/>
                    <a:gd name="T84" fmla="*/ 5 w 308"/>
                    <a:gd name="T85" fmla="*/ 160 h 261"/>
                    <a:gd name="T86" fmla="*/ 5 w 308"/>
                    <a:gd name="T87" fmla="*/ 164 h 261"/>
                    <a:gd name="T88" fmla="*/ 3 w 308"/>
                    <a:gd name="T89" fmla="*/ 169 h 261"/>
                    <a:gd name="T90" fmla="*/ 1 w 308"/>
                    <a:gd name="T91" fmla="*/ 174 h 261"/>
                    <a:gd name="T92" fmla="*/ 0 w 308"/>
                    <a:gd name="T93" fmla="*/ 187 h 261"/>
                    <a:gd name="T94" fmla="*/ 3 w 308"/>
                    <a:gd name="T95" fmla="*/ 193 h 261"/>
                    <a:gd name="T96" fmla="*/ 239 w 308"/>
                    <a:gd name="T97" fmla="*/ 25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61">
                      <a:moveTo>
                        <a:pt x="251" y="261"/>
                      </a:moveTo>
                      <a:cubicBezTo>
                        <a:pt x="269" y="182"/>
                        <a:pt x="269" y="182"/>
                        <a:pt x="269" y="182"/>
                      </a:cubicBezTo>
                      <a:cubicBezTo>
                        <a:pt x="269" y="177"/>
                        <a:pt x="269" y="177"/>
                        <a:pt x="269" y="177"/>
                      </a:cubicBezTo>
                      <a:cubicBezTo>
                        <a:pt x="270" y="175"/>
                        <a:pt x="270" y="175"/>
                        <a:pt x="270" y="175"/>
                      </a:cubicBezTo>
                      <a:cubicBezTo>
                        <a:pt x="275" y="173"/>
                        <a:pt x="275" y="173"/>
                        <a:pt x="275" y="173"/>
                      </a:cubicBezTo>
                      <a:cubicBezTo>
                        <a:pt x="275" y="171"/>
                        <a:pt x="275" y="171"/>
                        <a:pt x="275" y="171"/>
                      </a:cubicBezTo>
                      <a:cubicBezTo>
                        <a:pt x="276" y="167"/>
                        <a:pt x="276" y="167"/>
                        <a:pt x="276" y="167"/>
                      </a:cubicBezTo>
                      <a:cubicBezTo>
                        <a:pt x="276" y="159"/>
                        <a:pt x="276" y="159"/>
                        <a:pt x="276" y="159"/>
                      </a:cubicBezTo>
                      <a:cubicBezTo>
                        <a:pt x="277" y="157"/>
                        <a:pt x="277" y="157"/>
                        <a:pt x="277" y="157"/>
                      </a:cubicBezTo>
                      <a:cubicBezTo>
                        <a:pt x="274" y="154"/>
                        <a:pt x="274" y="154"/>
                        <a:pt x="274" y="154"/>
                      </a:cubicBezTo>
                      <a:cubicBezTo>
                        <a:pt x="273" y="154"/>
                        <a:pt x="273" y="154"/>
                        <a:pt x="273" y="154"/>
                      </a:cubicBezTo>
                      <a:cubicBezTo>
                        <a:pt x="271" y="153"/>
                        <a:pt x="271" y="153"/>
                        <a:pt x="271" y="153"/>
                      </a:cubicBezTo>
                      <a:cubicBezTo>
                        <a:pt x="269" y="150"/>
                        <a:pt x="269" y="150"/>
                        <a:pt x="269" y="150"/>
                      </a:cubicBezTo>
                      <a:cubicBezTo>
                        <a:pt x="270" y="145"/>
                        <a:pt x="270" y="145"/>
                        <a:pt x="270" y="145"/>
                      </a:cubicBezTo>
                      <a:cubicBezTo>
                        <a:pt x="271" y="142"/>
                        <a:pt x="271" y="142"/>
                        <a:pt x="271" y="142"/>
                      </a:cubicBezTo>
                      <a:cubicBezTo>
                        <a:pt x="277" y="137"/>
                        <a:pt x="277" y="137"/>
                        <a:pt x="277" y="137"/>
                      </a:cubicBezTo>
                      <a:cubicBezTo>
                        <a:pt x="285" y="129"/>
                        <a:pt x="285" y="129"/>
                        <a:pt x="285" y="129"/>
                      </a:cubicBezTo>
                      <a:cubicBezTo>
                        <a:pt x="288" y="125"/>
                        <a:pt x="288" y="125"/>
                        <a:pt x="288" y="125"/>
                      </a:cubicBezTo>
                      <a:cubicBezTo>
                        <a:pt x="289" y="121"/>
                        <a:pt x="289" y="121"/>
                        <a:pt x="289" y="121"/>
                      </a:cubicBezTo>
                      <a:cubicBezTo>
                        <a:pt x="291" y="120"/>
                        <a:pt x="291" y="120"/>
                        <a:pt x="291" y="120"/>
                      </a:cubicBezTo>
                      <a:cubicBezTo>
                        <a:pt x="293" y="115"/>
                        <a:pt x="293" y="115"/>
                        <a:pt x="293" y="115"/>
                      </a:cubicBezTo>
                      <a:cubicBezTo>
                        <a:pt x="297" y="111"/>
                        <a:pt x="297" y="111"/>
                        <a:pt x="297" y="111"/>
                      </a:cubicBezTo>
                      <a:cubicBezTo>
                        <a:pt x="300" y="107"/>
                        <a:pt x="300" y="107"/>
                        <a:pt x="300" y="107"/>
                      </a:cubicBezTo>
                      <a:cubicBezTo>
                        <a:pt x="304" y="104"/>
                        <a:pt x="304" y="104"/>
                        <a:pt x="304" y="104"/>
                      </a:cubicBezTo>
                      <a:cubicBezTo>
                        <a:pt x="305" y="99"/>
                        <a:pt x="305" y="99"/>
                        <a:pt x="305" y="99"/>
                      </a:cubicBezTo>
                      <a:cubicBezTo>
                        <a:pt x="308" y="98"/>
                        <a:pt x="308" y="98"/>
                        <a:pt x="308" y="98"/>
                      </a:cubicBezTo>
                      <a:cubicBezTo>
                        <a:pt x="308" y="94"/>
                        <a:pt x="308" y="94"/>
                        <a:pt x="308" y="94"/>
                      </a:cubicBezTo>
                      <a:cubicBezTo>
                        <a:pt x="307" y="90"/>
                        <a:pt x="307" y="90"/>
                        <a:pt x="307" y="90"/>
                      </a:cubicBezTo>
                      <a:cubicBezTo>
                        <a:pt x="305" y="87"/>
                        <a:pt x="305" y="87"/>
                        <a:pt x="305" y="87"/>
                      </a:cubicBezTo>
                      <a:cubicBezTo>
                        <a:pt x="300" y="83"/>
                        <a:pt x="300" y="83"/>
                        <a:pt x="300" y="83"/>
                      </a:cubicBezTo>
                      <a:cubicBezTo>
                        <a:pt x="297" y="78"/>
                        <a:pt x="297" y="78"/>
                        <a:pt x="297" y="78"/>
                      </a:cubicBezTo>
                      <a:cubicBezTo>
                        <a:pt x="297" y="74"/>
                        <a:pt x="297" y="74"/>
                        <a:pt x="297" y="74"/>
                      </a:cubicBezTo>
                      <a:cubicBezTo>
                        <a:pt x="231" y="57"/>
                        <a:pt x="231" y="57"/>
                        <a:pt x="231" y="57"/>
                      </a:cubicBezTo>
                      <a:cubicBezTo>
                        <a:pt x="220" y="56"/>
                        <a:pt x="220" y="56"/>
                        <a:pt x="220" y="56"/>
                      </a:cubicBezTo>
                      <a:cubicBezTo>
                        <a:pt x="216" y="57"/>
                        <a:pt x="216" y="57"/>
                        <a:pt x="216" y="57"/>
                      </a:cubicBezTo>
                      <a:cubicBezTo>
                        <a:pt x="211" y="56"/>
                        <a:pt x="211" y="56"/>
                        <a:pt x="211" y="56"/>
                      </a:cubicBezTo>
                      <a:cubicBezTo>
                        <a:pt x="207" y="57"/>
                        <a:pt x="207" y="57"/>
                        <a:pt x="207" y="57"/>
                      </a:cubicBezTo>
                      <a:cubicBezTo>
                        <a:pt x="178" y="58"/>
                        <a:pt x="178" y="58"/>
                        <a:pt x="178" y="58"/>
                      </a:cubicBezTo>
                      <a:cubicBezTo>
                        <a:pt x="175" y="56"/>
                        <a:pt x="175" y="56"/>
                        <a:pt x="175" y="56"/>
                      </a:cubicBezTo>
                      <a:cubicBezTo>
                        <a:pt x="172" y="57"/>
                        <a:pt x="172" y="57"/>
                        <a:pt x="172" y="57"/>
                      </a:cubicBezTo>
                      <a:cubicBezTo>
                        <a:pt x="169" y="58"/>
                        <a:pt x="169" y="58"/>
                        <a:pt x="169" y="58"/>
                      </a:cubicBezTo>
                      <a:cubicBezTo>
                        <a:pt x="167" y="58"/>
                        <a:pt x="167" y="58"/>
                        <a:pt x="167" y="58"/>
                      </a:cubicBezTo>
                      <a:cubicBezTo>
                        <a:pt x="164" y="57"/>
                        <a:pt x="164" y="57"/>
                        <a:pt x="164" y="57"/>
                      </a:cubicBezTo>
                      <a:cubicBezTo>
                        <a:pt x="164" y="56"/>
                        <a:pt x="164" y="56"/>
                        <a:pt x="164" y="56"/>
                      </a:cubicBezTo>
                      <a:cubicBezTo>
                        <a:pt x="159" y="56"/>
                        <a:pt x="159" y="56"/>
                        <a:pt x="159" y="56"/>
                      </a:cubicBezTo>
                      <a:cubicBezTo>
                        <a:pt x="156" y="55"/>
                        <a:pt x="156" y="55"/>
                        <a:pt x="156" y="55"/>
                      </a:cubicBezTo>
                      <a:cubicBezTo>
                        <a:pt x="155" y="53"/>
                        <a:pt x="155" y="53"/>
                        <a:pt x="155" y="53"/>
                      </a:cubicBezTo>
                      <a:cubicBezTo>
                        <a:pt x="155" y="52"/>
                        <a:pt x="155" y="52"/>
                        <a:pt x="155" y="52"/>
                      </a:cubicBezTo>
                      <a:cubicBezTo>
                        <a:pt x="151" y="51"/>
                        <a:pt x="151" y="51"/>
                        <a:pt x="151" y="51"/>
                      </a:cubicBezTo>
                      <a:cubicBezTo>
                        <a:pt x="143" y="49"/>
                        <a:pt x="143" y="49"/>
                        <a:pt x="143" y="49"/>
                      </a:cubicBezTo>
                      <a:cubicBezTo>
                        <a:pt x="138" y="47"/>
                        <a:pt x="138" y="47"/>
                        <a:pt x="138" y="47"/>
                      </a:cubicBezTo>
                      <a:cubicBezTo>
                        <a:pt x="136" y="46"/>
                        <a:pt x="136" y="46"/>
                        <a:pt x="136" y="46"/>
                      </a:cubicBezTo>
                      <a:cubicBezTo>
                        <a:pt x="130" y="47"/>
                        <a:pt x="130" y="47"/>
                        <a:pt x="130" y="47"/>
                      </a:cubicBezTo>
                      <a:cubicBezTo>
                        <a:pt x="121" y="49"/>
                        <a:pt x="121" y="49"/>
                        <a:pt x="121" y="49"/>
                      </a:cubicBezTo>
                      <a:cubicBezTo>
                        <a:pt x="110" y="46"/>
                        <a:pt x="110" y="46"/>
                        <a:pt x="110" y="46"/>
                      </a:cubicBezTo>
                      <a:cubicBezTo>
                        <a:pt x="103" y="40"/>
                        <a:pt x="103" y="40"/>
                        <a:pt x="103" y="40"/>
                      </a:cubicBezTo>
                      <a:cubicBezTo>
                        <a:pt x="103" y="40"/>
                        <a:pt x="106" y="33"/>
                        <a:pt x="105" y="24"/>
                      </a:cubicBezTo>
                      <a:cubicBezTo>
                        <a:pt x="104" y="14"/>
                        <a:pt x="99" y="12"/>
                        <a:pt x="99" y="12"/>
                      </a:cubicBezTo>
                      <a:cubicBezTo>
                        <a:pt x="94" y="12"/>
                        <a:pt x="94" y="12"/>
                        <a:pt x="94" y="12"/>
                      </a:cubicBezTo>
                      <a:cubicBezTo>
                        <a:pt x="90" y="10"/>
                        <a:pt x="90" y="10"/>
                        <a:pt x="90" y="10"/>
                      </a:cubicBezTo>
                      <a:cubicBezTo>
                        <a:pt x="90" y="10"/>
                        <a:pt x="90" y="4"/>
                        <a:pt x="85" y="4"/>
                      </a:cubicBezTo>
                      <a:cubicBezTo>
                        <a:pt x="80" y="4"/>
                        <a:pt x="80" y="4"/>
                        <a:pt x="80" y="4"/>
                      </a:cubicBezTo>
                      <a:cubicBezTo>
                        <a:pt x="74" y="3"/>
                        <a:pt x="74" y="3"/>
                        <a:pt x="74" y="3"/>
                      </a:cubicBezTo>
                      <a:cubicBezTo>
                        <a:pt x="70" y="0"/>
                        <a:pt x="70" y="0"/>
                        <a:pt x="70" y="0"/>
                      </a:cubicBezTo>
                      <a:cubicBezTo>
                        <a:pt x="70" y="7"/>
                        <a:pt x="70" y="7"/>
                        <a:pt x="70" y="7"/>
                      </a:cubicBezTo>
                      <a:cubicBezTo>
                        <a:pt x="68" y="13"/>
                        <a:pt x="68" y="13"/>
                        <a:pt x="68" y="13"/>
                      </a:cubicBezTo>
                      <a:cubicBezTo>
                        <a:pt x="63" y="22"/>
                        <a:pt x="63" y="22"/>
                        <a:pt x="63" y="22"/>
                      </a:cubicBezTo>
                      <a:cubicBezTo>
                        <a:pt x="64" y="28"/>
                        <a:pt x="64" y="28"/>
                        <a:pt x="64" y="28"/>
                      </a:cubicBezTo>
                      <a:cubicBezTo>
                        <a:pt x="63" y="33"/>
                        <a:pt x="63" y="33"/>
                        <a:pt x="63" y="33"/>
                      </a:cubicBezTo>
                      <a:cubicBezTo>
                        <a:pt x="60" y="38"/>
                        <a:pt x="60" y="38"/>
                        <a:pt x="60" y="38"/>
                      </a:cubicBezTo>
                      <a:cubicBezTo>
                        <a:pt x="58" y="43"/>
                        <a:pt x="58" y="43"/>
                        <a:pt x="58" y="43"/>
                      </a:cubicBezTo>
                      <a:cubicBezTo>
                        <a:pt x="55" y="50"/>
                        <a:pt x="55" y="50"/>
                        <a:pt x="55" y="50"/>
                      </a:cubicBezTo>
                      <a:cubicBezTo>
                        <a:pt x="53" y="55"/>
                        <a:pt x="53" y="55"/>
                        <a:pt x="53" y="55"/>
                      </a:cubicBezTo>
                      <a:cubicBezTo>
                        <a:pt x="47" y="67"/>
                        <a:pt x="47" y="67"/>
                        <a:pt x="47" y="67"/>
                      </a:cubicBezTo>
                      <a:cubicBezTo>
                        <a:pt x="40" y="85"/>
                        <a:pt x="40" y="85"/>
                        <a:pt x="40" y="85"/>
                      </a:cubicBezTo>
                      <a:cubicBezTo>
                        <a:pt x="35" y="98"/>
                        <a:pt x="35" y="98"/>
                        <a:pt x="35" y="98"/>
                      </a:cubicBezTo>
                      <a:cubicBezTo>
                        <a:pt x="30" y="111"/>
                        <a:pt x="30" y="111"/>
                        <a:pt x="30" y="111"/>
                      </a:cubicBezTo>
                      <a:cubicBezTo>
                        <a:pt x="24" y="120"/>
                        <a:pt x="24" y="120"/>
                        <a:pt x="24" y="120"/>
                      </a:cubicBezTo>
                      <a:cubicBezTo>
                        <a:pt x="22" y="124"/>
                        <a:pt x="22" y="124"/>
                        <a:pt x="22" y="124"/>
                      </a:cubicBezTo>
                      <a:cubicBezTo>
                        <a:pt x="18" y="130"/>
                        <a:pt x="18" y="130"/>
                        <a:pt x="18" y="130"/>
                      </a:cubicBezTo>
                      <a:cubicBezTo>
                        <a:pt x="15" y="133"/>
                        <a:pt x="15" y="133"/>
                        <a:pt x="15" y="133"/>
                      </a:cubicBezTo>
                      <a:cubicBezTo>
                        <a:pt x="14" y="136"/>
                        <a:pt x="14" y="136"/>
                        <a:pt x="14" y="136"/>
                      </a:cubicBezTo>
                      <a:cubicBezTo>
                        <a:pt x="11" y="141"/>
                        <a:pt x="11" y="141"/>
                        <a:pt x="11" y="141"/>
                      </a:cubicBezTo>
                      <a:cubicBezTo>
                        <a:pt x="5" y="148"/>
                        <a:pt x="5" y="148"/>
                        <a:pt x="5" y="148"/>
                      </a:cubicBezTo>
                      <a:cubicBezTo>
                        <a:pt x="3" y="152"/>
                        <a:pt x="3" y="152"/>
                        <a:pt x="3" y="152"/>
                      </a:cubicBezTo>
                      <a:cubicBezTo>
                        <a:pt x="5" y="160"/>
                        <a:pt x="5" y="160"/>
                        <a:pt x="5" y="160"/>
                      </a:cubicBezTo>
                      <a:cubicBezTo>
                        <a:pt x="5" y="162"/>
                        <a:pt x="5" y="162"/>
                        <a:pt x="5" y="162"/>
                      </a:cubicBezTo>
                      <a:cubicBezTo>
                        <a:pt x="5" y="164"/>
                        <a:pt x="5" y="164"/>
                        <a:pt x="5" y="164"/>
                      </a:cubicBezTo>
                      <a:cubicBezTo>
                        <a:pt x="4" y="165"/>
                        <a:pt x="4" y="165"/>
                        <a:pt x="4" y="165"/>
                      </a:cubicBezTo>
                      <a:cubicBezTo>
                        <a:pt x="3" y="169"/>
                        <a:pt x="3" y="169"/>
                        <a:pt x="3" y="169"/>
                      </a:cubicBezTo>
                      <a:cubicBezTo>
                        <a:pt x="1" y="170"/>
                        <a:pt x="1" y="170"/>
                        <a:pt x="1" y="170"/>
                      </a:cubicBezTo>
                      <a:cubicBezTo>
                        <a:pt x="1" y="174"/>
                        <a:pt x="1" y="174"/>
                        <a:pt x="1" y="174"/>
                      </a:cubicBezTo>
                      <a:cubicBezTo>
                        <a:pt x="0" y="182"/>
                        <a:pt x="0" y="182"/>
                        <a:pt x="0" y="182"/>
                      </a:cubicBezTo>
                      <a:cubicBezTo>
                        <a:pt x="0" y="187"/>
                        <a:pt x="0" y="187"/>
                        <a:pt x="0" y="187"/>
                      </a:cubicBezTo>
                      <a:cubicBezTo>
                        <a:pt x="2" y="190"/>
                        <a:pt x="2" y="190"/>
                        <a:pt x="2" y="190"/>
                      </a:cubicBezTo>
                      <a:cubicBezTo>
                        <a:pt x="3" y="193"/>
                        <a:pt x="3" y="193"/>
                        <a:pt x="3" y="193"/>
                      </a:cubicBezTo>
                      <a:cubicBezTo>
                        <a:pt x="147" y="234"/>
                        <a:pt x="147" y="234"/>
                        <a:pt x="147" y="234"/>
                      </a:cubicBezTo>
                      <a:cubicBezTo>
                        <a:pt x="147" y="234"/>
                        <a:pt x="216" y="253"/>
                        <a:pt x="239" y="258"/>
                      </a:cubicBezTo>
                      <a:cubicBezTo>
                        <a:pt x="242" y="259"/>
                        <a:pt x="246" y="260"/>
                        <a:pt x="251" y="26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4" name="Freeform 73">
                  <a:extLst>
                    <a:ext uri="{FF2B5EF4-FFF2-40B4-BE49-F238E27FC236}">
                      <a16:creationId xmlns:a16="http://schemas.microsoft.com/office/drawing/2014/main" id="{A3B8870F-A1D9-26D1-6456-63601C4A43C4}"/>
                    </a:ext>
                  </a:extLst>
                </p:cNvPr>
                <p:cNvSpPr>
                  <a:spLocks/>
                </p:cNvSpPr>
                <p:nvPr/>
              </p:nvSpPr>
              <p:spPr bwMode="auto">
                <a:xfrm>
                  <a:off x="5637212" y="1731400"/>
                  <a:ext cx="325483" cy="532915"/>
                </a:xfrm>
                <a:custGeom>
                  <a:avLst/>
                  <a:gdLst>
                    <a:gd name="T0" fmla="*/ 46 w 228"/>
                    <a:gd name="T1" fmla="*/ 143 h 373"/>
                    <a:gd name="T2" fmla="*/ 49 w 228"/>
                    <a:gd name="T3" fmla="*/ 152 h 373"/>
                    <a:gd name="T4" fmla="*/ 56 w 228"/>
                    <a:gd name="T5" fmla="*/ 159 h 373"/>
                    <a:gd name="T6" fmla="*/ 57 w 228"/>
                    <a:gd name="T7" fmla="*/ 167 h 373"/>
                    <a:gd name="T8" fmla="*/ 53 w 228"/>
                    <a:gd name="T9" fmla="*/ 173 h 373"/>
                    <a:gd name="T10" fmla="*/ 46 w 228"/>
                    <a:gd name="T11" fmla="*/ 180 h 373"/>
                    <a:gd name="T12" fmla="*/ 40 w 228"/>
                    <a:gd name="T13" fmla="*/ 189 h 373"/>
                    <a:gd name="T14" fmla="*/ 37 w 228"/>
                    <a:gd name="T15" fmla="*/ 194 h 373"/>
                    <a:gd name="T16" fmla="*/ 26 w 228"/>
                    <a:gd name="T17" fmla="*/ 206 h 373"/>
                    <a:gd name="T18" fmla="*/ 19 w 228"/>
                    <a:gd name="T19" fmla="*/ 214 h 373"/>
                    <a:gd name="T20" fmla="*/ 20 w 228"/>
                    <a:gd name="T21" fmla="*/ 222 h 373"/>
                    <a:gd name="T22" fmla="*/ 23 w 228"/>
                    <a:gd name="T23" fmla="*/ 223 h 373"/>
                    <a:gd name="T24" fmla="*/ 25 w 228"/>
                    <a:gd name="T25" fmla="*/ 228 h 373"/>
                    <a:gd name="T26" fmla="*/ 24 w 228"/>
                    <a:gd name="T27" fmla="*/ 240 h 373"/>
                    <a:gd name="T28" fmla="*/ 19 w 228"/>
                    <a:gd name="T29" fmla="*/ 244 h 373"/>
                    <a:gd name="T30" fmla="*/ 18 w 228"/>
                    <a:gd name="T31" fmla="*/ 251 h 373"/>
                    <a:gd name="T32" fmla="*/ 102 w 228"/>
                    <a:gd name="T33" fmla="*/ 352 h 373"/>
                    <a:gd name="T34" fmla="*/ 228 w 228"/>
                    <a:gd name="T35" fmla="*/ 256 h 373"/>
                    <a:gd name="T36" fmla="*/ 224 w 228"/>
                    <a:gd name="T37" fmla="*/ 252 h 373"/>
                    <a:gd name="T38" fmla="*/ 223 w 228"/>
                    <a:gd name="T39" fmla="*/ 247 h 373"/>
                    <a:gd name="T40" fmla="*/ 218 w 228"/>
                    <a:gd name="T41" fmla="*/ 241 h 373"/>
                    <a:gd name="T42" fmla="*/ 213 w 228"/>
                    <a:gd name="T43" fmla="*/ 246 h 373"/>
                    <a:gd name="T44" fmla="*/ 202 w 228"/>
                    <a:gd name="T45" fmla="*/ 248 h 373"/>
                    <a:gd name="T46" fmla="*/ 189 w 228"/>
                    <a:gd name="T47" fmla="*/ 245 h 373"/>
                    <a:gd name="T48" fmla="*/ 184 w 228"/>
                    <a:gd name="T49" fmla="*/ 247 h 373"/>
                    <a:gd name="T50" fmla="*/ 179 w 228"/>
                    <a:gd name="T51" fmla="*/ 247 h 373"/>
                    <a:gd name="T52" fmla="*/ 171 w 228"/>
                    <a:gd name="T53" fmla="*/ 244 h 373"/>
                    <a:gd name="T54" fmla="*/ 168 w 228"/>
                    <a:gd name="T55" fmla="*/ 247 h 373"/>
                    <a:gd name="T56" fmla="*/ 164 w 228"/>
                    <a:gd name="T57" fmla="*/ 249 h 373"/>
                    <a:gd name="T58" fmla="*/ 162 w 228"/>
                    <a:gd name="T59" fmla="*/ 242 h 373"/>
                    <a:gd name="T60" fmla="*/ 160 w 228"/>
                    <a:gd name="T61" fmla="*/ 232 h 373"/>
                    <a:gd name="T62" fmla="*/ 156 w 228"/>
                    <a:gd name="T63" fmla="*/ 226 h 373"/>
                    <a:gd name="T64" fmla="*/ 149 w 228"/>
                    <a:gd name="T65" fmla="*/ 220 h 373"/>
                    <a:gd name="T66" fmla="*/ 149 w 228"/>
                    <a:gd name="T67" fmla="*/ 213 h 373"/>
                    <a:gd name="T68" fmla="*/ 145 w 228"/>
                    <a:gd name="T69" fmla="*/ 204 h 373"/>
                    <a:gd name="T70" fmla="*/ 145 w 228"/>
                    <a:gd name="T71" fmla="*/ 195 h 373"/>
                    <a:gd name="T72" fmla="*/ 142 w 228"/>
                    <a:gd name="T73" fmla="*/ 183 h 373"/>
                    <a:gd name="T74" fmla="*/ 139 w 228"/>
                    <a:gd name="T75" fmla="*/ 179 h 373"/>
                    <a:gd name="T76" fmla="*/ 133 w 228"/>
                    <a:gd name="T77" fmla="*/ 182 h 373"/>
                    <a:gd name="T78" fmla="*/ 127 w 228"/>
                    <a:gd name="T79" fmla="*/ 186 h 373"/>
                    <a:gd name="T80" fmla="*/ 125 w 228"/>
                    <a:gd name="T81" fmla="*/ 183 h 373"/>
                    <a:gd name="T82" fmla="*/ 119 w 228"/>
                    <a:gd name="T83" fmla="*/ 179 h 373"/>
                    <a:gd name="T84" fmla="*/ 125 w 228"/>
                    <a:gd name="T85" fmla="*/ 168 h 373"/>
                    <a:gd name="T86" fmla="*/ 129 w 228"/>
                    <a:gd name="T87" fmla="*/ 166 h 373"/>
                    <a:gd name="T88" fmla="*/ 128 w 228"/>
                    <a:gd name="T89" fmla="*/ 154 h 373"/>
                    <a:gd name="T90" fmla="*/ 134 w 228"/>
                    <a:gd name="T91" fmla="*/ 141 h 373"/>
                    <a:gd name="T92" fmla="*/ 137 w 228"/>
                    <a:gd name="T93" fmla="*/ 131 h 373"/>
                    <a:gd name="T94" fmla="*/ 128 w 228"/>
                    <a:gd name="T95" fmla="*/ 128 h 373"/>
                    <a:gd name="T96" fmla="*/ 123 w 228"/>
                    <a:gd name="T97" fmla="*/ 118 h 373"/>
                    <a:gd name="T98" fmla="*/ 119 w 228"/>
                    <a:gd name="T99" fmla="*/ 106 h 373"/>
                    <a:gd name="T100" fmla="*/ 109 w 228"/>
                    <a:gd name="T101" fmla="*/ 93 h 373"/>
                    <a:gd name="T102" fmla="*/ 104 w 228"/>
                    <a:gd name="T103" fmla="*/ 82 h 373"/>
                    <a:gd name="T104" fmla="*/ 101 w 228"/>
                    <a:gd name="T105" fmla="*/ 76 h 373"/>
                    <a:gd name="T106" fmla="*/ 101 w 228"/>
                    <a:gd name="T107" fmla="*/ 69 h 373"/>
                    <a:gd name="T108" fmla="*/ 97 w 228"/>
                    <a:gd name="T109" fmla="*/ 62 h 373"/>
                    <a:gd name="T110" fmla="*/ 98 w 228"/>
                    <a:gd name="T111" fmla="*/ 48 h 373"/>
                    <a:gd name="T112" fmla="*/ 104 w 228"/>
                    <a:gd name="T113" fmla="*/ 25 h 373"/>
                    <a:gd name="T114" fmla="*/ 108 w 228"/>
                    <a:gd name="T115" fmla="*/ 8 h 373"/>
                    <a:gd name="T116" fmla="*/ 47 w 228"/>
                    <a:gd name="T117" fmla="*/ 12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373">
                      <a:moveTo>
                        <a:pt x="48" y="132"/>
                      </a:moveTo>
                      <a:cubicBezTo>
                        <a:pt x="48" y="138"/>
                        <a:pt x="46" y="143"/>
                        <a:pt x="46" y="143"/>
                      </a:cubicBezTo>
                      <a:cubicBezTo>
                        <a:pt x="46" y="147"/>
                        <a:pt x="46" y="147"/>
                        <a:pt x="46" y="147"/>
                      </a:cubicBezTo>
                      <a:cubicBezTo>
                        <a:pt x="49" y="152"/>
                        <a:pt x="49" y="152"/>
                        <a:pt x="49" y="152"/>
                      </a:cubicBezTo>
                      <a:cubicBezTo>
                        <a:pt x="54" y="156"/>
                        <a:pt x="54" y="156"/>
                        <a:pt x="54" y="156"/>
                      </a:cubicBezTo>
                      <a:cubicBezTo>
                        <a:pt x="56" y="159"/>
                        <a:pt x="56" y="159"/>
                        <a:pt x="56" y="159"/>
                      </a:cubicBezTo>
                      <a:cubicBezTo>
                        <a:pt x="57" y="163"/>
                        <a:pt x="57" y="163"/>
                        <a:pt x="57" y="163"/>
                      </a:cubicBezTo>
                      <a:cubicBezTo>
                        <a:pt x="57" y="167"/>
                        <a:pt x="57" y="167"/>
                        <a:pt x="57" y="167"/>
                      </a:cubicBezTo>
                      <a:cubicBezTo>
                        <a:pt x="54" y="168"/>
                        <a:pt x="54" y="168"/>
                        <a:pt x="54" y="168"/>
                      </a:cubicBezTo>
                      <a:cubicBezTo>
                        <a:pt x="53" y="173"/>
                        <a:pt x="53" y="173"/>
                        <a:pt x="53" y="173"/>
                      </a:cubicBezTo>
                      <a:cubicBezTo>
                        <a:pt x="49" y="176"/>
                        <a:pt x="49" y="176"/>
                        <a:pt x="49" y="176"/>
                      </a:cubicBezTo>
                      <a:cubicBezTo>
                        <a:pt x="46" y="180"/>
                        <a:pt x="46" y="180"/>
                        <a:pt x="46" y="180"/>
                      </a:cubicBezTo>
                      <a:cubicBezTo>
                        <a:pt x="42" y="184"/>
                        <a:pt x="42" y="184"/>
                        <a:pt x="42" y="184"/>
                      </a:cubicBezTo>
                      <a:cubicBezTo>
                        <a:pt x="40" y="189"/>
                        <a:pt x="40" y="189"/>
                        <a:pt x="40" y="189"/>
                      </a:cubicBezTo>
                      <a:cubicBezTo>
                        <a:pt x="38" y="190"/>
                        <a:pt x="38" y="190"/>
                        <a:pt x="38" y="190"/>
                      </a:cubicBezTo>
                      <a:cubicBezTo>
                        <a:pt x="37" y="194"/>
                        <a:pt x="37" y="194"/>
                        <a:pt x="37" y="194"/>
                      </a:cubicBezTo>
                      <a:cubicBezTo>
                        <a:pt x="34" y="198"/>
                        <a:pt x="34" y="198"/>
                        <a:pt x="34" y="198"/>
                      </a:cubicBezTo>
                      <a:cubicBezTo>
                        <a:pt x="26" y="206"/>
                        <a:pt x="26" y="206"/>
                        <a:pt x="26" y="206"/>
                      </a:cubicBezTo>
                      <a:cubicBezTo>
                        <a:pt x="20" y="211"/>
                        <a:pt x="20" y="211"/>
                        <a:pt x="20" y="211"/>
                      </a:cubicBezTo>
                      <a:cubicBezTo>
                        <a:pt x="19" y="214"/>
                        <a:pt x="19" y="214"/>
                        <a:pt x="19" y="214"/>
                      </a:cubicBezTo>
                      <a:cubicBezTo>
                        <a:pt x="18" y="219"/>
                        <a:pt x="18" y="219"/>
                        <a:pt x="18" y="219"/>
                      </a:cubicBezTo>
                      <a:cubicBezTo>
                        <a:pt x="20" y="222"/>
                        <a:pt x="20" y="222"/>
                        <a:pt x="20" y="222"/>
                      </a:cubicBezTo>
                      <a:cubicBezTo>
                        <a:pt x="22" y="223"/>
                        <a:pt x="22" y="223"/>
                        <a:pt x="22" y="223"/>
                      </a:cubicBezTo>
                      <a:cubicBezTo>
                        <a:pt x="23" y="223"/>
                        <a:pt x="23" y="223"/>
                        <a:pt x="23" y="223"/>
                      </a:cubicBezTo>
                      <a:cubicBezTo>
                        <a:pt x="26" y="226"/>
                        <a:pt x="26" y="226"/>
                        <a:pt x="26" y="226"/>
                      </a:cubicBezTo>
                      <a:cubicBezTo>
                        <a:pt x="25" y="228"/>
                        <a:pt x="25" y="228"/>
                        <a:pt x="25" y="228"/>
                      </a:cubicBezTo>
                      <a:cubicBezTo>
                        <a:pt x="25" y="236"/>
                        <a:pt x="25" y="236"/>
                        <a:pt x="25" y="236"/>
                      </a:cubicBezTo>
                      <a:cubicBezTo>
                        <a:pt x="24" y="240"/>
                        <a:pt x="24" y="240"/>
                        <a:pt x="24" y="240"/>
                      </a:cubicBezTo>
                      <a:cubicBezTo>
                        <a:pt x="24" y="242"/>
                        <a:pt x="24" y="242"/>
                        <a:pt x="24" y="242"/>
                      </a:cubicBezTo>
                      <a:cubicBezTo>
                        <a:pt x="19" y="244"/>
                        <a:pt x="19" y="244"/>
                        <a:pt x="19" y="244"/>
                      </a:cubicBezTo>
                      <a:cubicBezTo>
                        <a:pt x="18" y="246"/>
                        <a:pt x="18" y="246"/>
                        <a:pt x="18" y="246"/>
                      </a:cubicBezTo>
                      <a:cubicBezTo>
                        <a:pt x="18" y="251"/>
                        <a:pt x="18" y="251"/>
                        <a:pt x="18" y="251"/>
                      </a:cubicBezTo>
                      <a:cubicBezTo>
                        <a:pt x="0" y="330"/>
                        <a:pt x="0" y="330"/>
                        <a:pt x="0" y="330"/>
                      </a:cubicBezTo>
                      <a:cubicBezTo>
                        <a:pt x="35" y="338"/>
                        <a:pt x="102" y="352"/>
                        <a:pt x="102" y="352"/>
                      </a:cubicBezTo>
                      <a:cubicBezTo>
                        <a:pt x="208" y="373"/>
                        <a:pt x="208" y="373"/>
                        <a:pt x="208" y="373"/>
                      </a:cubicBezTo>
                      <a:cubicBezTo>
                        <a:pt x="228" y="256"/>
                        <a:pt x="228" y="256"/>
                        <a:pt x="228" y="256"/>
                      </a:cubicBezTo>
                      <a:cubicBezTo>
                        <a:pt x="226" y="254"/>
                        <a:pt x="226" y="254"/>
                        <a:pt x="226" y="254"/>
                      </a:cubicBezTo>
                      <a:cubicBezTo>
                        <a:pt x="224" y="252"/>
                        <a:pt x="224" y="252"/>
                        <a:pt x="224" y="252"/>
                      </a:cubicBezTo>
                      <a:cubicBezTo>
                        <a:pt x="224" y="251"/>
                        <a:pt x="224" y="251"/>
                        <a:pt x="224" y="251"/>
                      </a:cubicBezTo>
                      <a:cubicBezTo>
                        <a:pt x="223" y="247"/>
                        <a:pt x="223" y="247"/>
                        <a:pt x="223" y="247"/>
                      </a:cubicBezTo>
                      <a:cubicBezTo>
                        <a:pt x="221" y="244"/>
                        <a:pt x="221" y="244"/>
                        <a:pt x="221" y="244"/>
                      </a:cubicBezTo>
                      <a:cubicBezTo>
                        <a:pt x="218" y="241"/>
                        <a:pt x="218" y="241"/>
                        <a:pt x="218" y="241"/>
                      </a:cubicBezTo>
                      <a:cubicBezTo>
                        <a:pt x="214" y="241"/>
                        <a:pt x="214" y="241"/>
                        <a:pt x="214" y="241"/>
                      </a:cubicBezTo>
                      <a:cubicBezTo>
                        <a:pt x="213" y="246"/>
                        <a:pt x="213" y="246"/>
                        <a:pt x="213" y="246"/>
                      </a:cubicBezTo>
                      <a:cubicBezTo>
                        <a:pt x="212" y="249"/>
                        <a:pt x="212" y="249"/>
                        <a:pt x="212" y="249"/>
                      </a:cubicBezTo>
                      <a:cubicBezTo>
                        <a:pt x="202" y="248"/>
                        <a:pt x="202" y="248"/>
                        <a:pt x="202" y="248"/>
                      </a:cubicBezTo>
                      <a:cubicBezTo>
                        <a:pt x="197" y="246"/>
                        <a:pt x="197" y="246"/>
                        <a:pt x="197" y="246"/>
                      </a:cubicBezTo>
                      <a:cubicBezTo>
                        <a:pt x="189" y="245"/>
                        <a:pt x="189" y="245"/>
                        <a:pt x="189" y="245"/>
                      </a:cubicBezTo>
                      <a:cubicBezTo>
                        <a:pt x="185" y="245"/>
                        <a:pt x="185" y="245"/>
                        <a:pt x="185" y="245"/>
                      </a:cubicBezTo>
                      <a:cubicBezTo>
                        <a:pt x="184" y="247"/>
                        <a:pt x="184" y="247"/>
                        <a:pt x="184" y="247"/>
                      </a:cubicBezTo>
                      <a:cubicBezTo>
                        <a:pt x="184" y="249"/>
                        <a:pt x="184" y="249"/>
                        <a:pt x="184" y="249"/>
                      </a:cubicBezTo>
                      <a:cubicBezTo>
                        <a:pt x="179" y="247"/>
                        <a:pt x="179" y="247"/>
                        <a:pt x="179" y="247"/>
                      </a:cubicBezTo>
                      <a:cubicBezTo>
                        <a:pt x="174" y="244"/>
                        <a:pt x="174" y="244"/>
                        <a:pt x="174" y="244"/>
                      </a:cubicBezTo>
                      <a:cubicBezTo>
                        <a:pt x="171" y="244"/>
                        <a:pt x="171" y="244"/>
                        <a:pt x="171" y="244"/>
                      </a:cubicBezTo>
                      <a:cubicBezTo>
                        <a:pt x="169" y="244"/>
                        <a:pt x="169" y="244"/>
                        <a:pt x="169" y="244"/>
                      </a:cubicBezTo>
                      <a:cubicBezTo>
                        <a:pt x="168" y="247"/>
                        <a:pt x="168" y="247"/>
                        <a:pt x="168" y="247"/>
                      </a:cubicBezTo>
                      <a:cubicBezTo>
                        <a:pt x="168" y="249"/>
                        <a:pt x="168" y="249"/>
                        <a:pt x="168" y="249"/>
                      </a:cubicBezTo>
                      <a:cubicBezTo>
                        <a:pt x="164" y="249"/>
                        <a:pt x="164" y="249"/>
                        <a:pt x="164" y="249"/>
                      </a:cubicBezTo>
                      <a:cubicBezTo>
                        <a:pt x="162" y="245"/>
                        <a:pt x="162" y="245"/>
                        <a:pt x="162" y="245"/>
                      </a:cubicBezTo>
                      <a:cubicBezTo>
                        <a:pt x="162" y="242"/>
                        <a:pt x="162" y="242"/>
                        <a:pt x="162" y="242"/>
                      </a:cubicBezTo>
                      <a:cubicBezTo>
                        <a:pt x="162" y="238"/>
                        <a:pt x="162" y="238"/>
                        <a:pt x="162" y="238"/>
                      </a:cubicBezTo>
                      <a:cubicBezTo>
                        <a:pt x="160" y="232"/>
                        <a:pt x="160" y="232"/>
                        <a:pt x="160" y="232"/>
                      </a:cubicBezTo>
                      <a:cubicBezTo>
                        <a:pt x="160" y="226"/>
                        <a:pt x="160" y="226"/>
                        <a:pt x="160" y="226"/>
                      </a:cubicBezTo>
                      <a:cubicBezTo>
                        <a:pt x="156" y="226"/>
                        <a:pt x="156" y="226"/>
                        <a:pt x="156" y="226"/>
                      </a:cubicBezTo>
                      <a:cubicBezTo>
                        <a:pt x="151" y="223"/>
                        <a:pt x="151" y="223"/>
                        <a:pt x="151" y="223"/>
                      </a:cubicBezTo>
                      <a:cubicBezTo>
                        <a:pt x="149" y="220"/>
                        <a:pt x="149" y="220"/>
                        <a:pt x="149" y="220"/>
                      </a:cubicBezTo>
                      <a:cubicBezTo>
                        <a:pt x="149" y="218"/>
                        <a:pt x="149" y="218"/>
                        <a:pt x="149" y="218"/>
                      </a:cubicBezTo>
                      <a:cubicBezTo>
                        <a:pt x="149" y="213"/>
                        <a:pt x="149" y="213"/>
                        <a:pt x="149" y="213"/>
                      </a:cubicBezTo>
                      <a:cubicBezTo>
                        <a:pt x="149" y="208"/>
                        <a:pt x="149" y="208"/>
                        <a:pt x="149" y="208"/>
                      </a:cubicBezTo>
                      <a:cubicBezTo>
                        <a:pt x="145" y="204"/>
                        <a:pt x="145" y="204"/>
                        <a:pt x="145" y="204"/>
                      </a:cubicBezTo>
                      <a:cubicBezTo>
                        <a:pt x="145" y="201"/>
                        <a:pt x="145" y="201"/>
                        <a:pt x="145" y="201"/>
                      </a:cubicBezTo>
                      <a:cubicBezTo>
                        <a:pt x="145" y="195"/>
                        <a:pt x="145" y="195"/>
                        <a:pt x="145" y="195"/>
                      </a:cubicBezTo>
                      <a:cubicBezTo>
                        <a:pt x="144" y="187"/>
                        <a:pt x="144" y="187"/>
                        <a:pt x="144" y="187"/>
                      </a:cubicBezTo>
                      <a:cubicBezTo>
                        <a:pt x="142" y="183"/>
                        <a:pt x="142" y="183"/>
                        <a:pt x="142" y="183"/>
                      </a:cubicBezTo>
                      <a:cubicBezTo>
                        <a:pt x="141" y="179"/>
                        <a:pt x="141" y="179"/>
                        <a:pt x="141" y="179"/>
                      </a:cubicBezTo>
                      <a:cubicBezTo>
                        <a:pt x="139" y="179"/>
                        <a:pt x="139" y="179"/>
                        <a:pt x="139" y="179"/>
                      </a:cubicBezTo>
                      <a:cubicBezTo>
                        <a:pt x="135" y="182"/>
                        <a:pt x="135" y="182"/>
                        <a:pt x="135" y="182"/>
                      </a:cubicBezTo>
                      <a:cubicBezTo>
                        <a:pt x="133" y="182"/>
                        <a:pt x="133" y="182"/>
                        <a:pt x="133" y="182"/>
                      </a:cubicBezTo>
                      <a:cubicBezTo>
                        <a:pt x="130" y="183"/>
                        <a:pt x="130" y="183"/>
                        <a:pt x="130" y="183"/>
                      </a:cubicBezTo>
                      <a:cubicBezTo>
                        <a:pt x="127" y="186"/>
                        <a:pt x="127" y="186"/>
                        <a:pt x="127" y="186"/>
                      </a:cubicBezTo>
                      <a:cubicBezTo>
                        <a:pt x="125" y="186"/>
                        <a:pt x="125" y="186"/>
                        <a:pt x="125" y="186"/>
                      </a:cubicBezTo>
                      <a:cubicBezTo>
                        <a:pt x="125" y="183"/>
                        <a:pt x="125" y="183"/>
                        <a:pt x="125" y="183"/>
                      </a:cubicBezTo>
                      <a:cubicBezTo>
                        <a:pt x="121" y="181"/>
                        <a:pt x="121" y="181"/>
                        <a:pt x="121" y="181"/>
                      </a:cubicBezTo>
                      <a:cubicBezTo>
                        <a:pt x="119" y="179"/>
                        <a:pt x="119" y="179"/>
                        <a:pt x="119" y="179"/>
                      </a:cubicBezTo>
                      <a:cubicBezTo>
                        <a:pt x="122" y="172"/>
                        <a:pt x="122" y="172"/>
                        <a:pt x="122" y="172"/>
                      </a:cubicBezTo>
                      <a:cubicBezTo>
                        <a:pt x="125" y="168"/>
                        <a:pt x="125" y="168"/>
                        <a:pt x="125" y="168"/>
                      </a:cubicBezTo>
                      <a:cubicBezTo>
                        <a:pt x="128" y="168"/>
                        <a:pt x="128" y="168"/>
                        <a:pt x="128" y="168"/>
                      </a:cubicBezTo>
                      <a:cubicBezTo>
                        <a:pt x="129" y="166"/>
                        <a:pt x="129" y="166"/>
                        <a:pt x="129" y="166"/>
                      </a:cubicBezTo>
                      <a:cubicBezTo>
                        <a:pt x="127" y="160"/>
                        <a:pt x="127" y="160"/>
                        <a:pt x="127" y="160"/>
                      </a:cubicBezTo>
                      <a:cubicBezTo>
                        <a:pt x="128" y="154"/>
                        <a:pt x="128" y="154"/>
                        <a:pt x="128" y="154"/>
                      </a:cubicBezTo>
                      <a:cubicBezTo>
                        <a:pt x="131" y="147"/>
                        <a:pt x="131" y="147"/>
                        <a:pt x="131" y="147"/>
                      </a:cubicBezTo>
                      <a:cubicBezTo>
                        <a:pt x="134" y="141"/>
                        <a:pt x="134" y="141"/>
                        <a:pt x="134" y="141"/>
                      </a:cubicBezTo>
                      <a:cubicBezTo>
                        <a:pt x="137" y="135"/>
                        <a:pt x="137" y="135"/>
                        <a:pt x="137" y="135"/>
                      </a:cubicBezTo>
                      <a:cubicBezTo>
                        <a:pt x="137" y="131"/>
                        <a:pt x="137" y="131"/>
                        <a:pt x="137" y="131"/>
                      </a:cubicBezTo>
                      <a:cubicBezTo>
                        <a:pt x="128" y="129"/>
                        <a:pt x="128" y="129"/>
                        <a:pt x="128" y="129"/>
                      </a:cubicBezTo>
                      <a:cubicBezTo>
                        <a:pt x="128" y="128"/>
                        <a:pt x="128" y="128"/>
                        <a:pt x="128" y="128"/>
                      </a:cubicBezTo>
                      <a:cubicBezTo>
                        <a:pt x="125" y="124"/>
                        <a:pt x="125" y="124"/>
                        <a:pt x="125" y="124"/>
                      </a:cubicBezTo>
                      <a:cubicBezTo>
                        <a:pt x="123" y="118"/>
                        <a:pt x="123" y="118"/>
                        <a:pt x="123" y="118"/>
                      </a:cubicBezTo>
                      <a:cubicBezTo>
                        <a:pt x="122" y="111"/>
                        <a:pt x="122" y="111"/>
                        <a:pt x="122" y="111"/>
                      </a:cubicBezTo>
                      <a:cubicBezTo>
                        <a:pt x="119" y="106"/>
                        <a:pt x="119" y="106"/>
                        <a:pt x="119" y="106"/>
                      </a:cubicBezTo>
                      <a:cubicBezTo>
                        <a:pt x="114" y="101"/>
                        <a:pt x="114" y="101"/>
                        <a:pt x="114" y="101"/>
                      </a:cubicBezTo>
                      <a:cubicBezTo>
                        <a:pt x="109" y="93"/>
                        <a:pt x="109" y="93"/>
                        <a:pt x="109" y="93"/>
                      </a:cubicBezTo>
                      <a:cubicBezTo>
                        <a:pt x="108" y="88"/>
                        <a:pt x="108" y="88"/>
                        <a:pt x="108" y="88"/>
                      </a:cubicBezTo>
                      <a:cubicBezTo>
                        <a:pt x="104" y="82"/>
                        <a:pt x="104" y="82"/>
                        <a:pt x="104" y="82"/>
                      </a:cubicBezTo>
                      <a:cubicBezTo>
                        <a:pt x="104" y="79"/>
                        <a:pt x="104" y="79"/>
                        <a:pt x="104" y="79"/>
                      </a:cubicBezTo>
                      <a:cubicBezTo>
                        <a:pt x="101" y="76"/>
                        <a:pt x="101" y="76"/>
                        <a:pt x="101" y="76"/>
                      </a:cubicBezTo>
                      <a:cubicBezTo>
                        <a:pt x="101" y="72"/>
                        <a:pt x="101" y="72"/>
                        <a:pt x="101" y="72"/>
                      </a:cubicBezTo>
                      <a:cubicBezTo>
                        <a:pt x="101" y="69"/>
                        <a:pt x="101" y="69"/>
                        <a:pt x="101" y="69"/>
                      </a:cubicBezTo>
                      <a:cubicBezTo>
                        <a:pt x="99" y="64"/>
                        <a:pt x="99" y="64"/>
                        <a:pt x="99" y="64"/>
                      </a:cubicBezTo>
                      <a:cubicBezTo>
                        <a:pt x="97" y="62"/>
                        <a:pt x="97" y="62"/>
                        <a:pt x="97" y="62"/>
                      </a:cubicBezTo>
                      <a:cubicBezTo>
                        <a:pt x="97" y="59"/>
                        <a:pt x="97" y="59"/>
                        <a:pt x="97" y="59"/>
                      </a:cubicBezTo>
                      <a:cubicBezTo>
                        <a:pt x="98" y="48"/>
                        <a:pt x="98" y="48"/>
                        <a:pt x="98" y="48"/>
                      </a:cubicBezTo>
                      <a:cubicBezTo>
                        <a:pt x="101" y="36"/>
                        <a:pt x="101" y="36"/>
                        <a:pt x="101" y="36"/>
                      </a:cubicBezTo>
                      <a:cubicBezTo>
                        <a:pt x="104" y="25"/>
                        <a:pt x="104" y="25"/>
                        <a:pt x="104" y="25"/>
                      </a:cubicBezTo>
                      <a:cubicBezTo>
                        <a:pt x="106" y="18"/>
                        <a:pt x="106" y="18"/>
                        <a:pt x="106" y="18"/>
                      </a:cubicBezTo>
                      <a:cubicBezTo>
                        <a:pt x="108" y="8"/>
                        <a:pt x="108" y="8"/>
                        <a:pt x="108" y="8"/>
                      </a:cubicBezTo>
                      <a:cubicBezTo>
                        <a:pt x="76" y="0"/>
                        <a:pt x="76" y="0"/>
                        <a:pt x="76" y="0"/>
                      </a:cubicBezTo>
                      <a:cubicBezTo>
                        <a:pt x="76" y="0"/>
                        <a:pt x="52" y="114"/>
                        <a:pt x="47" y="120"/>
                      </a:cubicBezTo>
                      <a:cubicBezTo>
                        <a:pt x="43" y="127"/>
                        <a:pt x="48" y="125"/>
                        <a:pt x="48" y="132"/>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5" name="Freeform 74">
                  <a:extLst>
                    <a:ext uri="{FF2B5EF4-FFF2-40B4-BE49-F238E27FC236}">
                      <a16:creationId xmlns:a16="http://schemas.microsoft.com/office/drawing/2014/main" id="{A7C06A99-0E76-DBD2-0BAF-D51638E23E37}"/>
                    </a:ext>
                  </a:extLst>
                </p:cNvPr>
                <p:cNvSpPr>
                  <a:spLocks/>
                </p:cNvSpPr>
                <p:nvPr/>
              </p:nvSpPr>
              <p:spPr bwMode="auto">
                <a:xfrm>
                  <a:off x="5775501" y="1743205"/>
                  <a:ext cx="558212" cy="360899"/>
                </a:xfrm>
                <a:custGeom>
                  <a:avLst/>
                  <a:gdLst>
                    <a:gd name="T0" fmla="*/ 184 w 391"/>
                    <a:gd name="T1" fmla="*/ 33 h 252"/>
                    <a:gd name="T2" fmla="*/ 9 w 391"/>
                    <a:gd name="T3" fmla="*/ 10 h 252"/>
                    <a:gd name="T4" fmla="*/ 4 w 391"/>
                    <a:gd name="T5" fmla="*/ 28 h 252"/>
                    <a:gd name="T6" fmla="*/ 0 w 391"/>
                    <a:gd name="T7" fmla="*/ 51 h 252"/>
                    <a:gd name="T8" fmla="*/ 2 w 391"/>
                    <a:gd name="T9" fmla="*/ 56 h 252"/>
                    <a:gd name="T10" fmla="*/ 4 w 391"/>
                    <a:gd name="T11" fmla="*/ 64 h 252"/>
                    <a:gd name="T12" fmla="*/ 7 w 391"/>
                    <a:gd name="T13" fmla="*/ 71 h 252"/>
                    <a:gd name="T14" fmla="*/ 11 w 391"/>
                    <a:gd name="T15" fmla="*/ 80 h 252"/>
                    <a:gd name="T16" fmla="*/ 17 w 391"/>
                    <a:gd name="T17" fmla="*/ 93 h 252"/>
                    <a:gd name="T18" fmla="*/ 25 w 391"/>
                    <a:gd name="T19" fmla="*/ 103 h 252"/>
                    <a:gd name="T20" fmla="*/ 28 w 391"/>
                    <a:gd name="T21" fmla="*/ 116 h 252"/>
                    <a:gd name="T22" fmla="*/ 31 w 391"/>
                    <a:gd name="T23" fmla="*/ 121 h 252"/>
                    <a:gd name="T24" fmla="*/ 40 w 391"/>
                    <a:gd name="T25" fmla="*/ 127 h 252"/>
                    <a:gd name="T26" fmla="*/ 34 w 391"/>
                    <a:gd name="T27" fmla="*/ 139 h 252"/>
                    <a:gd name="T28" fmla="*/ 30 w 391"/>
                    <a:gd name="T29" fmla="*/ 152 h 252"/>
                    <a:gd name="T30" fmla="*/ 31 w 391"/>
                    <a:gd name="T31" fmla="*/ 160 h 252"/>
                    <a:gd name="T32" fmla="*/ 25 w 391"/>
                    <a:gd name="T33" fmla="*/ 164 h 252"/>
                    <a:gd name="T34" fmla="*/ 24 w 391"/>
                    <a:gd name="T35" fmla="*/ 173 h 252"/>
                    <a:gd name="T36" fmla="*/ 28 w 391"/>
                    <a:gd name="T37" fmla="*/ 178 h 252"/>
                    <a:gd name="T38" fmla="*/ 33 w 391"/>
                    <a:gd name="T39" fmla="*/ 175 h 252"/>
                    <a:gd name="T40" fmla="*/ 38 w 391"/>
                    <a:gd name="T41" fmla="*/ 174 h 252"/>
                    <a:gd name="T42" fmla="*/ 44 w 391"/>
                    <a:gd name="T43" fmla="*/ 171 h 252"/>
                    <a:gd name="T44" fmla="*/ 47 w 391"/>
                    <a:gd name="T45" fmla="*/ 179 h 252"/>
                    <a:gd name="T46" fmla="*/ 48 w 391"/>
                    <a:gd name="T47" fmla="*/ 193 h 252"/>
                    <a:gd name="T48" fmla="*/ 52 w 391"/>
                    <a:gd name="T49" fmla="*/ 200 h 252"/>
                    <a:gd name="T50" fmla="*/ 52 w 391"/>
                    <a:gd name="T51" fmla="*/ 210 h 252"/>
                    <a:gd name="T52" fmla="*/ 54 w 391"/>
                    <a:gd name="T53" fmla="*/ 215 h 252"/>
                    <a:gd name="T54" fmla="*/ 63 w 391"/>
                    <a:gd name="T55" fmla="*/ 218 h 252"/>
                    <a:gd name="T56" fmla="*/ 65 w 391"/>
                    <a:gd name="T57" fmla="*/ 230 h 252"/>
                    <a:gd name="T58" fmla="*/ 65 w 391"/>
                    <a:gd name="T59" fmla="*/ 237 h 252"/>
                    <a:gd name="T60" fmla="*/ 71 w 391"/>
                    <a:gd name="T61" fmla="*/ 241 h 252"/>
                    <a:gd name="T62" fmla="*/ 72 w 391"/>
                    <a:gd name="T63" fmla="*/ 236 h 252"/>
                    <a:gd name="T64" fmla="*/ 77 w 391"/>
                    <a:gd name="T65" fmla="*/ 236 h 252"/>
                    <a:gd name="T66" fmla="*/ 87 w 391"/>
                    <a:gd name="T67" fmla="*/ 241 h 252"/>
                    <a:gd name="T68" fmla="*/ 88 w 391"/>
                    <a:gd name="T69" fmla="*/ 237 h 252"/>
                    <a:gd name="T70" fmla="*/ 100 w 391"/>
                    <a:gd name="T71" fmla="*/ 238 h 252"/>
                    <a:gd name="T72" fmla="*/ 115 w 391"/>
                    <a:gd name="T73" fmla="*/ 241 h 252"/>
                    <a:gd name="T74" fmla="*/ 117 w 391"/>
                    <a:gd name="T75" fmla="*/ 233 h 252"/>
                    <a:gd name="T76" fmla="*/ 124 w 391"/>
                    <a:gd name="T77" fmla="*/ 236 h 252"/>
                    <a:gd name="T78" fmla="*/ 127 w 391"/>
                    <a:gd name="T79" fmla="*/ 243 h 252"/>
                    <a:gd name="T80" fmla="*/ 129 w 391"/>
                    <a:gd name="T81" fmla="*/ 246 h 252"/>
                    <a:gd name="T82" fmla="*/ 136 w 391"/>
                    <a:gd name="T83" fmla="*/ 221 h 252"/>
                    <a:gd name="T84" fmla="*/ 373 w 391"/>
                    <a:gd name="T85" fmla="*/ 252 h 252"/>
                    <a:gd name="T86" fmla="*/ 391 w 391"/>
                    <a:gd name="T87" fmla="*/ 6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52">
                      <a:moveTo>
                        <a:pt x="391" y="60"/>
                      </a:moveTo>
                      <a:cubicBezTo>
                        <a:pt x="391" y="60"/>
                        <a:pt x="243" y="42"/>
                        <a:pt x="184" y="33"/>
                      </a:cubicBezTo>
                      <a:cubicBezTo>
                        <a:pt x="112" y="22"/>
                        <a:pt x="11" y="0"/>
                        <a:pt x="11" y="0"/>
                      </a:cubicBezTo>
                      <a:cubicBezTo>
                        <a:pt x="9" y="10"/>
                        <a:pt x="9" y="10"/>
                        <a:pt x="9" y="10"/>
                      </a:cubicBezTo>
                      <a:cubicBezTo>
                        <a:pt x="7" y="17"/>
                        <a:pt x="7" y="17"/>
                        <a:pt x="7" y="17"/>
                      </a:cubicBezTo>
                      <a:cubicBezTo>
                        <a:pt x="4" y="28"/>
                        <a:pt x="4" y="28"/>
                        <a:pt x="4" y="28"/>
                      </a:cubicBezTo>
                      <a:cubicBezTo>
                        <a:pt x="1" y="40"/>
                        <a:pt x="1" y="40"/>
                        <a:pt x="1" y="40"/>
                      </a:cubicBezTo>
                      <a:cubicBezTo>
                        <a:pt x="0" y="51"/>
                        <a:pt x="0" y="51"/>
                        <a:pt x="0" y="51"/>
                      </a:cubicBezTo>
                      <a:cubicBezTo>
                        <a:pt x="0" y="54"/>
                        <a:pt x="0" y="54"/>
                        <a:pt x="0" y="54"/>
                      </a:cubicBezTo>
                      <a:cubicBezTo>
                        <a:pt x="2" y="56"/>
                        <a:pt x="2" y="56"/>
                        <a:pt x="2" y="56"/>
                      </a:cubicBezTo>
                      <a:cubicBezTo>
                        <a:pt x="4" y="61"/>
                        <a:pt x="4" y="61"/>
                        <a:pt x="4" y="61"/>
                      </a:cubicBezTo>
                      <a:cubicBezTo>
                        <a:pt x="4" y="64"/>
                        <a:pt x="4" y="64"/>
                        <a:pt x="4" y="64"/>
                      </a:cubicBezTo>
                      <a:cubicBezTo>
                        <a:pt x="4" y="68"/>
                        <a:pt x="4" y="68"/>
                        <a:pt x="4" y="68"/>
                      </a:cubicBezTo>
                      <a:cubicBezTo>
                        <a:pt x="7" y="71"/>
                        <a:pt x="7" y="71"/>
                        <a:pt x="7" y="71"/>
                      </a:cubicBezTo>
                      <a:cubicBezTo>
                        <a:pt x="7" y="74"/>
                        <a:pt x="7" y="74"/>
                        <a:pt x="7" y="74"/>
                      </a:cubicBezTo>
                      <a:cubicBezTo>
                        <a:pt x="11" y="80"/>
                        <a:pt x="11" y="80"/>
                        <a:pt x="11" y="80"/>
                      </a:cubicBezTo>
                      <a:cubicBezTo>
                        <a:pt x="12" y="85"/>
                        <a:pt x="12" y="85"/>
                        <a:pt x="12" y="85"/>
                      </a:cubicBezTo>
                      <a:cubicBezTo>
                        <a:pt x="17" y="93"/>
                        <a:pt x="17" y="93"/>
                        <a:pt x="17" y="93"/>
                      </a:cubicBezTo>
                      <a:cubicBezTo>
                        <a:pt x="22" y="98"/>
                        <a:pt x="22" y="98"/>
                        <a:pt x="22" y="98"/>
                      </a:cubicBezTo>
                      <a:cubicBezTo>
                        <a:pt x="25" y="103"/>
                        <a:pt x="25" y="103"/>
                        <a:pt x="25" y="103"/>
                      </a:cubicBezTo>
                      <a:cubicBezTo>
                        <a:pt x="26" y="110"/>
                        <a:pt x="26" y="110"/>
                        <a:pt x="26" y="110"/>
                      </a:cubicBezTo>
                      <a:cubicBezTo>
                        <a:pt x="28" y="116"/>
                        <a:pt x="28" y="116"/>
                        <a:pt x="28" y="116"/>
                      </a:cubicBezTo>
                      <a:cubicBezTo>
                        <a:pt x="31" y="120"/>
                        <a:pt x="31" y="120"/>
                        <a:pt x="31" y="120"/>
                      </a:cubicBezTo>
                      <a:cubicBezTo>
                        <a:pt x="31" y="121"/>
                        <a:pt x="31" y="121"/>
                        <a:pt x="31" y="121"/>
                      </a:cubicBezTo>
                      <a:cubicBezTo>
                        <a:pt x="40" y="123"/>
                        <a:pt x="40" y="123"/>
                        <a:pt x="40" y="123"/>
                      </a:cubicBezTo>
                      <a:cubicBezTo>
                        <a:pt x="40" y="127"/>
                        <a:pt x="40" y="127"/>
                        <a:pt x="40" y="127"/>
                      </a:cubicBezTo>
                      <a:cubicBezTo>
                        <a:pt x="37" y="133"/>
                        <a:pt x="37" y="133"/>
                        <a:pt x="37" y="133"/>
                      </a:cubicBezTo>
                      <a:cubicBezTo>
                        <a:pt x="34" y="139"/>
                        <a:pt x="34" y="139"/>
                        <a:pt x="34" y="139"/>
                      </a:cubicBezTo>
                      <a:cubicBezTo>
                        <a:pt x="31" y="146"/>
                        <a:pt x="31" y="146"/>
                        <a:pt x="31" y="146"/>
                      </a:cubicBezTo>
                      <a:cubicBezTo>
                        <a:pt x="30" y="152"/>
                        <a:pt x="30" y="152"/>
                        <a:pt x="30" y="152"/>
                      </a:cubicBezTo>
                      <a:cubicBezTo>
                        <a:pt x="32" y="158"/>
                        <a:pt x="32" y="158"/>
                        <a:pt x="32" y="158"/>
                      </a:cubicBezTo>
                      <a:cubicBezTo>
                        <a:pt x="31" y="160"/>
                        <a:pt x="31" y="160"/>
                        <a:pt x="31" y="160"/>
                      </a:cubicBezTo>
                      <a:cubicBezTo>
                        <a:pt x="28" y="160"/>
                        <a:pt x="28" y="160"/>
                        <a:pt x="28" y="160"/>
                      </a:cubicBezTo>
                      <a:cubicBezTo>
                        <a:pt x="25" y="164"/>
                        <a:pt x="25" y="164"/>
                        <a:pt x="25" y="164"/>
                      </a:cubicBezTo>
                      <a:cubicBezTo>
                        <a:pt x="22" y="171"/>
                        <a:pt x="22" y="171"/>
                        <a:pt x="22" y="171"/>
                      </a:cubicBezTo>
                      <a:cubicBezTo>
                        <a:pt x="24" y="173"/>
                        <a:pt x="24" y="173"/>
                        <a:pt x="24" y="173"/>
                      </a:cubicBezTo>
                      <a:cubicBezTo>
                        <a:pt x="28" y="175"/>
                        <a:pt x="28" y="175"/>
                        <a:pt x="28" y="175"/>
                      </a:cubicBezTo>
                      <a:cubicBezTo>
                        <a:pt x="28" y="178"/>
                        <a:pt x="28" y="178"/>
                        <a:pt x="28" y="178"/>
                      </a:cubicBezTo>
                      <a:cubicBezTo>
                        <a:pt x="30" y="178"/>
                        <a:pt x="30" y="178"/>
                        <a:pt x="30" y="178"/>
                      </a:cubicBezTo>
                      <a:cubicBezTo>
                        <a:pt x="33" y="175"/>
                        <a:pt x="33" y="175"/>
                        <a:pt x="33" y="175"/>
                      </a:cubicBezTo>
                      <a:cubicBezTo>
                        <a:pt x="36" y="174"/>
                        <a:pt x="36" y="174"/>
                        <a:pt x="36" y="174"/>
                      </a:cubicBezTo>
                      <a:cubicBezTo>
                        <a:pt x="38" y="174"/>
                        <a:pt x="38" y="174"/>
                        <a:pt x="38" y="174"/>
                      </a:cubicBezTo>
                      <a:cubicBezTo>
                        <a:pt x="42" y="171"/>
                        <a:pt x="42" y="171"/>
                        <a:pt x="42" y="171"/>
                      </a:cubicBezTo>
                      <a:cubicBezTo>
                        <a:pt x="44" y="171"/>
                        <a:pt x="44" y="171"/>
                        <a:pt x="44" y="171"/>
                      </a:cubicBezTo>
                      <a:cubicBezTo>
                        <a:pt x="45" y="175"/>
                        <a:pt x="45" y="175"/>
                        <a:pt x="45" y="175"/>
                      </a:cubicBezTo>
                      <a:cubicBezTo>
                        <a:pt x="47" y="179"/>
                        <a:pt x="47" y="179"/>
                        <a:pt x="47" y="179"/>
                      </a:cubicBezTo>
                      <a:cubicBezTo>
                        <a:pt x="48" y="187"/>
                        <a:pt x="48" y="187"/>
                        <a:pt x="48" y="187"/>
                      </a:cubicBezTo>
                      <a:cubicBezTo>
                        <a:pt x="48" y="193"/>
                        <a:pt x="48" y="193"/>
                        <a:pt x="48" y="193"/>
                      </a:cubicBezTo>
                      <a:cubicBezTo>
                        <a:pt x="48" y="196"/>
                        <a:pt x="48" y="196"/>
                        <a:pt x="48" y="196"/>
                      </a:cubicBezTo>
                      <a:cubicBezTo>
                        <a:pt x="52" y="200"/>
                        <a:pt x="52" y="200"/>
                        <a:pt x="52" y="200"/>
                      </a:cubicBezTo>
                      <a:cubicBezTo>
                        <a:pt x="52" y="205"/>
                        <a:pt x="52" y="205"/>
                        <a:pt x="52" y="205"/>
                      </a:cubicBezTo>
                      <a:cubicBezTo>
                        <a:pt x="52" y="210"/>
                        <a:pt x="52" y="210"/>
                        <a:pt x="52" y="210"/>
                      </a:cubicBezTo>
                      <a:cubicBezTo>
                        <a:pt x="52" y="212"/>
                        <a:pt x="52" y="212"/>
                        <a:pt x="52" y="212"/>
                      </a:cubicBezTo>
                      <a:cubicBezTo>
                        <a:pt x="54" y="215"/>
                        <a:pt x="54" y="215"/>
                        <a:pt x="54" y="215"/>
                      </a:cubicBezTo>
                      <a:cubicBezTo>
                        <a:pt x="59" y="218"/>
                        <a:pt x="59" y="218"/>
                        <a:pt x="59" y="218"/>
                      </a:cubicBezTo>
                      <a:cubicBezTo>
                        <a:pt x="63" y="218"/>
                        <a:pt x="63" y="218"/>
                        <a:pt x="63" y="218"/>
                      </a:cubicBezTo>
                      <a:cubicBezTo>
                        <a:pt x="63" y="224"/>
                        <a:pt x="63" y="224"/>
                        <a:pt x="63" y="224"/>
                      </a:cubicBezTo>
                      <a:cubicBezTo>
                        <a:pt x="65" y="230"/>
                        <a:pt x="65" y="230"/>
                        <a:pt x="65" y="230"/>
                      </a:cubicBezTo>
                      <a:cubicBezTo>
                        <a:pt x="65" y="234"/>
                        <a:pt x="65" y="234"/>
                        <a:pt x="65" y="234"/>
                      </a:cubicBezTo>
                      <a:cubicBezTo>
                        <a:pt x="65" y="237"/>
                        <a:pt x="65" y="237"/>
                        <a:pt x="65" y="237"/>
                      </a:cubicBezTo>
                      <a:cubicBezTo>
                        <a:pt x="67" y="241"/>
                        <a:pt x="67" y="241"/>
                        <a:pt x="67" y="241"/>
                      </a:cubicBezTo>
                      <a:cubicBezTo>
                        <a:pt x="71" y="241"/>
                        <a:pt x="71" y="241"/>
                        <a:pt x="71" y="241"/>
                      </a:cubicBezTo>
                      <a:cubicBezTo>
                        <a:pt x="71" y="239"/>
                        <a:pt x="71" y="239"/>
                        <a:pt x="71" y="239"/>
                      </a:cubicBezTo>
                      <a:cubicBezTo>
                        <a:pt x="72" y="236"/>
                        <a:pt x="72" y="236"/>
                        <a:pt x="72" y="236"/>
                      </a:cubicBezTo>
                      <a:cubicBezTo>
                        <a:pt x="74" y="236"/>
                        <a:pt x="74" y="236"/>
                        <a:pt x="74" y="236"/>
                      </a:cubicBezTo>
                      <a:cubicBezTo>
                        <a:pt x="77" y="236"/>
                        <a:pt x="77" y="236"/>
                        <a:pt x="77" y="236"/>
                      </a:cubicBezTo>
                      <a:cubicBezTo>
                        <a:pt x="82" y="239"/>
                        <a:pt x="82" y="239"/>
                        <a:pt x="82" y="239"/>
                      </a:cubicBezTo>
                      <a:cubicBezTo>
                        <a:pt x="87" y="241"/>
                        <a:pt x="87" y="241"/>
                        <a:pt x="87" y="241"/>
                      </a:cubicBezTo>
                      <a:cubicBezTo>
                        <a:pt x="87" y="239"/>
                        <a:pt x="87" y="239"/>
                        <a:pt x="87" y="239"/>
                      </a:cubicBezTo>
                      <a:cubicBezTo>
                        <a:pt x="88" y="237"/>
                        <a:pt x="88" y="237"/>
                        <a:pt x="88" y="237"/>
                      </a:cubicBezTo>
                      <a:cubicBezTo>
                        <a:pt x="92" y="237"/>
                        <a:pt x="92" y="237"/>
                        <a:pt x="92" y="237"/>
                      </a:cubicBezTo>
                      <a:cubicBezTo>
                        <a:pt x="100" y="238"/>
                        <a:pt x="100" y="238"/>
                        <a:pt x="100" y="238"/>
                      </a:cubicBezTo>
                      <a:cubicBezTo>
                        <a:pt x="105" y="240"/>
                        <a:pt x="105" y="240"/>
                        <a:pt x="105" y="240"/>
                      </a:cubicBezTo>
                      <a:cubicBezTo>
                        <a:pt x="115" y="241"/>
                        <a:pt x="115" y="241"/>
                        <a:pt x="115" y="241"/>
                      </a:cubicBezTo>
                      <a:cubicBezTo>
                        <a:pt x="116" y="238"/>
                        <a:pt x="116" y="238"/>
                        <a:pt x="116" y="238"/>
                      </a:cubicBezTo>
                      <a:cubicBezTo>
                        <a:pt x="117" y="233"/>
                        <a:pt x="117" y="233"/>
                        <a:pt x="117" y="233"/>
                      </a:cubicBezTo>
                      <a:cubicBezTo>
                        <a:pt x="121" y="233"/>
                        <a:pt x="121" y="233"/>
                        <a:pt x="121" y="233"/>
                      </a:cubicBezTo>
                      <a:cubicBezTo>
                        <a:pt x="124" y="236"/>
                        <a:pt x="124" y="236"/>
                        <a:pt x="124" y="236"/>
                      </a:cubicBezTo>
                      <a:cubicBezTo>
                        <a:pt x="126" y="239"/>
                        <a:pt x="126" y="239"/>
                        <a:pt x="126" y="239"/>
                      </a:cubicBezTo>
                      <a:cubicBezTo>
                        <a:pt x="127" y="243"/>
                        <a:pt x="127" y="243"/>
                        <a:pt x="127" y="243"/>
                      </a:cubicBezTo>
                      <a:cubicBezTo>
                        <a:pt x="127" y="244"/>
                        <a:pt x="127" y="244"/>
                        <a:pt x="127" y="244"/>
                      </a:cubicBezTo>
                      <a:cubicBezTo>
                        <a:pt x="129" y="246"/>
                        <a:pt x="129" y="246"/>
                        <a:pt x="129" y="246"/>
                      </a:cubicBezTo>
                      <a:cubicBezTo>
                        <a:pt x="131" y="248"/>
                        <a:pt x="131" y="248"/>
                        <a:pt x="131" y="248"/>
                      </a:cubicBezTo>
                      <a:cubicBezTo>
                        <a:pt x="136" y="221"/>
                        <a:pt x="136" y="221"/>
                        <a:pt x="136" y="221"/>
                      </a:cubicBezTo>
                      <a:cubicBezTo>
                        <a:pt x="372" y="252"/>
                        <a:pt x="372" y="252"/>
                        <a:pt x="372" y="252"/>
                      </a:cubicBezTo>
                      <a:cubicBezTo>
                        <a:pt x="373" y="252"/>
                        <a:pt x="373" y="252"/>
                        <a:pt x="373" y="252"/>
                      </a:cubicBezTo>
                      <a:cubicBezTo>
                        <a:pt x="377" y="207"/>
                        <a:pt x="377" y="207"/>
                        <a:pt x="377" y="207"/>
                      </a:cubicBezTo>
                      <a:lnTo>
                        <a:pt x="391" y="6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6" name="Freeform 75">
                  <a:extLst>
                    <a:ext uri="{FF2B5EF4-FFF2-40B4-BE49-F238E27FC236}">
                      <a16:creationId xmlns:a16="http://schemas.microsoft.com/office/drawing/2014/main" id="{AA4EBB1F-01DC-6C50-CFA4-562DD0A60E67}"/>
                    </a:ext>
                  </a:extLst>
                </p:cNvPr>
                <p:cNvSpPr>
                  <a:spLocks/>
                </p:cNvSpPr>
                <p:nvPr/>
              </p:nvSpPr>
              <p:spPr bwMode="auto">
                <a:xfrm>
                  <a:off x="7897045" y="1787053"/>
                  <a:ext cx="197314" cy="315365"/>
                </a:xfrm>
                <a:custGeom>
                  <a:avLst/>
                  <a:gdLst>
                    <a:gd name="T0" fmla="*/ 34 w 117"/>
                    <a:gd name="T1" fmla="*/ 182 h 187"/>
                    <a:gd name="T2" fmla="*/ 34 w 117"/>
                    <a:gd name="T3" fmla="*/ 176 h 187"/>
                    <a:gd name="T4" fmla="*/ 37 w 117"/>
                    <a:gd name="T5" fmla="*/ 171 h 187"/>
                    <a:gd name="T6" fmla="*/ 40 w 117"/>
                    <a:gd name="T7" fmla="*/ 166 h 187"/>
                    <a:gd name="T8" fmla="*/ 44 w 117"/>
                    <a:gd name="T9" fmla="*/ 161 h 187"/>
                    <a:gd name="T10" fmla="*/ 40 w 117"/>
                    <a:gd name="T11" fmla="*/ 159 h 187"/>
                    <a:gd name="T12" fmla="*/ 42 w 117"/>
                    <a:gd name="T13" fmla="*/ 155 h 187"/>
                    <a:gd name="T14" fmla="*/ 45 w 117"/>
                    <a:gd name="T15" fmla="*/ 155 h 187"/>
                    <a:gd name="T16" fmla="*/ 48 w 117"/>
                    <a:gd name="T17" fmla="*/ 150 h 187"/>
                    <a:gd name="T18" fmla="*/ 52 w 117"/>
                    <a:gd name="T19" fmla="*/ 153 h 187"/>
                    <a:gd name="T20" fmla="*/ 51 w 117"/>
                    <a:gd name="T21" fmla="*/ 149 h 187"/>
                    <a:gd name="T22" fmla="*/ 56 w 117"/>
                    <a:gd name="T23" fmla="*/ 148 h 187"/>
                    <a:gd name="T24" fmla="*/ 59 w 117"/>
                    <a:gd name="T25" fmla="*/ 139 h 187"/>
                    <a:gd name="T26" fmla="*/ 67 w 117"/>
                    <a:gd name="T27" fmla="*/ 141 h 187"/>
                    <a:gd name="T28" fmla="*/ 68 w 117"/>
                    <a:gd name="T29" fmla="*/ 132 h 187"/>
                    <a:gd name="T30" fmla="*/ 68 w 117"/>
                    <a:gd name="T31" fmla="*/ 123 h 187"/>
                    <a:gd name="T32" fmla="*/ 69 w 117"/>
                    <a:gd name="T33" fmla="*/ 116 h 187"/>
                    <a:gd name="T34" fmla="*/ 79 w 117"/>
                    <a:gd name="T35" fmla="*/ 122 h 187"/>
                    <a:gd name="T36" fmla="*/ 81 w 117"/>
                    <a:gd name="T37" fmla="*/ 115 h 187"/>
                    <a:gd name="T38" fmla="*/ 84 w 117"/>
                    <a:gd name="T39" fmla="*/ 122 h 187"/>
                    <a:gd name="T40" fmla="*/ 88 w 117"/>
                    <a:gd name="T41" fmla="*/ 116 h 187"/>
                    <a:gd name="T42" fmla="*/ 87 w 117"/>
                    <a:gd name="T43" fmla="*/ 111 h 187"/>
                    <a:gd name="T44" fmla="*/ 95 w 117"/>
                    <a:gd name="T45" fmla="*/ 115 h 187"/>
                    <a:gd name="T46" fmla="*/ 97 w 117"/>
                    <a:gd name="T47" fmla="*/ 111 h 187"/>
                    <a:gd name="T48" fmla="*/ 103 w 117"/>
                    <a:gd name="T49" fmla="*/ 105 h 187"/>
                    <a:gd name="T50" fmla="*/ 106 w 117"/>
                    <a:gd name="T51" fmla="*/ 101 h 187"/>
                    <a:gd name="T52" fmla="*/ 114 w 117"/>
                    <a:gd name="T53" fmla="*/ 97 h 187"/>
                    <a:gd name="T54" fmla="*/ 116 w 117"/>
                    <a:gd name="T55" fmla="*/ 88 h 187"/>
                    <a:gd name="T56" fmla="*/ 112 w 117"/>
                    <a:gd name="T57" fmla="*/ 86 h 187"/>
                    <a:gd name="T58" fmla="*/ 112 w 117"/>
                    <a:gd name="T59" fmla="*/ 82 h 187"/>
                    <a:gd name="T60" fmla="*/ 104 w 117"/>
                    <a:gd name="T61" fmla="*/ 77 h 187"/>
                    <a:gd name="T62" fmla="*/ 101 w 117"/>
                    <a:gd name="T63" fmla="*/ 64 h 187"/>
                    <a:gd name="T64" fmla="*/ 95 w 117"/>
                    <a:gd name="T65" fmla="*/ 63 h 187"/>
                    <a:gd name="T66" fmla="*/ 84 w 117"/>
                    <a:gd name="T67" fmla="*/ 56 h 187"/>
                    <a:gd name="T68" fmla="*/ 77 w 117"/>
                    <a:gd name="T69" fmla="*/ 31 h 187"/>
                    <a:gd name="T70" fmla="*/ 71 w 117"/>
                    <a:gd name="T71" fmla="*/ 11 h 187"/>
                    <a:gd name="T72" fmla="*/ 53 w 117"/>
                    <a:gd name="T73" fmla="*/ 3 h 187"/>
                    <a:gd name="T74" fmla="*/ 42 w 117"/>
                    <a:gd name="T75" fmla="*/ 11 h 187"/>
                    <a:gd name="T76" fmla="*/ 30 w 117"/>
                    <a:gd name="T77" fmla="*/ 5 h 187"/>
                    <a:gd name="T78" fmla="*/ 22 w 117"/>
                    <a:gd name="T79" fmla="*/ 22 h 187"/>
                    <a:gd name="T80" fmla="*/ 13 w 117"/>
                    <a:gd name="T81" fmla="*/ 54 h 187"/>
                    <a:gd name="T82" fmla="*/ 15 w 117"/>
                    <a:gd name="T83" fmla="*/ 71 h 187"/>
                    <a:gd name="T84" fmla="*/ 12 w 117"/>
                    <a:gd name="T85" fmla="*/ 82 h 187"/>
                    <a:gd name="T86" fmla="*/ 7 w 117"/>
                    <a:gd name="T87" fmla="*/ 95 h 187"/>
                    <a:gd name="T88" fmla="*/ 0 w 117"/>
                    <a:gd name="T89" fmla="*/ 10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87">
                      <a:moveTo>
                        <a:pt x="33" y="187"/>
                      </a:moveTo>
                      <a:lnTo>
                        <a:pt x="33" y="185"/>
                      </a:lnTo>
                      <a:lnTo>
                        <a:pt x="34" y="182"/>
                      </a:lnTo>
                      <a:lnTo>
                        <a:pt x="34" y="181"/>
                      </a:lnTo>
                      <a:lnTo>
                        <a:pt x="34" y="178"/>
                      </a:lnTo>
                      <a:lnTo>
                        <a:pt x="34" y="176"/>
                      </a:lnTo>
                      <a:lnTo>
                        <a:pt x="35" y="174"/>
                      </a:lnTo>
                      <a:lnTo>
                        <a:pt x="37" y="174"/>
                      </a:lnTo>
                      <a:lnTo>
                        <a:pt x="37" y="171"/>
                      </a:lnTo>
                      <a:lnTo>
                        <a:pt x="38" y="169"/>
                      </a:lnTo>
                      <a:lnTo>
                        <a:pt x="38" y="166"/>
                      </a:lnTo>
                      <a:lnTo>
                        <a:pt x="40" y="166"/>
                      </a:lnTo>
                      <a:lnTo>
                        <a:pt x="41" y="166"/>
                      </a:lnTo>
                      <a:lnTo>
                        <a:pt x="44" y="166"/>
                      </a:lnTo>
                      <a:lnTo>
                        <a:pt x="44" y="161"/>
                      </a:lnTo>
                      <a:lnTo>
                        <a:pt x="41" y="161"/>
                      </a:lnTo>
                      <a:lnTo>
                        <a:pt x="40" y="161"/>
                      </a:lnTo>
                      <a:lnTo>
                        <a:pt x="40" y="159"/>
                      </a:lnTo>
                      <a:lnTo>
                        <a:pt x="40" y="158"/>
                      </a:lnTo>
                      <a:lnTo>
                        <a:pt x="42" y="156"/>
                      </a:lnTo>
                      <a:lnTo>
                        <a:pt x="42" y="155"/>
                      </a:lnTo>
                      <a:lnTo>
                        <a:pt x="44" y="153"/>
                      </a:lnTo>
                      <a:lnTo>
                        <a:pt x="45" y="154"/>
                      </a:lnTo>
                      <a:lnTo>
                        <a:pt x="45" y="155"/>
                      </a:lnTo>
                      <a:lnTo>
                        <a:pt x="47" y="154"/>
                      </a:lnTo>
                      <a:lnTo>
                        <a:pt x="48" y="153"/>
                      </a:lnTo>
                      <a:lnTo>
                        <a:pt x="48" y="150"/>
                      </a:lnTo>
                      <a:lnTo>
                        <a:pt x="50" y="152"/>
                      </a:lnTo>
                      <a:lnTo>
                        <a:pt x="51" y="153"/>
                      </a:lnTo>
                      <a:lnTo>
                        <a:pt x="52" y="153"/>
                      </a:lnTo>
                      <a:lnTo>
                        <a:pt x="52" y="150"/>
                      </a:lnTo>
                      <a:lnTo>
                        <a:pt x="52" y="149"/>
                      </a:lnTo>
                      <a:lnTo>
                        <a:pt x="51" y="149"/>
                      </a:lnTo>
                      <a:lnTo>
                        <a:pt x="50" y="147"/>
                      </a:lnTo>
                      <a:lnTo>
                        <a:pt x="54" y="147"/>
                      </a:lnTo>
                      <a:lnTo>
                        <a:pt x="56" y="148"/>
                      </a:lnTo>
                      <a:lnTo>
                        <a:pt x="59" y="147"/>
                      </a:lnTo>
                      <a:lnTo>
                        <a:pt x="60" y="144"/>
                      </a:lnTo>
                      <a:lnTo>
                        <a:pt x="59" y="139"/>
                      </a:lnTo>
                      <a:lnTo>
                        <a:pt x="61" y="139"/>
                      </a:lnTo>
                      <a:lnTo>
                        <a:pt x="64" y="142"/>
                      </a:lnTo>
                      <a:lnTo>
                        <a:pt x="67" y="141"/>
                      </a:lnTo>
                      <a:lnTo>
                        <a:pt x="68" y="139"/>
                      </a:lnTo>
                      <a:lnTo>
                        <a:pt x="69" y="135"/>
                      </a:lnTo>
                      <a:lnTo>
                        <a:pt x="68" y="132"/>
                      </a:lnTo>
                      <a:lnTo>
                        <a:pt x="69" y="128"/>
                      </a:lnTo>
                      <a:lnTo>
                        <a:pt x="69" y="126"/>
                      </a:lnTo>
                      <a:lnTo>
                        <a:pt x="68" y="123"/>
                      </a:lnTo>
                      <a:lnTo>
                        <a:pt x="68" y="121"/>
                      </a:lnTo>
                      <a:lnTo>
                        <a:pt x="69" y="118"/>
                      </a:lnTo>
                      <a:lnTo>
                        <a:pt x="69" y="116"/>
                      </a:lnTo>
                      <a:lnTo>
                        <a:pt x="73" y="120"/>
                      </a:lnTo>
                      <a:lnTo>
                        <a:pt x="74" y="122"/>
                      </a:lnTo>
                      <a:lnTo>
                        <a:pt x="79" y="122"/>
                      </a:lnTo>
                      <a:lnTo>
                        <a:pt x="79" y="120"/>
                      </a:lnTo>
                      <a:lnTo>
                        <a:pt x="79" y="116"/>
                      </a:lnTo>
                      <a:lnTo>
                        <a:pt x="81" y="115"/>
                      </a:lnTo>
                      <a:lnTo>
                        <a:pt x="84" y="116"/>
                      </a:lnTo>
                      <a:lnTo>
                        <a:pt x="84" y="118"/>
                      </a:lnTo>
                      <a:lnTo>
                        <a:pt x="84" y="122"/>
                      </a:lnTo>
                      <a:lnTo>
                        <a:pt x="87" y="121"/>
                      </a:lnTo>
                      <a:lnTo>
                        <a:pt x="90" y="118"/>
                      </a:lnTo>
                      <a:lnTo>
                        <a:pt x="88" y="116"/>
                      </a:lnTo>
                      <a:lnTo>
                        <a:pt x="86" y="114"/>
                      </a:lnTo>
                      <a:lnTo>
                        <a:pt x="86" y="112"/>
                      </a:lnTo>
                      <a:lnTo>
                        <a:pt x="87" y="111"/>
                      </a:lnTo>
                      <a:lnTo>
                        <a:pt x="90" y="114"/>
                      </a:lnTo>
                      <a:lnTo>
                        <a:pt x="93" y="116"/>
                      </a:lnTo>
                      <a:lnTo>
                        <a:pt x="95" y="115"/>
                      </a:lnTo>
                      <a:lnTo>
                        <a:pt x="94" y="111"/>
                      </a:lnTo>
                      <a:lnTo>
                        <a:pt x="95" y="111"/>
                      </a:lnTo>
                      <a:lnTo>
                        <a:pt x="97" y="111"/>
                      </a:lnTo>
                      <a:lnTo>
                        <a:pt x="97" y="105"/>
                      </a:lnTo>
                      <a:lnTo>
                        <a:pt x="101" y="105"/>
                      </a:lnTo>
                      <a:lnTo>
                        <a:pt x="103" y="105"/>
                      </a:lnTo>
                      <a:lnTo>
                        <a:pt x="104" y="104"/>
                      </a:lnTo>
                      <a:lnTo>
                        <a:pt x="104" y="101"/>
                      </a:lnTo>
                      <a:lnTo>
                        <a:pt x="106" y="101"/>
                      </a:lnTo>
                      <a:lnTo>
                        <a:pt x="107" y="100"/>
                      </a:lnTo>
                      <a:lnTo>
                        <a:pt x="110" y="97"/>
                      </a:lnTo>
                      <a:lnTo>
                        <a:pt x="114" y="97"/>
                      </a:lnTo>
                      <a:lnTo>
                        <a:pt x="116" y="95"/>
                      </a:lnTo>
                      <a:lnTo>
                        <a:pt x="117" y="89"/>
                      </a:lnTo>
                      <a:lnTo>
                        <a:pt x="116" y="88"/>
                      </a:lnTo>
                      <a:lnTo>
                        <a:pt x="115" y="88"/>
                      </a:lnTo>
                      <a:lnTo>
                        <a:pt x="113" y="88"/>
                      </a:lnTo>
                      <a:lnTo>
                        <a:pt x="112" y="86"/>
                      </a:lnTo>
                      <a:lnTo>
                        <a:pt x="114" y="84"/>
                      </a:lnTo>
                      <a:lnTo>
                        <a:pt x="114" y="83"/>
                      </a:lnTo>
                      <a:lnTo>
                        <a:pt x="112" y="82"/>
                      </a:lnTo>
                      <a:lnTo>
                        <a:pt x="110" y="77"/>
                      </a:lnTo>
                      <a:lnTo>
                        <a:pt x="106" y="77"/>
                      </a:lnTo>
                      <a:lnTo>
                        <a:pt x="104" y="77"/>
                      </a:lnTo>
                      <a:lnTo>
                        <a:pt x="102" y="73"/>
                      </a:lnTo>
                      <a:lnTo>
                        <a:pt x="101" y="68"/>
                      </a:lnTo>
                      <a:lnTo>
                        <a:pt x="101" y="64"/>
                      </a:lnTo>
                      <a:lnTo>
                        <a:pt x="100" y="61"/>
                      </a:lnTo>
                      <a:lnTo>
                        <a:pt x="97" y="62"/>
                      </a:lnTo>
                      <a:lnTo>
                        <a:pt x="95" y="63"/>
                      </a:lnTo>
                      <a:lnTo>
                        <a:pt x="91" y="63"/>
                      </a:lnTo>
                      <a:lnTo>
                        <a:pt x="87" y="61"/>
                      </a:lnTo>
                      <a:lnTo>
                        <a:pt x="84" y="56"/>
                      </a:lnTo>
                      <a:lnTo>
                        <a:pt x="83" y="49"/>
                      </a:lnTo>
                      <a:lnTo>
                        <a:pt x="79" y="40"/>
                      </a:lnTo>
                      <a:lnTo>
                        <a:pt x="77" y="31"/>
                      </a:lnTo>
                      <a:lnTo>
                        <a:pt x="75" y="26"/>
                      </a:lnTo>
                      <a:lnTo>
                        <a:pt x="73" y="18"/>
                      </a:lnTo>
                      <a:lnTo>
                        <a:pt x="71" y="11"/>
                      </a:lnTo>
                      <a:lnTo>
                        <a:pt x="69" y="8"/>
                      </a:lnTo>
                      <a:lnTo>
                        <a:pt x="56" y="0"/>
                      </a:lnTo>
                      <a:lnTo>
                        <a:pt x="53" y="3"/>
                      </a:lnTo>
                      <a:lnTo>
                        <a:pt x="50" y="7"/>
                      </a:lnTo>
                      <a:lnTo>
                        <a:pt x="45" y="11"/>
                      </a:lnTo>
                      <a:lnTo>
                        <a:pt x="42" y="11"/>
                      </a:lnTo>
                      <a:lnTo>
                        <a:pt x="39" y="9"/>
                      </a:lnTo>
                      <a:lnTo>
                        <a:pt x="34" y="6"/>
                      </a:lnTo>
                      <a:lnTo>
                        <a:pt x="30" y="5"/>
                      </a:lnTo>
                      <a:lnTo>
                        <a:pt x="29" y="5"/>
                      </a:lnTo>
                      <a:lnTo>
                        <a:pt x="27" y="7"/>
                      </a:lnTo>
                      <a:lnTo>
                        <a:pt x="22" y="22"/>
                      </a:lnTo>
                      <a:lnTo>
                        <a:pt x="20" y="33"/>
                      </a:lnTo>
                      <a:lnTo>
                        <a:pt x="15" y="45"/>
                      </a:lnTo>
                      <a:lnTo>
                        <a:pt x="13" y="54"/>
                      </a:lnTo>
                      <a:lnTo>
                        <a:pt x="12" y="64"/>
                      </a:lnTo>
                      <a:lnTo>
                        <a:pt x="13" y="69"/>
                      </a:lnTo>
                      <a:lnTo>
                        <a:pt x="15" y="71"/>
                      </a:lnTo>
                      <a:lnTo>
                        <a:pt x="14" y="73"/>
                      </a:lnTo>
                      <a:lnTo>
                        <a:pt x="12" y="76"/>
                      </a:lnTo>
                      <a:lnTo>
                        <a:pt x="12" y="82"/>
                      </a:lnTo>
                      <a:lnTo>
                        <a:pt x="10" y="87"/>
                      </a:lnTo>
                      <a:lnTo>
                        <a:pt x="10" y="94"/>
                      </a:lnTo>
                      <a:lnTo>
                        <a:pt x="7" y="95"/>
                      </a:lnTo>
                      <a:lnTo>
                        <a:pt x="7" y="100"/>
                      </a:lnTo>
                      <a:lnTo>
                        <a:pt x="1" y="100"/>
                      </a:lnTo>
                      <a:lnTo>
                        <a:pt x="0" y="103"/>
                      </a:lnTo>
                      <a:lnTo>
                        <a:pt x="23" y="178"/>
                      </a:lnTo>
                      <a:lnTo>
                        <a:pt x="33" y="18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7" name="Freeform 76">
                  <a:extLst>
                    <a:ext uri="{FF2B5EF4-FFF2-40B4-BE49-F238E27FC236}">
                      <a16:creationId xmlns:a16="http://schemas.microsoft.com/office/drawing/2014/main" id="{2194278D-2931-6D0B-E2DA-EA4D0AA0FCEB}"/>
                    </a:ext>
                  </a:extLst>
                </p:cNvPr>
                <p:cNvSpPr>
                  <a:spLocks/>
                </p:cNvSpPr>
                <p:nvPr/>
              </p:nvSpPr>
              <p:spPr bwMode="auto">
                <a:xfrm>
                  <a:off x="7517596" y="2002918"/>
                  <a:ext cx="408119" cy="300187"/>
                </a:xfrm>
                <a:custGeom>
                  <a:avLst/>
                  <a:gdLst>
                    <a:gd name="T0" fmla="*/ 10 w 242"/>
                    <a:gd name="T1" fmla="*/ 136 h 178"/>
                    <a:gd name="T2" fmla="*/ 16 w 242"/>
                    <a:gd name="T3" fmla="*/ 129 h 178"/>
                    <a:gd name="T4" fmla="*/ 22 w 242"/>
                    <a:gd name="T5" fmla="*/ 124 h 178"/>
                    <a:gd name="T6" fmla="*/ 22 w 242"/>
                    <a:gd name="T7" fmla="*/ 119 h 178"/>
                    <a:gd name="T8" fmla="*/ 14 w 242"/>
                    <a:gd name="T9" fmla="*/ 102 h 178"/>
                    <a:gd name="T10" fmla="*/ 31 w 242"/>
                    <a:gd name="T11" fmla="*/ 96 h 178"/>
                    <a:gd name="T12" fmla="*/ 47 w 242"/>
                    <a:gd name="T13" fmla="*/ 96 h 178"/>
                    <a:gd name="T14" fmla="*/ 56 w 242"/>
                    <a:gd name="T15" fmla="*/ 96 h 178"/>
                    <a:gd name="T16" fmla="*/ 67 w 242"/>
                    <a:gd name="T17" fmla="*/ 93 h 178"/>
                    <a:gd name="T18" fmla="*/ 83 w 242"/>
                    <a:gd name="T19" fmla="*/ 83 h 178"/>
                    <a:gd name="T20" fmla="*/ 93 w 242"/>
                    <a:gd name="T21" fmla="*/ 77 h 178"/>
                    <a:gd name="T22" fmla="*/ 93 w 242"/>
                    <a:gd name="T23" fmla="*/ 71 h 178"/>
                    <a:gd name="T24" fmla="*/ 93 w 242"/>
                    <a:gd name="T25" fmla="*/ 63 h 178"/>
                    <a:gd name="T26" fmla="*/ 89 w 242"/>
                    <a:gd name="T27" fmla="*/ 61 h 178"/>
                    <a:gd name="T28" fmla="*/ 85 w 242"/>
                    <a:gd name="T29" fmla="*/ 55 h 178"/>
                    <a:gd name="T30" fmla="*/ 98 w 242"/>
                    <a:gd name="T31" fmla="*/ 44 h 178"/>
                    <a:gd name="T32" fmla="*/ 102 w 242"/>
                    <a:gd name="T33" fmla="*/ 33 h 178"/>
                    <a:gd name="T34" fmla="*/ 116 w 242"/>
                    <a:gd name="T35" fmla="*/ 15 h 178"/>
                    <a:gd name="T36" fmla="*/ 130 w 242"/>
                    <a:gd name="T37" fmla="*/ 8 h 178"/>
                    <a:gd name="T38" fmla="*/ 147 w 242"/>
                    <a:gd name="T39" fmla="*/ 2 h 178"/>
                    <a:gd name="T40" fmla="*/ 163 w 242"/>
                    <a:gd name="T41" fmla="*/ 5 h 178"/>
                    <a:gd name="T42" fmla="*/ 165 w 242"/>
                    <a:gd name="T43" fmla="*/ 16 h 178"/>
                    <a:gd name="T44" fmla="*/ 171 w 242"/>
                    <a:gd name="T45" fmla="*/ 24 h 178"/>
                    <a:gd name="T46" fmla="*/ 171 w 242"/>
                    <a:gd name="T47" fmla="*/ 34 h 178"/>
                    <a:gd name="T48" fmla="*/ 174 w 242"/>
                    <a:gd name="T49" fmla="*/ 48 h 178"/>
                    <a:gd name="T50" fmla="*/ 181 w 242"/>
                    <a:gd name="T51" fmla="*/ 59 h 178"/>
                    <a:gd name="T52" fmla="*/ 184 w 242"/>
                    <a:gd name="T53" fmla="*/ 79 h 178"/>
                    <a:gd name="T54" fmla="*/ 188 w 242"/>
                    <a:gd name="T55" fmla="*/ 89 h 178"/>
                    <a:gd name="T56" fmla="*/ 188 w 242"/>
                    <a:gd name="T57" fmla="*/ 120 h 178"/>
                    <a:gd name="T58" fmla="*/ 192 w 242"/>
                    <a:gd name="T59" fmla="*/ 146 h 178"/>
                    <a:gd name="T60" fmla="*/ 192 w 242"/>
                    <a:gd name="T61" fmla="*/ 158 h 178"/>
                    <a:gd name="T62" fmla="*/ 186 w 242"/>
                    <a:gd name="T63" fmla="*/ 171 h 178"/>
                    <a:gd name="T64" fmla="*/ 198 w 242"/>
                    <a:gd name="T65" fmla="*/ 166 h 178"/>
                    <a:gd name="T66" fmla="*/ 206 w 242"/>
                    <a:gd name="T67" fmla="*/ 160 h 178"/>
                    <a:gd name="T68" fmla="*/ 217 w 242"/>
                    <a:gd name="T69" fmla="*/ 158 h 178"/>
                    <a:gd name="T70" fmla="*/ 225 w 242"/>
                    <a:gd name="T71" fmla="*/ 153 h 178"/>
                    <a:gd name="T72" fmla="*/ 225 w 242"/>
                    <a:gd name="T73" fmla="*/ 157 h 178"/>
                    <a:gd name="T74" fmla="*/ 233 w 242"/>
                    <a:gd name="T75" fmla="*/ 151 h 178"/>
                    <a:gd name="T76" fmla="*/ 240 w 242"/>
                    <a:gd name="T77" fmla="*/ 149 h 178"/>
                    <a:gd name="T78" fmla="*/ 233 w 242"/>
                    <a:gd name="T79" fmla="*/ 157 h 178"/>
                    <a:gd name="T80" fmla="*/ 219 w 242"/>
                    <a:gd name="T81" fmla="*/ 166 h 178"/>
                    <a:gd name="T82" fmla="*/ 206 w 242"/>
                    <a:gd name="T83" fmla="*/ 173 h 178"/>
                    <a:gd name="T84" fmla="*/ 189 w 242"/>
                    <a:gd name="T85" fmla="*/ 178 h 178"/>
                    <a:gd name="T86" fmla="*/ 182 w 242"/>
                    <a:gd name="T87" fmla="*/ 171 h 178"/>
                    <a:gd name="T88" fmla="*/ 180 w 242"/>
                    <a:gd name="T89" fmla="*/ 165 h 178"/>
                    <a:gd name="T90" fmla="*/ 155 w 242"/>
                    <a:gd name="T91" fmla="*/ 158 h 178"/>
                    <a:gd name="T92" fmla="*/ 154 w 242"/>
                    <a:gd name="T93" fmla="*/ 151 h 178"/>
                    <a:gd name="T94" fmla="*/ 148 w 242"/>
                    <a:gd name="T95" fmla="*/ 150 h 178"/>
                    <a:gd name="T96" fmla="*/ 140 w 242"/>
                    <a:gd name="T97" fmla="*/ 138 h 178"/>
                    <a:gd name="T98" fmla="*/ 2 w 242"/>
                    <a:gd name="T99" fmla="*/ 15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78">
                      <a:moveTo>
                        <a:pt x="0" y="146"/>
                      </a:moveTo>
                      <a:lnTo>
                        <a:pt x="10" y="136"/>
                      </a:lnTo>
                      <a:lnTo>
                        <a:pt x="12" y="133"/>
                      </a:lnTo>
                      <a:lnTo>
                        <a:pt x="16" y="129"/>
                      </a:lnTo>
                      <a:lnTo>
                        <a:pt x="18" y="127"/>
                      </a:lnTo>
                      <a:lnTo>
                        <a:pt x="22" y="124"/>
                      </a:lnTo>
                      <a:lnTo>
                        <a:pt x="22" y="121"/>
                      </a:lnTo>
                      <a:lnTo>
                        <a:pt x="22" y="119"/>
                      </a:lnTo>
                      <a:lnTo>
                        <a:pt x="17" y="109"/>
                      </a:lnTo>
                      <a:lnTo>
                        <a:pt x="14" y="102"/>
                      </a:lnTo>
                      <a:lnTo>
                        <a:pt x="18" y="99"/>
                      </a:lnTo>
                      <a:lnTo>
                        <a:pt x="31" y="96"/>
                      </a:lnTo>
                      <a:lnTo>
                        <a:pt x="38" y="96"/>
                      </a:lnTo>
                      <a:lnTo>
                        <a:pt x="47" y="96"/>
                      </a:lnTo>
                      <a:lnTo>
                        <a:pt x="53" y="96"/>
                      </a:lnTo>
                      <a:lnTo>
                        <a:pt x="56" y="96"/>
                      </a:lnTo>
                      <a:lnTo>
                        <a:pt x="63" y="93"/>
                      </a:lnTo>
                      <a:lnTo>
                        <a:pt x="67" y="93"/>
                      </a:lnTo>
                      <a:lnTo>
                        <a:pt x="77" y="90"/>
                      </a:lnTo>
                      <a:lnTo>
                        <a:pt x="83" y="83"/>
                      </a:lnTo>
                      <a:lnTo>
                        <a:pt x="89" y="80"/>
                      </a:lnTo>
                      <a:lnTo>
                        <a:pt x="93" y="77"/>
                      </a:lnTo>
                      <a:lnTo>
                        <a:pt x="93" y="75"/>
                      </a:lnTo>
                      <a:lnTo>
                        <a:pt x="93" y="71"/>
                      </a:lnTo>
                      <a:lnTo>
                        <a:pt x="89" y="66"/>
                      </a:lnTo>
                      <a:lnTo>
                        <a:pt x="93" y="63"/>
                      </a:lnTo>
                      <a:lnTo>
                        <a:pt x="94" y="59"/>
                      </a:lnTo>
                      <a:lnTo>
                        <a:pt x="89" y="61"/>
                      </a:lnTo>
                      <a:lnTo>
                        <a:pt x="87" y="59"/>
                      </a:lnTo>
                      <a:lnTo>
                        <a:pt x="85" y="55"/>
                      </a:lnTo>
                      <a:lnTo>
                        <a:pt x="90" y="51"/>
                      </a:lnTo>
                      <a:lnTo>
                        <a:pt x="98" y="44"/>
                      </a:lnTo>
                      <a:lnTo>
                        <a:pt x="101" y="38"/>
                      </a:lnTo>
                      <a:lnTo>
                        <a:pt x="102" y="33"/>
                      </a:lnTo>
                      <a:lnTo>
                        <a:pt x="110" y="23"/>
                      </a:lnTo>
                      <a:lnTo>
                        <a:pt x="116" y="15"/>
                      </a:lnTo>
                      <a:lnTo>
                        <a:pt x="123" y="10"/>
                      </a:lnTo>
                      <a:lnTo>
                        <a:pt x="130" y="8"/>
                      </a:lnTo>
                      <a:lnTo>
                        <a:pt x="141" y="5"/>
                      </a:lnTo>
                      <a:lnTo>
                        <a:pt x="147" y="2"/>
                      </a:lnTo>
                      <a:lnTo>
                        <a:pt x="163" y="0"/>
                      </a:lnTo>
                      <a:lnTo>
                        <a:pt x="163" y="5"/>
                      </a:lnTo>
                      <a:lnTo>
                        <a:pt x="163" y="11"/>
                      </a:lnTo>
                      <a:lnTo>
                        <a:pt x="165" y="16"/>
                      </a:lnTo>
                      <a:lnTo>
                        <a:pt x="168" y="23"/>
                      </a:lnTo>
                      <a:lnTo>
                        <a:pt x="171" y="24"/>
                      </a:lnTo>
                      <a:lnTo>
                        <a:pt x="174" y="32"/>
                      </a:lnTo>
                      <a:lnTo>
                        <a:pt x="171" y="34"/>
                      </a:lnTo>
                      <a:lnTo>
                        <a:pt x="170" y="41"/>
                      </a:lnTo>
                      <a:lnTo>
                        <a:pt x="174" y="48"/>
                      </a:lnTo>
                      <a:lnTo>
                        <a:pt x="177" y="56"/>
                      </a:lnTo>
                      <a:lnTo>
                        <a:pt x="181" y="59"/>
                      </a:lnTo>
                      <a:lnTo>
                        <a:pt x="182" y="70"/>
                      </a:lnTo>
                      <a:lnTo>
                        <a:pt x="184" y="79"/>
                      </a:lnTo>
                      <a:lnTo>
                        <a:pt x="188" y="88"/>
                      </a:lnTo>
                      <a:lnTo>
                        <a:pt x="188" y="89"/>
                      </a:lnTo>
                      <a:lnTo>
                        <a:pt x="188" y="102"/>
                      </a:lnTo>
                      <a:lnTo>
                        <a:pt x="188" y="120"/>
                      </a:lnTo>
                      <a:lnTo>
                        <a:pt x="192" y="139"/>
                      </a:lnTo>
                      <a:lnTo>
                        <a:pt x="192" y="146"/>
                      </a:lnTo>
                      <a:lnTo>
                        <a:pt x="196" y="152"/>
                      </a:lnTo>
                      <a:lnTo>
                        <a:pt x="192" y="158"/>
                      </a:lnTo>
                      <a:lnTo>
                        <a:pt x="193" y="161"/>
                      </a:lnTo>
                      <a:lnTo>
                        <a:pt x="186" y="171"/>
                      </a:lnTo>
                      <a:lnTo>
                        <a:pt x="193" y="168"/>
                      </a:lnTo>
                      <a:lnTo>
                        <a:pt x="198" y="166"/>
                      </a:lnTo>
                      <a:lnTo>
                        <a:pt x="204" y="162"/>
                      </a:lnTo>
                      <a:lnTo>
                        <a:pt x="206" y="160"/>
                      </a:lnTo>
                      <a:lnTo>
                        <a:pt x="212" y="159"/>
                      </a:lnTo>
                      <a:lnTo>
                        <a:pt x="217" y="158"/>
                      </a:lnTo>
                      <a:lnTo>
                        <a:pt x="219" y="156"/>
                      </a:lnTo>
                      <a:lnTo>
                        <a:pt x="225" y="153"/>
                      </a:lnTo>
                      <a:lnTo>
                        <a:pt x="230" y="147"/>
                      </a:lnTo>
                      <a:lnTo>
                        <a:pt x="225" y="157"/>
                      </a:lnTo>
                      <a:lnTo>
                        <a:pt x="230" y="155"/>
                      </a:lnTo>
                      <a:lnTo>
                        <a:pt x="233" y="151"/>
                      </a:lnTo>
                      <a:lnTo>
                        <a:pt x="236" y="150"/>
                      </a:lnTo>
                      <a:lnTo>
                        <a:pt x="240" y="149"/>
                      </a:lnTo>
                      <a:lnTo>
                        <a:pt x="242" y="149"/>
                      </a:lnTo>
                      <a:lnTo>
                        <a:pt x="233" y="157"/>
                      </a:lnTo>
                      <a:lnTo>
                        <a:pt x="225" y="163"/>
                      </a:lnTo>
                      <a:lnTo>
                        <a:pt x="219" y="166"/>
                      </a:lnTo>
                      <a:lnTo>
                        <a:pt x="214" y="171"/>
                      </a:lnTo>
                      <a:lnTo>
                        <a:pt x="206" y="173"/>
                      </a:lnTo>
                      <a:lnTo>
                        <a:pt x="197" y="176"/>
                      </a:lnTo>
                      <a:lnTo>
                        <a:pt x="189" y="178"/>
                      </a:lnTo>
                      <a:lnTo>
                        <a:pt x="184" y="175"/>
                      </a:lnTo>
                      <a:lnTo>
                        <a:pt x="182" y="171"/>
                      </a:lnTo>
                      <a:lnTo>
                        <a:pt x="182" y="167"/>
                      </a:lnTo>
                      <a:lnTo>
                        <a:pt x="180" y="165"/>
                      </a:lnTo>
                      <a:lnTo>
                        <a:pt x="167" y="161"/>
                      </a:lnTo>
                      <a:lnTo>
                        <a:pt x="155" y="158"/>
                      </a:lnTo>
                      <a:lnTo>
                        <a:pt x="157" y="153"/>
                      </a:lnTo>
                      <a:lnTo>
                        <a:pt x="154" y="151"/>
                      </a:lnTo>
                      <a:lnTo>
                        <a:pt x="151" y="151"/>
                      </a:lnTo>
                      <a:lnTo>
                        <a:pt x="148" y="150"/>
                      </a:lnTo>
                      <a:lnTo>
                        <a:pt x="144" y="143"/>
                      </a:lnTo>
                      <a:lnTo>
                        <a:pt x="140" y="138"/>
                      </a:lnTo>
                      <a:lnTo>
                        <a:pt x="132" y="133"/>
                      </a:lnTo>
                      <a:lnTo>
                        <a:pt x="2" y="156"/>
                      </a:lnTo>
                      <a:lnTo>
                        <a:pt x="0" y="146"/>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8" name="Freeform 77">
                  <a:extLst>
                    <a:ext uri="{FF2B5EF4-FFF2-40B4-BE49-F238E27FC236}">
                      <a16:creationId xmlns:a16="http://schemas.microsoft.com/office/drawing/2014/main" id="{0698817D-A0BC-9E73-973D-A84E064D9B4D}"/>
                    </a:ext>
                  </a:extLst>
                </p:cNvPr>
                <p:cNvSpPr>
                  <a:spLocks/>
                </p:cNvSpPr>
                <p:nvPr/>
              </p:nvSpPr>
              <p:spPr bwMode="auto">
                <a:xfrm>
                  <a:off x="7792486" y="1982680"/>
                  <a:ext cx="94441" cy="170331"/>
                </a:xfrm>
                <a:custGeom>
                  <a:avLst/>
                  <a:gdLst>
                    <a:gd name="T0" fmla="*/ 0 w 56"/>
                    <a:gd name="T1" fmla="*/ 23 h 101"/>
                    <a:gd name="T2" fmla="*/ 2 w 56"/>
                    <a:gd name="T3" fmla="*/ 28 h 101"/>
                    <a:gd name="T4" fmla="*/ 5 w 56"/>
                    <a:gd name="T5" fmla="*/ 35 h 101"/>
                    <a:gd name="T6" fmla="*/ 8 w 56"/>
                    <a:gd name="T7" fmla="*/ 36 h 101"/>
                    <a:gd name="T8" fmla="*/ 11 w 56"/>
                    <a:gd name="T9" fmla="*/ 44 h 101"/>
                    <a:gd name="T10" fmla="*/ 8 w 56"/>
                    <a:gd name="T11" fmla="*/ 46 h 101"/>
                    <a:gd name="T12" fmla="*/ 7 w 56"/>
                    <a:gd name="T13" fmla="*/ 53 h 101"/>
                    <a:gd name="T14" fmla="*/ 11 w 56"/>
                    <a:gd name="T15" fmla="*/ 60 h 101"/>
                    <a:gd name="T16" fmla="*/ 14 w 56"/>
                    <a:gd name="T17" fmla="*/ 68 h 101"/>
                    <a:gd name="T18" fmla="*/ 18 w 56"/>
                    <a:gd name="T19" fmla="*/ 71 h 101"/>
                    <a:gd name="T20" fmla="*/ 19 w 56"/>
                    <a:gd name="T21" fmla="*/ 82 h 101"/>
                    <a:gd name="T22" fmla="*/ 21 w 56"/>
                    <a:gd name="T23" fmla="*/ 91 h 101"/>
                    <a:gd name="T24" fmla="*/ 25 w 56"/>
                    <a:gd name="T25" fmla="*/ 100 h 101"/>
                    <a:gd name="T26" fmla="*/ 25 w 56"/>
                    <a:gd name="T27" fmla="*/ 101 h 101"/>
                    <a:gd name="T28" fmla="*/ 47 w 56"/>
                    <a:gd name="T29" fmla="*/ 98 h 101"/>
                    <a:gd name="T30" fmla="*/ 45 w 56"/>
                    <a:gd name="T31" fmla="*/ 91 h 101"/>
                    <a:gd name="T32" fmla="*/ 46 w 56"/>
                    <a:gd name="T33" fmla="*/ 82 h 101"/>
                    <a:gd name="T34" fmla="*/ 45 w 56"/>
                    <a:gd name="T35" fmla="*/ 71 h 101"/>
                    <a:gd name="T36" fmla="*/ 44 w 56"/>
                    <a:gd name="T37" fmla="*/ 60 h 101"/>
                    <a:gd name="T38" fmla="*/ 47 w 56"/>
                    <a:gd name="T39" fmla="*/ 45 h 101"/>
                    <a:gd name="T40" fmla="*/ 47 w 56"/>
                    <a:gd name="T41" fmla="*/ 32 h 101"/>
                    <a:gd name="T42" fmla="*/ 56 w 56"/>
                    <a:gd name="T43" fmla="*/ 25 h 101"/>
                    <a:gd name="T44" fmla="*/ 56 w 56"/>
                    <a:gd name="T45" fmla="*/ 21 h 101"/>
                    <a:gd name="T46" fmla="*/ 53 w 56"/>
                    <a:gd name="T47" fmla="*/ 17 h 101"/>
                    <a:gd name="T48" fmla="*/ 53 w 56"/>
                    <a:gd name="T49" fmla="*/ 12 h 101"/>
                    <a:gd name="T50" fmla="*/ 53 w 56"/>
                    <a:gd name="T51" fmla="*/ 4 h 101"/>
                    <a:gd name="T52" fmla="*/ 50 w 56"/>
                    <a:gd name="T53" fmla="*/ 0 h 101"/>
                    <a:gd name="T54" fmla="*/ 43 w 56"/>
                    <a:gd name="T55" fmla="*/ 2 h 101"/>
                    <a:gd name="T56" fmla="*/ 36 w 56"/>
                    <a:gd name="T57" fmla="*/ 4 h 101"/>
                    <a:gd name="T58" fmla="*/ 22 w 56"/>
                    <a:gd name="T59" fmla="*/ 6 h 101"/>
                    <a:gd name="T60" fmla="*/ 15 w 56"/>
                    <a:gd name="T61" fmla="*/ 8 h 101"/>
                    <a:gd name="T62" fmla="*/ 5 w 56"/>
                    <a:gd name="T63" fmla="*/ 12 h 101"/>
                    <a:gd name="T64" fmla="*/ 0 w 56"/>
                    <a:gd name="T65" fmla="*/ 12 h 101"/>
                    <a:gd name="T66" fmla="*/ 0 w 56"/>
                    <a:gd name="T67" fmla="*/ 17 h 101"/>
                    <a:gd name="T68" fmla="*/ 0 w 56"/>
                    <a:gd name="T69" fmla="*/ 2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01">
                      <a:moveTo>
                        <a:pt x="0" y="23"/>
                      </a:moveTo>
                      <a:lnTo>
                        <a:pt x="2" y="28"/>
                      </a:lnTo>
                      <a:lnTo>
                        <a:pt x="5" y="35"/>
                      </a:lnTo>
                      <a:lnTo>
                        <a:pt x="8" y="36"/>
                      </a:lnTo>
                      <a:lnTo>
                        <a:pt x="11" y="44"/>
                      </a:lnTo>
                      <a:lnTo>
                        <a:pt x="8" y="46"/>
                      </a:lnTo>
                      <a:lnTo>
                        <a:pt x="7" y="53"/>
                      </a:lnTo>
                      <a:lnTo>
                        <a:pt x="11" y="60"/>
                      </a:lnTo>
                      <a:lnTo>
                        <a:pt x="14" y="68"/>
                      </a:lnTo>
                      <a:lnTo>
                        <a:pt x="18" y="71"/>
                      </a:lnTo>
                      <a:lnTo>
                        <a:pt x="19" y="82"/>
                      </a:lnTo>
                      <a:lnTo>
                        <a:pt x="21" y="91"/>
                      </a:lnTo>
                      <a:lnTo>
                        <a:pt x="25" y="100"/>
                      </a:lnTo>
                      <a:lnTo>
                        <a:pt x="25" y="101"/>
                      </a:lnTo>
                      <a:lnTo>
                        <a:pt x="47" y="98"/>
                      </a:lnTo>
                      <a:lnTo>
                        <a:pt x="45" y="91"/>
                      </a:lnTo>
                      <a:lnTo>
                        <a:pt x="46" y="82"/>
                      </a:lnTo>
                      <a:lnTo>
                        <a:pt x="45" y="71"/>
                      </a:lnTo>
                      <a:lnTo>
                        <a:pt x="44" y="60"/>
                      </a:lnTo>
                      <a:lnTo>
                        <a:pt x="47" y="45"/>
                      </a:lnTo>
                      <a:lnTo>
                        <a:pt x="47" y="32"/>
                      </a:lnTo>
                      <a:lnTo>
                        <a:pt x="56" y="25"/>
                      </a:lnTo>
                      <a:lnTo>
                        <a:pt x="56" y="21"/>
                      </a:lnTo>
                      <a:lnTo>
                        <a:pt x="53" y="17"/>
                      </a:lnTo>
                      <a:lnTo>
                        <a:pt x="53" y="12"/>
                      </a:lnTo>
                      <a:lnTo>
                        <a:pt x="53" y="4"/>
                      </a:lnTo>
                      <a:lnTo>
                        <a:pt x="50" y="0"/>
                      </a:lnTo>
                      <a:lnTo>
                        <a:pt x="43" y="2"/>
                      </a:lnTo>
                      <a:lnTo>
                        <a:pt x="36" y="4"/>
                      </a:lnTo>
                      <a:lnTo>
                        <a:pt x="22" y="6"/>
                      </a:lnTo>
                      <a:lnTo>
                        <a:pt x="15" y="8"/>
                      </a:lnTo>
                      <a:lnTo>
                        <a:pt x="5" y="12"/>
                      </a:lnTo>
                      <a:lnTo>
                        <a:pt x="0" y="12"/>
                      </a:lnTo>
                      <a:lnTo>
                        <a:pt x="0" y="17"/>
                      </a:lnTo>
                      <a:lnTo>
                        <a:pt x="0" y="2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9" name="Freeform 78">
                  <a:extLst>
                    <a:ext uri="{FF2B5EF4-FFF2-40B4-BE49-F238E27FC236}">
                      <a16:creationId xmlns:a16="http://schemas.microsoft.com/office/drawing/2014/main" id="{882D4A53-F04C-CABD-BDBD-CAA8FA95C83A}"/>
                    </a:ext>
                  </a:extLst>
                </p:cNvPr>
                <p:cNvSpPr>
                  <a:spLocks/>
                </p:cNvSpPr>
                <p:nvPr/>
              </p:nvSpPr>
              <p:spPr bwMode="auto">
                <a:xfrm>
                  <a:off x="7866689" y="1960756"/>
                  <a:ext cx="84322" cy="187195"/>
                </a:xfrm>
                <a:custGeom>
                  <a:avLst/>
                  <a:gdLst>
                    <a:gd name="T0" fmla="*/ 18 w 50"/>
                    <a:gd name="T1" fmla="*/ 0 h 111"/>
                    <a:gd name="T2" fmla="*/ 14 w 50"/>
                    <a:gd name="T3" fmla="*/ 1 h 111"/>
                    <a:gd name="T4" fmla="*/ 9 w 50"/>
                    <a:gd name="T5" fmla="*/ 1 h 111"/>
                    <a:gd name="T6" fmla="*/ 9 w 50"/>
                    <a:gd name="T7" fmla="*/ 6 h 111"/>
                    <a:gd name="T8" fmla="*/ 8 w 50"/>
                    <a:gd name="T9" fmla="*/ 9 h 111"/>
                    <a:gd name="T10" fmla="*/ 6 w 50"/>
                    <a:gd name="T11" fmla="*/ 13 h 111"/>
                    <a:gd name="T12" fmla="*/ 9 w 50"/>
                    <a:gd name="T13" fmla="*/ 17 h 111"/>
                    <a:gd name="T14" fmla="*/ 9 w 50"/>
                    <a:gd name="T15" fmla="*/ 25 h 111"/>
                    <a:gd name="T16" fmla="*/ 9 w 50"/>
                    <a:gd name="T17" fmla="*/ 30 h 111"/>
                    <a:gd name="T18" fmla="*/ 12 w 50"/>
                    <a:gd name="T19" fmla="*/ 34 h 111"/>
                    <a:gd name="T20" fmla="*/ 12 w 50"/>
                    <a:gd name="T21" fmla="*/ 38 h 111"/>
                    <a:gd name="T22" fmla="*/ 3 w 50"/>
                    <a:gd name="T23" fmla="*/ 45 h 111"/>
                    <a:gd name="T24" fmla="*/ 3 w 50"/>
                    <a:gd name="T25" fmla="*/ 58 h 111"/>
                    <a:gd name="T26" fmla="*/ 0 w 50"/>
                    <a:gd name="T27" fmla="*/ 73 h 111"/>
                    <a:gd name="T28" fmla="*/ 1 w 50"/>
                    <a:gd name="T29" fmla="*/ 84 h 111"/>
                    <a:gd name="T30" fmla="*/ 2 w 50"/>
                    <a:gd name="T31" fmla="*/ 95 h 111"/>
                    <a:gd name="T32" fmla="*/ 1 w 50"/>
                    <a:gd name="T33" fmla="*/ 104 h 111"/>
                    <a:gd name="T34" fmla="*/ 3 w 50"/>
                    <a:gd name="T35" fmla="*/ 111 h 111"/>
                    <a:gd name="T36" fmla="*/ 40 w 50"/>
                    <a:gd name="T37" fmla="*/ 102 h 111"/>
                    <a:gd name="T38" fmla="*/ 41 w 50"/>
                    <a:gd name="T39" fmla="*/ 97 h 111"/>
                    <a:gd name="T40" fmla="*/ 49 w 50"/>
                    <a:gd name="T41" fmla="*/ 94 h 111"/>
                    <a:gd name="T42" fmla="*/ 48 w 50"/>
                    <a:gd name="T43" fmla="*/ 91 h 111"/>
                    <a:gd name="T44" fmla="*/ 50 w 50"/>
                    <a:gd name="T45" fmla="*/ 83 h 111"/>
                    <a:gd name="T46" fmla="*/ 50 w 50"/>
                    <a:gd name="T47" fmla="*/ 83 h 111"/>
                    <a:gd name="T48" fmla="*/ 41 w 50"/>
                    <a:gd name="T49" fmla="*/ 75 h 111"/>
                    <a:gd name="T50" fmla="*/ 18 w 50"/>
                    <a:gd name="T5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11">
                      <a:moveTo>
                        <a:pt x="18" y="0"/>
                      </a:moveTo>
                      <a:lnTo>
                        <a:pt x="14" y="1"/>
                      </a:lnTo>
                      <a:lnTo>
                        <a:pt x="9" y="1"/>
                      </a:lnTo>
                      <a:lnTo>
                        <a:pt x="9" y="6"/>
                      </a:lnTo>
                      <a:lnTo>
                        <a:pt x="8" y="9"/>
                      </a:lnTo>
                      <a:lnTo>
                        <a:pt x="6" y="13"/>
                      </a:lnTo>
                      <a:lnTo>
                        <a:pt x="9" y="17"/>
                      </a:lnTo>
                      <a:lnTo>
                        <a:pt x="9" y="25"/>
                      </a:lnTo>
                      <a:lnTo>
                        <a:pt x="9" y="30"/>
                      </a:lnTo>
                      <a:lnTo>
                        <a:pt x="12" y="34"/>
                      </a:lnTo>
                      <a:lnTo>
                        <a:pt x="12" y="38"/>
                      </a:lnTo>
                      <a:lnTo>
                        <a:pt x="3" y="45"/>
                      </a:lnTo>
                      <a:lnTo>
                        <a:pt x="3" y="58"/>
                      </a:lnTo>
                      <a:lnTo>
                        <a:pt x="0" y="73"/>
                      </a:lnTo>
                      <a:lnTo>
                        <a:pt x="1" y="84"/>
                      </a:lnTo>
                      <a:lnTo>
                        <a:pt x="2" y="95"/>
                      </a:lnTo>
                      <a:lnTo>
                        <a:pt x="1" y="104"/>
                      </a:lnTo>
                      <a:lnTo>
                        <a:pt x="3" y="111"/>
                      </a:lnTo>
                      <a:lnTo>
                        <a:pt x="40" y="102"/>
                      </a:lnTo>
                      <a:lnTo>
                        <a:pt x="41" y="97"/>
                      </a:lnTo>
                      <a:lnTo>
                        <a:pt x="49" y="94"/>
                      </a:lnTo>
                      <a:lnTo>
                        <a:pt x="48" y="91"/>
                      </a:lnTo>
                      <a:lnTo>
                        <a:pt x="50" y="83"/>
                      </a:lnTo>
                      <a:lnTo>
                        <a:pt x="50" y="83"/>
                      </a:lnTo>
                      <a:lnTo>
                        <a:pt x="41" y="75"/>
                      </a:lnTo>
                      <a:lnTo>
                        <a:pt x="18"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0" name="Freeform 79">
                  <a:extLst>
                    <a:ext uri="{FF2B5EF4-FFF2-40B4-BE49-F238E27FC236}">
                      <a16:creationId xmlns:a16="http://schemas.microsoft.com/office/drawing/2014/main" id="{49758B5F-3970-1CB2-6935-7A2E1B9393CE}"/>
                    </a:ext>
                  </a:extLst>
                </p:cNvPr>
                <p:cNvSpPr>
                  <a:spLocks/>
                </p:cNvSpPr>
                <p:nvPr/>
              </p:nvSpPr>
              <p:spPr bwMode="auto">
                <a:xfrm>
                  <a:off x="7834648" y="2188426"/>
                  <a:ext cx="94441" cy="86009"/>
                </a:xfrm>
                <a:custGeom>
                  <a:avLst/>
                  <a:gdLst>
                    <a:gd name="T0" fmla="*/ 4 w 56"/>
                    <a:gd name="T1" fmla="*/ 29 h 51"/>
                    <a:gd name="T2" fmla="*/ 4 w 56"/>
                    <a:gd name="T3" fmla="*/ 36 h 51"/>
                    <a:gd name="T4" fmla="*/ 8 w 56"/>
                    <a:gd name="T5" fmla="*/ 42 h 51"/>
                    <a:gd name="T6" fmla="*/ 4 w 56"/>
                    <a:gd name="T7" fmla="*/ 48 h 51"/>
                    <a:gd name="T8" fmla="*/ 5 w 56"/>
                    <a:gd name="T9" fmla="*/ 51 h 51"/>
                    <a:gd name="T10" fmla="*/ 9 w 56"/>
                    <a:gd name="T11" fmla="*/ 50 h 51"/>
                    <a:gd name="T12" fmla="*/ 13 w 56"/>
                    <a:gd name="T13" fmla="*/ 45 h 51"/>
                    <a:gd name="T14" fmla="*/ 15 w 56"/>
                    <a:gd name="T15" fmla="*/ 44 h 51"/>
                    <a:gd name="T16" fmla="*/ 20 w 56"/>
                    <a:gd name="T17" fmla="*/ 39 h 51"/>
                    <a:gd name="T18" fmla="*/ 25 w 56"/>
                    <a:gd name="T19" fmla="*/ 36 h 51"/>
                    <a:gd name="T20" fmla="*/ 33 w 56"/>
                    <a:gd name="T21" fmla="*/ 36 h 51"/>
                    <a:gd name="T22" fmla="*/ 37 w 56"/>
                    <a:gd name="T23" fmla="*/ 34 h 51"/>
                    <a:gd name="T24" fmla="*/ 39 w 56"/>
                    <a:gd name="T25" fmla="*/ 32 h 51"/>
                    <a:gd name="T26" fmla="*/ 44 w 56"/>
                    <a:gd name="T27" fmla="*/ 30 h 51"/>
                    <a:gd name="T28" fmla="*/ 49 w 56"/>
                    <a:gd name="T29" fmla="*/ 28 h 51"/>
                    <a:gd name="T30" fmla="*/ 55 w 56"/>
                    <a:gd name="T31" fmla="*/ 28 h 51"/>
                    <a:gd name="T32" fmla="*/ 56 w 56"/>
                    <a:gd name="T33" fmla="*/ 26 h 51"/>
                    <a:gd name="T34" fmla="*/ 50 w 56"/>
                    <a:gd name="T35" fmla="*/ 0 h 51"/>
                    <a:gd name="T36" fmla="*/ 24 w 56"/>
                    <a:gd name="T37" fmla="*/ 5 h 51"/>
                    <a:gd name="T38" fmla="*/ 0 w 56"/>
                    <a:gd name="T39" fmla="*/ 9 h 51"/>
                    <a:gd name="T40" fmla="*/ 0 w 56"/>
                    <a:gd name="T41" fmla="*/ 10 h 51"/>
                    <a:gd name="T42" fmla="*/ 4 w 56"/>
                    <a:gd name="T43"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1">
                      <a:moveTo>
                        <a:pt x="4" y="29"/>
                      </a:moveTo>
                      <a:lnTo>
                        <a:pt x="4" y="36"/>
                      </a:lnTo>
                      <a:lnTo>
                        <a:pt x="8" y="42"/>
                      </a:lnTo>
                      <a:lnTo>
                        <a:pt x="4" y="48"/>
                      </a:lnTo>
                      <a:lnTo>
                        <a:pt x="5" y="51"/>
                      </a:lnTo>
                      <a:lnTo>
                        <a:pt x="9" y="50"/>
                      </a:lnTo>
                      <a:lnTo>
                        <a:pt x="13" y="45"/>
                      </a:lnTo>
                      <a:lnTo>
                        <a:pt x="15" y="44"/>
                      </a:lnTo>
                      <a:lnTo>
                        <a:pt x="20" y="39"/>
                      </a:lnTo>
                      <a:lnTo>
                        <a:pt x="25" y="36"/>
                      </a:lnTo>
                      <a:lnTo>
                        <a:pt x="33" y="36"/>
                      </a:lnTo>
                      <a:lnTo>
                        <a:pt x="37" y="34"/>
                      </a:lnTo>
                      <a:lnTo>
                        <a:pt x="39" y="32"/>
                      </a:lnTo>
                      <a:lnTo>
                        <a:pt x="44" y="30"/>
                      </a:lnTo>
                      <a:lnTo>
                        <a:pt x="49" y="28"/>
                      </a:lnTo>
                      <a:lnTo>
                        <a:pt x="55" y="28"/>
                      </a:lnTo>
                      <a:lnTo>
                        <a:pt x="56" y="26"/>
                      </a:lnTo>
                      <a:lnTo>
                        <a:pt x="50" y="0"/>
                      </a:lnTo>
                      <a:lnTo>
                        <a:pt x="24" y="5"/>
                      </a:lnTo>
                      <a:lnTo>
                        <a:pt x="0" y="9"/>
                      </a:lnTo>
                      <a:lnTo>
                        <a:pt x="0" y="10"/>
                      </a:lnTo>
                      <a:lnTo>
                        <a:pt x="4" y="2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1" name="Freeform 80">
                  <a:extLst>
                    <a:ext uri="{FF2B5EF4-FFF2-40B4-BE49-F238E27FC236}">
                      <a16:creationId xmlns:a16="http://schemas.microsoft.com/office/drawing/2014/main" id="{7DA36E68-DFAB-DA63-D1ED-6FC6D3D939A7}"/>
                    </a:ext>
                  </a:extLst>
                </p:cNvPr>
                <p:cNvSpPr>
                  <a:spLocks/>
                </p:cNvSpPr>
                <p:nvPr/>
              </p:nvSpPr>
              <p:spPr bwMode="auto">
                <a:xfrm>
                  <a:off x="7918970" y="2179993"/>
                  <a:ext cx="40475" cy="52280"/>
                </a:xfrm>
                <a:custGeom>
                  <a:avLst/>
                  <a:gdLst>
                    <a:gd name="T0" fmla="*/ 23 w 24"/>
                    <a:gd name="T1" fmla="*/ 15 h 31"/>
                    <a:gd name="T2" fmla="*/ 21 w 24"/>
                    <a:gd name="T3" fmla="*/ 13 h 31"/>
                    <a:gd name="T4" fmla="*/ 21 w 24"/>
                    <a:gd name="T5" fmla="*/ 12 h 31"/>
                    <a:gd name="T6" fmla="*/ 18 w 24"/>
                    <a:gd name="T7" fmla="*/ 11 h 31"/>
                    <a:gd name="T8" fmla="*/ 16 w 24"/>
                    <a:gd name="T9" fmla="*/ 10 h 31"/>
                    <a:gd name="T10" fmla="*/ 16 w 24"/>
                    <a:gd name="T11" fmla="*/ 7 h 31"/>
                    <a:gd name="T12" fmla="*/ 13 w 24"/>
                    <a:gd name="T13" fmla="*/ 5 h 31"/>
                    <a:gd name="T14" fmla="*/ 10 w 24"/>
                    <a:gd name="T15" fmla="*/ 0 h 31"/>
                    <a:gd name="T16" fmla="*/ 0 w 24"/>
                    <a:gd name="T17" fmla="*/ 5 h 31"/>
                    <a:gd name="T18" fmla="*/ 6 w 24"/>
                    <a:gd name="T19" fmla="*/ 31 h 31"/>
                    <a:gd name="T20" fmla="*/ 8 w 24"/>
                    <a:gd name="T21" fmla="*/ 29 h 31"/>
                    <a:gd name="T22" fmla="*/ 10 w 24"/>
                    <a:gd name="T23" fmla="*/ 28 h 31"/>
                    <a:gd name="T24" fmla="*/ 14 w 24"/>
                    <a:gd name="T25" fmla="*/ 26 h 31"/>
                    <a:gd name="T26" fmla="*/ 14 w 24"/>
                    <a:gd name="T27" fmla="*/ 23 h 31"/>
                    <a:gd name="T28" fmla="*/ 14 w 24"/>
                    <a:gd name="T29" fmla="*/ 22 h 31"/>
                    <a:gd name="T30" fmla="*/ 14 w 24"/>
                    <a:gd name="T31" fmla="*/ 20 h 31"/>
                    <a:gd name="T32" fmla="*/ 14 w 24"/>
                    <a:gd name="T33" fmla="*/ 17 h 31"/>
                    <a:gd name="T34" fmla="*/ 14 w 24"/>
                    <a:gd name="T35" fmla="*/ 15 h 31"/>
                    <a:gd name="T36" fmla="*/ 14 w 24"/>
                    <a:gd name="T37" fmla="*/ 14 h 31"/>
                    <a:gd name="T38" fmla="*/ 15 w 24"/>
                    <a:gd name="T39" fmla="*/ 13 h 31"/>
                    <a:gd name="T40" fmla="*/ 16 w 24"/>
                    <a:gd name="T41" fmla="*/ 13 h 31"/>
                    <a:gd name="T42" fmla="*/ 19 w 24"/>
                    <a:gd name="T43" fmla="*/ 14 h 31"/>
                    <a:gd name="T44" fmla="*/ 19 w 24"/>
                    <a:gd name="T45" fmla="*/ 16 h 31"/>
                    <a:gd name="T46" fmla="*/ 21 w 24"/>
                    <a:gd name="T47" fmla="*/ 20 h 31"/>
                    <a:gd name="T48" fmla="*/ 21 w 24"/>
                    <a:gd name="T49" fmla="*/ 21 h 31"/>
                    <a:gd name="T50" fmla="*/ 22 w 24"/>
                    <a:gd name="T51" fmla="*/ 22 h 31"/>
                    <a:gd name="T52" fmla="*/ 24 w 24"/>
                    <a:gd name="T53" fmla="*/ 21 h 31"/>
                    <a:gd name="T54" fmla="*/ 24 w 24"/>
                    <a:gd name="T55" fmla="*/ 20 h 31"/>
                    <a:gd name="T56" fmla="*/ 24 w 24"/>
                    <a:gd name="T57" fmla="*/ 19 h 31"/>
                    <a:gd name="T58" fmla="*/ 23 w 24"/>
                    <a:gd name="T5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1">
                      <a:moveTo>
                        <a:pt x="23" y="15"/>
                      </a:moveTo>
                      <a:lnTo>
                        <a:pt x="21" y="13"/>
                      </a:lnTo>
                      <a:lnTo>
                        <a:pt x="21" y="12"/>
                      </a:lnTo>
                      <a:lnTo>
                        <a:pt x="18" y="11"/>
                      </a:lnTo>
                      <a:lnTo>
                        <a:pt x="16" y="10"/>
                      </a:lnTo>
                      <a:lnTo>
                        <a:pt x="16" y="7"/>
                      </a:lnTo>
                      <a:lnTo>
                        <a:pt x="13" y="5"/>
                      </a:lnTo>
                      <a:lnTo>
                        <a:pt x="10" y="0"/>
                      </a:lnTo>
                      <a:lnTo>
                        <a:pt x="0" y="5"/>
                      </a:lnTo>
                      <a:lnTo>
                        <a:pt x="6" y="31"/>
                      </a:lnTo>
                      <a:lnTo>
                        <a:pt x="8" y="29"/>
                      </a:lnTo>
                      <a:lnTo>
                        <a:pt x="10" y="28"/>
                      </a:lnTo>
                      <a:lnTo>
                        <a:pt x="14" y="26"/>
                      </a:lnTo>
                      <a:lnTo>
                        <a:pt x="14" y="23"/>
                      </a:lnTo>
                      <a:lnTo>
                        <a:pt x="14" y="22"/>
                      </a:lnTo>
                      <a:lnTo>
                        <a:pt x="14" y="20"/>
                      </a:lnTo>
                      <a:lnTo>
                        <a:pt x="14" y="17"/>
                      </a:lnTo>
                      <a:lnTo>
                        <a:pt x="14" y="15"/>
                      </a:lnTo>
                      <a:lnTo>
                        <a:pt x="14" y="14"/>
                      </a:lnTo>
                      <a:lnTo>
                        <a:pt x="15" y="13"/>
                      </a:lnTo>
                      <a:lnTo>
                        <a:pt x="16" y="13"/>
                      </a:lnTo>
                      <a:lnTo>
                        <a:pt x="19" y="14"/>
                      </a:lnTo>
                      <a:lnTo>
                        <a:pt x="19" y="16"/>
                      </a:lnTo>
                      <a:lnTo>
                        <a:pt x="21" y="20"/>
                      </a:lnTo>
                      <a:lnTo>
                        <a:pt x="21" y="21"/>
                      </a:lnTo>
                      <a:lnTo>
                        <a:pt x="22" y="22"/>
                      </a:lnTo>
                      <a:lnTo>
                        <a:pt x="24" y="21"/>
                      </a:lnTo>
                      <a:lnTo>
                        <a:pt x="24" y="20"/>
                      </a:lnTo>
                      <a:lnTo>
                        <a:pt x="24" y="19"/>
                      </a:lnTo>
                      <a:lnTo>
                        <a:pt x="23" y="1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2" name="Freeform 81">
                  <a:extLst>
                    <a:ext uri="{FF2B5EF4-FFF2-40B4-BE49-F238E27FC236}">
                      <a16:creationId xmlns:a16="http://schemas.microsoft.com/office/drawing/2014/main" id="{5E76D7BE-1B5B-2D81-88EF-E60039A84E6F}"/>
                    </a:ext>
                  </a:extLst>
                </p:cNvPr>
                <p:cNvSpPr>
                  <a:spLocks/>
                </p:cNvSpPr>
                <p:nvPr/>
              </p:nvSpPr>
              <p:spPr bwMode="auto">
                <a:xfrm>
                  <a:off x="7834648" y="2119281"/>
                  <a:ext cx="183822" cy="92755"/>
                </a:xfrm>
                <a:custGeom>
                  <a:avLst/>
                  <a:gdLst>
                    <a:gd name="T0" fmla="*/ 105 w 109"/>
                    <a:gd name="T1" fmla="*/ 32 h 55"/>
                    <a:gd name="T2" fmla="*/ 101 w 109"/>
                    <a:gd name="T3" fmla="*/ 29 h 55"/>
                    <a:gd name="T4" fmla="*/ 97 w 109"/>
                    <a:gd name="T5" fmla="*/ 25 h 55"/>
                    <a:gd name="T6" fmla="*/ 97 w 109"/>
                    <a:gd name="T7" fmla="*/ 29 h 55"/>
                    <a:gd name="T8" fmla="*/ 102 w 109"/>
                    <a:gd name="T9" fmla="*/ 35 h 55"/>
                    <a:gd name="T10" fmla="*/ 95 w 109"/>
                    <a:gd name="T11" fmla="*/ 36 h 55"/>
                    <a:gd name="T12" fmla="*/ 88 w 109"/>
                    <a:gd name="T13" fmla="*/ 37 h 55"/>
                    <a:gd name="T14" fmla="*/ 85 w 109"/>
                    <a:gd name="T15" fmla="*/ 35 h 55"/>
                    <a:gd name="T16" fmla="*/ 81 w 109"/>
                    <a:gd name="T17" fmla="*/ 32 h 55"/>
                    <a:gd name="T18" fmla="*/ 81 w 109"/>
                    <a:gd name="T19" fmla="*/ 27 h 55"/>
                    <a:gd name="T20" fmla="*/ 73 w 109"/>
                    <a:gd name="T21" fmla="*/ 22 h 55"/>
                    <a:gd name="T22" fmla="*/ 69 w 109"/>
                    <a:gd name="T23" fmla="*/ 22 h 55"/>
                    <a:gd name="T24" fmla="*/ 68 w 109"/>
                    <a:gd name="T25" fmla="*/ 16 h 55"/>
                    <a:gd name="T26" fmla="*/ 71 w 109"/>
                    <a:gd name="T27" fmla="*/ 13 h 55"/>
                    <a:gd name="T28" fmla="*/ 77 w 109"/>
                    <a:gd name="T29" fmla="*/ 9 h 55"/>
                    <a:gd name="T30" fmla="*/ 76 w 109"/>
                    <a:gd name="T31" fmla="*/ 6 h 55"/>
                    <a:gd name="T32" fmla="*/ 71 w 109"/>
                    <a:gd name="T33" fmla="*/ 6 h 55"/>
                    <a:gd name="T34" fmla="*/ 68 w 109"/>
                    <a:gd name="T35" fmla="*/ 0 h 55"/>
                    <a:gd name="T36" fmla="*/ 59 w 109"/>
                    <a:gd name="T37" fmla="*/ 8 h 55"/>
                    <a:gd name="T38" fmla="*/ 0 w 109"/>
                    <a:gd name="T39" fmla="*/ 20 h 55"/>
                    <a:gd name="T40" fmla="*/ 0 w 109"/>
                    <a:gd name="T41" fmla="*/ 50 h 55"/>
                    <a:gd name="T42" fmla="*/ 50 w 109"/>
                    <a:gd name="T43" fmla="*/ 41 h 55"/>
                    <a:gd name="T44" fmla="*/ 63 w 109"/>
                    <a:gd name="T45" fmla="*/ 41 h 55"/>
                    <a:gd name="T46" fmla="*/ 66 w 109"/>
                    <a:gd name="T47" fmla="*/ 46 h 55"/>
                    <a:gd name="T48" fmla="*/ 71 w 109"/>
                    <a:gd name="T49" fmla="*/ 48 h 55"/>
                    <a:gd name="T50" fmla="*/ 73 w 109"/>
                    <a:gd name="T51" fmla="*/ 51 h 55"/>
                    <a:gd name="T52" fmla="*/ 74 w 109"/>
                    <a:gd name="T53" fmla="*/ 55 h 55"/>
                    <a:gd name="T54" fmla="*/ 77 w 109"/>
                    <a:gd name="T55" fmla="*/ 55 h 55"/>
                    <a:gd name="T56" fmla="*/ 79 w 109"/>
                    <a:gd name="T57" fmla="*/ 49 h 55"/>
                    <a:gd name="T58" fmla="*/ 82 w 109"/>
                    <a:gd name="T59" fmla="*/ 45 h 55"/>
                    <a:gd name="T60" fmla="*/ 86 w 109"/>
                    <a:gd name="T61" fmla="*/ 46 h 55"/>
                    <a:gd name="T62" fmla="*/ 87 w 109"/>
                    <a:gd name="T63" fmla="*/ 51 h 55"/>
                    <a:gd name="T64" fmla="*/ 92 w 109"/>
                    <a:gd name="T65" fmla="*/ 47 h 55"/>
                    <a:gd name="T66" fmla="*/ 94 w 109"/>
                    <a:gd name="T67" fmla="*/ 45 h 55"/>
                    <a:gd name="T68" fmla="*/ 101 w 109"/>
                    <a:gd name="T69" fmla="*/ 43 h 55"/>
                    <a:gd name="T70" fmla="*/ 106 w 109"/>
                    <a:gd name="T71" fmla="*/ 40 h 55"/>
                    <a:gd name="T72" fmla="*/ 109 w 109"/>
                    <a:gd name="T73"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55">
                      <a:moveTo>
                        <a:pt x="107" y="35"/>
                      </a:moveTo>
                      <a:lnTo>
                        <a:pt x="105" y="32"/>
                      </a:lnTo>
                      <a:lnTo>
                        <a:pt x="104" y="31"/>
                      </a:lnTo>
                      <a:lnTo>
                        <a:pt x="101" y="29"/>
                      </a:lnTo>
                      <a:lnTo>
                        <a:pt x="98" y="27"/>
                      </a:lnTo>
                      <a:lnTo>
                        <a:pt x="97" y="25"/>
                      </a:lnTo>
                      <a:lnTo>
                        <a:pt x="96" y="27"/>
                      </a:lnTo>
                      <a:lnTo>
                        <a:pt x="97" y="29"/>
                      </a:lnTo>
                      <a:lnTo>
                        <a:pt x="100" y="32"/>
                      </a:lnTo>
                      <a:lnTo>
                        <a:pt x="102" y="35"/>
                      </a:lnTo>
                      <a:lnTo>
                        <a:pt x="99" y="36"/>
                      </a:lnTo>
                      <a:lnTo>
                        <a:pt x="95" y="36"/>
                      </a:lnTo>
                      <a:lnTo>
                        <a:pt x="89" y="39"/>
                      </a:lnTo>
                      <a:lnTo>
                        <a:pt x="88" y="37"/>
                      </a:lnTo>
                      <a:lnTo>
                        <a:pt x="87" y="36"/>
                      </a:lnTo>
                      <a:lnTo>
                        <a:pt x="85" y="35"/>
                      </a:lnTo>
                      <a:lnTo>
                        <a:pt x="82" y="33"/>
                      </a:lnTo>
                      <a:lnTo>
                        <a:pt x="81" y="32"/>
                      </a:lnTo>
                      <a:lnTo>
                        <a:pt x="82" y="30"/>
                      </a:lnTo>
                      <a:lnTo>
                        <a:pt x="81" y="27"/>
                      </a:lnTo>
                      <a:lnTo>
                        <a:pt x="77" y="24"/>
                      </a:lnTo>
                      <a:lnTo>
                        <a:pt x="73" y="22"/>
                      </a:lnTo>
                      <a:lnTo>
                        <a:pt x="71" y="22"/>
                      </a:lnTo>
                      <a:lnTo>
                        <a:pt x="69" y="22"/>
                      </a:lnTo>
                      <a:lnTo>
                        <a:pt x="68" y="20"/>
                      </a:lnTo>
                      <a:lnTo>
                        <a:pt x="68" y="16"/>
                      </a:lnTo>
                      <a:lnTo>
                        <a:pt x="70" y="14"/>
                      </a:lnTo>
                      <a:lnTo>
                        <a:pt x="71" y="13"/>
                      </a:lnTo>
                      <a:lnTo>
                        <a:pt x="73" y="11"/>
                      </a:lnTo>
                      <a:lnTo>
                        <a:pt x="77" y="9"/>
                      </a:lnTo>
                      <a:lnTo>
                        <a:pt x="77" y="8"/>
                      </a:lnTo>
                      <a:lnTo>
                        <a:pt x="76" y="6"/>
                      </a:lnTo>
                      <a:lnTo>
                        <a:pt x="73" y="6"/>
                      </a:lnTo>
                      <a:lnTo>
                        <a:pt x="71" y="6"/>
                      </a:lnTo>
                      <a:lnTo>
                        <a:pt x="70" y="3"/>
                      </a:lnTo>
                      <a:lnTo>
                        <a:pt x="68" y="0"/>
                      </a:lnTo>
                      <a:lnTo>
                        <a:pt x="60" y="3"/>
                      </a:lnTo>
                      <a:lnTo>
                        <a:pt x="59" y="8"/>
                      </a:lnTo>
                      <a:lnTo>
                        <a:pt x="22" y="17"/>
                      </a:lnTo>
                      <a:lnTo>
                        <a:pt x="0" y="20"/>
                      </a:lnTo>
                      <a:lnTo>
                        <a:pt x="0" y="33"/>
                      </a:lnTo>
                      <a:lnTo>
                        <a:pt x="0" y="50"/>
                      </a:lnTo>
                      <a:lnTo>
                        <a:pt x="24" y="46"/>
                      </a:lnTo>
                      <a:lnTo>
                        <a:pt x="50" y="41"/>
                      </a:lnTo>
                      <a:lnTo>
                        <a:pt x="60" y="36"/>
                      </a:lnTo>
                      <a:lnTo>
                        <a:pt x="63" y="41"/>
                      </a:lnTo>
                      <a:lnTo>
                        <a:pt x="66" y="43"/>
                      </a:lnTo>
                      <a:lnTo>
                        <a:pt x="66" y="46"/>
                      </a:lnTo>
                      <a:lnTo>
                        <a:pt x="68" y="47"/>
                      </a:lnTo>
                      <a:lnTo>
                        <a:pt x="71" y="48"/>
                      </a:lnTo>
                      <a:lnTo>
                        <a:pt x="71" y="49"/>
                      </a:lnTo>
                      <a:lnTo>
                        <a:pt x="73" y="51"/>
                      </a:lnTo>
                      <a:lnTo>
                        <a:pt x="74" y="55"/>
                      </a:lnTo>
                      <a:lnTo>
                        <a:pt x="74" y="55"/>
                      </a:lnTo>
                      <a:lnTo>
                        <a:pt x="76" y="55"/>
                      </a:lnTo>
                      <a:lnTo>
                        <a:pt x="77" y="55"/>
                      </a:lnTo>
                      <a:lnTo>
                        <a:pt x="79" y="53"/>
                      </a:lnTo>
                      <a:lnTo>
                        <a:pt x="79" y="49"/>
                      </a:lnTo>
                      <a:lnTo>
                        <a:pt x="82" y="47"/>
                      </a:lnTo>
                      <a:lnTo>
                        <a:pt x="82" y="45"/>
                      </a:lnTo>
                      <a:lnTo>
                        <a:pt x="85" y="43"/>
                      </a:lnTo>
                      <a:lnTo>
                        <a:pt x="86" y="46"/>
                      </a:lnTo>
                      <a:lnTo>
                        <a:pt x="87" y="49"/>
                      </a:lnTo>
                      <a:lnTo>
                        <a:pt x="87" y="51"/>
                      </a:lnTo>
                      <a:lnTo>
                        <a:pt x="90" y="49"/>
                      </a:lnTo>
                      <a:lnTo>
                        <a:pt x="92" y="47"/>
                      </a:lnTo>
                      <a:lnTo>
                        <a:pt x="92" y="45"/>
                      </a:lnTo>
                      <a:lnTo>
                        <a:pt x="94" y="45"/>
                      </a:lnTo>
                      <a:lnTo>
                        <a:pt x="97" y="43"/>
                      </a:lnTo>
                      <a:lnTo>
                        <a:pt x="101" y="43"/>
                      </a:lnTo>
                      <a:lnTo>
                        <a:pt x="103" y="41"/>
                      </a:lnTo>
                      <a:lnTo>
                        <a:pt x="106" y="40"/>
                      </a:lnTo>
                      <a:lnTo>
                        <a:pt x="108" y="38"/>
                      </a:lnTo>
                      <a:lnTo>
                        <a:pt x="109" y="36"/>
                      </a:lnTo>
                      <a:lnTo>
                        <a:pt x="107" y="3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3" name="Freeform 82">
                  <a:extLst>
                    <a:ext uri="{FF2B5EF4-FFF2-40B4-BE49-F238E27FC236}">
                      <a16:creationId xmlns:a16="http://schemas.microsoft.com/office/drawing/2014/main" id="{311EA491-7AF6-1E1F-7A9F-EB2906BFA7EC}"/>
                    </a:ext>
                  </a:extLst>
                </p:cNvPr>
                <p:cNvSpPr>
                  <a:spLocks/>
                </p:cNvSpPr>
                <p:nvPr/>
              </p:nvSpPr>
              <p:spPr bwMode="auto">
                <a:xfrm>
                  <a:off x="7976309" y="2205290"/>
                  <a:ext cx="16864" cy="11806"/>
                </a:xfrm>
                <a:custGeom>
                  <a:avLst/>
                  <a:gdLst>
                    <a:gd name="T0" fmla="*/ 3 w 12"/>
                    <a:gd name="T1" fmla="*/ 9 h 9"/>
                    <a:gd name="T2" fmla="*/ 7 w 12"/>
                    <a:gd name="T3" fmla="*/ 9 h 9"/>
                    <a:gd name="T4" fmla="*/ 10 w 12"/>
                    <a:gd name="T5" fmla="*/ 6 h 9"/>
                    <a:gd name="T6" fmla="*/ 12 w 12"/>
                    <a:gd name="T7" fmla="*/ 4 h 9"/>
                    <a:gd name="T8" fmla="*/ 8 w 12"/>
                    <a:gd name="T9" fmla="*/ 2 h 9"/>
                    <a:gd name="T10" fmla="*/ 4 w 12"/>
                    <a:gd name="T11" fmla="*/ 1 h 9"/>
                    <a:gd name="T12" fmla="*/ 0 w 12"/>
                    <a:gd name="T13" fmla="*/ 7 h 9"/>
                    <a:gd name="T14" fmla="*/ 3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3" y="9"/>
                      </a:moveTo>
                      <a:cubicBezTo>
                        <a:pt x="7" y="9"/>
                        <a:pt x="7" y="9"/>
                        <a:pt x="7" y="9"/>
                      </a:cubicBezTo>
                      <a:cubicBezTo>
                        <a:pt x="10" y="6"/>
                        <a:pt x="10" y="6"/>
                        <a:pt x="10" y="6"/>
                      </a:cubicBezTo>
                      <a:cubicBezTo>
                        <a:pt x="12" y="4"/>
                        <a:pt x="12" y="4"/>
                        <a:pt x="12" y="4"/>
                      </a:cubicBezTo>
                      <a:cubicBezTo>
                        <a:pt x="8" y="2"/>
                        <a:pt x="8" y="2"/>
                        <a:pt x="8" y="2"/>
                      </a:cubicBezTo>
                      <a:cubicBezTo>
                        <a:pt x="8" y="2"/>
                        <a:pt x="5" y="0"/>
                        <a:pt x="4" y="1"/>
                      </a:cubicBezTo>
                      <a:cubicBezTo>
                        <a:pt x="4" y="2"/>
                        <a:pt x="0" y="7"/>
                        <a:pt x="0" y="7"/>
                      </a:cubicBezTo>
                      <a:lnTo>
                        <a:pt x="3" y="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4" name="Freeform 83">
                  <a:extLst>
                    <a:ext uri="{FF2B5EF4-FFF2-40B4-BE49-F238E27FC236}">
                      <a16:creationId xmlns:a16="http://schemas.microsoft.com/office/drawing/2014/main" id="{557D1BD5-9430-66D2-8D4C-48B3E23BE766}"/>
                    </a:ext>
                  </a:extLst>
                </p:cNvPr>
                <p:cNvSpPr>
                  <a:spLocks/>
                </p:cNvSpPr>
                <p:nvPr/>
              </p:nvSpPr>
              <p:spPr bwMode="auto">
                <a:xfrm>
                  <a:off x="7763817" y="2269376"/>
                  <a:ext cx="70830" cy="158525"/>
                </a:xfrm>
                <a:custGeom>
                  <a:avLst/>
                  <a:gdLst>
                    <a:gd name="T0" fmla="*/ 36 w 42"/>
                    <a:gd name="T1" fmla="*/ 13 h 94"/>
                    <a:gd name="T2" fmla="*/ 36 w 42"/>
                    <a:gd name="T3" fmla="*/ 9 h 94"/>
                    <a:gd name="T4" fmla="*/ 34 w 42"/>
                    <a:gd name="T5" fmla="*/ 7 h 94"/>
                    <a:gd name="T6" fmla="*/ 21 w 42"/>
                    <a:gd name="T7" fmla="*/ 3 h 94"/>
                    <a:gd name="T8" fmla="*/ 9 w 42"/>
                    <a:gd name="T9" fmla="*/ 0 h 94"/>
                    <a:gd name="T10" fmla="*/ 8 w 42"/>
                    <a:gd name="T11" fmla="*/ 3 h 94"/>
                    <a:gd name="T12" fmla="*/ 6 w 42"/>
                    <a:gd name="T13" fmla="*/ 7 h 94"/>
                    <a:gd name="T14" fmla="*/ 3 w 42"/>
                    <a:gd name="T15" fmla="*/ 9 h 94"/>
                    <a:gd name="T16" fmla="*/ 2 w 42"/>
                    <a:gd name="T17" fmla="*/ 14 h 94"/>
                    <a:gd name="T18" fmla="*/ 3 w 42"/>
                    <a:gd name="T19" fmla="*/ 20 h 94"/>
                    <a:gd name="T20" fmla="*/ 3 w 42"/>
                    <a:gd name="T21" fmla="*/ 25 h 94"/>
                    <a:gd name="T22" fmla="*/ 2 w 42"/>
                    <a:gd name="T23" fmla="*/ 30 h 94"/>
                    <a:gd name="T24" fmla="*/ 5 w 42"/>
                    <a:gd name="T25" fmla="*/ 32 h 94"/>
                    <a:gd name="T26" fmla="*/ 9 w 42"/>
                    <a:gd name="T27" fmla="*/ 34 h 94"/>
                    <a:gd name="T28" fmla="*/ 11 w 42"/>
                    <a:gd name="T29" fmla="*/ 38 h 94"/>
                    <a:gd name="T30" fmla="*/ 15 w 42"/>
                    <a:gd name="T31" fmla="*/ 42 h 94"/>
                    <a:gd name="T32" fmla="*/ 20 w 42"/>
                    <a:gd name="T33" fmla="*/ 46 h 94"/>
                    <a:gd name="T34" fmla="*/ 20 w 42"/>
                    <a:gd name="T35" fmla="*/ 47 h 94"/>
                    <a:gd name="T36" fmla="*/ 18 w 42"/>
                    <a:gd name="T37" fmla="*/ 53 h 94"/>
                    <a:gd name="T38" fmla="*/ 10 w 42"/>
                    <a:gd name="T39" fmla="*/ 58 h 94"/>
                    <a:gd name="T40" fmla="*/ 3 w 42"/>
                    <a:gd name="T41" fmla="*/ 64 h 94"/>
                    <a:gd name="T42" fmla="*/ 2 w 42"/>
                    <a:gd name="T43" fmla="*/ 67 h 94"/>
                    <a:gd name="T44" fmla="*/ 0 w 42"/>
                    <a:gd name="T45" fmla="*/ 72 h 94"/>
                    <a:gd name="T46" fmla="*/ 1 w 42"/>
                    <a:gd name="T47" fmla="*/ 75 h 94"/>
                    <a:gd name="T48" fmla="*/ 3 w 42"/>
                    <a:gd name="T49" fmla="*/ 79 h 94"/>
                    <a:gd name="T50" fmla="*/ 8 w 42"/>
                    <a:gd name="T51" fmla="*/ 83 h 94"/>
                    <a:gd name="T52" fmla="*/ 12 w 42"/>
                    <a:gd name="T53" fmla="*/ 85 h 94"/>
                    <a:gd name="T54" fmla="*/ 15 w 42"/>
                    <a:gd name="T55" fmla="*/ 86 h 94"/>
                    <a:gd name="T56" fmla="*/ 20 w 42"/>
                    <a:gd name="T57" fmla="*/ 86 h 94"/>
                    <a:gd name="T58" fmla="*/ 24 w 42"/>
                    <a:gd name="T59" fmla="*/ 86 h 94"/>
                    <a:gd name="T60" fmla="*/ 25 w 42"/>
                    <a:gd name="T61" fmla="*/ 86 h 94"/>
                    <a:gd name="T62" fmla="*/ 24 w 42"/>
                    <a:gd name="T63" fmla="*/ 90 h 94"/>
                    <a:gd name="T64" fmla="*/ 24 w 42"/>
                    <a:gd name="T65" fmla="*/ 93 h 94"/>
                    <a:gd name="T66" fmla="*/ 25 w 42"/>
                    <a:gd name="T67" fmla="*/ 94 h 94"/>
                    <a:gd name="T68" fmla="*/ 26 w 42"/>
                    <a:gd name="T69" fmla="*/ 94 h 94"/>
                    <a:gd name="T70" fmla="*/ 27 w 42"/>
                    <a:gd name="T71" fmla="*/ 87 h 94"/>
                    <a:gd name="T72" fmla="*/ 28 w 42"/>
                    <a:gd name="T73" fmla="*/ 86 h 94"/>
                    <a:gd name="T74" fmla="*/ 31 w 42"/>
                    <a:gd name="T75" fmla="*/ 82 h 94"/>
                    <a:gd name="T76" fmla="*/ 36 w 42"/>
                    <a:gd name="T77" fmla="*/ 78 h 94"/>
                    <a:gd name="T78" fmla="*/ 36 w 42"/>
                    <a:gd name="T79" fmla="*/ 69 h 94"/>
                    <a:gd name="T80" fmla="*/ 36 w 42"/>
                    <a:gd name="T81" fmla="*/ 65 h 94"/>
                    <a:gd name="T82" fmla="*/ 40 w 42"/>
                    <a:gd name="T83" fmla="*/ 61 h 94"/>
                    <a:gd name="T84" fmla="*/ 41 w 42"/>
                    <a:gd name="T85" fmla="*/ 53 h 94"/>
                    <a:gd name="T86" fmla="*/ 42 w 42"/>
                    <a:gd name="T87" fmla="*/ 48 h 94"/>
                    <a:gd name="T88" fmla="*/ 42 w 42"/>
                    <a:gd name="T89" fmla="*/ 40 h 94"/>
                    <a:gd name="T90" fmla="*/ 42 w 42"/>
                    <a:gd name="T91" fmla="*/ 36 h 94"/>
                    <a:gd name="T92" fmla="*/ 40 w 42"/>
                    <a:gd name="T93" fmla="*/ 30 h 94"/>
                    <a:gd name="T94" fmla="*/ 36 w 42"/>
                    <a:gd name="T95" fmla="*/ 30 h 94"/>
                    <a:gd name="T96" fmla="*/ 34 w 42"/>
                    <a:gd name="T97" fmla="*/ 30 h 94"/>
                    <a:gd name="T98" fmla="*/ 35 w 42"/>
                    <a:gd name="T99" fmla="*/ 25 h 94"/>
                    <a:gd name="T100" fmla="*/ 37 w 42"/>
                    <a:gd name="T101" fmla="*/ 20 h 94"/>
                    <a:gd name="T102" fmla="*/ 39 w 42"/>
                    <a:gd name="T103" fmla="*/ 18 h 94"/>
                    <a:gd name="T104" fmla="*/ 38 w 42"/>
                    <a:gd name="T105" fmla="*/ 17 h 94"/>
                    <a:gd name="T106" fmla="*/ 36 w 42"/>
                    <a:gd name="T107"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94">
                      <a:moveTo>
                        <a:pt x="36" y="13"/>
                      </a:moveTo>
                      <a:lnTo>
                        <a:pt x="36" y="9"/>
                      </a:lnTo>
                      <a:lnTo>
                        <a:pt x="34" y="7"/>
                      </a:lnTo>
                      <a:lnTo>
                        <a:pt x="21" y="3"/>
                      </a:lnTo>
                      <a:lnTo>
                        <a:pt x="9" y="0"/>
                      </a:lnTo>
                      <a:lnTo>
                        <a:pt x="8" y="3"/>
                      </a:lnTo>
                      <a:lnTo>
                        <a:pt x="6" y="7"/>
                      </a:lnTo>
                      <a:lnTo>
                        <a:pt x="3" y="9"/>
                      </a:lnTo>
                      <a:lnTo>
                        <a:pt x="2" y="14"/>
                      </a:lnTo>
                      <a:lnTo>
                        <a:pt x="3" y="20"/>
                      </a:lnTo>
                      <a:lnTo>
                        <a:pt x="3" y="25"/>
                      </a:lnTo>
                      <a:lnTo>
                        <a:pt x="2" y="30"/>
                      </a:lnTo>
                      <a:lnTo>
                        <a:pt x="5" y="32"/>
                      </a:lnTo>
                      <a:lnTo>
                        <a:pt x="9" y="34"/>
                      </a:lnTo>
                      <a:lnTo>
                        <a:pt x="11" y="38"/>
                      </a:lnTo>
                      <a:lnTo>
                        <a:pt x="15" y="42"/>
                      </a:lnTo>
                      <a:lnTo>
                        <a:pt x="20" y="46"/>
                      </a:lnTo>
                      <a:lnTo>
                        <a:pt x="20" y="47"/>
                      </a:lnTo>
                      <a:lnTo>
                        <a:pt x="18" y="53"/>
                      </a:lnTo>
                      <a:lnTo>
                        <a:pt x="10" y="58"/>
                      </a:lnTo>
                      <a:lnTo>
                        <a:pt x="3" y="64"/>
                      </a:lnTo>
                      <a:lnTo>
                        <a:pt x="2" y="67"/>
                      </a:lnTo>
                      <a:lnTo>
                        <a:pt x="0" y="72"/>
                      </a:lnTo>
                      <a:lnTo>
                        <a:pt x="1" y="75"/>
                      </a:lnTo>
                      <a:lnTo>
                        <a:pt x="3" y="79"/>
                      </a:lnTo>
                      <a:lnTo>
                        <a:pt x="8" y="83"/>
                      </a:lnTo>
                      <a:lnTo>
                        <a:pt x="12" y="85"/>
                      </a:lnTo>
                      <a:lnTo>
                        <a:pt x="15" y="86"/>
                      </a:lnTo>
                      <a:lnTo>
                        <a:pt x="20" y="86"/>
                      </a:lnTo>
                      <a:lnTo>
                        <a:pt x="24" y="86"/>
                      </a:lnTo>
                      <a:lnTo>
                        <a:pt x="25" y="86"/>
                      </a:lnTo>
                      <a:lnTo>
                        <a:pt x="24" y="90"/>
                      </a:lnTo>
                      <a:lnTo>
                        <a:pt x="24" y="93"/>
                      </a:lnTo>
                      <a:lnTo>
                        <a:pt x="25" y="94"/>
                      </a:lnTo>
                      <a:lnTo>
                        <a:pt x="26" y="94"/>
                      </a:lnTo>
                      <a:lnTo>
                        <a:pt x="27" y="87"/>
                      </a:lnTo>
                      <a:lnTo>
                        <a:pt x="28" y="86"/>
                      </a:lnTo>
                      <a:lnTo>
                        <a:pt x="31" y="82"/>
                      </a:lnTo>
                      <a:lnTo>
                        <a:pt x="36" y="78"/>
                      </a:lnTo>
                      <a:lnTo>
                        <a:pt x="36" y="69"/>
                      </a:lnTo>
                      <a:lnTo>
                        <a:pt x="36" y="65"/>
                      </a:lnTo>
                      <a:lnTo>
                        <a:pt x="40" y="61"/>
                      </a:lnTo>
                      <a:lnTo>
                        <a:pt x="41" y="53"/>
                      </a:lnTo>
                      <a:lnTo>
                        <a:pt x="42" y="48"/>
                      </a:lnTo>
                      <a:lnTo>
                        <a:pt x="42" y="40"/>
                      </a:lnTo>
                      <a:lnTo>
                        <a:pt x="42" y="36"/>
                      </a:lnTo>
                      <a:lnTo>
                        <a:pt x="40" y="30"/>
                      </a:lnTo>
                      <a:lnTo>
                        <a:pt x="36" y="30"/>
                      </a:lnTo>
                      <a:lnTo>
                        <a:pt x="34" y="30"/>
                      </a:lnTo>
                      <a:lnTo>
                        <a:pt x="35" y="25"/>
                      </a:lnTo>
                      <a:lnTo>
                        <a:pt x="37" y="20"/>
                      </a:lnTo>
                      <a:lnTo>
                        <a:pt x="39" y="18"/>
                      </a:lnTo>
                      <a:lnTo>
                        <a:pt x="38" y="17"/>
                      </a:lnTo>
                      <a:lnTo>
                        <a:pt x="36" y="1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5" name="Freeform 84">
                  <a:extLst>
                    <a:ext uri="{FF2B5EF4-FFF2-40B4-BE49-F238E27FC236}">
                      <a16:creationId xmlns:a16="http://schemas.microsoft.com/office/drawing/2014/main" id="{885F01A0-4F0D-8BCA-4B84-B1EC0ED8C0BF}"/>
                    </a:ext>
                  </a:extLst>
                </p:cNvPr>
                <p:cNvSpPr>
                  <a:spLocks/>
                </p:cNvSpPr>
                <p:nvPr/>
              </p:nvSpPr>
              <p:spPr bwMode="auto">
                <a:xfrm>
                  <a:off x="7750326" y="2378994"/>
                  <a:ext cx="55652" cy="91068"/>
                </a:xfrm>
                <a:custGeom>
                  <a:avLst/>
                  <a:gdLst>
                    <a:gd name="T0" fmla="*/ 9 w 33"/>
                    <a:gd name="T1" fmla="*/ 10 h 54"/>
                    <a:gd name="T2" fmla="*/ 8 w 33"/>
                    <a:gd name="T3" fmla="*/ 7 h 54"/>
                    <a:gd name="T4" fmla="*/ 10 w 33"/>
                    <a:gd name="T5" fmla="*/ 2 h 54"/>
                    <a:gd name="T6" fmla="*/ 11 w 33"/>
                    <a:gd name="T7" fmla="*/ 1 h 54"/>
                    <a:gd name="T8" fmla="*/ 9 w 33"/>
                    <a:gd name="T9" fmla="*/ 0 h 54"/>
                    <a:gd name="T10" fmla="*/ 6 w 33"/>
                    <a:gd name="T11" fmla="*/ 0 h 54"/>
                    <a:gd name="T12" fmla="*/ 5 w 33"/>
                    <a:gd name="T13" fmla="*/ 0 h 54"/>
                    <a:gd name="T14" fmla="*/ 2 w 33"/>
                    <a:gd name="T15" fmla="*/ 2 h 54"/>
                    <a:gd name="T16" fmla="*/ 0 w 33"/>
                    <a:gd name="T17" fmla="*/ 5 h 54"/>
                    <a:gd name="T18" fmla="*/ 12 w 33"/>
                    <a:gd name="T19" fmla="*/ 54 h 54"/>
                    <a:gd name="T20" fmla="*/ 33 w 33"/>
                    <a:gd name="T21" fmla="*/ 51 h 54"/>
                    <a:gd name="T22" fmla="*/ 32 w 33"/>
                    <a:gd name="T23" fmla="*/ 43 h 54"/>
                    <a:gd name="T24" fmla="*/ 29 w 33"/>
                    <a:gd name="T25" fmla="*/ 40 h 54"/>
                    <a:gd name="T26" fmla="*/ 28 w 33"/>
                    <a:gd name="T27" fmla="*/ 38 h 54"/>
                    <a:gd name="T28" fmla="*/ 26 w 33"/>
                    <a:gd name="T29" fmla="*/ 37 h 54"/>
                    <a:gd name="T30" fmla="*/ 23 w 33"/>
                    <a:gd name="T31" fmla="*/ 34 h 54"/>
                    <a:gd name="T32" fmla="*/ 20 w 33"/>
                    <a:gd name="T33" fmla="*/ 32 h 54"/>
                    <a:gd name="T34" fmla="*/ 18 w 33"/>
                    <a:gd name="T35" fmla="*/ 28 h 54"/>
                    <a:gd name="T36" fmla="*/ 16 w 33"/>
                    <a:gd name="T37" fmla="*/ 24 h 54"/>
                    <a:gd name="T38" fmla="*/ 14 w 33"/>
                    <a:gd name="T39" fmla="*/ 20 h 54"/>
                    <a:gd name="T40" fmla="*/ 16 w 33"/>
                    <a:gd name="T41" fmla="*/ 17 h 54"/>
                    <a:gd name="T42" fmla="*/ 11 w 33"/>
                    <a:gd name="T43" fmla="*/ 14 h 54"/>
                    <a:gd name="T44" fmla="*/ 9 w 33"/>
                    <a:gd name="T4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54">
                      <a:moveTo>
                        <a:pt x="9" y="10"/>
                      </a:moveTo>
                      <a:lnTo>
                        <a:pt x="8" y="7"/>
                      </a:lnTo>
                      <a:lnTo>
                        <a:pt x="10" y="2"/>
                      </a:lnTo>
                      <a:lnTo>
                        <a:pt x="11" y="1"/>
                      </a:lnTo>
                      <a:lnTo>
                        <a:pt x="9" y="0"/>
                      </a:lnTo>
                      <a:lnTo>
                        <a:pt x="6" y="0"/>
                      </a:lnTo>
                      <a:lnTo>
                        <a:pt x="5" y="0"/>
                      </a:lnTo>
                      <a:lnTo>
                        <a:pt x="2" y="2"/>
                      </a:lnTo>
                      <a:lnTo>
                        <a:pt x="0" y="5"/>
                      </a:lnTo>
                      <a:lnTo>
                        <a:pt x="12" y="54"/>
                      </a:lnTo>
                      <a:lnTo>
                        <a:pt x="33" y="51"/>
                      </a:lnTo>
                      <a:lnTo>
                        <a:pt x="32" y="43"/>
                      </a:lnTo>
                      <a:lnTo>
                        <a:pt x="29" y="40"/>
                      </a:lnTo>
                      <a:lnTo>
                        <a:pt x="28" y="38"/>
                      </a:lnTo>
                      <a:lnTo>
                        <a:pt x="26" y="37"/>
                      </a:lnTo>
                      <a:lnTo>
                        <a:pt x="23" y="34"/>
                      </a:lnTo>
                      <a:lnTo>
                        <a:pt x="20" y="32"/>
                      </a:lnTo>
                      <a:lnTo>
                        <a:pt x="18" y="28"/>
                      </a:lnTo>
                      <a:lnTo>
                        <a:pt x="16" y="24"/>
                      </a:lnTo>
                      <a:lnTo>
                        <a:pt x="14" y="20"/>
                      </a:lnTo>
                      <a:lnTo>
                        <a:pt x="16" y="17"/>
                      </a:lnTo>
                      <a:lnTo>
                        <a:pt x="11" y="14"/>
                      </a:lnTo>
                      <a:lnTo>
                        <a:pt x="9" y="1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6" name="Freeform 85">
                  <a:extLst>
                    <a:ext uri="{FF2B5EF4-FFF2-40B4-BE49-F238E27FC236}">
                      <a16:creationId xmlns:a16="http://schemas.microsoft.com/office/drawing/2014/main" id="{F4807A10-FB85-7D63-292F-483AE65C16D3}"/>
                    </a:ext>
                  </a:extLst>
                </p:cNvPr>
                <p:cNvSpPr>
                  <a:spLocks/>
                </p:cNvSpPr>
                <p:nvPr/>
              </p:nvSpPr>
              <p:spPr bwMode="auto">
                <a:xfrm>
                  <a:off x="7480495" y="2227213"/>
                  <a:ext cx="317051" cy="205746"/>
                </a:xfrm>
                <a:custGeom>
                  <a:avLst/>
                  <a:gdLst>
                    <a:gd name="T0" fmla="*/ 165 w 188"/>
                    <a:gd name="T1" fmla="*/ 90 h 122"/>
                    <a:gd name="T2" fmla="*/ 166 w 188"/>
                    <a:gd name="T3" fmla="*/ 90 h 122"/>
                    <a:gd name="T4" fmla="*/ 169 w 188"/>
                    <a:gd name="T5" fmla="*/ 90 h 122"/>
                    <a:gd name="T6" fmla="*/ 171 w 188"/>
                    <a:gd name="T7" fmla="*/ 91 h 122"/>
                    <a:gd name="T8" fmla="*/ 171 w 188"/>
                    <a:gd name="T9" fmla="*/ 89 h 122"/>
                    <a:gd name="T10" fmla="*/ 178 w 188"/>
                    <a:gd name="T11" fmla="*/ 83 h 122"/>
                    <a:gd name="T12" fmla="*/ 186 w 188"/>
                    <a:gd name="T13" fmla="*/ 78 h 122"/>
                    <a:gd name="T14" fmla="*/ 188 w 188"/>
                    <a:gd name="T15" fmla="*/ 72 h 122"/>
                    <a:gd name="T16" fmla="*/ 188 w 188"/>
                    <a:gd name="T17" fmla="*/ 71 h 122"/>
                    <a:gd name="T18" fmla="*/ 183 w 188"/>
                    <a:gd name="T19" fmla="*/ 67 h 122"/>
                    <a:gd name="T20" fmla="*/ 179 w 188"/>
                    <a:gd name="T21" fmla="*/ 63 h 122"/>
                    <a:gd name="T22" fmla="*/ 177 w 188"/>
                    <a:gd name="T23" fmla="*/ 59 h 122"/>
                    <a:gd name="T24" fmla="*/ 173 w 188"/>
                    <a:gd name="T25" fmla="*/ 57 h 122"/>
                    <a:gd name="T26" fmla="*/ 170 w 188"/>
                    <a:gd name="T27" fmla="*/ 55 h 122"/>
                    <a:gd name="T28" fmla="*/ 171 w 188"/>
                    <a:gd name="T29" fmla="*/ 50 h 122"/>
                    <a:gd name="T30" fmla="*/ 171 w 188"/>
                    <a:gd name="T31" fmla="*/ 45 h 122"/>
                    <a:gd name="T32" fmla="*/ 170 w 188"/>
                    <a:gd name="T33" fmla="*/ 39 h 122"/>
                    <a:gd name="T34" fmla="*/ 171 w 188"/>
                    <a:gd name="T35" fmla="*/ 34 h 122"/>
                    <a:gd name="T36" fmla="*/ 174 w 188"/>
                    <a:gd name="T37" fmla="*/ 32 h 122"/>
                    <a:gd name="T38" fmla="*/ 176 w 188"/>
                    <a:gd name="T39" fmla="*/ 28 h 122"/>
                    <a:gd name="T40" fmla="*/ 177 w 188"/>
                    <a:gd name="T41" fmla="*/ 25 h 122"/>
                    <a:gd name="T42" fmla="*/ 179 w 188"/>
                    <a:gd name="T43" fmla="*/ 20 h 122"/>
                    <a:gd name="T44" fmla="*/ 176 w 188"/>
                    <a:gd name="T45" fmla="*/ 18 h 122"/>
                    <a:gd name="T46" fmla="*/ 173 w 188"/>
                    <a:gd name="T47" fmla="*/ 18 h 122"/>
                    <a:gd name="T48" fmla="*/ 170 w 188"/>
                    <a:gd name="T49" fmla="*/ 17 h 122"/>
                    <a:gd name="T50" fmla="*/ 166 w 188"/>
                    <a:gd name="T51" fmla="*/ 10 h 122"/>
                    <a:gd name="T52" fmla="*/ 162 w 188"/>
                    <a:gd name="T53" fmla="*/ 5 h 122"/>
                    <a:gd name="T54" fmla="*/ 154 w 188"/>
                    <a:gd name="T55" fmla="*/ 0 h 122"/>
                    <a:gd name="T56" fmla="*/ 24 w 188"/>
                    <a:gd name="T57" fmla="*/ 23 h 122"/>
                    <a:gd name="T58" fmla="*/ 22 w 188"/>
                    <a:gd name="T59" fmla="*/ 13 h 122"/>
                    <a:gd name="T60" fmla="*/ 16 w 188"/>
                    <a:gd name="T61" fmla="*/ 17 h 122"/>
                    <a:gd name="T62" fmla="*/ 11 w 188"/>
                    <a:gd name="T63" fmla="*/ 21 h 122"/>
                    <a:gd name="T64" fmla="*/ 6 w 188"/>
                    <a:gd name="T65" fmla="*/ 24 h 122"/>
                    <a:gd name="T66" fmla="*/ 0 w 188"/>
                    <a:gd name="T67" fmla="*/ 28 h 122"/>
                    <a:gd name="T68" fmla="*/ 16 w 188"/>
                    <a:gd name="T69" fmla="*/ 122 h 122"/>
                    <a:gd name="T70" fmla="*/ 160 w 188"/>
                    <a:gd name="T71" fmla="*/ 95 h 122"/>
                    <a:gd name="T72" fmla="*/ 162 w 188"/>
                    <a:gd name="T73" fmla="*/ 92 h 122"/>
                    <a:gd name="T74" fmla="*/ 165 w 188"/>
                    <a:gd name="T75"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22">
                      <a:moveTo>
                        <a:pt x="165" y="90"/>
                      </a:moveTo>
                      <a:lnTo>
                        <a:pt x="166" y="90"/>
                      </a:lnTo>
                      <a:lnTo>
                        <a:pt x="169" y="90"/>
                      </a:lnTo>
                      <a:lnTo>
                        <a:pt x="171" y="91"/>
                      </a:lnTo>
                      <a:lnTo>
                        <a:pt x="171" y="89"/>
                      </a:lnTo>
                      <a:lnTo>
                        <a:pt x="178" y="83"/>
                      </a:lnTo>
                      <a:lnTo>
                        <a:pt x="186" y="78"/>
                      </a:lnTo>
                      <a:lnTo>
                        <a:pt x="188" y="72"/>
                      </a:lnTo>
                      <a:lnTo>
                        <a:pt x="188" y="71"/>
                      </a:lnTo>
                      <a:lnTo>
                        <a:pt x="183" y="67"/>
                      </a:lnTo>
                      <a:lnTo>
                        <a:pt x="179" y="63"/>
                      </a:lnTo>
                      <a:lnTo>
                        <a:pt x="177" y="59"/>
                      </a:lnTo>
                      <a:lnTo>
                        <a:pt x="173" y="57"/>
                      </a:lnTo>
                      <a:lnTo>
                        <a:pt x="170" y="55"/>
                      </a:lnTo>
                      <a:lnTo>
                        <a:pt x="171" y="50"/>
                      </a:lnTo>
                      <a:lnTo>
                        <a:pt x="171" y="45"/>
                      </a:lnTo>
                      <a:lnTo>
                        <a:pt x="170" y="39"/>
                      </a:lnTo>
                      <a:lnTo>
                        <a:pt x="171" y="34"/>
                      </a:lnTo>
                      <a:lnTo>
                        <a:pt x="174" y="32"/>
                      </a:lnTo>
                      <a:lnTo>
                        <a:pt x="176" y="28"/>
                      </a:lnTo>
                      <a:lnTo>
                        <a:pt x="177" y="25"/>
                      </a:lnTo>
                      <a:lnTo>
                        <a:pt x="179" y="20"/>
                      </a:lnTo>
                      <a:lnTo>
                        <a:pt x="176" y="18"/>
                      </a:lnTo>
                      <a:lnTo>
                        <a:pt x="173" y="18"/>
                      </a:lnTo>
                      <a:lnTo>
                        <a:pt x="170" y="17"/>
                      </a:lnTo>
                      <a:lnTo>
                        <a:pt x="166" y="10"/>
                      </a:lnTo>
                      <a:lnTo>
                        <a:pt x="162" y="5"/>
                      </a:lnTo>
                      <a:lnTo>
                        <a:pt x="154" y="0"/>
                      </a:lnTo>
                      <a:lnTo>
                        <a:pt x="24" y="23"/>
                      </a:lnTo>
                      <a:lnTo>
                        <a:pt x="22" y="13"/>
                      </a:lnTo>
                      <a:lnTo>
                        <a:pt x="16" y="17"/>
                      </a:lnTo>
                      <a:lnTo>
                        <a:pt x="11" y="21"/>
                      </a:lnTo>
                      <a:lnTo>
                        <a:pt x="6" y="24"/>
                      </a:lnTo>
                      <a:lnTo>
                        <a:pt x="0" y="28"/>
                      </a:lnTo>
                      <a:lnTo>
                        <a:pt x="16" y="122"/>
                      </a:lnTo>
                      <a:lnTo>
                        <a:pt x="160" y="95"/>
                      </a:lnTo>
                      <a:lnTo>
                        <a:pt x="162" y="92"/>
                      </a:lnTo>
                      <a:lnTo>
                        <a:pt x="165" y="9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7" name="Freeform 86">
                  <a:extLst>
                    <a:ext uri="{FF2B5EF4-FFF2-40B4-BE49-F238E27FC236}">
                      <a16:creationId xmlns:a16="http://schemas.microsoft.com/office/drawing/2014/main" id="{D87BC39A-0256-BEF0-D852-6DEAFAF9C504}"/>
                    </a:ext>
                  </a:extLst>
                </p:cNvPr>
                <p:cNvSpPr>
                  <a:spLocks/>
                </p:cNvSpPr>
                <p:nvPr/>
              </p:nvSpPr>
              <p:spPr bwMode="auto">
                <a:xfrm>
                  <a:off x="7183681" y="3051885"/>
                  <a:ext cx="490754" cy="384509"/>
                </a:xfrm>
                <a:custGeom>
                  <a:avLst/>
                  <a:gdLst>
                    <a:gd name="T0" fmla="*/ 200 w 291"/>
                    <a:gd name="T1" fmla="*/ 0 h 228"/>
                    <a:gd name="T2" fmla="*/ 211 w 291"/>
                    <a:gd name="T3" fmla="*/ 10 h 228"/>
                    <a:gd name="T4" fmla="*/ 223 w 291"/>
                    <a:gd name="T5" fmla="*/ 30 h 228"/>
                    <a:gd name="T6" fmla="*/ 241 w 291"/>
                    <a:gd name="T7" fmla="*/ 62 h 228"/>
                    <a:gd name="T8" fmla="*/ 259 w 291"/>
                    <a:gd name="T9" fmla="*/ 84 h 228"/>
                    <a:gd name="T10" fmla="*/ 256 w 291"/>
                    <a:gd name="T11" fmla="*/ 86 h 228"/>
                    <a:gd name="T12" fmla="*/ 268 w 291"/>
                    <a:gd name="T13" fmla="*/ 116 h 228"/>
                    <a:gd name="T14" fmla="*/ 286 w 291"/>
                    <a:gd name="T15" fmla="*/ 144 h 228"/>
                    <a:gd name="T16" fmla="*/ 291 w 291"/>
                    <a:gd name="T17" fmla="*/ 176 h 228"/>
                    <a:gd name="T18" fmla="*/ 288 w 291"/>
                    <a:gd name="T19" fmla="*/ 196 h 228"/>
                    <a:gd name="T20" fmla="*/ 287 w 291"/>
                    <a:gd name="T21" fmla="*/ 211 h 228"/>
                    <a:gd name="T22" fmla="*/ 280 w 291"/>
                    <a:gd name="T23" fmla="*/ 227 h 228"/>
                    <a:gd name="T24" fmla="*/ 281 w 291"/>
                    <a:gd name="T25" fmla="*/ 222 h 228"/>
                    <a:gd name="T26" fmla="*/ 274 w 291"/>
                    <a:gd name="T27" fmla="*/ 221 h 228"/>
                    <a:gd name="T28" fmla="*/ 264 w 291"/>
                    <a:gd name="T29" fmla="*/ 222 h 228"/>
                    <a:gd name="T30" fmla="*/ 255 w 291"/>
                    <a:gd name="T31" fmla="*/ 222 h 228"/>
                    <a:gd name="T32" fmla="*/ 255 w 291"/>
                    <a:gd name="T33" fmla="*/ 217 h 228"/>
                    <a:gd name="T34" fmla="*/ 263 w 291"/>
                    <a:gd name="T35" fmla="*/ 216 h 228"/>
                    <a:gd name="T36" fmla="*/ 253 w 291"/>
                    <a:gd name="T37" fmla="*/ 212 h 228"/>
                    <a:gd name="T38" fmla="*/ 245 w 291"/>
                    <a:gd name="T39" fmla="*/ 200 h 228"/>
                    <a:gd name="T40" fmla="*/ 233 w 291"/>
                    <a:gd name="T41" fmla="*/ 193 h 228"/>
                    <a:gd name="T42" fmla="*/ 223 w 291"/>
                    <a:gd name="T43" fmla="*/ 177 h 228"/>
                    <a:gd name="T44" fmla="*/ 216 w 291"/>
                    <a:gd name="T45" fmla="*/ 169 h 228"/>
                    <a:gd name="T46" fmla="*/ 215 w 291"/>
                    <a:gd name="T47" fmla="*/ 161 h 228"/>
                    <a:gd name="T48" fmla="*/ 209 w 291"/>
                    <a:gd name="T49" fmla="*/ 158 h 228"/>
                    <a:gd name="T50" fmla="*/ 205 w 291"/>
                    <a:gd name="T51" fmla="*/ 161 h 228"/>
                    <a:gd name="T52" fmla="*/ 194 w 291"/>
                    <a:gd name="T53" fmla="*/ 147 h 228"/>
                    <a:gd name="T54" fmla="*/ 192 w 291"/>
                    <a:gd name="T55" fmla="*/ 140 h 228"/>
                    <a:gd name="T56" fmla="*/ 194 w 291"/>
                    <a:gd name="T57" fmla="*/ 130 h 228"/>
                    <a:gd name="T58" fmla="*/ 194 w 291"/>
                    <a:gd name="T59" fmla="*/ 121 h 228"/>
                    <a:gd name="T60" fmla="*/ 191 w 291"/>
                    <a:gd name="T61" fmla="*/ 122 h 228"/>
                    <a:gd name="T62" fmla="*/ 187 w 291"/>
                    <a:gd name="T63" fmla="*/ 119 h 228"/>
                    <a:gd name="T64" fmla="*/ 189 w 291"/>
                    <a:gd name="T65" fmla="*/ 127 h 228"/>
                    <a:gd name="T66" fmla="*/ 186 w 291"/>
                    <a:gd name="T67" fmla="*/ 129 h 228"/>
                    <a:gd name="T68" fmla="*/ 180 w 291"/>
                    <a:gd name="T69" fmla="*/ 120 h 228"/>
                    <a:gd name="T70" fmla="*/ 182 w 291"/>
                    <a:gd name="T71" fmla="*/ 106 h 228"/>
                    <a:gd name="T72" fmla="*/ 182 w 291"/>
                    <a:gd name="T73" fmla="*/ 86 h 228"/>
                    <a:gd name="T74" fmla="*/ 174 w 291"/>
                    <a:gd name="T75" fmla="*/ 72 h 228"/>
                    <a:gd name="T76" fmla="*/ 163 w 291"/>
                    <a:gd name="T77" fmla="*/ 67 h 228"/>
                    <a:gd name="T78" fmla="*/ 152 w 291"/>
                    <a:gd name="T79" fmla="*/ 60 h 228"/>
                    <a:gd name="T80" fmla="*/ 143 w 291"/>
                    <a:gd name="T81" fmla="*/ 48 h 228"/>
                    <a:gd name="T82" fmla="*/ 130 w 291"/>
                    <a:gd name="T83" fmla="*/ 39 h 228"/>
                    <a:gd name="T84" fmla="*/ 117 w 291"/>
                    <a:gd name="T85" fmla="*/ 39 h 228"/>
                    <a:gd name="T86" fmla="*/ 116 w 291"/>
                    <a:gd name="T87" fmla="*/ 47 h 228"/>
                    <a:gd name="T88" fmla="*/ 107 w 291"/>
                    <a:gd name="T89" fmla="*/ 49 h 228"/>
                    <a:gd name="T90" fmla="*/ 83 w 291"/>
                    <a:gd name="T91" fmla="*/ 59 h 228"/>
                    <a:gd name="T92" fmla="*/ 77 w 291"/>
                    <a:gd name="T93" fmla="*/ 49 h 228"/>
                    <a:gd name="T94" fmla="*/ 77 w 291"/>
                    <a:gd name="T95" fmla="*/ 43 h 228"/>
                    <a:gd name="T96" fmla="*/ 72 w 291"/>
                    <a:gd name="T97" fmla="*/ 39 h 228"/>
                    <a:gd name="T98" fmla="*/ 72 w 291"/>
                    <a:gd name="T99" fmla="*/ 35 h 228"/>
                    <a:gd name="T100" fmla="*/ 69 w 291"/>
                    <a:gd name="T101" fmla="*/ 38 h 228"/>
                    <a:gd name="T102" fmla="*/ 64 w 291"/>
                    <a:gd name="T103" fmla="*/ 39 h 228"/>
                    <a:gd name="T104" fmla="*/ 65 w 291"/>
                    <a:gd name="T105" fmla="*/ 43 h 228"/>
                    <a:gd name="T106" fmla="*/ 53 w 291"/>
                    <a:gd name="T107" fmla="*/ 37 h 228"/>
                    <a:gd name="T108" fmla="*/ 39 w 291"/>
                    <a:gd name="T109" fmla="*/ 33 h 228"/>
                    <a:gd name="T110" fmla="*/ 19 w 291"/>
                    <a:gd name="T111" fmla="*/ 35 h 228"/>
                    <a:gd name="T112" fmla="*/ 7 w 291"/>
                    <a:gd name="T113" fmla="*/ 32 h 228"/>
                    <a:gd name="T114" fmla="*/ 0 w 291"/>
                    <a:gd name="T115" fmla="*/ 20 h 228"/>
                    <a:gd name="T116" fmla="*/ 10 w 291"/>
                    <a:gd name="T117" fmla="*/ 14 h 228"/>
                    <a:gd name="T118" fmla="*/ 98 w 291"/>
                    <a:gd name="T119" fmla="*/ 16 h 228"/>
                    <a:gd name="T120" fmla="*/ 197 w 291"/>
                    <a:gd name="T121"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28">
                      <a:moveTo>
                        <a:pt x="194" y="0"/>
                      </a:moveTo>
                      <a:lnTo>
                        <a:pt x="194" y="0"/>
                      </a:lnTo>
                      <a:lnTo>
                        <a:pt x="200" y="0"/>
                      </a:lnTo>
                      <a:lnTo>
                        <a:pt x="209" y="2"/>
                      </a:lnTo>
                      <a:lnTo>
                        <a:pt x="210" y="7"/>
                      </a:lnTo>
                      <a:lnTo>
                        <a:pt x="211" y="10"/>
                      </a:lnTo>
                      <a:lnTo>
                        <a:pt x="215" y="12"/>
                      </a:lnTo>
                      <a:lnTo>
                        <a:pt x="218" y="17"/>
                      </a:lnTo>
                      <a:lnTo>
                        <a:pt x="223" y="30"/>
                      </a:lnTo>
                      <a:lnTo>
                        <a:pt x="229" y="40"/>
                      </a:lnTo>
                      <a:lnTo>
                        <a:pt x="237" y="55"/>
                      </a:lnTo>
                      <a:lnTo>
                        <a:pt x="241" y="62"/>
                      </a:lnTo>
                      <a:lnTo>
                        <a:pt x="251" y="77"/>
                      </a:lnTo>
                      <a:lnTo>
                        <a:pt x="256" y="81"/>
                      </a:lnTo>
                      <a:lnTo>
                        <a:pt x="259" y="84"/>
                      </a:lnTo>
                      <a:lnTo>
                        <a:pt x="259" y="87"/>
                      </a:lnTo>
                      <a:lnTo>
                        <a:pt x="259" y="96"/>
                      </a:lnTo>
                      <a:lnTo>
                        <a:pt x="256" y="86"/>
                      </a:lnTo>
                      <a:lnTo>
                        <a:pt x="255" y="96"/>
                      </a:lnTo>
                      <a:lnTo>
                        <a:pt x="261" y="106"/>
                      </a:lnTo>
                      <a:lnTo>
                        <a:pt x="268" y="116"/>
                      </a:lnTo>
                      <a:lnTo>
                        <a:pt x="275" y="129"/>
                      </a:lnTo>
                      <a:lnTo>
                        <a:pt x="280" y="137"/>
                      </a:lnTo>
                      <a:lnTo>
                        <a:pt x="286" y="144"/>
                      </a:lnTo>
                      <a:lnTo>
                        <a:pt x="289" y="153"/>
                      </a:lnTo>
                      <a:lnTo>
                        <a:pt x="291" y="168"/>
                      </a:lnTo>
                      <a:lnTo>
                        <a:pt x="291" y="176"/>
                      </a:lnTo>
                      <a:lnTo>
                        <a:pt x="291" y="185"/>
                      </a:lnTo>
                      <a:lnTo>
                        <a:pt x="291" y="193"/>
                      </a:lnTo>
                      <a:lnTo>
                        <a:pt x="288" y="196"/>
                      </a:lnTo>
                      <a:lnTo>
                        <a:pt x="286" y="200"/>
                      </a:lnTo>
                      <a:lnTo>
                        <a:pt x="286" y="205"/>
                      </a:lnTo>
                      <a:lnTo>
                        <a:pt x="287" y="211"/>
                      </a:lnTo>
                      <a:lnTo>
                        <a:pt x="286" y="218"/>
                      </a:lnTo>
                      <a:lnTo>
                        <a:pt x="283" y="225"/>
                      </a:lnTo>
                      <a:lnTo>
                        <a:pt x="280" y="227"/>
                      </a:lnTo>
                      <a:lnTo>
                        <a:pt x="277" y="228"/>
                      </a:lnTo>
                      <a:lnTo>
                        <a:pt x="279" y="224"/>
                      </a:lnTo>
                      <a:lnTo>
                        <a:pt x="281" y="222"/>
                      </a:lnTo>
                      <a:lnTo>
                        <a:pt x="281" y="217"/>
                      </a:lnTo>
                      <a:lnTo>
                        <a:pt x="280" y="217"/>
                      </a:lnTo>
                      <a:lnTo>
                        <a:pt x="274" y="221"/>
                      </a:lnTo>
                      <a:lnTo>
                        <a:pt x="270" y="222"/>
                      </a:lnTo>
                      <a:lnTo>
                        <a:pt x="267" y="221"/>
                      </a:lnTo>
                      <a:lnTo>
                        <a:pt x="264" y="222"/>
                      </a:lnTo>
                      <a:lnTo>
                        <a:pt x="261" y="224"/>
                      </a:lnTo>
                      <a:lnTo>
                        <a:pt x="259" y="223"/>
                      </a:lnTo>
                      <a:lnTo>
                        <a:pt x="255" y="222"/>
                      </a:lnTo>
                      <a:lnTo>
                        <a:pt x="253" y="219"/>
                      </a:lnTo>
                      <a:lnTo>
                        <a:pt x="254" y="217"/>
                      </a:lnTo>
                      <a:lnTo>
                        <a:pt x="255" y="217"/>
                      </a:lnTo>
                      <a:lnTo>
                        <a:pt x="262" y="218"/>
                      </a:lnTo>
                      <a:lnTo>
                        <a:pt x="264" y="217"/>
                      </a:lnTo>
                      <a:lnTo>
                        <a:pt x="263" y="216"/>
                      </a:lnTo>
                      <a:lnTo>
                        <a:pt x="260" y="214"/>
                      </a:lnTo>
                      <a:lnTo>
                        <a:pt x="256" y="215"/>
                      </a:lnTo>
                      <a:lnTo>
                        <a:pt x="253" y="212"/>
                      </a:lnTo>
                      <a:lnTo>
                        <a:pt x="250" y="207"/>
                      </a:lnTo>
                      <a:lnTo>
                        <a:pt x="246" y="203"/>
                      </a:lnTo>
                      <a:lnTo>
                        <a:pt x="245" y="200"/>
                      </a:lnTo>
                      <a:lnTo>
                        <a:pt x="242" y="196"/>
                      </a:lnTo>
                      <a:lnTo>
                        <a:pt x="237" y="195"/>
                      </a:lnTo>
                      <a:lnTo>
                        <a:pt x="233" y="193"/>
                      </a:lnTo>
                      <a:lnTo>
                        <a:pt x="229" y="192"/>
                      </a:lnTo>
                      <a:lnTo>
                        <a:pt x="225" y="181"/>
                      </a:lnTo>
                      <a:lnTo>
                        <a:pt x="223" y="177"/>
                      </a:lnTo>
                      <a:lnTo>
                        <a:pt x="220" y="174"/>
                      </a:lnTo>
                      <a:lnTo>
                        <a:pt x="219" y="172"/>
                      </a:lnTo>
                      <a:lnTo>
                        <a:pt x="216" y="169"/>
                      </a:lnTo>
                      <a:lnTo>
                        <a:pt x="213" y="167"/>
                      </a:lnTo>
                      <a:lnTo>
                        <a:pt x="214" y="163"/>
                      </a:lnTo>
                      <a:lnTo>
                        <a:pt x="215" y="161"/>
                      </a:lnTo>
                      <a:lnTo>
                        <a:pt x="212" y="155"/>
                      </a:lnTo>
                      <a:lnTo>
                        <a:pt x="209" y="156"/>
                      </a:lnTo>
                      <a:lnTo>
                        <a:pt x="209" y="158"/>
                      </a:lnTo>
                      <a:lnTo>
                        <a:pt x="209" y="163"/>
                      </a:lnTo>
                      <a:lnTo>
                        <a:pt x="207" y="163"/>
                      </a:lnTo>
                      <a:lnTo>
                        <a:pt x="205" y="161"/>
                      </a:lnTo>
                      <a:lnTo>
                        <a:pt x="202" y="158"/>
                      </a:lnTo>
                      <a:lnTo>
                        <a:pt x="197" y="150"/>
                      </a:lnTo>
                      <a:lnTo>
                        <a:pt x="194" y="147"/>
                      </a:lnTo>
                      <a:lnTo>
                        <a:pt x="193" y="146"/>
                      </a:lnTo>
                      <a:lnTo>
                        <a:pt x="194" y="144"/>
                      </a:lnTo>
                      <a:lnTo>
                        <a:pt x="192" y="140"/>
                      </a:lnTo>
                      <a:lnTo>
                        <a:pt x="189" y="139"/>
                      </a:lnTo>
                      <a:lnTo>
                        <a:pt x="192" y="133"/>
                      </a:lnTo>
                      <a:lnTo>
                        <a:pt x="194" y="130"/>
                      </a:lnTo>
                      <a:lnTo>
                        <a:pt x="195" y="127"/>
                      </a:lnTo>
                      <a:lnTo>
                        <a:pt x="196" y="124"/>
                      </a:lnTo>
                      <a:lnTo>
                        <a:pt x="194" y="121"/>
                      </a:lnTo>
                      <a:lnTo>
                        <a:pt x="193" y="125"/>
                      </a:lnTo>
                      <a:lnTo>
                        <a:pt x="191" y="124"/>
                      </a:lnTo>
                      <a:lnTo>
                        <a:pt x="191" y="122"/>
                      </a:lnTo>
                      <a:lnTo>
                        <a:pt x="188" y="118"/>
                      </a:lnTo>
                      <a:lnTo>
                        <a:pt x="187" y="118"/>
                      </a:lnTo>
                      <a:lnTo>
                        <a:pt x="187" y="119"/>
                      </a:lnTo>
                      <a:lnTo>
                        <a:pt x="188" y="121"/>
                      </a:lnTo>
                      <a:lnTo>
                        <a:pt x="189" y="124"/>
                      </a:lnTo>
                      <a:lnTo>
                        <a:pt x="189" y="127"/>
                      </a:lnTo>
                      <a:lnTo>
                        <a:pt x="189" y="128"/>
                      </a:lnTo>
                      <a:lnTo>
                        <a:pt x="187" y="130"/>
                      </a:lnTo>
                      <a:lnTo>
                        <a:pt x="186" y="129"/>
                      </a:lnTo>
                      <a:lnTo>
                        <a:pt x="184" y="127"/>
                      </a:lnTo>
                      <a:lnTo>
                        <a:pt x="181" y="122"/>
                      </a:lnTo>
                      <a:lnTo>
                        <a:pt x="180" y="120"/>
                      </a:lnTo>
                      <a:lnTo>
                        <a:pt x="180" y="116"/>
                      </a:lnTo>
                      <a:lnTo>
                        <a:pt x="180" y="110"/>
                      </a:lnTo>
                      <a:lnTo>
                        <a:pt x="182" y="106"/>
                      </a:lnTo>
                      <a:lnTo>
                        <a:pt x="183" y="98"/>
                      </a:lnTo>
                      <a:lnTo>
                        <a:pt x="183" y="93"/>
                      </a:lnTo>
                      <a:lnTo>
                        <a:pt x="182" y="86"/>
                      </a:lnTo>
                      <a:lnTo>
                        <a:pt x="180" y="79"/>
                      </a:lnTo>
                      <a:lnTo>
                        <a:pt x="177" y="77"/>
                      </a:lnTo>
                      <a:lnTo>
                        <a:pt x="174" y="72"/>
                      </a:lnTo>
                      <a:lnTo>
                        <a:pt x="168" y="71"/>
                      </a:lnTo>
                      <a:lnTo>
                        <a:pt x="165" y="71"/>
                      </a:lnTo>
                      <a:lnTo>
                        <a:pt x="163" y="67"/>
                      </a:lnTo>
                      <a:lnTo>
                        <a:pt x="160" y="66"/>
                      </a:lnTo>
                      <a:lnTo>
                        <a:pt x="156" y="61"/>
                      </a:lnTo>
                      <a:lnTo>
                        <a:pt x="152" y="60"/>
                      </a:lnTo>
                      <a:lnTo>
                        <a:pt x="151" y="55"/>
                      </a:lnTo>
                      <a:lnTo>
                        <a:pt x="149" y="53"/>
                      </a:lnTo>
                      <a:lnTo>
                        <a:pt x="143" y="48"/>
                      </a:lnTo>
                      <a:lnTo>
                        <a:pt x="138" y="44"/>
                      </a:lnTo>
                      <a:lnTo>
                        <a:pt x="134" y="42"/>
                      </a:lnTo>
                      <a:lnTo>
                        <a:pt x="130" y="39"/>
                      </a:lnTo>
                      <a:lnTo>
                        <a:pt x="127" y="38"/>
                      </a:lnTo>
                      <a:lnTo>
                        <a:pt x="122" y="38"/>
                      </a:lnTo>
                      <a:lnTo>
                        <a:pt x="117" y="39"/>
                      </a:lnTo>
                      <a:lnTo>
                        <a:pt x="116" y="42"/>
                      </a:lnTo>
                      <a:lnTo>
                        <a:pt x="117" y="45"/>
                      </a:lnTo>
                      <a:lnTo>
                        <a:pt x="116" y="47"/>
                      </a:lnTo>
                      <a:lnTo>
                        <a:pt x="114" y="47"/>
                      </a:lnTo>
                      <a:lnTo>
                        <a:pt x="112" y="45"/>
                      </a:lnTo>
                      <a:lnTo>
                        <a:pt x="107" y="49"/>
                      </a:lnTo>
                      <a:lnTo>
                        <a:pt x="101" y="54"/>
                      </a:lnTo>
                      <a:lnTo>
                        <a:pt x="94" y="56"/>
                      </a:lnTo>
                      <a:lnTo>
                        <a:pt x="83" y="59"/>
                      </a:lnTo>
                      <a:lnTo>
                        <a:pt x="83" y="53"/>
                      </a:lnTo>
                      <a:lnTo>
                        <a:pt x="80" y="50"/>
                      </a:lnTo>
                      <a:lnTo>
                        <a:pt x="77" y="49"/>
                      </a:lnTo>
                      <a:lnTo>
                        <a:pt x="72" y="46"/>
                      </a:lnTo>
                      <a:lnTo>
                        <a:pt x="76" y="44"/>
                      </a:lnTo>
                      <a:lnTo>
                        <a:pt x="77" y="43"/>
                      </a:lnTo>
                      <a:lnTo>
                        <a:pt x="70" y="42"/>
                      </a:lnTo>
                      <a:lnTo>
                        <a:pt x="70" y="39"/>
                      </a:lnTo>
                      <a:lnTo>
                        <a:pt x="72" y="39"/>
                      </a:lnTo>
                      <a:lnTo>
                        <a:pt x="73" y="37"/>
                      </a:lnTo>
                      <a:lnTo>
                        <a:pt x="73" y="35"/>
                      </a:lnTo>
                      <a:lnTo>
                        <a:pt x="72" y="35"/>
                      </a:lnTo>
                      <a:lnTo>
                        <a:pt x="70" y="36"/>
                      </a:lnTo>
                      <a:lnTo>
                        <a:pt x="70" y="37"/>
                      </a:lnTo>
                      <a:lnTo>
                        <a:pt x="69" y="38"/>
                      </a:lnTo>
                      <a:lnTo>
                        <a:pt x="67" y="36"/>
                      </a:lnTo>
                      <a:lnTo>
                        <a:pt x="62" y="36"/>
                      </a:lnTo>
                      <a:lnTo>
                        <a:pt x="64" y="39"/>
                      </a:lnTo>
                      <a:lnTo>
                        <a:pt x="65" y="39"/>
                      </a:lnTo>
                      <a:lnTo>
                        <a:pt x="66" y="43"/>
                      </a:lnTo>
                      <a:lnTo>
                        <a:pt x="65" y="43"/>
                      </a:lnTo>
                      <a:lnTo>
                        <a:pt x="61" y="41"/>
                      </a:lnTo>
                      <a:lnTo>
                        <a:pt x="57" y="38"/>
                      </a:lnTo>
                      <a:lnTo>
                        <a:pt x="53" y="37"/>
                      </a:lnTo>
                      <a:lnTo>
                        <a:pt x="44" y="37"/>
                      </a:lnTo>
                      <a:lnTo>
                        <a:pt x="41" y="35"/>
                      </a:lnTo>
                      <a:lnTo>
                        <a:pt x="39" y="33"/>
                      </a:lnTo>
                      <a:lnTo>
                        <a:pt x="36" y="33"/>
                      </a:lnTo>
                      <a:lnTo>
                        <a:pt x="26" y="35"/>
                      </a:lnTo>
                      <a:lnTo>
                        <a:pt x="19" y="35"/>
                      </a:lnTo>
                      <a:lnTo>
                        <a:pt x="14" y="38"/>
                      </a:lnTo>
                      <a:lnTo>
                        <a:pt x="11" y="39"/>
                      </a:lnTo>
                      <a:lnTo>
                        <a:pt x="7" y="32"/>
                      </a:lnTo>
                      <a:lnTo>
                        <a:pt x="6" y="27"/>
                      </a:lnTo>
                      <a:lnTo>
                        <a:pt x="2" y="22"/>
                      </a:lnTo>
                      <a:lnTo>
                        <a:pt x="0" y="20"/>
                      </a:lnTo>
                      <a:lnTo>
                        <a:pt x="0" y="17"/>
                      </a:lnTo>
                      <a:lnTo>
                        <a:pt x="3" y="16"/>
                      </a:lnTo>
                      <a:lnTo>
                        <a:pt x="10" y="14"/>
                      </a:lnTo>
                      <a:lnTo>
                        <a:pt x="18" y="12"/>
                      </a:lnTo>
                      <a:lnTo>
                        <a:pt x="93" y="6"/>
                      </a:lnTo>
                      <a:lnTo>
                        <a:pt x="98" y="16"/>
                      </a:lnTo>
                      <a:lnTo>
                        <a:pt x="189" y="11"/>
                      </a:lnTo>
                      <a:lnTo>
                        <a:pt x="190" y="19"/>
                      </a:lnTo>
                      <a:lnTo>
                        <a:pt x="197" y="19"/>
                      </a:lnTo>
                      <a:lnTo>
                        <a:pt x="19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8" name="Freeform 87">
                  <a:extLst>
                    <a:ext uri="{FF2B5EF4-FFF2-40B4-BE49-F238E27FC236}">
                      <a16:creationId xmlns:a16="http://schemas.microsoft.com/office/drawing/2014/main" id="{78B6E2C6-DEE0-E0FB-63BD-645FD7739A05}"/>
                    </a:ext>
                  </a:extLst>
                </p:cNvPr>
                <p:cNvSpPr>
                  <a:spLocks/>
                </p:cNvSpPr>
                <p:nvPr/>
              </p:nvSpPr>
              <p:spPr bwMode="auto">
                <a:xfrm>
                  <a:off x="6802545" y="2950697"/>
                  <a:ext cx="306933" cy="271518"/>
                </a:xfrm>
                <a:custGeom>
                  <a:avLst/>
                  <a:gdLst>
                    <a:gd name="T0" fmla="*/ 176 w 182"/>
                    <a:gd name="T1" fmla="*/ 147 h 161"/>
                    <a:gd name="T2" fmla="*/ 171 w 182"/>
                    <a:gd name="T3" fmla="*/ 146 h 161"/>
                    <a:gd name="T4" fmla="*/ 160 w 182"/>
                    <a:gd name="T5" fmla="*/ 139 h 161"/>
                    <a:gd name="T6" fmla="*/ 152 w 182"/>
                    <a:gd name="T7" fmla="*/ 134 h 161"/>
                    <a:gd name="T8" fmla="*/ 155 w 182"/>
                    <a:gd name="T9" fmla="*/ 130 h 161"/>
                    <a:gd name="T10" fmla="*/ 166 w 182"/>
                    <a:gd name="T11" fmla="*/ 128 h 161"/>
                    <a:gd name="T12" fmla="*/ 162 w 182"/>
                    <a:gd name="T13" fmla="*/ 118 h 161"/>
                    <a:gd name="T14" fmla="*/ 148 w 182"/>
                    <a:gd name="T15" fmla="*/ 122 h 161"/>
                    <a:gd name="T16" fmla="*/ 148 w 182"/>
                    <a:gd name="T17" fmla="*/ 119 h 161"/>
                    <a:gd name="T18" fmla="*/ 154 w 182"/>
                    <a:gd name="T19" fmla="*/ 114 h 161"/>
                    <a:gd name="T20" fmla="*/ 150 w 182"/>
                    <a:gd name="T21" fmla="*/ 99 h 161"/>
                    <a:gd name="T22" fmla="*/ 84 w 182"/>
                    <a:gd name="T23" fmla="*/ 82 h 161"/>
                    <a:gd name="T24" fmla="*/ 84 w 182"/>
                    <a:gd name="T25" fmla="*/ 73 h 161"/>
                    <a:gd name="T26" fmla="*/ 87 w 182"/>
                    <a:gd name="T27" fmla="*/ 64 h 161"/>
                    <a:gd name="T28" fmla="*/ 90 w 182"/>
                    <a:gd name="T29" fmla="*/ 58 h 161"/>
                    <a:gd name="T30" fmla="*/ 97 w 182"/>
                    <a:gd name="T31" fmla="*/ 43 h 161"/>
                    <a:gd name="T32" fmla="*/ 99 w 182"/>
                    <a:gd name="T33" fmla="*/ 37 h 161"/>
                    <a:gd name="T34" fmla="*/ 102 w 182"/>
                    <a:gd name="T35" fmla="*/ 23 h 161"/>
                    <a:gd name="T36" fmla="*/ 98 w 182"/>
                    <a:gd name="T37" fmla="*/ 14 h 161"/>
                    <a:gd name="T38" fmla="*/ 94 w 182"/>
                    <a:gd name="T39" fmla="*/ 9 h 161"/>
                    <a:gd name="T40" fmla="*/ 97 w 182"/>
                    <a:gd name="T41" fmla="*/ 2 h 161"/>
                    <a:gd name="T42" fmla="*/ 0 w 182"/>
                    <a:gd name="T43" fmla="*/ 47 h 161"/>
                    <a:gd name="T44" fmla="*/ 11 w 182"/>
                    <a:gd name="T45" fmla="*/ 64 h 161"/>
                    <a:gd name="T46" fmla="*/ 13 w 182"/>
                    <a:gd name="T47" fmla="*/ 75 h 161"/>
                    <a:gd name="T48" fmla="*/ 13 w 182"/>
                    <a:gd name="T49" fmla="*/ 94 h 161"/>
                    <a:gd name="T50" fmla="*/ 9 w 182"/>
                    <a:gd name="T51" fmla="*/ 110 h 161"/>
                    <a:gd name="T52" fmla="*/ 9 w 182"/>
                    <a:gd name="T53" fmla="*/ 131 h 161"/>
                    <a:gd name="T54" fmla="*/ 15 w 182"/>
                    <a:gd name="T55" fmla="*/ 136 h 161"/>
                    <a:gd name="T56" fmla="*/ 25 w 182"/>
                    <a:gd name="T57" fmla="*/ 134 h 161"/>
                    <a:gd name="T58" fmla="*/ 44 w 182"/>
                    <a:gd name="T59" fmla="*/ 139 h 161"/>
                    <a:gd name="T60" fmla="*/ 72 w 182"/>
                    <a:gd name="T61" fmla="*/ 142 h 161"/>
                    <a:gd name="T62" fmla="*/ 78 w 182"/>
                    <a:gd name="T63" fmla="*/ 138 h 161"/>
                    <a:gd name="T64" fmla="*/ 70 w 182"/>
                    <a:gd name="T65" fmla="*/ 137 h 161"/>
                    <a:gd name="T66" fmla="*/ 77 w 182"/>
                    <a:gd name="T67" fmla="*/ 132 h 161"/>
                    <a:gd name="T68" fmla="*/ 97 w 182"/>
                    <a:gd name="T69" fmla="*/ 142 h 161"/>
                    <a:gd name="T70" fmla="*/ 98 w 182"/>
                    <a:gd name="T71" fmla="*/ 150 h 161"/>
                    <a:gd name="T72" fmla="*/ 111 w 182"/>
                    <a:gd name="T73" fmla="*/ 155 h 161"/>
                    <a:gd name="T74" fmla="*/ 121 w 182"/>
                    <a:gd name="T75" fmla="*/ 154 h 161"/>
                    <a:gd name="T76" fmla="*/ 132 w 182"/>
                    <a:gd name="T77" fmla="*/ 150 h 161"/>
                    <a:gd name="T78" fmla="*/ 142 w 182"/>
                    <a:gd name="T79" fmla="*/ 153 h 161"/>
                    <a:gd name="T80" fmla="*/ 142 w 182"/>
                    <a:gd name="T81" fmla="*/ 141 h 161"/>
                    <a:gd name="T82" fmla="*/ 150 w 182"/>
                    <a:gd name="T83" fmla="*/ 147 h 161"/>
                    <a:gd name="T84" fmla="*/ 168 w 182"/>
                    <a:gd name="T85" fmla="*/ 154 h 161"/>
                    <a:gd name="T86" fmla="*/ 169 w 182"/>
                    <a:gd name="T87" fmla="*/ 161 h 161"/>
                    <a:gd name="T88" fmla="*/ 176 w 182"/>
                    <a:gd name="T89" fmla="*/ 158 h 161"/>
                    <a:gd name="T90" fmla="*/ 181 w 182"/>
                    <a:gd name="T91"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61">
                      <a:moveTo>
                        <a:pt x="181" y="149"/>
                      </a:moveTo>
                      <a:lnTo>
                        <a:pt x="179" y="149"/>
                      </a:lnTo>
                      <a:lnTo>
                        <a:pt x="176" y="147"/>
                      </a:lnTo>
                      <a:lnTo>
                        <a:pt x="175" y="147"/>
                      </a:lnTo>
                      <a:lnTo>
                        <a:pt x="173" y="147"/>
                      </a:lnTo>
                      <a:lnTo>
                        <a:pt x="171" y="146"/>
                      </a:lnTo>
                      <a:lnTo>
                        <a:pt x="166" y="143"/>
                      </a:lnTo>
                      <a:lnTo>
                        <a:pt x="165" y="143"/>
                      </a:lnTo>
                      <a:lnTo>
                        <a:pt x="160" y="139"/>
                      </a:lnTo>
                      <a:lnTo>
                        <a:pt x="158" y="137"/>
                      </a:lnTo>
                      <a:lnTo>
                        <a:pt x="155" y="136"/>
                      </a:lnTo>
                      <a:lnTo>
                        <a:pt x="152" y="134"/>
                      </a:lnTo>
                      <a:lnTo>
                        <a:pt x="150" y="132"/>
                      </a:lnTo>
                      <a:lnTo>
                        <a:pt x="153" y="132"/>
                      </a:lnTo>
                      <a:lnTo>
                        <a:pt x="155" y="130"/>
                      </a:lnTo>
                      <a:lnTo>
                        <a:pt x="160" y="130"/>
                      </a:lnTo>
                      <a:lnTo>
                        <a:pt x="161" y="128"/>
                      </a:lnTo>
                      <a:lnTo>
                        <a:pt x="166" y="128"/>
                      </a:lnTo>
                      <a:lnTo>
                        <a:pt x="168" y="126"/>
                      </a:lnTo>
                      <a:lnTo>
                        <a:pt x="165" y="121"/>
                      </a:lnTo>
                      <a:lnTo>
                        <a:pt x="162" y="118"/>
                      </a:lnTo>
                      <a:lnTo>
                        <a:pt x="161" y="118"/>
                      </a:lnTo>
                      <a:lnTo>
                        <a:pt x="151" y="121"/>
                      </a:lnTo>
                      <a:lnTo>
                        <a:pt x="148" y="122"/>
                      </a:lnTo>
                      <a:lnTo>
                        <a:pt x="145" y="122"/>
                      </a:lnTo>
                      <a:lnTo>
                        <a:pt x="145" y="121"/>
                      </a:lnTo>
                      <a:lnTo>
                        <a:pt x="148" y="119"/>
                      </a:lnTo>
                      <a:lnTo>
                        <a:pt x="151" y="118"/>
                      </a:lnTo>
                      <a:lnTo>
                        <a:pt x="154" y="116"/>
                      </a:lnTo>
                      <a:lnTo>
                        <a:pt x="154" y="114"/>
                      </a:lnTo>
                      <a:lnTo>
                        <a:pt x="154" y="110"/>
                      </a:lnTo>
                      <a:lnTo>
                        <a:pt x="153" y="103"/>
                      </a:lnTo>
                      <a:lnTo>
                        <a:pt x="150" y="99"/>
                      </a:lnTo>
                      <a:lnTo>
                        <a:pt x="148" y="95"/>
                      </a:lnTo>
                      <a:lnTo>
                        <a:pt x="149" y="79"/>
                      </a:lnTo>
                      <a:lnTo>
                        <a:pt x="84" y="82"/>
                      </a:lnTo>
                      <a:lnTo>
                        <a:pt x="83" y="78"/>
                      </a:lnTo>
                      <a:lnTo>
                        <a:pt x="83" y="75"/>
                      </a:lnTo>
                      <a:lnTo>
                        <a:pt x="84" y="73"/>
                      </a:lnTo>
                      <a:lnTo>
                        <a:pt x="87" y="71"/>
                      </a:lnTo>
                      <a:lnTo>
                        <a:pt x="87" y="66"/>
                      </a:lnTo>
                      <a:lnTo>
                        <a:pt x="87" y="64"/>
                      </a:lnTo>
                      <a:lnTo>
                        <a:pt x="88" y="61"/>
                      </a:lnTo>
                      <a:lnTo>
                        <a:pt x="89" y="60"/>
                      </a:lnTo>
                      <a:lnTo>
                        <a:pt x="90" y="58"/>
                      </a:lnTo>
                      <a:lnTo>
                        <a:pt x="91" y="51"/>
                      </a:lnTo>
                      <a:lnTo>
                        <a:pt x="93" y="49"/>
                      </a:lnTo>
                      <a:lnTo>
                        <a:pt x="97" y="43"/>
                      </a:lnTo>
                      <a:lnTo>
                        <a:pt x="98" y="41"/>
                      </a:lnTo>
                      <a:lnTo>
                        <a:pt x="98" y="37"/>
                      </a:lnTo>
                      <a:lnTo>
                        <a:pt x="99" y="37"/>
                      </a:lnTo>
                      <a:lnTo>
                        <a:pt x="102" y="34"/>
                      </a:lnTo>
                      <a:lnTo>
                        <a:pt x="103" y="26"/>
                      </a:lnTo>
                      <a:lnTo>
                        <a:pt x="102" y="23"/>
                      </a:lnTo>
                      <a:lnTo>
                        <a:pt x="99" y="21"/>
                      </a:lnTo>
                      <a:lnTo>
                        <a:pt x="99" y="19"/>
                      </a:lnTo>
                      <a:lnTo>
                        <a:pt x="98" y="14"/>
                      </a:lnTo>
                      <a:lnTo>
                        <a:pt x="98" y="13"/>
                      </a:lnTo>
                      <a:lnTo>
                        <a:pt x="97" y="11"/>
                      </a:lnTo>
                      <a:lnTo>
                        <a:pt x="94" y="9"/>
                      </a:lnTo>
                      <a:lnTo>
                        <a:pt x="98" y="7"/>
                      </a:lnTo>
                      <a:lnTo>
                        <a:pt x="98" y="5"/>
                      </a:lnTo>
                      <a:lnTo>
                        <a:pt x="97" y="2"/>
                      </a:lnTo>
                      <a:lnTo>
                        <a:pt x="94" y="0"/>
                      </a:lnTo>
                      <a:lnTo>
                        <a:pt x="0" y="3"/>
                      </a:lnTo>
                      <a:lnTo>
                        <a:pt x="0" y="47"/>
                      </a:lnTo>
                      <a:lnTo>
                        <a:pt x="7" y="53"/>
                      </a:lnTo>
                      <a:lnTo>
                        <a:pt x="7" y="55"/>
                      </a:lnTo>
                      <a:lnTo>
                        <a:pt x="11" y="64"/>
                      </a:lnTo>
                      <a:lnTo>
                        <a:pt x="12" y="66"/>
                      </a:lnTo>
                      <a:lnTo>
                        <a:pt x="12" y="72"/>
                      </a:lnTo>
                      <a:lnTo>
                        <a:pt x="13" y="75"/>
                      </a:lnTo>
                      <a:lnTo>
                        <a:pt x="15" y="83"/>
                      </a:lnTo>
                      <a:lnTo>
                        <a:pt x="17" y="89"/>
                      </a:lnTo>
                      <a:lnTo>
                        <a:pt x="13" y="94"/>
                      </a:lnTo>
                      <a:lnTo>
                        <a:pt x="11" y="102"/>
                      </a:lnTo>
                      <a:lnTo>
                        <a:pt x="11" y="105"/>
                      </a:lnTo>
                      <a:lnTo>
                        <a:pt x="9" y="110"/>
                      </a:lnTo>
                      <a:lnTo>
                        <a:pt x="12" y="117"/>
                      </a:lnTo>
                      <a:lnTo>
                        <a:pt x="12" y="121"/>
                      </a:lnTo>
                      <a:lnTo>
                        <a:pt x="9" y="131"/>
                      </a:lnTo>
                      <a:lnTo>
                        <a:pt x="6" y="136"/>
                      </a:lnTo>
                      <a:lnTo>
                        <a:pt x="10" y="136"/>
                      </a:lnTo>
                      <a:lnTo>
                        <a:pt x="15" y="136"/>
                      </a:lnTo>
                      <a:lnTo>
                        <a:pt x="18" y="134"/>
                      </a:lnTo>
                      <a:lnTo>
                        <a:pt x="22" y="134"/>
                      </a:lnTo>
                      <a:lnTo>
                        <a:pt x="25" y="134"/>
                      </a:lnTo>
                      <a:lnTo>
                        <a:pt x="34" y="136"/>
                      </a:lnTo>
                      <a:lnTo>
                        <a:pt x="39" y="137"/>
                      </a:lnTo>
                      <a:lnTo>
                        <a:pt x="44" y="139"/>
                      </a:lnTo>
                      <a:lnTo>
                        <a:pt x="51" y="142"/>
                      </a:lnTo>
                      <a:lnTo>
                        <a:pt x="64" y="142"/>
                      </a:lnTo>
                      <a:lnTo>
                        <a:pt x="72" y="142"/>
                      </a:lnTo>
                      <a:lnTo>
                        <a:pt x="79" y="142"/>
                      </a:lnTo>
                      <a:lnTo>
                        <a:pt x="80" y="141"/>
                      </a:lnTo>
                      <a:lnTo>
                        <a:pt x="78" y="138"/>
                      </a:lnTo>
                      <a:lnTo>
                        <a:pt x="73" y="138"/>
                      </a:lnTo>
                      <a:lnTo>
                        <a:pt x="72" y="138"/>
                      </a:lnTo>
                      <a:lnTo>
                        <a:pt x="70" y="137"/>
                      </a:lnTo>
                      <a:lnTo>
                        <a:pt x="71" y="134"/>
                      </a:lnTo>
                      <a:lnTo>
                        <a:pt x="72" y="132"/>
                      </a:lnTo>
                      <a:lnTo>
                        <a:pt x="77" y="132"/>
                      </a:lnTo>
                      <a:lnTo>
                        <a:pt x="84" y="135"/>
                      </a:lnTo>
                      <a:lnTo>
                        <a:pt x="91" y="141"/>
                      </a:lnTo>
                      <a:lnTo>
                        <a:pt x="97" y="142"/>
                      </a:lnTo>
                      <a:lnTo>
                        <a:pt x="101" y="140"/>
                      </a:lnTo>
                      <a:lnTo>
                        <a:pt x="100" y="144"/>
                      </a:lnTo>
                      <a:lnTo>
                        <a:pt x="98" y="150"/>
                      </a:lnTo>
                      <a:lnTo>
                        <a:pt x="100" y="153"/>
                      </a:lnTo>
                      <a:lnTo>
                        <a:pt x="106" y="155"/>
                      </a:lnTo>
                      <a:lnTo>
                        <a:pt x="111" y="155"/>
                      </a:lnTo>
                      <a:lnTo>
                        <a:pt x="115" y="158"/>
                      </a:lnTo>
                      <a:lnTo>
                        <a:pt x="119" y="158"/>
                      </a:lnTo>
                      <a:lnTo>
                        <a:pt x="121" y="154"/>
                      </a:lnTo>
                      <a:lnTo>
                        <a:pt x="125" y="150"/>
                      </a:lnTo>
                      <a:lnTo>
                        <a:pt x="128" y="149"/>
                      </a:lnTo>
                      <a:lnTo>
                        <a:pt x="132" y="150"/>
                      </a:lnTo>
                      <a:lnTo>
                        <a:pt x="136" y="155"/>
                      </a:lnTo>
                      <a:lnTo>
                        <a:pt x="140" y="155"/>
                      </a:lnTo>
                      <a:lnTo>
                        <a:pt x="142" y="153"/>
                      </a:lnTo>
                      <a:lnTo>
                        <a:pt x="140" y="145"/>
                      </a:lnTo>
                      <a:lnTo>
                        <a:pt x="140" y="143"/>
                      </a:lnTo>
                      <a:lnTo>
                        <a:pt x="142" y="141"/>
                      </a:lnTo>
                      <a:lnTo>
                        <a:pt x="146" y="141"/>
                      </a:lnTo>
                      <a:lnTo>
                        <a:pt x="150" y="143"/>
                      </a:lnTo>
                      <a:lnTo>
                        <a:pt x="150" y="147"/>
                      </a:lnTo>
                      <a:lnTo>
                        <a:pt x="158" y="148"/>
                      </a:lnTo>
                      <a:lnTo>
                        <a:pt x="165" y="151"/>
                      </a:lnTo>
                      <a:lnTo>
                        <a:pt x="168" y="154"/>
                      </a:lnTo>
                      <a:lnTo>
                        <a:pt x="166" y="157"/>
                      </a:lnTo>
                      <a:lnTo>
                        <a:pt x="165" y="161"/>
                      </a:lnTo>
                      <a:lnTo>
                        <a:pt x="169" y="161"/>
                      </a:lnTo>
                      <a:lnTo>
                        <a:pt x="171" y="158"/>
                      </a:lnTo>
                      <a:lnTo>
                        <a:pt x="173" y="156"/>
                      </a:lnTo>
                      <a:lnTo>
                        <a:pt x="176" y="158"/>
                      </a:lnTo>
                      <a:lnTo>
                        <a:pt x="176" y="160"/>
                      </a:lnTo>
                      <a:lnTo>
                        <a:pt x="178" y="157"/>
                      </a:lnTo>
                      <a:lnTo>
                        <a:pt x="181" y="154"/>
                      </a:lnTo>
                      <a:lnTo>
                        <a:pt x="182" y="153"/>
                      </a:lnTo>
                      <a:lnTo>
                        <a:pt x="181" y="14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9" name="Freeform 88">
                  <a:extLst>
                    <a:ext uri="{FF2B5EF4-FFF2-40B4-BE49-F238E27FC236}">
                      <a16:creationId xmlns:a16="http://schemas.microsoft.com/office/drawing/2014/main" id="{430CFD1C-F5CF-276B-F40F-81D748BD0268}"/>
                    </a:ext>
                  </a:extLst>
                </p:cNvPr>
                <p:cNvSpPr>
                  <a:spLocks/>
                </p:cNvSpPr>
                <p:nvPr/>
              </p:nvSpPr>
              <p:spPr bwMode="auto">
                <a:xfrm>
                  <a:off x="6765443" y="2707850"/>
                  <a:ext cx="274890" cy="247908"/>
                </a:xfrm>
                <a:custGeom>
                  <a:avLst/>
                  <a:gdLst>
                    <a:gd name="T0" fmla="*/ 6 w 163"/>
                    <a:gd name="T1" fmla="*/ 123 h 147"/>
                    <a:gd name="T2" fmla="*/ 4 w 163"/>
                    <a:gd name="T3" fmla="*/ 121 h 147"/>
                    <a:gd name="T4" fmla="*/ 7 w 163"/>
                    <a:gd name="T5" fmla="*/ 124 h 147"/>
                    <a:gd name="T6" fmla="*/ 10 w 163"/>
                    <a:gd name="T7" fmla="*/ 125 h 147"/>
                    <a:gd name="T8" fmla="*/ 12 w 163"/>
                    <a:gd name="T9" fmla="*/ 123 h 147"/>
                    <a:gd name="T10" fmla="*/ 22 w 163"/>
                    <a:gd name="T11" fmla="*/ 124 h 147"/>
                    <a:gd name="T12" fmla="*/ 22 w 163"/>
                    <a:gd name="T13" fmla="*/ 147 h 147"/>
                    <a:gd name="T14" fmla="*/ 116 w 163"/>
                    <a:gd name="T15" fmla="*/ 144 h 147"/>
                    <a:gd name="T16" fmla="*/ 117 w 163"/>
                    <a:gd name="T17" fmla="*/ 144 h 147"/>
                    <a:gd name="T18" fmla="*/ 119 w 163"/>
                    <a:gd name="T19" fmla="*/ 139 h 147"/>
                    <a:gd name="T20" fmla="*/ 120 w 163"/>
                    <a:gd name="T21" fmla="*/ 136 h 147"/>
                    <a:gd name="T22" fmla="*/ 119 w 163"/>
                    <a:gd name="T23" fmla="*/ 133 h 147"/>
                    <a:gd name="T24" fmla="*/ 119 w 163"/>
                    <a:gd name="T25" fmla="*/ 127 h 147"/>
                    <a:gd name="T26" fmla="*/ 119 w 163"/>
                    <a:gd name="T27" fmla="*/ 125 h 147"/>
                    <a:gd name="T28" fmla="*/ 117 w 163"/>
                    <a:gd name="T29" fmla="*/ 122 h 147"/>
                    <a:gd name="T30" fmla="*/ 116 w 163"/>
                    <a:gd name="T31" fmla="*/ 121 h 147"/>
                    <a:gd name="T32" fmla="*/ 116 w 163"/>
                    <a:gd name="T33" fmla="*/ 119 h 147"/>
                    <a:gd name="T34" fmla="*/ 117 w 163"/>
                    <a:gd name="T35" fmla="*/ 117 h 147"/>
                    <a:gd name="T36" fmla="*/ 116 w 163"/>
                    <a:gd name="T37" fmla="*/ 116 h 147"/>
                    <a:gd name="T38" fmla="*/ 118 w 163"/>
                    <a:gd name="T39" fmla="*/ 113 h 147"/>
                    <a:gd name="T40" fmla="*/ 121 w 163"/>
                    <a:gd name="T41" fmla="*/ 109 h 147"/>
                    <a:gd name="T42" fmla="*/ 122 w 163"/>
                    <a:gd name="T43" fmla="*/ 109 h 147"/>
                    <a:gd name="T44" fmla="*/ 121 w 163"/>
                    <a:gd name="T45" fmla="*/ 107 h 147"/>
                    <a:gd name="T46" fmla="*/ 123 w 163"/>
                    <a:gd name="T47" fmla="*/ 103 h 147"/>
                    <a:gd name="T48" fmla="*/ 125 w 163"/>
                    <a:gd name="T49" fmla="*/ 100 h 147"/>
                    <a:gd name="T50" fmla="*/ 123 w 163"/>
                    <a:gd name="T51" fmla="*/ 99 h 147"/>
                    <a:gd name="T52" fmla="*/ 124 w 163"/>
                    <a:gd name="T53" fmla="*/ 95 h 147"/>
                    <a:gd name="T54" fmla="*/ 127 w 163"/>
                    <a:gd name="T55" fmla="*/ 92 h 147"/>
                    <a:gd name="T56" fmla="*/ 132 w 163"/>
                    <a:gd name="T57" fmla="*/ 86 h 147"/>
                    <a:gd name="T58" fmla="*/ 135 w 163"/>
                    <a:gd name="T59" fmla="*/ 81 h 147"/>
                    <a:gd name="T60" fmla="*/ 135 w 163"/>
                    <a:gd name="T61" fmla="*/ 77 h 147"/>
                    <a:gd name="T62" fmla="*/ 137 w 163"/>
                    <a:gd name="T63" fmla="*/ 72 h 147"/>
                    <a:gd name="T64" fmla="*/ 138 w 163"/>
                    <a:gd name="T65" fmla="*/ 72 h 147"/>
                    <a:gd name="T66" fmla="*/ 140 w 163"/>
                    <a:gd name="T67" fmla="*/ 70 h 147"/>
                    <a:gd name="T68" fmla="*/ 141 w 163"/>
                    <a:gd name="T69" fmla="*/ 67 h 147"/>
                    <a:gd name="T70" fmla="*/ 143 w 163"/>
                    <a:gd name="T71" fmla="*/ 65 h 147"/>
                    <a:gd name="T72" fmla="*/ 147 w 163"/>
                    <a:gd name="T73" fmla="*/ 63 h 147"/>
                    <a:gd name="T74" fmla="*/ 146 w 163"/>
                    <a:gd name="T75" fmla="*/ 60 h 147"/>
                    <a:gd name="T76" fmla="*/ 148 w 163"/>
                    <a:gd name="T77" fmla="*/ 58 h 147"/>
                    <a:gd name="T78" fmla="*/ 150 w 163"/>
                    <a:gd name="T79" fmla="*/ 54 h 147"/>
                    <a:gd name="T80" fmla="*/ 150 w 163"/>
                    <a:gd name="T81" fmla="*/ 48 h 147"/>
                    <a:gd name="T82" fmla="*/ 150 w 163"/>
                    <a:gd name="T83" fmla="*/ 43 h 147"/>
                    <a:gd name="T84" fmla="*/ 153 w 163"/>
                    <a:gd name="T85" fmla="*/ 39 h 147"/>
                    <a:gd name="T86" fmla="*/ 156 w 163"/>
                    <a:gd name="T87" fmla="*/ 37 h 147"/>
                    <a:gd name="T88" fmla="*/ 156 w 163"/>
                    <a:gd name="T89" fmla="*/ 35 h 147"/>
                    <a:gd name="T90" fmla="*/ 157 w 163"/>
                    <a:gd name="T91" fmla="*/ 33 h 147"/>
                    <a:gd name="T92" fmla="*/ 157 w 163"/>
                    <a:gd name="T93" fmla="*/ 29 h 147"/>
                    <a:gd name="T94" fmla="*/ 160 w 163"/>
                    <a:gd name="T95" fmla="*/ 28 h 147"/>
                    <a:gd name="T96" fmla="*/ 161 w 163"/>
                    <a:gd name="T97" fmla="*/ 26 h 147"/>
                    <a:gd name="T98" fmla="*/ 162 w 163"/>
                    <a:gd name="T99" fmla="*/ 24 h 147"/>
                    <a:gd name="T100" fmla="*/ 163 w 163"/>
                    <a:gd name="T101" fmla="*/ 22 h 147"/>
                    <a:gd name="T102" fmla="*/ 163 w 163"/>
                    <a:gd name="T103" fmla="*/ 19 h 147"/>
                    <a:gd name="T104" fmla="*/ 138 w 163"/>
                    <a:gd name="T105" fmla="*/ 20 h 147"/>
                    <a:gd name="T106" fmla="*/ 148 w 163"/>
                    <a:gd name="T107" fmla="*/ 5 h 147"/>
                    <a:gd name="T108" fmla="*/ 147 w 163"/>
                    <a:gd name="T109" fmla="*/ 0 h 147"/>
                    <a:gd name="T110" fmla="*/ 0 w 163"/>
                    <a:gd name="T111" fmla="*/ 4 h 147"/>
                    <a:gd name="T112" fmla="*/ 7 w 163"/>
                    <a:gd name="T113" fmla="*/ 47 h 147"/>
                    <a:gd name="T114" fmla="*/ 6 w 163"/>
                    <a:gd name="T115"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47">
                      <a:moveTo>
                        <a:pt x="6" y="123"/>
                      </a:moveTo>
                      <a:lnTo>
                        <a:pt x="4" y="121"/>
                      </a:lnTo>
                      <a:lnTo>
                        <a:pt x="7" y="124"/>
                      </a:lnTo>
                      <a:lnTo>
                        <a:pt x="10" y="125"/>
                      </a:lnTo>
                      <a:lnTo>
                        <a:pt x="12" y="123"/>
                      </a:lnTo>
                      <a:lnTo>
                        <a:pt x="22" y="124"/>
                      </a:lnTo>
                      <a:lnTo>
                        <a:pt x="22" y="147"/>
                      </a:lnTo>
                      <a:lnTo>
                        <a:pt x="116" y="144"/>
                      </a:lnTo>
                      <a:lnTo>
                        <a:pt x="117" y="144"/>
                      </a:lnTo>
                      <a:lnTo>
                        <a:pt x="119" y="139"/>
                      </a:lnTo>
                      <a:lnTo>
                        <a:pt x="120" y="136"/>
                      </a:lnTo>
                      <a:lnTo>
                        <a:pt x="119" y="133"/>
                      </a:lnTo>
                      <a:lnTo>
                        <a:pt x="119" y="127"/>
                      </a:lnTo>
                      <a:lnTo>
                        <a:pt x="119" y="125"/>
                      </a:lnTo>
                      <a:lnTo>
                        <a:pt x="117" y="122"/>
                      </a:lnTo>
                      <a:lnTo>
                        <a:pt x="116" y="121"/>
                      </a:lnTo>
                      <a:lnTo>
                        <a:pt x="116" y="119"/>
                      </a:lnTo>
                      <a:lnTo>
                        <a:pt x="117" y="117"/>
                      </a:lnTo>
                      <a:lnTo>
                        <a:pt x="116" y="116"/>
                      </a:lnTo>
                      <a:lnTo>
                        <a:pt x="118" y="113"/>
                      </a:lnTo>
                      <a:lnTo>
                        <a:pt x="121" y="109"/>
                      </a:lnTo>
                      <a:lnTo>
                        <a:pt x="122" y="109"/>
                      </a:lnTo>
                      <a:lnTo>
                        <a:pt x="121" y="107"/>
                      </a:lnTo>
                      <a:lnTo>
                        <a:pt x="123" y="103"/>
                      </a:lnTo>
                      <a:lnTo>
                        <a:pt x="125" y="100"/>
                      </a:lnTo>
                      <a:lnTo>
                        <a:pt x="123" y="99"/>
                      </a:lnTo>
                      <a:lnTo>
                        <a:pt x="124" y="95"/>
                      </a:lnTo>
                      <a:lnTo>
                        <a:pt x="127" y="92"/>
                      </a:lnTo>
                      <a:lnTo>
                        <a:pt x="132" y="86"/>
                      </a:lnTo>
                      <a:lnTo>
                        <a:pt x="135" y="81"/>
                      </a:lnTo>
                      <a:lnTo>
                        <a:pt x="135" y="77"/>
                      </a:lnTo>
                      <a:lnTo>
                        <a:pt x="137" y="72"/>
                      </a:lnTo>
                      <a:lnTo>
                        <a:pt x="138" y="72"/>
                      </a:lnTo>
                      <a:lnTo>
                        <a:pt x="140" y="70"/>
                      </a:lnTo>
                      <a:lnTo>
                        <a:pt x="141" y="67"/>
                      </a:lnTo>
                      <a:lnTo>
                        <a:pt x="143" y="65"/>
                      </a:lnTo>
                      <a:lnTo>
                        <a:pt x="147" y="63"/>
                      </a:lnTo>
                      <a:lnTo>
                        <a:pt x="146" y="60"/>
                      </a:lnTo>
                      <a:lnTo>
                        <a:pt x="148" y="58"/>
                      </a:lnTo>
                      <a:lnTo>
                        <a:pt x="150" y="54"/>
                      </a:lnTo>
                      <a:lnTo>
                        <a:pt x="150" y="48"/>
                      </a:lnTo>
                      <a:lnTo>
                        <a:pt x="150" y="43"/>
                      </a:lnTo>
                      <a:lnTo>
                        <a:pt x="153" y="39"/>
                      </a:lnTo>
                      <a:lnTo>
                        <a:pt x="156" y="37"/>
                      </a:lnTo>
                      <a:lnTo>
                        <a:pt x="156" y="35"/>
                      </a:lnTo>
                      <a:lnTo>
                        <a:pt x="157" y="33"/>
                      </a:lnTo>
                      <a:lnTo>
                        <a:pt x="157" y="29"/>
                      </a:lnTo>
                      <a:lnTo>
                        <a:pt x="160" y="28"/>
                      </a:lnTo>
                      <a:lnTo>
                        <a:pt x="161" y="26"/>
                      </a:lnTo>
                      <a:lnTo>
                        <a:pt x="162" y="24"/>
                      </a:lnTo>
                      <a:lnTo>
                        <a:pt x="163" y="22"/>
                      </a:lnTo>
                      <a:lnTo>
                        <a:pt x="163" y="19"/>
                      </a:lnTo>
                      <a:lnTo>
                        <a:pt x="138" y="20"/>
                      </a:lnTo>
                      <a:lnTo>
                        <a:pt x="148" y="5"/>
                      </a:lnTo>
                      <a:lnTo>
                        <a:pt x="147" y="0"/>
                      </a:lnTo>
                      <a:lnTo>
                        <a:pt x="0" y="4"/>
                      </a:lnTo>
                      <a:lnTo>
                        <a:pt x="7" y="47"/>
                      </a:lnTo>
                      <a:lnTo>
                        <a:pt x="6" y="12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0" name="Freeform 89">
                  <a:extLst>
                    <a:ext uri="{FF2B5EF4-FFF2-40B4-BE49-F238E27FC236}">
                      <a16:creationId xmlns:a16="http://schemas.microsoft.com/office/drawing/2014/main" id="{341629BC-04E4-0243-19D2-B870E921800F}"/>
                    </a:ext>
                  </a:extLst>
                </p:cNvPr>
                <p:cNvSpPr>
                  <a:spLocks/>
                </p:cNvSpPr>
                <p:nvPr/>
              </p:nvSpPr>
              <p:spPr bwMode="auto">
                <a:xfrm>
                  <a:off x="7011664" y="2657257"/>
                  <a:ext cx="465458" cy="151779"/>
                </a:xfrm>
                <a:custGeom>
                  <a:avLst/>
                  <a:gdLst>
                    <a:gd name="T0" fmla="*/ 193 w 326"/>
                    <a:gd name="T1" fmla="*/ 14 h 107"/>
                    <a:gd name="T2" fmla="*/ 83 w 326"/>
                    <a:gd name="T3" fmla="*/ 21 h 107"/>
                    <a:gd name="T4" fmla="*/ 85 w 326"/>
                    <a:gd name="T5" fmla="*/ 31 h 107"/>
                    <a:gd name="T6" fmla="*/ 26 w 326"/>
                    <a:gd name="T7" fmla="*/ 32 h 107"/>
                    <a:gd name="T8" fmla="*/ 24 w 326"/>
                    <a:gd name="T9" fmla="*/ 33 h 107"/>
                    <a:gd name="T10" fmla="*/ 24 w 326"/>
                    <a:gd name="T11" fmla="*/ 36 h 107"/>
                    <a:gd name="T12" fmla="*/ 24 w 326"/>
                    <a:gd name="T13" fmla="*/ 39 h 107"/>
                    <a:gd name="T14" fmla="*/ 23 w 326"/>
                    <a:gd name="T15" fmla="*/ 42 h 107"/>
                    <a:gd name="T16" fmla="*/ 21 w 326"/>
                    <a:gd name="T17" fmla="*/ 43 h 107"/>
                    <a:gd name="T18" fmla="*/ 20 w 326"/>
                    <a:gd name="T19" fmla="*/ 45 h 107"/>
                    <a:gd name="T20" fmla="*/ 21 w 326"/>
                    <a:gd name="T21" fmla="*/ 46 h 107"/>
                    <a:gd name="T22" fmla="*/ 23 w 326"/>
                    <a:gd name="T23" fmla="*/ 50 h 107"/>
                    <a:gd name="T24" fmla="*/ 22 w 326"/>
                    <a:gd name="T25" fmla="*/ 52 h 107"/>
                    <a:gd name="T26" fmla="*/ 20 w 326"/>
                    <a:gd name="T27" fmla="*/ 55 h 107"/>
                    <a:gd name="T28" fmla="*/ 19 w 326"/>
                    <a:gd name="T29" fmla="*/ 58 h 107"/>
                    <a:gd name="T30" fmla="*/ 20 w 326"/>
                    <a:gd name="T31" fmla="*/ 58 h 107"/>
                    <a:gd name="T32" fmla="*/ 20 w 326"/>
                    <a:gd name="T33" fmla="*/ 62 h 107"/>
                    <a:gd name="T34" fmla="*/ 19 w 326"/>
                    <a:gd name="T35" fmla="*/ 64 h 107"/>
                    <a:gd name="T36" fmla="*/ 18 w 326"/>
                    <a:gd name="T37" fmla="*/ 66 h 107"/>
                    <a:gd name="T38" fmla="*/ 16 w 326"/>
                    <a:gd name="T39" fmla="*/ 69 h 107"/>
                    <a:gd name="T40" fmla="*/ 13 w 326"/>
                    <a:gd name="T41" fmla="*/ 70 h 107"/>
                    <a:gd name="T42" fmla="*/ 13 w 326"/>
                    <a:gd name="T43" fmla="*/ 75 h 107"/>
                    <a:gd name="T44" fmla="*/ 12 w 326"/>
                    <a:gd name="T45" fmla="*/ 77 h 107"/>
                    <a:gd name="T46" fmla="*/ 12 w 326"/>
                    <a:gd name="T47" fmla="*/ 79 h 107"/>
                    <a:gd name="T48" fmla="*/ 8 w 326"/>
                    <a:gd name="T49" fmla="*/ 82 h 107"/>
                    <a:gd name="T50" fmla="*/ 5 w 326"/>
                    <a:gd name="T51" fmla="*/ 87 h 107"/>
                    <a:gd name="T52" fmla="*/ 5 w 326"/>
                    <a:gd name="T53" fmla="*/ 92 h 107"/>
                    <a:gd name="T54" fmla="*/ 5 w 326"/>
                    <a:gd name="T55" fmla="*/ 99 h 107"/>
                    <a:gd name="T56" fmla="*/ 2 w 326"/>
                    <a:gd name="T57" fmla="*/ 104 h 107"/>
                    <a:gd name="T58" fmla="*/ 0 w 326"/>
                    <a:gd name="T59" fmla="*/ 107 h 107"/>
                    <a:gd name="T60" fmla="*/ 0 w 326"/>
                    <a:gd name="T61" fmla="*/ 107 h 107"/>
                    <a:gd name="T62" fmla="*/ 232 w 326"/>
                    <a:gd name="T63" fmla="*/ 89 h 107"/>
                    <a:gd name="T64" fmla="*/ 232 w 326"/>
                    <a:gd name="T65" fmla="*/ 89 h 107"/>
                    <a:gd name="T66" fmla="*/ 232 w 326"/>
                    <a:gd name="T67" fmla="*/ 88 h 107"/>
                    <a:gd name="T68" fmla="*/ 233 w 326"/>
                    <a:gd name="T69" fmla="*/ 82 h 107"/>
                    <a:gd name="T70" fmla="*/ 233 w 326"/>
                    <a:gd name="T71" fmla="*/ 79 h 107"/>
                    <a:gd name="T72" fmla="*/ 237 w 326"/>
                    <a:gd name="T73" fmla="*/ 75 h 107"/>
                    <a:gd name="T74" fmla="*/ 240 w 326"/>
                    <a:gd name="T75" fmla="*/ 75 h 107"/>
                    <a:gd name="T76" fmla="*/ 244 w 326"/>
                    <a:gd name="T77" fmla="*/ 72 h 107"/>
                    <a:gd name="T78" fmla="*/ 243 w 326"/>
                    <a:gd name="T79" fmla="*/ 68 h 107"/>
                    <a:gd name="T80" fmla="*/ 246 w 326"/>
                    <a:gd name="T81" fmla="*/ 64 h 107"/>
                    <a:gd name="T82" fmla="*/ 280 w 326"/>
                    <a:gd name="T83" fmla="*/ 44 h 107"/>
                    <a:gd name="T84" fmla="*/ 285 w 326"/>
                    <a:gd name="T85" fmla="*/ 41 h 107"/>
                    <a:gd name="T86" fmla="*/ 287 w 326"/>
                    <a:gd name="T87" fmla="*/ 37 h 107"/>
                    <a:gd name="T88" fmla="*/ 291 w 326"/>
                    <a:gd name="T89" fmla="*/ 31 h 107"/>
                    <a:gd name="T90" fmla="*/ 294 w 326"/>
                    <a:gd name="T91" fmla="*/ 31 h 107"/>
                    <a:gd name="T92" fmla="*/ 297 w 326"/>
                    <a:gd name="T93" fmla="*/ 35 h 107"/>
                    <a:gd name="T94" fmla="*/ 301 w 326"/>
                    <a:gd name="T95" fmla="*/ 31 h 107"/>
                    <a:gd name="T96" fmla="*/ 306 w 326"/>
                    <a:gd name="T97" fmla="*/ 25 h 107"/>
                    <a:gd name="T98" fmla="*/ 317 w 326"/>
                    <a:gd name="T99" fmla="*/ 23 h 107"/>
                    <a:gd name="T100" fmla="*/ 318 w 326"/>
                    <a:gd name="T101" fmla="*/ 19 h 107"/>
                    <a:gd name="T102" fmla="*/ 321 w 326"/>
                    <a:gd name="T103" fmla="*/ 14 h 107"/>
                    <a:gd name="T104" fmla="*/ 325 w 326"/>
                    <a:gd name="T105" fmla="*/ 12 h 107"/>
                    <a:gd name="T106" fmla="*/ 326 w 326"/>
                    <a:gd name="T107" fmla="*/ 12 h 107"/>
                    <a:gd name="T108" fmla="*/ 326 w 326"/>
                    <a:gd name="T109" fmla="*/ 0 h 107"/>
                    <a:gd name="T110" fmla="*/ 193 w 326"/>
                    <a:gd name="T111" fmla="*/ 1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07">
                      <a:moveTo>
                        <a:pt x="193" y="14"/>
                      </a:moveTo>
                      <a:cubicBezTo>
                        <a:pt x="83" y="21"/>
                        <a:pt x="83" y="21"/>
                        <a:pt x="83" y="21"/>
                      </a:cubicBezTo>
                      <a:cubicBezTo>
                        <a:pt x="85" y="31"/>
                        <a:pt x="85" y="31"/>
                        <a:pt x="85" y="31"/>
                      </a:cubicBezTo>
                      <a:cubicBezTo>
                        <a:pt x="26" y="32"/>
                        <a:pt x="26" y="32"/>
                        <a:pt x="26" y="32"/>
                      </a:cubicBezTo>
                      <a:cubicBezTo>
                        <a:pt x="24" y="33"/>
                        <a:pt x="24" y="33"/>
                        <a:pt x="24" y="33"/>
                      </a:cubicBezTo>
                      <a:cubicBezTo>
                        <a:pt x="24" y="36"/>
                        <a:pt x="24" y="36"/>
                        <a:pt x="24" y="36"/>
                      </a:cubicBezTo>
                      <a:cubicBezTo>
                        <a:pt x="24" y="39"/>
                        <a:pt x="24" y="39"/>
                        <a:pt x="24" y="39"/>
                      </a:cubicBezTo>
                      <a:cubicBezTo>
                        <a:pt x="23" y="42"/>
                        <a:pt x="23" y="42"/>
                        <a:pt x="23" y="42"/>
                      </a:cubicBezTo>
                      <a:cubicBezTo>
                        <a:pt x="21" y="43"/>
                        <a:pt x="21" y="43"/>
                        <a:pt x="21" y="43"/>
                      </a:cubicBezTo>
                      <a:cubicBezTo>
                        <a:pt x="20" y="45"/>
                        <a:pt x="20" y="45"/>
                        <a:pt x="20" y="45"/>
                      </a:cubicBezTo>
                      <a:cubicBezTo>
                        <a:pt x="21" y="46"/>
                        <a:pt x="21" y="46"/>
                        <a:pt x="21" y="46"/>
                      </a:cubicBezTo>
                      <a:cubicBezTo>
                        <a:pt x="21" y="46"/>
                        <a:pt x="23" y="49"/>
                        <a:pt x="23" y="50"/>
                      </a:cubicBezTo>
                      <a:cubicBezTo>
                        <a:pt x="24" y="51"/>
                        <a:pt x="22" y="52"/>
                        <a:pt x="22" y="52"/>
                      </a:cubicBezTo>
                      <a:cubicBezTo>
                        <a:pt x="20" y="55"/>
                        <a:pt x="20" y="55"/>
                        <a:pt x="20" y="55"/>
                      </a:cubicBezTo>
                      <a:cubicBezTo>
                        <a:pt x="19" y="58"/>
                        <a:pt x="19" y="58"/>
                        <a:pt x="19" y="58"/>
                      </a:cubicBezTo>
                      <a:cubicBezTo>
                        <a:pt x="20" y="58"/>
                        <a:pt x="20" y="58"/>
                        <a:pt x="20" y="58"/>
                      </a:cubicBezTo>
                      <a:cubicBezTo>
                        <a:pt x="20" y="62"/>
                        <a:pt x="20" y="62"/>
                        <a:pt x="20" y="62"/>
                      </a:cubicBezTo>
                      <a:cubicBezTo>
                        <a:pt x="19" y="64"/>
                        <a:pt x="19" y="64"/>
                        <a:pt x="19" y="64"/>
                      </a:cubicBezTo>
                      <a:cubicBezTo>
                        <a:pt x="18" y="66"/>
                        <a:pt x="18" y="66"/>
                        <a:pt x="18" y="66"/>
                      </a:cubicBezTo>
                      <a:cubicBezTo>
                        <a:pt x="16" y="69"/>
                        <a:pt x="16" y="69"/>
                        <a:pt x="16" y="69"/>
                      </a:cubicBezTo>
                      <a:cubicBezTo>
                        <a:pt x="13" y="70"/>
                        <a:pt x="13" y="70"/>
                        <a:pt x="13" y="70"/>
                      </a:cubicBezTo>
                      <a:cubicBezTo>
                        <a:pt x="13" y="75"/>
                        <a:pt x="13" y="75"/>
                        <a:pt x="13" y="75"/>
                      </a:cubicBezTo>
                      <a:cubicBezTo>
                        <a:pt x="12" y="77"/>
                        <a:pt x="12" y="77"/>
                        <a:pt x="12" y="77"/>
                      </a:cubicBezTo>
                      <a:cubicBezTo>
                        <a:pt x="12" y="79"/>
                        <a:pt x="12" y="79"/>
                        <a:pt x="12" y="79"/>
                      </a:cubicBezTo>
                      <a:cubicBezTo>
                        <a:pt x="8" y="82"/>
                        <a:pt x="8" y="82"/>
                        <a:pt x="8" y="82"/>
                      </a:cubicBezTo>
                      <a:cubicBezTo>
                        <a:pt x="5" y="87"/>
                        <a:pt x="5" y="87"/>
                        <a:pt x="5" y="87"/>
                      </a:cubicBezTo>
                      <a:cubicBezTo>
                        <a:pt x="5" y="92"/>
                        <a:pt x="5" y="92"/>
                        <a:pt x="5" y="92"/>
                      </a:cubicBezTo>
                      <a:cubicBezTo>
                        <a:pt x="5" y="99"/>
                        <a:pt x="5" y="99"/>
                        <a:pt x="5" y="99"/>
                      </a:cubicBezTo>
                      <a:cubicBezTo>
                        <a:pt x="2" y="104"/>
                        <a:pt x="2" y="104"/>
                        <a:pt x="2" y="104"/>
                      </a:cubicBezTo>
                      <a:cubicBezTo>
                        <a:pt x="0" y="107"/>
                        <a:pt x="0" y="107"/>
                        <a:pt x="0" y="107"/>
                      </a:cubicBezTo>
                      <a:cubicBezTo>
                        <a:pt x="0" y="107"/>
                        <a:pt x="0" y="107"/>
                        <a:pt x="0" y="107"/>
                      </a:cubicBezTo>
                      <a:cubicBezTo>
                        <a:pt x="232" y="89"/>
                        <a:pt x="232" y="89"/>
                        <a:pt x="232" y="89"/>
                      </a:cubicBezTo>
                      <a:cubicBezTo>
                        <a:pt x="232" y="89"/>
                        <a:pt x="232" y="89"/>
                        <a:pt x="232" y="89"/>
                      </a:cubicBezTo>
                      <a:cubicBezTo>
                        <a:pt x="232" y="88"/>
                        <a:pt x="232" y="88"/>
                        <a:pt x="232" y="88"/>
                      </a:cubicBezTo>
                      <a:cubicBezTo>
                        <a:pt x="233" y="82"/>
                        <a:pt x="233" y="82"/>
                        <a:pt x="233" y="82"/>
                      </a:cubicBezTo>
                      <a:cubicBezTo>
                        <a:pt x="233" y="79"/>
                        <a:pt x="233" y="79"/>
                        <a:pt x="233" y="79"/>
                      </a:cubicBezTo>
                      <a:cubicBezTo>
                        <a:pt x="237" y="75"/>
                        <a:pt x="237" y="75"/>
                        <a:pt x="237" y="75"/>
                      </a:cubicBezTo>
                      <a:cubicBezTo>
                        <a:pt x="240" y="75"/>
                        <a:pt x="240" y="75"/>
                        <a:pt x="240" y="75"/>
                      </a:cubicBezTo>
                      <a:cubicBezTo>
                        <a:pt x="244" y="72"/>
                        <a:pt x="244" y="72"/>
                        <a:pt x="244" y="72"/>
                      </a:cubicBezTo>
                      <a:cubicBezTo>
                        <a:pt x="243" y="68"/>
                        <a:pt x="243" y="68"/>
                        <a:pt x="243" y="68"/>
                      </a:cubicBezTo>
                      <a:cubicBezTo>
                        <a:pt x="246" y="64"/>
                        <a:pt x="246" y="64"/>
                        <a:pt x="246" y="64"/>
                      </a:cubicBezTo>
                      <a:cubicBezTo>
                        <a:pt x="280" y="44"/>
                        <a:pt x="280" y="44"/>
                        <a:pt x="280" y="44"/>
                      </a:cubicBezTo>
                      <a:cubicBezTo>
                        <a:pt x="285" y="41"/>
                        <a:pt x="285" y="41"/>
                        <a:pt x="285" y="41"/>
                      </a:cubicBezTo>
                      <a:cubicBezTo>
                        <a:pt x="287" y="37"/>
                        <a:pt x="287" y="37"/>
                        <a:pt x="287" y="37"/>
                      </a:cubicBezTo>
                      <a:cubicBezTo>
                        <a:pt x="291" y="31"/>
                        <a:pt x="291" y="31"/>
                        <a:pt x="291" y="31"/>
                      </a:cubicBezTo>
                      <a:cubicBezTo>
                        <a:pt x="294" y="31"/>
                        <a:pt x="294" y="31"/>
                        <a:pt x="294" y="31"/>
                      </a:cubicBezTo>
                      <a:cubicBezTo>
                        <a:pt x="297" y="35"/>
                        <a:pt x="297" y="35"/>
                        <a:pt x="297" y="35"/>
                      </a:cubicBezTo>
                      <a:cubicBezTo>
                        <a:pt x="301" y="31"/>
                        <a:pt x="301" y="31"/>
                        <a:pt x="301" y="31"/>
                      </a:cubicBezTo>
                      <a:cubicBezTo>
                        <a:pt x="306" y="25"/>
                        <a:pt x="306" y="25"/>
                        <a:pt x="306" y="25"/>
                      </a:cubicBezTo>
                      <a:cubicBezTo>
                        <a:pt x="317" y="23"/>
                        <a:pt x="317" y="23"/>
                        <a:pt x="317" y="23"/>
                      </a:cubicBezTo>
                      <a:cubicBezTo>
                        <a:pt x="318" y="19"/>
                        <a:pt x="318" y="19"/>
                        <a:pt x="318" y="19"/>
                      </a:cubicBezTo>
                      <a:cubicBezTo>
                        <a:pt x="321" y="14"/>
                        <a:pt x="321" y="14"/>
                        <a:pt x="321" y="14"/>
                      </a:cubicBezTo>
                      <a:cubicBezTo>
                        <a:pt x="325" y="12"/>
                        <a:pt x="325" y="12"/>
                        <a:pt x="325" y="12"/>
                      </a:cubicBezTo>
                      <a:cubicBezTo>
                        <a:pt x="326" y="12"/>
                        <a:pt x="326" y="12"/>
                        <a:pt x="326" y="12"/>
                      </a:cubicBezTo>
                      <a:cubicBezTo>
                        <a:pt x="326" y="0"/>
                        <a:pt x="326" y="0"/>
                        <a:pt x="326" y="0"/>
                      </a:cubicBezTo>
                      <a:lnTo>
                        <a:pt x="193" y="1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1" name="Freeform 90">
                  <a:extLst>
                    <a:ext uri="{FF2B5EF4-FFF2-40B4-BE49-F238E27FC236}">
                      <a16:creationId xmlns:a16="http://schemas.microsoft.com/office/drawing/2014/main" id="{FEBF22B3-4CB6-BF9C-31D6-C4D8263AB378}"/>
                    </a:ext>
                  </a:extLst>
                </p:cNvPr>
                <p:cNvSpPr>
                  <a:spLocks/>
                </p:cNvSpPr>
                <p:nvPr/>
              </p:nvSpPr>
              <p:spPr bwMode="auto">
                <a:xfrm>
                  <a:off x="7342207" y="2606663"/>
                  <a:ext cx="465458" cy="205746"/>
                </a:xfrm>
                <a:custGeom>
                  <a:avLst/>
                  <a:gdLst>
                    <a:gd name="T0" fmla="*/ 320 w 326"/>
                    <a:gd name="T1" fmla="*/ 28 h 144"/>
                    <a:gd name="T2" fmla="*/ 315 w 326"/>
                    <a:gd name="T3" fmla="*/ 38 h 144"/>
                    <a:gd name="T4" fmla="*/ 311 w 326"/>
                    <a:gd name="T5" fmla="*/ 32 h 144"/>
                    <a:gd name="T6" fmla="*/ 300 w 326"/>
                    <a:gd name="T7" fmla="*/ 30 h 144"/>
                    <a:gd name="T8" fmla="*/ 289 w 326"/>
                    <a:gd name="T9" fmla="*/ 35 h 144"/>
                    <a:gd name="T10" fmla="*/ 285 w 326"/>
                    <a:gd name="T11" fmla="*/ 32 h 144"/>
                    <a:gd name="T12" fmla="*/ 282 w 326"/>
                    <a:gd name="T13" fmla="*/ 25 h 144"/>
                    <a:gd name="T14" fmla="*/ 281 w 326"/>
                    <a:gd name="T15" fmla="*/ 18 h 144"/>
                    <a:gd name="T16" fmla="*/ 284 w 326"/>
                    <a:gd name="T17" fmla="*/ 20 h 144"/>
                    <a:gd name="T18" fmla="*/ 290 w 326"/>
                    <a:gd name="T19" fmla="*/ 29 h 144"/>
                    <a:gd name="T20" fmla="*/ 295 w 326"/>
                    <a:gd name="T21" fmla="*/ 26 h 144"/>
                    <a:gd name="T22" fmla="*/ 305 w 326"/>
                    <a:gd name="T23" fmla="*/ 22 h 144"/>
                    <a:gd name="T24" fmla="*/ 306 w 326"/>
                    <a:gd name="T25" fmla="*/ 16 h 144"/>
                    <a:gd name="T26" fmla="*/ 303 w 326"/>
                    <a:gd name="T27" fmla="*/ 12 h 144"/>
                    <a:gd name="T28" fmla="*/ 312 w 326"/>
                    <a:gd name="T29" fmla="*/ 14 h 144"/>
                    <a:gd name="T30" fmla="*/ 308 w 326"/>
                    <a:gd name="T31" fmla="*/ 4 h 144"/>
                    <a:gd name="T32" fmla="*/ 155 w 326"/>
                    <a:gd name="T33" fmla="*/ 28 h 144"/>
                    <a:gd name="T34" fmla="*/ 93 w 326"/>
                    <a:gd name="T35" fmla="*/ 47 h 144"/>
                    <a:gd name="T36" fmla="*/ 85 w 326"/>
                    <a:gd name="T37" fmla="*/ 58 h 144"/>
                    <a:gd name="T38" fmla="*/ 65 w 326"/>
                    <a:gd name="T39" fmla="*/ 70 h 144"/>
                    <a:gd name="T40" fmla="*/ 55 w 326"/>
                    <a:gd name="T41" fmla="*/ 72 h 144"/>
                    <a:gd name="T42" fmla="*/ 14 w 326"/>
                    <a:gd name="T43" fmla="*/ 99 h 144"/>
                    <a:gd name="T44" fmla="*/ 8 w 326"/>
                    <a:gd name="T45" fmla="*/ 110 h 144"/>
                    <a:gd name="T46" fmla="*/ 1 w 326"/>
                    <a:gd name="T47" fmla="*/ 117 h 144"/>
                    <a:gd name="T48" fmla="*/ 0 w 326"/>
                    <a:gd name="T49" fmla="*/ 124 h 144"/>
                    <a:gd name="T50" fmla="*/ 83 w 326"/>
                    <a:gd name="T51" fmla="*/ 104 h 144"/>
                    <a:gd name="T52" fmla="*/ 108 w 326"/>
                    <a:gd name="T53" fmla="*/ 105 h 144"/>
                    <a:gd name="T54" fmla="*/ 123 w 326"/>
                    <a:gd name="T55" fmla="*/ 100 h 144"/>
                    <a:gd name="T56" fmla="*/ 142 w 326"/>
                    <a:gd name="T57" fmla="*/ 114 h 144"/>
                    <a:gd name="T58" fmla="*/ 243 w 326"/>
                    <a:gd name="T59" fmla="*/ 140 h 144"/>
                    <a:gd name="T60" fmla="*/ 256 w 326"/>
                    <a:gd name="T61" fmla="*/ 136 h 144"/>
                    <a:gd name="T62" fmla="*/ 263 w 326"/>
                    <a:gd name="T63" fmla="*/ 117 h 144"/>
                    <a:gd name="T64" fmla="*/ 271 w 326"/>
                    <a:gd name="T65" fmla="*/ 106 h 144"/>
                    <a:gd name="T66" fmla="*/ 270 w 326"/>
                    <a:gd name="T67" fmla="*/ 100 h 144"/>
                    <a:gd name="T68" fmla="*/ 272 w 326"/>
                    <a:gd name="T69" fmla="*/ 97 h 144"/>
                    <a:gd name="T70" fmla="*/ 278 w 326"/>
                    <a:gd name="T71" fmla="*/ 100 h 144"/>
                    <a:gd name="T72" fmla="*/ 281 w 326"/>
                    <a:gd name="T73" fmla="*/ 95 h 144"/>
                    <a:gd name="T74" fmla="*/ 285 w 326"/>
                    <a:gd name="T75" fmla="*/ 95 h 144"/>
                    <a:gd name="T76" fmla="*/ 296 w 326"/>
                    <a:gd name="T77" fmla="*/ 91 h 144"/>
                    <a:gd name="T78" fmla="*/ 301 w 326"/>
                    <a:gd name="T79" fmla="*/ 87 h 144"/>
                    <a:gd name="T80" fmla="*/ 308 w 326"/>
                    <a:gd name="T81" fmla="*/ 81 h 144"/>
                    <a:gd name="T82" fmla="*/ 308 w 326"/>
                    <a:gd name="T83" fmla="*/ 75 h 144"/>
                    <a:gd name="T84" fmla="*/ 301 w 326"/>
                    <a:gd name="T85" fmla="*/ 78 h 144"/>
                    <a:gd name="T86" fmla="*/ 291 w 326"/>
                    <a:gd name="T87" fmla="*/ 83 h 144"/>
                    <a:gd name="T88" fmla="*/ 283 w 326"/>
                    <a:gd name="T89" fmla="*/ 77 h 144"/>
                    <a:gd name="T90" fmla="*/ 288 w 326"/>
                    <a:gd name="T91" fmla="*/ 77 h 144"/>
                    <a:gd name="T92" fmla="*/ 296 w 326"/>
                    <a:gd name="T93" fmla="*/ 73 h 144"/>
                    <a:gd name="T94" fmla="*/ 297 w 326"/>
                    <a:gd name="T95" fmla="*/ 68 h 144"/>
                    <a:gd name="T96" fmla="*/ 296 w 326"/>
                    <a:gd name="T97" fmla="*/ 64 h 144"/>
                    <a:gd name="T98" fmla="*/ 280 w 326"/>
                    <a:gd name="T99" fmla="*/ 58 h 144"/>
                    <a:gd name="T100" fmla="*/ 290 w 326"/>
                    <a:gd name="T101" fmla="*/ 57 h 144"/>
                    <a:gd name="T102" fmla="*/ 294 w 326"/>
                    <a:gd name="T103" fmla="*/ 55 h 144"/>
                    <a:gd name="T104" fmla="*/ 294 w 326"/>
                    <a:gd name="T105" fmla="*/ 51 h 144"/>
                    <a:gd name="T106" fmla="*/ 300 w 326"/>
                    <a:gd name="T107" fmla="*/ 58 h 144"/>
                    <a:gd name="T108" fmla="*/ 306 w 326"/>
                    <a:gd name="T109" fmla="*/ 58 h 144"/>
                    <a:gd name="T110" fmla="*/ 317 w 326"/>
                    <a:gd name="T111" fmla="*/ 57 h 144"/>
                    <a:gd name="T112" fmla="*/ 319 w 326"/>
                    <a:gd name="T113" fmla="*/ 48 h 144"/>
                    <a:gd name="T114" fmla="*/ 322 w 326"/>
                    <a:gd name="T115" fmla="*/ 42 h 144"/>
                    <a:gd name="T116" fmla="*/ 325 w 326"/>
                    <a:gd name="T117"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144">
                      <a:moveTo>
                        <a:pt x="324" y="34"/>
                      </a:moveTo>
                      <a:cubicBezTo>
                        <a:pt x="322" y="31"/>
                        <a:pt x="322" y="31"/>
                        <a:pt x="322" y="31"/>
                      </a:cubicBezTo>
                      <a:cubicBezTo>
                        <a:pt x="320" y="28"/>
                        <a:pt x="320" y="28"/>
                        <a:pt x="320" y="28"/>
                      </a:cubicBezTo>
                      <a:cubicBezTo>
                        <a:pt x="317" y="28"/>
                        <a:pt x="317" y="28"/>
                        <a:pt x="317" y="28"/>
                      </a:cubicBezTo>
                      <a:cubicBezTo>
                        <a:pt x="316" y="29"/>
                        <a:pt x="316" y="29"/>
                        <a:pt x="316" y="29"/>
                      </a:cubicBezTo>
                      <a:cubicBezTo>
                        <a:pt x="315" y="38"/>
                        <a:pt x="315" y="38"/>
                        <a:pt x="315" y="38"/>
                      </a:cubicBezTo>
                      <a:cubicBezTo>
                        <a:pt x="315" y="40"/>
                        <a:pt x="315" y="40"/>
                        <a:pt x="315" y="40"/>
                      </a:cubicBezTo>
                      <a:cubicBezTo>
                        <a:pt x="312" y="38"/>
                        <a:pt x="312" y="38"/>
                        <a:pt x="312" y="38"/>
                      </a:cubicBezTo>
                      <a:cubicBezTo>
                        <a:pt x="311" y="32"/>
                        <a:pt x="311" y="32"/>
                        <a:pt x="311" y="32"/>
                      </a:cubicBezTo>
                      <a:cubicBezTo>
                        <a:pt x="309" y="28"/>
                        <a:pt x="309" y="28"/>
                        <a:pt x="309" y="28"/>
                      </a:cubicBezTo>
                      <a:cubicBezTo>
                        <a:pt x="306" y="27"/>
                        <a:pt x="306" y="27"/>
                        <a:pt x="306" y="27"/>
                      </a:cubicBezTo>
                      <a:cubicBezTo>
                        <a:pt x="300" y="30"/>
                        <a:pt x="300" y="30"/>
                        <a:pt x="300" y="30"/>
                      </a:cubicBezTo>
                      <a:cubicBezTo>
                        <a:pt x="298" y="30"/>
                        <a:pt x="298" y="30"/>
                        <a:pt x="298" y="30"/>
                      </a:cubicBezTo>
                      <a:cubicBezTo>
                        <a:pt x="292" y="32"/>
                        <a:pt x="292" y="32"/>
                        <a:pt x="292" y="32"/>
                      </a:cubicBezTo>
                      <a:cubicBezTo>
                        <a:pt x="289" y="35"/>
                        <a:pt x="289" y="35"/>
                        <a:pt x="289" y="35"/>
                      </a:cubicBezTo>
                      <a:cubicBezTo>
                        <a:pt x="286" y="39"/>
                        <a:pt x="286" y="39"/>
                        <a:pt x="286" y="39"/>
                      </a:cubicBezTo>
                      <a:cubicBezTo>
                        <a:pt x="285" y="37"/>
                        <a:pt x="285" y="37"/>
                        <a:pt x="285" y="37"/>
                      </a:cubicBezTo>
                      <a:cubicBezTo>
                        <a:pt x="285" y="32"/>
                        <a:pt x="285" y="32"/>
                        <a:pt x="285" y="32"/>
                      </a:cubicBezTo>
                      <a:cubicBezTo>
                        <a:pt x="285" y="30"/>
                        <a:pt x="285" y="30"/>
                        <a:pt x="285" y="30"/>
                      </a:cubicBezTo>
                      <a:cubicBezTo>
                        <a:pt x="283" y="27"/>
                        <a:pt x="283" y="27"/>
                        <a:pt x="283" y="27"/>
                      </a:cubicBezTo>
                      <a:cubicBezTo>
                        <a:pt x="282" y="25"/>
                        <a:pt x="282" y="25"/>
                        <a:pt x="282" y="25"/>
                      </a:cubicBezTo>
                      <a:cubicBezTo>
                        <a:pt x="281" y="23"/>
                        <a:pt x="281" y="23"/>
                        <a:pt x="281" y="23"/>
                      </a:cubicBezTo>
                      <a:cubicBezTo>
                        <a:pt x="281" y="20"/>
                        <a:pt x="281" y="20"/>
                        <a:pt x="281" y="20"/>
                      </a:cubicBezTo>
                      <a:cubicBezTo>
                        <a:pt x="281" y="18"/>
                        <a:pt x="281" y="18"/>
                        <a:pt x="281" y="18"/>
                      </a:cubicBezTo>
                      <a:cubicBezTo>
                        <a:pt x="283" y="16"/>
                        <a:pt x="283" y="16"/>
                        <a:pt x="283" y="16"/>
                      </a:cubicBezTo>
                      <a:cubicBezTo>
                        <a:pt x="283" y="16"/>
                        <a:pt x="283" y="16"/>
                        <a:pt x="283" y="16"/>
                      </a:cubicBezTo>
                      <a:cubicBezTo>
                        <a:pt x="284" y="20"/>
                        <a:pt x="284" y="20"/>
                        <a:pt x="284" y="20"/>
                      </a:cubicBezTo>
                      <a:cubicBezTo>
                        <a:pt x="285" y="26"/>
                        <a:pt x="285" y="26"/>
                        <a:pt x="285" y="26"/>
                      </a:cubicBezTo>
                      <a:cubicBezTo>
                        <a:pt x="287" y="31"/>
                        <a:pt x="287" y="31"/>
                        <a:pt x="287" y="31"/>
                      </a:cubicBezTo>
                      <a:cubicBezTo>
                        <a:pt x="290" y="29"/>
                        <a:pt x="290" y="29"/>
                        <a:pt x="290" y="29"/>
                      </a:cubicBezTo>
                      <a:cubicBezTo>
                        <a:pt x="291" y="28"/>
                        <a:pt x="291" y="28"/>
                        <a:pt x="291" y="28"/>
                      </a:cubicBezTo>
                      <a:cubicBezTo>
                        <a:pt x="294" y="26"/>
                        <a:pt x="294" y="26"/>
                        <a:pt x="294" y="26"/>
                      </a:cubicBezTo>
                      <a:cubicBezTo>
                        <a:pt x="295" y="26"/>
                        <a:pt x="295" y="26"/>
                        <a:pt x="295" y="26"/>
                      </a:cubicBezTo>
                      <a:cubicBezTo>
                        <a:pt x="299" y="24"/>
                        <a:pt x="299" y="24"/>
                        <a:pt x="299" y="24"/>
                      </a:cubicBezTo>
                      <a:cubicBezTo>
                        <a:pt x="300" y="22"/>
                        <a:pt x="300" y="22"/>
                        <a:pt x="300" y="22"/>
                      </a:cubicBezTo>
                      <a:cubicBezTo>
                        <a:pt x="305" y="22"/>
                        <a:pt x="305" y="22"/>
                        <a:pt x="305" y="22"/>
                      </a:cubicBezTo>
                      <a:cubicBezTo>
                        <a:pt x="306" y="19"/>
                        <a:pt x="306" y="19"/>
                        <a:pt x="306" y="19"/>
                      </a:cubicBezTo>
                      <a:cubicBezTo>
                        <a:pt x="307" y="18"/>
                        <a:pt x="307" y="18"/>
                        <a:pt x="307" y="18"/>
                      </a:cubicBezTo>
                      <a:cubicBezTo>
                        <a:pt x="307" y="18"/>
                        <a:pt x="306" y="17"/>
                        <a:pt x="306" y="16"/>
                      </a:cubicBezTo>
                      <a:cubicBezTo>
                        <a:pt x="305" y="16"/>
                        <a:pt x="305" y="16"/>
                        <a:pt x="305" y="16"/>
                      </a:cubicBezTo>
                      <a:cubicBezTo>
                        <a:pt x="303" y="13"/>
                        <a:pt x="303" y="13"/>
                        <a:pt x="303" y="13"/>
                      </a:cubicBezTo>
                      <a:cubicBezTo>
                        <a:pt x="303" y="12"/>
                        <a:pt x="303" y="12"/>
                        <a:pt x="303" y="12"/>
                      </a:cubicBezTo>
                      <a:cubicBezTo>
                        <a:pt x="304" y="12"/>
                        <a:pt x="304" y="12"/>
                        <a:pt x="304" y="12"/>
                      </a:cubicBezTo>
                      <a:cubicBezTo>
                        <a:pt x="309" y="14"/>
                        <a:pt x="309" y="14"/>
                        <a:pt x="309" y="14"/>
                      </a:cubicBezTo>
                      <a:cubicBezTo>
                        <a:pt x="312" y="14"/>
                        <a:pt x="312" y="14"/>
                        <a:pt x="312" y="14"/>
                      </a:cubicBezTo>
                      <a:cubicBezTo>
                        <a:pt x="312" y="11"/>
                        <a:pt x="312" y="11"/>
                        <a:pt x="312" y="11"/>
                      </a:cubicBezTo>
                      <a:cubicBezTo>
                        <a:pt x="309" y="7"/>
                        <a:pt x="309" y="7"/>
                        <a:pt x="309" y="7"/>
                      </a:cubicBezTo>
                      <a:cubicBezTo>
                        <a:pt x="308" y="4"/>
                        <a:pt x="308" y="4"/>
                        <a:pt x="308" y="4"/>
                      </a:cubicBezTo>
                      <a:cubicBezTo>
                        <a:pt x="305" y="0"/>
                        <a:pt x="305" y="0"/>
                        <a:pt x="305" y="0"/>
                      </a:cubicBezTo>
                      <a:cubicBezTo>
                        <a:pt x="218" y="18"/>
                        <a:pt x="218" y="18"/>
                        <a:pt x="218" y="18"/>
                      </a:cubicBezTo>
                      <a:cubicBezTo>
                        <a:pt x="155" y="28"/>
                        <a:pt x="155" y="28"/>
                        <a:pt x="155" y="28"/>
                      </a:cubicBezTo>
                      <a:cubicBezTo>
                        <a:pt x="94" y="35"/>
                        <a:pt x="94" y="35"/>
                        <a:pt x="94" y="35"/>
                      </a:cubicBezTo>
                      <a:cubicBezTo>
                        <a:pt x="94" y="47"/>
                        <a:pt x="94" y="47"/>
                        <a:pt x="94" y="47"/>
                      </a:cubicBezTo>
                      <a:cubicBezTo>
                        <a:pt x="93" y="47"/>
                        <a:pt x="93" y="47"/>
                        <a:pt x="93" y="47"/>
                      </a:cubicBezTo>
                      <a:cubicBezTo>
                        <a:pt x="89" y="49"/>
                        <a:pt x="89" y="49"/>
                        <a:pt x="89" y="49"/>
                      </a:cubicBezTo>
                      <a:cubicBezTo>
                        <a:pt x="86" y="54"/>
                        <a:pt x="86" y="54"/>
                        <a:pt x="86" y="54"/>
                      </a:cubicBezTo>
                      <a:cubicBezTo>
                        <a:pt x="85" y="58"/>
                        <a:pt x="85" y="58"/>
                        <a:pt x="85" y="58"/>
                      </a:cubicBezTo>
                      <a:cubicBezTo>
                        <a:pt x="74" y="60"/>
                        <a:pt x="74" y="60"/>
                        <a:pt x="74" y="60"/>
                      </a:cubicBezTo>
                      <a:cubicBezTo>
                        <a:pt x="69" y="66"/>
                        <a:pt x="69" y="66"/>
                        <a:pt x="69" y="66"/>
                      </a:cubicBezTo>
                      <a:cubicBezTo>
                        <a:pt x="65" y="70"/>
                        <a:pt x="65" y="70"/>
                        <a:pt x="65" y="70"/>
                      </a:cubicBezTo>
                      <a:cubicBezTo>
                        <a:pt x="62" y="66"/>
                        <a:pt x="62" y="66"/>
                        <a:pt x="62" y="66"/>
                      </a:cubicBezTo>
                      <a:cubicBezTo>
                        <a:pt x="59" y="66"/>
                        <a:pt x="59" y="66"/>
                        <a:pt x="59" y="66"/>
                      </a:cubicBezTo>
                      <a:cubicBezTo>
                        <a:pt x="55" y="72"/>
                        <a:pt x="55" y="72"/>
                        <a:pt x="55" y="72"/>
                      </a:cubicBezTo>
                      <a:cubicBezTo>
                        <a:pt x="53" y="76"/>
                        <a:pt x="53" y="76"/>
                        <a:pt x="53" y="76"/>
                      </a:cubicBezTo>
                      <a:cubicBezTo>
                        <a:pt x="48" y="79"/>
                        <a:pt x="48" y="79"/>
                        <a:pt x="48" y="79"/>
                      </a:cubicBezTo>
                      <a:cubicBezTo>
                        <a:pt x="14" y="99"/>
                        <a:pt x="14" y="99"/>
                        <a:pt x="14" y="99"/>
                      </a:cubicBezTo>
                      <a:cubicBezTo>
                        <a:pt x="11" y="103"/>
                        <a:pt x="11" y="103"/>
                        <a:pt x="11" y="103"/>
                      </a:cubicBezTo>
                      <a:cubicBezTo>
                        <a:pt x="12" y="107"/>
                        <a:pt x="12" y="107"/>
                        <a:pt x="12" y="107"/>
                      </a:cubicBezTo>
                      <a:cubicBezTo>
                        <a:pt x="8" y="110"/>
                        <a:pt x="8" y="110"/>
                        <a:pt x="8" y="110"/>
                      </a:cubicBezTo>
                      <a:cubicBezTo>
                        <a:pt x="5" y="110"/>
                        <a:pt x="5" y="110"/>
                        <a:pt x="5" y="110"/>
                      </a:cubicBezTo>
                      <a:cubicBezTo>
                        <a:pt x="1" y="114"/>
                        <a:pt x="1" y="114"/>
                        <a:pt x="1" y="114"/>
                      </a:cubicBezTo>
                      <a:cubicBezTo>
                        <a:pt x="1" y="117"/>
                        <a:pt x="1" y="117"/>
                        <a:pt x="1" y="117"/>
                      </a:cubicBezTo>
                      <a:cubicBezTo>
                        <a:pt x="0" y="123"/>
                        <a:pt x="0" y="123"/>
                        <a:pt x="0" y="123"/>
                      </a:cubicBezTo>
                      <a:cubicBezTo>
                        <a:pt x="0" y="124"/>
                        <a:pt x="0" y="124"/>
                        <a:pt x="0" y="124"/>
                      </a:cubicBezTo>
                      <a:cubicBezTo>
                        <a:pt x="0" y="124"/>
                        <a:pt x="0" y="124"/>
                        <a:pt x="0" y="124"/>
                      </a:cubicBezTo>
                      <a:cubicBezTo>
                        <a:pt x="56" y="118"/>
                        <a:pt x="56" y="118"/>
                        <a:pt x="56" y="118"/>
                      </a:cubicBezTo>
                      <a:cubicBezTo>
                        <a:pt x="73" y="105"/>
                        <a:pt x="73" y="105"/>
                        <a:pt x="73" y="105"/>
                      </a:cubicBezTo>
                      <a:cubicBezTo>
                        <a:pt x="83" y="104"/>
                        <a:pt x="83" y="104"/>
                        <a:pt x="83" y="104"/>
                      </a:cubicBezTo>
                      <a:cubicBezTo>
                        <a:pt x="90" y="104"/>
                        <a:pt x="90" y="104"/>
                        <a:pt x="90" y="104"/>
                      </a:cubicBezTo>
                      <a:cubicBezTo>
                        <a:pt x="102" y="106"/>
                        <a:pt x="102" y="106"/>
                        <a:pt x="102" y="106"/>
                      </a:cubicBezTo>
                      <a:cubicBezTo>
                        <a:pt x="108" y="105"/>
                        <a:pt x="108" y="105"/>
                        <a:pt x="108" y="105"/>
                      </a:cubicBezTo>
                      <a:cubicBezTo>
                        <a:pt x="111" y="104"/>
                        <a:pt x="111" y="104"/>
                        <a:pt x="111" y="104"/>
                      </a:cubicBezTo>
                      <a:cubicBezTo>
                        <a:pt x="116" y="101"/>
                        <a:pt x="116" y="101"/>
                        <a:pt x="116" y="101"/>
                      </a:cubicBezTo>
                      <a:cubicBezTo>
                        <a:pt x="123" y="100"/>
                        <a:pt x="123" y="100"/>
                        <a:pt x="123" y="100"/>
                      </a:cubicBezTo>
                      <a:cubicBezTo>
                        <a:pt x="132" y="101"/>
                        <a:pt x="132" y="101"/>
                        <a:pt x="132" y="101"/>
                      </a:cubicBezTo>
                      <a:cubicBezTo>
                        <a:pt x="138" y="104"/>
                        <a:pt x="138" y="104"/>
                        <a:pt x="138" y="104"/>
                      </a:cubicBezTo>
                      <a:cubicBezTo>
                        <a:pt x="142" y="114"/>
                        <a:pt x="142" y="114"/>
                        <a:pt x="142" y="114"/>
                      </a:cubicBezTo>
                      <a:cubicBezTo>
                        <a:pt x="182" y="106"/>
                        <a:pt x="182" y="106"/>
                        <a:pt x="182" y="106"/>
                      </a:cubicBezTo>
                      <a:cubicBezTo>
                        <a:pt x="234" y="144"/>
                        <a:pt x="234" y="144"/>
                        <a:pt x="234" y="144"/>
                      </a:cubicBezTo>
                      <a:cubicBezTo>
                        <a:pt x="243" y="140"/>
                        <a:pt x="243" y="140"/>
                        <a:pt x="243" y="140"/>
                      </a:cubicBezTo>
                      <a:cubicBezTo>
                        <a:pt x="245" y="140"/>
                        <a:pt x="245" y="140"/>
                        <a:pt x="245" y="140"/>
                      </a:cubicBezTo>
                      <a:cubicBezTo>
                        <a:pt x="254" y="139"/>
                        <a:pt x="254" y="139"/>
                        <a:pt x="254" y="139"/>
                      </a:cubicBezTo>
                      <a:cubicBezTo>
                        <a:pt x="256" y="136"/>
                        <a:pt x="256" y="136"/>
                        <a:pt x="256" y="136"/>
                      </a:cubicBezTo>
                      <a:cubicBezTo>
                        <a:pt x="259" y="133"/>
                        <a:pt x="259" y="133"/>
                        <a:pt x="259" y="133"/>
                      </a:cubicBezTo>
                      <a:cubicBezTo>
                        <a:pt x="260" y="124"/>
                        <a:pt x="260" y="124"/>
                        <a:pt x="260" y="124"/>
                      </a:cubicBezTo>
                      <a:cubicBezTo>
                        <a:pt x="263" y="117"/>
                        <a:pt x="263" y="117"/>
                        <a:pt x="263" y="117"/>
                      </a:cubicBezTo>
                      <a:cubicBezTo>
                        <a:pt x="267" y="111"/>
                        <a:pt x="267" y="111"/>
                        <a:pt x="267" y="111"/>
                      </a:cubicBezTo>
                      <a:cubicBezTo>
                        <a:pt x="271" y="108"/>
                        <a:pt x="271" y="108"/>
                        <a:pt x="271" y="108"/>
                      </a:cubicBezTo>
                      <a:cubicBezTo>
                        <a:pt x="271" y="106"/>
                        <a:pt x="271" y="106"/>
                        <a:pt x="271" y="106"/>
                      </a:cubicBezTo>
                      <a:cubicBezTo>
                        <a:pt x="270" y="103"/>
                        <a:pt x="270" y="103"/>
                        <a:pt x="270" y="103"/>
                      </a:cubicBezTo>
                      <a:cubicBezTo>
                        <a:pt x="269" y="101"/>
                        <a:pt x="269" y="101"/>
                        <a:pt x="269" y="101"/>
                      </a:cubicBezTo>
                      <a:cubicBezTo>
                        <a:pt x="270" y="100"/>
                        <a:pt x="270" y="100"/>
                        <a:pt x="270" y="100"/>
                      </a:cubicBezTo>
                      <a:cubicBezTo>
                        <a:pt x="270" y="98"/>
                        <a:pt x="270" y="98"/>
                        <a:pt x="270" y="98"/>
                      </a:cubicBezTo>
                      <a:cubicBezTo>
                        <a:pt x="271" y="97"/>
                        <a:pt x="271" y="97"/>
                        <a:pt x="271" y="97"/>
                      </a:cubicBezTo>
                      <a:cubicBezTo>
                        <a:pt x="272" y="97"/>
                        <a:pt x="272" y="97"/>
                        <a:pt x="272" y="97"/>
                      </a:cubicBezTo>
                      <a:cubicBezTo>
                        <a:pt x="273" y="98"/>
                        <a:pt x="273" y="98"/>
                        <a:pt x="273" y="98"/>
                      </a:cubicBezTo>
                      <a:cubicBezTo>
                        <a:pt x="274" y="102"/>
                        <a:pt x="274" y="102"/>
                        <a:pt x="274" y="102"/>
                      </a:cubicBezTo>
                      <a:cubicBezTo>
                        <a:pt x="278" y="100"/>
                        <a:pt x="278" y="100"/>
                        <a:pt x="278" y="100"/>
                      </a:cubicBezTo>
                      <a:cubicBezTo>
                        <a:pt x="281" y="99"/>
                        <a:pt x="281" y="99"/>
                        <a:pt x="281" y="99"/>
                      </a:cubicBezTo>
                      <a:cubicBezTo>
                        <a:pt x="281" y="97"/>
                        <a:pt x="281" y="97"/>
                        <a:pt x="281" y="97"/>
                      </a:cubicBezTo>
                      <a:cubicBezTo>
                        <a:pt x="281" y="95"/>
                        <a:pt x="281" y="95"/>
                        <a:pt x="281" y="95"/>
                      </a:cubicBezTo>
                      <a:cubicBezTo>
                        <a:pt x="283" y="94"/>
                        <a:pt x="283" y="94"/>
                        <a:pt x="283" y="94"/>
                      </a:cubicBezTo>
                      <a:cubicBezTo>
                        <a:pt x="283" y="93"/>
                        <a:pt x="283" y="93"/>
                        <a:pt x="283" y="93"/>
                      </a:cubicBezTo>
                      <a:cubicBezTo>
                        <a:pt x="285" y="95"/>
                        <a:pt x="285" y="95"/>
                        <a:pt x="285" y="95"/>
                      </a:cubicBezTo>
                      <a:cubicBezTo>
                        <a:pt x="290" y="93"/>
                        <a:pt x="290" y="93"/>
                        <a:pt x="290" y="93"/>
                      </a:cubicBezTo>
                      <a:cubicBezTo>
                        <a:pt x="294" y="91"/>
                        <a:pt x="294" y="91"/>
                        <a:pt x="294" y="91"/>
                      </a:cubicBezTo>
                      <a:cubicBezTo>
                        <a:pt x="296" y="91"/>
                        <a:pt x="296" y="91"/>
                        <a:pt x="296" y="91"/>
                      </a:cubicBezTo>
                      <a:cubicBezTo>
                        <a:pt x="299" y="89"/>
                        <a:pt x="299" y="89"/>
                        <a:pt x="299" y="89"/>
                      </a:cubicBezTo>
                      <a:cubicBezTo>
                        <a:pt x="301" y="88"/>
                        <a:pt x="301" y="88"/>
                        <a:pt x="301" y="88"/>
                      </a:cubicBezTo>
                      <a:cubicBezTo>
                        <a:pt x="301" y="87"/>
                        <a:pt x="301" y="87"/>
                        <a:pt x="301" y="87"/>
                      </a:cubicBezTo>
                      <a:cubicBezTo>
                        <a:pt x="305" y="90"/>
                        <a:pt x="305" y="90"/>
                        <a:pt x="305" y="90"/>
                      </a:cubicBezTo>
                      <a:cubicBezTo>
                        <a:pt x="307" y="86"/>
                        <a:pt x="307" y="86"/>
                        <a:pt x="307" y="86"/>
                      </a:cubicBezTo>
                      <a:cubicBezTo>
                        <a:pt x="308" y="81"/>
                        <a:pt x="308" y="81"/>
                        <a:pt x="308" y="81"/>
                      </a:cubicBezTo>
                      <a:cubicBezTo>
                        <a:pt x="309" y="79"/>
                        <a:pt x="309" y="79"/>
                        <a:pt x="309" y="79"/>
                      </a:cubicBezTo>
                      <a:cubicBezTo>
                        <a:pt x="310" y="77"/>
                        <a:pt x="310" y="77"/>
                        <a:pt x="310" y="77"/>
                      </a:cubicBezTo>
                      <a:cubicBezTo>
                        <a:pt x="310" y="77"/>
                        <a:pt x="309" y="74"/>
                        <a:pt x="308" y="75"/>
                      </a:cubicBezTo>
                      <a:cubicBezTo>
                        <a:pt x="307" y="75"/>
                        <a:pt x="304" y="76"/>
                        <a:pt x="304" y="76"/>
                      </a:cubicBezTo>
                      <a:cubicBezTo>
                        <a:pt x="303" y="78"/>
                        <a:pt x="303" y="78"/>
                        <a:pt x="303" y="78"/>
                      </a:cubicBezTo>
                      <a:cubicBezTo>
                        <a:pt x="301" y="78"/>
                        <a:pt x="301" y="78"/>
                        <a:pt x="301" y="78"/>
                      </a:cubicBezTo>
                      <a:cubicBezTo>
                        <a:pt x="299" y="80"/>
                        <a:pt x="299" y="80"/>
                        <a:pt x="299" y="80"/>
                      </a:cubicBezTo>
                      <a:cubicBezTo>
                        <a:pt x="294" y="83"/>
                        <a:pt x="294" y="83"/>
                        <a:pt x="294" y="83"/>
                      </a:cubicBezTo>
                      <a:cubicBezTo>
                        <a:pt x="291" y="83"/>
                        <a:pt x="291" y="83"/>
                        <a:pt x="291" y="83"/>
                      </a:cubicBezTo>
                      <a:cubicBezTo>
                        <a:pt x="283" y="81"/>
                        <a:pt x="283" y="81"/>
                        <a:pt x="283" y="81"/>
                      </a:cubicBezTo>
                      <a:cubicBezTo>
                        <a:pt x="283" y="79"/>
                        <a:pt x="283" y="79"/>
                        <a:pt x="283" y="79"/>
                      </a:cubicBezTo>
                      <a:cubicBezTo>
                        <a:pt x="283" y="77"/>
                        <a:pt x="283" y="77"/>
                        <a:pt x="283" y="77"/>
                      </a:cubicBezTo>
                      <a:cubicBezTo>
                        <a:pt x="284" y="76"/>
                        <a:pt x="284" y="76"/>
                        <a:pt x="284" y="76"/>
                      </a:cubicBezTo>
                      <a:cubicBezTo>
                        <a:pt x="286" y="76"/>
                        <a:pt x="286" y="76"/>
                        <a:pt x="286" y="76"/>
                      </a:cubicBezTo>
                      <a:cubicBezTo>
                        <a:pt x="288" y="77"/>
                        <a:pt x="288" y="77"/>
                        <a:pt x="288" y="77"/>
                      </a:cubicBezTo>
                      <a:cubicBezTo>
                        <a:pt x="293" y="77"/>
                        <a:pt x="293" y="77"/>
                        <a:pt x="293" y="77"/>
                      </a:cubicBezTo>
                      <a:cubicBezTo>
                        <a:pt x="296" y="75"/>
                        <a:pt x="296" y="75"/>
                        <a:pt x="296" y="75"/>
                      </a:cubicBezTo>
                      <a:cubicBezTo>
                        <a:pt x="296" y="73"/>
                        <a:pt x="296" y="73"/>
                        <a:pt x="296" y="73"/>
                      </a:cubicBezTo>
                      <a:cubicBezTo>
                        <a:pt x="295" y="71"/>
                        <a:pt x="295" y="71"/>
                        <a:pt x="295" y="71"/>
                      </a:cubicBezTo>
                      <a:cubicBezTo>
                        <a:pt x="296" y="68"/>
                        <a:pt x="296" y="68"/>
                        <a:pt x="296" y="68"/>
                      </a:cubicBezTo>
                      <a:cubicBezTo>
                        <a:pt x="297" y="68"/>
                        <a:pt x="297" y="68"/>
                        <a:pt x="297" y="68"/>
                      </a:cubicBezTo>
                      <a:cubicBezTo>
                        <a:pt x="299" y="66"/>
                        <a:pt x="299" y="66"/>
                        <a:pt x="299" y="66"/>
                      </a:cubicBezTo>
                      <a:cubicBezTo>
                        <a:pt x="299" y="64"/>
                        <a:pt x="299" y="64"/>
                        <a:pt x="299" y="64"/>
                      </a:cubicBezTo>
                      <a:cubicBezTo>
                        <a:pt x="296" y="64"/>
                        <a:pt x="296" y="64"/>
                        <a:pt x="296" y="64"/>
                      </a:cubicBezTo>
                      <a:cubicBezTo>
                        <a:pt x="290" y="61"/>
                        <a:pt x="290" y="61"/>
                        <a:pt x="290" y="61"/>
                      </a:cubicBezTo>
                      <a:cubicBezTo>
                        <a:pt x="283" y="60"/>
                        <a:pt x="283" y="60"/>
                        <a:pt x="283" y="60"/>
                      </a:cubicBezTo>
                      <a:cubicBezTo>
                        <a:pt x="280" y="58"/>
                        <a:pt x="280" y="58"/>
                        <a:pt x="280" y="58"/>
                      </a:cubicBezTo>
                      <a:cubicBezTo>
                        <a:pt x="280" y="57"/>
                        <a:pt x="280" y="57"/>
                        <a:pt x="280" y="57"/>
                      </a:cubicBezTo>
                      <a:cubicBezTo>
                        <a:pt x="284" y="57"/>
                        <a:pt x="284" y="57"/>
                        <a:pt x="284" y="57"/>
                      </a:cubicBezTo>
                      <a:cubicBezTo>
                        <a:pt x="290" y="57"/>
                        <a:pt x="290" y="57"/>
                        <a:pt x="290" y="57"/>
                      </a:cubicBezTo>
                      <a:cubicBezTo>
                        <a:pt x="294" y="59"/>
                        <a:pt x="294" y="59"/>
                        <a:pt x="294" y="59"/>
                      </a:cubicBezTo>
                      <a:cubicBezTo>
                        <a:pt x="295" y="57"/>
                        <a:pt x="295" y="57"/>
                        <a:pt x="295" y="57"/>
                      </a:cubicBezTo>
                      <a:cubicBezTo>
                        <a:pt x="294" y="55"/>
                        <a:pt x="294" y="55"/>
                        <a:pt x="294" y="55"/>
                      </a:cubicBezTo>
                      <a:cubicBezTo>
                        <a:pt x="293" y="54"/>
                        <a:pt x="293" y="54"/>
                        <a:pt x="293" y="54"/>
                      </a:cubicBezTo>
                      <a:cubicBezTo>
                        <a:pt x="292" y="52"/>
                        <a:pt x="292" y="52"/>
                        <a:pt x="292" y="52"/>
                      </a:cubicBezTo>
                      <a:cubicBezTo>
                        <a:pt x="294" y="51"/>
                        <a:pt x="294" y="51"/>
                        <a:pt x="294" y="51"/>
                      </a:cubicBezTo>
                      <a:cubicBezTo>
                        <a:pt x="297" y="51"/>
                        <a:pt x="297" y="51"/>
                        <a:pt x="297" y="51"/>
                      </a:cubicBezTo>
                      <a:cubicBezTo>
                        <a:pt x="298" y="56"/>
                        <a:pt x="298" y="56"/>
                        <a:pt x="298" y="56"/>
                      </a:cubicBezTo>
                      <a:cubicBezTo>
                        <a:pt x="300" y="58"/>
                        <a:pt x="300" y="58"/>
                        <a:pt x="300" y="58"/>
                      </a:cubicBezTo>
                      <a:cubicBezTo>
                        <a:pt x="303" y="58"/>
                        <a:pt x="303" y="58"/>
                        <a:pt x="303" y="58"/>
                      </a:cubicBezTo>
                      <a:cubicBezTo>
                        <a:pt x="304" y="57"/>
                        <a:pt x="304" y="57"/>
                        <a:pt x="304" y="57"/>
                      </a:cubicBezTo>
                      <a:cubicBezTo>
                        <a:pt x="306" y="58"/>
                        <a:pt x="306" y="58"/>
                        <a:pt x="306" y="58"/>
                      </a:cubicBezTo>
                      <a:cubicBezTo>
                        <a:pt x="310" y="58"/>
                        <a:pt x="310" y="58"/>
                        <a:pt x="310" y="58"/>
                      </a:cubicBezTo>
                      <a:cubicBezTo>
                        <a:pt x="316" y="58"/>
                        <a:pt x="316" y="58"/>
                        <a:pt x="316" y="58"/>
                      </a:cubicBezTo>
                      <a:cubicBezTo>
                        <a:pt x="317" y="57"/>
                        <a:pt x="317" y="57"/>
                        <a:pt x="317" y="57"/>
                      </a:cubicBezTo>
                      <a:cubicBezTo>
                        <a:pt x="317" y="53"/>
                        <a:pt x="317" y="53"/>
                        <a:pt x="317" y="53"/>
                      </a:cubicBezTo>
                      <a:cubicBezTo>
                        <a:pt x="318" y="51"/>
                        <a:pt x="318" y="51"/>
                        <a:pt x="318" y="51"/>
                      </a:cubicBezTo>
                      <a:cubicBezTo>
                        <a:pt x="319" y="48"/>
                        <a:pt x="319" y="48"/>
                        <a:pt x="319" y="48"/>
                      </a:cubicBezTo>
                      <a:cubicBezTo>
                        <a:pt x="319" y="46"/>
                        <a:pt x="319" y="46"/>
                        <a:pt x="319" y="46"/>
                      </a:cubicBezTo>
                      <a:cubicBezTo>
                        <a:pt x="320" y="42"/>
                        <a:pt x="320" y="42"/>
                        <a:pt x="320" y="42"/>
                      </a:cubicBezTo>
                      <a:cubicBezTo>
                        <a:pt x="322" y="42"/>
                        <a:pt x="322" y="42"/>
                        <a:pt x="322" y="42"/>
                      </a:cubicBezTo>
                      <a:cubicBezTo>
                        <a:pt x="323" y="44"/>
                        <a:pt x="323" y="44"/>
                        <a:pt x="323" y="44"/>
                      </a:cubicBezTo>
                      <a:cubicBezTo>
                        <a:pt x="325" y="42"/>
                        <a:pt x="325" y="42"/>
                        <a:pt x="325" y="42"/>
                      </a:cubicBezTo>
                      <a:cubicBezTo>
                        <a:pt x="325" y="39"/>
                        <a:pt x="325" y="39"/>
                        <a:pt x="325" y="39"/>
                      </a:cubicBezTo>
                      <a:cubicBezTo>
                        <a:pt x="326" y="37"/>
                        <a:pt x="326" y="37"/>
                        <a:pt x="326" y="37"/>
                      </a:cubicBezTo>
                      <a:lnTo>
                        <a:pt x="324" y="3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2" name="Freeform 91">
                  <a:extLst>
                    <a:ext uri="{FF2B5EF4-FFF2-40B4-BE49-F238E27FC236}">
                      <a16:creationId xmlns:a16="http://schemas.microsoft.com/office/drawing/2014/main" id="{A6C1E291-017D-B2E0-8D31-C2F537BAF77C}"/>
                    </a:ext>
                  </a:extLst>
                </p:cNvPr>
                <p:cNvSpPr>
                  <a:spLocks/>
                </p:cNvSpPr>
                <p:nvPr/>
              </p:nvSpPr>
              <p:spPr bwMode="auto">
                <a:xfrm>
                  <a:off x="7274749" y="2775308"/>
                  <a:ext cx="286695" cy="308620"/>
                </a:xfrm>
                <a:custGeom>
                  <a:avLst/>
                  <a:gdLst>
                    <a:gd name="T0" fmla="*/ 196 w 201"/>
                    <a:gd name="T1" fmla="*/ 127 h 216"/>
                    <a:gd name="T2" fmla="*/ 195 w 201"/>
                    <a:gd name="T3" fmla="*/ 120 h 216"/>
                    <a:gd name="T4" fmla="*/ 191 w 201"/>
                    <a:gd name="T5" fmla="*/ 115 h 216"/>
                    <a:gd name="T6" fmla="*/ 190 w 201"/>
                    <a:gd name="T7" fmla="*/ 110 h 216"/>
                    <a:gd name="T8" fmla="*/ 187 w 201"/>
                    <a:gd name="T9" fmla="*/ 107 h 216"/>
                    <a:gd name="T10" fmla="*/ 183 w 201"/>
                    <a:gd name="T11" fmla="*/ 106 h 216"/>
                    <a:gd name="T12" fmla="*/ 181 w 201"/>
                    <a:gd name="T13" fmla="*/ 101 h 216"/>
                    <a:gd name="T14" fmla="*/ 179 w 201"/>
                    <a:gd name="T15" fmla="*/ 96 h 216"/>
                    <a:gd name="T16" fmla="*/ 174 w 201"/>
                    <a:gd name="T17" fmla="*/ 89 h 216"/>
                    <a:gd name="T18" fmla="*/ 168 w 201"/>
                    <a:gd name="T19" fmla="*/ 84 h 216"/>
                    <a:gd name="T20" fmla="*/ 158 w 201"/>
                    <a:gd name="T21" fmla="*/ 78 h 216"/>
                    <a:gd name="T22" fmla="*/ 147 w 201"/>
                    <a:gd name="T23" fmla="*/ 63 h 216"/>
                    <a:gd name="T24" fmla="*/ 126 w 201"/>
                    <a:gd name="T25" fmla="*/ 46 h 216"/>
                    <a:gd name="T26" fmla="*/ 116 w 201"/>
                    <a:gd name="T27" fmla="*/ 35 h 216"/>
                    <a:gd name="T28" fmla="*/ 111 w 201"/>
                    <a:gd name="T29" fmla="*/ 27 h 216"/>
                    <a:gd name="T30" fmla="*/ 96 w 201"/>
                    <a:gd name="T31" fmla="*/ 19 h 216"/>
                    <a:gd name="T32" fmla="*/ 92 w 201"/>
                    <a:gd name="T33" fmla="*/ 14 h 216"/>
                    <a:gd name="T34" fmla="*/ 97 w 201"/>
                    <a:gd name="T35" fmla="*/ 8 h 216"/>
                    <a:gd name="T36" fmla="*/ 103 w 201"/>
                    <a:gd name="T37" fmla="*/ 4 h 216"/>
                    <a:gd name="T38" fmla="*/ 104 w 201"/>
                    <a:gd name="T39" fmla="*/ 0 h 216"/>
                    <a:gd name="T40" fmla="*/ 48 w 201"/>
                    <a:gd name="T41" fmla="*/ 6 h 216"/>
                    <a:gd name="T42" fmla="*/ 0 w 201"/>
                    <a:gd name="T43" fmla="*/ 10 h 216"/>
                    <a:gd name="T44" fmla="*/ 11 w 201"/>
                    <a:gd name="T45" fmla="*/ 58 h 216"/>
                    <a:gd name="T46" fmla="*/ 25 w 201"/>
                    <a:gd name="T47" fmla="*/ 107 h 216"/>
                    <a:gd name="T48" fmla="*/ 38 w 201"/>
                    <a:gd name="T49" fmla="*/ 128 h 216"/>
                    <a:gd name="T50" fmla="*/ 39 w 201"/>
                    <a:gd name="T51" fmla="*/ 137 h 216"/>
                    <a:gd name="T52" fmla="*/ 40 w 201"/>
                    <a:gd name="T53" fmla="*/ 144 h 216"/>
                    <a:gd name="T54" fmla="*/ 39 w 201"/>
                    <a:gd name="T55" fmla="*/ 150 h 216"/>
                    <a:gd name="T56" fmla="*/ 35 w 201"/>
                    <a:gd name="T57" fmla="*/ 157 h 216"/>
                    <a:gd name="T58" fmla="*/ 37 w 201"/>
                    <a:gd name="T59" fmla="*/ 172 h 216"/>
                    <a:gd name="T60" fmla="*/ 40 w 201"/>
                    <a:gd name="T61" fmla="*/ 182 h 216"/>
                    <a:gd name="T62" fmla="*/ 37 w 201"/>
                    <a:gd name="T63" fmla="*/ 186 h 216"/>
                    <a:gd name="T64" fmla="*/ 41 w 201"/>
                    <a:gd name="T65" fmla="*/ 193 h 216"/>
                    <a:gd name="T66" fmla="*/ 46 w 201"/>
                    <a:gd name="T67" fmla="*/ 201 h 216"/>
                    <a:gd name="T68" fmla="*/ 160 w 201"/>
                    <a:gd name="T69" fmla="*/ 207 h 216"/>
                    <a:gd name="T70" fmla="*/ 169 w 201"/>
                    <a:gd name="T71" fmla="*/ 216 h 216"/>
                    <a:gd name="T72" fmla="*/ 166 w 201"/>
                    <a:gd name="T73" fmla="*/ 193 h 216"/>
                    <a:gd name="T74" fmla="*/ 183 w 201"/>
                    <a:gd name="T75" fmla="*/ 196 h 216"/>
                    <a:gd name="T76" fmla="*/ 185 w 201"/>
                    <a:gd name="T77" fmla="*/ 189 h 216"/>
                    <a:gd name="T78" fmla="*/ 182 w 201"/>
                    <a:gd name="T79" fmla="*/ 187 h 216"/>
                    <a:gd name="T80" fmla="*/ 180 w 201"/>
                    <a:gd name="T81" fmla="*/ 183 h 216"/>
                    <a:gd name="T82" fmla="*/ 185 w 201"/>
                    <a:gd name="T83" fmla="*/ 183 h 216"/>
                    <a:gd name="T84" fmla="*/ 183 w 201"/>
                    <a:gd name="T85" fmla="*/ 177 h 216"/>
                    <a:gd name="T86" fmla="*/ 188 w 201"/>
                    <a:gd name="T87" fmla="*/ 174 h 216"/>
                    <a:gd name="T88" fmla="*/ 187 w 201"/>
                    <a:gd name="T89" fmla="*/ 168 h 216"/>
                    <a:gd name="T90" fmla="*/ 188 w 201"/>
                    <a:gd name="T91" fmla="*/ 165 h 216"/>
                    <a:gd name="T92" fmla="*/ 189 w 201"/>
                    <a:gd name="T93" fmla="*/ 161 h 216"/>
                    <a:gd name="T94" fmla="*/ 189 w 201"/>
                    <a:gd name="T95" fmla="*/ 151 h 216"/>
                    <a:gd name="T96" fmla="*/ 194 w 201"/>
                    <a:gd name="T97" fmla="*/ 152 h 216"/>
                    <a:gd name="T98" fmla="*/ 193 w 201"/>
                    <a:gd name="T99" fmla="*/ 149 h 216"/>
                    <a:gd name="T100" fmla="*/ 189 w 201"/>
                    <a:gd name="T101" fmla="*/ 144 h 216"/>
                    <a:gd name="T102" fmla="*/ 196 w 201"/>
                    <a:gd name="T103" fmla="*/ 144 h 216"/>
                    <a:gd name="T104" fmla="*/ 193 w 201"/>
                    <a:gd name="T105" fmla="*/ 141 h 216"/>
                    <a:gd name="T106" fmla="*/ 192 w 201"/>
                    <a:gd name="T107" fmla="*/ 137 h 216"/>
                    <a:gd name="T108" fmla="*/ 197 w 201"/>
                    <a:gd name="T109" fmla="*/ 138 h 216"/>
                    <a:gd name="T110" fmla="*/ 199 w 201"/>
                    <a:gd name="T111" fmla="*/ 134 h 216"/>
                    <a:gd name="T112" fmla="*/ 201 w 201"/>
                    <a:gd name="T113" fmla="*/ 130 h 216"/>
                    <a:gd name="T114" fmla="*/ 198 w 201"/>
                    <a:gd name="T115"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216">
                      <a:moveTo>
                        <a:pt x="198" y="128"/>
                      </a:moveTo>
                      <a:cubicBezTo>
                        <a:pt x="196" y="127"/>
                        <a:pt x="196" y="127"/>
                        <a:pt x="196" y="127"/>
                      </a:cubicBezTo>
                      <a:cubicBezTo>
                        <a:pt x="195" y="124"/>
                        <a:pt x="195" y="124"/>
                        <a:pt x="195" y="124"/>
                      </a:cubicBezTo>
                      <a:cubicBezTo>
                        <a:pt x="195" y="120"/>
                        <a:pt x="195" y="120"/>
                        <a:pt x="195" y="120"/>
                      </a:cubicBezTo>
                      <a:cubicBezTo>
                        <a:pt x="195" y="119"/>
                        <a:pt x="195" y="119"/>
                        <a:pt x="195" y="119"/>
                      </a:cubicBezTo>
                      <a:cubicBezTo>
                        <a:pt x="191" y="115"/>
                        <a:pt x="191" y="115"/>
                        <a:pt x="191" y="115"/>
                      </a:cubicBezTo>
                      <a:cubicBezTo>
                        <a:pt x="190" y="112"/>
                        <a:pt x="190" y="112"/>
                        <a:pt x="190" y="112"/>
                      </a:cubicBezTo>
                      <a:cubicBezTo>
                        <a:pt x="190" y="110"/>
                        <a:pt x="190" y="110"/>
                        <a:pt x="190" y="110"/>
                      </a:cubicBezTo>
                      <a:cubicBezTo>
                        <a:pt x="190" y="109"/>
                        <a:pt x="190" y="109"/>
                        <a:pt x="190" y="109"/>
                      </a:cubicBezTo>
                      <a:cubicBezTo>
                        <a:pt x="187" y="107"/>
                        <a:pt x="187" y="107"/>
                        <a:pt x="187" y="107"/>
                      </a:cubicBezTo>
                      <a:cubicBezTo>
                        <a:pt x="184" y="106"/>
                        <a:pt x="184" y="106"/>
                        <a:pt x="184" y="106"/>
                      </a:cubicBezTo>
                      <a:cubicBezTo>
                        <a:pt x="183" y="106"/>
                        <a:pt x="183" y="106"/>
                        <a:pt x="183" y="106"/>
                      </a:cubicBezTo>
                      <a:cubicBezTo>
                        <a:pt x="182" y="104"/>
                        <a:pt x="182" y="104"/>
                        <a:pt x="182" y="104"/>
                      </a:cubicBezTo>
                      <a:cubicBezTo>
                        <a:pt x="181" y="101"/>
                        <a:pt x="181" y="101"/>
                        <a:pt x="181" y="101"/>
                      </a:cubicBezTo>
                      <a:cubicBezTo>
                        <a:pt x="181" y="99"/>
                        <a:pt x="181" y="99"/>
                        <a:pt x="181" y="99"/>
                      </a:cubicBezTo>
                      <a:cubicBezTo>
                        <a:pt x="179" y="96"/>
                        <a:pt x="179" y="96"/>
                        <a:pt x="179" y="96"/>
                      </a:cubicBezTo>
                      <a:cubicBezTo>
                        <a:pt x="176" y="91"/>
                        <a:pt x="176" y="91"/>
                        <a:pt x="176" y="91"/>
                      </a:cubicBezTo>
                      <a:cubicBezTo>
                        <a:pt x="174" y="89"/>
                        <a:pt x="174" y="89"/>
                        <a:pt x="174" y="89"/>
                      </a:cubicBezTo>
                      <a:cubicBezTo>
                        <a:pt x="171" y="87"/>
                        <a:pt x="171" y="87"/>
                        <a:pt x="171" y="87"/>
                      </a:cubicBezTo>
                      <a:cubicBezTo>
                        <a:pt x="168" y="84"/>
                        <a:pt x="168" y="84"/>
                        <a:pt x="168" y="84"/>
                      </a:cubicBezTo>
                      <a:cubicBezTo>
                        <a:pt x="165" y="81"/>
                        <a:pt x="165" y="81"/>
                        <a:pt x="165" y="81"/>
                      </a:cubicBezTo>
                      <a:cubicBezTo>
                        <a:pt x="158" y="78"/>
                        <a:pt x="158" y="78"/>
                        <a:pt x="158" y="78"/>
                      </a:cubicBezTo>
                      <a:cubicBezTo>
                        <a:pt x="153" y="71"/>
                        <a:pt x="153" y="71"/>
                        <a:pt x="153" y="71"/>
                      </a:cubicBezTo>
                      <a:cubicBezTo>
                        <a:pt x="147" y="63"/>
                        <a:pt x="147" y="63"/>
                        <a:pt x="147" y="63"/>
                      </a:cubicBezTo>
                      <a:cubicBezTo>
                        <a:pt x="142" y="59"/>
                        <a:pt x="142" y="59"/>
                        <a:pt x="142" y="59"/>
                      </a:cubicBezTo>
                      <a:cubicBezTo>
                        <a:pt x="126" y="46"/>
                        <a:pt x="126" y="46"/>
                        <a:pt x="126" y="46"/>
                      </a:cubicBezTo>
                      <a:cubicBezTo>
                        <a:pt x="121" y="40"/>
                        <a:pt x="121" y="40"/>
                        <a:pt x="121" y="40"/>
                      </a:cubicBezTo>
                      <a:cubicBezTo>
                        <a:pt x="116" y="35"/>
                        <a:pt x="116" y="35"/>
                        <a:pt x="116" y="35"/>
                      </a:cubicBezTo>
                      <a:cubicBezTo>
                        <a:pt x="114" y="31"/>
                        <a:pt x="114" y="31"/>
                        <a:pt x="114" y="31"/>
                      </a:cubicBezTo>
                      <a:cubicBezTo>
                        <a:pt x="111" y="27"/>
                        <a:pt x="111" y="27"/>
                        <a:pt x="111" y="27"/>
                      </a:cubicBezTo>
                      <a:cubicBezTo>
                        <a:pt x="108" y="24"/>
                        <a:pt x="108" y="24"/>
                        <a:pt x="108" y="24"/>
                      </a:cubicBezTo>
                      <a:cubicBezTo>
                        <a:pt x="96" y="19"/>
                        <a:pt x="96" y="19"/>
                        <a:pt x="96" y="19"/>
                      </a:cubicBezTo>
                      <a:cubicBezTo>
                        <a:pt x="94" y="16"/>
                        <a:pt x="94" y="16"/>
                        <a:pt x="94" y="16"/>
                      </a:cubicBezTo>
                      <a:cubicBezTo>
                        <a:pt x="92" y="14"/>
                        <a:pt x="92" y="14"/>
                        <a:pt x="92" y="14"/>
                      </a:cubicBezTo>
                      <a:cubicBezTo>
                        <a:pt x="92" y="11"/>
                        <a:pt x="92" y="11"/>
                        <a:pt x="92" y="11"/>
                      </a:cubicBezTo>
                      <a:cubicBezTo>
                        <a:pt x="97" y="8"/>
                        <a:pt x="97" y="8"/>
                        <a:pt x="97" y="8"/>
                      </a:cubicBezTo>
                      <a:cubicBezTo>
                        <a:pt x="101" y="5"/>
                        <a:pt x="101" y="5"/>
                        <a:pt x="101" y="5"/>
                      </a:cubicBezTo>
                      <a:cubicBezTo>
                        <a:pt x="103" y="4"/>
                        <a:pt x="103" y="4"/>
                        <a:pt x="103" y="4"/>
                      </a:cubicBezTo>
                      <a:cubicBezTo>
                        <a:pt x="103" y="2"/>
                        <a:pt x="103" y="2"/>
                        <a:pt x="103" y="2"/>
                      </a:cubicBezTo>
                      <a:cubicBezTo>
                        <a:pt x="104" y="0"/>
                        <a:pt x="104" y="0"/>
                        <a:pt x="104" y="0"/>
                      </a:cubicBezTo>
                      <a:cubicBezTo>
                        <a:pt x="104" y="0"/>
                        <a:pt x="104" y="0"/>
                        <a:pt x="104" y="0"/>
                      </a:cubicBezTo>
                      <a:cubicBezTo>
                        <a:pt x="48" y="6"/>
                        <a:pt x="48" y="6"/>
                        <a:pt x="48" y="6"/>
                      </a:cubicBezTo>
                      <a:cubicBezTo>
                        <a:pt x="48" y="6"/>
                        <a:pt x="48" y="6"/>
                        <a:pt x="48" y="6"/>
                      </a:cubicBezTo>
                      <a:cubicBezTo>
                        <a:pt x="0" y="10"/>
                        <a:pt x="0" y="10"/>
                        <a:pt x="0" y="10"/>
                      </a:cubicBezTo>
                      <a:cubicBezTo>
                        <a:pt x="3" y="24"/>
                        <a:pt x="3" y="24"/>
                        <a:pt x="3" y="24"/>
                      </a:cubicBezTo>
                      <a:cubicBezTo>
                        <a:pt x="11" y="58"/>
                        <a:pt x="11" y="58"/>
                        <a:pt x="11" y="58"/>
                      </a:cubicBezTo>
                      <a:cubicBezTo>
                        <a:pt x="23" y="98"/>
                        <a:pt x="23" y="98"/>
                        <a:pt x="23" y="98"/>
                      </a:cubicBezTo>
                      <a:cubicBezTo>
                        <a:pt x="25" y="107"/>
                        <a:pt x="25" y="107"/>
                        <a:pt x="25" y="107"/>
                      </a:cubicBezTo>
                      <a:cubicBezTo>
                        <a:pt x="33" y="122"/>
                        <a:pt x="33" y="122"/>
                        <a:pt x="33" y="122"/>
                      </a:cubicBezTo>
                      <a:cubicBezTo>
                        <a:pt x="38" y="128"/>
                        <a:pt x="38" y="128"/>
                        <a:pt x="38" y="128"/>
                      </a:cubicBezTo>
                      <a:cubicBezTo>
                        <a:pt x="38" y="132"/>
                        <a:pt x="38" y="132"/>
                        <a:pt x="38" y="132"/>
                      </a:cubicBezTo>
                      <a:cubicBezTo>
                        <a:pt x="39" y="137"/>
                        <a:pt x="39" y="137"/>
                        <a:pt x="39" y="137"/>
                      </a:cubicBezTo>
                      <a:cubicBezTo>
                        <a:pt x="42" y="139"/>
                        <a:pt x="42" y="139"/>
                        <a:pt x="42" y="139"/>
                      </a:cubicBezTo>
                      <a:cubicBezTo>
                        <a:pt x="40" y="144"/>
                        <a:pt x="40" y="144"/>
                        <a:pt x="40" y="144"/>
                      </a:cubicBezTo>
                      <a:cubicBezTo>
                        <a:pt x="35" y="147"/>
                        <a:pt x="35" y="147"/>
                        <a:pt x="35" y="147"/>
                      </a:cubicBezTo>
                      <a:cubicBezTo>
                        <a:pt x="39" y="150"/>
                        <a:pt x="39" y="150"/>
                        <a:pt x="39" y="150"/>
                      </a:cubicBezTo>
                      <a:cubicBezTo>
                        <a:pt x="38" y="155"/>
                        <a:pt x="38" y="155"/>
                        <a:pt x="38" y="155"/>
                      </a:cubicBezTo>
                      <a:cubicBezTo>
                        <a:pt x="35" y="157"/>
                        <a:pt x="35" y="157"/>
                        <a:pt x="35" y="157"/>
                      </a:cubicBezTo>
                      <a:cubicBezTo>
                        <a:pt x="35" y="163"/>
                        <a:pt x="35" y="163"/>
                        <a:pt x="35" y="163"/>
                      </a:cubicBezTo>
                      <a:cubicBezTo>
                        <a:pt x="37" y="172"/>
                        <a:pt x="37" y="172"/>
                        <a:pt x="37" y="172"/>
                      </a:cubicBezTo>
                      <a:cubicBezTo>
                        <a:pt x="39" y="176"/>
                        <a:pt x="39" y="176"/>
                        <a:pt x="39" y="176"/>
                      </a:cubicBezTo>
                      <a:cubicBezTo>
                        <a:pt x="40" y="182"/>
                        <a:pt x="40" y="182"/>
                        <a:pt x="40" y="182"/>
                      </a:cubicBezTo>
                      <a:cubicBezTo>
                        <a:pt x="38" y="184"/>
                        <a:pt x="38" y="184"/>
                        <a:pt x="38" y="184"/>
                      </a:cubicBezTo>
                      <a:cubicBezTo>
                        <a:pt x="37" y="186"/>
                        <a:pt x="37" y="186"/>
                        <a:pt x="37" y="186"/>
                      </a:cubicBezTo>
                      <a:cubicBezTo>
                        <a:pt x="39" y="190"/>
                        <a:pt x="39" y="190"/>
                        <a:pt x="39" y="190"/>
                      </a:cubicBezTo>
                      <a:cubicBezTo>
                        <a:pt x="41" y="193"/>
                        <a:pt x="41" y="193"/>
                        <a:pt x="41" y="193"/>
                      </a:cubicBezTo>
                      <a:cubicBezTo>
                        <a:pt x="45" y="199"/>
                        <a:pt x="45" y="199"/>
                        <a:pt x="45" y="199"/>
                      </a:cubicBezTo>
                      <a:cubicBezTo>
                        <a:pt x="46" y="201"/>
                        <a:pt x="46" y="201"/>
                        <a:pt x="46" y="201"/>
                      </a:cubicBezTo>
                      <a:cubicBezTo>
                        <a:pt x="52" y="213"/>
                        <a:pt x="52" y="213"/>
                        <a:pt x="52" y="213"/>
                      </a:cubicBezTo>
                      <a:cubicBezTo>
                        <a:pt x="160" y="207"/>
                        <a:pt x="160" y="207"/>
                        <a:pt x="160" y="207"/>
                      </a:cubicBezTo>
                      <a:cubicBezTo>
                        <a:pt x="161" y="216"/>
                        <a:pt x="161" y="216"/>
                        <a:pt x="161" y="216"/>
                      </a:cubicBezTo>
                      <a:cubicBezTo>
                        <a:pt x="169" y="216"/>
                        <a:pt x="169" y="216"/>
                        <a:pt x="169" y="216"/>
                      </a:cubicBezTo>
                      <a:cubicBezTo>
                        <a:pt x="166" y="193"/>
                        <a:pt x="166" y="193"/>
                        <a:pt x="166" y="193"/>
                      </a:cubicBezTo>
                      <a:cubicBezTo>
                        <a:pt x="166" y="193"/>
                        <a:pt x="166" y="193"/>
                        <a:pt x="166" y="193"/>
                      </a:cubicBezTo>
                      <a:cubicBezTo>
                        <a:pt x="173" y="194"/>
                        <a:pt x="173" y="194"/>
                        <a:pt x="173" y="194"/>
                      </a:cubicBezTo>
                      <a:cubicBezTo>
                        <a:pt x="183" y="196"/>
                        <a:pt x="183" y="196"/>
                        <a:pt x="183" y="196"/>
                      </a:cubicBezTo>
                      <a:cubicBezTo>
                        <a:pt x="184" y="193"/>
                        <a:pt x="184" y="193"/>
                        <a:pt x="184" y="193"/>
                      </a:cubicBezTo>
                      <a:cubicBezTo>
                        <a:pt x="184" y="193"/>
                        <a:pt x="185" y="189"/>
                        <a:pt x="185" y="189"/>
                      </a:cubicBezTo>
                      <a:cubicBezTo>
                        <a:pt x="185" y="188"/>
                        <a:pt x="184" y="188"/>
                        <a:pt x="184" y="188"/>
                      </a:cubicBezTo>
                      <a:cubicBezTo>
                        <a:pt x="184" y="188"/>
                        <a:pt x="183" y="187"/>
                        <a:pt x="182" y="187"/>
                      </a:cubicBezTo>
                      <a:cubicBezTo>
                        <a:pt x="181" y="186"/>
                        <a:pt x="181" y="185"/>
                        <a:pt x="180" y="184"/>
                      </a:cubicBezTo>
                      <a:cubicBezTo>
                        <a:pt x="179" y="183"/>
                        <a:pt x="180" y="183"/>
                        <a:pt x="180" y="183"/>
                      </a:cubicBezTo>
                      <a:cubicBezTo>
                        <a:pt x="182" y="183"/>
                        <a:pt x="182" y="183"/>
                        <a:pt x="182" y="183"/>
                      </a:cubicBezTo>
                      <a:cubicBezTo>
                        <a:pt x="185" y="183"/>
                        <a:pt x="185" y="183"/>
                        <a:pt x="185" y="183"/>
                      </a:cubicBezTo>
                      <a:cubicBezTo>
                        <a:pt x="185" y="183"/>
                        <a:pt x="184" y="181"/>
                        <a:pt x="184" y="179"/>
                      </a:cubicBezTo>
                      <a:cubicBezTo>
                        <a:pt x="183" y="177"/>
                        <a:pt x="183" y="177"/>
                        <a:pt x="183" y="177"/>
                      </a:cubicBezTo>
                      <a:cubicBezTo>
                        <a:pt x="186" y="176"/>
                        <a:pt x="186" y="176"/>
                        <a:pt x="186" y="176"/>
                      </a:cubicBezTo>
                      <a:cubicBezTo>
                        <a:pt x="188" y="174"/>
                        <a:pt x="188" y="174"/>
                        <a:pt x="188" y="174"/>
                      </a:cubicBezTo>
                      <a:cubicBezTo>
                        <a:pt x="190" y="169"/>
                        <a:pt x="190" y="169"/>
                        <a:pt x="190" y="169"/>
                      </a:cubicBezTo>
                      <a:cubicBezTo>
                        <a:pt x="187" y="168"/>
                        <a:pt x="187" y="168"/>
                        <a:pt x="187" y="168"/>
                      </a:cubicBezTo>
                      <a:cubicBezTo>
                        <a:pt x="187" y="168"/>
                        <a:pt x="187" y="167"/>
                        <a:pt x="187" y="167"/>
                      </a:cubicBezTo>
                      <a:cubicBezTo>
                        <a:pt x="187" y="166"/>
                        <a:pt x="188" y="166"/>
                        <a:pt x="188" y="165"/>
                      </a:cubicBezTo>
                      <a:cubicBezTo>
                        <a:pt x="188" y="165"/>
                        <a:pt x="189" y="164"/>
                        <a:pt x="189" y="164"/>
                      </a:cubicBezTo>
                      <a:cubicBezTo>
                        <a:pt x="189" y="161"/>
                        <a:pt x="189" y="161"/>
                        <a:pt x="189" y="161"/>
                      </a:cubicBezTo>
                      <a:cubicBezTo>
                        <a:pt x="189" y="154"/>
                        <a:pt x="189" y="154"/>
                        <a:pt x="189" y="154"/>
                      </a:cubicBezTo>
                      <a:cubicBezTo>
                        <a:pt x="189" y="151"/>
                        <a:pt x="189" y="151"/>
                        <a:pt x="189" y="151"/>
                      </a:cubicBezTo>
                      <a:cubicBezTo>
                        <a:pt x="189" y="151"/>
                        <a:pt x="191" y="151"/>
                        <a:pt x="192" y="151"/>
                      </a:cubicBezTo>
                      <a:cubicBezTo>
                        <a:pt x="192" y="151"/>
                        <a:pt x="194" y="152"/>
                        <a:pt x="194" y="152"/>
                      </a:cubicBezTo>
                      <a:cubicBezTo>
                        <a:pt x="194" y="152"/>
                        <a:pt x="195" y="151"/>
                        <a:pt x="195" y="150"/>
                      </a:cubicBezTo>
                      <a:cubicBezTo>
                        <a:pt x="195" y="150"/>
                        <a:pt x="195" y="150"/>
                        <a:pt x="193" y="149"/>
                      </a:cubicBezTo>
                      <a:cubicBezTo>
                        <a:pt x="192" y="148"/>
                        <a:pt x="190" y="147"/>
                        <a:pt x="190" y="147"/>
                      </a:cubicBezTo>
                      <a:cubicBezTo>
                        <a:pt x="190" y="146"/>
                        <a:pt x="189" y="144"/>
                        <a:pt x="189" y="144"/>
                      </a:cubicBezTo>
                      <a:cubicBezTo>
                        <a:pt x="191" y="144"/>
                        <a:pt x="191" y="144"/>
                        <a:pt x="191" y="144"/>
                      </a:cubicBezTo>
                      <a:cubicBezTo>
                        <a:pt x="196" y="144"/>
                        <a:pt x="196" y="144"/>
                        <a:pt x="196" y="144"/>
                      </a:cubicBezTo>
                      <a:cubicBezTo>
                        <a:pt x="197" y="141"/>
                        <a:pt x="197" y="141"/>
                        <a:pt x="197" y="141"/>
                      </a:cubicBezTo>
                      <a:cubicBezTo>
                        <a:pt x="197" y="141"/>
                        <a:pt x="193" y="141"/>
                        <a:pt x="193" y="141"/>
                      </a:cubicBezTo>
                      <a:cubicBezTo>
                        <a:pt x="193" y="141"/>
                        <a:pt x="191" y="139"/>
                        <a:pt x="191" y="139"/>
                      </a:cubicBezTo>
                      <a:cubicBezTo>
                        <a:pt x="192" y="137"/>
                        <a:pt x="192" y="137"/>
                        <a:pt x="192" y="137"/>
                      </a:cubicBezTo>
                      <a:cubicBezTo>
                        <a:pt x="193" y="138"/>
                        <a:pt x="193" y="138"/>
                        <a:pt x="193" y="138"/>
                      </a:cubicBezTo>
                      <a:cubicBezTo>
                        <a:pt x="197" y="138"/>
                        <a:pt x="197" y="138"/>
                        <a:pt x="197" y="138"/>
                      </a:cubicBezTo>
                      <a:cubicBezTo>
                        <a:pt x="199" y="137"/>
                        <a:pt x="199" y="137"/>
                        <a:pt x="199" y="137"/>
                      </a:cubicBezTo>
                      <a:cubicBezTo>
                        <a:pt x="199" y="134"/>
                        <a:pt x="199" y="134"/>
                        <a:pt x="199" y="134"/>
                      </a:cubicBezTo>
                      <a:cubicBezTo>
                        <a:pt x="199" y="132"/>
                        <a:pt x="199" y="132"/>
                        <a:pt x="199" y="132"/>
                      </a:cubicBezTo>
                      <a:cubicBezTo>
                        <a:pt x="201" y="130"/>
                        <a:pt x="201" y="130"/>
                        <a:pt x="201" y="130"/>
                      </a:cubicBezTo>
                      <a:cubicBezTo>
                        <a:pt x="200" y="129"/>
                        <a:pt x="200" y="129"/>
                        <a:pt x="200" y="129"/>
                      </a:cubicBezTo>
                      <a:lnTo>
                        <a:pt x="198" y="12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solidFill>
                      <a:schemeClr val="accent6"/>
                    </a:solidFill>
                    <a:latin typeface="Calibri" panose="020F0502020204030204" pitchFamily="34" charset="0"/>
                  </a:endParaRPr>
                </a:p>
              </p:txBody>
            </p:sp>
            <p:sp>
              <p:nvSpPr>
                <p:cNvPr id="93" name="Freeform 92">
                  <a:extLst>
                    <a:ext uri="{FF2B5EF4-FFF2-40B4-BE49-F238E27FC236}">
                      <a16:creationId xmlns:a16="http://schemas.microsoft.com/office/drawing/2014/main" id="{F17DAB9F-48D7-4A76-73C6-1F61A694BC60}"/>
                    </a:ext>
                  </a:extLst>
                </p:cNvPr>
                <p:cNvSpPr>
                  <a:spLocks/>
                </p:cNvSpPr>
                <p:nvPr/>
              </p:nvSpPr>
              <p:spPr bwMode="auto">
                <a:xfrm>
                  <a:off x="7369190" y="2432960"/>
                  <a:ext cx="418238" cy="234416"/>
                </a:xfrm>
                <a:custGeom>
                  <a:avLst/>
                  <a:gdLst>
                    <a:gd name="T0" fmla="*/ 169 w 248"/>
                    <a:gd name="T1" fmla="*/ 118 h 139"/>
                    <a:gd name="T2" fmla="*/ 248 w 248"/>
                    <a:gd name="T3" fmla="*/ 101 h 139"/>
                    <a:gd name="T4" fmla="*/ 246 w 248"/>
                    <a:gd name="T5" fmla="*/ 93 h 139"/>
                    <a:gd name="T6" fmla="*/ 239 w 248"/>
                    <a:gd name="T7" fmla="*/ 86 h 139"/>
                    <a:gd name="T8" fmla="*/ 232 w 248"/>
                    <a:gd name="T9" fmla="*/ 83 h 139"/>
                    <a:gd name="T10" fmla="*/ 228 w 248"/>
                    <a:gd name="T11" fmla="*/ 78 h 139"/>
                    <a:gd name="T12" fmla="*/ 224 w 248"/>
                    <a:gd name="T13" fmla="*/ 72 h 139"/>
                    <a:gd name="T14" fmla="*/ 226 w 248"/>
                    <a:gd name="T15" fmla="*/ 68 h 139"/>
                    <a:gd name="T16" fmla="*/ 228 w 248"/>
                    <a:gd name="T17" fmla="*/ 67 h 139"/>
                    <a:gd name="T18" fmla="*/ 224 w 248"/>
                    <a:gd name="T19" fmla="*/ 63 h 139"/>
                    <a:gd name="T20" fmla="*/ 211 w 248"/>
                    <a:gd name="T21" fmla="*/ 54 h 139"/>
                    <a:gd name="T22" fmla="*/ 215 w 248"/>
                    <a:gd name="T23" fmla="*/ 55 h 139"/>
                    <a:gd name="T24" fmla="*/ 221 w 248"/>
                    <a:gd name="T25" fmla="*/ 59 h 139"/>
                    <a:gd name="T26" fmla="*/ 225 w 248"/>
                    <a:gd name="T27" fmla="*/ 56 h 139"/>
                    <a:gd name="T28" fmla="*/ 225 w 248"/>
                    <a:gd name="T29" fmla="*/ 48 h 139"/>
                    <a:gd name="T30" fmla="*/ 215 w 248"/>
                    <a:gd name="T31" fmla="*/ 45 h 139"/>
                    <a:gd name="T32" fmla="*/ 211 w 248"/>
                    <a:gd name="T33" fmla="*/ 41 h 139"/>
                    <a:gd name="T34" fmla="*/ 207 w 248"/>
                    <a:gd name="T35" fmla="*/ 43 h 139"/>
                    <a:gd name="T36" fmla="*/ 199 w 248"/>
                    <a:gd name="T37" fmla="*/ 37 h 139"/>
                    <a:gd name="T38" fmla="*/ 193 w 248"/>
                    <a:gd name="T39" fmla="*/ 37 h 139"/>
                    <a:gd name="T40" fmla="*/ 188 w 248"/>
                    <a:gd name="T41" fmla="*/ 36 h 139"/>
                    <a:gd name="T42" fmla="*/ 191 w 248"/>
                    <a:gd name="T43" fmla="*/ 24 h 139"/>
                    <a:gd name="T44" fmla="*/ 192 w 248"/>
                    <a:gd name="T45" fmla="*/ 17 h 139"/>
                    <a:gd name="T46" fmla="*/ 183 w 248"/>
                    <a:gd name="T47" fmla="*/ 10 h 139"/>
                    <a:gd name="T48" fmla="*/ 171 w 248"/>
                    <a:gd name="T49" fmla="*/ 5 h 139"/>
                    <a:gd name="T50" fmla="*/ 166 w 248"/>
                    <a:gd name="T51" fmla="*/ 8 h 139"/>
                    <a:gd name="T52" fmla="*/ 151 w 248"/>
                    <a:gd name="T53" fmla="*/ 0 h 139"/>
                    <a:gd name="T54" fmla="*/ 149 w 248"/>
                    <a:gd name="T55" fmla="*/ 15 h 139"/>
                    <a:gd name="T56" fmla="*/ 144 w 248"/>
                    <a:gd name="T57" fmla="*/ 21 h 139"/>
                    <a:gd name="T58" fmla="*/ 138 w 248"/>
                    <a:gd name="T59" fmla="*/ 28 h 139"/>
                    <a:gd name="T60" fmla="*/ 134 w 248"/>
                    <a:gd name="T61" fmla="*/ 28 h 139"/>
                    <a:gd name="T62" fmla="*/ 131 w 248"/>
                    <a:gd name="T63" fmla="*/ 36 h 139"/>
                    <a:gd name="T64" fmla="*/ 127 w 248"/>
                    <a:gd name="T65" fmla="*/ 46 h 139"/>
                    <a:gd name="T66" fmla="*/ 120 w 248"/>
                    <a:gd name="T67" fmla="*/ 43 h 139"/>
                    <a:gd name="T68" fmla="*/ 115 w 248"/>
                    <a:gd name="T69" fmla="*/ 48 h 139"/>
                    <a:gd name="T70" fmla="*/ 109 w 248"/>
                    <a:gd name="T71" fmla="*/ 68 h 139"/>
                    <a:gd name="T72" fmla="*/ 103 w 248"/>
                    <a:gd name="T73" fmla="*/ 78 h 139"/>
                    <a:gd name="T74" fmla="*/ 100 w 248"/>
                    <a:gd name="T75" fmla="*/ 89 h 139"/>
                    <a:gd name="T76" fmla="*/ 82 w 248"/>
                    <a:gd name="T77" fmla="*/ 101 h 139"/>
                    <a:gd name="T78" fmla="*/ 69 w 248"/>
                    <a:gd name="T79" fmla="*/ 100 h 139"/>
                    <a:gd name="T80" fmla="*/ 61 w 248"/>
                    <a:gd name="T81" fmla="*/ 107 h 139"/>
                    <a:gd name="T82" fmla="*/ 50 w 248"/>
                    <a:gd name="T83" fmla="*/ 100 h 139"/>
                    <a:gd name="T84" fmla="*/ 46 w 248"/>
                    <a:gd name="T85" fmla="*/ 97 h 139"/>
                    <a:gd name="T86" fmla="*/ 43 w 248"/>
                    <a:gd name="T87" fmla="*/ 103 h 139"/>
                    <a:gd name="T88" fmla="*/ 28 w 248"/>
                    <a:gd name="T89" fmla="*/ 113 h 139"/>
                    <a:gd name="T90" fmla="*/ 22 w 248"/>
                    <a:gd name="T91" fmla="*/ 127 h 139"/>
                    <a:gd name="T92" fmla="*/ 15 w 248"/>
                    <a:gd name="T93" fmla="*/ 130 h 139"/>
                    <a:gd name="T94" fmla="*/ 6 w 248"/>
                    <a:gd name="T95" fmla="*/ 136 h 139"/>
                    <a:gd name="T96" fmla="*/ 64 w 248"/>
                    <a:gd name="T97" fmla="*/ 13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139">
                      <a:moveTo>
                        <a:pt x="116" y="127"/>
                      </a:moveTo>
                      <a:lnTo>
                        <a:pt x="169" y="118"/>
                      </a:lnTo>
                      <a:lnTo>
                        <a:pt x="243" y="103"/>
                      </a:lnTo>
                      <a:lnTo>
                        <a:pt x="248" y="101"/>
                      </a:lnTo>
                      <a:lnTo>
                        <a:pt x="248" y="98"/>
                      </a:lnTo>
                      <a:lnTo>
                        <a:pt x="246" y="93"/>
                      </a:lnTo>
                      <a:lnTo>
                        <a:pt x="243" y="89"/>
                      </a:lnTo>
                      <a:lnTo>
                        <a:pt x="239" y="86"/>
                      </a:lnTo>
                      <a:lnTo>
                        <a:pt x="237" y="86"/>
                      </a:lnTo>
                      <a:lnTo>
                        <a:pt x="232" y="83"/>
                      </a:lnTo>
                      <a:lnTo>
                        <a:pt x="231" y="80"/>
                      </a:lnTo>
                      <a:lnTo>
                        <a:pt x="228" y="78"/>
                      </a:lnTo>
                      <a:lnTo>
                        <a:pt x="226" y="74"/>
                      </a:lnTo>
                      <a:lnTo>
                        <a:pt x="224" y="72"/>
                      </a:lnTo>
                      <a:lnTo>
                        <a:pt x="224" y="70"/>
                      </a:lnTo>
                      <a:lnTo>
                        <a:pt x="226" y="68"/>
                      </a:lnTo>
                      <a:lnTo>
                        <a:pt x="230" y="70"/>
                      </a:lnTo>
                      <a:lnTo>
                        <a:pt x="228" y="67"/>
                      </a:lnTo>
                      <a:lnTo>
                        <a:pt x="226" y="64"/>
                      </a:lnTo>
                      <a:lnTo>
                        <a:pt x="224" y="63"/>
                      </a:lnTo>
                      <a:lnTo>
                        <a:pt x="215" y="60"/>
                      </a:lnTo>
                      <a:lnTo>
                        <a:pt x="211" y="54"/>
                      </a:lnTo>
                      <a:lnTo>
                        <a:pt x="211" y="53"/>
                      </a:lnTo>
                      <a:lnTo>
                        <a:pt x="215" y="55"/>
                      </a:lnTo>
                      <a:lnTo>
                        <a:pt x="220" y="56"/>
                      </a:lnTo>
                      <a:lnTo>
                        <a:pt x="221" y="59"/>
                      </a:lnTo>
                      <a:lnTo>
                        <a:pt x="227" y="60"/>
                      </a:lnTo>
                      <a:lnTo>
                        <a:pt x="225" y="56"/>
                      </a:lnTo>
                      <a:lnTo>
                        <a:pt x="225" y="51"/>
                      </a:lnTo>
                      <a:lnTo>
                        <a:pt x="225" y="48"/>
                      </a:lnTo>
                      <a:lnTo>
                        <a:pt x="221" y="49"/>
                      </a:lnTo>
                      <a:lnTo>
                        <a:pt x="215" y="45"/>
                      </a:lnTo>
                      <a:lnTo>
                        <a:pt x="212" y="41"/>
                      </a:lnTo>
                      <a:lnTo>
                        <a:pt x="211" y="41"/>
                      </a:lnTo>
                      <a:lnTo>
                        <a:pt x="210" y="43"/>
                      </a:lnTo>
                      <a:lnTo>
                        <a:pt x="207" y="43"/>
                      </a:lnTo>
                      <a:lnTo>
                        <a:pt x="203" y="39"/>
                      </a:lnTo>
                      <a:lnTo>
                        <a:pt x="199" y="37"/>
                      </a:lnTo>
                      <a:lnTo>
                        <a:pt x="195" y="36"/>
                      </a:lnTo>
                      <a:lnTo>
                        <a:pt x="193" y="37"/>
                      </a:lnTo>
                      <a:lnTo>
                        <a:pt x="190" y="38"/>
                      </a:lnTo>
                      <a:lnTo>
                        <a:pt x="188" y="36"/>
                      </a:lnTo>
                      <a:lnTo>
                        <a:pt x="188" y="25"/>
                      </a:lnTo>
                      <a:lnTo>
                        <a:pt x="191" y="24"/>
                      </a:lnTo>
                      <a:lnTo>
                        <a:pt x="193" y="21"/>
                      </a:lnTo>
                      <a:lnTo>
                        <a:pt x="192" y="17"/>
                      </a:lnTo>
                      <a:lnTo>
                        <a:pt x="188" y="14"/>
                      </a:lnTo>
                      <a:lnTo>
                        <a:pt x="183" y="10"/>
                      </a:lnTo>
                      <a:lnTo>
                        <a:pt x="173" y="4"/>
                      </a:lnTo>
                      <a:lnTo>
                        <a:pt x="171" y="5"/>
                      </a:lnTo>
                      <a:lnTo>
                        <a:pt x="168" y="8"/>
                      </a:lnTo>
                      <a:lnTo>
                        <a:pt x="166" y="8"/>
                      </a:lnTo>
                      <a:lnTo>
                        <a:pt x="160" y="5"/>
                      </a:lnTo>
                      <a:lnTo>
                        <a:pt x="151" y="0"/>
                      </a:lnTo>
                      <a:lnTo>
                        <a:pt x="151" y="8"/>
                      </a:lnTo>
                      <a:lnTo>
                        <a:pt x="149" y="15"/>
                      </a:lnTo>
                      <a:lnTo>
                        <a:pt x="147" y="18"/>
                      </a:lnTo>
                      <a:lnTo>
                        <a:pt x="144" y="21"/>
                      </a:lnTo>
                      <a:lnTo>
                        <a:pt x="139" y="30"/>
                      </a:lnTo>
                      <a:lnTo>
                        <a:pt x="138" y="28"/>
                      </a:lnTo>
                      <a:lnTo>
                        <a:pt x="135" y="28"/>
                      </a:lnTo>
                      <a:lnTo>
                        <a:pt x="134" y="28"/>
                      </a:lnTo>
                      <a:lnTo>
                        <a:pt x="133" y="32"/>
                      </a:lnTo>
                      <a:lnTo>
                        <a:pt x="131" y="36"/>
                      </a:lnTo>
                      <a:lnTo>
                        <a:pt x="128" y="44"/>
                      </a:lnTo>
                      <a:lnTo>
                        <a:pt x="127" y="46"/>
                      </a:lnTo>
                      <a:lnTo>
                        <a:pt x="125" y="45"/>
                      </a:lnTo>
                      <a:lnTo>
                        <a:pt x="120" y="43"/>
                      </a:lnTo>
                      <a:lnTo>
                        <a:pt x="116" y="41"/>
                      </a:lnTo>
                      <a:lnTo>
                        <a:pt x="115" y="48"/>
                      </a:lnTo>
                      <a:lnTo>
                        <a:pt x="112" y="60"/>
                      </a:lnTo>
                      <a:lnTo>
                        <a:pt x="109" y="68"/>
                      </a:lnTo>
                      <a:lnTo>
                        <a:pt x="104" y="73"/>
                      </a:lnTo>
                      <a:lnTo>
                        <a:pt x="103" y="78"/>
                      </a:lnTo>
                      <a:lnTo>
                        <a:pt x="104" y="86"/>
                      </a:lnTo>
                      <a:lnTo>
                        <a:pt x="100" y="89"/>
                      </a:lnTo>
                      <a:lnTo>
                        <a:pt x="89" y="95"/>
                      </a:lnTo>
                      <a:lnTo>
                        <a:pt x="82" y="101"/>
                      </a:lnTo>
                      <a:lnTo>
                        <a:pt x="73" y="103"/>
                      </a:lnTo>
                      <a:lnTo>
                        <a:pt x="69" y="100"/>
                      </a:lnTo>
                      <a:lnTo>
                        <a:pt x="63" y="107"/>
                      </a:lnTo>
                      <a:lnTo>
                        <a:pt x="61" y="107"/>
                      </a:lnTo>
                      <a:lnTo>
                        <a:pt x="56" y="105"/>
                      </a:lnTo>
                      <a:lnTo>
                        <a:pt x="50" y="100"/>
                      </a:lnTo>
                      <a:lnTo>
                        <a:pt x="49" y="97"/>
                      </a:lnTo>
                      <a:lnTo>
                        <a:pt x="46" y="97"/>
                      </a:lnTo>
                      <a:lnTo>
                        <a:pt x="45" y="99"/>
                      </a:lnTo>
                      <a:lnTo>
                        <a:pt x="43" y="103"/>
                      </a:lnTo>
                      <a:lnTo>
                        <a:pt x="39" y="109"/>
                      </a:lnTo>
                      <a:lnTo>
                        <a:pt x="28" y="113"/>
                      </a:lnTo>
                      <a:lnTo>
                        <a:pt x="25" y="118"/>
                      </a:lnTo>
                      <a:lnTo>
                        <a:pt x="22" y="127"/>
                      </a:lnTo>
                      <a:lnTo>
                        <a:pt x="18" y="128"/>
                      </a:lnTo>
                      <a:lnTo>
                        <a:pt x="15" y="130"/>
                      </a:lnTo>
                      <a:lnTo>
                        <a:pt x="10" y="133"/>
                      </a:lnTo>
                      <a:lnTo>
                        <a:pt x="6" y="136"/>
                      </a:lnTo>
                      <a:lnTo>
                        <a:pt x="0" y="139"/>
                      </a:lnTo>
                      <a:lnTo>
                        <a:pt x="64" y="133"/>
                      </a:lnTo>
                      <a:lnTo>
                        <a:pt x="116" y="12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4" name="Freeform 93">
                  <a:extLst>
                    <a:ext uri="{FF2B5EF4-FFF2-40B4-BE49-F238E27FC236}">
                      <a16:creationId xmlns:a16="http://schemas.microsoft.com/office/drawing/2014/main" id="{7ECD99C8-CD92-95EE-8471-081A16ECA211}"/>
                    </a:ext>
                  </a:extLst>
                </p:cNvPr>
                <p:cNvSpPr>
                  <a:spLocks/>
                </p:cNvSpPr>
                <p:nvPr/>
              </p:nvSpPr>
              <p:spPr bwMode="auto">
                <a:xfrm>
                  <a:off x="7406291" y="2750011"/>
                  <a:ext cx="269831" cy="209119"/>
                </a:xfrm>
                <a:custGeom>
                  <a:avLst/>
                  <a:gdLst>
                    <a:gd name="T0" fmla="*/ 94 w 189"/>
                    <a:gd name="T1" fmla="*/ 4 h 147"/>
                    <a:gd name="T2" fmla="*/ 79 w 189"/>
                    <a:gd name="T3" fmla="*/ 0 h 147"/>
                    <a:gd name="T4" fmla="*/ 67 w 189"/>
                    <a:gd name="T5" fmla="*/ 4 h 147"/>
                    <a:gd name="T6" fmla="*/ 58 w 189"/>
                    <a:gd name="T7" fmla="*/ 6 h 147"/>
                    <a:gd name="T8" fmla="*/ 39 w 189"/>
                    <a:gd name="T9" fmla="*/ 4 h 147"/>
                    <a:gd name="T10" fmla="*/ 26 w 189"/>
                    <a:gd name="T11" fmla="*/ 7 h 147"/>
                    <a:gd name="T12" fmla="*/ 12 w 189"/>
                    <a:gd name="T13" fmla="*/ 18 h 147"/>
                    <a:gd name="T14" fmla="*/ 11 w 189"/>
                    <a:gd name="T15" fmla="*/ 22 h 147"/>
                    <a:gd name="T16" fmla="*/ 5 w 189"/>
                    <a:gd name="T17" fmla="*/ 26 h 147"/>
                    <a:gd name="T18" fmla="*/ 0 w 189"/>
                    <a:gd name="T19" fmla="*/ 32 h 147"/>
                    <a:gd name="T20" fmla="*/ 4 w 189"/>
                    <a:gd name="T21" fmla="*/ 37 h 147"/>
                    <a:gd name="T22" fmla="*/ 19 w 189"/>
                    <a:gd name="T23" fmla="*/ 45 h 147"/>
                    <a:gd name="T24" fmla="*/ 24 w 189"/>
                    <a:gd name="T25" fmla="*/ 53 h 147"/>
                    <a:gd name="T26" fmla="*/ 34 w 189"/>
                    <a:gd name="T27" fmla="*/ 64 h 147"/>
                    <a:gd name="T28" fmla="*/ 55 w 189"/>
                    <a:gd name="T29" fmla="*/ 81 h 147"/>
                    <a:gd name="T30" fmla="*/ 66 w 189"/>
                    <a:gd name="T31" fmla="*/ 96 h 147"/>
                    <a:gd name="T32" fmla="*/ 76 w 189"/>
                    <a:gd name="T33" fmla="*/ 102 h 147"/>
                    <a:gd name="T34" fmla="*/ 82 w 189"/>
                    <a:gd name="T35" fmla="*/ 107 h 147"/>
                    <a:gd name="T36" fmla="*/ 87 w 189"/>
                    <a:gd name="T37" fmla="*/ 114 h 147"/>
                    <a:gd name="T38" fmla="*/ 89 w 189"/>
                    <a:gd name="T39" fmla="*/ 119 h 147"/>
                    <a:gd name="T40" fmla="*/ 91 w 189"/>
                    <a:gd name="T41" fmla="*/ 124 h 147"/>
                    <a:gd name="T42" fmla="*/ 95 w 189"/>
                    <a:gd name="T43" fmla="*/ 125 h 147"/>
                    <a:gd name="T44" fmla="*/ 98 w 189"/>
                    <a:gd name="T45" fmla="*/ 128 h 147"/>
                    <a:gd name="T46" fmla="*/ 99 w 189"/>
                    <a:gd name="T47" fmla="*/ 133 h 147"/>
                    <a:gd name="T48" fmla="*/ 103 w 189"/>
                    <a:gd name="T49" fmla="*/ 138 h 147"/>
                    <a:gd name="T50" fmla="*/ 104 w 189"/>
                    <a:gd name="T51" fmla="*/ 145 h 147"/>
                    <a:gd name="T52" fmla="*/ 108 w 189"/>
                    <a:gd name="T53" fmla="*/ 147 h 147"/>
                    <a:gd name="T54" fmla="*/ 110 w 189"/>
                    <a:gd name="T55" fmla="*/ 140 h 147"/>
                    <a:gd name="T56" fmla="*/ 116 w 189"/>
                    <a:gd name="T57" fmla="*/ 140 h 147"/>
                    <a:gd name="T58" fmla="*/ 117 w 189"/>
                    <a:gd name="T59" fmla="*/ 137 h 147"/>
                    <a:gd name="T60" fmla="*/ 112 w 189"/>
                    <a:gd name="T61" fmla="*/ 136 h 147"/>
                    <a:gd name="T62" fmla="*/ 110 w 189"/>
                    <a:gd name="T63" fmla="*/ 133 h 147"/>
                    <a:gd name="T64" fmla="*/ 115 w 189"/>
                    <a:gd name="T65" fmla="*/ 132 h 147"/>
                    <a:gd name="T66" fmla="*/ 119 w 189"/>
                    <a:gd name="T67" fmla="*/ 135 h 147"/>
                    <a:gd name="T68" fmla="*/ 124 w 189"/>
                    <a:gd name="T69" fmla="*/ 128 h 147"/>
                    <a:gd name="T70" fmla="*/ 123 w 189"/>
                    <a:gd name="T71" fmla="*/ 123 h 147"/>
                    <a:gd name="T72" fmla="*/ 130 w 189"/>
                    <a:gd name="T73" fmla="*/ 123 h 147"/>
                    <a:gd name="T74" fmla="*/ 135 w 189"/>
                    <a:gd name="T75" fmla="*/ 119 h 147"/>
                    <a:gd name="T76" fmla="*/ 131 w 189"/>
                    <a:gd name="T77" fmla="*/ 118 h 147"/>
                    <a:gd name="T78" fmla="*/ 129 w 189"/>
                    <a:gd name="T79" fmla="*/ 115 h 147"/>
                    <a:gd name="T80" fmla="*/ 133 w 189"/>
                    <a:gd name="T81" fmla="*/ 115 h 147"/>
                    <a:gd name="T82" fmla="*/ 138 w 189"/>
                    <a:gd name="T83" fmla="*/ 117 h 147"/>
                    <a:gd name="T84" fmla="*/ 145 w 189"/>
                    <a:gd name="T85" fmla="*/ 110 h 147"/>
                    <a:gd name="T86" fmla="*/ 141 w 189"/>
                    <a:gd name="T87" fmla="*/ 105 h 147"/>
                    <a:gd name="T88" fmla="*/ 143 w 189"/>
                    <a:gd name="T89" fmla="*/ 103 h 147"/>
                    <a:gd name="T90" fmla="*/ 149 w 189"/>
                    <a:gd name="T91" fmla="*/ 103 h 147"/>
                    <a:gd name="T92" fmla="*/ 155 w 189"/>
                    <a:gd name="T93" fmla="*/ 93 h 147"/>
                    <a:gd name="T94" fmla="*/ 164 w 189"/>
                    <a:gd name="T95" fmla="*/ 89 h 147"/>
                    <a:gd name="T96" fmla="*/ 169 w 189"/>
                    <a:gd name="T97" fmla="*/ 81 h 147"/>
                    <a:gd name="T98" fmla="*/ 165 w 189"/>
                    <a:gd name="T99" fmla="*/ 75 h 147"/>
                    <a:gd name="T100" fmla="*/ 169 w 189"/>
                    <a:gd name="T101" fmla="*/ 75 h 147"/>
                    <a:gd name="T102" fmla="*/ 170 w 189"/>
                    <a:gd name="T103" fmla="*/ 70 h 147"/>
                    <a:gd name="T104" fmla="*/ 175 w 189"/>
                    <a:gd name="T105" fmla="*/ 60 h 147"/>
                    <a:gd name="T106" fmla="*/ 178 w 189"/>
                    <a:gd name="T107" fmla="*/ 54 h 147"/>
                    <a:gd name="T108" fmla="*/ 187 w 189"/>
                    <a:gd name="T109" fmla="*/ 46 h 147"/>
                    <a:gd name="T110" fmla="*/ 138 w 189"/>
                    <a:gd name="T11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47">
                      <a:moveTo>
                        <a:pt x="98" y="14"/>
                      </a:moveTo>
                      <a:cubicBezTo>
                        <a:pt x="94" y="4"/>
                        <a:pt x="94" y="4"/>
                        <a:pt x="94" y="4"/>
                      </a:cubicBezTo>
                      <a:cubicBezTo>
                        <a:pt x="88" y="1"/>
                        <a:pt x="88" y="1"/>
                        <a:pt x="88" y="1"/>
                      </a:cubicBezTo>
                      <a:cubicBezTo>
                        <a:pt x="79" y="0"/>
                        <a:pt x="79" y="0"/>
                        <a:pt x="79" y="0"/>
                      </a:cubicBezTo>
                      <a:cubicBezTo>
                        <a:pt x="72" y="1"/>
                        <a:pt x="72" y="1"/>
                        <a:pt x="72" y="1"/>
                      </a:cubicBezTo>
                      <a:cubicBezTo>
                        <a:pt x="67" y="4"/>
                        <a:pt x="67" y="4"/>
                        <a:pt x="67" y="4"/>
                      </a:cubicBezTo>
                      <a:cubicBezTo>
                        <a:pt x="64" y="5"/>
                        <a:pt x="64" y="5"/>
                        <a:pt x="64" y="5"/>
                      </a:cubicBezTo>
                      <a:cubicBezTo>
                        <a:pt x="58" y="6"/>
                        <a:pt x="58" y="6"/>
                        <a:pt x="58" y="6"/>
                      </a:cubicBezTo>
                      <a:cubicBezTo>
                        <a:pt x="46" y="4"/>
                        <a:pt x="46" y="4"/>
                        <a:pt x="46" y="4"/>
                      </a:cubicBezTo>
                      <a:cubicBezTo>
                        <a:pt x="39" y="4"/>
                        <a:pt x="39" y="4"/>
                        <a:pt x="39" y="4"/>
                      </a:cubicBezTo>
                      <a:cubicBezTo>
                        <a:pt x="31" y="5"/>
                        <a:pt x="31" y="5"/>
                        <a:pt x="31" y="5"/>
                      </a:cubicBezTo>
                      <a:cubicBezTo>
                        <a:pt x="26" y="7"/>
                        <a:pt x="26" y="7"/>
                        <a:pt x="26" y="7"/>
                      </a:cubicBezTo>
                      <a:cubicBezTo>
                        <a:pt x="12" y="18"/>
                        <a:pt x="12" y="18"/>
                        <a:pt x="12" y="18"/>
                      </a:cubicBezTo>
                      <a:cubicBezTo>
                        <a:pt x="12" y="18"/>
                        <a:pt x="12" y="18"/>
                        <a:pt x="12" y="18"/>
                      </a:cubicBezTo>
                      <a:cubicBezTo>
                        <a:pt x="11" y="20"/>
                        <a:pt x="11" y="20"/>
                        <a:pt x="11" y="20"/>
                      </a:cubicBezTo>
                      <a:cubicBezTo>
                        <a:pt x="11" y="22"/>
                        <a:pt x="11" y="22"/>
                        <a:pt x="11" y="22"/>
                      </a:cubicBezTo>
                      <a:cubicBezTo>
                        <a:pt x="9" y="23"/>
                        <a:pt x="9" y="23"/>
                        <a:pt x="9" y="23"/>
                      </a:cubicBezTo>
                      <a:cubicBezTo>
                        <a:pt x="5" y="26"/>
                        <a:pt x="5" y="26"/>
                        <a:pt x="5" y="26"/>
                      </a:cubicBezTo>
                      <a:cubicBezTo>
                        <a:pt x="0" y="29"/>
                        <a:pt x="0" y="29"/>
                        <a:pt x="0" y="29"/>
                      </a:cubicBezTo>
                      <a:cubicBezTo>
                        <a:pt x="0" y="32"/>
                        <a:pt x="0" y="32"/>
                        <a:pt x="0" y="32"/>
                      </a:cubicBezTo>
                      <a:cubicBezTo>
                        <a:pt x="2" y="34"/>
                        <a:pt x="2" y="34"/>
                        <a:pt x="2" y="34"/>
                      </a:cubicBezTo>
                      <a:cubicBezTo>
                        <a:pt x="4" y="37"/>
                        <a:pt x="4" y="37"/>
                        <a:pt x="4" y="37"/>
                      </a:cubicBezTo>
                      <a:cubicBezTo>
                        <a:pt x="16" y="42"/>
                        <a:pt x="16" y="42"/>
                        <a:pt x="16" y="42"/>
                      </a:cubicBezTo>
                      <a:cubicBezTo>
                        <a:pt x="19" y="45"/>
                        <a:pt x="19" y="45"/>
                        <a:pt x="19" y="45"/>
                      </a:cubicBezTo>
                      <a:cubicBezTo>
                        <a:pt x="22" y="49"/>
                        <a:pt x="22" y="49"/>
                        <a:pt x="22" y="49"/>
                      </a:cubicBezTo>
                      <a:cubicBezTo>
                        <a:pt x="24" y="53"/>
                        <a:pt x="24" y="53"/>
                        <a:pt x="24" y="53"/>
                      </a:cubicBezTo>
                      <a:cubicBezTo>
                        <a:pt x="29" y="58"/>
                        <a:pt x="29" y="58"/>
                        <a:pt x="29" y="58"/>
                      </a:cubicBezTo>
                      <a:cubicBezTo>
                        <a:pt x="34" y="64"/>
                        <a:pt x="34" y="64"/>
                        <a:pt x="34" y="64"/>
                      </a:cubicBezTo>
                      <a:cubicBezTo>
                        <a:pt x="50" y="77"/>
                        <a:pt x="50" y="77"/>
                        <a:pt x="50" y="77"/>
                      </a:cubicBezTo>
                      <a:cubicBezTo>
                        <a:pt x="55" y="81"/>
                        <a:pt x="55" y="81"/>
                        <a:pt x="55" y="81"/>
                      </a:cubicBezTo>
                      <a:cubicBezTo>
                        <a:pt x="61" y="89"/>
                        <a:pt x="61" y="89"/>
                        <a:pt x="61" y="89"/>
                      </a:cubicBezTo>
                      <a:cubicBezTo>
                        <a:pt x="66" y="96"/>
                        <a:pt x="66" y="96"/>
                        <a:pt x="66" y="96"/>
                      </a:cubicBezTo>
                      <a:cubicBezTo>
                        <a:pt x="73" y="99"/>
                        <a:pt x="73" y="99"/>
                        <a:pt x="73" y="99"/>
                      </a:cubicBezTo>
                      <a:cubicBezTo>
                        <a:pt x="76" y="102"/>
                        <a:pt x="76" y="102"/>
                        <a:pt x="76" y="102"/>
                      </a:cubicBezTo>
                      <a:cubicBezTo>
                        <a:pt x="79" y="105"/>
                        <a:pt x="79" y="105"/>
                        <a:pt x="79" y="105"/>
                      </a:cubicBezTo>
                      <a:cubicBezTo>
                        <a:pt x="82" y="107"/>
                        <a:pt x="82" y="107"/>
                        <a:pt x="82" y="107"/>
                      </a:cubicBezTo>
                      <a:cubicBezTo>
                        <a:pt x="84" y="109"/>
                        <a:pt x="84" y="109"/>
                        <a:pt x="84" y="109"/>
                      </a:cubicBezTo>
                      <a:cubicBezTo>
                        <a:pt x="87" y="114"/>
                        <a:pt x="87" y="114"/>
                        <a:pt x="87" y="114"/>
                      </a:cubicBezTo>
                      <a:cubicBezTo>
                        <a:pt x="89" y="117"/>
                        <a:pt x="89" y="117"/>
                        <a:pt x="89" y="117"/>
                      </a:cubicBezTo>
                      <a:cubicBezTo>
                        <a:pt x="89" y="119"/>
                        <a:pt x="89" y="119"/>
                        <a:pt x="89" y="119"/>
                      </a:cubicBezTo>
                      <a:cubicBezTo>
                        <a:pt x="90" y="122"/>
                        <a:pt x="90" y="122"/>
                        <a:pt x="90" y="122"/>
                      </a:cubicBezTo>
                      <a:cubicBezTo>
                        <a:pt x="91" y="124"/>
                        <a:pt x="91" y="124"/>
                        <a:pt x="91" y="124"/>
                      </a:cubicBezTo>
                      <a:cubicBezTo>
                        <a:pt x="92" y="124"/>
                        <a:pt x="92" y="124"/>
                        <a:pt x="92" y="124"/>
                      </a:cubicBezTo>
                      <a:cubicBezTo>
                        <a:pt x="95" y="125"/>
                        <a:pt x="95" y="125"/>
                        <a:pt x="95" y="125"/>
                      </a:cubicBezTo>
                      <a:cubicBezTo>
                        <a:pt x="98" y="127"/>
                        <a:pt x="98" y="127"/>
                        <a:pt x="98" y="127"/>
                      </a:cubicBezTo>
                      <a:cubicBezTo>
                        <a:pt x="98" y="128"/>
                        <a:pt x="98" y="128"/>
                        <a:pt x="98" y="128"/>
                      </a:cubicBezTo>
                      <a:cubicBezTo>
                        <a:pt x="98" y="130"/>
                        <a:pt x="98" y="130"/>
                        <a:pt x="98" y="130"/>
                      </a:cubicBezTo>
                      <a:cubicBezTo>
                        <a:pt x="99" y="133"/>
                        <a:pt x="99" y="133"/>
                        <a:pt x="99" y="133"/>
                      </a:cubicBezTo>
                      <a:cubicBezTo>
                        <a:pt x="103" y="137"/>
                        <a:pt x="103" y="137"/>
                        <a:pt x="103" y="137"/>
                      </a:cubicBezTo>
                      <a:cubicBezTo>
                        <a:pt x="103" y="138"/>
                        <a:pt x="103" y="138"/>
                        <a:pt x="103" y="138"/>
                      </a:cubicBezTo>
                      <a:cubicBezTo>
                        <a:pt x="103" y="142"/>
                        <a:pt x="103" y="142"/>
                        <a:pt x="103" y="142"/>
                      </a:cubicBezTo>
                      <a:cubicBezTo>
                        <a:pt x="104" y="145"/>
                        <a:pt x="104" y="145"/>
                        <a:pt x="104" y="145"/>
                      </a:cubicBezTo>
                      <a:cubicBezTo>
                        <a:pt x="106" y="146"/>
                        <a:pt x="106" y="146"/>
                        <a:pt x="106" y="146"/>
                      </a:cubicBezTo>
                      <a:cubicBezTo>
                        <a:pt x="108" y="147"/>
                        <a:pt x="108" y="147"/>
                        <a:pt x="108" y="147"/>
                      </a:cubicBezTo>
                      <a:cubicBezTo>
                        <a:pt x="108" y="141"/>
                        <a:pt x="108" y="141"/>
                        <a:pt x="108" y="141"/>
                      </a:cubicBezTo>
                      <a:cubicBezTo>
                        <a:pt x="110" y="140"/>
                        <a:pt x="110" y="140"/>
                        <a:pt x="110" y="140"/>
                      </a:cubicBezTo>
                      <a:cubicBezTo>
                        <a:pt x="115" y="140"/>
                        <a:pt x="115" y="140"/>
                        <a:pt x="115" y="140"/>
                      </a:cubicBezTo>
                      <a:cubicBezTo>
                        <a:pt x="116" y="140"/>
                        <a:pt x="116" y="140"/>
                        <a:pt x="116" y="140"/>
                      </a:cubicBezTo>
                      <a:cubicBezTo>
                        <a:pt x="116" y="140"/>
                        <a:pt x="118" y="139"/>
                        <a:pt x="118" y="139"/>
                      </a:cubicBezTo>
                      <a:cubicBezTo>
                        <a:pt x="118" y="138"/>
                        <a:pt x="117" y="137"/>
                        <a:pt x="117" y="137"/>
                      </a:cubicBezTo>
                      <a:cubicBezTo>
                        <a:pt x="116" y="137"/>
                        <a:pt x="116" y="137"/>
                        <a:pt x="116" y="137"/>
                      </a:cubicBezTo>
                      <a:cubicBezTo>
                        <a:pt x="116" y="137"/>
                        <a:pt x="112" y="136"/>
                        <a:pt x="112" y="136"/>
                      </a:cubicBezTo>
                      <a:cubicBezTo>
                        <a:pt x="111" y="136"/>
                        <a:pt x="110" y="134"/>
                        <a:pt x="110" y="134"/>
                      </a:cubicBezTo>
                      <a:cubicBezTo>
                        <a:pt x="110" y="133"/>
                        <a:pt x="110" y="133"/>
                        <a:pt x="110" y="133"/>
                      </a:cubicBezTo>
                      <a:cubicBezTo>
                        <a:pt x="111" y="129"/>
                        <a:pt x="111" y="129"/>
                        <a:pt x="111" y="129"/>
                      </a:cubicBezTo>
                      <a:cubicBezTo>
                        <a:pt x="115" y="132"/>
                        <a:pt x="115" y="132"/>
                        <a:pt x="115" y="132"/>
                      </a:cubicBezTo>
                      <a:cubicBezTo>
                        <a:pt x="116" y="133"/>
                        <a:pt x="116" y="133"/>
                        <a:pt x="116" y="133"/>
                      </a:cubicBezTo>
                      <a:cubicBezTo>
                        <a:pt x="119" y="135"/>
                        <a:pt x="119" y="135"/>
                        <a:pt x="119" y="135"/>
                      </a:cubicBezTo>
                      <a:cubicBezTo>
                        <a:pt x="123" y="134"/>
                        <a:pt x="123" y="134"/>
                        <a:pt x="123" y="134"/>
                      </a:cubicBezTo>
                      <a:cubicBezTo>
                        <a:pt x="124" y="128"/>
                        <a:pt x="124" y="128"/>
                        <a:pt x="124" y="128"/>
                      </a:cubicBezTo>
                      <a:cubicBezTo>
                        <a:pt x="124" y="127"/>
                        <a:pt x="124" y="127"/>
                        <a:pt x="124" y="127"/>
                      </a:cubicBezTo>
                      <a:cubicBezTo>
                        <a:pt x="123" y="123"/>
                        <a:pt x="123" y="123"/>
                        <a:pt x="123" y="123"/>
                      </a:cubicBezTo>
                      <a:cubicBezTo>
                        <a:pt x="126" y="123"/>
                        <a:pt x="126" y="123"/>
                        <a:pt x="126" y="123"/>
                      </a:cubicBezTo>
                      <a:cubicBezTo>
                        <a:pt x="130" y="123"/>
                        <a:pt x="130" y="123"/>
                        <a:pt x="130" y="123"/>
                      </a:cubicBezTo>
                      <a:cubicBezTo>
                        <a:pt x="135" y="120"/>
                        <a:pt x="135" y="120"/>
                        <a:pt x="135" y="120"/>
                      </a:cubicBezTo>
                      <a:cubicBezTo>
                        <a:pt x="135" y="119"/>
                        <a:pt x="135" y="119"/>
                        <a:pt x="135" y="119"/>
                      </a:cubicBezTo>
                      <a:cubicBezTo>
                        <a:pt x="133" y="118"/>
                        <a:pt x="133" y="118"/>
                        <a:pt x="133" y="118"/>
                      </a:cubicBezTo>
                      <a:cubicBezTo>
                        <a:pt x="131" y="118"/>
                        <a:pt x="131" y="118"/>
                        <a:pt x="131" y="118"/>
                      </a:cubicBezTo>
                      <a:cubicBezTo>
                        <a:pt x="129" y="117"/>
                        <a:pt x="129" y="117"/>
                        <a:pt x="129" y="117"/>
                      </a:cubicBezTo>
                      <a:cubicBezTo>
                        <a:pt x="129" y="115"/>
                        <a:pt x="129" y="115"/>
                        <a:pt x="129" y="115"/>
                      </a:cubicBezTo>
                      <a:cubicBezTo>
                        <a:pt x="132" y="114"/>
                        <a:pt x="132" y="114"/>
                        <a:pt x="132" y="114"/>
                      </a:cubicBezTo>
                      <a:cubicBezTo>
                        <a:pt x="133" y="115"/>
                        <a:pt x="133" y="115"/>
                        <a:pt x="133" y="115"/>
                      </a:cubicBezTo>
                      <a:cubicBezTo>
                        <a:pt x="136" y="117"/>
                        <a:pt x="136" y="117"/>
                        <a:pt x="136" y="117"/>
                      </a:cubicBezTo>
                      <a:cubicBezTo>
                        <a:pt x="138" y="117"/>
                        <a:pt x="138" y="117"/>
                        <a:pt x="138" y="117"/>
                      </a:cubicBezTo>
                      <a:cubicBezTo>
                        <a:pt x="142" y="114"/>
                        <a:pt x="142" y="114"/>
                        <a:pt x="142" y="114"/>
                      </a:cubicBezTo>
                      <a:cubicBezTo>
                        <a:pt x="145" y="110"/>
                        <a:pt x="145" y="110"/>
                        <a:pt x="145" y="110"/>
                      </a:cubicBezTo>
                      <a:cubicBezTo>
                        <a:pt x="144" y="107"/>
                        <a:pt x="144" y="107"/>
                        <a:pt x="144" y="107"/>
                      </a:cubicBezTo>
                      <a:cubicBezTo>
                        <a:pt x="141" y="105"/>
                        <a:pt x="141" y="105"/>
                        <a:pt x="141" y="105"/>
                      </a:cubicBezTo>
                      <a:cubicBezTo>
                        <a:pt x="141" y="104"/>
                        <a:pt x="141" y="104"/>
                        <a:pt x="141" y="104"/>
                      </a:cubicBezTo>
                      <a:cubicBezTo>
                        <a:pt x="143" y="103"/>
                        <a:pt x="143" y="103"/>
                        <a:pt x="143" y="103"/>
                      </a:cubicBezTo>
                      <a:cubicBezTo>
                        <a:pt x="147" y="105"/>
                        <a:pt x="147" y="105"/>
                        <a:pt x="147" y="105"/>
                      </a:cubicBezTo>
                      <a:cubicBezTo>
                        <a:pt x="149" y="103"/>
                        <a:pt x="149" y="103"/>
                        <a:pt x="149" y="103"/>
                      </a:cubicBezTo>
                      <a:cubicBezTo>
                        <a:pt x="151" y="100"/>
                        <a:pt x="151" y="100"/>
                        <a:pt x="151" y="100"/>
                      </a:cubicBezTo>
                      <a:cubicBezTo>
                        <a:pt x="155" y="93"/>
                        <a:pt x="155" y="93"/>
                        <a:pt x="155" y="93"/>
                      </a:cubicBezTo>
                      <a:cubicBezTo>
                        <a:pt x="159" y="90"/>
                        <a:pt x="159" y="90"/>
                        <a:pt x="159" y="90"/>
                      </a:cubicBezTo>
                      <a:cubicBezTo>
                        <a:pt x="164" y="89"/>
                        <a:pt x="164" y="89"/>
                        <a:pt x="164" y="89"/>
                      </a:cubicBezTo>
                      <a:cubicBezTo>
                        <a:pt x="167" y="84"/>
                        <a:pt x="167" y="84"/>
                        <a:pt x="167" y="84"/>
                      </a:cubicBezTo>
                      <a:cubicBezTo>
                        <a:pt x="169" y="81"/>
                        <a:pt x="169" y="81"/>
                        <a:pt x="169" y="81"/>
                      </a:cubicBezTo>
                      <a:cubicBezTo>
                        <a:pt x="167" y="79"/>
                        <a:pt x="167" y="79"/>
                        <a:pt x="167" y="79"/>
                      </a:cubicBezTo>
                      <a:cubicBezTo>
                        <a:pt x="165" y="75"/>
                        <a:pt x="165" y="75"/>
                        <a:pt x="165" y="75"/>
                      </a:cubicBezTo>
                      <a:cubicBezTo>
                        <a:pt x="167" y="75"/>
                        <a:pt x="167" y="75"/>
                        <a:pt x="167" y="75"/>
                      </a:cubicBezTo>
                      <a:cubicBezTo>
                        <a:pt x="169" y="75"/>
                        <a:pt x="169" y="75"/>
                        <a:pt x="169" y="75"/>
                      </a:cubicBezTo>
                      <a:cubicBezTo>
                        <a:pt x="169" y="72"/>
                        <a:pt x="169" y="72"/>
                        <a:pt x="169" y="72"/>
                      </a:cubicBezTo>
                      <a:cubicBezTo>
                        <a:pt x="170" y="70"/>
                        <a:pt x="170" y="70"/>
                        <a:pt x="170" y="70"/>
                      </a:cubicBezTo>
                      <a:cubicBezTo>
                        <a:pt x="173" y="66"/>
                        <a:pt x="173" y="66"/>
                        <a:pt x="173" y="66"/>
                      </a:cubicBezTo>
                      <a:cubicBezTo>
                        <a:pt x="175" y="60"/>
                        <a:pt x="175" y="60"/>
                        <a:pt x="175" y="60"/>
                      </a:cubicBezTo>
                      <a:cubicBezTo>
                        <a:pt x="177" y="56"/>
                        <a:pt x="177" y="56"/>
                        <a:pt x="177" y="56"/>
                      </a:cubicBezTo>
                      <a:cubicBezTo>
                        <a:pt x="178" y="54"/>
                        <a:pt x="178" y="54"/>
                        <a:pt x="178" y="54"/>
                      </a:cubicBezTo>
                      <a:cubicBezTo>
                        <a:pt x="180" y="52"/>
                        <a:pt x="180" y="52"/>
                        <a:pt x="180" y="52"/>
                      </a:cubicBezTo>
                      <a:cubicBezTo>
                        <a:pt x="187" y="46"/>
                        <a:pt x="187" y="46"/>
                        <a:pt x="187" y="46"/>
                      </a:cubicBezTo>
                      <a:cubicBezTo>
                        <a:pt x="189" y="44"/>
                        <a:pt x="189" y="44"/>
                        <a:pt x="189" y="44"/>
                      </a:cubicBezTo>
                      <a:cubicBezTo>
                        <a:pt x="138" y="6"/>
                        <a:pt x="138" y="6"/>
                        <a:pt x="138" y="6"/>
                      </a:cubicBezTo>
                      <a:lnTo>
                        <a:pt x="98" y="1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5" name="Freeform 94">
                  <a:extLst>
                    <a:ext uri="{FF2B5EF4-FFF2-40B4-BE49-F238E27FC236}">
                      <a16:creationId xmlns:a16="http://schemas.microsoft.com/office/drawing/2014/main" id="{826F2AB0-A773-ACFA-BAAB-1BBEC72E6B63}"/>
                    </a:ext>
                  </a:extLst>
                </p:cNvPr>
                <p:cNvSpPr>
                  <a:spLocks/>
                </p:cNvSpPr>
                <p:nvPr/>
              </p:nvSpPr>
              <p:spPr bwMode="auto">
                <a:xfrm>
                  <a:off x="7128028" y="2788799"/>
                  <a:ext cx="212492" cy="340661"/>
                </a:xfrm>
                <a:custGeom>
                  <a:avLst/>
                  <a:gdLst>
                    <a:gd name="T0" fmla="*/ 39 w 126"/>
                    <a:gd name="T1" fmla="*/ 183 h 202"/>
                    <a:gd name="T2" fmla="*/ 33 w 126"/>
                    <a:gd name="T3" fmla="*/ 176 h 202"/>
                    <a:gd name="T4" fmla="*/ 36 w 126"/>
                    <a:gd name="T5" fmla="*/ 172 h 202"/>
                    <a:gd name="T6" fmla="*/ 51 w 126"/>
                    <a:gd name="T7" fmla="*/ 168 h 202"/>
                    <a:gd name="T8" fmla="*/ 125 w 126"/>
                    <a:gd name="T9" fmla="*/ 161 h 202"/>
                    <a:gd name="T10" fmla="*/ 120 w 126"/>
                    <a:gd name="T11" fmla="*/ 153 h 202"/>
                    <a:gd name="T12" fmla="*/ 119 w 126"/>
                    <a:gd name="T13" fmla="*/ 148 h 202"/>
                    <a:gd name="T14" fmla="*/ 120 w 126"/>
                    <a:gd name="T15" fmla="*/ 141 h 202"/>
                    <a:gd name="T16" fmla="*/ 116 w 126"/>
                    <a:gd name="T17" fmla="*/ 130 h 202"/>
                    <a:gd name="T18" fmla="*/ 119 w 126"/>
                    <a:gd name="T19" fmla="*/ 123 h 202"/>
                    <a:gd name="T20" fmla="*/ 116 w 126"/>
                    <a:gd name="T21" fmla="*/ 117 h 202"/>
                    <a:gd name="T22" fmla="*/ 122 w 126"/>
                    <a:gd name="T23" fmla="*/ 110 h 202"/>
                    <a:gd name="T24" fmla="*/ 119 w 126"/>
                    <a:gd name="T25" fmla="*/ 104 h 202"/>
                    <a:gd name="T26" fmla="*/ 115 w 126"/>
                    <a:gd name="T27" fmla="*/ 95 h 202"/>
                    <a:gd name="T28" fmla="*/ 106 w 126"/>
                    <a:gd name="T29" fmla="*/ 75 h 202"/>
                    <a:gd name="T30" fmla="*/ 89 w 126"/>
                    <a:gd name="T31" fmla="*/ 12 h 202"/>
                    <a:gd name="T32" fmla="*/ 94 w 126"/>
                    <a:gd name="T33" fmla="*/ 0 h 202"/>
                    <a:gd name="T34" fmla="*/ 1 w 126"/>
                    <a:gd name="T35" fmla="*/ 7 h 202"/>
                    <a:gd name="T36" fmla="*/ 0 w 126"/>
                    <a:gd name="T37" fmla="*/ 106 h 202"/>
                    <a:gd name="T38" fmla="*/ 6 w 126"/>
                    <a:gd name="T39" fmla="*/ 196 h 202"/>
                    <a:gd name="T40" fmla="*/ 11 w 126"/>
                    <a:gd name="T41" fmla="*/ 197 h 202"/>
                    <a:gd name="T42" fmla="*/ 16 w 126"/>
                    <a:gd name="T43" fmla="*/ 195 h 202"/>
                    <a:gd name="T44" fmla="*/ 16 w 126"/>
                    <a:gd name="T45" fmla="*/ 187 h 202"/>
                    <a:gd name="T46" fmla="*/ 21 w 126"/>
                    <a:gd name="T47" fmla="*/ 184 h 202"/>
                    <a:gd name="T48" fmla="*/ 22 w 126"/>
                    <a:gd name="T49" fmla="*/ 189 h 202"/>
                    <a:gd name="T50" fmla="*/ 22 w 126"/>
                    <a:gd name="T51" fmla="*/ 193 h 202"/>
                    <a:gd name="T52" fmla="*/ 25 w 126"/>
                    <a:gd name="T53" fmla="*/ 195 h 202"/>
                    <a:gd name="T54" fmla="*/ 27 w 126"/>
                    <a:gd name="T55" fmla="*/ 199 h 202"/>
                    <a:gd name="T56" fmla="*/ 25 w 126"/>
                    <a:gd name="T57" fmla="*/ 202 h 202"/>
                    <a:gd name="T58" fmla="*/ 31 w 126"/>
                    <a:gd name="T59" fmla="*/ 200 h 202"/>
                    <a:gd name="T60" fmla="*/ 38 w 126"/>
                    <a:gd name="T61" fmla="*/ 197 h 202"/>
                    <a:gd name="T62" fmla="*/ 43 w 126"/>
                    <a:gd name="T63" fmla="*/ 196 h 202"/>
                    <a:gd name="T64" fmla="*/ 44 w 126"/>
                    <a:gd name="T65" fmla="*/ 19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202">
                      <a:moveTo>
                        <a:pt x="40" y="188"/>
                      </a:moveTo>
                      <a:lnTo>
                        <a:pt x="39" y="183"/>
                      </a:lnTo>
                      <a:lnTo>
                        <a:pt x="35" y="178"/>
                      </a:lnTo>
                      <a:lnTo>
                        <a:pt x="33" y="176"/>
                      </a:lnTo>
                      <a:lnTo>
                        <a:pt x="33" y="173"/>
                      </a:lnTo>
                      <a:lnTo>
                        <a:pt x="36" y="172"/>
                      </a:lnTo>
                      <a:lnTo>
                        <a:pt x="43" y="170"/>
                      </a:lnTo>
                      <a:lnTo>
                        <a:pt x="51" y="168"/>
                      </a:lnTo>
                      <a:lnTo>
                        <a:pt x="126" y="162"/>
                      </a:lnTo>
                      <a:lnTo>
                        <a:pt x="125" y="161"/>
                      </a:lnTo>
                      <a:lnTo>
                        <a:pt x="121" y="156"/>
                      </a:lnTo>
                      <a:lnTo>
                        <a:pt x="120" y="153"/>
                      </a:lnTo>
                      <a:lnTo>
                        <a:pt x="118" y="150"/>
                      </a:lnTo>
                      <a:lnTo>
                        <a:pt x="119" y="148"/>
                      </a:lnTo>
                      <a:lnTo>
                        <a:pt x="121" y="146"/>
                      </a:lnTo>
                      <a:lnTo>
                        <a:pt x="120" y="141"/>
                      </a:lnTo>
                      <a:lnTo>
                        <a:pt x="118" y="138"/>
                      </a:lnTo>
                      <a:lnTo>
                        <a:pt x="116" y="130"/>
                      </a:lnTo>
                      <a:lnTo>
                        <a:pt x="116" y="125"/>
                      </a:lnTo>
                      <a:lnTo>
                        <a:pt x="119" y="123"/>
                      </a:lnTo>
                      <a:lnTo>
                        <a:pt x="120" y="119"/>
                      </a:lnTo>
                      <a:lnTo>
                        <a:pt x="116" y="117"/>
                      </a:lnTo>
                      <a:lnTo>
                        <a:pt x="121" y="114"/>
                      </a:lnTo>
                      <a:lnTo>
                        <a:pt x="122" y="110"/>
                      </a:lnTo>
                      <a:lnTo>
                        <a:pt x="120" y="108"/>
                      </a:lnTo>
                      <a:lnTo>
                        <a:pt x="119" y="104"/>
                      </a:lnTo>
                      <a:lnTo>
                        <a:pt x="119" y="100"/>
                      </a:lnTo>
                      <a:lnTo>
                        <a:pt x="115" y="95"/>
                      </a:lnTo>
                      <a:lnTo>
                        <a:pt x="108" y="83"/>
                      </a:lnTo>
                      <a:lnTo>
                        <a:pt x="106" y="75"/>
                      </a:lnTo>
                      <a:lnTo>
                        <a:pt x="96" y="41"/>
                      </a:lnTo>
                      <a:lnTo>
                        <a:pt x="89" y="12"/>
                      </a:lnTo>
                      <a:lnTo>
                        <a:pt x="87" y="0"/>
                      </a:lnTo>
                      <a:lnTo>
                        <a:pt x="94" y="0"/>
                      </a:lnTo>
                      <a:lnTo>
                        <a:pt x="94" y="0"/>
                      </a:lnTo>
                      <a:lnTo>
                        <a:pt x="1" y="7"/>
                      </a:lnTo>
                      <a:lnTo>
                        <a:pt x="1" y="14"/>
                      </a:lnTo>
                      <a:lnTo>
                        <a:pt x="0" y="106"/>
                      </a:lnTo>
                      <a:lnTo>
                        <a:pt x="0" y="155"/>
                      </a:lnTo>
                      <a:lnTo>
                        <a:pt x="6" y="196"/>
                      </a:lnTo>
                      <a:lnTo>
                        <a:pt x="8" y="196"/>
                      </a:lnTo>
                      <a:lnTo>
                        <a:pt x="11" y="197"/>
                      </a:lnTo>
                      <a:lnTo>
                        <a:pt x="15" y="198"/>
                      </a:lnTo>
                      <a:lnTo>
                        <a:pt x="16" y="195"/>
                      </a:lnTo>
                      <a:lnTo>
                        <a:pt x="15" y="191"/>
                      </a:lnTo>
                      <a:lnTo>
                        <a:pt x="16" y="187"/>
                      </a:lnTo>
                      <a:lnTo>
                        <a:pt x="18" y="185"/>
                      </a:lnTo>
                      <a:lnTo>
                        <a:pt x="21" y="184"/>
                      </a:lnTo>
                      <a:lnTo>
                        <a:pt x="22" y="186"/>
                      </a:lnTo>
                      <a:lnTo>
                        <a:pt x="22" y="189"/>
                      </a:lnTo>
                      <a:lnTo>
                        <a:pt x="21" y="191"/>
                      </a:lnTo>
                      <a:lnTo>
                        <a:pt x="22" y="193"/>
                      </a:lnTo>
                      <a:lnTo>
                        <a:pt x="23" y="194"/>
                      </a:lnTo>
                      <a:lnTo>
                        <a:pt x="25" y="195"/>
                      </a:lnTo>
                      <a:lnTo>
                        <a:pt x="27" y="197"/>
                      </a:lnTo>
                      <a:lnTo>
                        <a:pt x="27" y="199"/>
                      </a:lnTo>
                      <a:lnTo>
                        <a:pt x="27" y="200"/>
                      </a:lnTo>
                      <a:lnTo>
                        <a:pt x="25" y="202"/>
                      </a:lnTo>
                      <a:lnTo>
                        <a:pt x="27" y="201"/>
                      </a:lnTo>
                      <a:lnTo>
                        <a:pt x="31" y="200"/>
                      </a:lnTo>
                      <a:lnTo>
                        <a:pt x="36" y="199"/>
                      </a:lnTo>
                      <a:lnTo>
                        <a:pt x="38" y="197"/>
                      </a:lnTo>
                      <a:lnTo>
                        <a:pt x="39" y="197"/>
                      </a:lnTo>
                      <a:lnTo>
                        <a:pt x="43" y="196"/>
                      </a:lnTo>
                      <a:lnTo>
                        <a:pt x="44" y="195"/>
                      </a:lnTo>
                      <a:lnTo>
                        <a:pt x="44" y="195"/>
                      </a:lnTo>
                      <a:lnTo>
                        <a:pt x="40" y="18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6" name="Freeform 95">
                  <a:extLst>
                    <a:ext uri="{FF2B5EF4-FFF2-40B4-BE49-F238E27FC236}">
                      <a16:creationId xmlns:a16="http://schemas.microsoft.com/office/drawing/2014/main" id="{29D6599A-A003-2C09-0E50-A01F373DAACD}"/>
                    </a:ext>
                  </a:extLst>
                </p:cNvPr>
                <p:cNvSpPr>
                  <a:spLocks/>
                </p:cNvSpPr>
                <p:nvPr/>
              </p:nvSpPr>
              <p:spPr bwMode="auto">
                <a:xfrm>
                  <a:off x="6942519" y="2800604"/>
                  <a:ext cx="195628" cy="342348"/>
                </a:xfrm>
                <a:custGeom>
                  <a:avLst/>
                  <a:gdLst>
                    <a:gd name="T0" fmla="*/ 110 w 116"/>
                    <a:gd name="T1" fmla="*/ 99 h 203"/>
                    <a:gd name="T2" fmla="*/ 111 w 116"/>
                    <a:gd name="T3" fmla="*/ 0 h 203"/>
                    <a:gd name="T4" fmla="*/ 41 w 116"/>
                    <a:gd name="T5" fmla="*/ 5 h 203"/>
                    <a:gd name="T6" fmla="*/ 38 w 116"/>
                    <a:gd name="T7" fmla="*/ 10 h 203"/>
                    <a:gd name="T8" fmla="*/ 35 w 116"/>
                    <a:gd name="T9" fmla="*/ 15 h 203"/>
                    <a:gd name="T10" fmla="*/ 32 w 116"/>
                    <a:gd name="T11" fmla="*/ 17 h 203"/>
                    <a:gd name="T12" fmla="*/ 30 w 116"/>
                    <a:gd name="T13" fmla="*/ 26 h 203"/>
                    <a:gd name="T14" fmla="*/ 22 w 116"/>
                    <a:gd name="T15" fmla="*/ 37 h 203"/>
                    <a:gd name="T16" fmla="*/ 18 w 116"/>
                    <a:gd name="T17" fmla="*/ 44 h 203"/>
                    <a:gd name="T18" fmla="*/ 18 w 116"/>
                    <a:gd name="T19" fmla="*/ 48 h 203"/>
                    <a:gd name="T20" fmla="*/ 17 w 116"/>
                    <a:gd name="T21" fmla="*/ 54 h 203"/>
                    <a:gd name="T22" fmla="*/ 13 w 116"/>
                    <a:gd name="T23" fmla="*/ 58 h 203"/>
                    <a:gd name="T24" fmla="*/ 12 w 116"/>
                    <a:gd name="T25" fmla="*/ 62 h 203"/>
                    <a:gd name="T26" fmla="*/ 11 w 116"/>
                    <a:gd name="T27" fmla="*/ 66 h 203"/>
                    <a:gd name="T28" fmla="*/ 14 w 116"/>
                    <a:gd name="T29" fmla="*/ 70 h 203"/>
                    <a:gd name="T30" fmla="*/ 14 w 116"/>
                    <a:gd name="T31" fmla="*/ 78 h 203"/>
                    <a:gd name="T32" fmla="*/ 14 w 116"/>
                    <a:gd name="T33" fmla="*/ 84 h 203"/>
                    <a:gd name="T34" fmla="*/ 11 w 116"/>
                    <a:gd name="T35" fmla="*/ 89 h 203"/>
                    <a:gd name="T36" fmla="*/ 15 w 116"/>
                    <a:gd name="T37" fmla="*/ 94 h 203"/>
                    <a:gd name="T38" fmla="*/ 11 w 116"/>
                    <a:gd name="T39" fmla="*/ 98 h 203"/>
                    <a:gd name="T40" fmla="*/ 15 w 116"/>
                    <a:gd name="T41" fmla="*/ 102 h 203"/>
                    <a:gd name="T42" fmla="*/ 16 w 116"/>
                    <a:gd name="T43" fmla="*/ 108 h 203"/>
                    <a:gd name="T44" fmla="*/ 19 w 116"/>
                    <a:gd name="T45" fmla="*/ 112 h 203"/>
                    <a:gd name="T46" fmla="*/ 19 w 116"/>
                    <a:gd name="T47" fmla="*/ 123 h 203"/>
                    <a:gd name="T48" fmla="*/ 15 w 116"/>
                    <a:gd name="T49" fmla="*/ 126 h 203"/>
                    <a:gd name="T50" fmla="*/ 14 w 116"/>
                    <a:gd name="T51" fmla="*/ 132 h 203"/>
                    <a:gd name="T52" fmla="*/ 8 w 116"/>
                    <a:gd name="T53" fmla="*/ 140 h 203"/>
                    <a:gd name="T54" fmla="*/ 6 w 116"/>
                    <a:gd name="T55" fmla="*/ 149 h 203"/>
                    <a:gd name="T56" fmla="*/ 4 w 116"/>
                    <a:gd name="T57" fmla="*/ 153 h 203"/>
                    <a:gd name="T58" fmla="*/ 4 w 116"/>
                    <a:gd name="T59" fmla="*/ 160 h 203"/>
                    <a:gd name="T60" fmla="*/ 0 w 116"/>
                    <a:gd name="T61" fmla="*/ 164 h 203"/>
                    <a:gd name="T62" fmla="*/ 1 w 116"/>
                    <a:gd name="T63" fmla="*/ 171 h 203"/>
                    <a:gd name="T64" fmla="*/ 65 w 116"/>
                    <a:gd name="T65" fmla="*/ 184 h 203"/>
                    <a:gd name="T66" fmla="*/ 70 w 116"/>
                    <a:gd name="T67" fmla="*/ 192 h 203"/>
                    <a:gd name="T68" fmla="*/ 71 w 116"/>
                    <a:gd name="T69" fmla="*/ 203 h 203"/>
                    <a:gd name="T70" fmla="*/ 72 w 116"/>
                    <a:gd name="T71" fmla="*/ 203 h 203"/>
                    <a:gd name="T72" fmla="*/ 79 w 116"/>
                    <a:gd name="T73" fmla="*/ 199 h 203"/>
                    <a:gd name="T74" fmla="*/ 82 w 116"/>
                    <a:gd name="T75" fmla="*/ 193 h 203"/>
                    <a:gd name="T76" fmla="*/ 89 w 116"/>
                    <a:gd name="T77" fmla="*/ 193 h 203"/>
                    <a:gd name="T78" fmla="*/ 98 w 116"/>
                    <a:gd name="T79" fmla="*/ 190 h 203"/>
                    <a:gd name="T80" fmla="*/ 104 w 116"/>
                    <a:gd name="T81" fmla="*/ 190 h 203"/>
                    <a:gd name="T82" fmla="*/ 109 w 116"/>
                    <a:gd name="T83" fmla="*/ 190 h 203"/>
                    <a:gd name="T84" fmla="*/ 115 w 116"/>
                    <a:gd name="T85" fmla="*/ 190 h 203"/>
                    <a:gd name="T86" fmla="*/ 116 w 116"/>
                    <a:gd name="T87" fmla="*/ 189 h 203"/>
                    <a:gd name="T88" fmla="*/ 110 w 116"/>
                    <a:gd name="T89" fmla="*/ 1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203">
                      <a:moveTo>
                        <a:pt x="110" y="148"/>
                      </a:moveTo>
                      <a:lnTo>
                        <a:pt x="110" y="99"/>
                      </a:lnTo>
                      <a:lnTo>
                        <a:pt x="111" y="7"/>
                      </a:lnTo>
                      <a:lnTo>
                        <a:pt x="111" y="0"/>
                      </a:lnTo>
                      <a:lnTo>
                        <a:pt x="41" y="5"/>
                      </a:lnTo>
                      <a:lnTo>
                        <a:pt x="41" y="5"/>
                      </a:lnTo>
                      <a:lnTo>
                        <a:pt x="42" y="8"/>
                      </a:lnTo>
                      <a:lnTo>
                        <a:pt x="38" y="10"/>
                      </a:lnTo>
                      <a:lnTo>
                        <a:pt x="36" y="12"/>
                      </a:lnTo>
                      <a:lnTo>
                        <a:pt x="35" y="15"/>
                      </a:lnTo>
                      <a:lnTo>
                        <a:pt x="33" y="17"/>
                      </a:lnTo>
                      <a:lnTo>
                        <a:pt x="32" y="17"/>
                      </a:lnTo>
                      <a:lnTo>
                        <a:pt x="30" y="22"/>
                      </a:lnTo>
                      <a:lnTo>
                        <a:pt x="30" y="26"/>
                      </a:lnTo>
                      <a:lnTo>
                        <a:pt x="27" y="31"/>
                      </a:lnTo>
                      <a:lnTo>
                        <a:pt x="22" y="37"/>
                      </a:lnTo>
                      <a:lnTo>
                        <a:pt x="19" y="40"/>
                      </a:lnTo>
                      <a:lnTo>
                        <a:pt x="18" y="44"/>
                      </a:lnTo>
                      <a:lnTo>
                        <a:pt x="20" y="45"/>
                      </a:lnTo>
                      <a:lnTo>
                        <a:pt x="18" y="48"/>
                      </a:lnTo>
                      <a:lnTo>
                        <a:pt x="16" y="52"/>
                      </a:lnTo>
                      <a:lnTo>
                        <a:pt x="17" y="54"/>
                      </a:lnTo>
                      <a:lnTo>
                        <a:pt x="16" y="54"/>
                      </a:lnTo>
                      <a:lnTo>
                        <a:pt x="13" y="58"/>
                      </a:lnTo>
                      <a:lnTo>
                        <a:pt x="11" y="61"/>
                      </a:lnTo>
                      <a:lnTo>
                        <a:pt x="12" y="62"/>
                      </a:lnTo>
                      <a:lnTo>
                        <a:pt x="11" y="64"/>
                      </a:lnTo>
                      <a:lnTo>
                        <a:pt x="11" y="66"/>
                      </a:lnTo>
                      <a:lnTo>
                        <a:pt x="12" y="67"/>
                      </a:lnTo>
                      <a:lnTo>
                        <a:pt x="14" y="70"/>
                      </a:lnTo>
                      <a:lnTo>
                        <a:pt x="14" y="72"/>
                      </a:lnTo>
                      <a:lnTo>
                        <a:pt x="14" y="78"/>
                      </a:lnTo>
                      <a:lnTo>
                        <a:pt x="15" y="81"/>
                      </a:lnTo>
                      <a:lnTo>
                        <a:pt x="14" y="84"/>
                      </a:lnTo>
                      <a:lnTo>
                        <a:pt x="12" y="89"/>
                      </a:lnTo>
                      <a:lnTo>
                        <a:pt x="11" y="89"/>
                      </a:lnTo>
                      <a:lnTo>
                        <a:pt x="14" y="91"/>
                      </a:lnTo>
                      <a:lnTo>
                        <a:pt x="15" y="94"/>
                      </a:lnTo>
                      <a:lnTo>
                        <a:pt x="15" y="96"/>
                      </a:lnTo>
                      <a:lnTo>
                        <a:pt x="11" y="98"/>
                      </a:lnTo>
                      <a:lnTo>
                        <a:pt x="14" y="100"/>
                      </a:lnTo>
                      <a:lnTo>
                        <a:pt x="15" y="102"/>
                      </a:lnTo>
                      <a:lnTo>
                        <a:pt x="15" y="103"/>
                      </a:lnTo>
                      <a:lnTo>
                        <a:pt x="16" y="108"/>
                      </a:lnTo>
                      <a:lnTo>
                        <a:pt x="16" y="110"/>
                      </a:lnTo>
                      <a:lnTo>
                        <a:pt x="19" y="112"/>
                      </a:lnTo>
                      <a:lnTo>
                        <a:pt x="20" y="115"/>
                      </a:lnTo>
                      <a:lnTo>
                        <a:pt x="19" y="123"/>
                      </a:lnTo>
                      <a:lnTo>
                        <a:pt x="16" y="126"/>
                      </a:lnTo>
                      <a:lnTo>
                        <a:pt x="15" y="126"/>
                      </a:lnTo>
                      <a:lnTo>
                        <a:pt x="15" y="130"/>
                      </a:lnTo>
                      <a:lnTo>
                        <a:pt x="14" y="132"/>
                      </a:lnTo>
                      <a:lnTo>
                        <a:pt x="10" y="138"/>
                      </a:lnTo>
                      <a:lnTo>
                        <a:pt x="8" y="140"/>
                      </a:lnTo>
                      <a:lnTo>
                        <a:pt x="7" y="147"/>
                      </a:lnTo>
                      <a:lnTo>
                        <a:pt x="6" y="149"/>
                      </a:lnTo>
                      <a:lnTo>
                        <a:pt x="5" y="150"/>
                      </a:lnTo>
                      <a:lnTo>
                        <a:pt x="4" y="153"/>
                      </a:lnTo>
                      <a:lnTo>
                        <a:pt x="4" y="155"/>
                      </a:lnTo>
                      <a:lnTo>
                        <a:pt x="4" y="160"/>
                      </a:lnTo>
                      <a:lnTo>
                        <a:pt x="1" y="162"/>
                      </a:lnTo>
                      <a:lnTo>
                        <a:pt x="0" y="164"/>
                      </a:lnTo>
                      <a:lnTo>
                        <a:pt x="0" y="167"/>
                      </a:lnTo>
                      <a:lnTo>
                        <a:pt x="1" y="171"/>
                      </a:lnTo>
                      <a:lnTo>
                        <a:pt x="66" y="168"/>
                      </a:lnTo>
                      <a:lnTo>
                        <a:pt x="65" y="184"/>
                      </a:lnTo>
                      <a:lnTo>
                        <a:pt x="67" y="188"/>
                      </a:lnTo>
                      <a:lnTo>
                        <a:pt x="70" y="192"/>
                      </a:lnTo>
                      <a:lnTo>
                        <a:pt x="71" y="199"/>
                      </a:lnTo>
                      <a:lnTo>
                        <a:pt x="71" y="203"/>
                      </a:lnTo>
                      <a:lnTo>
                        <a:pt x="71" y="203"/>
                      </a:lnTo>
                      <a:lnTo>
                        <a:pt x="72" y="203"/>
                      </a:lnTo>
                      <a:lnTo>
                        <a:pt x="77" y="200"/>
                      </a:lnTo>
                      <a:lnTo>
                        <a:pt x="79" y="199"/>
                      </a:lnTo>
                      <a:lnTo>
                        <a:pt x="82" y="197"/>
                      </a:lnTo>
                      <a:lnTo>
                        <a:pt x="82" y="193"/>
                      </a:lnTo>
                      <a:lnTo>
                        <a:pt x="86" y="193"/>
                      </a:lnTo>
                      <a:lnTo>
                        <a:pt x="89" y="193"/>
                      </a:lnTo>
                      <a:lnTo>
                        <a:pt x="93" y="192"/>
                      </a:lnTo>
                      <a:lnTo>
                        <a:pt x="98" y="190"/>
                      </a:lnTo>
                      <a:lnTo>
                        <a:pt x="102" y="190"/>
                      </a:lnTo>
                      <a:lnTo>
                        <a:pt x="104" y="190"/>
                      </a:lnTo>
                      <a:lnTo>
                        <a:pt x="107" y="190"/>
                      </a:lnTo>
                      <a:lnTo>
                        <a:pt x="109" y="190"/>
                      </a:lnTo>
                      <a:lnTo>
                        <a:pt x="113" y="192"/>
                      </a:lnTo>
                      <a:lnTo>
                        <a:pt x="115" y="190"/>
                      </a:lnTo>
                      <a:lnTo>
                        <a:pt x="116" y="189"/>
                      </a:lnTo>
                      <a:lnTo>
                        <a:pt x="116" y="189"/>
                      </a:lnTo>
                      <a:lnTo>
                        <a:pt x="116" y="189"/>
                      </a:lnTo>
                      <a:lnTo>
                        <a:pt x="110" y="14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7" name="Freeform 96">
                  <a:extLst>
                    <a:ext uri="{FF2B5EF4-FFF2-40B4-BE49-F238E27FC236}">
                      <a16:creationId xmlns:a16="http://schemas.microsoft.com/office/drawing/2014/main" id="{7B75E811-7CB9-5917-978F-FBCF725E6446}"/>
                    </a:ext>
                  </a:extLst>
                </p:cNvPr>
                <p:cNvSpPr>
                  <a:spLocks/>
                </p:cNvSpPr>
                <p:nvPr/>
              </p:nvSpPr>
              <p:spPr bwMode="auto">
                <a:xfrm>
                  <a:off x="7559758" y="2387426"/>
                  <a:ext cx="242848" cy="177077"/>
                </a:xfrm>
                <a:custGeom>
                  <a:avLst/>
                  <a:gdLst>
                    <a:gd name="T0" fmla="*/ 0 w 170"/>
                    <a:gd name="T1" fmla="*/ 24 h 123"/>
                    <a:gd name="T2" fmla="*/ 3 w 170"/>
                    <a:gd name="T3" fmla="*/ 44 h 123"/>
                    <a:gd name="T4" fmla="*/ 16 w 170"/>
                    <a:gd name="T5" fmla="*/ 33 h 123"/>
                    <a:gd name="T6" fmla="*/ 28 w 170"/>
                    <a:gd name="T7" fmla="*/ 25 h 123"/>
                    <a:gd name="T8" fmla="*/ 31 w 170"/>
                    <a:gd name="T9" fmla="*/ 27 h 123"/>
                    <a:gd name="T10" fmla="*/ 41 w 170"/>
                    <a:gd name="T11" fmla="*/ 22 h 123"/>
                    <a:gd name="T12" fmla="*/ 63 w 170"/>
                    <a:gd name="T13" fmla="*/ 22 h 123"/>
                    <a:gd name="T14" fmla="*/ 70 w 170"/>
                    <a:gd name="T15" fmla="*/ 36 h 123"/>
                    <a:gd name="T16" fmla="*/ 83 w 170"/>
                    <a:gd name="T17" fmla="*/ 43 h 123"/>
                    <a:gd name="T18" fmla="*/ 93 w 170"/>
                    <a:gd name="T19" fmla="*/ 51 h 123"/>
                    <a:gd name="T20" fmla="*/ 92 w 170"/>
                    <a:gd name="T21" fmla="*/ 60 h 123"/>
                    <a:gd name="T22" fmla="*/ 89 w 170"/>
                    <a:gd name="T23" fmla="*/ 74 h 123"/>
                    <a:gd name="T24" fmla="*/ 94 w 170"/>
                    <a:gd name="T25" fmla="*/ 75 h 123"/>
                    <a:gd name="T26" fmla="*/ 101 w 170"/>
                    <a:gd name="T27" fmla="*/ 75 h 123"/>
                    <a:gd name="T28" fmla="*/ 106 w 170"/>
                    <a:gd name="T29" fmla="*/ 75 h 123"/>
                    <a:gd name="T30" fmla="*/ 122 w 170"/>
                    <a:gd name="T31" fmla="*/ 78 h 123"/>
                    <a:gd name="T32" fmla="*/ 129 w 170"/>
                    <a:gd name="T33" fmla="*/ 79 h 123"/>
                    <a:gd name="T34" fmla="*/ 124 w 170"/>
                    <a:gd name="T35" fmla="*/ 72 h 123"/>
                    <a:gd name="T36" fmla="*/ 124 w 170"/>
                    <a:gd name="T37" fmla="*/ 68 h 123"/>
                    <a:gd name="T38" fmla="*/ 116 w 170"/>
                    <a:gd name="T39" fmla="*/ 57 h 123"/>
                    <a:gd name="T40" fmla="*/ 115 w 170"/>
                    <a:gd name="T41" fmla="*/ 43 h 123"/>
                    <a:gd name="T42" fmla="*/ 113 w 170"/>
                    <a:gd name="T43" fmla="*/ 31 h 123"/>
                    <a:gd name="T44" fmla="*/ 115 w 170"/>
                    <a:gd name="T45" fmla="*/ 28 h 123"/>
                    <a:gd name="T46" fmla="*/ 124 w 170"/>
                    <a:gd name="T47" fmla="*/ 18 h 123"/>
                    <a:gd name="T48" fmla="*/ 129 w 170"/>
                    <a:gd name="T49" fmla="*/ 13 h 123"/>
                    <a:gd name="T50" fmla="*/ 125 w 170"/>
                    <a:gd name="T51" fmla="*/ 21 h 123"/>
                    <a:gd name="T52" fmla="*/ 123 w 170"/>
                    <a:gd name="T53" fmla="*/ 31 h 123"/>
                    <a:gd name="T54" fmla="*/ 122 w 170"/>
                    <a:gd name="T55" fmla="*/ 36 h 123"/>
                    <a:gd name="T56" fmla="*/ 126 w 170"/>
                    <a:gd name="T57" fmla="*/ 41 h 123"/>
                    <a:gd name="T58" fmla="*/ 131 w 170"/>
                    <a:gd name="T59" fmla="*/ 46 h 123"/>
                    <a:gd name="T60" fmla="*/ 134 w 170"/>
                    <a:gd name="T61" fmla="*/ 51 h 123"/>
                    <a:gd name="T62" fmla="*/ 130 w 170"/>
                    <a:gd name="T63" fmla="*/ 57 h 123"/>
                    <a:gd name="T64" fmla="*/ 128 w 170"/>
                    <a:gd name="T65" fmla="*/ 61 h 123"/>
                    <a:gd name="T66" fmla="*/ 129 w 170"/>
                    <a:gd name="T67" fmla="*/ 65 h 123"/>
                    <a:gd name="T68" fmla="*/ 139 w 170"/>
                    <a:gd name="T69" fmla="*/ 66 h 123"/>
                    <a:gd name="T70" fmla="*/ 146 w 170"/>
                    <a:gd name="T71" fmla="*/ 75 h 123"/>
                    <a:gd name="T72" fmla="*/ 147 w 170"/>
                    <a:gd name="T73" fmla="*/ 81 h 123"/>
                    <a:gd name="T74" fmla="*/ 152 w 170"/>
                    <a:gd name="T75" fmla="*/ 89 h 123"/>
                    <a:gd name="T76" fmla="*/ 148 w 170"/>
                    <a:gd name="T77" fmla="*/ 104 h 123"/>
                    <a:gd name="T78" fmla="*/ 149 w 170"/>
                    <a:gd name="T79" fmla="*/ 120 h 123"/>
                    <a:gd name="T80" fmla="*/ 153 w 170"/>
                    <a:gd name="T81" fmla="*/ 116 h 123"/>
                    <a:gd name="T82" fmla="*/ 157 w 170"/>
                    <a:gd name="T83" fmla="*/ 102 h 123"/>
                    <a:gd name="T84" fmla="*/ 157 w 170"/>
                    <a:gd name="T85" fmla="*/ 97 h 123"/>
                    <a:gd name="T86" fmla="*/ 163 w 170"/>
                    <a:gd name="T87" fmla="*/ 91 h 123"/>
                    <a:gd name="T88" fmla="*/ 163 w 170"/>
                    <a:gd name="T89" fmla="*/ 79 h 123"/>
                    <a:gd name="T90" fmla="*/ 167 w 170"/>
                    <a:gd name="T91" fmla="*/ 71 h 123"/>
                    <a:gd name="T92" fmla="*/ 167 w 170"/>
                    <a:gd name="T93" fmla="*/ 77 h 123"/>
                    <a:gd name="T94" fmla="*/ 168 w 170"/>
                    <a:gd name="T95" fmla="*/ 82 h 123"/>
                    <a:gd name="T96" fmla="*/ 170 w 170"/>
                    <a:gd name="T97" fmla="*/ 68 h 123"/>
                    <a:gd name="T98" fmla="*/ 169 w 170"/>
                    <a:gd name="T99" fmla="*/ 54 h 123"/>
                    <a:gd name="T100" fmla="*/ 134 w 170"/>
                    <a:gd name="T10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23">
                      <a:moveTo>
                        <a:pt x="134" y="0"/>
                      </a:moveTo>
                      <a:cubicBezTo>
                        <a:pt x="0" y="24"/>
                        <a:pt x="0" y="24"/>
                        <a:pt x="0" y="24"/>
                      </a:cubicBezTo>
                      <a:cubicBezTo>
                        <a:pt x="0" y="24"/>
                        <a:pt x="0" y="24"/>
                        <a:pt x="0" y="24"/>
                      </a:cubicBezTo>
                      <a:cubicBezTo>
                        <a:pt x="3" y="44"/>
                        <a:pt x="3" y="44"/>
                        <a:pt x="3" y="44"/>
                      </a:cubicBezTo>
                      <a:cubicBezTo>
                        <a:pt x="7" y="44"/>
                        <a:pt x="7" y="44"/>
                        <a:pt x="7" y="44"/>
                      </a:cubicBezTo>
                      <a:cubicBezTo>
                        <a:pt x="16" y="33"/>
                        <a:pt x="16" y="33"/>
                        <a:pt x="16" y="33"/>
                      </a:cubicBezTo>
                      <a:cubicBezTo>
                        <a:pt x="22" y="33"/>
                        <a:pt x="22" y="33"/>
                        <a:pt x="22" y="33"/>
                      </a:cubicBezTo>
                      <a:cubicBezTo>
                        <a:pt x="28" y="25"/>
                        <a:pt x="28" y="25"/>
                        <a:pt x="28" y="25"/>
                      </a:cubicBezTo>
                      <a:cubicBezTo>
                        <a:pt x="30" y="25"/>
                        <a:pt x="30" y="25"/>
                        <a:pt x="30" y="25"/>
                      </a:cubicBezTo>
                      <a:cubicBezTo>
                        <a:pt x="31" y="27"/>
                        <a:pt x="31" y="27"/>
                        <a:pt x="31" y="27"/>
                      </a:cubicBezTo>
                      <a:cubicBezTo>
                        <a:pt x="38" y="22"/>
                        <a:pt x="38" y="22"/>
                        <a:pt x="38" y="22"/>
                      </a:cubicBezTo>
                      <a:cubicBezTo>
                        <a:pt x="41" y="22"/>
                        <a:pt x="41" y="22"/>
                        <a:pt x="41" y="22"/>
                      </a:cubicBezTo>
                      <a:cubicBezTo>
                        <a:pt x="49" y="18"/>
                        <a:pt x="49" y="18"/>
                        <a:pt x="49" y="18"/>
                      </a:cubicBezTo>
                      <a:cubicBezTo>
                        <a:pt x="63" y="22"/>
                        <a:pt x="63" y="22"/>
                        <a:pt x="63" y="22"/>
                      </a:cubicBezTo>
                      <a:cubicBezTo>
                        <a:pt x="67" y="28"/>
                        <a:pt x="67" y="28"/>
                        <a:pt x="67" y="28"/>
                      </a:cubicBezTo>
                      <a:cubicBezTo>
                        <a:pt x="70" y="36"/>
                        <a:pt x="70" y="36"/>
                        <a:pt x="70" y="36"/>
                      </a:cubicBezTo>
                      <a:cubicBezTo>
                        <a:pt x="71" y="36"/>
                        <a:pt x="71" y="36"/>
                        <a:pt x="71" y="36"/>
                      </a:cubicBezTo>
                      <a:cubicBezTo>
                        <a:pt x="83" y="43"/>
                        <a:pt x="83" y="43"/>
                        <a:pt x="83" y="43"/>
                      </a:cubicBezTo>
                      <a:cubicBezTo>
                        <a:pt x="88" y="48"/>
                        <a:pt x="88" y="48"/>
                        <a:pt x="88" y="48"/>
                      </a:cubicBezTo>
                      <a:cubicBezTo>
                        <a:pt x="93" y="51"/>
                        <a:pt x="93" y="51"/>
                        <a:pt x="93" y="51"/>
                      </a:cubicBezTo>
                      <a:cubicBezTo>
                        <a:pt x="94" y="56"/>
                        <a:pt x="94" y="56"/>
                        <a:pt x="94" y="56"/>
                      </a:cubicBezTo>
                      <a:cubicBezTo>
                        <a:pt x="92" y="60"/>
                        <a:pt x="92" y="60"/>
                        <a:pt x="92" y="60"/>
                      </a:cubicBezTo>
                      <a:cubicBezTo>
                        <a:pt x="88" y="61"/>
                        <a:pt x="88" y="61"/>
                        <a:pt x="88" y="61"/>
                      </a:cubicBezTo>
                      <a:cubicBezTo>
                        <a:pt x="89" y="74"/>
                        <a:pt x="89" y="74"/>
                        <a:pt x="89" y="74"/>
                      </a:cubicBezTo>
                      <a:cubicBezTo>
                        <a:pt x="91" y="76"/>
                        <a:pt x="91" y="76"/>
                        <a:pt x="91" y="76"/>
                      </a:cubicBezTo>
                      <a:cubicBezTo>
                        <a:pt x="94" y="75"/>
                        <a:pt x="94" y="75"/>
                        <a:pt x="94" y="75"/>
                      </a:cubicBezTo>
                      <a:cubicBezTo>
                        <a:pt x="97" y="74"/>
                        <a:pt x="97" y="74"/>
                        <a:pt x="97" y="74"/>
                      </a:cubicBezTo>
                      <a:cubicBezTo>
                        <a:pt x="101" y="75"/>
                        <a:pt x="101" y="75"/>
                        <a:pt x="101" y="75"/>
                      </a:cubicBezTo>
                      <a:cubicBezTo>
                        <a:pt x="102" y="76"/>
                        <a:pt x="102" y="76"/>
                        <a:pt x="102" y="76"/>
                      </a:cubicBezTo>
                      <a:cubicBezTo>
                        <a:pt x="106" y="75"/>
                        <a:pt x="106" y="75"/>
                        <a:pt x="106" y="75"/>
                      </a:cubicBezTo>
                      <a:cubicBezTo>
                        <a:pt x="119" y="76"/>
                        <a:pt x="119" y="76"/>
                        <a:pt x="119" y="76"/>
                      </a:cubicBezTo>
                      <a:cubicBezTo>
                        <a:pt x="122" y="78"/>
                        <a:pt x="122" y="78"/>
                        <a:pt x="122" y="78"/>
                      </a:cubicBezTo>
                      <a:cubicBezTo>
                        <a:pt x="126" y="80"/>
                        <a:pt x="126" y="80"/>
                        <a:pt x="126" y="80"/>
                      </a:cubicBezTo>
                      <a:cubicBezTo>
                        <a:pt x="129" y="79"/>
                        <a:pt x="129" y="79"/>
                        <a:pt x="129" y="79"/>
                      </a:cubicBezTo>
                      <a:cubicBezTo>
                        <a:pt x="127" y="75"/>
                        <a:pt x="127" y="75"/>
                        <a:pt x="127" y="75"/>
                      </a:cubicBezTo>
                      <a:cubicBezTo>
                        <a:pt x="124" y="72"/>
                        <a:pt x="124" y="72"/>
                        <a:pt x="124" y="72"/>
                      </a:cubicBezTo>
                      <a:cubicBezTo>
                        <a:pt x="124" y="69"/>
                        <a:pt x="124" y="69"/>
                        <a:pt x="124" y="69"/>
                      </a:cubicBezTo>
                      <a:cubicBezTo>
                        <a:pt x="124" y="68"/>
                        <a:pt x="124" y="68"/>
                        <a:pt x="124" y="68"/>
                      </a:cubicBezTo>
                      <a:cubicBezTo>
                        <a:pt x="118" y="60"/>
                        <a:pt x="118" y="60"/>
                        <a:pt x="118" y="60"/>
                      </a:cubicBezTo>
                      <a:cubicBezTo>
                        <a:pt x="116" y="57"/>
                        <a:pt x="116" y="57"/>
                        <a:pt x="116" y="57"/>
                      </a:cubicBezTo>
                      <a:cubicBezTo>
                        <a:pt x="116" y="50"/>
                        <a:pt x="116" y="50"/>
                        <a:pt x="116" y="50"/>
                      </a:cubicBezTo>
                      <a:cubicBezTo>
                        <a:pt x="115" y="43"/>
                        <a:pt x="115" y="43"/>
                        <a:pt x="115" y="43"/>
                      </a:cubicBezTo>
                      <a:cubicBezTo>
                        <a:pt x="116" y="36"/>
                        <a:pt x="116" y="36"/>
                        <a:pt x="116" y="36"/>
                      </a:cubicBezTo>
                      <a:cubicBezTo>
                        <a:pt x="113" y="31"/>
                        <a:pt x="113" y="31"/>
                        <a:pt x="113" y="31"/>
                      </a:cubicBezTo>
                      <a:cubicBezTo>
                        <a:pt x="111" y="28"/>
                        <a:pt x="111" y="28"/>
                        <a:pt x="111" y="28"/>
                      </a:cubicBezTo>
                      <a:cubicBezTo>
                        <a:pt x="115" y="28"/>
                        <a:pt x="115" y="28"/>
                        <a:pt x="115" y="28"/>
                      </a:cubicBezTo>
                      <a:cubicBezTo>
                        <a:pt x="118" y="22"/>
                        <a:pt x="118" y="22"/>
                        <a:pt x="118" y="22"/>
                      </a:cubicBezTo>
                      <a:cubicBezTo>
                        <a:pt x="124" y="18"/>
                        <a:pt x="124" y="18"/>
                        <a:pt x="124" y="18"/>
                      </a:cubicBezTo>
                      <a:cubicBezTo>
                        <a:pt x="127" y="12"/>
                        <a:pt x="127" y="12"/>
                        <a:pt x="127" y="12"/>
                      </a:cubicBezTo>
                      <a:cubicBezTo>
                        <a:pt x="129" y="13"/>
                        <a:pt x="129" y="13"/>
                        <a:pt x="129" y="13"/>
                      </a:cubicBezTo>
                      <a:cubicBezTo>
                        <a:pt x="128" y="20"/>
                        <a:pt x="128" y="20"/>
                        <a:pt x="128" y="20"/>
                      </a:cubicBezTo>
                      <a:cubicBezTo>
                        <a:pt x="125" y="21"/>
                        <a:pt x="125" y="21"/>
                        <a:pt x="125" y="21"/>
                      </a:cubicBezTo>
                      <a:cubicBezTo>
                        <a:pt x="123" y="27"/>
                        <a:pt x="123" y="27"/>
                        <a:pt x="123" y="27"/>
                      </a:cubicBezTo>
                      <a:cubicBezTo>
                        <a:pt x="123" y="31"/>
                        <a:pt x="123" y="31"/>
                        <a:pt x="123" y="31"/>
                      </a:cubicBezTo>
                      <a:cubicBezTo>
                        <a:pt x="127" y="31"/>
                        <a:pt x="127" y="31"/>
                        <a:pt x="127" y="31"/>
                      </a:cubicBezTo>
                      <a:cubicBezTo>
                        <a:pt x="122" y="36"/>
                        <a:pt x="122" y="36"/>
                        <a:pt x="122" y="36"/>
                      </a:cubicBezTo>
                      <a:cubicBezTo>
                        <a:pt x="120" y="39"/>
                        <a:pt x="120" y="39"/>
                        <a:pt x="120" y="39"/>
                      </a:cubicBezTo>
                      <a:cubicBezTo>
                        <a:pt x="126" y="41"/>
                        <a:pt x="126" y="41"/>
                        <a:pt x="126" y="41"/>
                      </a:cubicBezTo>
                      <a:cubicBezTo>
                        <a:pt x="128" y="42"/>
                        <a:pt x="128" y="42"/>
                        <a:pt x="128" y="42"/>
                      </a:cubicBezTo>
                      <a:cubicBezTo>
                        <a:pt x="131" y="46"/>
                        <a:pt x="131" y="46"/>
                        <a:pt x="131" y="46"/>
                      </a:cubicBezTo>
                      <a:cubicBezTo>
                        <a:pt x="130" y="47"/>
                        <a:pt x="130" y="47"/>
                        <a:pt x="130" y="47"/>
                      </a:cubicBezTo>
                      <a:cubicBezTo>
                        <a:pt x="134" y="51"/>
                        <a:pt x="134" y="51"/>
                        <a:pt x="134" y="51"/>
                      </a:cubicBezTo>
                      <a:cubicBezTo>
                        <a:pt x="134" y="53"/>
                        <a:pt x="134" y="53"/>
                        <a:pt x="134" y="53"/>
                      </a:cubicBezTo>
                      <a:cubicBezTo>
                        <a:pt x="130" y="57"/>
                        <a:pt x="130" y="57"/>
                        <a:pt x="130" y="57"/>
                      </a:cubicBezTo>
                      <a:cubicBezTo>
                        <a:pt x="127" y="57"/>
                        <a:pt x="127" y="57"/>
                        <a:pt x="127" y="57"/>
                      </a:cubicBezTo>
                      <a:cubicBezTo>
                        <a:pt x="128" y="61"/>
                        <a:pt x="128" y="61"/>
                        <a:pt x="128" y="61"/>
                      </a:cubicBezTo>
                      <a:cubicBezTo>
                        <a:pt x="127" y="63"/>
                        <a:pt x="127" y="63"/>
                        <a:pt x="127" y="63"/>
                      </a:cubicBezTo>
                      <a:cubicBezTo>
                        <a:pt x="129" y="65"/>
                        <a:pt x="129" y="65"/>
                        <a:pt x="129" y="65"/>
                      </a:cubicBezTo>
                      <a:cubicBezTo>
                        <a:pt x="133" y="66"/>
                        <a:pt x="133" y="66"/>
                        <a:pt x="133" y="66"/>
                      </a:cubicBezTo>
                      <a:cubicBezTo>
                        <a:pt x="139" y="66"/>
                        <a:pt x="139" y="66"/>
                        <a:pt x="139" y="66"/>
                      </a:cubicBezTo>
                      <a:cubicBezTo>
                        <a:pt x="143" y="69"/>
                        <a:pt x="143" y="69"/>
                        <a:pt x="143" y="69"/>
                      </a:cubicBezTo>
                      <a:cubicBezTo>
                        <a:pt x="146" y="75"/>
                        <a:pt x="146" y="75"/>
                        <a:pt x="146" y="75"/>
                      </a:cubicBezTo>
                      <a:cubicBezTo>
                        <a:pt x="148" y="80"/>
                        <a:pt x="148" y="80"/>
                        <a:pt x="148" y="80"/>
                      </a:cubicBezTo>
                      <a:cubicBezTo>
                        <a:pt x="147" y="81"/>
                        <a:pt x="147" y="81"/>
                        <a:pt x="147" y="81"/>
                      </a:cubicBezTo>
                      <a:cubicBezTo>
                        <a:pt x="150" y="84"/>
                        <a:pt x="150" y="84"/>
                        <a:pt x="150" y="84"/>
                      </a:cubicBezTo>
                      <a:cubicBezTo>
                        <a:pt x="152" y="89"/>
                        <a:pt x="152" y="89"/>
                        <a:pt x="152" y="89"/>
                      </a:cubicBezTo>
                      <a:cubicBezTo>
                        <a:pt x="149" y="98"/>
                        <a:pt x="149" y="98"/>
                        <a:pt x="149" y="98"/>
                      </a:cubicBezTo>
                      <a:cubicBezTo>
                        <a:pt x="148" y="104"/>
                        <a:pt x="148" y="104"/>
                        <a:pt x="148" y="104"/>
                      </a:cubicBezTo>
                      <a:cubicBezTo>
                        <a:pt x="148" y="114"/>
                        <a:pt x="148" y="114"/>
                        <a:pt x="148" y="114"/>
                      </a:cubicBezTo>
                      <a:cubicBezTo>
                        <a:pt x="149" y="120"/>
                        <a:pt x="149" y="120"/>
                        <a:pt x="149" y="120"/>
                      </a:cubicBezTo>
                      <a:cubicBezTo>
                        <a:pt x="151" y="123"/>
                        <a:pt x="151" y="123"/>
                        <a:pt x="151" y="123"/>
                      </a:cubicBezTo>
                      <a:cubicBezTo>
                        <a:pt x="153" y="116"/>
                        <a:pt x="153" y="116"/>
                        <a:pt x="153" y="116"/>
                      </a:cubicBezTo>
                      <a:cubicBezTo>
                        <a:pt x="154" y="105"/>
                        <a:pt x="154" y="105"/>
                        <a:pt x="154" y="105"/>
                      </a:cubicBezTo>
                      <a:cubicBezTo>
                        <a:pt x="157" y="102"/>
                        <a:pt x="157" y="102"/>
                        <a:pt x="157" y="102"/>
                      </a:cubicBezTo>
                      <a:cubicBezTo>
                        <a:pt x="157" y="99"/>
                        <a:pt x="157" y="99"/>
                        <a:pt x="157" y="99"/>
                      </a:cubicBezTo>
                      <a:cubicBezTo>
                        <a:pt x="157" y="97"/>
                        <a:pt x="157" y="97"/>
                        <a:pt x="157" y="97"/>
                      </a:cubicBezTo>
                      <a:cubicBezTo>
                        <a:pt x="160" y="95"/>
                        <a:pt x="160" y="95"/>
                        <a:pt x="160" y="95"/>
                      </a:cubicBezTo>
                      <a:cubicBezTo>
                        <a:pt x="163" y="91"/>
                        <a:pt x="163" y="91"/>
                        <a:pt x="163" y="91"/>
                      </a:cubicBezTo>
                      <a:cubicBezTo>
                        <a:pt x="163" y="82"/>
                        <a:pt x="163" y="82"/>
                        <a:pt x="163" y="82"/>
                      </a:cubicBezTo>
                      <a:cubicBezTo>
                        <a:pt x="163" y="79"/>
                        <a:pt x="163" y="79"/>
                        <a:pt x="163" y="79"/>
                      </a:cubicBezTo>
                      <a:cubicBezTo>
                        <a:pt x="163" y="75"/>
                        <a:pt x="163" y="75"/>
                        <a:pt x="163" y="75"/>
                      </a:cubicBezTo>
                      <a:cubicBezTo>
                        <a:pt x="167" y="71"/>
                        <a:pt x="167" y="71"/>
                        <a:pt x="167" y="71"/>
                      </a:cubicBezTo>
                      <a:cubicBezTo>
                        <a:pt x="168" y="74"/>
                        <a:pt x="168" y="74"/>
                        <a:pt x="168" y="74"/>
                      </a:cubicBezTo>
                      <a:cubicBezTo>
                        <a:pt x="167" y="77"/>
                        <a:pt x="167" y="77"/>
                        <a:pt x="167" y="77"/>
                      </a:cubicBezTo>
                      <a:cubicBezTo>
                        <a:pt x="167" y="77"/>
                        <a:pt x="165" y="80"/>
                        <a:pt x="165" y="80"/>
                      </a:cubicBezTo>
                      <a:cubicBezTo>
                        <a:pt x="166" y="81"/>
                        <a:pt x="168" y="82"/>
                        <a:pt x="168" y="82"/>
                      </a:cubicBezTo>
                      <a:cubicBezTo>
                        <a:pt x="170" y="77"/>
                        <a:pt x="170" y="77"/>
                        <a:pt x="170" y="77"/>
                      </a:cubicBezTo>
                      <a:cubicBezTo>
                        <a:pt x="170" y="68"/>
                        <a:pt x="170" y="68"/>
                        <a:pt x="170" y="68"/>
                      </a:cubicBezTo>
                      <a:cubicBezTo>
                        <a:pt x="169" y="54"/>
                        <a:pt x="169" y="54"/>
                        <a:pt x="169" y="54"/>
                      </a:cubicBezTo>
                      <a:cubicBezTo>
                        <a:pt x="169" y="54"/>
                        <a:pt x="169" y="54"/>
                        <a:pt x="169" y="54"/>
                      </a:cubicBezTo>
                      <a:cubicBezTo>
                        <a:pt x="148" y="57"/>
                        <a:pt x="148" y="57"/>
                        <a:pt x="148" y="57"/>
                      </a:cubicBezTo>
                      <a:lnTo>
                        <a:pt x="13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8" name="Freeform 97">
                  <a:extLst>
                    <a:ext uri="{FF2B5EF4-FFF2-40B4-BE49-F238E27FC236}">
                      <a16:creationId xmlns:a16="http://schemas.microsoft.com/office/drawing/2014/main" id="{DBED93B4-911C-5DC8-F29E-D6325DE89052}"/>
                    </a:ext>
                  </a:extLst>
                </p:cNvPr>
                <p:cNvSpPr>
                  <a:spLocks/>
                </p:cNvSpPr>
                <p:nvPr/>
              </p:nvSpPr>
              <p:spPr bwMode="auto">
                <a:xfrm>
                  <a:off x="7411350" y="2367189"/>
                  <a:ext cx="249594" cy="246221"/>
                </a:xfrm>
                <a:custGeom>
                  <a:avLst/>
                  <a:gdLst>
                    <a:gd name="T0" fmla="*/ 24 w 148"/>
                    <a:gd name="T1" fmla="*/ 136 h 146"/>
                    <a:gd name="T2" fmla="*/ 31 w 148"/>
                    <a:gd name="T3" fmla="*/ 144 h 146"/>
                    <a:gd name="T4" fmla="*/ 38 w 148"/>
                    <a:gd name="T5" fmla="*/ 146 h 146"/>
                    <a:gd name="T6" fmla="*/ 48 w 148"/>
                    <a:gd name="T7" fmla="*/ 142 h 146"/>
                    <a:gd name="T8" fmla="*/ 64 w 148"/>
                    <a:gd name="T9" fmla="*/ 134 h 146"/>
                    <a:gd name="T10" fmla="*/ 79 w 148"/>
                    <a:gd name="T11" fmla="*/ 125 h 146"/>
                    <a:gd name="T12" fmla="*/ 79 w 148"/>
                    <a:gd name="T13" fmla="*/ 112 h 146"/>
                    <a:gd name="T14" fmla="*/ 87 w 148"/>
                    <a:gd name="T15" fmla="*/ 99 h 146"/>
                    <a:gd name="T16" fmla="*/ 91 w 148"/>
                    <a:gd name="T17" fmla="*/ 80 h 146"/>
                    <a:gd name="T18" fmla="*/ 100 w 148"/>
                    <a:gd name="T19" fmla="*/ 84 h 146"/>
                    <a:gd name="T20" fmla="*/ 103 w 148"/>
                    <a:gd name="T21" fmla="*/ 83 h 146"/>
                    <a:gd name="T22" fmla="*/ 108 w 148"/>
                    <a:gd name="T23" fmla="*/ 71 h 146"/>
                    <a:gd name="T24" fmla="*/ 110 w 148"/>
                    <a:gd name="T25" fmla="*/ 67 h 146"/>
                    <a:gd name="T26" fmla="*/ 114 w 148"/>
                    <a:gd name="T27" fmla="*/ 69 h 146"/>
                    <a:gd name="T28" fmla="*/ 122 w 148"/>
                    <a:gd name="T29" fmla="*/ 57 h 146"/>
                    <a:gd name="T30" fmla="*/ 126 w 148"/>
                    <a:gd name="T31" fmla="*/ 47 h 146"/>
                    <a:gd name="T32" fmla="*/ 135 w 148"/>
                    <a:gd name="T33" fmla="*/ 44 h 146"/>
                    <a:gd name="T34" fmla="*/ 143 w 148"/>
                    <a:gd name="T35" fmla="*/ 47 h 146"/>
                    <a:gd name="T36" fmla="*/ 148 w 148"/>
                    <a:gd name="T37" fmla="*/ 43 h 146"/>
                    <a:gd name="T38" fmla="*/ 145 w 148"/>
                    <a:gd name="T39" fmla="*/ 36 h 146"/>
                    <a:gd name="T40" fmla="*/ 130 w 148"/>
                    <a:gd name="T41" fmla="*/ 28 h 146"/>
                    <a:gd name="T42" fmla="*/ 120 w 148"/>
                    <a:gd name="T43" fmla="*/ 31 h 146"/>
                    <a:gd name="T44" fmla="*/ 113 w 148"/>
                    <a:gd name="T45" fmla="*/ 34 h 146"/>
                    <a:gd name="T46" fmla="*/ 107 w 148"/>
                    <a:gd name="T47" fmla="*/ 40 h 146"/>
                    <a:gd name="T48" fmla="*/ 94 w 148"/>
                    <a:gd name="T49" fmla="*/ 50 h 146"/>
                    <a:gd name="T50" fmla="*/ 88 w 148"/>
                    <a:gd name="T51" fmla="*/ 33 h 146"/>
                    <a:gd name="T52" fmla="*/ 51 w 148"/>
                    <a:gd name="T53" fmla="*/ 0 h 146"/>
                    <a:gd name="T54" fmla="*/ 47 w 148"/>
                    <a:gd name="T55" fmla="*/ 3 h 146"/>
                    <a:gd name="T56" fmla="*/ 48 w 148"/>
                    <a:gd name="T57" fmla="*/ 7 h 146"/>
                    <a:gd name="T58" fmla="*/ 48 w 148"/>
                    <a:gd name="T59" fmla="*/ 19 h 146"/>
                    <a:gd name="T60" fmla="*/ 47 w 148"/>
                    <a:gd name="T61" fmla="*/ 28 h 146"/>
                    <a:gd name="T62" fmla="*/ 46 w 148"/>
                    <a:gd name="T63" fmla="*/ 39 h 146"/>
                    <a:gd name="T64" fmla="*/ 36 w 148"/>
                    <a:gd name="T65" fmla="*/ 51 h 146"/>
                    <a:gd name="T66" fmla="*/ 28 w 148"/>
                    <a:gd name="T67" fmla="*/ 55 h 146"/>
                    <a:gd name="T68" fmla="*/ 21 w 148"/>
                    <a:gd name="T69" fmla="*/ 65 h 146"/>
                    <a:gd name="T70" fmla="*/ 19 w 148"/>
                    <a:gd name="T71" fmla="*/ 76 h 146"/>
                    <a:gd name="T72" fmla="*/ 12 w 148"/>
                    <a:gd name="T73" fmla="*/ 76 h 146"/>
                    <a:gd name="T74" fmla="*/ 9 w 148"/>
                    <a:gd name="T75" fmla="*/ 91 h 146"/>
                    <a:gd name="T76" fmla="*/ 3 w 148"/>
                    <a:gd name="T77" fmla="*/ 98 h 146"/>
                    <a:gd name="T78" fmla="*/ 3 w 148"/>
                    <a:gd name="T79" fmla="*/ 114 h 146"/>
                    <a:gd name="T80" fmla="*/ 10 w 148"/>
                    <a:gd name="T81" fmla="*/ 127 h 146"/>
                    <a:gd name="T82" fmla="*/ 19 w 148"/>
                    <a:gd name="T83" fmla="*/ 138 h 146"/>
                    <a:gd name="T84" fmla="*/ 21 w 148"/>
                    <a:gd name="T85"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6">
                      <a:moveTo>
                        <a:pt x="21" y="136"/>
                      </a:moveTo>
                      <a:lnTo>
                        <a:pt x="24" y="136"/>
                      </a:lnTo>
                      <a:lnTo>
                        <a:pt x="25" y="139"/>
                      </a:lnTo>
                      <a:lnTo>
                        <a:pt x="31" y="144"/>
                      </a:lnTo>
                      <a:lnTo>
                        <a:pt x="36" y="146"/>
                      </a:lnTo>
                      <a:lnTo>
                        <a:pt x="38" y="146"/>
                      </a:lnTo>
                      <a:lnTo>
                        <a:pt x="44" y="139"/>
                      </a:lnTo>
                      <a:lnTo>
                        <a:pt x="48" y="142"/>
                      </a:lnTo>
                      <a:lnTo>
                        <a:pt x="57" y="140"/>
                      </a:lnTo>
                      <a:lnTo>
                        <a:pt x="64" y="134"/>
                      </a:lnTo>
                      <a:lnTo>
                        <a:pt x="75" y="128"/>
                      </a:lnTo>
                      <a:lnTo>
                        <a:pt x="79" y="125"/>
                      </a:lnTo>
                      <a:lnTo>
                        <a:pt x="78" y="117"/>
                      </a:lnTo>
                      <a:lnTo>
                        <a:pt x="79" y="112"/>
                      </a:lnTo>
                      <a:lnTo>
                        <a:pt x="84" y="107"/>
                      </a:lnTo>
                      <a:lnTo>
                        <a:pt x="87" y="99"/>
                      </a:lnTo>
                      <a:lnTo>
                        <a:pt x="90" y="87"/>
                      </a:lnTo>
                      <a:lnTo>
                        <a:pt x="91" y="80"/>
                      </a:lnTo>
                      <a:lnTo>
                        <a:pt x="95" y="82"/>
                      </a:lnTo>
                      <a:lnTo>
                        <a:pt x="100" y="84"/>
                      </a:lnTo>
                      <a:lnTo>
                        <a:pt x="102" y="85"/>
                      </a:lnTo>
                      <a:lnTo>
                        <a:pt x="103" y="83"/>
                      </a:lnTo>
                      <a:lnTo>
                        <a:pt x="106" y="75"/>
                      </a:lnTo>
                      <a:lnTo>
                        <a:pt x="108" y="71"/>
                      </a:lnTo>
                      <a:lnTo>
                        <a:pt x="109" y="67"/>
                      </a:lnTo>
                      <a:lnTo>
                        <a:pt x="110" y="67"/>
                      </a:lnTo>
                      <a:lnTo>
                        <a:pt x="113" y="67"/>
                      </a:lnTo>
                      <a:lnTo>
                        <a:pt x="114" y="69"/>
                      </a:lnTo>
                      <a:lnTo>
                        <a:pt x="119" y="60"/>
                      </a:lnTo>
                      <a:lnTo>
                        <a:pt x="122" y="57"/>
                      </a:lnTo>
                      <a:lnTo>
                        <a:pt x="124" y="54"/>
                      </a:lnTo>
                      <a:lnTo>
                        <a:pt x="126" y="47"/>
                      </a:lnTo>
                      <a:lnTo>
                        <a:pt x="126" y="39"/>
                      </a:lnTo>
                      <a:lnTo>
                        <a:pt x="135" y="44"/>
                      </a:lnTo>
                      <a:lnTo>
                        <a:pt x="141" y="47"/>
                      </a:lnTo>
                      <a:lnTo>
                        <a:pt x="143" y="47"/>
                      </a:lnTo>
                      <a:lnTo>
                        <a:pt x="146" y="44"/>
                      </a:lnTo>
                      <a:lnTo>
                        <a:pt x="148" y="43"/>
                      </a:lnTo>
                      <a:lnTo>
                        <a:pt x="147" y="43"/>
                      </a:lnTo>
                      <a:lnTo>
                        <a:pt x="145" y="36"/>
                      </a:lnTo>
                      <a:lnTo>
                        <a:pt x="141" y="31"/>
                      </a:lnTo>
                      <a:lnTo>
                        <a:pt x="130" y="28"/>
                      </a:lnTo>
                      <a:lnTo>
                        <a:pt x="123" y="31"/>
                      </a:lnTo>
                      <a:lnTo>
                        <a:pt x="120" y="31"/>
                      </a:lnTo>
                      <a:lnTo>
                        <a:pt x="114" y="35"/>
                      </a:lnTo>
                      <a:lnTo>
                        <a:pt x="113" y="34"/>
                      </a:lnTo>
                      <a:lnTo>
                        <a:pt x="112" y="34"/>
                      </a:lnTo>
                      <a:lnTo>
                        <a:pt x="107" y="40"/>
                      </a:lnTo>
                      <a:lnTo>
                        <a:pt x="102" y="40"/>
                      </a:lnTo>
                      <a:lnTo>
                        <a:pt x="94" y="50"/>
                      </a:lnTo>
                      <a:lnTo>
                        <a:pt x="91" y="50"/>
                      </a:lnTo>
                      <a:lnTo>
                        <a:pt x="88" y="33"/>
                      </a:lnTo>
                      <a:lnTo>
                        <a:pt x="57" y="39"/>
                      </a:lnTo>
                      <a:lnTo>
                        <a:pt x="51" y="0"/>
                      </a:lnTo>
                      <a:lnTo>
                        <a:pt x="48" y="0"/>
                      </a:lnTo>
                      <a:lnTo>
                        <a:pt x="47" y="3"/>
                      </a:lnTo>
                      <a:lnTo>
                        <a:pt x="48" y="6"/>
                      </a:lnTo>
                      <a:lnTo>
                        <a:pt x="48" y="7"/>
                      </a:lnTo>
                      <a:lnTo>
                        <a:pt x="48" y="15"/>
                      </a:lnTo>
                      <a:lnTo>
                        <a:pt x="48" y="19"/>
                      </a:lnTo>
                      <a:lnTo>
                        <a:pt x="47" y="22"/>
                      </a:lnTo>
                      <a:lnTo>
                        <a:pt x="47" y="28"/>
                      </a:lnTo>
                      <a:lnTo>
                        <a:pt x="46" y="36"/>
                      </a:lnTo>
                      <a:lnTo>
                        <a:pt x="46" y="39"/>
                      </a:lnTo>
                      <a:lnTo>
                        <a:pt x="44" y="44"/>
                      </a:lnTo>
                      <a:lnTo>
                        <a:pt x="36" y="51"/>
                      </a:lnTo>
                      <a:lnTo>
                        <a:pt x="33" y="55"/>
                      </a:lnTo>
                      <a:lnTo>
                        <a:pt x="28" y="55"/>
                      </a:lnTo>
                      <a:lnTo>
                        <a:pt x="24" y="61"/>
                      </a:lnTo>
                      <a:lnTo>
                        <a:pt x="21" y="65"/>
                      </a:lnTo>
                      <a:lnTo>
                        <a:pt x="20" y="75"/>
                      </a:lnTo>
                      <a:lnTo>
                        <a:pt x="19" y="76"/>
                      </a:lnTo>
                      <a:lnTo>
                        <a:pt x="15" y="73"/>
                      </a:lnTo>
                      <a:lnTo>
                        <a:pt x="12" y="76"/>
                      </a:lnTo>
                      <a:lnTo>
                        <a:pt x="9" y="87"/>
                      </a:lnTo>
                      <a:lnTo>
                        <a:pt x="9" y="91"/>
                      </a:lnTo>
                      <a:lnTo>
                        <a:pt x="7" y="94"/>
                      </a:lnTo>
                      <a:lnTo>
                        <a:pt x="3" y="98"/>
                      </a:lnTo>
                      <a:lnTo>
                        <a:pt x="0" y="101"/>
                      </a:lnTo>
                      <a:lnTo>
                        <a:pt x="3" y="114"/>
                      </a:lnTo>
                      <a:lnTo>
                        <a:pt x="5" y="120"/>
                      </a:lnTo>
                      <a:lnTo>
                        <a:pt x="10" y="127"/>
                      </a:lnTo>
                      <a:lnTo>
                        <a:pt x="15" y="132"/>
                      </a:lnTo>
                      <a:lnTo>
                        <a:pt x="19" y="138"/>
                      </a:lnTo>
                      <a:lnTo>
                        <a:pt x="20" y="138"/>
                      </a:lnTo>
                      <a:lnTo>
                        <a:pt x="21" y="136"/>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9" name="Freeform 98">
                  <a:extLst>
                    <a:ext uri="{FF2B5EF4-FFF2-40B4-BE49-F238E27FC236}">
                      <a16:creationId xmlns:a16="http://schemas.microsoft.com/office/drawing/2014/main" id="{DF96A0C2-DC53-EC5A-CE37-7A161B12A51C}"/>
                    </a:ext>
                  </a:extLst>
                </p:cNvPr>
                <p:cNvSpPr>
                  <a:spLocks/>
                </p:cNvSpPr>
                <p:nvPr/>
              </p:nvSpPr>
              <p:spPr bwMode="auto">
                <a:xfrm>
                  <a:off x="7045393" y="2498731"/>
                  <a:ext cx="398000" cy="205746"/>
                </a:xfrm>
                <a:custGeom>
                  <a:avLst/>
                  <a:gdLst>
                    <a:gd name="T0" fmla="*/ 207 w 236"/>
                    <a:gd name="T1" fmla="*/ 91 h 122"/>
                    <a:gd name="T2" fmla="*/ 214 w 236"/>
                    <a:gd name="T3" fmla="*/ 88 h 122"/>
                    <a:gd name="T4" fmla="*/ 220 w 236"/>
                    <a:gd name="T5" fmla="*/ 74 h 122"/>
                    <a:gd name="T6" fmla="*/ 235 w 236"/>
                    <a:gd name="T7" fmla="*/ 64 h 122"/>
                    <a:gd name="T8" fmla="*/ 232 w 236"/>
                    <a:gd name="T9" fmla="*/ 54 h 122"/>
                    <a:gd name="T10" fmla="*/ 222 w 236"/>
                    <a:gd name="T11" fmla="*/ 42 h 122"/>
                    <a:gd name="T12" fmla="*/ 217 w 236"/>
                    <a:gd name="T13" fmla="*/ 23 h 122"/>
                    <a:gd name="T14" fmla="*/ 215 w 236"/>
                    <a:gd name="T15" fmla="*/ 22 h 122"/>
                    <a:gd name="T16" fmla="*/ 207 w 236"/>
                    <a:gd name="T17" fmla="*/ 13 h 122"/>
                    <a:gd name="T18" fmla="*/ 203 w 236"/>
                    <a:gd name="T19" fmla="*/ 11 h 122"/>
                    <a:gd name="T20" fmla="*/ 199 w 236"/>
                    <a:gd name="T21" fmla="*/ 15 h 122"/>
                    <a:gd name="T22" fmla="*/ 192 w 236"/>
                    <a:gd name="T23" fmla="*/ 17 h 122"/>
                    <a:gd name="T24" fmla="*/ 184 w 236"/>
                    <a:gd name="T25" fmla="*/ 13 h 122"/>
                    <a:gd name="T26" fmla="*/ 181 w 236"/>
                    <a:gd name="T27" fmla="*/ 16 h 122"/>
                    <a:gd name="T28" fmla="*/ 178 w 236"/>
                    <a:gd name="T29" fmla="*/ 18 h 122"/>
                    <a:gd name="T30" fmla="*/ 174 w 236"/>
                    <a:gd name="T31" fmla="*/ 15 h 122"/>
                    <a:gd name="T32" fmla="*/ 166 w 236"/>
                    <a:gd name="T33" fmla="*/ 13 h 122"/>
                    <a:gd name="T34" fmla="*/ 163 w 236"/>
                    <a:gd name="T35" fmla="*/ 7 h 122"/>
                    <a:gd name="T36" fmla="*/ 154 w 236"/>
                    <a:gd name="T37" fmla="*/ 0 h 122"/>
                    <a:gd name="T38" fmla="*/ 148 w 236"/>
                    <a:gd name="T39" fmla="*/ 3 h 122"/>
                    <a:gd name="T40" fmla="*/ 141 w 236"/>
                    <a:gd name="T41" fmla="*/ 2 h 122"/>
                    <a:gd name="T42" fmla="*/ 144 w 236"/>
                    <a:gd name="T43" fmla="*/ 7 h 122"/>
                    <a:gd name="T44" fmla="*/ 144 w 236"/>
                    <a:gd name="T45" fmla="*/ 15 h 122"/>
                    <a:gd name="T46" fmla="*/ 138 w 236"/>
                    <a:gd name="T47" fmla="*/ 17 h 122"/>
                    <a:gd name="T48" fmla="*/ 126 w 236"/>
                    <a:gd name="T49" fmla="*/ 20 h 122"/>
                    <a:gd name="T50" fmla="*/ 125 w 236"/>
                    <a:gd name="T51" fmla="*/ 23 h 122"/>
                    <a:gd name="T52" fmla="*/ 124 w 236"/>
                    <a:gd name="T53" fmla="*/ 29 h 122"/>
                    <a:gd name="T54" fmla="*/ 120 w 236"/>
                    <a:gd name="T55" fmla="*/ 37 h 122"/>
                    <a:gd name="T56" fmla="*/ 115 w 236"/>
                    <a:gd name="T57" fmla="*/ 39 h 122"/>
                    <a:gd name="T58" fmla="*/ 112 w 236"/>
                    <a:gd name="T59" fmla="*/ 47 h 122"/>
                    <a:gd name="T60" fmla="*/ 104 w 236"/>
                    <a:gd name="T61" fmla="*/ 52 h 122"/>
                    <a:gd name="T62" fmla="*/ 100 w 236"/>
                    <a:gd name="T63" fmla="*/ 48 h 122"/>
                    <a:gd name="T64" fmla="*/ 97 w 236"/>
                    <a:gd name="T65" fmla="*/ 44 h 122"/>
                    <a:gd name="T66" fmla="*/ 93 w 236"/>
                    <a:gd name="T67" fmla="*/ 51 h 122"/>
                    <a:gd name="T68" fmla="*/ 92 w 236"/>
                    <a:gd name="T69" fmla="*/ 58 h 122"/>
                    <a:gd name="T70" fmla="*/ 86 w 236"/>
                    <a:gd name="T71" fmla="*/ 55 h 122"/>
                    <a:gd name="T72" fmla="*/ 80 w 236"/>
                    <a:gd name="T73" fmla="*/ 56 h 122"/>
                    <a:gd name="T74" fmla="*/ 76 w 236"/>
                    <a:gd name="T75" fmla="*/ 61 h 122"/>
                    <a:gd name="T76" fmla="*/ 71 w 236"/>
                    <a:gd name="T77" fmla="*/ 60 h 122"/>
                    <a:gd name="T78" fmla="*/ 63 w 236"/>
                    <a:gd name="T79" fmla="*/ 57 h 122"/>
                    <a:gd name="T80" fmla="*/ 57 w 236"/>
                    <a:gd name="T81" fmla="*/ 61 h 122"/>
                    <a:gd name="T82" fmla="*/ 49 w 236"/>
                    <a:gd name="T83" fmla="*/ 66 h 122"/>
                    <a:gd name="T84" fmla="*/ 43 w 236"/>
                    <a:gd name="T85" fmla="*/ 67 h 122"/>
                    <a:gd name="T86" fmla="*/ 43 w 236"/>
                    <a:gd name="T87" fmla="*/ 72 h 122"/>
                    <a:gd name="T88" fmla="*/ 44 w 236"/>
                    <a:gd name="T89" fmla="*/ 78 h 122"/>
                    <a:gd name="T90" fmla="*/ 36 w 236"/>
                    <a:gd name="T91" fmla="*/ 81 h 122"/>
                    <a:gd name="T92" fmla="*/ 33 w 236"/>
                    <a:gd name="T93" fmla="*/ 88 h 122"/>
                    <a:gd name="T94" fmla="*/ 33 w 236"/>
                    <a:gd name="T95" fmla="*/ 94 h 122"/>
                    <a:gd name="T96" fmla="*/ 27 w 236"/>
                    <a:gd name="T97" fmla="*/ 94 h 122"/>
                    <a:gd name="T98" fmla="*/ 19 w 236"/>
                    <a:gd name="T99" fmla="*/ 89 h 122"/>
                    <a:gd name="T100" fmla="*/ 14 w 236"/>
                    <a:gd name="T101" fmla="*/ 93 h 122"/>
                    <a:gd name="T102" fmla="*/ 10 w 236"/>
                    <a:gd name="T103" fmla="*/ 97 h 122"/>
                    <a:gd name="T104" fmla="*/ 14 w 236"/>
                    <a:gd name="T105" fmla="*/ 102 h 122"/>
                    <a:gd name="T106" fmla="*/ 14 w 236"/>
                    <a:gd name="T107" fmla="*/ 107 h 122"/>
                    <a:gd name="T108" fmla="*/ 12 w 236"/>
                    <a:gd name="T109" fmla="*/ 115 h 122"/>
                    <a:gd name="T110" fmla="*/ 7 w 236"/>
                    <a:gd name="T111" fmla="*/ 116 h 122"/>
                    <a:gd name="T112" fmla="*/ 5 w 236"/>
                    <a:gd name="T113" fmla="*/ 117 h 122"/>
                    <a:gd name="T114" fmla="*/ 0 w 236"/>
                    <a:gd name="T115" fmla="*/ 117 h 122"/>
                    <a:gd name="T116" fmla="*/ 0 w 236"/>
                    <a:gd name="T117" fmla="*/ 121 h 122"/>
                    <a:gd name="T118" fmla="*/ 2 w 236"/>
                    <a:gd name="T119" fmla="*/ 121 h 122"/>
                    <a:gd name="T120" fmla="*/ 50 w 236"/>
                    <a:gd name="T121" fmla="*/ 111 h 122"/>
                    <a:gd name="T122" fmla="*/ 192 w 236"/>
                    <a:gd name="T123" fmla="*/ 100 h 122"/>
                    <a:gd name="T124" fmla="*/ 202 w 236"/>
                    <a:gd name="T12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122">
                      <a:moveTo>
                        <a:pt x="202" y="94"/>
                      </a:moveTo>
                      <a:lnTo>
                        <a:pt x="207" y="91"/>
                      </a:lnTo>
                      <a:lnTo>
                        <a:pt x="210" y="89"/>
                      </a:lnTo>
                      <a:lnTo>
                        <a:pt x="214" y="88"/>
                      </a:lnTo>
                      <a:lnTo>
                        <a:pt x="217" y="79"/>
                      </a:lnTo>
                      <a:lnTo>
                        <a:pt x="220" y="74"/>
                      </a:lnTo>
                      <a:lnTo>
                        <a:pt x="231" y="70"/>
                      </a:lnTo>
                      <a:lnTo>
                        <a:pt x="235" y="64"/>
                      </a:lnTo>
                      <a:lnTo>
                        <a:pt x="236" y="60"/>
                      </a:lnTo>
                      <a:lnTo>
                        <a:pt x="232" y="54"/>
                      </a:lnTo>
                      <a:lnTo>
                        <a:pt x="227" y="49"/>
                      </a:lnTo>
                      <a:lnTo>
                        <a:pt x="222" y="42"/>
                      </a:lnTo>
                      <a:lnTo>
                        <a:pt x="220" y="36"/>
                      </a:lnTo>
                      <a:lnTo>
                        <a:pt x="217" y="23"/>
                      </a:lnTo>
                      <a:lnTo>
                        <a:pt x="218" y="22"/>
                      </a:lnTo>
                      <a:lnTo>
                        <a:pt x="215" y="22"/>
                      </a:lnTo>
                      <a:lnTo>
                        <a:pt x="211" y="18"/>
                      </a:lnTo>
                      <a:lnTo>
                        <a:pt x="207" y="13"/>
                      </a:lnTo>
                      <a:lnTo>
                        <a:pt x="204" y="10"/>
                      </a:lnTo>
                      <a:lnTo>
                        <a:pt x="203" y="11"/>
                      </a:lnTo>
                      <a:lnTo>
                        <a:pt x="201" y="12"/>
                      </a:lnTo>
                      <a:lnTo>
                        <a:pt x="199" y="15"/>
                      </a:lnTo>
                      <a:lnTo>
                        <a:pt x="198" y="16"/>
                      </a:lnTo>
                      <a:lnTo>
                        <a:pt x="192" y="17"/>
                      </a:lnTo>
                      <a:lnTo>
                        <a:pt x="187" y="15"/>
                      </a:lnTo>
                      <a:lnTo>
                        <a:pt x="184" y="13"/>
                      </a:lnTo>
                      <a:lnTo>
                        <a:pt x="183" y="14"/>
                      </a:lnTo>
                      <a:lnTo>
                        <a:pt x="181" y="16"/>
                      </a:lnTo>
                      <a:lnTo>
                        <a:pt x="181" y="17"/>
                      </a:lnTo>
                      <a:lnTo>
                        <a:pt x="178" y="18"/>
                      </a:lnTo>
                      <a:lnTo>
                        <a:pt x="176" y="16"/>
                      </a:lnTo>
                      <a:lnTo>
                        <a:pt x="174" y="15"/>
                      </a:lnTo>
                      <a:lnTo>
                        <a:pt x="171" y="14"/>
                      </a:lnTo>
                      <a:lnTo>
                        <a:pt x="166" y="13"/>
                      </a:lnTo>
                      <a:lnTo>
                        <a:pt x="165" y="11"/>
                      </a:lnTo>
                      <a:lnTo>
                        <a:pt x="163" y="7"/>
                      </a:lnTo>
                      <a:lnTo>
                        <a:pt x="159" y="4"/>
                      </a:lnTo>
                      <a:lnTo>
                        <a:pt x="154" y="0"/>
                      </a:lnTo>
                      <a:lnTo>
                        <a:pt x="153" y="1"/>
                      </a:lnTo>
                      <a:lnTo>
                        <a:pt x="148" y="3"/>
                      </a:lnTo>
                      <a:lnTo>
                        <a:pt x="143" y="1"/>
                      </a:lnTo>
                      <a:lnTo>
                        <a:pt x="141" y="2"/>
                      </a:lnTo>
                      <a:lnTo>
                        <a:pt x="142" y="6"/>
                      </a:lnTo>
                      <a:lnTo>
                        <a:pt x="144" y="7"/>
                      </a:lnTo>
                      <a:lnTo>
                        <a:pt x="143" y="9"/>
                      </a:lnTo>
                      <a:lnTo>
                        <a:pt x="144" y="15"/>
                      </a:lnTo>
                      <a:lnTo>
                        <a:pt x="142" y="17"/>
                      </a:lnTo>
                      <a:lnTo>
                        <a:pt x="138" y="17"/>
                      </a:lnTo>
                      <a:lnTo>
                        <a:pt x="134" y="19"/>
                      </a:lnTo>
                      <a:lnTo>
                        <a:pt x="126" y="20"/>
                      </a:lnTo>
                      <a:lnTo>
                        <a:pt x="125" y="21"/>
                      </a:lnTo>
                      <a:lnTo>
                        <a:pt x="125" y="23"/>
                      </a:lnTo>
                      <a:lnTo>
                        <a:pt x="124" y="25"/>
                      </a:lnTo>
                      <a:lnTo>
                        <a:pt x="124" y="29"/>
                      </a:lnTo>
                      <a:lnTo>
                        <a:pt x="122" y="33"/>
                      </a:lnTo>
                      <a:lnTo>
                        <a:pt x="120" y="37"/>
                      </a:lnTo>
                      <a:lnTo>
                        <a:pt x="118" y="39"/>
                      </a:lnTo>
                      <a:lnTo>
                        <a:pt x="115" y="39"/>
                      </a:lnTo>
                      <a:lnTo>
                        <a:pt x="112" y="44"/>
                      </a:lnTo>
                      <a:lnTo>
                        <a:pt x="112" y="47"/>
                      </a:lnTo>
                      <a:lnTo>
                        <a:pt x="110" y="51"/>
                      </a:lnTo>
                      <a:lnTo>
                        <a:pt x="104" y="52"/>
                      </a:lnTo>
                      <a:lnTo>
                        <a:pt x="103" y="51"/>
                      </a:lnTo>
                      <a:lnTo>
                        <a:pt x="100" y="48"/>
                      </a:lnTo>
                      <a:lnTo>
                        <a:pt x="99" y="44"/>
                      </a:lnTo>
                      <a:lnTo>
                        <a:pt x="97" y="44"/>
                      </a:lnTo>
                      <a:lnTo>
                        <a:pt x="96" y="48"/>
                      </a:lnTo>
                      <a:lnTo>
                        <a:pt x="93" y="51"/>
                      </a:lnTo>
                      <a:lnTo>
                        <a:pt x="93" y="55"/>
                      </a:lnTo>
                      <a:lnTo>
                        <a:pt x="92" y="58"/>
                      </a:lnTo>
                      <a:lnTo>
                        <a:pt x="88" y="57"/>
                      </a:lnTo>
                      <a:lnTo>
                        <a:pt x="86" y="55"/>
                      </a:lnTo>
                      <a:lnTo>
                        <a:pt x="82" y="55"/>
                      </a:lnTo>
                      <a:lnTo>
                        <a:pt x="80" y="56"/>
                      </a:lnTo>
                      <a:lnTo>
                        <a:pt x="76" y="57"/>
                      </a:lnTo>
                      <a:lnTo>
                        <a:pt x="76" y="61"/>
                      </a:lnTo>
                      <a:lnTo>
                        <a:pt x="75" y="62"/>
                      </a:lnTo>
                      <a:lnTo>
                        <a:pt x="71" y="60"/>
                      </a:lnTo>
                      <a:lnTo>
                        <a:pt x="68" y="57"/>
                      </a:lnTo>
                      <a:lnTo>
                        <a:pt x="63" y="57"/>
                      </a:lnTo>
                      <a:lnTo>
                        <a:pt x="60" y="57"/>
                      </a:lnTo>
                      <a:lnTo>
                        <a:pt x="57" y="61"/>
                      </a:lnTo>
                      <a:lnTo>
                        <a:pt x="49" y="61"/>
                      </a:lnTo>
                      <a:lnTo>
                        <a:pt x="49" y="66"/>
                      </a:lnTo>
                      <a:lnTo>
                        <a:pt x="46" y="66"/>
                      </a:lnTo>
                      <a:lnTo>
                        <a:pt x="43" y="67"/>
                      </a:lnTo>
                      <a:lnTo>
                        <a:pt x="43" y="71"/>
                      </a:lnTo>
                      <a:lnTo>
                        <a:pt x="43" y="72"/>
                      </a:lnTo>
                      <a:lnTo>
                        <a:pt x="43" y="75"/>
                      </a:lnTo>
                      <a:lnTo>
                        <a:pt x="44" y="78"/>
                      </a:lnTo>
                      <a:lnTo>
                        <a:pt x="42" y="79"/>
                      </a:lnTo>
                      <a:lnTo>
                        <a:pt x="36" y="81"/>
                      </a:lnTo>
                      <a:lnTo>
                        <a:pt x="33" y="83"/>
                      </a:lnTo>
                      <a:lnTo>
                        <a:pt x="33" y="88"/>
                      </a:lnTo>
                      <a:lnTo>
                        <a:pt x="35" y="93"/>
                      </a:lnTo>
                      <a:lnTo>
                        <a:pt x="33" y="94"/>
                      </a:lnTo>
                      <a:lnTo>
                        <a:pt x="30" y="94"/>
                      </a:lnTo>
                      <a:lnTo>
                        <a:pt x="27" y="94"/>
                      </a:lnTo>
                      <a:lnTo>
                        <a:pt x="23" y="91"/>
                      </a:lnTo>
                      <a:lnTo>
                        <a:pt x="19" y="89"/>
                      </a:lnTo>
                      <a:lnTo>
                        <a:pt x="17" y="90"/>
                      </a:lnTo>
                      <a:lnTo>
                        <a:pt x="14" y="93"/>
                      </a:lnTo>
                      <a:lnTo>
                        <a:pt x="11" y="94"/>
                      </a:lnTo>
                      <a:lnTo>
                        <a:pt x="10" y="97"/>
                      </a:lnTo>
                      <a:lnTo>
                        <a:pt x="10" y="100"/>
                      </a:lnTo>
                      <a:lnTo>
                        <a:pt x="14" y="102"/>
                      </a:lnTo>
                      <a:lnTo>
                        <a:pt x="14" y="104"/>
                      </a:lnTo>
                      <a:lnTo>
                        <a:pt x="14" y="107"/>
                      </a:lnTo>
                      <a:lnTo>
                        <a:pt x="14" y="112"/>
                      </a:lnTo>
                      <a:lnTo>
                        <a:pt x="12" y="115"/>
                      </a:lnTo>
                      <a:lnTo>
                        <a:pt x="10" y="116"/>
                      </a:lnTo>
                      <a:lnTo>
                        <a:pt x="7" y="116"/>
                      </a:lnTo>
                      <a:lnTo>
                        <a:pt x="5" y="117"/>
                      </a:lnTo>
                      <a:lnTo>
                        <a:pt x="5" y="117"/>
                      </a:lnTo>
                      <a:lnTo>
                        <a:pt x="4" y="117"/>
                      </a:lnTo>
                      <a:lnTo>
                        <a:pt x="0" y="117"/>
                      </a:lnTo>
                      <a:lnTo>
                        <a:pt x="0" y="118"/>
                      </a:lnTo>
                      <a:lnTo>
                        <a:pt x="0" y="121"/>
                      </a:lnTo>
                      <a:lnTo>
                        <a:pt x="0" y="122"/>
                      </a:lnTo>
                      <a:lnTo>
                        <a:pt x="2" y="121"/>
                      </a:lnTo>
                      <a:lnTo>
                        <a:pt x="52" y="120"/>
                      </a:lnTo>
                      <a:lnTo>
                        <a:pt x="50" y="111"/>
                      </a:lnTo>
                      <a:lnTo>
                        <a:pt x="143" y="105"/>
                      </a:lnTo>
                      <a:lnTo>
                        <a:pt x="192" y="100"/>
                      </a:lnTo>
                      <a:lnTo>
                        <a:pt x="198" y="97"/>
                      </a:lnTo>
                      <a:lnTo>
                        <a:pt x="202" y="9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0" name="Freeform 99">
                  <a:extLst>
                    <a:ext uri="{FF2B5EF4-FFF2-40B4-BE49-F238E27FC236}">
                      <a16:creationId xmlns:a16="http://schemas.microsoft.com/office/drawing/2014/main" id="{4D76A0B4-6B46-D6AC-8DC7-DEDF098BF12B}"/>
                    </a:ext>
                  </a:extLst>
                </p:cNvPr>
                <p:cNvSpPr>
                  <a:spLocks/>
                </p:cNvSpPr>
                <p:nvPr/>
              </p:nvSpPr>
              <p:spPr bwMode="auto">
                <a:xfrm>
                  <a:off x="6706417" y="2426214"/>
                  <a:ext cx="362585" cy="315365"/>
                </a:xfrm>
                <a:custGeom>
                  <a:avLst/>
                  <a:gdLst>
                    <a:gd name="T0" fmla="*/ 238 w 254"/>
                    <a:gd name="T1" fmla="*/ 190 h 221"/>
                    <a:gd name="T2" fmla="*/ 242 w 254"/>
                    <a:gd name="T3" fmla="*/ 189 h 221"/>
                    <a:gd name="T4" fmla="*/ 244 w 254"/>
                    <a:gd name="T5" fmla="*/ 188 h 221"/>
                    <a:gd name="T6" fmla="*/ 249 w 254"/>
                    <a:gd name="T7" fmla="*/ 187 h 221"/>
                    <a:gd name="T8" fmla="*/ 254 w 254"/>
                    <a:gd name="T9" fmla="*/ 183 h 221"/>
                    <a:gd name="T10" fmla="*/ 254 w 254"/>
                    <a:gd name="T11" fmla="*/ 173 h 221"/>
                    <a:gd name="T12" fmla="*/ 250 w 254"/>
                    <a:gd name="T13" fmla="*/ 168 h 221"/>
                    <a:gd name="T14" fmla="*/ 251 w 254"/>
                    <a:gd name="T15" fmla="*/ 161 h 221"/>
                    <a:gd name="T16" fmla="*/ 243 w 254"/>
                    <a:gd name="T17" fmla="*/ 166 h 221"/>
                    <a:gd name="T18" fmla="*/ 238 w 254"/>
                    <a:gd name="T19" fmla="*/ 156 h 221"/>
                    <a:gd name="T20" fmla="*/ 240 w 254"/>
                    <a:gd name="T21" fmla="*/ 146 h 221"/>
                    <a:gd name="T22" fmla="*/ 232 w 254"/>
                    <a:gd name="T23" fmla="*/ 131 h 221"/>
                    <a:gd name="T24" fmla="*/ 216 w 254"/>
                    <a:gd name="T25" fmla="*/ 124 h 221"/>
                    <a:gd name="T26" fmla="*/ 202 w 254"/>
                    <a:gd name="T27" fmla="*/ 112 h 221"/>
                    <a:gd name="T28" fmla="*/ 204 w 254"/>
                    <a:gd name="T29" fmla="*/ 100 h 221"/>
                    <a:gd name="T30" fmla="*/ 206 w 254"/>
                    <a:gd name="T31" fmla="*/ 91 h 221"/>
                    <a:gd name="T32" fmla="*/ 206 w 254"/>
                    <a:gd name="T33" fmla="*/ 80 h 221"/>
                    <a:gd name="T34" fmla="*/ 196 w 254"/>
                    <a:gd name="T35" fmla="*/ 76 h 221"/>
                    <a:gd name="T36" fmla="*/ 191 w 254"/>
                    <a:gd name="T37" fmla="*/ 81 h 221"/>
                    <a:gd name="T38" fmla="*/ 186 w 254"/>
                    <a:gd name="T39" fmla="*/ 67 h 221"/>
                    <a:gd name="T40" fmla="*/ 163 w 254"/>
                    <a:gd name="T41" fmla="*/ 45 h 221"/>
                    <a:gd name="T42" fmla="*/ 156 w 254"/>
                    <a:gd name="T43" fmla="*/ 22 h 221"/>
                    <a:gd name="T44" fmla="*/ 158 w 254"/>
                    <a:gd name="T45" fmla="*/ 10 h 221"/>
                    <a:gd name="T46" fmla="*/ 0 w 254"/>
                    <a:gd name="T47" fmla="*/ 2 h 221"/>
                    <a:gd name="T48" fmla="*/ 4 w 254"/>
                    <a:gd name="T49" fmla="*/ 6 h 221"/>
                    <a:gd name="T50" fmla="*/ 3 w 254"/>
                    <a:gd name="T51" fmla="*/ 13 h 221"/>
                    <a:gd name="T52" fmla="*/ 5 w 254"/>
                    <a:gd name="T53" fmla="*/ 17 h 221"/>
                    <a:gd name="T54" fmla="*/ 12 w 254"/>
                    <a:gd name="T55" fmla="*/ 25 h 221"/>
                    <a:gd name="T56" fmla="*/ 14 w 254"/>
                    <a:gd name="T57" fmla="*/ 29 h 221"/>
                    <a:gd name="T58" fmla="*/ 20 w 254"/>
                    <a:gd name="T59" fmla="*/ 39 h 221"/>
                    <a:gd name="T60" fmla="*/ 31 w 254"/>
                    <a:gd name="T61" fmla="*/ 39 h 221"/>
                    <a:gd name="T62" fmla="*/ 28 w 254"/>
                    <a:gd name="T63" fmla="*/ 50 h 221"/>
                    <a:gd name="T64" fmla="*/ 31 w 254"/>
                    <a:gd name="T65" fmla="*/ 61 h 221"/>
                    <a:gd name="T66" fmla="*/ 36 w 254"/>
                    <a:gd name="T67" fmla="*/ 69 h 221"/>
                    <a:gd name="T68" fmla="*/ 42 w 254"/>
                    <a:gd name="T69" fmla="*/ 176 h 221"/>
                    <a:gd name="T70" fmla="*/ 215 w 254"/>
                    <a:gd name="T71" fmla="*/ 197 h 221"/>
                    <a:gd name="T72" fmla="*/ 205 w 254"/>
                    <a:gd name="T73" fmla="*/ 221 h 221"/>
                    <a:gd name="T74" fmla="*/ 234 w 254"/>
                    <a:gd name="T75" fmla="*/ 216 h 221"/>
                    <a:gd name="T76" fmla="*/ 237 w 254"/>
                    <a:gd name="T77" fmla="*/ 211 h 221"/>
                    <a:gd name="T78" fmla="*/ 234 w 254"/>
                    <a:gd name="T79" fmla="*/ 206 h 221"/>
                    <a:gd name="T80" fmla="*/ 237 w 254"/>
                    <a:gd name="T81" fmla="*/ 203 h 221"/>
                    <a:gd name="T82" fmla="*/ 238 w 254"/>
                    <a:gd name="T83" fmla="*/ 197 h 221"/>
                    <a:gd name="T84" fmla="*/ 238 w 254"/>
                    <a:gd name="T85"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221">
                      <a:moveTo>
                        <a:pt x="238" y="193"/>
                      </a:moveTo>
                      <a:cubicBezTo>
                        <a:pt x="238" y="190"/>
                        <a:pt x="238" y="190"/>
                        <a:pt x="238" y="190"/>
                      </a:cubicBezTo>
                      <a:cubicBezTo>
                        <a:pt x="238" y="189"/>
                        <a:pt x="238" y="189"/>
                        <a:pt x="238" y="189"/>
                      </a:cubicBezTo>
                      <a:cubicBezTo>
                        <a:pt x="242" y="189"/>
                        <a:pt x="242" y="189"/>
                        <a:pt x="242" y="189"/>
                      </a:cubicBezTo>
                      <a:cubicBezTo>
                        <a:pt x="243" y="189"/>
                        <a:pt x="243" y="189"/>
                        <a:pt x="243" y="189"/>
                      </a:cubicBezTo>
                      <a:cubicBezTo>
                        <a:pt x="244" y="188"/>
                        <a:pt x="244" y="188"/>
                        <a:pt x="244" y="188"/>
                      </a:cubicBezTo>
                      <a:cubicBezTo>
                        <a:pt x="246" y="187"/>
                        <a:pt x="246" y="187"/>
                        <a:pt x="246" y="187"/>
                      </a:cubicBezTo>
                      <a:cubicBezTo>
                        <a:pt x="249" y="187"/>
                        <a:pt x="249" y="187"/>
                        <a:pt x="249" y="187"/>
                      </a:cubicBezTo>
                      <a:cubicBezTo>
                        <a:pt x="252" y="186"/>
                        <a:pt x="252" y="186"/>
                        <a:pt x="252" y="186"/>
                      </a:cubicBezTo>
                      <a:cubicBezTo>
                        <a:pt x="254" y="183"/>
                        <a:pt x="254" y="183"/>
                        <a:pt x="254" y="183"/>
                      </a:cubicBezTo>
                      <a:cubicBezTo>
                        <a:pt x="254" y="177"/>
                        <a:pt x="254" y="177"/>
                        <a:pt x="254" y="177"/>
                      </a:cubicBezTo>
                      <a:cubicBezTo>
                        <a:pt x="254" y="173"/>
                        <a:pt x="254" y="173"/>
                        <a:pt x="254" y="173"/>
                      </a:cubicBezTo>
                      <a:cubicBezTo>
                        <a:pt x="254" y="171"/>
                        <a:pt x="254" y="171"/>
                        <a:pt x="254" y="171"/>
                      </a:cubicBezTo>
                      <a:cubicBezTo>
                        <a:pt x="250" y="168"/>
                        <a:pt x="250" y="168"/>
                        <a:pt x="250" y="168"/>
                      </a:cubicBezTo>
                      <a:cubicBezTo>
                        <a:pt x="250" y="165"/>
                        <a:pt x="250" y="165"/>
                        <a:pt x="250" y="165"/>
                      </a:cubicBezTo>
                      <a:cubicBezTo>
                        <a:pt x="251" y="161"/>
                        <a:pt x="251" y="161"/>
                        <a:pt x="251" y="161"/>
                      </a:cubicBezTo>
                      <a:cubicBezTo>
                        <a:pt x="246" y="161"/>
                        <a:pt x="246" y="161"/>
                        <a:pt x="246" y="161"/>
                      </a:cubicBezTo>
                      <a:cubicBezTo>
                        <a:pt x="243" y="166"/>
                        <a:pt x="243" y="166"/>
                        <a:pt x="243" y="166"/>
                      </a:cubicBezTo>
                      <a:cubicBezTo>
                        <a:pt x="243" y="161"/>
                        <a:pt x="243" y="161"/>
                        <a:pt x="243" y="161"/>
                      </a:cubicBezTo>
                      <a:cubicBezTo>
                        <a:pt x="238" y="156"/>
                        <a:pt x="238" y="156"/>
                        <a:pt x="238" y="156"/>
                      </a:cubicBezTo>
                      <a:cubicBezTo>
                        <a:pt x="239" y="152"/>
                        <a:pt x="239" y="152"/>
                        <a:pt x="239" y="152"/>
                      </a:cubicBezTo>
                      <a:cubicBezTo>
                        <a:pt x="240" y="146"/>
                        <a:pt x="240" y="146"/>
                        <a:pt x="240" y="146"/>
                      </a:cubicBezTo>
                      <a:cubicBezTo>
                        <a:pt x="236" y="135"/>
                        <a:pt x="236" y="135"/>
                        <a:pt x="236" y="135"/>
                      </a:cubicBezTo>
                      <a:cubicBezTo>
                        <a:pt x="232" y="131"/>
                        <a:pt x="232" y="131"/>
                        <a:pt x="232" y="131"/>
                      </a:cubicBezTo>
                      <a:cubicBezTo>
                        <a:pt x="219" y="122"/>
                        <a:pt x="219" y="122"/>
                        <a:pt x="219" y="122"/>
                      </a:cubicBezTo>
                      <a:cubicBezTo>
                        <a:pt x="216" y="124"/>
                        <a:pt x="216" y="124"/>
                        <a:pt x="216" y="124"/>
                      </a:cubicBezTo>
                      <a:cubicBezTo>
                        <a:pt x="208" y="118"/>
                        <a:pt x="208" y="118"/>
                        <a:pt x="208" y="118"/>
                      </a:cubicBezTo>
                      <a:cubicBezTo>
                        <a:pt x="202" y="112"/>
                        <a:pt x="202" y="112"/>
                        <a:pt x="202" y="112"/>
                      </a:cubicBezTo>
                      <a:cubicBezTo>
                        <a:pt x="202" y="106"/>
                        <a:pt x="202" y="106"/>
                        <a:pt x="202" y="106"/>
                      </a:cubicBezTo>
                      <a:cubicBezTo>
                        <a:pt x="204" y="100"/>
                        <a:pt x="204" y="100"/>
                        <a:pt x="204" y="100"/>
                      </a:cubicBezTo>
                      <a:cubicBezTo>
                        <a:pt x="205" y="96"/>
                        <a:pt x="205" y="96"/>
                        <a:pt x="205" y="96"/>
                      </a:cubicBezTo>
                      <a:cubicBezTo>
                        <a:pt x="206" y="91"/>
                        <a:pt x="206" y="91"/>
                        <a:pt x="206" y="91"/>
                      </a:cubicBezTo>
                      <a:cubicBezTo>
                        <a:pt x="209" y="84"/>
                        <a:pt x="209" y="84"/>
                        <a:pt x="209" y="84"/>
                      </a:cubicBezTo>
                      <a:cubicBezTo>
                        <a:pt x="206" y="80"/>
                        <a:pt x="206" y="80"/>
                        <a:pt x="206" y="80"/>
                      </a:cubicBezTo>
                      <a:cubicBezTo>
                        <a:pt x="202" y="76"/>
                        <a:pt x="202" y="76"/>
                        <a:pt x="202" y="76"/>
                      </a:cubicBezTo>
                      <a:cubicBezTo>
                        <a:pt x="196" y="76"/>
                        <a:pt x="196" y="76"/>
                        <a:pt x="196" y="76"/>
                      </a:cubicBezTo>
                      <a:cubicBezTo>
                        <a:pt x="193" y="78"/>
                        <a:pt x="193" y="78"/>
                        <a:pt x="193" y="78"/>
                      </a:cubicBezTo>
                      <a:cubicBezTo>
                        <a:pt x="191" y="81"/>
                        <a:pt x="191" y="81"/>
                        <a:pt x="191" y="81"/>
                      </a:cubicBezTo>
                      <a:cubicBezTo>
                        <a:pt x="186" y="76"/>
                        <a:pt x="186" y="76"/>
                        <a:pt x="186" y="76"/>
                      </a:cubicBezTo>
                      <a:cubicBezTo>
                        <a:pt x="186" y="67"/>
                        <a:pt x="186" y="67"/>
                        <a:pt x="186" y="67"/>
                      </a:cubicBezTo>
                      <a:cubicBezTo>
                        <a:pt x="181" y="60"/>
                        <a:pt x="181" y="60"/>
                        <a:pt x="181" y="60"/>
                      </a:cubicBezTo>
                      <a:cubicBezTo>
                        <a:pt x="163" y="45"/>
                        <a:pt x="163" y="45"/>
                        <a:pt x="163" y="45"/>
                      </a:cubicBezTo>
                      <a:cubicBezTo>
                        <a:pt x="156" y="33"/>
                        <a:pt x="156" y="33"/>
                        <a:pt x="156" y="33"/>
                      </a:cubicBezTo>
                      <a:cubicBezTo>
                        <a:pt x="156" y="22"/>
                        <a:pt x="156" y="22"/>
                        <a:pt x="156" y="22"/>
                      </a:cubicBezTo>
                      <a:cubicBezTo>
                        <a:pt x="156" y="11"/>
                        <a:pt x="156" y="11"/>
                        <a:pt x="156" y="11"/>
                      </a:cubicBezTo>
                      <a:cubicBezTo>
                        <a:pt x="158" y="10"/>
                        <a:pt x="158" y="10"/>
                        <a:pt x="158" y="10"/>
                      </a:cubicBezTo>
                      <a:cubicBezTo>
                        <a:pt x="146" y="0"/>
                        <a:pt x="146" y="0"/>
                        <a:pt x="146" y="0"/>
                      </a:cubicBezTo>
                      <a:cubicBezTo>
                        <a:pt x="0" y="2"/>
                        <a:pt x="0" y="2"/>
                        <a:pt x="0" y="2"/>
                      </a:cubicBezTo>
                      <a:cubicBezTo>
                        <a:pt x="1" y="4"/>
                        <a:pt x="1" y="4"/>
                        <a:pt x="1" y="4"/>
                      </a:cubicBezTo>
                      <a:cubicBezTo>
                        <a:pt x="4" y="6"/>
                        <a:pt x="4" y="6"/>
                        <a:pt x="4" y="6"/>
                      </a:cubicBezTo>
                      <a:cubicBezTo>
                        <a:pt x="5" y="11"/>
                        <a:pt x="5" y="11"/>
                        <a:pt x="5" y="11"/>
                      </a:cubicBezTo>
                      <a:cubicBezTo>
                        <a:pt x="3" y="13"/>
                        <a:pt x="3" y="13"/>
                        <a:pt x="3" y="13"/>
                      </a:cubicBezTo>
                      <a:cubicBezTo>
                        <a:pt x="5" y="16"/>
                        <a:pt x="5" y="16"/>
                        <a:pt x="5" y="16"/>
                      </a:cubicBezTo>
                      <a:cubicBezTo>
                        <a:pt x="5" y="16"/>
                        <a:pt x="4" y="16"/>
                        <a:pt x="5" y="17"/>
                      </a:cubicBezTo>
                      <a:cubicBezTo>
                        <a:pt x="6" y="18"/>
                        <a:pt x="11" y="19"/>
                        <a:pt x="11" y="19"/>
                      </a:cubicBezTo>
                      <a:cubicBezTo>
                        <a:pt x="12" y="25"/>
                        <a:pt x="12" y="25"/>
                        <a:pt x="12" y="25"/>
                      </a:cubicBezTo>
                      <a:cubicBezTo>
                        <a:pt x="14" y="29"/>
                        <a:pt x="14" y="29"/>
                        <a:pt x="14" y="29"/>
                      </a:cubicBezTo>
                      <a:cubicBezTo>
                        <a:pt x="14" y="29"/>
                        <a:pt x="14" y="29"/>
                        <a:pt x="14" y="29"/>
                      </a:cubicBezTo>
                      <a:cubicBezTo>
                        <a:pt x="18" y="35"/>
                        <a:pt x="18" y="35"/>
                        <a:pt x="18" y="35"/>
                      </a:cubicBezTo>
                      <a:cubicBezTo>
                        <a:pt x="20" y="39"/>
                        <a:pt x="20" y="39"/>
                        <a:pt x="20" y="39"/>
                      </a:cubicBezTo>
                      <a:cubicBezTo>
                        <a:pt x="29" y="39"/>
                        <a:pt x="29" y="39"/>
                        <a:pt x="29" y="39"/>
                      </a:cubicBezTo>
                      <a:cubicBezTo>
                        <a:pt x="31" y="39"/>
                        <a:pt x="31" y="39"/>
                        <a:pt x="31" y="39"/>
                      </a:cubicBezTo>
                      <a:cubicBezTo>
                        <a:pt x="31" y="44"/>
                        <a:pt x="31" y="44"/>
                        <a:pt x="31" y="44"/>
                      </a:cubicBezTo>
                      <a:cubicBezTo>
                        <a:pt x="28" y="50"/>
                        <a:pt x="28" y="50"/>
                        <a:pt x="28" y="50"/>
                      </a:cubicBezTo>
                      <a:cubicBezTo>
                        <a:pt x="25" y="55"/>
                        <a:pt x="25" y="55"/>
                        <a:pt x="25" y="55"/>
                      </a:cubicBezTo>
                      <a:cubicBezTo>
                        <a:pt x="31" y="61"/>
                        <a:pt x="31" y="61"/>
                        <a:pt x="31" y="61"/>
                      </a:cubicBezTo>
                      <a:cubicBezTo>
                        <a:pt x="33" y="67"/>
                        <a:pt x="33" y="67"/>
                        <a:pt x="33" y="67"/>
                      </a:cubicBezTo>
                      <a:cubicBezTo>
                        <a:pt x="36" y="69"/>
                        <a:pt x="36" y="69"/>
                        <a:pt x="36" y="69"/>
                      </a:cubicBezTo>
                      <a:cubicBezTo>
                        <a:pt x="42" y="72"/>
                        <a:pt x="42" y="72"/>
                        <a:pt x="42" y="72"/>
                      </a:cubicBezTo>
                      <a:cubicBezTo>
                        <a:pt x="42" y="176"/>
                        <a:pt x="42" y="176"/>
                        <a:pt x="42" y="176"/>
                      </a:cubicBezTo>
                      <a:cubicBezTo>
                        <a:pt x="42" y="201"/>
                        <a:pt x="42" y="201"/>
                        <a:pt x="42" y="201"/>
                      </a:cubicBezTo>
                      <a:cubicBezTo>
                        <a:pt x="215" y="197"/>
                        <a:pt x="215" y="197"/>
                        <a:pt x="215" y="197"/>
                      </a:cubicBezTo>
                      <a:cubicBezTo>
                        <a:pt x="216" y="203"/>
                        <a:pt x="216" y="203"/>
                        <a:pt x="216" y="203"/>
                      </a:cubicBezTo>
                      <a:cubicBezTo>
                        <a:pt x="205" y="221"/>
                        <a:pt x="205" y="221"/>
                        <a:pt x="205" y="221"/>
                      </a:cubicBezTo>
                      <a:cubicBezTo>
                        <a:pt x="233" y="219"/>
                        <a:pt x="233" y="219"/>
                        <a:pt x="233" y="219"/>
                      </a:cubicBezTo>
                      <a:cubicBezTo>
                        <a:pt x="234" y="216"/>
                        <a:pt x="234" y="216"/>
                        <a:pt x="234" y="216"/>
                      </a:cubicBezTo>
                      <a:cubicBezTo>
                        <a:pt x="236" y="213"/>
                        <a:pt x="236" y="213"/>
                        <a:pt x="236" y="213"/>
                      </a:cubicBezTo>
                      <a:cubicBezTo>
                        <a:pt x="236" y="213"/>
                        <a:pt x="238" y="212"/>
                        <a:pt x="237" y="211"/>
                      </a:cubicBezTo>
                      <a:cubicBezTo>
                        <a:pt x="237" y="210"/>
                        <a:pt x="235" y="207"/>
                        <a:pt x="235" y="207"/>
                      </a:cubicBezTo>
                      <a:cubicBezTo>
                        <a:pt x="234" y="206"/>
                        <a:pt x="234" y="206"/>
                        <a:pt x="234" y="206"/>
                      </a:cubicBezTo>
                      <a:cubicBezTo>
                        <a:pt x="235" y="204"/>
                        <a:pt x="235" y="204"/>
                        <a:pt x="235" y="204"/>
                      </a:cubicBezTo>
                      <a:cubicBezTo>
                        <a:pt x="237" y="203"/>
                        <a:pt x="237" y="203"/>
                        <a:pt x="237" y="203"/>
                      </a:cubicBezTo>
                      <a:cubicBezTo>
                        <a:pt x="238" y="200"/>
                        <a:pt x="238" y="200"/>
                        <a:pt x="238" y="200"/>
                      </a:cubicBezTo>
                      <a:cubicBezTo>
                        <a:pt x="238" y="197"/>
                        <a:pt x="238" y="197"/>
                        <a:pt x="238" y="197"/>
                      </a:cubicBezTo>
                      <a:cubicBezTo>
                        <a:pt x="238" y="194"/>
                        <a:pt x="238" y="194"/>
                        <a:pt x="238" y="194"/>
                      </a:cubicBezTo>
                      <a:lnTo>
                        <a:pt x="238" y="19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1" name="Freeform 100">
                  <a:extLst>
                    <a:ext uri="{FF2B5EF4-FFF2-40B4-BE49-F238E27FC236}">
                      <a16:creationId xmlns:a16="http://schemas.microsoft.com/office/drawing/2014/main" id="{FBA092A8-B110-E389-C6BF-8F0A4E5FDA9B}"/>
                    </a:ext>
                  </a:extLst>
                </p:cNvPr>
                <p:cNvSpPr>
                  <a:spLocks/>
                </p:cNvSpPr>
                <p:nvPr/>
              </p:nvSpPr>
              <p:spPr bwMode="auto">
                <a:xfrm>
                  <a:off x="6642332" y="1820781"/>
                  <a:ext cx="350780" cy="408119"/>
                </a:xfrm>
                <a:custGeom>
                  <a:avLst/>
                  <a:gdLst>
                    <a:gd name="T0" fmla="*/ 139 w 208"/>
                    <a:gd name="T1" fmla="*/ 135 h 242"/>
                    <a:gd name="T2" fmla="*/ 144 w 208"/>
                    <a:gd name="T3" fmla="*/ 107 h 242"/>
                    <a:gd name="T4" fmla="*/ 169 w 208"/>
                    <a:gd name="T5" fmla="*/ 80 h 242"/>
                    <a:gd name="T6" fmla="*/ 208 w 208"/>
                    <a:gd name="T7" fmla="*/ 55 h 242"/>
                    <a:gd name="T8" fmla="*/ 183 w 208"/>
                    <a:gd name="T9" fmla="*/ 52 h 242"/>
                    <a:gd name="T10" fmla="*/ 166 w 208"/>
                    <a:gd name="T11" fmla="*/ 52 h 242"/>
                    <a:gd name="T12" fmla="*/ 154 w 208"/>
                    <a:gd name="T13" fmla="*/ 55 h 242"/>
                    <a:gd name="T14" fmla="*/ 147 w 208"/>
                    <a:gd name="T15" fmla="*/ 48 h 242"/>
                    <a:gd name="T16" fmla="*/ 133 w 208"/>
                    <a:gd name="T17" fmla="*/ 45 h 242"/>
                    <a:gd name="T18" fmla="*/ 128 w 208"/>
                    <a:gd name="T19" fmla="*/ 42 h 242"/>
                    <a:gd name="T20" fmla="*/ 114 w 208"/>
                    <a:gd name="T21" fmla="*/ 36 h 242"/>
                    <a:gd name="T22" fmla="*/ 123 w 208"/>
                    <a:gd name="T23" fmla="*/ 36 h 242"/>
                    <a:gd name="T24" fmla="*/ 114 w 208"/>
                    <a:gd name="T25" fmla="*/ 35 h 242"/>
                    <a:gd name="T26" fmla="*/ 105 w 208"/>
                    <a:gd name="T27" fmla="*/ 35 h 242"/>
                    <a:gd name="T28" fmla="*/ 97 w 208"/>
                    <a:gd name="T29" fmla="*/ 39 h 242"/>
                    <a:gd name="T30" fmla="*/ 87 w 208"/>
                    <a:gd name="T31" fmla="*/ 34 h 242"/>
                    <a:gd name="T32" fmla="*/ 80 w 208"/>
                    <a:gd name="T33" fmla="*/ 34 h 242"/>
                    <a:gd name="T34" fmla="*/ 68 w 208"/>
                    <a:gd name="T35" fmla="*/ 24 h 242"/>
                    <a:gd name="T36" fmla="*/ 66 w 208"/>
                    <a:gd name="T37" fmla="*/ 20 h 242"/>
                    <a:gd name="T38" fmla="*/ 58 w 208"/>
                    <a:gd name="T39" fmla="*/ 20 h 242"/>
                    <a:gd name="T40" fmla="*/ 54 w 208"/>
                    <a:gd name="T41" fmla="*/ 16 h 242"/>
                    <a:gd name="T42" fmla="*/ 58 w 208"/>
                    <a:gd name="T43" fmla="*/ 8 h 242"/>
                    <a:gd name="T44" fmla="*/ 60 w 208"/>
                    <a:gd name="T45" fmla="*/ 2 h 242"/>
                    <a:gd name="T46" fmla="*/ 56 w 208"/>
                    <a:gd name="T47" fmla="*/ 0 h 242"/>
                    <a:gd name="T48" fmla="*/ 54 w 208"/>
                    <a:gd name="T49" fmla="*/ 12 h 242"/>
                    <a:gd name="T50" fmla="*/ 0 w 208"/>
                    <a:gd name="T51" fmla="*/ 16 h 242"/>
                    <a:gd name="T52" fmla="*/ 1 w 208"/>
                    <a:gd name="T53" fmla="*/ 23 h 242"/>
                    <a:gd name="T54" fmla="*/ 4 w 208"/>
                    <a:gd name="T55" fmla="*/ 26 h 242"/>
                    <a:gd name="T56" fmla="*/ 3 w 208"/>
                    <a:gd name="T57" fmla="*/ 31 h 242"/>
                    <a:gd name="T58" fmla="*/ 1 w 208"/>
                    <a:gd name="T59" fmla="*/ 34 h 242"/>
                    <a:gd name="T60" fmla="*/ 2 w 208"/>
                    <a:gd name="T61" fmla="*/ 40 h 242"/>
                    <a:gd name="T62" fmla="*/ 1 w 208"/>
                    <a:gd name="T63" fmla="*/ 51 h 242"/>
                    <a:gd name="T64" fmla="*/ 6 w 208"/>
                    <a:gd name="T65" fmla="*/ 64 h 242"/>
                    <a:gd name="T66" fmla="*/ 9 w 208"/>
                    <a:gd name="T67" fmla="*/ 78 h 242"/>
                    <a:gd name="T68" fmla="*/ 10 w 208"/>
                    <a:gd name="T69" fmla="*/ 104 h 242"/>
                    <a:gd name="T70" fmla="*/ 12 w 208"/>
                    <a:gd name="T71" fmla="*/ 114 h 242"/>
                    <a:gd name="T72" fmla="*/ 12 w 208"/>
                    <a:gd name="T73" fmla="*/ 122 h 242"/>
                    <a:gd name="T74" fmla="*/ 17 w 208"/>
                    <a:gd name="T75" fmla="*/ 127 h 242"/>
                    <a:gd name="T76" fmla="*/ 18 w 208"/>
                    <a:gd name="T77" fmla="*/ 136 h 242"/>
                    <a:gd name="T78" fmla="*/ 16 w 208"/>
                    <a:gd name="T79" fmla="*/ 142 h 242"/>
                    <a:gd name="T80" fmla="*/ 17 w 208"/>
                    <a:gd name="T81" fmla="*/ 144 h 242"/>
                    <a:gd name="T82" fmla="*/ 11 w 208"/>
                    <a:gd name="T83" fmla="*/ 150 h 242"/>
                    <a:gd name="T84" fmla="*/ 8 w 208"/>
                    <a:gd name="T85" fmla="*/ 154 h 242"/>
                    <a:gd name="T86" fmla="*/ 9 w 208"/>
                    <a:gd name="T87" fmla="*/ 158 h 242"/>
                    <a:gd name="T88" fmla="*/ 12 w 208"/>
                    <a:gd name="T89" fmla="*/ 163 h 242"/>
                    <a:gd name="T90" fmla="*/ 18 w 208"/>
                    <a:gd name="T91" fmla="*/ 167 h 242"/>
                    <a:gd name="T92" fmla="*/ 18 w 208"/>
                    <a:gd name="T93" fmla="*/ 242 h 242"/>
                    <a:gd name="T94" fmla="*/ 173 w 208"/>
                    <a:gd name="T95" fmla="*/ 233 h 242"/>
                    <a:gd name="T96" fmla="*/ 166 w 208"/>
                    <a:gd name="T97" fmla="*/ 220 h 242"/>
                    <a:gd name="T98" fmla="*/ 157 w 208"/>
                    <a:gd name="T99" fmla="*/ 213 h 242"/>
                    <a:gd name="T100" fmla="*/ 138 w 208"/>
                    <a:gd name="T101" fmla="*/ 197 h 242"/>
                    <a:gd name="T102" fmla="*/ 125 w 208"/>
                    <a:gd name="T103" fmla="*/ 189 h 242"/>
                    <a:gd name="T104" fmla="*/ 128 w 208"/>
                    <a:gd name="T105" fmla="*/ 159 h 242"/>
                    <a:gd name="T106" fmla="*/ 122 w 208"/>
                    <a:gd name="T107" fmla="*/ 154 h 242"/>
                    <a:gd name="T108" fmla="*/ 128 w 208"/>
                    <a:gd name="T109" fmla="*/ 1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242">
                      <a:moveTo>
                        <a:pt x="128" y="141"/>
                      </a:moveTo>
                      <a:lnTo>
                        <a:pt x="139" y="135"/>
                      </a:lnTo>
                      <a:lnTo>
                        <a:pt x="139" y="111"/>
                      </a:lnTo>
                      <a:lnTo>
                        <a:pt x="144" y="107"/>
                      </a:lnTo>
                      <a:lnTo>
                        <a:pt x="161" y="91"/>
                      </a:lnTo>
                      <a:lnTo>
                        <a:pt x="169" y="80"/>
                      </a:lnTo>
                      <a:lnTo>
                        <a:pt x="185" y="69"/>
                      </a:lnTo>
                      <a:lnTo>
                        <a:pt x="208" y="55"/>
                      </a:lnTo>
                      <a:lnTo>
                        <a:pt x="200" y="53"/>
                      </a:lnTo>
                      <a:lnTo>
                        <a:pt x="183" y="52"/>
                      </a:lnTo>
                      <a:lnTo>
                        <a:pt x="169" y="49"/>
                      </a:lnTo>
                      <a:lnTo>
                        <a:pt x="166" y="52"/>
                      </a:lnTo>
                      <a:lnTo>
                        <a:pt x="162" y="55"/>
                      </a:lnTo>
                      <a:lnTo>
                        <a:pt x="154" y="55"/>
                      </a:lnTo>
                      <a:lnTo>
                        <a:pt x="151" y="51"/>
                      </a:lnTo>
                      <a:lnTo>
                        <a:pt x="147" y="48"/>
                      </a:lnTo>
                      <a:lnTo>
                        <a:pt x="136" y="45"/>
                      </a:lnTo>
                      <a:lnTo>
                        <a:pt x="133" y="45"/>
                      </a:lnTo>
                      <a:lnTo>
                        <a:pt x="129" y="43"/>
                      </a:lnTo>
                      <a:lnTo>
                        <a:pt x="128" y="42"/>
                      </a:lnTo>
                      <a:lnTo>
                        <a:pt x="119" y="41"/>
                      </a:lnTo>
                      <a:lnTo>
                        <a:pt x="114" y="36"/>
                      </a:lnTo>
                      <a:lnTo>
                        <a:pt x="120" y="39"/>
                      </a:lnTo>
                      <a:lnTo>
                        <a:pt x="123" y="36"/>
                      </a:lnTo>
                      <a:lnTo>
                        <a:pt x="119" y="35"/>
                      </a:lnTo>
                      <a:lnTo>
                        <a:pt x="114" y="35"/>
                      </a:lnTo>
                      <a:lnTo>
                        <a:pt x="109" y="35"/>
                      </a:lnTo>
                      <a:lnTo>
                        <a:pt x="105" y="35"/>
                      </a:lnTo>
                      <a:lnTo>
                        <a:pt x="100" y="35"/>
                      </a:lnTo>
                      <a:lnTo>
                        <a:pt x="97" y="39"/>
                      </a:lnTo>
                      <a:lnTo>
                        <a:pt x="93" y="39"/>
                      </a:lnTo>
                      <a:lnTo>
                        <a:pt x="87" y="34"/>
                      </a:lnTo>
                      <a:lnTo>
                        <a:pt x="84" y="34"/>
                      </a:lnTo>
                      <a:lnTo>
                        <a:pt x="80" y="34"/>
                      </a:lnTo>
                      <a:lnTo>
                        <a:pt x="73" y="32"/>
                      </a:lnTo>
                      <a:lnTo>
                        <a:pt x="68" y="24"/>
                      </a:lnTo>
                      <a:lnTo>
                        <a:pt x="68" y="24"/>
                      </a:lnTo>
                      <a:lnTo>
                        <a:pt x="66" y="20"/>
                      </a:lnTo>
                      <a:lnTo>
                        <a:pt x="62" y="20"/>
                      </a:lnTo>
                      <a:lnTo>
                        <a:pt x="58" y="20"/>
                      </a:lnTo>
                      <a:lnTo>
                        <a:pt x="55" y="20"/>
                      </a:lnTo>
                      <a:lnTo>
                        <a:pt x="54" y="16"/>
                      </a:lnTo>
                      <a:lnTo>
                        <a:pt x="57" y="12"/>
                      </a:lnTo>
                      <a:lnTo>
                        <a:pt x="58" y="8"/>
                      </a:lnTo>
                      <a:lnTo>
                        <a:pt x="62" y="5"/>
                      </a:lnTo>
                      <a:lnTo>
                        <a:pt x="60" y="2"/>
                      </a:lnTo>
                      <a:lnTo>
                        <a:pt x="60" y="2"/>
                      </a:lnTo>
                      <a:lnTo>
                        <a:pt x="56" y="0"/>
                      </a:lnTo>
                      <a:lnTo>
                        <a:pt x="56" y="10"/>
                      </a:lnTo>
                      <a:lnTo>
                        <a:pt x="54" y="12"/>
                      </a:lnTo>
                      <a:lnTo>
                        <a:pt x="52" y="16"/>
                      </a:lnTo>
                      <a:lnTo>
                        <a:pt x="0" y="16"/>
                      </a:lnTo>
                      <a:lnTo>
                        <a:pt x="1" y="20"/>
                      </a:lnTo>
                      <a:lnTo>
                        <a:pt x="1" y="23"/>
                      </a:lnTo>
                      <a:lnTo>
                        <a:pt x="1" y="24"/>
                      </a:lnTo>
                      <a:lnTo>
                        <a:pt x="4" y="26"/>
                      </a:lnTo>
                      <a:lnTo>
                        <a:pt x="4" y="30"/>
                      </a:lnTo>
                      <a:lnTo>
                        <a:pt x="3" y="31"/>
                      </a:lnTo>
                      <a:lnTo>
                        <a:pt x="1" y="33"/>
                      </a:lnTo>
                      <a:lnTo>
                        <a:pt x="1" y="34"/>
                      </a:lnTo>
                      <a:lnTo>
                        <a:pt x="1" y="38"/>
                      </a:lnTo>
                      <a:lnTo>
                        <a:pt x="2" y="40"/>
                      </a:lnTo>
                      <a:lnTo>
                        <a:pt x="3" y="45"/>
                      </a:lnTo>
                      <a:lnTo>
                        <a:pt x="1" y="51"/>
                      </a:lnTo>
                      <a:lnTo>
                        <a:pt x="3" y="56"/>
                      </a:lnTo>
                      <a:lnTo>
                        <a:pt x="6" y="64"/>
                      </a:lnTo>
                      <a:lnTo>
                        <a:pt x="9" y="70"/>
                      </a:lnTo>
                      <a:lnTo>
                        <a:pt x="9" y="78"/>
                      </a:lnTo>
                      <a:lnTo>
                        <a:pt x="10" y="92"/>
                      </a:lnTo>
                      <a:lnTo>
                        <a:pt x="10" y="104"/>
                      </a:lnTo>
                      <a:lnTo>
                        <a:pt x="10" y="112"/>
                      </a:lnTo>
                      <a:lnTo>
                        <a:pt x="12" y="114"/>
                      </a:lnTo>
                      <a:lnTo>
                        <a:pt x="12" y="116"/>
                      </a:lnTo>
                      <a:lnTo>
                        <a:pt x="12" y="122"/>
                      </a:lnTo>
                      <a:lnTo>
                        <a:pt x="15" y="124"/>
                      </a:lnTo>
                      <a:lnTo>
                        <a:pt x="17" y="127"/>
                      </a:lnTo>
                      <a:lnTo>
                        <a:pt x="18" y="132"/>
                      </a:lnTo>
                      <a:lnTo>
                        <a:pt x="18" y="136"/>
                      </a:lnTo>
                      <a:lnTo>
                        <a:pt x="18" y="141"/>
                      </a:lnTo>
                      <a:lnTo>
                        <a:pt x="16" y="142"/>
                      </a:lnTo>
                      <a:lnTo>
                        <a:pt x="16" y="142"/>
                      </a:lnTo>
                      <a:lnTo>
                        <a:pt x="17" y="144"/>
                      </a:lnTo>
                      <a:lnTo>
                        <a:pt x="13" y="147"/>
                      </a:lnTo>
                      <a:lnTo>
                        <a:pt x="11" y="150"/>
                      </a:lnTo>
                      <a:lnTo>
                        <a:pt x="8" y="152"/>
                      </a:lnTo>
                      <a:lnTo>
                        <a:pt x="8" y="154"/>
                      </a:lnTo>
                      <a:lnTo>
                        <a:pt x="8" y="156"/>
                      </a:lnTo>
                      <a:lnTo>
                        <a:pt x="9" y="158"/>
                      </a:lnTo>
                      <a:lnTo>
                        <a:pt x="12" y="160"/>
                      </a:lnTo>
                      <a:lnTo>
                        <a:pt x="12" y="163"/>
                      </a:lnTo>
                      <a:lnTo>
                        <a:pt x="17" y="164"/>
                      </a:lnTo>
                      <a:lnTo>
                        <a:pt x="18" y="167"/>
                      </a:lnTo>
                      <a:lnTo>
                        <a:pt x="21" y="169"/>
                      </a:lnTo>
                      <a:lnTo>
                        <a:pt x="18" y="242"/>
                      </a:lnTo>
                      <a:lnTo>
                        <a:pt x="172" y="239"/>
                      </a:lnTo>
                      <a:lnTo>
                        <a:pt x="173" y="233"/>
                      </a:lnTo>
                      <a:lnTo>
                        <a:pt x="172" y="227"/>
                      </a:lnTo>
                      <a:lnTo>
                        <a:pt x="166" y="220"/>
                      </a:lnTo>
                      <a:lnTo>
                        <a:pt x="160" y="216"/>
                      </a:lnTo>
                      <a:lnTo>
                        <a:pt x="157" y="213"/>
                      </a:lnTo>
                      <a:lnTo>
                        <a:pt x="150" y="204"/>
                      </a:lnTo>
                      <a:lnTo>
                        <a:pt x="138" y="197"/>
                      </a:lnTo>
                      <a:lnTo>
                        <a:pt x="130" y="193"/>
                      </a:lnTo>
                      <a:lnTo>
                        <a:pt x="125" y="189"/>
                      </a:lnTo>
                      <a:lnTo>
                        <a:pt x="126" y="174"/>
                      </a:lnTo>
                      <a:lnTo>
                        <a:pt x="128" y="159"/>
                      </a:lnTo>
                      <a:lnTo>
                        <a:pt x="126" y="159"/>
                      </a:lnTo>
                      <a:lnTo>
                        <a:pt x="122" y="154"/>
                      </a:lnTo>
                      <a:lnTo>
                        <a:pt x="126" y="145"/>
                      </a:lnTo>
                      <a:lnTo>
                        <a:pt x="128" y="14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2" name="Line 48">
                  <a:extLst>
                    <a:ext uri="{FF2B5EF4-FFF2-40B4-BE49-F238E27FC236}">
                      <a16:creationId xmlns:a16="http://schemas.microsoft.com/office/drawing/2014/main" id="{E2AD6CD1-847C-4900-B62B-1FF6E296E38A}"/>
                    </a:ext>
                  </a:extLst>
                </p:cNvPr>
                <p:cNvSpPr>
                  <a:spLocks noChangeShapeType="1"/>
                </p:cNvSpPr>
                <p:nvPr/>
              </p:nvSpPr>
              <p:spPr bwMode="auto">
                <a:xfrm>
                  <a:off x="6881808" y="2014722"/>
                  <a:ext cx="0" cy="0"/>
                </a:xfrm>
                <a:prstGeom prst="line">
                  <a:avLst/>
                </a:prstGeom>
                <a:grpFill/>
                <a:ln w="6350">
                  <a:solidFill>
                    <a:schemeClr val="accent1"/>
                  </a:solidFill>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3" name="Line 49">
                  <a:extLst>
                    <a:ext uri="{FF2B5EF4-FFF2-40B4-BE49-F238E27FC236}">
                      <a16:creationId xmlns:a16="http://schemas.microsoft.com/office/drawing/2014/main" id="{DE3D2840-AA2C-C00B-EDBA-F3980756E4D3}"/>
                    </a:ext>
                  </a:extLst>
                </p:cNvPr>
                <p:cNvSpPr>
                  <a:spLocks noChangeShapeType="1"/>
                </p:cNvSpPr>
                <p:nvPr/>
              </p:nvSpPr>
              <p:spPr bwMode="auto">
                <a:xfrm>
                  <a:off x="6881808" y="2014722"/>
                  <a:ext cx="0" cy="0"/>
                </a:xfrm>
                <a:prstGeom prst="line">
                  <a:avLst/>
                </a:pr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4" name="Freeform 103">
                  <a:extLst>
                    <a:ext uri="{FF2B5EF4-FFF2-40B4-BE49-F238E27FC236}">
                      <a16:creationId xmlns:a16="http://schemas.microsoft.com/office/drawing/2014/main" id="{C85A2E2F-F500-4DE7-8D5F-F8ACD64F5C51}"/>
                    </a:ext>
                  </a:extLst>
                </p:cNvPr>
                <p:cNvSpPr>
                  <a:spLocks/>
                </p:cNvSpPr>
                <p:nvPr/>
              </p:nvSpPr>
              <p:spPr bwMode="auto">
                <a:xfrm>
                  <a:off x="6964444" y="1940519"/>
                  <a:ext cx="409805" cy="386196"/>
                </a:xfrm>
                <a:custGeom>
                  <a:avLst/>
                  <a:gdLst>
                    <a:gd name="T0" fmla="*/ 12 w 287"/>
                    <a:gd name="T1" fmla="*/ 44 h 270"/>
                    <a:gd name="T2" fmla="*/ 29 w 287"/>
                    <a:gd name="T3" fmla="*/ 36 h 270"/>
                    <a:gd name="T4" fmla="*/ 52 w 287"/>
                    <a:gd name="T5" fmla="*/ 17 h 270"/>
                    <a:gd name="T6" fmla="*/ 77 w 287"/>
                    <a:gd name="T7" fmla="*/ 0 h 270"/>
                    <a:gd name="T8" fmla="*/ 75 w 287"/>
                    <a:gd name="T9" fmla="*/ 6 h 270"/>
                    <a:gd name="T10" fmla="*/ 65 w 287"/>
                    <a:gd name="T11" fmla="*/ 19 h 270"/>
                    <a:gd name="T12" fmla="*/ 67 w 287"/>
                    <a:gd name="T13" fmla="*/ 29 h 270"/>
                    <a:gd name="T14" fmla="*/ 77 w 287"/>
                    <a:gd name="T15" fmla="*/ 28 h 270"/>
                    <a:gd name="T16" fmla="*/ 111 w 287"/>
                    <a:gd name="T17" fmla="*/ 45 h 270"/>
                    <a:gd name="T18" fmla="*/ 135 w 287"/>
                    <a:gd name="T19" fmla="*/ 39 h 270"/>
                    <a:gd name="T20" fmla="*/ 169 w 287"/>
                    <a:gd name="T21" fmla="*/ 28 h 270"/>
                    <a:gd name="T22" fmla="*/ 198 w 287"/>
                    <a:gd name="T23" fmla="*/ 38 h 270"/>
                    <a:gd name="T24" fmla="*/ 217 w 287"/>
                    <a:gd name="T25" fmla="*/ 55 h 270"/>
                    <a:gd name="T26" fmla="*/ 232 w 287"/>
                    <a:gd name="T27" fmla="*/ 56 h 270"/>
                    <a:gd name="T28" fmla="*/ 219 w 287"/>
                    <a:gd name="T29" fmla="*/ 62 h 270"/>
                    <a:gd name="T30" fmla="*/ 193 w 287"/>
                    <a:gd name="T31" fmla="*/ 64 h 270"/>
                    <a:gd name="T32" fmla="*/ 201 w 287"/>
                    <a:gd name="T33" fmla="*/ 74 h 270"/>
                    <a:gd name="T34" fmla="*/ 204 w 287"/>
                    <a:gd name="T35" fmla="*/ 75 h 270"/>
                    <a:gd name="T36" fmla="*/ 234 w 287"/>
                    <a:gd name="T37" fmla="*/ 88 h 270"/>
                    <a:gd name="T38" fmla="*/ 246 w 287"/>
                    <a:gd name="T39" fmla="*/ 109 h 270"/>
                    <a:gd name="T40" fmla="*/ 245 w 287"/>
                    <a:gd name="T41" fmla="*/ 141 h 270"/>
                    <a:gd name="T42" fmla="*/ 233 w 287"/>
                    <a:gd name="T43" fmla="*/ 168 h 270"/>
                    <a:gd name="T44" fmla="*/ 246 w 287"/>
                    <a:gd name="T45" fmla="*/ 166 h 270"/>
                    <a:gd name="T46" fmla="*/ 255 w 287"/>
                    <a:gd name="T47" fmla="*/ 153 h 270"/>
                    <a:gd name="T48" fmla="*/ 275 w 287"/>
                    <a:gd name="T49" fmla="*/ 154 h 270"/>
                    <a:gd name="T50" fmla="*/ 287 w 287"/>
                    <a:gd name="T51" fmla="*/ 197 h 270"/>
                    <a:gd name="T52" fmla="*/ 275 w 287"/>
                    <a:gd name="T53" fmla="*/ 220 h 270"/>
                    <a:gd name="T54" fmla="*/ 266 w 287"/>
                    <a:gd name="T55" fmla="*/ 249 h 270"/>
                    <a:gd name="T56" fmla="*/ 141 w 287"/>
                    <a:gd name="T57" fmla="*/ 270 h 270"/>
                    <a:gd name="T58" fmla="*/ 158 w 287"/>
                    <a:gd name="T59" fmla="*/ 235 h 270"/>
                    <a:gd name="T60" fmla="*/ 145 w 287"/>
                    <a:gd name="T61" fmla="*/ 191 h 270"/>
                    <a:gd name="T62" fmla="*/ 144 w 287"/>
                    <a:gd name="T63" fmla="*/ 165 h 270"/>
                    <a:gd name="T64" fmla="*/ 148 w 287"/>
                    <a:gd name="T65" fmla="*/ 147 h 270"/>
                    <a:gd name="T66" fmla="*/ 153 w 287"/>
                    <a:gd name="T67" fmla="*/ 122 h 270"/>
                    <a:gd name="T68" fmla="*/ 166 w 287"/>
                    <a:gd name="T69" fmla="*/ 106 h 270"/>
                    <a:gd name="T70" fmla="*/ 169 w 287"/>
                    <a:gd name="T71" fmla="*/ 122 h 270"/>
                    <a:gd name="T72" fmla="*/ 175 w 287"/>
                    <a:gd name="T73" fmla="*/ 111 h 270"/>
                    <a:gd name="T74" fmla="*/ 180 w 287"/>
                    <a:gd name="T75" fmla="*/ 94 h 270"/>
                    <a:gd name="T76" fmla="*/ 184 w 287"/>
                    <a:gd name="T77" fmla="*/ 81 h 270"/>
                    <a:gd name="T78" fmla="*/ 189 w 287"/>
                    <a:gd name="T79" fmla="*/ 74 h 270"/>
                    <a:gd name="T80" fmla="*/ 187 w 287"/>
                    <a:gd name="T81" fmla="*/ 65 h 270"/>
                    <a:gd name="T82" fmla="*/ 159 w 287"/>
                    <a:gd name="T83" fmla="*/ 68 h 270"/>
                    <a:gd name="T84" fmla="*/ 129 w 287"/>
                    <a:gd name="T85" fmla="*/ 85 h 270"/>
                    <a:gd name="T86" fmla="*/ 127 w 287"/>
                    <a:gd name="T87" fmla="*/ 76 h 270"/>
                    <a:gd name="T88" fmla="*/ 118 w 287"/>
                    <a:gd name="T89" fmla="*/ 75 h 270"/>
                    <a:gd name="T90" fmla="*/ 107 w 287"/>
                    <a:gd name="T91" fmla="*/ 101 h 270"/>
                    <a:gd name="T92" fmla="*/ 95 w 287"/>
                    <a:gd name="T93" fmla="*/ 100 h 270"/>
                    <a:gd name="T94" fmla="*/ 84 w 287"/>
                    <a:gd name="T95" fmla="*/ 81 h 270"/>
                    <a:gd name="T96" fmla="*/ 58 w 287"/>
                    <a:gd name="T97" fmla="*/ 74 h 270"/>
                    <a:gd name="T98" fmla="*/ 29 w 287"/>
                    <a:gd name="T99" fmla="*/ 65 h 270"/>
                    <a:gd name="T100" fmla="*/ 9 w 287"/>
                    <a:gd name="T101" fmla="*/ 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70">
                      <a:moveTo>
                        <a:pt x="0" y="51"/>
                      </a:moveTo>
                      <a:cubicBezTo>
                        <a:pt x="2" y="49"/>
                        <a:pt x="2" y="49"/>
                        <a:pt x="2" y="49"/>
                      </a:cubicBezTo>
                      <a:cubicBezTo>
                        <a:pt x="6" y="49"/>
                        <a:pt x="6" y="49"/>
                        <a:pt x="6" y="49"/>
                      </a:cubicBezTo>
                      <a:cubicBezTo>
                        <a:pt x="11" y="46"/>
                        <a:pt x="11" y="46"/>
                        <a:pt x="11" y="46"/>
                      </a:cubicBezTo>
                      <a:cubicBezTo>
                        <a:pt x="12" y="44"/>
                        <a:pt x="12" y="44"/>
                        <a:pt x="12" y="44"/>
                      </a:cubicBezTo>
                      <a:cubicBezTo>
                        <a:pt x="14" y="40"/>
                        <a:pt x="14" y="40"/>
                        <a:pt x="14" y="40"/>
                      </a:cubicBezTo>
                      <a:cubicBezTo>
                        <a:pt x="17" y="37"/>
                        <a:pt x="17" y="37"/>
                        <a:pt x="17" y="37"/>
                      </a:cubicBezTo>
                      <a:cubicBezTo>
                        <a:pt x="20" y="36"/>
                        <a:pt x="20" y="36"/>
                        <a:pt x="20" y="36"/>
                      </a:cubicBezTo>
                      <a:cubicBezTo>
                        <a:pt x="23" y="36"/>
                        <a:pt x="23" y="36"/>
                        <a:pt x="23" y="36"/>
                      </a:cubicBezTo>
                      <a:cubicBezTo>
                        <a:pt x="29" y="36"/>
                        <a:pt x="29" y="36"/>
                        <a:pt x="29" y="36"/>
                      </a:cubicBezTo>
                      <a:cubicBezTo>
                        <a:pt x="32" y="34"/>
                        <a:pt x="32" y="34"/>
                        <a:pt x="32" y="34"/>
                      </a:cubicBezTo>
                      <a:cubicBezTo>
                        <a:pt x="42" y="27"/>
                        <a:pt x="42" y="27"/>
                        <a:pt x="42" y="27"/>
                      </a:cubicBezTo>
                      <a:cubicBezTo>
                        <a:pt x="45" y="26"/>
                        <a:pt x="45" y="26"/>
                        <a:pt x="45" y="26"/>
                      </a:cubicBezTo>
                      <a:cubicBezTo>
                        <a:pt x="49" y="22"/>
                        <a:pt x="49" y="22"/>
                        <a:pt x="49" y="22"/>
                      </a:cubicBezTo>
                      <a:cubicBezTo>
                        <a:pt x="52" y="17"/>
                        <a:pt x="52" y="17"/>
                        <a:pt x="52" y="17"/>
                      </a:cubicBezTo>
                      <a:cubicBezTo>
                        <a:pt x="56" y="14"/>
                        <a:pt x="56" y="14"/>
                        <a:pt x="56" y="14"/>
                      </a:cubicBezTo>
                      <a:cubicBezTo>
                        <a:pt x="61" y="9"/>
                        <a:pt x="61" y="9"/>
                        <a:pt x="61" y="9"/>
                      </a:cubicBezTo>
                      <a:cubicBezTo>
                        <a:pt x="65" y="4"/>
                        <a:pt x="65" y="4"/>
                        <a:pt x="65" y="4"/>
                      </a:cubicBezTo>
                      <a:cubicBezTo>
                        <a:pt x="70" y="1"/>
                        <a:pt x="70" y="1"/>
                        <a:pt x="70" y="1"/>
                      </a:cubicBezTo>
                      <a:cubicBezTo>
                        <a:pt x="77" y="0"/>
                        <a:pt x="77" y="0"/>
                        <a:pt x="77" y="0"/>
                      </a:cubicBezTo>
                      <a:cubicBezTo>
                        <a:pt x="80" y="0"/>
                        <a:pt x="80" y="0"/>
                        <a:pt x="80" y="0"/>
                      </a:cubicBezTo>
                      <a:cubicBezTo>
                        <a:pt x="85" y="2"/>
                        <a:pt x="85" y="2"/>
                        <a:pt x="85" y="2"/>
                      </a:cubicBezTo>
                      <a:cubicBezTo>
                        <a:pt x="83" y="3"/>
                        <a:pt x="83" y="3"/>
                        <a:pt x="83" y="3"/>
                      </a:cubicBezTo>
                      <a:cubicBezTo>
                        <a:pt x="79" y="5"/>
                        <a:pt x="79" y="5"/>
                        <a:pt x="79" y="5"/>
                      </a:cubicBezTo>
                      <a:cubicBezTo>
                        <a:pt x="75" y="6"/>
                        <a:pt x="75" y="6"/>
                        <a:pt x="75" y="6"/>
                      </a:cubicBezTo>
                      <a:cubicBezTo>
                        <a:pt x="76" y="8"/>
                        <a:pt x="76" y="8"/>
                        <a:pt x="76" y="8"/>
                      </a:cubicBezTo>
                      <a:cubicBezTo>
                        <a:pt x="70" y="14"/>
                        <a:pt x="70" y="14"/>
                        <a:pt x="70" y="14"/>
                      </a:cubicBezTo>
                      <a:cubicBezTo>
                        <a:pt x="70" y="14"/>
                        <a:pt x="68" y="14"/>
                        <a:pt x="68" y="15"/>
                      </a:cubicBezTo>
                      <a:cubicBezTo>
                        <a:pt x="68" y="16"/>
                        <a:pt x="65" y="23"/>
                        <a:pt x="65" y="23"/>
                      </a:cubicBezTo>
                      <a:cubicBezTo>
                        <a:pt x="65" y="19"/>
                        <a:pt x="65" y="19"/>
                        <a:pt x="65" y="19"/>
                      </a:cubicBezTo>
                      <a:cubicBezTo>
                        <a:pt x="63" y="17"/>
                        <a:pt x="63" y="17"/>
                        <a:pt x="63" y="17"/>
                      </a:cubicBezTo>
                      <a:cubicBezTo>
                        <a:pt x="62" y="27"/>
                        <a:pt x="62" y="27"/>
                        <a:pt x="62" y="27"/>
                      </a:cubicBezTo>
                      <a:cubicBezTo>
                        <a:pt x="62" y="33"/>
                        <a:pt x="62" y="33"/>
                        <a:pt x="62" y="33"/>
                      </a:cubicBezTo>
                      <a:cubicBezTo>
                        <a:pt x="65" y="31"/>
                        <a:pt x="65" y="31"/>
                        <a:pt x="65" y="31"/>
                      </a:cubicBezTo>
                      <a:cubicBezTo>
                        <a:pt x="67" y="29"/>
                        <a:pt x="67" y="29"/>
                        <a:pt x="67" y="29"/>
                      </a:cubicBezTo>
                      <a:cubicBezTo>
                        <a:pt x="68" y="29"/>
                        <a:pt x="68" y="29"/>
                        <a:pt x="68" y="29"/>
                      </a:cubicBezTo>
                      <a:cubicBezTo>
                        <a:pt x="69" y="31"/>
                        <a:pt x="69" y="31"/>
                        <a:pt x="69" y="31"/>
                      </a:cubicBezTo>
                      <a:cubicBezTo>
                        <a:pt x="72" y="31"/>
                        <a:pt x="72" y="31"/>
                        <a:pt x="72" y="31"/>
                      </a:cubicBezTo>
                      <a:cubicBezTo>
                        <a:pt x="74" y="30"/>
                        <a:pt x="74" y="30"/>
                        <a:pt x="74" y="30"/>
                      </a:cubicBezTo>
                      <a:cubicBezTo>
                        <a:pt x="77" y="28"/>
                        <a:pt x="77" y="28"/>
                        <a:pt x="77" y="28"/>
                      </a:cubicBezTo>
                      <a:cubicBezTo>
                        <a:pt x="82" y="29"/>
                        <a:pt x="82" y="29"/>
                        <a:pt x="82" y="29"/>
                      </a:cubicBezTo>
                      <a:cubicBezTo>
                        <a:pt x="92" y="34"/>
                        <a:pt x="92" y="34"/>
                        <a:pt x="92" y="34"/>
                      </a:cubicBezTo>
                      <a:cubicBezTo>
                        <a:pt x="98" y="41"/>
                        <a:pt x="98" y="41"/>
                        <a:pt x="98" y="41"/>
                      </a:cubicBezTo>
                      <a:cubicBezTo>
                        <a:pt x="102" y="44"/>
                        <a:pt x="102" y="44"/>
                        <a:pt x="102" y="44"/>
                      </a:cubicBezTo>
                      <a:cubicBezTo>
                        <a:pt x="111" y="45"/>
                        <a:pt x="111" y="45"/>
                        <a:pt x="111" y="45"/>
                      </a:cubicBezTo>
                      <a:cubicBezTo>
                        <a:pt x="114" y="44"/>
                        <a:pt x="114" y="44"/>
                        <a:pt x="114" y="44"/>
                      </a:cubicBezTo>
                      <a:cubicBezTo>
                        <a:pt x="121" y="46"/>
                        <a:pt x="121" y="46"/>
                        <a:pt x="121" y="46"/>
                      </a:cubicBezTo>
                      <a:cubicBezTo>
                        <a:pt x="127" y="48"/>
                        <a:pt x="127" y="48"/>
                        <a:pt x="127" y="48"/>
                      </a:cubicBezTo>
                      <a:cubicBezTo>
                        <a:pt x="130" y="44"/>
                        <a:pt x="130" y="44"/>
                        <a:pt x="130" y="44"/>
                      </a:cubicBezTo>
                      <a:cubicBezTo>
                        <a:pt x="135" y="39"/>
                        <a:pt x="135" y="39"/>
                        <a:pt x="135" y="39"/>
                      </a:cubicBezTo>
                      <a:cubicBezTo>
                        <a:pt x="139" y="35"/>
                        <a:pt x="139" y="35"/>
                        <a:pt x="139" y="35"/>
                      </a:cubicBezTo>
                      <a:cubicBezTo>
                        <a:pt x="148" y="33"/>
                        <a:pt x="148" y="33"/>
                        <a:pt x="148" y="33"/>
                      </a:cubicBezTo>
                      <a:cubicBezTo>
                        <a:pt x="154" y="31"/>
                        <a:pt x="154" y="31"/>
                        <a:pt x="154" y="31"/>
                      </a:cubicBezTo>
                      <a:cubicBezTo>
                        <a:pt x="160" y="31"/>
                        <a:pt x="160" y="31"/>
                        <a:pt x="160" y="31"/>
                      </a:cubicBezTo>
                      <a:cubicBezTo>
                        <a:pt x="169" y="28"/>
                        <a:pt x="169" y="28"/>
                        <a:pt x="169" y="28"/>
                      </a:cubicBezTo>
                      <a:cubicBezTo>
                        <a:pt x="175" y="26"/>
                        <a:pt x="175" y="26"/>
                        <a:pt x="175" y="26"/>
                      </a:cubicBezTo>
                      <a:cubicBezTo>
                        <a:pt x="178" y="28"/>
                        <a:pt x="178" y="28"/>
                        <a:pt x="178" y="28"/>
                      </a:cubicBezTo>
                      <a:cubicBezTo>
                        <a:pt x="180" y="36"/>
                        <a:pt x="180" y="36"/>
                        <a:pt x="180" y="36"/>
                      </a:cubicBezTo>
                      <a:cubicBezTo>
                        <a:pt x="191" y="38"/>
                        <a:pt x="191" y="38"/>
                        <a:pt x="191" y="38"/>
                      </a:cubicBezTo>
                      <a:cubicBezTo>
                        <a:pt x="198" y="38"/>
                        <a:pt x="198" y="38"/>
                        <a:pt x="198" y="38"/>
                      </a:cubicBezTo>
                      <a:cubicBezTo>
                        <a:pt x="203" y="39"/>
                        <a:pt x="203" y="39"/>
                        <a:pt x="203" y="39"/>
                      </a:cubicBezTo>
                      <a:cubicBezTo>
                        <a:pt x="207" y="44"/>
                        <a:pt x="207" y="44"/>
                        <a:pt x="207" y="44"/>
                      </a:cubicBezTo>
                      <a:cubicBezTo>
                        <a:pt x="213" y="51"/>
                        <a:pt x="213" y="51"/>
                        <a:pt x="213" y="51"/>
                      </a:cubicBezTo>
                      <a:cubicBezTo>
                        <a:pt x="215" y="53"/>
                        <a:pt x="215" y="53"/>
                        <a:pt x="215" y="53"/>
                      </a:cubicBezTo>
                      <a:cubicBezTo>
                        <a:pt x="215" y="53"/>
                        <a:pt x="216" y="54"/>
                        <a:pt x="217" y="55"/>
                      </a:cubicBezTo>
                      <a:cubicBezTo>
                        <a:pt x="218" y="56"/>
                        <a:pt x="219" y="58"/>
                        <a:pt x="219" y="58"/>
                      </a:cubicBezTo>
                      <a:cubicBezTo>
                        <a:pt x="224" y="59"/>
                        <a:pt x="224" y="59"/>
                        <a:pt x="224" y="59"/>
                      </a:cubicBezTo>
                      <a:cubicBezTo>
                        <a:pt x="224" y="59"/>
                        <a:pt x="226" y="57"/>
                        <a:pt x="226" y="57"/>
                      </a:cubicBezTo>
                      <a:cubicBezTo>
                        <a:pt x="226" y="56"/>
                        <a:pt x="230" y="54"/>
                        <a:pt x="230" y="54"/>
                      </a:cubicBezTo>
                      <a:cubicBezTo>
                        <a:pt x="232" y="56"/>
                        <a:pt x="232" y="56"/>
                        <a:pt x="232" y="56"/>
                      </a:cubicBezTo>
                      <a:cubicBezTo>
                        <a:pt x="232" y="56"/>
                        <a:pt x="234" y="57"/>
                        <a:pt x="232" y="58"/>
                      </a:cubicBezTo>
                      <a:cubicBezTo>
                        <a:pt x="231" y="58"/>
                        <a:pt x="230" y="60"/>
                        <a:pt x="229" y="60"/>
                      </a:cubicBezTo>
                      <a:cubicBezTo>
                        <a:pt x="227" y="60"/>
                        <a:pt x="225" y="60"/>
                        <a:pt x="225" y="60"/>
                      </a:cubicBezTo>
                      <a:cubicBezTo>
                        <a:pt x="221" y="60"/>
                        <a:pt x="221" y="60"/>
                        <a:pt x="221" y="60"/>
                      </a:cubicBezTo>
                      <a:cubicBezTo>
                        <a:pt x="219" y="62"/>
                        <a:pt x="219" y="62"/>
                        <a:pt x="219" y="62"/>
                      </a:cubicBezTo>
                      <a:cubicBezTo>
                        <a:pt x="208" y="62"/>
                        <a:pt x="208" y="62"/>
                        <a:pt x="208" y="62"/>
                      </a:cubicBezTo>
                      <a:cubicBezTo>
                        <a:pt x="205" y="63"/>
                        <a:pt x="205" y="63"/>
                        <a:pt x="205" y="63"/>
                      </a:cubicBezTo>
                      <a:cubicBezTo>
                        <a:pt x="201" y="61"/>
                        <a:pt x="201" y="61"/>
                        <a:pt x="201" y="61"/>
                      </a:cubicBezTo>
                      <a:cubicBezTo>
                        <a:pt x="197" y="59"/>
                        <a:pt x="197" y="59"/>
                        <a:pt x="197" y="59"/>
                      </a:cubicBezTo>
                      <a:cubicBezTo>
                        <a:pt x="193" y="64"/>
                        <a:pt x="193" y="64"/>
                        <a:pt x="193" y="64"/>
                      </a:cubicBezTo>
                      <a:cubicBezTo>
                        <a:pt x="194" y="67"/>
                        <a:pt x="194" y="67"/>
                        <a:pt x="194" y="67"/>
                      </a:cubicBezTo>
                      <a:cubicBezTo>
                        <a:pt x="194" y="69"/>
                        <a:pt x="194" y="69"/>
                        <a:pt x="194" y="69"/>
                      </a:cubicBezTo>
                      <a:cubicBezTo>
                        <a:pt x="194" y="69"/>
                        <a:pt x="194" y="71"/>
                        <a:pt x="195" y="71"/>
                      </a:cubicBezTo>
                      <a:cubicBezTo>
                        <a:pt x="195" y="71"/>
                        <a:pt x="196" y="72"/>
                        <a:pt x="196" y="72"/>
                      </a:cubicBezTo>
                      <a:cubicBezTo>
                        <a:pt x="201" y="74"/>
                        <a:pt x="201" y="74"/>
                        <a:pt x="201" y="74"/>
                      </a:cubicBezTo>
                      <a:cubicBezTo>
                        <a:pt x="203" y="72"/>
                        <a:pt x="203" y="72"/>
                        <a:pt x="203" y="72"/>
                      </a:cubicBezTo>
                      <a:cubicBezTo>
                        <a:pt x="203" y="72"/>
                        <a:pt x="200" y="70"/>
                        <a:pt x="201" y="70"/>
                      </a:cubicBezTo>
                      <a:cubicBezTo>
                        <a:pt x="202" y="70"/>
                        <a:pt x="206" y="72"/>
                        <a:pt x="206" y="72"/>
                      </a:cubicBezTo>
                      <a:cubicBezTo>
                        <a:pt x="206" y="72"/>
                        <a:pt x="205" y="74"/>
                        <a:pt x="205" y="74"/>
                      </a:cubicBezTo>
                      <a:cubicBezTo>
                        <a:pt x="204" y="75"/>
                        <a:pt x="204" y="75"/>
                        <a:pt x="204" y="75"/>
                      </a:cubicBezTo>
                      <a:cubicBezTo>
                        <a:pt x="205" y="76"/>
                        <a:pt x="210" y="77"/>
                        <a:pt x="210" y="77"/>
                      </a:cubicBezTo>
                      <a:cubicBezTo>
                        <a:pt x="211" y="77"/>
                        <a:pt x="214" y="79"/>
                        <a:pt x="214" y="79"/>
                      </a:cubicBezTo>
                      <a:cubicBezTo>
                        <a:pt x="219" y="82"/>
                        <a:pt x="219" y="82"/>
                        <a:pt x="219" y="82"/>
                      </a:cubicBezTo>
                      <a:cubicBezTo>
                        <a:pt x="226" y="85"/>
                        <a:pt x="226" y="85"/>
                        <a:pt x="226" y="85"/>
                      </a:cubicBezTo>
                      <a:cubicBezTo>
                        <a:pt x="234" y="88"/>
                        <a:pt x="234" y="88"/>
                        <a:pt x="234" y="88"/>
                      </a:cubicBezTo>
                      <a:cubicBezTo>
                        <a:pt x="242" y="96"/>
                        <a:pt x="242" y="96"/>
                        <a:pt x="242" y="96"/>
                      </a:cubicBezTo>
                      <a:cubicBezTo>
                        <a:pt x="246" y="101"/>
                        <a:pt x="246" y="101"/>
                        <a:pt x="246" y="101"/>
                      </a:cubicBezTo>
                      <a:cubicBezTo>
                        <a:pt x="244" y="103"/>
                        <a:pt x="244" y="103"/>
                        <a:pt x="244" y="103"/>
                      </a:cubicBezTo>
                      <a:cubicBezTo>
                        <a:pt x="244" y="103"/>
                        <a:pt x="243" y="103"/>
                        <a:pt x="243" y="104"/>
                      </a:cubicBezTo>
                      <a:cubicBezTo>
                        <a:pt x="244" y="105"/>
                        <a:pt x="246" y="109"/>
                        <a:pt x="246" y="109"/>
                      </a:cubicBezTo>
                      <a:cubicBezTo>
                        <a:pt x="245" y="110"/>
                        <a:pt x="247" y="113"/>
                        <a:pt x="247" y="113"/>
                      </a:cubicBezTo>
                      <a:cubicBezTo>
                        <a:pt x="249" y="124"/>
                        <a:pt x="249" y="124"/>
                        <a:pt x="249" y="124"/>
                      </a:cubicBezTo>
                      <a:cubicBezTo>
                        <a:pt x="250" y="130"/>
                        <a:pt x="250" y="130"/>
                        <a:pt x="250" y="130"/>
                      </a:cubicBezTo>
                      <a:cubicBezTo>
                        <a:pt x="249" y="136"/>
                        <a:pt x="249" y="136"/>
                        <a:pt x="249" y="136"/>
                      </a:cubicBezTo>
                      <a:cubicBezTo>
                        <a:pt x="245" y="141"/>
                        <a:pt x="245" y="141"/>
                        <a:pt x="245" y="141"/>
                      </a:cubicBezTo>
                      <a:cubicBezTo>
                        <a:pt x="242" y="147"/>
                        <a:pt x="242" y="147"/>
                        <a:pt x="242" y="147"/>
                      </a:cubicBezTo>
                      <a:cubicBezTo>
                        <a:pt x="242" y="147"/>
                        <a:pt x="240" y="151"/>
                        <a:pt x="239" y="152"/>
                      </a:cubicBezTo>
                      <a:cubicBezTo>
                        <a:pt x="239" y="152"/>
                        <a:pt x="235" y="155"/>
                        <a:pt x="235" y="156"/>
                      </a:cubicBezTo>
                      <a:cubicBezTo>
                        <a:pt x="235" y="156"/>
                        <a:pt x="233" y="160"/>
                        <a:pt x="233" y="160"/>
                      </a:cubicBezTo>
                      <a:cubicBezTo>
                        <a:pt x="233" y="168"/>
                        <a:pt x="233" y="168"/>
                        <a:pt x="233" y="168"/>
                      </a:cubicBezTo>
                      <a:cubicBezTo>
                        <a:pt x="235" y="170"/>
                        <a:pt x="235" y="170"/>
                        <a:pt x="235" y="170"/>
                      </a:cubicBezTo>
                      <a:cubicBezTo>
                        <a:pt x="240" y="172"/>
                        <a:pt x="240" y="172"/>
                        <a:pt x="240" y="172"/>
                      </a:cubicBezTo>
                      <a:cubicBezTo>
                        <a:pt x="242" y="170"/>
                        <a:pt x="242" y="170"/>
                        <a:pt x="242" y="170"/>
                      </a:cubicBezTo>
                      <a:cubicBezTo>
                        <a:pt x="242" y="170"/>
                        <a:pt x="244" y="169"/>
                        <a:pt x="244" y="168"/>
                      </a:cubicBezTo>
                      <a:cubicBezTo>
                        <a:pt x="245" y="168"/>
                        <a:pt x="246" y="166"/>
                        <a:pt x="246" y="166"/>
                      </a:cubicBezTo>
                      <a:cubicBezTo>
                        <a:pt x="246" y="166"/>
                        <a:pt x="249" y="164"/>
                        <a:pt x="249" y="164"/>
                      </a:cubicBezTo>
                      <a:cubicBezTo>
                        <a:pt x="249" y="164"/>
                        <a:pt x="249" y="161"/>
                        <a:pt x="249" y="161"/>
                      </a:cubicBezTo>
                      <a:cubicBezTo>
                        <a:pt x="249" y="161"/>
                        <a:pt x="250" y="157"/>
                        <a:pt x="250" y="157"/>
                      </a:cubicBezTo>
                      <a:cubicBezTo>
                        <a:pt x="250" y="157"/>
                        <a:pt x="252" y="156"/>
                        <a:pt x="252" y="156"/>
                      </a:cubicBezTo>
                      <a:cubicBezTo>
                        <a:pt x="252" y="155"/>
                        <a:pt x="255" y="153"/>
                        <a:pt x="255" y="153"/>
                      </a:cubicBezTo>
                      <a:cubicBezTo>
                        <a:pt x="255" y="153"/>
                        <a:pt x="259" y="150"/>
                        <a:pt x="259" y="150"/>
                      </a:cubicBezTo>
                      <a:cubicBezTo>
                        <a:pt x="260" y="150"/>
                        <a:pt x="262" y="147"/>
                        <a:pt x="262" y="147"/>
                      </a:cubicBezTo>
                      <a:cubicBezTo>
                        <a:pt x="265" y="147"/>
                        <a:pt x="265" y="147"/>
                        <a:pt x="265" y="147"/>
                      </a:cubicBezTo>
                      <a:cubicBezTo>
                        <a:pt x="269" y="148"/>
                        <a:pt x="269" y="148"/>
                        <a:pt x="269" y="148"/>
                      </a:cubicBezTo>
                      <a:cubicBezTo>
                        <a:pt x="275" y="154"/>
                        <a:pt x="275" y="154"/>
                        <a:pt x="275" y="154"/>
                      </a:cubicBezTo>
                      <a:cubicBezTo>
                        <a:pt x="279" y="162"/>
                        <a:pt x="279" y="162"/>
                        <a:pt x="279" y="162"/>
                      </a:cubicBezTo>
                      <a:cubicBezTo>
                        <a:pt x="283" y="184"/>
                        <a:pt x="283" y="184"/>
                        <a:pt x="283" y="184"/>
                      </a:cubicBezTo>
                      <a:cubicBezTo>
                        <a:pt x="286" y="189"/>
                        <a:pt x="286" y="189"/>
                        <a:pt x="286" y="189"/>
                      </a:cubicBezTo>
                      <a:cubicBezTo>
                        <a:pt x="286" y="193"/>
                        <a:pt x="286" y="193"/>
                        <a:pt x="286" y="193"/>
                      </a:cubicBezTo>
                      <a:cubicBezTo>
                        <a:pt x="286" y="193"/>
                        <a:pt x="287" y="196"/>
                        <a:pt x="287" y="197"/>
                      </a:cubicBezTo>
                      <a:cubicBezTo>
                        <a:pt x="287" y="198"/>
                        <a:pt x="287" y="213"/>
                        <a:pt x="287" y="213"/>
                      </a:cubicBezTo>
                      <a:cubicBezTo>
                        <a:pt x="280" y="213"/>
                        <a:pt x="280" y="213"/>
                        <a:pt x="280" y="213"/>
                      </a:cubicBezTo>
                      <a:cubicBezTo>
                        <a:pt x="278" y="213"/>
                        <a:pt x="278" y="213"/>
                        <a:pt x="278" y="213"/>
                      </a:cubicBezTo>
                      <a:cubicBezTo>
                        <a:pt x="278" y="216"/>
                        <a:pt x="278" y="216"/>
                        <a:pt x="278" y="216"/>
                      </a:cubicBezTo>
                      <a:cubicBezTo>
                        <a:pt x="275" y="220"/>
                        <a:pt x="275" y="220"/>
                        <a:pt x="275" y="220"/>
                      </a:cubicBezTo>
                      <a:cubicBezTo>
                        <a:pt x="274" y="225"/>
                        <a:pt x="274" y="225"/>
                        <a:pt x="274" y="225"/>
                      </a:cubicBezTo>
                      <a:cubicBezTo>
                        <a:pt x="272" y="229"/>
                        <a:pt x="272" y="229"/>
                        <a:pt x="272" y="229"/>
                      </a:cubicBezTo>
                      <a:cubicBezTo>
                        <a:pt x="269" y="233"/>
                        <a:pt x="269" y="233"/>
                        <a:pt x="269" y="233"/>
                      </a:cubicBezTo>
                      <a:cubicBezTo>
                        <a:pt x="266" y="243"/>
                        <a:pt x="266" y="243"/>
                        <a:pt x="266" y="243"/>
                      </a:cubicBezTo>
                      <a:cubicBezTo>
                        <a:pt x="266" y="249"/>
                        <a:pt x="266" y="249"/>
                        <a:pt x="266" y="249"/>
                      </a:cubicBezTo>
                      <a:cubicBezTo>
                        <a:pt x="262" y="254"/>
                        <a:pt x="262" y="254"/>
                        <a:pt x="262" y="254"/>
                      </a:cubicBezTo>
                      <a:cubicBezTo>
                        <a:pt x="259" y="259"/>
                        <a:pt x="259" y="259"/>
                        <a:pt x="259" y="259"/>
                      </a:cubicBezTo>
                      <a:cubicBezTo>
                        <a:pt x="213" y="267"/>
                        <a:pt x="213" y="267"/>
                        <a:pt x="213" y="267"/>
                      </a:cubicBezTo>
                      <a:cubicBezTo>
                        <a:pt x="212" y="265"/>
                        <a:pt x="212" y="265"/>
                        <a:pt x="212" y="265"/>
                      </a:cubicBezTo>
                      <a:cubicBezTo>
                        <a:pt x="141" y="270"/>
                        <a:pt x="141" y="270"/>
                        <a:pt x="141" y="270"/>
                      </a:cubicBezTo>
                      <a:cubicBezTo>
                        <a:pt x="146" y="265"/>
                        <a:pt x="146" y="265"/>
                        <a:pt x="146" y="265"/>
                      </a:cubicBezTo>
                      <a:cubicBezTo>
                        <a:pt x="148" y="261"/>
                        <a:pt x="148" y="261"/>
                        <a:pt x="148" y="261"/>
                      </a:cubicBezTo>
                      <a:cubicBezTo>
                        <a:pt x="152" y="254"/>
                        <a:pt x="152" y="254"/>
                        <a:pt x="152" y="254"/>
                      </a:cubicBezTo>
                      <a:cubicBezTo>
                        <a:pt x="156" y="245"/>
                        <a:pt x="156" y="245"/>
                        <a:pt x="156" y="245"/>
                      </a:cubicBezTo>
                      <a:cubicBezTo>
                        <a:pt x="158" y="235"/>
                        <a:pt x="158" y="235"/>
                        <a:pt x="158" y="235"/>
                      </a:cubicBezTo>
                      <a:cubicBezTo>
                        <a:pt x="157" y="217"/>
                        <a:pt x="157" y="217"/>
                        <a:pt x="157" y="217"/>
                      </a:cubicBezTo>
                      <a:cubicBezTo>
                        <a:pt x="157" y="209"/>
                        <a:pt x="157" y="209"/>
                        <a:pt x="157" y="209"/>
                      </a:cubicBezTo>
                      <a:cubicBezTo>
                        <a:pt x="153" y="203"/>
                        <a:pt x="153" y="203"/>
                        <a:pt x="153" y="203"/>
                      </a:cubicBezTo>
                      <a:cubicBezTo>
                        <a:pt x="149" y="195"/>
                        <a:pt x="149" y="195"/>
                        <a:pt x="149" y="195"/>
                      </a:cubicBezTo>
                      <a:cubicBezTo>
                        <a:pt x="145" y="191"/>
                        <a:pt x="145" y="191"/>
                        <a:pt x="145" y="191"/>
                      </a:cubicBezTo>
                      <a:cubicBezTo>
                        <a:pt x="142" y="184"/>
                        <a:pt x="142" y="184"/>
                        <a:pt x="142" y="184"/>
                      </a:cubicBezTo>
                      <a:cubicBezTo>
                        <a:pt x="144" y="179"/>
                        <a:pt x="144" y="179"/>
                        <a:pt x="144" y="179"/>
                      </a:cubicBezTo>
                      <a:cubicBezTo>
                        <a:pt x="146" y="177"/>
                        <a:pt x="146" y="177"/>
                        <a:pt x="146" y="177"/>
                      </a:cubicBezTo>
                      <a:cubicBezTo>
                        <a:pt x="146" y="173"/>
                        <a:pt x="146" y="173"/>
                        <a:pt x="146" y="173"/>
                      </a:cubicBezTo>
                      <a:cubicBezTo>
                        <a:pt x="144" y="165"/>
                        <a:pt x="144" y="165"/>
                        <a:pt x="144" y="165"/>
                      </a:cubicBezTo>
                      <a:cubicBezTo>
                        <a:pt x="141" y="162"/>
                        <a:pt x="141" y="162"/>
                        <a:pt x="141" y="162"/>
                      </a:cubicBezTo>
                      <a:cubicBezTo>
                        <a:pt x="144" y="160"/>
                        <a:pt x="144" y="160"/>
                        <a:pt x="144" y="160"/>
                      </a:cubicBezTo>
                      <a:cubicBezTo>
                        <a:pt x="145" y="155"/>
                        <a:pt x="145" y="155"/>
                        <a:pt x="145" y="155"/>
                      </a:cubicBezTo>
                      <a:cubicBezTo>
                        <a:pt x="146" y="150"/>
                        <a:pt x="146" y="150"/>
                        <a:pt x="146" y="150"/>
                      </a:cubicBezTo>
                      <a:cubicBezTo>
                        <a:pt x="148" y="147"/>
                        <a:pt x="148" y="147"/>
                        <a:pt x="148" y="147"/>
                      </a:cubicBezTo>
                      <a:cubicBezTo>
                        <a:pt x="148" y="139"/>
                        <a:pt x="148" y="139"/>
                        <a:pt x="148" y="139"/>
                      </a:cubicBezTo>
                      <a:cubicBezTo>
                        <a:pt x="147" y="135"/>
                        <a:pt x="147" y="135"/>
                        <a:pt x="147" y="135"/>
                      </a:cubicBezTo>
                      <a:cubicBezTo>
                        <a:pt x="148" y="130"/>
                        <a:pt x="148" y="130"/>
                        <a:pt x="148" y="130"/>
                      </a:cubicBezTo>
                      <a:cubicBezTo>
                        <a:pt x="151" y="126"/>
                        <a:pt x="151" y="126"/>
                        <a:pt x="151" y="126"/>
                      </a:cubicBezTo>
                      <a:cubicBezTo>
                        <a:pt x="153" y="122"/>
                        <a:pt x="153" y="122"/>
                        <a:pt x="153" y="122"/>
                      </a:cubicBezTo>
                      <a:cubicBezTo>
                        <a:pt x="153" y="117"/>
                        <a:pt x="153" y="117"/>
                        <a:pt x="153" y="117"/>
                      </a:cubicBezTo>
                      <a:cubicBezTo>
                        <a:pt x="157" y="116"/>
                        <a:pt x="157" y="116"/>
                        <a:pt x="157" y="116"/>
                      </a:cubicBezTo>
                      <a:cubicBezTo>
                        <a:pt x="163" y="116"/>
                        <a:pt x="163" y="116"/>
                        <a:pt x="163" y="116"/>
                      </a:cubicBezTo>
                      <a:cubicBezTo>
                        <a:pt x="165" y="108"/>
                        <a:pt x="165" y="108"/>
                        <a:pt x="165" y="108"/>
                      </a:cubicBezTo>
                      <a:cubicBezTo>
                        <a:pt x="166" y="106"/>
                        <a:pt x="166" y="106"/>
                        <a:pt x="166" y="106"/>
                      </a:cubicBezTo>
                      <a:cubicBezTo>
                        <a:pt x="168" y="105"/>
                        <a:pt x="168" y="105"/>
                        <a:pt x="168" y="105"/>
                      </a:cubicBezTo>
                      <a:cubicBezTo>
                        <a:pt x="171" y="114"/>
                        <a:pt x="171" y="114"/>
                        <a:pt x="171" y="114"/>
                      </a:cubicBezTo>
                      <a:cubicBezTo>
                        <a:pt x="167" y="119"/>
                        <a:pt x="167" y="119"/>
                        <a:pt x="167" y="119"/>
                      </a:cubicBezTo>
                      <a:cubicBezTo>
                        <a:pt x="167" y="121"/>
                        <a:pt x="167" y="121"/>
                        <a:pt x="167" y="121"/>
                      </a:cubicBezTo>
                      <a:cubicBezTo>
                        <a:pt x="167" y="121"/>
                        <a:pt x="168" y="122"/>
                        <a:pt x="169" y="122"/>
                      </a:cubicBezTo>
                      <a:cubicBezTo>
                        <a:pt x="170" y="122"/>
                        <a:pt x="170" y="122"/>
                        <a:pt x="170" y="122"/>
                      </a:cubicBezTo>
                      <a:cubicBezTo>
                        <a:pt x="170" y="122"/>
                        <a:pt x="172" y="121"/>
                        <a:pt x="172" y="121"/>
                      </a:cubicBezTo>
                      <a:cubicBezTo>
                        <a:pt x="172" y="120"/>
                        <a:pt x="173" y="117"/>
                        <a:pt x="173" y="117"/>
                      </a:cubicBezTo>
                      <a:cubicBezTo>
                        <a:pt x="174" y="116"/>
                        <a:pt x="174" y="116"/>
                        <a:pt x="174" y="116"/>
                      </a:cubicBezTo>
                      <a:cubicBezTo>
                        <a:pt x="175" y="111"/>
                        <a:pt x="175" y="111"/>
                        <a:pt x="175" y="111"/>
                      </a:cubicBezTo>
                      <a:cubicBezTo>
                        <a:pt x="175" y="108"/>
                        <a:pt x="175" y="108"/>
                        <a:pt x="175" y="108"/>
                      </a:cubicBezTo>
                      <a:cubicBezTo>
                        <a:pt x="175" y="104"/>
                        <a:pt x="175" y="104"/>
                        <a:pt x="175" y="104"/>
                      </a:cubicBezTo>
                      <a:cubicBezTo>
                        <a:pt x="175" y="100"/>
                        <a:pt x="175" y="100"/>
                        <a:pt x="175" y="100"/>
                      </a:cubicBezTo>
                      <a:cubicBezTo>
                        <a:pt x="178" y="96"/>
                        <a:pt x="178" y="96"/>
                        <a:pt x="178" y="96"/>
                      </a:cubicBezTo>
                      <a:cubicBezTo>
                        <a:pt x="180" y="94"/>
                        <a:pt x="180" y="94"/>
                        <a:pt x="180" y="94"/>
                      </a:cubicBezTo>
                      <a:cubicBezTo>
                        <a:pt x="185" y="93"/>
                        <a:pt x="185" y="93"/>
                        <a:pt x="185" y="93"/>
                      </a:cubicBezTo>
                      <a:cubicBezTo>
                        <a:pt x="187" y="91"/>
                        <a:pt x="187" y="91"/>
                        <a:pt x="187" y="91"/>
                      </a:cubicBezTo>
                      <a:cubicBezTo>
                        <a:pt x="183" y="87"/>
                        <a:pt x="183" y="87"/>
                        <a:pt x="183" y="87"/>
                      </a:cubicBezTo>
                      <a:cubicBezTo>
                        <a:pt x="182" y="84"/>
                        <a:pt x="182" y="84"/>
                        <a:pt x="182" y="84"/>
                      </a:cubicBezTo>
                      <a:cubicBezTo>
                        <a:pt x="184" y="81"/>
                        <a:pt x="184" y="81"/>
                        <a:pt x="184" y="81"/>
                      </a:cubicBezTo>
                      <a:cubicBezTo>
                        <a:pt x="186" y="78"/>
                        <a:pt x="186" y="78"/>
                        <a:pt x="186" y="78"/>
                      </a:cubicBezTo>
                      <a:cubicBezTo>
                        <a:pt x="187" y="77"/>
                        <a:pt x="187" y="77"/>
                        <a:pt x="187" y="77"/>
                      </a:cubicBezTo>
                      <a:cubicBezTo>
                        <a:pt x="187" y="75"/>
                        <a:pt x="187" y="75"/>
                        <a:pt x="187" y="75"/>
                      </a:cubicBezTo>
                      <a:cubicBezTo>
                        <a:pt x="188" y="74"/>
                        <a:pt x="188" y="74"/>
                        <a:pt x="188" y="74"/>
                      </a:cubicBezTo>
                      <a:cubicBezTo>
                        <a:pt x="188" y="74"/>
                        <a:pt x="188" y="74"/>
                        <a:pt x="189" y="74"/>
                      </a:cubicBezTo>
                      <a:cubicBezTo>
                        <a:pt x="189" y="74"/>
                        <a:pt x="193" y="73"/>
                        <a:pt x="193" y="73"/>
                      </a:cubicBezTo>
                      <a:cubicBezTo>
                        <a:pt x="195" y="73"/>
                        <a:pt x="195" y="73"/>
                        <a:pt x="195" y="73"/>
                      </a:cubicBezTo>
                      <a:cubicBezTo>
                        <a:pt x="193" y="70"/>
                        <a:pt x="193" y="70"/>
                        <a:pt x="193" y="70"/>
                      </a:cubicBezTo>
                      <a:cubicBezTo>
                        <a:pt x="189" y="67"/>
                        <a:pt x="189" y="67"/>
                        <a:pt x="189" y="67"/>
                      </a:cubicBezTo>
                      <a:cubicBezTo>
                        <a:pt x="187" y="65"/>
                        <a:pt x="187" y="65"/>
                        <a:pt x="187" y="65"/>
                      </a:cubicBezTo>
                      <a:cubicBezTo>
                        <a:pt x="184" y="63"/>
                        <a:pt x="184" y="63"/>
                        <a:pt x="184" y="63"/>
                      </a:cubicBezTo>
                      <a:cubicBezTo>
                        <a:pt x="179" y="61"/>
                        <a:pt x="179" y="61"/>
                        <a:pt x="179" y="61"/>
                      </a:cubicBezTo>
                      <a:cubicBezTo>
                        <a:pt x="170" y="60"/>
                        <a:pt x="170" y="60"/>
                        <a:pt x="170" y="60"/>
                      </a:cubicBezTo>
                      <a:cubicBezTo>
                        <a:pt x="163" y="64"/>
                        <a:pt x="163" y="64"/>
                        <a:pt x="163" y="64"/>
                      </a:cubicBezTo>
                      <a:cubicBezTo>
                        <a:pt x="159" y="68"/>
                        <a:pt x="159" y="68"/>
                        <a:pt x="159" y="68"/>
                      </a:cubicBezTo>
                      <a:cubicBezTo>
                        <a:pt x="152" y="69"/>
                        <a:pt x="152" y="69"/>
                        <a:pt x="152" y="69"/>
                      </a:cubicBezTo>
                      <a:cubicBezTo>
                        <a:pt x="144" y="69"/>
                        <a:pt x="144" y="69"/>
                        <a:pt x="144" y="69"/>
                      </a:cubicBezTo>
                      <a:cubicBezTo>
                        <a:pt x="140" y="72"/>
                        <a:pt x="140" y="72"/>
                        <a:pt x="140" y="72"/>
                      </a:cubicBezTo>
                      <a:cubicBezTo>
                        <a:pt x="135" y="81"/>
                        <a:pt x="135" y="81"/>
                        <a:pt x="135" y="81"/>
                      </a:cubicBezTo>
                      <a:cubicBezTo>
                        <a:pt x="129" y="85"/>
                        <a:pt x="129" y="85"/>
                        <a:pt x="129" y="85"/>
                      </a:cubicBezTo>
                      <a:cubicBezTo>
                        <a:pt x="128" y="84"/>
                        <a:pt x="128" y="84"/>
                        <a:pt x="128" y="84"/>
                      </a:cubicBezTo>
                      <a:cubicBezTo>
                        <a:pt x="130" y="80"/>
                        <a:pt x="130" y="80"/>
                        <a:pt x="130" y="80"/>
                      </a:cubicBezTo>
                      <a:cubicBezTo>
                        <a:pt x="133" y="77"/>
                        <a:pt x="133" y="77"/>
                        <a:pt x="133" y="77"/>
                      </a:cubicBezTo>
                      <a:cubicBezTo>
                        <a:pt x="131" y="74"/>
                        <a:pt x="131" y="74"/>
                        <a:pt x="131" y="74"/>
                      </a:cubicBezTo>
                      <a:cubicBezTo>
                        <a:pt x="127" y="76"/>
                        <a:pt x="127" y="76"/>
                        <a:pt x="127" y="76"/>
                      </a:cubicBezTo>
                      <a:cubicBezTo>
                        <a:pt x="125" y="77"/>
                        <a:pt x="125" y="77"/>
                        <a:pt x="125" y="77"/>
                      </a:cubicBezTo>
                      <a:cubicBezTo>
                        <a:pt x="123" y="81"/>
                        <a:pt x="123" y="81"/>
                        <a:pt x="123" y="81"/>
                      </a:cubicBezTo>
                      <a:cubicBezTo>
                        <a:pt x="121" y="82"/>
                        <a:pt x="121" y="82"/>
                        <a:pt x="121" y="82"/>
                      </a:cubicBezTo>
                      <a:cubicBezTo>
                        <a:pt x="120" y="82"/>
                        <a:pt x="120" y="82"/>
                        <a:pt x="120" y="82"/>
                      </a:cubicBezTo>
                      <a:cubicBezTo>
                        <a:pt x="118" y="75"/>
                        <a:pt x="118" y="75"/>
                        <a:pt x="118" y="75"/>
                      </a:cubicBezTo>
                      <a:cubicBezTo>
                        <a:pt x="117" y="75"/>
                        <a:pt x="117" y="75"/>
                        <a:pt x="117" y="75"/>
                      </a:cubicBezTo>
                      <a:cubicBezTo>
                        <a:pt x="115" y="81"/>
                        <a:pt x="115" y="81"/>
                        <a:pt x="115" y="81"/>
                      </a:cubicBezTo>
                      <a:cubicBezTo>
                        <a:pt x="114" y="85"/>
                        <a:pt x="114" y="85"/>
                        <a:pt x="114" y="85"/>
                      </a:cubicBezTo>
                      <a:cubicBezTo>
                        <a:pt x="110" y="90"/>
                        <a:pt x="110" y="90"/>
                        <a:pt x="110" y="90"/>
                      </a:cubicBezTo>
                      <a:cubicBezTo>
                        <a:pt x="107" y="101"/>
                        <a:pt x="107" y="101"/>
                        <a:pt x="107" y="101"/>
                      </a:cubicBezTo>
                      <a:cubicBezTo>
                        <a:pt x="105" y="107"/>
                        <a:pt x="105" y="107"/>
                        <a:pt x="105" y="107"/>
                      </a:cubicBezTo>
                      <a:cubicBezTo>
                        <a:pt x="99" y="112"/>
                        <a:pt x="99" y="112"/>
                        <a:pt x="99" y="112"/>
                      </a:cubicBezTo>
                      <a:cubicBezTo>
                        <a:pt x="97" y="108"/>
                        <a:pt x="97" y="108"/>
                        <a:pt x="97" y="108"/>
                      </a:cubicBezTo>
                      <a:cubicBezTo>
                        <a:pt x="96" y="101"/>
                        <a:pt x="96" y="101"/>
                        <a:pt x="96" y="101"/>
                      </a:cubicBezTo>
                      <a:cubicBezTo>
                        <a:pt x="95" y="100"/>
                        <a:pt x="95" y="100"/>
                        <a:pt x="95" y="100"/>
                      </a:cubicBezTo>
                      <a:cubicBezTo>
                        <a:pt x="93" y="97"/>
                        <a:pt x="93" y="97"/>
                        <a:pt x="93" y="97"/>
                      </a:cubicBezTo>
                      <a:cubicBezTo>
                        <a:pt x="94" y="94"/>
                        <a:pt x="94" y="94"/>
                        <a:pt x="94" y="94"/>
                      </a:cubicBezTo>
                      <a:cubicBezTo>
                        <a:pt x="93" y="88"/>
                        <a:pt x="93" y="88"/>
                        <a:pt x="93" y="88"/>
                      </a:cubicBezTo>
                      <a:cubicBezTo>
                        <a:pt x="90" y="85"/>
                        <a:pt x="90" y="85"/>
                        <a:pt x="90" y="85"/>
                      </a:cubicBezTo>
                      <a:cubicBezTo>
                        <a:pt x="84" y="81"/>
                        <a:pt x="84" y="81"/>
                        <a:pt x="84" y="81"/>
                      </a:cubicBezTo>
                      <a:cubicBezTo>
                        <a:pt x="82" y="77"/>
                        <a:pt x="82" y="77"/>
                        <a:pt x="82" y="77"/>
                      </a:cubicBezTo>
                      <a:cubicBezTo>
                        <a:pt x="75" y="76"/>
                        <a:pt x="75" y="76"/>
                        <a:pt x="75" y="76"/>
                      </a:cubicBezTo>
                      <a:cubicBezTo>
                        <a:pt x="66" y="76"/>
                        <a:pt x="66" y="76"/>
                        <a:pt x="66" y="76"/>
                      </a:cubicBezTo>
                      <a:cubicBezTo>
                        <a:pt x="64" y="74"/>
                        <a:pt x="64" y="74"/>
                        <a:pt x="64" y="74"/>
                      </a:cubicBezTo>
                      <a:cubicBezTo>
                        <a:pt x="58" y="74"/>
                        <a:pt x="58" y="74"/>
                        <a:pt x="58" y="74"/>
                      </a:cubicBezTo>
                      <a:cubicBezTo>
                        <a:pt x="50" y="73"/>
                        <a:pt x="50" y="73"/>
                        <a:pt x="50" y="73"/>
                      </a:cubicBezTo>
                      <a:cubicBezTo>
                        <a:pt x="49" y="71"/>
                        <a:pt x="49" y="71"/>
                        <a:pt x="49" y="71"/>
                      </a:cubicBezTo>
                      <a:cubicBezTo>
                        <a:pt x="43" y="68"/>
                        <a:pt x="43" y="68"/>
                        <a:pt x="43" y="68"/>
                      </a:cubicBezTo>
                      <a:cubicBezTo>
                        <a:pt x="36" y="67"/>
                        <a:pt x="36" y="67"/>
                        <a:pt x="36" y="67"/>
                      </a:cubicBezTo>
                      <a:cubicBezTo>
                        <a:pt x="29" y="65"/>
                        <a:pt x="29" y="65"/>
                        <a:pt x="29" y="65"/>
                      </a:cubicBezTo>
                      <a:cubicBezTo>
                        <a:pt x="21" y="62"/>
                        <a:pt x="21" y="62"/>
                        <a:pt x="21" y="62"/>
                      </a:cubicBezTo>
                      <a:cubicBezTo>
                        <a:pt x="16" y="59"/>
                        <a:pt x="16" y="59"/>
                        <a:pt x="16" y="59"/>
                      </a:cubicBezTo>
                      <a:cubicBezTo>
                        <a:pt x="12" y="59"/>
                        <a:pt x="12" y="59"/>
                        <a:pt x="12" y="59"/>
                      </a:cubicBezTo>
                      <a:cubicBezTo>
                        <a:pt x="11" y="59"/>
                        <a:pt x="11" y="59"/>
                        <a:pt x="11" y="59"/>
                      </a:cubicBezTo>
                      <a:cubicBezTo>
                        <a:pt x="9" y="57"/>
                        <a:pt x="9" y="57"/>
                        <a:pt x="9" y="57"/>
                      </a:cubicBezTo>
                      <a:cubicBezTo>
                        <a:pt x="7" y="54"/>
                        <a:pt x="7" y="54"/>
                        <a:pt x="7" y="54"/>
                      </a:cubicBezTo>
                      <a:cubicBezTo>
                        <a:pt x="0" y="52"/>
                        <a:pt x="0" y="52"/>
                        <a:pt x="0" y="52"/>
                      </a:cubicBezTo>
                      <a:lnTo>
                        <a:pt x="0" y="5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5" name="Freeform 104">
                  <a:extLst>
                    <a:ext uri="{FF2B5EF4-FFF2-40B4-BE49-F238E27FC236}">
                      <a16:creationId xmlns:a16="http://schemas.microsoft.com/office/drawing/2014/main" id="{215F241B-FE55-53ED-3038-802A117C9A56}"/>
                    </a:ext>
                  </a:extLst>
                </p:cNvPr>
                <p:cNvSpPr>
                  <a:spLocks/>
                </p:cNvSpPr>
                <p:nvPr/>
              </p:nvSpPr>
              <p:spPr bwMode="auto">
                <a:xfrm>
                  <a:off x="6848079" y="1986053"/>
                  <a:ext cx="286695" cy="305247"/>
                </a:xfrm>
                <a:custGeom>
                  <a:avLst/>
                  <a:gdLst>
                    <a:gd name="T0" fmla="*/ 175 w 201"/>
                    <a:gd name="T1" fmla="*/ 65 h 213"/>
                    <a:gd name="T2" fmla="*/ 172 w 201"/>
                    <a:gd name="T3" fmla="*/ 53 h 213"/>
                    <a:gd name="T4" fmla="*/ 157 w 201"/>
                    <a:gd name="T5" fmla="*/ 44 h 213"/>
                    <a:gd name="T6" fmla="*/ 140 w 201"/>
                    <a:gd name="T7" fmla="*/ 42 h 213"/>
                    <a:gd name="T8" fmla="*/ 125 w 201"/>
                    <a:gd name="T9" fmla="*/ 36 h 213"/>
                    <a:gd name="T10" fmla="*/ 103 w 201"/>
                    <a:gd name="T11" fmla="*/ 30 h 213"/>
                    <a:gd name="T12" fmla="*/ 93 w 201"/>
                    <a:gd name="T13" fmla="*/ 27 h 213"/>
                    <a:gd name="T14" fmla="*/ 82 w 201"/>
                    <a:gd name="T15" fmla="*/ 20 h 213"/>
                    <a:gd name="T16" fmla="*/ 78 w 201"/>
                    <a:gd name="T17" fmla="*/ 18 h 213"/>
                    <a:gd name="T18" fmla="*/ 70 w 201"/>
                    <a:gd name="T19" fmla="*/ 17 h 213"/>
                    <a:gd name="T20" fmla="*/ 67 w 201"/>
                    <a:gd name="T21" fmla="*/ 15 h 213"/>
                    <a:gd name="T22" fmla="*/ 70 w 201"/>
                    <a:gd name="T23" fmla="*/ 2 h 213"/>
                    <a:gd name="T24" fmla="*/ 61 w 201"/>
                    <a:gd name="T25" fmla="*/ 3 h 213"/>
                    <a:gd name="T26" fmla="*/ 47 w 201"/>
                    <a:gd name="T27" fmla="*/ 9 h 213"/>
                    <a:gd name="T28" fmla="*/ 33 w 201"/>
                    <a:gd name="T29" fmla="*/ 16 h 213"/>
                    <a:gd name="T30" fmla="*/ 21 w 201"/>
                    <a:gd name="T31" fmla="*/ 15 h 213"/>
                    <a:gd name="T32" fmla="*/ 5 w 201"/>
                    <a:gd name="T33" fmla="*/ 55 h 213"/>
                    <a:gd name="T34" fmla="*/ 7 w 201"/>
                    <a:gd name="T35" fmla="*/ 72 h 213"/>
                    <a:gd name="T36" fmla="*/ 10 w 201"/>
                    <a:gd name="T37" fmla="*/ 112 h 213"/>
                    <a:gd name="T38" fmla="*/ 42 w 201"/>
                    <a:gd name="T39" fmla="*/ 135 h 213"/>
                    <a:gd name="T40" fmla="*/ 60 w 201"/>
                    <a:gd name="T41" fmla="*/ 152 h 213"/>
                    <a:gd name="T42" fmla="*/ 63 w 201"/>
                    <a:gd name="T43" fmla="*/ 173 h 213"/>
                    <a:gd name="T44" fmla="*/ 65 w 201"/>
                    <a:gd name="T45" fmla="*/ 187 h 213"/>
                    <a:gd name="T46" fmla="*/ 67 w 201"/>
                    <a:gd name="T47" fmla="*/ 203 h 213"/>
                    <a:gd name="T48" fmla="*/ 82 w 201"/>
                    <a:gd name="T49" fmla="*/ 209 h 213"/>
                    <a:gd name="T50" fmla="*/ 184 w 201"/>
                    <a:gd name="T51" fmla="*/ 195 h 213"/>
                    <a:gd name="T52" fmla="*/ 178 w 201"/>
                    <a:gd name="T53" fmla="*/ 172 h 213"/>
                    <a:gd name="T54" fmla="*/ 182 w 201"/>
                    <a:gd name="T55" fmla="*/ 155 h 213"/>
                    <a:gd name="T56" fmla="*/ 182 w 201"/>
                    <a:gd name="T57" fmla="*/ 140 h 213"/>
                    <a:gd name="T58" fmla="*/ 184 w 201"/>
                    <a:gd name="T59" fmla="*/ 131 h 213"/>
                    <a:gd name="T60" fmla="*/ 186 w 201"/>
                    <a:gd name="T61" fmla="*/ 121 h 213"/>
                    <a:gd name="T62" fmla="*/ 188 w 201"/>
                    <a:gd name="T63" fmla="*/ 105 h 213"/>
                    <a:gd name="T64" fmla="*/ 197 w 201"/>
                    <a:gd name="T65" fmla="*/ 85 h 213"/>
                    <a:gd name="T66" fmla="*/ 201 w 201"/>
                    <a:gd name="T67" fmla="*/ 79 h 213"/>
                    <a:gd name="T68" fmla="*/ 201 w 201"/>
                    <a:gd name="T69" fmla="*/ 73 h 213"/>
                    <a:gd name="T70" fmla="*/ 194 w 201"/>
                    <a:gd name="T71" fmla="*/ 79 h 213"/>
                    <a:gd name="T72" fmla="*/ 187 w 201"/>
                    <a:gd name="T73" fmla="*/ 92 h 213"/>
                    <a:gd name="T74" fmla="*/ 177 w 201"/>
                    <a:gd name="T75" fmla="*/ 101 h 213"/>
                    <a:gd name="T76" fmla="*/ 168 w 201"/>
                    <a:gd name="T77" fmla="*/ 107 h 213"/>
                    <a:gd name="T78" fmla="*/ 174 w 201"/>
                    <a:gd name="T79" fmla="*/ 93 h 213"/>
                    <a:gd name="T80" fmla="*/ 179 w 201"/>
                    <a:gd name="T81" fmla="*/ 87 h 213"/>
                    <a:gd name="T82" fmla="*/ 180 w 201"/>
                    <a:gd name="T83" fmla="*/ 7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1" h="213">
                      <a:moveTo>
                        <a:pt x="178" y="69"/>
                      </a:moveTo>
                      <a:cubicBezTo>
                        <a:pt x="177" y="68"/>
                        <a:pt x="177" y="68"/>
                        <a:pt x="177" y="68"/>
                      </a:cubicBezTo>
                      <a:cubicBezTo>
                        <a:pt x="175" y="65"/>
                        <a:pt x="175" y="65"/>
                        <a:pt x="175" y="65"/>
                      </a:cubicBezTo>
                      <a:cubicBezTo>
                        <a:pt x="176" y="62"/>
                        <a:pt x="176" y="62"/>
                        <a:pt x="176" y="62"/>
                      </a:cubicBezTo>
                      <a:cubicBezTo>
                        <a:pt x="175" y="56"/>
                        <a:pt x="175" y="56"/>
                        <a:pt x="175" y="56"/>
                      </a:cubicBezTo>
                      <a:cubicBezTo>
                        <a:pt x="172" y="53"/>
                        <a:pt x="172" y="53"/>
                        <a:pt x="172" y="53"/>
                      </a:cubicBezTo>
                      <a:cubicBezTo>
                        <a:pt x="166" y="49"/>
                        <a:pt x="166" y="49"/>
                        <a:pt x="166" y="49"/>
                      </a:cubicBezTo>
                      <a:cubicBezTo>
                        <a:pt x="164" y="45"/>
                        <a:pt x="164" y="45"/>
                        <a:pt x="164" y="45"/>
                      </a:cubicBezTo>
                      <a:cubicBezTo>
                        <a:pt x="157" y="44"/>
                        <a:pt x="157" y="44"/>
                        <a:pt x="157" y="44"/>
                      </a:cubicBezTo>
                      <a:cubicBezTo>
                        <a:pt x="148" y="44"/>
                        <a:pt x="148" y="44"/>
                        <a:pt x="148" y="44"/>
                      </a:cubicBezTo>
                      <a:cubicBezTo>
                        <a:pt x="146" y="42"/>
                        <a:pt x="146" y="42"/>
                        <a:pt x="146" y="42"/>
                      </a:cubicBezTo>
                      <a:cubicBezTo>
                        <a:pt x="140" y="42"/>
                        <a:pt x="140" y="42"/>
                        <a:pt x="140" y="42"/>
                      </a:cubicBezTo>
                      <a:cubicBezTo>
                        <a:pt x="132" y="41"/>
                        <a:pt x="132" y="41"/>
                        <a:pt x="132" y="41"/>
                      </a:cubicBezTo>
                      <a:cubicBezTo>
                        <a:pt x="131" y="39"/>
                        <a:pt x="131" y="39"/>
                        <a:pt x="131" y="39"/>
                      </a:cubicBezTo>
                      <a:cubicBezTo>
                        <a:pt x="125" y="36"/>
                        <a:pt x="125" y="36"/>
                        <a:pt x="125" y="36"/>
                      </a:cubicBezTo>
                      <a:cubicBezTo>
                        <a:pt x="118" y="35"/>
                        <a:pt x="118" y="35"/>
                        <a:pt x="118" y="35"/>
                      </a:cubicBezTo>
                      <a:cubicBezTo>
                        <a:pt x="111" y="33"/>
                        <a:pt x="111" y="33"/>
                        <a:pt x="111" y="33"/>
                      </a:cubicBezTo>
                      <a:cubicBezTo>
                        <a:pt x="103" y="30"/>
                        <a:pt x="103" y="30"/>
                        <a:pt x="103" y="30"/>
                      </a:cubicBezTo>
                      <a:cubicBezTo>
                        <a:pt x="98" y="27"/>
                        <a:pt x="98" y="27"/>
                        <a:pt x="98" y="27"/>
                      </a:cubicBezTo>
                      <a:cubicBezTo>
                        <a:pt x="94" y="27"/>
                        <a:pt x="94" y="27"/>
                        <a:pt x="94" y="27"/>
                      </a:cubicBezTo>
                      <a:cubicBezTo>
                        <a:pt x="93" y="27"/>
                        <a:pt x="93" y="27"/>
                        <a:pt x="93" y="27"/>
                      </a:cubicBezTo>
                      <a:cubicBezTo>
                        <a:pt x="91" y="25"/>
                        <a:pt x="91" y="25"/>
                        <a:pt x="91" y="25"/>
                      </a:cubicBezTo>
                      <a:cubicBezTo>
                        <a:pt x="89" y="22"/>
                        <a:pt x="89" y="22"/>
                        <a:pt x="89" y="22"/>
                      </a:cubicBezTo>
                      <a:cubicBezTo>
                        <a:pt x="82" y="20"/>
                        <a:pt x="82" y="20"/>
                        <a:pt x="82" y="20"/>
                      </a:cubicBezTo>
                      <a:cubicBezTo>
                        <a:pt x="82" y="20"/>
                        <a:pt x="82" y="20"/>
                        <a:pt x="82" y="20"/>
                      </a:cubicBezTo>
                      <a:cubicBezTo>
                        <a:pt x="81" y="20"/>
                        <a:pt x="81" y="20"/>
                        <a:pt x="81" y="20"/>
                      </a:cubicBezTo>
                      <a:cubicBezTo>
                        <a:pt x="78" y="18"/>
                        <a:pt x="78" y="18"/>
                        <a:pt x="78" y="18"/>
                      </a:cubicBezTo>
                      <a:cubicBezTo>
                        <a:pt x="75" y="16"/>
                        <a:pt x="75" y="16"/>
                        <a:pt x="75" y="16"/>
                      </a:cubicBezTo>
                      <a:cubicBezTo>
                        <a:pt x="72" y="15"/>
                        <a:pt x="72" y="15"/>
                        <a:pt x="72" y="15"/>
                      </a:cubicBezTo>
                      <a:cubicBezTo>
                        <a:pt x="70" y="17"/>
                        <a:pt x="70" y="17"/>
                        <a:pt x="70" y="17"/>
                      </a:cubicBezTo>
                      <a:cubicBezTo>
                        <a:pt x="67" y="18"/>
                        <a:pt x="67" y="18"/>
                        <a:pt x="67" y="18"/>
                      </a:cubicBezTo>
                      <a:cubicBezTo>
                        <a:pt x="66" y="17"/>
                        <a:pt x="66" y="17"/>
                        <a:pt x="66" y="17"/>
                      </a:cubicBezTo>
                      <a:cubicBezTo>
                        <a:pt x="67" y="15"/>
                        <a:pt x="67" y="15"/>
                        <a:pt x="67" y="15"/>
                      </a:cubicBezTo>
                      <a:cubicBezTo>
                        <a:pt x="68" y="9"/>
                        <a:pt x="68" y="9"/>
                        <a:pt x="68" y="9"/>
                      </a:cubicBezTo>
                      <a:cubicBezTo>
                        <a:pt x="69" y="7"/>
                        <a:pt x="69" y="7"/>
                        <a:pt x="69" y="7"/>
                      </a:cubicBezTo>
                      <a:cubicBezTo>
                        <a:pt x="70" y="2"/>
                        <a:pt x="70" y="2"/>
                        <a:pt x="70" y="2"/>
                      </a:cubicBezTo>
                      <a:cubicBezTo>
                        <a:pt x="67" y="0"/>
                        <a:pt x="67" y="0"/>
                        <a:pt x="67" y="0"/>
                      </a:cubicBezTo>
                      <a:cubicBezTo>
                        <a:pt x="65" y="1"/>
                        <a:pt x="65" y="1"/>
                        <a:pt x="65" y="1"/>
                      </a:cubicBezTo>
                      <a:cubicBezTo>
                        <a:pt x="61" y="3"/>
                        <a:pt x="61" y="3"/>
                        <a:pt x="61" y="3"/>
                      </a:cubicBezTo>
                      <a:cubicBezTo>
                        <a:pt x="57" y="4"/>
                        <a:pt x="57" y="4"/>
                        <a:pt x="57" y="4"/>
                      </a:cubicBezTo>
                      <a:cubicBezTo>
                        <a:pt x="52" y="6"/>
                        <a:pt x="52" y="6"/>
                        <a:pt x="52" y="6"/>
                      </a:cubicBezTo>
                      <a:cubicBezTo>
                        <a:pt x="47" y="9"/>
                        <a:pt x="47" y="9"/>
                        <a:pt x="47" y="9"/>
                      </a:cubicBezTo>
                      <a:cubicBezTo>
                        <a:pt x="39" y="13"/>
                        <a:pt x="39" y="13"/>
                        <a:pt x="39" y="13"/>
                      </a:cubicBezTo>
                      <a:cubicBezTo>
                        <a:pt x="37" y="16"/>
                        <a:pt x="37" y="16"/>
                        <a:pt x="37" y="16"/>
                      </a:cubicBezTo>
                      <a:cubicBezTo>
                        <a:pt x="33" y="16"/>
                        <a:pt x="33" y="16"/>
                        <a:pt x="33" y="16"/>
                      </a:cubicBezTo>
                      <a:cubicBezTo>
                        <a:pt x="28" y="14"/>
                        <a:pt x="28" y="14"/>
                        <a:pt x="28" y="14"/>
                      </a:cubicBezTo>
                      <a:cubicBezTo>
                        <a:pt x="25" y="11"/>
                        <a:pt x="25" y="11"/>
                        <a:pt x="25" y="11"/>
                      </a:cubicBezTo>
                      <a:cubicBezTo>
                        <a:pt x="21" y="15"/>
                        <a:pt x="21" y="15"/>
                        <a:pt x="21" y="15"/>
                      </a:cubicBezTo>
                      <a:cubicBezTo>
                        <a:pt x="20" y="43"/>
                        <a:pt x="20" y="43"/>
                        <a:pt x="20" y="43"/>
                      </a:cubicBezTo>
                      <a:cubicBezTo>
                        <a:pt x="7" y="51"/>
                        <a:pt x="7" y="51"/>
                        <a:pt x="7" y="51"/>
                      </a:cubicBezTo>
                      <a:cubicBezTo>
                        <a:pt x="5" y="55"/>
                        <a:pt x="5" y="55"/>
                        <a:pt x="5" y="55"/>
                      </a:cubicBezTo>
                      <a:cubicBezTo>
                        <a:pt x="0" y="66"/>
                        <a:pt x="0" y="66"/>
                        <a:pt x="0" y="66"/>
                      </a:cubicBezTo>
                      <a:cubicBezTo>
                        <a:pt x="5" y="72"/>
                        <a:pt x="5" y="72"/>
                        <a:pt x="5" y="72"/>
                      </a:cubicBezTo>
                      <a:cubicBezTo>
                        <a:pt x="7" y="72"/>
                        <a:pt x="7" y="72"/>
                        <a:pt x="7" y="72"/>
                      </a:cubicBezTo>
                      <a:cubicBezTo>
                        <a:pt x="5" y="89"/>
                        <a:pt x="5" y="89"/>
                        <a:pt x="5" y="89"/>
                      </a:cubicBezTo>
                      <a:cubicBezTo>
                        <a:pt x="4" y="107"/>
                        <a:pt x="4" y="107"/>
                        <a:pt x="4" y="107"/>
                      </a:cubicBezTo>
                      <a:cubicBezTo>
                        <a:pt x="10" y="112"/>
                        <a:pt x="10" y="112"/>
                        <a:pt x="10" y="112"/>
                      </a:cubicBezTo>
                      <a:cubicBezTo>
                        <a:pt x="19" y="117"/>
                        <a:pt x="19" y="117"/>
                        <a:pt x="19" y="117"/>
                      </a:cubicBezTo>
                      <a:cubicBezTo>
                        <a:pt x="33" y="125"/>
                        <a:pt x="33" y="125"/>
                        <a:pt x="33" y="125"/>
                      </a:cubicBezTo>
                      <a:cubicBezTo>
                        <a:pt x="42" y="135"/>
                        <a:pt x="42" y="135"/>
                        <a:pt x="42" y="135"/>
                      </a:cubicBezTo>
                      <a:cubicBezTo>
                        <a:pt x="45" y="139"/>
                        <a:pt x="45" y="139"/>
                        <a:pt x="45" y="139"/>
                      </a:cubicBezTo>
                      <a:cubicBezTo>
                        <a:pt x="52" y="144"/>
                        <a:pt x="52" y="144"/>
                        <a:pt x="52" y="144"/>
                      </a:cubicBezTo>
                      <a:cubicBezTo>
                        <a:pt x="60" y="152"/>
                        <a:pt x="60" y="152"/>
                        <a:pt x="60" y="152"/>
                      </a:cubicBezTo>
                      <a:cubicBezTo>
                        <a:pt x="61" y="159"/>
                        <a:pt x="61" y="159"/>
                        <a:pt x="61" y="159"/>
                      </a:cubicBezTo>
                      <a:cubicBezTo>
                        <a:pt x="60" y="166"/>
                        <a:pt x="60" y="166"/>
                        <a:pt x="60" y="166"/>
                      </a:cubicBezTo>
                      <a:cubicBezTo>
                        <a:pt x="63" y="173"/>
                        <a:pt x="63" y="173"/>
                        <a:pt x="63" y="173"/>
                      </a:cubicBezTo>
                      <a:cubicBezTo>
                        <a:pt x="65" y="176"/>
                        <a:pt x="65" y="176"/>
                        <a:pt x="65" y="176"/>
                      </a:cubicBezTo>
                      <a:cubicBezTo>
                        <a:pt x="65" y="183"/>
                        <a:pt x="65" y="183"/>
                        <a:pt x="65" y="183"/>
                      </a:cubicBezTo>
                      <a:cubicBezTo>
                        <a:pt x="65" y="187"/>
                        <a:pt x="65" y="187"/>
                        <a:pt x="65" y="187"/>
                      </a:cubicBezTo>
                      <a:cubicBezTo>
                        <a:pt x="65" y="193"/>
                        <a:pt x="65" y="193"/>
                        <a:pt x="65" y="193"/>
                      </a:cubicBezTo>
                      <a:cubicBezTo>
                        <a:pt x="67" y="198"/>
                        <a:pt x="67" y="198"/>
                        <a:pt x="67" y="198"/>
                      </a:cubicBezTo>
                      <a:cubicBezTo>
                        <a:pt x="67" y="203"/>
                        <a:pt x="67" y="203"/>
                        <a:pt x="67" y="203"/>
                      </a:cubicBezTo>
                      <a:cubicBezTo>
                        <a:pt x="72" y="203"/>
                        <a:pt x="72" y="203"/>
                        <a:pt x="72" y="203"/>
                      </a:cubicBezTo>
                      <a:cubicBezTo>
                        <a:pt x="72" y="203"/>
                        <a:pt x="76" y="207"/>
                        <a:pt x="77" y="207"/>
                      </a:cubicBezTo>
                      <a:cubicBezTo>
                        <a:pt x="78" y="207"/>
                        <a:pt x="82" y="209"/>
                        <a:pt x="82" y="209"/>
                      </a:cubicBezTo>
                      <a:cubicBezTo>
                        <a:pt x="85" y="213"/>
                        <a:pt x="85" y="213"/>
                        <a:pt x="85" y="213"/>
                      </a:cubicBezTo>
                      <a:cubicBezTo>
                        <a:pt x="184" y="207"/>
                        <a:pt x="184" y="207"/>
                        <a:pt x="184" y="207"/>
                      </a:cubicBezTo>
                      <a:cubicBezTo>
                        <a:pt x="184" y="195"/>
                        <a:pt x="184" y="195"/>
                        <a:pt x="184" y="195"/>
                      </a:cubicBezTo>
                      <a:cubicBezTo>
                        <a:pt x="184" y="191"/>
                        <a:pt x="184" y="191"/>
                        <a:pt x="184" y="191"/>
                      </a:cubicBezTo>
                      <a:cubicBezTo>
                        <a:pt x="179" y="179"/>
                        <a:pt x="179" y="179"/>
                        <a:pt x="179" y="179"/>
                      </a:cubicBezTo>
                      <a:cubicBezTo>
                        <a:pt x="178" y="172"/>
                        <a:pt x="178" y="172"/>
                        <a:pt x="178" y="172"/>
                      </a:cubicBezTo>
                      <a:cubicBezTo>
                        <a:pt x="179" y="164"/>
                        <a:pt x="179" y="164"/>
                        <a:pt x="179" y="164"/>
                      </a:cubicBezTo>
                      <a:cubicBezTo>
                        <a:pt x="181" y="158"/>
                        <a:pt x="181" y="158"/>
                        <a:pt x="181" y="158"/>
                      </a:cubicBezTo>
                      <a:cubicBezTo>
                        <a:pt x="182" y="155"/>
                        <a:pt x="182" y="155"/>
                        <a:pt x="182" y="155"/>
                      </a:cubicBezTo>
                      <a:cubicBezTo>
                        <a:pt x="184" y="152"/>
                        <a:pt x="184" y="152"/>
                        <a:pt x="184" y="152"/>
                      </a:cubicBezTo>
                      <a:cubicBezTo>
                        <a:pt x="182" y="147"/>
                        <a:pt x="182" y="147"/>
                        <a:pt x="182" y="147"/>
                      </a:cubicBezTo>
                      <a:cubicBezTo>
                        <a:pt x="182" y="140"/>
                        <a:pt x="182" y="140"/>
                        <a:pt x="182" y="140"/>
                      </a:cubicBezTo>
                      <a:cubicBezTo>
                        <a:pt x="182" y="136"/>
                        <a:pt x="182" y="136"/>
                        <a:pt x="182" y="136"/>
                      </a:cubicBezTo>
                      <a:cubicBezTo>
                        <a:pt x="184" y="133"/>
                        <a:pt x="184" y="133"/>
                        <a:pt x="184" y="133"/>
                      </a:cubicBezTo>
                      <a:cubicBezTo>
                        <a:pt x="184" y="131"/>
                        <a:pt x="184" y="131"/>
                        <a:pt x="184" y="131"/>
                      </a:cubicBezTo>
                      <a:cubicBezTo>
                        <a:pt x="188" y="127"/>
                        <a:pt x="188" y="127"/>
                        <a:pt x="188" y="127"/>
                      </a:cubicBezTo>
                      <a:cubicBezTo>
                        <a:pt x="188" y="125"/>
                        <a:pt x="188" y="125"/>
                        <a:pt x="188" y="125"/>
                      </a:cubicBezTo>
                      <a:cubicBezTo>
                        <a:pt x="186" y="121"/>
                        <a:pt x="186" y="121"/>
                        <a:pt x="186" y="121"/>
                      </a:cubicBezTo>
                      <a:cubicBezTo>
                        <a:pt x="186" y="118"/>
                        <a:pt x="186" y="118"/>
                        <a:pt x="186" y="118"/>
                      </a:cubicBezTo>
                      <a:cubicBezTo>
                        <a:pt x="187" y="110"/>
                        <a:pt x="187" y="110"/>
                        <a:pt x="187" y="110"/>
                      </a:cubicBezTo>
                      <a:cubicBezTo>
                        <a:pt x="188" y="105"/>
                        <a:pt x="188" y="105"/>
                        <a:pt x="188" y="105"/>
                      </a:cubicBezTo>
                      <a:cubicBezTo>
                        <a:pt x="191" y="99"/>
                        <a:pt x="191" y="99"/>
                        <a:pt x="191" y="99"/>
                      </a:cubicBezTo>
                      <a:cubicBezTo>
                        <a:pt x="196" y="89"/>
                        <a:pt x="196" y="89"/>
                        <a:pt x="196" y="89"/>
                      </a:cubicBezTo>
                      <a:cubicBezTo>
                        <a:pt x="197" y="85"/>
                        <a:pt x="197" y="85"/>
                        <a:pt x="197" y="85"/>
                      </a:cubicBezTo>
                      <a:cubicBezTo>
                        <a:pt x="197" y="82"/>
                        <a:pt x="197" y="82"/>
                        <a:pt x="197" y="82"/>
                      </a:cubicBezTo>
                      <a:cubicBezTo>
                        <a:pt x="201" y="81"/>
                        <a:pt x="201" y="81"/>
                        <a:pt x="201" y="81"/>
                      </a:cubicBezTo>
                      <a:cubicBezTo>
                        <a:pt x="201" y="79"/>
                        <a:pt x="201" y="79"/>
                        <a:pt x="201" y="79"/>
                      </a:cubicBezTo>
                      <a:cubicBezTo>
                        <a:pt x="201" y="77"/>
                        <a:pt x="201" y="77"/>
                        <a:pt x="201" y="77"/>
                      </a:cubicBezTo>
                      <a:cubicBezTo>
                        <a:pt x="201" y="75"/>
                        <a:pt x="201" y="75"/>
                        <a:pt x="201" y="75"/>
                      </a:cubicBezTo>
                      <a:cubicBezTo>
                        <a:pt x="201" y="73"/>
                        <a:pt x="201" y="73"/>
                        <a:pt x="201" y="73"/>
                      </a:cubicBezTo>
                      <a:cubicBezTo>
                        <a:pt x="201" y="71"/>
                        <a:pt x="201" y="71"/>
                        <a:pt x="201" y="71"/>
                      </a:cubicBezTo>
                      <a:cubicBezTo>
                        <a:pt x="197" y="75"/>
                        <a:pt x="197" y="75"/>
                        <a:pt x="197" y="75"/>
                      </a:cubicBezTo>
                      <a:cubicBezTo>
                        <a:pt x="194" y="79"/>
                        <a:pt x="194" y="79"/>
                        <a:pt x="194" y="79"/>
                      </a:cubicBezTo>
                      <a:cubicBezTo>
                        <a:pt x="193" y="84"/>
                        <a:pt x="193" y="84"/>
                        <a:pt x="193" y="84"/>
                      </a:cubicBezTo>
                      <a:cubicBezTo>
                        <a:pt x="190" y="90"/>
                        <a:pt x="190" y="90"/>
                        <a:pt x="190" y="90"/>
                      </a:cubicBezTo>
                      <a:cubicBezTo>
                        <a:pt x="187" y="92"/>
                        <a:pt x="187" y="92"/>
                        <a:pt x="187" y="92"/>
                      </a:cubicBezTo>
                      <a:cubicBezTo>
                        <a:pt x="181" y="95"/>
                        <a:pt x="181" y="95"/>
                        <a:pt x="181" y="95"/>
                      </a:cubicBezTo>
                      <a:cubicBezTo>
                        <a:pt x="178" y="99"/>
                        <a:pt x="178" y="99"/>
                        <a:pt x="178" y="99"/>
                      </a:cubicBezTo>
                      <a:cubicBezTo>
                        <a:pt x="177" y="101"/>
                        <a:pt x="177" y="101"/>
                        <a:pt x="177" y="101"/>
                      </a:cubicBezTo>
                      <a:cubicBezTo>
                        <a:pt x="175" y="105"/>
                        <a:pt x="175" y="105"/>
                        <a:pt x="175" y="105"/>
                      </a:cubicBezTo>
                      <a:cubicBezTo>
                        <a:pt x="171" y="110"/>
                        <a:pt x="171" y="110"/>
                        <a:pt x="171" y="110"/>
                      </a:cubicBezTo>
                      <a:cubicBezTo>
                        <a:pt x="168" y="107"/>
                        <a:pt x="168" y="107"/>
                        <a:pt x="168" y="107"/>
                      </a:cubicBezTo>
                      <a:cubicBezTo>
                        <a:pt x="171" y="103"/>
                        <a:pt x="171" y="103"/>
                        <a:pt x="171" y="103"/>
                      </a:cubicBezTo>
                      <a:cubicBezTo>
                        <a:pt x="173" y="96"/>
                        <a:pt x="173" y="96"/>
                        <a:pt x="173" y="96"/>
                      </a:cubicBezTo>
                      <a:cubicBezTo>
                        <a:pt x="174" y="93"/>
                        <a:pt x="174" y="93"/>
                        <a:pt x="174" y="93"/>
                      </a:cubicBezTo>
                      <a:cubicBezTo>
                        <a:pt x="175" y="91"/>
                        <a:pt x="175" y="91"/>
                        <a:pt x="175" y="91"/>
                      </a:cubicBezTo>
                      <a:cubicBezTo>
                        <a:pt x="177" y="89"/>
                        <a:pt x="177" y="89"/>
                        <a:pt x="177" y="89"/>
                      </a:cubicBezTo>
                      <a:cubicBezTo>
                        <a:pt x="179" y="87"/>
                        <a:pt x="179" y="87"/>
                        <a:pt x="179" y="87"/>
                      </a:cubicBezTo>
                      <a:cubicBezTo>
                        <a:pt x="180" y="85"/>
                        <a:pt x="180" y="85"/>
                        <a:pt x="180" y="85"/>
                      </a:cubicBezTo>
                      <a:cubicBezTo>
                        <a:pt x="179" y="80"/>
                        <a:pt x="179" y="80"/>
                        <a:pt x="179" y="80"/>
                      </a:cubicBezTo>
                      <a:cubicBezTo>
                        <a:pt x="180" y="78"/>
                        <a:pt x="180" y="78"/>
                        <a:pt x="180" y="78"/>
                      </a:cubicBezTo>
                      <a:cubicBezTo>
                        <a:pt x="179" y="76"/>
                        <a:pt x="179" y="76"/>
                        <a:pt x="179" y="76"/>
                      </a:cubicBezTo>
                      <a:lnTo>
                        <a:pt x="178" y="6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6" name="Freeform 105">
                  <a:extLst>
                    <a:ext uri="{FF2B5EF4-FFF2-40B4-BE49-F238E27FC236}">
                      <a16:creationId xmlns:a16="http://schemas.microsoft.com/office/drawing/2014/main" id="{F7B8F741-4E13-3824-E5E4-258992CDDAEC}"/>
                    </a:ext>
                  </a:extLst>
                </p:cNvPr>
                <p:cNvSpPr>
                  <a:spLocks/>
                </p:cNvSpPr>
                <p:nvPr/>
              </p:nvSpPr>
              <p:spPr bwMode="auto">
                <a:xfrm>
                  <a:off x="7268003" y="2274434"/>
                  <a:ext cx="229357" cy="263085"/>
                </a:xfrm>
                <a:custGeom>
                  <a:avLst/>
                  <a:gdLst>
                    <a:gd name="T0" fmla="*/ 114 w 136"/>
                    <a:gd name="T1" fmla="*/ 8 h 156"/>
                    <a:gd name="T2" fmla="*/ 101 w 136"/>
                    <a:gd name="T3" fmla="*/ 17 h 156"/>
                    <a:gd name="T4" fmla="*/ 93 w 136"/>
                    <a:gd name="T5" fmla="*/ 22 h 156"/>
                    <a:gd name="T6" fmla="*/ 88 w 136"/>
                    <a:gd name="T7" fmla="*/ 27 h 156"/>
                    <a:gd name="T8" fmla="*/ 82 w 136"/>
                    <a:gd name="T9" fmla="*/ 27 h 156"/>
                    <a:gd name="T10" fmla="*/ 74 w 136"/>
                    <a:gd name="T11" fmla="*/ 33 h 156"/>
                    <a:gd name="T12" fmla="*/ 69 w 136"/>
                    <a:gd name="T13" fmla="*/ 33 h 156"/>
                    <a:gd name="T14" fmla="*/ 65 w 136"/>
                    <a:gd name="T15" fmla="*/ 31 h 156"/>
                    <a:gd name="T16" fmla="*/ 60 w 136"/>
                    <a:gd name="T17" fmla="*/ 29 h 156"/>
                    <a:gd name="T18" fmla="*/ 55 w 136"/>
                    <a:gd name="T19" fmla="*/ 27 h 156"/>
                    <a:gd name="T20" fmla="*/ 47 w 136"/>
                    <a:gd name="T21" fmla="*/ 23 h 156"/>
                    <a:gd name="T22" fmla="*/ 0 w 136"/>
                    <a:gd name="T23" fmla="*/ 28 h 156"/>
                    <a:gd name="T24" fmla="*/ 16 w 136"/>
                    <a:gd name="T25" fmla="*/ 136 h 156"/>
                    <a:gd name="T26" fmla="*/ 22 w 136"/>
                    <a:gd name="T27" fmla="*/ 133 h 156"/>
                    <a:gd name="T28" fmla="*/ 31 w 136"/>
                    <a:gd name="T29" fmla="*/ 140 h 156"/>
                    <a:gd name="T30" fmla="*/ 34 w 136"/>
                    <a:gd name="T31" fmla="*/ 146 h 156"/>
                    <a:gd name="T32" fmla="*/ 42 w 136"/>
                    <a:gd name="T33" fmla="*/ 148 h 156"/>
                    <a:gd name="T34" fmla="*/ 46 w 136"/>
                    <a:gd name="T35" fmla="*/ 151 h 156"/>
                    <a:gd name="T36" fmla="*/ 49 w 136"/>
                    <a:gd name="T37" fmla="*/ 149 h 156"/>
                    <a:gd name="T38" fmla="*/ 52 w 136"/>
                    <a:gd name="T39" fmla="*/ 146 h 156"/>
                    <a:gd name="T40" fmla="*/ 60 w 136"/>
                    <a:gd name="T41" fmla="*/ 150 h 156"/>
                    <a:gd name="T42" fmla="*/ 67 w 136"/>
                    <a:gd name="T43" fmla="*/ 148 h 156"/>
                    <a:gd name="T44" fmla="*/ 71 w 136"/>
                    <a:gd name="T45" fmla="*/ 144 h 156"/>
                    <a:gd name="T46" fmla="*/ 75 w 136"/>
                    <a:gd name="T47" fmla="*/ 146 h 156"/>
                    <a:gd name="T48" fmla="*/ 83 w 136"/>
                    <a:gd name="T49" fmla="*/ 155 h 156"/>
                    <a:gd name="T50" fmla="*/ 85 w 136"/>
                    <a:gd name="T51" fmla="*/ 156 h 156"/>
                    <a:gd name="T52" fmla="*/ 92 w 136"/>
                    <a:gd name="T53" fmla="*/ 149 h 156"/>
                    <a:gd name="T54" fmla="*/ 94 w 136"/>
                    <a:gd name="T55" fmla="*/ 142 h 156"/>
                    <a:gd name="T56" fmla="*/ 100 w 136"/>
                    <a:gd name="T57" fmla="*/ 128 h 156"/>
                    <a:gd name="T58" fmla="*/ 105 w 136"/>
                    <a:gd name="T59" fmla="*/ 130 h 156"/>
                    <a:gd name="T60" fmla="*/ 109 w 136"/>
                    <a:gd name="T61" fmla="*/ 116 h 156"/>
                    <a:gd name="T62" fmla="*/ 118 w 136"/>
                    <a:gd name="T63" fmla="*/ 110 h 156"/>
                    <a:gd name="T64" fmla="*/ 129 w 136"/>
                    <a:gd name="T65" fmla="*/ 99 h 156"/>
                    <a:gd name="T66" fmla="*/ 131 w 136"/>
                    <a:gd name="T67" fmla="*/ 91 h 156"/>
                    <a:gd name="T68" fmla="*/ 132 w 136"/>
                    <a:gd name="T69" fmla="*/ 77 h 156"/>
                    <a:gd name="T70" fmla="*/ 133 w 136"/>
                    <a:gd name="T71" fmla="*/ 70 h 156"/>
                    <a:gd name="T72" fmla="*/ 133 w 136"/>
                    <a:gd name="T73" fmla="*/ 61 h 156"/>
                    <a:gd name="T74" fmla="*/ 133 w 136"/>
                    <a:gd name="T75" fmla="*/ 55 h 156"/>
                    <a:gd name="T76" fmla="*/ 126 w 136"/>
                    <a:gd name="T7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56">
                      <a:moveTo>
                        <a:pt x="121" y="5"/>
                      </a:moveTo>
                      <a:lnTo>
                        <a:pt x="114" y="8"/>
                      </a:lnTo>
                      <a:lnTo>
                        <a:pt x="108" y="13"/>
                      </a:lnTo>
                      <a:lnTo>
                        <a:pt x="101" y="17"/>
                      </a:lnTo>
                      <a:lnTo>
                        <a:pt x="96" y="21"/>
                      </a:lnTo>
                      <a:lnTo>
                        <a:pt x="93" y="22"/>
                      </a:lnTo>
                      <a:lnTo>
                        <a:pt x="91" y="24"/>
                      </a:lnTo>
                      <a:lnTo>
                        <a:pt x="88" y="27"/>
                      </a:lnTo>
                      <a:lnTo>
                        <a:pt x="85" y="27"/>
                      </a:lnTo>
                      <a:lnTo>
                        <a:pt x="82" y="27"/>
                      </a:lnTo>
                      <a:lnTo>
                        <a:pt x="78" y="29"/>
                      </a:lnTo>
                      <a:lnTo>
                        <a:pt x="74" y="33"/>
                      </a:lnTo>
                      <a:lnTo>
                        <a:pt x="71" y="33"/>
                      </a:lnTo>
                      <a:lnTo>
                        <a:pt x="69" y="33"/>
                      </a:lnTo>
                      <a:lnTo>
                        <a:pt x="68" y="33"/>
                      </a:lnTo>
                      <a:lnTo>
                        <a:pt x="65" y="31"/>
                      </a:lnTo>
                      <a:lnTo>
                        <a:pt x="62" y="28"/>
                      </a:lnTo>
                      <a:lnTo>
                        <a:pt x="60" y="29"/>
                      </a:lnTo>
                      <a:lnTo>
                        <a:pt x="56" y="28"/>
                      </a:lnTo>
                      <a:lnTo>
                        <a:pt x="55" y="27"/>
                      </a:lnTo>
                      <a:lnTo>
                        <a:pt x="51" y="24"/>
                      </a:lnTo>
                      <a:lnTo>
                        <a:pt x="47" y="23"/>
                      </a:lnTo>
                      <a:lnTo>
                        <a:pt x="39" y="22"/>
                      </a:lnTo>
                      <a:lnTo>
                        <a:pt x="0" y="28"/>
                      </a:lnTo>
                      <a:lnTo>
                        <a:pt x="11" y="134"/>
                      </a:lnTo>
                      <a:lnTo>
                        <a:pt x="16" y="136"/>
                      </a:lnTo>
                      <a:lnTo>
                        <a:pt x="21" y="134"/>
                      </a:lnTo>
                      <a:lnTo>
                        <a:pt x="22" y="133"/>
                      </a:lnTo>
                      <a:lnTo>
                        <a:pt x="27" y="137"/>
                      </a:lnTo>
                      <a:lnTo>
                        <a:pt x="31" y="140"/>
                      </a:lnTo>
                      <a:lnTo>
                        <a:pt x="33" y="144"/>
                      </a:lnTo>
                      <a:lnTo>
                        <a:pt x="34" y="146"/>
                      </a:lnTo>
                      <a:lnTo>
                        <a:pt x="39" y="147"/>
                      </a:lnTo>
                      <a:lnTo>
                        <a:pt x="42" y="148"/>
                      </a:lnTo>
                      <a:lnTo>
                        <a:pt x="44" y="149"/>
                      </a:lnTo>
                      <a:lnTo>
                        <a:pt x="46" y="151"/>
                      </a:lnTo>
                      <a:lnTo>
                        <a:pt x="49" y="150"/>
                      </a:lnTo>
                      <a:lnTo>
                        <a:pt x="49" y="149"/>
                      </a:lnTo>
                      <a:lnTo>
                        <a:pt x="51" y="147"/>
                      </a:lnTo>
                      <a:lnTo>
                        <a:pt x="52" y="146"/>
                      </a:lnTo>
                      <a:lnTo>
                        <a:pt x="55" y="148"/>
                      </a:lnTo>
                      <a:lnTo>
                        <a:pt x="60" y="150"/>
                      </a:lnTo>
                      <a:lnTo>
                        <a:pt x="66" y="149"/>
                      </a:lnTo>
                      <a:lnTo>
                        <a:pt x="67" y="148"/>
                      </a:lnTo>
                      <a:lnTo>
                        <a:pt x="69" y="145"/>
                      </a:lnTo>
                      <a:lnTo>
                        <a:pt x="71" y="144"/>
                      </a:lnTo>
                      <a:lnTo>
                        <a:pt x="72" y="143"/>
                      </a:lnTo>
                      <a:lnTo>
                        <a:pt x="75" y="146"/>
                      </a:lnTo>
                      <a:lnTo>
                        <a:pt x="79" y="151"/>
                      </a:lnTo>
                      <a:lnTo>
                        <a:pt x="83" y="155"/>
                      </a:lnTo>
                      <a:lnTo>
                        <a:pt x="86" y="155"/>
                      </a:lnTo>
                      <a:lnTo>
                        <a:pt x="85" y="156"/>
                      </a:lnTo>
                      <a:lnTo>
                        <a:pt x="88" y="153"/>
                      </a:lnTo>
                      <a:lnTo>
                        <a:pt x="92" y="149"/>
                      </a:lnTo>
                      <a:lnTo>
                        <a:pt x="94" y="146"/>
                      </a:lnTo>
                      <a:lnTo>
                        <a:pt x="94" y="142"/>
                      </a:lnTo>
                      <a:lnTo>
                        <a:pt x="97" y="131"/>
                      </a:lnTo>
                      <a:lnTo>
                        <a:pt x="100" y="128"/>
                      </a:lnTo>
                      <a:lnTo>
                        <a:pt x="104" y="131"/>
                      </a:lnTo>
                      <a:lnTo>
                        <a:pt x="105" y="130"/>
                      </a:lnTo>
                      <a:lnTo>
                        <a:pt x="106" y="120"/>
                      </a:lnTo>
                      <a:lnTo>
                        <a:pt x="109" y="116"/>
                      </a:lnTo>
                      <a:lnTo>
                        <a:pt x="113" y="110"/>
                      </a:lnTo>
                      <a:lnTo>
                        <a:pt x="118" y="110"/>
                      </a:lnTo>
                      <a:lnTo>
                        <a:pt x="121" y="106"/>
                      </a:lnTo>
                      <a:lnTo>
                        <a:pt x="129" y="99"/>
                      </a:lnTo>
                      <a:lnTo>
                        <a:pt x="131" y="94"/>
                      </a:lnTo>
                      <a:lnTo>
                        <a:pt x="131" y="91"/>
                      </a:lnTo>
                      <a:lnTo>
                        <a:pt x="132" y="83"/>
                      </a:lnTo>
                      <a:lnTo>
                        <a:pt x="132" y="77"/>
                      </a:lnTo>
                      <a:lnTo>
                        <a:pt x="133" y="74"/>
                      </a:lnTo>
                      <a:lnTo>
                        <a:pt x="133" y="70"/>
                      </a:lnTo>
                      <a:lnTo>
                        <a:pt x="133" y="62"/>
                      </a:lnTo>
                      <a:lnTo>
                        <a:pt x="133" y="61"/>
                      </a:lnTo>
                      <a:lnTo>
                        <a:pt x="132" y="58"/>
                      </a:lnTo>
                      <a:lnTo>
                        <a:pt x="133" y="55"/>
                      </a:lnTo>
                      <a:lnTo>
                        <a:pt x="136" y="55"/>
                      </a:lnTo>
                      <a:lnTo>
                        <a:pt x="126" y="0"/>
                      </a:lnTo>
                      <a:lnTo>
                        <a:pt x="121" y="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7" name="Freeform 106">
                  <a:extLst>
                    <a:ext uri="{FF2B5EF4-FFF2-40B4-BE49-F238E27FC236}">
                      <a16:creationId xmlns:a16="http://schemas.microsoft.com/office/drawing/2014/main" id="{5135E725-15D6-E57D-7C79-6D940C159BBA}"/>
                    </a:ext>
                  </a:extLst>
                </p:cNvPr>
                <p:cNvSpPr>
                  <a:spLocks/>
                </p:cNvSpPr>
                <p:nvPr/>
              </p:nvSpPr>
              <p:spPr bwMode="auto">
                <a:xfrm>
                  <a:off x="7119596" y="2319969"/>
                  <a:ext cx="168644" cy="290068"/>
                </a:xfrm>
                <a:custGeom>
                  <a:avLst/>
                  <a:gdLst>
                    <a:gd name="T0" fmla="*/ 5 w 100"/>
                    <a:gd name="T1" fmla="*/ 167 h 172"/>
                    <a:gd name="T2" fmla="*/ 16 w 100"/>
                    <a:gd name="T3" fmla="*/ 163 h 172"/>
                    <a:gd name="T4" fmla="*/ 24 w 100"/>
                    <a:gd name="T5" fmla="*/ 163 h 172"/>
                    <a:gd name="T6" fmla="*/ 31 w 100"/>
                    <a:gd name="T7" fmla="*/ 168 h 172"/>
                    <a:gd name="T8" fmla="*/ 32 w 100"/>
                    <a:gd name="T9" fmla="*/ 163 h 172"/>
                    <a:gd name="T10" fmla="*/ 38 w 100"/>
                    <a:gd name="T11" fmla="*/ 161 h 172"/>
                    <a:gd name="T12" fmla="*/ 44 w 100"/>
                    <a:gd name="T13" fmla="*/ 163 h 172"/>
                    <a:gd name="T14" fmla="*/ 49 w 100"/>
                    <a:gd name="T15" fmla="*/ 161 h 172"/>
                    <a:gd name="T16" fmla="*/ 52 w 100"/>
                    <a:gd name="T17" fmla="*/ 154 h 172"/>
                    <a:gd name="T18" fmla="*/ 55 w 100"/>
                    <a:gd name="T19" fmla="*/ 150 h 172"/>
                    <a:gd name="T20" fmla="*/ 59 w 100"/>
                    <a:gd name="T21" fmla="*/ 157 h 172"/>
                    <a:gd name="T22" fmla="*/ 66 w 100"/>
                    <a:gd name="T23" fmla="*/ 157 h 172"/>
                    <a:gd name="T24" fmla="*/ 68 w 100"/>
                    <a:gd name="T25" fmla="*/ 150 h 172"/>
                    <a:gd name="T26" fmla="*/ 74 w 100"/>
                    <a:gd name="T27" fmla="*/ 145 h 172"/>
                    <a:gd name="T28" fmla="*/ 78 w 100"/>
                    <a:gd name="T29" fmla="*/ 139 h 172"/>
                    <a:gd name="T30" fmla="*/ 80 w 100"/>
                    <a:gd name="T31" fmla="*/ 131 h 172"/>
                    <a:gd name="T32" fmla="*/ 81 w 100"/>
                    <a:gd name="T33" fmla="*/ 127 h 172"/>
                    <a:gd name="T34" fmla="*/ 90 w 100"/>
                    <a:gd name="T35" fmla="*/ 125 h 172"/>
                    <a:gd name="T36" fmla="*/ 98 w 100"/>
                    <a:gd name="T37" fmla="*/ 123 h 172"/>
                    <a:gd name="T38" fmla="*/ 99 w 100"/>
                    <a:gd name="T39" fmla="*/ 115 h 172"/>
                    <a:gd name="T40" fmla="*/ 98 w 100"/>
                    <a:gd name="T41" fmla="*/ 112 h 172"/>
                    <a:gd name="T42" fmla="*/ 99 w 100"/>
                    <a:gd name="T43" fmla="*/ 107 h 172"/>
                    <a:gd name="T44" fmla="*/ 88 w 100"/>
                    <a:gd name="T45" fmla="*/ 0 h 172"/>
                    <a:gd name="T46" fmla="*/ 27 w 100"/>
                    <a:gd name="T47" fmla="*/ 5 h 172"/>
                    <a:gd name="T48" fmla="*/ 16 w 100"/>
                    <a:gd name="T49" fmla="*/ 12 h 172"/>
                    <a:gd name="T50" fmla="*/ 8 w 100"/>
                    <a:gd name="T51" fmla="*/ 12 h 172"/>
                    <a:gd name="T52" fmla="*/ 10 w 100"/>
                    <a:gd name="T53" fmla="*/ 106 h 172"/>
                    <a:gd name="T54" fmla="*/ 10 w 100"/>
                    <a:gd name="T55" fmla="*/ 113 h 172"/>
                    <a:gd name="T56" fmla="*/ 15 w 100"/>
                    <a:gd name="T57" fmla="*/ 124 h 172"/>
                    <a:gd name="T58" fmla="*/ 16 w 100"/>
                    <a:gd name="T59" fmla="*/ 134 h 172"/>
                    <a:gd name="T60" fmla="*/ 11 w 100"/>
                    <a:gd name="T61" fmla="*/ 140 h 172"/>
                    <a:gd name="T62" fmla="*/ 8 w 100"/>
                    <a:gd name="T63" fmla="*/ 147 h 172"/>
                    <a:gd name="T64" fmla="*/ 4 w 100"/>
                    <a:gd name="T65" fmla="*/ 156 h 172"/>
                    <a:gd name="T66" fmla="*/ 0 w 100"/>
                    <a:gd name="T67" fmla="*/ 161 h 172"/>
                    <a:gd name="T68" fmla="*/ 1 w 100"/>
                    <a:gd name="T69" fmla="*/ 171 h 172"/>
                    <a:gd name="T70" fmla="*/ 2 w 100"/>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2">
                      <a:moveTo>
                        <a:pt x="5" y="172"/>
                      </a:moveTo>
                      <a:lnTo>
                        <a:pt x="5" y="167"/>
                      </a:lnTo>
                      <a:lnTo>
                        <a:pt x="13" y="167"/>
                      </a:lnTo>
                      <a:lnTo>
                        <a:pt x="16" y="163"/>
                      </a:lnTo>
                      <a:lnTo>
                        <a:pt x="19" y="163"/>
                      </a:lnTo>
                      <a:lnTo>
                        <a:pt x="24" y="163"/>
                      </a:lnTo>
                      <a:lnTo>
                        <a:pt x="27" y="166"/>
                      </a:lnTo>
                      <a:lnTo>
                        <a:pt x="31" y="168"/>
                      </a:lnTo>
                      <a:lnTo>
                        <a:pt x="32" y="167"/>
                      </a:lnTo>
                      <a:lnTo>
                        <a:pt x="32" y="163"/>
                      </a:lnTo>
                      <a:lnTo>
                        <a:pt x="36" y="162"/>
                      </a:lnTo>
                      <a:lnTo>
                        <a:pt x="38" y="161"/>
                      </a:lnTo>
                      <a:lnTo>
                        <a:pt x="42" y="161"/>
                      </a:lnTo>
                      <a:lnTo>
                        <a:pt x="44" y="163"/>
                      </a:lnTo>
                      <a:lnTo>
                        <a:pt x="48" y="164"/>
                      </a:lnTo>
                      <a:lnTo>
                        <a:pt x="49" y="161"/>
                      </a:lnTo>
                      <a:lnTo>
                        <a:pt x="49" y="157"/>
                      </a:lnTo>
                      <a:lnTo>
                        <a:pt x="52" y="154"/>
                      </a:lnTo>
                      <a:lnTo>
                        <a:pt x="53" y="150"/>
                      </a:lnTo>
                      <a:lnTo>
                        <a:pt x="55" y="150"/>
                      </a:lnTo>
                      <a:lnTo>
                        <a:pt x="56" y="154"/>
                      </a:lnTo>
                      <a:lnTo>
                        <a:pt x="59" y="157"/>
                      </a:lnTo>
                      <a:lnTo>
                        <a:pt x="60" y="158"/>
                      </a:lnTo>
                      <a:lnTo>
                        <a:pt x="66" y="157"/>
                      </a:lnTo>
                      <a:lnTo>
                        <a:pt x="68" y="153"/>
                      </a:lnTo>
                      <a:lnTo>
                        <a:pt x="68" y="150"/>
                      </a:lnTo>
                      <a:lnTo>
                        <a:pt x="71" y="145"/>
                      </a:lnTo>
                      <a:lnTo>
                        <a:pt x="74" y="145"/>
                      </a:lnTo>
                      <a:lnTo>
                        <a:pt x="76" y="143"/>
                      </a:lnTo>
                      <a:lnTo>
                        <a:pt x="78" y="139"/>
                      </a:lnTo>
                      <a:lnTo>
                        <a:pt x="80" y="135"/>
                      </a:lnTo>
                      <a:lnTo>
                        <a:pt x="80" y="131"/>
                      </a:lnTo>
                      <a:lnTo>
                        <a:pt x="81" y="129"/>
                      </a:lnTo>
                      <a:lnTo>
                        <a:pt x="81" y="127"/>
                      </a:lnTo>
                      <a:lnTo>
                        <a:pt x="82" y="126"/>
                      </a:lnTo>
                      <a:lnTo>
                        <a:pt x="90" y="125"/>
                      </a:lnTo>
                      <a:lnTo>
                        <a:pt x="94" y="123"/>
                      </a:lnTo>
                      <a:lnTo>
                        <a:pt x="98" y="123"/>
                      </a:lnTo>
                      <a:lnTo>
                        <a:pt x="100" y="121"/>
                      </a:lnTo>
                      <a:lnTo>
                        <a:pt x="99" y="115"/>
                      </a:lnTo>
                      <a:lnTo>
                        <a:pt x="100" y="113"/>
                      </a:lnTo>
                      <a:lnTo>
                        <a:pt x="98" y="112"/>
                      </a:lnTo>
                      <a:lnTo>
                        <a:pt x="97" y="108"/>
                      </a:lnTo>
                      <a:lnTo>
                        <a:pt x="99" y="107"/>
                      </a:lnTo>
                      <a:lnTo>
                        <a:pt x="88" y="1"/>
                      </a:lnTo>
                      <a:lnTo>
                        <a:pt x="88" y="0"/>
                      </a:lnTo>
                      <a:lnTo>
                        <a:pt x="27" y="4"/>
                      </a:lnTo>
                      <a:lnTo>
                        <a:pt x="27" y="5"/>
                      </a:lnTo>
                      <a:lnTo>
                        <a:pt x="20" y="9"/>
                      </a:lnTo>
                      <a:lnTo>
                        <a:pt x="16" y="12"/>
                      </a:lnTo>
                      <a:lnTo>
                        <a:pt x="13" y="13"/>
                      </a:lnTo>
                      <a:lnTo>
                        <a:pt x="8" y="12"/>
                      </a:lnTo>
                      <a:lnTo>
                        <a:pt x="11" y="103"/>
                      </a:lnTo>
                      <a:lnTo>
                        <a:pt x="10" y="106"/>
                      </a:lnTo>
                      <a:lnTo>
                        <a:pt x="10" y="109"/>
                      </a:lnTo>
                      <a:lnTo>
                        <a:pt x="10" y="113"/>
                      </a:lnTo>
                      <a:lnTo>
                        <a:pt x="11" y="117"/>
                      </a:lnTo>
                      <a:lnTo>
                        <a:pt x="15" y="124"/>
                      </a:lnTo>
                      <a:lnTo>
                        <a:pt x="16" y="130"/>
                      </a:lnTo>
                      <a:lnTo>
                        <a:pt x="16" y="134"/>
                      </a:lnTo>
                      <a:lnTo>
                        <a:pt x="13" y="136"/>
                      </a:lnTo>
                      <a:lnTo>
                        <a:pt x="11" y="140"/>
                      </a:lnTo>
                      <a:lnTo>
                        <a:pt x="10" y="145"/>
                      </a:lnTo>
                      <a:lnTo>
                        <a:pt x="8" y="147"/>
                      </a:lnTo>
                      <a:lnTo>
                        <a:pt x="5" y="150"/>
                      </a:lnTo>
                      <a:lnTo>
                        <a:pt x="4" y="156"/>
                      </a:lnTo>
                      <a:lnTo>
                        <a:pt x="2" y="157"/>
                      </a:lnTo>
                      <a:lnTo>
                        <a:pt x="0" y="161"/>
                      </a:lnTo>
                      <a:lnTo>
                        <a:pt x="0" y="167"/>
                      </a:lnTo>
                      <a:lnTo>
                        <a:pt x="1" y="171"/>
                      </a:lnTo>
                      <a:lnTo>
                        <a:pt x="2" y="172"/>
                      </a:lnTo>
                      <a:lnTo>
                        <a:pt x="2" y="172"/>
                      </a:lnTo>
                      <a:lnTo>
                        <a:pt x="5" y="172"/>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8" name="Freeform 107">
                  <a:extLst>
                    <a:ext uri="{FF2B5EF4-FFF2-40B4-BE49-F238E27FC236}">
                      <a16:creationId xmlns:a16="http://schemas.microsoft.com/office/drawing/2014/main" id="{1900829E-3C5A-3F46-E775-625BA85DFDA5}"/>
                    </a:ext>
                  </a:extLst>
                </p:cNvPr>
                <p:cNvSpPr>
                  <a:spLocks/>
                </p:cNvSpPr>
                <p:nvPr/>
              </p:nvSpPr>
              <p:spPr bwMode="auto">
                <a:xfrm>
                  <a:off x="6929028" y="2282867"/>
                  <a:ext cx="217551" cy="381136"/>
                </a:xfrm>
                <a:custGeom>
                  <a:avLst/>
                  <a:gdLst>
                    <a:gd name="T0" fmla="*/ 88 w 129"/>
                    <a:gd name="T1" fmla="*/ 217 h 226"/>
                    <a:gd name="T2" fmla="*/ 96 w 129"/>
                    <a:gd name="T3" fmla="*/ 222 h 226"/>
                    <a:gd name="T4" fmla="*/ 102 w 129"/>
                    <a:gd name="T5" fmla="*/ 222 h 226"/>
                    <a:gd name="T6" fmla="*/ 102 w 129"/>
                    <a:gd name="T7" fmla="*/ 216 h 226"/>
                    <a:gd name="T8" fmla="*/ 105 w 129"/>
                    <a:gd name="T9" fmla="*/ 209 h 226"/>
                    <a:gd name="T10" fmla="*/ 113 w 129"/>
                    <a:gd name="T11" fmla="*/ 206 h 226"/>
                    <a:gd name="T12" fmla="*/ 112 w 129"/>
                    <a:gd name="T13" fmla="*/ 200 h 226"/>
                    <a:gd name="T14" fmla="*/ 112 w 129"/>
                    <a:gd name="T15" fmla="*/ 195 h 226"/>
                    <a:gd name="T16" fmla="*/ 115 w 129"/>
                    <a:gd name="T17" fmla="*/ 194 h 226"/>
                    <a:gd name="T18" fmla="*/ 113 w 129"/>
                    <a:gd name="T19" fmla="*/ 189 h 226"/>
                    <a:gd name="T20" fmla="*/ 115 w 129"/>
                    <a:gd name="T21" fmla="*/ 179 h 226"/>
                    <a:gd name="T22" fmla="*/ 118 w 129"/>
                    <a:gd name="T23" fmla="*/ 172 h 226"/>
                    <a:gd name="T24" fmla="*/ 123 w 129"/>
                    <a:gd name="T25" fmla="*/ 167 h 226"/>
                    <a:gd name="T26" fmla="*/ 126 w 129"/>
                    <a:gd name="T27" fmla="*/ 158 h 226"/>
                    <a:gd name="T28" fmla="*/ 129 w 129"/>
                    <a:gd name="T29" fmla="*/ 152 h 226"/>
                    <a:gd name="T30" fmla="*/ 124 w 129"/>
                    <a:gd name="T31" fmla="*/ 139 h 226"/>
                    <a:gd name="T32" fmla="*/ 123 w 129"/>
                    <a:gd name="T33" fmla="*/ 131 h 226"/>
                    <a:gd name="T34" fmla="*/ 124 w 129"/>
                    <a:gd name="T35" fmla="*/ 125 h 226"/>
                    <a:gd name="T36" fmla="*/ 122 w 129"/>
                    <a:gd name="T37" fmla="*/ 34 h 226"/>
                    <a:gd name="T38" fmla="*/ 116 w 129"/>
                    <a:gd name="T39" fmla="*/ 26 h 226"/>
                    <a:gd name="T40" fmla="*/ 113 w 129"/>
                    <a:gd name="T41" fmla="*/ 17 h 226"/>
                    <a:gd name="T42" fmla="*/ 107 w 129"/>
                    <a:gd name="T43" fmla="*/ 3 h 226"/>
                    <a:gd name="T44" fmla="*/ 24 w 129"/>
                    <a:gd name="T45" fmla="*/ 5 h 226"/>
                    <a:gd name="T46" fmla="*/ 22 w 129"/>
                    <a:gd name="T47" fmla="*/ 3 h 226"/>
                    <a:gd name="T48" fmla="*/ 21 w 129"/>
                    <a:gd name="T49" fmla="*/ 8 h 226"/>
                    <a:gd name="T50" fmla="*/ 28 w 129"/>
                    <a:gd name="T51" fmla="*/ 14 h 226"/>
                    <a:gd name="T52" fmla="*/ 38 w 129"/>
                    <a:gd name="T53" fmla="*/ 23 h 226"/>
                    <a:gd name="T54" fmla="*/ 36 w 129"/>
                    <a:gd name="T55" fmla="*/ 32 h 226"/>
                    <a:gd name="T56" fmla="*/ 31 w 129"/>
                    <a:gd name="T57" fmla="*/ 43 h 226"/>
                    <a:gd name="T58" fmla="*/ 27 w 129"/>
                    <a:gd name="T59" fmla="*/ 47 h 226"/>
                    <a:gd name="T60" fmla="*/ 15 w 129"/>
                    <a:gd name="T61" fmla="*/ 50 h 226"/>
                    <a:gd name="T62" fmla="*/ 12 w 129"/>
                    <a:gd name="T63" fmla="*/ 55 h 226"/>
                    <a:gd name="T64" fmla="*/ 15 w 129"/>
                    <a:gd name="T65" fmla="*/ 65 h 226"/>
                    <a:gd name="T66" fmla="*/ 13 w 129"/>
                    <a:gd name="T67" fmla="*/ 70 h 226"/>
                    <a:gd name="T68" fmla="*/ 11 w 129"/>
                    <a:gd name="T69" fmla="*/ 77 h 226"/>
                    <a:gd name="T70" fmla="*/ 2 w 129"/>
                    <a:gd name="T71" fmla="*/ 86 h 226"/>
                    <a:gd name="T72" fmla="*/ 0 w 129"/>
                    <a:gd name="T73" fmla="*/ 95 h 226"/>
                    <a:gd name="T74" fmla="*/ 0 w 129"/>
                    <a:gd name="T75" fmla="*/ 113 h 226"/>
                    <a:gd name="T76" fmla="*/ 21 w 129"/>
                    <a:gd name="T77" fmla="*/ 136 h 226"/>
                    <a:gd name="T78" fmla="*/ 25 w 129"/>
                    <a:gd name="T79" fmla="*/ 150 h 226"/>
                    <a:gd name="T80" fmla="*/ 31 w 129"/>
                    <a:gd name="T81" fmla="*/ 151 h 226"/>
                    <a:gd name="T82" fmla="*/ 39 w 129"/>
                    <a:gd name="T83" fmla="*/ 150 h 226"/>
                    <a:gd name="T84" fmla="*/ 45 w 129"/>
                    <a:gd name="T85" fmla="*/ 156 h 226"/>
                    <a:gd name="T86" fmla="*/ 41 w 129"/>
                    <a:gd name="T87" fmla="*/ 167 h 226"/>
                    <a:gd name="T88" fmla="*/ 39 w 129"/>
                    <a:gd name="T89" fmla="*/ 175 h 226"/>
                    <a:gd name="T90" fmla="*/ 44 w 129"/>
                    <a:gd name="T91" fmla="*/ 185 h 226"/>
                    <a:gd name="T92" fmla="*/ 53 w 129"/>
                    <a:gd name="T93" fmla="*/ 189 h 226"/>
                    <a:gd name="T94" fmla="*/ 68 w 129"/>
                    <a:gd name="T95" fmla="*/ 200 h 226"/>
                    <a:gd name="T96" fmla="*/ 70 w 129"/>
                    <a:gd name="T97" fmla="*/ 214 h 226"/>
                    <a:gd name="T98" fmla="*/ 74 w 129"/>
                    <a:gd name="T99" fmla="*/ 222 h 226"/>
                    <a:gd name="T100" fmla="*/ 76 w 129"/>
                    <a:gd name="T101" fmla="*/ 222 h 226"/>
                    <a:gd name="T102" fmla="*/ 83 w 129"/>
                    <a:gd name="T103"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226">
                      <a:moveTo>
                        <a:pt x="86" y="218"/>
                      </a:moveTo>
                      <a:lnTo>
                        <a:pt x="88" y="217"/>
                      </a:lnTo>
                      <a:lnTo>
                        <a:pt x="92" y="219"/>
                      </a:lnTo>
                      <a:lnTo>
                        <a:pt x="96" y="222"/>
                      </a:lnTo>
                      <a:lnTo>
                        <a:pt x="99" y="222"/>
                      </a:lnTo>
                      <a:lnTo>
                        <a:pt x="102" y="222"/>
                      </a:lnTo>
                      <a:lnTo>
                        <a:pt x="104" y="221"/>
                      </a:lnTo>
                      <a:lnTo>
                        <a:pt x="102" y="216"/>
                      </a:lnTo>
                      <a:lnTo>
                        <a:pt x="102" y="211"/>
                      </a:lnTo>
                      <a:lnTo>
                        <a:pt x="105" y="209"/>
                      </a:lnTo>
                      <a:lnTo>
                        <a:pt x="111" y="207"/>
                      </a:lnTo>
                      <a:lnTo>
                        <a:pt x="113" y="206"/>
                      </a:lnTo>
                      <a:lnTo>
                        <a:pt x="112" y="203"/>
                      </a:lnTo>
                      <a:lnTo>
                        <a:pt x="112" y="200"/>
                      </a:lnTo>
                      <a:lnTo>
                        <a:pt x="112" y="199"/>
                      </a:lnTo>
                      <a:lnTo>
                        <a:pt x="112" y="195"/>
                      </a:lnTo>
                      <a:lnTo>
                        <a:pt x="115" y="194"/>
                      </a:lnTo>
                      <a:lnTo>
                        <a:pt x="115" y="194"/>
                      </a:lnTo>
                      <a:lnTo>
                        <a:pt x="114" y="193"/>
                      </a:lnTo>
                      <a:lnTo>
                        <a:pt x="113" y="189"/>
                      </a:lnTo>
                      <a:lnTo>
                        <a:pt x="113" y="183"/>
                      </a:lnTo>
                      <a:lnTo>
                        <a:pt x="115" y="179"/>
                      </a:lnTo>
                      <a:lnTo>
                        <a:pt x="117" y="178"/>
                      </a:lnTo>
                      <a:lnTo>
                        <a:pt x="118" y="172"/>
                      </a:lnTo>
                      <a:lnTo>
                        <a:pt x="121" y="169"/>
                      </a:lnTo>
                      <a:lnTo>
                        <a:pt x="123" y="167"/>
                      </a:lnTo>
                      <a:lnTo>
                        <a:pt x="124" y="162"/>
                      </a:lnTo>
                      <a:lnTo>
                        <a:pt x="126" y="158"/>
                      </a:lnTo>
                      <a:lnTo>
                        <a:pt x="129" y="156"/>
                      </a:lnTo>
                      <a:lnTo>
                        <a:pt x="129" y="152"/>
                      </a:lnTo>
                      <a:lnTo>
                        <a:pt x="128" y="146"/>
                      </a:lnTo>
                      <a:lnTo>
                        <a:pt x="124" y="139"/>
                      </a:lnTo>
                      <a:lnTo>
                        <a:pt x="123" y="135"/>
                      </a:lnTo>
                      <a:lnTo>
                        <a:pt x="123" y="131"/>
                      </a:lnTo>
                      <a:lnTo>
                        <a:pt x="123" y="128"/>
                      </a:lnTo>
                      <a:lnTo>
                        <a:pt x="124" y="125"/>
                      </a:lnTo>
                      <a:lnTo>
                        <a:pt x="121" y="34"/>
                      </a:lnTo>
                      <a:lnTo>
                        <a:pt x="122" y="34"/>
                      </a:lnTo>
                      <a:lnTo>
                        <a:pt x="118" y="31"/>
                      </a:lnTo>
                      <a:lnTo>
                        <a:pt x="116" y="26"/>
                      </a:lnTo>
                      <a:lnTo>
                        <a:pt x="114" y="23"/>
                      </a:lnTo>
                      <a:lnTo>
                        <a:pt x="113" y="17"/>
                      </a:lnTo>
                      <a:lnTo>
                        <a:pt x="109" y="13"/>
                      </a:lnTo>
                      <a:lnTo>
                        <a:pt x="107" y="3"/>
                      </a:lnTo>
                      <a:lnTo>
                        <a:pt x="107" y="0"/>
                      </a:lnTo>
                      <a:lnTo>
                        <a:pt x="24" y="5"/>
                      </a:lnTo>
                      <a:lnTo>
                        <a:pt x="22" y="3"/>
                      </a:lnTo>
                      <a:lnTo>
                        <a:pt x="22" y="3"/>
                      </a:lnTo>
                      <a:lnTo>
                        <a:pt x="21" y="6"/>
                      </a:lnTo>
                      <a:lnTo>
                        <a:pt x="21" y="8"/>
                      </a:lnTo>
                      <a:lnTo>
                        <a:pt x="24" y="11"/>
                      </a:lnTo>
                      <a:lnTo>
                        <a:pt x="28" y="14"/>
                      </a:lnTo>
                      <a:lnTo>
                        <a:pt x="33" y="18"/>
                      </a:lnTo>
                      <a:lnTo>
                        <a:pt x="38" y="23"/>
                      </a:lnTo>
                      <a:lnTo>
                        <a:pt x="38" y="26"/>
                      </a:lnTo>
                      <a:lnTo>
                        <a:pt x="36" y="32"/>
                      </a:lnTo>
                      <a:lnTo>
                        <a:pt x="34" y="35"/>
                      </a:lnTo>
                      <a:lnTo>
                        <a:pt x="31" y="43"/>
                      </a:lnTo>
                      <a:lnTo>
                        <a:pt x="29" y="45"/>
                      </a:lnTo>
                      <a:lnTo>
                        <a:pt x="27" y="47"/>
                      </a:lnTo>
                      <a:lnTo>
                        <a:pt x="21" y="50"/>
                      </a:lnTo>
                      <a:lnTo>
                        <a:pt x="15" y="50"/>
                      </a:lnTo>
                      <a:lnTo>
                        <a:pt x="12" y="51"/>
                      </a:lnTo>
                      <a:lnTo>
                        <a:pt x="12" y="55"/>
                      </a:lnTo>
                      <a:lnTo>
                        <a:pt x="12" y="58"/>
                      </a:lnTo>
                      <a:lnTo>
                        <a:pt x="15" y="65"/>
                      </a:lnTo>
                      <a:lnTo>
                        <a:pt x="17" y="67"/>
                      </a:lnTo>
                      <a:lnTo>
                        <a:pt x="13" y="70"/>
                      </a:lnTo>
                      <a:lnTo>
                        <a:pt x="13" y="77"/>
                      </a:lnTo>
                      <a:lnTo>
                        <a:pt x="11" y="77"/>
                      </a:lnTo>
                      <a:lnTo>
                        <a:pt x="8" y="80"/>
                      </a:lnTo>
                      <a:lnTo>
                        <a:pt x="2" y="86"/>
                      </a:lnTo>
                      <a:lnTo>
                        <a:pt x="3" y="92"/>
                      </a:lnTo>
                      <a:lnTo>
                        <a:pt x="0" y="95"/>
                      </a:lnTo>
                      <a:lnTo>
                        <a:pt x="0" y="104"/>
                      </a:lnTo>
                      <a:lnTo>
                        <a:pt x="0" y="113"/>
                      </a:lnTo>
                      <a:lnTo>
                        <a:pt x="6" y="123"/>
                      </a:lnTo>
                      <a:lnTo>
                        <a:pt x="21" y="136"/>
                      </a:lnTo>
                      <a:lnTo>
                        <a:pt x="25" y="142"/>
                      </a:lnTo>
                      <a:lnTo>
                        <a:pt x="25" y="150"/>
                      </a:lnTo>
                      <a:lnTo>
                        <a:pt x="30" y="154"/>
                      </a:lnTo>
                      <a:lnTo>
                        <a:pt x="31" y="151"/>
                      </a:lnTo>
                      <a:lnTo>
                        <a:pt x="34" y="150"/>
                      </a:lnTo>
                      <a:lnTo>
                        <a:pt x="39" y="150"/>
                      </a:lnTo>
                      <a:lnTo>
                        <a:pt x="42" y="153"/>
                      </a:lnTo>
                      <a:lnTo>
                        <a:pt x="45" y="156"/>
                      </a:lnTo>
                      <a:lnTo>
                        <a:pt x="42" y="162"/>
                      </a:lnTo>
                      <a:lnTo>
                        <a:pt x="41" y="167"/>
                      </a:lnTo>
                      <a:lnTo>
                        <a:pt x="41" y="170"/>
                      </a:lnTo>
                      <a:lnTo>
                        <a:pt x="39" y="175"/>
                      </a:lnTo>
                      <a:lnTo>
                        <a:pt x="39" y="180"/>
                      </a:lnTo>
                      <a:lnTo>
                        <a:pt x="44" y="185"/>
                      </a:lnTo>
                      <a:lnTo>
                        <a:pt x="51" y="190"/>
                      </a:lnTo>
                      <a:lnTo>
                        <a:pt x="53" y="189"/>
                      </a:lnTo>
                      <a:lnTo>
                        <a:pt x="64" y="196"/>
                      </a:lnTo>
                      <a:lnTo>
                        <a:pt x="68" y="200"/>
                      </a:lnTo>
                      <a:lnTo>
                        <a:pt x="71" y="209"/>
                      </a:lnTo>
                      <a:lnTo>
                        <a:pt x="70" y="214"/>
                      </a:lnTo>
                      <a:lnTo>
                        <a:pt x="69" y="217"/>
                      </a:lnTo>
                      <a:lnTo>
                        <a:pt x="74" y="222"/>
                      </a:lnTo>
                      <a:lnTo>
                        <a:pt x="74" y="226"/>
                      </a:lnTo>
                      <a:lnTo>
                        <a:pt x="76" y="222"/>
                      </a:lnTo>
                      <a:lnTo>
                        <a:pt x="80" y="222"/>
                      </a:lnTo>
                      <a:lnTo>
                        <a:pt x="83" y="221"/>
                      </a:lnTo>
                      <a:lnTo>
                        <a:pt x="86" y="21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9" name="Freeform 108">
                  <a:extLst>
                    <a:ext uri="{FF2B5EF4-FFF2-40B4-BE49-F238E27FC236}">
                      <a16:creationId xmlns:a16="http://schemas.microsoft.com/office/drawing/2014/main" id="{D7AC16C0-E717-9F3F-111B-8708AD78C9C5}"/>
                    </a:ext>
                  </a:extLst>
                </p:cNvPr>
                <p:cNvSpPr>
                  <a:spLocks/>
                </p:cNvSpPr>
                <p:nvPr/>
              </p:nvSpPr>
              <p:spPr bwMode="auto">
                <a:xfrm>
                  <a:off x="6662570" y="2198544"/>
                  <a:ext cx="330543" cy="242848"/>
                </a:xfrm>
                <a:custGeom>
                  <a:avLst/>
                  <a:gdLst>
                    <a:gd name="T0" fmla="*/ 196 w 231"/>
                    <a:gd name="T1" fmla="*/ 154 h 170"/>
                    <a:gd name="T2" fmla="*/ 201 w 231"/>
                    <a:gd name="T3" fmla="*/ 150 h 170"/>
                    <a:gd name="T4" fmla="*/ 206 w 231"/>
                    <a:gd name="T5" fmla="*/ 139 h 170"/>
                    <a:gd name="T6" fmla="*/ 200 w 231"/>
                    <a:gd name="T7" fmla="*/ 128 h 170"/>
                    <a:gd name="T8" fmla="*/ 200 w 231"/>
                    <a:gd name="T9" fmla="*/ 120 h 170"/>
                    <a:gd name="T10" fmla="*/ 211 w 231"/>
                    <a:gd name="T11" fmla="*/ 118 h 170"/>
                    <a:gd name="T12" fmla="*/ 220 w 231"/>
                    <a:gd name="T13" fmla="*/ 113 h 170"/>
                    <a:gd name="T14" fmla="*/ 226 w 231"/>
                    <a:gd name="T15" fmla="*/ 101 h 170"/>
                    <a:gd name="T16" fmla="*/ 231 w 231"/>
                    <a:gd name="T17" fmla="*/ 90 h 170"/>
                    <a:gd name="T18" fmla="*/ 225 w 231"/>
                    <a:gd name="T19" fmla="*/ 81 h 170"/>
                    <a:gd name="T20" fmla="*/ 215 w 231"/>
                    <a:gd name="T21" fmla="*/ 72 h 170"/>
                    <a:gd name="T22" fmla="*/ 211 w 231"/>
                    <a:gd name="T23" fmla="*/ 66 h 170"/>
                    <a:gd name="T24" fmla="*/ 214 w 231"/>
                    <a:gd name="T25" fmla="*/ 65 h 170"/>
                    <a:gd name="T26" fmla="*/ 206 w 231"/>
                    <a:gd name="T27" fmla="*/ 59 h 170"/>
                    <a:gd name="T28" fmla="*/ 196 w 231"/>
                    <a:gd name="T29" fmla="*/ 55 h 170"/>
                    <a:gd name="T30" fmla="*/ 194 w 231"/>
                    <a:gd name="T31" fmla="*/ 45 h 170"/>
                    <a:gd name="T32" fmla="*/ 194 w 231"/>
                    <a:gd name="T33" fmla="*/ 35 h 170"/>
                    <a:gd name="T34" fmla="*/ 192 w 231"/>
                    <a:gd name="T35" fmla="*/ 25 h 170"/>
                    <a:gd name="T36" fmla="*/ 7 w 231"/>
                    <a:gd name="T37" fmla="*/ 22 h 170"/>
                    <a:gd name="T38" fmla="*/ 8 w 231"/>
                    <a:gd name="T39" fmla="*/ 0 h 170"/>
                    <a:gd name="T40" fmla="*/ 4 w 231"/>
                    <a:gd name="T41" fmla="*/ 23 h 170"/>
                    <a:gd name="T42" fmla="*/ 3 w 231"/>
                    <a:gd name="T43" fmla="*/ 31 h 170"/>
                    <a:gd name="T44" fmla="*/ 7 w 231"/>
                    <a:gd name="T45" fmla="*/ 37 h 170"/>
                    <a:gd name="T46" fmla="*/ 5 w 231"/>
                    <a:gd name="T47" fmla="*/ 42 h 170"/>
                    <a:gd name="T48" fmla="*/ 4 w 231"/>
                    <a:gd name="T49" fmla="*/ 52 h 170"/>
                    <a:gd name="T50" fmla="*/ 0 w 231"/>
                    <a:gd name="T51" fmla="*/ 56 h 170"/>
                    <a:gd name="T52" fmla="*/ 4 w 231"/>
                    <a:gd name="T53" fmla="*/ 62 h 170"/>
                    <a:gd name="T54" fmla="*/ 4 w 231"/>
                    <a:gd name="T55" fmla="*/ 69 h 170"/>
                    <a:gd name="T56" fmla="*/ 6 w 231"/>
                    <a:gd name="T57" fmla="*/ 71 h 170"/>
                    <a:gd name="T58" fmla="*/ 12 w 231"/>
                    <a:gd name="T59" fmla="*/ 85 h 170"/>
                    <a:gd name="T60" fmla="*/ 16 w 231"/>
                    <a:gd name="T61" fmla="*/ 96 h 170"/>
                    <a:gd name="T62" fmla="*/ 19 w 231"/>
                    <a:gd name="T63" fmla="*/ 102 h 170"/>
                    <a:gd name="T64" fmla="*/ 20 w 231"/>
                    <a:gd name="T65" fmla="*/ 104 h 170"/>
                    <a:gd name="T66" fmla="*/ 18 w 231"/>
                    <a:gd name="T67" fmla="*/ 109 h 170"/>
                    <a:gd name="T68" fmla="*/ 20 w 231"/>
                    <a:gd name="T69" fmla="*/ 116 h 170"/>
                    <a:gd name="T70" fmla="*/ 24 w 231"/>
                    <a:gd name="T71" fmla="*/ 118 h 170"/>
                    <a:gd name="T72" fmla="*/ 26 w 231"/>
                    <a:gd name="T73" fmla="*/ 135 h 170"/>
                    <a:gd name="T74" fmla="*/ 27 w 231"/>
                    <a:gd name="T75" fmla="*/ 142 h 170"/>
                    <a:gd name="T76" fmla="*/ 28 w 231"/>
                    <a:gd name="T77" fmla="*/ 154 h 170"/>
                    <a:gd name="T78" fmla="*/ 30 w 231"/>
                    <a:gd name="T79" fmla="*/ 162 h 170"/>
                    <a:gd name="T80" fmla="*/ 188 w 231"/>
                    <a:gd name="T81" fmla="*/ 170 h 170"/>
                    <a:gd name="T82" fmla="*/ 189 w 231"/>
                    <a:gd name="T83" fmla="*/ 16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170">
                      <a:moveTo>
                        <a:pt x="189" y="161"/>
                      </a:moveTo>
                      <a:cubicBezTo>
                        <a:pt x="196" y="154"/>
                        <a:pt x="196" y="154"/>
                        <a:pt x="196" y="154"/>
                      </a:cubicBezTo>
                      <a:cubicBezTo>
                        <a:pt x="199" y="150"/>
                        <a:pt x="199" y="150"/>
                        <a:pt x="199" y="150"/>
                      </a:cubicBezTo>
                      <a:cubicBezTo>
                        <a:pt x="201" y="150"/>
                        <a:pt x="201" y="150"/>
                        <a:pt x="201" y="150"/>
                      </a:cubicBezTo>
                      <a:cubicBezTo>
                        <a:pt x="202" y="142"/>
                        <a:pt x="202" y="142"/>
                        <a:pt x="202" y="142"/>
                      </a:cubicBezTo>
                      <a:cubicBezTo>
                        <a:pt x="206" y="139"/>
                        <a:pt x="206" y="139"/>
                        <a:pt x="206" y="139"/>
                      </a:cubicBezTo>
                      <a:cubicBezTo>
                        <a:pt x="204" y="136"/>
                        <a:pt x="204" y="136"/>
                        <a:pt x="204" y="136"/>
                      </a:cubicBezTo>
                      <a:cubicBezTo>
                        <a:pt x="200" y="128"/>
                        <a:pt x="200" y="128"/>
                        <a:pt x="200" y="128"/>
                      </a:cubicBezTo>
                      <a:cubicBezTo>
                        <a:pt x="200" y="124"/>
                        <a:pt x="200" y="124"/>
                        <a:pt x="200" y="124"/>
                      </a:cubicBezTo>
                      <a:cubicBezTo>
                        <a:pt x="200" y="120"/>
                        <a:pt x="200" y="120"/>
                        <a:pt x="200" y="120"/>
                      </a:cubicBezTo>
                      <a:cubicBezTo>
                        <a:pt x="204" y="118"/>
                        <a:pt x="204" y="118"/>
                        <a:pt x="204" y="118"/>
                      </a:cubicBezTo>
                      <a:cubicBezTo>
                        <a:pt x="211" y="118"/>
                        <a:pt x="211" y="118"/>
                        <a:pt x="211" y="118"/>
                      </a:cubicBezTo>
                      <a:cubicBezTo>
                        <a:pt x="218" y="115"/>
                        <a:pt x="218" y="115"/>
                        <a:pt x="218" y="115"/>
                      </a:cubicBezTo>
                      <a:cubicBezTo>
                        <a:pt x="220" y="113"/>
                        <a:pt x="220" y="113"/>
                        <a:pt x="220" y="113"/>
                      </a:cubicBezTo>
                      <a:cubicBezTo>
                        <a:pt x="223" y="110"/>
                        <a:pt x="223" y="110"/>
                        <a:pt x="223" y="110"/>
                      </a:cubicBezTo>
                      <a:cubicBezTo>
                        <a:pt x="226" y="101"/>
                        <a:pt x="226" y="101"/>
                        <a:pt x="226" y="101"/>
                      </a:cubicBezTo>
                      <a:cubicBezTo>
                        <a:pt x="229" y="97"/>
                        <a:pt x="229" y="97"/>
                        <a:pt x="229" y="97"/>
                      </a:cubicBezTo>
                      <a:cubicBezTo>
                        <a:pt x="231" y="90"/>
                        <a:pt x="231" y="90"/>
                        <a:pt x="231" y="90"/>
                      </a:cubicBezTo>
                      <a:cubicBezTo>
                        <a:pt x="231" y="87"/>
                        <a:pt x="231" y="87"/>
                        <a:pt x="231" y="87"/>
                      </a:cubicBezTo>
                      <a:cubicBezTo>
                        <a:pt x="225" y="81"/>
                        <a:pt x="225" y="81"/>
                        <a:pt x="225" y="81"/>
                      </a:cubicBezTo>
                      <a:cubicBezTo>
                        <a:pt x="219" y="76"/>
                        <a:pt x="219" y="76"/>
                        <a:pt x="219" y="76"/>
                      </a:cubicBezTo>
                      <a:cubicBezTo>
                        <a:pt x="215" y="72"/>
                        <a:pt x="215" y="72"/>
                        <a:pt x="215" y="72"/>
                      </a:cubicBezTo>
                      <a:cubicBezTo>
                        <a:pt x="211" y="69"/>
                        <a:pt x="211" y="69"/>
                        <a:pt x="211" y="69"/>
                      </a:cubicBezTo>
                      <a:cubicBezTo>
                        <a:pt x="211" y="66"/>
                        <a:pt x="211" y="66"/>
                        <a:pt x="211" y="66"/>
                      </a:cubicBezTo>
                      <a:cubicBezTo>
                        <a:pt x="212" y="63"/>
                        <a:pt x="212" y="63"/>
                        <a:pt x="212" y="63"/>
                      </a:cubicBezTo>
                      <a:cubicBezTo>
                        <a:pt x="214" y="65"/>
                        <a:pt x="214" y="65"/>
                        <a:pt x="214" y="65"/>
                      </a:cubicBezTo>
                      <a:cubicBezTo>
                        <a:pt x="211" y="61"/>
                        <a:pt x="211" y="61"/>
                        <a:pt x="211" y="61"/>
                      </a:cubicBezTo>
                      <a:cubicBezTo>
                        <a:pt x="211" y="61"/>
                        <a:pt x="207" y="59"/>
                        <a:pt x="206" y="59"/>
                      </a:cubicBezTo>
                      <a:cubicBezTo>
                        <a:pt x="205" y="59"/>
                        <a:pt x="201" y="55"/>
                        <a:pt x="201" y="55"/>
                      </a:cubicBezTo>
                      <a:cubicBezTo>
                        <a:pt x="196" y="55"/>
                        <a:pt x="196" y="55"/>
                        <a:pt x="196" y="55"/>
                      </a:cubicBezTo>
                      <a:cubicBezTo>
                        <a:pt x="196" y="50"/>
                        <a:pt x="196" y="50"/>
                        <a:pt x="196" y="50"/>
                      </a:cubicBezTo>
                      <a:cubicBezTo>
                        <a:pt x="194" y="45"/>
                        <a:pt x="194" y="45"/>
                        <a:pt x="194" y="45"/>
                      </a:cubicBezTo>
                      <a:cubicBezTo>
                        <a:pt x="194" y="39"/>
                        <a:pt x="194" y="39"/>
                        <a:pt x="194" y="39"/>
                      </a:cubicBezTo>
                      <a:cubicBezTo>
                        <a:pt x="194" y="35"/>
                        <a:pt x="194" y="35"/>
                        <a:pt x="194" y="35"/>
                      </a:cubicBezTo>
                      <a:cubicBezTo>
                        <a:pt x="194" y="28"/>
                        <a:pt x="194" y="28"/>
                        <a:pt x="194" y="28"/>
                      </a:cubicBezTo>
                      <a:cubicBezTo>
                        <a:pt x="192" y="25"/>
                        <a:pt x="192" y="25"/>
                        <a:pt x="192" y="25"/>
                      </a:cubicBezTo>
                      <a:cubicBezTo>
                        <a:pt x="189" y="18"/>
                        <a:pt x="189" y="18"/>
                        <a:pt x="189" y="18"/>
                      </a:cubicBezTo>
                      <a:cubicBezTo>
                        <a:pt x="7" y="22"/>
                        <a:pt x="7" y="22"/>
                        <a:pt x="7" y="22"/>
                      </a:cubicBezTo>
                      <a:cubicBezTo>
                        <a:pt x="8" y="0"/>
                        <a:pt x="8" y="0"/>
                        <a:pt x="8" y="0"/>
                      </a:cubicBezTo>
                      <a:cubicBezTo>
                        <a:pt x="8" y="0"/>
                        <a:pt x="8" y="0"/>
                        <a:pt x="8" y="0"/>
                      </a:cubicBezTo>
                      <a:cubicBezTo>
                        <a:pt x="7" y="23"/>
                        <a:pt x="7" y="23"/>
                        <a:pt x="7" y="23"/>
                      </a:cubicBezTo>
                      <a:cubicBezTo>
                        <a:pt x="4" y="23"/>
                        <a:pt x="4" y="23"/>
                        <a:pt x="4" y="23"/>
                      </a:cubicBezTo>
                      <a:cubicBezTo>
                        <a:pt x="4" y="26"/>
                        <a:pt x="4" y="26"/>
                        <a:pt x="4" y="26"/>
                      </a:cubicBezTo>
                      <a:cubicBezTo>
                        <a:pt x="3" y="31"/>
                        <a:pt x="3" y="31"/>
                        <a:pt x="3" y="31"/>
                      </a:cubicBezTo>
                      <a:cubicBezTo>
                        <a:pt x="5" y="32"/>
                        <a:pt x="5" y="32"/>
                        <a:pt x="5" y="32"/>
                      </a:cubicBezTo>
                      <a:cubicBezTo>
                        <a:pt x="7" y="37"/>
                        <a:pt x="7" y="37"/>
                        <a:pt x="7" y="37"/>
                      </a:cubicBezTo>
                      <a:cubicBezTo>
                        <a:pt x="7" y="41"/>
                        <a:pt x="7" y="41"/>
                        <a:pt x="7" y="41"/>
                      </a:cubicBezTo>
                      <a:cubicBezTo>
                        <a:pt x="5" y="42"/>
                        <a:pt x="5" y="42"/>
                        <a:pt x="5" y="42"/>
                      </a:cubicBezTo>
                      <a:cubicBezTo>
                        <a:pt x="4" y="45"/>
                        <a:pt x="4" y="45"/>
                        <a:pt x="4" y="45"/>
                      </a:cubicBezTo>
                      <a:cubicBezTo>
                        <a:pt x="4" y="52"/>
                        <a:pt x="4" y="52"/>
                        <a:pt x="4" y="52"/>
                      </a:cubicBezTo>
                      <a:cubicBezTo>
                        <a:pt x="1" y="53"/>
                        <a:pt x="1" y="53"/>
                        <a:pt x="1" y="53"/>
                      </a:cubicBezTo>
                      <a:cubicBezTo>
                        <a:pt x="0" y="56"/>
                        <a:pt x="0" y="56"/>
                        <a:pt x="0" y="56"/>
                      </a:cubicBezTo>
                      <a:cubicBezTo>
                        <a:pt x="0" y="59"/>
                        <a:pt x="0" y="59"/>
                        <a:pt x="0" y="59"/>
                      </a:cubicBezTo>
                      <a:cubicBezTo>
                        <a:pt x="4" y="62"/>
                        <a:pt x="4" y="62"/>
                        <a:pt x="4" y="62"/>
                      </a:cubicBezTo>
                      <a:cubicBezTo>
                        <a:pt x="4" y="66"/>
                        <a:pt x="4" y="66"/>
                        <a:pt x="4" y="66"/>
                      </a:cubicBezTo>
                      <a:cubicBezTo>
                        <a:pt x="4" y="69"/>
                        <a:pt x="4" y="69"/>
                        <a:pt x="4" y="69"/>
                      </a:cubicBezTo>
                      <a:cubicBezTo>
                        <a:pt x="3" y="67"/>
                        <a:pt x="3" y="67"/>
                        <a:pt x="3" y="67"/>
                      </a:cubicBezTo>
                      <a:cubicBezTo>
                        <a:pt x="6" y="71"/>
                        <a:pt x="6" y="71"/>
                        <a:pt x="6" y="71"/>
                      </a:cubicBezTo>
                      <a:cubicBezTo>
                        <a:pt x="9" y="80"/>
                        <a:pt x="9" y="80"/>
                        <a:pt x="9" y="80"/>
                      </a:cubicBezTo>
                      <a:cubicBezTo>
                        <a:pt x="12" y="85"/>
                        <a:pt x="12" y="85"/>
                        <a:pt x="12" y="85"/>
                      </a:cubicBezTo>
                      <a:cubicBezTo>
                        <a:pt x="14" y="91"/>
                        <a:pt x="14" y="91"/>
                        <a:pt x="14" y="91"/>
                      </a:cubicBezTo>
                      <a:cubicBezTo>
                        <a:pt x="16" y="96"/>
                        <a:pt x="16" y="96"/>
                        <a:pt x="16" y="96"/>
                      </a:cubicBezTo>
                      <a:cubicBezTo>
                        <a:pt x="18" y="99"/>
                        <a:pt x="18" y="99"/>
                        <a:pt x="18" y="99"/>
                      </a:cubicBezTo>
                      <a:cubicBezTo>
                        <a:pt x="19" y="102"/>
                        <a:pt x="19" y="102"/>
                        <a:pt x="19" y="102"/>
                      </a:cubicBezTo>
                      <a:cubicBezTo>
                        <a:pt x="20" y="103"/>
                        <a:pt x="20" y="103"/>
                        <a:pt x="20" y="103"/>
                      </a:cubicBezTo>
                      <a:cubicBezTo>
                        <a:pt x="20" y="104"/>
                        <a:pt x="20" y="104"/>
                        <a:pt x="20" y="104"/>
                      </a:cubicBezTo>
                      <a:cubicBezTo>
                        <a:pt x="17" y="105"/>
                        <a:pt x="17" y="105"/>
                        <a:pt x="17" y="105"/>
                      </a:cubicBezTo>
                      <a:cubicBezTo>
                        <a:pt x="18" y="109"/>
                        <a:pt x="18" y="109"/>
                        <a:pt x="18" y="109"/>
                      </a:cubicBezTo>
                      <a:cubicBezTo>
                        <a:pt x="19" y="114"/>
                        <a:pt x="19" y="114"/>
                        <a:pt x="19" y="114"/>
                      </a:cubicBezTo>
                      <a:cubicBezTo>
                        <a:pt x="20" y="116"/>
                        <a:pt x="20" y="116"/>
                        <a:pt x="20" y="116"/>
                      </a:cubicBezTo>
                      <a:cubicBezTo>
                        <a:pt x="22" y="116"/>
                        <a:pt x="22" y="116"/>
                        <a:pt x="22" y="116"/>
                      </a:cubicBezTo>
                      <a:cubicBezTo>
                        <a:pt x="24" y="118"/>
                        <a:pt x="24" y="118"/>
                        <a:pt x="24" y="118"/>
                      </a:cubicBezTo>
                      <a:cubicBezTo>
                        <a:pt x="26" y="125"/>
                        <a:pt x="26" y="125"/>
                        <a:pt x="26" y="125"/>
                      </a:cubicBezTo>
                      <a:cubicBezTo>
                        <a:pt x="26" y="135"/>
                        <a:pt x="26" y="135"/>
                        <a:pt x="26" y="135"/>
                      </a:cubicBezTo>
                      <a:cubicBezTo>
                        <a:pt x="25" y="139"/>
                        <a:pt x="25" y="139"/>
                        <a:pt x="25" y="139"/>
                      </a:cubicBezTo>
                      <a:cubicBezTo>
                        <a:pt x="27" y="142"/>
                        <a:pt x="27" y="142"/>
                        <a:pt x="27" y="142"/>
                      </a:cubicBezTo>
                      <a:cubicBezTo>
                        <a:pt x="28" y="144"/>
                        <a:pt x="28" y="144"/>
                        <a:pt x="28" y="144"/>
                      </a:cubicBezTo>
                      <a:cubicBezTo>
                        <a:pt x="28" y="154"/>
                        <a:pt x="28" y="154"/>
                        <a:pt x="28" y="154"/>
                      </a:cubicBezTo>
                      <a:cubicBezTo>
                        <a:pt x="30" y="161"/>
                        <a:pt x="30" y="161"/>
                        <a:pt x="30" y="161"/>
                      </a:cubicBezTo>
                      <a:cubicBezTo>
                        <a:pt x="30" y="162"/>
                        <a:pt x="30" y="162"/>
                        <a:pt x="30" y="162"/>
                      </a:cubicBezTo>
                      <a:cubicBezTo>
                        <a:pt x="176" y="160"/>
                        <a:pt x="176" y="160"/>
                        <a:pt x="176" y="160"/>
                      </a:cubicBezTo>
                      <a:cubicBezTo>
                        <a:pt x="188" y="170"/>
                        <a:pt x="188" y="170"/>
                        <a:pt x="188" y="170"/>
                      </a:cubicBezTo>
                      <a:cubicBezTo>
                        <a:pt x="190" y="168"/>
                        <a:pt x="190" y="168"/>
                        <a:pt x="190" y="168"/>
                      </a:cubicBezTo>
                      <a:lnTo>
                        <a:pt x="189" y="16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grpSp>
        </p:grpSp>
        <p:sp>
          <p:nvSpPr>
            <p:cNvPr id="53" name="Rectangle 52">
              <a:extLst>
                <a:ext uri="{FF2B5EF4-FFF2-40B4-BE49-F238E27FC236}">
                  <a16:creationId xmlns:a16="http://schemas.microsoft.com/office/drawing/2014/main" id="{9B3EBCF3-CE03-2BAA-2CE0-97ED36FE721B}"/>
                </a:ext>
              </a:extLst>
            </p:cNvPr>
            <p:cNvSpPr/>
            <p:nvPr/>
          </p:nvSpPr>
          <p:spPr bwMode="gray">
            <a:xfrm>
              <a:off x="7990987" y="1815947"/>
              <a:ext cx="2213377" cy="2199032"/>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Rectangle 53">
              <a:extLst>
                <a:ext uri="{FF2B5EF4-FFF2-40B4-BE49-F238E27FC236}">
                  <a16:creationId xmlns:a16="http://schemas.microsoft.com/office/drawing/2014/main" id="{E1EDE2B7-A485-2E4E-7115-57DEA71049C5}"/>
                </a:ext>
              </a:extLst>
            </p:cNvPr>
            <p:cNvSpPr/>
            <p:nvPr/>
          </p:nvSpPr>
          <p:spPr bwMode="gray">
            <a:xfrm>
              <a:off x="9546735" y="3219946"/>
              <a:ext cx="650505" cy="289038"/>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00" i="1" dirty="0">
                  <a:solidFill>
                    <a:schemeClr val="tx1"/>
                  </a:solidFill>
                </a:rPr>
                <a:t>Majority of U.S. population </a:t>
              </a:r>
              <a:endParaRPr lang="en-US" sz="600" i="1" dirty="0">
                <a:solidFill>
                  <a:schemeClr val="tx1"/>
                </a:solidFill>
                <a:cs typeface="Arial"/>
              </a:endParaRPr>
            </a:p>
          </p:txBody>
        </p:sp>
        <p:sp>
          <p:nvSpPr>
            <p:cNvPr id="55" name="Rectangle 54">
              <a:extLst>
                <a:ext uri="{FF2B5EF4-FFF2-40B4-BE49-F238E27FC236}">
                  <a16:creationId xmlns:a16="http://schemas.microsoft.com/office/drawing/2014/main" id="{BDDB2757-D009-89A5-D43A-FB48B15A9C39}"/>
                </a:ext>
              </a:extLst>
            </p:cNvPr>
            <p:cNvSpPr/>
            <p:nvPr/>
          </p:nvSpPr>
          <p:spPr bwMode="gray">
            <a:xfrm>
              <a:off x="5633020" y="1416180"/>
              <a:ext cx="770296" cy="2242620"/>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252F04E1-B944-8A4E-DD23-770AAAFAC85B}"/>
                </a:ext>
              </a:extLst>
            </p:cNvPr>
            <p:cNvSpPr/>
            <p:nvPr/>
          </p:nvSpPr>
          <p:spPr bwMode="gray">
            <a:xfrm>
              <a:off x="5680863" y="3413068"/>
              <a:ext cx="722472" cy="289038"/>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600" i="1" dirty="0">
                  <a:solidFill>
                    <a:schemeClr val="tx1"/>
                  </a:solidFill>
                </a:rPr>
                <a:t>High-density population pocket</a:t>
              </a:r>
            </a:p>
          </p:txBody>
        </p:sp>
      </p:grpSp>
      <p:sp>
        <p:nvSpPr>
          <p:cNvPr id="113" name="Oval 112">
            <a:extLst>
              <a:ext uri="{FF2B5EF4-FFF2-40B4-BE49-F238E27FC236}">
                <a16:creationId xmlns:a16="http://schemas.microsoft.com/office/drawing/2014/main" id="{6678785E-3F20-B226-CF4B-E722071EC204}"/>
              </a:ext>
            </a:extLst>
          </p:cNvPr>
          <p:cNvSpPr/>
          <p:nvPr/>
        </p:nvSpPr>
        <p:spPr bwMode="gray">
          <a:xfrm>
            <a:off x="465131" y="5193855"/>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Rectangle 113">
            <a:extLst>
              <a:ext uri="{FF2B5EF4-FFF2-40B4-BE49-F238E27FC236}">
                <a16:creationId xmlns:a16="http://schemas.microsoft.com/office/drawing/2014/main" id="{30B90B91-8C67-1798-5A66-A51B751D33B3}"/>
              </a:ext>
            </a:extLst>
          </p:cNvPr>
          <p:cNvSpPr/>
          <p:nvPr/>
        </p:nvSpPr>
        <p:spPr bwMode="gray">
          <a:xfrm>
            <a:off x="799197" y="4959919"/>
            <a:ext cx="4366309" cy="3462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Font typeface="Arial" panose="020B0604020202020204" pitchFamily="34" charset="0"/>
              <a:buChar char="•"/>
            </a:pPr>
            <a:r>
              <a:rPr lang="en-US" sz="1050" dirty="0">
                <a:solidFill>
                  <a:schemeClr val="tx1"/>
                </a:solidFill>
              </a:rPr>
              <a:t>Provides broad support of renewable energy development, support for DOE funding for EGS; geothermal included in net-zero planning. </a:t>
            </a:r>
          </a:p>
        </p:txBody>
      </p:sp>
      <p:sp>
        <p:nvSpPr>
          <p:cNvPr id="115" name="Rectangle 114">
            <a:extLst>
              <a:ext uri="{FF2B5EF4-FFF2-40B4-BE49-F238E27FC236}">
                <a16:creationId xmlns:a16="http://schemas.microsoft.com/office/drawing/2014/main" id="{C194A575-DFEB-1BD4-AC59-02DD3263C7FB}"/>
              </a:ext>
            </a:extLst>
          </p:cNvPr>
          <p:cNvSpPr/>
          <p:nvPr/>
        </p:nvSpPr>
        <p:spPr bwMode="gray">
          <a:xfrm>
            <a:off x="760360" y="4244562"/>
            <a:ext cx="4389639" cy="393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Rollbacks in environmental policies broadly ease permitting; renewable incentives are de-emphasized.</a:t>
            </a:r>
          </a:p>
        </p:txBody>
      </p:sp>
      <p:sp>
        <p:nvSpPr>
          <p:cNvPr id="116" name="Rectangle 115">
            <a:extLst>
              <a:ext uri="{FF2B5EF4-FFF2-40B4-BE49-F238E27FC236}">
                <a16:creationId xmlns:a16="http://schemas.microsoft.com/office/drawing/2014/main" id="{B8C48220-AE50-10EC-C206-086A7405CEF5}"/>
              </a:ext>
            </a:extLst>
          </p:cNvPr>
          <p:cNvSpPr/>
          <p:nvPr/>
        </p:nvSpPr>
        <p:spPr bwMode="gray">
          <a:xfrm>
            <a:off x="778354" y="3745667"/>
            <a:ext cx="4394608" cy="27135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DOE’s Geothermal Tech program advances EGS demonstrations.</a:t>
            </a:r>
          </a:p>
        </p:txBody>
      </p:sp>
      <p:sp>
        <p:nvSpPr>
          <p:cNvPr id="117" name="Rectangular Callout 116">
            <a:extLst>
              <a:ext uri="{FF2B5EF4-FFF2-40B4-BE49-F238E27FC236}">
                <a16:creationId xmlns:a16="http://schemas.microsoft.com/office/drawing/2014/main" id="{C9E34379-35BE-D948-9255-EF6FFC4CDAEA}"/>
              </a:ext>
            </a:extLst>
          </p:cNvPr>
          <p:cNvSpPr/>
          <p:nvPr/>
        </p:nvSpPr>
        <p:spPr bwMode="gray">
          <a:xfrm>
            <a:off x="5512012" y="4789870"/>
            <a:ext cx="1942887" cy="705317"/>
          </a:xfrm>
          <a:prstGeom prst="wedgeRectCallout">
            <a:avLst>
              <a:gd name="adj1" fmla="val 33968"/>
              <a:gd name="adj2" fmla="val -8194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dirty="0">
                <a:solidFill>
                  <a:schemeClr val="tx1"/>
                </a:solidFill>
              </a:rPr>
              <a:t>Modern EGS technology could access ~3,400 GWs of non-superhot rock power in Q4 2025.</a:t>
            </a:r>
          </a:p>
        </p:txBody>
      </p:sp>
      <p:sp>
        <p:nvSpPr>
          <p:cNvPr id="118" name="Text Placeholder 10">
            <a:extLst>
              <a:ext uri="{FF2B5EF4-FFF2-40B4-BE49-F238E27FC236}">
                <a16:creationId xmlns:a16="http://schemas.microsoft.com/office/drawing/2014/main" id="{1CA5F94E-4FF6-5658-6298-4F1FABCB6917}"/>
              </a:ext>
            </a:extLst>
          </p:cNvPr>
          <p:cNvSpPr txBox="1">
            <a:spLocks/>
          </p:cNvSpPr>
          <p:nvPr>
            <p:custDataLst>
              <p:tags r:id="rId3"/>
            </p:custDataLst>
          </p:nvPr>
        </p:nvSpPr>
        <p:spPr bwMode="gray">
          <a:xfrm>
            <a:off x="10342563" y="3563938"/>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A468FA-F0FA-4E0B-AFC4-673F30B87416}" type="datetime'35,''''71''''''1'''',''''1''9''''''''''''''''''''2'''''''''''">
              <a:rPr lang="en-US" altLang="en-US" sz="1000" i="1" smtClean="0"/>
              <a:pPr marL="0" indent="0" algn="ctr">
                <a:spcBef>
                  <a:spcPct val="0"/>
                </a:spcBef>
                <a:spcAft>
                  <a:spcPct val="0"/>
                </a:spcAft>
                <a:buNone/>
              </a:pPr>
              <a:t>35,711,192</a:t>
            </a:fld>
            <a:endParaRPr lang="en-US" sz="1000" i="1" dirty="0"/>
          </a:p>
        </p:txBody>
      </p:sp>
      <p:sp>
        <p:nvSpPr>
          <p:cNvPr id="119" name="Rectangle 118">
            <a:extLst>
              <a:ext uri="{FF2B5EF4-FFF2-40B4-BE49-F238E27FC236}">
                <a16:creationId xmlns:a16="http://schemas.microsoft.com/office/drawing/2014/main" id="{544EA55B-F1F5-6B8C-8EC6-BF05C758A1D9}"/>
              </a:ext>
            </a:extLst>
          </p:cNvPr>
          <p:cNvSpPr/>
          <p:nvPr/>
        </p:nvSpPr>
        <p:spPr bwMode="gray">
          <a:xfrm>
            <a:off x="11115665" y="3884613"/>
            <a:ext cx="1943100" cy="1155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Equivalent to </a:t>
            </a:r>
          </a:p>
          <a:p>
            <a:pPr marL="0" indent="0">
              <a:spcBef>
                <a:spcPts val="0"/>
              </a:spcBef>
              <a:buNone/>
            </a:pPr>
            <a:r>
              <a:rPr lang="en-US" sz="1200" b="1" i="1" dirty="0">
                <a:solidFill>
                  <a:schemeClr val="tx1"/>
                </a:solidFill>
              </a:rPr>
              <a:t>21B</a:t>
            </a:r>
            <a:endParaRPr lang="en-US" sz="1200" i="1" dirty="0">
              <a:solidFill>
                <a:schemeClr val="tx1"/>
              </a:solidFill>
            </a:endParaRPr>
          </a:p>
          <a:p>
            <a:pPr marL="0" indent="0">
              <a:spcBef>
                <a:spcPts val="0"/>
              </a:spcBef>
              <a:buNone/>
            </a:pPr>
            <a:r>
              <a:rPr lang="en-US" sz="900" i="1" dirty="0">
                <a:solidFill>
                  <a:schemeClr val="tx1"/>
                </a:solidFill>
              </a:rPr>
              <a:t>barrels of oil</a:t>
            </a:r>
          </a:p>
        </p:txBody>
      </p:sp>
      <p:sp>
        <p:nvSpPr>
          <p:cNvPr id="120" name="Text Placeholder 10">
            <a:extLst>
              <a:ext uri="{FF2B5EF4-FFF2-40B4-BE49-F238E27FC236}">
                <a16:creationId xmlns:a16="http://schemas.microsoft.com/office/drawing/2014/main" id="{A6631974-23EE-FA21-427A-B492F25A810F}"/>
              </a:ext>
            </a:extLst>
          </p:cNvPr>
          <p:cNvSpPr txBox="1">
            <a:spLocks/>
          </p:cNvSpPr>
          <p:nvPr>
            <p:custDataLst>
              <p:tags r:id="rId4"/>
            </p:custDataLst>
          </p:nvPr>
        </p:nvSpPr>
        <p:spPr bwMode="auto">
          <a:xfrm>
            <a:off x="7454900" y="6000750"/>
            <a:ext cx="1692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i="1" dirty="0"/>
              <a:t>2021 energy demand (CATF)</a:t>
            </a:r>
            <a:endParaRPr lang="en-US" sz="1000" i="1" dirty="0"/>
          </a:p>
        </p:txBody>
      </p:sp>
      <p:sp>
        <p:nvSpPr>
          <p:cNvPr id="121" name="Text Placeholder 10">
            <a:extLst>
              <a:ext uri="{FF2B5EF4-FFF2-40B4-BE49-F238E27FC236}">
                <a16:creationId xmlns:a16="http://schemas.microsoft.com/office/drawing/2014/main" id="{9F52567F-4AC1-A8D9-7CD2-9D41A40DA856}"/>
              </a:ext>
            </a:extLst>
          </p:cNvPr>
          <p:cNvSpPr txBox="1">
            <a:spLocks/>
          </p:cNvSpPr>
          <p:nvPr>
            <p:custDataLst>
              <p:tags r:id="rId5"/>
            </p:custDataLst>
          </p:nvPr>
        </p:nvSpPr>
        <p:spPr bwMode="auto">
          <a:xfrm>
            <a:off x="9823450" y="6000750"/>
            <a:ext cx="1701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i="1" dirty="0"/>
              <a:t>1% of superhot rock potential</a:t>
            </a:r>
            <a:endParaRPr lang="en-US" sz="1000" i="1" dirty="0"/>
          </a:p>
        </p:txBody>
      </p:sp>
    </p:spTree>
    <p:extLst>
      <p:ext uri="{BB962C8B-B14F-4D97-AF65-F5344CB8AC3E}">
        <p14:creationId xmlns:p14="http://schemas.microsoft.com/office/powerpoint/2010/main" val="18885527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10EF40-9164-8B71-AA24-21950032C1FA}"/>
              </a:ext>
            </a:extLst>
          </p:cNvPr>
          <p:cNvGraphicFramePr>
            <a:graphicFrameLocks/>
          </p:cNvGraphicFramePr>
          <p:nvPr>
            <p:custDataLst>
              <p:tags r:id="rId1"/>
            </p:custDataLst>
            <p:extLst>
              <p:ext uri="{D42A27DB-BD31-4B8C-83A1-F6EECF244321}">
                <p14:modId xmlns:p14="http://schemas.microsoft.com/office/powerpoint/2010/main" val="2222610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7EC1349-F68B-2825-FC4F-8A4D41367CB4}"/>
              </a:ext>
            </a:extLst>
          </p:cNvPr>
          <p:cNvSpPr>
            <a:spLocks noGrp="1"/>
          </p:cNvSpPr>
          <p:nvPr>
            <p:ph type="title"/>
          </p:nvPr>
        </p:nvSpPr>
        <p:spPr/>
        <p:txBody>
          <a:bodyPr vert="horz" rIns="91440"/>
          <a:lstStyle/>
          <a:p>
            <a:r>
              <a:rPr lang="en-US" dirty="0"/>
              <a:t>OBBBA keeps IRA 45Y and 48E incentives for geothermal power until 2035; foreign entity of concern (FEOC) rules apply after 2026</a:t>
            </a:r>
          </a:p>
        </p:txBody>
      </p:sp>
      <p:sp>
        <p:nvSpPr>
          <p:cNvPr id="4" name="Footer Placeholder 3">
            <a:extLst>
              <a:ext uri="{FF2B5EF4-FFF2-40B4-BE49-F238E27FC236}">
                <a16:creationId xmlns:a16="http://schemas.microsoft.com/office/drawing/2014/main" id="{48847E1D-E65E-AB96-6267-589110307966}"/>
              </a:ext>
            </a:extLst>
          </p:cNvPr>
          <p:cNvSpPr>
            <a:spLocks noGrp="1"/>
          </p:cNvSpPr>
          <p:nvPr>
            <p:ph type="ftr" sz="quarter" idx="3"/>
          </p:nvPr>
        </p:nvSpPr>
        <p:spPr>
          <a:xfrm>
            <a:off x="334962" y="6217432"/>
            <a:ext cx="9147241" cy="216706"/>
          </a:xfrm>
        </p:spPr>
        <p:txBody>
          <a:bodyPr/>
          <a:lstStyle/>
          <a:p>
            <a:r>
              <a:rPr lang="en-US" dirty="0">
                <a:solidFill>
                  <a:srgbClr val="000000"/>
                </a:solidFill>
              </a:rPr>
              <a:t>Sources: </a:t>
            </a:r>
            <a:r>
              <a:rPr lang="en-US" dirty="0">
                <a:solidFill>
                  <a:srgbClr val="000000"/>
                </a:solidFill>
                <a:hlinkClick r:id="rId12"/>
              </a:rPr>
              <a:t>Evaluating the OBBBA’s Energy Provisions</a:t>
            </a:r>
            <a:r>
              <a:rPr lang="en-US" dirty="0">
                <a:solidFill>
                  <a:srgbClr val="000000"/>
                </a:solidFill>
              </a:rPr>
              <a:t> (American Action Forum, 2025); </a:t>
            </a:r>
            <a:r>
              <a:rPr lang="en-US" dirty="0">
                <a:solidFill>
                  <a:srgbClr val="000000"/>
                </a:solidFill>
                <a:hlinkClick r:id="rId13"/>
              </a:rPr>
              <a:t>Declaring a National Energy Emergency</a:t>
            </a:r>
            <a:r>
              <a:rPr lang="en-US" dirty="0">
                <a:solidFill>
                  <a:srgbClr val="000000"/>
                </a:solidFill>
              </a:rPr>
              <a:t> (White House, 2025); </a:t>
            </a:r>
            <a:r>
              <a:rPr lang="en-US" dirty="0">
                <a:solidFill>
                  <a:srgbClr val="000000"/>
                </a:solidFill>
                <a:hlinkClick r:id="rId14"/>
              </a:rPr>
              <a:t>Protecting American Energy from State Overreach</a:t>
            </a:r>
            <a:r>
              <a:rPr lang="en-US" dirty="0">
                <a:solidFill>
                  <a:srgbClr val="000000"/>
                </a:solidFill>
              </a:rPr>
              <a:t> (White House, 2025); </a:t>
            </a:r>
            <a:r>
              <a:rPr lang="en-US" dirty="0">
                <a:solidFill>
                  <a:srgbClr val="000000"/>
                </a:solidFill>
                <a:hlinkClick r:id="rId15"/>
              </a:rPr>
              <a:t>Unleash Golden Era of American Energy Dominance</a:t>
            </a:r>
            <a:r>
              <a:rPr lang="en-US" dirty="0">
                <a:solidFill>
                  <a:srgbClr val="000000"/>
                </a:solidFill>
              </a:rPr>
              <a:t> (U.S. DOE, 2025); </a:t>
            </a:r>
            <a:r>
              <a:rPr lang="en-US" dirty="0">
                <a:solidFill>
                  <a:srgbClr val="000000"/>
                </a:solidFill>
                <a:hlinkClick r:id="rId16"/>
              </a:rPr>
              <a:t>Multi-Year Program Plan</a:t>
            </a:r>
            <a:r>
              <a:rPr lang="en-US" dirty="0">
                <a:solidFill>
                  <a:srgbClr val="000000"/>
                </a:solidFill>
              </a:rPr>
              <a:t> (DOE, GTO, 2022); </a:t>
            </a:r>
            <a:r>
              <a:rPr lang="en-US" dirty="0">
                <a:solidFill>
                  <a:srgbClr val="000000"/>
                </a:solidFill>
                <a:hlinkClick r:id="rId17"/>
              </a:rPr>
              <a:t>Geothermal Technologies Office</a:t>
            </a:r>
            <a:r>
              <a:rPr lang="en-US" dirty="0">
                <a:solidFill>
                  <a:srgbClr val="000000"/>
                </a:solidFill>
              </a:rPr>
              <a:t> (DOE, 2025).</a:t>
            </a:r>
            <a:br>
              <a:rPr lang="en-US" dirty="0"/>
            </a:br>
            <a:r>
              <a:rPr lang="en-US" dirty="0">
                <a:solidFill>
                  <a:srgbClr val="000000"/>
                </a:solidFill>
              </a:rPr>
              <a:t>Credit: Ariela Farchi, Brenda Rain, Clara Zibell, Quint </a:t>
            </a:r>
            <a:r>
              <a:rPr lang="en-US" dirty="0" err="1">
                <a:solidFill>
                  <a:srgbClr val="000000"/>
                </a:solidFill>
              </a:rPr>
              <a:t>Houwink</a:t>
            </a:r>
            <a:r>
              <a:rPr lang="en-US" dirty="0">
                <a:solidFill>
                  <a:srgbClr val="000000"/>
                </a:solidFill>
              </a:rPr>
              <a:t>, and </a:t>
            </a:r>
            <a:r>
              <a:rPr lang="en-US" dirty="0">
                <a:solidFill>
                  <a:srgbClr val="000000"/>
                </a:solidFill>
                <a:hlinkClick r:id="rId18"/>
              </a:rPr>
              <a:t>Gernot Wagner</a:t>
            </a:r>
            <a:r>
              <a:rPr lang="en-US" dirty="0">
                <a:solidFill>
                  <a:srgbClr val="000000"/>
                </a:solidFill>
              </a:rPr>
              <a:t>. </a:t>
            </a:r>
            <a:r>
              <a:rPr lang="en-US" dirty="0">
                <a:solidFill>
                  <a:srgbClr val="000000">
                    <a:tint val="82000"/>
                  </a:srgbClr>
                </a:solidFill>
                <a:hlinkClick r:id="rId1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A706D574-25CC-4144-4072-0B7F2DEE9A8F}"/>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United States</a:t>
            </a:r>
          </a:p>
        </p:txBody>
      </p:sp>
      <p:sp>
        <p:nvSpPr>
          <p:cNvPr id="7" name="TextBox 6">
            <a:extLst>
              <a:ext uri="{FF2B5EF4-FFF2-40B4-BE49-F238E27FC236}">
                <a16:creationId xmlns:a16="http://schemas.microsoft.com/office/drawing/2014/main" id="{B2CB30B4-AC82-C9FB-0A7C-4A5DDC221865}"/>
              </a:ext>
            </a:extLst>
          </p:cNvPr>
          <p:cNvSpPr txBox="1"/>
          <p:nvPr/>
        </p:nvSpPr>
        <p:spPr bwMode="gray">
          <a:xfrm>
            <a:off x="8854739" y="1703388"/>
            <a:ext cx="1846394" cy="253916"/>
          </a:xfrm>
          <a:prstGeom prst="rect">
            <a:avLst/>
          </a:prstGeom>
          <a:solidFill>
            <a:schemeClr val="bg1"/>
          </a:solidFill>
          <a:ln>
            <a:solidFill>
              <a:schemeClr val="bg1"/>
            </a:solidFill>
          </a:ln>
        </p:spPr>
        <p:txBody>
          <a:bodyPr wrap="square" lIns="91440" tIns="45720" rIns="91440" bIns="45720" anchor="t">
            <a:spAutoFit/>
          </a:bodyPr>
          <a:lstStyle/>
          <a:p>
            <a:pPr marL="0" lvl="0" indent="0">
              <a:spcBef>
                <a:spcPts val="150"/>
              </a:spcBef>
              <a:spcAft>
                <a:spcPts val="100"/>
              </a:spcAft>
              <a:buNone/>
            </a:pPr>
            <a:r>
              <a:rPr lang="en-US" altLang="zh-CN" sz="1050" dirty="0">
                <a:latin typeface="Arial"/>
                <a:ea typeface="宋体"/>
                <a:cs typeface="Arial"/>
              </a:rPr>
              <a:t>P</a:t>
            </a:r>
            <a:r>
              <a:rPr lang="en-US" altLang="zh-CN" sz="1050" i="0" dirty="0">
                <a:solidFill>
                  <a:schemeClr val="tx1"/>
                </a:solidFill>
                <a:effectLst/>
                <a:latin typeface="Arial"/>
                <a:ea typeface="宋体"/>
                <a:cs typeface="Arial"/>
              </a:rPr>
              <a:t>reserve</a:t>
            </a:r>
            <a:r>
              <a:rPr lang="en-US" altLang="zh-CN" sz="1050" dirty="0">
                <a:latin typeface="Arial"/>
                <a:ea typeface="宋体"/>
                <a:cs typeface="Arial"/>
              </a:rPr>
              <a:t>d</a:t>
            </a:r>
            <a:endParaRPr lang="en-US" dirty="0"/>
          </a:p>
        </p:txBody>
      </p:sp>
      <p:sp>
        <p:nvSpPr>
          <p:cNvPr id="8" name="TextBox 7">
            <a:extLst>
              <a:ext uri="{FF2B5EF4-FFF2-40B4-BE49-F238E27FC236}">
                <a16:creationId xmlns:a16="http://schemas.microsoft.com/office/drawing/2014/main" id="{B6FBA5CF-D197-7824-5AB8-A86A00A90CDE}"/>
              </a:ext>
            </a:extLst>
          </p:cNvPr>
          <p:cNvSpPr txBox="1"/>
          <p:nvPr>
            <p:custDataLst>
              <p:tags r:id="rId2"/>
            </p:custDataLst>
          </p:nvPr>
        </p:nvSpPr>
        <p:spPr bwMode="gray">
          <a:xfrm>
            <a:off x="323999" y="1395413"/>
            <a:ext cx="4167039" cy="276998"/>
          </a:xfrm>
          <a:prstGeom prst="rect">
            <a:avLst/>
          </a:prstGeom>
          <a:solidFill>
            <a:schemeClr val="tx2"/>
          </a:solidFill>
          <a:ln>
            <a:solidFill>
              <a:schemeClr val="bg2"/>
            </a:solidFill>
          </a:ln>
        </p:spPr>
        <p:txBody>
          <a:bodyPr wrap="square">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dirty="0">
                <a:latin typeface="+mn-lt"/>
              </a:rPr>
              <a:t>Inflation Reduction Act (</a:t>
            </a:r>
            <a:r>
              <a:rPr lang="en-US" sz="1200" b="1" dirty="0"/>
              <a:t>IRA)</a:t>
            </a:r>
            <a:r>
              <a:rPr lang="en-US" sz="1200" b="1" dirty="0">
                <a:latin typeface="+mn-lt"/>
              </a:rPr>
              <a:t> </a:t>
            </a:r>
          </a:p>
        </p:txBody>
      </p:sp>
      <p:sp>
        <p:nvSpPr>
          <p:cNvPr id="9" name="TextBox 8">
            <a:extLst>
              <a:ext uri="{FF2B5EF4-FFF2-40B4-BE49-F238E27FC236}">
                <a16:creationId xmlns:a16="http://schemas.microsoft.com/office/drawing/2014/main" id="{0568D44B-7E2D-52B6-914A-51355646D1CD}"/>
              </a:ext>
            </a:extLst>
          </p:cNvPr>
          <p:cNvSpPr txBox="1"/>
          <p:nvPr>
            <p:custDataLst>
              <p:tags r:id="rId3"/>
            </p:custDataLst>
          </p:nvPr>
        </p:nvSpPr>
        <p:spPr bwMode="gray">
          <a:xfrm>
            <a:off x="4491039" y="1395413"/>
            <a:ext cx="7021257" cy="276999"/>
          </a:xfrm>
          <a:prstGeom prst="rect">
            <a:avLst/>
          </a:prstGeom>
          <a:solidFill>
            <a:schemeClr val="tx2"/>
          </a:solidFill>
          <a:ln>
            <a:solidFill>
              <a:schemeClr val="bg2"/>
            </a:solidFill>
          </a:ln>
        </p:spPr>
        <p:txBody>
          <a:bodyPr wrap="square" lIns="91440" tIns="45720" rIns="91440" bIns="45720" anchor="t">
            <a:spAutoFit/>
          </a:bodyPr>
          <a:lstStyle/>
          <a:p>
            <a:pPr marL="0" lvl="0" indent="0" algn="ctr" defTabSz="711200">
              <a:spcBef>
                <a:spcPts val="1200"/>
              </a:spcBef>
              <a:buNone/>
              <a:defRPr/>
            </a:pPr>
            <a:r>
              <a:rPr lang="en-US" sz="1200" b="1" dirty="0"/>
              <a:t>One Big Beautiful Bill Act (OBBBA) </a:t>
            </a:r>
            <a:endParaRPr lang="en-US" dirty="0"/>
          </a:p>
        </p:txBody>
      </p:sp>
      <p:graphicFrame>
        <p:nvGraphicFramePr>
          <p:cNvPr id="28" name="Chart 27">
            <a:extLst>
              <a:ext uri="{FF2B5EF4-FFF2-40B4-BE49-F238E27FC236}">
                <a16:creationId xmlns:a16="http://schemas.microsoft.com/office/drawing/2014/main" id="{C6D91757-FE93-9F6B-BDD8-DE3BE834ADDF}"/>
              </a:ext>
            </a:extLst>
          </p:cNvPr>
          <p:cNvGraphicFramePr/>
          <p:nvPr>
            <p:custDataLst>
              <p:tags r:id="rId4"/>
            </p:custDataLst>
            <p:extLst>
              <p:ext uri="{D42A27DB-BD31-4B8C-83A1-F6EECF244321}">
                <p14:modId xmlns:p14="http://schemas.microsoft.com/office/powerpoint/2010/main" val="3799849043"/>
              </p:ext>
            </p:extLst>
          </p:nvPr>
        </p:nvGraphicFramePr>
        <p:xfrm>
          <a:off x="47625" y="3302000"/>
          <a:ext cx="11763375" cy="668338"/>
        </p:xfrm>
        <a:graphic>
          <a:graphicData uri="http://schemas.openxmlformats.org/drawingml/2006/chart">
            <c:chart xmlns:c="http://schemas.openxmlformats.org/drawingml/2006/chart" xmlns:r="http://schemas.openxmlformats.org/officeDocument/2006/relationships" r:id="rId20"/>
          </a:graphicData>
        </a:graphic>
      </p:graphicFrame>
      <p:sp>
        <p:nvSpPr>
          <p:cNvPr id="11" name="TextBox 10">
            <a:extLst>
              <a:ext uri="{FF2B5EF4-FFF2-40B4-BE49-F238E27FC236}">
                <a16:creationId xmlns:a16="http://schemas.microsoft.com/office/drawing/2014/main" id="{833F8451-6F5B-91C5-C25E-AFC1C2D95DF1}"/>
              </a:ext>
            </a:extLst>
          </p:cNvPr>
          <p:cNvSpPr txBox="1"/>
          <p:nvPr>
            <p:custDataLst>
              <p:tags r:id="rId5"/>
            </p:custDataLst>
          </p:nvPr>
        </p:nvSpPr>
        <p:spPr bwMode="gray">
          <a:xfrm>
            <a:off x="10137164" y="1703388"/>
            <a:ext cx="1485175" cy="253916"/>
          </a:xfrm>
          <a:prstGeom prst="rect">
            <a:avLst/>
          </a:prstGeom>
          <a:solidFill>
            <a:schemeClr val="bg1"/>
          </a:solidFill>
          <a:ln>
            <a:solidFill>
              <a:schemeClr val="bg1"/>
            </a:solidFill>
          </a:ln>
        </p:spPr>
        <p:txBody>
          <a:bodyPr wrap="square" lIns="91440" tIns="45720" rIns="91440" bIns="45720" anchor="t">
            <a:spAutoFit/>
          </a:bodyPr>
          <a:lstStyle/>
          <a:p>
            <a:pPr marL="0" lvl="0" indent="0">
              <a:spcBef>
                <a:spcPts val="150"/>
              </a:spcBef>
              <a:spcAft>
                <a:spcPts val="100"/>
              </a:spcAft>
              <a:buNone/>
            </a:pPr>
            <a:r>
              <a:rPr lang="en-US" altLang="zh-CN" sz="1050" i="0" dirty="0">
                <a:solidFill>
                  <a:schemeClr val="tx1"/>
                </a:solidFill>
                <a:effectLst/>
                <a:latin typeface="Arial"/>
                <a:ea typeface="宋体"/>
                <a:cs typeface="Arial"/>
              </a:rPr>
              <a:t>Early expiration</a:t>
            </a:r>
            <a:endParaRPr lang="en-US" dirty="0"/>
          </a:p>
        </p:txBody>
      </p:sp>
      <p:sp>
        <p:nvSpPr>
          <p:cNvPr id="12" name="Speech Bubble: Rectangle 2281">
            <a:extLst>
              <a:ext uri="{FF2B5EF4-FFF2-40B4-BE49-F238E27FC236}">
                <a16:creationId xmlns:a16="http://schemas.microsoft.com/office/drawing/2014/main" id="{4C85A661-1FD2-2287-39AA-AB0E9269AC86}"/>
              </a:ext>
            </a:extLst>
          </p:cNvPr>
          <p:cNvSpPr/>
          <p:nvPr/>
        </p:nvSpPr>
        <p:spPr bwMode="gray">
          <a:xfrm flipH="1">
            <a:off x="4966833" y="2103438"/>
            <a:ext cx="3514725" cy="520388"/>
          </a:xfrm>
          <a:prstGeom prst="wedgeRectCallout">
            <a:avLst>
              <a:gd name="adj1" fmla="val 57301"/>
              <a:gd name="adj2" fmla="val -12898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All projects onward will be affected by stricter </a:t>
            </a:r>
            <a:br>
              <a:rPr lang="en-US" sz="1000" b="1" dirty="0">
                <a:solidFill>
                  <a:schemeClr val="bg1"/>
                </a:solidFill>
              </a:rPr>
            </a:br>
            <a:r>
              <a:rPr lang="en-US" sz="1000" b="1" dirty="0">
                <a:solidFill>
                  <a:schemeClr val="bg1"/>
                </a:solidFill>
              </a:rPr>
              <a:t>FEOC restrictions. </a:t>
            </a:r>
          </a:p>
        </p:txBody>
      </p:sp>
      <p:sp>
        <p:nvSpPr>
          <p:cNvPr id="13" name="Rectangle 12">
            <a:extLst>
              <a:ext uri="{FF2B5EF4-FFF2-40B4-BE49-F238E27FC236}">
                <a16:creationId xmlns:a16="http://schemas.microsoft.com/office/drawing/2014/main" id="{E1625EA4-1B20-0B65-FEE6-FC9E05CF52DB}"/>
              </a:ext>
            </a:extLst>
          </p:cNvPr>
          <p:cNvSpPr/>
          <p:nvPr/>
        </p:nvSpPr>
        <p:spPr bwMode="gray">
          <a:xfrm flipV="1">
            <a:off x="347663" y="3443288"/>
            <a:ext cx="11164633" cy="97253"/>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093EFD1C-C604-C388-4AF9-3CABDD665EC9}"/>
              </a:ext>
            </a:extLst>
          </p:cNvPr>
          <p:cNvSpPr/>
          <p:nvPr/>
        </p:nvSpPr>
        <p:spPr bwMode="gray">
          <a:xfrm>
            <a:off x="8583111" y="1776413"/>
            <a:ext cx="301752" cy="109728"/>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TextBox 14">
            <a:extLst>
              <a:ext uri="{FF2B5EF4-FFF2-40B4-BE49-F238E27FC236}">
                <a16:creationId xmlns:a16="http://schemas.microsoft.com/office/drawing/2014/main" id="{6C964A00-BD4C-FC7E-2199-96842867ECE4}"/>
              </a:ext>
            </a:extLst>
          </p:cNvPr>
          <p:cNvSpPr txBox="1"/>
          <p:nvPr>
            <p:custDataLst>
              <p:tags r:id="rId6"/>
            </p:custDataLst>
          </p:nvPr>
        </p:nvSpPr>
        <p:spPr bwMode="gray">
          <a:xfrm>
            <a:off x="320675" y="1679575"/>
            <a:ext cx="4167039" cy="1100301"/>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dirty="0">
                <a:cs typeface="Arial"/>
              </a:rPr>
              <a:t>45V – clean hydrogen: </a:t>
            </a:r>
            <a:r>
              <a:rPr lang="en-US" altLang="zh-CN" sz="900" dirty="0">
                <a:cs typeface="Arial"/>
              </a:rPr>
              <a:t>Credit available through 2032 for facilities that start construction. Producer can claim up to </a:t>
            </a:r>
            <a:r>
              <a:rPr lang="en-US" altLang="zh-CN" sz="900" b="1" dirty="0">
                <a:cs typeface="Arial"/>
              </a:rPr>
              <a:t>$3.0/kg </a:t>
            </a:r>
            <a:r>
              <a:rPr lang="en-US" altLang="zh-CN" sz="900" dirty="0">
                <a:cs typeface="Arial"/>
              </a:rPr>
              <a:t>until 10 years after the facility is placed into service. Under OBBBA, </a:t>
            </a:r>
            <a:r>
              <a:rPr lang="en-US" altLang="zh-CN" sz="900" b="1" dirty="0">
                <a:cs typeface="Arial"/>
              </a:rPr>
              <a:t>the credit is available only if construction starts by December 31, 2027</a:t>
            </a:r>
            <a:r>
              <a:rPr lang="en-US" altLang="zh-CN" sz="900" dirty="0">
                <a:cs typeface="Arial"/>
              </a:rPr>
              <a:t>.</a:t>
            </a:r>
          </a:p>
          <a:p>
            <a:pPr marL="171450" lvl="0" indent="-171450">
              <a:spcBef>
                <a:spcPts val="150"/>
              </a:spcBef>
              <a:spcAft>
                <a:spcPts val="100"/>
              </a:spcAft>
              <a:buFont typeface="Arial" panose="020B0604020202020204" pitchFamily="34" charset="0"/>
              <a:buChar char="•"/>
            </a:pPr>
            <a:r>
              <a:rPr lang="en-US" altLang="zh-CN" sz="900" b="1" dirty="0">
                <a:cs typeface="Arial"/>
              </a:rPr>
              <a:t>Wind and solar: 48E ITC</a:t>
            </a:r>
            <a:r>
              <a:rPr lang="en-US" altLang="zh-CN" sz="900" dirty="0">
                <a:cs typeface="Arial"/>
              </a:rPr>
              <a:t> </a:t>
            </a:r>
            <a:r>
              <a:rPr lang="en-US" altLang="zh-CN" sz="900" b="1" dirty="0">
                <a:cs typeface="Arial"/>
              </a:rPr>
              <a:t>of 6%,</a:t>
            </a:r>
            <a:r>
              <a:rPr lang="en-US" altLang="zh-CN" sz="900" dirty="0">
                <a:cs typeface="Arial"/>
              </a:rPr>
              <a:t> </a:t>
            </a:r>
            <a:r>
              <a:rPr lang="en-US" altLang="zh-CN" sz="900" b="1" dirty="0">
                <a:cs typeface="Arial"/>
              </a:rPr>
              <a:t>incrementable up to 30% and 45Y PTC</a:t>
            </a:r>
            <a:r>
              <a:rPr lang="en-US" altLang="zh-CN" sz="900" dirty="0">
                <a:cs typeface="Arial"/>
              </a:rPr>
              <a:t> </a:t>
            </a:r>
            <a:r>
              <a:rPr lang="en-US" altLang="zh-CN" sz="900" b="1" dirty="0">
                <a:cs typeface="Arial"/>
              </a:rPr>
              <a:t>of ¢0.3/kWh incremental up to ¢1.5/kWh</a:t>
            </a:r>
            <a:r>
              <a:rPr lang="en-US" altLang="zh-CN" sz="900" dirty="0">
                <a:cs typeface="Arial"/>
              </a:rPr>
              <a:t>.</a:t>
            </a:r>
            <a:r>
              <a:rPr lang="en-US" altLang="zh-CN" sz="900" b="1" dirty="0">
                <a:cs typeface="Arial"/>
              </a:rPr>
              <a:t> </a:t>
            </a:r>
            <a:r>
              <a:rPr lang="en-US" altLang="zh-CN" sz="900" dirty="0">
                <a:cs typeface="Arial"/>
              </a:rPr>
              <a:t>Facilities must be constructed </a:t>
            </a:r>
            <a:r>
              <a:rPr lang="en-US" altLang="zh-CN" sz="900" b="1" dirty="0">
                <a:cs typeface="Arial"/>
              </a:rPr>
              <a:t>by July 2026 or placed in service by December 31, 2027. </a:t>
            </a:r>
          </a:p>
        </p:txBody>
      </p:sp>
      <p:sp>
        <p:nvSpPr>
          <p:cNvPr id="16" name="Rectangle 15">
            <a:extLst>
              <a:ext uri="{FF2B5EF4-FFF2-40B4-BE49-F238E27FC236}">
                <a16:creationId xmlns:a16="http://schemas.microsoft.com/office/drawing/2014/main" id="{809E4F46-8ED7-F03A-F4DC-A897F410EA72}"/>
              </a:ext>
            </a:extLst>
          </p:cNvPr>
          <p:cNvSpPr/>
          <p:nvPr/>
        </p:nvSpPr>
        <p:spPr bwMode="gray">
          <a:xfrm flipV="1">
            <a:off x="320675" y="2870200"/>
            <a:ext cx="11191621" cy="117232"/>
          </a:xfrm>
          <a:prstGeom prst="rect">
            <a:avLst/>
          </a:prstGeom>
          <a:gradFill>
            <a:gsLst>
              <a:gs pos="55000">
                <a:schemeClr val="accent6"/>
              </a:gs>
              <a:gs pos="74000">
                <a:srgbClr val="FFFFFF"/>
              </a:gs>
              <a:gs pos="71000">
                <a:srgbClr val="FFFFFF"/>
              </a:gs>
              <a:gs pos="79000">
                <a:schemeClr val="bg1"/>
              </a:gs>
              <a:gs pos="64000">
                <a:srgbClr val="FFFFFF"/>
              </a:gs>
              <a:gs pos="55000">
                <a:schemeClr val="bg1"/>
              </a:gs>
            </a:gsLst>
            <a:lin ang="0" scaled="1"/>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TextBox 16">
            <a:extLst>
              <a:ext uri="{FF2B5EF4-FFF2-40B4-BE49-F238E27FC236}">
                <a16:creationId xmlns:a16="http://schemas.microsoft.com/office/drawing/2014/main" id="{4ADA77BA-BB8C-1D67-8F7F-56B56D020EF2}"/>
              </a:ext>
            </a:extLst>
          </p:cNvPr>
          <p:cNvSpPr txBox="1"/>
          <p:nvPr>
            <p:custDataLst>
              <p:tags r:id="rId7"/>
            </p:custDataLst>
          </p:nvPr>
        </p:nvSpPr>
        <p:spPr bwMode="gray">
          <a:xfrm>
            <a:off x="320675" y="3028950"/>
            <a:ext cx="11191621" cy="230832"/>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dirty="0">
                <a:cs typeface="Arial"/>
              </a:rPr>
              <a:t>48E/45Y ‒ geothermal: </a:t>
            </a:r>
            <a:r>
              <a:rPr lang="en-US" altLang="zh-CN" sz="900" dirty="0">
                <a:cs typeface="Arial"/>
              </a:rPr>
              <a:t>Preserved in full; sourcing rules apply after 2028. Phaseout set to begin in 2033, through 2035.</a:t>
            </a:r>
            <a:endParaRPr lang="en-US" altLang="zh-CN" sz="900" b="1" dirty="0">
              <a:cs typeface="Arial"/>
            </a:endParaRPr>
          </a:p>
        </p:txBody>
      </p:sp>
      <p:grpSp>
        <p:nvGrpSpPr>
          <p:cNvPr id="18" name="Group 17">
            <a:extLst>
              <a:ext uri="{FF2B5EF4-FFF2-40B4-BE49-F238E27FC236}">
                <a16:creationId xmlns:a16="http://schemas.microsoft.com/office/drawing/2014/main" id="{AC8A1AFF-F8DB-07D0-B9B1-96E7E975FE75}"/>
              </a:ext>
            </a:extLst>
          </p:cNvPr>
          <p:cNvGrpSpPr/>
          <p:nvPr/>
        </p:nvGrpSpPr>
        <p:grpSpPr>
          <a:xfrm>
            <a:off x="347663" y="4111625"/>
            <a:ext cx="7945438" cy="2074097"/>
            <a:chOff x="2146883" y="4321497"/>
            <a:chExt cx="7598048" cy="2074097"/>
          </a:xfrm>
        </p:grpSpPr>
        <p:sp>
          <p:nvSpPr>
            <p:cNvPr id="19" name="TextBox 18">
              <a:extLst>
                <a:ext uri="{FF2B5EF4-FFF2-40B4-BE49-F238E27FC236}">
                  <a16:creationId xmlns:a16="http://schemas.microsoft.com/office/drawing/2014/main" id="{249CCAA1-D45C-E1CB-5859-7C4D849BF915}"/>
                </a:ext>
              </a:extLst>
            </p:cNvPr>
            <p:cNvSpPr txBox="1"/>
            <p:nvPr>
              <p:custDataLst>
                <p:tags r:id="rId8"/>
              </p:custDataLst>
            </p:nvPr>
          </p:nvSpPr>
          <p:spPr bwMode="gray">
            <a:xfrm>
              <a:off x="2146884" y="4364269"/>
              <a:ext cx="7598047" cy="2031325"/>
            </a:xfrm>
            <a:prstGeom prst="rect">
              <a:avLst/>
            </a:prstGeom>
            <a:solidFill>
              <a:schemeClr val="accent5">
                <a:lumMod val="20000"/>
                <a:lumOff val="80000"/>
              </a:schemeClr>
            </a:solidFill>
            <a:ln>
              <a:noFill/>
              <a:prstDash val="dash"/>
            </a:ln>
          </p:spPr>
          <p:txBody>
            <a:bodyPr wrap="square" lIns="91440" tIns="45720" rIns="91440" bIns="45720" anchor="t">
              <a:spAutoFit/>
            </a:bodyPr>
            <a:lstStyle/>
            <a:p>
              <a:pPr marL="0" indent="0">
                <a:spcBef>
                  <a:spcPts val="150"/>
                </a:spcBef>
                <a:spcAft>
                  <a:spcPts val="100"/>
                </a:spcAft>
                <a:buNone/>
              </a:pPr>
              <a:endParaRPr lang="en-US" altLang="zh-CN" sz="1400" dirty="0">
                <a:cs typeface="Arial"/>
              </a:endParaRPr>
            </a:p>
            <a:p>
              <a:pPr marL="0" indent="0">
                <a:spcBef>
                  <a:spcPts val="150"/>
                </a:spcBef>
                <a:spcAft>
                  <a:spcPts val="100"/>
                </a:spcAft>
                <a:buNone/>
              </a:pPr>
              <a:r>
                <a:rPr lang="en-US" altLang="zh-CN" sz="1200" b="1" dirty="0">
                  <a:cs typeface="Arial"/>
                </a:rPr>
                <a:t>Executive Order: Declaring a National Energy Emergency</a:t>
              </a:r>
            </a:p>
            <a:p>
              <a:pPr>
                <a:spcBef>
                  <a:spcPts val="150"/>
                </a:spcBef>
                <a:spcAft>
                  <a:spcPts val="100"/>
                </a:spcAft>
              </a:pPr>
              <a:r>
                <a:rPr lang="en-US" altLang="zh-CN" sz="1000" b="1" dirty="0">
                  <a:cs typeface="Arial"/>
                </a:rPr>
                <a:t>Cites geothermal heat under </a:t>
              </a:r>
              <a:r>
                <a:rPr lang="en-US" altLang="zh-CN" sz="1000" dirty="0">
                  <a:cs typeface="Arial"/>
                </a:rPr>
                <a:t>the definitions for the terms </a:t>
              </a:r>
              <a:r>
                <a:rPr lang="en-US" altLang="zh-CN" sz="1000" b="1" i="1" dirty="0">
                  <a:cs typeface="Arial"/>
                </a:rPr>
                <a:t>energy</a:t>
              </a:r>
              <a:r>
                <a:rPr lang="en-US" altLang="zh-CN" sz="1000" b="1" dirty="0">
                  <a:cs typeface="Arial"/>
                </a:rPr>
                <a:t> or </a:t>
              </a:r>
              <a:r>
                <a:rPr lang="en-US" altLang="zh-CN" sz="1000" b="1" i="1" dirty="0">
                  <a:cs typeface="Arial"/>
                </a:rPr>
                <a:t>energy resource</a:t>
              </a:r>
              <a:r>
                <a:rPr lang="en-US" altLang="zh-CN" sz="1000" dirty="0">
                  <a:cs typeface="Arial"/>
                </a:rPr>
                <a:t>, 30 U.S.C. 1606 (a)(3).</a:t>
              </a:r>
            </a:p>
            <a:p>
              <a:pPr marL="0" indent="0">
                <a:spcBef>
                  <a:spcPts val="150"/>
                </a:spcBef>
                <a:spcAft>
                  <a:spcPts val="100"/>
                </a:spcAft>
                <a:buNone/>
              </a:pPr>
              <a:r>
                <a:rPr lang="en-US" altLang="zh-CN" sz="1200" b="1" dirty="0">
                  <a:cs typeface="Arial"/>
                </a:rPr>
                <a:t>Executive Order: Protecting American Energy from State Overreach</a:t>
              </a:r>
            </a:p>
            <a:p>
              <a:pPr>
                <a:spcBef>
                  <a:spcPts val="150"/>
                </a:spcBef>
                <a:spcAft>
                  <a:spcPts val="100"/>
                </a:spcAft>
              </a:pPr>
              <a:r>
                <a:rPr lang="en-US" altLang="zh-CN" sz="1000" dirty="0">
                  <a:cs typeface="Arial"/>
                </a:rPr>
                <a:t>States intention to </a:t>
              </a:r>
              <a:r>
                <a:rPr lang="en-US" altLang="zh-CN" sz="1000" b="1" dirty="0">
                  <a:cs typeface="Arial"/>
                </a:rPr>
                <a:t>remove illegitimate impediments </a:t>
              </a:r>
              <a:r>
                <a:rPr lang="en-US" altLang="zh-CN" sz="1000" dirty="0">
                  <a:cs typeface="Arial"/>
                </a:rPr>
                <a:t>for the discovery and production of geothermal power. </a:t>
              </a:r>
            </a:p>
            <a:p>
              <a:pPr marL="0" indent="0">
                <a:spcBef>
                  <a:spcPts val="150"/>
                </a:spcBef>
                <a:spcAft>
                  <a:spcPts val="100"/>
                </a:spcAft>
                <a:buNone/>
              </a:pPr>
              <a:r>
                <a:rPr lang="en-US" altLang="zh-CN" sz="1200" b="1" dirty="0">
                  <a:cs typeface="Arial"/>
                </a:rPr>
                <a:t>Secretarial Order: Unleash Golden Era of American Energy Dominance</a:t>
              </a:r>
            </a:p>
            <a:p>
              <a:pPr>
                <a:spcBef>
                  <a:spcPts val="150"/>
                </a:spcBef>
                <a:spcAft>
                  <a:spcPts val="100"/>
                </a:spcAft>
              </a:pPr>
              <a:r>
                <a:rPr lang="en-US" altLang="zh-CN" sz="1000" dirty="0">
                  <a:cs typeface="Arial"/>
                </a:rPr>
                <a:t>States intention to </a:t>
              </a:r>
              <a:r>
                <a:rPr lang="en-US" altLang="zh-CN" sz="1000" b="1" dirty="0">
                  <a:cs typeface="Arial"/>
                </a:rPr>
                <a:t>focus time, resources, and technologies </a:t>
              </a:r>
              <a:r>
                <a:rPr lang="en-US" altLang="zh-CN" sz="1000" dirty="0">
                  <a:cs typeface="Arial"/>
                </a:rPr>
                <a:t>of the DOE’s R&amp;D</a:t>
              </a:r>
              <a:r>
                <a:rPr lang="en-US" altLang="zh-CN" sz="1000" b="1" dirty="0">
                  <a:cs typeface="Arial"/>
                </a:rPr>
                <a:t> toward the development of geothermal</a:t>
              </a:r>
              <a:r>
                <a:rPr lang="en-US" altLang="zh-CN" sz="1000" dirty="0">
                  <a:cs typeface="Arial"/>
                </a:rPr>
                <a:t>.</a:t>
              </a:r>
            </a:p>
            <a:p>
              <a:pPr marL="0" indent="0">
                <a:spcBef>
                  <a:spcPts val="150"/>
                </a:spcBef>
                <a:spcAft>
                  <a:spcPts val="100"/>
                </a:spcAft>
                <a:buNone/>
              </a:pPr>
              <a:r>
                <a:rPr lang="en-US" altLang="zh-CN" sz="1200" b="1" dirty="0">
                  <a:cs typeface="Arial"/>
                </a:rPr>
                <a:t>DOE </a:t>
              </a:r>
              <a:r>
                <a:rPr lang="en-US" sz="1200" b="1" dirty="0"/>
                <a:t>Office of Hydrocarbons and Geothermal</a:t>
              </a:r>
            </a:p>
            <a:p>
              <a:pPr>
                <a:spcBef>
                  <a:spcPts val="150"/>
                </a:spcBef>
                <a:spcAft>
                  <a:spcPts val="100"/>
                </a:spcAft>
              </a:pPr>
              <a:r>
                <a:rPr lang="en-US" altLang="zh-CN" sz="1000" dirty="0">
                  <a:cs typeface="Arial"/>
                </a:rPr>
                <a:t>Supports the </a:t>
              </a:r>
              <a:r>
                <a:rPr lang="en-US" altLang="zh-CN" sz="1000" b="1" dirty="0">
                  <a:cs typeface="Arial"/>
                </a:rPr>
                <a:t>development of EGS and superhot technologies </a:t>
              </a:r>
              <a:r>
                <a:rPr lang="en-US" altLang="zh-CN" sz="1000" dirty="0">
                  <a:cs typeface="Arial"/>
                </a:rPr>
                <a:t>through financing and R&amp;D efforts. </a:t>
              </a:r>
            </a:p>
          </p:txBody>
        </p:sp>
        <p:sp>
          <p:nvSpPr>
            <p:cNvPr id="20" name="Rectangle 19">
              <a:extLst>
                <a:ext uri="{FF2B5EF4-FFF2-40B4-BE49-F238E27FC236}">
                  <a16:creationId xmlns:a16="http://schemas.microsoft.com/office/drawing/2014/main" id="{C2B5731D-033B-76C9-4BCC-92B083AF07E3}"/>
                </a:ext>
              </a:extLst>
            </p:cNvPr>
            <p:cNvSpPr/>
            <p:nvPr/>
          </p:nvSpPr>
          <p:spPr bwMode="gray">
            <a:xfrm>
              <a:off x="2146883" y="4321497"/>
              <a:ext cx="7598048" cy="2893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dirty="0">
                  <a:solidFill>
                    <a:srgbClr val="FFFFFF"/>
                  </a:solidFill>
                </a:rPr>
                <a:t>Geothermal Power Under Trump Administration</a:t>
              </a:r>
            </a:p>
          </p:txBody>
        </p:sp>
      </p:grpSp>
      <p:sp>
        <p:nvSpPr>
          <p:cNvPr id="21" name="Rectangular Callout 20">
            <a:extLst>
              <a:ext uri="{FF2B5EF4-FFF2-40B4-BE49-F238E27FC236}">
                <a16:creationId xmlns:a16="http://schemas.microsoft.com/office/drawing/2014/main" id="{B0680E59-C6AF-7BC1-D85D-31DFB4E954C2}"/>
              </a:ext>
            </a:extLst>
          </p:cNvPr>
          <p:cNvSpPr/>
          <p:nvPr/>
        </p:nvSpPr>
        <p:spPr bwMode="gray">
          <a:xfrm>
            <a:off x="8543925" y="5278438"/>
            <a:ext cx="2968371" cy="603565"/>
          </a:xfrm>
          <a:prstGeom prst="wedgeRectCallout">
            <a:avLst>
              <a:gd name="adj1" fmla="val -62955"/>
              <a:gd name="adj2" fmla="val 46874"/>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rgbClr val="FFFFFF"/>
                </a:solidFill>
              </a:rPr>
              <a:t>The GTO’s programs are building toward their strategic goal of </a:t>
            </a:r>
            <a:r>
              <a:rPr lang="en-US" sz="1000" b="1" dirty="0">
                <a:solidFill>
                  <a:srgbClr val="FFFFFF"/>
                </a:solidFill>
              </a:rPr>
              <a:t>supplying 60 GW of EGS and hydrothermal resources deployment by 2050.</a:t>
            </a:r>
            <a:endParaRPr lang="en-US" sz="1000" dirty="0">
              <a:solidFill>
                <a:srgbClr val="FFFFFF"/>
              </a:solidFill>
            </a:endParaRPr>
          </a:p>
        </p:txBody>
      </p:sp>
      <p:sp>
        <p:nvSpPr>
          <p:cNvPr id="22" name="Rectangle 21">
            <a:extLst>
              <a:ext uri="{FF2B5EF4-FFF2-40B4-BE49-F238E27FC236}">
                <a16:creationId xmlns:a16="http://schemas.microsoft.com/office/drawing/2014/main" id="{4EF1AEC4-2706-5C3C-E297-F1D631ECC8D5}"/>
              </a:ext>
            </a:extLst>
          </p:cNvPr>
          <p:cNvSpPr/>
          <p:nvPr/>
        </p:nvSpPr>
        <p:spPr bwMode="gray">
          <a:xfrm>
            <a:off x="9777936" y="1766888"/>
            <a:ext cx="301752" cy="109728"/>
          </a:xfrm>
          <a:prstGeom prst="rect">
            <a:avLst/>
          </a:prstGeom>
          <a:gradFill flip="none" rotWithShape="1">
            <a:gsLst>
              <a:gs pos="25000">
                <a:schemeClr val="accent6"/>
              </a:gs>
              <a:gs pos="73000">
                <a:schemeClr val="bg1"/>
              </a:gs>
            </a:gsLst>
            <a:lin ang="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6700801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DE5CD2-E725-664A-0A30-3D74484D60D3}"/>
              </a:ext>
            </a:extLst>
          </p:cNvPr>
          <p:cNvGraphicFramePr>
            <a:graphicFrameLocks/>
          </p:cNvGraphicFramePr>
          <p:nvPr>
            <p:custDataLst>
              <p:tags r:id="rId1"/>
            </p:custDataLst>
            <p:extLst>
              <p:ext uri="{D42A27DB-BD31-4B8C-83A1-F6EECF244321}">
                <p14:modId xmlns:p14="http://schemas.microsoft.com/office/powerpoint/2010/main" val="1489682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DBDF0C8-1EB3-2BBC-3025-D9C57345C99D}"/>
              </a:ext>
            </a:extLst>
          </p:cNvPr>
          <p:cNvSpPr>
            <a:spLocks noGrp="1"/>
          </p:cNvSpPr>
          <p:nvPr>
            <p:ph type="title"/>
          </p:nvPr>
        </p:nvSpPr>
        <p:spPr/>
        <p:txBody>
          <a:bodyPr vert="horz" rIns="91440"/>
          <a:lstStyle/>
          <a:p>
            <a:r>
              <a:rPr lang="en-US" dirty="0"/>
              <a:t>U.S. policy support for geothermal emphasizes national energy security and global leadership</a:t>
            </a:r>
          </a:p>
        </p:txBody>
      </p:sp>
      <p:sp>
        <p:nvSpPr>
          <p:cNvPr id="4" name="Footer Placeholder 3">
            <a:extLst>
              <a:ext uri="{FF2B5EF4-FFF2-40B4-BE49-F238E27FC236}">
                <a16:creationId xmlns:a16="http://schemas.microsoft.com/office/drawing/2014/main" id="{A6480BF6-68AE-9EF7-A3A6-7D1BFE5F55B8}"/>
              </a:ext>
            </a:extLst>
          </p:cNvPr>
          <p:cNvSpPr>
            <a:spLocks noGrp="1"/>
          </p:cNvSpPr>
          <p:nvPr>
            <p:ph type="ftr" sz="quarter" idx="3"/>
          </p:nvPr>
        </p:nvSpPr>
        <p:spPr>
          <a:xfrm>
            <a:off x="334962" y="6250303"/>
            <a:ext cx="9147241" cy="216706"/>
          </a:xfrm>
        </p:spPr>
        <p:txBody>
          <a:bodyPr/>
          <a:lstStyle/>
          <a:p>
            <a:r>
              <a:rPr lang="en-US" dirty="0">
                <a:solidFill>
                  <a:srgbClr val="000000"/>
                </a:solidFill>
              </a:rPr>
              <a:t>Sources: </a:t>
            </a:r>
            <a:r>
              <a:rPr lang="en-US" dirty="0">
                <a:solidFill>
                  <a:srgbClr val="000000"/>
                </a:solidFill>
                <a:hlinkClick r:id="rId5"/>
              </a:rPr>
              <a:t>U.S. Air Force, U.S. Army, the Defense Innovation Unit, and Industry Advance DoD Installation Energy Resilience with Geothermal Energy Solutions</a:t>
            </a:r>
            <a:r>
              <a:rPr lang="en-US" dirty="0">
                <a:solidFill>
                  <a:srgbClr val="000000"/>
                </a:solidFill>
              </a:rPr>
              <a:t> </a:t>
            </a:r>
            <a:r>
              <a:rPr lang="en-US" dirty="0">
                <a:solidFill>
                  <a:schemeClr val="tx1"/>
                </a:solidFill>
              </a:rPr>
              <a:t>(DIU, 2023); </a:t>
            </a:r>
            <a:r>
              <a:rPr lang="en-US" dirty="0">
                <a:solidFill>
                  <a:srgbClr val="000000"/>
                </a:solidFill>
                <a:hlinkClick r:id="rId6"/>
              </a:rPr>
              <a:t>Executive Order on Tackling the Climate Crisis at Home and Abroad</a:t>
            </a:r>
            <a:r>
              <a:rPr lang="en-US" dirty="0">
                <a:solidFill>
                  <a:srgbClr val="000000"/>
                </a:solidFill>
              </a:rPr>
              <a:t> (2021); </a:t>
            </a:r>
            <a:r>
              <a:rPr lang="en-US" dirty="0">
                <a:solidFill>
                  <a:srgbClr val="000000"/>
                </a:solidFill>
                <a:hlinkClick r:id="rId7"/>
              </a:rPr>
              <a:t>FORGE</a:t>
            </a:r>
            <a:r>
              <a:rPr lang="en-US" dirty="0">
                <a:solidFill>
                  <a:srgbClr val="000000"/>
                </a:solidFill>
              </a:rPr>
              <a:t> (n.d.); </a:t>
            </a:r>
            <a:r>
              <a:rPr lang="en-US" dirty="0">
                <a:solidFill>
                  <a:srgbClr val="000000"/>
                </a:solidFill>
                <a:hlinkClick r:id="rId8"/>
              </a:rPr>
              <a:t>IRA Section 13102 Renewable Energy Investment Tax Credit</a:t>
            </a:r>
            <a:r>
              <a:rPr lang="en-US" dirty="0">
                <a:solidFill>
                  <a:srgbClr val="000000"/>
                </a:solidFill>
              </a:rPr>
              <a:t> (2025).</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solidFill>
                  <a:srgbClr val="000000"/>
                </a:solidFill>
                <a:hlinkClick r:id="rId9"/>
              </a:rPr>
              <a:t>Gernot Wagner</a:t>
            </a:r>
            <a:r>
              <a:rPr lang="en-US" dirty="0">
                <a:solidFill>
                  <a:srgbClr val="000000"/>
                </a:solidFill>
              </a:rPr>
              <a:t>. </a:t>
            </a:r>
            <a:r>
              <a:rPr lang="en-US" dirty="0">
                <a:solidFill>
                  <a:srgbClr val="000000">
                    <a:tint val="82000"/>
                  </a:srgbClr>
                </a:solidFill>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5" name="Text Placeholder 1">
            <a:extLst>
              <a:ext uri="{FF2B5EF4-FFF2-40B4-BE49-F238E27FC236}">
                <a16:creationId xmlns:a16="http://schemas.microsoft.com/office/drawing/2014/main" id="{7B086D73-E4A7-1EA2-EC4B-1D5DD1E52697}"/>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United States</a:t>
            </a:r>
          </a:p>
        </p:txBody>
      </p:sp>
      <p:sp>
        <p:nvSpPr>
          <p:cNvPr id="7" name="Rectangle 6">
            <a:extLst>
              <a:ext uri="{FF2B5EF4-FFF2-40B4-BE49-F238E27FC236}">
                <a16:creationId xmlns:a16="http://schemas.microsoft.com/office/drawing/2014/main" id="{DB2AE017-7EEE-D4B7-8D52-7083E87093DC}"/>
              </a:ext>
            </a:extLst>
          </p:cNvPr>
          <p:cNvSpPr/>
          <p:nvPr/>
        </p:nvSpPr>
        <p:spPr bwMode="gray">
          <a:xfrm>
            <a:off x="1439564" y="4659501"/>
            <a:ext cx="10161886" cy="1430491"/>
          </a:xfrm>
          <a:prstGeom prst="rect">
            <a:avLst/>
          </a:prstGeom>
          <a:solidFill>
            <a:schemeClr val="accent1">
              <a:lumMod val="20000"/>
              <a:lumOff val="80000"/>
              <a:alpha val="24219"/>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 name="Rectangle 7">
            <a:extLst>
              <a:ext uri="{FF2B5EF4-FFF2-40B4-BE49-F238E27FC236}">
                <a16:creationId xmlns:a16="http://schemas.microsoft.com/office/drawing/2014/main" id="{AF7801B1-6EB1-C004-4BD5-5007D3AA73B4}"/>
              </a:ext>
            </a:extLst>
          </p:cNvPr>
          <p:cNvSpPr/>
          <p:nvPr/>
        </p:nvSpPr>
        <p:spPr bwMode="gray">
          <a:xfrm>
            <a:off x="1439564" y="3202176"/>
            <a:ext cx="10161886" cy="1430491"/>
          </a:xfrm>
          <a:prstGeom prst="rect">
            <a:avLst/>
          </a:prstGeom>
          <a:solidFill>
            <a:schemeClr val="accent1">
              <a:lumMod val="60000"/>
              <a:lumOff val="40000"/>
              <a:alpha val="24219"/>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Rectangle 8">
            <a:extLst>
              <a:ext uri="{FF2B5EF4-FFF2-40B4-BE49-F238E27FC236}">
                <a16:creationId xmlns:a16="http://schemas.microsoft.com/office/drawing/2014/main" id="{6581FCEC-5A7A-3DC0-4B66-6FDE44D6D40F}"/>
              </a:ext>
            </a:extLst>
          </p:cNvPr>
          <p:cNvSpPr/>
          <p:nvPr/>
        </p:nvSpPr>
        <p:spPr bwMode="gray">
          <a:xfrm>
            <a:off x="1439564" y="1773426"/>
            <a:ext cx="10161886" cy="1403405"/>
          </a:xfrm>
          <a:prstGeom prst="rect">
            <a:avLst/>
          </a:prstGeom>
          <a:solidFill>
            <a:schemeClr val="accent1">
              <a:lumMod val="75000"/>
              <a:alpha val="24219"/>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TextBox 9">
            <a:extLst>
              <a:ext uri="{FF2B5EF4-FFF2-40B4-BE49-F238E27FC236}">
                <a16:creationId xmlns:a16="http://schemas.microsoft.com/office/drawing/2014/main" id="{4768A6A7-74A2-056D-76B4-333E33EF0D56}"/>
              </a:ext>
            </a:extLst>
          </p:cNvPr>
          <p:cNvSpPr txBox="1"/>
          <p:nvPr/>
        </p:nvSpPr>
        <p:spPr bwMode="gray">
          <a:xfrm>
            <a:off x="2534470" y="1505953"/>
            <a:ext cx="4483550" cy="257369"/>
          </a:xfrm>
          <a:prstGeom prst="rect">
            <a:avLst/>
          </a:prstGeom>
          <a:noFill/>
        </p:spPr>
        <p:txBody>
          <a:bodyPr wrap="square" lIns="36000" tIns="36000" rIns="36000" bIns="36000" rtlCol="0">
            <a:spAutoFit/>
          </a:bodyPr>
          <a:lstStyle/>
          <a:p>
            <a:pPr marL="0" indent="0">
              <a:buNone/>
            </a:pPr>
            <a:r>
              <a:rPr lang="en-US" sz="1200" b="1" dirty="0"/>
              <a:t>Rationale and significance for geothermal </a:t>
            </a:r>
          </a:p>
        </p:txBody>
      </p:sp>
      <p:sp>
        <p:nvSpPr>
          <p:cNvPr id="11" name="TextBox 10">
            <a:extLst>
              <a:ext uri="{FF2B5EF4-FFF2-40B4-BE49-F238E27FC236}">
                <a16:creationId xmlns:a16="http://schemas.microsoft.com/office/drawing/2014/main" id="{CCB55070-1A59-6AC3-B450-0936E66C7E92}"/>
              </a:ext>
            </a:extLst>
          </p:cNvPr>
          <p:cNvSpPr txBox="1"/>
          <p:nvPr/>
        </p:nvSpPr>
        <p:spPr bwMode="gray">
          <a:xfrm>
            <a:off x="7291141" y="1504161"/>
            <a:ext cx="4483550" cy="257369"/>
          </a:xfrm>
          <a:prstGeom prst="rect">
            <a:avLst/>
          </a:prstGeom>
          <a:noFill/>
        </p:spPr>
        <p:txBody>
          <a:bodyPr wrap="square" lIns="36000" tIns="36000" rIns="36000" bIns="36000" rtlCol="0">
            <a:spAutoFit/>
          </a:bodyPr>
          <a:lstStyle/>
          <a:p>
            <a:pPr marL="0" indent="0">
              <a:buNone/>
            </a:pPr>
            <a:r>
              <a:rPr lang="en-US" sz="1200" b="1" dirty="0"/>
              <a:t>Example actions</a:t>
            </a:r>
          </a:p>
        </p:txBody>
      </p:sp>
      <p:sp>
        <p:nvSpPr>
          <p:cNvPr id="12" name="Freihandform: Form 19">
            <a:extLst>
              <a:ext uri="{FF2B5EF4-FFF2-40B4-BE49-F238E27FC236}">
                <a16:creationId xmlns:a16="http://schemas.microsoft.com/office/drawing/2014/main" id="{F3974D84-B8DD-8F73-9FEC-6BCE69ED597E}"/>
              </a:ext>
            </a:extLst>
          </p:cNvPr>
          <p:cNvSpPr>
            <a:spLocks/>
          </p:cNvSpPr>
          <p:nvPr/>
        </p:nvSpPr>
        <p:spPr>
          <a:xfrm rot="7200000">
            <a:off x="626336" y="1762676"/>
            <a:ext cx="1672217" cy="1448180"/>
          </a:xfrm>
          <a:custGeom>
            <a:avLst/>
            <a:gdLst>
              <a:gd name="connsiteX0" fmla="*/ 1921270 w 1921269"/>
              <a:gd name="connsiteY0" fmla="*/ 831933 h 1663865"/>
              <a:gd name="connsiteX1" fmla="*/ 1440870 w 1921269"/>
              <a:gd name="connsiteY1" fmla="*/ 1663865 h 1663865"/>
              <a:gd name="connsiteX2" fmla="*/ 480235 w 1921269"/>
              <a:gd name="connsiteY2" fmla="*/ 1663865 h 1663865"/>
              <a:gd name="connsiteX3" fmla="*/ 0 w 1921269"/>
              <a:gd name="connsiteY3" fmla="*/ 831933 h 1663865"/>
              <a:gd name="connsiteX4" fmla="*/ 480235 w 1921269"/>
              <a:gd name="connsiteY4" fmla="*/ 0 h 1663865"/>
              <a:gd name="connsiteX5" fmla="*/ 1440870 w 1921269"/>
              <a:gd name="connsiteY5" fmla="*/ 0 h 1663865"/>
              <a:gd name="connsiteX6" fmla="*/ 1587107 w 1921269"/>
              <a:gd name="connsiteY6" fmla="*/ 253269 h 1663865"/>
              <a:gd name="connsiteX7" fmla="*/ 1591739 w 1921269"/>
              <a:gd name="connsiteY7" fmla="*/ 261044 h 1663865"/>
              <a:gd name="connsiteX8" fmla="*/ 1696785 w 1921269"/>
              <a:gd name="connsiteY8" fmla="*/ 326057 h 1663865"/>
              <a:gd name="connsiteX9" fmla="*/ 1745090 w 1921269"/>
              <a:gd name="connsiteY9" fmla="*/ 247479 h 1663865"/>
              <a:gd name="connsiteX10" fmla="*/ 1840541 w 1921269"/>
              <a:gd name="connsiteY10" fmla="*/ 324899 h 1663865"/>
              <a:gd name="connsiteX11" fmla="*/ 1843023 w 1921269"/>
              <a:gd name="connsiteY11" fmla="*/ 329365 h 1663865"/>
              <a:gd name="connsiteX12" fmla="*/ 1860062 w 1921269"/>
              <a:gd name="connsiteY12" fmla="*/ 446322 h 1663865"/>
              <a:gd name="connsiteX13" fmla="*/ 1767919 w 1921269"/>
              <a:gd name="connsiteY13" fmla="*/ 448969 h 1663865"/>
              <a:gd name="connsiteX14" fmla="*/ 1775529 w 1921269"/>
              <a:gd name="connsiteY14" fmla="*/ 579656 h 1663865"/>
              <a:gd name="connsiteX15" fmla="*/ 1776687 w 1921269"/>
              <a:gd name="connsiteY15" fmla="*/ 581641 h 1663865"/>
              <a:gd name="connsiteX16" fmla="*/ 1921270 w 1921269"/>
              <a:gd name="connsiteY16" fmla="*/ 831933 h 166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1269" h="1663865">
                <a:moveTo>
                  <a:pt x="1921270" y="831933"/>
                </a:moveTo>
                <a:lnTo>
                  <a:pt x="1440870" y="1663865"/>
                </a:lnTo>
                <a:lnTo>
                  <a:pt x="480235" y="1663865"/>
                </a:lnTo>
                <a:lnTo>
                  <a:pt x="0" y="831933"/>
                </a:lnTo>
                <a:lnTo>
                  <a:pt x="480235" y="0"/>
                </a:lnTo>
                <a:lnTo>
                  <a:pt x="1440870" y="0"/>
                </a:lnTo>
                <a:lnTo>
                  <a:pt x="1587107" y="253269"/>
                </a:lnTo>
                <a:cubicBezTo>
                  <a:pt x="1588596" y="255916"/>
                  <a:pt x="1590250" y="258397"/>
                  <a:pt x="1591739" y="261044"/>
                </a:cubicBezTo>
                <a:cubicBezTo>
                  <a:pt x="1621020" y="308521"/>
                  <a:pt x="1660722" y="346901"/>
                  <a:pt x="1696785" y="326057"/>
                </a:cubicBezTo>
                <a:cubicBezTo>
                  <a:pt x="1734833" y="304055"/>
                  <a:pt x="1704064" y="271135"/>
                  <a:pt x="1745090" y="247479"/>
                </a:cubicBezTo>
                <a:cubicBezTo>
                  <a:pt x="1785950" y="223823"/>
                  <a:pt x="1840541" y="324899"/>
                  <a:pt x="1840541" y="324899"/>
                </a:cubicBezTo>
                <a:cubicBezTo>
                  <a:pt x="1840541" y="324899"/>
                  <a:pt x="1841368" y="326553"/>
                  <a:pt x="1843023" y="329365"/>
                </a:cubicBezTo>
                <a:cubicBezTo>
                  <a:pt x="1854272" y="348555"/>
                  <a:pt x="1895794" y="425644"/>
                  <a:pt x="1860062" y="446322"/>
                </a:cubicBezTo>
                <a:cubicBezTo>
                  <a:pt x="1819201" y="469978"/>
                  <a:pt x="1805967" y="426967"/>
                  <a:pt x="1767919" y="448969"/>
                </a:cubicBezTo>
                <a:cubicBezTo>
                  <a:pt x="1730367" y="470640"/>
                  <a:pt x="1746579" y="529036"/>
                  <a:pt x="1775529" y="579656"/>
                </a:cubicBezTo>
                <a:cubicBezTo>
                  <a:pt x="1775859" y="580318"/>
                  <a:pt x="1776356" y="580980"/>
                  <a:pt x="1776687" y="581641"/>
                </a:cubicBezTo>
                <a:lnTo>
                  <a:pt x="1921270" y="831933"/>
                </a:lnTo>
                <a:close/>
              </a:path>
            </a:pathLst>
          </a:custGeom>
          <a:solidFill>
            <a:schemeClr val="accent1">
              <a:lumMod val="75000"/>
            </a:schemeClr>
          </a:solidFill>
          <a:ln w="16536" cap="flat">
            <a:solidFill>
              <a:schemeClr val="bg1"/>
            </a:solidFill>
            <a:prstDash val="solid"/>
            <a:miter/>
          </a:ln>
        </p:spPr>
        <p:txBody>
          <a:bodyPr rtlCol="0" anchor="ctr"/>
          <a:lstStyle/>
          <a:p>
            <a:endParaRPr lang="en-US" dirty="0"/>
          </a:p>
        </p:txBody>
      </p:sp>
      <p:grpSp>
        <p:nvGrpSpPr>
          <p:cNvPr id="13" name="Group 12">
            <a:extLst>
              <a:ext uri="{FF2B5EF4-FFF2-40B4-BE49-F238E27FC236}">
                <a16:creationId xmlns:a16="http://schemas.microsoft.com/office/drawing/2014/main" id="{B69F81B6-630A-5EE0-02A7-A1A6CE4843BA}"/>
              </a:ext>
            </a:extLst>
          </p:cNvPr>
          <p:cNvGrpSpPr/>
          <p:nvPr/>
        </p:nvGrpSpPr>
        <p:grpSpPr>
          <a:xfrm>
            <a:off x="685799" y="1634636"/>
            <a:ext cx="1503456" cy="4551802"/>
            <a:chOff x="548640" y="1451610"/>
            <a:chExt cx="1727377" cy="5229731"/>
          </a:xfrm>
        </p:grpSpPr>
        <p:sp>
          <p:nvSpPr>
            <p:cNvPr id="14" name="Freihandform: Form 19">
              <a:extLst>
                <a:ext uri="{FF2B5EF4-FFF2-40B4-BE49-F238E27FC236}">
                  <a16:creationId xmlns:a16="http://schemas.microsoft.com/office/drawing/2014/main" id="{A57E202F-3AA6-F388-A95E-1D2F1330F4C2}"/>
                </a:ext>
              </a:extLst>
            </p:cNvPr>
            <p:cNvSpPr>
              <a:spLocks/>
            </p:cNvSpPr>
            <p:nvPr/>
          </p:nvSpPr>
          <p:spPr>
            <a:xfrm rot="18026118">
              <a:off x="483447" y="4888772"/>
              <a:ext cx="1921271" cy="1663868"/>
            </a:xfrm>
            <a:custGeom>
              <a:avLst/>
              <a:gdLst>
                <a:gd name="connsiteX0" fmla="*/ 1921270 w 1921269"/>
                <a:gd name="connsiteY0" fmla="*/ 831933 h 1663865"/>
                <a:gd name="connsiteX1" fmla="*/ 1440870 w 1921269"/>
                <a:gd name="connsiteY1" fmla="*/ 1663865 h 1663865"/>
                <a:gd name="connsiteX2" fmla="*/ 480235 w 1921269"/>
                <a:gd name="connsiteY2" fmla="*/ 1663865 h 1663865"/>
                <a:gd name="connsiteX3" fmla="*/ 0 w 1921269"/>
                <a:gd name="connsiteY3" fmla="*/ 831933 h 1663865"/>
                <a:gd name="connsiteX4" fmla="*/ 480235 w 1921269"/>
                <a:gd name="connsiteY4" fmla="*/ 0 h 1663865"/>
                <a:gd name="connsiteX5" fmla="*/ 1440870 w 1921269"/>
                <a:gd name="connsiteY5" fmla="*/ 0 h 1663865"/>
                <a:gd name="connsiteX6" fmla="*/ 1587107 w 1921269"/>
                <a:gd name="connsiteY6" fmla="*/ 253269 h 1663865"/>
                <a:gd name="connsiteX7" fmla="*/ 1591739 w 1921269"/>
                <a:gd name="connsiteY7" fmla="*/ 261044 h 1663865"/>
                <a:gd name="connsiteX8" fmla="*/ 1696785 w 1921269"/>
                <a:gd name="connsiteY8" fmla="*/ 326057 h 1663865"/>
                <a:gd name="connsiteX9" fmla="*/ 1745090 w 1921269"/>
                <a:gd name="connsiteY9" fmla="*/ 247479 h 1663865"/>
                <a:gd name="connsiteX10" fmla="*/ 1840541 w 1921269"/>
                <a:gd name="connsiteY10" fmla="*/ 324899 h 1663865"/>
                <a:gd name="connsiteX11" fmla="*/ 1843023 w 1921269"/>
                <a:gd name="connsiteY11" fmla="*/ 329365 h 1663865"/>
                <a:gd name="connsiteX12" fmla="*/ 1860062 w 1921269"/>
                <a:gd name="connsiteY12" fmla="*/ 446322 h 1663865"/>
                <a:gd name="connsiteX13" fmla="*/ 1767919 w 1921269"/>
                <a:gd name="connsiteY13" fmla="*/ 448969 h 1663865"/>
                <a:gd name="connsiteX14" fmla="*/ 1775529 w 1921269"/>
                <a:gd name="connsiteY14" fmla="*/ 579656 h 1663865"/>
                <a:gd name="connsiteX15" fmla="*/ 1776687 w 1921269"/>
                <a:gd name="connsiteY15" fmla="*/ 581641 h 1663865"/>
                <a:gd name="connsiteX16" fmla="*/ 1921270 w 1921269"/>
                <a:gd name="connsiteY16" fmla="*/ 831933 h 166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1269" h="1663865">
                  <a:moveTo>
                    <a:pt x="1921270" y="831933"/>
                  </a:moveTo>
                  <a:lnTo>
                    <a:pt x="1440870" y="1663865"/>
                  </a:lnTo>
                  <a:lnTo>
                    <a:pt x="480235" y="1663865"/>
                  </a:lnTo>
                  <a:lnTo>
                    <a:pt x="0" y="831933"/>
                  </a:lnTo>
                  <a:lnTo>
                    <a:pt x="480235" y="0"/>
                  </a:lnTo>
                  <a:lnTo>
                    <a:pt x="1440870" y="0"/>
                  </a:lnTo>
                  <a:lnTo>
                    <a:pt x="1587107" y="253269"/>
                  </a:lnTo>
                  <a:cubicBezTo>
                    <a:pt x="1588596" y="255916"/>
                    <a:pt x="1590250" y="258397"/>
                    <a:pt x="1591739" y="261044"/>
                  </a:cubicBezTo>
                  <a:cubicBezTo>
                    <a:pt x="1621020" y="308521"/>
                    <a:pt x="1660722" y="346901"/>
                    <a:pt x="1696785" y="326057"/>
                  </a:cubicBezTo>
                  <a:cubicBezTo>
                    <a:pt x="1734833" y="304055"/>
                    <a:pt x="1704064" y="271135"/>
                    <a:pt x="1745090" y="247479"/>
                  </a:cubicBezTo>
                  <a:cubicBezTo>
                    <a:pt x="1785950" y="223823"/>
                    <a:pt x="1840541" y="324899"/>
                    <a:pt x="1840541" y="324899"/>
                  </a:cubicBezTo>
                  <a:cubicBezTo>
                    <a:pt x="1840541" y="324899"/>
                    <a:pt x="1841368" y="326553"/>
                    <a:pt x="1843023" y="329365"/>
                  </a:cubicBezTo>
                  <a:cubicBezTo>
                    <a:pt x="1854272" y="348555"/>
                    <a:pt x="1895794" y="425644"/>
                    <a:pt x="1860062" y="446322"/>
                  </a:cubicBezTo>
                  <a:cubicBezTo>
                    <a:pt x="1819201" y="469978"/>
                    <a:pt x="1805967" y="426967"/>
                    <a:pt x="1767919" y="448969"/>
                  </a:cubicBezTo>
                  <a:cubicBezTo>
                    <a:pt x="1730367" y="470640"/>
                    <a:pt x="1746579" y="529036"/>
                    <a:pt x="1775529" y="579656"/>
                  </a:cubicBezTo>
                  <a:cubicBezTo>
                    <a:pt x="1775859" y="580318"/>
                    <a:pt x="1776356" y="580980"/>
                    <a:pt x="1776687" y="581641"/>
                  </a:cubicBezTo>
                  <a:lnTo>
                    <a:pt x="1921270" y="831933"/>
                  </a:lnTo>
                  <a:close/>
                </a:path>
              </a:pathLst>
            </a:custGeom>
            <a:solidFill>
              <a:schemeClr val="accent1">
                <a:lumMod val="20000"/>
                <a:lumOff val="80000"/>
              </a:schemeClr>
            </a:solidFill>
            <a:ln w="16536" cap="flat">
              <a:solidFill>
                <a:schemeClr val="bg1"/>
              </a:solidFill>
              <a:prstDash val="solid"/>
              <a:miter/>
            </a:ln>
          </p:spPr>
          <p:txBody>
            <a:bodyPr rtlCol="0" anchor="ctr"/>
            <a:lstStyle/>
            <a:p>
              <a:endParaRPr lang="en-US" dirty="0"/>
            </a:p>
          </p:txBody>
        </p:sp>
        <p:sp>
          <p:nvSpPr>
            <p:cNvPr id="15" name="Freihandform: Form 19">
              <a:extLst>
                <a:ext uri="{FF2B5EF4-FFF2-40B4-BE49-F238E27FC236}">
                  <a16:creationId xmlns:a16="http://schemas.microsoft.com/office/drawing/2014/main" id="{18683D53-2F2A-6984-4C8D-7DFD5D757ECC}"/>
                </a:ext>
              </a:extLst>
            </p:cNvPr>
            <p:cNvSpPr>
              <a:spLocks/>
            </p:cNvSpPr>
            <p:nvPr/>
          </p:nvSpPr>
          <p:spPr>
            <a:xfrm rot="7200000">
              <a:off x="480322" y="3244639"/>
              <a:ext cx="1921271" cy="1663869"/>
            </a:xfrm>
            <a:custGeom>
              <a:avLst/>
              <a:gdLst>
                <a:gd name="connsiteX0" fmla="*/ 1921270 w 1921269"/>
                <a:gd name="connsiteY0" fmla="*/ 831933 h 1663865"/>
                <a:gd name="connsiteX1" fmla="*/ 1440870 w 1921269"/>
                <a:gd name="connsiteY1" fmla="*/ 1663865 h 1663865"/>
                <a:gd name="connsiteX2" fmla="*/ 480235 w 1921269"/>
                <a:gd name="connsiteY2" fmla="*/ 1663865 h 1663865"/>
                <a:gd name="connsiteX3" fmla="*/ 0 w 1921269"/>
                <a:gd name="connsiteY3" fmla="*/ 831933 h 1663865"/>
                <a:gd name="connsiteX4" fmla="*/ 480235 w 1921269"/>
                <a:gd name="connsiteY4" fmla="*/ 0 h 1663865"/>
                <a:gd name="connsiteX5" fmla="*/ 1440870 w 1921269"/>
                <a:gd name="connsiteY5" fmla="*/ 0 h 1663865"/>
                <a:gd name="connsiteX6" fmla="*/ 1587107 w 1921269"/>
                <a:gd name="connsiteY6" fmla="*/ 253269 h 1663865"/>
                <a:gd name="connsiteX7" fmla="*/ 1591739 w 1921269"/>
                <a:gd name="connsiteY7" fmla="*/ 261044 h 1663865"/>
                <a:gd name="connsiteX8" fmla="*/ 1696785 w 1921269"/>
                <a:gd name="connsiteY8" fmla="*/ 326057 h 1663865"/>
                <a:gd name="connsiteX9" fmla="*/ 1745090 w 1921269"/>
                <a:gd name="connsiteY9" fmla="*/ 247479 h 1663865"/>
                <a:gd name="connsiteX10" fmla="*/ 1840541 w 1921269"/>
                <a:gd name="connsiteY10" fmla="*/ 324899 h 1663865"/>
                <a:gd name="connsiteX11" fmla="*/ 1843023 w 1921269"/>
                <a:gd name="connsiteY11" fmla="*/ 329365 h 1663865"/>
                <a:gd name="connsiteX12" fmla="*/ 1860062 w 1921269"/>
                <a:gd name="connsiteY12" fmla="*/ 446322 h 1663865"/>
                <a:gd name="connsiteX13" fmla="*/ 1767919 w 1921269"/>
                <a:gd name="connsiteY13" fmla="*/ 448969 h 1663865"/>
                <a:gd name="connsiteX14" fmla="*/ 1775529 w 1921269"/>
                <a:gd name="connsiteY14" fmla="*/ 579656 h 1663865"/>
                <a:gd name="connsiteX15" fmla="*/ 1776687 w 1921269"/>
                <a:gd name="connsiteY15" fmla="*/ 581641 h 1663865"/>
                <a:gd name="connsiteX16" fmla="*/ 1921270 w 1921269"/>
                <a:gd name="connsiteY16" fmla="*/ 831933 h 166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1269" h="1663865">
                  <a:moveTo>
                    <a:pt x="1921270" y="831933"/>
                  </a:moveTo>
                  <a:lnTo>
                    <a:pt x="1440870" y="1663865"/>
                  </a:lnTo>
                  <a:lnTo>
                    <a:pt x="480235" y="1663865"/>
                  </a:lnTo>
                  <a:lnTo>
                    <a:pt x="0" y="831933"/>
                  </a:lnTo>
                  <a:lnTo>
                    <a:pt x="480235" y="0"/>
                  </a:lnTo>
                  <a:lnTo>
                    <a:pt x="1440870" y="0"/>
                  </a:lnTo>
                  <a:lnTo>
                    <a:pt x="1587107" y="253269"/>
                  </a:lnTo>
                  <a:cubicBezTo>
                    <a:pt x="1588596" y="255916"/>
                    <a:pt x="1590250" y="258397"/>
                    <a:pt x="1591739" y="261044"/>
                  </a:cubicBezTo>
                  <a:cubicBezTo>
                    <a:pt x="1621020" y="308521"/>
                    <a:pt x="1660722" y="346901"/>
                    <a:pt x="1696785" y="326057"/>
                  </a:cubicBezTo>
                  <a:cubicBezTo>
                    <a:pt x="1734833" y="304055"/>
                    <a:pt x="1704064" y="271135"/>
                    <a:pt x="1745090" y="247479"/>
                  </a:cubicBezTo>
                  <a:cubicBezTo>
                    <a:pt x="1785950" y="223823"/>
                    <a:pt x="1840541" y="324899"/>
                    <a:pt x="1840541" y="324899"/>
                  </a:cubicBezTo>
                  <a:cubicBezTo>
                    <a:pt x="1840541" y="324899"/>
                    <a:pt x="1841368" y="326553"/>
                    <a:pt x="1843023" y="329365"/>
                  </a:cubicBezTo>
                  <a:cubicBezTo>
                    <a:pt x="1854272" y="348555"/>
                    <a:pt x="1895794" y="425644"/>
                    <a:pt x="1860062" y="446322"/>
                  </a:cubicBezTo>
                  <a:cubicBezTo>
                    <a:pt x="1819201" y="469978"/>
                    <a:pt x="1805967" y="426967"/>
                    <a:pt x="1767919" y="448969"/>
                  </a:cubicBezTo>
                  <a:cubicBezTo>
                    <a:pt x="1730367" y="470640"/>
                    <a:pt x="1746579" y="529036"/>
                    <a:pt x="1775529" y="579656"/>
                  </a:cubicBezTo>
                  <a:cubicBezTo>
                    <a:pt x="1775859" y="580318"/>
                    <a:pt x="1776356" y="580980"/>
                    <a:pt x="1776687" y="581641"/>
                  </a:cubicBezTo>
                  <a:lnTo>
                    <a:pt x="1921270" y="831933"/>
                  </a:lnTo>
                  <a:close/>
                </a:path>
              </a:pathLst>
            </a:custGeom>
            <a:solidFill>
              <a:schemeClr val="accent1">
                <a:lumMod val="60000"/>
                <a:lumOff val="40000"/>
              </a:schemeClr>
            </a:solidFill>
            <a:ln w="16536" cap="flat">
              <a:solidFill>
                <a:schemeClr val="bg1"/>
              </a:solidFill>
              <a:prstDash val="solid"/>
              <a:miter/>
            </a:ln>
          </p:spPr>
          <p:txBody>
            <a:bodyPr rtlCol="0" anchor="ctr"/>
            <a:lstStyle/>
            <a:p>
              <a:endParaRPr lang="en-US" dirty="0"/>
            </a:p>
          </p:txBody>
        </p:sp>
        <p:sp>
          <p:nvSpPr>
            <p:cNvPr id="16" name="TextBox 15">
              <a:extLst>
                <a:ext uri="{FF2B5EF4-FFF2-40B4-BE49-F238E27FC236}">
                  <a16:creationId xmlns:a16="http://schemas.microsoft.com/office/drawing/2014/main" id="{2CA9234E-4EE7-E222-86B7-5C2C79DFCBAF}"/>
                </a:ext>
              </a:extLst>
            </p:cNvPr>
            <p:cNvSpPr txBox="1"/>
            <p:nvPr/>
          </p:nvSpPr>
          <p:spPr bwMode="gray">
            <a:xfrm>
              <a:off x="903746" y="2258169"/>
              <a:ext cx="1074422" cy="295701"/>
            </a:xfrm>
            <a:prstGeom prst="rect">
              <a:avLst/>
            </a:prstGeom>
            <a:noFill/>
          </p:spPr>
          <p:txBody>
            <a:bodyPr wrap="square" lIns="36000" tIns="36000" rIns="36000" bIns="36000" rtlCol="0">
              <a:spAutoFit/>
            </a:bodyPr>
            <a:lstStyle/>
            <a:p>
              <a:pPr marL="0" indent="0" algn="ctr">
                <a:buNone/>
              </a:pPr>
              <a:r>
                <a:rPr lang="en-US" sz="1200" b="1" dirty="0">
                  <a:solidFill>
                    <a:schemeClr val="bg1"/>
                  </a:solidFill>
                </a:rPr>
                <a:t>Resilience</a:t>
              </a:r>
            </a:p>
          </p:txBody>
        </p:sp>
        <p:sp>
          <p:nvSpPr>
            <p:cNvPr id="17" name="TextBox 16">
              <a:extLst>
                <a:ext uri="{FF2B5EF4-FFF2-40B4-BE49-F238E27FC236}">
                  <a16:creationId xmlns:a16="http://schemas.microsoft.com/office/drawing/2014/main" id="{4CB3B44C-7F04-6C62-A9DF-5EEAC6AEF80F}"/>
                </a:ext>
              </a:extLst>
            </p:cNvPr>
            <p:cNvSpPr txBox="1"/>
            <p:nvPr/>
          </p:nvSpPr>
          <p:spPr bwMode="gray">
            <a:xfrm>
              <a:off x="903746" y="3917111"/>
              <a:ext cx="1074422" cy="507870"/>
            </a:xfrm>
            <a:prstGeom prst="rect">
              <a:avLst/>
            </a:prstGeom>
            <a:noFill/>
          </p:spPr>
          <p:txBody>
            <a:bodyPr wrap="square" lIns="36000" tIns="36000" rIns="36000" bIns="36000" rtlCol="0">
              <a:spAutoFit/>
            </a:bodyPr>
            <a:lstStyle/>
            <a:p>
              <a:pPr marL="0" indent="0" algn="ctr">
                <a:buNone/>
              </a:pPr>
              <a:r>
                <a:rPr lang="en-US" sz="1200" b="1" dirty="0">
                  <a:solidFill>
                    <a:schemeClr val="bg1"/>
                  </a:solidFill>
                </a:rPr>
                <a:t>National security</a:t>
              </a:r>
            </a:p>
          </p:txBody>
        </p:sp>
        <p:sp>
          <p:nvSpPr>
            <p:cNvPr id="18" name="TextBox 17">
              <a:extLst>
                <a:ext uri="{FF2B5EF4-FFF2-40B4-BE49-F238E27FC236}">
                  <a16:creationId xmlns:a16="http://schemas.microsoft.com/office/drawing/2014/main" id="{445DDC03-13CA-3F35-844A-17AE4FC38D5E}"/>
                </a:ext>
              </a:extLst>
            </p:cNvPr>
            <p:cNvSpPr txBox="1"/>
            <p:nvPr/>
          </p:nvSpPr>
          <p:spPr bwMode="gray">
            <a:xfrm>
              <a:off x="903745" y="5499687"/>
              <a:ext cx="1074423" cy="442035"/>
            </a:xfrm>
            <a:prstGeom prst="rect">
              <a:avLst/>
            </a:prstGeom>
            <a:noFill/>
          </p:spPr>
          <p:txBody>
            <a:bodyPr wrap="square" lIns="36000" tIns="36000" rIns="36000" bIns="36000" rtlCol="0">
              <a:spAutoFit/>
            </a:bodyPr>
            <a:lstStyle/>
            <a:p>
              <a:pPr marL="0" indent="0" algn="ctr">
                <a:buNone/>
              </a:pPr>
              <a:r>
                <a:rPr lang="en-US" sz="1200" b="1" dirty="0"/>
                <a:t>Energy dominance</a:t>
              </a:r>
            </a:p>
          </p:txBody>
        </p:sp>
        <p:sp>
          <p:nvSpPr>
            <p:cNvPr id="19" name="TextBox 18">
              <a:extLst>
                <a:ext uri="{FF2B5EF4-FFF2-40B4-BE49-F238E27FC236}">
                  <a16:creationId xmlns:a16="http://schemas.microsoft.com/office/drawing/2014/main" id="{A698F07A-42B7-8648-93D3-F385ECAB1B18}"/>
                </a:ext>
              </a:extLst>
            </p:cNvPr>
            <p:cNvSpPr txBox="1"/>
            <p:nvPr/>
          </p:nvSpPr>
          <p:spPr bwMode="gray">
            <a:xfrm>
              <a:off x="548640" y="1451610"/>
              <a:ext cx="72768" cy="318924"/>
            </a:xfrm>
            <a:prstGeom prst="rect">
              <a:avLst/>
            </a:prstGeom>
            <a:noFill/>
          </p:spPr>
          <p:txBody>
            <a:bodyPr wrap="none" lIns="36000" tIns="36000" rIns="36000" bIns="36000" rtlCol="0">
              <a:spAutoFit/>
            </a:bodyPr>
            <a:lstStyle/>
            <a:p>
              <a:pPr marL="0" indent="0">
                <a:buNone/>
              </a:pPr>
              <a:endParaRPr lang="en-US" sz="1600" dirty="0"/>
            </a:p>
          </p:txBody>
        </p:sp>
      </p:grpSp>
      <p:cxnSp>
        <p:nvCxnSpPr>
          <p:cNvPr id="20" name="Straight Connector 19">
            <a:extLst>
              <a:ext uri="{FF2B5EF4-FFF2-40B4-BE49-F238E27FC236}">
                <a16:creationId xmlns:a16="http://schemas.microsoft.com/office/drawing/2014/main" id="{7CF5623C-F224-F3D3-3C56-D1E5DBB1942C}"/>
              </a:ext>
            </a:extLst>
          </p:cNvPr>
          <p:cNvCxnSpPr>
            <a:cxnSpLocks/>
            <a:stCxn id="12" idx="2"/>
          </p:cNvCxnSpPr>
          <p:nvPr/>
        </p:nvCxnSpPr>
        <p:spPr bwMode="gray">
          <a:xfrm>
            <a:off x="1044427" y="1762614"/>
            <a:ext cx="10557023" cy="708"/>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0E961CD-1DAE-9512-070F-9CCABD9502C2}"/>
              </a:ext>
            </a:extLst>
          </p:cNvPr>
          <p:cNvSpPr txBox="1"/>
          <p:nvPr/>
        </p:nvSpPr>
        <p:spPr bwMode="gray">
          <a:xfrm>
            <a:off x="2534470" y="3378919"/>
            <a:ext cx="4483550" cy="1072977"/>
          </a:xfrm>
          <a:prstGeom prst="rect">
            <a:avLst/>
          </a:prstGeom>
          <a:noFill/>
        </p:spPr>
        <p:txBody>
          <a:bodyPr wrap="square" lIns="36000" tIns="36000" rIns="36000" bIns="36000" rtlCol="0">
            <a:spAutoFit/>
          </a:bodyPr>
          <a:lstStyle/>
          <a:p>
            <a:r>
              <a:rPr lang="en-US" sz="1050" dirty="0">
                <a:latin typeface="Arial" panose="020B0604020202020204" pitchFamily="34" charset="0"/>
                <a:cs typeface="Arial" panose="020B0604020202020204" pitchFamily="34" charset="0"/>
              </a:rPr>
              <a:t>Domestic, fuel-independent power generation reduces geopolitical and import risks.</a:t>
            </a:r>
          </a:p>
          <a:p>
            <a:r>
              <a:rPr lang="en-US" sz="1050" dirty="0">
                <a:latin typeface="Arial" panose="020B0604020202020204" pitchFamily="34" charset="0"/>
                <a:cs typeface="Arial" panose="020B0604020202020204" pitchFamily="34" charset="0"/>
              </a:rPr>
              <a:t>Geothermal requires no imported fuel, no complex supply chains, no mineral inputs, and no fuel transport, making it one of the most secure firm resources.</a:t>
            </a:r>
          </a:p>
        </p:txBody>
      </p:sp>
      <p:sp>
        <p:nvSpPr>
          <p:cNvPr id="22" name="TextBox 21">
            <a:extLst>
              <a:ext uri="{FF2B5EF4-FFF2-40B4-BE49-F238E27FC236}">
                <a16:creationId xmlns:a16="http://schemas.microsoft.com/office/drawing/2014/main" id="{FB365856-A186-7353-B2EE-102B83DB1440}"/>
              </a:ext>
            </a:extLst>
          </p:cNvPr>
          <p:cNvSpPr txBox="1"/>
          <p:nvPr/>
        </p:nvSpPr>
        <p:spPr bwMode="gray">
          <a:xfrm>
            <a:off x="2507579" y="1936562"/>
            <a:ext cx="4483550" cy="1072977"/>
          </a:xfrm>
          <a:prstGeom prst="rect">
            <a:avLst/>
          </a:prstGeom>
          <a:noFill/>
        </p:spPr>
        <p:txBody>
          <a:bodyPr wrap="square" lIns="36000" tIns="36000" rIns="36000" bIns="36000" rtlCol="0">
            <a:spAutoFit/>
          </a:bodyPr>
          <a:lstStyle/>
          <a:p>
            <a:r>
              <a:rPr lang="en-US" sz="1050" dirty="0"/>
              <a:t>Extreme weather and volatile loads require power that is always available and not weather dependent, making firm power that is resilient and stable important.</a:t>
            </a:r>
          </a:p>
          <a:p>
            <a:r>
              <a:rPr lang="en-US" sz="1050" dirty="0">
                <a:latin typeface="Arial" panose="020B0604020202020204" pitchFamily="34" charset="0"/>
                <a:cs typeface="Arial" panose="020B0604020202020204" pitchFamily="34" charset="0"/>
              </a:rPr>
              <a:t>Geothermal operates through storms and grid stress, with underground infrastructure that is inherently physically resilient.</a:t>
            </a:r>
          </a:p>
        </p:txBody>
      </p:sp>
      <p:sp>
        <p:nvSpPr>
          <p:cNvPr id="23" name="TextBox 22">
            <a:extLst>
              <a:ext uri="{FF2B5EF4-FFF2-40B4-BE49-F238E27FC236}">
                <a16:creationId xmlns:a16="http://schemas.microsoft.com/office/drawing/2014/main" id="{4D4F37D1-63AD-8E44-721F-2A484E895E10}"/>
              </a:ext>
            </a:extLst>
          </p:cNvPr>
          <p:cNvSpPr txBox="1"/>
          <p:nvPr/>
        </p:nvSpPr>
        <p:spPr bwMode="gray">
          <a:xfrm>
            <a:off x="2534469" y="4833076"/>
            <a:ext cx="4582767" cy="1034505"/>
          </a:xfrm>
          <a:prstGeom prst="rect">
            <a:avLst/>
          </a:prstGeom>
          <a:noFill/>
        </p:spPr>
        <p:txBody>
          <a:bodyPr wrap="square" lIns="36000" tIns="36000" rIns="36000" bIns="36000" rtlCol="0">
            <a:spAutoFit/>
          </a:bodyPr>
          <a:lstStyle/>
          <a:p>
            <a:r>
              <a:rPr lang="en-US" sz="1050" dirty="0">
                <a:latin typeface="Arial" panose="020B0604020202020204" pitchFamily="34" charset="0"/>
                <a:cs typeface="Arial" panose="020B0604020202020204" pitchFamily="34" charset="0"/>
              </a:rPr>
              <a:t>Access to firm clean energy technology enables countries to gain manufacturing advantage, export capability, and stable industrial power.</a:t>
            </a:r>
          </a:p>
          <a:p>
            <a:r>
              <a:rPr lang="en-US" sz="1050" dirty="0">
                <a:latin typeface="Arial" panose="020B0604020202020204" pitchFamily="34" charset="0"/>
                <a:cs typeface="Arial" panose="020B0604020202020204" pitchFamily="34" charset="0"/>
              </a:rPr>
              <a:t>Next-gen geothermal (e.g., EGS, closed-loop) utilizes U.S. drilling prominence, offering a domain where the U.S. can become the global leader and have energy dominance in clean firm baseload technology.</a:t>
            </a:r>
          </a:p>
        </p:txBody>
      </p:sp>
      <p:sp>
        <p:nvSpPr>
          <p:cNvPr id="24" name="TextBox 23">
            <a:extLst>
              <a:ext uri="{FF2B5EF4-FFF2-40B4-BE49-F238E27FC236}">
                <a16:creationId xmlns:a16="http://schemas.microsoft.com/office/drawing/2014/main" id="{4AF346AD-1BCD-49FA-8C6D-BF2F7A3417A0}"/>
              </a:ext>
            </a:extLst>
          </p:cNvPr>
          <p:cNvSpPr txBox="1"/>
          <p:nvPr/>
        </p:nvSpPr>
        <p:spPr bwMode="gray">
          <a:xfrm>
            <a:off x="7269481" y="3555890"/>
            <a:ext cx="4331969" cy="719034"/>
          </a:xfrm>
          <a:prstGeom prst="rect">
            <a:avLst/>
          </a:prstGeom>
          <a:noFill/>
        </p:spPr>
        <p:txBody>
          <a:bodyPr wrap="square" lIns="36000" tIns="36000" rIns="36000" bIns="36000" rtlCol="0">
            <a:spAutoFit/>
          </a:bodyPr>
          <a:lstStyle/>
          <a:p>
            <a:r>
              <a:rPr lang="en-US" sz="1050" dirty="0">
                <a:latin typeface="Arial" panose="020B0604020202020204" pitchFamily="34" charset="0"/>
                <a:cs typeface="Arial" panose="020B0604020202020204" pitchFamily="34" charset="0"/>
              </a:rPr>
              <a:t>Executive Order 14008, “Tackling the Climate Crisis at Home and Abroad” (2021), recognized climate change as a national security threat and directed the United States toward a carbon, pollution-free electricity sector by 2035.</a:t>
            </a:r>
            <a:r>
              <a:rPr lang="en-US" sz="1050" baseline="30000" dirty="0">
                <a:latin typeface="Arial" panose="020B0604020202020204" pitchFamily="34" charset="0"/>
                <a:cs typeface="Arial" panose="020B0604020202020204" pitchFamily="34" charset="0"/>
              </a:rPr>
              <a:t>2</a:t>
            </a:r>
            <a:endParaRPr lang="en-US" sz="105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2708CEE2-25B8-9BDB-0F61-3EE8D9DBCAF4}"/>
              </a:ext>
            </a:extLst>
          </p:cNvPr>
          <p:cNvSpPr txBox="1"/>
          <p:nvPr/>
        </p:nvSpPr>
        <p:spPr bwMode="gray">
          <a:xfrm>
            <a:off x="7269481" y="1936562"/>
            <a:ext cx="4331969" cy="1042199"/>
          </a:xfrm>
          <a:prstGeom prst="rect">
            <a:avLst/>
          </a:prstGeom>
          <a:noFill/>
        </p:spPr>
        <p:txBody>
          <a:bodyPr wrap="square" lIns="36000" tIns="36000" rIns="36000" bIns="36000" rtlCol="0">
            <a:spAutoFit/>
          </a:bodyPr>
          <a:lstStyle/>
          <a:p>
            <a:r>
              <a:rPr lang="en-US" sz="1050" dirty="0"/>
              <a:t>The U.S. Air Force, U.S. Army, and the Defense Innovation Unit launched geothermal pilot projects with the main goal of improving energy resilience at military bases. They tested the systems at Mountain Home Air Force Base in Idaho and Joint Base San Antonio in Texas to help ensure bases could keep reliable power even when the main electric grid went down.</a:t>
            </a:r>
            <a:r>
              <a:rPr lang="en-US" sz="1050" baseline="30000" dirty="0"/>
              <a:t>1</a:t>
            </a:r>
            <a:endParaRPr lang="en-US" sz="105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EAF39FE0-A34C-4536-14E3-137179C63490}"/>
              </a:ext>
            </a:extLst>
          </p:cNvPr>
          <p:cNvSpPr txBox="1"/>
          <p:nvPr/>
        </p:nvSpPr>
        <p:spPr bwMode="gray">
          <a:xfrm>
            <a:off x="7269481" y="4644563"/>
            <a:ext cx="4353419" cy="1196088"/>
          </a:xfrm>
          <a:prstGeom prst="rect">
            <a:avLst/>
          </a:prstGeom>
          <a:noFill/>
        </p:spPr>
        <p:txBody>
          <a:bodyPr wrap="square" lIns="36000" tIns="36000" rIns="36000" bIns="36000" rtlCol="0">
            <a:spAutoFit/>
          </a:bodyPr>
          <a:lstStyle/>
          <a:p>
            <a:r>
              <a:rPr lang="en-US" sz="1050" dirty="0">
                <a:latin typeface="Arial" panose="020B0604020202020204" pitchFamily="34" charset="0"/>
                <a:cs typeface="Arial" panose="020B0604020202020204" pitchFamily="34" charset="0"/>
              </a:rPr>
              <a:t>The Department of Energy’s Utah FORGE site served as a dedicated EGS field laboratory in Milford, Utah, with R&amp;D funding and project investment opportunities.</a:t>
            </a:r>
            <a:r>
              <a:rPr lang="en-US" sz="1050" baseline="30000" dirty="0">
                <a:latin typeface="Arial" panose="020B0604020202020204" pitchFamily="34" charset="0"/>
                <a:cs typeface="Arial" panose="020B0604020202020204" pitchFamily="34" charset="0"/>
              </a:rPr>
              <a:t>3</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Geothermal electricity plants qualified for the federal Investment Tax Credit, and the Inflation Reduction Act extended these clean energy credits, allowing eligible geothermal projects to claim a 30% credit.</a:t>
            </a:r>
            <a:r>
              <a:rPr lang="en-US" sz="1050" baseline="30000" dirty="0">
                <a:latin typeface="Arial" panose="020B0604020202020204" pitchFamily="34" charset="0"/>
                <a:cs typeface="Arial" panose="020B0604020202020204" pitchFamily="34" charset="0"/>
              </a:rPr>
              <a:t>4</a:t>
            </a:r>
            <a:endParaRPr lang="en-US" sz="10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29388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745068-7C2E-A03C-7175-358C1CAAAFAC}"/>
              </a:ext>
            </a:extLst>
          </p:cNvPr>
          <p:cNvGraphicFramePr>
            <a:graphicFrameLocks/>
          </p:cNvGraphicFramePr>
          <p:nvPr>
            <p:custDataLst>
              <p:tags r:id="rId1"/>
            </p:custDataLst>
            <p:extLst>
              <p:ext uri="{D42A27DB-BD31-4B8C-83A1-F6EECF244321}">
                <p14:modId xmlns:p14="http://schemas.microsoft.com/office/powerpoint/2010/main" val="2677219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0" name=""/>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A205915-6366-4362-5B7C-AC608B5609CC}"/>
              </a:ext>
            </a:extLst>
          </p:cNvPr>
          <p:cNvSpPr>
            <a:spLocks noGrp="1"/>
          </p:cNvSpPr>
          <p:nvPr>
            <p:ph type="title"/>
          </p:nvPr>
        </p:nvSpPr>
        <p:spPr/>
        <p:txBody>
          <a:bodyPr vert="horz" rIns="91440"/>
          <a:lstStyle/>
          <a:p>
            <a:r>
              <a:rPr lang="en-US" dirty="0"/>
              <a:t>With 8% of the world’s geothermal resources, China’s potential for geothermal power could fast-track its 2060 net-zero targets </a:t>
            </a:r>
          </a:p>
        </p:txBody>
      </p:sp>
      <p:sp>
        <p:nvSpPr>
          <p:cNvPr id="6" name="Footer Placeholder 5">
            <a:extLst>
              <a:ext uri="{FF2B5EF4-FFF2-40B4-BE49-F238E27FC236}">
                <a16:creationId xmlns:a16="http://schemas.microsoft.com/office/drawing/2014/main" id="{8E89E032-FBCD-8892-8F11-7A40CA4F951B}"/>
              </a:ext>
            </a:extLst>
          </p:cNvPr>
          <p:cNvSpPr>
            <a:spLocks noGrp="1"/>
          </p:cNvSpPr>
          <p:nvPr>
            <p:ph type="ftr" sz="quarter" idx="3"/>
          </p:nvPr>
        </p:nvSpPr>
        <p:spPr>
          <a:xfrm>
            <a:off x="334962" y="6239502"/>
            <a:ext cx="9147241" cy="216706"/>
          </a:xfrm>
        </p:spPr>
        <p:txBody>
          <a:bodyPr/>
          <a:lstStyle/>
          <a:p>
            <a:pPr lvl="0">
              <a:defRPr/>
            </a:pPr>
            <a:r>
              <a:rPr lang="en-US" dirty="0">
                <a:solidFill>
                  <a:srgbClr val="000000"/>
                </a:solidFill>
              </a:rPr>
              <a:t>Sources: </a:t>
            </a:r>
            <a:r>
              <a:rPr lang="en-US" dirty="0">
                <a:solidFill>
                  <a:srgbClr val="000000"/>
                </a:solidFill>
                <a:hlinkClick r:id="rId9"/>
              </a:rPr>
              <a:t>Superhot Rock and the future of geothermal</a:t>
            </a:r>
            <a:r>
              <a:rPr lang="en-US" dirty="0">
                <a:solidFill>
                  <a:srgbClr val="000000"/>
                </a:solidFill>
              </a:rPr>
              <a:t> (CATF, 2025); </a:t>
            </a:r>
            <a:r>
              <a:rPr lang="en-US" dirty="0">
                <a:solidFill>
                  <a:srgbClr val="000000"/>
                </a:solidFill>
                <a:hlinkClick r:id="rId10"/>
              </a:rPr>
              <a:t>Chinas net-zero 2060 plan</a:t>
            </a:r>
            <a:r>
              <a:rPr lang="en-US" dirty="0">
                <a:solidFill>
                  <a:srgbClr val="000000"/>
                </a:solidFill>
              </a:rPr>
              <a:t> (S&amp;P Global, 2021); </a:t>
            </a:r>
            <a:r>
              <a:rPr lang="en-US" dirty="0">
                <a:solidFill>
                  <a:srgbClr val="000000"/>
                </a:solidFill>
                <a:hlinkClick r:id="rId11"/>
              </a:rPr>
              <a:t>China Energy Mix</a:t>
            </a:r>
            <a:r>
              <a:rPr lang="en-US" dirty="0">
                <a:solidFill>
                  <a:srgbClr val="000000"/>
                </a:solidFill>
              </a:rPr>
              <a:t> (IEA, 2024); </a:t>
            </a:r>
            <a:r>
              <a:rPr lang="en-US" dirty="0">
                <a:solidFill>
                  <a:srgbClr val="000000"/>
                </a:solidFill>
                <a:hlinkClick r:id="rId12"/>
              </a:rPr>
              <a:t>Renewable Energy Law</a:t>
            </a:r>
            <a:r>
              <a:rPr lang="en-US" dirty="0">
                <a:solidFill>
                  <a:srgbClr val="000000"/>
                </a:solidFill>
              </a:rPr>
              <a:t> (Ministry of Commerce Peoples Republic of China, 2013); </a:t>
            </a:r>
            <a:r>
              <a:rPr lang="en-US" dirty="0">
                <a:solidFill>
                  <a:srgbClr val="000000"/>
                </a:solidFill>
                <a:hlinkClick r:id="rId13"/>
              </a:rPr>
              <a:t>Beijing Declaration</a:t>
            </a:r>
            <a:r>
              <a:rPr lang="en-US" dirty="0">
                <a:solidFill>
                  <a:srgbClr val="000000"/>
                </a:solidFill>
              </a:rPr>
              <a:t> (PR Newswire, 2023); </a:t>
            </a:r>
            <a:r>
              <a:rPr lang="en-US" dirty="0">
                <a:solidFill>
                  <a:srgbClr val="000000"/>
                </a:solidFill>
                <a:hlinkClick r:id="rId14"/>
              </a:rPr>
              <a:t>Carbon Neutrality in China</a:t>
            </a:r>
            <a:r>
              <a:rPr lang="en-US" dirty="0">
                <a:solidFill>
                  <a:srgbClr val="000000"/>
                </a:solidFill>
              </a:rPr>
              <a:t> (CNEUEN, n.d.); </a:t>
            </a:r>
            <a:r>
              <a:rPr lang="en-US" dirty="0">
                <a:solidFill>
                  <a:srgbClr val="000000"/>
                </a:solidFill>
                <a:hlinkClick r:id="rId15"/>
              </a:rPr>
              <a:t>China’s population density</a:t>
            </a:r>
            <a:r>
              <a:rPr lang="en-US" dirty="0">
                <a:solidFill>
                  <a:srgbClr val="000000"/>
                </a:solidFill>
              </a:rPr>
              <a:t> (Visual Capitalist, 2024).</a:t>
            </a:r>
          </a:p>
          <a:p>
            <a:pPr>
              <a:defRPr/>
            </a:pPr>
            <a:r>
              <a:rPr lang="en-US" dirty="0">
                <a:solidFill>
                  <a:srgbClr val="000000"/>
                </a:solidFill>
              </a:rPr>
              <a:t>Credit: Zacharia Thurston, and </a:t>
            </a:r>
            <a:r>
              <a:rPr lang="en-US" dirty="0">
                <a:solidFill>
                  <a:srgbClr val="000000"/>
                </a:solidFill>
                <a:hlinkClick r:id="rId16"/>
              </a:rPr>
              <a:t>Gernot Wagner</a:t>
            </a:r>
            <a:r>
              <a:rPr lang="en-US" dirty="0">
                <a:solidFill>
                  <a:srgbClr val="000000"/>
                </a:solidFill>
              </a:rPr>
              <a:t>. </a:t>
            </a:r>
            <a:r>
              <a:rPr lang="en-US" dirty="0">
                <a:solidFill>
                  <a:srgbClr val="000000">
                    <a:tint val="82000"/>
                  </a:srgbClr>
                </a:solidFill>
                <a:hlinkClick r:id="rId1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378C592A-524D-61E0-ECAD-F9D0C4B73EE4}"/>
              </a:ext>
            </a:extLst>
          </p:cNvPr>
          <p:cNvSpPr>
            <a:spLocks noGrp="1"/>
          </p:cNvSpPr>
          <p:nvPr>
            <p:ph type="body" sz="quarter" idx="13"/>
          </p:nvPr>
        </p:nvSpPr>
        <p:spPr/>
        <p:txBody>
          <a:bodyPr/>
          <a:lstStyle/>
          <a:p>
            <a:r>
              <a:rPr lang="en-US" dirty="0"/>
              <a:t>Geothermal power lacks representation in Chinese energy policy</a:t>
            </a:r>
          </a:p>
        </p:txBody>
      </p:sp>
      <p:sp>
        <p:nvSpPr>
          <p:cNvPr id="8" name="Text Placeholder 7">
            <a:extLst>
              <a:ext uri="{FF2B5EF4-FFF2-40B4-BE49-F238E27FC236}">
                <a16:creationId xmlns:a16="http://schemas.microsoft.com/office/drawing/2014/main" id="{4BD9ECD5-3BF9-2127-E55F-41A2CEE29911}"/>
              </a:ext>
            </a:extLst>
          </p:cNvPr>
          <p:cNvSpPr>
            <a:spLocks noGrp="1"/>
          </p:cNvSpPr>
          <p:nvPr>
            <p:ph type="body" sz="quarter" idx="16"/>
          </p:nvPr>
        </p:nvSpPr>
        <p:spPr/>
        <p:txBody>
          <a:bodyPr/>
          <a:lstStyle/>
          <a:p>
            <a:r>
              <a:rPr lang="en-US" dirty="0"/>
              <a:t>China’s 2050 energy demand projections and 1% geothermal power potential in </a:t>
            </a:r>
            <a:r>
              <a:rPr lang="en-US" i="1" dirty="0"/>
              <a:t>GWh</a:t>
            </a:r>
          </a:p>
        </p:txBody>
      </p:sp>
      <p:sp>
        <p:nvSpPr>
          <p:cNvPr id="10" name="Text Placeholder 1">
            <a:extLst>
              <a:ext uri="{FF2B5EF4-FFF2-40B4-BE49-F238E27FC236}">
                <a16:creationId xmlns:a16="http://schemas.microsoft.com/office/drawing/2014/main" id="{2B3D3B0A-04DD-ECFB-A7EE-15AD4DCB3243}"/>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China</a:t>
            </a:r>
          </a:p>
        </p:txBody>
      </p:sp>
      <p:sp>
        <p:nvSpPr>
          <p:cNvPr id="11" name="Rectangle 10">
            <a:extLst>
              <a:ext uri="{FF2B5EF4-FFF2-40B4-BE49-F238E27FC236}">
                <a16:creationId xmlns:a16="http://schemas.microsoft.com/office/drawing/2014/main" id="{82184CFE-D0B4-1206-A6C5-8D6563226C4E}"/>
              </a:ext>
            </a:extLst>
          </p:cNvPr>
          <p:cNvSpPr/>
          <p:nvPr/>
        </p:nvSpPr>
        <p:spPr bwMode="gray">
          <a:xfrm>
            <a:off x="324000" y="2140303"/>
            <a:ext cx="5010767" cy="40930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D95C3A5D-5BD2-3229-9981-AA5AA4A1251A}"/>
              </a:ext>
            </a:extLst>
          </p:cNvPr>
          <p:cNvSpPr/>
          <p:nvPr/>
        </p:nvSpPr>
        <p:spPr bwMode="gray">
          <a:xfrm>
            <a:off x="5632450" y="4856163"/>
            <a:ext cx="1393825" cy="233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3" name="Chart 12">
            <a:extLst>
              <a:ext uri="{FF2B5EF4-FFF2-40B4-BE49-F238E27FC236}">
                <a16:creationId xmlns:a16="http://schemas.microsoft.com/office/drawing/2014/main" id="{18399DAE-B088-65F6-1E1C-2275F61131E3}"/>
              </a:ext>
            </a:extLst>
          </p:cNvPr>
          <p:cNvGraphicFramePr/>
          <p:nvPr>
            <p:custDataLst>
              <p:tags r:id="rId2"/>
            </p:custDataLst>
            <p:extLst>
              <p:ext uri="{D42A27DB-BD31-4B8C-83A1-F6EECF244321}">
                <p14:modId xmlns:p14="http://schemas.microsoft.com/office/powerpoint/2010/main" val="3569917941"/>
              </p:ext>
            </p:extLst>
          </p:nvPr>
        </p:nvGraphicFramePr>
        <p:xfrm>
          <a:off x="6092825" y="3597275"/>
          <a:ext cx="5254625" cy="2346325"/>
        </p:xfrm>
        <a:graphic>
          <a:graphicData uri="http://schemas.openxmlformats.org/drawingml/2006/chart">
            <c:chart xmlns:c="http://schemas.openxmlformats.org/drawingml/2006/chart" xmlns:r="http://schemas.openxmlformats.org/officeDocument/2006/relationships" r:id="rId18"/>
          </a:graphicData>
        </a:graphic>
      </p:graphicFrame>
      <p:sp>
        <p:nvSpPr>
          <p:cNvPr id="14" name="Text Placeholder 10">
            <a:extLst>
              <a:ext uri="{FF2B5EF4-FFF2-40B4-BE49-F238E27FC236}">
                <a16:creationId xmlns:a16="http://schemas.microsoft.com/office/drawing/2014/main" id="{E047AAF6-412B-D607-67BF-6E7095AF5E81}"/>
              </a:ext>
            </a:extLst>
          </p:cNvPr>
          <p:cNvSpPr txBox="1">
            <a:spLocks/>
          </p:cNvSpPr>
          <p:nvPr>
            <p:custDataLst>
              <p:tags r:id="rId3"/>
            </p:custDataLst>
          </p:nvPr>
        </p:nvSpPr>
        <p:spPr bwMode="auto">
          <a:xfrm>
            <a:off x="6845300" y="5761038"/>
            <a:ext cx="1203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2050 energy demand</a:t>
            </a:r>
            <a:endParaRPr lang="en-US" sz="1000" dirty="0"/>
          </a:p>
        </p:txBody>
      </p:sp>
      <p:sp>
        <p:nvSpPr>
          <p:cNvPr id="15" name="Text Placeholder 10">
            <a:extLst>
              <a:ext uri="{FF2B5EF4-FFF2-40B4-BE49-F238E27FC236}">
                <a16:creationId xmlns:a16="http://schemas.microsoft.com/office/drawing/2014/main" id="{134B587C-F5D1-D0AA-4457-2A19BB28EC44}"/>
              </a:ext>
            </a:extLst>
          </p:cNvPr>
          <p:cNvSpPr txBox="1">
            <a:spLocks/>
          </p:cNvSpPr>
          <p:nvPr>
            <p:custDataLst>
              <p:tags r:id="rId4"/>
            </p:custDataLst>
          </p:nvPr>
        </p:nvSpPr>
        <p:spPr bwMode="auto">
          <a:xfrm>
            <a:off x="9169400" y="5761038"/>
            <a:ext cx="164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1% of superhot rock potential</a:t>
            </a:r>
            <a:endParaRPr lang="en-US" sz="1000" dirty="0"/>
          </a:p>
        </p:txBody>
      </p:sp>
      <p:sp>
        <p:nvSpPr>
          <p:cNvPr id="16" name="Text Placeholder 10">
            <a:extLst>
              <a:ext uri="{FF2B5EF4-FFF2-40B4-BE49-F238E27FC236}">
                <a16:creationId xmlns:a16="http://schemas.microsoft.com/office/drawing/2014/main" id="{FEA8DA83-F38C-9506-0097-EAA13C043366}"/>
              </a:ext>
            </a:extLst>
          </p:cNvPr>
          <p:cNvSpPr txBox="1">
            <a:spLocks/>
          </p:cNvSpPr>
          <p:nvPr>
            <p:custDataLst>
              <p:tags r:id="rId5"/>
            </p:custDataLst>
          </p:nvPr>
        </p:nvSpPr>
        <p:spPr bwMode="gray">
          <a:xfrm>
            <a:off x="9659938" y="3644900"/>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E16769-1A99-4133-A0B4-BAAD6E456700}" type="datetime'''''8''''''''7'''''''',4''''85'''''''',''295'''''''''''''''''">
              <a:rPr lang="en-US" altLang="en-US" sz="1000" i="1" smtClean="0"/>
              <a:pPr marL="0" indent="0" algn="ctr">
                <a:spcBef>
                  <a:spcPct val="0"/>
                </a:spcBef>
                <a:spcAft>
                  <a:spcPct val="0"/>
                </a:spcAft>
                <a:buNone/>
              </a:pPr>
              <a:t>87,485,295</a:t>
            </a:fld>
            <a:endParaRPr lang="en-US" sz="1000" i="1" dirty="0"/>
          </a:p>
        </p:txBody>
      </p:sp>
      <p:sp>
        <p:nvSpPr>
          <p:cNvPr id="17" name="Right Brace 16">
            <a:extLst>
              <a:ext uri="{FF2B5EF4-FFF2-40B4-BE49-F238E27FC236}">
                <a16:creationId xmlns:a16="http://schemas.microsoft.com/office/drawing/2014/main" id="{62F5B5F2-AD94-C876-F219-027E7AAAC977}"/>
              </a:ext>
            </a:extLst>
          </p:cNvPr>
          <p:cNvSpPr/>
          <p:nvPr/>
        </p:nvSpPr>
        <p:spPr bwMode="gray">
          <a:xfrm>
            <a:off x="10260013" y="3897313"/>
            <a:ext cx="371475" cy="1520825"/>
          </a:xfrm>
          <a:prstGeom prst="rightBrace">
            <a:avLst>
              <a:gd name="adj1" fmla="val 0"/>
              <a:gd name="adj2" fmla="val 50000"/>
            </a:avLst>
          </a:prstGeom>
          <a:ln w="28575">
            <a:tailEnd type="none" w="med" len="lg"/>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310DD41F-B01D-0B62-3A90-8324449D329E}"/>
              </a:ext>
            </a:extLst>
          </p:cNvPr>
          <p:cNvSpPr/>
          <p:nvPr/>
        </p:nvSpPr>
        <p:spPr bwMode="gray">
          <a:xfrm>
            <a:off x="10666413" y="4586288"/>
            <a:ext cx="1049338" cy="357188"/>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accent5"/>
                </a:solidFill>
              </a:rPr>
              <a:t>Excess of 75,969,417 GWh </a:t>
            </a:r>
          </a:p>
        </p:txBody>
      </p:sp>
      <p:cxnSp>
        <p:nvCxnSpPr>
          <p:cNvPr id="19" name="Straight Arrow Connector 18">
            <a:extLst>
              <a:ext uri="{FF2B5EF4-FFF2-40B4-BE49-F238E27FC236}">
                <a16:creationId xmlns:a16="http://schemas.microsoft.com/office/drawing/2014/main" id="{9DF72731-708A-14B8-26C7-FADCF6878870}"/>
              </a:ext>
            </a:extLst>
          </p:cNvPr>
          <p:cNvCxnSpPr>
            <a:cxnSpLocks/>
          </p:cNvCxnSpPr>
          <p:nvPr/>
        </p:nvCxnSpPr>
        <p:spPr bwMode="gray">
          <a:xfrm>
            <a:off x="553063" y="2353360"/>
            <a:ext cx="0" cy="3746419"/>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8AEFA5FA-6F16-768F-8DC0-1823136B5B29}"/>
              </a:ext>
            </a:extLst>
          </p:cNvPr>
          <p:cNvSpPr/>
          <p:nvPr/>
        </p:nvSpPr>
        <p:spPr bwMode="gray">
          <a:xfrm>
            <a:off x="482982" y="2750174"/>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tangle 20">
            <a:extLst>
              <a:ext uri="{FF2B5EF4-FFF2-40B4-BE49-F238E27FC236}">
                <a16:creationId xmlns:a16="http://schemas.microsoft.com/office/drawing/2014/main" id="{87C68F3D-0928-9F88-A596-673F282C989B}"/>
              </a:ext>
            </a:extLst>
          </p:cNvPr>
          <p:cNvSpPr/>
          <p:nvPr/>
        </p:nvSpPr>
        <p:spPr bwMode="gray">
          <a:xfrm>
            <a:off x="375394" y="2536911"/>
            <a:ext cx="578666"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5</a:t>
            </a:r>
          </a:p>
        </p:txBody>
      </p:sp>
      <p:sp>
        <p:nvSpPr>
          <p:cNvPr id="22" name="Rectangle 21">
            <a:extLst>
              <a:ext uri="{FF2B5EF4-FFF2-40B4-BE49-F238E27FC236}">
                <a16:creationId xmlns:a16="http://schemas.microsoft.com/office/drawing/2014/main" id="{A67C9587-5F97-4F72-8B42-29381340A0B4}"/>
              </a:ext>
            </a:extLst>
          </p:cNvPr>
          <p:cNvSpPr/>
          <p:nvPr/>
        </p:nvSpPr>
        <p:spPr bwMode="gray">
          <a:xfrm>
            <a:off x="779756" y="2547158"/>
            <a:ext cx="4399579" cy="4206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Provides broad support for renewable energy outbuild, with geothermal explicitly mentioned</a:t>
            </a:r>
          </a:p>
        </p:txBody>
      </p:sp>
      <p:sp>
        <p:nvSpPr>
          <p:cNvPr id="23" name="Rectangle 22">
            <a:extLst>
              <a:ext uri="{FF2B5EF4-FFF2-40B4-BE49-F238E27FC236}">
                <a16:creationId xmlns:a16="http://schemas.microsoft.com/office/drawing/2014/main" id="{C0DF638D-A287-C839-FE3F-71065EF7800C}"/>
              </a:ext>
            </a:extLst>
          </p:cNvPr>
          <p:cNvSpPr/>
          <p:nvPr/>
        </p:nvSpPr>
        <p:spPr bwMode="gray">
          <a:xfrm>
            <a:off x="339666" y="3281410"/>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6-20</a:t>
            </a:r>
          </a:p>
        </p:txBody>
      </p:sp>
      <p:sp>
        <p:nvSpPr>
          <p:cNvPr id="24" name="Rectangle 23">
            <a:extLst>
              <a:ext uri="{FF2B5EF4-FFF2-40B4-BE49-F238E27FC236}">
                <a16:creationId xmlns:a16="http://schemas.microsoft.com/office/drawing/2014/main" id="{F91639ED-1664-B4C4-25A2-338E70C626FD}"/>
              </a:ext>
            </a:extLst>
          </p:cNvPr>
          <p:cNvSpPr/>
          <p:nvPr/>
        </p:nvSpPr>
        <p:spPr bwMode="gray">
          <a:xfrm>
            <a:off x="789805" y="3293403"/>
            <a:ext cx="4385671" cy="3930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Reach +1.1B meters of geothermal heating &amp; cooling and increase power to 500-530 MW by 2020</a:t>
            </a:r>
          </a:p>
        </p:txBody>
      </p:sp>
      <p:sp>
        <p:nvSpPr>
          <p:cNvPr id="25" name="Rectangle 24">
            <a:extLst>
              <a:ext uri="{FF2B5EF4-FFF2-40B4-BE49-F238E27FC236}">
                <a16:creationId xmlns:a16="http://schemas.microsoft.com/office/drawing/2014/main" id="{D6F88AB0-0BD8-D0FA-B317-5E0CCA6A6E0F}"/>
              </a:ext>
            </a:extLst>
          </p:cNvPr>
          <p:cNvSpPr/>
          <p:nvPr/>
        </p:nvSpPr>
        <p:spPr bwMode="gray">
          <a:xfrm>
            <a:off x="389957" y="4776229"/>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1</a:t>
            </a:r>
          </a:p>
        </p:txBody>
      </p:sp>
      <p:sp>
        <p:nvSpPr>
          <p:cNvPr id="26" name="Rectangle 25">
            <a:extLst>
              <a:ext uri="{FF2B5EF4-FFF2-40B4-BE49-F238E27FC236}">
                <a16:creationId xmlns:a16="http://schemas.microsoft.com/office/drawing/2014/main" id="{986BAA8E-1ABD-7949-7F17-39A2DB85CBAF}"/>
              </a:ext>
            </a:extLst>
          </p:cNvPr>
          <p:cNvSpPr/>
          <p:nvPr/>
        </p:nvSpPr>
        <p:spPr bwMode="gray">
          <a:xfrm>
            <a:off x="781281" y="4776252"/>
            <a:ext cx="4364556" cy="37046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Promote deep geothermal heating &amp; cooling and boost geothermal power generation</a:t>
            </a:r>
          </a:p>
        </p:txBody>
      </p:sp>
      <p:sp>
        <p:nvSpPr>
          <p:cNvPr id="27" name="Rectangle 26">
            <a:extLst>
              <a:ext uri="{FF2B5EF4-FFF2-40B4-BE49-F238E27FC236}">
                <a16:creationId xmlns:a16="http://schemas.microsoft.com/office/drawing/2014/main" id="{F8BA74F5-885E-35BF-414A-651088F9632E}"/>
              </a:ext>
            </a:extLst>
          </p:cNvPr>
          <p:cNvSpPr/>
          <p:nvPr/>
        </p:nvSpPr>
        <p:spPr bwMode="gray">
          <a:xfrm>
            <a:off x="389957" y="5539880"/>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3</a:t>
            </a:r>
          </a:p>
        </p:txBody>
      </p:sp>
      <p:sp>
        <p:nvSpPr>
          <p:cNvPr id="28" name="Rectangle 27">
            <a:extLst>
              <a:ext uri="{FF2B5EF4-FFF2-40B4-BE49-F238E27FC236}">
                <a16:creationId xmlns:a16="http://schemas.microsoft.com/office/drawing/2014/main" id="{A683243C-B197-5C10-B993-4BFFD2B55FD3}"/>
              </a:ext>
            </a:extLst>
          </p:cNvPr>
          <p:cNvSpPr/>
          <p:nvPr/>
        </p:nvSpPr>
        <p:spPr bwMode="gray">
          <a:xfrm>
            <a:off x="748584" y="2229522"/>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Renewable Energy Law</a:t>
            </a:r>
          </a:p>
        </p:txBody>
      </p:sp>
      <p:sp>
        <p:nvSpPr>
          <p:cNvPr id="29" name="Rectangle 28">
            <a:extLst>
              <a:ext uri="{FF2B5EF4-FFF2-40B4-BE49-F238E27FC236}">
                <a16:creationId xmlns:a16="http://schemas.microsoft.com/office/drawing/2014/main" id="{201494B0-3BE7-54C4-E0E9-48EFB926688F}"/>
              </a:ext>
            </a:extLst>
          </p:cNvPr>
          <p:cNvSpPr/>
          <p:nvPr/>
        </p:nvSpPr>
        <p:spPr bwMode="gray">
          <a:xfrm>
            <a:off x="708652" y="3054081"/>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13</a:t>
            </a:r>
            <a:r>
              <a:rPr lang="en-US" sz="1050" baseline="30000" dirty="0">
                <a:solidFill>
                  <a:schemeClr val="tx1"/>
                </a:solidFill>
              </a:rPr>
              <a:t>th</a:t>
            </a:r>
            <a:r>
              <a:rPr lang="en-US" sz="1050" dirty="0">
                <a:solidFill>
                  <a:schemeClr val="tx1"/>
                </a:solidFill>
              </a:rPr>
              <a:t> Five Year Plan</a:t>
            </a:r>
          </a:p>
        </p:txBody>
      </p:sp>
      <p:sp>
        <p:nvSpPr>
          <p:cNvPr id="30" name="Rectangle 29">
            <a:extLst>
              <a:ext uri="{FF2B5EF4-FFF2-40B4-BE49-F238E27FC236}">
                <a16:creationId xmlns:a16="http://schemas.microsoft.com/office/drawing/2014/main" id="{A0F12013-0748-E5E3-C535-EC0EB4DB9F84}"/>
              </a:ext>
            </a:extLst>
          </p:cNvPr>
          <p:cNvSpPr/>
          <p:nvPr/>
        </p:nvSpPr>
        <p:spPr bwMode="gray">
          <a:xfrm>
            <a:off x="779756" y="4504993"/>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14</a:t>
            </a:r>
            <a:r>
              <a:rPr lang="en-US" sz="1050" baseline="30000" dirty="0">
                <a:solidFill>
                  <a:schemeClr val="tx1"/>
                </a:solidFill>
              </a:rPr>
              <a:t>th</a:t>
            </a:r>
            <a:r>
              <a:rPr lang="en-US" sz="1050" dirty="0">
                <a:solidFill>
                  <a:schemeClr val="tx1"/>
                </a:solidFill>
              </a:rPr>
              <a:t> Five Year Plan</a:t>
            </a:r>
          </a:p>
        </p:txBody>
      </p:sp>
      <p:sp>
        <p:nvSpPr>
          <p:cNvPr id="31" name="Rectangle 30">
            <a:extLst>
              <a:ext uri="{FF2B5EF4-FFF2-40B4-BE49-F238E27FC236}">
                <a16:creationId xmlns:a16="http://schemas.microsoft.com/office/drawing/2014/main" id="{84B181E7-C961-78F9-9BEA-214A52765478}"/>
              </a:ext>
            </a:extLst>
          </p:cNvPr>
          <p:cNvSpPr/>
          <p:nvPr/>
        </p:nvSpPr>
        <p:spPr bwMode="gray">
          <a:xfrm>
            <a:off x="734682" y="5232973"/>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Geothermal Industry Standard and Beijing Declaration</a:t>
            </a:r>
          </a:p>
        </p:txBody>
      </p:sp>
      <p:sp>
        <p:nvSpPr>
          <p:cNvPr id="32" name="Rectangle 31">
            <a:extLst>
              <a:ext uri="{FF2B5EF4-FFF2-40B4-BE49-F238E27FC236}">
                <a16:creationId xmlns:a16="http://schemas.microsoft.com/office/drawing/2014/main" id="{7F74AB40-5DD4-F034-FA3E-BAF712F79883}"/>
              </a:ext>
            </a:extLst>
          </p:cNvPr>
          <p:cNvSpPr/>
          <p:nvPr/>
        </p:nvSpPr>
        <p:spPr bwMode="gray">
          <a:xfrm>
            <a:off x="806792" y="5553393"/>
            <a:ext cx="4356031" cy="5463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Industry Standard focuses on heating &amp; cooling; Beijing Declaration prioritizes geothermal development as one of the most popular energy sources of the future </a:t>
            </a:r>
          </a:p>
        </p:txBody>
      </p:sp>
      <p:sp>
        <p:nvSpPr>
          <p:cNvPr id="33" name="Rectangle 32">
            <a:extLst>
              <a:ext uri="{FF2B5EF4-FFF2-40B4-BE49-F238E27FC236}">
                <a16:creationId xmlns:a16="http://schemas.microsoft.com/office/drawing/2014/main" id="{F919C9EE-1110-9117-741B-95767EA1046A}"/>
              </a:ext>
            </a:extLst>
          </p:cNvPr>
          <p:cNvSpPr/>
          <p:nvPr/>
        </p:nvSpPr>
        <p:spPr bwMode="gray">
          <a:xfrm>
            <a:off x="409301" y="4022271"/>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b="1" dirty="0">
                <a:solidFill>
                  <a:schemeClr val="accent5"/>
                </a:solidFill>
              </a:rPr>
              <a:t>2020</a:t>
            </a:r>
          </a:p>
        </p:txBody>
      </p:sp>
      <p:sp>
        <p:nvSpPr>
          <p:cNvPr id="34" name="Rectangle 33">
            <a:extLst>
              <a:ext uri="{FF2B5EF4-FFF2-40B4-BE49-F238E27FC236}">
                <a16:creationId xmlns:a16="http://schemas.microsoft.com/office/drawing/2014/main" id="{4FFC0226-BAC5-C8E5-064B-E5D9D0AD603C}"/>
              </a:ext>
            </a:extLst>
          </p:cNvPr>
          <p:cNvSpPr/>
          <p:nvPr/>
        </p:nvSpPr>
        <p:spPr bwMode="gray">
          <a:xfrm>
            <a:off x="784156" y="4030089"/>
            <a:ext cx="4378667" cy="3886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accent5"/>
                </a:solidFill>
              </a:rPr>
              <a:t>Achieve carbon peak by 2030, reduce emissions rapidly by 2045, </a:t>
            </a:r>
            <a:br>
              <a:rPr lang="en-US" sz="1050" dirty="0">
                <a:solidFill>
                  <a:schemeClr val="accent5"/>
                </a:solidFill>
              </a:rPr>
            </a:br>
            <a:r>
              <a:rPr lang="en-US" sz="1050" dirty="0">
                <a:solidFill>
                  <a:schemeClr val="accent5"/>
                </a:solidFill>
              </a:rPr>
              <a:t>and reach deep decarbonization and neutrality by 2050</a:t>
            </a:r>
          </a:p>
        </p:txBody>
      </p:sp>
      <p:sp>
        <p:nvSpPr>
          <p:cNvPr id="35" name="Rectangle 34">
            <a:extLst>
              <a:ext uri="{FF2B5EF4-FFF2-40B4-BE49-F238E27FC236}">
                <a16:creationId xmlns:a16="http://schemas.microsoft.com/office/drawing/2014/main" id="{F72A6BD6-FBE5-FD3B-BFF8-E3F971EE7661}"/>
              </a:ext>
            </a:extLst>
          </p:cNvPr>
          <p:cNvSpPr/>
          <p:nvPr/>
        </p:nvSpPr>
        <p:spPr bwMode="gray">
          <a:xfrm>
            <a:off x="779758" y="3772691"/>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accent5"/>
                </a:solidFill>
              </a:rPr>
              <a:t>Net-Zero 2060 Plan</a:t>
            </a:r>
            <a:endParaRPr lang="en-US" sz="1050" b="1" dirty="0">
              <a:solidFill>
                <a:schemeClr val="tx1"/>
              </a:solidFill>
            </a:endParaRPr>
          </a:p>
        </p:txBody>
      </p:sp>
      <p:grpSp>
        <p:nvGrpSpPr>
          <p:cNvPr id="36" name="Group 35">
            <a:extLst>
              <a:ext uri="{FF2B5EF4-FFF2-40B4-BE49-F238E27FC236}">
                <a16:creationId xmlns:a16="http://schemas.microsoft.com/office/drawing/2014/main" id="{421BA8B8-E920-EF38-0933-BF4BFCC91B97}"/>
              </a:ext>
            </a:extLst>
          </p:cNvPr>
          <p:cNvGrpSpPr/>
          <p:nvPr/>
        </p:nvGrpSpPr>
        <p:grpSpPr>
          <a:xfrm>
            <a:off x="5408613" y="2132012"/>
            <a:ext cx="3914775" cy="3168650"/>
            <a:chOff x="6130901" y="3088261"/>
            <a:chExt cx="3324201" cy="2557821"/>
          </a:xfrm>
        </p:grpSpPr>
        <p:grpSp>
          <p:nvGrpSpPr>
            <p:cNvPr id="37" name="Group 36">
              <a:extLst>
                <a:ext uri="{FF2B5EF4-FFF2-40B4-BE49-F238E27FC236}">
                  <a16:creationId xmlns:a16="http://schemas.microsoft.com/office/drawing/2014/main" id="{A0004EDD-CB2E-4634-7058-96B51924291E}"/>
                </a:ext>
              </a:extLst>
            </p:cNvPr>
            <p:cNvGrpSpPr/>
            <p:nvPr/>
          </p:nvGrpSpPr>
          <p:grpSpPr>
            <a:xfrm>
              <a:off x="6130901" y="3088261"/>
              <a:ext cx="3324201" cy="2519804"/>
              <a:chOff x="6130901" y="3088261"/>
              <a:chExt cx="3324201" cy="2519804"/>
            </a:xfrm>
          </p:grpSpPr>
          <p:grpSp>
            <p:nvGrpSpPr>
              <p:cNvPr id="39" name="Group 38">
                <a:extLst>
                  <a:ext uri="{FF2B5EF4-FFF2-40B4-BE49-F238E27FC236}">
                    <a16:creationId xmlns:a16="http://schemas.microsoft.com/office/drawing/2014/main" id="{ABD527FD-2584-6165-D017-466A2EDA096D}"/>
                  </a:ext>
                </a:extLst>
              </p:cNvPr>
              <p:cNvGrpSpPr/>
              <p:nvPr/>
            </p:nvGrpSpPr>
            <p:grpSpPr>
              <a:xfrm>
                <a:off x="6230889" y="3088261"/>
                <a:ext cx="3224213" cy="2476500"/>
                <a:chOff x="308722" y="1989531"/>
                <a:chExt cx="4338103" cy="3289899"/>
              </a:xfrm>
            </p:grpSpPr>
            <p:pic>
              <p:nvPicPr>
                <p:cNvPr id="41" name="Picture 40" descr="A map of china with different colored areas&#10;&#10;AI-generated content may be incorrect.">
                  <a:extLst>
                    <a:ext uri="{FF2B5EF4-FFF2-40B4-BE49-F238E27FC236}">
                      <a16:creationId xmlns:a16="http://schemas.microsoft.com/office/drawing/2014/main" id="{C6272938-0D78-E09D-65D5-D6785688B6A8}"/>
                    </a:ext>
                  </a:extLst>
                </p:cNvPr>
                <p:cNvPicPr>
                  <a:picLocks noChangeAspect="1"/>
                </p:cNvPicPr>
                <p:nvPr/>
              </p:nvPicPr>
              <p:blipFill>
                <a:blip r:embed="rId19">
                  <a:alphaModFix/>
                  <a:extLst>
                    <a:ext uri="{28A0092B-C50C-407E-A947-70E740481C1C}">
                      <a14:useLocalDpi xmlns:a14="http://schemas.microsoft.com/office/drawing/2010/main"/>
                    </a:ext>
                  </a:extLst>
                </a:blip>
                <a:stretch>
                  <a:fillRect/>
                </a:stretch>
              </p:blipFill>
              <p:spPr>
                <a:xfrm>
                  <a:off x="308722" y="1989531"/>
                  <a:ext cx="4338102" cy="3289899"/>
                </a:xfrm>
                <a:prstGeom prst="rect">
                  <a:avLst/>
                </a:prstGeom>
              </p:spPr>
            </p:pic>
            <p:grpSp>
              <p:nvGrpSpPr>
                <p:cNvPr id="42" name="Group 4">
                  <a:extLst>
                    <a:ext uri="{FF2B5EF4-FFF2-40B4-BE49-F238E27FC236}">
                      <a16:creationId xmlns:a16="http://schemas.microsoft.com/office/drawing/2014/main" id="{99FEC387-4F89-23A3-C910-FB18BB8748F7}"/>
                    </a:ext>
                  </a:extLst>
                </p:cNvPr>
                <p:cNvGrpSpPr>
                  <a:grpSpLocks noChangeAspect="1"/>
                </p:cNvGrpSpPr>
                <p:nvPr/>
              </p:nvGrpSpPr>
              <p:grpSpPr bwMode="auto">
                <a:xfrm>
                  <a:off x="308722" y="1989531"/>
                  <a:ext cx="4338103" cy="3289899"/>
                  <a:chOff x="-9" y="5"/>
                  <a:chExt cx="5769" cy="4314"/>
                </a:xfrm>
                <a:solidFill>
                  <a:schemeClr val="bg1">
                    <a:lumMod val="85000"/>
                    <a:alpha val="19000"/>
                  </a:schemeClr>
                </a:solidFill>
              </p:grpSpPr>
              <p:sp>
                <p:nvSpPr>
                  <p:cNvPr id="43" name="Freeform 5">
                    <a:extLst>
                      <a:ext uri="{FF2B5EF4-FFF2-40B4-BE49-F238E27FC236}">
                        <a16:creationId xmlns:a16="http://schemas.microsoft.com/office/drawing/2014/main" id="{CFBC45B5-B3BE-50E6-428A-92EC7DB4AE95}"/>
                      </a:ext>
                    </a:extLst>
                  </p:cNvPr>
                  <p:cNvSpPr>
                    <a:spLocks/>
                  </p:cNvSpPr>
                  <p:nvPr/>
                </p:nvSpPr>
                <p:spPr bwMode="auto">
                  <a:xfrm>
                    <a:off x="3679" y="4064"/>
                    <a:ext cx="312" cy="255"/>
                  </a:xfrm>
                  <a:custGeom>
                    <a:avLst/>
                    <a:gdLst>
                      <a:gd name="T0" fmla="*/ 553 w 673"/>
                      <a:gd name="T1" fmla="*/ 13 h 550"/>
                      <a:gd name="T2" fmla="*/ 520 w 673"/>
                      <a:gd name="T3" fmla="*/ 52 h 550"/>
                      <a:gd name="T4" fmla="*/ 454 w 673"/>
                      <a:gd name="T5" fmla="*/ 35 h 550"/>
                      <a:gd name="T6" fmla="*/ 411 w 673"/>
                      <a:gd name="T7" fmla="*/ 61 h 550"/>
                      <a:gd name="T8" fmla="*/ 358 w 673"/>
                      <a:gd name="T9" fmla="*/ 78 h 550"/>
                      <a:gd name="T10" fmla="*/ 319 w 673"/>
                      <a:gd name="T11" fmla="*/ 70 h 550"/>
                      <a:gd name="T12" fmla="*/ 284 w 673"/>
                      <a:gd name="T13" fmla="*/ 48 h 550"/>
                      <a:gd name="T14" fmla="*/ 260 w 673"/>
                      <a:gd name="T15" fmla="*/ 89 h 550"/>
                      <a:gd name="T16" fmla="*/ 232 w 673"/>
                      <a:gd name="T17" fmla="*/ 111 h 550"/>
                      <a:gd name="T18" fmla="*/ 160 w 673"/>
                      <a:gd name="T19" fmla="*/ 102 h 550"/>
                      <a:gd name="T20" fmla="*/ 175 w 673"/>
                      <a:gd name="T21" fmla="*/ 148 h 550"/>
                      <a:gd name="T22" fmla="*/ 120 w 673"/>
                      <a:gd name="T23" fmla="*/ 185 h 550"/>
                      <a:gd name="T24" fmla="*/ 53 w 673"/>
                      <a:gd name="T25" fmla="*/ 246 h 550"/>
                      <a:gd name="T26" fmla="*/ 20 w 673"/>
                      <a:gd name="T27" fmla="*/ 280 h 550"/>
                      <a:gd name="T28" fmla="*/ 33 w 673"/>
                      <a:gd name="T29" fmla="*/ 317 h 550"/>
                      <a:gd name="T30" fmla="*/ 33 w 673"/>
                      <a:gd name="T31" fmla="*/ 387 h 550"/>
                      <a:gd name="T32" fmla="*/ 55 w 673"/>
                      <a:gd name="T33" fmla="*/ 437 h 550"/>
                      <a:gd name="T34" fmla="*/ 81 w 673"/>
                      <a:gd name="T35" fmla="*/ 476 h 550"/>
                      <a:gd name="T36" fmla="*/ 138 w 673"/>
                      <a:gd name="T37" fmla="*/ 498 h 550"/>
                      <a:gd name="T38" fmla="*/ 219 w 673"/>
                      <a:gd name="T39" fmla="*/ 500 h 550"/>
                      <a:gd name="T40" fmla="*/ 341 w 673"/>
                      <a:gd name="T41" fmla="*/ 534 h 550"/>
                      <a:gd name="T42" fmla="*/ 374 w 673"/>
                      <a:gd name="T43" fmla="*/ 476 h 550"/>
                      <a:gd name="T44" fmla="*/ 459 w 673"/>
                      <a:gd name="T45" fmla="*/ 426 h 550"/>
                      <a:gd name="T46" fmla="*/ 507 w 673"/>
                      <a:gd name="T47" fmla="*/ 395 h 550"/>
                      <a:gd name="T48" fmla="*/ 568 w 673"/>
                      <a:gd name="T49" fmla="*/ 356 h 550"/>
                      <a:gd name="T50" fmla="*/ 551 w 673"/>
                      <a:gd name="T51" fmla="*/ 306 h 550"/>
                      <a:gd name="T52" fmla="*/ 592 w 673"/>
                      <a:gd name="T53" fmla="*/ 272 h 550"/>
                      <a:gd name="T54" fmla="*/ 572 w 673"/>
                      <a:gd name="T55" fmla="*/ 228 h 550"/>
                      <a:gd name="T56" fmla="*/ 633 w 673"/>
                      <a:gd name="T57" fmla="*/ 156 h 550"/>
                      <a:gd name="T58" fmla="*/ 671 w 673"/>
                      <a:gd name="T59" fmla="*/ 124 h 550"/>
                      <a:gd name="T60" fmla="*/ 649 w 673"/>
                      <a:gd name="T61" fmla="*/ 43 h 550"/>
                      <a:gd name="T62" fmla="*/ 590 w 673"/>
                      <a:gd name="T63" fmla="*/ 31 h 550"/>
                      <a:gd name="T64" fmla="*/ 553 w 673"/>
                      <a:gd name="T65" fmla="*/ 13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50">
                        <a:moveTo>
                          <a:pt x="553" y="13"/>
                        </a:moveTo>
                        <a:cubicBezTo>
                          <a:pt x="553" y="13"/>
                          <a:pt x="540" y="59"/>
                          <a:pt x="520" y="52"/>
                        </a:cubicBezTo>
                        <a:cubicBezTo>
                          <a:pt x="500" y="44"/>
                          <a:pt x="476" y="33"/>
                          <a:pt x="454" y="35"/>
                        </a:cubicBezTo>
                        <a:cubicBezTo>
                          <a:pt x="433" y="37"/>
                          <a:pt x="426" y="46"/>
                          <a:pt x="411" y="61"/>
                        </a:cubicBezTo>
                        <a:cubicBezTo>
                          <a:pt x="395" y="76"/>
                          <a:pt x="378" y="85"/>
                          <a:pt x="358" y="78"/>
                        </a:cubicBezTo>
                        <a:cubicBezTo>
                          <a:pt x="339" y="70"/>
                          <a:pt x="330" y="85"/>
                          <a:pt x="319" y="70"/>
                        </a:cubicBezTo>
                        <a:cubicBezTo>
                          <a:pt x="308" y="55"/>
                          <a:pt x="297" y="35"/>
                          <a:pt x="284" y="48"/>
                        </a:cubicBezTo>
                        <a:cubicBezTo>
                          <a:pt x="271" y="61"/>
                          <a:pt x="258" y="68"/>
                          <a:pt x="260" y="89"/>
                        </a:cubicBezTo>
                        <a:cubicBezTo>
                          <a:pt x="262" y="109"/>
                          <a:pt x="245" y="119"/>
                          <a:pt x="232" y="111"/>
                        </a:cubicBezTo>
                        <a:cubicBezTo>
                          <a:pt x="219" y="104"/>
                          <a:pt x="162" y="83"/>
                          <a:pt x="160" y="102"/>
                        </a:cubicBezTo>
                        <a:cubicBezTo>
                          <a:pt x="157" y="120"/>
                          <a:pt x="194" y="135"/>
                          <a:pt x="175" y="148"/>
                        </a:cubicBezTo>
                        <a:cubicBezTo>
                          <a:pt x="155" y="161"/>
                          <a:pt x="140" y="178"/>
                          <a:pt x="120" y="185"/>
                        </a:cubicBezTo>
                        <a:cubicBezTo>
                          <a:pt x="101" y="193"/>
                          <a:pt x="72" y="230"/>
                          <a:pt x="53" y="246"/>
                        </a:cubicBezTo>
                        <a:cubicBezTo>
                          <a:pt x="33" y="263"/>
                          <a:pt x="0" y="261"/>
                          <a:pt x="20" y="280"/>
                        </a:cubicBezTo>
                        <a:cubicBezTo>
                          <a:pt x="39" y="298"/>
                          <a:pt x="44" y="296"/>
                          <a:pt x="33" y="317"/>
                        </a:cubicBezTo>
                        <a:cubicBezTo>
                          <a:pt x="22" y="337"/>
                          <a:pt x="35" y="371"/>
                          <a:pt x="33" y="387"/>
                        </a:cubicBezTo>
                        <a:cubicBezTo>
                          <a:pt x="31" y="404"/>
                          <a:pt x="48" y="413"/>
                          <a:pt x="55" y="437"/>
                        </a:cubicBezTo>
                        <a:cubicBezTo>
                          <a:pt x="61" y="461"/>
                          <a:pt x="50" y="459"/>
                          <a:pt x="81" y="476"/>
                        </a:cubicBezTo>
                        <a:cubicBezTo>
                          <a:pt x="112" y="493"/>
                          <a:pt x="103" y="484"/>
                          <a:pt x="138" y="498"/>
                        </a:cubicBezTo>
                        <a:cubicBezTo>
                          <a:pt x="173" y="513"/>
                          <a:pt x="197" y="487"/>
                          <a:pt x="219" y="500"/>
                        </a:cubicBezTo>
                        <a:cubicBezTo>
                          <a:pt x="240" y="513"/>
                          <a:pt x="332" y="550"/>
                          <a:pt x="341" y="534"/>
                        </a:cubicBezTo>
                        <a:cubicBezTo>
                          <a:pt x="350" y="517"/>
                          <a:pt x="341" y="476"/>
                          <a:pt x="374" y="476"/>
                        </a:cubicBezTo>
                        <a:cubicBezTo>
                          <a:pt x="406" y="476"/>
                          <a:pt x="452" y="441"/>
                          <a:pt x="459" y="426"/>
                        </a:cubicBezTo>
                        <a:cubicBezTo>
                          <a:pt x="465" y="411"/>
                          <a:pt x="489" y="395"/>
                          <a:pt x="507" y="395"/>
                        </a:cubicBezTo>
                        <a:cubicBezTo>
                          <a:pt x="524" y="395"/>
                          <a:pt x="588" y="371"/>
                          <a:pt x="568" y="356"/>
                        </a:cubicBezTo>
                        <a:cubicBezTo>
                          <a:pt x="548" y="341"/>
                          <a:pt x="531" y="309"/>
                          <a:pt x="551" y="306"/>
                        </a:cubicBezTo>
                        <a:cubicBezTo>
                          <a:pt x="570" y="302"/>
                          <a:pt x="609" y="283"/>
                          <a:pt x="592" y="272"/>
                        </a:cubicBezTo>
                        <a:cubicBezTo>
                          <a:pt x="575" y="261"/>
                          <a:pt x="531" y="267"/>
                          <a:pt x="572" y="228"/>
                        </a:cubicBezTo>
                        <a:cubicBezTo>
                          <a:pt x="614" y="189"/>
                          <a:pt x="609" y="159"/>
                          <a:pt x="633" y="156"/>
                        </a:cubicBezTo>
                        <a:cubicBezTo>
                          <a:pt x="658" y="152"/>
                          <a:pt x="673" y="156"/>
                          <a:pt x="671" y="124"/>
                        </a:cubicBezTo>
                        <a:cubicBezTo>
                          <a:pt x="668" y="93"/>
                          <a:pt x="668" y="52"/>
                          <a:pt x="649" y="43"/>
                        </a:cubicBezTo>
                        <a:cubicBezTo>
                          <a:pt x="629" y="33"/>
                          <a:pt x="599" y="41"/>
                          <a:pt x="590" y="31"/>
                        </a:cubicBezTo>
                        <a:cubicBezTo>
                          <a:pt x="581" y="22"/>
                          <a:pt x="555" y="0"/>
                          <a:pt x="553" y="1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4" name="Freeform 6">
                    <a:extLst>
                      <a:ext uri="{FF2B5EF4-FFF2-40B4-BE49-F238E27FC236}">
                        <a16:creationId xmlns:a16="http://schemas.microsoft.com/office/drawing/2014/main" id="{3BDB4CD7-887B-F543-B600-76D188101121}"/>
                      </a:ext>
                    </a:extLst>
                  </p:cNvPr>
                  <p:cNvSpPr>
                    <a:spLocks/>
                  </p:cNvSpPr>
                  <p:nvPr/>
                </p:nvSpPr>
                <p:spPr bwMode="auto">
                  <a:xfrm>
                    <a:off x="-9" y="633"/>
                    <a:ext cx="2307" cy="1593"/>
                  </a:xfrm>
                  <a:custGeom>
                    <a:avLst/>
                    <a:gdLst>
                      <a:gd name="T0" fmla="*/ 4317 w 4981"/>
                      <a:gd name="T1" fmla="*/ 2284 h 3440"/>
                      <a:gd name="T2" fmla="*/ 4622 w 4981"/>
                      <a:gd name="T3" fmla="*/ 2061 h 3440"/>
                      <a:gd name="T4" fmla="*/ 4946 w 4981"/>
                      <a:gd name="T5" fmla="*/ 1850 h 3440"/>
                      <a:gd name="T6" fmla="*/ 4930 w 4981"/>
                      <a:gd name="T7" fmla="*/ 1693 h 3440"/>
                      <a:gd name="T8" fmla="*/ 4812 w 4981"/>
                      <a:gd name="T9" fmla="*/ 1470 h 3440"/>
                      <a:gd name="T10" fmla="*/ 4636 w 4981"/>
                      <a:gd name="T11" fmla="*/ 1342 h 3440"/>
                      <a:gd name="T12" fmla="*/ 4488 w 4981"/>
                      <a:gd name="T13" fmla="*/ 1228 h 3440"/>
                      <a:gd name="T14" fmla="*/ 4082 w 4981"/>
                      <a:gd name="T15" fmla="*/ 1137 h 3440"/>
                      <a:gd name="T16" fmla="*/ 3931 w 4981"/>
                      <a:gd name="T17" fmla="*/ 906 h 3440"/>
                      <a:gd name="T18" fmla="*/ 3984 w 4981"/>
                      <a:gd name="T19" fmla="*/ 684 h 3440"/>
                      <a:gd name="T20" fmla="*/ 3787 w 4981"/>
                      <a:gd name="T21" fmla="*/ 408 h 3440"/>
                      <a:gd name="T22" fmla="*/ 3607 w 4981"/>
                      <a:gd name="T23" fmla="*/ 314 h 3440"/>
                      <a:gd name="T24" fmla="*/ 3476 w 4981"/>
                      <a:gd name="T25" fmla="*/ 141 h 3440"/>
                      <a:gd name="T26" fmla="*/ 3472 w 4981"/>
                      <a:gd name="T27" fmla="*/ 7 h 3440"/>
                      <a:gd name="T28" fmla="*/ 3233 w 4981"/>
                      <a:gd name="T29" fmla="*/ 27 h 3440"/>
                      <a:gd name="T30" fmla="*/ 3096 w 4981"/>
                      <a:gd name="T31" fmla="*/ 155 h 3440"/>
                      <a:gd name="T32" fmla="*/ 2965 w 4981"/>
                      <a:gd name="T33" fmla="*/ 333 h 3440"/>
                      <a:gd name="T34" fmla="*/ 2876 w 4981"/>
                      <a:gd name="T35" fmla="*/ 497 h 3440"/>
                      <a:gd name="T36" fmla="*/ 2726 w 4981"/>
                      <a:gd name="T37" fmla="*/ 478 h 3440"/>
                      <a:gd name="T38" fmla="*/ 2359 w 4981"/>
                      <a:gd name="T39" fmla="*/ 536 h 3440"/>
                      <a:gd name="T40" fmla="*/ 2224 w 4981"/>
                      <a:gd name="T41" fmla="*/ 781 h 3440"/>
                      <a:gd name="T42" fmla="*/ 2175 w 4981"/>
                      <a:gd name="T43" fmla="*/ 850 h 3440"/>
                      <a:gd name="T44" fmla="*/ 2008 w 4981"/>
                      <a:gd name="T45" fmla="*/ 809 h 3440"/>
                      <a:gd name="T46" fmla="*/ 1710 w 4981"/>
                      <a:gd name="T47" fmla="*/ 836 h 3440"/>
                      <a:gd name="T48" fmla="*/ 1759 w 4981"/>
                      <a:gd name="T49" fmla="*/ 1017 h 3440"/>
                      <a:gd name="T50" fmla="*/ 1775 w 4981"/>
                      <a:gd name="T51" fmla="*/ 1290 h 3440"/>
                      <a:gd name="T52" fmla="*/ 1674 w 4981"/>
                      <a:gd name="T53" fmla="*/ 1378 h 3440"/>
                      <a:gd name="T54" fmla="*/ 1559 w 4981"/>
                      <a:gd name="T55" fmla="*/ 1562 h 3440"/>
                      <a:gd name="T56" fmla="*/ 1287 w 4981"/>
                      <a:gd name="T57" fmla="*/ 1623 h 3440"/>
                      <a:gd name="T58" fmla="*/ 1051 w 4981"/>
                      <a:gd name="T59" fmla="*/ 1715 h 3440"/>
                      <a:gd name="T60" fmla="*/ 760 w 4981"/>
                      <a:gd name="T61" fmla="*/ 1768 h 3440"/>
                      <a:gd name="T62" fmla="*/ 563 w 4981"/>
                      <a:gd name="T63" fmla="*/ 1787 h 3440"/>
                      <a:gd name="T64" fmla="*/ 370 w 4981"/>
                      <a:gd name="T65" fmla="*/ 1723 h 3440"/>
                      <a:gd name="T66" fmla="*/ 180 w 4981"/>
                      <a:gd name="T67" fmla="*/ 1768 h 3440"/>
                      <a:gd name="T68" fmla="*/ 42 w 4981"/>
                      <a:gd name="T69" fmla="*/ 1934 h 3440"/>
                      <a:gd name="T70" fmla="*/ 23 w 4981"/>
                      <a:gd name="T71" fmla="*/ 2093 h 3440"/>
                      <a:gd name="T72" fmla="*/ 232 w 4981"/>
                      <a:gd name="T73" fmla="*/ 2199 h 3440"/>
                      <a:gd name="T74" fmla="*/ 190 w 4981"/>
                      <a:gd name="T75" fmla="*/ 2415 h 3440"/>
                      <a:gd name="T76" fmla="*/ 105 w 4981"/>
                      <a:gd name="T77" fmla="*/ 2454 h 3440"/>
                      <a:gd name="T78" fmla="*/ 53 w 4981"/>
                      <a:gd name="T79" fmla="*/ 2535 h 3440"/>
                      <a:gd name="T80" fmla="*/ 219 w 4981"/>
                      <a:gd name="T81" fmla="*/ 2595 h 3440"/>
                      <a:gd name="T82" fmla="*/ 307 w 4981"/>
                      <a:gd name="T83" fmla="*/ 2806 h 3440"/>
                      <a:gd name="T84" fmla="*/ 442 w 4981"/>
                      <a:gd name="T85" fmla="*/ 2962 h 3440"/>
                      <a:gd name="T86" fmla="*/ 717 w 4981"/>
                      <a:gd name="T87" fmla="*/ 3144 h 3440"/>
                      <a:gd name="T88" fmla="*/ 861 w 4981"/>
                      <a:gd name="T89" fmla="*/ 3385 h 3440"/>
                      <a:gd name="T90" fmla="*/ 1054 w 4981"/>
                      <a:gd name="T91" fmla="*/ 3422 h 3440"/>
                      <a:gd name="T92" fmla="*/ 1241 w 4981"/>
                      <a:gd name="T93" fmla="*/ 3196 h 3440"/>
                      <a:gd name="T94" fmla="*/ 1547 w 4981"/>
                      <a:gd name="T95" fmla="*/ 3325 h 3440"/>
                      <a:gd name="T96" fmla="*/ 1779 w 4981"/>
                      <a:gd name="T97" fmla="*/ 3247 h 3440"/>
                      <a:gd name="T98" fmla="*/ 2063 w 4981"/>
                      <a:gd name="T99" fmla="*/ 3348 h 3440"/>
                      <a:gd name="T100" fmla="*/ 2355 w 4981"/>
                      <a:gd name="T101" fmla="*/ 3325 h 3440"/>
                      <a:gd name="T102" fmla="*/ 2823 w 4981"/>
                      <a:gd name="T103" fmla="*/ 3221 h 3440"/>
                      <a:gd name="T104" fmla="*/ 3303 w 4981"/>
                      <a:gd name="T105" fmla="*/ 3314 h 3440"/>
                      <a:gd name="T106" fmla="*/ 3657 w 4981"/>
                      <a:gd name="T107" fmla="*/ 3310 h 3440"/>
                      <a:gd name="T108" fmla="*/ 3683 w 4981"/>
                      <a:gd name="T109" fmla="*/ 3162 h 3440"/>
                      <a:gd name="T110" fmla="*/ 3640 w 4981"/>
                      <a:gd name="T111" fmla="*/ 2988 h 3440"/>
                      <a:gd name="T112" fmla="*/ 3701 w 4981"/>
                      <a:gd name="T113" fmla="*/ 2721 h 3440"/>
                      <a:gd name="T114" fmla="*/ 4129 w 4981"/>
                      <a:gd name="T115" fmla="*/ 2651 h 3440"/>
                      <a:gd name="T116" fmla="*/ 4380 w 4981"/>
                      <a:gd name="T117" fmla="*/ 263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81" h="3440">
                        <a:moveTo>
                          <a:pt x="4343" y="2565"/>
                        </a:moveTo>
                        <a:cubicBezTo>
                          <a:pt x="4365" y="2536"/>
                          <a:pt x="4347" y="2491"/>
                          <a:pt x="4343" y="2454"/>
                        </a:cubicBezTo>
                        <a:cubicBezTo>
                          <a:pt x="4339" y="2417"/>
                          <a:pt x="4317" y="2350"/>
                          <a:pt x="4317" y="2284"/>
                        </a:cubicBezTo>
                        <a:cubicBezTo>
                          <a:pt x="4317" y="2217"/>
                          <a:pt x="4391" y="2195"/>
                          <a:pt x="4430" y="2191"/>
                        </a:cubicBezTo>
                        <a:cubicBezTo>
                          <a:pt x="4470" y="2187"/>
                          <a:pt x="4500" y="2180"/>
                          <a:pt x="4513" y="2143"/>
                        </a:cubicBezTo>
                        <a:cubicBezTo>
                          <a:pt x="4526" y="2106"/>
                          <a:pt x="4592" y="2095"/>
                          <a:pt x="4622" y="2061"/>
                        </a:cubicBezTo>
                        <a:cubicBezTo>
                          <a:pt x="4653" y="2028"/>
                          <a:pt x="4701" y="2035"/>
                          <a:pt x="4745" y="2006"/>
                        </a:cubicBezTo>
                        <a:cubicBezTo>
                          <a:pt x="4788" y="1976"/>
                          <a:pt x="4841" y="1987"/>
                          <a:pt x="4911" y="1965"/>
                        </a:cubicBezTo>
                        <a:cubicBezTo>
                          <a:pt x="4981" y="1943"/>
                          <a:pt x="4933" y="1895"/>
                          <a:pt x="4946" y="1850"/>
                        </a:cubicBezTo>
                        <a:cubicBezTo>
                          <a:pt x="4951" y="1831"/>
                          <a:pt x="4965" y="1812"/>
                          <a:pt x="4978" y="1797"/>
                        </a:cubicBezTo>
                        <a:cubicBezTo>
                          <a:pt x="4972" y="1792"/>
                          <a:pt x="4980" y="1784"/>
                          <a:pt x="4976" y="1765"/>
                        </a:cubicBezTo>
                        <a:cubicBezTo>
                          <a:pt x="4970" y="1734"/>
                          <a:pt x="4947" y="1718"/>
                          <a:pt x="4930" y="1693"/>
                        </a:cubicBezTo>
                        <a:cubicBezTo>
                          <a:pt x="4914" y="1668"/>
                          <a:pt x="4891" y="1681"/>
                          <a:pt x="4885" y="1631"/>
                        </a:cubicBezTo>
                        <a:cubicBezTo>
                          <a:pt x="4878" y="1581"/>
                          <a:pt x="4852" y="1551"/>
                          <a:pt x="4845" y="1523"/>
                        </a:cubicBezTo>
                        <a:cubicBezTo>
                          <a:pt x="4839" y="1495"/>
                          <a:pt x="4852" y="1495"/>
                          <a:pt x="4812" y="1470"/>
                        </a:cubicBezTo>
                        <a:cubicBezTo>
                          <a:pt x="4773" y="1445"/>
                          <a:pt x="4803" y="1442"/>
                          <a:pt x="4796" y="1409"/>
                        </a:cubicBezTo>
                        <a:cubicBezTo>
                          <a:pt x="4790" y="1376"/>
                          <a:pt x="4757" y="1387"/>
                          <a:pt x="4721" y="1384"/>
                        </a:cubicBezTo>
                        <a:cubicBezTo>
                          <a:pt x="4685" y="1381"/>
                          <a:pt x="4675" y="1362"/>
                          <a:pt x="4636" y="1342"/>
                        </a:cubicBezTo>
                        <a:cubicBezTo>
                          <a:pt x="4596" y="1323"/>
                          <a:pt x="4629" y="1328"/>
                          <a:pt x="4596" y="1301"/>
                        </a:cubicBezTo>
                        <a:cubicBezTo>
                          <a:pt x="4563" y="1273"/>
                          <a:pt x="4560" y="1278"/>
                          <a:pt x="4524" y="1276"/>
                        </a:cubicBezTo>
                        <a:cubicBezTo>
                          <a:pt x="4488" y="1273"/>
                          <a:pt x="4495" y="1251"/>
                          <a:pt x="4488" y="1228"/>
                        </a:cubicBezTo>
                        <a:cubicBezTo>
                          <a:pt x="4482" y="1206"/>
                          <a:pt x="4452" y="1206"/>
                          <a:pt x="4416" y="1184"/>
                        </a:cubicBezTo>
                        <a:cubicBezTo>
                          <a:pt x="4380" y="1162"/>
                          <a:pt x="4252" y="1167"/>
                          <a:pt x="4210" y="1164"/>
                        </a:cubicBezTo>
                        <a:cubicBezTo>
                          <a:pt x="4167" y="1162"/>
                          <a:pt x="4147" y="1145"/>
                          <a:pt x="4082" y="1137"/>
                        </a:cubicBezTo>
                        <a:cubicBezTo>
                          <a:pt x="4016" y="1128"/>
                          <a:pt x="4056" y="1120"/>
                          <a:pt x="3957" y="1095"/>
                        </a:cubicBezTo>
                        <a:cubicBezTo>
                          <a:pt x="3859" y="1070"/>
                          <a:pt x="3885" y="1031"/>
                          <a:pt x="3879" y="1003"/>
                        </a:cubicBezTo>
                        <a:cubicBezTo>
                          <a:pt x="3872" y="975"/>
                          <a:pt x="3889" y="936"/>
                          <a:pt x="3931" y="906"/>
                        </a:cubicBezTo>
                        <a:cubicBezTo>
                          <a:pt x="3974" y="875"/>
                          <a:pt x="3974" y="850"/>
                          <a:pt x="3948" y="814"/>
                        </a:cubicBezTo>
                        <a:cubicBezTo>
                          <a:pt x="3921" y="778"/>
                          <a:pt x="3948" y="781"/>
                          <a:pt x="3977" y="753"/>
                        </a:cubicBezTo>
                        <a:cubicBezTo>
                          <a:pt x="4007" y="725"/>
                          <a:pt x="3990" y="714"/>
                          <a:pt x="3984" y="684"/>
                        </a:cubicBezTo>
                        <a:cubicBezTo>
                          <a:pt x="3977" y="653"/>
                          <a:pt x="3964" y="625"/>
                          <a:pt x="3928" y="595"/>
                        </a:cubicBezTo>
                        <a:cubicBezTo>
                          <a:pt x="3892" y="564"/>
                          <a:pt x="3885" y="481"/>
                          <a:pt x="3875" y="444"/>
                        </a:cubicBezTo>
                        <a:cubicBezTo>
                          <a:pt x="3866" y="408"/>
                          <a:pt x="3830" y="408"/>
                          <a:pt x="3787" y="408"/>
                        </a:cubicBezTo>
                        <a:cubicBezTo>
                          <a:pt x="3744" y="408"/>
                          <a:pt x="3751" y="369"/>
                          <a:pt x="3731" y="347"/>
                        </a:cubicBezTo>
                        <a:cubicBezTo>
                          <a:pt x="3712" y="325"/>
                          <a:pt x="3689" y="344"/>
                          <a:pt x="3653" y="364"/>
                        </a:cubicBezTo>
                        <a:cubicBezTo>
                          <a:pt x="3617" y="383"/>
                          <a:pt x="3626" y="358"/>
                          <a:pt x="3607" y="314"/>
                        </a:cubicBezTo>
                        <a:cubicBezTo>
                          <a:pt x="3587" y="269"/>
                          <a:pt x="3577" y="283"/>
                          <a:pt x="3564" y="239"/>
                        </a:cubicBezTo>
                        <a:cubicBezTo>
                          <a:pt x="3551" y="194"/>
                          <a:pt x="3499" y="203"/>
                          <a:pt x="3469" y="189"/>
                        </a:cubicBezTo>
                        <a:cubicBezTo>
                          <a:pt x="3440" y="175"/>
                          <a:pt x="3450" y="175"/>
                          <a:pt x="3476" y="141"/>
                        </a:cubicBezTo>
                        <a:cubicBezTo>
                          <a:pt x="3502" y="108"/>
                          <a:pt x="3450" y="108"/>
                          <a:pt x="3430" y="91"/>
                        </a:cubicBezTo>
                        <a:cubicBezTo>
                          <a:pt x="3410" y="75"/>
                          <a:pt x="3417" y="72"/>
                          <a:pt x="3453" y="50"/>
                        </a:cubicBezTo>
                        <a:cubicBezTo>
                          <a:pt x="3467" y="41"/>
                          <a:pt x="3471" y="24"/>
                          <a:pt x="3472" y="7"/>
                        </a:cubicBezTo>
                        <a:cubicBezTo>
                          <a:pt x="3467" y="9"/>
                          <a:pt x="3462" y="9"/>
                          <a:pt x="3436" y="11"/>
                        </a:cubicBezTo>
                        <a:cubicBezTo>
                          <a:pt x="3391" y="14"/>
                          <a:pt x="3351" y="25"/>
                          <a:pt x="3341" y="14"/>
                        </a:cubicBezTo>
                        <a:cubicBezTo>
                          <a:pt x="3332" y="2"/>
                          <a:pt x="3233" y="0"/>
                          <a:pt x="3233" y="27"/>
                        </a:cubicBezTo>
                        <a:cubicBezTo>
                          <a:pt x="3233" y="55"/>
                          <a:pt x="3256" y="58"/>
                          <a:pt x="3227" y="91"/>
                        </a:cubicBezTo>
                        <a:cubicBezTo>
                          <a:pt x="3197" y="125"/>
                          <a:pt x="3201" y="128"/>
                          <a:pt x="3171" y="139"/>
                        </a:cubicBezTo>
                        <a:cubicBezTo>
                          <a:pt x="3142" y="150"/>
                          <a:pt x="3125" y="158"/>
                          <a:pt x="3096" y="155"/>
                        </a:cubicBezTo>
                        <a:cubicBezTo>
                          <a:pt x="3066" y="153"/>
                          <a:pt x="3053" y="128"/>
                          <a:pt x="3027" y="158"/>
                        </a:cubicBezTo>
                        <a:cubicBezTo>
                          <a:pt x="3001" y="189"/>
                          <a:pt x="2965" y="236"/>
                          <a:pt x="2965" y="264"/>
                        </a:cubicBezTo>
                        <a:cubicBezTo>
                          <a:pt x="2965" y="292"/>
                          <a:pt x="2965" y="305"/>
                          <a:pt x="2965" y="333"/>
                        </a:cubicBezTo>
                        <a:cubicBezTo>
                          <a:pt x="2965" y="361"/>
                          <a:pt x="2955" y="367"/>
                          <a:pt x="2968" y="392"/>
                        </a:cubicBezTo>
                        <a:cubicBezTo>
                          <a:pt x="2981" y="417"/>
                          <a:pt x="2981" y="419"/>
                          <a:pt x="2965" y="442"/>
                        </a:cubicBezTo>
                        <a:cubicBezTo>
                          <a:pt x="2948" y="464"/>
                          <a:pt x="2893" y="494"/>
                          <a:pt x="2876" y="497"/>
                        </a:cubicBezTo>
                        <a:cubicBezTo>
                          <a:pt x="2860" y="500"/>
                          <a:pt x="2824" y="494"/>
                          <a:pt x="2814" y="511"/>
                        </a:cubicBezTo>
                        <a:cubicBezTo>
                          <a:pt x="2804" y="528"/>
                          <a:pt x="2778" y="517"/>
                          <a:pt x="2768" y="508"/>
                        </a:cubicBezTo>
                        <a:cubicBezTo>
                          <a:pt x="2758" y="500"/>
                          <a:pt x="2762" y="478"/>
                          <a:pt x="2726" y="478"/>
                        </a:cubicBezTo>
                        <a:cubicBezTo>
                          <a:pt x="2690" y="478"/>
                          <a:pt x="2621" y="489"/>
                          <a:pt x="2588" y="456"/>
                        </a:cubicBezTo>
                        <a:cubicBezTo>
                          <a:pt x="2555" y="422"/>
                          <a:pt x="2460" y="330"/>
                          <a:pt x="2444" y="400"/>
                        </a:cubicBezTo>
                        <a:cubicBezTo>
                          <a:pt x="2427" y="469"/>
                          <a:pt x="2382" y="503"/>
                          <a:pt x="2359" y="536"/>
                        </a:cubicBezTo>
                        <a:cubicBezTo>
                          <a:pt x="2336" y="570"/>
                          <a:pt x="2319" y="589"/>
                          <a:pt x="2293" y="631"/>
                        </a:cubicBezTo>
                        <a:cubicBezTo>
                          <a:pt x="2267" y="672"/>
                          <a:pt x="2290" y="689"/>
                          <a:pt x="2260" y="711"/>
                        </a:cubicBezTo>
                        <a:cubicBezTo>
                          <a:pt x="2231" y="734"/>
                          <a:pt x="2178" y="759"/>
                          <a:pt x="2224" y="781"/>
                        </a:cubicBezTo>
                        <a:cubicBezTo>
                          <a:pt x="2270" y="803"/>
                          <a:pt x="2293" y="823"/>
                          <a:pt x="2273" y="845"/>
                        </a:cubicBezTo>
                        <a:cubicBezTo>
                          <a:pt x="2254" y="867"/>
                          <a:pt x="2247" y="917"/>
                          <a:pt x="2224" y="884"/>
                        </a:cubicBezTo>
                        <a:cubicBezTo>
                          <a:pt x="2201" y="850"/>
                          <a:pt x="2205" y="842"/>
                          <a:pt x="2175" y="850"/>
                        </a:cubicBezTo>
                        <a:cubicBezTo>
                          <a:pt x="2146" y="859"/>
                          <a:pt x="2113" y="859"/>
                          <a:pt x="2106" y="836"/>
                        </a:cubicBezTo>
                        <a:cubicBezTo>
                          <a:pt x="2100" y="814"/>
                          <a:pt x="2113" y="784"/>
                          <a:pt x="2077" y="797"/>
                        </a:cubicBezTo>
                        <a:cubicBezTo>
                          <a:pt x="2041" y="811"/>
                          <a:pt x="2038" y="809"/>
                          <a:pt x="2008" y="809"/>
                        </a:cubicBezTo>
                        <a:cubicBezTo>
                          <a:pt x="1979" y="809"/>
                          <a:pt x="1949" y="836"/>
                          <a:pt x="1913" y="817"/>
                        </a:cubicBezTo>
                        <a:cubicBezTo>
                          <a:pt x="1877" y="797"/>
                          <a:pt x="1854" y="828"/>
                          <a:pt x="1825" y="828"/>
                        </a:cubicBezTo>
                        <a:cubicBezTo>
                          <a:pt x="1795" y="828"/>
                          <a:pt x="1713" y="814"/>
                          <a:pt x="1710" y="836"/>
                        </a:cubicBezTo>
                        <a:cubicBezTo>
                          <a:pt x="1707" y="859"/>
                          <a:pt x="1694" y="881"/>
                          <a:pt x="1733" y="886"/>
                        </a:cubicBezTo>
                        <a:cubicBezTo>
                          <a:pt x="1772" y="892"/>
                          <a:pt x="1821" y="895"/>
                          <a:pt x="1798" y="925"/>
                        </a:cubicBezTo>
                        <a:cubicBezTo>
                          <a:pt x="1775" y="956"/>
                          <a:pt x="1756" y="973"/>
                          <a:pt x="1759" y="1017"/>
                        </a:cubicBezTo>
                        <a:cubicBezTo>
                          <a:pt x="1762" y="1062"/>
                          <a:pt x="1746" y="1089"/>
                          <a:pt x="1766" y="1145"/>
                        </a:cubicBezTo>
                        <a:cubicBezTo>
                          <a:pt x="1785" y="1201"/>
                          <a:pt x="1782" y="1209"/>
                          <a:pt x="1782" y="1237"/>
                        </a:cubicBezTo>
                        <a:cubicBezTo>
                          <a:pt x="1782" y="1265"/>
                          <a:pt x="1759" y="1256"/>
                          <a:pt x="1775" y="1290"/>
                        </a:cubicBezTo>
                        <a:cubicBezTo>
                          <a:pt x="1792" y="1323"/>
                          <a:pt x="1779" y="1337"/>
                          <a:pt x="1759" y="1323"/>
                        </a:cubicBezTo>
                        <a:cubicBezTo>
                          <a:pt x="1739" y="1309"/>
                          <a:pt x="1716" y="1306"/>
                          <a:pt x="1707" y="1328"/>
                        </a:cubicBezTo>
                        <a:cubicBezTo>
                          <a:pt x="1697" y="1351"/>
                          <a:pt x="1707" y="1376"/>
                          <a:pt x="1674" y="1378"/>
                        </a:cubicBezTo>
                        <a:cubicBezTo>
                          <a:pt x="1641" y="1381"/>
                          <a:pt x="1621" y="1390"/>
                          <a:pt x="1625" y="1429"/>
                        </a:cubicBezTo>
                        <a:cubicBezTo>
                          <a:pt x="1628" y="1467"/>
                          <a:pt x="1648" y="1492"/>
                          <a:pt x="1625" y="1523"/>
                        </a:cubicBezTo>
                        <a:cubicBezTo>
                          <a:pt x="1602" y="1554"/>
                          <a:pt x="1602" y="1565"/>
                          <a:pt x="1559" y="1562"/>
                        </a:cubicBezTo>
                        <a:cubicBezTo>
                          <a:pt x="1517" y="1559"/>
                          <a:pt x="1513" y="1590"/>
                          <a:pt x="1481" y="1593"/>
                        </a:cubicBezTo>
                        <a:cubicBezTo>
                          <a:pt x="1448" y="1595"/>
                          <a:pt x="1395" y="1581"/>
                          <a:pt x="1369" y="1595"/>
                        </a:cubicBezTo>
                        <a:cubicBezTo>
                          <a:pt x="1343" y="1609"/>
                          <a:pt x="1323" y="1623"/>
                          <a:pt x="1287" y="1623"/>
                        </a:cubicBezTo>
                        <a:cubicBezTo>
                          <a:pt x="1251" y="1623"/>
                          <a:pt x="1241" y="1626"/>
                          <a:pt x="1209" y="1643"/>
                        </a:cubicBezTo>
                        <a:cubicBezTo>
                          <a:pt x="1176" y="1659"/>
                          <a:pt x="1150" y="1676"/>
                          <a:pt x="1124" y="1701"/>
                        </a:cubicBezTo>
                        <a:cubicBezTo>
                          <a:pt x="1097" y="1726"/>
                          <a:pt x="1074" y="1734"/>
                          <a:pt x="1051" y="1715"/>
                        </a:cubicBezTo>
                        <a:cubicBezTo>
                          <a:pt x="1028" y="1695"/>
                          <a:pt x="933" y="1732"/>
                          <a:pt x="920" y="1704"/>
                        </a:cubicBezTo>
                        <a:cubicBezTo>
                          <a:pt x="907" y="1676"/>
                          <a:pt x="868" y="1640"/>
                          <a:pt x="835" y="1676"/>
                        </a:cubicBezTo>
                        <a:cubicBezTo>
                          <a:pt x="802" y="1712"/>
                          <a:pt x="776" y="1737"/>
                          <a:pt x="760" y="1768"/>
                        </a:cubicBezTo>
                        <a:cubicBezTo>
                          <a:pt x="743" y="1798"/>
                          <a:pt x="691" y="1840"/>
                          <a:pt x="671" y="1812"/>
                        </a:cubicBezTo>
                        <a:cubicBezTo>
                          <a:pt x="652" y="1784"/>
                          <a:pt x="658" y="1782"/>
                          <a:pt x="632" y="1787"/>
                        </a:cubicBezTo>
                        <a:cubicBezTo>
                          <a:pt x="606" y="1793"/>
                          <a:pt x="573" y="1826"/>
                          <a:pt x="563" y="1787"/>
                        </a:cubicBezTo>
                        <a:cubicBezTo>
                          <a:pt x="553" y="1748"/>
                          <a:pt x="563" y="1709"/>
                          <a:pt x="537" y="1706"/>
                        </a:cubicBezTo>
                        <a:cubicBezTo>
                          <a:pt x="511" y="1704"/>
                          <a:pt x="475" y="1757"/>
                          <a:pt x="455" y="1734"/>
                        </a:cubicBezTo>
                        <a:cubicBezTo>
                          <a:pt x="436" y="1712"/>
                          <a:pt x="380" y="1698"/>
                          <a:pt x="370" y="1723"/>
                        </a:cubicBezTo>
                        <a:cubicBezTo>
                          <a:pt x="360" y="1748"/>
                          <a:pt x="344" y="1754"/>
                          <a:pt x="321" y="1754"/>
                        </a:cubicBezTo>
                        <a:cubicBezTo>
                          <a:pt x="298" y="1754"/>
                          <a:pt x="301" y="1784"/>
                          <a:pt x="268" y="1782"/>
                        </a:cubicBezTo>
                        <a:cubicBezTo>
                          <a:pt x="236" y="1779"/>
                          <a:pt x="213" y="1743"/>
                          <a:pt x="180" y="1768"/>
                        </a:cubicBezTo>
                        <a:cubicBezTo>
                          <a:pt x="147" y="1793"/>
                          <a:pt x="128" y="1793"/>
                          <a:pt x="128" y="1837"/>
                        </a:cubicBezTo>
                        <a:cubicBezTo>
                          <a:pt x="128" y="1882"/>
                          <a:pt x="147" y="1890"/>
                          <a:pt x="101" y="1896"/>
                        </a:cubicBezTo>
                        <a:cubicBezTo>
                          <a:pt x="55" y="1901"/>
                          <a:pt x="39" y="1904"/>
                          <a:pt x="42" y="1934"/>
                        </a:cubicBezTo>
                        <a:cubicBezTo>
                          <a:pt x="46" y="1965"/>
                          <a:pt x="0" y="1965"/>
                          <a:pt x="33" y="1987"/>
                        </a:cubicBezTo>
                        <a:cubicBezTo>
                          <a:pt x="65" y="2009"/>
                          <a:pt x="75" y="2015"/>
                          <a:pt x="49" y="2037"/>
                        </a:cubicBezTo>
                        <a:cubicBezTo>
                          <a:pt x="23" y="2060"/>
                          <a:pt x="19" y="2068"/>
                          <a:pt x="23" y="2093"/>
                        </a:cubicBezTo>
                        <a:cubicBezTo>
                          <a:pt x="26" y="2118"/>
                          <a:pt x="49" y="2165"/>
                          <a:pt x="72" y="2146"/>
                        </a:cubicBezTo>
                        <a:cubicBezTo>
                          <a:pt x="95" y="2126"/>
                          <a:pt x="88" y="2115"/>
                          <a:pt x="141" y="2132"/>
                        </a:cubicBezTo>
                        <a:cubicBezTo>
                          <a:pt x="193" y="2148"/>
                          <a:pt x="219" y="2168"/>
                          <a:pt x="232" y="2199"/>
                        </a:cubicBezTo>
                        <a:cubicBezTo>
                          <a:pt x="245" y="2229"/>
                          <a:pt x="203" y="2226"/>
                          <a:pt x="206" y="2265"/>
                        </a:cubicBezTo>
                        <a:cubicBezTo>
                          <a:pt x="209" y="2304"/>
                          <a:pt x="242" y="2335"/>
                          <a:pt x="216" y="2357"/>
                        </a:cubicBezTo>
                        <a:cubicBezTo>
                          <a:pt x="190" y="2379"/>
                          <a:pt x="180" y="2379"/>
                          <a:pt x="190" y="2415"/>
                        </a:cubicBezTo>
                        <a:cubicBezTo>
                          <a:pt x="200" y="2451"/>
                          <a:pt x="229" y="2479"/>
                          <a:pt x="196" y="2496"/>
                        </a:cubicBezTo>
                        <a:cubicBezTo>
                          <a:pt x="164" y="2513"/>
                          <a:pt x="150" y="2527"/>
                          <a:pt x="128" y="2499"/>
                        </a:cubicBezTo>
                        <a:cubicBezTo>
                          <a:pt x="114" y="2482"/>
                          <a:pt x="113" y="2466"/>
                          <a:pt x="105" y="2454"/>
                        </a:cubicBezTo>
                        <a:cubicBezTo>
                          <a:pt x="92" y="2456"/>
                          <a:pt x="80" y="2456"/>
                          <a:pt x="73" y="2456"/>
                        </a:cubicBezTo>
                        <a:cubicBezTo>
                          <a:pt x="55" y="2456"/>
                          <a:pt x="63" y="2479"/>
                          <a:pt x="52" y="2498"/>
                        </a:cubicBezTo>
                        <a:cubicBezTo>
                          <a:pt x="47" y="2506"/>
                          <a:pt x="49" y="2522"/>
                          <a:pt x="53" y="2535"/>
                        </a:cubicBezTo>
                        <a:cubicBezTo>
                          <a:pt x="56" y="2536"/>
                          <a:pt x="59" y="2536"/>
                          <a:pt x="62" y="2536"/>
                        </a:cubicBezTo>
                        <a:cubicBezTo>
                          <a:pt x="93" y="2536"/>
                          <a:pt x="106" y="2547"/>
                          <a:pt x="141" y="2565"/>
                        </a:cubicBezTo>
                        <a:cubicBezTo>
                          <a:pt x="176" y="2584"/>
                          <a:pt x="176" y="2580"/>
                          <a:pt x="219" y="2595"/>
                        </a:cubicBezTo>
                        <a:cubicBezTo>
                          <a:pt x="263" y="2610"/>
                          <a:pt x="245" y="2654"/>
                          <a:pt x="272" y="2658"/>
                        </a:cubicBezTo>
                        <a:cubicBezTo>
                          <a:pt x="298" y="2662"/>
                          <a:pt x="307" y="2677"/>
                          <a:pt x="333" y="2721"/>
                        </a:cubicBezTo>
                        <a:cubicBezTo>
                          <a:pt x="359" y="2766"/>
                          <a:pt x="328" y="2784"/>
                          <a:pt x="307" y="2806"/>
                        </a:cubicBezTo>
                        <a:cubicBezTo>
                          <a:pt x="285" y="2829"/>
                          <a:pt x="302" y="2836"/>
                          <a:pt x="320" y="2862"/>
                        </a:cubicBezTo>
                        <a:cubicBezTo>
                          <a:pt x="337" y="2888"/>
                          <a:pt x="337" y="2914"/>
                          <a:pt x="377" y="2914"/>
                        </a:cubicBezTo>
                        <a:cubicBezTo>
                          <a:pt x="416" y="2914"/>
                          <a:pt x="407" y="2918"/>
                          <a:pt x="442" y="2962"/>
                        </a:cubicBezTo>
                        <a:cubicBezTo>
                          <a:pt x="477" y="3007"/>
                          <a:pt x="538" y="3025"/>
                          <a:pt x="582" y="3055"/>
                        </a:cubicBezTo>
                        <a:cubicBezTo>
                          <a:pt x="626" y="3084"/>
                          <a:pt x="669" y="3073"/>
                          <a:pt x="722" y="3073"/>
                        </a:cubicBezTo>
                        <a:cubicBezTo>
                          <a:pt x="774" y="3073"/>
                          <a:pt x="713" y="3129"/>
                          <a:pt x="717" y="3144"/>
                        </a:cubicBezTo>
                        <a:cubicBezTo>
                          <a:pt x="722" y="3158"/>
                          <a:pt x="730" y="3214"/>
                          <a:pt x="726" y="3255"/>
                        </a:cubicBezTo>
                        <a:cubicBezTo>
                          <a:pt x="722" y="3296"/>
                          <a:pt x="752" y="3310"/>
                          <a:pt x="774" y="3333"/>
                        </a:cubicBezTo>
                        <a:cubicBezTo>
                          <a:pt x="796" y="3355"/>
                          <a:pt x="822" y="3362"/>
                          <a:pt x="861" y="3385"/>
                        </a:cubicBezTo>
                        <a:cubicBezTo>
                          <a:pt x="870" y="3389"/>
                          <a:pt x="874" y="3394"/>
                          <a:pt x="875" y="3399"/>
                        </a:cubicBezTo>
                        <a:cubicBezTo>
                          <a:pt x="901" y="3404"/>
                          <a:pt x="929" y="3410"/>
                          <a:pt x="949" y="3418"/>
                        </a:cubicBezTo>
                        <a:cubicBezTo>
                          <a:pt x="992" y="3436"/>
                          <a:pt x="1027" y="3440"/>
                          <a:pt x="1054" y="3422"/>
                        </a:cubicBezTo>
                        <a:cubicBezTo>
                          <a:pt x="1080" y="3403"/>
                          <a:pt x="1075" y="3396"/>
                          <a:pt x="1084" y="3366"/>
                        </a:cubicBezTo>
                        <a:cubicBezTo>
                          <a:pt x="1093" y="3336"/>
                          <a:pt x="1145" y="3303"/>
                          <a:pt x="1180" y="3270"/>
                        </a:cubicBezTo>
                        <a:cubicBezTo>
                          <a:pt x="1215" y="3236"/>
                          <a:pt x="1198" y="3155"/>
                          <a:pt x="1241" y="3196"/>
                        </a:cubicBezTo>
                        <a:cubicBezTo>
                          <a:pt x="1285" y="3236"/>
                          <a:pt x="1290" y="3251"/>
                          <a:pt x="1324" y="3255"/>
                        </a:cubicBezTo>
                        <a:cubicBezTo>
                          <a:pt x="1359" y="3259"/>
                          <a:pt x="1438" y="3247"/>
                          <a:pt x="1460" y="3281"/>
                        </a:cubicBezTo>
                        <a:cubicBezTo>
                          <a:pt x="1482" y="3314"/>
                          <a:pt x="1504" y="3351"/>
                          <a:pt x="1547" y="3325"/>
                        </a:cubicBezTo>
                        <a:cubicBezTo>
                          <a:pt x="1591" y="3299"/>
                          <a:pt x="1604" y="3247"/>
                          <a:pt x="1648" y="3244"/>
                        </a:cubicBezTo>
                        <a:cubicBezTo>
                          <a:pt x="1691" y="3240"/>
                          <a:pt x="1691" y="3210"/>
                          <a:pt x="1713" y="3236"/>
                        </a:cubicBezTo>
                        <a:cubicBezTo>
                          <a:pt x="1735" y="3262"/>
                          <a:pt x="1718" y="3240"/>
                          <a:pt x="1779" y="3247"/>
                        </a:cubicBezTo>
                        <a:cubicBezTo>
                          <a:pt x="1840" y="3255"/>
                          <a:pt x="1875" y="3255"/>
                          <a:pt x="1901" y="3273"/>
                        </a:cubicBezTo>
                        <a:cubicBezTo>
                          <a:pt x="1927" y="3292"/>
                          <a:pt x="1923" y="3325"/>
                          <a:pt x="1975" y="3333"/>
                        </a:cubicBezTo>
                        <a:cubicBezTo>
                          <a:pt x="2028" y="3340"/>
                          <a:pt x="2041" y="3325"/>
                          <a:pt x="2063" y="3348"/>
                        </a:cubicBezTo>
                        <a:cubicBezTo>
                          <a:pt x="2085" y="3370"/>
                          <a:pt x="2111" y="3381"/>
                          <a:pt x="2150" y="3351"/>
                        </a:cubicBezTo>
                        <a:cubicBezTo>
                          <a:pt x="2189" y="3322"/>
                          <a:pt x="2202" y="3322"/>
                          <a:pt x="2255" y="3322"/>
                        </a:cubicBezTo>
                        <a:cubicBezTo>
                          <a:pt x="2307" y="3322"/>
                          <a:pt x="2316" y="3318"/>
                          <a:pt x="2355" y="3325"/>
                        </a:cubicBezTo>
                        <a:cubicBezTo>
                          <a:pt x="2395" y="3333"/>
                          <a:pt x="2412" y="3336"/>
                          <a:pt x="2460" y="3307"/>
                        </a:cubicBezTo>
                        <a:cubicBezTo>
                          <a:pt x="2508" y="3277"/>
                          <a:pt x="2543" y="3233"/>
                          <a:pt x="2604" y="3236"/>
                        </a:cubicBezTo>
                        <a:cubicBezTo>
                          <a:pt x="2665" y="3240"/>
                          <a:pt x="2783" y="3247"/>
                          <a:pt x="2823" y="3221"/>
                        </a:cubicBezTo>
                        <a:cubicBezTo>
                          <a:pt x="2862" y="3196"/>
                          <a:pt x="2862" y="3181"/>
                          <a:pt x="2932" y="3192"/>
                        </a:cubicBezTo>
                        <a:cubicBezTo>
                          <a:pt x="3002" y="3203"/>
                          <a:pt x="3146" y="3247"/>
                          <a:pt x="3194" y="3273"/>
                        </a:cubicBezTo>
                        <a:cubicBezTo>
                          <a:pt x="3242" y="3299"/>
                          <a:pt x="3255" y="3322"/>
                          <a:pt x="3303" y="3314"/>
                        </a:cubicBezTo>
                        <a:cubicBezTo>
                          <a:pt x="3351" y="3307"/>
                          <a:pt x="3377" y="3292"/>
                          <a:pt x="3430" y="3314"/>
                        </a:cubicBezTo>
                        <a:cubicBezTo>
                          <a:pt x="3482" y="3336"/>
                          <a:pt x="3491" y="3362"/>
                          <a:pt x="3583" y="3340"/>
                        </a:cubicBezTo>
                        <a:cubicBezTo>
                          <a:pt x="3675" y="3318"/>
                          <a:pt x="3618" y="3310"/>
                          <a:pt x="3657" y="3310"/>
                        </a:cubicBezTo>
                        <a:cubicBezTo>
                          <a:pt x="3696" y="3310"/>
                          <a:pt x="3723" y="3292"/>
                          <a:pt x="3661" y="3277"/>
                        </a:cubicBezTo>
                        <a:cubicBezTo>
                          <a:pt x="3600" y="3262"/>
                          <a:pt x="3574" y="3244"/>
                          <a:pt x="3609" y="3207"/>
                        </a:cubicBezTo>
                        <a:cubicBezTo>
                          <a:pt x="3644" y="3170"/>
                          <a:pt x="3640" y="3181"/>
                          <a:pt x="3683" y="3162"/>
                        </a:cubicBezTo>
                        <a:cubicBezTo>
                          <a:pt x="3727" y="3144"/>
                          <a:pt x="3705" y="3129"/>
                          <a:pt x="3718" y="3110"/>
                        </a:cubicBezTo>
                        <a:cubicBezTo>
                          <a:pt x="3731" y="3092"/>
                          <a:pt x="3766" y="3084"/>
                          <a:pt x="3740" y="3051"/>
                        </a:cubicBezTo>
                        <a:cubicBezTo>
                          <a:pt x="3714" y="3018"/>
                          <a:pt x="3648" y="3018"/>
                          <a:pt x="3640" y="2988"/>
                        </a:cubicBezTo>
                        <a:cubicBezTo>
                          <a:pt x="3631" y="2958"/>
                          <a:pt x="3548" y="2969"/>
                          <a:pt x="3548" y="2921"/>
                        </a:cubicBezTo>
                        <a:cubicBezTo>
                          <a:pt x="3548" y="2873"/>
                          <a:pt x="3522" y="2814"/>
                          <a:pt x="3570" y="2784"/>
                        </a:cubicBezTo>
                        <a:cubicBezTo>
                          <a:pt x="3618" y="2754"/>
                          <a:pt x="3631" y="2714"/>
                          <a:pt x="3701" y="2721"/>
                        </a:cubicBezTo>
                        <a:cubicBezTo>
                          <a:pt x="3771" y="2729"/>
                          <a:pt x="3784" y="2717"/>
                          <a:pt x="3867" y="2714"/>
                        </a:cubicBezTo>
                        <a:cubicBezTo>
                          <a:pt x="3950" y="2710"/>
                          <a:pt x="3950" y="2677"/>
                          <a:pt x="4011" y="2673"/>
                        </a:cubicBezTo>
                        <a:cubicBezTo>
                          <a:pt x="4072" y="2669"/>
                          <a:pt x="4081" y="2647"/>
                          <a:pt x="4129" y="2651"/>
                        </a:cubicBezTo>
                        <a:cubicBezTo>
                          <a:pt x="4177" y="2654"/>
                          <a:pt x="4216" y="2677"/>
                          <a:pt x="4238" y="2647"/>
                        </a:cubicBezTo>
                        <a:cubicBezTo>
                          <a:pt x="4260" y="2617"/>
                          <a:pt x="4260" y="2588"/>
                          <a:pt x="4295" y="2617"/>
                        </a:cubicBezTo>
                        <a:cubicBezTo>
                          <a:pt x="4315" y="2634"/>
                          <a:pt x="4346" y="2633"/>
                          <a:pt x="4380" y="2630"/>
                        </a:cubicBezTo>
                        <a:cubicBezTo>
                          <a:pt x="4351" y="2567"/>
                          <a:pt x="4325" y="2590"/>
                          <a:pt x="4343" y="2565"/>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5" name="Freeform 7">
                    <a:extLst>
                      <a:ext uri="{FF2B5EF4-FFF2-40B4-BE49-F238E27FC236}">
                        <a16:creationId xmlns:a16="http://schemas.microsoft.com/office/drawing/2014/main" id="{70FC59BB-A37A-3611-6C00-82E539760ED1}"/>
                      </a:ext>
                    </a:extLst>
                  </p:cNvPr>
                  <p:cNvSpPr>
                    <a:spLocks/>
                  </p:cNvSpPr>
                  <p:nvPr/>
                </p:nvSpPr>
                <p:spPr bwMode="auto">
                  <a:xfrm>
                    <a:off x="271" y="2094"/>
                    <a:ext cx="2249" cy="1097"/>
                  </a:xfrm>
                  <a:custGeom>
                    <a:avLst/>
                    <a:gdLst>
                      <a:gd name="T0" fmla="*/ 4405 w 4857"/>
                      <a:gd name="T1" fmla="*/ 1256 h 2368"/>
                      <a:gd name="T2" fmla="*/ 4222 w 4857"/>
                      <a:gd name="T3" fmla="*/ 1404 h 2368"/>
                      <a:gd name="T4" fmla="*/ 4032 w 4857"/>
                      <a:gd name="T5" fmla="*/ 1381 h 2368"/>
                      <a:gd name="T6" fmla="*/ 3838 w 4857"/>
                      <a:gd name="T7" fmla="*/ 1190 h 2368"/>
                      <a:gd name="T8" fmla="*/ 3484 w 4857"/>
                      <a:gd name="T9" fmla="*/ 1142 h 2368"/>
                      <a:gd name="T10" fmla="*/ 3239 w 4857"/>
                      <a:gd name="T11" fmla="*/ 1084 h 2368"/>
                      <a:gd name="T12" fmla="*/ 2996 w 4857"/>
                      <a:gd name="T13" fmla="*/ 984 h 2368"/>
                      <a:gd name="T14" fmla="*/ 2787 w 4857"/>
                      <a:gd name="T15" fmla="*/ 856 h 2368"/>
                      <a:gd name="T16" fmla="*/ 2665 w 4857"/>
                      <a:gd name="T17" fmla="*/ 620 h 2368"/>
                      <a:gd name="T18" fmla="*/ 2737 w 4857"/>
                      <a:gd name="T19" fmla="*/ 514 h 2368"/>
                      <a:gd name="T20" fmla="*/ 2764 w 4857"/>
                      <a:gd name="T21" fmla="*/ 339 h 2368"/>
                      <a:gd name="T22" fmla="*/ 2718 w 4857"/>
                      <a:gd name="T23" fmla="*/ 225 h 2368"/>
                      <a:gd name="T24" fmla="*/ 2699 w 4857"/>
                      <a:gd name="T25" fmla="*/ 159 h 2368"/>
                      <a:gd name="T26" fmla="*/ 2219 w 4857"/>
                      <a:gd name="T27" fmla="*/ 66 h 2368"/>
                      <a:gd name="T28" fmla="*/ 1751 w 4857"/>
                      <a:gd name="T29" fmla="*/ 170 h 2368"/>
                      <a:gd name="T30" fmla="*/ 1459 w 4857"/>
                      <a:gd name="T31" fmla="*/ 193 h 2368"/>
                      <a:gd name="T32" fmla="*/ 1175 w 4857"/>
                      <a:gd name="T33" fmla="*/ 92 h 2368"/>
                      <a:gd name="T34" fmla="*/ 943 w 4857"/>
                      <a:gd name="T35" fmla="*/ 170 h 2368"/>
                      <a:gd name="T36" fmla="*/ 637 w 4857"/>
                      <a:gd name="T37" fmla="*/ 41 h 2368"/>
                      <a:gd name="T38" fmla="*/ 450 w 4857"/>
                      <a:gd name="T39" fmla="*/ 267 h 2368"/>
                      <a:gd name="T40" fmla="*/ 201 w 4857"/>
                      <a:gd name="T41" fmla="*/ 304 h 2368"/>
                      <a:gd name="T42" fmla="*/ 205 w 4857"/>
                      <a:gd name="T43" fmla="*/ 493 h 2368"/>
                      <a:gd name="T44" fmla="*/ 275 w 4857"/>
                      <a:gd name="T45" fmla="*/ 689 h 2368"/>
                      <a:gd name="T46" fmla="*/ 96 w 4857"/>
                      <a:gd name="T47" fmla="*/ 678 h 2368"/>
                      <a:gd name="T48" fmla="*/ 52 w 4857"/>
                      <a:gd name="T49" fmla="*/ 837 h 2368"/>
                      <a:gd name="T50" fmla="*/ 78 w 4857"/>
                      <a:gd name="T51" fmla="*/ 975 h 2368"/>
                      <a:gd name="T52" fmla="*/ 205 w 4857"/>
                      <a:gd name="T53" fmla="*/ 1097 h 2368"/>
                      <a:gd name="T54" fmla="*/ 406 w 4857"/>
                      <a:gd name="T55" fmla="*/ 1275 h 2368"/>
                      <a:gd name="T56" fmla="*/ 550 w 4857"/>
                      <a:gd name="T57" fmla="*/ 1379 h 2368"/>
                      <a:gd name="T58" fmla="*/ 768 w 4857"/>
                      <a:gd name="T59" fmla="*/ 1445 h 2368"/>
                      <a:gd name="T60" fmla="*/ 1039 w 4857"/>
                      <a:gd name="T61" fmla="*/ 1731 h 2368"/>
                      <a:gd name="T62" fmla="*/ 1175 w 4857"/>
                      <a:gd name="T63" fmla="*/ 1809 h 2368"/>
                      <a:gd name="T64" fmla="*/ 1380 w 4857"/>
                      <a:gd name="T65" fmla="*/ 1923 h 2368"/>
                      <a:gd name="T66" fmla="*/ 1511 w 4857"/>
                      <a:gd name="T67" fmla="*/ 2012 h 2368"/>
                      <a:gd name="T68" fmla="*/ 1651 w 4857"/>
                      <a:gd name="T69" fmla="*/ 2105 h 2368"/>
                      <a:gd name="T70" fmla="*/ 1856 w 4857"/>
                      <a:gd name="T71" fmla="*/ 2164 h 2368"/>
                      <a:gd name="T72" fmla="*/ 2131 w 4857"/>
                      <a:gd name="T73" fmla="*/ 2172 h 2368"/>
                      <a:gd name="T74" fmla="*/ 2245 w 4857"/>
                      <a:gd name="T75" fmla="*/ 2316 h 2368"/>
                      <a:gd name="T76" fmla="*/ 2586 w 4857"/>
                      <a:gd name="T77" fmla="*/ 2127 h 2368"/>
                      <a:gd name="T78" fmla="*/ 2795 w 4857"/>
                      <a:gd name="T79" fmla="*/ 2227 h 2368"/>
                      <a:gd name="T80" fmla="*/ 2983 w 4857"/>
                      <a:gd name="T81" fmla="*/ 2309 h 2368"/>
                      <a:gd name="T82" fmla="*/ 3241 w 4857"/>
                      <a:gd name="T83" fmla="*/ 2268 h 2368"/>
                      <a:gd name="T84" fmla="*/ 3538 w 4857"/>
                      <a:gd name="T85" fmla="*/ 2101 h 2368"/>
                      <a:gd name="T86" fmla="*/ 3914 w 4857"/>
                      <a:gd name="T87" fmla="*/ 2057 h 2368"/>
                      <a:gd name="T88" fmla="*/ 4154 w 4857"/>
                      <a:gd name="T89" fmla="*/ 2001 h 2368"/>
                      <a:gd name="T90" fmla="*/ 4211 w 4857"/>
                      <a:gd name="T91" fmla="*/ 2094 h 2368"/>
                      <a:gd name="T92" fmla="*/ 4246 w 4857"/>
                      <a:gd name="T93" fmla="*/ 2220 h 2368"/>
                      <a:gd name="T94" fmla="*/ 4447 w 4857"/>
                      <a:gd name="T95" fmla="*/ 2220 h 2368"/>
                      <a:gd name="T96" fmla="*/ 4594 w 4857"/>
                      <a:gd name="T97" fmla="*/ 2315 h 2368"/>
                      <a:gd name="T98" fmla="*/ 4722 w 4857"/>
                      <a:gd name="T99" fmla="*/ 2268 h 2368"/>
                      <a:gd name="T100" fmla="*/ 4770 w 4857"/>
                      <a:gd name="T101" fmla="*/ 2072 h 2368"/>
                      <a:gd name="T102" fmla="*/ 4822 w 4857"/>
                      <a:gd name="T103" fmla="*/ 1820 h 2368"/>
                      <a:gd name="T104" fmla="*/ 4730 w 4857"/>
                      <a:gd name="T105" fmla="*/ 1564 h 2368"/>
                      <a:gd name="T106" fmla="*/ 4704 w 4857"/>
                      <a:gd name="T107" fmla="*/ 1367 h 2368"/>
                      <a:gd name="T108" fmla="*/ 4481 w 4857"/>
                      <a:gd name="T109" fmla="*/ 1186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57" h="2368">
                        <a:moveTo>
                          <a:pt x="4418" y="1148"/>
                        </a:moveTo>
                        <a:cubicBezTo>
                          <a:pt x="4385" y="1153"/>
                          <a:pt x="4402" y="1187"/>
                          <a:pt x="4415" y="1198"/>
                        </a:cubicBezTo>
                        <a:cubicBezTo>
                          <a:pt x="4428" y="1209"/>
                          <a:pt x="4418" y="1226"/>
                          <a:pt x="4405" y="1256"/>
                        </a:cubicBezTo>
                        <a:cubicBezTo>
                          <a:pt x="4392" y="1287"/>
                          <a:pt x="4392" y="1306"/>
                          <a:pt x="4366" y="1323"/>
                        </a:cubicBezTo>
                        <a:cubicBezTo>
                          <a:pt x="4339" y="1340"/>
                          <a:pt x="4343" y="1340"/>
                          <a:pt x="4303" y="1395"/>
                        </a:cubicBezTo>
                        <a:cubicBezTo>
                          <a:pt x="4264" y="1451"/>
                          <a:pt x="4244" y="1417"/>
                          <a:pt x="4222" y="1404"/>
                        </a:cubicBezTo>
                        <a:cubicBezTo>
                          <a:pt x="4199" y="1390"/>
                          <a:pt x="4199" y="1387"/>
                          <a:pt x="4166" y="1409"/>
                        </a:cubicBezTo>
                        <a:cubicBezTo>
                          <a:pt x="4133" y="1431"/>
                          <a:pt x="4127" y="1420"/>
                          <a:pt x="4104" y="1404"/>
                        </a:cubicBezTo>
                        <a:cubicBezTo>
                          <a:pt x="4081" y="1387"/>
                          <a:pt x="4068" y="1384"/>
                          <a:pt x="4032" y="1381"/>
                        </a:cubicBezTo>
                        <a:cubicBezTo>
                          <a:pt x="3995" y="1379"/>
                          <a:pt x="4012" y="1359"/>
                          <a:pt x="4002" y="1315"/>
                        </a:cubicBezTo>
                        <a:cubicBezTo>
                          <a:pt x="3992" y="1270"/>
                          <a:pt x="3943" y="1276"/>
                          <a:pt x="3920" y="1262"/>
                        </a:cubicBezTo>
                        <a:cubicBezTo>
                          <a:pt x="3897" y="1248"/>
                          <a:pt x="3881" y="1226"/>
                          <a:pt x="3838" y="1190"/>
                        </a:cubicBezTo>
                        <a:cubicBezTo>
                          <a:pt x="3796" y="1153"/>
                          <a:pt x="3740" y="1173"/>
                          <a:pt x="3701" y="1165"/>
                        </a:cubicBezTo>
                        <a:cubicBezTo>
                          <a:pt x="3661" y="1156"/>
                          <a:pt x="3648" y="1153"/>
                          <a:pt x="3609" y="1156"/>
                        </a:cubicBezTo>
                        <a:cubicBezTo>
                          <a:pt x="3570" y="1159"/>
                          <a:pt x="3537" y="1151"/>
                          <a:pt x="3484" y="1142"/>
                        </a:cubicBezTo>
                        <a:cubicBezTo>
                          <a:pt x="3432" y="1134"/>
                          <a:pt x="3435" y="1139"/>
                          <a:pt x="3393" y="1106"/>
                        </a:cubicBezTo>
                        <a:cubicBezTo>
                          <a:pt x="3350" y="1073"/>
                          <a:pt x="3344" y="1109"/>
                          <a:pt x="3301" y="1120"/>
                        </a:cubicBezTo>
                        <a:cubicBezTo>
                          <a:pt x="3258" y="1131"/>
                          <a:pt x="3258" y="1106"/>
                          <a:pt x="3239" y="1084"/>
                        </a:cubicBezTo>
                        <a:cubicBezTo>
                          <a:pt x="3219" y="1062"/>
                          <a:pt x="3193" y="1053"/>
                          <a:pt x="3173" y="1031"/>
                        </a:cubicBezTo>
                        <a:cubicBezTo>
                          <a:pt x="3154" y="1009"/>
                          <a:pt x="3111" y="1020"/>
                          <a:pt x="3078" y="1012"/>
                        </a:cubicBezTo>
                        <a:cubicBezTo>
                          <a:pt x="3045" y="1003"/>
                          <a:pt x="3016" y="1003"/>
                          <a:pt x="2996" y="984"/>
                        </a:cubicBezTo>
                        <a:cubicBezTo>
                          <a:pt x="2977" y="964"/>
                          <a:pt x="2914" y="975"/>
                          <a:pt x="2862" y="967"/>
                        </a:cubicBezTo>
                        <a:cubicBezTo>
                          <a:pt x="2810" y="959"/>
                          <a:pt x="2819" y="934"/>
                          <a:pt x="2816" y="906"/>
                        </a:cubicBezTo>
                        <a:cubicBezTo>
                          <a:pt x="2813" y="878"/>
                          <a:pt x="2806" y="875"/>
                          <a:pt x="2787" y="856"/>
                        </a:cubicBezTo>
                        <a:cubicBezTo>
                          <a:pt x="2767" y="836"/>
                          <a:pt x="2754" y="800"/>
                          <a:pt x="2747" y="773"/>
                        </a:cubicBezTo>
                        <a:cubicBezTo>
                          <a:pt x="2741" y="745"/>
                          <a:pt x="2711" y="709"/>
                          <a:pt x="2678" y="684"/>
                        </a:cubicBezTo>
                        <a:cubicBezTo>
                          <a:pt x="2646" y="659"/>
                          <a:pt x="2662" y="645"/>
                          <a:pt x="2665" y="620"/>
                        </a:cubicBezTo>
                        <a:cubicBezTo>
                          <a:pt x="2669" y="595"/>
                          <a:pt x="2656" y="564"/>
                          <a:pt x="2656" y="542"/>
                        </a:cubicBezTo>
                        <a:cubicBezTo>
                          <a:pt x="2656" y="520"/>
                          <a:pt x="2685" y="525"/>
                          <a:pt x="2708" y="533"/>
                        </a:cubicBezTo>
                        <a:cubicBezTo>
                          <a:pt x="2731" y="542"/>
                          <a:pt x="2737" y="531"/>
                          <a:pt x="2737" y="514"/>
                        </a:cubicBezTo>
                        <a:cubicBezTo>
                          <a:pt x="2737" y="497"/>
                          <a:pt x="2734" y="481"/>
                          <a:pt x="2721" y="456"/>
                        </a:cubicBezTo>
                        <a:cubicBezTo>
                          <a:pt x="2708" y="431"/>
                          <a:pt x="2734" y="420"/>
                          <a:pt x="2751" y="389"/>
                        </a:cubicBezTo>
                        <a:cubicBezTo>
                          <a:pt x="2767" y="358"/>
                          <a:pt x="2741" y="358"/>
                          <a:pt x="2764" y="339"/>
                        </a:cubicBezTo>
                        <a:cubicBezTo>
                          <a:pt x="2787" y="319"/>
                          <a:pt x="2793" y="303"/>
                          <a:pt x="2793" y="283"/>
                        </a:cubicBezTo>
                        <a:cubicBezTo>
                          <a:pt x="2793" y="264"/>
                          <a:pt x="2783" y="256"/>
                          <a:pt x="2760" y="247"/>
                        </a:cubicBezTo>
                        <a:cubicBezTo>
                          <a:pt x="2737" y="239"/>
                          <a:pt x="2728" y="247"/>
                          <a:pt x="2718" y="225"/>
                        </a:cubicBezTo>
                        <a:cubicBezTo>
                          <a:pt x="2708" y="203"/>
                          <a:pt x="2767" y="214"/>
                          <a:pt x="2787" y="186"/>
                        </a:cubicBezTo>
                        <a:cubicBezTo>
                          <a:pt x="2794" y="176"/>
                          <a:pt x="2794" y="162"/>
                          <a:pt x="2792" y="149"/>
                        </a:cubicBezTo>
                        <a:cubicBezTo>
                          <a:pt x="2760" y="144"/>
                          <a:pt x="2736" y="154"/>
                          <a:pt x="2699" y="159"/>
                        </a:cubicBezTo>
                        <a:cubicBezTo>
                          <a:pt x="2651" y="167"/>
                          <a:pt x="2638" y="144"/>
                          <a:pt x="2590" y="118"/>
                        </a:cubicBezTo>
                        <a:cubicBezTo>
                          <a:pt x="2542" y="92"/>
                          <a:pt x="2398" y="48"/>
                          <a:pt x="2328" y="37"/>
                        </a:cubicBezTo>
                        <a:cubicBezTo>
                          <a:pt x="2258" y="26"/>
                          <a:pt x="2258" y="41"/>
                          <a:pt x="2219" y="66"/>
                        </a:cubicBezTo>
                        <a:cubicBezTo>
                          <a:pt x="2179" y="92"/>
                          <a:pt x="2061" y="85"/>
                          <a:pt x="2000" y="81"/>
                        </a:cubicBezTo>
                        <a:cubicBezTo>
                          <a:pt x="1939" y="78"/>
                          <a:pt x="1904" y="122"/>
                          <a:pt x="1856" y="152"/>
                        </a:cubicBezTo>
                        <a:cubicBezTo>
                          <a:pt x="1808" y="181"/>
                          <a:pt x="1791" y="178"/>
                          <a:pt x="1751" y="170"/>
                        </a:cubicBezTo>
                        <a:cubicBezTo>
                          <a:pt x="1712" y="163"/>
                          <a:pt x="1703" y="167"/>
                          <a:pt x="1651" y="167"/>
                        </a:cubicBezTo>
                        <a:cubicBezTo>
                          <a:pt x="1598" y="167"/>
                          <a:pt x="1585" y="167"/>
                          <a:pt x="1546" y="196"/>
                        </a:cubicBezTo>
                        <a:cubicBezTo>
                          <a:pt x="1507" y="226"/>
                          <a:pt x="1481" y="215"/>
                          <a:pt x="1459" y="193"/>
                        </a:cubicBezTo>
                        <a:cubicBezTo>
                          <a:pt x="1437" y="170"/>
                          <a:pt x="1424" y="185"/>
                          <a:pt x="1371" y="178"/>
                        </a:cubicBezTo>
                        <a:cubicBezTo>
                          <a:pt x="1319" y="170"/>
                          <a:pt x="1323" y="137"/>
                          <a:pt x="1297" y="118"/>
                        </a:cubicBezTo>
                        <a:cubicBezTo>
                          <a:pt x="1271" y="100"/>
                          <a:pt x="1236" y="100"/>
                          <a:pt x="1175" y="92"/>
                        </a:cubicBezTo>
                        <a:cubicBezTo>
                          <a:pt x="1114" y="85"/>
                          <a:pt x="1131" y="107"/>
                          <a:pt x="1109" y="81"/>
                        </a:cubicBezTo>
                        <a:cubicBezTo>
                          <a:pt x="1087" y="55"/>
                          <a:pt x="1087" y="85"/>
                          <a:pt x="1044" y="89"/>
                        </a:cubicBezTo>
                        <a:cubicBezTo>
                          <a:pt x="1000" y="92"/>
                          <a:pt x="987" y="144"/>
                          <a:pt x="943" y="170"/>
                        </a:cubicBezTo>
                        <a:cubicBezTo>
                          <a:pt x="900" y="196"/>
                          <a:pt x="878" y="159"/>
                          <a:pt x="856" y="126"/>
                        </a:cubicBezTo>
                        <a:cubicBezTo>
                          <a:pt x="834" y="92"/>
                          <a:pt x="755" y="104"/>
                          <a:pt x="720" y="100"/>
                        </a:cubicBezTo>
                        <a:cubicBezTo>
                          <a:pt x="686" y="96"/>
                          <a:pt x="681" y="81"/>
                          <a:pt x="637" y="41"/>
                        </a:cubicBezTo>
                        <a:cubicBezTo>
                          <a:pt x="594" y="0"/>
                          <a:pt x="611" y="81"/>
                          <a:pt x="576" y="115"/>
                        </a:cubicBezTo>
                        <a:cubicBezTo>
                          <a:pt x="541" y="148"/>
                          <a:pt x="489" y="181"/>
                          <a:pt x="480" y="211"/>
                        </a:cubicBezTo>
                        <a:cubicBezTo>
                          <a:pt x="471" y="241"/>
                          <a:pt x="476" y="248"/>
                          <a:pt x="450" y="267"/>
                        </a:cubicBezTo>
                        <a:cubicBezTo>
                          <a:pt x="423" y="285"/>
                          <a:pt x="388" y="281"/>
                          <a:pt x="345" y="263"/>
                        </a:cubicBezTo>
                        <a:cubicBezTo>
                          <a:pt x="325" y="255"/>
                          <a:pt x="297" y="249"/>
                          <a:pt x="271" y="244"/>
                        </a:cubicBezTo>
                        <a:cubicBezTo>
                          <a:pt x="276" y="263"/>
                          <a:pt x="238" y="283"/>
                          <a:pt x="201" y="304"/>
                        </a:cubicBezTo>
                        <a:cubicBezTo>
                          <a:pt x="153" y="330"/>
                          <a:pt x="214" y="352"/>
                          <a:pt x="236" y="374"/>
                        </a:cubicBezTo>
                        <a:cubicBezTo>
                          <a:pt x="257" y="396"/>
                          <a:pt x="236" y="411"/>
                          <a:pt x="201" y="422"/>
                        </a:cubicBezTo>
                        <a:cubicBezTo>
                          <a:pt x="166" y="433"/>
                          <a:pt x="170" y="467"/>
                          <a:pt x="205" y="493"/>
                        </a:cubicBezTo>
                        <a:cubicBezTo>
                          <a:pt x="240" y="519"/>
                          <a:pt x="231" y="530"/>
                          <a:pt x="262" y="545"/>
                        </a:cubicBezTo>
                        <a:cubicBezTo>
                          <a:pt x="292" y="559"/>
                          <a:pt x="284" y="578"/>
                          <a:pt x="262" y="597"/>
                        </a:cubicBezTo>
                        <a:cubicBezTo>
                          <a:pt x="240" y="615"/>
                          <a:pt x="275" y="641"/>
                          <a:pt x="275" y="689"/>
                        </a:cubicBezTo>
                        <a:cubicBezTo>
                          <a:pt x="275" y="737"/>
                          <a:pt x="227" y="715"/>
                          <a:pt x="205" y="708"/>
                        </a:cubicBezTo>
                        <a:cubicBezTo>
                          <a:pt x="183" y="700"/>
                          <a:pt x="174" y="723"/>
                          <a:pt x="144" y="730"/>
                        </a:cubicBezTo>
                        <a:cubicBezTo>
                          <a:pt x="113" y="737"/>
                          <a:pt x="105" y="708"/>
                          <a:pt x="96" y="678"/>
                        </a:cubicBezTo>
                        <a:cubicBezTo>
                          <a:pt x="87" y="648"/>
                          <a:pt x="43" y="652"/>
                          <a:pt x="22" y="671"/>
                        </a:cubicBezTo>
                        <a:cubicBezTo>
                          <a:pt x="0" y="689"/>
                          <a:pt x="13" y="730"/>
                          <a:pt x="26" y="756"/>
                        </a:cubicBezTo>
                        <a:cubicBezTo>
                          <a:pt x="39" y="782"/>
                          <a:pt x="65" y="811"/>
                          <a:pt x="52" y="837"/>
                        </a:cubicBezTo>
                        <a:cubicBezTo>
                          <a:pt x="39" y="863"/>
                          <a:pt x="30" y="867"/>
                          <a:pt x="52" y="900"/>
                        </a:cubicBezTo>
                        <a:cubicBezTo>
                          <a:pt x="74" y="934"/>
                          <a:pt x="35" y="938"/>
                          <a:pt x="39" y="960"/>
                        </a:cubicBezTo>
                        <a:cubicBezTo>
                          <a:pt x="43" y="982"/>
                          <a:pt x="70" y="989"/>
                          <a:pt x="78" y="975"/>
                        </a:cubicBezTo>
                        <a:cubicBezTo>
                          <a:pt x="87" y="960"/>
                          <a:pt x="109" y="967"/>
                          <a:pt x="122" y="978"/>
                        </a:cubicBezTo>
                        <a:cubicBezTo>
                          <a:pt x="135" y="989"/>
                          <a:pt x="148" y="1049"/>
                          <a:pt x="153" y="1071"/>
                        </a:cubicBezTo>
                        <a:cubicBezTo>
                          <a:pt x="157" y="1093"/>
                          <a:pt x="188" y="1112"/>
                          <a:pt x="205" y="1097"/>
                        </a:cubicBezTo>
                        <a:cubicBezTo>
                          <a:pt x="222" y="1082"/>
                          <a:pt x="244" y="1112"/>
                          <a:pt x="266" y="1138"/>
                        </a:cubicBezTo>
                        <a:cubicBezTo>
                          <a:pt x="288" y="1164"/>
                          <a:pt x="327" y="1201"/>
                          <a:pt x="340" y="1230"/>
                        </a:cubicBezTo>
                        <a:cubicBezTo>
                          <a:pt x="354" y="1260"/>
                          <a:pt x="406" y="1264"/>
                          <a:pt x="406" y="1275"/>
                        </a:cubicBezTo>
                        <a:cubicBezTo>
                          <a:pt x="406" y="1286"/>
                          <a:pt x="445" y="1304"/>
                          <a:pt x="467" y="1327"/>
                        </a:cubicBezTo>
                        <a:cubicBezTo>
                          <a:pt x="489" y="1349"/>
                          <a:pt x="493" y="1342"/>
                          <a:pt x="493" y="1390"/>
                        </a:cubicBezTo>
                        <a:cubicBezTo>
                          <a:pt x="493" y="1438"/>
                          <a:pt x="541" y="1397"/>
                          <a:pt x="550" y="1379"/>
                        </a:cubicBezTo>
                        <a:cubicBezTo>
                          <a:pt x="559" y="1360"/>
                          <a:pt x="611" y="1345"/>
                          <a:pt x="637" y="1319"/>
                        </a:cubicBezTo>
                        <a:cubicBezTo>
                          <a:pt x="664" y="1293"/>
                          <a:pt x="672" y="1356"/>
                          <a:pt x="694" y="1390"/>
                        </a:cubicBezTo>
                        <a:cubicBezTo>
                          <a:pt x="716" y="1423"/>
                          <a:pt x="729" y="1397"/>
                          <a:pt x="768" y="1445"/>
                        </a:cubicBezTo>
                        <a:cubicBezTo>
                          <a:pt x="808" y="1493"/>
                          <a:pt x="812" y="1464"/>
                          <a:pt x="856" y="1505"/>
                        </a:cubicBezTo>
                        <a:cubicBezTo>
                          <a:pt x="900" y="1545"/>
                          <a:pt x="939" y="1564"/>
                          <a:pt x="974" y="1582"/>
                        </a:cubicBezTo>
                        <a:cubicBezTo>
                          <a:pt x="1009" y="1601"/>
                          <a:pt x="1017" y="1694"/>
                          <a:pt x="1039" y="1731"/>
                        </a:cubicBezTo>
                        <a:cubicBezTo>
                          <a:pt x="1061" y="1768"/>
                          <a:pt x="1109" y="1723"/>
                          <a:pt x="1135" y="1690"/>
                        </a:cubicBezTo>
                        <a:cubicBezTo>
                          <a:pt x="1162" y="1657"/>
                          <a:pt x="1170" y="1712"/>
                          <a:pt x="1170" y="1723"/>
                        </a:cubicBezTo>
                        <a:cubicBezTo>
                          <a:pt x="1170" y="1734"/>
                          <a:pt x="1175" y="1783"/>
                          <a:pt x="1175" y="1809"/>
                        </a:cubicBezTo>
                        <a:cubicBezTo>
                          <a:pt x="1175" y="1834"/>
                          <a:pt x="1236" y="1849"/>
                          <a:pt x="1271" y="1860"/>
                        </a:cubicBezTo>
                        <a:cubicBezTo>
                          <a:pt x="1306" y="1872"/>
                          <a:pt x="1310" y="1905"/>
                          <a:pt x="1358" y="1901"/>
                        </a:cubicBezTo>
                        <a:cubicBezTo>
                          <a:pt x="1406" y="1897"/>
                          <a:pt x="1389" y="1912"/>
                          <a:pt x="1380" y="1923"/>
                        </a:cubicBezTo>
                        <a:cubicBezTo>
                          <a:pt x="1371" y="1935"/>
                          <a:pt x="1398" y="1957"/>
                          <a:pt x="1398" y="1972"/>
                        </a:cubicBezTo>
                        <a:cubicBezTo>
                          <a:pt x="1398" y="1986"/>
                          <a:pt x="1441" y="2001"/>
                          <a:pt x="1459" y="1990"/>
                        </a:cubicBezTo>
                        <a:cubicBezTo>
                          <a:pt x="1476" y="1979"/>
                          <a:pt x="1494" y="1998"/>
                          <a:pt x="1511" y="2012"/>
                        </a:cubicBezTo>
                        <a:cubicBezTo>
                          <a:pt x="1529" y="2027"/>
                          <a:pt x="1559" y="2023"/>
                          <a:pt x="1555" y="2061"/>
                        </a:cubicBezTo>
                        <a:cubicBezTo>
                          <a:pt x="1594" y="2142"/>
                          <a:pt x="1598" y="2094"/>
                          <a:pt x="1612" y="2072"/>
                        </a:cubicBezTo>
                        <a:cubicBezTo>
                          <a:pt x="1625" y="2049"/>
                          <a:pt x="1633" y="2075"/>
                          <a:pt x="1651" y="2105"/>
                        </a:cubicBezTo>
                        <a:cubicBezTo>
                          <a:pt x="1668" y="2135"/>
                          <a:pt x="1725" y="2094"/>
                          <a:pt x="1747" y="2079"/>
                        </a:cubicBezTo>
                        <a:cubicBezTo>
                          <a:pt x="1769" y="2064"/>
                          <a:pt x="1782" y="2101"/>
                          <a:pt x="1786" y="2116"/>
                        </a:cubicBezTo>
                        <a:cubicBezTo>
                          <a:pt x="1791" y="2131"/>
                          <a:pt x="1843" y="2142"/>
                          <a:pt x="1856" y="2164"/>
                        </a:cubicBezTo>
                        <a:cubicBezTo>
                          <a:pt x="1869" y="2187"/>
                          <a:pt x="1895" y="2187"/>
                          <a:pt x="1948" y="2172"/>
                        </a:cubicBezTo>
                        <a:cubicBezTo>
                          <a:pt x="2000" y="2157"/>
                          <a:pt x="1992" y="2190"/>
                          <a:pt x="2040" y="2194"/>
                        </a:cubicBezTo>
                        <a:cubicBezTo>
                          <a:pt x="2088" y="2198"/>
                          <a:pt x="2079" y="2172"/>
                          <a:pt x="2131" y="2172"/>
                        </a:cubicBezTo>
                        <a:cubicBezTo>
                          <a:pt x="2184" y="2172"/>
                          <a:pt x="2179" y="2172"/>
                          <a:pt x="2214" y="2146"/>
                        </a:cubicBezTo>
                        <a:cubicBezTo>
                          <a:pt x="2249" y="2120"/>
                          <a:pt x="2267" y="2168"/>
                          <a:pt x="2284" y="2205"/>
                        </a:cubicBezTo>
                        <a:cubicBezTo>
                          <a:pt x="2302" y="2242"/>
                          <a:pt x="2241" y="2264"/>
                          <a:pt x="2245" y="2316"/>
                        </a:cubicBezTo>
                        <a:cubicBezTo>
                          <a:pt x="2249" y="2368"/>
                          <a:pt x="2337" y="2283"/>
                          <a:pt x="2350" y="2264"/>
                        </a:cubicBezTo>
                        <a:cubicBezTo>
                          <a:pt x="2363" y="2246"/>
                          <a:pt x="2420" y="2194"/>
                          <a:pt x="2446" y="2164"/>
                        </a:cubicBezTo>
                        <a:cubicBezTo>
                          <a:pt x="2472" y="2135"/>
                          <a:pt x="2542" y="2142"/>
                          <a:pt x="2586" y="2127"/>
                        </a:cubicBezTo>
                        <a:cubicBezTo>
                          <a:pt x="2629" y="2112"/>
                          <a:pt x="2647" y="2153"/>
                          <a:pt x="2660" y="2175"/>
                        </a:cubicBezTo>
                        <a:cubicBezTo>
                          <a:pt x="2673" y="2198"/>
                          <a:pt x="2664" y="2198"/>
                          <a:pt x="2704" y="2198"/>
                        </a:cubicBezTo>
                        <a:cubicBezTo>
                          <a:pt x="2743" y="2198"/>
                          <a:pt x="2773" y="2205"/>
                          <a:pt x="2795" y="2227"/>
                        </a:cubicBezTo>
                        <a:cubicBezTo>
                          <a:pt x="2817" y="2250"/>
                          <a:pt x="2861" y="2246"/>
                          <a:pt x="2874" y="2224"/>
                        </a:cubicBezTo>
                        <a:cubicBezTo>
                          <a:pt x="2887" y="2201"/>
                          <a:pt x="2922" y="2227"/>
                          <a:pt x="2966" y="2253"/>
                        </a:cubicBezTo>
                        <a:cubicBezTo>
                          <a:pt x="3009" y="2279"/>
                          <a:pt x="2974" y="2287"/>
                          <a:pt x="2983" y="2309"/>
                        </a:cubicBezTo>
                        <a:cubicBezTo>
                          <a:pt x="2992" y="2331"/>
                          <a:pt x="3057" y="2339"/>
                          <a:pt x="3071" y="2316"/>
                        </a:cubicBezTo>
                        <a:cubicBezTo>
                          <a:pt x="3084" y="2294"/>
                          <a:pt x="3114" y="2305"/>
                          <a:pt x="3140" y="2320"/>
                        </a:cubicBezTo>
                        <a:cubicBezTo>
                          <a:pt x="3167" y="2335"/>
                          <a:pt x="3223" y="2305"/>
                          <a:pt x="3241" y="2268"/>
                        </a:cubicBezTo>
                        <a:cubicBezTo>
                          <a:pt x="3258" y="2231"/>
                          <a:pt x="3237" y="2227"/>
                          <a:pt x="3285" y="2220"/>
                        </a:cubicBezTo>
                        <a:cubicBezTo>
                          <a:pt x="3333" y="2213"/>
                          <a:pt x="3341" y="2179"/>
                          <a:pt x="3376" y="2138"/>
                        </a:cubicBezTo>
                        <a:cubicBezTo>
                          <a:pt x="3411" y="2098"/>
                          <a:pt x="3481" y="2112"/>
                          <a:pt x="3538" y="2101"/>
                        </a:cubicBezTo>
                        <a:cubicBezTo>
                          <a:pt x="3595" y="2090"/>
                          <a:pt x="3630" y="2038"/>
                          <a:pt x="3700" y="1990"/>
                        </a:cubicBezTo>
                        <a:cubicBezTo>
                          <a:pt x="3769" y="1942"/>
                          <a:pt x="3796" y="2005"/>
                          <a:pt x="3813" y="2016"/>
                        </a:cubicBezTo>
                        <a:cubicBezTo>
                          <a:pt x="3831" y="2027"/>
                          <a:pt x="3887" y="2031"/>
                          <a:pt x="3914" y="2057"/>
                        </a:cubicBezTo>
                        <a:cubicBezTo>
                          <a:pt x="3940" y="2083"/>
                          <a:pt x="3949" y="2035"/>
                          <a:pt x="3975" y="2009"/>
                        </a:cubicBezTo>
                        <a:cubicBezTo>
                          <a:pt x="4001" y="1983"/>
                          <a:pt x="4023" y="1975"/>
                          <a:pt x="4058" y="1960"/>
                        </a:cubicBezTo>
                        <a:cubicBezTo>
                          <a:pt x="4093" y="1946"/>
                          <a:pt x="4132" y="1975"/>
                          <a:pt x="4154" y="2001"/>
                        </a:cubicBezTo>
                        <a:cubicBezTo>
                          <a:pt x="4176" y="2027"/>
                          <a:pt x="4132" y="2027"/>
                          <a:pt x="4119" y="2061"/>
                        </a:cubicBezTo>
                        <a:cubicBezTo>
                          <a:pt x="4106" y="2094"/>
                          <a:pt x="4154" y="2086"/>
                          <a:pt x="4167" y="2064"/>
                        </a:cubicBezTo>
                        <a:cubicBezTo>
                          <a:pt x="4180" y="2042"/>
                          <a:pt x="4202" y="2064"/>
                          <a:pt x="4211" y="2094"/>
                        </a:cubicBezTo>
                        <a:cubicBezTo>
                          <a:pt x="4219" y="2124"/>
                          <a:pt x="4228" y="2127"/>
                          <a:pt x="4206" y="2150"/>
                        </a:cubicBezTo>
                        <a:cubicBezTo>
                          <a:pt x="4184" y="2172"/>
                          <a:pt x="4167" y="2168"/>
                          <a:pt x="4158" y="2205"/>
                        </a:cubicBezTo>
                        <a:cubicBezTo>
                          <a:pt x="4149" y="2242"/>
                          <a:pt x="4228" y="2205"/>
                          <a:pt x="4246" y="2220"/>
                        </a:cubicBezTo>
                        <a:cubicBezTo>
                          <a:pt x="4263" y="2235"/>
                          <a:pt x="4285" y="2253"/>
                          <a:pt x="4320" y="2250"/>
                        </a:cubicBezTo>
                        <a:cubicBezTo>
                          <a:pt x="4355" y="2246"/>
                          <a:pt x="4346" y="2242"/>
                          <a:pt x="4385" y="2268"/>
                        </a:cubicBezTo>
                        <a:cubicBezTo>
                          <a:pt x="4425" y="2294"/>
                          <a:pt x="4425" y="2246"/>
                          <a:pt x="4447" y="2220"/>
                        </a:cubicBezTo>
                        <a:cubicBezTo>
                          <a:pt x="4468" y="2194"/>
                          <a:pt x="4495" y="2209"/>
                          <a:pt x="4508" y="2235"/>
                        </a:cubicBezTo>
                        <a:cubicBezTo>
                          <a:pt x="4521" y="2261"/>
                          <a:pt x="4530" y="2250"/>
                          <a:pt x="4564" y="2272"/>
                        </a:cubicBezTo>
                        <a:cubicBezTo>
                          <a:pt x="4585" y="2285"/>
                          <a:pt x="4590" y="2296"/>
                          <a:pt x="4594" y="2315"/>
                        </a:cubicBezTo>
                        <a:cubicBezTo>
                          <a:pt x="4599" y="2309"/>
                          <a:pt x="4605" y="2302"/>
                          <a:pt x="4613" y="2294"/>
                        </a:cubicBezTo>
                        <a:cubicBezTo>
                          <a:pt x="4656" y="2246"/>
                          <a:pt x="4639" y="2290"/>
                          <a:pt x="4674" y="2305"/>
                        </a:cubicBezTo>
                        <a:cubicBezTo>
                          <a:pt x="4709" y="2320"/>
                          <a:pt x="4717" y="2301"/>
                          <a:pt x="4722" y="2268"/>
                        </a:cubicBezTo>
                        <a:cubicBezTo>
                          <a:pt x="4726" y="2235"/>
                          <a:pt x="4713" y="2183"/>
                          <a:pt x="4713" y="2142"/>
                        </a:cubicBezTo>
                        <a:cubicBezTo>
                          <a:pt x="4713" y="2101"/>
                          <a:pt x="4726" y="2124"/>
                          <a:pt x="4770" y="2112"/>
                        </a:cubicBezTo>
                        <a:cubicBezTo>
                          <a:pt x="4813" y="2101"/>
                          <a:pt x="4770" y="2112"/>
                          <a:pt x="4770" y="2072"/>
                        </a:cubicBezTo>
                        <a:cubicBezTo>
                          <a:pt x="4770" y="2031"/>
                          <a:pt x="4796" y="2053"/>
                          <a:pt x="4827" y="2035"/>
                        </a:cubicBezTo>
                        <a:cubicBezTo>
                          <a:pt x="4857" y="2016"/>
                          <a:pt x="4827" y="2001"/>
                          <a:pt x="4818" y="1968"/>
                        </a:cubicBezTo>
                        <a:cubicBezTo>
                          <a:pt x="4809" y="1935"/>
                          <a:pt x="4827" y="1857"/>
                          <a:pt x="4822" y="1820"/>
                        </a:cubicBezTo>
                        <a:cubicBezTo>
                          <a:pt x="4818" y="1783"/>
                          <a:pt x="4822" y="1771"/>
                          <a:pt x="4818" y="1731"/>
                        </a:cubicBezTo>
                        <a:cubicBezTo>
                          <a:pt x="4813" y="1690"/>
                          <a:pt x="4796" y="1660"/>
                          <a:pt x="4792" y="1631"/>
                        </a:cubicBezTo>
                        <a:cubicBezTo>
                          <a:pt x="4787" y="1601"/>
                          <a:pt x="4752" y="1594"/>
                          <a:pt x="4730" y="1564"/>
                        </a:cubicBezTo>
                        <a:cubicBezTo>
                          <a:pt x="4709" y="1534"/>
                          <a:pt x="4744" y="1542"/>
                          <a:pt x="4792" y="1531"/>
                        </a:cubicBezTo>
                        <a:cubicBezTo>
                          <a:pt x="4840" y="1519"/>
                          <a:pt x="4774" y="1475"/>
                          <a:pt x="4744" y="1449"/>
                        </a:cubicBezTo>
                        <a:cubicBezTo>
                          <a:pt x="4713" y="1423"/>
                          <a:pt x="4709" y="1408"/>
                          <a:pt x="4704" y="1367"/>
                        </a:cubicBezTo>
                        <a:cubicBezTo>
                          <a:pt x="4700" y="1327"/>
                          <a:pt x="4656" y="1312"/>
                          <a:pt x="4647" y="1264"/>
                        </a:cubicBezTo>
                        <a:cubicBezTo>
                          <a:pt x="4639" y="1215"/>
                          <a:pt x="4608" y="1230"/>
                          <a:pt x="4582" y="1227"/>
                        </a:cubicBezTo>
                        <a:cubicBezTo>
                          <a:pt x="4556" y="1223"/>
                          <a:pt x="4516" y="1193"/>
                          <a:pt x="4481" y="1186"/>
                        </a:cubicBezTo>
                        <a:cubicBezTo>
                          <a:pt x="4454" y="1180"/>
                          <a:pt x="4462" y="1168"/>
                          <a:pt x="4478" y="1157"/>
                        </a:cubicBezTo>
                        <a:cubicBezTo>
                          <a:pt x="4460" y="1150"/>
                          <a:pt x="4440" y="1144"/>
                          <a:pt x="4418" y="1148"/>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6" name="Freeform 8">
                    <a:extLst>
                      <a:ext uri="{FF2B5EF4-FFF2-40B4-BE49-F238E27FC236}">
                        <a16:creationId xmlns:a16="http://schemas.microsoft.com/office/drawing/2014/main" id="{853DAF99-CF4F-1C5F-B1C3-22262A591E7A}"/>
                      </a:ext>
                    </a:extLst>
                  </p:cNvPr>
                  <p:cNvSpPr>
                    <a:spLocks/>
                  </p:cNvSpPr>
                  <p:nvPr/>
                </p:nvSpPr>
                <p:spPr bwMode="auto">
                  <a:xfrm>
                    <a:off x="1496" y="1832"/>
                    <a:ext cx="1455" cy="934"/>
                  </a:xfrm>
                  <a:custGeom>
                    <a:avLst/>
                    <a:gdLst>
                      <a:gd name="T0" fmla="*/ 3054 w 3142"/>
                      <a:gd name="T1" fmla="*/ 771 h 2018"/>
                      <a:gd name="T2" fmla="*/ 2993 w 3142"/>
                      <a:gd name="T3" fmla="*/ 656 h 2018"/>
                      <a:gd name="T4" fmla="*/ 2875 w 3142"/>
                      <a:gd name="T5" fmla="*/ 478 h 2018"/>
                      <a:gd name="T6" fmla="*/ 2652 w 3142"/>
                      <a:gd name="T7" fmla="*/ 396 h 2018"/>
                      <a:gd name="T8" fmla="*/ 2460 w 3142"/>
                      <a:gd name="T9" fmla="*/ 204 h 2018"/>
                      <a:gd name="T10" fmla="*/ 2298 w 3142"/>
                      <a:gd name="T11" fmla="*/ 200 h 2018"/>
                      <a:gd name="T12" fmla="*/ 2023 w 3142"/>
                      <a:gd name="T13" fmla="*/ 152 h 2018"/>
                      <a:gd name="T14" fmla="*/ 1700 w 3142"/>
                      <a:gd name="T15" fmla="*/ 185 h 2018"/>
                      <a:gd name="T16" fmla="*/ 1482 w 3142"/>
                      <a:gd name="T17" fmla="*/ 118 h 2018"/>
                      <a:gd name="T18" fmla="*/ 1206 w 3142"/>
                      <a:gd name="T19" fmla="*/ 40 h 2018"/>
                      <a:gd name="T20" fmla="*/ 988 w 3142"/>
                      <a:gd name="T21" fmla="*/ 59 h 2018"/>
                      <a:gd name="T22" fmla="*/ 761 w 3142"/>
                      <a:gd name="T23" fmla="*/ 85 h 2018"/>
                      <a:gd name="T24" fmla="*/ 451 w 3142"/>
                      <a:gd name="T25" fmla="*/ 133 h 2018"/>
                      <a:gd name="T26" fmla="*/ 298 w 3142"/>
                      <a:gd name="T27" fmla="*/ 333 h 2018"/>
                      <a:gd name="T28" fmla="*/ 490 w 3142"/>
                      <a:gd name="T29" fmla="*/ 463 h 2018"/>
                      <a:gd name="T30" fmla="*/ 433 w 3142"/>
                      <a:gd name="T31" fmla="*/ 574 h 2018"/>
                      <a:gd name="T32" fmla="*/ 411 w 3142"/>
                      <a:gd name="T33" fmla="*/ 689 h 2018"/>
                      <a:gd name="T34" fmla="*/ 333 w 3142"/>
                      <a:gd name="T35" fmla="*/ 752 h 2018"/>
                      <a:gd name="T36" fmla="*/ 146 w 3142"/>
                      <a:gd name="T37" fmla="*/ 716 h 2018"/>
                      <a:gd name="T38" fmla="*/ 72 w 3142"/>
                      <a:gd name="T39" fmla="*/ 792 h 2018"/>
                      <a:gd name="T40" fmla="*/ 147 w 3142"/>
                      <a:gd name="T41" fmla="*/ 850 h 2018"/>
                      <a:gd name="T42" fmla="*/ 105 w 3142"/>
                      <a:gd name="T43" fmla="*/ 956 h 2018"/>
                      <a:gd name="T44" fmla="*/ 91 w 3142"/>
                      <a:gd name="T45" fmla="*/ 1081 h 2018"/>
                      <a:gd name="T46" fmla="*/ 10 w 3142"/>
                      <a:gd name="T47" fmla="*/ 1109 h 2018"/>
                      <a:gd name="T48" fmla="*/ 32 w 3142"/>
                      <a:gd name="T49" fmla="*/ 1251 h 2018"/>
                      <a:gd name="T50" fmla="*/ 141 w 3142"/>
                      <a:gd name="T51" fmla="*/ 1423 h 2018"/>
                      <a:gd name="T52" fmla="*/ 216 w 3142"/>
                      <a:gd name="T53" fmla="*/ 1534 h 2018"/>
                      <a:gd name="T54" fmla="*/ 432 w 3142"/>
                      <a:gd name="T55" fmla="*/ 1579 h 2018"/>
                      <a:gd name="T56" fmla="*/ 593 w 3142"/>
                      <a:gd name="T57" fmla="*/ 1651 h 2018"/>
                      <a:gd name="T58" fmla="*/ 747 w 3142"/>
                      <a:gd name="T59" fmla="*/ 1673 h 2018"/>
                      <a:gd name="T60" fmla="*/ 963 w 3142"/>
                      <a:gd name="T61" fmla="*/ 1723 h 2018"/>
                      <a:gd name="T62" fmla="*/ 1192 w 3142"/>
                      <a:gd name="T63" fmla="*/ 1757 h 2018"/>
                      <a:gd name="T64" fmla="*/ 1356 w 3142"/>
                      <a:gd name="T65" fmla="*/ 1882 h 2018"/>
                      <a:gd name="T66" fmla="*/ 1458 w 3142"/>
                      <a:gd name="T67" fmla="*/ 1971 h 2018"/>
                      <a:gd name="T68" fmla="*/ 1576 w 3142"/>
                      <a:gd name="T69" fmla="*/ 1971 h 2018"/>
                      <a:gd name="T70" fmla="*/ 1720 w 3142"/>
                      <a:gd name="T71" fmla="*/ 1890 h 2018"/>
                      <a:gd name="T72" fmla="*/ 1769 w 3142"/>
                      <a:gd name="T73" fmla="*/ 1765 h 2018"/>
                      <a:gd name="T74" fmla="*/ 1832 w 3142"/>
                      <a:gd name="T75" fmla="*/ 1724 h 2018"/>
                      <a:gd name="T76" fmla="*/ 1853 w 3142"/>
                      <a:gd name="T77" fmla="*/ 1631 h 2018"/>
                      <a:gd name="T78" fmla="*/ 2036 w 3142"/>
                      <a:gd name="T79" fmla="*/ 1586 h 2018"/>
                      <a:gd name="T80" fmla="*/ 2189 w 3142"/>
                      <a:gd name="T81" fmla="*/ 1597 h 2018"/>
                      <a:gd name="T82" fmla="*/ 2347 w 3142"/>
                      <a:gd name="T83" fmla="*/ 1597 h 2018"/>
                      <a:gd name="T84" fmla="*/ 2499 w 3142"/>
                      <a:gd name="T85" fmla="*/ 1738 h 2018"/>
                      <a:gd name="T86" fmla="*/ 2661 w 3142"/>
                      <a:gd name="T87" fmla="*/ 1686 h 2018"/>
                      <a:gd name="T88" fmla="*/ 2805 w 3142"/>
                      <a:gd name="T89" fmla="*/ 1649 h 2018"/>
                      <a:gd name="T90" fmla="*/ 2949 w 3142"/>
                      <a:gd name="T91" fmla="*/ 1656 h 2018"/>
                      <a:gd name="T92" fmla="*/ 3011 w 3142"/>
                      <a:gd name="T93" fmla="*/ 1530 h 2018"/>
                      <a:gd name="T94" fmla="*/ 2831 w 3142"/>
                      <a:gd name="T95" fmla="*/ 1441 h 2018"/>
                      <a:gd name="T96" fmla="*/ 2661 w 3142"/>
                      <a:gd name="T97" fmla="*/ 1323 h 2018"/>
                      <a:gd name="T98" fmla="*/ 2818 w 3142"/>
                      <a:gd name="T99" fmla="*/ 1382 h 2018"/>
                      <a:gd name="T100" fmla="*/ 2884 w 3142"/>
                      <a:gd name="T101" fmla="*/ 1234 h 2018"/>
                      <a:gd name="T102" fmla="*/ 2976 w 3142"/>
                      <a:gd name="T103" fmla="*/ 1115 h 2018"/>
                      <a:gd name="T104" fmla="*/ 3032 w 3142"/>
                      <a:gd name="T105" fmla="*/ 1026 h 2018"/>
                      <a:gd name="T106" fmla="*/ 3089 w 3142"/>
                      <a:gd name="T107" fmla="*/ 997 h 2018"/>
                      <a:gd name="T108" fmla="*/ 3085 w 3142"/>
                      <a:gd name="T109" fmla="*/ 823 h 2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42" h="2018">
                        <a:moveTo>
                          <a:pt x="3085" y="823"/>
                        </a:moveTo>
                        <a:cubicBezTo>
                          <a:pt x="3054" y="797"/>
                          <a:pt x="3054" y="789"/>
                          <a:pt x="3054" y="771"/>
                        </a:cubicBezTo>
                        <a:cubicBezTo>
                          <a:pt x="3054" y="752"/>
                          <a:pt x="3063" y="726"/>
                          <a:pt x="3032" y="708"/>
                        </a:cubicBezTo>
                        <a:cubicBezTo>
                          <a:pt x="2962" y="682"/>
                          <a:pt x="2976" y="678"/>
                          <a:pt x="2993" y="656"/>
                        </a:cubicBezTo>
                        <a:cubicBezTo>
                          <a:pt x="3011" y="633"/>
                          <a:pt x="2980" y="604"/>
                          <a:pt x="2971" y="574"/>
                        </a:cubicBezTo>
                        <a:cubicBezTo>
                          <a:pt x="2962" y="545"/>
                          <a:pt x="2901" y="530"/>
                          <a:pt x="2875" y="478"/>
                        </a:cubicBezTo>
                        <a:cubicBezTo>
                          <a:pt x="2849" y="426"/>
                          <a:pt x="2796" y="489"/>
                          <a:pt x="2762" y="496"/>
                        </a:cubicBezTo>
                        <a:cubicBezTo>
                          <a:pt x="2727" y="504"/>
                          <a:pt x="2679" y="426"/>
                          <a:pt x="2652" y="396"/>
                        </a:cubicBezTo>
                        <a:cubicBezTo>
                          <a:pt x="2626" y="367"/>
                          <a:pt x="2547" y="348"/>
                          <a:pt x="2499" y="330"/>
                        </a:cubicBezTo>
                        <a:cubicBezTo>
                          <a:pt x="2451" y="311"/>
                          <a:pt x="2464" y="244"/>
                          <a:pt x="2460" y="204"/>
                        </a:cubicBezTo>
                        <a:cubicBezTo>
                          <a:pt x="2456" y="163"/>
                          <a:pt x="2403" y="207"/>
                          <a:pt x="2360" y="226"/>
                        </a:cubicBezTo>
                        <a:cubicBezTo>
                          <a:pt x="2316" y="244"/>
                          <a:pt x="2303" y="229"/>
                          <a:pt x="2298" y="200"/>
                        </a:cubicBezTo>
                        <a:cubicBezTo>
                          <a:pt x="2294" y="170"/>
                          <a:pt x="2224" y="170"/>
                          <a:pt x="2141" y="126"/>
                        </a:cubicBezTo>
                        <a:cubicBezTo>
                          <a:pt x="2058" y="81"/>
                          <a:pt x="2050" y="122"/>
                          <a:pt x="2023" y="152"/>
                        </a:cubicBezTo>
                        <a:cubicBezTo>
                          <a:pt x="1997" y="181"/>
                          <a:pt x="1910" y="144"/>
                          <a:pt x="1844" y="133"/>
                        </a:cubicBezTo>
                        <a:cubicBezTo>
                          <a:pt x="1779" y="122"/>
                          <a:pt x="1770" y="159"/>
                          <a:pt x="1700" y="185"/>
                        </a:cubicBezTo>
                        <a:cubicBezTo>
                          <a:pt x="1630" y="211"/>
                          <a:pt x="1639" y="215"/>
                          <a:pt x="1595" y="207"/>
                        </a:cubicBezTo>
                        <a:cubicBezTo>
                          <a:pt x="1552" y="200"/>
                          <a:pt x="1517" y="166"/>
                          <a:pt x="1482" y="118"/>
                        </a:cubicBezTo>
                        <a:cubicBezTo>
                          <a:pt x="1447" y="70"/>
                          <a:pt x="1420" y="96"/>
                          <a:pt x="1368" y="92"/>
                        </a:cubicBezTo>
                        <a:cubicBezTo>
                          <a:pt x="1316" y="89"/>
                          <a:pt x="1263" y="48"/>
                          <a:pt x="1206" y="40"/>
                        </a:cubicBezTo>
                        <a:cubicBezTo>
                          <a:pt x="1150" y="33"/>
                          <a:pt x="1080" y="59"/>
                          <a:pt x="1045" y="29"/>
                        </a:cubicBezTo>
                        <a:cubicBezTo>
                          <a:pt x="1010" y="0"/>
                          <a:pt x="1010" y="29"/>
                          <a:pt x="988" y="59"/>
                        </a:cubicBezTo>
                        <a:cubicBezTo>
                          <a:pt x="966" y="89"/>
                          <a:pt x="927" y="66"/>
                          <a:pt x="879" y="63"/>
                        </a:cubicBezTo>
                        <a:cubicBezTo>
                          <a:pt x="831" y="59"/>
                          <a:pt x="822" y="81"/>
                          <a:pt x="761" y="85"/>
                        </a:cubicBezTo>
                        <a:cubicBezTo>
                          <a:pt x="700" y="89"/>
                          <a:pt x="700" y="122"/>
                          <a:pt x="617" y="126"/>
                        </a:cubicBezTo>
                        <a:cubicBezTo>
                          <a:pt x="534" y="129"/>
                          <a:pt x="521" y="141"/>
                          <a:pt x="451" y="133"/>
                        </a:cubicBezTo>
                        <a:cubicBezTo>
                          <a:pt x="381" y="126"/>
                          <a:pt x="368" y="166"/>
                          <a:pt x="320" y="196"/>
                        </a:cubicBezTo>
                        <a:cubicBezTo>
                          <a:pt x="272" y="226"/>
                          <a:pt x="298" y="285"/>
                          <a:pt x="298" y="333"/>
                        </a:cubicBezTo>
                        <a:cubicBezTo>
                          <a:pt x="298" y="381"/>
                          <a:pt x="381" y="370"/>
                          <a:pt x="390" y="400"/>
                        </a:cubicBezTo>
                        <a:cubicBezTo>
                          <a:pt x="398" y="430"/>
                          <a:pt x="464" y="430"/>
                          <a:pt x="490" y="463"/>
                        </a:cubicBezTo>
                        <a:cubicBezTo>
                          <a:pt x="516" y="496"/>
                          <a:pt x="481" y="504"/>
                          <a:pt x="468" y="522"/>
                        </a:cubicBezTo>
                        <a:cubicBezTo>
                          <a:pt x="455" y="541"/>
                          <a:pt x="477" y="556"/>
                          <a:pt x="433" y="574"/>
                        </a:cubicBezTo>
                        <a:cubicBezTo>
                          <a:pt x="390" y="593"/>
                          <a:pt x="394" y="582"/>
                          <a:pt x="359" y="619"/>
                        </a:cubicBezTo>
                        <a:cubicBezTo>
                          <a:pt x="324" y="656"/>
                          <a:pt x="350" y="674"/>
                          <a:pt x="411" y="689"/>
                        </a:cubicBezTo>
                        <a:cubicBezTo>
                          <a:pt x="473" y="704"/>
                          <a:pt x="446" y="722"/>
                          <a:pt x="407" y="722"/>
                        </a:cubicBezTo>
                        <a:cubicBezTo>
                          <a:pt x="368" y="722"/>
                          <a:pt x="425" y="730"/>
                          <a:pt x="333" y="752"/>
                        </a:cubicBezTo>
                        <a:cubicBezTo>
                          <a:pt x="241" y="774"/>
                          <a:pt x="232" y="748"/>
                          <a:pt x="180" y="726"/>
                        </a:cubicBezTo>
                        <a:cubicBezTo>
                          <a:pt x="167" y="721"/>
                          <a:pt x="156" y="718"/>
                          <a:pt x="146" y="716"/>
                        </a:cubicBezTo>
                        <a:cubicBezTo>
                          <a:pt x="148" y="729"/>
                          <a:pt x="148" y="743"/>
                          <a:pt x="141" y="753"/>
                        </a:cubicBezTo>
                        <a:cubicBezTo>
                          <a:pt x="121" y="781"/>
                          <a:pt x="62" y="770"/>
                          <a:pt x="72" y="792"/>
                        </a:cubicBezTo>
                        <a:cubicBezTo>
                          <a:pt x="82" y="814"/>
                          <a:pt x="91" y="806"/>
                          <a:pt x="114" y="814"/>
                        </a:cubicBezTo>
                        <a:cubicBezTo>
                          <a:pt x="137" y="823"/>
                          <a:pt x="147" y="831"/>
                          <a:pt x="147" y="850"/>
                        </a:cubicBezTo>
                        <a:cubicBezTo>
                          <a:pt x="147" y="870"/>
                          <a:pt x="141" y="886"/>
                          <a:pt x="118" y="906"/>
                        </a:cubicBezTo>
                        <a:cubicBezTo>
                          <a:pt x="95" y="925"/>
                          <a:pt x="121" y="925"/>
                          <a:pt x="105" y="956"/>
                        </a:cubicBezTo>
                        <a:cubicBezTo>
                          <a:pt x="88" y="987"/>
                          <a:pt x="62" y="998"/>
                          <a:pt x="75" y="1023"/>
                        </a:cubicBezTo>
                        <a:cubicBezTo>
                          <a:pt x="88" y="1048"/>
                          <a:pt x="91" y="1064"/>
                          <a:pt x="91" y="1081"/>
                        </a:cubicBezTo>
                        <a:cubicBezTo>
                          <a:pt x="91" y="1098"/>
                          <a:pt x="85" y="1109"/>
                          <a:pt x="62" y="1100"/>
                        </a:cubicBezTo>
                        <a:cubicBezTo>
                          <a:pt x="39" y="1092"/>
                          <a:pt x="10" y="1087"/>
                          <a:pt x="10" y="1109"/>
                        </a:cubicBezTo>
                        <a:cubicBezTo>
                          <a:pt x="10" y="1131"/>
                          <a:pt x="23" y="1162"/>
                          <a:pt x="19" y="1187"/>
                        </a:cubicBezTo>
                        <a:cubicBezTo>
                          <a:pt x="16" y="1212"/>
                          <a:pt x="0" y="1226"/>
                          <a:pt x="32" y="1251"/>
                        </a:cubicBezTo>
                        <a:cubicBezTo>
                          <a:pt x="65" y="1276"/>
                          <a:pt x="95" y="1312"/>
                          <a:pt x="101" y="1340"/>
                        </a:cubicBezTo>
                        <a:cubicBezTo>
                          <a:pt x="108" y="1367"/>
                          <a:pt x="121" y="1403"/>
                          <a:pt x="141" y="1423"/>
                        </a:cubicBezTo>
                        <a:cubicBezTo>
                          <a:pt x="160" y="1442"/>
                          <a:pt x="167" y="1445"/>
                          <a:pt x="170" y="1473"/>
                        </a:cubicBezTo>
                        <a:cubicBezTo>
                          <a:pt x="173" y="1501"/>
                          <a:pt x="164" y="1526"/>
                          <a:pt x="216" y="1534"/>
                        </a:cubicBezTo>
                        <a:cubicBezTo>
                          <a:pt x="268" y="1542"/>
                          <a:pt x="331" y="1531"/>
                          <a:pt x="350" y="1551"/>
                        </a:cubicBezTo>
                        <a:cubicBezTo>
                          <a:pt x="370" y="1570"/>
                          <a:pt x="399" y="1570"/>
                          <a:pt x="432" y="1579"/>
                        </a:cubicBezTo>
                        <a:cubicBezTo>
                          <a:pt x="465" y="1587"/>
                          <a:pt x="508" y="1576"/>
                          <a:pt x="527" y="1598"/>
                        </a:cubicBezTo>
                        <a:cubicBezTo>
                          <a:pt x="547" y="1620"/>
                          <a:pt x="573" y="1629"/>
                          <a:pt x="593" y="1651"/>
                        </a:cubicBezTo>
                        <a:cubicBezTo>
                          <a:pt x="612" y="1673"/>
                          <a:pt x="612" y="1698"/>
                          <a:pt x="655" y="1687"/>
                        </a:cubicBezTo>
                        <a:cubicBezTo>
                          <a:pt x="698" y="1676"/>
                          <a:pt x="704" y="1640"/>
                          <a:pt x="747" y="1673"/>
                        </a:cubicBezTo>
                        <a:cubicBezTo>
                          <a:pt x="789" y="1706"/>
                          <a:pt x="786" y="1701"/>
                          <a:pt x="838" y="1709"/>
                        </a:cubicBezTo>
                        <a:cubicBezTo>
                          <a:pt x="891" y="1718"/>
                          <a:pt x="924" y="1726"/>
                          <a:pt x="963" y="1723"/>
                        </a:cubicBezTo>
                        <a:cubicBezTo>
                          <a:pt x="1002" y="1720"/>
                          <a:pt x="1015" y="1723"/>
                          <a:pt x="1055" y="1732"/>
                        </a:cubicBezTo>
                        <a:cubicBezTo>
                          <a:pt x="1094" y="1740"/>
                          <a:pt x="1150" y="1720"/>
                          <a:pt x="1192" y="1757"/>
                        </a:cubicBezTo>
                        <a:cubicBezTo>
                          <a:pt x="1235" y="1793"/>
                          <a:pt x="1251" y="1815"/>
                          <a:pt x="1274" y="1829"/>
                        </a:cubicBezTo>
                        <a:cubicBezTo>
                          <a:pt x="1297" y="1843"/>
                          <a:pt x="1346" y="1837"/>
                          <a:pt x="1356" y="1882"/>
                        </a:cubicBezTo>
                        <a:cubicBezTo>
                          <a:pt x="1366" y="1926"/>
                          <a:pt x="1349" y="1946"/>
                          <a:pt x="1386" y="1948"/>
                        </a:cubicBezTo>
                        <a:cubicBezTo>
                          <a:pt x="1422" y="1951"/>
                          <a:pt x="1435" y="1954"/>
                          <a:pt x="1458" y="1971"/>
                        </a:cubicBezTo>
                        <a:cubicBezTo>
                          <a:pt x="1481" y="1987"/>
                          <a:pt x="1487" y="1998"/>
                          <a:pt x="1520" y="1976"/>
                        </a:cubicBezTo>
                        <a:cubicBezTo>
                          <a:pt x="1553" y="1954"/>
                          <a:pt x="1553" y="1957"/>
                          <a:pt x="1576" y="1971"/>
                        </a:cubicBezTo>
                        <a:cubicBezTo>
                          <a:pt x="1598" y="1984"/>
                          <a:pt x="1618" y="2018"/>
                          <a:pt x="1657" y="1962"/>
                        </a:cubicBezTo>
                        <a:cubicBezTo>
                          <a:pt x="1697" y="1907"/>
                          <a:pt x="1693" y="1907"/>
                          <a:pt x="1720" y="1890"/>
                        </a:cubicBezTo>
                        <a:cubicBezTo>
                          <a:pt x="1746" y="1873"/>
                          <a:pt x="1746" y="1854"/>
                          <a:pt x="1759" y="1823"/>
                        </a:cubicBezTo>
                        <a:cubicBezTo>
                          <a:pt x="1772" y="1793"/>
                          <a:pt x="1782" y="1776"/>
                          <a:pt x="1769" y="1765"/>
                        </a:cubicBezTo>
                        <a:cubicBezTo>
                          <a:pt x="1756" y="1754"/>
                          <a:pt x="1739" y="1720"/>
                          <a:pt x="1772" y="1715"/>
                        </a:cubicBezTo>
                        <a:cubicBezTo>
                          <a:pt x="1794" y="1711"/>
                          <a:pt x="1814" y="1717"/>
                          <a:pt x="1832" y="1724"/>
                        </a:cubicBezTo>
                        <a:cubicBezTo>
                          <a:pt x="1837" y="1721"/>
                          <a:pt x="1843" y="1718"/>
                          <a:pt x="1849" y="1716"/>
                        </a:cubicBezTo>
                        <a:cubicBezTo>
                          <a:pt x="1875" y="1705"/>
                          <a:pt x="1840" y="1645"/>
                          <a:pt x="1853" y="1631"/>
                        </a:cubicBezTo>
                        <a:cubicBezTo>
                          <a:pt x="1866" y="1616"/>
                          <a:pt x="1879" y="1605"/>
                          <a:pt x="1918" y="1586"/>
                        </a:cubicBezTo>
                        <a:cubicBezTo>
                          <a:pt x="1958" y="1568"/>
                          <a:pt x="2015" y="1586"/>
                          <a:pt x="2036" y="1586"/>
                        </a:cubicBezTo>
                        <a:cubicBezTo>
                          <a:pt x="2058" y="1586"/>
                          <a:pt x="2102" y="1590"/>
                          <a:pt x="2124" y="1571"/>
                        </a:cubicBezTo>
                        <a:cubicBezTo>
                          <a:pt x="2146" y="1553"/>
                          <a:pt x="2163" y="1571"/>
                          <a:pt x="2189" y="1597"/>
                        </a:cubicBezTo>
                        <a:cubicBezTo>
                          <a:pt x="2215" y="1623"/>
                          <a:pt x="2233" y="1605"/>
                          <a:pt x="2264" y="1631"/>
                        </a:cubicBezTo>
                        <a:cubicBezTo>
                          <a:pt x="2294" y="1656"/>
                          <a:pt x="2316" y="1616"/>
                          <a:pt x="2347" y="1597"/>
                        </a:cubicBezTo>
                        <a:cubicBezTo>
                          <a:pt x="2377" y="1579"/>
                          <a:pt x="2399" y="1608"/>
                          <a:pt x="2412" y="1638"/>
                        </a:cubicBezTo>
                        <a:cubicBezTo>
                          <a:pt x="2425" y="1668"/>
                          <a:pt x="2469" y="1705"/>
                          <a:pt x="2499" y="1738"/>
                        </a:cubicBezTo>
                        <a:cubicBezTo>
                          <a:pt x="2530" y="1771"/>
                          <a:pt x="2574" y="1768"/>
                          <a:pt x="2626" y="1768"/>
                        </a:cubicBezTo>
                        <a:cubicBezTo>
                          <a:pt x="2679" y="1768"/>
                          <a:pt x="2661" y="1716"/>
                          <a:pt x="2661" y="1686"/>
                        </a:cubicBezTo>
                        <a:cubicBezTo>
                          <a:pt x="2661" y="1656"/>
                          <a:pt x="2705" y="1631"/>
                          <a:pt x="2735" y="1608"/>
                        </a:cubicBezTo>
                        <a:cubicBezTo>
                          <a:pt x="2766" y="1586"/>
                          <a:pt x="2779" y="1616"/>
                          <a:pt x="2805" y="1649"/>
                        </a:cubicBezTo>
                        <a:cubicBezTo>
                          <a:pt x="2831" y="1682"/>
                          <a:pt x="2862" y="1656"/>
                          <a:pt x="2888" y="1627"/>
                        </a:cubicBezTo>
                        <a:cubicBezTo>
                          <a:pt x="2914" y="1597"/>
                          <a:pt x="2932" y="1631"/>
                          <a:pt x="2949" y="1656"/>
                        </a:cubicBezTo>
                        <a:cubicBezTo>
                          <a:pt x="2967" y="1682"/>
                          <a:pt x="2997" y="1649"/>
                          <a:pt x="2997" y="1619"/>
                        </a:cubicBezTo>
                        <a:cubicBezTo>
                          <a:pt x="2997" y="1590"/>
                          <a:pt x="3015" y="1575"/>
                          <a:pt x="3011" y="1530"/>
                        </a:cubicBezTo>
                        <a:cubicBezTo>
                          <a:pt x="3006" y="1486"/>
                          <a:pt x="2971" y="1504"/>
                          <a:pt x="2928" y="1501"/>
                        </a:cubicBezTo>
                        <a:cubicBezTo>
                          <a:pt x="2884" y="1497"/>
                          <a:pt x="2853" y="1475"/>
                          <a:pt x="2831" y="1441"/>
                        </a:cubicBezTo>
                        <a:cubicBezTo>
                          <a:pt x="2810" y="1408"/>
                          <a:pt x="2753" y="1423"/>
                          <a:pt x="2696" y="1416"/>
                        </a:cubicBezTo>
                        <a:cubicBezTo>
                          <a:pt x="2639" y="1408"/>
                          <a:pt x="2644" y="1367"/>
                          <a:pt x="2661" y="1323"/>
                        </a:cubicBezTo>
                        <a:cubicBezTo>
                          <a:pt x="2679" y="1278"/>
                          <a:pt x="2692" y="1319"/>
                          <a:pt x="2722" y="1353"/>
                        </a:cubicBezTo>
                        <a:cubicBezTo>
                          <a:pt x="2753" y="1386"/>
                          <a:pt x="2779" y="1371"/>
                          <a:pt x="2818" y="1382"/>
                        </a:cubicBezTo>
                        <a:cubicBezTo>
                          <a:pt x="2858" y="1393"/>
                          <a:pt x="2866" y="1375"/>
                          <a:pt x="2875" y="1341"/>
                        </a:cubicBezTo>
                        <a:cubicBezTo>
                          <a:pt x="2884" y="1308"/>
                          <a:pt x="2888" y="1282"/>
                          <a:pt x="2884" y="1234"/>
                        </a:cubicBezTo>
                        <a:cubicBezTo>
                          <a:pt x="2879" y="1186"/>
                          <a:pt x="2932" y="1208"/>
                          <a:pt x="2958" y="1182"/>
                        </a:cubicBezTo>
                        <a:cubicBezTo>
                          <a:pt x="2984" y="1156"/>
                          <a:pt x="2997" y="1134"/>
                          <a:pt x="2976" y="1115"/>
                        </a:cubicBezTo>
                        <a:cubicBezTo>
                          <a:pt x="2954" y="1097"/>
                          <a:pt x="2976" y="1063"/>
                          <a:pt x="2993" y="1067"/>
                        </a:cubicBezTo>
                        <a:cubicBezTo>
                          <a:pt x="3011" y="1071"/>
                          <a:pt x="3024" y="1060"/>
                          <a:pt x="3032" y="1026"/>
                        </a:cubicBezTo>
                        <a:cubicBezTo>
                          <a:pt x="3041" y="993"/>
                          <a:pt x="3032" y="1026"/>
                          <a:pt x="3059" y="1045"/>
                        </a:cubicBezTo>
                        <a:cubicBezTo>
                          <a:pt x="3085" y="1063"/>
                          <a:pt x="3089" y="1012"/>
                          <a:pt x="3089" y="997"/>
                        </a:cubicBezTo>
                        <a:cubicBezTo>
                          <a:pt x="3089" y="982"/>
                          <a:pt x="3107" y="967"/>
                          <a:pt x="3124" y="926"/>
                        </a:cubicBezTo>
                        <a:cubicBezTo>
                          <a:pt x="3142" y="886"/>
                          <a:pt x="3115" y="848"/>
                          <a:pt x="3085" y="82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7" name="Freeform 9">
                    <a:extLst>
                      <a:ext uri="{FF2B5EF4-FFF2-40B4-BE49-F238E27FC236}">
                        <a16:creationId xmlns:a16="http://schemas.microsoft.com/office/drawing/2014/main" id="{0C1642D8-2069-213E-45D9-36349FAC2D6C}"/>
                      </a:ext>
                    </a:extLst>
                  </p:cNvPr>
                  <p:cNvSpPr>
                    <a:spLocks/>
                  </p:cNvSpPr>
                  <p:nvPr/>
                </p:nvSpPr>
                <p:spPr bwMode="auto">
                  <a:xfrm>
                    <a:off x="4417" y="5"/>
                    <a:ext cx="1343" cy="1064"/>
                  </a:xfrm>
                  <a:custGeom>
                    <a:avLst/>
                    <a:gdLst>
                      <a:gd name="T0" fmla="*/ 2816 w 2901"/>
                      <a:gd name="T1" fmla="*/ 823 h 2299"/>
                      <a:gd name="T2" fmla="*/ 2595 w 2901"/>
                      <a:gd name="T3" fmla="*/ 966 h 2299"/>
                      <a:gd name="T4" fmla="*/ 2459 w 2901"/>
                      <a:gd name="T5" fmla="*/ 1101 h 2299"/>
                      <a:gd name="T6" fmla="*/ 2172 w 2901"/>
                      <a:gd name="T7" fmla="*/ 1175 h 2299"/>
                      <a:gd name="T8" fmla="*/ 2095 w 2901"/>
                      <a:gd name="T9" fmla="*/ 1030 h 2299"/>
                      <a:gd name="T10" fmla="*/ 1971 w 2901"/>
                      <a:gd name="T11" fmla="*/ 915 h 2299"/>
                      <a:gd name="T12" fmla="*/ 1823 w 2901"/>
                      <a:gd name="T13" fmla="*/ 855 h 2299"/>
                      <a:gd name="T14" fmla="*/ 1589 w 2901"/>
                      <a:gd name="T15" fmla="*/ 817 h 2299"/>
                      <a:gd name="T16" fmla="*/ 1344 w 2901"/>
                      <a:gd name="T17" fmla="*/ 713 h 2299"/>
                      <a:gd name="T18" fmla="*/ 1154 w 2901"/>
                      <a:gd name="T19" fmla="*/ 491 h 2299"/>
                      <a:gd name="T20" fmla="*/ 1073 w 2901"/>
                      <a:gd name="T21" fmla="*/ 352 h 2299"/>
                      <a:gd name="T22" fmla="*/ 954 w 2901"/>
                      <a:gd name="T23" fmla="*/ 188 h 2299"/>
                      <a:gd name="T24" fmla="*/ 814 w 2901"/>
                      <a:gd name="T25" fmla="*/ 82 h 2299"/>
                      <a:gd name="T26" fmla="*/ 641 w 2901"/>
                      <a:gd name="T27" fmla="*/ 75 h 2299"/>
                      <a:gd name="T28" fmla="*/ 330 w 2901"/>
                      <a:gd name="T29" fmla="*/ 32 h 2299"/>
                      <a:gd name="T30" fmla="*/ 64 w 2901"/>
                      <a:gd name="T31" fmla="*/ 131 h 2299"/>
                      <a:gd name="T32" fmla="*/ 99 w 2901"/>
                      <a:gd name="T33" fmla="*/ 248 h 2299"/>
                      <a:gd name="T34" fmla="*/ 210 w 2901"/>
                      <a:gd name="T35" fmla="*/ 370 h 2299"/>
                      <a:gd name="T36" fmla="*/ 348 w 2901"/>
                      <a:gd name="T37" fmla="*/ 403 h 2299"/>
                      <a:gd name="T38" fmla="*/ 623 w 2901"/>
                      <a:gd name="T39" fmla="*/ 576 h 2299"/>
                      <a:gd name="T40" fmla="*/ 920 w 2901"/>
                      <a:gd name="T41" fmla="*/ 505 h 2299"/>
                      <a:gd name="T42" fmla="*/ 970 w 2901"/>
                      <a:gd name="T43" fmla="*/ 724 h 2299"/>
                      <a:gd name="T44" fmla="*/ 961 w 2901"/>
                      <a:gd name="T45" fmla="*/ 1069 h 2299"/>
                      <a:gd name="T46" fmla="*/ 911 w 2901"/>
                      <a:gd name="T47" fmla="*/ 1289 h 2299"/>
                      <a:gd name="T48" fmla="*/ 835 w 2901"/>
                      <a:gd name="T49" fmla="*/ 1269 h 2299"/>
                      <a:gd name="T50" fmla="*/ 605 w 2901"/>
                      <a:gd name="T51" fmla="*/ 1563 h 2299"/>
                      <a:gd name="T52" fmla="*/ 721 w 2901"/>
                      <a:gd name="T53" fmla="*/ 1730 h 2299"/>
                      <a:gd name="T54" fmla="*/ 813 w 2901"/>
                      <a:gd name="T55" fmla="*/ 1775 h 2299"/>
                      <a:gd name="T56" fmla="*/ 766 w 2901"/>
                      <a:gd name="T57" fmla="*/ 1889 h 2299"/>
                      <a:gd name="T58" fmla="*/ 934 w 2901"/>
                      <a:gd name="T59" fmla="*/ 1865 h 2299"/>
                      <a:gd name="T60" fmla="*/ 1114 w 2901"/>
                      <a:gd name="T61" fmla="*/ 2027 h 2299"/>
                      <a:gd name="T62" fmla="*/ 1330 w 2901"/>
                      <a:gd name="T63" fmla="*/ 1982 h 2299"/>
                      <a:gd name="T64" fmla="*/ 1520 w 2901"/>
                      <a:gd name="T65" fmla="*/ 1990 h 2299"/>
                      <a:gd name="T66" fmla="*/ 1651 w 2901"/>
                      <a:gd name="T67" fmla="*/ 2118 h 2299"/>
                      <a:gd name="T68" fmla="*/ 1868 w 2901"/>
                      <a:gd name="T69" fmla="*/ 2210 h 2299"/>
                      <a:gd name="T70" fmla="*/ 1914 w 2901"/>
                      <a:gd name="T71" fmla="*/ 2071 h 2299"/>
                      <a:gd name="T72" fmla="*/ 1976 w 2901"/>
                      <a:gd name="T73" fmla="*/ 2205 h 2299"/>
                      <a:gd name="T74" fmla="*/ 2156 w 2901"/>
                      <a:gd name="T75" fmla="*/ 2255 h 2299"/>
                      <a:gd name="T76" fmla="*/ 2284 w 2901"/>
                      <a:gd name="T77" fmla="*/ 2138 h 2299"/>
                      <a:gd name="T78" fmla="*/ 2431 w 2901"/>
                      <a:gd name="T79" fmla="*/ 2205 h 2299"/>
                      <a:gd name="T80" fmla="*/ 2507 w 2901"/>
                      <a:gd name="T81" fmla="*/ 1988 h 2299"/>
                      <a:gd name="T82" fmla="*/ 2515 w 2901"/>
                      <a:gd name="T83" fmla="*/ 1808 h 2299"/>
                      <a:gd name="T84" fmla="*/ 2733 w 2901"/>
                      <a:gd name="T85" fmla="*/ 1728 h 2299"/>
                      <a:gd name="T86" fmla="*/ 2800 w 2901"/>
                      <a:gd name="T87" fmla="*/ 1657 h 2299"/>
                      <a:gd name="T88" fmla="*/ 2824 w 2901"/>
                      <a:gd name="T89" fmla="*/ 1501 h 2299"/>
                      <a:gd name="T90" fmla="*/ 2857 w 2901"/>
                      <a:gd name="T91" fmla="*/ 1357 h 2299"/>
                      <a:gd name="T92" fmla="*/ 2834 w 2901"/>
                      <a:gd name="T93" fmla="*/ 1193 h 2299"/>
                      <a:gd name="T94" fmla="*/ 2870 w 2901"/>
                      <a:gd name="T95" fmla="*/ 1063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01" h="2299">
                        <a:moveTo>
                          <a:pt x="2867" y="958"/>
                        </a:moveTo>
                        <a:cubicBezTo>
                          <a:pt x="2834" y="938"/>
                          <a:pt x="2815" y="941"/>
                          <a:pt x="2819" y="905"/>
                        </a:cubicBezTo>
                        <a:cubicBezTo>
                          <a:pt x="2824" y="869"/>
                          <a:pt x="2841" y="823"/>
                          <a:pt x="2816" y="823"/>
                        </a:cubicBezTo>
                        <a:cubicBezTo>
                          <a:pt x="2792" y="823"/>
                          <a:pt x="2754" y="840"/>
                          <a:pt x="2728" y="859"/>
                        </a:cubicBezTo>
                        <a:cubicBezTo>
                          <a:pt x="2701" y="879"/>
                          <a:pt x="2665" y="895"/>
                          <a:pt x="2647" y="919"/>
                        </a:cubicBezTo>
                        <a:cubicBezTo>
                          <a:pt x="2629" y="942"/>
                          <a:pt x="2624" y="966"/>
                          <a:pt x="2595" y="966"/>
                        </a:cubicBezTo>
                        <a:cubicBezTo>
                          <a:pt x="2566" y="966"/>
                          <a:pt x="2538" y="976"/>
                          <a:pt x="2525" y="998"/>
                        </a:cubicBezTo>
                        <a:cubicBezTo>
                          <a:pt x="2511" y="1020"/>
                          <a:pt x="2475" y="1056"/>
                          <a:pt x="2479" y="1077"/>
                        </a:cubicBezTo>
                        <a:cubicBezTo>
                          <a:pt x="2482" y="1098"/>
                          <a:pt x="2485" y="1091"/>
                          <a:pt x="2459" y="1101"/>
                        </a:cubicBezTo>
                        <a:cubicBezTo>
                          <a:pt x="2433" y="1111"/>
                          <a:pt x="2377" y="1127"/>
                          <a:pt x="2351" y="1140"/>
                        </a:cubicBezTo>
                        <a:cubicBezTo>
                          <a:pt x="2325" y="1152"/>
                          <a:pt x="2258" y="1138"/>
                          <a:pt x="2238" y="1163"/>
                        </a:cubicBezTo>
                        <a:cubicBezTo>
                          <a:pt x="2218" y="1189"/>
                          <a:pt x="2194" y="1200"/>
                          <a:pt x="2172" y="1175"/>
                        </a:cubicBezTo>
                        <a:cubicBezTo>
                          <a:pt x="2151" y="1150"/>
                          <a:pt x="2140" y="1122"/>
                          <a:pt x="2113" y="1109"/>
                        </a:cubicBezTo>
                        <a:cubicBezTo>
                          <a:pt x="2087" y="1097"/>
                          <a:pt x="2076" y="1098"/>
                          <a:pt x="2090" y="1080"/>
                        </a:cubicBezTo>
                        <a:cubicBezTo>
                          <a:pt x="2105" y="1062"/>
                          <a:pt x="2113" y="1047"/>
                          <a:pt x="2095" y="1030"/>
                        </a:cubicBezTo>
                        <a:cubicBezTo>
                          <a:pt x="2077" y="1013"/>
                          <a:pt x="2035" y="1002"/>
                          <a:pt x="2035" y="977"/>
                        </a:cubicBezTo>
                        <a:cubicBezTo>
                          <a:pt x="2035" y="952"/>
                          <a:pt x="2036" y="926"/>
                          <a:pt x="2022" y="916"/>
                        </a:cubicBezTo>
                        <a:cubicBezTo>
                          <a:pt x="2007" y="906"/>
                          <a:pt x="1979" y="895"/>
                          <a:pt x="1971" y="915"/>
                        </a:cubicBezTo>
                        <a:cubicBezTo>
                          <a:pt x="1963" y="934"/>
                          <a:pt x="1964" y="934"/>
                          <a:pt x="1928" y="919"/>
                        </a:cubicBezTo>
                        <a:cubicBezTo>
                          <a:pt x="1892" y="904"/>
                          <a:pt x="1874" y="898"/>
                          <a:pt x="1863" y="888"/>
                        </a:cubicBezTo>
                        <a:cubicBezTo>
                          <a:pt x="1851" y="879"/>
                          <a:pt x="1828" y="865"/>
                          <a:pt x="1823" y="855"/>
                        </a:cubicBezTo>
                        <a:cubicBezTo>
                          <a:pt x="1819" y="845"/>
                          <a:pt x="1786" y="812"/>
                          <a:pt x="1763" y="829"/>
                        </a:cubicBezTo>
                        <a:cubicBezTo>
                          <a:pt x="1740" y="845"/>
                          <a:pt x="1715" y="863"/>
                          <a:pt x="1684" y="851"/>
                        </a:cubicBezTo>
                        <a:cubicBezTo>
                          <a:pt x="1653" y="838"/>
                          <a:pt x="1612" y="802"/>
                          <a:pt x="1589" y="817"/>
                        </a:cubicBezTo>
                        <a:cubicBezTo>
                          <a:pt x="1566" y="833"/>
                          <a:pt x="1479" y="873"/>
                          <a:pt x="1452" y="852"/>
                        </a:cubicBezTo>
                        <a:cubicBezTo>
                          <a:pt x="1424" y="831"/>
                          <a:pt x="1362" y="833"/>
                          <a:pt x="1362" y="792"/>
                        </a:cubicBezTo>
                        <a:cubicBezTo>
                          <a:pt x="1362" y="752"/>
                          <a:pt x="1378" y="733"/>
                          <a:pt x="1344" y="713"/>
                        </a:cubicBezTo>
                        <a:cubicBezTo>
                          <a:pt x="1309" y="694"/>
                          <a:pt x="1293" y="677"/>
                          <a:pt x="1291" y="655"/>
                        </a:cubicBezTo>
                        <a:cubicBezTo>
                          <a:pt x="1289" y="633"/>
                          <a:pt x="1276" y="596"/>
                          <a:pt x="1258" y="584"/>
                        </a:cubicBezTo>
                        <a:cubicBezTo>
                          <a:pt x="1240" y="571"/>
                          <a:pt x="1149" y="507"/>
                          <a:pt x="1154" y="491"/>
                        </a:cubicBezTo>
                        <a:cubicBezTo>
                          <a:pt x="1158" y="474"/>
                          <a:pt x="1176" y="462"/>
                          <a:pt x="1152" y="444"/>
                        </a:cubicBezTo>
                        <a:cubicBezTo>
                          <a:pt x="1127" y="425"/>
                          <a:pt x="1093" y="417"/>
                          <a:pt x="1093" y="399"/>
                        </a:cubicBezTo>
                        <a:cubicBezTo>
                          <a:pt x="1093" y="381"/>
                          <a:pt x="1103" y="366"/>
                          <a:pt x="1073" y="352"/>
                        </a:cubicBezTo>
                        <a:cubicBezTo>
                          <a:pt x="1044" y="338"/>
                          <a:pt x="1029" y="328"/>
                          <a:pt x="1029" y="298"/>
                        </a:cubicBezTo>
                        <a:cubicBezTo>
                          <a:pt x="1029" y="267"/>
                          <a:pt x="1004" y="256"/>
                          <a:pt x="991" y="245"/>
                        </a:cubicBezTo>
                        <a:cubicBezTo>
                          <a:pt x="978" y="234"/>
                          <a:pt x="985" y="204"/>
                          <a:pt x="954" y="188"/>
                        </a:cubicBezTo>
                        <a:cubicBezTo>
                          <a:pt x="923" y="171"/>
                          <a:pt x="896" y="181"/>
                          <a:pt x="896" y="159"/>
                        </a:cubicBezTo>
                        <a:cubicBezTo>
                          <a:pt x="896" y="136"/>
                          <a:pt x="900" y="121"/>
                          <a:pt x="870" y="111"/>
                        </a:cubicBezTo>
                        <a:cubicBezTo>
                          <a:pt x="841" y="102"/>
                          <a:pt x="826" y="97"/>
                          <a:pt x="814" y="82"/>
                        </a:cubicBezTo>
                        <a:cubicBezTo>
                          <a:pt x="803" y="67"/>
                          <a:pt x="773" y="56"/>
                          <a:pt x="759" y="49"/>
                        </a:cubicBezTo>
                        <a:cubicBezTo>
                          <a:pt x="744" y="42"/>
                          <a:pt x="724" y="32"/>
                          <a:pt x="711" y="39"/>
                        </a:cubicBezTo>
                        <a:cubicBezTo>
                          <a:pt x="698" y="46"/>
                          <a:pt x="669" y="72"/>
                          <a:pt x="641" y="75"/>
                        </a:cubicBezTo>
                        <a:cubicBezTo>
                          <a:pt x="613" y="78"/>
                          <a:pt x="569" y="56"/>
                          <a:pt x="539" y="42"/>
                        </a:cubicBezTo>
                        <a:cubicBezTo>
                          <a:pt x="510" y="28"/>
                          <a:pt x="447" y="0"/>
                          <a:pt x="426" y="6"/>
                        </a:cubicBezTo>
                        <a:cubicBezTo>
                          <a:pt x="405" y="11"/>
                          <a:pt x="344" y="17"/>
                          <a:pt x="330" y="32"/>
                        </a:cubicBezTo>
                        <a:cubicBezTo>
                          <a:pt x="315" y="47"/>
                          <a:pt x="285" y="67"/>
                          <a:pt x="246" y="68"/>
                        </a:cubicBezTo>
                        <a:cubicBezTo>
                          <a:pt x="207" y="70"/>
                          <a:pt x="164" y="68"/>
                          <a:pt x="138" y="88"/>
                        </a:cubicBezTo>
                        <a:cubicBezTo>
                          <a:pt x="112" y="107"/>
                          <a:pt x="97" y="120"/>
                          <a:pt x="64" y="131"/>
                        </a:cubicBezTo>
                        <a:cubicBezTo>
                          <a:pt x="56" y="134"/>
                          <a:pt x="46" y="136"/>
                          <a:pt x="36" y="137"/>
                        </a:cubicBezTo>
                        <a:cubicBezTo>
                          <a:pt x="45" y="150"/>
                          <a:pt x="55" y="162"/>
                          <a:pt x="66" y="170"/>
                        </a:cubicBezTo>
                        <a:cubicBezTo>
                          <a:pt x="105" y="198"/>
                          <a:pt x="131" y="209"/>
                          <a:pt x="99" y="248"/>
                        </a:cubicBezTo>
                        <a:cubicBezTo>
                          <a:pt x="66" y="286"/>
                          <a:pt x="0" y="342"/>
                          <a:pt x="66" y="353"/>
                        </a:cubicBezTo>
                        <a:cubicBezTo>
                          <a:pt x="131" y="364"/>
                          <a:pt x="138" y="353"/>
                          <a:pt x="164" y="387"/>
                        </a:cubicBezTo>
                        <a:cubicBezTo>
                          <a:pt x="190" y="420"/>
                          <a:pt x="210" y="403"/>
                          <a:pt x="210" y="370"/>
                        </a:cubicBezTo>
                        <a:cubicBezTo>
                          <a:pt x="210" y="336"/>
                          <a:pt x="236" y="309"/>
                          <a:pt x="256" y="336"/>
                        </a:cubicBezTo>
                        <a:cubicBezTo>
                          <a:pt x="275" y="364"/>
                          <a:pt x="282" y="375"/>
                          <a:pt x="308" y="375"/>
                        </a:cubicBezTo>
                        <a:cubicBezTo>
                          <a:pt x="334" y="375"/>
                          <a:pt x="348" y="353"/>
                          <a:pt x="348" y="403"/>
                        </a:cubicBezTo>
                        <a:cubicBezTo>
                          <a:pt x="348" y="453"/>
                          <a:pt x="361" y="492"/>
                          <a:pt x="367" y="526"/>
                        </a:cubicBezTo>
                        <a:cubicBezTo>
                          <a:pt x="374" y="559"/>
                          <a:pt x="400" y="598"/>
                          <a:pt x="452" y="603"/>
                        </a:cubicBezTo>
                        <a:cubicBezTo>
                          <a:pt x="505" y="609"/>
                          <a:pt x="570" y="587"/>
                          <a:pt x="623" y="576"/>
                        </a:cubicBezTo>
                        <a:cubicBezTo>
                          <a:pt x="675" y="564"/>
                          <a:pt x="701" y="581"/>
                          <a:pt x="741" y="542"/>
                        </a:cubicBezTo>
                        <a:cubicBezTo>
                          <a:pt x="780" y="503"/>
                          <a:pt x="773" y="448"/>
                          <a:pt x="839" y="453"/>
                        </a:cubicBezTo>
                        <a:cubicBezTo>
                          <a:pt x="905" y="459"/>
                          <a:pt x="878" y="474"/>
                          <a:pt x="920" y="505"/>
                        </a:cubicBezTo>
                        <a:cubicBezTo>
                          <a:pt x="961" y="537"/>
                          <a:pt x="1007" y="546"/>
                          <a:pt x="1009" y="574"/>
                        </a:cubicBezTo>
                        <a:cubicBezTo>
                          <a:pt x="1012" y="602"/>
                          <a:pt x="963" y="620"/>
                          <a:pt x="981" y="648"/>
                        </a:cubicBezTo>
                        <a:cubicBezTo>
                          <a:pt x="998" y="676"/>
                          <a:pt x="983" y="705"/>
                          <a:pt x="970" y="724"/>
                        </a:cubicBezTo>
                        <a:cubicBezTo>
                          <a:pt x="957" y="742"/>
                          <a:pt x="933" y="789"/>
                          <a:pt x="937" y="831"/>
                        </a:cubicBezTo>
                        <a:cubicBezTo>
                          <a:pt x="942" y="874"/>
                          <a:pt x="931" y="920"/>
                          <a:pt x="955" y="948"/>
                        </a:cubicBezTo>
                        <a:cubicBezTo>
                          <a:pt x="979" y="976"/>
                          <a:pt x="990" y="1050"/>
                          <a:pt x="961" y="1069"/>
                        </a:cubicBezTo>
                        <a:cubicBezTo>
                          <a:pt x="933" y="1087"/>
                          <a:pt x="911" y="1094"/>
                          <a:pt x="911" y="1119"/>
                        </a:cubicBezTo>
                        <a:cubicBezTo>
                          <a:pt x="911" y="1143"/>
                          <a:pt x="891" y="1174"/>
                          <a:pt x="896" y="1204"/>
                        </a:cubicBezTo>
                        <a:cubicBezTo>
                          <a:pt x="900" y="1233"/>
                          <a:pt x="896" y="1269"/>
                          <a:pt x="911" y="1289"/>
                        </a:cubicBezTo>
                        <a:cubicBezTo>
                          <a:pt x="926" y="1309"/>
                          <a:pt x="933" y="1367"/>
                          <a:pt x="911" y="1356"/>
                        </a:cubicBezTo>
                        <a:cubicBezTo>
                          <a:pt x="889" y="1345"/>
                          <a:pt x="867" y="1335"/>
                          <a:pt x="861" y="1309"/>
                        </a:cubicBezTo>
                        <a:cubicBezTo>
                          <a:pt x="854" y="1283"/>
                          <a:pt x="861" y="1239"/>
                          <a:pt x="835" y="1269"/>
                        </a:cubicBezTo>
                        <a:cubicBezTo>
                          <a:pt x="808" y="1298"/>
                          <a:pt x="806" y="1326"/>
                          <a:pt x="771" y="1365"/>
                        </a:cubicBezTo>
                        <a:cubicBezTo>
                          <a:pt x="736" y="1404"/>
                          <a:pt x="686" y="1452"/>
                          <a:pt x="666" y="1484"/>
                        </a:cubicBezTo>
                        <a:cubicBezTo>
                          <a:pt x="647" y="1515"/>
                          <a:pt x="629" y="1545"/>
                          <a:pt x="605" y="1563"/>
                        </a:cubicBezTo>
                        <a:cubicBezTo>
                          <a:pt x="581" y="1582"/>
                          <a:pt x="562" y="1624"/>
                          <a:pt x="579" y="1645"/>
                        </a:cubicBezTo>
                        <a:cubicBezTo>
                          <a:pt x="597" y="1665"/>
                          <a:pt x="640" y="1684"/>
                          <a:pt x="658" y="1699"/>
                        </a:cubicBezTo>
                        <a:cubicBezTo>
                          <a:pt x="675" y="1713"/>
                          <a:pt x="673" y="1721"/>
                          <a:pt x="721" y="1730"/>
                        </a:cubicBezTo>
                        <a:cubicBezTo>
                          <a:pt x="769" y="1739"/>
                          <a:pt x="776" y="1750"/>
                          <a:pt x="806" y="1732"/>
                        </a:cubicBezTo>
                        <a:cubicBezTo>
                          <a:pt x="837" y="1713"/>
                          <a:pt x="843" y="1712"/>
                          <a:pt x="843" y="1728"/>
                        </a:cubicBezTo>
                        <a:cubicBezTo>
                          <a:pt x="843" y="1745"/>
                          <a:pt x="835" y="1767"/>
                          <a:pt x="813" y="1775"/>
                        </a:cubicBezTo>
                        <a:cubicBezTo>
                          <a:pt x="791" y="1782"/>
                          <a:pt x="736" y="1776"/>
                          <a:pt x="730" y="1799"/>
                        </a:cubicBezTo>
                        <a:cubicBezTo>
                          <a:pt x="723" y="1821"/>
                          <a:pt x="712" y="1849"/>
                          <a:pt x="728" y="1864"/>
                        </a:cubicBezTo>
                        <a:cubicBezTo>
                          <a:pt x="739" y="1875"/>
                          <a:pt x="763" y="1878"/>
                          <a:pt x="766" y="1889"/>
                        </a:cubicBezTo>
                        <a:cubicBezTo>
                          <a:pt x="776" y="1887"/>
                          <a:pt x="789" y="1883"/>
                          <a:pt x="806" y="1879"/>
                        </a:cubicBezTo>
                        <a:cubicBezTo>
                          <a:pt x="852" y="1868"/>
                          <a:pt x="849" y="1854"/>
                          <a:pt x="878" y="1854"/>
                        </a:cubicBezTo>
                        <a:cubicBezTo>
                          <a:pt x="908" y="1854"/>
                          <a:pt x="918" y="1838"/>
                          <a:pt x="934" y="1865"/>
                        </a:cubicBezTo>
                        <a:cubicBezTo>
                          <a:pt x="950" y="1893"/>
                          <a:pt x="937" y="1932"/>
                          <a:pt x="970" y="1949"/>
                        </a:cubicBezTo>
                        <a:cubicBezTo>
                          <a:pt x="1003" y="1965"/>
                          <a:pt x="1000" y="1979"/>
                          <a:pt x="1039" y="2007"/>
                        </a:cubicBezTo>
                        <a:cubicBezTo>
                          <a:pt x="1078" y="2035"/>
                          <a:pt x="1085" y="2041"/>
                          <a:pt x="1114" y="2027"/>
                        </a:cubicBezTo>
                        <a:cubicBezTo>
                          <a:pt x="1144" y="2013"/>
                          <a:pt x="1144" y="1988"/>
                          <a:pt x="1176" y="1999"/>
                        </a:cubicBezTo>
                        <a:cubicBezTo>
                          <a:pt x="1209" y="2010"/>
                          <a:pt x="1212" y="2021"/>
                          <a:pt x="1242" y="2004"/>
                        </a:cubicBezTo>
                        <a:cubicBezTo>
                          <a:pt x="1271" y="1988"/>
                          <a:pt x="1304" y="1952"/>
                          <a:pt x="1330" y="1982"/>
                        </a:cubicBezTo>
                        <a:cubicBezTo>
                          <a:pt x="1357" y="2013"/>
                          <a:pt x="1334" y="2021"/>
                          <a:pt x="1383" y="2024"/>
                        </a:cubicBezTo>
                        <a:cubicBezTo>
                          <a:pt x="1432" y="2027"/>
                          <a:pt x="1435" y="2038"/>
                          <a:pt x="1455" y="2018"/>
                        </a:cubicBezTo>
                        <a:cubicBezTo>
                          <a:pt x="1475" y="1999"/>
                          <a:pt x="1475" y="1985"/>
                          <a:pt x="1520" y="1990"/>
                        </a:cubicBezTo>
                        <a:cubicBezTo>
                          <a:pt x="1566" y="1996"/>
                          <a:pt x="1609" y="2013"/>
                          <a:pt x="1625" y="2027"/>
                        </a:cubicBezTo>
                        <a:cubicBezTo>
                          <a:pt x="1642" y="2041"/>
                          <a:pt x="1632" y="2054"/>
                          <a:pt x="1619" y="2077"/>
                        </a:cubicBezTo>
                        <a:cubicBezTo>
                          <a:pt x="1606" y="2099"/>
                          <a:pt x="1619" y="2116"/>
                          <a:pt x="1651" y="2118"/>
                        </a:cubicBezTo>
                        <a:cubicBezTo>
                          <a:pt x="1684" y="2121"/>
                          <a:pt x="1737" y="2077"/>
                          <a:pt x="1746" y="2107"/>
                        </a:cubicBezTo>
                        <a:cubicBezTo>
                          <a:pt x="1756" y="2138"/>
                          <a:pt x="1766" y="2166"/>
                          <a:pt x="1796" y="2188"/>
                        </a:cubicBezTo>
                        <a:cubicBezTo>
                          <a:pt x="1825" y="2210"/>
                          <a:pt x="1851" y="2210"/>
                          <a:pt x="1868" y="2210"/>
                        </a:cubicBezTo>
                        <a:cubicBezTo>
                          <a:pt x="1884" y="2210"/>
                          <a:pt x="1907" y="2199"/>
                          <a:pt x="1891" y="2180"/>
                        </a:cubicBezTo>
                        <a:cubicBezTo>
                          <a:pt x="1874" y="2160"/>
                          <a:pt x="1851" y="2149"/>
                          <a:pt x="1855" y="2118"/>
                        </a:cubicBezTo>
                        <a:cubicBezTo>
                          <a:pt x="1858" y="2088"/>
                          <a:pt x="1874" y="2068"/>
                          <a:pt x="1914" y="2071"/>
                        </a:cubicBezTo>
                        <a:cubicBezTo>
                          <a:pt x="1953" y="2074"/>
                          <a:pt x="1943" y="2082"/>
                          <a:pt x="1943" y="2107"/>
                        </a:cubicBezTo>
                        <a:cubicBezTo>
                          <a:pt x="1943" y="2132"/>
                          <a:pt x="1923" y="2149"/>
                          <a:pt x="1946" y="2166"/>
                        </a:cubicBezTo>
                        <a:cubicBezTo>
                          <a:pt x="1969" y="2182"/>
                          <a:pt x="1976" y="2185"/>
                          <a:pt x="1976" y="2205"/>
                        </a:cubicBezTo>
                        <a:cubicBezTo>
                          <a:pt x="1976" y="2224"/>
                          <a:pt x="2041" y="2221"/>
                          <a:pt x="2054" y="2252"/>
                        </a:cubicBezTo>
                        <a:cubicBezTo>
                          <a:pt x="2068" y="2282"/>
                          <a:pt x="2081" y="2299"/>
                          <a:pt x="2110" y="2296"/>
                        </a:cubicBezTo>
                        <a:cubicBezTo>
                          <a:pt x="2140" y="2293"/>
                          <a:pt x="2159" y="2288"/>
                          <a:pt x="2156" y="2255"/>
                        </a:cubicBezTo>
                        <a:cubicBezTo>
                          <a:pt x="2153" y="2221"/>
                          <a:pt x="2136" y="2207"/>
                          <a:pt x="2169" y="2199"/>
                        </a:cubicBezTo>
                        <a:cubicBezTo>
                          <a:pt x="2202" y="2191"/>
                          <a:pt x="2228" y="2196"/>
                          <a:pt x="2241" y="2168"/>
                        </a:cubicBezTo>
                        <a:cubicBezTo>
                          <a:pt x="2254" y="2141"/>
                          <a:pt x="2274" y="2110"/>
                          <a:pt x="2284" y="2138"/>
                        </a:cubicBezTo>
                        <a:cubicBezTo>
                          <a:pt x="2294" y="2166"/>
                          <a:pt x="2297" y="2177"/>
                          <a:pt x="2330" y="2152"/>
                        </a:cubicBezTo>
                        <a:cubicBezTo>
                          <a:pt x="2362" y="2127"/>
                          <a:pt x="2336" y="2096"/>
                          <a:pt x="2376" y="2152"/>
                        </a:cubicBezTo>
                        <a:cubicBezTo>
                          <a:pt x="2415" y="2207"/>
                          <a:pt x="2395" y="2202"/>
                          <a:pt x="2431" y="2205"/>
                        </a:cubicBezTo>
                        <a:cubicBezTo>
                          <a:pt x="2460" y="2207"/>
                          <a:pt x="2517" y="2214"/>
                          <a:pt x="2587" y="2205"/>
                        </a:cubicBezTo>
                        <a:cubicBezTo>
                          <a:pt x="2577" y="2174"/>
                          <a:pt x="2552" y="2158"/>
                          <a:pt x="2552" y="2128"/>
                        </a:cubicBezTo>
                        <a:cubicBezTo>
                          <a:pt x="2552" y="2095"/>
                          <a:pt x="2539" y="2018"/>
                          <a:pt x="2507" y="1988"/>
                        </a:cubicBezTo>
                        <a:cubicBezTo>
                          <a:pt x="2474" y="1957"/>
                          <a:pt x="2457" y="1927"/>
                          <a:pt x="2438" y="1908"/>
                        </a:cubicBezTo>
                        <a:cubicBezTo>
                          <a:pt x="2418" y="1890"/>
                          <a:pt x="2405" y="1863"/>
                          <a:pt x="2436" y="1854"/>
                        </a:cubicBezTo>
                        <a:cubicBezTo>
                          <a:pt x="2467" y="1846"/>
                          <a:pt x="2510" y="1835"/>
                          <a:pt x="2515" y="1808"/>
                        </a:cubicBezTo>
                        <a:cubicBezTo>
                          <a:pt x="2520" y="1782"/>
                          <a:pt x="2533" y="1715"/>
                          <a:pt x="2559" y="1718"/>
                        </a:cubicBezTo>
                        <a:cubicBezTo>
                          <a:pt x="2585" y="1721"/>
                          <a:pt x="2621" y="1736"/>
                          <a:pt x="2661" y="1735"/>
                        </a:cubicBezTo>
                        <a:cubicBezTo>
                          <a:pt x="2700" y="1733"/>
                          <a:pt x="2718" y="1738"/>
                          <a:pt x="2733" y="1728"/>
                        </a:cubicBezTo>
                        <a:cubicBezTo>
                          <a:pt x="2747" y="1718"/>
                          <a:pt x="2751" y="1722"/>
                          <a:pt x="2760" y="1726"/>
                        </a:cubicBezTo>
                        <a:cubicBezTo>
                          <a:pt x="2770" y="1731"/>
                          <a:pt x="2806" y="1735"/>
                          <a:pt x="2810" y="1722"/>
                        </a:cubicBezTo>
                        <a:cubicBezTo>
                          <a:pt x="2813" y="1710"/>
                          <a:pt x="2811" y="1672"/>
                          <a:pt x="2800" y="1657"/>
                        </a:cubicBezTo>
                        <a:cubicBezTo>
                          <a:pt x="2788" y="1642"/>
                          <a:pt x="2775" y="1617"/>
                          <a:pt x="2795" y="1603"/>
                        </a:cubicBezTo>
                        <a:cubicBezTo>
                          <a:pt x="2815" y="1589"/>
                          <a:pt x="2847" y="1560"/>
                          <a:pt x="2831" y="1542"/>
                        </a:cubicBezTo>
                        <a:cubicBezTo>
                          <a:pt x="2815" y="1523"/>
                          <a:pt x="2805" y="1512"/>
                          <a:pt x="2824" y="1501"/>
                        </a:cubicBezTo>
                        <a:cubicBezTo>
                          <a:pt x="2844" y="1490"/>
                          <a:pt x="2857" y="1482"/>
                          <a:pt x="2851" y="1465"/>
                        </a:cubicBezTo>
                        <a:cubicBezTo>
                          <a:pt x="2844" y="1448"/>
                          <a:pt x="2813" y="1430"/>
                          <a:pt x="2839" y="1415"/>
                        </a:cubicBezTo>
                        <a:cubicBezTo>
                          <a:pt x="2865" y="1400"/>
                          <a:pt x="2877" y="1380"/>
                          <a:pt x="2857" y="1357"/>
                        </a:cubicBezTo>
                        <a:cubicBezTo>
                          <a:pt x="2837" y="1333"/>
                          <a:pt x="2811" y="1326"/>
                          <a:pt x="2836" y="1308"/>
                        </a:cubicBezTo>
                        <a:cubicBezTo>
                          <a:pt x="2860" y="1290"/>
                          <a:pt x="2851" y="1266"/>
                          <a:pt x="2836" y="1247"/>
                        </a:cubicBezTo>
                        <a:cubicBezTo>
                          <a:pt x="2821" y="1227"/>
                          <a:pt x="2826" y="1211"/>
                          <a:pt x="2834" y="1193"/>
                        </a:cubicBezTo>
                        <a:cubicBezTo>
                          <a:pt x="2842" y="1175"/>
                          <a:pt x="2859" y="1163"/>
                          <a:pt x="2841" y="1148"/>
                        </a:cubicBezTo>
                        <a:cubicBezTo>
                          <a:pt x="2823" y="1133"/>
                          <a:pt x="2810" y="1104"/>
                          <a:pt x="2828" y="1088"/>
                        </a:cubicBezTo>
                        <a:cubicBezTo>
                          <a:pt x="2846" y="1073"/>
                          <a:pt x="2854" y="1065"/>
                          <a:pt x="2870" y="1063"/>
                        </a:cubicBezTo>
                        <a:cubicBezTo>
                          <a:pt x="2887" y="1062"/>
                          <a:pt x="2901" y="1036"/>
                          <a:pt x="2901" y="1013"/>
                        </a:cubicBezTo>
                        <a:cubicBezTo>
                          <a:pt x="2901" y="991"/>
                          <a:pt x="2900" y="977"/>
                          <a:pt x="2867" y="958"/>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8" name="Freeform 10">
                    <a:extLst>
                      <a:ext uri="{FF2B5EF4-FFF2-40B4-BE49-F238E27FC236}">
                        <a16:creationId xmlns:a16="http://schemas.microsoft.com/office/drawing/2014/main" id="{5DB27040-B2D4-B007-1FB1-3B7EA073D036}"/>
                      </a:ext>
                    </a:extLst>
                  </p:cNvPr>
                  <p:cNvSpPr>
                    <a:spLocks/>
                  </p:cNvSpPr>
                  <p:nvPr/>
                </p:nvSpPr>
                <p:spPr bwMode="auto">
                  <a:xfrm>
                    <a:off x="4491" y="1174"/>
                    <a:ext cx="677" cy="606"/>
                  </a:xfrm>
                  <a:custGeom>
                    <a:avLst/>
                    <a:gdLst>
                      <a:gd name="T0" fmla="*/ 1410 w 1462"/>
                      <a:gd name="T1" fmla="*/ 456 h 1310"/>
                      <a:gd name="T2" fmla="*/ 1321 w 1462"/>
                      <a:gd name="T3" fmla="*/ 328 h 1310"/>
                      <a:gd name="T4" fmla="*/ 1288 w 1462"/>
                      <a:gd name="T5" fmla="*/ 242 h 1310"/>
                      <a:gd name="T6" fmla="*/ 1187 w 1462"/>
                      <a:gd name="T7" fmla="*/ 148 h 1310"/>
                      <a:gd name="T8" fmla="*/ 1125 w 1462"/>
                      <a:gd name="T9" fmla="*/ 78 h 1310"/>
                      <a:gd name="T10" fmla="*/ 1056 w 1462"/>
                      <a:gd name="T11" fmla="*/ 117 h 1310"/>
                      <a:gd name="T12" fmla="*/ 1013 w 1462"/>
                      <a:gd name="T13" fmla="*/ 61 h 1310"/>
                      <a:gd name="T14" fmla="*/ 935 w 1462"/>
                      <a:gd name="T15" fmla="*/ 31 h 1310"/>
                      <a:gd name="T16" fmla="*/ 895 w 1462"/>
                      <a:gd name="T17" fmla="*/ 22 h 1310"/>
                      <a:gd name="T18" fmla="*/ 886 w 1462"/>
                      <a:gd name="T19" fmla="*/ 47 h 1310"/>
                      <a:gd name="T20" fmla="*/ 891 w 1462"/>
                      <a:gd name="T21" fmla="*/ 57 h 1310"/>
                      <a:gd name="T22" fmla="*/ 873 w 1462"/>
                      <a:gd name="T23" fmla="*/ 127 h 1310"/>
                      <a:gd name="T24" fmla="*/ 817 w 1462"/>
                      <a:gd name="T25" fmla="*/ 172 h 1310"/>
                      <a:gd name="T26" fmla="*/ 775 w 1462"/>
                      <a:gd name="T27" fmla="*/ 227 h 1310"/>
                      <a:gd name="T28" fmla="*/ 718 w 1462"/>
                      <a:gd name="T29" fmla="*/ 236 h 1310"/>
                      <a:gd name="T30" fmla="*/ 668 w 1462"/>
                      <a:gd name="T31" fmla="*/ 227 h 1310"/>
                      <a:gd name="T32" fmla="*/ 640 w 1462"/>
                      <a:gd name="T33" fmla="*/ 327 h 1310"/>
                      <a:gd name="T34" fmla="*/ 557 w 1462"/>
                      <a:gd name="T35" fmla="*/ 316 h 1310"/>
                      <a:gd name="T36" fmla="*/ 493 w 1462"/>
                      <a:gd name="T37" fmla="*/ 338 h 1310"/>
                      <a:gd name="T38" fmla="*/ 454 w 1462"/>
                      <a:gd name="T39" fmla="*/ 355 h 1310"/>
                      <a:gd name="T40" fmla="*/ 413 w 1462"/>
                      <a:gd name="T41" fmla="*/ 414 h 1310"/>
                      <a:gd name="T42" fmla="*/ 356 w 1462"/>
                      <a:gd name="T43" fmla="*/ 444 h 1310"/>
                      <a:gd name="T44" fmla="*/ 290 w 1462"/>
                      <a:gd name="T45" fmla="*/ 520 h 1310"/>
                      <a:gd name="T46" fmla="*/ 233 w 1462"/>
                      <a:gd name="T47" fmla="*/ 583 h 1310"/>
                      <a:gd name="T48" fmla="*/ 179 w 1462"/>
                      <a:gd name="T49" fmla="*/ 505 h 1310"/>
                      <a:gd name="T50" fmla="*/ 107 w 1462"/>
                      <a:gd name="T51" fmla="*/ 461 h 1310"/>
                      <a:gd name="T52" fmla="*/ 65 w 1462"/>
                      <a:gd name="T53" fmla="*/ 468 h 1310"/>
                      <a:gd name="T54" fmla="*/ 61 w 1462"/>
                      <a:gd name="T55" fmla="*/ 516 h 1310"/>
                      <a:gd name="T56" fmla="*/ 78 w 1462"/>
                      <a:gd name="T57" fmla="*/ 555 h 1310"/>
                      <a:gd name="T58" fmla="*/ 94 w 1462"/>
                      <a:gd name="T59" fmla="*/ 633 h 1310"/>
                      <a:gd name="T60" fmla="*/ 107 w 1462"/>
                      <a:gd name="T61" fmla="*/ 705 h 1310"/>
                      <a:gd name="T62" fmla="*/ 54 w 1462"/>
                      <a:gd name="T63" fmla="*/ 791 h 1310"/>
                      <a:gd name="T64" fmla="*/ 24 w 1462"/>
                      <a:gd name="T65" fmla="*/ 854 h 1310"/>
                      <a:gd name="T66" fmla="*/ 94 w 1462"/>
                      <a:gd name="T67" fmla="*/ 894 h 1310"/>
                      <a:gd name="T68" fmla="*/ 198 w 1462"/>
                      <a:gd name="T69" fmla="*/ 930 h 1310"/>
                      <a:gd name="T70" fmla="*/ 295 w 1462"/>
                      <a:gd name="T71" fmla="*/ 1052 h 1310"/>
                      <a:gd name="T72" fmla="*/ 415 w 1462"/>
                      <a:gd name="T73" fmla="*/ 928 h 1310"/>
                      <a:gd name="T74" fmla="*/ 550 w 1462"/>
                      <a:gd name="T75" fmla="*/ 757 h 1310"/>
                      <a:gd name="T76" fmla="*/ 716 w 1462"/>
                      <a:gd name="T77" fmla="*/ 791 h 1310"/>
                      <a:gd name="T78" fmla="*/ 764 w 1462"/>
                      <a:gd name="T79" fmla="*/ 872 h 1310"/>
                      <a:gd name="T80" fmla="*/ 672 w 1462"/>
                      <a:gd name="T81" fmla="*/ 991 h 1310"/>
                      <a:gd name="T82" fmla="*/ 633 w 1462"/>
                      <a:gd name="T83" fmla="*/ 1091 h 1310"/>
                      <a:gd name="T84" fmla="*/ 699 w 1462"/>
                      <a:gd name="T85" fmla="*/ 1139 h 1310"/>
                      <a:gd name="T86" fmla="*/ 725 w 1462"/>
                      <a:gd name="T87" fmla="*/ 1161 h 1310"/>
                      <a:gd name="T88" fmla="*/ 664 w 1462"/>
                      <a:gd name="T89" fmla="*/ 1228 h 1310"/>
                      <a:gd name="T90" fmla="*/ 620 w 1462"/>
                      <a:gd name="T91" fmla="*/ 1284 h 1310"/>
                      <a:gd name="T92" fmla="*/ 712 w 1462"/>
                      <a:gd name="T93" fmla="*/ 1269 h 1310"/>
                      <a:gd name="T94" fmla="*/ 830 w 1462"/>
                      <a:gd name="T95" fmla="*/ 1161 h 1310"/>
                      <a:gd name="T96" fmla="*/ 956 w 1462"/>
                      <a:gd name="T97" fmla="*/ 1028 h 1310"/>
                      <a:gd name="T98" fmla="*/ 1061 w 1462"/>
                      <a:gd name="T99" fmla="*/ 965 h 1310"/>
                      <a:gd name="T100" fmla="*/ 1170 w 1462"/>
                      <a:gd name="T101" fmla="*/ 920 h 1310"/>
                      <a:gd name="T102" fmla="*/ 1239 w 1462"/>
                      <a:gd name="T103" fmla="*/ 884 h 1310"/>
                      <a:gd name="T104" fmla="*/ 1262 w 1462"/>
                      <a:gd name="T105" fmla="*/ 802 h 1310"/>
                      <a:gd name="T106" fmla="*/ 1411 w 1462"/>
                      <a:gd name="T107" fmla="*/ 657 h 1310"/>
                      <a:gd name="T108" fmla="*/ 1460 w 1462"/>
                      <a:gd name="T109" fmla="*/ 630 h 1310"/>
                      <a:gd name="T110" fmla="*/ 1462 w 1462"/>
                      <a:gd name="T111" fmla="*/ 528 h 1310"/>
                      <a:gd name="T112" fmla="*/ 1410 w 1462"/>
                      <a:gd name="T113" fmla="*/ 456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2" h="1310">
                        <a:moveTo>
                          <a:pt x="1410" y="456"/>
                        </a:moveTo>
                        <a:cubicBezTo>
                          <a:pt x="1374" y="428"/>
                          <a:pt x="1321" y="384"/>
                          <a:pt x="1321" y="328"/>
                        </a:cubicBezTo>
                        <a:cubicBezTo>
                          <a:pt x="1321" y="273"/>
                          <a:pt x="1324" y="275"/>
                          <a:pt x="1288" y="242"/>
                        </a:cubicBezTo>
                        <a:cubicBezTo>
                          <a:pt x="1252" y="209"/>
                          <a:pt x="1213" y="195"/>
                          <a:pt x="1187" y="148"/>
                        </a:cubicBezTo>
                        <a:cubicBezTo>
                          <a:pt x="1161" y="100"/>
                          <a:pt x="1144" y="78"/>
                          <a:pt x="1125" y="78"/>
                        </a:cubicBezTo>
                        <a:cubicBezTo>
                          <a:pt x="1105" y="78"/>
                          <a:pt x="1098" y="173"/>
                          <a:pt x="1056" y="117"/>
                        </a:cubicBezTo>
                        <a:cubicBezTo>
                          <a:pt x="1013" y="61"/>
                          <a:pt x="1056" y="67"/>
                          <a:pt x="1013" y="61"/>
                        </a:cubicBezTo>
                        <a:cubicBezTo>
                          <a:pt x="971" y="56"/>
                          <a:pt x="957" y="47"/>
                          <a:pt x="935" y="31"/>
                        </a:cubicBezTo>
                        <a:cubicBezTo>
                          <a:pt x="912" y="14"/>
                          <a:pt x="908" y="0"/>
                          <a:pt x="895" y="22"/>
                        </a:cubicBezTo>
                        <a:cubicBezTo>
                          <a:pt x="890" y="31"/>
                          <a:pt x="888" y="40"/>
                          <a:pt x="886" y="47"/>
                        </a:cubicBezTo>
                        <a:cubicBezTo>
                          <a:pt x="888" y="49"/>
                          <a:pt x="890" y="52"/>
                          <a:pt x="891" y="57"/>
                        </a:cubicBezTo>
                        <a:cubicBezTo>
                          <a:pt x="895" y="81"/>
                          <a:pt x="908" y="105"/>
                          <a:pt x="873" y="127"/>
                        </a:cubicBezTo>
                        <a:cubicBezTo>
                          <a:pt x="838" y="149"/>
                          <a:pt x="817" y="140"/>
                          <a:pt x="817" y="172"/>
                        </a:cubicBezTo>
                        <a:cubicBezTo>
                          <a:pt x="817" y="203"/>
                          <a:pt x="797" y="222"/>
                          <a:pt x="775" y="227"/>
                        </a:cubicBezTo>
                        <a:cubicBezTo>
                          <a:pt x="753" y="233"/>
                          <a:pt x="734" y="246"/>
                          <a:pt x="718" y="236"/>
                        </a:cubicBezTo>
                        <a:cubicBezTo>
                          <a:pt x="703" y="227"/>
                          <a:pt x="675" y="211"/>
                          <a:pt x="668" y="227"/>
                        </a:cubicBezTo>
                        <a:cubicBezTo>
                          <a:pt x="662" y="244"/>
                          <a:pt x="681" y="331"/>
                          <a:pt x="640" y="327"/>
                        </a:cubicBezTo>
                        <a:cubicBezTo>
                          <a:pt x="598" y="324"/>
                          <a:pt x="576" y="285"/>
                          <a:pt x="557" y="316"/>
                        </a:cubicBezTo>
                        <a:cubicBezTo>
                          <a:pt x="537" y="348"/>
                          <a:pt x="513" y="338"/>
                          <a:pt x="493" y="338"/>
                        </a:cubicBezTo>
                        <a:cubicBezTo>
                          <a:pt x="474" y="338"/>
                          <a:pt x="458" y="331"/>
                          <a:pt x="454" y="355"/>
                        </a:cubicBezTo>
                        <a:cubicBezTo>
                          <a:pt x="450" y="379"/>
                          <a:pt x="441" y="401"/>
                          <a:pt x="413" y="414"/>
                        </a:cubicBezTo>
                        <a:cubicBezTo>
                          <a:pt x="384" y="427"/>
                          <a:pt x="373" y="424"/>
                          <a:pt x="356" y="444"/>
                        </a:cubicBezTo>
                        <a:cubicBezTo>
                          <a:pt x="338" y="464"/>
                          <a:pt x="297" y="494"/>
                          <a:pt x="290" y="520"/>
                        </a:cubicBezTo>
                        <a:cubicBezTo>
                          <a:pt x="284" y="546"/>
                          <a:pt x="260" y="620"/>
                          <a:pt x="233" y="583"/>
                        </a:cubicBezTo>
                        <a:cubicBezTo>
                          <a:pt x="207" y="546"/>
                          <a:pt x="209" y="535"/>
                          <a:pt x="179" y="505"/>
                        </a:cubicBezTo>
                        <a:cubicBezTo>
                          <a:pt x="148" y="476"/>
                          <a:pt x="124" y="487"/>
                          <a:pt x="107" y="461"/>
                        </a:cubicBezTo>
                        <a:cubicBezTo>
                          <a:pt x="89" y="435"/>
                          <a:pt x="72" y="453"/>
                          <a:pt x="65" y="468"/>
                        </a:cubicBezTo>
                        <a:cubicBezTo>
                          <a:pt x="59" y="483"/>
                          <a:pt x="35" y="503"/>
                          <a:pt x="61" y="516"/>
                        </a:cubicBezTo>
                        <a:cubicBezTo>
                          <a:pt x="87" y="529"/>
                          <a:pt x="78" y="539"/>
                          <a:pt x="78" y="555"/>
                        </a:cubicBezTo>
                        <a:cubicBezTo>
                          <a:pt x="78" y="572"/>
                          <a:pt x="70" y="600"/>
                          <a:pt x="94" y="633"/>
                        </a:cubicBezTo>
                        <a:cubicBezTo>
                          <a:pt x="118" y="666"/>
                          <a:pt x="129" y="681"/>
                          <a:pt x="107" y="705"/>
                        </a:cubicBezTo>
                        <a:cubicBezTo>
                          <a:pt x="85" y="729"/>
                          <a:pt x="59" y="763"/>
                          <a:pt x="54" y="791"/>
                        </a:cubicBezTo>
                        <a:cubicBezTo>
                          <a:pt x="50" y="818"/>
                          <a:pt x="0" y="818"/>
                          <a:pt x="24" y="854"/>
                        </a:cubicBezTo>
                        <a:cubicBezTo>
                          <a:pt x="48" y="889"/>
                          <a:pt x="63" y="891"/>
                          <a:pt x="94" y="894"/>
                        </a:cubicBezTo>
                        <a:cubicBezTo>
                          <a:pt x="124" y="898"/>
                          <a:pt x="190" y="907"/>
                          <a:pt x="198" y="930"/>
                        </a:cubicBezTo>
                        <a:cubicBezTo>
                          <a:pt x="206" y="949"/>
                          <a:pt x="264" y="1009"/>
                          <a:pt x="295" y="1052"/>
                        </a:cubicBezTo>
                        <a:cubicBezTo>
                          <a:pt x="330" y="1027"/>
                          <a:pt x="369" y="991"/>
                          <a:pt x="415" y="928"/>
                        </a:cubicBezTo>
                        <a:cubicBezTo>
                          <a:pt x="485" y="831"/>
                          <a:pt x="445" y="754"/>
                          <a:pt x="550" y="757"/>
                        </a:cubicBezTo>
                        <a:cubicBezTo>
                          <a:pt x="655" y="761"/>
                          <a:pt x="694" y="761"/>
                          <a:pt x="716" y="791"/>
                        </a:cubicBezTo>
                        <a:cubicBezTo>
                          <a:pt x="738" y="820"/>
                          <a:pt x="808" y="817"/>
                          <a:pt x="764" y="872"/>
                        </a:cubicBezTo>
                        <a:cubicBezTo>
                          <a:pt x="720" y="928"/>
                          <a:pt x="694" y="972"/>
                          <a:pt x="672" y="991"/>
                        </a:cubicBezTo>
                        <a:cubicBezTo>
                          <a:pt x="651" y="1009"/>
                          <a:pt x="594" y="1065"/>
                          <a:pt x="633" y="1091"/>
                        </a:cubicBezTo>
                        <a:cubicBezTo>
                          <a:pt x="672" y="1117"/>
                          <a:pt x="655" y="1135"/>
                          <a:pt x="699" y="1139"/>
                        </a:cubicBezTo>
                        <a:cubicBezTo>
                          <a:pt x="742" y="1143"/>
                          <a:pt x="738" y="1117"/>
                          <a:pt x="725" y="1161"/>
                        </a:cubicBezTo>
                        <a:cubicBezTo>
                          <a:pt x="712" y="1206"/>
                          <a:pt x="720" y="1213"/>
                          <a:pt x="664" y="1228"/>
                        </a:cubicBezTo>
                        <a:cubicBezTo>
                          <a:pt x="607" y="1243"/>
                          <a:pt x="616" y="1258"/>
                          <a:pt x="620" y="1284"/>
                        </a:cubicBezTo>
                        <a:cubicBezTo>
                          <a:pt x="624" y="1310"/>
                          <a:pt x="668" y="1295"/>
                          <a:pt x="712" y="1269"/>
                        </a:cubicBezTo>
                        <a:cubicBezTo>
                          <a:pt x="755" y="1243"/>
                          <a:pt x="803" y="1206"/>
                          <a:pt x="830" y="1161"/>
                        </a:cubicBezTo>
                        <a:cubicBezTo>
                          <a:pt x="856" y="1117"/>
                          <a:pt x="895" y="1057"/>
                          <a:pt x="956" y="1028"/>
                        </a:cubicBezTo>
                        <a:cubicBezTo>
                          <a:pt x="1018" y="998"/>
                          <a:pt x="1009" y="987"/>
                          <a:pt x="1061" y="965"/>
                        </a:cubicBezTo>
                        <a:cubicBezTo>
                          <a:pt x="1114" y="943"/>
                          <a:pt x="1127" y="935"/>
                          <a:pt x="1170" y="920"/>
                        </a:cubicBezTo>
                        <a:cubicBezTo>
                          <a:pt x="1202" y="909"/>
                          <a:pt x="1216" y="885"/>
                          <a:pt x="1239" y="884"/>
                        </a:cubicBezTo>
                        <a:cubicBezTo>
                          <a:pt x="1240" y="852"/>
                          <a:pt x="1245" y="812"/>
                          <a:pt x="1262" y="802"/>
                        </a:cubicBezTo>
                        <a:cubicBezTo>
                          <a:pt x="1293" y="783"/>
                          <a:pt x="1358" y="683"/>
                          <a:pt x="1411" y="657"/>
                        </a:cubicBezTo>
                        <a:cubicBezTo>
                          <a:pt x="1425" y="650"/>
                          <a:pt x="1443" y="640"/>
                          <a:pt x="1460" y="630"/>
                        </a:cubicBezTo>
                        <a:cubicBezTo>
                          <a:pt x="1461" y="592"/>
                          <a:pt x="1462" y="543"/>
                          <a:pt x="1462" y="528"/>
                        </a:cubicBezTo>
                        <a:cubicBezTo>
                          <a:pt x="1462" y="503"/>
                          <a:pt x="1446" y="484"/>
                          <a:pt x="1410" y="45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49" name="Freeform 11">
                    <a:extLst>
                      <a:ext uri="{FF2B5EF4-FFF2-40B4-BE49-F238E27FC236}">
                        <a16:creationId xmlns:a16="http://schemas.microsoft.com/office/drawing/2014/main" id="{11564BA9-1826-5140-4E76-62A65DBD5772}"/>
                      </a:ext>
                    </a:extLst>
                  </p:cNvPr>
                  <p:cNvSpPr>
                    <a:spLocks/>
                  </p:cNvSpPr>
                  <p:nvPr/>
                </p:nvSpPr>
                <p:spPr bwMode="auto">
                  <a:xfrm>
                    <a:off x="4637" y="856"/>
                    <a:ext cx="985" cy="609"/>
                  </a:xfrm>
                  <a:custGeom>
                    <a:avLst/>
                    <a:gdLst>
                      <a:gd name="T0" fmla="*/ 2111 w 2127"/>
                      <a:gd name="T1" fmla="*/ 367 h 1316"/>
                      <a:gd name="T2" fmla="*/ 1900 w 2127"/>
                      <a:gd name="T3" fmla="*/ 314 h 1316"/>
                      <a:gd name="T4" fmla="*/ 1808 w 2127"/>
                      <a:gd name="T5" fmla="*/ 300 h 1316"/>
                      <a:gd name="T6" fmla="*/ 1693 w 2127"/>
                      <a:gd name="T7" fmla="*/ 361 h 1316"/>
                      <a:gd name="T8" fmla="*/ 1634 w 2127"/>
                      <a:gd name="T9" fmla="*/ 458 h 1316"/>
                      <a:gd name="T10" fmla="*/ 1500 w 2127"/>
                      <a:gd name="T11" fmla="*/ 367 h 1316"/>
                      <a:gd name="T12" fmla="*/ 1467 w 2127"/>
                      <a:gd name="T13" fmla="*/ 269 h 1316"/>
                      <a:gd name="T14" fmla="*/ 1379 w 2127"/>
                      <a:gd name="T15" fmla="*/ 280 h 1316"/>
                      <a:gd name="T16" fmla="*/ 1392 w 2127"/>
                      <a:gd name="T17" fmla="*/ 372 h 1316"/>
                      <a:gd name="T18" fmla="*/ 1270 w 2127"/>
                      <a:gd name="T19" fmla="*/ 269 h 1316"/>
                      <a:gd name="T20" fmla="*/ 1143 w 2127"/>
                      <a:gd name="T21" fmla="*/ 239 h 1316"/>
                      <a:gd name="T22" fmla="*/ 1044 w 2127"/>
                      <a:gd name="T23" fmla="*/ 152 h 1316"/>
                      <a:gd name="T24" fmla="*/ 907 w 2127"/>
                      <a:gd name="T25" fmla="*/ 186 h 1316"/>
                      <a:gd name="T26" fmla="*/ 766 w 2127"/>
                      <a:gd name="T27" fmla="*/ 166 h 1316"/>
                      <a:gd name="T28" fmla="*/ 638 w 2127"/>
                      <a:gd name="T29" fmla="*/ 189 h 1316"/>
                      <a:gd name="T30" fmla="*/ 494 w 2127"/>
                      <a:gd name="T31" fmla="*/ 111 h 1316"/>
                      <a:gd name="T32" fmla="*/ 402 w 2127"/>
                      <a:gd name="T33" fmla="*/ 16 h 1316"/>
                      <a:gd name="T34" fmla="*/ 290 w 2127"/>
                      <a:gd name="T35" fmla="*/ 51 h 1316"/>
                      <a:gd name="T36" fmla="*/ 245 w 2127"/>
                      <a:gd name="T37" fmla="*/ 114 h 1316"/>
                      <a:gd name="T38" fmla="*/ 160 w 2127"/>
                      <a:gd name="T39" fmla="*/ 157 h 1316"/>
                      <a:gd name="T40" fmla="*/ 64 w 2127"/>
                      <a:gd name="T41" fmla="*/ 146 h 1316"/>
                      <a:gd name="T42" fmla="*/ 103 w 2127"/>
                      <a:gd name="T43" fmla="*/ 239 h 1316"/>
                      <a:gd name="T44" fmla="*/ 177 w 2127"/>
                      <a:gd name="T45" fmla="*/ 316 h 1316"/>
                      <a:gd name="T46" fmla="*/ 180 w 2127"/>
                      <a:gd name="T47" fmla="*/ 478 h 1316"/>
                      <a:gd name="T48" fmla="*/ 271 w 2127"/>
                      <a:gd name="T49" fmla="*/ 569 h 1316"/>
                      <a:gd name="T50" fmla="*/ 404 w 2127"/>
                      <a:gd name="T51" fmla="*/ 493 h 1316"/>
                      <a:gd name="T52" fmla="*/ 512 w 2127"/>
                      <a:gd name="T53" fmla="*/ 637 h 1316"/>
                      <a:gd name="T54" fmla="*/ 570 w 2127"/>
                      <a:gd name="T55" fmla="*/ 733 h 1316"/>
                      <a:gd name="T56" fmla="*/ 619 w 2127"/>
                      <a:gd name="T57" fmla="*/ 717 h 1316"/>
                      <a:gd name="T58" fmla="*/ 740 w 2127"/>
                      <a:gd name="T59" fmla="*/ 803 h 1316"/>
                      <a:gd name="T60" fmla="*/ 871 w 2127"/>
                      <a:gd name="T61" fmla="*/ 834 h 1316"/>
                      <a:gd name="T62" fmla="*/ 1005 w 2127"/>
                      <a:gd name="T63" fmla="*/ 1014 h 1316"/>
                      <a:gd name="T64" fmla="*/ 1146 w 2127"/>
                      <a:gd name="T65" fmla="*/ 1214 h 1316"/>
                      <a:gd name="T66" fmla="*/ 1243 w 2127"/>
                      <a:gd name="T67" fmla="*/ 1228 h 1316"/>
                      <a:gd name="T68" fmla="*/ 1339 w 2127"/>
                      <a:gd name="T69" fmla="*/ 995 h 1316"/>
                      <a:gd name="T70" fmla="*/ 1470 w 2127"/>
                      <a:gd name="T71" fmla="*/ 1039 h 1316"/>
                      <a:gd name="T72" fmla="*/ 1552 w 2127"/>
                      <a:gd name="T73" fmla="*/ 1039 h 1316"/>
                      <a:gd name="T74" fmla="*/ 1647 w 2127"/>
                      <a:gd name="T75" fmla="*/ 1017 h 1316"/>
                      <a:gd name="T76" fmla="*/ 1587 w 2127"/>
                      <a:gd name="T77" fmla="*/ 911 h 1316"/>
                      <a:gd name="T78" fmla="*/ 1693 w 2127"/>
                      <a:gd name="T79" fmla="*/ 846 h 1316"/>
                      <a:gd name="T80" fmla="*/ 1811 w 2127"/>
                      <a:gd name="T81" fmla="*/ 714 h 1316"/>
                      <a:gd name="T82" fmla="*/ 1862 w 2127"/>
                      <a:gd name="T83" fmla="*/ 588 h 1316"/>
                      <a:gd name="T84" fmla="*/ 1978 w 2127"/>
                      <a:gd name="T85" fmla="*/ 596 h 1316"/>
                      <a:gd name="T86" fmla="*/ 2127 w 2127"/>
                      <a:gd name="T87" fmla="*/ 489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7" h="1316">
                        <a:moveTo>
                          <a:pt x="2114" y="376"/>
                        </a:moveTo>
                        <a:cubicBezTo>
                          <a:pt x="2113" y="373"/>
                          <a:pt x="2112" y="370"/>
                          <a:pt x="2111" y="367"/>
                        </a:cubicBezTo>
                        <a:cubicBezTo>
                          <a:pt x="2041" y="376"/>
                          <a:pt x="1984" y="369"/>
                          <a:pt x="1955" y="367"/>
                        </a:cubicBezTo>
                        <a:cubicBezTo>
                          <a:pt x="1919" y="364"/>
                          <a:pt x="1939" y="369"/>
                          <a:pt x="1900" y="314"/>
                        </a:cubicBezTo>
                        <a:cubicBezTo>
                          <a:pt x="1860" y="258"/>
                          <a:pt x="1886" y="289"/>
                          <a:pt x="1854" y="314"/>
                        </a:cubicBezTo>
                        <a:cubicBezTo>
                          <a:pt x="1821" y="339"/>
                          <a:pt x="1818" y="328"/>
                          <a:pt x="1808" y="300"/>
                        </a:cubicBezTo>
                        <a:cubicBezTo>
                          <a:pt x="1798" y="272"/>
                          <a:pt x="1778" y="303"/>
                          <a:pt x="1765" y="330"/>
                        </a:cubicBezTo>
                        <a:cubicBezTo>
                          <a:pt x="1752" y="358"/>
                          <a:pt x="1726" y="353"/>
                          <a:pt x="1693" y="361"/>
                        </a:cubicBezTo>
                        <a:cubicBezTo>
                          <a:pt x="1660" y="369"/>
                          <a:pt x="1677" y="383"/>
                          <a:pt x="1680" y="417"/>
                        </a:cubicBezTo>
                        <a:cubicBezTo>
                          <a:pt x="1683" y="450"/>
                          <a:pt x="1664" y="455"/>
                          <a:pt x="1634" y="458"/>
                        </a:cubicBezTo>
                        <a:cubicBezTo>
                          <a:pt x="1605" y="461"/>
                          <a:pt x="1592" y="444"/>
                          <a:pt x="1578" y="414"/>
                        </a:cubicBezTo>
                        <a:cubicBezTo>
                          <a:pt x="1565" y="383"/>
                          <a:pt x="1500" y="386"/>
                          <a:pt x="1500" y="367"/>
                        </a:cubicBezTo>
                        <a:cubicBezTo>
                          <a:pt x="1500" y="347"/>
                          <a:pt x="1493" y="344"/>
                          <a:pt x="1470" y="328"/>
                        </a:cubicBezTo>
                        <a:cubicBezTo>
                          <a:pt x="1447" y="311"/>
                          <a:pt x="1467" y="294"/>
                          <a:pt x="1467" y="269"/>
                        </a:cubicBezTo>
                        <a:cubicBezTo>
                          <a:pt x="1467" y="244"/>
                          <a:pt x="1477" y="236"/>
                          <a:pt x="1438" y="233"/>
                        </a:cubicBezTo>
                        <a:cubicBezTo>
                          <a:pt x="1398" y="230"/>
                          <a:pt x="1382" y="250"/>
                          <a:pt x="1379" y="280"/>
                        </a:cubicBezTo>
                        <a:cubicBezTo>
                          <a:pt x="1375" y="311"/>
                          <a:pt x="1398" y="322"/>
                          <a:pt x="1415" y="342"/>
                        </a:cubicBezTo>
                        <a:cubicBezTo>
                          <a:pt x="1431" y="361"/>
                          <a:pt x="1408" y="372"/>
                          <a:pt x="1392" y="372"/>
                        </a:cubicBezTo>
                        <a:cubicBezTo>
                          <a:pt x="1375" y="372"/>
                          <a:pt x="1349" y="372"/>
                          <a:pt x="1320" y="350"/>
                        </a:cubicBezTo>
                        <a:cubicBezTo>
                          <a:pt x="1290" y="328"/>
                          <a:pt x="1280" y="300"/>
                          <a:pt x="1270" y="269"/>
                        </a:cubicBezTo>
                        <a:cubicBezTo>
                          <a:pt x="1261" y="239"/>
                          <a:pt x="1208" y="283"/>
                          <a:pt x="1175" y="280"/>
                        </a:cubicBezTo>
                        <a:cubicBezTo>
                          <a:pt x="1143" y="278"/>
                          <a:pt x="1130" y="261"/>
                          <a:pt x="1143" y="239"/>
                        </a:cubicBezTo>
                        <a:cubicBezTo>
                          <a:pt x="1156" y="216"/>
                          <a:pt x="1166" y="203"/>
                          <a:pt x="1149" y="189"/>
                        </a:cubicBezTo>
                        <a:cubicBezTo>
                          <a:pt x="1133" y="175"/>
                          <a:pt x="1090" y="158"/>
                          <a:pt x="1044" y="152"/>
                        </a:cubicBezTo>
                        <a:cubicBezTo>
                          <a:pt x="999" y="147"/>
                          <a:pt x="999" y="161"/>
                          <a:pt x="979" y="180"/>
                        </a:cubicBezTo>
                        <a:cubicBezTo>
                          <a:pt x="959" y="200"/>
                          <a:pt x="956" y="189"/>
                          <a:pt x="907" y="186"/>
                        </a:cubicBezTo>
                        <a:cubicBezTo>
                          <a:pt x="858" y="183"/>
                          <a:pt x="881" y="175"/>
                          <a:pt x="854" y="144"/>
                        </a:cubicBezTo>
                        <a:cubicBezTo>
                          <a:pt x="828" y="114"/>
                          <a:pt x="795" y="150"/>
                          <a:pt x="766" y="166"/>
                        </a:cubicBezTo>
                        <a:cubicBezTo>
                          <a:pt x="736" y="183"/>
                          <a:pt x="733" y="172"/>
                          <a:pt x="700" y="161"/>
                        </a:cubicBezTo>
                        <a:cubicBezTo>
                          <a:pt x="668" y="150"/>
                          <a:pt x="668" y="175"/>
                          <a:pt x="638" y="189"/>
                        </a:cubicBezTo>
                        <a:cubicBezTo>
                          <a:pt x="609" y="203"/>
                          <a:pt x="602" y="197"/>
                          <a:pt x="563" y="169"/>
                        </a:cubicBezTo>
                        <a:cubicBezTo>
                          <a:pt x="524" y="141"/>
                          <a:pt x="527" y="127"/>
                          <a:pt x="494" y="111"/>
                        </a:cubicBezTo>
                        <a:cubicBezTo>
                          <a:pt x="461" y="94"/>
                          <a:pt x="474" y="55"/>
                          <a:pt x="458" y="27"/>
                        </a:cubicBezTo>
                        <a:cubicBezTo>
                          <a:pt x="442" y="0"/>
                          <a:pt x="432" y="16"/>
                          <a:pt x="402" y="16"/>
                        </a:cubicBezTo>
                        <a:cubicBezTo>
                          <a:pt x="373" y="16"/>
                          <a:pt x="376" y="30"/>
                          <a:pt x="330" y="41"/>
                        </a:cubicBezTo>
                        <a:cubicBezTo>
                          <a:pt x="313" y="45"/>
                          <a:pt x="300" y="49"/>
                          <a:pt x="290" y="51"/>
                        </a:cubicBezTo>
                        <a:cubicBezTo>
                          <a:pt x="291" y="55"/>
                          <a:pt x="290" y="59"/>
                          <a:pt x="287" y="64"/>
                        </a:cubicBezTo>
                        <a:cubicBezTo>
                          <a:pt x="271" y="89"/>
                          <a:pt x="243" y="81"/>
                          <a:pt x="245" y="114"/>
                        </a:cubicBezTo>
                        <a:cubicBezTo>
                          <a:pt x="247" y="148"/>
                          <a:pt x="265" y="213"/>
                          <a:pt x="221" y="189"/>
                        </a:cubicBezTo>
                        <a:cubicBezTo>
                          <a:pt x="177" y="165"/>
                          <a:pt x="180" y="139"/>
                          <a:pt x="160" y="157"/>
                        </a:cubicBezTo>
                        <a:cubicBezTo>
                          <a:pt x="140" y="176"/>
                          <a:pt x="142" y="183"/>
                          <a:pt x="116" y="170"/>
                        </a:cubicBezTo>
                        <a:cubicBezTo>
                          <a:pt x="90" y="157"/>
                          <a:pt x="73" y="131"/>
                          <a:pt x="64" y="146"/>
                        </a:cubicBezTo>
                        <a:cubicBezTo>
                          <a:pt x="55" y="161"/>
                          <a:pt x="0" y="215"/>
                          <a:pt x="35" y="226"/>
                        </a:cubicBezTo>
                        <a:cubicBezTo>
                          <a:pt x="70" y="237"/>
                          <a:pt x="99" y="211"/>
                          <a:pt x="103" y="239"/>
                        </a:cubicBezTo>
                        <a:cubicBezTo>
                          <a:pt x="107" y="266"/>
                          <a:pt x="110" y="266"/>
                          <a:pt x="134" y="278"/>
                        </a:cubicBezTo>
                        <a:cubicBezTo>
                          <a:pt x="158" y="289"/>
                          <a:pt x="180" y="292"/>
                          <a:pt x="177" y="316"/>
                        </a:cubicBezTo>
                        <a:cubicBezTo>
                          <a:pt x="175" y="341"/>
                          <a:pt x="136" y="392"/>
                          <a:pt x="147" y="420"/>
                        </a:cubicBezTo>
                        <a:cubicBezTo>
                          <a:pt x="158" y="448"/>
                          <a:pt x="169" y="457"/>
                          <a:pt x="180" y="478"/>
                        </a:cubicBezTo>
                        <a:cubicBezTo>
                          <a:pt x="190" y="498"/>
                          <a:pt x="219" y="502"/>
                          <a:pt x="225" y="535"/>
                        </a:cubicBezTo>
                        <a:cubicBezTo>
                          <a:pt x="232" y="569"/>
                          <a:pt x="236" y="593"/>
                          <a:pt x="271" y="569"/>
                        </a:cubicBezTo>
                        <a:cubicBezTo>
                          <a:pt x="306" y="544"/>
                          <a:pt x="341" y="537"/>
                          <a:pt x="352" y="515"/>
                        </a:cubicBezTo>
                        <a:cubicBezTo>
                          <a:pt x="363" y="493"/>
                          <a:pt x="398" y="463"/>
                          <a:pt x="404" y="493"/>
                        </a:cubicBezTo>
                        <a:cubicBezTo>
                          <a:pt x="411" y="522"/>
                          <a:pt x="463" y="531"/>
                          <a:pt x="468" y="567"/>
                        </a:cubicBezTo>
                        <a:cubicBezTo>
                          <a:pt x="472" y="602"/>
                          <a:pt x="498" y="607"/>
                          <a:pt x="512" y="637"/>
                        </a:cubicBezTo>
                        <a:cubicBezTo>
                          <a:pt x="525" y="667"/>
                          <a:pt x="503" y="721"/>
                          <a:pt x="522" y="730"/>
                        </a:cubicBezTo>
                        <a:cubicBezTo>
                          <a:pt x="538" y="737"/>
                          <a:pt x="560" y="726"/>
                          <a:pt x="570" y="733"/>
                        </a:cubicBezTo>
                        <a:cubicBezTo>
                          <a:pt x="572" y="726"/>
                          <a:pt x="574" y="717"/>
                          <a:pt x="579" y="708"/>
                        </a:cubicBezTo>
                        <a:cubicBezTo>
                          <a:pt x="592" y="686"/>
                          <a:pt x="596" y="700"/>
                          <a:pt x="619" y="717"/>
                        </a:cubicBezTo>
                        <a:cubicBezTo>
                          <a:pt x="641" y="733"/>
                          <a:pt x="655" y="742"/>
                          <a:pt x="697" y="747"/>
                        </a:cubicBezTo>
                        <a:cubicBezTo>
                          <a:pt x="740" y="753"/>
                          <a:pt x="697" y="747"/>
                          <a:pt x="740" y="803"/>
                        </a:cubicBezTo>
                        <a:cubicBezTo>
                          <a:pt x="782" y="859"/>
                          <a:pt x="789" y="764"/>
                          <a:pt x="809" y="764"/>
                        </a:cubicBezTo>
                        <a:cubicBezTo>
                          <a:pt x="828" y="764"/>
                          <a:pt x="845" y="786"/>
                          <a:pt x="871" y="834"/>
                        </a:cubicBezTo>
                        <a:cubicBezTo>
                          <a:pt x="897" y="881"/>
                          <a:pt x="936" y="895"/>
                          <a:pt x="972" y="928"/>
                        </a:cubicBezTo>
                        <a:cubicBezTo>
                          <a:pt x="1008" y="961"/>
                          <a:pt x="1005" y="959"/>
                          <a:pt x="1005" y="1014"/>
                        </a:cubicBezTo>
                        <a:cubicBezTo>
                          <a:pt x="1005" y="1070"/>
                          <a:pt x="1058" y="1114"/>
                          <a:pt x="1094" y="1142"/>
                        </a:cubicBezTo>
                        <a:cubicBezTo>
                          <a:pt x="1130" y="1170"/>
                          <a:pt x="1146" y="1189"/>
                          <a:pt x="1146" y="1214"/>
                        </a:cubicBezTo>
                        <a:cubicBezTo>
                          <a:pt x="1146" y="1229"/>
                          <a:pt x="1145" y="1278"/>
                          <a:pt x="1144" y="1316"/>
                        </a:cubicBezTo>
                        <a:cubicBezTo>
                          <a:pt x="1188" y="1289"/>
                          <a:pt x="1234" y="1255"/>
                          <a:pt x="1243" y="1228"/>
                        </a:cubicBezTo>
                        <a:cubicBezTo>
                          <a:pt x="1256" y="1191"/>
                          <a:pt x="1296" y="1139"/>
                          <a:pt x="1300" y="1106"/>
                        </a:cubicBezTo>
                        <a:cubicBezTo>
                          <a:pt x="1304" y="1073"/>
                          <a:pt x="1313" y="995"/>
                          <a:pt x="1339" y="995"/>
                        </a:cubicBezTo>
                        <a:cubicBezTo>
                          <a:pt x="1365" y="995"/>
                          <a:pt x="1392" y="1002"/>
                          <a:pt x="1409" y="1021"/>
                        </a:cubicBezTo>
                        <a:cubicBezTo>
                          <a:pt x="1427" y="1039"/>
                          <a:pt x="1440" y="1043"/>
                          <a:pt x="1470" y="1039"/>
                        </a:cubicBezTo>
                        <a:cubicBezTo>
                          <a:pt x="1501" y="1036"/>
                          <a:pt x="1492" y="1024"/>
                          <a:pt x="1515" y="1039"/>
                        </a:cubicBezTo>
                        <a:cubicBezTo>
                          <a:pt x="1537" y="1055"/>
                          <a:pt x="1544" y="1048"/>
                          <a:pt x="1552" y="1039"/>
                        </a:cubicBezTo>
                        <a:cubicBezTo>
                          <a:pt x="1560" y="1031"/>
                          <a:pt x="1580" y="1010"/>
                          <a:pt x="1595" y="1021"/>
                        </a:cubicBezTo>
                        <a:cubicBezTo>
                          <a:pt x="1610" y="1032"/>
                          <a:pt x="1639" y="1043"/>
                          <a:pt x="1647" y="1017"/>
                        </a:cubicBezTo>
                        <a:cubicBezTo>
                          <a:pt x="1655" y="991"/>
                          <a:pt x="1672" y="975"/>
                          <a:pt x="1649" y="960"/>
                        </a:cubicBezTo>
                        <a:cubicBezTo>
                          <a:pt x="1626" y="945"/>
                          <a:pt x="1587" y="936"/>
                          <a:pt x="1587" y="911"/>
                        </a:cubicBezTo>
                        <a:cubicBezTo>
                          <a:pt x="1587" y="886"/>
                          <a:pt x="1585" y="853"/>
                          <a:pt x="1613" y="854"/>
                        </a:cubicBezTo>
                        <a:cubicBezTo>
                          <a:pt x="1641" y="856"/>
                          <a:pt x="1657" y="863"/>
                          <a:pt x="1693" y="846"/>
                        </a:cubicBezTo>
                        <a:cubicBezTo>
                          <a:pt x="1729" y="829"/>
                          <a:pt x="1752" y="842"/>
                          <a:pt x="1773" y="802"/>
                        </a:cubicBezTo>
                        <a:cubicBezTo>
                          <a:pt x="1795" y="761"/>
                          <a:pt x="1777" y="722"/>
                          <a:pt x="1811" y="714"/>
                        </a:cubicBezTo>
                        <a:cubicBezTo>
                          <a:pt x="1845" y="706"/>
                          <a:pt x="1890" y="693"/>
                          <a:pt x="1881" y="667"/>
                        </a:cubicBezTo>
                        <a:cubicBezTo>
                          <a:pt x="1873" y="640"/>
                          <a:pt x="1859" y="604"/>
                          <a:pt x="1862" y="588"/>
                        </a:cubicBezTo>
                        <a:cubicBezTo>
                          <a:pt x="1865" y="571"/>
                          <a:pt x="1883" y="522"/>
                          <a:pt x="1922" y="546"/>
                        </a:cubicBezTo>
                        <a:cubicBezTo>
                          <a:pt x="1962" y="569"/>
                          <a:pt x="1937" y="586"/>
                          <a:pt x="1978" y="596"/>
                        </a:cubicBezTo>
                        <a:cubicBezTo>
                          <a:pt x="2019" y="606"/>
                          <a:pt x="1998" y="572"/>
                          <a:pt x="2034" y="553"/>
                        </a:cubicBezTo>
                        <a:cubicBezTo>
                          <a:pt x="2070" y="533"/>
                          <a:pt x="2127" y="526"/>
                          <a:pt x="2127" y="489"/>
                        </a:cubicBezTo>
                        <a:cubicBezTo>
                          <a:pt x="2127" y="451"/>
                          <a:pt x="2122" y="414"/>
                          <a:pt x="2114" y="37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0" name="Freeform 12">
                    <a:extLst>
                      <a:ext uri="{FF2B5EF4-FFF2-40B4-BE49-F238E27FC236}">
                        <a16:creationId xmlns:a16="http://schemas.microsoft.com/office/drawing/2014/main" id="{818AA904-F004-F52A-A39C-1F52141B4AE9}"/>
                      </a:ext>
                    </a:extLst>
                  </p:cNvPr>
                  <p:cNvSpPr>
                    <a:spLocks/>
                  </p:cNvSpPr>
                  <p:nvPr/>
                </p:nvSpPr>
                <p:spPr bwMode="auto">
                  <a:xfrm>
                    <a:off x="2375" y="68"/>
                    <a:ext cx="2536" cy="2030"/>
                  </a:xfrm>
                  <a:custGeom>
                    <a:avLst/>
                    <a:gdLst>
                      <a:gd name="T0" fmla="*/ 318 w 5477"/>
                      <a:gd name="T1" fmla="*/ 3541 h 4382"/>
                      <a:gd name="T2" fmla="*/ 498 w 5477"/>
                      <a:gd name="T3" fmla="*/ 3760 h 4382"/>
                      <a:gd name="T4" fmla="*/ 1096 w 5477"/>
                      <a:gd name="T5" fmla="*/ 4000 h 4382"/>
                      <a:gd name="T6" fmla="*/ 1349 w 5477"/>
                      <a:gd name="T7" fmla="*/ 4245 h 4382"/>
                      <a:gd name="T8" fmla="*/ 1817 w 5477"/>
                      <a:gd name="T9" fmla="*/ 4278 h 4382"/>
                      <a:gd name="T10" fmla="*/ 2000 w 5477"/>
                      <a:gd name="T11" fmla="*/ 3871 h 4382"/>
                      <a:gd name="T12" fmla="*/ 2166 w 5477"/>
                      <a:gd name="T13" fmla="*/ 4182 h 4382"/>
                      <a:gd name="T14" fmla="*/ 2516 w 5477"/>
                      <a:gd name="T15" fmla="*/ 4204 h 4382"/>
                      <a:gd name="T16" fmla="*/ 2765 w 5477"/>
                      <a:gd name="T17" fmla="*/ 3860 h 4382"/>
                      <a:gd name="T18" fmla="*/ 3057 w 5477"/>
                      <a:gd name="T19" fmla="*/ 3737 h 4382"/>
                      <a:gd name="T20" fmla="*/ 3385 w 5477"/>
                      <a:gd name="T21" fmla="*/ 3504 h 4382"/>
                      <a:gd name="T22" fmla="*/ 3547 w 5477"/>
                      <a:gd name="T23" fmla="*/ 3352 h 4382"/>
                      <a:gd name="T24" fmla="*/ 3625 w 5477"/>
                      <a:gd name="T25" fmla="*/ 3059 h 4382"/>
                      <a:gd name="T26" fmla="*/ 4005 w 5477"/>
                      <a:gd name="T27" fmla="*/ 3029 h 4382"/>
                      <a:gd name="T28" fmla="*/ 4237 w 5477"/>
                      <a:gd name="T29" fmla="*/ 2837 h 4382"/>
                      <a:gd name="T30" fmla="*/ 4477 w 5477"/>
                      <a:gd name="T31" fmla="*/ 3129 h 4382"/>
                      <a:gd name="T32" fmla="*/ 4647 w 5477"/>
                      <a:gd name="T33" fmla="*/ 2942 h 4382"/>
                      <a:gd name="T34" fmla="*/ 4802 w 5477"/>
                      <a:gd name="T35" fmla="*/ 2970 h 4382"/>
                      <a:gd name="T36" fmla="*/ 5062 w 5477"/>
                      <a:gd name="T37" fmla="*/ 2725 h 4382"/>
                      <a:gd name="T38" fmla="*/ 5344 w 5477"/>
                      <a:gd name="T39" fmla="*/ 2614 h 4382"/>
                      <a:gd name="T40" fmla="*/ 5397 w 5477"/>
                      <a:gd name="T41" fmla="*/ 2338 h 4382"/>
                      <a:gd name="T42" fmla="*/ 5110 w 5477"/>
                      <a:gd name="T43" fmla="*/ 2236 h 4382"/>
                      <a:gd name="T44" fmla="*/ 4988 w 5477"/>
                      <a:gd name="T45" fmla="*/ 1940 h 4382"/>
                      <a:gd name="T46" fmla="*/ 5106 w 5477"/>
                      <a:gd name="T47" fmla="*/ 1890 h 4382"/>
                      <a:gd name="T48" fmla="*/ 5222 w 5477"/>
                      <a:gd name="T49" fmla="*/ 1638 h 4382"/>
                      <a:gd name="T50" fmla="*/ 4988 w 5477"/>
                      <a:gd name="T51" fmla="*/ 1508 h 4382"/>
                      <a:gd name="T52" fmla="*/ 5270 w 5477"/>
                      <a:gd name="T53" fmla="*/ 1172 h 4382"/>
                      <a:gd name="T54" fmla="*/ 5370 w 5477"/>
                      <a:gd name="T55" fmla="*/ 932 h 4382"/>
                      <a:gd name="T56" fmla="*/ 5418 w 5477"/>
                      <a:gd name="T57" fmla="*/ 437 h 4382"/>
                      <a:gd name="T58" fmla="*/ 4861 w 5477"/>
                      <a:gd name="T59" fmla="*/ 466 h 4382"/>
                      <a:gd name="T60" fmla="*/ 4619 w 5477"/>
                      <a:gd name="T61" fmla="*/ 233 h 4382"/>
                      <a:gd name="T62" fmla="*/ 4445 w 5477"/>
                      <a:gd name="T63" fmla="*/ 0 h 4382"/>
                      <a:gd name="T64" fmla="*/ 4370 w 5477"/>
                      <a:gd name="T65" fmla="*/ 226 h 4382"/>
                      <a:gd name="T66" fmla="*/ 4303 w 5477"/>
                      <a:gd name="T67" fmla="*/ 541 h 4382"/>
                      <a:gd name="T68" fmla="*/ 4239 w 5477"/>
                      <a:gd name="T69" fmla="*/ 747 h 4382"/>
                      <a:gd name="T70" fmla="*/ 4144 w 5477"/>
                      <a:gd name="T71" fmla="*/ 957 h 4382"/>
                      <a:gd name="T72" fmla="*/ 3764 w 5477"/>
                      <a:gd name="T73" fmla="*/ 1100 h 4382"/>
                      <a:gd name="T74" fmla="*/ 3630 w 5477"/>
                      <a:gd name="T75" fmla="*/ 1506 h 4382"/>
                      <a:gd name="T76" fmla="*/ 3970 w 5477"/>
                      <a:gd name="T77" fmla="*/ 1564 h 4382"/>
                      <a:gd name="T78" fmla="*/ 4314 w 5477"/>
                      <a:gd name="T79" fmla="*/ 1498 h 4382"/>
                      <a:gd name="T80" fmla="*/ 4429 w 5477"/>
                      <a:gd name="T81" fmla="*/ 1778 h 4382"/>
                      <a:gd name="T82" fmla="*/ 4108 w 5477"/>
                      <a:gd name="T83" fmla="*/ 1831 h 4382"/>
                      <a:gd name="T84" fmla="*/ 3843 w 5477"/>
                      <a:gd name="T85" fmla="*/ 2098 h 4382"/>
                      <a:gd name="T86" fmla="*/ 3361 w 5477"/>
                      <a:gd name="T87" fmla="*/ 2387 h 4382"/>
                      <a:gd name="T88" fmla="*/ 2945 w 5477"/>
                      <a:gd name="T89" fmla="*/ 2498 h 4382"/>
                      <a:gd name="T90" fmla="*/ 2883 w 5477"/>
                      <a:gd name="T91" fmla="*/ 2807 h 4382"/>
                      <a:gd name="T92" fmla="*/ 2381 w 5477"/>
                      <a:gd name="T93" fmla="*/ 3068 h 4382"/>
                      <a:gd name="T94" fmla="*/ 1756 w 5477"/>
                      <a:gd name="T95" fmla="*/ 3241 h 4382"/>
                      <a:gd name="T96" fmla="*/ 1372 w 5477"/>
                      <a:gd name="T97" fmla="*/ 3280 h 4382"/>
                      <a:gd name="T98" fmla="*/ 753 w 5477"/>
                      <a:gd name="T99" fmla="*/ 3085 h 4382"/>
                      <a:gd name="T100" fmla="*/ 137 w 5477"/>
                      <a:gd name="T101" fmla="*/ 3043 h 4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77" h="4382">
                        <a:moveTo>
                          <a:pt x="26" y="3270"/>
                        </a:moveTo>
                        <a:cubicBezTo>
                          <a:pt x="0" y="3300"/>
                          <a:pt x="21" y="3322"/>
                          <a:pt x="21" y="3356"/>
                        </a:cubicBezTo>
                        <a:cubicBezTo>
                          <a:pt x="21" y="3389"/>
                          <a:pt x="61" y="3422"/>
                          <a:pt x="78" y="3459"/>
                        </a:cubicBezTo>
                        <a:cubicBezTo>
                          <a:pt x="96" y="3496"/>
                          <a:pt x="135" y="3519"/>
                          <a:pt x="187" y="3570"/>
                        </a:cubicBezTo>
                        <a:cubicBezTo>
                          <a:pt x="240" y="3622"/>
                          <a:pt x="292" y="3574"/>
                          <a:pt x="318" y="3541"/>
                        </a:cubicBezTo>
                        <a:cubicBezTo>
                          <a:pt x="345" y="3507"/>
                          <a:pt x="349" y="3500"/>
                          <a:pt x="375" y="3493"/>
                        </a:cubicBezTo>
                        <a:cubicBezTo>
                          <a:pt x="401" y="3485"/>
                          <a:pt x="546" y="3485"/>
                          <a:pt x="607" y="3507"/>
                        </a:cubicBezTo>
                        <a:cubicBezTo>
                          <a:pt x="668" y="3530"/>
                          <a:pt x="659" y="3567"/>
                          <a:pt x="655" y="3608"/>
                        </a:cubicBezTo>
                        <a:cubicBezTo>
                          <a:pt x="650" y="3648"/>
                          <a:pt x="607" y="3656"/>
                          <a:pt x="572" y="3667"/>
                        </a:cubicBezTo>
                        <a:cubicBezTo>
                          <a:pt x="537" y="3678"/>
                          <a:pt x="502" y="3741"/>
                          <a:pt x="498" y="3760"/>
                        </a:cubicBezTo>
                        <a:cubicBezTo>
                          <a:pt x="493" y="3778"/>
                          <a:pt x="581" y="3789"/>
                          <a:pt x="616" y="3826"/>
                        </a:cubicBezTo>
                        <a:cubicBezTo>
                          <a:pt x="650" y="3863"/>
                          <a:pt x="672" y="3848"/>
                          <a:pt x="720" y="3848"/>
                        </a:cubicBezTo>
                        <a:cubicBezTo>
                          <a:pt x="768" y="3848"/>
                          <a:pt x="733" y="3926"/>
                          <a:pt x="764" y="3963"/>
                        </a:cubicBezTo>
                        <a:cubicBezTo>
                          <a:pt x="795" y="4000"/>
                          <a:pt x="830" y="3982"/>
                          <a:pt x="891" y="4012"/>
                        </a:cubicBezTo>
                        <a:cubicBezTo>
                          <a:pt x="952" y="4041"/>
                          <a:pt x="1026" y="4015"/>
                          <a:pt x="1096" y="4000"/>
                        </a:cubicBezTo>
                        <a:cubicBezTo>
                          <a:pt x="1166" y="3986"/>
                          <a:pt x="1231" y="3904"/>
                          <a:pt x="1271" y="3871"/>
                        </a:cubicBezTo>
                        <a:cubicBezTo>
                          <a:pt x="1310" y="3837"/>
                          <a:pt x="1393" y="3874"/>
                          <a:pt x="1437" y="3904"/>
                        </a:cubicBezTo>
                        <a:cubicBezTo>
                          <a:pt x="1480" y="3934"/>
                          <a:pt x="1480" y="3974"/>
                          <a:pt x="1476" y="4034"/>
                        </a:cubicBezTo>
                        <a:cubicBezTo>
                          <a:pt x="1472" y="4093"/>
                          <a:pt x="1428" y="4119"/>
                          <a:pt x="1380" y="4134"/>
                        </a:cubicBezTo>
                        <a:cubicBezTo>
                          <a:pt x="1332" y="4149"/>
                          <a:pt x="1362" y="4201"/>
                          <a:pt x="1349" y="4245"/>
                        </a:cubicBezTo>
                        <a:cubicBezTo>
                          <a:pt x="1336" y="4290"/>
                          <a:pt x="1380" y="4293"/>
                          <a:pt x="1419" y="4323"/>
                        </a:cubicBezTo>
                        <a:cubicBezTo>
                          <a:pt x="1459" y="4353"/>
                          <a:pt x="1459" y="4382"/>
                          <a:pt x="1502" y="4375"/>
                        </a:cubicBezTo>
                        <a:cubicBezTo>
                          <a:pt x="1546" y="4367"/>
                          <a:pt x="1528" y="4330"/>
                          <a:pt x="1581" y="4345"/>
                        </a:cubicBezTo>
                        <a:cubicBezTo>
                          <a:pt x="1633" y="4360"/>
                          <a:pt x="1690" y="4315"/>
                          <a:pt x="1708" y="4282"/>
                        </a:cubicBezTo>
                        <a:cubicBezTo>
                          <a:pt x="1725" y="4249"/>
                          <a:pt x="1764" y="4282"/>
                          <a:pt x="1817" y="4278"/>
                        </a:cubicBezTo>
                        <a:cubicBezTo>
                          <a:pt x="1869" y="4275"/>
                          <a:pt x="1852" y="4208"/>
                          <a:pt x="1830" y="4197"/>
                        </a:cubicBezTo>
                        <a:cubicBezTo>
                          <a:pt x="1808" y="4186"/>
                          <a:pt x="1830" y="4138"/>
                          <a:pt x="1856" y="4112"/>
                        </a:cubicBezTo>
                        <a:cubicBezTo>
                          <a:pt x="1882" y="4086"/>
                          <a:pt x="1860" y="4037"/>
                          <a:pt x="1856" y="4004"/>
                        </a:cubicBezTo>
                        <a:cubicBezTo>
                          <a:pt x="1852" y="3971"/>
                          <a:pt x="1887" y="3960"/>
                          <a:pt x="1913" y="3923"/>
                        </a:cubicBezTo>
                        <a:cubicBezTo>
                          <a:pt x="1939" y="3886"/>
                          <a:pt x="1974" y="3889"/>
                          <a:pt x="2000" y="3871"/>
                        </a:cubicBezTo>
                        <a:cubicBezTo>
                          <a:pt x="2026" y="3852"/>
                          <a:pt x="2044" y="3889"/>
                          <a:pt x="2061" y="3904"/>
                        </a:cubicBezTo>
                        <a:cubicBezTo>
                          <a:pt x="2079" y="3919"/>
                          <a:pt x="2101" y="3949"/>
                          <a:pt x="2088" y="3978"/>
                        </a:cubicBezTo>
                        <a:cubicBezTo>
                          <a:pt x="2075" y="4008"/>
                          <a:pt x="2048" y="4023"/>
                          <a:pt x="2022" y="4049"/>
                        </a:cubicBezTo>
                        <a:cubicBezTo>
                          <a:pt x="1996" y="4075"/>
                          <a:pt x="2000" y="4134"/>
                          <a:pt x="2040" y="4160"/>
                        </a:cubicBezTo>
                        <a:cubicBezTo>
                          <a:pt x="2079" y="4186"/>
                          <a:pt x="2092" y="4160"/>
                          <a:pt x="2166" y="4182"/>
                        </a:cubicBezTo>
                        <a:cubicBezTo>
                          <a:pt x="2240" y="4204"/>
                          <a:pt x="2223" y="4252"/>
                          <a:pt x="2249" y="4252"/>
                        </a:cubicBezTo>
                        <a:cubicBezTo>
                          <a:pt x="2275" y="4252"/>
                          <a:pt x="2323" y="4264"/>
                          <a:pt x="2341" y="4241"/>
                        </a:cubicBezTo>
                        <a:cubicBezTo>
                          <a:pt x="2358" y="4219"/>
                          <a:pt x="2389" y="4252"/>
                          <a:pt x="2415" y="4278"/>
                        </a:cubicBezTo>
                        <a:cubicBezTo>
                          <a:pt x="2441" y="4304"/>
                          <a:pt x="2463" y="4256"/>
                          <a:pt x="2494" y="4256"/>
                        </a:cubicBezTo>
                        <a:cubicBezTo>
                          <a:pt x="2524" y="4256"/>
                          <a:pt x="2516" y="4241"/>
                          <a:pt x="2516" y="4204"/>
                        </a:cubicBezTo>
                        <a:cubicBezTo>
                          <a:pt x="2516" y="4167"/>
                          <a:pt x="2546" y="4156"/>
                          <a:pt x="2564" y="4130"/>
                        </a:cubicBezTo>
                        <a:cubicBezTo>
                          <a:pt x="2581" y="4104"/>
                          <a:pt x="2616" y="4082"/>
                          <a:pt x="2629" y="4052"/>
                        </a:cubicBezTo>
                        <a:cubicBezTo>
                          <a:pt x="2642" y="4023"/>
                          <a:pt x="2629" y="4023"/>
                          <a:pt x="2699" y="4015"/>
                        </a:cubicBezTo>
                        <a:cubicBezTo>
                          <a:pt x="2769" y="4008"/>
                          <a:pt x="2712" y="3960"/>
                          <a:pt x="2708" y="3923"/>
                        </a:cubicBezTo>
                        <a:cubicBezTo>
                          <a:pt x="2704" y="3886"/>
                          <a:pt x="2738" y="3882"/>
                          <a:pt x="2765" y="3860"/>
                        </a:cubicBezTo>
                        <a:cubicBezTo>
                          <a:pt x="2791" y="3837"/>
                          <a:pt x="2782" y="3823"/>
                          <a:pt x="2782" y="3797"/>
                        </a:cubicBezTo>
                        <a:cubicBezTo>
                          <a:pt x="2782" y="3771"/>
                          <a:pt x="2839" y="3811"/>
                          <a:pt x="2861" y="3826"/>
                        </a:cubicBezTo>
                        <a:cubicBezTo>
                          <a:pt x="2883" y="3841"/>
                          <a:pt x="2904" y="3830"/>
                          <a:pt x="2939" y="3774"/>
                        </a:cubicBezTo>
                        <a:cubicBezTo>
                          <a:pt x="2974" y="3719"/>
                          <a:pt x="2974" y="3774"/>
                          <a:pt x="3018" y="3793"/>
                        </a:cubicBezTo>
                        <a:cubicBezTo>
                          <a:pt x="3062" y="3811"/>
                          <a:pt x="3057" y="3774"/>
                          <a:pt x="3057" y="3737"/>
                        </a:cubicBezTo>
                        <a:cubicBezTo>
                          <a:pt x="3057" y="3700"/>
                          <a:pt x="3097" y="3726"/>
                          <a:pt x="3110" y="3734"/>
                        </a:cubicBezTo>
                        <a:cubicBezTo>
                          <a:pt x="3123" y="3741"/>
                          <a:pt x="3153" y="3722"/>
                          <a:pt x="3162" y="3697"/>
                        </a:cubicBezTo>
                        <a:cubicBezTo>
                          <a:pt x="3171" y="3671"/>
                          <a:pt x="3197" y="3589"/>
                          <a:pt x="3215" y="3563"/>
                        </a:cubicBezTo>
                        <a:cubicBezTo>
                          <a:pt x="3232" y="3537"/>
                          <a:pt x="3284" y="3548"/>
                          <a:pt x="3319" y="3563"/>
                        </a:cubicBezTo>
                        <a:cubicBezTo>
                          <a:pt x="3354" y="3578"/>
                          <a:pt x="3372" y="3530"/>
                          <a:pt x="3385" y="3504"/>
                        </a:cubicBezTo>
                        <a:cubicBezTo>
                          <a:pt x="3398" y="3478"/>
                          <a:pt x="3420" y="3500"/>
                          <a:pt x="3442" y="3519"/>
                        </a:cubicBezTo>
                        <a:cubicBezTo>
                          <a:pt x="3464" y="3537"/>
                          <a:pt x="3499" y="3515"/>
                          <a:pt x="3503" y="3489"/>
                        </a:cubicBezTo>
                        <a:cubicBezTo>
                          <a:pt x="3507" y="3463"/>
                          <a:pt x="3542" y="3478"/>
                          <a:pt x="3577" y="3470"/>
                        </a:cubicBezTo>
                        <a:cubicBezTo>
                          <a:pt x="3612" y="3463"/>
                          <a:pt x="3590" y="3411"/>
                          <a:pt x="3595" y="3396"/>
                        </a:cubicBezTo>
                        <a:cubicBezTo>
                          <a:pt x="3599" y="3381"/>
                          <a:pt x="3564" y="3381"/>
                          <a:pt x="3547" y="3352"/>
                        </a:cubicBezTo>
                        <a:cubicBezTo>
                          <a:pt x="3529" y="3322"/>
                          <a:pt x="3516" y="3311"/>
                          <a:pt x="3538" y="3300"/>
                        </a:cubicBezTo>
                        <a:cubicBezTo>
                          <a:pt x="3560" y="3289"/>
                          <a:pt x="3533" y="3270"/>
                          <a:pt x="3538" y="3233"/>
                        </a:cubicBezTo>
                        <a:cubicBezTo>
                          <a:pt x="3542" y="3196"/>
                          <a:pt x="3538" y="3189"/>
                          <a:pt x="3555" y="3185"/>
                        </a:cubicBezTo>
                        <a:cubicBezTo>
                          <a:pt x="3573" y="3181"/>
                          <a:pt x="3590" y="3159"/>
                          <a:pt x="3590" y="3129"/>
                        </a:cubicBezTo>
                        <a:cubicBezTo>
                          <a:pt x="3590" y="3100"/>
                          <a:pt x="3595" y="3089"/>
                          <a:pt x="3625" y="3059"/>
                        </a:cubicBezTo>
                        <a:cubicBezTo>
                          <a:pt x="3656" y="3029"/>
                          <a:pt x="3678" y="3026"/>
                          <a:pt x="3708" y="3048"/>
                        </a:cubicBezTo>
                        <a:cubicBezTo>
                          <a:pt x="3739" y="3070"/>
                          <a:pt x="3699" y="3129"/>
                          <a:pt x="3739" y="3166"/>
                        </a:cubicBezTo>
                        <a:cubicBezTo>
                          <a:pt x="3778" y="3204"/>
                          <a:pt x="3826" y="3118"/>
                          <a:pt x="3857" y="3085"/>
                        </a:cubicBezTo>
                        <a:cubicBezTo>
                          <a:pt x="3887" y="3052"/>
                          <a:pt x="3909" y="3048"/>
                          <a:pt x="3935" y="3070"/>
                        </a:cubicBezTo>
                        <a:cubicBezTo>
                          <a:pt x="3962" y="3092"/>
                          <a:pt x="3979" y="3066"/>
                          <a:pt x="4005" y="3029"/>
                        </a:cubicBezTo>
                        <a:cubicBezTo>
                          <a:pt x="4031" y="2992"/>
                          <a:pt x="4058" y="3018"/>
                          <a:pt x="4084" y="3033"/>
                        </a:cubicBezTo>
                        <a:cubicBezTo>
                          <a:pt x="4110" y="3048"/>
                          <a:pt x="4123" y="3018"/>
                          <a:pt x="4119" y="2996"/>
                        </a:cubicBezTo>
                        <a:cubicBezTo>
                          <a:pt x="4114" y="2974"/>
                          <a:pt x="4097" y="2959"/>
                          <a:pt x="4093" y="2929"/>
                        </a:cubicBezTo>
                        <a:cubicBezTo>
                          <a:pt x="4088" y="2900"/>
                          <a:pt x="4119" y="2885"/>
                          <a:pt x="4184" y="2870"/>
                        </a:cubicBezTo>
                        <a:cubicBezTo>
                          <a:pt x="4250" y="2855"/>
                          <a:pt x="4184" y="2870"/>
                          <a:pt x="4237" y="2837"/>
                        </a:cubicBezTo>
                        <a:cubicBezTo>
                          <a:pt x="4289" y="2803"/>
                          <a:pt x="4311" y="2855"/>
                          <a:pt x="4311" y="2855"/>
                        </a:cubicBezTo>
                        <a:cubicBezTo>
                          <a:pt x="4311" y="2855"/>
                          <a:pt x="4350" y="2914"/>
                          <a:pt x="4377" y="2929"/>
                        </a:cubicBezTo>
                        <a:cubicBezTo>
                          <a:pt x="4403" y="2944"/>
                          <a:pt x="4394" y="2959"/>
                          <a:pt x="4394" y="2992"/>
                        </a:cubicBezTo>
                        <a:cubicBezTo>
                          <a:pt x="4394" y="3026"/>
                          <a:pt x="4394" y="3037"/>
                          <a:pt x="4425" y="3052"/>
                        </a:cubicBezTo>
                        <a:cubicBezTo>
                          <a:pt x="4455" y="3066"/>
                          <a:pt x="4442" y="3103"/>
                          <a:pt x="4477" y="3129"/>
                        </a:cubicBezTo>
                        <a:cubicBezTo>
                          <a:pt x="4512" y="3155"/>
                          <a:pt x="4543" y="3129"/>
                          <a:pt x="4582" y="3129"/>
                        </a:cubicBezTo>
                        <a:cubicBezTo>
                          <a:pt x="4599" y="3129"/>
                          <a:pt x="4627" y="3126"/>
                          <a:pt x="4652" y="3122"/>
                        </a:cubicBezTo>
                        <a:cubicBezTo>
                          <a:pt x="4659" y="3111"/>
                          <a:pt x="4668" y="3101"/>
                          <a:pt x="4676" y="3092"/>
                        </a:cubicBezTo>
                        <a:cubicBezTo>
                          <a:pt x="4698" y="3068"/>
                          <a:pt x="4687" y="3053"/>
                          <a:pt x="4663" y="3020"/>
                        </a:cubicBezTo>
                        <a:cubicBezTo>
                          <a:pt x="4639" y="2987"/>
                          <a:pt x="4647" y="2959"/>
                          <a:pt x="4647" y="2942"/>
                        </a:cubicBezTo>
                        <a:cubicBezTo>
                          <a:pt x="4647" y="2926"/>
                          <a:pt x="4656" y="2916"/>
                          <a:pt x="4630" y="2903"/>
                        </a:cubicBezTo>
                        <a:cubicBezTo>
                          <a:pt x="4604" y="2890"/>
                          <a:pt x="4628" y="2870"/>
                          <a:pt x="4634" y="2855"/>
                        </a:cubicBezTo>
                        <a:cubicBezTo>
                          <a:pt x="4641" y="2840"/>
                          <a:pt x="4658" y="2822"/>
                          <a:pt x="4676" y="2848"/>
                        </a:cubicBezTo>
                        <a:cubicBezTo>
                          <a:pt x="4693" y="2874"/>
                          <a:pt x="4717" y="2863"/>
                          <a:pt x="4748" y="2892"/>
                        </a:cubicBezTo>
                        <a:cubicBezTo>
                          <a:pt x="4778" y="2922"/>
                          <a:pt x="4776" y="2933"/>
                          <a:pt x="4802" y="2970"/>
                        </a:cubicBezTo>
                        <a:cubicBezTo>
                          <a:pt x="4829" y="3007"/>
                          <a:pt x="4853" y="2933"/>
                          <a:pt x="4859" y="2907"/>
                        </a:cubicBezTo>
                        <a:cubicBezTo>
                          <a:pt x="4866" y="2881"/>
                          <a:pt x="4907" y="2851"/>
                          <a:pt x="4925" y="2831"/>
                        </a:cubicBezTo>
                        <a:cubicBezTo>
                          <a:pt x="4942" y="2811"/>
                          <a:pt x="4953" y="2814"/>
                          <a:pt x="4982" y="2801"/>
                        </a:cubicBezTo>
                        <a:cubicBezTo>
                          <a:pt x="5010" y="2788"/>
                          <a:pt x="5019" y="2766"/>
                          <a:pt x="5023" y="2742"/>
                        </a:cubicBezTo>
                        <a:cubicBezTo>
                          <a:pt x="5027" y="2718"/>
                          <a:pt x="5043" y="2725"/>
                          <a:pt x="5062" y="2725"/>
                        </a:cubicBezTo>
                        <a:cubicBezTo>
                          <a:pt x="5082" y="2725"/>
                          <a:pt x="5106" y="2735"/>
                          <a:pt x="5126" y="2703"/>
                        </a:cubicBezTo>
                        <a:cubicBezTo>
                          <a:pt x="5145" y="2672"/>
                          <a:pt x="5167" y="2711"/>
                          <a:pt x="5209" y="2714"/>
                        </a:cubicBezTo>
                        <a:cubicBezTo>
                          <a:pt x="5250" y="2718"/>
                          <a:pt x="5231" y="2631"/>
                          <a:pt x="5237" y="2614"/>
                        </a:cubicBezTo>
                        <a:cubicBezTo>
                          <a:pt x="5244" y="2598"/>
                          <a:pt x="5272" y="2614"/>
                          <a:pt x="5287" y="2623"/>
                        </a:cubicBezTo>
                        <a:cubicBezTo>
                          <a:pt x="5303" y="2633"/>
                          <a:pt x="5322" y="2620"/>
                          <a:pt x="5344" y="2614"/>
                        </a:cubicBezTo>
                        <a:cubicBezTo>
                          <a:pt x="5366" y="2609"/>
                          <a:pt x="5386" y="2590"/>
                          <a:pt x="5386" y="2559"/>
                        </a:cubicBezTo>
                        <a:cubicBezTo>
                          <a:pt x="5386" y="2527"/>
                          <a:pt x="5407" y="2536"/>
                          <a:pt x="5442" y="2514"/>
                        </a:cubicBezTo>
                        <a:cubicBezTo>
                          <a:pt x="5477" y="2492"/>
                          <a:pt x="5464" y="2468"/>
                          <a:pt x="5460" y="2444"/>
                        </a:cubicBezTo>
                        <a:cubicBezTo>
                          <a:pt x="5455" y="2420"/>
                          <a:pt x="5427" y="2440"/>
                          <a:pt x="5407" y="2431"/>
                        </a:cubicBezTo>
                        <a:cubicBezTo>
                          <a:pt x="5388" y="2422"/>
                          <a:pt x="5410" y="2368"/>
                          <a:pt x="5397" y="2338"/>
                        </a:cubicBezTo>
                        <a:cubicBezTo>
                          <a:pt x="5383" y="2308"/>
                          <a:pt x="5357" y="2303"/>
                          <a:pt x="5353" y="2268"/>
                        </a:cubicBezTo>
                        <a:cubicBezTo>
                          <a:pt x="5348" y="2232"/>
                          <a:pt x="5296" y="2223"/>
                          <a:pt x="5289" y="2194"/>
                        </a:cubicBezTo>
                        <a:cubicBezTo>
                          <a:pt x="5283" y="2164"/>
                          <a:pt x="5248" y="2194"/>
                          <a:pt x="5237" y="2216"/>
                        </a:cubicBezTo>
                        <a:cubicBezTo>
                          <a:pt x="5226" y="2238"/>
                          <a:pt x="5191" y="2245"/>
                          <a:pt x="5156" y="2270"/>
                        </a:cubicBezTo>
                        <a:cubicBezTo>
                          <a:pt x="5121" y="2294"/>
                          <a:pt x="5117" y="2270"/>
                          <a:pt x="5110" y="2236"/>
                        </a:cubicBezTo>
                        <a:cubicBezTo>
                          <a:pt x="5104" y="2203"/>
                          <a:pt x="5075" y="2199"/>
                          <a:pt x="5065" y="2179"/>
                        </a:cubicBezTo>
                        <a:cubicBezTo>
                          <a:pt x="5054" y="2158"/>
                          <a:pt x="5043" y="2149"/>
                          <a:pt x="5032" y="2121"/>
                        </a:cubicBezTo>
                        <a:cubicBezTo>
                          <a:pt x="5021" y="2093"/>
                          <a:pt x="5060" y="2042"/>
                          <a:pt x="5062" y="2017"/>
                        </a:cubicBezTo>
                        <a:cubicBezTo>
                          <a:pt x="5065" y="1993"/>
                          <a:pt x="5043" y="1990"/>
                          <a:pt x="5019" y="1979"/>
                        </a:cubicBezTo>
                        <a:cubicBezTo>
                          <a:pt x="4995" y="1967"/>
                          <a:pt x="4992" y="1967"/>
                          <a:pt x="4988" y="1940"/>
                        </a:cubicBezTo>
                        <a:cubicBezTo>
                          <a:pt x="4984" y="1912"/>
                          <a:pt x="4955" y="1938"/>
                          <a:pt x="4920" y="1927"/>
                        </a:cubicBezTo>
                        <a:cubicBezTo>
                          <a:pt x="4885" y="1916"/>
                          <a:pt x="4940" y="1862"/>
                          <a:pt x="4949" y="1847"/>
                        </a:cubicBezTo>
                        <a:cubicBezTo>
                          <a:pt x="4958" y="1832"/>
                          <a:pt x="4975" y="1858"/>
                          <a:pt x="5001" y="1871"/>
                        </a:cubicBezTo>
                        <a:cubicBezTo>
                          <a:pt x="5027" y="1884"/>
                          <a:pt x="5025" y="1877"/>
                          <a:pt x="5045" y="1858"/>
                        </a:cubicBezTo>
                        <a:cubicBezTo>
                          <a:pt x="5065" y="1840"/>
                          <a:pt x="5062" y="1866"/>
                          <a:pt x="5106" y="1890"/>
                        </a:cubicBezTo>
                        <a:cubicBezTo>
                          <a:pt x="5150" y="1914"/>
                          <a:pt x="5132" y="1849"/>
                          <a:pt x="5130" y="1815"/>
                        </a:cubicBezTo>
                        <a:cubicBezTo>
                          <a:pt x="5128" y="1782"/>
                          <a:pt x="5156" y="1790"/>
                          <a:pt x="5172" y="1765"/>
                        </a:cubicBezTo>
                        <a:cubicBezTo>
                          <a:pt x="5187" y="1741"/>
                          <a:pt x="5152" y="1741"/>
                          <a:pt x="5137" y="1727"/>
                        </a:cubicBezTo>
                        <a:cubicBezTo>
                          <a:pt x="5121" y="1712"/>
                          <a:pt x="5132" y="1684"/>
                          <a:pt x="5139" y="1662"/>
                        </a:cubicBezTo>
                        <a:cubicBezTo>
                          <a:pt x="5145" y="1639"/>
                          <a:pt x="5200" y="1645"/>
                          <a:pt x="5222" y="1638"/>
                        </a:cubicBezTo>
                        <a:cubicBezTo>
                          <a:pt x="5244" y="1630"/>
                          <a:pt x="5252" y="1608"/>
                          <a:pt x="5252" y="1591"/>
                        </a:cubicBezTo>
                        <a:cubicBezTo>
                          <a:pt x="5252" y="1575"/>
                          <a:pt x="5246" y="1576"/>
                          <a:pt x="5215" y="1595"/>
                        </a:cubicBezTo>
                        <a:cubicBezTo>
                          <a:pt x="5185" y="1613"/>
                          <a:pt x="5178" y="1602"/>
                          <a:pt x="5130" y="1593"/>
                        </a:cubicBezTo>
                        <a:cubicBezTo>
                          <a:pt x="5082" y="1584"/>
                          <a:pt x="5084" y="1576"/>
                          <a:pt x="5067" y="1562"/>
                        </a:cubicBezTo>
                        <a:cubicBezTo>
                          <a:pt x="5049" y="1547"/>
                          <a:pt x="5006" y="1528"/>
                          <a:pt x="4988" y="1508"/>
                        </a:cubicBezTo>
                        <a:cubicBezTo>
                          <a:pt x="4971" y="1487"/>
                          <a:pt x="4990" y="1445"/>
                          <a:pt x="5014" y="1426"/>
                        </a:cubicBezTo>
                        <a:cubicBezTo>
                          <a:pt x="5038" y="1408"/>
                          <a:pt x="5056" y="1378"/>
                          <a:pt x="5075" y="1347"/>
                        </a:cubicBezTo>
                        <a:cubicBezTo>
                          <a:pt x="5095" y="1315"/>
                          <a:pt x="5145" y="1267"/>
                          <a:pt x="5180" y="1228"/>
                        </a:cubicBezTo>
                        <a:cubicBezTo>
                          <a:pt x="5215" y="1189"/>
                          <a:pt x="5217" y="1161"/>
                          <a:pt x="5244" y="1132"/>
                        </a:cubicBezTo>
                        <a:cubicBezTo>
                          <a:pt x="5270" y="1102"/>
                          <a:pt x="5263" y="1146"/>
                          <a:pt x="5270" y="1172"/>
                        </a:cubicBezTo>
                        <a:cubicBezTo>
                          <a:pt x="5276" y="1198"/>
                          <a:pt x="5298" y="1208"/>
                          <a:pt x="5320" y="1219"/>
                        </a:cubicBezTo>
                        <a:cubicBezTo>
                          <a:pt x="5342" y="1230"/>
                          <a:pt x="5335" y="1172"/>
                          <a:pt x="5320" y="1152"/>
                        </a:cubicBezTo>
                        <a:cubicBezTo>
                          <a:pt x="5305" y="1132"/>
                          <a:pt x="5309" y="1096"/>
                          <a:pt x="5305" y="1067"/>
                        </a:cubicBezTo>
                        <a:cubicBezTo>
                          <a:pt x="5300" y="1037"/>
                          <a:pt x="5320" y="1006"/>
                          <a:pt x="5320" y="982"/>
                        </a:cubicBezTo>
                        <a:cubicBezTo>
                          <a:pt x="5320" y="957"/>
                          <a:pt x="5342" y="950"/>
                          <a:pt x="5370" y="932"/>
                        </a:cubicBezTo>
                        <a:cubicBezTo>
                          <a:pt x="5399" y="913"/>
                          <a:pt x="5388" y="839"/>
                          <a:pt x="5364" y="811"/>
                        </a:cubicBezTo>
                        <a:cubicBezTo>
                          <a:pt x="5340" y="783"/>
                          <a:pt x="5351" y="737"/>
                          <a:pt x="5346" y="694"/>
                        </a:cubicBezTo>
                        <a:cubicBezTo>
                          <a:pt x="5342" y="652"/>
                          <a:pt x="5366" y="605"/>
                          <a:pt x="5379" y="587"/>
                        </a:cubicBezTo>
                        <a:cubicBezTo>
                          <a:pt x="5392" y="568"/>
                          <a:pt x="5407" y="539"/>
                          <a:pt x="5390" y="511"/>
                        </a:cubicBezTo>
                        <a:cubicBezTo>
                          <a:pt x="5372" y="483"/>
                          <a:pt x="5421" y="465"/>
                          <a:pt x="5418" y="437"/>
                        </a:cubicBezTo>
                        <a:cubicBezTo>
                          <a:pt x="5416" y="409"/>
                          <a:pt x="5370" y="400"/>
                          <a:pt x="5329" y="368"/>
                        </a:cubicBezTo>
                        <a:cubicBezTo>
                          <a:pt x="5287" y="337"/>
                          <a:pt x="5314" y="322"/>
                          <a:pt x="5248" y="316"/>
                        </a:cubicBezTo>
                        <a:cubicBezTo>
                          <a:pt x="5182" y="311"/>
                          <a:pt x="5189" y="366"/>
                          <a:pt x="5150" y="405"/>
                        </a:cubicBezTo>
                        <a:cubicBezTo>
                          <a:pt x="5110" y="444"/>
                          <a:pt x="5084" y="427"/>
                          <a:pt x="5032" y="439"/>
                        </a:cubicBezTo>
                        <a:cubicBezTo>
                          <a:pt x="4979" y="450"/>
                          <a:pt x="4914" y="472"/>
                          <a:pt x="4861" y="466"/>
                        </a:cubicBezTo>
                        <a:cubicBezTo>
                          <a:pt x="4809" y="461"/>
                          <a:pt x="4783" y="422"/>
                          <a:pt x="4776" y="389"/>
                        </a:cubicBezTo>
                        <a:cubicBezTo>
                          <a:pt x="4770" y="355"/>
                          <a:pt x="4757" y="316"/>
                          <a:pt x="4757" y="266"/>
                        </a:cubicBezTo>
                        <a:cubicBezTo>
                          <a:pt x="4757" y="216"/>
                          <a:pt x="4743" y="238"/>
                          <a:pt x="4717" y="238"/>
                        </a:cubicBezTo>
                        <a:cubicBezTo>
                          <a:pt x="4691" y="238"/>
                          <a:pt x="4684" y="227"/>
                          <a:pt x="4665" y="199"/>
                        </a:cubicBezTo>
                        <a:cubicBezTo>
                          <a:pt x="4645" y="172"/>
                          <a:pt x="4619" y="199"/>
                          <a:pt x="4619" y="233"/>
                        </a:cubicBezTo>
                        <a:cubicBezTo>
                          <a:pt x="4619" y="266"/>
                          <a:pt x="4599" y="283"/>
                          <a:pt x="4573" y="250"/>
                        </a:cubicBezTo>
                        <a:cubicBezTo>
                          <a:pt x="4547" y="216"/>
                          <a:pt x="4540" y="227"/>
                          <a:pt x="4475" y="216"/>
                        </a:cubicBezTo>
                        <a:cubicBezTo>
                          <a:pt x="4409" y="205"/>
                          <a:pt x="4475" y="149"/>
                          <a:pt x="4508" y="111"/>
                        </a:cubicBezTo>
                        <a:cubicBezTo>
                          <a:pt x="4540" y="72"/>
                          <a:pt x="4514" y="61"/>
                          <a:pt x="4475" y="33"/>
                        </a:cubicBezTo>
                        <a:cubicBezTo>
                          <a:pt x="4464" y="25"/>
                          <a:pt x="4454" y="13"/>
                          <a:pt x="4445" y="0"/>
                        </a:cubicBezTo>
                        <a:cubicBezTo>
                          <a:pt x="4418" y="4"/>
                          <a:pt x="4389" y="5"/>
                          <a:pt x="4375" y="22"/>
                        </a:cubicBezTo>
                        <a:cubicBezTo>
                          <a:pt x="4355" y="44"/>
                          <a:pt x="4301" y="126"/>
                          <a:pt x="4280" y="147"/>
                        </a:cubicBezTo>
                        <a:cubicBezTo>
                          <a:pt x="4259" y="168"/>
                          <a:pt x="4231" y="179"/>
                          <a:pt x="4242" y="201"/>
                        </a:cubicBezTo>
                        <a:cubicBezTo>
                          <a:pt x="4254" y="223"/>
                          <a:pt x="4270" y="241"/>
                          <a:pt x="4291" y="226"/>
                        </a:cubicBezTo>
                        <a:cubicBezTo>
                          <a:pt x="4313" y="211"/>
                          <a:pt x="4360" y="198"/>
                          <a:pt x="4370" y="226"/>
                        </a:cubicBezTo>
                        <a:cubicBezTo>
                          <a:pt x="4380" y="254"/>
                          <a:pt x="4370" y="248"/>
                          <a:pt x="4372" y="269"/>
                        </a:cubicBezTo>
                        <a:cubicBezTo>
                          <a:pt x="4373" y="290"/>
                          <a:pt x="4399" y="291"/>
                          <a:pt x="4408" y="315"/>
                        </a:cubicBezTo>
                        <a:cubicBezTo>
                          <a:pt x="4416" y="338"/>
                          <a:pt x="4409" y="376"/>
                          <a:pt x="4396" y="393"/>
                        </a:cubicBezTo>
                        <a:cubicBezTo>
                          <a:pt x="4383" y="409"/>
                          <a:pt x="4332" y="437"/>
                          <a:pt x="4319" y="465"/>
                        </a:cubicBezTo>
                        <a:cubicBezTo>
                          <a:pt x="4306" y="493"/>
                          <a:pt x="4301" y="528"/>
                          <a:pt x="4303" y="541"/>
                        </a:cubicBezTo>
                        <a:cubicBezTo>
                          <a:pt x="4304" y="555"/>
                          <a:pt x="4303" y="565"/>
                          <a:pt x="4288" y="573"/>
                        </a:cubicBezTo>
                        <a:cubicBezTo>
                          <a:pt x="4273" y="582"/>
                          <a:pt x="4270" y="594"/>
                          <a:pt x="4277" y="615"/>
                        </a:cubicBezTo>
                        <a:cubicBezTo>
                          <a:pt x="4283" y="636"/>
                          <a:pt x="4277" y="644"/>
                          <a:pt x="4264" y="655"/>
                        </a:cubicBezTo>
                        <a:cubicBezTo>
                          <a:pt x="4250" y="667"/>
                          <a:pt x="4249" y="673"/>
                          <a:pt x="4254" y="696"/>
                        </a:cubicBezTo>
                        <a:cubicBezTo>
                          <a:pt x="4259" y="718"/>
                          <a:pt x="4254" y="730"/>
                          <a:pt x="4239" y="747"/>
                        </a:cubicBezTo>
                        <a:cubicBezTo>
                          <a:pt x="4224" y="764"/>
                          <a:pt x="4209" y="780"/>
                          <a:pt x="4211" y="799"/>
                        </a:cubicBezTo>
                        <a:cubicBezTo>
                          <a:pt x="4213" y="817"/>
                          <a:pt x="4205" y="826"/>
                          <a:pt x="4218" y="837"/>
                        </a:cubicBezTo>
                        <a:cubicBezTo>
                          <a:pt x="4231" y="849"/>
                          <a:pt x="4249" y="840"/>
                          <a:pt x="4252" y="867"/>
                        </a:cubicBezTo>
                        <a:cubicBezTo>
                          <a:pt x="4255" y="893"/>
                          <a:pt x="4247" y="918"/>
                          <a:pt x="4223" y="928"/>
                        </a:cubicBezTo>
                        <a:cubicBezTo>
                          <a:pt x="4198" y="938"/>
                          <a:pt x="4162" y="938"/>
                          <a:pt x="4144" y="957"/>
                        </a:cubicBezTo>
                        <a:cubicBezTo>
                          <a:pt x="4126" y="976"/>
                          <a:pt x="4069" y="1024"/>
                          <a:pt x="4047" y="1047"/>
                        </a:cubicBezTo>
                        <a:cubicBezTo>
                          <a:pt x="4026" y="1071"/>
                          <a:pt x="4011" y="1111"/>
                          <a:pt x="3957" y="1090"/>
                        </a:cubicBezTo>
                        <a:cubicBezTo>
                          <a:pt x="3903" y="1070"/>
                          <a:pt x="3938" y="1056"/>
                          <a:pt x="3888" y="1058"/>
                        </a:cubicBezTo>
                        <a:cubicBezTo>
                          <a:pt x="3850" y="1061"/>
                          <a:pt x="3806" y="1053"/>
                          <a:pt x="3777" y="1036"/>
                        </a:cubicBezTo>
                        <a:cubicBezTo>
                          <a:pt x="3771" y="1061"/>
                          <a:pt x="3765" y="1086"/>
                          <a:pt x="3764" y="1100"/>
                        </a:cubicBezTo>
                        <a:cubicBezTo>
                          <a:pt x="3761" y="1134"/>
                          <a:pt x="3738" y="1181"/>
                          <a:pt x="3725" y="1225"/>
                        </a:cubicBezTo>
                        <a:cubicBezTo>
                          <a:pt x="3711" y="1270"/>
                          <a:pt x="3705" y="1298"/>
                          <a:pt x="3695" y="1339"/>
                        </a:cubicBezTo>
                        <a:cubicBezTo>
                          <a:pt x="3685" y="1381"/>
                          <a:pt x="3675" y="1384"/>
                          <a:pt x="3675" y="1423"/>
                        </a:cubicBezTo>
                        <a:cubicBezTo>
                          <a:pt x="3675" y="1462"/>
                          <a:pt x="3666" y="1462"/>
                          <a:pt x="3636" y="1459"/>
                        </a:cubicBezTo>
                        <a:cubicBezTo>
                          <a:pt x="3607" y="1456"/>
                          <a:pt x="3623" y="1487"/>
                          <a:pt x="3630" y="1506"/>
                        </a:cubicBezTo>
                        <a:cubicBezTo>
                          <a:pt x="3636" y="1525"/>
                          <a:pt x="3649" y="1550"/>
                          <a:pt x="3682" y="1581"/>
                        </a:cubicBezTo>
                        <a:cubicBezTo>
                          <a:pt x="3715" y="1612"/>
                          <a:pt x="3725" y="1584"/>
                          <a:pt x="3751" y="1559"/>
                        </a:cubicBezTo>
                        <a:cubicBezTo>
                          <a:pt x="3777" y="1534"/>
                          <a:pt x="3787" y="1537"/>
                          <a:pt x="3810" y="1545"/>
                        </a:cubicBezTo>
                        <a:cubicBezTo>
                          <a:pt x="3833" y="1553"/>
                          <a:pt x="3872" y="1523"/>
                          <a:pt x="3892" y="1520"/>
                        </a:cubicBezTo>
                        <a:cubicBezTo>
                          <a:pt x="3911" y="1517"/>
                          <a:pt x="3951" y="1545"/>
                          <a:pt x="3970" y="1564"/>
                        </a:cubicBezTo>
                        <a:cubicBezTo>
                          <a:pt x="3990" y="1584"/>
                          <a:pt x="4016" y="1564"/>
                          <a:pt x="4016" y="1553"/>
                        </a:cubicBezTo>
                        <a:cubicBezTo>
                          <a:pt x="4016" y="1542"/>
                          <a:pt x="4042" y="1492"/>
                          <a:pt x="4055" y="1467"/>
                        </a:cubicBezTo>
                        <a:cubicBezTo>
                          <a:pt x="4069" y="1442"/>
                          <a:pt x="4101" y="1453"/>
                          <a:pt x="4134" y="1445"/>
                        </a:cubicBezTo>
                        <a:cubicBezTo>
                          <a:pt x="4167" y="1437"/>
                          <a:pt x="4213" y="1450"/>
                          <a:pt x="4223" y="1467"/>
                        </a:cubicBezTo>
                        <a:cubicBezTo>
                          <a:pt x="4232" y="1484"/>
                          <a:pt x="4291" y="1500"/>
                          <a:pt x="4314" y="1498"/>
                        </a:cubicBezTo>
                        <a:cubicBezTo>
                          <a:pt x="4337" y="1495"/>
                          <a:pt x="4344" y="1523"/>
                          <a:pt x="4344" y="1542"/>
                        </a:cubicBezTo>
                        <a:cubicBezTo>
                          <a:pt x="4344" y="1562"/>
                          <a:pt x="4399" y="1564"/>
                          <a:pt x="4439" y="1592"/>
                        </a:cubicBezTo>
                        <a:cubicBezTo>
                          <a:pt x="4478" y="1620"/>
                          <a:pt x="4481" y="1637"/>
                          <a:pt x="4511" y="1659"/>
                        </a:cubicBezTo>
                        <a:cubicBezTo>
                          <a:pt x="4540" y="1681"/>
                          <a:pt x="4544" y="1717"/>
                          <a:pt x="4527" y="1748"/>
                        </a:cubicBezTo>
                        <a:cubicBezTo>
                          <a:pt x="4511" y="1778"/>
                          <a:pt x="4491" y="1778"/>
                          <a:pt x="4429" y="1778"/>
                        </a:cubicBezTo>
                        <a:cubicBezTo>
                          <a:pt x="4367" y="1778"/>
                          <a:pt x="4373" y="1778"/>
                          <a:pt x="4360" y="1762"/>
                        </a:cubicBezTo>
                        <a:cubicBezTo>
                          <a:pt x="4347" y="1745"/>
                          <a:pt x="4311" y="1773"/>
                          <a:pt x="4311" y="1773"/>
                        </a:cubicBezTo>
                        <a:cubicBezTo>
                          <a:pt x="4311" y="1773"/>
                          <a:pt x="4282" y="1776"/>
                          <a:pt x="4229" y="1767"/>
                        </a:cubicBezTo>
                        <a:cubicBezTo>
                          <a:pt x="4177" y="1759"/>
                          <a:pt x="4183" y="1795"/>
                          <a:pt x="4147" y="1826"/>
                        </a:cubicBezTo>
                        <a:cubicBezTo>
                          <a:pt x="4111" y="1856"/>
                          <a:pt x="4114" y="1853"/>
                          <a:pt x="4108" y="1831"/>
                        </a:cubicBezTo>
                        <a:cubicBezTo>
                          <a:pt x="4101" y="1809"/>
                          <a:pt x="4055" y="1840"/>
                          <a:pt x="4052" y="1879"/>
                        </a:cubicBezTo>
                        <a:cubicBezTo>
                          <a:pt x="4049" y="1917"/>
                          <a:pt x="4036" y="1898"/>
                          <a:pt x="3980" y="1898"/>
                        </a:cubicBezTo>
                        <a:cubicBezTo>
                          <a:pt x="3924" y="1898"/>
                          <a:pt x="3977" y="1920"/>
                          <a:pt x="3918" y="1954"/>
                        </a:cubicBezTo>
                        <a:cubicBezTo>
                          <a:pt x="3859" y="1987"/>
                          <a:pt x="3852" y="2023"/>
                          <a:pt x="3865" y="2051"/>
                        </a:cubicBezTo>
                        <a:cubicBezTo>
                          <a:pt x="3879" y="2079"/>
                          <a:pt x="3885" y="2081"/>
                          <a:pt x="3843" y="2098"/>
                        </a:cubicBezTo>
                        <a:cubicBezTo>
                          <a:pt x="3800" y="2115"/>
                          <a:pt x="3813" y="2143"/>
                          <a:pt x="3748" y="2179"/>
                        </a:cubicBezTo>
                        <a:cubicBezTo>
                          <a:pt x="3682" y="2215"/>
                          <a:pt x="3646" y="2201"/>
                          <a:pt x="3594" y="2198"/>
                        </a:cubicBezTo>
                        <a:cubicBezTo>
                          <a:pt x="3541" y="2195"/>
                          <a:pt x="3551" y="2234"/>
                          <a:pt x="3518" y="2268"/>
                        </a:cubicBezTo>
                        <a:cubicBezTo>
                          <a:pt x="3485" y="2301"/>
                          <a:pt x="3505" y="2315"/>
                          <a:pt x="3453" y="2332"/>
                        </a:cubicBezTo>
                        <a:cubicBezTo>
                          <a:pt x="3400" y="2348"/>
                          <a:pt x="3410" y="2368"/>
                          <a:pt x="3361" y="2387"/>
                        </a:cubicBezTo>
                        <a:cubicBezTo>
                          <a:pt x="3312" y="2407"/>
                          <a:pt x="3266" y="2398"/>
                          <a:pt x="3227" y="2393"/>
                        </a:cubicBezTo>
                        <a:cubicBezTo>
                          <a:pt x="3187" y="2387"/>
                          <a:pt x="3174" y="2387"/>
                          <a:pt x="3148" y="2357"/>
                        </a:cubicBezTo>
                        <a:cubicBezTo>
                          <a:pt x="3122" y="2326"/>
                          <a:pt x="3105" y="2343"/>
                          <a:pt x="3060" y="2343"/>
                        </a:cubicBezTo>
                        <a:cubicBezTo>
                          <a:pt x="3014" y="2343"/>
                          <a:pt x="2991" y="2373"/>
                          <a:pt x="2981" y="2401"/>
                        </a:cubicBezTo>
                        <a:cubicBezTo>
                          <a:pt x="2971" y="2429"/>
                          <a:pt x="2965" y="2457"/>
                          <a:pt x="2945" y="2498"/>
                        </a:cubicBezTo>
                        <a:cubicBezTo>
                          <a:pt x="2925" y="2540"/>
                          <a:pt x="2945" y="2529"/>
                          <a:pt x="2961" y="2571"/>
                        </a:cubicBezTo>
                        <a:cubicBezTo>
                          <a:pt x="2978" y="2612"/>
                          <a:pt x="3004" y="2601"/>
                          <a:pt x="3037" y="2623"/>
                        </a:cubicBezTo>
                        <a:cubicBezTo>
                          <a:pt x="3069" y="2646"/>
                          <a:pt x="3073" y="2654"/>
                          <a:pt x="3063" y="2682"/>
                        </a:cubicBezTo>
                        <a:cubicBezTo>
                          <a:pt x="3053" y="2710"/>
                          <a:pt x="3007" y="2729"/>
                          <a:pt x="2974" y="2749"/>
                        </a:cubicBezTo>
                        <a:cubicBezTo>
                          <a:pt x="2942" y="2768"/>
                          <a:pt x="2915" y="2785"/>
                          <a:pt x="2883" y="2807"/>
                        </a:cubicBezTo>
                        <a:cubicBezTo>
                          <a:pt x="2850" y="2829"/>
                          <a:pt x="2850" y="2865"/>
                          <a:pt x="2804" y="2921"/>
                        </a:cubicBezTo>
                        <a:cubicBezTo>
                          <a:pt x="2758" y="2977"/>
                          <a:pt x="2758" y="2982"/>
                          <a:pt x="2702" y="2993"/>
                        </a:cubicBezTo>
                        <a:cubicBezTo>
                          <a:pt x="2647" y="3004"/>
                          <a:pt x="2657" y="3007"/>
                          <a:pt x="2614" y="3038"/>
                        </a:cubicBezTo>
                        <a:cubicBezTo>
                          <a:pt x="2571" y="3068"/>
                          <a:pt x="2529" y="3049"/>
                          <a:pt x="2483" y="3068"/>
                        </a:cubicBezTo>
                        <a:cubicBezTo>
                          <a:pt x="2437" y="3088"/>
                          <a:pt x="2414" y="3079"/>
                          <a:pt x="2381" y="3068"/>
                        </a:cubicBezTo>
                        <a:cubicBezTo>
                          <a:pt x="2349" y="3057"/>
                          <a:pt x="2332" y="3071"/>
                          <a:pt x="2306" y="3079"/>
                        </a:cubicBezTo>
                        <a:cubicBezTo>
                          <a:pt x="2280" y="3088"/>
                          <a:pt x="2234" y="3091"/>
                          <a:pt x="2178" y="3079"/>
                        </a:cubicBezTo>
                        <a:cubicBezTo>
                          <a:pt x="2123" y="3068"/>
                          <a:pt x="2149" y="3082"/>
                          <a:pt x="2116" y="3104"/>
                        </a:cubicBezTo>
                        <a:cubicBezTo>
                          <a:pt x="2083" y="3127"/>
                          <a:pt x="2070" y="3124"/>
                          <a:pt x="1992" y="3135"/>
                        </a:cubicBezTo>
                        <a:cubicBezTo>
                          <a:pt x="1913" y="3146"/>
                          <a:pt x="1824" y="3213"/>
                          <a:pt x="1756" y="3241"/>
                        </a:cubicBezTo>
                        <a:cubicBezTo>
                          <a:pt x="1687" y="3268"/>
                          <a:pt x="1713" y="3280"/>
                          <a:pt x="1661" y="3327"/>
                        </a:cubicBezTo>
                        <a:cubicBezTo>
                          <a:pt x="1608" y="3374"/>
                          <a:pt x="1592" y="3332"/>
                          <a:pt x="1553" y="3324"/>
                        </a:cubicBezTo>
                        <a:cubicBezTo>
                          <a:pt x="1513" y="3316"/>
                          <a:pt x="1543" y="3299"/>
                          <a:pt x="1536" y="3260"/>
                        </a:cubicBezTo>
                        <a:cubicBezTo>
                          <a:pt x="1530" y="3221"/>
                          <a:pt x="1494" y="3257"/>
                          <a:pt x="1467" y="3271"/>
                        </a:cubicBezTo>
                        <a:cubicBezTo>
                          <a:pt x="1441" y="3285"/>
                          <a:pt x="1405" y="3280"/>
                          <a:pt x="1372" y="3280"/>
                        </a:cubicBezTo>
                        <a:cubicBezTo>
                          <a:pt x="1340" y="3280"/>
                          <a:pt x="1245" y="3243"/>
                          <a:pt x="1215" y="3229"/>
                        </a:cubicBezTo>
                        <a:cubicBezTo>
                          <a:pt x="1186" y="3216"/>
                          <a:pt x="1123" y="3210"/>
                          <a:pt x="1051" y="3191"/>
                        </a:cubicBezTo>
                        <a:cubicBezTo>
                          <a:pt x="979" y="3171"/>
                          <a:pt x="1025" y="3152"/>
                          <a:pt x="989" y="3118"/>
                        </a:cubicBezTo>
                        <a:cubicBezTo>
                          <a:pt x="953" y="3085"/>
                          <a:pt x="907" y="3096"/>
                          <a:pt x="861" y="3093"/>
                        </a:cubicBezTo>
                        <a:cubicBezTo>
                          <a:pt x="815" y="3091"/>
                          <a:pt x="799" y="3091"/>
                          <a:pt x="753" y="3085"/>
                        </a:cubicBezTo>
                        <a:cubicBezTo>
                          <a:pt x="707" y="3079"/>
                          <a:pt x="707" y="3074"/>
                          <a:pt x="648" y="3057"/>
                        </a:cubicBezTo>
                        <a:cubicBezTo>
                          <a:pt x="589" y="3040"/>
                          <a:pt x="543" y="3071"/>
                          <a:pt x="491" y="3088"/>
                        </a:cubicBezTo>
                        <a:cubicBezTo>
                          <a:pt x="439" y="3104"/>
                          <a:pt x="435" y="3085"/>
                          <a:pt x="380" y="3082"/>
                        </a:cubicBezTo>
                        <a:cubicBezTo>
                          <a:pt x="324" y="3079"/>
                          <a:pt x="294" y="3077"/>
                          <a:pt x="245" y="3071"/>
                        </a:cubicBezTo>
                        <a:cubicBezTo>
                          <a:pt x="196" y="3065"/>
                          <a:pt x="173" y="3071"/>
                          <a:pt x="137" y="3043"/>
                        </a:cubicBezTo>
                        <a:cubicBezTo>
                          <a:pt x="101" y="3015"/>
                          <a:pt x="82" y="3049"/>
                          <a:pt x="59" y="3054"/>
                        </a:cubicBezTo>
                        <a:cubicBezTo>
                          <a:pt x="45" y="3058"/>
                          <a:pt x="34" y="3057"/>
                          <a:pt x="18" y="3050"/>
                        </a:cubicBezTo>
                        <a:cubicBezTo>
                          <a:pt x="19" y="3100"/>
                          <a:pt x="34" y="3164"/>
                          <a:pt x="43" y="3189"/>
                        </a:cubicBezTo>
                        <a:cubicBezTo>
                          <a:pt x="56" y="3222"/>
                          <a:pt x="52" y="3241"/>
                          <a:pt x="26" y="3270"/>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1" name="Freeform 13">
                    <a:extLst>
                      <a:ext uri="{FF2B5EF4-FFF2-40B4-BE49-F238E27FC236}">
                        <a16:creationId xmlns:a16="http://schemas.microsoft.com/office/drawing/2014/main" id="{EE151B9F-2217-9CF4-2C83-9186595EE47E}"/>
                      </a:ext>
                    </a:extLst>
                  </p:cNvPr>
                  <p:cNvSpPr>
                    <a:spLocks/>
                  </p:cNvSpPr>
                  <p:nvPr/>
                </p:nvSpPr>
                <p:spPr bwMode="auto">
                  <a:xfrm>
                    <a:off x="3796" y="3407"/>
                    <a:ext cx="875" cy="659"/>
                  </a:xfrm>
                  <a:custGeom>
                    <a:avLst/>
                    <a:gdLst>
                      <a:gd name="T0" fmla="*/ 1778 w 1889"/>
                      <a:gd name="T1" fmla="*/ 152 h 1423"/>
                      <a:gd name="T2" fmla="*/ 1673 w 1889"/>
                      <a:gd name="T3" fmla="*/ 115 h 1423"/>
                      <a:gd name="T4" fmla="*/ 1507 w 1889"/>
                      <a:gd name="T5" fmla="*/ 82 h 1423"/>
                      <a:gd name="T6" fmla="*/ 1385 w 1889"/>
                      <a:gd name="T7" fmla="*/ 134 h 1423"/>
                      <a:gd name="T8" fmla="*/ 1127 w 1889"/>
                      <a:gd name="T9" fmla="*/ 215 h 1423"/>
                      <a:gd name="T10" fmla="*/ 1210 w 1889"/>
                      <a:gd name="T11" fmla="*/ 59 h 1423"/>
                      <a:gd name="T12" fmla="*/ 1127 w 1889"/>
                      <a:gd name="T13" fmla="*/ 22 h 1423"/>
                      <a:gd name="T14" fmla="*/ 1012 w 1889"/>
                      <a:gd name="T15" fmla="*/ 3 h 1423"/>
                      <a:gd name="T16" fmla="*/ 861 w 1889"/>
                      <a:gd name="T17" fmla="*/ 28 h 1423"/>
                      <a:gd name="T18" fmla="*/ 758 w 1889"/>
                      <a:gd name="T19" fmla="*/ 56 h 1423"/>
                      <a:gd name="T20" fmla="*/ 686 w 1889"/>
                      <a:gd name="T21" fmla="*/ 126 h 1423"/>
                      <a:gd name="T22" fmla="*/ 570 w 1889"/>
                      <a:gd name="T23" fmla="*/ 193 h 1423"/>
                      <a:gd name="T24" fmla="*/ 520 w 1889"/>
                      <a:gd name="T25" fmla="*/ 263 h 1423"/>
                      <a:gd name="T26" fmla="*/ 536 w 1889"/>
                      <a:gd name="T27" fmla="*/ 356 h 1423"/>
                      <a:gd name="T28" fmla="*/ 444 w 1889"/>
                      <a:gd name="T29" fmla="*/ 514 h 1423"/>
                      <a:gd name="T30" fmla="*/ 383 w 1889"/>
                      <a:gd name="T31" fmla="*/ 743 h 1423"/>
                      <a:gd name="T32" fmla="*/ 267 w 1889"/>
                      <a:gd name="T33" fmla="*/ 853 h 1423"/>
                      <a:gd name="T34" fmla="*/ 190 w 1889"/>
                      <a:gd name="T35" fmla="*/ 912 h 1423"/>
                      <a:gd name="T36" fmla="*/ 83 w 1889"/>
                      <a:gd name="T37" fmla="*/ 997 h 1423"/>
                      <a:gd name="T38" fmla="*/ 29 w 1889"/>
                      <a:gd name="T39" fmla="*/ 1064 h 1423"/>
                      <a:gd name="T40" fmla="*/ 44 w 1889"/>
                      <a:gd name="T41" fmla="*/ 1116 h 1423"/>
                      <a:gd name="T42" fmla="*/ 22 w 1889"/>
                      <a:gd name="T43" fmla="*/ 1223 h 1423"/>
                      <a:gd name="T44" fmla="*/ 70 w 1889"/>
                      <a:gd name="T45" fmla="*/ 1353 h 1423"/>
                      <a:gd name="T46" fmla="*/ 254 w 1889"/>
                      <a:gd name="T47" fmla="*/ 1375 h 1423"/>
                      <a:gd name="T48" fmla="*/ 201 w 1889"/>
                      <a:gd name="T49" fmla="*/ 1249 h 1423"/>
                      <a:gd name="T50" fmla="*/ 232 w 1889"/>
                      <a:gd name="T51" fmla="*/ 1157 h 1423"/>
                      <a:gd name="T52" fmla="*/ 346 w 1889"/>
                      <a:gd name="T53" fmla="*/ 1097 h 1423"/>
                      <a:gd name="T54" fmla="*/ 564 w 1889"/>
                      <a:gd name="T55" fmla="*/ 1019 h 1423"/>
                      <a:gd name="T56" fmla="*/ 743 w 1889"/>
                      <a:gd name="T57" fmla="*/ 971 h 1423"/>
                      <a:gd name="T58" fmla="*/ 883 w 1889"/>
                      <a:gd name="T59" fmla="*/ 897 h 1423"/>
                      <a:gd name="T60" fmla="*/ 1014 w 1889"/>
                      <a:gd name="T61" fmla="*/ 827 h 1423"/>
                      <a:gd name="T62" fmla="*/ 979 w 1889"/>
                      <a:gd name="T63" fmla="*/ 693 h 1423"/>
                      <a:gd name="T64" fmla="*/ 1088 w 1889"/>
                      <a:gd name="T65" fmla="*/ 730 h 1423"/>
                      <a:gd name="T66" fmla="*/ 1237 w 1889"/>
                      <a:gd name="T67" fmla="*/ 738 h 1423"/>
                      <a:gd name="T68" fmla="*/ 1328 w 1889"/>
                      <a:gd name="T69" fmla="*/ 686 h 1423"/>
                      <a:gd name="T70" fmla="*/ 1473 w 1889"/>
                      <a:gd name="T71" fmla="*/ 634 h 1423"/>
                      <a:gd name="T72" fmla="*/ 1538 w 1889"/>
                      <a:gd name="T73" fmla="*/ 597 h 1423"/>
                      <a:gd name="T74" fmla="*/ 1748 w 1889"/>
                      <a:gd name="T75" fmla="*/ 556 h 1423"/>
                      <a:gd name="T76" fmla="*/ 1835 w 1889"/>
                      <a:gd name="T77" fmla="*/ 423 h 1423"/>
                      <a:gd name="T78" fmla="*/ 1839 w 1889"/>
                      <a:gd name="T79" fmla="*/ 267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9" h="1423">
                        <a:moveTo>
                          <a:pt x="1839" y="267"/>
                        </a:moveTo>
                        <a:cubicBezTo>
                          <a:pt x="1844" y="211"/>
                          <a:pt x="1787" y="182"/>
                          <a:pt x="1778" y="152"/>
                        </a:cubicBezTo>
                        <a:cubicBezTo>
                          <a:pt x="1770" y="123"/>
                          <a:pt x="1765" y="100"/>
                          <a:pt x="1743" y="119"/>
                        </a:cubicBezTo>
                        <a:cubicBezTo>
                          <a:pt x="1722" y="137"/>
                          <a:pt x="1687" y="134"/>
                          <a:pt x="1673" y="115"/>
                        </a:cubicBezTo>
                        <a:cubicBezTo>
                          <a:pt x="1660" y="97"/>
                          <a:pt x="1639" y="78"/>
                          <a:pt x="1617" y="82"/>
                        </a:cubicBezTo>
                        <a:cubicBezTo>
                          <a:pt x="1595" y="85"/>
                          <a:pt x="1521" y="52"/>
                          <a:pt x="1507" y="82"/>
                        </a:cubicBezTo>
                        <a:cubicBezTo>
                          <a:pt x="1494" y="111"/>
                          <a:pt x="1521" y="189"/>
                          <a:pt x="1486" y="174"/>
                        </a:cubicBezTo>
                        <a:cubicBezTo>
                          <a:pt x="1451" y="160"/>
                          <a:pt x="1420" y="104"/>
                          <a:pt x="1385" y="134"/>
                        </a:cubicBezTo>
                        <a:cubicBezTo>
                          <a:pt x="1350" y="163"/>
                          <a:pt x="1298" y="152"/>
                          <a:pt x="1254" y="186"/>
                        </a:cubicBezTo>
                        <a:cubicBezTo>
                          <a:pt x="1210" y="219"/>
                          <a:pt x="1162" y="245"/>
                          <a:pt x="1127" y="215"/>
                        </a:cubicBezTo>
                        <a:cubicBezTo>
                          <a:pt x="1093" y="186"/>
                          <a:pt x="1084" y="152"/>
                          <a:pt x="1132" y="126"/>
                        </a:cubicBezTo>
                        <a:cubicBezTo>
                          <a:pt x="1180" y="100"/>
                          <a:pt x="1206" y="82"/>
                          <a:pt x="1210" y="59"/>
                        </a:cubicBezTo>
                        <a:cubicBezTo>
                          <a:pt x="1215" y="37"/>
                          <a:pt x="1206" y="22"/>
                          <a:pt x="1189" y="11"/>
                        </a:cubicBezTo>
                        <a:cubicBezTo>
                          <a:pt x="1171" y="0"/>
                          <a:pt x="1167" y="0"/>
                          <a:pt x="1127" y="22"/>
                        </a:cubicBezTo>
                        <a:cubicBezTo>
                          <a:pt x="1088" y="45"/>
                          <a:pt x="1044" y="52"/>
                          <a:pt x="1031" y="30"/>
                        </a:cubicBezTo>
                        <a:cubicBezTo>
                          <a:pt x="1026" y="22"/>
                          <a:pt x="1019" y="13"/>
                          <a:pt x="1012" y="3"/>
                        </a:cubicBezTo>
                        <a:cubicBezTo>
                          <a:pt x="983" y="24"/>
                          <a:pt x="958" y="34"/>
                          <a:pt x="929" y="45"/>
                        </a:cubicBezTo>
                        <a:cubicBezTo>
                          <a:pt x="892" y="58"/>
                          <a:pt x="887" y="41"/>
                          <a:pt x="861" y="28"/>
                        </a:cubicBezTo>
                        <a:cubicBezTo>
                          <a:pt x="835" y="15"/>
                          <a:pt x="839" y="6"/>
                          <a:pt x="819" y="8"/>
                        </a:cubicBezTo>
                        <a:cubicBezTo>
                          <a:pt x="800" y="9"/>
                          <a:pt x="791" y="41"/>
                          <a:pt x="758" y="56"/>
                        </a:cubicBezTo>
                        <a:cubicBezTo>
                          <a:pt x="726" y="71"/>
                          <a:pt x="780" y="80"/>
                          <a:pt x="765" y="132"/>
                        </a:cubicBezTo>
                        <a:cubicBezTo>
                          <a:pt x="750" y="184"/>
                          <a:pt x="741" y="152"/>
                          <a:pt x="686" y="126"/>
                        </a:cubicBezTo>
                        <a:cubicBezTo>
                          <a:pt x="632" y="100"/>
                          <a:pt x="610" y="119"/>
                          <a:pt x="575" y="132"/>
                        </a:cubicBezTo>
                        <a:cubicBezTo>
                          <a:pt x="540" y="145"/>
                          <a:pt x="560" y="163"/>
                          <a:pt x="570" y="193"/>
                        </a:cubicBezTo>
                        <a:cubicBezTo>
                          <a:pt x="581" y="223"/>
                          <a:pt x="573" y="221"/>
                          <a:pt x="553" y="223"/>
                        </a:cubicBezTo>
                        <a:cubicBezTo>
                          <a:pt x="503" y="226"/>
                          <a:pt x="529" y="234"/>
                          <a:pt x="520" y="263"/>
                        </a:cubicBezTo>
                        <a:cubicBezTo>
                          <a:pt x="512" y="293"/>
                          <a:pt x="538" y="289"/>
                          <a:pt x="549" y="313"/>
                        </a:cubicBezTo>
                        <a:cubicBezTo>
                          <a:pt x="560" y="337"/>
                          <a:pt x="557" y="343"/>
                          <a:pt x="536" y="356"/>
                        </a:cubicBezTo>
                        <a:cubicBezTo>
                          <a:pt x="514" y="369"/>
                          <a:pt x="522" y="391"/>
                          <a:pt x="520" y="432"/>
                        </a:cubicBezTo>
                        <a:cubicBezTo>
                          <a:pt x="518" y="473"/>
                          <a:pt x="498" y="462"/>
                          <a:pt x="444" y="514"/>
                        </a:cubicBezTo>
                        <a:cubicBezTo>
                          <a:pt x="389" y="565"/>
                          <a:pt x="411" y="636"/>
                          <a:pt x="422" y="669"/>
                        </a:cubicBezTo>
                        <a:cubicBezTo>
                          <a:pt x="433" y="703"/>
                          <a:pt x="407" y="714"/>
                          <a:pt x="383" y="743"/>
                        </a:cubicBezTo>
                        <a:cubicBezTo>
                          <a:pt x="359" y="773"/>
                          <a:pt x="297" y="797"/>
                          <a:pt x="276" y="804"/>
                        </a:cubicBezTo>
                        <a:cubicBezTo>
                          <a:pt x="254" y="812"/>
                          <a:pt x="252" y="830"/>
                          <a:pt x="267" y="853"/>
                        </a:cubicBezTo>
                        <a:cubicBezTo>
                          <a:pt x="282" y="875"/>
                          <a:pt x="267" y="875"/>
                          <a:pt x="256" y="899"/>
                        </a:cubicBezTo>
                        <a:cubicBezTo>
                          <a:pt x="245" y="923"/>
                          <a:pt x="223" y="929"/>
                          <a:pt x="190" y="912"/>
                        </a:cubicBezTo>
                        <a:cubicBezTo>
                          <a:pt x="158" y="895"/>
                          <a:pt x="173" y="925"/>
                          <a:pt x="173" y="968"/>
                        </a:cubicBezTo>
                        <a:cubicBezTo>
                          <a:pt x="173" y="1010"/>
                          <a:pt x="114" y="997"/>
                          <a:pt x="83" y="997"/>
                        </a:cubicBezTo>
                        <a:cubicBezTo>
                          <a:pt x="53" y="997"/>
                          <a:pt x="68" y="1006"/>
                          <a:pt x="68" y="1027"/>
                        </a:cubicBezTo>
                        <a:cubicBezTo>
                          <a:pt x="68" y="1047"/>
                          <a:pt x="51" y="1055"/>
                          <a:pt x="29" y="1064"/>
                        </a:cubicBezTo>
                        <a:cubicBezTo>
                          <a:pt x="19" y="1068"/>
                          <a:pt x="12" y="1080"/>
                          <a:pt x="6" y="1092"/>
                        </a:cubicBezTo>
                        <a:cubicBezTo>
                          <a:pt x="11" y="1116"/>
                          <a:pt x="21" y="1116"/>
                          <a:pt x="44" y="1116"/>
                        </a:cubicBezTo>
                        <a:cubicBezTo>
                          <a:pt x="70" y="1116"/>
                          <a:pt x="92" y="1108"/>
                          <a:pt x="57" y="1145"/>
                        </a:cubicBezTo>
                        <a:cubicBezTo>
                          <a:pt x="22" y="1183"/>
                          <a:pt x="18" y="1190"/>
                          <a:pt x="22" y="1223"/>
                        </a:cubicBezTo>
                        <a:cubicBezTo>
                          <a:pt x="27" y="1257"/>
                          <a:pt x="0" y="1279"/>
                          <a:pt x="44" y="1301"/>
                        </a:cubicBezTo>
                        <a:cubicBezTo>
                          <a:pt x="88" y="1323"/>
                          <a:pt x="44" y="1309"/>
                          <a:pt x="70" y="1353"/>
                        </a:cubicBezTo>
                        <a:cubicBezTo>
                          <a:pt x="97" y="1398"/>
                          <a:pt x="40" y="1394"/>
                          <a:pt x="123" y="1398"/>
                        </a:cubicBezTo>
                        <a:cubicBezTo>
                          <a:pt x="206" y="1401"/>
                          <a:pt x="241" y="1423"/>
                          <a:pt x="254" y="1375"/>
                        </a:cubicBezTo>
                        <a:cubicBezTo>
                          <a:pt x="267" y="1327"/>
                          <a:pt x="197" y="1305"/>
                          <a:pt x="210" y="1286"/>
                        </a:cubicBezTo>
                        <a:cubicBezTo>
                          <a:pt x="223" y="1268"/>
                          <a:pt x="245" y="1246"/>
                          <a:pt x="201" y="1249"/>
                        </a:cubicBezTo>
                        <a:cubicBezTo>
                          <a:pt x="158" y="1253"/>
                          <a:pt x="132" y="1242"/>
                          <a:pt x="162" y="1216"/>
                        </a:cubicBezTo>
                        <a:cubicBezTo>
                          <a:pt x="193" y="1190"/>
                          <a:pt x="193" y="1153"/>
                          <a:pt x="232" y="1157"/>
                        </a:cubicBezTo>
                        <a:cubicBezTo>
                          <a:pt x="271" y="1160"/>
                          <a:pt x="267" y="1153"/>
                          <a:pt x="284" y="1131"/>
                        </a:cubicBezTo>
                        <a:cubicBezTo>
                          <a:pt x="302" y="1108"/>
                          <a:pt x="315" y="1097"/>
                          <a:pt x="346" y="1097"/>
                        </a:cubicBezTo>
                        <a:cubicBezTo>
                          <a:pt x="376" y="1097"/>
                          <a:pt x="450" y="1060"/>
                          <a:pt x="481" y="1057"/>
                        </a:cubicBezTo>
                        <a:cubicBezTo>
                          <a:pt x="512" y="1053"/>
                          <a:pt x="551" y="1060"/>
                          <a:pt x="564" y="1019"/>
                        </a:cubicBezTo>
                        <a:cubicBezTo>
                          <a:pt x="577" y="979"/>
                          <a:pt x="625" y="949"/>
                          <a:pt x="651" y="964"/>
                        </a:cubicBezTo>
                        <a:cubicBezTo>
                          <a:pt x="678" y="979"/>
                          <a:pt x="734" y="1008"/>
                          <a:pt x="743" y="971"/>
                        </a:cubicBezTo>
                        <a:cubicBezTo>
                          <a:pt x="752" y="934"/>
                          <a:pt x="787" y="971"/>
                          <a:pt x="822" y="942"/>
                        </a:cubicBezTo>
                        <a:cubicBezTo>
                          <a:pt x="857" y="912"/>
                          <a:pt x="878" y="938"/>
                          <a:pt x="883" y="897"/>
                        </a:cubicBezTo>
                        <a:cubicBezTo>
                          <a:pt x="887" y="856"/>
                          <a:pt x="922" y="853"/>
                          <a:pt x="935" y="864"/>
                        </a:cubicBezTo>
                        <a:cubicBezTo>
                          <a:pt x="948" y="875"/>
                          <a:pt x="992" y="849"/>
                          <a:pt x="1014" y="827"/>
                        </a:cubicBezTo>
                        <a:cubicBezTo>
                          <a:pt x="1036" y="804"/>
                          <a:pt x="1079" y="804"/>
                          <a:pt x="1040" y="764"/>
                        </a:cubicBezTo>
                        <a:cubicBezTo>
                          <a:pt x="1001" y="723"/>
                          <a:pt x="996" y="730"/>
                          <a:pt x="979" y="693"/>
                        </a:cubicBezTo>
                        <a:cubicBezTo>
                          <a:pt x="961" y="656"/>
                          <a:pt x="940" y="615"/>
                          <a:pt x="996" y="641"/>
                        </a:cubicBezTo>
                        <a:cubicBezTo>
                          <a:pt x="1053" y="667"/>
                          <a:pt x="1075" y="701"/>
                          <a:pt x="1088" y="730"/>
                        </a:cubicBezTo>
                        <a:cubicBezTo>
                          <a:pt x="1101" y="760"/>
                          <a:pt x="1175" y="790"/>
                          <a:pt x="1206" y="764"/>
                        </a:cubicBezTo>
                        <a:cubicBezTo>
                          <a:pt x="1237" y="738"/>
                          <a:pt x="1197" y="749"/>
                          <a:pt x="1237" y="738"/>
                        </a:cubicBezTo>
                        <a:cubicBezTo>
                          <a:pt x="1276" y="727"/>
                          <a:pt x="1285" y="716"/>
                          <a:pt x="1289" y="686"/>
                        </a:cubicBezTo>
                        <a:cubicBezTo>
                          <a:pt x="1293" y="656"/>
                          <a:pt x="1298" y="667"/>
                          <a:pt x="1328" y="686"/>
                        </a:cubicBezTo>
                        <a:cubicBezTo>
                          <a:pt x="1359" y="704"/>
                          <a:pt x="1363" y="686"/>
                          <a:pt x="1385" y="664"/>
                        </a:cubicBezTo>
                        <a:cubicBezTo>
                          <a:pt x="1407" y="641"/>
                          <a:pt x="1468" y="615"/>
                          <a:pt x="1473" y="634"/>
                        </a:cubicBezTo>
                        <a:cubicBezTo>
                          <a:pt x="1477" y="653"/>
                          <a:pt x="1560" y="660"/>
                          <a:pt x="1538" y="641"/>
                        </a:cubicBezTo>
                        <a:cubicBezTo>
                          <a:pt x="1516" y="623"/>
                          <a:pt x="1507" y="582"/>
                          <a:pt x="1538" y="597"/>
                        </a:cubicBezTo>
                        <a:cubicBezTo>
                          <a:pt x="1569" y="612"/>
                          <a:pt x="1586" y="638"/>
                          <a:pt x="1647" y="604"/>
                        </a:cubicBezTo>
                        <a:cubicBezTo>
                          <a:pt x="1708" y="571"/>
                          <a:pt x="1735" y="556"/>
                          <a:pt x="1748" y="556"/>
                        </a:cubicBezTo>
                        <a:cubicBezTo>
                          <a:pt x="1761" y="556"/>
                          <a:pt x="1778" y="526"/>
                          <a:pt x="1778" y="504"/>
                        </a:cubicBezTo>
                        <a:cubicBezTo>
                          <a:pt x="1778" y="482"/>
                          <a:pt x="1826" y="460"/>
                          <a:pt x="1835" y="423"/>
                        </a:cubicBezTo>
                        <a:cubicBezTo>
                          <a:pt x="1841" y="398"/>
                          <a:pt x="1861" y="375"/>
                          <a:pt x="1889" y="354"/>
                        </a:cubicBezTo>
                        <a:cubicBezTo>
                          <a:pt x="1864" y="331"/>
                          <a:pt x="1837" y="298"/>
                          <a:pt x="1839" y="267"/>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2" name="Freeform 14">
                    <a:extLst>
                      <a:ext uri="{FF2B5EF4-FFF2-40B4-BE49-F238E27FC236}">
                        <a16:creationId xmlns:a16="http://schemas.microsoft.com/office/drawing/2014/main" id="{7D1965FA-A177-8D32-789E-0DF190BF7481}"/>
                      </a:ext>
                    </a:extLst>
                  </p:cNvPr>
                  <p:cNvSpPr>
                    <a:spLocks/>
                  </p:cNvSpPr>
                  <p:nvPr/>
                </p:nvSpPr>
                <p:spPr bwMode="auto">
                  <a:xfrm>
                    <a:off x="3625" y="2903"/>
                    <a:ext cx="665" cy="641"/>
                  </a:xfrm>
                  <a:custGeom>
                    <a:avLst/>
                    <a:gdLst>
                      <a:gd name="T0" fmla="*/ 1367 w 1437"/>
                      <a:gd name="T1" fmla="*/ 819 h 1384"/>
                      <a:gd name="T2" fmla="*/ 1289 w 1437"/>
                      <a:gd name="T3" fmla="*/ 678 h 1384"/>
                      <a:gd name="T4" fmla="*/ 1236 w 1437"/>
                      <a:gd name="T5" fmla="*/ 492 h 1384"/>
                      <a:gd name="T6" fmla="*/ 1306 w 1437"/>
                      <a:gd name="T7" fmla="*/ 277 h 1384"/>
                      <a:gd name="T8" fmla="*/ 1175 w 1437"/>
                      <a:gd name="T9" fmla="*/ 148 h 1384"/>
                      <a:gd name="T10" fmla="*/ 1092 w 1437"/>
                      <a:gd name="T11" fmla="*/ 48 h 1384"/>
                      <a:gd name="T12" fmla="*/ 992 w 1437"/>
                      <a:gd name="T13" fmla="*/ 59 h 1384"/>
                      <a:gd name="T14" fmla="*/ 900 w 1437"/>
                      <a:gd name="T15" fmla="*/ 77 h 1384"/>
                      <a:gd name="T16" fmla="*/ 708 w 1437"/>
                      <a:gd name="T17" fmla="*/ 29 h 1384"/>
                      <a:gd name="T18" fmla="*/ 472 w 1437"/>
                      <a:gd name="T19" fmla="*/ 0 h 1384"/>
                      <a:gd name="T20" fmla="*/ 398 w 1437"/>
                      <a:gd name="T21" fmla="*/ 133 h 1384"/>
                      <a:gd name="T22" fmla="*/ 236 w 1437"/>
                      <a:gd name="T23" fmla="*/ 100 h 1384"/>
                      <a:gd name="T24" fmla="*/ 96 w 1437"/>
                      <a:gd name="T25" fmla="*/ 281 h 1384"/>
                      <a:gd name="T26" fmla="*/ 118 w 1437"/>
                      <a:gd name="T27" fmla="*/ 470 h 1384"/>
                      <a:gd name="T28" fmla="*/ 153 w 1437"/>
                      <a:gd name="T29" fmla="*/ 615 h 1384"/>
                      <a:gd name="T30" fmla="*/ 57 w 1437"/>
                      <a:gd name="T31" fmla="*/ 756 h 1384"/>
                      <a:gd name="T32" fmla="*/ 109 w 1437"/>
                      <a:gd name="T33" fmla="*/ 782 h 1384"/>
                      <a:gd name="T34" fmla="*/ 188 w 1437"/>
                      <a:gd name="T35" fmla="*/ 863 h 1384"/>
                      <a:gd name="T36" fmla="*/ 184 w 1437"/>
                      <a:gd name="T37" fmla="*/ 941 h 1384"/>
                      <a:gd name="T38" fmla="*/ 214 w 1437"/>
                      <a:gd name="T39" fmla="*/ 1042 h 1384"/>
                      <a:gd name="T40" fmla="*/ 318 w 1437"/>
                      <a:gd name="T41" fmla="*/ 1042 h 1384"/>
                      <a:gd name="T42" fmla="*/ 442 w 1437"/>
                      <a:gd name="T43" fmla="*/ 1036 h 1384"/>
                      <a:gd name="T44" fmla="*/ 531 w 1437"/>
                      <a:gd name="T45" fmla="*/ 959 h 1384"/>
                      <a:gd name="T46" fmla="*/ 629 w 1437"/>
                      <a:gd name="T47" fmla="*/ 934 h 1384"/>
                      <a:gd name="T48" fmla="*/ 668 w 1437"/>
                      <a:gd name="T49" fmla="*/ 1039 h 1384"/>
                      <a:gd name="T50" fmla="*/ 672 w 1437"/>
                      <a:gd name="T51" fmla="*/ 1189 h 1384"/>
                      <a:gd name="T52" fmla="*/ 747 w 1437"/>
                      <a:gd name="T53" fmla="*/ 1267 h 1384"/>
                      <a:gd name="T54" fmla="*/ 849 w 1437"/>
                      <a:gd name="T55" fmla="*/ 1320 h 1384"/>
                      <a:gd name="T56" fmla="*/ 924 w 1437"/>
                      <a:gd name="T57" fmla="*/ 1312 h 1384"/>
                      <a:gd name="T58" fmla="*/ 946 w 1437"/>
                      <a:gd name="T59" fmla="*/ 1221 h 1384"/>
                      <a:gd name="T60" fmla="*/ 1136 w 1437"/>
                      <a:gd name="T61" fmla="*/ 1221 h 1384"/>
                      <a:gd name="T62" fmla="*/ 1190 w 1437"/>
                      <a:gd name="T63" fmla="*/ 1097 h 1384"/>
                      <a:gd name="T64" fmla="*/ 1300 w 1437"/>
                      <a:gd name="T65" fmla="*/ 1134 h 1384"/>
                      <a:gd name="T66" fmla="*/ 1363 w 1437"/>
                      <a:gd name="T67" fmla="*/ 1030 h 1384"/>
                      <a:gd name="T68" fmla="*/ 1411 w 1437"/>
                      <a:gd name="T69" fmla="*/ 885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7" h="1384">
                        <a:moveTo>
                          <a:pt x="1411" y="885"/>
                        </a:moveTo>
                        <a:cubicBezTo>
                          <a:pt x="1385" y="863"/>
                          <a:pt x="1389" y="841"/>
                          <a:pt x="1367" y="819"/>
                        </a:cubicBezTo>
                        <a:cubicBezTo>
                          <a:pt x="1346" y="796"/>
                          <a:pt x="1302" y="793"/>
                          <a:pt x="1302" y="756"/>
                        </a:cubicBezTo>
                        <a:cubicBezTo>
                          <a:pt x="1302" y="719"/>
                          <a:pt x="1289" y="711"/>
                          <a:pt x="1289" y="678"/>
                        </a:cubicBezTo>
                        <a:cubicBezTo>
                          <a:pt x="1289" y="644"/>
                          <a:pt x="1271" y="656"/>
                          <a:pt x="1241" y="615"/>
                        </a:cubicBezTo>
                        <a:cubicBezTo>
                          <a:pt x="1210" y="574"/>
                          <a:pt x="1193" y="530"/>
                          <a:pt x="1236" y="492"/>
                        </a:cubicBezTo>
                        <a:cubicBezTo>
                          <a:pt x="1280" y="455"/>
                          <a:pt x="1332" y="429"/>
                          <a:pt x="1337" y="381"/>
                        </a:cubicBezTo>
                        <a:cubicBezTo>
                          <a:pt x="1341" y="333"/>
                          <a:pt x="1298" y="296"/>
                          <a:pt x="1306" y="277"/>
                        </a:cubicBezTo>
                        <a:cubicBezTo>
                          <a:pt x="1315" y="259"/>
                          <a:pt x="1302" y="229"/>
                          <a:pt x="1276" y="207"/>
                        </a:cubicBezTo>
                        <a:cubicBezTo>
                          <a:pt x="1249" y="185"/>
                          <a:pt x="1175" y="203"/>
                          <a:pt x="1175" y="148"/>
                        </a:cubicBezTo>
                        <a:cubicBezTo>
                          <a:pt x="1175" y="92"/>
                          <a:pt x="1206" y="66"/>
                          <a:pt x="1166" y="44"/>
                        </a:cubicBezTo>
                        <a:cubicBezTo>
                          <a:pt x="1127" y="22"/>
                          <a:pt x="1123" y="14"/>
                          <a:pt x="1092" y="48"/>
                        </a:cubicBezTo>
                        <a:cubicBezTo>
                          <a:pt x="1062" y="81"/>
                          <a:pt x="1075" y="133"/>
                          <a:pt x="1031" y="111"/>
                        </a:cubicBezTo>
                        <a:cubicBezTo>
                          <a:pt x="987" y="88"/>
                          <a:pt x="974" y="70"/>
                          <a:pt x="992" y="59"/>
                        </a:cubicBezTo>
                        <a:cubicBezTo>
                          <a:pt x="1009" y="48"/>
                          <a:pt x="1000" y="14"/>
                          <a:pt x="970" y="25"/>
                        </a:cubicBezTo>
                        <a:cubicBezTo>
                          <a:pt x="939" y="37"/>
                          <a:pt x="948" y="59"/>
                          <a:pt x="900" y="77"/>
                        </a:cubicBezTo>
                        <a:cubicBezTo>
                          <a:pt x="852" y="96"/>
                          <a:pt x="821" y="111"/>
                          <a:pt x="791" y="81"/>
                        </a:cubicBezTo>
                        <a:cubicBezTo>
                          <a:pt x="760" y="51"/>
                          <a:pt x="778" y="18"/>
                          <a:pt x="708" y="29"/>
                        </a:cubicBezTo>
                        <a:cubicBezTo>
                          <a:pt x="638" y="40"/>
                          <a:pt x="603" y="37"/>
                          <a:pt x="577" y="22"/>
                        </a:cubicBezTo>
                        <a:cubicBezTo>
                          <a:pt x="551" y="7"/>
                          <a:pt x="511" y="0"/>
                          <a:pt x="472" y="0"/>
                        </a:cubicBezTo>
                        <a:cubicBezTo>
                          <a:pt x="433" y="0"/>
                          <a:pt x="350" y="11"/>
                          <a:pt x="380" y="40"/>
                        </a:cubicBezTo>
                        <a:cubicBezTo>
                          <a:pt x="411" y="70"/>
                          <a:pt x="446" y="137"/>
                          <a:pt x="398" y="133"/>
                        </a:cubicBezTo>
                        <a:cubicBezTo>
                          <a:pt x="350" y="129"/>
                          <a:pt x="337" y="107"/>
                          <a:pt x="315" y="126"/>
                        </a:cubicBezTo>
                        <a:cubicBezTo>
                          <a:pt x="293" y="144"/>
                          <a:pt x="275" y="81"/>
                          <a:pt x="236" y="100"/>
                        </a:cubicBezTo>
                        <a:cubicBezTo>
                          <a:pt x="197" y="118"/>
                          <a:pt x="144" y="137"/>
                          <a:pt x="127" y="174"/>
                        </a:cubicBezTo>
                        <a:cubicBezTo>
                          <a:pt x="109" y="211"/>
                          <a:pt x="96" y="229"/>
                          <a:pt x="96" y="281"/>
                        </a:cubicBezTo>
                        <a:cubicBezTo>
                          <a:pt x="96" y="333"/>
                          <a:pt x="105" y="385"/>
                          <a:pt x="122" y="411"/>
                        </a:cubicBezTo>
                        <a:cubicBezTo>
                          <a:pt x="140" y="437"/>
                          <a:pt x="92" y="441"/>
                          <a:pt x="118" y="470"/>
                        </a:cubicBezTo>
                        <a:cubicBezTo>
                          <a:pt x="144" y="500"/>
                          <a:pt x="153" y="496"/>
                          <a:pt x="140" y="533"/>
                        </a:cubicBezTo>
                        <a:cubicBezTo>
                          <a:pt x="127" y="570"/>
                          <a:pt x="131" y="581"/>
                          <a:pt x="153" y="615"/>
                        </a:cubicBezTo>
                        <a:cubicBezTo>
                          <a:pt x="175" y="648"/>
                          <a:pt x="201" y="681"/>
                          <a:pt x="166" y="689"/>
                        </a:cubicBezTo>
                        <a:cubicBezTo>
                          <a:pt x="131" y="696"/>
                          <a:pt x="79" y="730"/>
                          <a:pt x="57" y="756"/>
                        </a:cubicBezTo>
                        <a:cubicBezTo>
                          <a:pt x="35" y="782"/>
                          <a:pt x="0" y="789"/>
                          <a:pt x="39" y="804"/>
                        </a:cubicBezTo>
                        <a:cubicBezTo>
                          <a:pt x="79" y="819"/>
                          <a:pt x="66" y="774"/>
                          <a:pt x="109" y="782"/>
                        </a:cubicBezTo>
                        <a:cubicBezTo>
                          <a:pt x="153" y="789"/>
                          <a:pt x="197" y="752"/>
                          <a:pt x="201" y="796"/>
                        </a:cubicBezTo>
                        <a:cubicBezTo>
                          <a:pt x="205" y="841"/>
                          <a:pt x="210" y="852"/>
                          <a:pt x="188" y="863"/>
                        </a:cubicBezTo>
                        <a:cubicBezTo>
                          <a:pt x="166" y="874"/>
                          <a:pt x="184" y="889"/>
                          <a:pt x="197" y="908"/>
                        </a:cubicBezTo>
                        <a:cubicBezTo>
                          <a:pt x="210" y="926"/>
                          <a:pt x="201" y="919"/>
                          <a:pt x="184" y="941"/>
                        </a:cubicBezTo>
                        <a:cubicBezTo>
                          <a:pt x="166" y="963"/>
                          <a:pt x="192" y="1004"/>
                          <a:pt x="201" y="1015"/>
                        </a:cubicBezTo>
                        <a:cubicBezTo>
                          <a:pt x="205" y="1020"/>
                          <a:pt x="211" y="1030"/>
                          <a:pt x="214" y="1042"/>
                        </a:cubicBezTo>
                        <a:cubicBezTo>
                          <a:pt x="238" y="1043"/>
                          <a:pt x="262" y="1046"/>
                          <a:pt x="269" y="1059"/>
                        </a:cubicBezTo>
                        <a:cubicBezTo>
                          <a:pt x="282" y="1084"/>
                          <a:pt x="315" y="1070"/>
                          <a:pt x="318" y="1042"/>
                        </a:cubicBezTo>
                        <a:cubicBezTo>
                          <a:pt x="321" y="1014"/>
                          <a:pt x="347" y="945"/>
                          <a:pt x="377" y="992"/>
                        </a:cubicBezTo>
                        <a:cubicBezTo>
                          <a:pt x="406" y="1039"/>
                          <a:pt x="357" y="1050"/>
                          <a:pt x="442" y="1036"/>
                        </a:cubicBezTo>
                        <a:cubicBezTo>
                          <a:pt x="478" y="997"/>
                          <a:pt x="482" y="1011"/>
                          <a:pt x="488" y="984"/>
                        </a:cubicBezTo>
                        <a:cubicBezTo>
                          <a:pt x="495" y="956"/>
                          <a:pt x="505" y="953"/>
                          <a:pt x="531" y="959"/>
                        </a:cubicBezTo>
                        <a:cubicBezTo>
                          <a:pt x="557" y="964"/>
                          <a:pt x="567" y="967"/>
                          <a:pt x="580" y="956"/>
                        </a:cubicBezTo>
                        <a:cubicBezTo>
                          <a:pt x="593" y="945"/>
                          <a:pt x="596" y="922"/>
                          <a:pt x="629" y="934"/>
                        </a:cubicBezTo>
                        <a:cubicBezTo>
                          <a:pt x="662" y="945"/>
                          <a:pt x="688" y="942"/>
                          <a:pt x="672" y="972"/>
                        </a:cubicBezTo>
                        <a:cubicBezTo>
                          <a:pt x="655" y="1003"/>
                          <a:pt x="636" y="1039"/>
                          <a:pt x="668" y="1039"/>
                        </a:cubicBezTo>
                        <a:cubicBezTo>
                          <a:pt x="701" y="1039"/>
                          <a:pt x="714" y="1034"/>
                          <a:pt x="711" y="1067"/>
                        </a:cubicBezTo>
                        <a:cubicBezTo>
                          <a:pt x="708" y="1100"/>
                          <a:pt x="731" y="1145"/>
                          <a:pt x="672" y="1189"/>
                        </a:cubicBezTo>
                        <a:cubicBezTo>
                          <a:pt x="613" y="1234"/>
                          <a:pt x="613" y="1253"/>
                          <a:pt x="659" y="1253"/>
                        </a:cubicBezTo>
                        <a:cubicBezTo>
                          <a:pt x="705" y="1253"/>
                          <a:pt x="737" y="1237"/>
                          <a:pt x="747" y="1267"/>
                        </a:cubicBezTo>
                        <a:cubicBezTo>
                          <a:pt x="757" y="1298"/>
                          <a:pt x="754" y="1384"/>
                          <a:pt x="793" y="1353"/>
                        </a:cubicBezTo>
                        <a:cubicBezTo>
                          <a:pt x="832" y="1323"/>
                          <a:pt x="822" y="1314"/>
                          <a:pt x="849" y="1320"/>
                        </a:cubicBezTo>
                        <a:cubicBezTo>
                          <a:pt x="868" y="1324"/>
                          <a:pt x="866" y="1313"/>
                          <a:pt x="892" y="1322"/>
                        </a:cubicBezTo>
                        <a:cubicBezTo>
                          <a:pt x="893" y="1316"/>
                          <a:pt x="900" y="1313"/>
                          <a:pt x="924" y="1312"/>
                        </a:cubicBezTo>
                        <a:cubicBezTo>
                          <a:pt x="944" y="1310"/>
                          <a:pt x="952" y="1312"/>
                          <a:pt x="941" y="1282"/>
                        </a:cubicBezTo>
                        <a:cubicBezTo>
                          <a:pt x="931" y="1252"/>
                          <a:pt x="911" y="1234"/>
                          <a:pt x="946" y="1221"/>
                        </a:cubicBezTo>
                        <a:cubicBezTo>
                          <a:pt x="981" y="1208"/>
                          <a:pt x="1003" y="1189"/>
                          <a:pt x="1057" y="1215"/>
                        </a:cubicBezTo>
                        <a:cubicBezTo>
                          <a:pt x="1112" y="1241"/>
                          <a:pt x="1121" y="1273"/>
                          <a:pt x="1136" y="1221"/>
                        </a:cubicBezTo>
                        <a:cubicBezTo>
                          <a:pt x="1151" y="1169"/>
                          <a:pt x="1097" y="1160"/>
                          <a:pt x="1129" y="1145"/>
                        </a:cubicBezTo>
                        <a:cubicBezTo>
                          <a:pt x="1162" y="1130"/>
                          <a:pt x="1171" y="1098"/>
                          <a:pt x="1190" y="1097"/>
                        </a:cubicBezTo>
                        <a:cubicBezTo>
                          <a:pt x="1210" y="1095"/>
                          <a:pt x="1206" y="1104"/>
                          <a:pt x="1232" y="1117"/>
                        </a:cubicBezTo>
                        <a:cubicBezTo>
                          <a:pt x="1258" y="1130"/>
                          <a:pt x="1263" y="1147"/>
                          <a:pt x="1300" y="1134"/>
                        </a:cubicBezTo>
                        <a:cubicBezTo>
                          <a:pt x="1329" y="1123"/>
                          <a:pt x="1354" y="1113"/>
                          <a:pt x="1383" y="1092"/>
                        </a:cubicBezTo>
                        <a:cubicBezTo>
                          <a:pt x="1371" y="1075"/>
                          <a:pt x="1360" y="1055"/>
                          <a:pt x="1363" y="1030"/>
                        </a:cubicBezTo>
                        <a:cubicBezTo>
                          <a:pt x="1367" y="989"/>
                          <a:pt x="1337" y="971"/>
                          <a:pt x="1385" y="937"/>
                        </a:cubicBezTo>
                        <a:cubicBezTo>
                          <a:pt x="1433" y="904"/>
                          <a:pt x="1437" y="908"/>
                          <a:pt x="1411" y="885"/>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3" name="Freeform 15">
                    <a:extLst>
                      <a:ext uri="{FF2B5EF4-FFF2-40B4-BE49-F238E27FC236}">
                        <a16:creationId xmlns:a16="http://schemas.microsoft.com/office/drawing/2014/main" id="{E4F7B7C6-EB45-CAD4-392E-BCF1A3D63F04}"/>
                      </a:ext>
                    </a:extLst>
                  </p:cNvPr>
                  <p:cNvSpPr>
                    <a:spLocks/>
                  </p:cNvSpPr>
                  <p:nvPr/>
                </p:nvSpPr>
                <p:spPr bwMode="auto">
                  <a:xfrm>
                    <a:off x="2302" y="3034"/>
                    <a:ext cx="1049" cy="967"/>
                  </a:xfrm>
                  <a:custGeom>
                    <a:avLst/>
                    <a:gdLst>
                      <a:gd name="T0" fmla="*/ 2228 w 2266"/>
                      <a:gd name="T1" fmla="*/ 1313 h 2088"/>
                      <a:gd name="T2" fmla="*/ 2073 w 2266"/>
                      <a:gd name="T3" fmla="*/ 1311 h 2088"/>
                      <a:gd name="T4" fmla="*/ 1891 w 2266"/>
                      <a:gd name="T5" fmla="*/ 1218 h 2088"/>
                      <a:gd name="T6" fmla="*/ 1828 w 2266"/>
                      <a:gd name="T7" fmla="*/ 1154 h 2088"/>
                      <a:gd name="T8" fmla="*/ 1774 w 2266"/>
                      <a:gd name="T9" fmla="*/ 939 h 2088"/>
                      <a:gd name="T10" fmla="*/ 1831 w 2266"/>
                      <a:gd name="T11" fmla="*/ 709 h 2088"/>
                      <a:gd name="T12" fmla="*/ 1686 w 2266"/>
                      <a:gd name="T13" fmla="*/ 690 h 2088"/>
                      <a:gd name="T14" fmla="*/ 1608 w 2266"/>
                      <a:gd name="T15" fmla="*/ 579 h 2088"/>
                      <a:gd name="T16" fmla="*/ 1717 w 2266"/>
                      <a:gd name="T17" fmla="*/ 509 h 2088"/>
                      <a:gd name="T18" fmla="*/ 1957 w 2266"/>
                      <a:gd name="T19" fmla="*/ 475 h 2088"/>
                      <a:gd name="T20" fmla="*/ 1909 w 2266"/>
                      <a:gd name="T21" fmla="*/ 312 h 2088"/>
                      <a:gd name="T22" fmla="*/ 1743 w 2266"/>
                      <a:gd name="T23" fmla="*/ 249 h 2088"/>
                      <a:gd name="T24" fmla="*/ 1617 w 2266"/>
                      <a:gd name="T25" fmla="*/ 205 h 2088"/>
                      <a:gd name="T26" fmla="*/ 1516 w 2266"/>
                      <a:gd name="T27" fmla="*/ 405 h 2088"/>
                      <a:gd name="T28" fmla="*/ 1411 w 2266"/>
                      <a:gd name="T29" fmla="*/ 635 h 2088"/>
                      <a:gd name="T30" fmla="*/ 1280 w 2266"/>
                      <a:gd name="T31" fmla="*/ 757 h 2088"/>
                      <a:gd name="T32" fmla="*/ 1036 w 2266"/>
                      <a:gd name="T33" fmla="*/ 709 h 2088"/>
                      <a:gd name="T34" fmla="*/ 848 w 2266"/>
                      <a:gd name="T35" fmla="*/ 397 h 2088"/>
                      <a:gd name="T36" fmla="*/ 673 w 2266"/>
                      <a:gd name="T37" fmla="*/ 190 h 2088"/>
                      <a:gd name="T38" fmla="*/ 472 w 2266"/>
                      <a:gd name="T39" fmla="*/ 223 h 2088"/>
                      <a:gd name="T40" fmla="*/ 442 w 2266"/>
                      <a:gd name="T41" fmla="*/ 5 h 2088"/>
                      <a:gd name="T42" fmla="*/ 328 w 2266"/>
                      <a:gd name="T43" fmla="*/ 112 h 2088"/>
                      <a:gd name="T44" fmla="*/ 228 w 2266"/>
                      <a:gd name="T45" fmla="*/ 264 h 2088"/>
                      <a:gd name="T46" fmla="*/ 241 w 2266"/>
                      <a:gd name="T47" fmla="*/ 409 h 2088"/>
                      <a:gd name="T48" fmla="*/ 354 w 2266"/>
                      <a:gd name="T49" fmla="*/ 546 h 2088"/>
                      <a:gd name="T50" fmla="*/ 337 w 2266"/>
                      <a:gd name="T51" fmla="*/ 861 h 2088"/>
                      <a:gd name="T52" fmla="*/ 158 w 2266"/>
                      <a:gd name="T53" fmla="*/ 1005 h 2088"/>
                      <a:gd name="T54" fmla="*/ 31 w 2266"/>
                      <a:gd name="T55" fmla="*/ 1213 h 2088"/>
                      <a:gd name="T56" fmla="*/ 136 w 2266"/>
                      <a:gd name="T57" fmla="*/ 1302 h 2088"/>
                      <a:gd name="T58" fmla="*/ 332 w 2266"/>
                      <a:gd name="T59" fmla="*/ 1343 h 2088"/>
                      <a:gd name="T60" fmla="*/ 376 w 2266"/>
                      <a:gd name="T61" fmla="*/ 1535 h 2088"/>
                      <a:gd name="T62" fmla="*/ 503 w 2266"/>
                      <a:gd name="T63" fmla="*/ 1635 h 2088"/>
                      <a:gd name="T64" fmla="*/ 533 w 2266"/>
                      <a:gd name="T65" fmla="*/ 1821 h 2088"/>
                      <a:gd name="T66" fmla="*/ 660 w 2266"/>
                      <a:gd name="T67" fmla="*/ 1932 h 2088"/>
                      <a:gd name="T68" fmla="*/ 787 w 2266"/>
                      <a:gd name="T69" fmla="*/ 1991 h 2088"/>
                      <a:gd name="T70" fmla="*/ 988 w 2266"/>
                      <a:gd name="T71" fmla="*/ 2047 h 2088"/>
                      <a:gd name="T72" fmla="*/ 1114 w 2266"/>
                      <a:gd name="T73" fmla="*/ 1995 h 2088"/>
                      <a:gd name="T74" fmla="*/ 1075 w 2266"/>
                      <a:gd name="T75" fmla="*/ 1743 h 2088"/>
                      <a:gd name="T76" fmla="*/ 1206 w 2266"/>
                      <a:gd name="T77" fmla="*/ 1750 h 2088"/>
                      <a:gd name="T78" fmla="*/ 1433 w 2266"/>
                      <a:gd name="T79" fmla="*/ 1728 h 2088"/>
                      <a:gd name="T80" fmla="*/ 1603 w 2266"/>
                      <a:gd name="T81" fmla="*/ 1650 h 2088"/>
                      <a:gd name="T82" fmla="*/ 1783 w 2266"/>
                      <a:gd name="T83" fmla="*/ 1658 h 2088"/>
                      <a:gd name="T84" fmla="*/ 1918 w 2266"/>
                      <a:gd name="T85" fmla="*/ 1558 h 2088"/>
                      <a:gd name="T86" fmla="*/ 2093 w 2266"/>
                      <a:gd name="T87" fmla="*/ 1528 h 2088"/>
                      <a:gd name="T88" fmla="*/ 2240 w 2266"/>
                      <a:gd name="T89" fmla="*/ 1453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6" h="2088">
                        <a:moveTo>
                          <a:pt x="2240" y="1453"/>
                        </a:moveTo>
                        <a:cubicBezTo>
                          <a:pt x="2266" y="1442"/>
                          <a:pt x="2264" y="1420"/>
                          <a:pt x="2263" y="1388"/>
                        </a:cubicBezTo>
                        <a:cubicBezTo>
                          <a:pt x="2261" y="1356"/>
                          <a:pt x="2251" y="1342"/>
                          <a:pt x="2228" y="1313"/>
                        </a:cubicBezTo>
                        <a:cubicBezTo>
                          <a:pt x="2205" y="1283"/>
                          <a:pt x="2192" y="1315"/>
                          <a:pt x="2164" y="1321"/>
                        </a:cubicBezTo>
                        <a:cubicBezTo>
                          <a:pt x="2136" y="1326"/>
                          <a:pt x="2131" y="1314"/>
                          <a:pt x="2115" y="1296"/>
                        </a:cubicBezTo>
                        <a:cubicBezTo>
                          <a:pt x="2099" y="1278"/>
                          <a:pt x="2097" y="1287"/>
                          <a:pt x="2073" y="1311"/>
                        </a:cubicBezTo>
                        <a:cubicBezTo>
                          <a:pt x="2048" y="1335"/>
                          <a:pt x="2004" y="1296"/>
                          <a:pt x="1996" y="1283"/>
                        </a:cubicBezTo>
                        <a:cubicBezTo>
                          <a:pt x="1987" y="1271"/>
                          <a:pt x="1982" y="1261"/>
                          <a:pt x="1976" y="1235"/>
                        </a:cubicBezTo>
                        <a:cubicBezTo>
                          <a:pt x="1969" y="1208"/>
                          <a:pt x="1915" y="1219"/>
                          <a:pt x="1891" y="1218"/>
                        </a:cubicBezTo>
                        <a:cubicBezTo>
                          <a:pt x="1866" y="1217"/>
                          <a:pt x="1873" y="1218"/>
                          <a:pt x="1866" y="1239"/>
                        </a:cubicBezTo>
                        <a:cubicBezTo>
                          <a:pt x="1860" y="1260"/>
                          <a:pt x="1838" y="1250"/>
                          <a:pt x="1819" y="1205"/>
                        </a:cubicBezTo>
                        <a:cubicBezTo>
                          <a:pt x="1810" y="1186"/>
                          <a:pt x="1817" y="1168"/>
                          <a:pt x="1828" y="1154"/>
                        </a:cubicBezTo>
                        <a:cubicBezTo>
                          <a:pt x="1813" y="1145"/>
                          <a:pt x="1809" y="1131"/>
                          <a:pt x="1831" y="1113"/>
                        </a:cubicBezTo>
                        <a:cubicBezTo>
                          <a:pt x="1870" y="1079"/>
                          <a:pt x="1883" y="1035"/>
                          <a:pt x="1857" y="1013"/>
                        </a:cubicBezTo>
                        <a:cubicBezTo>
                          <a:pt x="1831" y="991"/>
                          <a:pt x="1774" y="965"/>
                          <a:pt x="1774" y="939"/>
                        </a:cubicBezTo>
                        <a:cubicBezTo>
                          <a:pt x="1774" y="913"/>
                          <a:pt x="1739" y="887"/>
                          <a:pt x="1774" y="842"/>
                        </a:cubicBezTo>
                        <a:cubicBezTo>
                          <a:pt x="1809" y="798"/>
                          <a:pt x="1813" y="798"/>
                          <a:pt x="1831" y="776"/>
                        </a:cubicBezTo>
                        <a:cubicBezTo>
                          <a:pt x="1848" y="753"/>
                          <a:pt x="1848" y="724"/>
                          <a:pt x="1831" y="709"/>
                        </a:cubicBezTo>
                        <a:cubicBezTo>
                          <a:pt x="1813" y="694"/>
                          <a:pt x="1809" y="668"/>
                          <a:pt x="1783" y="664"/>
                        </a:cubicBezTo>
                        <a:cubicBezTo>
                          <a:pt x="1756" y="661"/>
                          <a:pt x="1739" y="698"/>
                          <a:pt x="1726" y="687"/>
                        </a:cubicBezTo>
                        <a:cubicBezTo>
                          <a:pt x="1713" y="675"/>
                          <a:pt x="1686" y="668"/>
                          <a:pt x="1686" y="690"/>
                        </a:cubicBezTo>
                        <a:cubicBezTo>
                          <a:pt x="1686" y="713"/>
                          <a:pt x="1652" y="709"/>
                          <a:pt x="1625" y="690"/>
                        </a:cubicBezTo>
                        <a:cubicBezTo>
                          <a:pt x="1599" y="672"/>
                          <a:pt x="1582" y="627"/>
                          <a:pt x="1603" y="616"/>
                        </a:cubicBezTo>
                        <a:cubicBezTo>
                          <a:pt x="1625" y="605"/>
                          <a:pt x="1634" y="601"/>
                          <a:pt x="1608" y="579"/>
                        </a:cubicBezTo>
                        <a:cubicBezTo>
                          <a:pt x="1582" y="557"/>
                          <a:pt x="1573" y="579"/>
                          <a:pt x="1608" y="535"/>
                        </a:cubicBezTo>
                        <a:cubicBezTo>
                          <a:pt x="1643" y="490"/>
                          <a:pt x="1652" y="446"/>
                          <a:pt x="1669" y="479"/>
                        </a:cubicBezTo>
                        <a:cubicBezTo>
                          <a:pt x="1686" y="512"/>
                          <a:pt x="1686" y="538"/>
                          <a:pt x="1717" y="509"/>
                        </a:cubicBezTo>
                        <a:cubicBezTo>
                          <a:pt x="1748" y="479"/>
                          <a:pt x="1682" y="464"/>
                          <a:pt x="1748" y="479"/>
                        </a:cubicBezTo>
                        <a:cubicBezTo>
                          <a:pt x="1813" y="494"/>
                          <a:pt x="1818" y="498"/>
                          <a:pt x="1866" y="490"/>
                        </a:cubicBezTo>
                        <a:cubicBezTo>
                          <a:pt x="1914" y="483"/>
                          <a:pt x="1931" y="479"/>
                          <a:pt x="1957" y="475"/>
                        </a:cubicBezTo>
                        <a:cubicBezTo>
                          <a:pt x="1984" y="472"/>
                          <a:pt x="1988" y="409"/>
                          <a:pt x="1992" y="379"/>
                        </a:cubicBezTo>
                        <a:cubicBezTo>
                          <a:pt x="1997" y="349"/>
                          <a:pt x="1984" y="320"/>
                          <a:pt x="1966" y="312"/>
                        </a:cubicBezTo>
                        <a:cubicBezTo>
                          <a:pt x="1949" y="305"/>
                          <a:pt x="1922" y="290"/>
                          <a:pt x="1909" y="312"/>
                        </a:cubicBezTo>
                        <a:cubicBezTo>
                          <a:pt x="1896" y="334"/>
                          <a:pt x="1857" y="368"/>
                          <a:pt x="1818" y="360"/>
                        </a:cubicBezTo>
                        <a:cubicBezTo>
                          <a:pt x="1778" y="353"/>
                          <a:pt x="1735" y="334"/>
                          <a:pt x="1756" y="316"/>
                        </a:cubicBezTo>
                        <a:cubicBezTo>
                          <a:pt x="1778" y="297"/>
                          <a:pt x="1765" y="268"/>
                          <a:pt x="1743" y="249"/>
                        </a:cubicBezTo>
                        <a:cubicBezTo>
                          <a:pt x="1721" y="231"/>
                          <a:pt x="1721" y="212"/>
                          <a:pt x="1730" y="201"/>
                        </a:cubicBezTo>
                        <a:cubicBezTo>
                          <a:pt x="1739" y="190"/>
                          <a:pt x="1761" y="160"/>
                          <a:pt x="1717" y="164"/>
                        </a:cubicBezTo>
                        <a:cubicBezTo>
                          <a:pt x="1673" y="168"/>
                          <a:pt x="1577" y="179"/>
                          <a:pt x="1617" y="205"/>
                        </a:cubicBezTo>
                        <a:cubicBezTo>
                          <a:pt x="1656" y="231"/>
                          <a:pt x="1643" y="257"/>
                          <a:pt x="1608" y="264"/>
                        </a:cubicBezTo>
                        <a:cubicBezTo>
                          <a:pt x="1573" y="271"/>
                          <a:pt x="1503" y="290"/>
                          <a:pt x="1525" y="316"/>
                        </a:cubicBezTo>
                        <a:cubicBezTo>
                          <a:pt x="1547" y="342"/>
                          <a:pt x="1542" y="379"/>
                          <a:pt x="1516" y="405"/>
                        </a:cubicBezTo>
                        <a:cubicBezTo>
                          <a:pt x="1490" y="431"/>
                          <a:pt x="1477" y="486"/>
                          <a:pt x="1437" y="490"/>
                        </a:cubicBezTo>
                        <a:cubicBezTo>
                          <a:pt x="1398" y="494"/>
                          <a:pt x="1389" y="516"/>
                          <a:pt x="1394" y="549"/>
                        </a:cubicBezTo>
                        <a:cubicBezTo>
                          <a:pt x="1398" y="583"/>
                          <a:pt x="1385" y="594"/>
                          <a:pt x="1411" y="635"/>
                        </a:cubicBezTo>
                        <a:cubicBezTo>
                          <a:pt x="1437" y="675"/>
                          <a:pt x="1442" y="727"/>
                          <a:pt x="1411" y="753"/>
                        </a:cubicBezTo>
                        <a:cubicBezTo>
                          <a:pt x="1381" y="779"/>
                          <a:pt x="1337" y="787"/>
                          <a:pt x="1333" y="776"/>
                        </a:cubicBezTo>
                        <a:cubicBezTo>
                          <a:pt x="1328" y="764"/>
                          <a:pt x="1315" y="720"/>
                          <a:pt x="1280" y="757"/>
                        </a:cubicBezTo>
                        <a:cubicBezTo>
                          <a:pt x="1245" y="794"/>
                          <a:pt x="1197" y="827"/>
                          <a:pt x="1158" y="824"/>
                        </a:cubicBezTo>
                        <a:cubicBezTo>
                          <a:pt x="1119" y="820"/>
                          <a:pt x="1071" y="790"/>
                          <a:pt x="1066" y="779"/>
                        </a:cubicBezTo>
                        <a:cubicBezTo>
                          <a:pt x="1062" y="768"/>
                          <a:pt x="1075" y="731"/>
                          <a:pt x="1036" y="709"/>
                        </a:cubicBezTo>
                        <a:cubicBezTo>
                          <a:pt x="996" y="687"/>
                          <a:pt x="1040" y="642"/>
                          <a:pt x="996" y="612"/>
                        </a:cubicBezTo>
                        <a:cubicBezTo>
                          <a:pt x="953" y="583"/>
                          <a:pt x="961" y="568"/>
                          <a:pt x="948" y="527"/>
                        </a:cubicBezTo>
                        <a:cubicBezTo>
                          <a:pt x="935" y="486"/>
                          <a:pt x="878" y="427"/>
                          <a:pt x="848" y="397"/>
                        </a:cubicBezTo>
                        <a:cubicBezTo>
                          <a:pt x="817" y="368"/>
                          <a:pt x="730" y="375"/>
                          <a:pt x="704" y="331"/>
                        </a:cubicBezTo>
                        <a:cubicBezTo>
                          <a:pt x="677" y="286"/>
                          <a:pt x="660" y="268"/>
                          <a:pt x="686" y="242"/>
                        </a:cubicBezTo>
                        <a:cubicBezTo>
                          <a:pt x="712" y="216"/>
                          <a:pt x="699" y="201"/>
                          <a:pt x="673" y="190"/>
                        </a:cubicBezTo>
                        <a:cubicBezTo>
                          <a:pt x="647" y="179"/>
                          <a:pt x="616" y="201"/>
                          <a:pt x="608" y="223"/>
                        </a:cubicBezTo>
                        <a:cubicBezTo>
                          <a:pt x="599" y="246"/>
                          <a:pt x="568" y="257"/>
                          <a:pt x="542" y="268"/>
                        </a:cubicBezTo>
                        <a:cubicBezTo>
                          <a:pt x="516" y="279"/>
                          <a:pt x="481" y="297"/>
                          <a:pt x="472" y="223"/>
                        </a:cubicBezTo>
                        <a:cubicBezTo>
                          <a:pt x="463" y="149"/>
                          <a:pt x="468" y="105"/>
                          <a:pt x="468" y="68"/>
                        </a:cubicBezTo>
                        <a:cubicBezTo>
                          <a:pt x="468" y="43"/>
                          <a:pt x="468" y="23"/>
                          <a:pt x="448" y="0"/>
                        </a:cubicBezTo>
                        <a:cubicBezTo>
                          <a:pt x="446" y="2"/>
                          <a:pt x="444" y="3"/>
                          <a:pt x="442" y="5"/>
                        </a:cubicBezTo>
                        <a:cubicBezTo>
                          <a:pt x="411" y="23"/>
                          <a:pt x="385" y="1"/>
                          <a:pt x="385" y="42"/>
                        </a:cubicBezTo>
                        <a:cubicBezTo>
                          <a:pt x="385" y="82"/>
                          <a:pt x="428" y="71"/>
                          <a:pt x="385" y="82"/>
                        </a:cubicBezTo>
                        <a:cubicBezTo>
                          <a:pt x="341" y="94"/>
                          <a:pt x="328" y="71"/>
                          <a:pt x="328" y="112"/>
                        </a:cubicBezTo>
                        <a:cubicBezTo>
                          <a:pt x="328" y="153"/>
                          <a:pt x="341" y="205"/>
                          <a:pt x="337" y="238"/>
                        </a:cubicBezTo>
                        <a:cubicBezTo>
                          <a:pt x="332" y="271"/>
                          <a:pt x="324" y="290"/>
                          <a:pt x="289" y="275"/>
                        </a:cubicBezTo>
                        <a:cubicBezTo>
                          <a:pt x="254" y="260"/>
                          <a:pt x="271" y="216"/>
                          <a:pt x="228" y="264"/>
                        </a:cubicBezTo>
                        <a:cubicBezTo>
                          <a:pt x="220" y="272"/>
                          <a:pt x="214" y="279"/>
                          <a:pt x="209" y="285"/>
                        </a:cubicBezTo>
                        <a:cubicBezTo>
                          <a:pt x="212" y="298"/>
                          <a:pt x="213" y="315"/>
                          <a:pt x="219" y="338"/>
                        </a:cubicBezTo>
                        <a:cubicBezTo>
                          <a:pt x="232" y="394"/>
                          <a:pt x="232" y="383"/>
                          <a:pt x="241" y="409"/>
                        </a:cubicBezTo>
                        <a:cubicBezTo>
                          <a:pt x="249" y="435"/>
                          <a:pt x="254" y="431"/>
                          <a:pt x="293" y="397"/>
                        </a:cubicBezTo>
                        <a:cubicBezTo>
                          <a:pt x="332" y="364"/>
                          <a:pt x="311" y="416"/>
                          <a:pt x="341" y="438"/>
                        </a:cubicBezTo>
                        <a:cubicBezTo>
                          <a:pt x="372" y="461"/>
                          <a:pt x="345" y="498"/>
                          <a:pt x="354" y="546"/>
                        </a:cubicBezTo>
                        <a:cubicBezTo>
                          <a:pt x="363" y="594"/>
                          <a:pt x="367" y="609"/>
                          <a:pt x="363" y="650"/>
                        </a:cubicBezTo>
                        <a:cubicBezTo>
                          <a:pt x="359" y="690"/>
                          <a:pt x="337" y="750"/>
                          <a:pt x="337" y="787"/>
                        </a:cubicBezTo>
                        <a:cubicBezTo>
                          <a:pt x="337" y="824"/>
                          <a:pt x="311" y="824"/>
                          <a:pt x="337" y="861"/>
                        </a:cubicBezTo>
                        <a:cubicBezTo>
                          <a:pt x="363" y="898"/>
                          <a:pt x="271" y="872"/>
                          <a:pt x="267" y="898"/>
                        </a:cubicBezTo>
                        <a:cubicBezTo>
                          <a:pt x="262" y="924"/>
                          <a:pt x="249" y="935"/>
                          <a:pt x="210" y="931"/>
                        </a:cubicBezTo>
                        <a:cubicBezTo>
                          <a:pt x="171" y="928"/>
                          <a:pt x="184" y="987"/>
                          <a:pt x="158" y="1005"/>
                        </a:cubicBezTo>
                        <a:cubicBezTo>
                          <a:pt x="131" y="1024"/>
                          <a:pt x="79" y="1042"/>
                          <a:pt x="79" y="1087"/>
                        </a:cubicBezTo>
                        <a:cubicBezTo>
                          <a:pt x="79" y="1131"/>
                          <a:pt x="53" y="1131"/>
                          <a:pt x="27" y="1146"/>
                        </a:cubicBezTo>
                        <a:cubicBezTo>
                          <a:pt x="0" y="1161"/>
                          <a:pt x="22" y="1191"/>
                          <a:pt x="31" y="1213"/>
                        </a:cubicBezTo>
                        <a:cubicBezTo>
                          <a:pt x="40" y="1235"/>
                          <a:pt x="75" y="1254"/>
                          <a:pt x="70" y="1280"/>
                        </a:cubicBezTo>
                        <a:cubicBezTo>
                          <a:pt x="66" y="1306"/>
                          <a:pt x="22" y="1298"/>
                          <a:pt x="27" y="1343"/>
                        </a:cubicBezTo>
                        <a:cubicBezTo>
                          <a:pt x="31" y="1387"/>
                          <a:pt x="105" y="1328"/>
                          <a:pt x="136" y="1302"/>
                        </a:cubicBezTo>
                        <a:cubicBezTo>
                          <a:pt x="166" y="1276"/>
                          <a:pt x="201" y="1294"/>
                          <a:pt x="236" y="1302"/>
                        </a:cubicBezTo>
                        <a:cubicBezTo>
                          <a:pt x="271" y="1309"/>
                          <a:pt x="311" y="1306"/>
                          <a:pt x="341" y="1287"/>
                        </a:cubicBezTo>
                        <a:cubicBezTo>
                          <a:pt x="372" y="1268"/>
                          <a:pt x="354" y="1320"/>
                          <a:pt x="332" y="1343"/>
                        </a:cubicBezTo>
                        <a:cubicBezTo>
                          <a:pt x="311" y="1365"/>
                          <a:pt x="328" y="1387"/>
                          <a:pt x="350" y="1413"/>
                        </a:cubicBezTo>
                        <a:cubicBezTo>
                          <a:pt x="372" y="1439"/>
                          <a:pt x="341" y="1465"/>
                          <a:pt x="372" y="1480"/>
                        </a:cubicBezTo>
                        <a:cubicBezTo>
                          <a:pt x="402" y="1495"/>
                          <a:pt x="363" y="1517"/>
                          <a:pt x="376" y="1535"/>
                        </a:cubicBezTo>
                        <a:cubicBezTo>
                          <a:pt x="389" y="1554"/>
                          <a:pt x="424" y="1565"/>
                          <a:pt x="442" y="1558"/>
                        </a:cubicBezTo>
                        <a:cubicBezTo>
                          <a:pt x="459" y="1550"/>
                          <a:pt x="490" y="1546"/>
                          <a:pt x="520" y="1572"/>
                        </a:cubicBezTo>
                        <a:cubicBezTo>
                          <a:pt x="551" y="1598"/>
                          <a:pt x="529" y="1613"/>
                          <a:pt x="503" y="1635"/>
                        </a:cubicBezTo>
                        <a:cubicBezTo>
                          <a:pt x="476" y="1658"/>
                          <a:pt x="481" y="1669"/>
                          <a:pt x="485" y="1698"/>
                        </a:cubicBezTo>
                        <a:cubicBezTo>
                          <a:pt x="490" y="1728"/>
                          <a:pt x="442" y="1780"/>
                          <a:pt x="437" y="1806"/>
                        </a:cubicBezTo>
                        <a:cubicBezTo>
                          <a:pt x="433" y="1832"/>
                          <a:pt x="507" y="1806"/>
                          <a:pt x="533" y="1821"/>
                        </a:cubicBezTo>
                        <a:cubicBezTo>
                          <a:pt x="559" y="1836"/>
                          <a:pt x="590" y="1839"/>
                          <a:pt x="621" y="1839"/>
                        </a:cubicBezTo>
                        <a:cubicBezTo>
                          <a:pt x="651" y="1839"/>
                          <a:pt x="647" y="1869"/>
                          <a:pt x="629" y="1895"/>
                        </a:cubicBezTo>
                        <a:cubicBezTo>
                          <a:pt x="612" y="1921"/>
                          <a:pt x="629" y="1928"/>
                          <a:pt x="660" y="1932"/>
                        </a:cubicBezTo>
                        <a:cubicBezTo>
                          <a:pt x="691" y="1936"/>
                          <a:pt x="691" y="1954"/>
                          <a:pt x="691" y="1976"/>
                        </a:cubicBezTo>
                        <a:cubicBezTo>
                          <a:pt x="691" y="1999"/>
                          <a:pt x="717" y="1999"/>
                          <a:pt x="730" y="1973"/>
                        </a:cubicBezTo>
                        <a:cubicBezTo>
                          <a:pt x="743" y="1947"/>
                          <a:pt x="756" y="1969"/>
                          <a:pt x="787" y="1991"/>
                        </a:cubicBezTo>
                        <a:cubicBezTo>
                          <a:pt x="817" y="2013"/>
                          <a:pt x="857" y="1958"/>
                          <a:pt x="896" y="1932"/>
                        </a:cubicBezTo>
                        <a:cubicBezTo>
                          <a:pt x="935" y="1906"/>
                          <a:pt x="957" y="1928"/>
                          <a:pt x="953" y="1939"/>
                        </a:cubicBezTo>
                        <a:cubicBezTo>
                          <a:pt x="948" y="1950"/>
                          <a:pt x="966" y="2006"/>
                          <a:pt x="988" y="2047"/>
                        </a:cubicBezTo>
                        <a:cubicBezTo>
                          <a:pt x="1009" y="2088"/>
                          <a:pt x="1018" y="2065"/>
                          <a:pt x="1044" y="2051"/>
                        </a:cubicBezTo>
                        <a:cubicBezTo>
                          <a:pt x="1071" y="2036"/>
                          <a:pt x="1088" y="2065"/>
                          <a:pt x="1123" y="2062"/>
                        </a:cubicBezTo>
                        <a:cubicBezTo>
                          <a:pt x="1158" y="2058"/>
                          <a:pt x="1132" y="2032"/>
                          <a:pt x="1114" y="1995"/>
                        </a:cubicBezTo>
                        <a:cubicBezTo>
                          <a:pt x="1097" y="1958"/>
                          <a:pt x="1119" y="1965"/>
                          <a:pt x="1123" y="1939"/>
                        </a:cubicBezTo>
                        <a:cubicBezTo>
                          <a:pt x="1127" y="1913"/>
                          <a:pt x="1079" y="1854"/>
                          <a:pt x="1071" y="1832"/>
                        </a:cubicBezTo>
                        <a:cubicBezTo>
                          <a:pt x="1062" y="1810"/>
                          <a:pt x="1053" y="1773"/>
                          <a:pt x="1075" y="1743"/>
                        </a:cubicBezTo>
                        <a:cubicBezTo>
                          <a:pt x="1097" y="1713"/>
                          <a:pt x="1114" y="1717"/>
                          <a:pt x="1123" y="1732"/>
                        </a:cubicBezTo>
                        <a:cubicBezTo>
                          <a:pt x="1132" y="1747"/>
                          <a:pt x="1132" y="1754"/>
                          <a:pt x="1145" y="1743"/>
                        </a:cubicBezTo>
                        <a:cubicBezTo>
                          <a:pt x="1158" y="1732"/>
                          <a:pt x="1167" y="1739"/>
                          <a:pt x="1206" y="1750"/>
                        </a:cubicBezTo>
                        <a:cubicBezTo>
                          <a:pt x="1245" y="1761"/>
                          <a:pt x="1228" y="1739"/>
                          <a:pt x="1267" y="1695"/>
                        </a:cubicBezTo>
                        <a:cubicBezTo>
                          <a:pt x="1306" y="1650"/>
                          <a:pt x="1324" y="1658"/>
                          <a:pt x="1350" y="1669"/>
                        </a:cubicBezTo>
                        <a:cubicBezTo>
                          <a:pt x="1376" y="1680"/>
                          <a:pt x="1403" y="1710"/>
                          <a:pt x="1433" y="1728"/>
                        </a:cubicBezTo>
                        <a:cubicBezTo>
                          <a:pt x="1464" y="1747"/>
                          <a:pt x="1494" y="1706"/>
                          <a:pt x="1512" y="1665"/>
                        </a:cubicBezTo>
                        <a:cubicBezTo>
                          <a:pt x="1529" y="1624"/>
                          <a:pt x="1547" y="1661"/>
                          <a:pt x="1560" y="1680"/>
                        </a:cubicBezTo>
                        <a:cubicBezTo>
                          <a:pt x="1573" y="1698"/>
                          <a:pt x="1595" y="1684"/>
                          <a:pt x="1603" y="1650"/>
                        </a:cubicBezTo>
                        <a:cubicBezTo>
                          <a:pt x="1612" y="1617"/>
                          <a:pt x="1656" y="1687"/>
                          <a:pt x="1686" y="1706"/>
                        </a:cubicBezTo>
                        <a:cubicBezTo>
                          <a:pt x="1717" y="1724"/>
                          <a:pt x="1708" y="1661"/>
                          <a:pt x="1721" y="1643"/>
                        </a:cubicBezTo>
                        <a:cubicBezTo>
                          <a:pt x="1735" y="1624"/>
                          <a:pt x="1769" y="1647"/>
                          <a:pt x="1783" y="1658"/>
                        </a:cubicBezTo>
                        <a:cubicBezTo>
                          <a:pt x="1796" y="1669"/>
                          <a:pt x="1822" y="1661"/>
                          <a:pt x="1839" y="1643"/>
                        </a:cubicBezTo>
                        <a:cubicBezTo>
                          <a:pt x="1857" y="1624"/>
                          <a:pt x="1879" y="1624"/>
                          <a:pt x="1909" y="1609"/>
                        </a:cubicBezTo>
                        <a:cubicBezTo>
                          <a:pt x="1940" y="1595"/>
                          <a:pt x="1918" y="1587"/>
                          <a:pt x="1918" y="1558"/>
                        </a:cubicBezTo>
                        <a:cubicBezTo>
                          <a:pt x="1918" y="1528"/>
                          <a:pt x="1940" y="1528"/>
                          <a:pt x="1975" y="1528"/>
                        </a:cubicBezTo>
                        <a:cubicBezTo>
                          <a:pt x="2010" y="1528"/>
                          <a:pt x="2010" y="1517"/>
                          <a:pt x="2036" y="1491"/>
                        </a:cubicBezTo>
                        <a:cubicBezTo>
                          <a:pt x="2062" y="1465"/>
                          <a:pt x="2067" y="1509"/>
                          <a:pt x="2093" y="1528"/>
                        </a:cubicBezTo>
                        <a:cubicBezTo>
                          <a:pt x="2093" y="1528"/>
                          <a:pt x="2094" y="1529"/>
                          <a:pt x="2094" y="1529"/>
                        </a:cubicBezTo>
                        <a:cubicBezTo>
                          <a:pt x="2116" y="1504"/>
                          <a:pt x="2145" y="1483"/>
                          <a:pt x="2154" y="1463"/>
                        </a:cubicBezTo>
                        <a:cubicBezTo>
                          <a:pt x="2168" y="1435"/>
                          <a:pt x="2213" y="1464"/>
                          <a:pt x="2240" y="145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4" name="Freeform 16">
                    <a:extLst>
                      <a:ext uri="{FF2B5EF4-FFF2-40B4-BE49-F238E27FC236}">
                        <a16:creationId xmlns:a16="http://schemas.microsoft.com/office/drawing/2014/main" id="{43B51E30-7ABB-514A-B545-769F73612E93}"/>
                      </a:ext>
                    </a:extLst>
                  </p:cNvPr>
                  <p:cNvSpPr>
                    <a:spLocks/>
                  </p:cNvSpPr>
                  <p:nvPr/>
                </p:nvSpPr>
                <p:spPr bwMode="auto">
                  <a:xfrm>
                    <a:off x="3140" y="3330"/>
                    <a:ext cx="916" cy="601"/>
                  </a:xfrm>
                  <a:custGeom>
                    <a:avLst/>
                    <a:gdLst>
                      <a:gd name="T0" fmla="*/ 1938 w 1978"/>
                      <a:gd name="T1" fmla="*/ 430 h 1298"/>
                      <a:gd name="T2" fmla="*/ 1896 w 1978"/>
                      <a:gd name="T3" fmla="*/ 398 h 1298"/>
                      <a:gd name="T4" fmla="*/ 1794 w 1978"/>
                      <a:gd name="T5" fmla="*/ 345 h 1298"/>
                      <a:gd name="T6" fmla="*/ 1719 w 1978"/>
                      <a:gd name="T7" fmla="*/ 267 h 1298"/>
                      <a:gd name="T8" fmla="*/ 1715 w 1978"/>
                      <a:gd name="T9" fmla="*/ 117 h 1298"/>
                      <a:gd name="T10" fmla="*/ 1676 w 1978"/>
                      <a:gd name="T11" fmla="*/ 12 h 1298"/>
                      <a:gd name="T12" fmla="*/ 1578 w 1978"/>
                      <a:gd name="T13" fmla="*/ 37 h 1298"/>
                      <a:gd name="T14" fmla="*/ 1489 w 1978"/>
                      <a:gd name="T15" fmla="*/ 114 h 1298"/>
                      <a:gd name="T16" fmla="*/ 1365 w 1978"/>
                      <a:gd name="T17" fmla="*/ 120 h 1298"/>
                      <a:gd name="T18" fmla="*/ 1261 w 1978"/>
                      <a:gd name="T19" fmla="*/ 120 h 1298"/>
                      <a:gd name="T20" fmla="*/ 1200 w 1978"/>
                      <a:gd name="T21" fmla="*/ 197 h 1298"/>
                      <a:gd name="T22" fmla="*/ 1135 w 1978"/>
                      <a:gd name="T23" fmla="*/ 264 h 1298"/>
                      <a:gd name="T24" fmla="*/ 1012 w 1978"/>
                      <a:gd name="T25" fmla="*/ 290 h 1298"/>
                      <a:gd name="T26" fmla="*/ 907 w 1978"/>
                      <a:gd name="T27" fmla="*/ 360 h 1298"/>
                      <a:gd name="T28" fmla="*/ 798 w 1978"/>
                      <a:gd name="T29" fmla="*/ 349 h 1298"/>
                      <a:gd name="T30" fmla="*/ 685 w 1978"/>
                      <a:gd name="T31" fmla="*/ 301 h 1298"/>
                      <a:gd name="T32" fmla="*/ 523 w 1978"/>
                      <a:gd name="T33" fmla="*/ 412 h 1298"/>
                      <a:gd name="T34" fmla="*/ 379 w 1978"/>
                      <a:gd name="T35" fmla="*/ 516 h 1298"/>
                      <a:gd name="T36" fmla="*/ 195 w 1978"/>
                      <a:gd name="T37" fmla="*/ 445 h 1298"/>
                      <a:gd name="T38" fmla="*/ 69 w 1978"/>
                      <a:gd name="T39" fmla="*/ 527 h 1298"/>
                      <a:gd name="T40" fmla="*/ 9 w 1978"/>
                      <a:gd name="T41" fmla="*/ 567 h 1298"/>
                      <a:gd name="T42" fmla="*/ 81 w 1978"/>
                      <a:gd name="T43" fmla="*/ 580 h 1298"/>
                      <a:gd name="T44" fmla="*/ 186 w 1978"/>
                      <a:gd name="T45" fmla="*/ 645 h 1298"/>
                      <a:gd name="T46" fmla="*/ 305 w 1978"/>
                      <a:gd name="T47" fmla="*/ 658 h 1298"/>
                      <a:gd name="T48" fmla="*/ 418 w 1978"/>
                      <a:gd name="T49" fmla="*/ 675 h 1298"/>
                      <a:gd name="T50" fmla="*/ 430 w 1978"/>
                      <a:gd name="T51" fmla="*/ 815 h 1298"/>
                      <a:gd name="T52" fmla="*/ 284 w 1978"/>
                      <a:gd name="T53" fmla="*/ 891 h 1298"/>
                      <a:gd name="T54" fmla="*/ 427 w 1978"/>
                      <a:gd name="T55" fmla="*/ 931 h 1298"/>
                      <a:gd name="T56" fmla="*/ 545 w 1978"/>
                      <a:gd name="T57" fmla="*/ 957 h 1298"/>
                      <a:gd name="T58" fmla="*/ 593 w 1978"/>
                      <a:gd name="T59" fmla="*/ 1038 h 1298"/>
                      <a:gd name="T60" fmla="*/ 623 w 1978"/>
                      <a:gd name="T61" fmla="*/ 1153 h 1298"/>
                      <a:gd name="T62" fmla="*/ 720 w 1978"/>
                      <a:gd name="T63" fmla="*/ 1220 h 1298"/>
                      <a:gd name="T64" fmla="*/ 929 w 1978"/>
                      <a:gd name="T65" fmla="*/ 1253 h 1298"/>
                      <a:gd name="T66" fmla="*/ 1065 w 1978"/>
                      <a:gd name="T67" fmla="*/ 1264 h 1298"/>
                      <a:gd name="T68" fmla="*/ 1161 w 1978"/>
                      <a:gd name="T69" fmla="*/ 1220 h 1298"/>
                      <a:gd name="T70" fmla="*/ 1296 w 1978"/>
                      <a:gd name="T71" fmla="*/ 1294 h 1298"/>
                      <a:gd name="T72" fmla="*/ 1423 w 1978"/>
                      <a:gd name="T73" fmla="*/ 1249 h 1298"/>
                      <a:gd name="T74" fmla="*/ 1447 w 1978"/>
                      <a:gd name="T75" fmla="*/ 1231 h 1298"/>
                      <a:gd name="T76" fmla="*/ 1501 w 1978"/>
                      <a:gd name="T77" fmla="*/ 1164 h 1298"/>
                      <a:gd name="T78" fmla="*/ 1608 w 1978"/>
                      <a:gd name="T79" fmla="*/ 1079 h 1298"/>
                      <a:gd name="T80" fmla="*/ 1685 w 1978"/>
                      <a:gd name="T81" fmla="*/ 1020 h 1298"/>
                      <a:gd name="T82" fmla="*/ 1801 w 1978"/>
                      <a:gd name="T83" fmla="*/ 910 h 1298"/>
                      <a:gd name="T84" fmla="*/ 1862 w 1978"/>
                      <a:gd name="T85" fmla="*/ 681 h 1298"/>
                      <a:gd name="T86" fmla="*/ 1954 w 1978"/>
                      <a:gd name="T87" fmla="*/ 523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8" h="1298">
                        <a:moveTo>
                          <a:pt x="1967" y="480"/>
                        </a:moveTo>
                        <a:cubicBezTo>
                          <a:pt x="1956" y="456"/>
                          <a:pt x="1930" y="460"/>
                          <a:pt x="1938" y="430"/>
                        </a:cubicBezTo>
                        <a:cubicBezTo>
                          <a:pt x="1943" y="415"/>
                          <a:pt x="1938" y="406"/>
                          <a:pt x="1939" y="400"/>
                        </a:cubicBezTo>
                        <a:cubicBezTo>
                          <a:pt x="1913" y="391"/>
                          <a:pt x="1915" y="402"/>
                          <a:pt x="1896" y="398"/>
                        </a:cubicBezTo>
                        <a:cubicBezTo>
                          <a:pt x="1869" y="392"/>
                          <a:pt x="1879" y="401"/>
                          <a:pt x="1840" y="431"/>
                        </a:cubicBezTo>
                        <a:cubicBezTo>
                          <a:pt x="1801" y="462"/>
                          <a:pt x="1804" y="376"/>
                          <a:pt x="1794" y="345"/>
                        </a:cubicBezTo>
                        <a:cubicBezTo>
                          <a:pt x="1784" y="315"/>
                          <a:pt x="1752" y="331"/>
                          <a:pt x="1706" y="331"/>
                        </a:cubicBezTo>
                        <a:cubicBezTo>
                          <a:pt x="1660" y="331"/>
                          <a:pt x="1660" y="312"/>
                          <a:pt x="1719" y="267"/>
                        </a:cubicBezTo>
                        <a:cubicBezTo>
                          <a:pt x="1778" y="223"/>
                          <a:pt x="1755" y="178"/>
                          <a:pt x="1758" y="145"/>
                        </a:cubicBezTo>
                        <a:cubicBezTo>
                          <a:pt x="1761" y="112"/>
                          <a:pt x="1748" y="117"/>
                          <a:pt x="1715" y="117"/>
                        </a:cubicBezTo>
                        <a:cubicBezTo>
                          <a:pt x="1683" y="117"/>
                          <a:pt x="1702" y="81"/>
                          <a:pt x="1719" y="50"/>
                        </a:cubicBezTo>
                        <a:cubicBezTo>
                          <a:pt x="1735" y="20"/>
                          <a:pt x="1709" y="23"/>
                          <a:pt x="1676" y="12"/>
                        </a:cubicBezTo>
                        <a:cubicBezTo>
                          <a:pt x="1643" y="0"/>
                          <a:pt x="1640" y="23"/>
                          <a:pt x="1627" y="34"/>
                        </a:cubicBezTo>
                        <a:cubicBezTo>
                          <a:pt x="1614" y="45"/>
                          <a:pt x="1604" y="42"/>
                          <a:pt x="1578" y="37"/>
                        </a:cubicBezTo>
                        <a:cubicBezTo>
                          <a:pt x="1552" y="31"/>
                          <a:pt x="1542" y="34"/>
                          <a:pt x="1535" y="62"/>
                        </a:cubicBezTo>
                        <a:cubicBezTo>
                          <a:pt x="1529" y="89"/>
                          <a:pt x="1525" y="75"/>
                          <a:pt x="1489" y="114"/>
                        </a:cubicBezTo>
                        <a:cubicBezTo>
                          <a:pt x="1404" y="128"/>
                          <a:pt x="1453" y="117"/>
                          <a:pt x="1424" y="70"/>
                        </a:cubicBezTo>
                        <a:cubicBezTo>
                          <a:pt x="1394" y="23"/>
                          <a:pt x="1368" y="92"/>
                          <a:pt x="1365" y="120"/>
                        </a:cubicBezTo>
                        <a:cubicBezTo>
                          <a:pt x="1362" y="148"/>
                          <a:pt x="1329" y="162"/>
                          <a:pt x="1316" y="137"/>
                        </a:cubicBezTo>
                        <a:cubicBezTo>
                          <a:pt x="1309" y="124"/>
                          <a:pt x="1285" y="121"/>
                          <a:pt x="1261" y="120"/>
                        </a:cubicBezTo>
                        <a:cubicBezTo>
                          <a:pt x="1265" y="134"/>
                          <a:pt x="1264" y="150"/>
                          <a:pt x="1252" y="167"/>
                        </a:cubicBezTo>
                        <a:cubicBezTo>
                          <a:pt x="1231" y="201"/>
                          <a:pt x="1218" y="212"/>
                          <a:pt x="1200" y="197"/>
                        </a:cubicBezTo>
                        <a:cubicBezTo>
                          <a:pt x="1183" y="182"/>
                          <a:pt x="1135" y="178"/>
                          <a:pt x="1135" y="208"/>
                        </a:cubicBezTo>
                        <a:cubicBezTo>
                          <a:pt x="1135" y="238"/>
                          <a:pt x="1178" y="264"/>
                          <a:pt x="1135" y="264"/>
                        </a:cubicBezTo>
                        <a:cubicBezTo>
                          <a:pt x="1091" y="264"/>
                          <a:pt x="1073" y="249"/>
                          <a:pt x="1065" y="275"/>
                        </a:cubicBezTo>
                        <a:cubicBezTo>
                          <a:pt x="1056" y="301"/>
                          <a:pt x="1043" y="308"/>
                          <a:pt x="1012" y="290"/>
                        </a:cubicBezTo>
                        <a:cubicBezTo>
                          <a:pt x="982" y="271"/>
                          <a:pt x="942" y="278"/>
                          <a:pt x="934" y="304"/>
                        </a:cubicBezTo>
                        <a:cubicBezTo>
                          <a:pt x="925" y="330"/>
                          <a:pt x="938" y="353"/>
                          <a:pt x="907" y="360"/>
                        </a:cubicBezTo>
                        <a:cubicBezTo>
                          <a:pt x="877" y="367"/>
                          <a:pt x="877" y="404"/>
                          <a:pt x="851" y="378"/>
                        </a:cubicBezTo>
                        <a:cubicBezTo>
                          <a:pt x="824" y="353"/>
                          <a:pt x="816" y="338"/>
                          <a:pt x="798" y="349"/>
                        </a:cubicBezTo>
                        <a:cubicBezTo>
                          <a:pt x="781" y="360"/>
                          <a:pt x="750" y="360"/>
                          <a:pt x="733" y="327"/>
                        </a:cubicBezTo>
                        <a:cubicBezTo>
                          <a:pt x="715" y="293"/>
                          <a:pt x="724" y="264"/>
                          <a:pt x="685" y="301"/>
                        </a:cubicBezTo>
                        <a:cubicBezTo>
                          <a:pt x="645" y="338"/>
                          <a:pt x="658" y="367"/>
                          <a:pt x="610" y="371"/>
                        </a:cubicBezTo>
                        <a:cubicBezTo>
                          <a:pt x="562" y="375"/>
                          <a:pt x="545" y="390"/>
                          <a:pt x="523" y="412"/>
                        </a:cubicBezTo>
                        <a:cubicBezTo>
                          <a:pt x="501" y="434"/>
                          <a:pt x="436" y="423"/>
                          <a:pt x="436" y="460"/>
                        </a:cubicBezTo>
                        <a:cubicBezTo>
                          <a:pt x="436" y="497"/>
                          <a:pt x="414" y="538"/>
                          <a:pt x="379" y="516"/>
                        </a:cubicBezTo>
                        <a:cubicBezTo>
                          <a:pt x="344" y="493"/>
                          <a:pt x="313" y="479"/>
                          <a:pt x="287" y="482"/>
                        </a:cubicBezTo>
                        <a:cubicBezTo>
                          <a:pt x="261" y="486"/>
                          <a:pt x="230" y="441"/>
                          <a:pt x="195" y="445"/>
                        </a:cubicBezTo>
                        <a:cubicBezTo>
                          <a:pt x="160" y="449"/>
                          <a:pt x="156" y="464"/>
                          <a:pt x="139" y="486"/>
                        </a:cubicBezTo>
                        <a:cubicBezTo>
                          <a:pt x="121" y="508"/>
                          <a:pt x="112" y="527"/>
                          <a:pt x="69" y="527"/>
                        </a:cubicBezTo>
                        <a:cubicBezTo>
                          <a:pt x="49" y="527"/>
                          <a:pt x="30" y="523"/>
                          <a:pt x="18" y="516"/>
                        </a:cubicBezTo>
                        <a:cubicBezTo>
                          <a:pt x="7" y="530"/>
                          <a:pt x="0" y="548"/>
                          <a:pt x="9" y="567"/>
                        </a:cubicBezTo>
                        <a:cubicBezTo>
                          <a:pt x="28" y="612"/>
                          <a:pt x="50" y="622"/>
                          <a:pt x="56" y="601"/>
                        </a:cubicBezTo>
                        <a:cubicBezTo>
                          <a:pt x="63" y="580"/>
                          <a:pt x="56" y="579"/>
                          <a:pt x="81" y="580"/>
                        </a:cubicBezTo>
                        <a:cubicBezTo>
                          <a:pt x="105" y="581"/>
                          <a:pt x="159" y="570"/>
                          <a:pt x="166" y="597"/>
                        </a:cubicBezTo>
                        <a:cubicBezTo>
                          <a:pt x="172" y="623"/>
                          <a:pt x="177" y="633"/>
                          <a:pt x="186" y="645"/>
                        </a:cubicBezTo>
                        <a:cubicBezTo>
                          <a:pt x="194" y="658"/>
                          <a:pt x="238" y="697"/>
                          <a:pt x="263" y="673"/>
                        </a:cubicBezTo>
                        <a:cubicBezTo>
                          <a:pt x="287" y="649"/>
                          <a:pt x="289" y="640"/>
                          <a:pt x="305" y="658"/>
                        </a:cubicBezTo>
                        <a:cubicBezTo>
                          <a:pt x="321" y="676"/>
                          <a:pt x="326" y="688"/>
                          <a:pt x="354" y="683"/>
                        </a:cubicBezTo>
                        <a:cubicBezTo>
                          <a:pt x="382" y="677"/>
                          <a:pt x="395" y="645"/>
                          <a:pt x="418" y="675"/>
                        </a:cubicBezTo>
                        <a:cubicBezTo>
                          <a:pt x="441" y="704"/>
                          <a:pt x="451" y="718"/>
                          <a:pt x="453" y="750"/>
                        </a:cubicBezTo>
                        <a:cubicBezTo>
                          <a:pt x="454" y="782"/>
                          <a:pt x="456" y="804"/>
                          <a:pt x="430" y="815"/>
                        </a:cubicBezTo>
                        <a:cubicBezTo>
                          <a:pt x="403" y="826"/>
                          <a:pt x="358" y="797"/>
                          <a:pt x="344" y="825"/>
                        </a:cubicBezTo>
                        <a:cubicBezTo>
                          <a:pt x="335" y="845"/>
                          <a:pt x="306" y="866"/>
                          <a:pt x="284" y="891"/>
                        </a:cubicBezTo>
                        <a:cubicBezTo>
                          <a:pt x="310" y="908"/>
                          <a:pt x="331" y="902"/>
                          <a:pt x="361" y="938"/>
                        </a:cubicBezTo>
                        <a:cubicBezTo>
                          <a:pt x="392" y="975"/>
                          <a:pt x="405" y="949"/>
                          <a:pt x="427" y="931"/>
                        </a:cubicBezTo>
                        <a:cubicBezTo>
                          <a:pt x="449" y="912"/>
                          <a:pt x="466" y="938"/>
                          <a:pt x="488" y="957"/>
                        </a:cubicBezTo>
                        <a:cubicBezTo>
                          <a:pt x="510" y="975"/>
                          <a:pt x="527" y="975"/>
                          <a:pt x="545" y="957"/>
                        </a:cubicBezTo>
                        <a:cubicBezTo>
                          <a:pt x="562" y="938"/>
                          <a:pt x="593" y="953"/>
                          <a:pt x="619" y="964"/>
                        </a:cubicBezTo>
                        <a:cubicBezTo>
                          <a:pt x="645" y="975"/>
                          <a:pt x="619" y="1016"/>
                          <a:pt x="593" y="1038"/>
                        </a:cubicBezTo>
                        <a:cubicBezTo>
                          <a:pt x="567" y="1060"/>
                          <a:pt x="571" y="1075"/>
                          <a:pt x="588" y="1090"/>
                        </a:cubicBezTo>
                        <a:cubicBezTo>
                          <a:pt x="606" y="1105"/>
                          <a:pt x="610" y="1135"/>
                          <a:pt x="623" y="1153"/>
                        </a:cubicBezTo>
                        <a:cubicBezTo>
                          <a:pt x="637" y="1172"/>
                          <a:pt x="632" y="1190"/>
                          <a:pt x="654" y="1186"/>
                        </a:cubicBezTo>
                        <a:cubicBezTo>
                          <a:pt x="676" y="1183"/>
                          <a:pt x="698" y="1194"/>
                          <a:pt x="720" y="1220"/>
                        </a:cubicBezTo>
                        <a:cubicBezTo>
                          <a:pt x="741" y="1246"/>
                          <a:pt x="811" y="1257"/>
                          <a:pt x="842" y="1275"/>
                        </a:cubicBezTo>
                        <a:cubicBezTo>
                          <a:pt x="872" y="1294"/>
                          <a:pt x="907" y="1246"/>
                          <a:pt x="929" y="1253"/>
                        </a:cubicBezTo>
                        <a:cubicBezTo>
                          <a:pt x="939" y="1256"/>
                          <a:pt x="958" y="1273"/>
                          <a:pt x="976" y="1290"/>
                        </a:cubicBezTo>
                        <a:cubicBezTo>
                          <a:pt x="996" y="1262"/>
                          <a:pt x="1013" y="1264"/>
                          <a:pt x="1065" y="1264"/>
                        </a:cubicBezTo>
                        <a:cubicBezTo>
                          <a:pt x="1126" y="1264"/>
                          <a:pt x="1139" y="1275"/>
                          <a:pt x="1126" y="1238"/>
                        </a:cubicBezTo>
                        <a:cubicBezTo>
                          <a:pt x="1113" y="1201"/>
                          <a:pt x="1121" y="1168"/>
                          <a:pt x="1161" y="1220"/>
                        </a:cubicBezTo>
                        <a:cubicBezTo>
                          <a:pt x="1200" y="1272"/>
                          <a:pt x="1148" y="1249"/>
                          <a:pt x="1213" y="1253"/>
                        </a:cubicBezTo>
                        <a:cubicBezTo>
                          <a:pt x="1279" y="1257"/>
                          <a:pt x="1231" y="1290"/>
                          <a:pt x="1296" y="1294"/>
                        </a:cubicBezTo>
                        <a:cubicBezTo>
                          <a:pt x="1362" y="1298"/>
                          <a:pt x="1392" y="1279"/>
                          <a:pt x="1392" y="1264"/>
                        </a:cubicBezTo>
                        <a:cubicBezTo>
                          <a:pt x="1392" y="1249"/>
                          <a:pt x="1418" y="1216"/>
                          <a:pt x="1423" y="1249"/>
                        </a:cubicBezTo>
                        <a:cubicBezTo>
                          <a:pt x="1423" y="1253"/>
                          <a:pt x="1424" y="1256"/>
                          <a:pt x="1424" y="1259"/>
                        </a:cubicBezTo>
                        <a:cubicBezTo>
                          <a:pt x="1430" y="1247"/>
                          <a:pt x="1437" y="1235"/>
                          <a:pt x="1447" y="1231"/>
                        </a:cubicBezTo>
                        <a:cubicBezTo>
                          <a:pt x="1469" y="1222"/>
                          <a:pt x="1486" y="1214"/>
                          <a:pt x="1486" y="1194"/>
                        </a:cubicBezTo>
                        <a:cubicBezTo>
                          <a:pt x="1486" y="1173"/>
                          <a:pt x="1471" y="1164"/>
                          <a:pt x="1501" y="1164"/>
                        </a:cubicBezTo>
                        <a:cubicBezTo>
                          <a:pt x="1532" y="1164"/>
                          <a:pt x="1591" y="1177"/>
                          <a:pt x="1591" y="1135"/>
                        </a:cubicBezTo>
                        <a:cubicBezTo>
                          <a:pt x="1591" y="1092"/>
                          <a:pt x="1576" y="1062"/>
                          <a:pt x="1608" y="1079"/>
                        </a:cubicBezTo>
                        <a:cubicBezTo>
                          <a:pt x="1641" y="1096"/>
                          <a:pt x="1663" y="1090"/>
                          <a:pt x="1674" y="1066"/>
                        </a:cubicBezTo>
                        <a:cubicBezTo>
                          <a:pt x="1685" y="1042"/>
                          <a:pt x="1700" y="1042"/>
                          <a:pt x="1685" y="1020"/>
                        </a:cubicBezTo>
                        <a:cubicBezTo>
                          <a:pt x="1670" y="997"/>
                          <a:pt x="1672" y="979"/>
                          <a:pt x="1694" y="971"/>
                        </a:cubicBezTo>
                        <a:cubicBezTo>
                          <a:pt x="1715" y="964"/>
                          <a:pt x="1777" y="940"/>
                          <a:pt x="1801" y="910"/>
                        </a:cubicBezTo>
                        <a:cubicBezTo>
                          <a:pt x="1825" y="881"/>
                          <a:pt x="1851" y="870"/>
                          <a:pt x="1840" y="836"/>
                        </a:cubicBezTo>
                        <a:cubicBezTo>
                          <a:pt x="1829" y="803"/>
                          <a:pt x="1807" y="732"/>
                          <a:pt x="1862" y="681"/>
                        </a:cubicBezTo>
                        <a:cubicBezTo>
                          <a:pt x="1916" y="629"/>
                          <a:pt x="1936" y="640"/>
                          <a:pt x="1938" y="599"/>
                        </a:cubicBezTo>
                        <a:cubicBezTo>
                          <a:pt x="1940" y="558"/>
                          <a:pt x="1932" y="536"/>
                          <a:pt x="1954" y="523"/>
                        </a:cubicBezTo>
                        <a:cubicBezTo>
                          <a:pt x="1975" y="510"/>
                          <a:pt x="1978" y="504"/>
                          <a:pt x="1967" y="480"/>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5" name="Freeform 17">
                    <a:extLst>
                      <a:ext uri="{FF2B5EF4-FFF2-40B4-BE49-F238E27FC236}">
                        <a16:creationId xmlns:a16="http://schemas.microsoft.com/office/drawing/2014/main" id="{7653E909-1D01-8E02-EB24-579AC9E67A3E}"/>
                      </a:ext>
                    </a:extLst>
                  </p:cNvPr>
                  <p:cNvSpPr>
                    <a:spLocks/>
                  </p:cNvSpPr>
                  <p:nvPr/>
                </p:nvSpPr>
                <p:spPr bwMode="auto">
                  <a:xfrm>
                    <a:off x="3238" y="1805"/>
                    <a:ext cx="590" cy="922"/>
                  </a:xfrm>
                  <a:custGeom>
                    <a:avLst/>
                    <a:gdLst>
                      <a:gd name="T0" fmla="*/ 1149 w 1273"/>
                      <a:gd name="T1" fmla="*/ 1405 h 1992"/>
                      <a:gd name="T2" fmla="*/ 1053 w 1273"/>
                      <a:gd name="T3" fmla="*/ 1201 h 1992"/>
                      <a:gd name="T4" fmla="*/ 1105 w 1273"/>
                      <a:gd name="T5" fmla="*/ 957 h 1992"/>
                      <a:gd name="T6" fmla="*/ 1044 w 1273"/>
                      <a:gd name="T7" fmla="*/ 727 h 1992"/>
                      <a:gd name="T8" fmla="*/ 1088 w 1273"/>
                      <a:gd name="T9" fmla="*/ 590 h 1992"/>
                      <a:gd name="T10" fmla="*/ 1088 w 1273"/>
                      <a:gd name="T11" fmla="*/ 486 h 1992"/>
                      <a:gd name="T12" fmla="*/ 1094 w 1273"/>
                      <a:gd name="T13" fmla="*/ 280 h 1992"/>
                      <a:gd name="T14" fmla="*/ 1131 w 1273"/>
                      <a:gd name="T15" fmla="*/ 132 h 1992"/>
                      <a:gd name="T16" fmla="*/ 1098 w 1273"/>
                      <a:gd name="T17" fmla="*/ 0 h 1992"/>
                      <a:gd name="T18" fmla="*/ 996 w 1273"/>
                      <a:gd name="T19" fmla="*/ 76 h 1992"/>
                      <a:gd name="T20" fmla="*/ 900 w 1273"/>
                      <a:gd name="T21" fmla="*/ 110 h 1992"/>
                      <a:gd name="T22" fmla="*/ 834 w 1273"/>
                      <a:gd name="T23" fmla="*/ 265 h 1992"/>
                      <a:gd name="T24" fmla="*/ 699 w 1273"/>
                      <a:gd name="T25" fmla="*/ 380 h 1992"/>
                      <a:gd name="T26" fmla="*/ 629 w 1273"/>
                      <a:gd name="T27" fmla="*/ 506 h 1992"/>
                      <a:gd name="T28" fmla="*/ 476 w 1273"/>
                      <a:gd name="T29" fmla="*/ 491 h 1992"/>
                      <a:gd name="T30" fmla="*/ 377 w 1273"/>
                      <a:gd name="T31" fmla="*/ 501 h 1992"/>
                      <a:gd name="T32" fmla="*/ 314 w 1273"/>
                      <a:gd name="T33" fmla="*/ 595 h 1992"/>
                      <a:gd name="T34" fmla="*/ 327 w 1273"/>
                      <a:gd name="T35" fmla="*/ 704 h 1992"/>
                      <a:gd name="T36" fmla="*/ 500 w 1273"/>
                      <a:gd name="T37" fmla="*/ 784 h 1992"/>
                      <a:gd name="T38" fmla="*/ 664 w 1273"/>
                      <a:gd name="T39" fmla="*/ 901 h 1992"/>
                      <a:gd name="T40" fmla="*/ 642 w 1273"/>
                      <a:gd name="T41" fmla="*/ 1038 h 1992"/>
                      <a:gd name="T42" fmla="*/ 563 w 1273"/>
                      <a:gd name="T43" fmla="*/ 1120 h 1992"/>
                      <a:gd name="T44" fmla="*/ 509 w 1273"/>
                      <a:gd name="T45" fmla="*/ 1127 h 1992"/>
                      <a:gd name="T46" fmla="*/ 472 w 1273"/>
                      <a:gd name="T47" fmla="*/ 1196 h 1992"/>
                      <a:gd name="T48" fmla="*/ 356 w 1273"/>
                      <a:gd name="T49" fmla="*/ 1225 h 1992"/>
                      <a:gd name="T50" fmla="*/ 205 w 1273"/>
                      <a:gd name="T51" fmla="*/ 1183 h 1992"/>
                      <a:gd name="T52" fmla="*/ 175 w 1273"/>
                      <a:gd name="T53" fmla="*/ 1277 h 1992"/>
                      <a:gd name="T54" fmla="*/ 179 w 1273"/>
                      <a:gd name="T55" fmla="*/ 1331 h 1992"/>
                      <a:gd name="T56" fmla="*/ 212 w 1273"/>
                      <a:gd name="T57" fmla="*/ 1416 h 1992"/>
                      <a:gd name="T58" fmla="*/ 179 w 1273"/>
                      <a:gd name="T59" fmla="*/ 1481 h 1992"/>
                      <a:gd name="T60" fmla="*/ 201 w 1273"/>
                      <a:gd name="T61" fmla="*/ 1540 h 1992"/>
                      <a:gd name="T62" fmla="*/ 148 w 1273"/>
                      <a:gd name="T63" fmla="*/ 1551 h 1992"/>
                      <a:gd name="T64" fmla="*/ 76 w 1273"/>
                      <a:gd name="T65" fmla="*/ 1564 h 1992"/>
                      <a:gd name="T66" fmla="*/ 61 w 1273"/>
                      <a:gd name="T67" fmla="*/ 1624 h 1992"/>
                      <a:gd name="T68" fmla="*/ 61 w 1273"/>
                      <a:gd name="T69" fmla="*/ 1698 h 1992"/>
                      <a:gd name="T70" fmla="*/ 46 w 1273"/>
                      <a:gd name="T71" fmla="*/ 1735 h 1992"/>
                      <a:gd name="T72" fmla="*/ 214 w 1273"/>
                      <a:gd name="T73" fmla="*/ 1789 h 1992"/>
                      <a:gd name="T74" fmla="*/ 349 w 1273"/>
                      <a:gd name="T75" fmla="*/ 1823 h 1992"/>
                      <a:gd name="T76" fmla="*/ 438 w 1273"/>
                      <a:gd name="T77" fmla="*/ 1834 h 1992"/>
                      <a:gd name="T78" fmla="*/ 536 w 1273"/>
                      <a:gd name="T79" fmla="*/ 1890 h 1992"/>
                      <a:gd name="T80" fmla="*/ 677 w 1273"/>
                      <a:gd name="T81" fmla="*/ 1876 h 1992"/>
                      <a:gd name="T82" fmla="*/ 805 w 1273"/>
                      <a:gd name="T83" fmla="*/ 1929 h 1992"/>
                      <a:gd name="T84" fmla="*/ 939 w 1273"/>
                      <a:gd name="T85" fmla="*/ 1959 h 1992"/>
                      <a:gd name="T86" fmla="*/ 970 w 1273"/>
                      <a:gd name="T87" fmla="*/ 1909 h 1992"/>
                      <a:gd name="T88" fmla="*/ 930 w 1273"/>
                      <a:gd name="T89" fmla="*/ 1816 h 1992"/>
                      <a:gd name="T90" fmla="*/ 1059 w 1273"/>
                      <a:gd name="T91" fmla="*/ 1752 h 1992"/>
                      <a:gd name="T92" fmla="*/ 974 w 1273"/>
                      <a:gd name="T93" fmla="*/ 1679 h 1992"/>
                      <a:gd name="T94" fmla="*/ 913 w 1273"/>
                      <a:gd name="T95" fmla="*/ 1626 h 1992"/>
                      <a:gd name="T96" fmla="*/ 1048 w 1273"/>
                      <a:gd name="T97" fmla="*/ 1603 h 1992"/>
                      <a:gd name="T98" fmla="*/ 1168 w 1273"/>
                      <a:gd name="T99" fmla="*/ 1607 h 1992"/>
                      <a:gd name="T100" fmla="*/ 1256 w 1273"/>
                      <a:gd name="T101" fmla="*/ 1527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3" h="1992">
                        <a:moveTo>
                          <a:pt x="1256" y="1527"/>
                        </a:moveTo>
                        <a:cubicBezTo>
                          <a:pt x="1238" y="1499"/>
                          <a:pt x="1164" y="1449"/>
                          <a:pt x="1149" y="1405"/>
                        </a:cubicBezTo>
                        <a:cubicBezTo>
                          <a:pt x="1133" y="1360"/>
                          <a:pt x="1118" y="1342"/>
                          <a:pt x="1092" y="1314"/>
                        </a:cubicBezTo>
                        <a:cubicBezTo>
                          <a:pt x="1066" y="1286"/>
                          <a:pt x="1055" y="1257"/>
                          <a:pt x="1053" y="1201"/>
                        </a:cubicBezTo>
                        <a:cubicBezTo>
                          <a:pt x="1050" y="1146"/>
                          <a:pt x="1066" y="1110"/>
                          <a:pt x="1081" y="1075"/>
                        </a:cubicBezTo>
                        <a:cubicBezTo>
                          <a:pt x="1096" y="1040"/>
                          <a:pt x="1131" y="1016"/>
                          <a:pt x="1105" y="957"/>
                        </a:cubicBezTo>
                        <a:cubicBezTo>
                          <a:pt x="1079" y="897"/>
                          <a:pt x="1063" y="888"/>
                          <a:pt x="1063" y="853"/>
                        </a:cubicBezTo>
                        <a:cubicBezTo>
                          <a:pt x="1063" y="818"/>
                          <a:pt x="1070" y="753"/>
                          <a:pt x="1044" y="727"/>
                        </a:cubicBezTo>
                        <a:cubicBezTo>
                          <a:pt x="1018" y="701"/>
                          <a:pt x="1033" y="664"/>
                          <a:pt x="1048" y="638"/>
                        </a:cubicBezTo>
                        <a:cubicBezTo>
                          <a:pt x="1063" y="612"/>
                          <a:pt x="1107" y="617"/>
                          <a:pt x="1088" y="590"/>
                        </a:cubicBezTo>
                        <a:cubicBezTo>
                          <a:pt x="1068" y="562"/>
                          <a:pt x="1066" y="556"/>
                          <a:pt x="1085" y="540"/>
                        </a:cubicBezTo>
                        <a:cubicBezTo>
                          <a:pt x="1105" y="523"/>
                          <a:pt x="1103" y="504"/>
                          <a:pt x="1088" y="486"/>
                        </a:cubicBezTo>
                        <a:cubicBezTo>
                          <a:pt x="1072" y="467"/>
                          <a:pt x="989" y="395"/>
                          <a:pt x="1029" y="360"/>
                        </a:cubicBezTo>
                        <a:cubicBezTo>
                          <a:pt x="1068" y="325"/>
                          <a:pt x="1092" y="328"/>
                          <a:pt x="1094" y="280"/>
                        </a:cubicBezTo>
                        <a:cubicBezTo>
                          <a:pt x="1096" y="232"/>
                          <a:pt x="1101" y="236"/>
                          <a:pt x="1107" y="199"/>
                        </a:cubicBezTo>
                        <a:cubicBezTo>
                          <a:pt x="1114" y="161"/>
                          <a:pt x="1116" y="148"/>
                          <a:pt x="1131" y="132"/>
                        </a:cubicBezTo>
                        <a:cubicBezTo>
                          <a:pt x="1146" y="115"/>
                          <a:pt x="1155" y="84"/>
                          <a:pt x="1140" y="65"/>
                        </a:cubicBezTo>
                        <a:cubicBezTo>
                          <a:pt x="1128" y="51"/>
                          <a:pt x="1107" y="25"/>
                          <a:pt x="1098" y="0"/>
                        </a:cubicBezTo>
                        <a:cubicBezTo>
                          <a:pt x="1092" y="1"/>
                          <a:pt x="1085" y="8"/>
                          <a:pt x="1074" y="24"/>
                        </a:cubicBezTo>
                        <a:cubicBezTo>
                          <a:pt x="1039" y="80"/>
                          <a:pt x="1018" y="91"/>
                          <a:pt x="996" y="76"/>
                        </a:cubicBezTo>
                        <a:cubicBezTo>
                          <a:pt x="974" y="61"/>
                          <a:pt x="917" y="21"/>
                          <a:pt x="917" y="47"/>
                        </a:cubicBezTo>
                        <a:cubicBezTo>
                          <a:pt x="917" y="73"/>
                          <a:pt x="926" y="87"/>
                          <a:pt x="900" y="110"/>
                        </a:cubicBezTo>
                        <a:cubicBezTo>
                          <a:pt x="873" y="132"/>
                          <a:pt x="839" y="136"/>
                          <a:pt x="843" y="173"/>
                        </a:cubicBezTo>
                        <a:cubicBezTo>
                          <a:pt x="847" y="210"/>
                          <a:pt x="904" y="258"/>
                          <a:pt x="834" y="265"/>
                        </a:cubicBezTo>
                        <a:cubicBezTo>
                          <a:pt x="764" y="273"/>
                          <a:pt x="777" y="273"/>
                          <a:pt x="764" y="302"/>
                        </a:cubicBezTo>
                        <a:cubicBezTo>
                          <a:pt x="751" y="332"/>
                          <a:pt x="716" y="354"/>
                          <a:pt x="699" y="380"/>
                        </a:cubicBezTo>
                        <a:cubicBezTo>
                          <a:pt x="681" y="406"/>
                          <a:pt x="651" y="417"/>
                          <a:pt x="651" y="454"/>
                        </a:cubicBezTo>
                        <a:cubicBezTo>
                          <a:pt x="651" y="491"/>
                          <a:pt x="659" y="506"/>
                          <a:pt x="629" y="506"/>
                        </a:cubicBezTo>
                        <a:cubicBezTo>
                          <a:pt x="598" y="506"/>
                          <a:pt x="576" y="554"/>
                          <a:pt x="550" y="528"/>
                        </a:cubicBezTo>
                        <a:cubicBezTo>
                          <a:pt x="524" y="502"/>
                          <a:pt x="493" y="469"/>
                          <a:pt x="476" y="491"/>
                        </a:cubicBezTo>
                        <a:cubicBezTo>
                          <a:pt x="458" y="514"/>
                          <a:pt x="410" y="502"/>
                          <a:pt x="384" y="502"/>
                        </a:cubicBezTo>
                        <a:cubicBezTo>
                          <a:pt x="381" y="502"/>
                          <a:pt x="379" y="502"/>
                          <a:pt x="377" y="501"/>
                        </a:cubicBezTo>
                        <a:cubicBezTo>
                          <a:pt x="364" y="519"/>
                          <a:pt x="352" y="532"/>
                          <a:pt x="334" y="545"/>
                        </a:cubicBezTo>
                        <a:cubicBezTo>
                          <a:pt x="310" y="562"/>
                          <a:pt x="323" y="573"/>
                          <a:pt x="314" y="595"/>
                        </a:cubicBezTo>
                        <a:cubicBezTo>
                          <a:pt x="306" y="617"/>
                          <a:pt x="306" y="623"/>
                          <a:pt x="323" y="645"/>
                        </a:cubicBezTo>
                        <a:cubicBezTo>
                          <a:pt x="341" y="667"/>
                          <a:pt x="319" y="679"/>
                          <a:pt x="327" y="704"/>
                        </a:cubicBezTo>
                        <a:cubicBezTo>
                          <a:pt x="336" y="730"/>
                          <a:pt x="391" y="740"/>
                          <a:pt x="430" y="747"/>
                        </a:cubicBezTo>
                        <a:cubicBezTo>
                          <a:pt x="469" y="754"/>
                          <a:pt x="472" y="760"/>
                          <a:pt x="500" y="784"/>
                        </a:cubicBezTo>
                        <a:cubicBezTo>
                          <a:pt x="528" y="808"/>
                          <a:pt x="592" y="814"/>
                          <a:pt x="631" y="825"/>
                        </a:cubicBezTo>
                        <a:cubicBezTo>
                          <a:pt x="670" y="836"/>
                          <a:pt x="648" y="868"/>
                          <a:pt x="664" y="901"/>
                        </a:cubicBezTo>
                        <a:cubicBezTo>
                          <a:pt x="679" y="934"/>
                          <a:pt x="646" y="938"/>
                          <a:pt x="624" y="966"/>
                        </a:cubicBezTo>
                        <a:cubicBezTo>
                          <a:pt x="603" y="994"/>
                          <a:pt x="622" y="1016"/>
                          <a:pt x="642" y="1038"/>
                        </a:cubicBezTo>
                        <a:cubicBezTo>
                          <a:pt x="662" y="1060"/>
                          <a:pt x="668" y="1070"/>
                          <a:pt x="662" y="1095"/>
                        </a:cubicBezTo>
                        <a:cubicBezTo>
                          <a:pt x="655" y="1121"/>
                          <a:pt x="590" y="1123"/>
                          <a:pt x="563" y="1120"/>
                        </a:cubicBezTo>
                        <a:cubicBezTo>
                          <a:pt x="537" y="1116"/>
                          <a:pt x="544" y="1114"/>
                          <a:pt x="537" y="1127"/>
                        </a:cubicBezTo>
                        <a:cubicBezTo>
                          <a:pt x="531" y="1140"/>
                          <a:pt x="526" y="1138"/>
                          <a:pt x="509" y="1127"/>
                        </a:cubicBezTo>
                        <a:cubicBezTo>
                          <a:pt x="491" y="1116"/>
                          <a:pt x="489" y="1129"/>
                          <a:pt x="461" y="1136"/>
                        </a:cubicBezTo>
                        <a:cubicBezTo>
                          <a:pt x="432" y="1144"/>
                          <a:pt x="472" y="1162"/>
                          <a:pt x="472" y="1196"/>
                        </a:cubicBezTo>
                        <a:cubicBezTo>
                          <a:pt x="472" y="1229"/>
                          <a:pt x="445" y="1209"/>
                          <a:pt x="419" y="1209"/>
                        </a:cubicBezTo>
                        <a:cubicBezTo>
                          <a:pt x="393" y="1209"/>
                          <a:pt x="389" y="1222"/>
                          <a:pt x="356" y="1225"/>
                        </a:cubicBezTo>
                        <a:cubicBezTo>
                          <a:pt x="323" y="1229"/>
                          <a:pt x="297" y="1207"/>
                          <a:pt x="288" y="1188"/>
                        </a:cubicBezTo>
                        <a:cubicBezTo>
                          <a:pt x="279" y="1170"/>
                          <a:pt x="249" y="1179"/>
                          <a:pt x="205" y="1183"/>
                        </a:cubicBezTo>
                        <a:cubicBezTo>
                          <a:pt x="161" y="1186"/>
                          <a:pt x="172" y="1222"/>
                          <a:pt x="183" y="1238"/>
                        </a:cubicBezTo>
                        <a:cubicBezTo>
                          <a:pt x="194" y="1255"/>
                          <a:pt x="192" y="1270"/>
                          <a:pt x="175" y="1277"/>
                        </a:cubicBezTo>
                        <a:cubicBezTo>
                          <a:pt x="157" y="1285"/>
                          <a:pt x="144" y="1305"/>
                          <a:pt x="142" y="1320"/>
                        </a:cubicBezTo>
                        <a:cubicBezTo>
                          <a:pt x="140" y="1335"/>
                          <a:pt x="159" y="1335"/>
                          <a:pt x="179" y="1331"/>
                        </a:cubicBezTo>
                        <a:cubicBezTo>
                          <a:pt x="199" y="1327"/>
                          <a:pt x="207" y="1348"/>
                          <a:pt x="223" y="1362"/>
                        </a:cubicBezTo>
                        <a:cubicBezTo>
                          <a:pt x="238" y="1377"/>
                          <a:pt x="210" y="1394"/>
                          <a:pt x="212" y="1416"/>
                        </a:cubicBezTo>
                        <a:cubicBezTo>
                          <a:pt x="214" y="1438"/>
                          <a:pt x="199" y="1438"/>
                          <a:pt x="188" y="1455"/>
                        </a:cubicBezTo>
                        <a:cubicBezTo>
                          <a:pt x="177" y="1472"/>
                          <a:pt x="168" y="1474"/>
                          <a:pt x="179" y="1481"/>
                        </a:cubicBezTo>
                        <a:cubicBezTo>
                          <a:pt x="190" y="1488"/>
                          <a:pt x="199" y="1498"/>
                          <a:pt x="181" y="1514"/>
                        </a:cubicBezTo>
                        <a:cubicBezTo>
                          <a:pt x="164" y="1531"/>
                          <a:pt x="181" y="1525"/>
                          <a:pt x="201" y="1540"/>
                        </a:cubicBezTo>
                        <a:cubicBezTo>
                          <a:pt x="220" y="1555"/>
                          <a:pt x="214" y="1570"/>
                          <a:pt x="185" y="1572"/>
                        </a:cubicBezTo>
                        <a:cubicBezTo>
                          <a:pt x="157" y="1574"/>
                          <a:pt x="161" y="1562"/>
                          <a:pt x="148" y="1551"/>
                        </a:cubicBezTo>
                        <a:cubicBezTo>
                          <a:pt x="135" y="1540"/>
                          <a:pt x="129" y="1555"/>
                          <a:pt x="124" y="1568"/>
                        </a:cubicBezTo>
                        <a:cubicBezTo>
                          <a:pt x="120" y="1581"/>
                          <a:pt x="92" y="1568"/>
                          <a:pt x="76" y="1564"/>
                        </a:cubicBezTo>
                        <a:cubicBezTo>
                          <a:pt x="61" y="1561"/>
                          <a:pt x="48" y="1579"/>
                          <a:pt x="24" y="1592"/>
                        </a:cubicBezTo>
                        <a:cubicBezTo>
                          <a:pt x="0" y="1605"/>
                          <a:pt x="37" y="1616"/>
                          <a:pt x="61" y="1624"/>
                        </a:cubicBezTo>
                        <a:cubicBezTo>
                          <a:pt x="85" y="1631"/>
                          <a:pt x="83" y="1638"/>
                          <a:pt x="68" y="1655"/>
                        </a:cubicBezTo>
                        <a:cubicBezTo>
                          <a:pt x="52" y="1672"/>
                          <a:pt x="83" y="1685"/>
                          <a:pt x="61" y="1698"/>
                        </a:cubicBezTo>
                        <a:cubicBezTo>
                          <a:pt x="49" y="1705"/>
                          <a:pt x="34" y="1721"/>
                          <a:pt x="24" y="1734"/>
                        </a:cubicBezTo>
                        <a:cubicBezTo>
                          <a:pt x="32" y="1734"/>
                          <a:pt x="39" y="1735"/>
                          <a:pt x="46" y="1735"/>
                        </a:cubicBezTo>
                        <a:cubicBezTo>
                          <a:pt x="78" y="1735"/>
                          <a:pt x="81" y="1768"/>
                          <a:pt x="109" y="1800"/>
                        </a:cubicBezTo>
                        <a:cubicBezTo>
                          <a:pt x="137" y="1831"/>
                          <a:pt x="179" y="1807"/>
                          <a:pt x="214" y="1789"/>
                        </a:cubicBezTo>
                        <a:cubicBezTo>
                          <a:pt x="249" y="1770"/>
                          <a:pt x="271" y="1778"/>
                          <a:pt x="313" y="1776"/>
                        </a:cubicBezTo>
                        <a:cubicBezTo>
                          <a:pt x="356" y="1773"/>
                          <a:pt x="333" y="1803"/>
                          <a:pt x="349" y="1823"/>
                        </a:cubicBezTo>
                        <a:cubicBezTo>
                          <a:pt x="366" y="1842"/>
                          <a:pt x="382" y="1831"/>
                          <a:pt x="402" y="1823"/>
                        </a:cubicBezTo>
                        <a:cubicBezTo>
                          <a:pt x="421" y="1815"/>
                          <a:pt x="428" y="1817"/>
                          <a:pt x="438" y="1834"/>
                        </a:cubicBezTo>
                        <a:cubicBezTo>
                          <a:pt x="448" y="1851"/>
                          <a:pt x="457" y="1851"/>
                          <a:pt x="474" y="1845"/>
                        </a:cubicBezTo>
                        <a:cubicBezTo>
                          <a:pt x="490" y="1840"/>
                          <a:pt x="510" y="1867"/>
                          <a:pt x="536" y="1890"/>
                        </a:cubicBezTo>
                        <a:cubicBezTo>
                          <a:pt x="562" y="1912"/>
                          <a:pt x="585" y="1895"/>
                          <a:pt x="611" y="1876"/>
                        </a:cubicBezTo>
                        <a:cubicBezTo>
                          <a:pt x="638" y="1856"/>
                          <a:pt x="654" y="1876"/>
                          <a:pt x="677" y="1876"/>
                        </a:cubicBezTo>
                        <a:cubicBezTo>
                          <a:pt x="700" y="1876"/>
                          <a:pt x="723" y="1895"/>
                          <a:pt x="739" y="1912"/>
                        </a:cubicBezTo>
                        <a:cubicBezTo>
                          <a:pt x="756" y="1929"/>
                          <a:pt x="769" y="1931"/>
                          <a:pt x="805" y="1929"/>
                        </a:cubicBezTo>
                        <a:cubicBezTo>
                          <a:pt x="841" y="1926"/>
                          <a:pt x="828" y="1937"/>
                          <a:pt x="857" y="1965"/>
                        </a:cubicBezTo>
                        <a:cubicBezTo>
                          <a:pt x="887" y="1992"/>
                          <a:pt x="903" y="1976"/>
                          <a:pt x="939" y="1959"/>
                        </a:cubicBezTo>
                        <a:cubicBezTo>
                          <a:pt x="947" y="1955"/>
                          <a:pt x="955" y="1954"/>
                          <a:pt x="963" y="1952"/>
                        </a:cubicBezTo>
                        <a:cubicBezTo>
                          <a:pt x="968" y="1936"/>
                          <a:pt x="973" y="1918"/>
                          <a:pt x="970" y="1909"/>
                        </a:cubicBezTo>
                        <a:cubicBezTo>
                          <a:pt x="963" y="1891"/>
                          <a:pt x="948" y="1874"/>
                          <a:pt x="928" y="1859"/>
                        </a:cubicBezTo>
                        <a:cubicBezTo>
                          <a:pt x="908" y="1844"/>
                          <a:pt x="915" y="1837"/>
                          <a:pt x="930" y="1816"/>
                        </a:cubicBezTo>
                        <a:cubicBezTo>
                          <a:pt x="946" y="1796"/>
                          <a:pt x="943" y="1768"/>
                          <a:pt x="978" y="1770"/>
                        </a:cubicBezTo>
                        <a:cubicBezTo>
                          <a:pt x="1013" y="1772"/>
                          <a:pt x="1057" y="1774"/>
                          <a:pt x="1059" y="1752"/>
                        </a:cubicBezTo>
                        <a:cubicBezTo>
                          <a:pt x="1061" y="1729"/>
                          <a:pt x="1074" y="1696"/>
                          <a:pt x="1044" y="1694"/>
                        </a:cubicBezTo>
                        <a:cubicBezTo>
                          <a:pt x="1013" y="1692"/>
                          <a:pt x="972" y="1698"/>
                          <a:pt x="974" y="1679"/>
                        </a:cubicBezTo>
                        <a:cubicBezTo>
                          <a:pt x="976" y="1661"/>
                          <a:pt x="978" y="1644"/>
                          <a:pt x="952" y="1644"/>
                        </a:cubicBezTo>
                        <a:cubicBezTo>
                          <a:pt x="926" y="1644"/>
                          <a:pt x="913" y="1637"/>
                          <a:pt x="913" y="1626"/>
                        </a:cubicBezTo>
                        <a:cubicBezTo>
                          <a:pt x="913" y="1614"/>
                          <a:pt x="904" y="1592"/>
                          <a:pt x="965" y="1600"/>
                        </a:cubicBezTo>
                        <a:cubicBezTo>
                          <a:pt x="1026" y="1607"/>
                          <a:pt x="1042" y="1587"/>
                          <a:pt x="1048" y="1603"/>
                        </a:cubicBezTo>
                        <a:cubicBezTo>
                          <a:pt x="1055" y="1620"/>
                          <a:pt x="1059" y="1620"/>
                          <a:pt x="1092" y="1620"/>
                        </a:cubicBezTo>
                        <a:cubicBezTo>
                          <a:pt x="1125" y="1620"/>
                          <a:pt x="1127" y="1588"/>
                          <a:pt x="1168" y="1607"/>
                        </a:cubicBezTo>
                        <a:cubicBezTo>
                          <a:pt x="1210" y="1626"/>
                          <a:pt x="1210" y="1614"/>
                          <a:pt x="1232" y="1592"/>
                        </a:cubicBezTo>
                        <a:cubicBezTo>
                          <a:pt x="1254" y="1570"/>
                          <a:pt x="1273" y="1555"/>
                          <a:pt x="1256" y="1527"/>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6" name="Freeform 18">
                    <a:extLst>
                      <a:ext uri="{FF2B5EF4-FFF2-40B4-BE49-F238E27FC236}">
                        <a16:creationId xmlns:a16="http://schemas.microsoft.com/office/drawing/2014/main" id="{E4B1763E-E256-F74E-A882-C1EB61B382C2}"/>
                      </a:ext>
                    </a:extLst>
                  </p:cNvPr>
                  <p:cNvSpPr>
                    <a:spLocks/>
                  </p:cNvSpPr>
                  <p:nvPr/>
                </p:nvSpPr>
                <p:spPr bwMode="auto">
                  <a:xfrm>
                    <a:off x="3030" y="3028"/>
                    <a:ext cx="700" cy="551"/>
                  </a:xfrm>
                  <a:custGeom>
                    <a:avLst/>
                    <a:gdLst>
                      <a:gd name="T0" fmla="*/ 1227 w 1511"/>
                      <a:gd name="T1" fmla="*/ 158 h 1190"/>
                      <a:gd name="T2" fmla="*/ 1173 w 1511"/>
                      <a:gd name="T3" fmla="*/ 104 h 1190"/>
                      <a:gd name="T4" fmla="*/ 1123 w 1511"/>
                      <a:gd name="T5" fmla="*/ 32 h 1190"/>
                      <a:gd name="T6" fmla="*/ 1024 w 1511"/>
                      <a:gd name="T7" fmla="*/ 35 h 1190"/>
                      <a:gd name="T8" fmla="*/ 943 w 1511"/>
                      <a:gd name="T9" fmla="*/ 43 h 1190"/>
                      <a:gd name="T10" fmla="*/ 880 w 1511"/>
                      <a:gd name="T11" fmla="*/ 89 h 1190"/>
                      <a:gd name="T12" fmla="*/ 756 w 1511"/>
                      <a:gd name="T13" fmla="*/ 180 h 1190"/>
                      <a:gd name="T14" fmla="*/ 592 w 1511"/>
                      <a:gd name="T15" fmla="*/ 139 h 1190"/>
                      <a:gd name="T16" fmla="*/ 500 w 1511"/>
                      <a:gd name="T17" fmla="*/ 191 h 1190"/>
                      <a:gd name="T18" fmla="*/ 620 w 1511"/>
                      <a:gd name="T19" fmla="*/ 287 h 1190"/>
                      <a:gd name="T20" fmla="*/ 675 w 1511"/>
                      <a:gd name="T21" fmla="*/ 361 h 1190"/>
                      <a:gd name="T22" fmla="*/ 572 w 1511"/>
                      <a:gd name="T23" fmla="*/ 389 h 1190"/>
                      <a:gd name="T24" fmla="*/ 469 w 1511"/>
                      <a:gd name="T25" fmla="*/ 393 h 1190"/>
                      <a:gd name="T26" fmla="*/ 419 w 1511"/>
                      <a:gd name="T27" fmla="*/ 398 h 1190"/>
                      <a:gd name="T28" fmla="*/ 293 w 1511"/>
                      <a:gd name="T29" fmla="*/ 504 h 1190"/>
                      <a:gd name="T30" fmla="*/ 144 w 1511"/>
                      <a:gd name="T31" fmla="*/ 523 h 1190"/>
                      <a:gd name="T32" fmla="*/ 35 w 1511"/>
                      <a:gd name="T33" fmla="*/ 549 h 1190"/>
                      <a:gd name="T34" fmla="*/ 30 w 1511"/>
                      <a:gd name="T35" fmla="*/ 630 h 1190"/>
                      <a:gd name="T36" fmla="*/ 113 w 1511"/>
                      <a:gd name="T37" fmla="*/ 704 h 1190"/>
                      <a:gd name="T38" fmla="*/ 210 w 1511"/>
                      <a:gd name="T39" fmla="*/ 678 h 1190"/>
                      <a:gd name="T40" fmla="*/ 258 w 1511"/>
                      <a:gd name="T41" fmla="*/ 790 h 1190"/>
                      <a:gd name="T42" fmla="*/ 201 w 1511"/>
                      <a:gd name="T43" fmla="*/ 953 h 1190"/>
                      <a:gd name="T44" fmla="*/ 258 w 1511"/>
                      <a:gd name="T45" fmla="*/ 1127 h 1190"/>
                      <a:gd name="T46" fmla="*/ 376 w 1511"/>
                      <a:gd name="T47" fmla="*/ 1138 h 1190"/>
                      <a:gd name="T48" fmla="*/ 524 w 1511"/>
                      <a:gd name="T49" fmla="*/ 1134 h 1190"/>
                      <a:gd name="T50" fmla="*/ 673 w 1511"/>
                      <a:gd name="T51" fmla="*/ 1112 h 1190"/>
                      <a:gd name="T52" fmla="*/ 847 w 1511"/>
                      <a:gd name="T53" fmla="*/ 1023 h 1190"/>
                      <a:gd name="T54" fmla="*/ 970 w 1511"/>
                      <a:gd name="T55" fmla="*/ 979 h 1190"/>
                      <a:gd name="T56" fmla="*/ 1088 w 1511"/>
                      <a:gd name="T57" fmla="*/ 1030 h 1190"/>
                      <a:gd name="T58" fmla="*/ 1171 w 1511"/>
                      <a:gd name="T59" fmla="*/ 956 h 1190"/>
                      <a:gd name="T60" fmla="*/ 1302 w 1511"/>
                      <a:gd name="T61" fmla="*/ 927 h 1190"/>
                      <a:gd name="T62" fmla="*/ 1372 w 1511"/>
                      <a:gd name="T63" fmla="*/ 860 h 1190"/>
                      <a:gd name="T64" fmla="*/ 1489 w 1511"/>
                      <a:gd name="T65" fmla="*/ 819 h 1190"/>
                      <a:gd name="T66" fmla="*/ 1468 w 1511"/>
                      <a:gd name="T67" fmla="*/ 671 h 1190"/>
                      <a:gd name="T68" fmla="*/ 1472 w 1511"/>
                      <a:gd name="T69" fmla="*/ 593 h 1190"/>
                      <a:gd name="T70" fmla="*/ 1393 w 1511"/>
                      <a:gd name="T71" fmla="*/ 512 h 1190"/>
                      <a:gd name="T72" fmla="*/ 1341 w 1511"/>
                      <a:gd name="T73" fmla="*/ 486 h 1190"/>
                      <a:gd name="T74" fmla="*/ 1437 w 1511"/>
                      <a:gd name="T75" fmla="*/ 345 h 1190"/>
                      <a:gd name="T76" fmla="*/ 1402 w 1511"/>
                      <a:gd name="T77" fmla="*/ 200 h 1190"/>
                      <a:gd name="T78" fmla="*/ 1352 w 1511"/>
                      <a:gd name="T79" fmla="*/ 222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1" h="1190">
                        <a:moveTo>
                          <a:pt x="1275" y="219"/>
                        </a:moveTo>
                        <a:cubicBezTo>
                          <a:pt x="1234" y="202"/>
                          <a:pt x="1240" y="182"/>
                          <a:pt x="1227" y="158"/>
                        </a:cubicBezTo>
                        <a:cubicBezTo>
                          <a:pt x="1214" y="134"/>
                          <a:pt x="1195" y="132"/>
                          <a:pt x="1171" y="128"/>
                        </a:cubicBezTo>
                        <a:cubicBezTo>
                          <a:pt x="1147" y="124"/>
                          <a:pt x="1162" y="121"/>
                          <a:pt x="1173" y="104"/>
                        </a:cubicBezTo>
                        <a:cubicBezTo>
                          <a:pt x="1184" y="87"/>
                          <a:pt x="1160" y="80"/>
                          <a:pt x="1160" y="65"/>
                        </a:cubicBezTo>
                        <a:cubicBezTo>
                          <a:pt x="1160" y="50"/>
                          <a:pt x="1151" y="33"/>
                          <a:pt x="1123" y="32"/>
                        </a:cubicBezTo>
                        <a:cubicBezTo>
                          <a:pt x="1094" y="30"/>
                          <a:pt x="1083" y="33"/>
                          <a:pt x="1066" y="54"/>
                        </a:cubicBezTo>
                        <a:cubicBezTo>
                          <a:pt x="1048" y="74"/>
                          <a:pt x="1029" y="54"/>
                          <a:pt x="1024" y="35"/>
                        </a:cubicBezTo>
                        <a:cubicBezTo>
                          <a:pt x="1020" y="17"/>
                          <a:pt x="991" y="11"/>
                          <a:pt x="965" y="6"/>
                        </a:cubicBezTo>
                        <a:cubicBezTo>
                          <a:pt x="939" y="0"/>
                          <a:pt x="924" y="24"/>
                          <a:pt x="943" y="43"/>
                        </a:cubicBezTo>
                        <a:cubicBezTo>
                          <a:pt x="963" y="61"/>
                          <a:pt x="954" y="76"/>
                          <a:pt x="941" y="95"/>
                        </a:cubicBezTo>
                        <a:cubicBezTo>
                          <a:pt x="928" y="113"/>
                          <a:pt x="913" y="115"/>
                          <a:pt x="880" y="89"/>
                        </a:cubicBezTo>
                        <a:cubicBezTo>
                          <a:pt x="847" y="63"/>
                          <a:pt x="823" y="113"/>
                          <a:pt x="784" y="119"/>
                        </a:cubicBezTo>
                        <a:cubicBezTo>
                          <a:pt x="745" y="124"/>
                          <a:pt x="784" y="156"/>
                          <a:pt x="756" y="180"/>
                        </a:cubicBezTo>
                        <a:cubicBezTo>
                          <a:pt x="727" y="204"/>
                          <a:pt x="688" y="191"/>
                          <a:pt x="657" y="187"/>
                        </a:cubicBezTo>
                        <a:cubicBezTo>
                          <a:pt x="627" y="184"/>
                          <a:pt x="620" y="161"/>
                          <a:pt x="592" y="139"/>
                        </a:cubicBezTo>
                        <a:cubicBezTo>
                          <a:pt x="563" y="117"/>
                          <a:pt x="570" y="146"/>
                          <a:pt x="555" y="163"/>
                        </a:cubicBezTo>
                        <a:cubicBezTo>
                          <a:pt x="539" y="180"/>
                          <a:pt x="518" y="176"/>
                          <a:pt x="500" y="191"/>
                        </a:cubicBezTo>
                        <a:cubicBezTo>
                          <a:pt x="483" y="206"/>
                          <a:pt x="504" y="235"/>
                          <a:pt x="531" y="254"/>
                        </a:cubicBezTo>
                        <a:cubicBezTo>
                          <a:pt x="557" y="272"/>
                          <a:pt x="579" y="287"/>
                          <a:pt x="620" y="287"/>
                        </a:cubicBezTo>
                        <a:cubicBezTo>
                          <a:pt x="662" y="287"/>
                          <a:pt x="642" y="300"/>
                          <a:pt x="644" y="317"/>
                        </a:cubicBezTo>
                        <a:cubicBezTo>
                          <a:pt x="646" y="334"/>
                          <a:pt x="660" y="341"/>
                          <a:pt x="675" y="361"/>
                        </a:cubicBezTo>
                        <a:cubicBezTo>
                          <a:pt x="690" y="382"/>
                          <a:pt x="662" y="384"/>
                          <a:pt x="635" y="382"/>
                        </a:cubicBezTo>
                        <a:cubicBezTo>
                          <a:pt x="609" y="380"/>
                          <a:pt x="596" y="389"/>
                          <a:pt x="572" y="389"/>
                        </a:cubicBezTo>
                        <a:cubicBezTo>
                          <a:pt x="548" y="389"/>
                          <a:pt x="548" y="399"/>
                          <a:pt x="522" y="410"/>
                        </a:cubicBezTo>
                        <a:cubicBezTo>
                          <a:pt x="496" y="421"/>
                          <a:pt x="483" y="408"/>
                          <a:pt x="469" y="393"/>
                        </a:cubicBezTo>
                        <a:cubicBezTo>
                          <a:pt x="456" y="378"/>
                          <a:pt x="450" y="387"/>
                          <a:pt x="437" y="399"/>
                        </a:cubicBezTo>
                        <a:cubicBezTo>
                          <a:pt x="433" y="402"/>
                          <a:pt x="426" y="401"/>
                          <a:pt x="419" y="398"/>
                        </a:cubicBezTo>
                        <a:cubicBezTo>
                          <a:pt x="414" y="430"/>
                          <a:pt x="409" y="486"/>
                          <a:pt x="384" y="489"/>
                        </a:cubicBezTo>
                        <a:cubicBezTo>
                          <a:pt x="358" y="493"/>
                          <a:pt x="341" y="497"/>
                          <a:pt x="293" y="504"/>
                        </a:cubicBezTo>
                        <a:cubicBezTo>
                          <a:pt x="245" y="512"/>
                          <a:pt x="240" y="508"/>
                          <a:pt x="175" y="493"/>
                        </a:cubicBezTo>
                        <a:cubicBezTo>
                          <a:pt x="109" y="478"/>
                          <a:pt x="175" y="493"/>
                          <a:pt x="144" y="523"/>
                        </a:cubicBezTo>
                        <a:cubicBezTo>
                          <a:pt x="113" y="552"/>
                          <a:pt x="113" y="526"/>
                          <a:pt x="96" y="493"/>
                        </a:cubicBezTo>
                        <a:cubicBezTo>
                          <a:pt x="79" y="460"/>
                          <a:pt x="70" y="504"/>
                          <a:pt x="35" y="549"/>
                        </a:cubicBezTo>
                        <a:cubicBezTo>
                          <a:pt x="0" y="593"/>
                          <a:pt x="9" y="571"/>
                          <a:pt x="35" y="593"/>
                        </a:cubicBezTo>
                        <a:cubicBezTo>
                          <a:pt x="61" y="615"/>
                          <a:pt x="52" y="619"/>
                          <a:pt x="30" y="630"/>
                        </a:cubicBezTo>
                        <a:cubicBezTo>
                          <a:pt x="9" y="641"/>
                          <a:pt x="26" y="686"/>
                          <a:pt x="52" y="704"/>
                        </a:cubicBezTo>
                        <a:cubicBezTo>
                          <a:pt x="79" y="723"/>
                          <a:pt x="113" y="727"/>
                          <a:pt x="113" y="704"/>
                        </a:cubicBezTo>
                        <a:cubicBezTo>
                          <a:pt x="113" y="682"/>
                          <a:pt x="140" y="689"/>
                          <a:pt x="153" y="701"/>
                        </a:cubicBezTo>
                        <a:cubicBezTo>
                          <a:pt x="166" y="712"/>
                          <a:pt x="183" y="675"/>
                          <a:pt x="210" y="678"/>
                        </a:cubicBezTo>
                        <a:cubicBezTo>
                          <a:pt x="236" y="682"/>
                          <a:pt x="240" y="708"/>
                          <a:pt x="258" y="723"/>
                        </a:cubicBezTo>
                        <a:cubicBezTo>
                          <a:pt x="275" y="738"/>
                          <a:pt x="275" y="767"/>
                          <a:pt x="258" y="790"/>
                        </a:cubicBezTo>
                        <a:cubicBezTo>
                          <a:pt x="240" y="812"/>
                          <a:pt x="236" y="812"/>
                          <a:pt x="201" y="856"/>
                        </a:cubicBezTo>
                        <a:cubicBezTo>
                          <a:pt x="166" y="901"/>
                          <a:pt x="201" y="927"/>
                          <a:pt x="201" y="953"/>
                        </a:cubicBezTo>
                        <a:cubicBezTo>
                          <a:pt x="201" y="979"/>
                          <a:pt x="258" y="1005"/>
                          <a:pt x="284" y="1027"/>
                        </a:cubicBezTo>
                        <a:cubicBezTo>
                          <a:pt x="310" y="1049"/>
                          <a:pt x="297" y="1093"/>
                          <a:pt x="258" y="1127"/>
                        </a:cubicBezTo>
                        <a:cubicBezTo>
                          <a:pt x="218" y="1160"/>
                          <a:pt x="262" y="1179"/>
                          <a:pt x="306" y="1179"/>
                        </a:cubicBezTo>
                        <a:cubicBezTo>
                          <a:pt x="349" y="1179"/>
                          <a:pt x="358" y="1160"/>
                          <a:pt x="376" y="1138"/>
                        </a:cubicBezTo>
                        <a:cubicBezTo>
                          <a:pt x="393" y="1116"/>
                          <a:pt x="397" y="1101"/>
                          <a:pt x="432" y="1097"/>
                        </a:cubicBezTo>
                        <a:cubicBezTo>
                          <a:pt x="467" y="1093"/>
                          <a:pt x="498" y="1138"/>
                          <a:pt x="524" y="1134"/>
                        </a:cubicBezTo>
                        <a:cubicBezTo>
                          <a:pt x="550" y="1131"/>
                          <a:pt x="581" y="1145"/>
                          <a:pt x="616" y="1168"/>
                        </a:cubicBezTo>
                        <a:cubicBezTo>
                          <a:pt x="651" y="1190"/>
                          <a:pt x="673" y="1149"/>
                          <a:pt x="673" y="1112"/>
                        </a:cubicBezTo>
                        <a:cubicBezTo>
                          <a:pt x="673" y="1075"/>
                          <a:pt x="738" y="1086"/>
                          <a:pt x="760" y="1064"/>
                        </a:cubicBezTo>
                        <a:cubicBezTo>
                          <a:pt x="782" y="1042"/>
                          <a:pt x="799" y="1027"/>
                          <a:pt x="847" y="1023"/>
                        </a:cubicBezTo>
                        <a:cubicBezTo>
                          <a:pt x="895" y="1019"/>
                          <a:pt x="882" y="990"/>
                          <a:pt x="922" y="953"/>
                        </a:cubicBezTo>
                        <a:cubicBezTo>
                          <a:pt x="961" y="916"/>
                          <a:pt x="952" y="945"/>
                          <a:pt x="970" y="979"/>
                        </a:cubicBezTo>
                        <a:cubicBezTo>
                          <a:pt x="987" y="1012"/>
                          <a:pt x="1018" y="1012"/>
                          <a:pt x="1035" y="1001"/>
                        </a:cubicBezTo>
                        <a:cubicBezTo>
                          <a:pt x="1053" y="990"/>
                          <a:pt x="1061" y="1005"/>
                          <a:pt x="1088" y="1030"/>
                        </a:cubicBezTo>
                        <a:cubicBezTo>
                          <a:pt x="1114" y="1056"/>
                          <a:pt x="1114" y="1019"/>
                          <a:pt x="1144" y="1012"/>
                        </a:cubicBezTo>
                        <a:cubicBezTo>
                          <a:pt x="1175" y="1005"/>
                          <a:pt x="1162" y="982"/>
                          <a:pt x="1171" y="956"/>
                        </a:cubicBezTo>
                        <a:cubicBezTo>
                          <a:pt x="1179" y="930"/>
                          <a:pt x="1219" y="923"/>
                          <a:pt x="1249" y="942"/>
                        </a:cubicBezTo>
                        <a:cubicBezTo>
                          <a:pt x="1280" y="960"/>
                          <a:pt x="1293" y="953"/>
                          <a:pt x="1302" y="927"/>
                        </a:cubicBezTo>
                        <a:cubicBezTo>
                          <a:pt x="1310" y="901"/>
                          <a:pt x="1328" y="916"/>
                          <a:pt x="1372" y="916"/>
                        </a:cubicBezTo>
                        <a:cubicBezTo>
                          <a:pt x="1415" y="916"/>
                          <a:pt x="1372" y="890"/>
                          <a:pt x="1372" y="860"/>
                        </a:cubicBezTo>
                        <a:cubicBezTo>
                          <a:pt x="1372" y="830"/>
                          <a:pt x="1420" y="834"/>
                          <a:pt x="1437" y="849"/>
                        </a:cubicBezTo>
                        <a:cubicBezTo>
                          <a:pt x="1455" y="864"/>
                          <a:pt x="1468" y="853"/>
                          <a:pt x="1489" y="819"/>
                        </a:cubicBezTo>
                        <a:cubicBezTo>
                          <a:pt x="1511" y="786"/>
                          <a:pt x="1494" y="756"/>
                          <a:pt x="1485" y="745"/>
                        </a:cubicBezTo>
                        <a:cubicBezTo>
                          <a:pt x="1476" y="734"/>
                          <a:pt x="1450" y="693"/>
                          <a:pt x="1468" y="671"/>
                        </a:cubicBezTo>
                        <a:cubicBezTo>
                          <a:pt x="1485" y="649"/>
                          <a:pt x="1494" y="656"/>
                          <a:pt x="1481" y="638"/>
                        </a:cubicBezTo>
                        <a:cubicBezTo>
                          <a:pt x="1468" y="619"/>
                          <a:pt x="1450" y="604"/>
                          <a:pt x="1472" y="593"/>
                        </a:cubicBezTo>
                        <a:cubicBezTo>
                          <a:pt x="1494" y="582"/>
                          <a:pt x="1489" y="571"/>
                          <a:pt x="1485" y="526"/>
                        </a:cubicBezTo>
                        <a:cubicBezTo>
                          <a:pt x="1481" y="482"/>
                          <a:pt x="1437" y="519"/>
                          <a:pt x="1393" y="512"/>
                        </a:cubicBezTo>
                        <a:cubicBezTo>
                          <a:pt x="1350" y="504"/>
                          <a:pt x="1363" y="549"/>
                          <a:pt x="1323" y="534"/>
                        </a:cubicBezTo>
                        <a:cubicBezTo>
                          <a:pt x="1284" y="519"/>
                          <a:pt x="1319" y="512"/>
                          <a:pt x="1341" y="486"/>
                        </a:cubicBezTo>
                        <a:cubicBezTo>
                          <a:pt x="1363" y="460"/>
                          <a:pt x="1415" y="426"/>
                          <a:pt x="1450" y="419"/>
                        </a:cubicBezTo>
                        <a:cubicBezTo>
                          <a:pt x="1485" y="411"/>
                          <a:pt x="1459" y="378"/>
                          <a:pt x="1437" y="345"/>
                        </a:cubicBezTo>
                        <a:cubicBezTo>
                          <a:pt x="1415" y="311"/>
                          <a:pt x="1411" y="300"/>
                          <a:pt x="1424" y="263"/>
                        </a:cubicBezTo>
                        <a:cubicBezTo>
                          <a:pt x="1437" y="226"/>
                          <a:pt x="1428" y="230"/>
                          <a:pt x="1402" y="200"/>
                        </a:cubicBezTo>
                        <a:cubicBezTo>
                          <a:pt x="1401" y="199"/>
                          <a:pt x="1401" y="199"/>
                          <a:pt x="1400" y="198"/>
                        </a:cubicBezTo>
                        <a:cubicBezTo>
                          <a:pt x="1384" y="208"/>
                          <a:pt x="1373" y="217"/>
                          <a:pt x="1352" y="222"/>
                        </a:cubicBezTo>
                        <a:cubicBezTo>
                          <a:pt x="1319" y="232"/>
                          <a:pt x="1317" y="235"/>
                          <a:pt x="1275" y="219"/>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7" name="Freeform 19">
                    <a:extLst>
                      <a:ext uri="{FF2B5EF4-FFF2-40B4-BE49-F238E27FC236}">
                        <a16:creationId xmlns:a16="http://schemas.microsoft.com/office/drawing/2014/main" id="{CEE73A80-787D-1F2B-4738-1885B48B5045}"/>
                      </a:ext>
                    </a:extLst>
                  </p:cNvPr>
                  <p:cNvSpPr>
                    <a:spLocks/>
                  </p:cNvSpPr>
                  <p:nvPr/>
                </p:nvSpPr>
                <p:spPr bwMode="auto">
                  <a:xfrm>
                    <a:off x="2330" y="2463"/>
                    <a:ext cx="1424" cy="954"/>
                  </a:xfrm>
                  <a:custGeom>
                    <a:avLst/>
                    <a:gdLst>
                      <a:gd name="T0" fmla="*/ 3008 w 3074"/>
                      <a:gd name="T1" fmla="*/ 534 h 2060"/>
                      <a:gd name="T2" fmla="*/ 2766 w 3074"/>
                      <a:gd name="T3" fmla="*/ 507 h 2060"/>
                      <a:gd name="T4" fmla="*/ 2572 w 3074"/>
                      <a:gd name="T5" fmla="*/ 454 h 2060"/>
                      <a:gd name="T6" fmla="*/ 2399 w 3074"/>
                      <a:gd name="T7" fmla="*/ 412 h 2060"/>
                      <a:gd name="T8" fmla="*/ 2274 w 3074"/>
                      <a:gd name="T9" fmla="*/ 354 h 2060"/>
                      <a:gd name="T10" fmla="*/ 2007 w 3074"/>
                      <a:gd name="T11" fmla="*/ 313 h 2060"/>
                      <a:gd name="T12" fmla="*/ 1797 w 3074"/>
                      <a:gd name="T13" fmla="*/ 402 h 2060"/>
                      <a:gd name="T14" fmla="*/ 1646 w 3074"/>
                      <a:gd name="T15" fmla="*/ 276 h 2060"/>
                      <a:gd name="T16" fmla="*/ 1524 w 3074"/>
                      <a:gd name="T17" fmla="*/ 248 h 2060"/>
                      <a:gd name="T18" fmla="*/ 1413 w 3074"/>
                      <a:gd name="T19" fmla="*/ 129 h 2060"/>
                      <a:gd name="T20" fmla="*/ 1264 w 3074"/>
                      <a:gd name="T21" fmla="*/ 22 h 2060"/>
                      <a:gd name="T22" fmla="*/ 1179 w 3074"/>
                      <a:gd name="T23" fmla="*/ 136 h 2060"/>
                      <a:gd name="T24" fmla="*/ 1148 w 3074"/>
                      <a:gd name="T25" fmla="*/ 292 h 2060"/>
                      <a:gd name="T26" fmla="*/ 934 w 3074"/>
                      <a:gd name="T27" fmla="*/ 244 h 2060"/>
                      <a:gd name="T28" fmla="*/ 698 w 3074"/>
                      <a:gd name="T29" fmla="*/ 374 h 2060"/>
                      <a:gd name="T30" fmla="*/ 463 w 3074"/>
                      <a:gd name="T31" fmla="*/ 267 h 2060"/>
                      <a:gd name="T32" fmla="*/ 235 w 3074"/>
                      <a:gd name="T33" fmla="*/ 222 h 2060"/>
                      <a:gd name="T34" fmla="*/ 48 w 3074"/>
                      <a:gd name="T35" fmla="*/ 352 h 2060"/>
                      <a:gd name="T36" fmla="*/ 200 w 3074"/>
                      <a:gd name="T37" fmla="*/ 467 h 2060"/>
                      <a:gd name="T38" fmla="*/ 345 w 3074"/>
                      <a:gd name="T39" fmla="*/ 734 h 2060"/>
                      <a:gd name="T40" fmla="*/ 371 w 3074"/>
                      <a:gd name="T41" fmla="*/ 934 h 2060"/>
                      <a:gd name="T42" fmla="*/ 386 w 3074"/>
                      <a:gd name="T43" fmla="*/ 1233 h 2060"/>
                      <a:gd name="T44" fmla="*/ 480 w 3074"/>
                      <a:gd name="T45" fmla="*/ 1501 h 2060"/>
                      <a:gd name="T46" fmla="*/ 624 w 3074"/>
                      <a:gd name="T47" fmla="*/ 1475 h 2060"/>
                      <a:gd name="T48" fmla="*/ 886 w 3074"/>
                      <a:gd name="T49" fmla="*/ 1760 h 2060"/>
                      <a:gd name="T50" fmla="*/ 1004 w 3074"/>
                      <a:gd name="T51" fmla="*/ 2012 h 2060"/>
                      <a:gd name="T52" fmla="*/ 1271 w 3074"/>
                      <a:gd name="T53" fmla="*/ 2009 h 2060"/>
                      <a:gd name="T54" fmla="*/ 1332 w 3074"/>
                      <a:gd name="T55" fmla="*/ 1782 h 2060"/>
                      <a:gd name="T56" fmla="*/ 1463 w 3074"/>
                      <a:gd name="T57" fmla="*/ 1549 h 2060"/>
                      <a:gd name="T58" fmla="*/ 1655 w 3074"/>
                      <a:gd name="T59" fmla="*/ 1397 h 2060"/>
                      <a:gd name="T60" fmla="*/ 1694 w 3074"/>
                      <a:gd name="T61" fmla="*/ 1549 h 2060"/>
                      <a:gd name="T62" fmla="*/ 1904 w 3074"/>
                      <a:gd name="T63" fmla="*/ 1545 h 2060"/>
                      <a:gd name="T64" fmla="*/ 1948 w 3074"/>
                      <a:gd name="T65" fmla="*/ 1618 h 2060"/>
                      <a:gd name="T66" fmla="*/ 2083 w 3074"/>
                      <a:gd name="T67" fmla="*/ 1608 h 2060"/>
                      <a:gd name="T68" fmla="*/ 2155 w 3074"/>
                      <a:gd name="T69" fmla="*/ 1536 h 2060"/>
                      <a:gd name="T70" fmla="*/ 2011 w 3074"/>
                      <a:gd name="T71" fmla="*/ 1410 h 2060"/>
                      <a:gd name="T72" fmla="*/ 2168 w 3074"/>
                      <a:gd name="T73" fmla="*/ 1406 h 2060"/>
                      <a:gd name="T74" fmla="*/ 2391 w 3074"/>
                      <a:gd name="T75" fmla="*/ 1308 h 2060"/>
                      <a:gd name="T76" fmla="*/ 2476 w 3074"/>
                      <a:gd name="T77" fmla="*/ 1225 h 2060"/>
                      <a:gd name="T78" fmla="*/ 2634 w 3074"/>
                      <a:gd name="T79" fmla="*/ 1251 h 2060"/>
                      <a:gd name="T80" fmla="*/ 2682 w 3074"/>
                      <a:gd name="T81" fmla="*/ 1347 h 2060"/>
                      <a:gd name="T82" fmla="*/ 2863 w 3074"/>
                      <a:gd name="T83" fmla="*/ 1441 h 2060"/>
                      <a:gd name="T84" fmla="*/ 2891 w 3074"/>
                      <a:gd name="T85" fmla="*/ 1230 h 2060"/>
                      <a:gd name="T86" fmla="*/ 2785 w 3074"/>
                      <a:gd name="T87" fmla="*/ 1126 h 2060"/>
                      <a:gd name="T88" fmla="*/ 2697 w 3074"/>
                      <a:gd name="T89" fmla="*/ 982 h 2060"/>
                      <a:gd name="T90" fmla="*/ 2720 w 3074"/>
                      <a:gd name="T91" fmla="*/ 873 h 2060"/>
                      <a:gd name="T92" fmla="*/ 2946 w 3074"/>
                      <a:gd name="T93" fmla="*/ 821 h 2060"/>
                      <a:gd name="T94" fmla="*/ 3057 w 3074"/>
                      <a:gd name="T95" fmla="*/ 643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4" h="2060">
                        <a:moveTo>
                          <a:pt x="3057" y="643"/>
                        </a:moveTo>
                        <a:cubicBezTo>
                          <a:pt x="3041" y="612"/>
                          <a:pt x="3008" y="604"/>
                          <a:pt x="3011" y="584"/>
                        </a:cubicBezTo>
                        <a:cubicBezTo>
                          <a:pt x="3015" y="565"/>
                          <a:pt x="3038" y="532"/>
                          <a:pt x="3008" y="534"/>
                        </a:cubicBezTo>
                        <a:cubicBezTo>
                          <a:pt x="2979" y="537"/>
                          <a:pt x="2936" y="520"/>
                          <a:pt x="2900" y="537"/>
                        </a:cubicBezTo>
                        <a:cubicBezTo>
                          <a:pt x="2864" y="554"/>
                          <a:pt x="2848" y="570"/>
                          <a:pt x="2818" y="543"/>
                        </a:cubicBezTo>
                        <a:cubicBezTo>
                          <a:pt x="2789" y="515"/>
                          <a:pt x="2802" y="504"/>
                          <a:pt x="2766" y="507"/>
                        </a:cubicBezTo>
                        <a:cubicBezTo>
                          <a:pt x="2730" y="509"/>
                          <a:pt x="2717" y="507"/>
                          <a:pt x="2700" y="490"/>
                        </a:cubicBezTo>
                        <a:cubicBezTo>
                          <a:pt x="2684" y="473"/>
                          <a:pt x="2661" y="454"/>
                          <a:pt x="2638" y="454"/>
                        </a:cubicBezTo>
                        <a:cubicBezTo>
                          <a:pt x="2615" y="454"/>
                          <a:pt x="2599" y="434"/>
                          <a:pt x="2572" y="454"/>
                        </a:cubicBezTo>
                        <a:cubicBezTo>
                          <a:pt x="2546" y="473"/>
                          <a:pt x="2523" y="490"/>
                          <a:pt x="2497" y="468"/>
                        </a:cubicBezTo>
                        <a:cubicBezTo>
                          <a:pt x="2471" y="445"/>
                          <a:pt x="2451" y="418"/>
                          <a:pt x="2435" y="423"/>
                        </a:cubicBezTo>
                        <a:cubicBezTo>
                          <a:pt x="2418" y="429"/>
                          <a:pt x="2409" y="429"/>
                          <a:pt x="2399" y="412"/>
                        </a:cubicBezTo>
                        <a:cubicBezTo>
                          <a:pt x="2389" y="395"/>
                          <a:pt x="2382" y="393"/>
                          <a:pt x="2363" y="401"/>
                        </a:cubicBezTo>
                        <a:cubicBezTo>
                          <a:pt x="2343" y="409"/>
                          <a:pt x="2327" y="420"/>
                          <a:pt x="2310" y="401"/>
                        </a:cubicBezTo>
                        <a:cubicBezTo>
                          <a:pt x="2294" y="381"/>
                          <a:pt x="2317" y="351"/>
                          <a:pt x="2274" y="354"/>
                        </a:cubicBezTo>
                        <a:cubicBezTo>
                          <a:pt x="2232" y="356"/>
                          <a:pt x="2210" y="348"/>
                          <a:pt x="2175" y="367"/>
                        </a:cubicBezTo>
                        <a:cubicBezTo>
                          <a:pt x="2140" y="385"/>
                          <a:pt x="2098" y="409"/>
                          <a:pt x="2070" y="378"/>
                        </a:cubicBezTo>
                        <a:cubicBezTo>
                          <a:pt x="2042" y="346"/>
                          <a:pt x="2039" y="313"/>
                          <a:pt x="2007" y="313"/>
                        </a:cubicBezTo>
                        <a:cubicBezTo>
                          <a:pt x="1974" y="313"/>
                          <a:pt x="1917" y="304"/>
                          <a:pt x="1915" y="320"/>
                        </a:cubicBezTo>
                        <a:cubicBezTo>
                          <a:pt x="1913" y="337"/>
                          <a:pt x="1935" y="376"/>
                          <a:pt x="1884" y="393"/>
                        </a:cubicBezTo>
                        <a:cubicBezTo>
                          <a:pt x="1834" y="409"/>
                          <a:pt x="1845" y="420"/>
                          <a:pt x="1797" y="402"/>
                        </a:cubicBezTo>
                        <a:cubicBezTo>
                          <a:pt x="1749" y="383"/>
                          <a:pt x="1747" y="402"/>
                          <a:pt x="1721" y="385"/>
                        </a:cubicBezTo>
                        <a:cubicBezTo>
                          <a:pt x="1694" y="368"/>
                          <a:pt x="1673" y="365"/>
                          <a:pt x="1670" y="344"/>
                        </a:cubicBezTo>
                        <a:cubicBezTo>
                          <a:pt x="1668" y="324"/>
                          <a:pt x="1673" y="296"/>
                          <a:pt x="1646" y="276"/>
                        </a:cubicBezTo>
                        <a:cubicBezTo>
                          <a:pt x="1620" y="255"/>
                          <a:pt x="1653" y="242"/>
                          <a:pt x="1629" y="228"/>
                        </a:cubicBezTo>
                        <a:cubicBezTo>
                          <a:pt x="1605" y="213"/>
                          <a:pt x="1587" y="222"/>
                          <a:pt x="1574" y="239"/>
                        </a:cubicBezTo>
                        <a:cubicBezTo>
                          <a:pt x="1561" y="255"/>
                          <a:pt x="1541" y="261"/>
                          <a:pt x="1524" y="248"/>
                        </a:cubicBezTo>
                        <a:cubicBezTo>
                          <a:pt x="1507" y="235"/>
                          <a:pt x="1496" y="218"/>
                          <a:pt x="1474" y="202"/>
                        </a:cubicBezTo>
                        <a:cubicBezTo>
                          <a:pt x="1452" y="185"/>
                          <a:pt x="1439" y="187"/>
                          <a:pt x="1437" y="172"/>
                        </a:cubicBezTo>
                        <a:cubicBezTo>
                          <a:pt x="1434" y="157"/>
                          <a:pt x="1448" y="133"/>
                          <a:pt x="1413" y="129"/>
                        </a:cubicBezTo>
                        <a:cubicBezTo>
                          <a:pt x="1378" y="126"/>
                          <a:pt x="1367" y="128"/>
                          <a:pt x="1367" y="105"/>
                        </a:cubicBezTo>
                        <a:cubicBezTo>
                          <a:pt x="1367" y="83"/>
                          <a:pt x="1378" y="20"/>
                          <a:pt x="1345" y="14"/>
                        </a:cubicBezTo>
                        <a:cubicBezTo>
                          <a:pt x="1312" y="9"/>
                          <a:pt x="1314" y="0"/>
                          <a:pt x="1264" y="22"/>
                        </a:cubicBezTo>
                        <a:cubicBezTo>
                          <a:pt x="1214" y="44"/>
                          <a:pt x="1214" y="50"/>
                          <a:pt x="1194" y="50"/>
                        </a:cubicBezTo>
                        <a:cubicBezTo>
                          <a:pt x="1175" y="50"/>
                          <a:pt x="1142" y="59"/>
                          <a:pt x="1146" y="79"/>
                        </a:cubicBezTo>
                        <a:cubicBezTo>
                          <a:pt x="1149" y="95"/>
                          <a:pt x="1172" y="115"/>
                          <a:pt x="1179" y="136"/>
                        </a:cubicBezTo>
                        <a:cubicBezTo>
                          <a:pt x="1196" y="137"/>
                          <a:pt x="1207" y="142"/>
                          <a:pt x="1210" y="166"/>
                        </a:cubicBezTo>
                        <a:cubicBezTo>
                          <a:pt x="1214" y="211"/>
                          <a:pt x="1196" y="226"/>
                          <a:pt x="1196" y="255"/>
                        </a:cubicBezTo>
                        <a:cubicBezTo>
                          <a:pt x="1196" y="285"/>
                          <a:pt x="1166" y="318"/>
                          <a:pt x="1148" y="292"/>
                        </a:cubicBezTo>
                        <a:cubicBezTo>
                          <a:pt x="1131" y="267"/>
                          <a:pt x="1113" y="233"/>
                          <a:pt x="1087" y="263"/>
                        </a:cubicBezTo>
                        <a:cubicBezTo>
                          <a:pt x="1061" y="292"/>
                          <a:pt x="1030" y="318"/>
                          <a:pt x="1004" y="285"/>
                        </a:cubicBezTo>
                        <a:cubicBezTo>
                          <a:pt x="978" y="252"/>
                          <a:pt x="965" y="222"/>
                          <a:pt x="934" y="244"/>
                        </a:cubicBezTo>
                        <a:cubicBezTo>
                          <a:pt x="904" y="267"/>
                          <a:pt x="860" y="292"/>
                          <a:pt x="860" y="322"/>
                        </a:cubicBezTo>
                        <a:cubicBezTo>
                          <a:pt x="860" y="352"/>
                          <a:pt x="878" y="404"/>
                          <a:pt x="825" y="404"/>
                        </a:cubicBezTo>
                        <a:cubicBezTo>
                          <a:pt x="773" y="404"/>
                          <a:pt x="729" y="407"/>
                          <a:pt x="698" y="374"/>
                        </a:cubicBezTo>
                        <a:cubicBezTo>
                          <a:pt x="668" y="341"/>
                          <a:pt x="624" y="304"/>
                          <a:pt x="611" y="274"/>
                        </a:cubicBezTo>
                        <a:cubicBezTo>
                          <a:pt x="598" y="244"/>
                          <a:pt x="576" y="215"/>
                          <a:pt x="546" y="233"/>
                        </a:cubicBezTo>
                        <a:cubicBezTo>
                          <a:pt x="515" y="252"/>
                          <a:pt x="493" y="292"/>
                          <a:pt x="463" y="267"/>
                        </a:cubicBezTo>
                        <a:cubicBezTo>
                          <a:pt x="432" y="241"/>
                          <a:pt x="414" y="259"/>
                          <a:pt x="388" y="233"/>
                        </a:cubicBezTo>
                        <a:cubicBezTo>
                          <a:pt x="362" y="207"/>
                          <a:pt x="345" y="189"/>
                          <a:pt x="323" y="207"/>
                        </a:cubicBezTo>
                        <a:cubicBezTo>
                          <a:pt x="301" y="226"/>
                          <a:pt x="257" y="222"/>
                          <a:pt x="235" y="222"/>
                        </a:cubicBezTo>
                        <a:cubicBezTo>
                          <a:pt x="214" y="222"/>
                          <a:pt x="157" y="204"/>
                          <a:pt x="117" y="222"/>
                        </a:cubicBezTo>
                        <a:cubicBezTo>
                          <a:pt x="78" y="241"/>
                          <a:pt x="65" y="252"/>
                          <a:pt x="52" y="267"/>
                        </a:cubicBezTo>
                        <a:cubicBezTo>
                          <a:pt x="39" y="281"/>
                          <a:pt x="74" y="341"/>
                          <a:pt x="48" y="352"/>
                        </a:cubicBezTo>
                        <a:cubicBezTo>
                          <a:pt x="21" y="363"/>
                          <a:pt x="0" y="381"/>
                          <a:pt x="34" y="389"/>
                        </a:cubicBezTo>
                        <a:cubicBezTo>
                          <a:pt x="69" y="396"/>
                          <a:pt x="109" y="426"/>
                          <a:pt x="135" y="430"/>
                        </a:cubicBezTo>
                        <a:cubicBezTo>
                          <a:pt x="161" y="433"/>
                          <a:pt x="192" y="418"/>
                          <a:pt x="200" y="467"/>
                        </a:cubicBezTo>
                        <a:cubicBezTo>
                          <a:pt x="209" y="515"/>
                          <a:pt x="253" y="530"/>
                          <a:pt x="257" y="570"/>
                        </a:cubicBezTo>
                        <a:cubicBezTo>
                          <a:pt x="262" y="611"/>
                          <a:pt x="266" y="626"/>
                          <a:pt x="297" y="652"/>
                        </a:cubicBezTo>
                        <a:cubicBezTo>
                          <a:pt x="327" y="678"/>
                          <a:pt x="393" y="722"/>
                          <a:pt x="345" y="734"/>
                        </a:cubicBezTo>
                        <a:cubicBezTo>
                          <a:pt x="297" y="745"/>
                          <a:pt x="262" y="737"/>
                          <a:pt x="283" y="767"/>
                        </a:cubicBezTo>
                        <a:cubicBezTo>
                          <a:pt x="305" y="797"/>
                          <a:pt x="340" y="804"/>
                          <a:pt x="345" y="834"/>
                        </a:cubicBezTo>
                        <a:cubicBezTo>
                          <a:pt x="349" y="863"/>
                          <a:pt x="366" y="893"/>
                          <a:pt x="371" y="934"/>
                        </a:cubicBezTo>
                        <a:cubicBezTo>
                          <a:pt x="375" y="974"/>
                          <a:pt x="371" y="986"/>
                          <a:pt x="375" y="1023"/>
                        </a:cubicBezTo>
                        <a:cubicBezTo>
                          <a:pt x="380" y="1060"/>
                          <a:pt x="362" y="1138"/>
                          <a:pt x="371" y="1171"/>
                        </a:cubicBezTo>
                        <a:cubicBezTo>
                          <a:pt x="379" y="1201"/>
                          <a:pt x="405" y="1216"/>
                          <a:pt x="386" y="1233"/>
                        </a:cubicBezTo>
                        <a:cubicBezTo>
                          <a:pt x="406" y="1256"/>
                          <a:pt x="406" y="1276"/>
                          <a:pt x="406" y="1301"/>
                        </a:cubicBezTo>
                        <a:cubicBezTo>
                          <a:pt x="406" y="1338"/>
                          <a:pt x="401" y="1382"/>
                          <a:pt x="410" y="1456"/>
                        </a:cubicBezTo>
                        <a:cubicBezTo>
                          <a:pt x="419" y="1530"/>
                          <a:pt x="454" y="1512"/>
                          <a:pt x="480" y="1501"/>
                        </a:cubicBezTo>
                        <a:cubicBezTo>
                          <a:pt x="506" y="1490"/>
                          <a:pt x="537" y="1479"/>
                          <a:pt x="546" y="1456"/>
                        </a:cubicBezTo>
                        <a:cubicBezTo>
                          <a:pt x="554" y="1434"/>
                          <a:pt x="585" y="1412"/>
                          <a:pt x="611" y="1423"/>
                        </a:cubicBezTo>
                        <a:cubicBezTo>
                          <a:pt x="637" y="1434"/>
                          <a:pt x="650" y="1449"/>
                          <a:pt x="624" y="1475"/>
                        </a:cubicBezTo>
                        <a:cubicBezTo>
                          <a:pt x="598" y="1501"/>
                          <a:pt x="615" y="1519"/>
                          <a:pt x="642" y="1564"/>
                        </a:cubicBezTo>
                        <a:cubicBezTo>
                          <a:pt x="668" y="1608"/>
                          <a:pt x="755" y="1601"/>
                          <a:pt x="786" y="1630"/>
                        </a:cubicBezTo>
                        <a:cubicBezTo>
                          <a:pt x="816" y="1660"/>
                          <a:pt x="873" y="1719"/>
                          <a:pt x="886" y="1760"/>
                        </a:cubicBezTo>
                        <a:cubicBezTo>
                          <a:pt x="899" y="1801"/>
                          <a:pt x="891" y="1816"/>
                          <a:pt x="934" y="1845"/>
                        </a:cubicBezTo>
                        <a:cubicBezTo>
                          <a:pt x="978" y="1875"/>
                          <a:pt x="934" y="1920"/>
                          <a:pt x="974" y="1942"/>
                        </a:cubicBezTo>
                        <a:cubicBezTo>
                          <a:pt x="1013" y="1964"/>
                          <a:pt x="1000" y="2001"/>
                          <a:pt x="1004" y="2012"/>
                        </a:cubicBezTo>
                        <a:cubicBezTo>
                          <a:pt x="1009" y="2023"/>
                          <a:pt x="1057" y="2053"/>
                          <a:pt x="1096" y="2057"/>
                        </a:cubicBezTo>
                        <a:cubicBezTo>
                          <a:pt x="1135" y="2060"/>
                          <a:pt x="1183" y="2027"/>
                          <a:pt x="1218" y="1990"/>
                        </a:cubicBezTo>
                        <a:cubicBezTo>
                          <a:pt x="1253" y="1953"/>
                          <a:pt x="1266" y="1997"/>
                          <a:pt x="1271" y="2009"/>
                        </a:cubicBezTo>
                        <a:cubicBezTo>
                          <a:pt x="1275" y="2020"/>
                          <a:pt x="1319" y="2012"/>
                          <a:pt x="1349" y="1986"/>
                        </a:cubicBezTo>
                        <a:cubicBezTo>
                          <a:pt x="1380" y="1960"/>
                          <a:pt x="1375" y="1908"/>
                          <a:pt x="1349" y="1868"/>
                        </a:cubicBezTo>
                        <a:cubicBezTo>
                          <a:pt x="1323" y="1827"/>
                          <a:pt x="1336" y="1816"/>
                          <a:pt x="1332" y="1782"/>
                        </a:cubicBezTo>
                        <a:cubicBezTo>
                          <a:pt x="1327" y="1749"/>
                          <a:pt x="1336" y="1727"/>
                          <a:pt x="1375" y="1723"/>
                        </a:cubicBezTo>
                        <a:cubicBezTo>
                          <a:pt x="1415" y="1719"/>
                          <a:pt x="1428" y="1664"/>
                          <a:pt x="1454" y="1638"/>
                        </a:cubicBezTo>
                        <a:cubicBezTo>
                          <a:pt x="1480" y="1612"/>
                          <a:pt x="1485" y="1575"/>
                          <a:pt x="1463" y="1549"/>
                        </a:cubicBezTo>
                        <a:cubicBezTo>
                          <a:pt x="1441" y="1523"/>
                          <a:pt x="1511" y="1504"/>
                          <a:pt x="1546" y="1497"/>
                        </a:cubicBezTo>
                        <a:cubicBezTo>
                          <a:pt x="1581" y="1490"/>
                          <a:pt x="1594" y="1464"/>
                          <a:pt x="1555" y="1438"/>
                        </a:cubicBezTo>
                        <a:cubicBezTo>
                          <a:pt x="1515" y="1412"/>
                          <a:pt x="1611" y="1401"/>
                          <a:pt x="1655" y="1397"/>
                        </a:cubicBezTo>
                        <a:cubicBezTo>
                          <a:pt x="1699" y="1393"/>
                          <a:pt x="1677" y="1423"/>
                          <a:pt x="1668" y="1434"/>
                        </a:cubicBezTo>
                        <a:cubicBezTo>
                          <a:pt x="1659" y="1445"/>
                          <a:pt x="1659" y="1464"/>
                          <a:pt x="1681" y="1482"/>
                        </a:cubicBezTo>
                        <a:cubicBezTo>
                          <a:pt x="1703" y="1501"/>
                          <a:pt x="1716" y="1530"/>
                          <a:pt x="1694" y="1549"/>
                        </a:cubicBezTo>
                        <a:cubicBezTo>
                          <a:pt x="1673" y="1567"/>
                          <a:pt x="1716" y="1586"/>
                          <a:pt x="1756" y="1593"/>
                        </a:cubicBezTo>
                        <a:cubicBezTo>
                          <a:pt x="1795" y="1601"/>
                          <a:pt x="1834" y="1567"/>
                          <a:pt x="1847" y="1545"/>
                        </a:cubicBezTo>
                        <a:cubicBezTo>
                          <a:pt x="1860" y="1523"/>
                          <a:pt x="1887" y="1538"/>
                          <a:pt x="1904" y="1545"/>
                        </a:cubicBezTo>
                        <a:cubicBezTo>
                          <a:pt x="1922" y="1553"/>
                          <a:pt x="1935" y="1582"/>
                          <a:pt x="1930" y="1612"/>
                        </a:cubicBezTo>
                        <a:cubicBezTo>
                          <a:pt x="1930" y="1614"/>
                          <a:pt x="1930" y="1615"/>
                          <a:pt x="1930" y="1617"/>
                        </a:cubicBezTo>
                        <a:cubicBezTo>
                          <a:pt x="1937" y="1620"/>
                          <a:pt x="1944" y="1621"/>
                          <a:pt x="1948" y="1618"/>
                        </a:cubicBezTo>
                        <a:cubicBezTo>
                          <a:pt x="1961" y="1606"/>
                          <a:pt x="1967" y="1597"/>
                          <a:pt x="1980" y="1612"/>
                        </a:cubicBezTo>
                        <a:cubicBezTo>
                          <a:pt x="1994" y="1627"/>
                          <a:pt x="2007" y="1640"/>
                          <a:pt x="2033" y="1629"/>
                        </a:cubicBezTo>
                        <a:cubicBezTo>
                          <a:pt x="2059" y="1618"/>
                          <a:pt x="2059" y="1608"/>
                          <a:pt x="2083" y="1608"/>
                        </a:cubicBezTo>
                        <a:cubicBezTo>
                          <a:pt x="2107" y="1608"/>
                          <a:pt x="2120" y="1599"/>
                          <a:pt x="2146" y="1601"/>
                        </a:cubicBezTo>
                        <a:cubicBezTo>
                          <a:pt x="2173" y="1603"/>
                          <a:pt x="2201" y="1601"/>
                          <a:pt x="2186" y="1580"/>
                        </a:cubicBezTo>
                        <a:cubicBezTo>
                          <a:pt x="2171" y="1560"/>
                          <a:pt x="2157" y="1553"/>
                          <a:pt x="2155" y="1536"/>
                        </a:cubicBezTo>
                        <a:cubicBezTo>
                          <a:pt x="2153" y="1519"/>
                          <a:pt x="2173" y="1506"/>
                          <a:pt x="2131" y="1506"/>
                        </a:cubicBezTo>
                        <a:cubicBezTo>
                          <a:pt x="2090" y="1506"/>
                          <a:pt x="2068" y="1491"/>
                          <a:pt x="2042" y="1473"/>
                        </a:cubicBezTo>
                        <a:cubicBezTo>
                          <a:pt x="2015" y="1454"/>
                          <a:pt x="1994" y="1425"/>
                          <a:pt x="2011" y="1410"/>
                        </a:cubicBezTo>
                        <a:cubicBezTo>
                          <a:pt x="2029" y="1395"/>
                          <a:pt x="2050" y="1399"/>
                          <a:pt x="2066" y="1382"/>
                        </a:cubicBezTo>
                        <a:cubicBezTo>
                          <a:pt x="2081" y="1365"/>
                          <a:pt x="2074" y="1336"/>
                          <a:pt x="2103" y="1358"/>
                        </a:cubicBezTo>
                        <a:cubicBezTo>
                          <a:pt x="2131" y="1380"/>
                          <a:pt x="2138" y="1403"/>
                          <a:pt x="2168" y="1406"/>
                        </a:cubicBezTo>
                        <a:cubicBezTo>
                          <a:pt x="2199" y="1410"/>
                          <a:pt x="2238" y="1423"/>
                          <a:pt x="2267" y="1399"/>
                        </a:cubicBezTo>
                        <a:cubicBezTo>
                          <a:pt x="2295" y="1375"/>
                          <a:pt x="2256" y="1343"/>
                          <a:pt x="2295" y="1338"/>
                        </a:cubicBezTo>
                        <a:cubicBezTo>
                          <a:pt x="2334" y="1332"/>
                          <a:pt x="2358" y="1282"/>
                          <a:pt x="2391" y="1308"/>
                        </a:cubicBezTo>
                        <a:cubicBezTo>
                          <a:pt x="2424" y="1334"/>
                          <a:pt x="2439" y="1332"/>
                          <a:pt x="2452" y="1314"/>
                        </a:cubicBezTo>
                        <a:cubicBezTo>
                          <a:pt x="2465" y="1295"/>
                          <a:pt x="2474" y="1280"/>
                          <a:pt x="2454" y="1262"/>
                        </a:cubicBezTo>
                        <a:cubicBezTo>
                          <a:pt x="2435" y="1243"/>
                          <a:pt x="2450" y="1219"/>
                          <a:pt x="2476" y="1225"/>
                        </a:cubicBezTo>
                        <a:cubicBezTo>
                          <a:pt x="2502" y="1230"/>
                          <a:pt x="2531" y="1236"/>
                          <a:pt x="2535" y="1254"/>
                        </a:cubicBezTo>
                        <a:cubicBezTo>
                          <a:pt x="2540" y="1273"/>
                          <a:pt x="2559" y="1293"/>
                          <a:pt x="2577" y="1273"/>
                        </a:cubicBezTo>
                        <a:cubicBezTo>
                          <a:pt x="2594" y="1252"/>
                          <a:pt x="2605" y="1249"/>
                          <a:pt x="2634" y="1251"/>
                        </a:cubicBezTo>
                        <a:cubicBezTo>
                          <a:pt x="2662" y="1252"/>
                          <a:pt x="2671" y="1269"/>
                          <a:pt x="2671" y="1284"/>
                        </a:cubicBezTo>
                        <a:cubicBezTo>
                          <a:pt x="2671" y="1299"/>
                          <a:pt x="2695" y="1306"/>
                          <a:pt x="2684" y="1323"/>
                        </a:cubicBezTo>
                        <a:cubicBezTo>
                          <a:pt x="2673" y="1340"/>
                          <a:pt x="2658" y="1343"/>
                          <a:pt x="2682" y="1347"/>
                        </a:cubicBezTo>
                        <a:cubicBezTo>
                          <a:pt x="2706" y="1351"/>
                          <a:pt x="2725" y="1353"/>
                          <a:pt x="2738" y="1377"/>
                        </a:cubicBezTo>
                        <a:cubicBezTo>
                          <a:pt x="2751" y="1401"/>
                          <a:pt x="2745" y="1421"/>
                          <a:pt x="2786" y="1438"/>
                        </a:cubicBezTo>
                        <a:cubicBezTo>
                          <a:pt x="2828" y="1454"/>
                          <a:pt x="2830" y="1451"/>
                          <a:pt x="2863" y="1441"/>
                        </a:cubicBezTo>
                        <a:cubicBezTo>
                          <a:pt x="2884" y="1436"/>
                          <a:pt x="2895" y="1427"/>
                          <a:pt x="2911" y="1417"/>
                        </a:cubicBezTo>
                        <a:cubicBezTo>
                          <a:pt x="2890" y="1389"/>
                          <a:pt x="2934" y="1385"/>
                          <a:pt x="2917" y="1360"/>
                        </a:cubicBezTo>
                        <a:cubicBezTo>
                          <a:pt x="2900" y="1334"/>
                          <a:pt x="2891" y="1282"/>
                          <a:pt x="2891" y="1230"/>
                        </a:cubicBezTo>
                        <a:cubicBezTo>
                          <a:pt x="2891" y="1226"/>
                          <a:pt x="2891" y="1221"/>
                          <a:pt x="2892" y="1217"/>
                        </a:cubicBezTo>
                        <a:cubicBezTo>
                          <a:pt x="2838" y="1185"/>
                          <a:pt x="2838" y="1185"/>
                          <a:pt x="2838" y="1185"/>
                        </a:cubicBezTo>
                        <a:cubicBezTo>
                          <a:pt x="2838" y="1185"/>
                          <a:pt x="2782" y="1157"/>
                          <a:pt x="2785" y="1126"/>
                        </a:cubicBezTo>
                        <a:cubicBezTo>
                          <a:pt x="2789" y="1096"/>
                          <a:pt x="2802" y="1113"/>
                          <a:pt x="2766" y="1093"/>
                        </a:cubicBezTo>
                        <a:cubicBezTo>
                          <a:pt x="2730" y="1074"/>
                          <a:pt x="2730" y="1068"/>
                          <a:pt x="2713" y="1049"/>
                        </a:cubicBezTo>
                        <a:cubicBezTo>
                          <a:pt x="2697" y="1029"/>
                          <a:pt x="2694" y="1004"/>
                          <a:pt x="2697" y="982"/>
                        </a:cubicBezTo>
                        <a:cubicBezTo>
                          <a:pt x="2700" y="960"/>
                          <a:pt x="2723" y="948"/>
                          <a:pt x="2697" y="940"/>
                        </a:cubicBezTo>
                        <a:cubicBezTo>
                          <a:pt x="2671" y="932"/>
                          <a:pt x="2631" y="921"/>
                          <a:pt x="2667" y="898"/>
                        </a:cubicBezTo>
                        <a:cubicBezTo>
                          <a:pt x="2703" y="876"/>
                          <a:pt x="2720" y="873"/>
                          <a:pt x="2720" y="873"/>
                        </a:cubicBezTo>
                        <a:cubicBezTo>
                          <a:pt x="2720" y="873"/>
                          <a:pt x="2736" y="871"/>
                          <a:pt x="2769" y="862"/>
                        </a:cubicBezTo>
                        <a:cubicBezTo>
                          <a:pt x="2802" y="854"/>
                          <a:pt x="2834" y="854"/>
                          <a:pt x="2857" y="854"/>
                        </a:cubicBezTo>
                        <a:cubicBezTo>
                          <a:pt x="2880" y="854"/>
                          <a:pt x="2929" y="840"/>
                          <a:pt x="2946" y="821"/>
                        </a:cubicBezTo>
                        <a:cubicBezTo>
                          <a:pt x="2962" y="801"/>
                          <a:pt x="3005" y="759"/>
                          <a:pt x="3021" y="771"/>
                        </a:cubicBezTo>
                        <a:cubicBezTo>
                          <a:pt x="3038" y="782"/>
                          <a:pt x="3074" y="779"/>
                          <a:pt x="3074" y="743"/>
                        </a:cubicBezTo>
                        <a:cubicBezTo>
                          <a:pt x="3074" y="707"/>
                          <a:pt x="3074" y="673"/>
                          <a:pt x="3057" y="64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8" name="Freeform 20">
                    <a:extLst>
                      <a:ext uri="{FF2B5EF4-FFF2-40B4-BE49-F238E27FC236}">
                        <a16:creationId xmlns:a16="http://schemas.microsoft.com/office/drawing/2014/main" id="{100E27DA-0347-BBC5-1D6E-A04088BF6BC7}"/>
                      </a:ext>
                    </a:extLst>
                  </p:cNvPr>
                  <p:cNvSpPr>
                    <a:spLocks/>
                  </p:cNvSpPr>
                  <p:nvPr/>
                </p:nvSpPr>
                <p:spPr bwMode="auto">
                  <a:xfrm>
                    <a:off x="1990" y="1454"/>
                    <a:ext cx="1563" cy="1204"/>
                  </a:xfrm>
                  <a:custGeom>
                    <a:avLst/>
                    <a:gdLst>
                      <a:gd name="T0" fmla="*/ 3326 w 3374"/>
                      <a:gd name="T1" fmla="*/ 1582 h 2599"/>
                      <a:gd name="T2" fmla="*/ 3022 w 3374"/>
                      <a:gd name="T3" fmla="*/ 1461 h 2599"/>
                      <a:gd name="T4" fmla="*/ 2905 w 3374"/>
                      <a:gd name="T5" fmla="*/ 1423 h 2599"/>
                      <a:gd name="T6" fmla="*/ 2850 w 3374"/>
                      <a:gd name="T7" fmla="*/ 1556 h 2599"/>
                      <a:gd name="T8" fmla="*/ 2957 w 3374"/>
                      <a:gd name="T9" fmla="*/ 1714 h 2599"/>
                      <a:gd name="T10" fmla="*/ 2863 w 3374"/>
                      <a:gd name="T11" fmla="*/ 1817 h 2599"/>
                      <a:gd name="T12" fmla="*/ 2804 w 3374"/>
                      <a:gd name="T13" fmla="*/ 1882 h 2599"/>
                      <a:gd name="T14" fmla="*/ 2651 w 3374"/>
                      <a:gd name="T15" fmla="*/ 1793 h 2599"/>
                      <a:gd name="T16" fmla="*/ 2573 w 3374"/>
                      <a:gd name="T17" fmla="*/ 1593 h 2599"/>
                      <a:gd name="T18" fmla="*/ 2448 w 3374"/>
                      <a:gd name="T19" fmla="*/ 1424 h 2599"/>
                      <a:gd name="T20" fmla="*/ 2411 w 3374"/>
                      <a:gd name="T21" fmla="*/ 1352 h 2599"/>
                      <a:gd name="T22" fmla="*/ 2179 w 3374"/>
                      <a:gd name="T23" fmla="*/ 1252 h 2599"/>
                      <a:gd name="T24" fmla="*/ 2267 w 3374"/>
                      <a:gd name="T25" fmla="*/ 911 h 2599"/>
                      <a:gd name="T26" fmla="*/ 1721 w 3374"/>
                      <a:gd name="T27" fmla="*/ 1019 h 2599"/>
                      <a:gd name="T28" fmla="*/ 1446 w 3374"/>
                      <a:gd name="T29" fmla="*/ 833 h 2599"/>
                      <a:gd name="T30" fmla="*/ 1485 w 3374"/>
                      <a:gd name="T31" fmla="*/ 615 h 2599"/>
                      <a:gd name="T32" fmla="*/ 1148 w 3374"/>
                      <a:gd name="T33" fmla="*/ 548 h 2599"/>
                      <a:gd name="T34" fmla="*/ 851 w 3374"/>
                      <a:gd name="T35" fmla="*/ 363 h 2599"/>
                      <a:gd name="T36" fmla="*/ 848 w 3374"/>
                      <a:gd name="T37" fmla="*/ 57 h 2599"/>
                      <a:gd name="T38" fmla="*/ 661 w 3374"/>
                      <a:gd name="T39" fmla="*/ 24 h 2599"/>
                      <a:gd name="T40" fmla="*/ 428 w 3374"/>
                      <a:gd name="T41" fmla="*/ 233 h 2599"/>
                      <a:gd name="T42" fmla="*/ 113 w 3374"/>
                      <a:gd name="T43" fmla="*/ 418 h 2599"/>
                      <a:gd name="T44" fmla="*/ 26 w 3374"/>
                      <a:gd name="T45" fmla="*/ 792 h 2599"/>
                      <a:gd name="T46" fmla="*/ 301 w 3374"/>
                      <a:gd name="T47" fmla="*/ 907 h 2599"/>
                      <a:gd name="T48" fmla="*/ 633 w 3374"/>
                      <a:gd name="T49" fmla="*/ 1000 h 2599"/>
                      <a:gd name="T50" fmla="*/ 1074 w 3374"/>
                      <a:gd name="T51" fmla="*/ 941 h 2599"/>
                      <a:gd name="T52" fmla="*/ 1393 w 3374"/>
                      <a:gd name="T53" fmla="*/ 1019 h 2599"/>
                      <a:gd name="T54" fmla="*/ 1695 w 3374"/>
                      <a:gd name="T55" fmla="*/ 1311 h 2599"/>
                      <a:gd name="T56" fmla="*/ 1926 w 3374"/>
                      <a:gd name="T57" fmla="*/ 1471 h 2599"/>
                      <a:gd name="T58" fmla="*/ 2018 w 3374"/>
                      <a:gd name="T59" fmla="*/ 1638 h 2599"/>
                      <a:gd name="T60" fmla="*/ 1992 w 3374"/>
                      <a:gd name="T61" fmla="*/ 1860 h 2599"/>
                      <a:gd name="T62" fmla="*/ 1909 w 3374"/>
                      <a:gd name="T63" fmla="*/ 1930 h 2599"/>
                      <a:gd name="T64" fmla="*/ 1808 w 3374"/>
                      <a:gd name="T65" fmla="*/ 2156 h 2599"/>
                      <a:gd name="T66" fmla="*/ 1594 w 3374"/>
                      <a:gd name="T67" fmla="*/ 2138 h 2599"/>
                      <a:gd name="T68" fmla="*/ 1861 w 3374"/>
                      <a:gd name="T69" fmla="*/ 2316 h 2599"/>
                      <a:gd name="T70" fmla="*/ 1928 w 3374"/>
                      <a:gd name="T71" fmla="*/ 2229 h 2599"/>
                      <a:gd name="T72" fmla="*/ 2101 w 3374"/>
                      <a:gd name="T73" fmla="*/ 2284 h 2599"/>
                      <a:gd name="T74" fmla="*/ 2208 w 3374"/>
                      <a:gd name="T75" fmla="*/ 2381 h 2599"/>
                      <a:gd name="T76" fmla="*/ 2363 w 3374"/>
                      <a:gd name="T77" fmla="*/ 2407 h 2599"/>
                      <a:gd name="T78" fmla="*/ 2455 w 3374"/>
                      <a:gd name="T79" fmla="*/ 2564 h 2599"/>
                      <a:gd name="T80" fmla="*/ 2649 w 3374"/>
                      <a:gd name="T81" fmla="*/ 2499 h 2599"/>
                      <a:gd name="T82" fmla="*/ 2763 w 3374"/>
                      <a:gd name="T83" fmla="*/ 2412 h 2599"/>
                      <a:gd name="T84" fmla="*/ 2771 w 3374"/>
                      <a:gd name="T85" fmla="*/ 2321 h 2599"/>
                      <a:gd name="T86" fmla="*/ 2880 w 3374"/>
                      <a:gd name="T87" fmla="*/ 2329 h 2599"/>
                      <a:gd name="T88" fmla="*/ 2874 w 3374"/>
                      <a:gd name="T89" fmla="*/ 2238 h 2599"/>
                      <a:gd name="T90" fmla="*/ 2918 w 3374"/>
                      <a:gd name="T91" fmla="*/ 2119 h 2599"/>
                      <a:gd name="T92" fmla="*/ 2870 w 3374"/>
                      <a:gd name="T93" fmla="*/ 2034 h 2599"/>
                      <a:gd name="T94" fmla="*/ 2983 w 3374"/>
                      <a:gd name="T95" fmla="*/ 1945 h 2599"/>
                      <a:gd name="T96" fmla="*/ 3167 w 3374"/>
                      <a:gd name="T97" fmla="*/ 1953 h 2599"/>
                      <a:gd name="T98" fmla="*/ 3232 w 3374"/>
                      <a:gd name="T99" fmla="*/ 1884 h 2599"/>
                      <a:gd name="T100" fmla="*/ 3337 w 3374"/>
                      <a:gd name="T101" fmla="*/ 1795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4" h="2599">
                        <a:moveTo>
                          <a:pt x="3319" y="1723"/>
                        </a:moveTo>
                        <a:cubicBezTo>
                          <a:pt x="3341" y="1695"/>
                          <a:pt x="3374" y="1691"/>
                          <a:pt x="3359" y="1658"/>
                        </a:cubicBezTo>
                        <a:cubicBezTo>
                          <a:pt x="3343" y="1625"/>
                          <a:pt x="3365" y="1593"/>
                          <a:pt x="3326" y="1582"/>
                        </a:cubicBezTo>
                        <a:cubicBezTo>
                          <a:pt x="3287" y="1571"/>
                          <a:pt x="3223" y="1565"/>
                          <a:pt x="3195" y="1541"/>
                        </a:cubicBezTo>
                        <a:cubicBezTo>
                          <a:pt x="3167" y="1517"/>
                          <a:pt x="3164" y="1511"/>
                          <a:pt x="3125" y="1504"/>
                        </a:cubicBezTo>
                        <a:cubicBezTo>
                          <a:pt x="3086" y="1497"/>
                          <a:pt x="3031" y="1487"/>
                          <a:pt x="3022" y="1461"/>
                        </a:cubicBezTo>
                        <a:cubicBezTo>
                          <a:pt x="3017" y="1447"/>
                          <a:pt x="3023" y="1437"/>
                          <a:pt x="3024" y="1426"/>
                        </a:cubicBezTo>
                        <a:cubicBezTo>
                          <a:pt x="3009" y="1428"/>
                          <a:pt x="2990" y="1430"/>
                          <a:pt x="2972" y="1430"/>
                        </a:cubicBezTo>
                        <a:cubicBezTo>
                          <a:pt x="2924" y="1430"/>
                          <a:pt x="2918" y="1437"/>
                          <a:pt x="2905" y="1423"/>
                        </a:cubicBezTo>
                        <a:cubicBezTo>
                          <a:pt x="2891" y="1408"/>
                          <a:pt x="2885" y="1417"/>
                          <a:pt x="2874" y="1432"/>
                        </a:cubicBezTo>
                        <a:cubicBezTo>
                          <a:pt x="2863" y="1447"/>
                          <a:pt x="2870" y="1484"/>
                          <a:pt x="2874" y="1513"/>
                        </a:cubicBezTo>
                        <a:cubicBezTo>
                          <a:pt x="2878" y="1543"/>
                          <a:pt x="2867" y="1543"/>
                          <a:pt x="2850" y="1556"/>
                        </a:cubicBezTo>
                        <a:cubicBezTo>
                          <a:pt x="2832" y="1569"/>
                          <a:pt x="2848" y="1582"/>
                          <a:pt x="2846" y="1628"/>
                        </a:cubicBezTo>
                        <a:cubicBezTo>
                          <a:pt x="2843" y="1675"/>
                          <a:pt x="2887" y="1654"/>
                          <a:pt x="2920" y="1665"/>
                        </a:cubicBezTo>
                        <a:cubicBezTo>
                          <a:pt x="2953" y="1676"/>
                          <a:pt x="2963" y="1695"/>
                          <a:pt x="2957" y="1714"/>
                        </a:cubicBezTo>
                        <a:cubicBezTo>
                          <a:pt x="2950" y="1732"/>
                          <a:pt x="2961" y="1749"/>
                          <a:pt x="2948" y="1778"/>
                        </a:cubicBezTo>
                        <a:cubicBezTo>
                          <a:pt x="2935" y="1808"/>
                          <a:pt x="2902" y="1793"/>
                          <a:pt x="2870" y="1780"/>
                        </a:cubicBezTo>
                        <a:cubicBezTo>
                          <a:pt x="2837" y="1767"/>
                          <a:pt x="2865" y="1808"/>
                          <a:pt x="2863" y="1817"/>
                        </a:cubicBezTo>
                        <a:cubicBezTo>
                          <a:pt x="2861" y="1827"/>
                          <a:pt x="2839" y="1836"/>
                          <a:pt x="2861" y="1849"/>
                        </a:cubicBezTo>
                        <a:cubicBezTo>
                          <a:pt x="2883" y="1862"/>
                          <a:pt x="2867" y="1862"/>
                          <a:pt x="2843" y="1877"/>
                        </a:cubicBezTo>
                        <a:cubicBezTo>
                          <a:pt x="2819" y="1891"/>
                          <a:pt x="2811" y="1895"/>
                          <a:pt x="2804" y="1882"/>
                        </a:cubicBezTo>
                        <a:cubicBezTo>
                          <a:pt x="2797" y="1869"/>
                          <a:pt x="2782" y="1862"/>
                          <a:pt x="2763" y="1862"/>
                        </a:cubicBezTo>
                        <a:cubicBezTo>
                          <a:pt x="2712" y="1867"/>
                          <a:pt x="2710" y="1851"/>
                          <a:pt x="2704" y="1819"/>
                        </a:cubicBezTo>
                        <a:cubicBezTo>
                          <a:pt x="2697" y="1788"/>
                          <a:pt x="2675" y="1793"/>
                          <a:pt x="2651" y="1793"/>
                        </a:cubicBezTo>
                        <a:cubicBezTo>
                          <a:pt x="2627" y="1793"/>
                          <a:pt x="2629" y="1784"/>
                          <a:pt x="2597" y="1760"/>
                        </a:cubicBezTo>
                        <a:cubicBezTo>
                          <a:pt x="2564" y="1736"/>
                          <a:pt x="2592" y="1738"/>
                          <a:pt x="2607" y="1691"/>
                        </a:cubicBezTo>
                        <a:cubicBezTo>
                          <a:pt x="2623" y="1645"/>
                          <a:pt x="2594" y="1623"/>
                          <a:pt x="2573" y="1593"/>
                        </a:cubicBezTo>
                        <a:cubicBezTo>
                          <a:pt x="2551" y="1563"/>
                          <a:pt x="2549" y="1532"/>
                          <a:pt x="2542" y="1495"/>
                        </a:cubicBezTo>
                        <a:cubicBezTo>
                          <a:pt x="2535" y="1458"/>
                          <a:pt x="2490" y="1467"/>
                          <a:pt x="2485" y="1454"/>
                        </a:cubicBezTo>
                        <a:cubicBezTo>
                          <a:pt x="2481" y="1441"/>
                          <a:pt x="2479" y="1436"/>
                          <a:pt x="2448" y="1424"/>
                        </a:cubicBezTo>
                        <a:cubicBezTo>
                          <a:pt x="2417" y="1413"/>
                          <a:pt x="2426" y="1411"/>
                          <a:pt x="2424" y="1380"/>
                        </a:cubicBezTo>
                        <a:cubicBezTo>
                          <a:pt x="2423" y="1371"/>
                          <a:pt x="2421" y="1362"/>
                          <a:pt x="2418" y="1354"/>
                        </a:cubicBezTo>
                        <a:cubicBezTo>
                          <a:pt x="2415" y="1353"/>
                          <a:pt x="2413" y="1353"/>
                          <a:pt x="2411" y="1352"/>
                        </a:cubicBezTo>
                        <a:cubicBezTo>
                          <a:pt x="2358" y="1337"/>
                          <a:pt x="2376" y="1374"/>
                          <a:pt x="2332" y="1382"/>
                        </a:cubicBezTo>
                        <a:cubicBezTo>
                          <a:pt x="2289" y="1389"/>
                          <a:pt x="2289" y="1360"/>
                          <a:pt x="2249" y="1330"/>
                        </a:cubicBezTo>
                        <a:cubicBezTo>
                          <a:pt x="2210" y="1300"/>
                          <a:pt x="2166" y="1297"/>
                          <a:pt x="2179" y="1252"/>
                        </a:cubicBezTo>
                        <a:cubicBezTo>
                          <a:pt x="2192" y="1208"/>
                          <a:pt x="2162" y="1156"/>
                          <a:pt x="2210" y="1141"/>
                        </a:cubicBezTo>
                        <a:cubicBezTo>
                          <a:pt x="2258" y="1126"/>
                          <a:pt x="2302" y="1100"/>
                          <a:pt x="2306" y="1041"/>
                        </a:cubicBezTo>
                        <a:cubicBezTo>
                          <a:pt x="2310" y="981"/>
                          <a:pt x="2310" y="941"/>
                          <a:pt x="2267" y="911"/>
                        </a:cubicBezTo>
                        <a:cubicBezTo>
                          <a:pt x="2223" y="881"/>
                          <a:pt x="2140" y="844"/>
                          <a:pt x="2101" y="878"/>
                        </a:cubicBezTo>
                        <a:cubicBezTo>
                          <a:pt x="2061" y="911"/>
                          <a:pt x="1996" y="993"/>
                          <a:pt x="1926" y="1007"/>
                        </a:cubicBezTo>
                        <a:cubicBezTo>
                          <a:pt x="1856" y="1022"/>
                          <a:pt x="1782" y="1048"/>
                          <a:pt x="1721" y="1019"/>
                        </a:cubicBezTo>
                        <a:cubicBezTo>
                          <a:pt x="1660" y="989"/>
                          <a:pt x="1625" y="1007"/>
                          <a:pt x="1594" y="970"/>
                        </a:cubicBezTo>
                        <a:cubicBezTo>
                          <a:pt x="1563" y="933"/>
                          <a:pt x="1598" y="855"/>
                          <a:pt x="1550" y="855"/>
                        </a:cubicBezTo>
                        <a:cubicBezTo>
                          <a:pt x="1502" y="855"/>
                          <a:pt x="1480" y="870"/>
                          <a:pt x="1446" y="833"/>
                        </a:cubicBezTo>
                        <a:cubicBezTo>
                          <a:pt x="1411" y="796"/>
                          <a:pt x="1323" y="785"/>
                          <a:pt x="1328" y="767"/>
                        </a:cubicBezTo>
                        <a:cubicBezTo>
                          <a:pt x="1332" y="748"/>
                          <a:pt x="1367" y="685"/>
                          <a:pt x="1402" y="674"/>
                        </a:cubicBezTo>
                        <a:cubicBezTo>
                          <a:pt x="1437" y="663"/>
                          <a:pt x="1480" y="655"/>
                          <a:pt x="1485" y="615"/>
                        </a:cubicBezTo>
                        <a:cubicBezTo>
                          <a:pt x="1489" y="574"/>
                          <a:pt x="1498" y="537"/>
                          <a:pt x="1437" y="514"/>
                        </a:cubicBezTo>
                        <a:cubicBezTo>
                          <a:pt x="1376" y="492"/>
                          <a:pt x="1231" y="492"/>
                          <a:pt x="1205" y="500"/>
                        </a:cubicBezTo>
                        <a:cubicBezTo>
                          <a:pt x="1179" y="507"/>
                          <a:pt x="1175" y="514"/>
                          <a:pt x="1148" y="548"/>
                        </a:cubicBezTo>
                        <a:cubicBezTo>
                          <a:pt x="1122" y="581"/>
                          <a:pt x="1070" y="629"/>
                          <a:pt x="1017" y="577"/>
                        </a:cubicBezTo>
                        <a:cubicBezTo>
                          <a:pt x="965" y="526"/>
                          <a:pt x="926" y="503"/>
                          <a:pt x="908" y="466"/>
                        </a:cubicBezTo>
                        <a:cubicBezTo>
                          <a:pt x="891" y="429"/>
                          <a:pt x="851" y="396"/>
                          <a:pt x="851" y="363"/>
                        </a:cubicBezTo>
                        <a:cubicBezTo>
                          <a:pt x="851" y="329"/>
                          <a:pt x="830" y="307"/>
                          <a:pt x="856" y="277"/>
                        </a:cubicBezTo>
                        <a:cubicBezTo>
                          <a:pt x="882" y="248"/>
                          <a:pt x="886" y="229"/>
                          <a:pt x="873" y="196"/>
                        </a:cubicBezTo>
                        <a:cubicBezTo>
                          <a:pt x="864" y="171"/>
                          <a:pt x="849" y="107"/>
                          <a:pt x="848" y="57"/>
                        </a:cubicBezTo>
                        <a:cubicBezTo>
                          <a:pt x="836" y="52"/>
                          <a:pt x="821" y="44"/>
                          <a:pt x="800" y="31"/>
                        </a:cubicBezTo>
                        <a:cubicBezTo>
                          <a:pt x="751" y="0"/>
                          <a:pt x="744" y="36"/>
                          <a:pt x="692" y="31"/>
                        </a:cubicBezTo>
                        <a:cubicBezTo>
                          <a:pt x="673" y="29"/>
                          <a:pt x="664" y="27"/>
                          <a:pt x="661" y="24"/>
                        </a:cubicBezTo>
                        <a:cubicBezTo>
                          <a:pt x="648" y="39"/>
                          <a:pt x="634" y="58"/>
                          <a:pt x="629" y="77"/>
                        </a:cubicBezTo>
                        <a:cubicBezTo>
                          <a:pt x="616" y="122"/>
                          <a:pt x="664" y="170"/>
                          <a:pt x="594" y="192"/>
                        </a:cubicBezTo>
                        <a:cubicBezTo>
                          <a:pt x="524" y="214"/>
                          <a:pt x="471" y="203"/>
                          <a:pt x="428" y="233"/>
                        </a:cubicBezTo>
                        <a:cubicBezTo>
                          <a:pt x="384" y="262"/>
                          <a:pt x="336" y="255"/>
                          <a:pt x="305" y="288"/>
                        </a:cubicBezTo>
                        <a:cubicBezTo>
                          <a:pt x="275" y="322"/>
                          <a:pt x="209" y="333"/>
                          <a:pt x="196" y="370"/>
                        </a:cubicBezTo>
                        <a:cubicBezTo>
                          <a:pt x="183" y="407"/>
                          <a:pt x="153" y="414"/>
                          <a:pt x="113" y="418"/>
                        </a:cubicBezTo>
                        <a:cubicBezTo>
                          <a:pt x="74" y="422"/>
                          <a:pt x="0" y="444"/>
                          <a:pt x="0" y="511"/>
                        </a:cubicBezTo>
                        <a:cubicBezTo>
                          <a:pt x="0" y="577"/>
                          <a:pt x="22" y="644"/>
                          <a:pt x="26" y="681"/>
                        </a:cubicBezTo>
                        <a:cubicBezTo>
                          <a:pt x="30" y="718"/>
                          <a:pt x="48" y="763"/>
                          <a:pt x="26" y="792"/>
                        </a:cubicBezTo>
                        <a:cubicBezTo>
                          <a:pt x="8" y="817"/>
                          <a:pt x="34" y="794"/>
                          <a:pt x="63" y="857"/>
                        </a:cubicBezTo>
                        <a:cubicBezTo>
                          <a:pt x="88" y="855"/>
                          <a:pt x="115" y="852"/>
                          <a:pt x="139" y="855"/>
                        </a:cubicBezTo>
                        <a:cubicBezTo>
                          <a:pt x="196" y="863"/>
                          <a:pt x="249" y="904"/>
                          <a:pt x="301" y="907"/>
                        </a:cubicBezTo>
                        <a:cubicBezTo>
                          <a:pt x="353" y="911"/>
                          <a:pt x="380" y="885"/>
                          <a:pt x="415" y="933"/>
                        </a:cubicBezTo>
                        <a:cubicBezTo>
                          <a:pt x="450" y="981"/>
                          <a:pt x="485" y="1015"/>
                          <a:pt x="528" y="1022"/>
                        </a:cubicBezTo>
                        <a:cubicBezTo>
                          <a:pt x="572" y="1030"/>
                          <a:pt x="563" y="1026"/>
                          <a:pt x="633" y="1000"/>
                        </a:cubicBezTo>
                        <a:cubicBezTo>
                          <a:pt x="703" y="974"/>
                          <a:pt x="712" y="937"/>
                          <a:pt x="777" y="948"/>
                        </a:cubicBezTo>
                        <a:cubicBezTo>
                          <a:pt x="843" y="959"/>
                          <a:pt x="930" y="996"/>
                          <a:pt x="956" y="967"/>
                        </a:cubicBezTo>
                        <a:cubicBezTo>
                          <a:pt x="983" y="937"/>
                          <a:pt x="991" y="896"/>
                          <a:pt x="1074" y="941"/>
                        </a:cubicBezTo>
                        <a:cubicBezTo>
                          <a:pt x="1157" y="985"/>
                          <a:pt x="1227" y="985"/>
                          <a:pt x="1231" y="1015"/>
                        </a:cubicBezTo>
                        <a:cubicBezTo>
                          <a:pt x="1236" y="1044"/>
                          <a:pt x="1249" y="1059"/>
                          <a:pt x="1293" y="1041"/>
                        </a:cubicBezTo>
                        <a:cubicBezTo>
                          <a:pt x="1336" y="1022"/>
                          <a:pt x="1389" y="978"/>
                          <a:pt x="1393" y="1019"/>
                        </a:cubicBezTo>
                        <a:cubicBezTo>
                          <a:pt x="1397" y="1059"/>
                          <a:pt x="1384" y="1126"/>
                          <a:pt x="1432" y="1145"/>
                        </a:cubicBezTo>
                        <a:cubicBezTo>
                          <a:pt x="1480" y="1163"/>
                          <a:pt x="1559" y="1182"/>
                          <a:pt x="1585" y="1211"/>
                        </a:cubicBezTo>
                        <a:cubicBezTo>
                          <a:pt x="1612" y="1241"/>
                          <a:pt x="1660" y="1319"/>
                          <a:pt x="1695" y="1311"/>
                        </a:cubicBezTo>
                        <a:cubicBezTo>
                          <a:pt x="1729" y="1304"/>
                          <a:pt x="1782" y="1241"/>
                          <a:pt x="1808" y="1293"/>
                        </a:cubicBezTo>
                        <a:cubicBezTo>
                          <a:pt x="1834" y="1345"/>
                          <a:pt x="1895" y="1360"/>
                          <a:pt x="1904" y="1389"/>
                        </a:cubicBezTo>
                        <a:cubicBezTo>
                          <a:pt x="1913" y="1419"/>
                          <a:pt x="1944" y="1448"/>
                          <a:pt x="1926" y="1471"/>
                        </a:cubicBezTo>
                        <a:cubicBezTo>
                          <a:pt x="1909" y="1493"/>
                          <a:pt x="1895" y="1497"/>
                          <a:pt x="1965" y="1523"/>
                        </a:cubicBezTo>
                        <a:cubicBezTo>
                          <a:pt x="1996" y="1541"/>
                          <a:pt x="1987" y="1567"/>
                          <a:pt x="1987" y="1586"/>
                        </a:cubicBezTo>
                        <a:cubicBezTo>
                          <a:pt x="1987" y="1604"/>
                          <a:pt x="1987" y="1612"/>
                          <a:pt x="2018" y="1638"/>
                        </a:cubicBezTo>
                        <a:cubicBezTo>
                          <a:pt x="2048" y="1663"/>
                          <a:pt x="2075" y="1701"/>
                          <a:pt x="2057" y="1741"/>
                        </a:cubicBezTo>
                        <a:cubicBezTo>
                          <a:pt x="2040" y="1782"/>
                          <a:pt x="2022" y="1797"/>
                          <a:pt x="2022" y="1812"/>
                        </a:cubicBezTo>
                        <a:cubicBezTo>
                          <a:pt x="2022" y="1827"/>
                          <a:pt x="2018" y="1878"/>
                          <a:pt x="1992" y="1860"/>
                        </a:cubicBezTo>
                        <a:cubicBezTo>
                          <a:pt x="1965" y="1841"/>
                          <a:pt x="1974" y="1808"/>
                          <a:pt x="1965" y="1841"/>
                        </a:cubicBezTo>
                        <a:cubicBezTo>
                          <a:pt x="1957" y="1875"/>
                          <a:pt x="1944" y="1886"/>
                          <a:pt x="1926" y="1882"/>
                        </a:cubicBezTo>
                        <a:cubicBezTo>
                          <a:pt x="1909" y="1878"/>
                          <a:pt x="1887" y="1912"/>
                          <a:pt x="1909" y="1930"/>
                        </a:cubicBezTo>
                        <a:cubicBezTo>
                          <a:pt x="1930" y="1949"/>
                          <a:pt x="1917" y="1971"/>
                          <a:pt x="1891" y="1997"/>
                        </a:cubicBezTo>
                        <a:cubicBezTo>
                          <a:pt x="1865" y="2023"/>
                          <a:pt x="1812" y="2001"/>
                          <a:pt x="1817" y="2049"/>
                        </a:cubicBezTo>
                        <a:cubicBezTo>
                          <a:pt x="1821" y="2097"/>
                          <a:pt x="1817" y="2123"/>
                          <a:pt x="1808" y="2156"/>
                        </a:cubicBezTo>
                        <a:cubicBezTo>
                          <a:pt x="1799" y="2190"/>
                          <a:pt x="1791" y="2208"/>
                          <a:pt x="1751" y="2197"/>
                        </a:cubicBezTo>
                        <a:cubicBezTo>
                          <a:pt x="1712" y="2186"/>
                          <a:pt x="1686" y="2201"/>
                          <a:pt x="1655" y="2168"/>
                        </a:cubicBezTo>
                        <a:cubicBezTo>
                          <a:pt x="1625" y="2134"/>
                          <a:pt x="1612" y="2093"/>
                          <a:pt x="1594" y="2138"/>
                        </a:cubicBezTo>
                        <a:cubicBezTo>
                          <a:pt x="1577" y="2182"/>
                          <a:pt x="1572" y="2223"/>
                          <a:pt x="1629" y="2231"/>
                        </a:cubicBezTo>
                        <a:cubicBezTo>
                          <a:pt x="1686" y="2238"/>
                          <a:pt x="1743" y="2223"/>
                          <a:pt x="1764" y="2256"/>
                        </a:cubicBezTo>
                        <a:cubicBezTo>
                          <a:pt x="1786" y="2290"/>
                          <a:pt x="1817" y="2312"/>
                          <a:pt x="1861" y="2316"/>
                        </a:cubicBezTo>
                        <a:cubicBezTo>
                          <a:pt x="1881" y="2317"/>
                          <a:pt x="1899" y="2315"/>
                          <a:pt x="1913" y="2315"/>
                        </a:cubicBezTo>
                        <a:cubicBezTo>
                          <a:pt x="1906" y="2294"/>
                          <a:pt x="1883" y="2274"/>
                          <a:pt x="1880" y="2258"/>
                        </a:cubicBezTo>
                        <a:cubicBezTo>
                          <a:pt x="1876" y="2238"/>
                          <a:pt x="1909" y="2229"/>
                          <a:pt x="1928" y="2229"/>
                        </a:cubicBezTo>
                        <a:cubicBezTo>
                          <a:pt x="1948" y="2229"/>
                          <a:pt x="1948" y="2223"/>
                          <a:pt x="1998" y="2201"/>
                        </a:cubicBezTo>
                        <a:cubicBezTo>
                          <a:pt x="2048" y="2179"/>
                          <a:pt x="2046" y="2188"/>
                          <a:pt x="2079" y="2193"/>
                        </a:cubicBezTo>
                        <a:cubicBezTo>
                          <a:pt x="2112" y="2199"/>
                          <a:pt x="2101" y="2262"/>
                          <a:pt x="2101" y="2284"/>
                        </a:cubicBezTo>
                        <a:cubicBezTo>
                          <a:pt x="2101" y="2307"/>
                          <a:pt x="2112" y="2305"/>
                          <a:pt x="2147" y="2308"/>
                        </a:cubicBezTo>
                        <a:cubicBezTo>
                          <a:pt x="2182" y="2312"/>
                          <a:pt x="2168" y="2336"/>
                          <a:pt x="2171" y="2351"/>
                        </a:cubicBezTo>
                        <a:cubicBezTo>
                          <a:pt x="2173" y="2366"/>
                          <a:pt x="2186" y="2364"/>
                          <a:pt x="2208" y="2381"/>
                        </a:cubicBezTo>
                        <a:cubicBezTo>
                          <a:pt x="2230" y="2397"/>
                          <a:pt x="2241" y="2414"/>
                          <a:pt x="2258" y="2427"/>
                        </a:cubicBezTo>
                        <a:cubicBezTo>
                          <a:pt x="2275" y="2440"/>
                          <a:pt x="2295" y="2434"/>
                          <a:pt x="2308" y="2418"/>
                        </a:cubicBezTo>
                        <a:cubicBezTo>
                          <a:pt x="2321" y="2401"/>
                          <a:pt x="2339" y="2392"/>
                          <a:pt x="2363" y="2407"/>
                        </a:cubicBezTo>
                        <a:cubicBezTo>
                          <a:pt x="2387" y="2421"/>
                          <a:pt x="2354" y="2434"/>
                          <a:pt x="2380" y="2455"/>
                        </a:cubicBezTo>
                        <a:cubicBezTo>
                          <a:pt x="2407" y="2475"/>
                          <a:pt x="2402" y="2503"/>
                          <a:pt x="2404" y="2523"/>
                        </a:cubicBezTo>
                        <a:cubicBezTo>
                          <a:pt x="2407" y="2544"/>
                          <a:pt x="2428" y="2547"/>
                          <a:pt x="2455" y="2564"/>
                        </a:cubicBezTo>
                        <a:cubicBezTo>
                          <a:pt x="2481" y="2581"/>
                          <a:pt x="2483" y="2562"/>
                          <a:pt x="2531" y="2581"/>
                        </a:cubicBezTo>
                        <a:cubicBezTo>
                          <a:pt x="2579" y="2599"/>
                          <a:pt x="2568" y="2588"/>
                          <a:pt x="2618" y="2572"/>
                        </a:cubicBezTo>
                        <a:cubicBezTo>
                          <a:pt x="2669" y="2555"/>
                          <a:pt x="2647" y="2516"/>
                          <a:pt x="2649" y="2499"/>
                        </a:cubicBezTo>
                        <a:cubicBezTo>
                          <a:pt x="2651" y="2486"/>
                          <a:pt x="2687" y="2489"/>
                          <a:pt x="2719" y="2491"/>
                        </a:cubicBezTo>
                        <a:cubicBezTo>
                          <a:pt x="2729" y="2478"/>
                          <a:pt x="2744" y="2462"/>
                          <a:pt x="2756" y="2455"/>
                        </a:cubicBezTo>
                        <a:cubicBezTo>
                          <a:pt x="2778" y="2442"/>
                          <a:pt x="2747" y="2429"/>
                          <a:pt x="2763" y="2412"/>
                        </a:cubicBezTo>
                        <a:cubicBezTo>
                          <a:pt x="2778" y="2395"/>
                          <a:pt x="2780" y="2388"/>
                          <a:pt x="2756" y="2381"/>
                        </a:cubicBezTo>
                        <a:cubicBezTo>
                          <a:pt x="2732" y="2373"/>
                          <a:pt x="2695" y="2362"/>
                          <a:pt x="2719" y="2349"/>
                        </a:cubicBezTo>
                        <a:cubicBezTo>
                          <a:pt x="2743" y="2336"/>
                          <a:pt x="2756" y="2318"/>
                          <a:pt x="2771" y="2321"/>
                        </a:cubicBezTo>
                        <a:cubicBezTo>
                          <a:pt x="2787" y="2325"/>
                          <a:pt x="2815" y="2338"/>
                          <a:pt x="2819" y="2325"/>
                        </a:cubicBezTo>
                        <a:cubicBezTo>
                          <a:pt x="2824" y="2312"/>
                          <a:pt x="2830" y="2297"/>
                          <a:pt x="2843" y="2308"/>
                        </a:cubicBezTo>
                        <a:cubicBezTo>
                          <a:pt x="2856" y="2319"/>
                          <a:pt x="2852" y="2331"/>
                          <a:pt x="2880" y="2329"/>
                        </a:cubicBezTo>
                        <a:cubicBezTo>
                          <a:pt x="2909" y="2327"/>
                          <a:pt x="2915" y="2312"/>
                          <a:pt x="2896" y="2297"/>
                        </a:cubicBezTo>
                        <a:cubicBezTo>
                          <a:pt x="2876" y="2282"/>
                          <a:pt x="2859" y="2288"/>
                          <a:pt x="2876" y="2271"/>
                        </a:cubicBezTo>
                        <a:cubicBezTo>
                          <a:pt x="2894" y="2255"/>
                          <a:pt x="2885" y="2245"/>
                          <a:pt x="2874" y="2238"/>
                        </a:cubicBezTo>
                        <a:cubicBezTo>
                          <a:pt x="2863" y="2231"/>
                          <a:pt x="2872" y="2229"/>
                          <a:pt x="2883" y="2212"/>
                        </a:cubicBezTo>
                        <a:cubicBezTo>
                          <a:pt x="2894" y="2195"/>
                          <a:pt x="2909" y="2195"/>
                          <a:pt x="2907" y="2173"/>
                        </a:cubicBezTo>
                        <a:cubicBezTo>
                          <a:pt x="2905" y="2151"/>
                          <a:pt x="2933" y="2134"/>
                          <a:pt x="2918" y="2119"/>
                        </a:cubicBezTo>
                        <a:cubicBezTo>
                          <a:pt x="2902" y="2105"/>
                          <a:pt x="2894" y="2084"/>
                          <a:pt x="2874" y="2088"/>
                        </a:cubicBezTo>
                        <a:cubicBezTo>
                          <a:pt x="2854" y="2092"/>
                          <a:pt x="2835" y="2092"/>
                          <a:pt x="2837" y="2077"/>
                        </a:cubicBezTo>
                        <a:cubicBezTo>
                          <a:pt x="2839" y="2062"/>
                          <a:pt x="2852" y="2042"/>
                          <a:pt x="2870" y="2034"/>
                        </a:cubicBezTo>
                        <a:cubicBezTo>
                          <a:pt x="2887" y="2027"/>
                          <a:pt x="2889" y="2012"/>
                          <a:pt x="2878" y="1995"/>
                        </a:cubicBezTo>
                        <a:cubicBezTo>
                          <a:pt x="2867" y="1979"/>
                          <a:pt x="2856" y="1943"/>
                          <a:pt x="2900" y="1940"/>
                        </a:cubicBezTo>
                        <a:cubicBezTo>
                          <a:pt x="2944" y="1936"/>
                          <a:pt x="2974" y="1927"/>
                          <a:pt x="2983" y="1945"/>
                        </a:cubicBezTo>
                        <a:cubicBezTo>
                          <a:pt x="2992" y="1964"/>
                          <a:pt x="3018" y="1986"/>
                          <a:pt x="3051" y="1982"/>
                        </a:cubicBezTo>
                        <a:cubicBezTo>
                          <a:pt x="3084" y="1979"/>
                          <a:pt x="3088" y="1966"/>
                          <a:pt x="3114" y="1966"/>
                        </a:cubicBezTo>
                        <a:cubicBezTo>
                          <a:pt x="3140" y="1966"/>
                          <a:pt x="3167" y="1986"/>
                          <a:pt x="3167" y="1953"/>
                        </a:cubicBezTo>
                        <a:cubicBezTo>
                          <a:pt x="3167" y="1919"/>
                          <a:pt x="3127" y="1901"/>
                          <a:pt x="3156" y="1893"/>
                        </a:cubicBezTo>
                        <a:cubicBezTo>
                          <a:pt x="3184" y="1886"/>
                          <a:pt x="3186" y="1873"/>
                          <a:pt x="3204" y="1884"/>
                        </a:cubicBezTo>
                        <a:cubicBezTo>
                          <a:pt x="3221" y="1895"/>
                          <a:pt x="3226" y="1897"/>
                          <a:pt x="3232" y="1884"/>
                        </a:cubicBezTo>
                        <a:cubicBezTo>
                          <a:pt x="3239" y="1871"/>
                          <a:pt x="3232" y="1873"/>
                          <a:pt x="3258" y="1877"/>
                        </a:cubicBezTo>
                        <a:cubicBezTo>
                          <a:pt x="3285" y="1880"/>
                          <a:pt x="3350" y="1878"/>
                          <a:pt x="3357" y="1852"/>
                        </a:cubicBezTo>
                        <a:cubicBezTo>
                          <a:pt x="3363" y="1827"/>
                          <a:pt x="3357" y="1817"/>
                          <a:pt x="3337" y="1795"/>
                        </a:cubicBezTo>
                        <a:cubicBezTo>
                          <a:pt x="3317" y="1773"/>
                          <a:pt x="3298" y="1751"/>
                          <a:pt x="3319" y="172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59" name="Freeform 21">
                    <a:extLst>
                      <a:ext uri="{FF2B5EF4-FFF2-40B4-BE49-F238E27FC236}">
                        <a16:creationId xmlns:a16="http://schemas.microsoft.com/office/drawing/2014/main" id="{51C33A98-9021-7B5D-2F11-2DF7ED78A7B4}"/>
                      </a:ext>
                    </a:extLst>
                  </p:cNvPr>
                  <p:cNvSpPr>
                    <a:spLocks/>
                  </p:cNvSpPr>
                  <p:nvPr/>
                </p:nvSpPr>
                <p:spPr bwMode="auto">
                  <a:xfrm>
                    <a:off x="3110" y="1852"/>
                    <a:ext cx="303" cy="480"/>
                  </a:xfrm>
                  <a:custGeom>
                    <a:avLst/>
                    <a:gdLst>
                      <a:gd name="T0" fmla="*/ 31 w 655"/>
                      <a:gd name="T1" fmla="*/ 565 h 1036"/>
                      <a:gd name="T2" fmla="*/ 68 w 655"/>
                      <a:gd name="T3" fmla="*/ 595 h 1036"/>
                      <a:gd name="T4" fmla="*/ 125 w 655"/>
                      <a:gd name="T5" fmla="*/ 636 h 1036"/>
                      <a:gd name="T6" fmla="*/ 156 w 655"/>
                      <a:gd name="T7" fmla="*/ 734 h 1036"/>
                      <a:gd name="T8" fmla="*/ 190 w 655"/>
                      <a:gd name="T9" fmla="*/ 832 h 1036"/>
                      <a:gd name="T10" fmla="*/ 180 w 655"/>
                      <a:gd name="T11" fmla="*/ 901 h 1036"/>
                      <a:gd name="T12" fmla="*/ 234 w 655"/>
                      <a:gd name="T13" fmla="*/ 934 h 1036"/>
                      <a:gd name="T14" fmla="*/ 287 w 655"/>
                      <a:gd name="T15" fmla="*/ 960 h 1036"/>
                      <a:gd name="T16" fmla="*/ 346 w 655"/>
                      <a:gd name="T17" fmla="*/ 1003 h 1036"/>
                      <a:gd name="T18" fmla="*/ 387 w 655"/>
                      <a:gd name="T19" fmla="*/ 1023 h 1036"/>
                      <a:gd name="T20" fmla="*/ 426 w 655"/>
                      <a:gd name="T21" fmla="*/ 1018 h 1036"/>
                      <a:gd name="T22" fmla="*/ 444 w 655"/>
                      <a:gd name="T23" fmla="*/ 990 h 1036"/>
                      <a:gd name="T24" fmla="*/ 446 w 655"/>
                      <a:gd name="T25" fmla="*/ 958 h 1036"/>
                      <a:gd name="T26" fmla="*/ 453 w 655"/>
                      <a:gd name="T27" fmla="*/ 921 h 1036"/>
                      <a:gd name="T28" fmla="*/ 531 w 655"/>
                      <a:gd name="T29" fmla="*/ 919 h 1036"/>
                      <a:gd name="T30" fmla="*/ 540 w 655"/>
                      <a:gd name="T31" fmla="*/ 855 h 1036"/>
                      <a:gd name="T32" fmla="*/ 503 w 655"/>
                      <a:gd name="T33" fmla="*/ 806 h 1036"/>
                      <a:gd name="T34" fmla="*/ 429 w 655"/>
                      <a:gd name="T35" fmla="*/ 769 h 1036"/>
                      <a:gd name="T36" fmla="*/ 433 w 655"/>
                      <a:gd name="T37" fmla="*/ 697 h 1036"/>
                      <a:gd name="T38" fmla="*/ 457 w 655"/>
                      <a:gd name="T39" fmla="*/ 654 h 1036"/>
                      <a:gd name="T40" fmla="*/ 457 w 655"/>
                      <a:gd name="T41" fmla="*/ 573 h 1036"/>
                      <a:gd name="T42" fmla="*/ 488 w 655"/>
                      <a:gd name="T43" fmla="*/ 564 h 1036"/>
                      <a:gd name="T44" fmla="*/ 555 w 655"/>
                      <a:gd name="T45" fmla="*/ 571 h 1036"/>
                      <a:gd name="T46" fmla="*/ 607 w 655"/>
                      <a:gd name="T47" fmla="*/ 567 h 1036"/>
                      <a:gd name="T48" fmla="*/ 601 w 655"/>
                      <a:gd name="T49" fmla="*/ 543 h 1036"/>
                      <a:gd name="T50" fmla="*/ 592 w 655"/>
                      <a:gd name="T51" fmla="*/ 493 h 1036"/>
                      <a:gd name="T52" fmla="*/ 612 w 655"/>
                      <a:gd name="T53" fmla="*/ 443 h 1036"/>
                      <a:gd name="T54" fmla="*/ 655 w 655"/>
                      <a:gd name="T55" fmla="*/ 399 h 1036"/>
                      <a:gd name="T56" fmla="*/ 579 w 655"/>
                      <a:gd name="T57" fmla="*/ 330 h 1036"/>
                      <a:gd name="T58" fmla="*/ 453 w 655"/>
                      <a:gd name="T59" fmla="*/ 308 h 1036"/>
                      <a:gd name="T60" fmla="*/ 435 w 655"/>
                      <a:gd name="T61" fmla="*/ 197 h 1036"/>
                      <a:gd name="T62" fmla="*/ 501 w 655"/>
                      <a:gd name="T63" fmla="*/ 126 h 1036"/>
                      <a:gd name="T64" fmla="*/ 474 w 655"/>
                      <a:gd name="T65" fmla="*/ 52 h 1036"/>
                      <a:gd name="T66" fmla="*/ 413 w 655"/>
                      <a:gd name="T67" fmla="*/ 19 h 1036"/>
                      <a:gd name="T68" fmla="*/ 326 w 655"/>
                      <a:gd name="T69" fmla="*/ 71 h 1036"/>
                      <a:gd name="T70" fmla="*/ 269 w 655"/>
                      <a:gd name="T71" fmla="*/ 152 h 1036"/>
                      <a:gd name="T72" fmla="*/ 269 w 655"/>
                      <a:gd name="T73" fmla="*/ 260 h 1036"/>
                      <a:gd name="T74" fmla="*/ 243 w 655"/>
                      <a:gd name="T75" fmla="*/ 345 h 1036"/>
                      <a:gd name="T76" fmla="*/ 230 w 655"/>
                      <a:gd name="T77" fmla="*/ 426 h 1036"/>
                      <a:gd name="T78" fmla="*/ 121 w 655"/>
                      <a:gd name="T79" fmla="*/ 430 h 1036"/>
                      <a:gd name="T80" fmla="*/ 1 w 655"/>
                      <a:gd name="T81" fmla="*/ 495 h 1036"/>
                      <a:gd name="T82" fmla="*/ 7 w 655"/>
                      <a:gd name="T83" fmla="*/ 521 h 1036"/>
                      <a:gd name="T84" fmla="*/ 31 w 655"/>
                      <a:gd name="T85" fmla="*/ 56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5" h="1036">
                        <a:moveTo>
                          <a:pt x="31" y="565"/>
                        </a:moveTo>
                        <a:cubicBezTo>
                          <a:pt x="62" y="577"/>
                          <a:pt x="64" y="582"/>
                          <a:pt x="68" y="595"/>
                        </a:cubicBezTo>
                        <a:cubicBezTo>
                          <a:pt x="73" y="608"/>
                          <a:pt x="118" y="599"/>
                          <a:pt x="125" y="636"/>
                        </a:cubicBezTo>
                        <a:cubicBezTo>
                          <a:pt x="132" y="673"/>
                          <a:pt x="134" y="704"/>
                          <a:pt x="156" y="734"/>
                        </a:cubicBezTo>
                        <a:cubicBezTo>
                          <a:pt x="177" y="764"/>
                          <a:pt x="206" y="786"/>
                          <a:pt x="190" y="832"/>
                        </a:cubicBezTo>
                        <a:cubicBezTo>
                          <a:pt x="175" y="879"/>
                          <a:pt x="147" y="877"/>
                          <a:pt x="180" y="901"/>
                        </a:cubicBezTo>
                        <a:cubicBezTo>
                          <a:pt x="212" y="925"/>
                          <a:pt x="210" y="934"/>
                          <a:pt x="234" y="934"/>
                        </a:cubicBezTo>
                        <a:cubicBezTo>
                          <a:pt x="258" y="934"/>
                          <a:pt x="280" y="929"/>
                          <a:pt x="287" y="960"/>
                        </a:cubicBezTo>
                        <a:cubicBezTo>
                          <a:pt x="293" y="992"/>
                          <a:pt x="295" y="1008"/>
                          <a:pt x="346" y="1003"/>
                        </a:cubicBezTo>
                        <a:cubicBezTo>
                          <a:pt x="365" y="1003"/>
                          <a:pt x="380" y="1010"/>
                          <a:pt x="387" y="1023"/>
                        </a:cubicBezTo>
                        <a:cubicBezTo>
                          <a:pt x="394" y="1036"/>
                          <a:pt x="402" y="1032"/>
                          <a:pt x="426" y="1018"/>
                        </a:cubicBezTo>
                        <a:cubicBezTo>
                          <a:pt x="450" y="1003"/>
                          <a:pt x="466" y="1003"/>
                          <a:pt x="444" y="990"/>
                        </a:cubicBezTo>
                        <a:cubicBezTo>
                          <a:pt x="422" y="977"/>
                          <a:pt x="444" y="968"/>
                          <a:pt x="446" y="958"/>
                        </a:cubicBezTo>
                        <a:cubicBezTo>
                          <a:pt x="448" y="949"/>
                          <a:pt x="420" y="908"/>
                          <a:pt x="453" y="921"/>
                        </a:cubicBezTo>
                        <a:cubicBezTo>
                          <a:pt x="485" y="934"/>
                          <a:pt x="518" y="949"/>
                          <a:pt x="531" y="919"/>
                        </a:cubicBezTo>
                        <a:cubicBezTo>
                          <a:pt x="544" y="890"/>
                          <a:pt x="533" y="873"/>
                          <a:pt x="540" y="855"/>
                        </a:cubicBezTo>
                        <a:cubicBezTo>
                          <a:pt x="546" y="836"/>
                          <a:pt x="536" y="817"/>
                          <a:pt x="503" y="806"/>
                        </a:cubicBezTo>
                        <a:cubicBezTo>
                          <a:pt x="470" y="795"/>
                          <a:pt x="426" y="816"/>
                          <a:pt x="429" y="769"/>
                        </a:cubicBezTo>
                        <a:cubicBezTo>
                          <a:pt x="431" y="723"/>
                          <a:pt x="415" y="710"/>
                          <a:pt x="433" y="697"/>
                        </a:cubicBezTo>
                        <a:cubicBezTo>
                          <a:pt x="450" y="684"/>
                          <a:pt x="461" y="684"/>
                          <a:pt x="457" y="654"/>
                        </a:cubicBezTo>
                        <a:cubicBezTo>
                          <a:pt x="453" y="625"/>
                          <a:pt x="446" y="588"/>
                          <a:pt x="457" y="573"/>
                        </a:cubicBezTo>
                        <a:cubicBezTo>
                          <a:pt x="468" y="558"/>
                          <a:pt x="474" y="549"/>
                          <a:pt x="488" y="564"/>
                        </a:cubicBezTo>
                        <a:cubicBezTo>
                          <a:pt x="501" y="578"/>
                          <a:pt x="507" y="571"/>
                          <a:pt x="555" y="571"/>
                        </a:cubicBezTo>
                        <a:cubicBezTo>
                          <a:pt x="573" y="571"/>
                          <a:pt x="592" y="569"/>
                          <a:pt x="607" y="567"/>
                        </a:cubicBezTo>
                        <a:cubicBezTo>
                          <a:pt x="609" y="560"/>
                          <a:pt x="608" y="553"/>
                          <a:pt x="601" y="543"/>
                        </a:cubicBezTo>
                        <a:cubicBezTo>
                          <a:pt x="584" y="521"/>
                          <a:pt x="584" y="515"/>
                          <a:pt x="592" y="493"/>
                        </a:cubicBezTo>
                        <a:cubicBezTo>
                          <a:pt x="601" y="471"/>
                          <a:pt x="588" y="460"/>
                          <a:pt x="612" y="443"/>
                        </a:cubicBezTo>
                        <a:cubicBezTo>
                          <a:pt x="630" y="430"/>
                          <a:pt x="642" y="417"/>
                          <a:pt x="655" y="399"/>
                        </a:cubicBezTo>
                        <a:cubicBezTo>
                          <a:pt x="639" y="390"/>
                          <a:pt x="645" y="350"/>
                          <a:pt x="579" y="330"/>
                        </a:cubicBezTo>
                        <a:cubicBezTo>
                          <a:pt x="505" y="308"/>
                          <a:pt x="492" y="334"/>
                          <a:pt x="453" y="308"/>
                        </a:cubicBezTo>
                        <a:cubicBezTo>
                          <a:pt x="413" y="282"/>
                          <a:pt x="409" y="223"/>
                          <a:pt x="435" y="197"/>
                        </a:cubicBezTo>
                        <a:cubicBezTo>
                          <a:pt x="461" y="171"/>
                          <a:pt x="488" y="156"/>
                          <a:pt x="501" y="126"/>
                        </a:cubicBezTo>
                        <a:cubicBezTo>
                          <a:pt x="514" y="97"/>
                          <a:pt x="492" y="67"/>
                          <a:pt x="474" y="52"/>
                        </a:cubicBezTo>
                        <a:cubicBezTo>
                          <a:pt x="457" y="37"/>
                          <a:pt x="439" y="0"/>
                          <a:pt x="413" y="19"/>
                        </a:cubicBezTo>
                        <a:cubicBezTo>
                          <a:pt x="387" y="37"/>
                          <a:pt x="352" y="34"/>
                          <a:pt x="326" y="71"/>
                        </a:cubicBezTo>
                        <a:cubicBezTo>
                          <a:pt x="300" y="108"/>
                          <a:pt x="265" y="119"/>
                          <a:pt x="269" y="152"/>
                        </a:cubicBezTo>
                        <a:cubicBezTo>
                          <a:pt x="273" y="185"/>
                          <a:pt x="295" y="234"/>
                          <a:pt x="269" y="260"/>
                        </a:cubicBezTo>
                        <a:cubicBezTo>
                          <a:pt x="243" y="286"/>
                          <a:pt x="221" y="334"/>
                          <a:pt x="243" y="345"/>
                        </a:cubicBezTo>
                        <a:cubicBezTo>
                          <a:pt x="265" y="356"/>
                          <a:pt x="282" y="423"/>
                          <a:pt x="230" y="426"/>
                        </a:cubicBezTo>
                        <a:cubicBezTo>
                          <a:pt x="177" y="430"/>
                          <a:pt x="138" y="397"/>
                          <a:pt x="121" y="430"/>
                        </a:cubicBezTo>
                        <a:cubicBezTo>
                          <a:pt x="104" y="462"/>
                          <a:pt x="51" y="504"/>
                          <a:pt x="1" y="495"/>
                        </a:cubicBezTo>
                        <a:cubicBezTo>
                          <a:pt x="4" y="503"/>
                          <a:pt x="6" y="512"/>
                          <a:pt x="7" y="521"/>
                        </a:cubicBezTo>
                        <a:cubicBezTo>
                          <a:pt x="9" y="552"/>
                          <a:pt x="0" y="554"/>
                          <a:pt x="31" y="565"/>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0" name="Freeform 22">
                    <a:extLst>
                      <a:ext uri="{FF2B5EF4-FFF2-40B4-BE49-F238E27FC236}">
                        <a16:creationId xmlns:a16="http://schemas.microsoft.com/office/drawing/2014/main" id="{39B2CD43-148F-D1DF-DB00-5DAC54665978}"/>
                      </a:ext>
                    </a:extLst>
                  </p:cNvPr>
                  <p:cNvSpPr>
                    <a:spLocks/>
                  </p:cNvSpPr>
                  <p:nvPr/>
                </p:nvSpPr>
                <p:spPr bwMode="auto">
                  <a:xfrm>
                    <a:off x="4177" y="2831"/>
                    <a:ext cx="568" cy="690"/>
                  </a:xfrm>
                  <a:custGeom>
                    <a:avLst/>
                    <a:gdLst>
                      <a:gd name="T0" fmla="*/ 1135 w 1227"/>
                      <a:gd name="T1" fmla="*/ 248 h 1490"/>
                      <a:gd name="T2" fmla="*/ 1085 w 1227"/>
                      <a:gd name="T3" fmla="*/ 118 h 1490"/>
                      <a:gd name="T4" fmla="*/ 919 w 1227"/>
                      <a:gd name="T5" fmla="*/ 94 h 1490"/>
                      <a:gd name="T6" fmla="*/ 784 w 1227"/>
                      <a:gd name="T7" fmla="*/ 102 h 1490"/>
                      <a:gd name="T8" fmla="*/ 723 w 1227"/>
                      <a:gd name="T9" fmla="*/ 89 h 1490"/>
                      <a:gd name="T10" fmla="*/ 696 w 1227"/>
                      <a:gd name="T11" fmla="*/ 17 h 1490"/>
                      <a:gd name="T12" fmla="*/ 578 w 1227"/>
                      <a:gd name="T13" fmla="*/ 92 h 1490"/>
                      <a:gd name="T14" fmla="*/ 504 w 1227"/>
                      <a:gd name="T15" fmla="*/ 120 h 1490"/>
                      <a:gd name="T16" fmla="*/ 408 w 1227"/>
                      <a:gd name="T17" fmla="*/ 126 h 1490"/>
                      <a:gd name="T18" fmla="*/ 319 w 1227"/>
                      <a:gd name="T19" fmla="*/ 181 h 1490"/>
                      <a:gd name="T20" fmla="*/ 161 w 1227"/>
                      <a:gd name="T21" fmla="*/ 257 h 1490"/>
                      <a:gd name="T22" fmla="*/ 87 w 1227"/>
                      <a:gd name="T23" fmla="*/ 307 h 1490"/>
                      <a:gd name="T24" fmla="*/ 83 w 1227"/>
                      <a:gd name="T25" fmla="*/ 363 h 1490"/>
                      <a:gd name="T26" fmla="*/ 144 w 1227"/>
                      <a:gd name="T27" fmla="*/ 537 h 1490"/>
                      <a:gd name="T28" fmla="*/ 48 w 1227"/>
                      <a:gd name="T29" fmla="*/ 771 h 1490"/>
                      <a:gd name="T30" fmla="*/ 109 w 1227"/>
                      <a:gd name="T31" fmla="*/ 912 h 1490"/>
                      <a:gd name="T32" fmla="*/ 218 w 1227"/>
                      <a:gd name="T33" fmla="*/ 1041 h 1490"/>
                      <a:gd name="T34" fmla="*/ 170 w 1227"/>
                      <a:gd name="T35" fmla="*/ 1186 h 1490"/>
                      <a:gd name="T36" fmla="*/ 305 w 1227"/>
                      <a:gd name="T37" fmla="*/ 1267 h 1490"/>
                      <a:gd name="T38" fmla="*/ 388 w 1227"/>
                      <a:gd name="T39" fmla="*/ 1304 h 1490"/>
                      <a:gd name="T40" fmla="*/ 305 w 1227"/>
                      <a:gd name="T41" fmla="*/ 1460 h 1490"/>
                      <a:gd name="T42" fmla="*/ 563 w 1227"/>
                      <a:gd name="T43" fmla="*/ 1379 h 1490"/>
                      <a:gd name="T44" fmla="*/ 685 w 1227"/>
                      <a:gd name="T45" fmla="*/ 1327 h 1490"/>
                      <a:gd name="T46" fmla="*/ 681 w 1227"/>
                      <a:gd name="T47" fmla="*/ 1269 h 1490"/>
                      <a:gd name="T48" fmla="*/ 716 w 1227"/>
                      <a:gd name="T49" fmla="*/ 1130 h 1490"/>
                      <a:gd name="T50" fmla="*/ 779 w 1227"/>
                      <a:gd name="T51" fmla="*/ 1045 h 1490"/>
                      <a:gd name="T52" fmla="*/ 782 w 1227"/>
                      <a:gd name="T53" fmla="*/ 951 h 1490"/>
                      <a:gd name="T54" fmla="*/ 793 w 1227"/>
                      <a:gd name="T55" fmla="*/ 795 h 1490"/>
                      <a:gd name="T56" fmla="*/ 910 w 1227"/>
                      <a:gd name="T57" fmla="*/ 635 h 1490"/>
                      <a:gd name="T58" fmla="*/ 978 w 1227"/>
                      <a:gd name="T59" fmla="*/ 528 h 1490"/>
                      <a:gd name="T60" fmla="*/ 1072 w 1227"/>
                      <a:gd name="T61" fmla="*/ 504 h 1490"/>
                      <a:gd name="T62" fmla="*/ 1177 w 1227"/>
                      <a:gd name="T63" fmla="*/ 448 h 1490"/>
                      <a:gd name="T64" fmla="*/ 1201 w 1227"/>
                      <a:gd name="T65" fmla="*/ 346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7" h="1490">
                        <a:moveTo>
                          <a:pt x="1201" y="346"/>
                        </a:moveTo>
                        <a:cubicBezTo>
                          <a:pt x="1175" y="313"/>
                          <a:pt x="1183" y="270"/>
                          <a:pt x="1135" y="248"/>
                        </a:cubicBezTo>
                        <a:cubicBezTo>
                          <a:pt x="1087" y="226"/>
                          <a:pt x="1044" y="217"/>
                          <a:pt x="1050" y="193"/>
                        </a:cubicBezTo>
                        <a:cubicBezTo>
                          <a:pt x="1057" y="168"/>
                          <a:pt x="1116" y="135"/>
                          <a:pt x="1085" y="118"/>
                        </a:cubicBezTo>
                        <a:cubicBezTo>
                          <a:pt x="1055" y="102"/>
                          <a:pt x="1059" y="85"/>
                          <a:pt x="1028" y="92"/>
                        </a:cubicBezTo>
                        <a:cubicBezTo>
                          <a:pt x="998" y="100"/>
                          <a:pt x="950" y="113"/>
                          <a:pt x="919" y="94"/>
                        </a:cubicBezTo>
                        <a:cubicBezTo>
                          <a:pt x="889" y="76"/>
                          <a:pt x="878" y="20"/>
                          <a:pt x="838" y="48"/>
                        </a:cubicBezTo>
                        <a:cubicBezTo>
                          <a:pt x="799" y="76"/>
                          <a:pt x="806" y="80"/>
                          <a:pt x="784" y="102"/>
                        </a:cubicBezTo>
                        <a:cubicBezTo>
                          <a:pt x="762" y="124"/>
                          <a:pt x="744" y="154"/>
                          <a:pt x="718" y="130"/>
                        </a:cubicBezTo>
                        <a:cubicBezTo>
                          <a:pt x="692" y="105"/>
                          <a:pt x="707" y="100"/>
                          <a:pt x="723" y="89"/>
                        </a:cubicBezTo>
                        <a:cubicBezTo>
                          <a:pt x="738" y="78"/>
                          <a:pt x="758" y="63"/>
                          <a:pt x="747" y="44"/>
                        </a:cubicBezTo>
                        <a:cubicBezTo>
                          <a:pt x="736" y="26"/>
                          <a:pt x="714" y="0"/>
                          <a:pt x="696" y="17"/>
                        </a:cubicBezTo>
                        <a:cubicBezTo>
                          <a:pt x="679" y="33"/>
                          <a:pt x="668" y="61"/>
                          <a:pt x="644" y="72"/>
                        </a:cubicBezTo>
                        <a:cubicBezTo>
                          <a:pt x="621" y="83"/>
                          <a:pt x="597" y="108"/>
                          <a:pt x="578" y="92"/>
                        </a:cubicBezTo>
                        <a:cubicBezTo>
                          <a:pt x="571" y="100"/>
                          <a:pt x="563" y="106"/>
                          <a:pt x="554" y="113"/>
                        </a:cubicBezTo>
                        <a:cubicBezTo>
                          <a:pt x="537" y="128"/>
                          <a:pt x="515" y="135"/>
                          <a:pt x="504" y="120"/>
                        </a:cubicBezTo>
                        <a:cubicBezTo>
                          <a:pt x="493" y="105"/>
                          <a:pt x="482" y="102"/>
                          <a:pt x="447" y="102"/>
                        </a:cubicBezTo>
                        <a:cubicBezTo>
                          <a:pt x="412" y="102"/>
                          <a:pt x="410" y="105"/>
                          <a:pt x="408" y="126"/>
                        </a:cubicBezTo>
                        <a:cubicBezTo>
                          <a:pt x="406" y="146"/>
                          <a:pt x="393" y="157"/>
                          <a:pt x="354" y="157"/>
                        </a:cubicBezTo>
                        <a:cubicBezTo>
                          <a:pt x="314" y="157"/>
                          <a:pt x="332" y="165"/>
                          <a:pt x="319" y="181"/>
                        </a:cubicBezTo>
                        <a:cubicBezTo>
                          <a:pt x="305" y="198"/>
                          <a:pt x="286" y="219"/>
                          <a:pt x="244" y="241"/>
                        </a:cubicBezTo>
                        <a:cubicBezTo>
                          <a:pt x="203" y="263"/>
                          <a:pt x="190" y="259"/>
                          <a:pt x="161" y="257"/>
                        </a:cubicBezTo>
                        <a:cubicBezTo>
                          <a:pt x="133" y="256"/>
                          <a:pt x="135" y="269"/>
                          <a:pt x="131" y="280"/>
                        </a:cubicBezTo>
                        <a:cubicBezTo>
                          <a:pt x="126" y="291"/>
                          <a:pt x="122" y="300"/>
                          <a:pt x="87" y="307"/>
                        </a:cubicBezTo>
                        <a:cubicBezTo>
                          <a:pt x="67" y="312"/>
                          <a:pt x="54" y="333"/>
                          <a:pt x="46" y="350"/>
                        </a:cubicBezTo>
                        <a:cubicBezTo>
                          <a:pt x="60" y="353"/>
                          <a:pt x="74" y="356"/>
                          <a:pt x="83" y="363"/>
                        </a:cubicBezTo>
                        <a:cubicBezTo>
                          <a:pt x="109" y="385"/>
                          <a:pt x="122" y="415"/>
                          <a:pt x="113" y="433"/>
                        </a:cubicBezTo>
                        <a:cubicBezTo>
                          <a:pt x="105" y="452"/>
                          <a:pt x="148" y="489"/>
                          <a:pt x="144" y="537"/>
                        </a:cubicBezTo>
                        <a:cubicBezTo>
                          <a:pt x="139" y="585"/>
                          <a:pt x="87" y="611"/>
                          <a:pt x="43" y="648"/>
                        </a:cubicBezTo>
                        <a:cubicBezTo>
                          <a:pt x="0" y="686"/>
                          <a:pt x="17" y="730"/>
                          <a:pt x="48" y="771"/>
                        </a:cubicBezTo>
                        <a:cubicBezTo>
                          <a:pt x="78" y="812"/>
                          <a:pt x="96" y="800"/>
                          <a:pt x="96" y="834"/>
                        </a:cubicBezTo>
                        <a:cubicBezTo>
                          <a:pt x="96" y="867"/>
                          <a:pt x="109" y="875"/>
                          <a:pt x="109" y="912"/>
                        </a:cubicBezTo>
                        <a:cubicBezTo>
                          <a:pt x="109" y="949"/>
                          <a:pt x="153" y="952"/>
                          <a:pt x="174" y="975"/>
                        </a:cubicBezTo>
                        <a:cubicBezTo>
                          <a:pt x="196" y="997"/>
                          <a:pt x="192" y="1019"/>
                          <a:pt x="218" y="1041"/>
                        </a:cubicBezTo>
                        <a:cubicBezTo>
                          <a:pt x="244" y="1064"/>
                          <a:pt x="240" y="1060"/>
                          <a:pt x="192" y="1093"/>
                        </a:cubicBezTo>
                        <a:cubicBezTo>
                          <a:pt x="144" y="1127"/>
                          <a:pt x="174" y="1145"/>
                          <a:pt x="170" y="1186"/>
                        </a:cubicBezTo>
                        <a:cubicBezTo>
                          <a:pt x="166" y="1227"/>
                          <a:pt x="196" y="1253"/>
                          <a:pt x="209" y="1275"/>
                        </a:cubicBezTo>
                        <a:cubicBezTo>
                          <a:pt x="222" y="1297"/>
                          <a:pt x="266" y="1290"/>
                          <a:pt x="305" y="1267"/>
                        </a:cubicBezTo>
                        <a:cubicBezTo>
                          <a:pt x="345" y="1245"/>
                          <a:pt x="349" y="1245"/>
                          <a:pt x="367" y="1256"/>
                        </a:cubicBezTo>
                        <a:cubicBezTo>
                          <a:pt x="384" y="1267"/>
                          <a:pt x="393" y="1282"/>
                          <a:pt x="388" y="1304"/>
                        </a:cubicBezTo>
                        <a:cubicBezTo>
                          <a:pt x="384" y="1327"/>
                          <a:pt x="358" y="1345"/>
                          <a:pt x="310" y="1371"/>
                        </a:cubicBezTo>
                        <a:cubicBezTo>
                          <a:pt x="262" y="1397"/>
                          <a:pt x="271" y="1431"/>
                          <a:pt x="305" y="1460"/>
                        </a:cubicBezTo>
                        <a:cubicBezTo>
                          <a:pt x="340" y="1490"/>
                          <a:pt x="388" y="1464"/>
                          <a:pt x="432" y="1431"/>
                        </a:cubicBezTo>
                        <a:cubicBezTo>
                          <a:pt x="476" y="1397"/>
                          <a:pt x="528" y="1408"/>
                          <a:pt x="563" y="1379"/>
                        </a:cubicBezTo>
                        <a:cubicBezTo>
                          <a:pt x="598" y="1349"/>
                          <a:pt x="629" y="1405"/>
                          <a:pt x="664" y="1419"/>
                        </a:cubicBezTo>
                        <a:cubicBezTo>
                          <a:pt x="699" y="1434"/>
                          <a:pt x="672" y="1356"/>
                          <a:pt x="685" y="1327"/>
                        </a:cubicBezTo>
                        <a:cubicBezTo>
                          <a:pt x="688" y="1322"/>
                          <a:pt x="692" y="1319"/>
                          <a:pt x="697" y="1317"/>
                        </a:cubicBezTo>
                        <a:cubicBezTo>
                          <a:pt x="687" y="1301"/>
                          <a:pt x="676" y="1281"/>
                          <a:pt x="681" y="1269"/>
                        </a:cubicBezTo>
                        <a:cubicBezTo>
                          <a:pt x="690" y="1249"/>
                          <a:pt x="703" y="1236"/>
                          <a:pt x="705" y="1212"/>
                        </a:cubicBezTo>
                        <a:cubicBezTo>
                          <a:pt x="707" y="1188"/>
                          <a:pt x="699" y="1151"/>
                          <a:pt x="716" y="1130"/>
                        </a:cubicBezTo>
                        <a:cubicBezTo>
                          <a:pt x="734" y="1110"/>
                          <a:pt x="734" y="1097"/>
                          <a:pt x="742" y="1082"/>
                        </a:cubicBezTo>
                        <a:cubicBezTo>
                          <a:pt x="751" y="1067"/>
                          <a:pt x="764" y="1062"/>
                          <a:pt x="779" y="1045"/>
                        </a:cubicBezTo>
                        <a:cubicBezTo>
                          <a:pt x="795" y="1028"/>
                          <a:pt x="793" y="1030"/>
                          <a:pt x="786" y="1006"/>
                        </a:cubicBezTo>
                        <a:cubicBezTo>
                          <a:pt x="779" y="982"/>
                          <a:pt x="760" y="967"/>
                          <a:pt x="782" y="951"/>
                        </a:cubicBezTo>
                        <a:cubicBezTo>
                          <a:pt x="803" y="934"/>
                          <a:pt x="834" y="921"/>
                          <a:pt x="801" y="891"/>
                        </a:cubicBezTo>
                        <a:cubicBezTo>
                          <a:pt x="768" y="862"/>
                          <a:pt x="768" y="808"/>
                          <a:pt x="793" y="795"/>
                        </a:cubicBezTo>
                        <a:cubicBezTo>
                          <a:pt x="817" y="782"/>
                          <a:pt x="871" y="789"/>
                          <a:pt x="893" y="743"/>
                        </a:cubicBezTo>
                        <a:cubicBezTo>
                          <a:pt x="915" y="697"/>
                          <a:pt x="921" y="678"/>
                          <a:pt x="910" y="635"/>
                        </a:cubicBezTo>
                        <a:cubicBezTo>
                          <a:pt x="900" y="593"/>
                          <a:pt x="891" y="569"/>
                          <a:pt x="913" y="548"/>
                        </a:cubicBezTo>
                        <a:cubicBezTo>
                          <a:pt x="934" y="528"/>
                          <a:pt x="928" y="524"/>
                          <a:pt x="978" y="528"/>
                        </a:cubicBezTo>
                        <a:cubicBezTo>
                          <a:pt x="1028" y="532"/>
                          <a:pt x="996" y="537"/>
                          <a:pt x="1028" y="532"/>
                        </a:cubicBezTo>
                        <a:cubicBezTo>
                          <a:pt x="1061" y="526"/>
                          <a:pt x="1068" y="522"/>
                          <a:pt x="1072" y="504"/>
                        </a:cubicBezTo>
                        <a:cubicBezTo>
                          <a:pt x="1076" y="485"/>
                          <a:pt x="1072" y="484"/>
                          <a:pt x="1100" y="482"/>
                        </a:cubicBezTo>
                        <a:cubicBezTo>
                          <a:pt x="1129" y="480"/>
                          <a:pt x="1164" y="465"/>
                          <a:pt x="1177" y="448"/>
                        </a:cubicBezTo>
                        <a:cubicBezTo>
                          <a:pt x="1190" y="432"/>
                          <a:pt x="1192" y="421"/>
                          <a:pt x="1194" y="404"/>
                        </a:cubicBezTo>
                        <a:cubicBezTo>
                          <a:pt x="1197" y="387"/>
                          <a:pt x="1227" y="380"/>
                          <a:pt x="1201" y="34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1" name="Freeform 23">
                    <a:extLst>
                      <a:ext uri="{FF2B5EF4-FFF2-40B4-BE49-F238E27FC236}">
                        <a16:creationId xmlns:a16="http://schemas.microsoft.com/office/drawing/2014/main" id="{2D245C45-916B-850C-54FE-F6B50BEBCEA9}"/>
                      </a:ext>
                    </a:extLst>
                  </p:cNvPr>
                  <p:cNvSpPr>
                    <a:spLocks/>
                  </p:cNvSpPr>
                  <p:nvPr/>
                </p:nvSpPr>
                <p:spPr bwMode="auto">
                  <a:xfrm>
                    <a:off x="3549" y="2533"/>
                    <a:ext cx="896" cy="494"/>
                  </a:xfrm>
                  <a:custGeom>
                    <a:avLst/>
                    <a:gdLst>
                      <a:gd name="T0" fmla="*/ 1488 w 1935"/>
                      <a:gd name="T1" fmla="*/ 922 h 1066"/>
                      <a:gd name="T2" fmla="*/ 1601 w 1935"/>
                      <a:gd name="T3" fmla="*/ 883 h 1066"/>
                      <a:gd name="T4" fmla="*/ 1711 w 1935"/>
                      <a:gd name="T5" fmla="*/ 799 h 1066"/>
                      <a:gd name="T6" fmla="*/ 1804 w 1935"/>
                      <a:gd name="T7" fmla="*/ 744 h 1066"/>
                      <a:gd name="T8" fmla="*/ 1911 w 1935"/>
                      <a:gd name="T9" fmla="*/ 755 h 1066"/>
                      <a:gd name="T10" fmla="*/ 1931 w 1935"/>
                      <a:gd name="T11" fmla="*/ 731 h 1066"/>
                      <a:gd name="T12" fmla="*/ 1846 w 1935"/>
                      <a:gd name="T13" fmla="*/ 575 h 1066"/>
                      <a:gd name="T14" fmla="*/ 1835 w 1935"/>
                      <a:gd name="T15" fmla="*/ 431 h 1066"/>
                      <a:gd name="T16" fmla="*/ 1753 w 1935"/>
                      <a:gd name="T17" fmla="*/ 402 h 1066"/>
                      <a:gd name="T18" fmla="*/ 1671 w 1935"/>
                      <a:gd name="T19" fmla="*/ 360 h 1066"/>
                      <a:gd name="T20" fmla="*/ 1609 w 1935"/>
                      <a:gd name="T21" fmla="*/ 338 h 1066"/>
                      <a:gd name="T22" fmla="*/ 1498 w 1935"/>
                      <a:gd name="T23" fmla="*/ 345 h 1066"/>
                      <a:gd name="T24" fmla="*/ 1374 w 1935"/>
                      <a:gd name="T25" fmla="*/ 296 h 1066"/>
                      <a:gd name="T26" fmla="*/ 1276 w 1935"/>
                      <a:gd name="T27" fmla="*/ 242 h 1066"/>
                      <a:gd name="T28" fmla="*/ 1244 w 1935"/>
                      <a:gd name="T29" fmla="*/ 156 h 1066"/>
                      <a:gd name="T30" fmla="*/ 1151 w 1935"/>
                      <a:gd name="T31" fmla="*/ 181 h 1066"/>
                      <a:gd name="T32" fmla="*/ 1041 w 1935"/>
                      <a:gd name="T33" fmla="*/ 192 h 1066"/>
                      <a:gd name="T34" fmla="*/ 843 w 1935"/>
                      <a:gd name="T35" fmla="*/ 187 h 1066"/>
                      <a:gd name="T36" fmla="*/ 675 w 1935"/>
                      <a:gd name="T37" fmla="*/ 103 h 1066"/>
                      <a:gd name="T38" fmla="*/ 562 w 1935"/>
                      <a:gd name="T39" fmla="*/ 19 h 1066"/>
                      <a:gd name="T40" fmla="*/ 422 w 1935"/>
                      <a:gd name="T41" fmla="*/ 47 h 1066"/>
                      <a:gd name="T42" fmla="*/ 295 w 1935"/>
                      <a:gd name="T43" fmla="*/ 27 h 1066"/>
                      <a:gd name="T44" fmla="*/ 282 w 1935"/>
                      <a:gd name="T45" fmla="*/ 71 h 1066"/>
                      <a:gd name="T46" fmla="*/ 374 w 1935"/>
                      <a:gd name="T47" fmla="*/ 121 h 1066"/>
                      <a:gd name="T48" fmla="*/ 308 w 1935"/>
                      <a:gd name="T49" fmla="*/ 197 h 1066"/>
                      <a:gd name="T50" fmla="*/ 258 w 1935"/>
                      <a:gd name="T51" fmla="*/ 286 h 1066"/>
                      <a:gd name="T52" fmla="*/ 293 w 1935"/>
                      <a:gd name="T53" fmla="*/ 379 h 1066"/>
                      <a:gd name="T54" fmla="*/ 380 w 1935"/>
                      <a:gd name="T55" fmla="*/ 433 h 1066"/>
                      <a:gd name="T56" fmla="*/ 443 w 1935"/>
                      <a:gd name="T57" fmla="*/ 592 h 1066"/>
                      <a:gd name="T58" fmla="*/ 315 w 1935"/>
                      <a:gd name="T59" fmla="*/ 670 h 1066"/>
                      <a:gd name="T60" fmla="*/ 138 w 1935"/>
                      <a:gd name="T61" fmla="*/ 711 h 1066"/>
                      <a:gd name="T62" fmla="*/ 36 w 1935"/>
                      <a:gd name="T63" fmla="*/ 747 h 1066"/>
                      <a:gd name="T64" fmla="*/ 66 w 1935"/>
                      <a:gd name="T65" fmla="*/ 831 h 1066"/>
                      <a:gd name="T66" fmla="*/ 135 w 1935"/>
                      <a:gd name="T67" fmla="*/ 942 h 1066"/>
                      <a:gd name="T68" fmla="*/ 207 w 1935"/>
                      <a:gd name="T69" fmla="*/ 1034 h 1066"/>
                      <a:gd name="T70" fmla="*/ 291 w 1935"/>
                      <a:gd name="T71" fmla="*/ 972 h 1066"/>
                      <a:gd name="T72" fmla="*/ 479 w 1935"/>
                      <a:gd name="T73" fmla="*/ 924 h 1066"/>
                      <a:gd name="T74" fmla="*/ 544 w 1935"/>
                      <a:gd name="T75" fmla="*/ 838 h 1066"/>
                      <a:gd name="T76" fmla="*/ 741 w 1935"/>
                      <a:gd name="T77" fmla="*/ 820 h 1066"/>
                      <a:gd name="T78" fmla="*/ 955 w 1935"/>
                      <a:gd name="T79" fmla="*/ 879 h 1066"/>
                      <a:gd name="T80" fmla="*/ 1134 w 1935"/>
                      <a:gd name="T81" fmla="*/ 823 h 1066"/>
                      <a:gd name="T82" fmla="*/ 1195 w 1935"/>
                      <a:gd name="T83" fmla="*/ 909 h 1066"/>
                      <a:gd name="T84" fmla="*/ 1330 w 1935"/>
                      <a:gd name="T85" fmla="*/ 842 h 1066"/>
                      <a:gd name="T86" fmla="*/ 1403 w 1935"/>
                      <a:gd name="T87" fmla="*/ 992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5" h="1066">
                        <a:moveTo>
                          <a:pt x="1444" y="949"/>
                        </a:moveTo>
                        <a:cubicBezTo>
                          <a:pt x="1479" y="942"/>
                          <a:pt x="1483" y="933"/>
                          <a:pt x="1488" y="922"/>
                        </a:cubicBezTo>
                        <a:cubicBezTo>
                          <a:pt x="1492" y="911"/>
                          <a:pt x="1490" y="898"/>
                          <a:pt x="1518" y="899"/>
                        </a:cubicBezTo>
                        <a:cubicBezTo>
                          <a:pt x="1547" y="901"/>
                          <a:pt x="1560" y="905"/>
                          <a:pt x="1601" y="883"/>
                        </a:cubicBezTo>
                        <a:cubicBezTo>
                          <a:pt x="1643" y="861"/>
                          <a:pt x="1662" y="840"/>
                          <a:pt x="1676" y="823"/>
                        </a:cubicBezTo>
                        <a:cubicBezTo>
                          <a:pt x="1689" y="807"/>
                          <a:pt x="1671" y="799"/>
                          <a:pt x="1711" y="799"/>
                        </a:cubicBezTo>
                        <a:cubicBezTo>
                          <a:pt x="1750" y="799"/>
                          <a:pt x="1763" y="788"/>
                          <a:pt x="1765" y="768"/>
                        </a:cubicBezTo>
                        <a:cubicBezTo>
                          <a:pt x="1767" y="747"/>
                          <a:pt x="1769" y="744"/>
                          <a:pt x="1804" y="744"/>
                        </a:cubicBezTo>
                        <a:cubicBezTo>
                          <a:pt x="1839" y="744"/>
                          <a:pt x="1850" y="747"/>
                          <a:pt x="1861" y="762"/>
                        </a:cubicBezTo>
                        <a:cubicBezTo>
                          <a:pt x="1872" y="777"/>
                          <a:pt x="1894" y="770"/>
                          <a:pt x="1911" y="755"/>
                        </a:cubicBezTo>
                        <a:cubicBezTo>
                          <a:pt x="1920" y="748"/>
                          <a:pt x="1928" y="742"/>
                          <a:pt x="1935" y="734"/>
                        </a:cubicBezTo>
                        <a:cubicBezTo>
                          <a:pt x="1934" y="733"/>
                          <a:pt x="1932" y="732"/>
                          <a:pt x="1931" y="731"/>
                        </a:cubicBezTo>
                        <a:cubicBezTo>
                          <a:pt x="1911" y="709"/>
                          <a:pt x="1918" y="690"/>
                          <a:pt x="1896" y="660"/>
                        </a:cubicBezTo>
                        <a:cubicBezTo>
                          <a:pt x="1874" y="631"/>
                          <a:pt x="1842" y="620"/>
                          <a:pt x="1846" y="575"/>
                        </a:cubicBezTo>
                        <a:cubicBezTo>
                          <a:pt x="1850" y="531"/>
                          <a:pt x="1804" y="512"/>
                          <a:pt x="1828" y="490"/>
                        </a:cubicBezTo>
                        <a:cubicBezTo>
                          <a:pt x="1852" y="468"/>
                          <a:pt x="1870" y="453"/>
                          <a:pt x="1835" y="431"/>
                        </a:cubicBezTo>
                        <a:cubicBezTo>
                          <a:pt x="1800" y="408"/>
                          <a:pt x="1813" y="420"/>
                          <a:pt x="1787" y="408"/>
                        </a:cubicBezTo>
                        <a:cubicBezTo>
                          <a:pt x="1761" y="396"/>
                          <a:pt x="1769" y="395"/>
                          <a:pt x="1753" y="402"/>
                        </a:cubicBezTo>
                        <a:cubicBezTo>
                          <a:pt x="1737" y="408"/>
                          <a:pt x="1729" y="415"/>
                          <a:pt x="1714" y="398"/>
                        </a:cubicBezTo>
                        <a:cubicBezTo>
                          <a:pt x="1698" y="381"/>
                          <a:pt x="1685" y="358"/>
                          <a:pt x="1671" y="360"/>
                        </a:cubicBezTo>
                        <a:cubicBezTo>
                          <a:pt x="1657" y="362"/>
                          <a:pt x="1650" y="354"/>
                          <a:pt x="1644" y="345"/>
                        </a:cubicBezTo>
                        <a:cubicBezTo>
                          <a:pt x="1637" y="337"/>
                          <a:pt x="1626" y="316"/>
                          <a:pt x="1609" y="338"/>
                        </a:cubicBezTo>
                        <a:cubicBezTo>
                          <a:pt x="1591" y="360"/>
                          <a:pt x="1579" y="359"/>
                          <a:pt x="1562" y="361"/>
                        </a:cubicBezTo>
                        <a:cubicBezTo>
                          <a:pt x="1545" y="363"/>
                          <a:pt x="1512" y="358"/>
                          <a:pt x="1498" y="345"/>
                        </a:cubicBezTo>
                        <a:cubicBezTo>
                          <a:pt x="1483" y="332"/>
                          <a:pt x="1447" y="281"/>
                          <a:pt x="1421" y="277"/>
                        </a:cubicBezTo>
                        <a:cubicBezTo>
                          <a:pt x="1395" y="272"/>
                          <a:pt x="1398" y="285"/>
                          <a:pt x="1374" y="296"/>
                        </a:cubicBezTo>
                        <a:cubicBezTo>
                          <a:pt x="1350" y="307"/>
                          <a:pt x="1336" y="308"/>
                          <a:pt x="1318" y="293"/>
                        </a:cubicBezTo>
                        <a:cubicBezTo>
                          <a:pt x="1301" y="279"/>
                          <a:pt x="1273" y="263"/>
                          <a:pt x="1276" y="242"/>
                        </a:cubicBezTo>
                        <a:cubicBezTo>
                          <a:pt x="1279" y="220"/>
                          <a:pt x="1285" y="212"/>
                          <a:pt x="1280" y="195"/>
                        </a:cubicBezTo>
                        <a:cubicBezTo>
                          <a:pt x="1276" y="179"/>
                          <a:pt x="1264" y="146"/>
                          <a:pt x="1244" y="156"/>
                        </a:cubicBezTo>
                        <a:cubicBezTo>
                          <a:pt x="1225" y="166"/>
                          <a:pt x="1228" y="197"/>
                          <a:pt x="1196" y="204"/>
                        </a:cubicBezTo>
                        <a:cubicBezTo>
                          <a:pt x="1164" y="210"/>
                          <a:pt x="1164" y="190"/>
                          <a:pt x="1151" y="181"/>
                        </a:cubicBezTo>
                        <a:cubicBezTo>
                          <a:pt x="1138" y="173"/>
                          <a:pt x="1126" y="169"/>
                          <a:pt x="1101" y="172"/>
                        </a:cubicBezTo>
                        <a:cubicBezTo>
                          <a:pt x="1076" y="175"/>
                          <a:pt x="1065" y="182"/>
                          <a:pt x="1041" y="192"/>
                        </a:cubicBezTo>
                        <a:cubicBezTo>
                          <a:pt x="1017" y="203"/>
                          <a:pt x="970" y="210"/>
                          <a:pt x="933" y="205"/>
                        </a:cubicBezTo>
                        <a:cubicBezTo>
                          <a:pt x="896" y="201"/>
                          <a:pt x="893" y="203"/>
                          <a:pt x="843" y="187"/>
                        </a:cubicBezTo>
                        <a:cubicBezTo>
                          <a:pt x="794" y="171"/>
                          <a:pt x="791" y="159"/>
                          <a:pt x="768" y="157"/>
                        </a:cubicBezTo>
                        <a:cubicBezTo>
                          <a:pt x="745" y="155"/>
                          <a:pt x="693" y="127"/>
                          <a:pt x="675" y="103"/>
                        </a:cubicBezTo>
                        <a:cubicBezTo>
                          <a:pt x="660" y="84"/>
                          <a:pt x="619" y="27"/>
                          <a:pt x="580" y="0"/>
                        </a:cubicBezTo>
                        <a:cubicBezTo>
                          <a:pt x="575" y="6"/>
                          <a:pt x="568" y="12"/>
                          <a:pt x="562" y="19"/>
                        </a:cubicBezTo>
                        <a:cubicBezTo>
                          <a:pt x="540" y="41"/>
                          <a:pt x="540" y="53"/>
                          <a:pt x="498" y="34"/>
                        </a:cubicBezTo>
                        <a:cubicBezTo>
                          <a:pt x="457" y="15"/>
                          <a:pt x="455" y="47"/>
                          <a:pt x="422" y="47"/>
                        </a:cubicBezTo>
                        <a:cubicBezTo>
                          <a:pt x="389" y="47"/>
                          <a:pt x="385" y="47"/>
                          <a:pt x="378" y="30"/>
                        </a:cubicBezTo>
                        <a:cubicBezTo>
                          <a:pt x="372" y="14"/>
                          <a:pt x="356" y="34"/>
                          <a:pt x="295" y="27"/>
                        </a:cubicBezTo>
                        <a:cubicBezTo>
                          <a:pt x="234" y="19"/>
                          <a:pt x="243" y="41"/>
                          <a:pt x="243" y="53"/>
                        </a:cubicBezTo>
                        <a:cubicBezTo>
                          <a:pt x="243" y="64"/>
                          <a:pt x="256" y="71"/>
                          <a:pt x="282" y="71"/>
                        </a:cubicBezTo>
                        <a:cubicBezTo>
                          <a:pt x="308" y="71"/>
                          <a:pt x="306" y="88"/>
                          <a:pt x="304" y="106"/>
                        </a:cubicBezTo>
                        <a:cubicBezTo>
                          <a:pt x="302" y="125"/>
                          <a:pt x="343" y="119"/>
                          <a:pt x="374" y="121"/>
                        </a:cubicBezTo>
                        <a:cubicBezTo>
                          <a:pt x="404" y="123"/>
                          <a:pt x="391" y="156"/>
                          <a:pt x="389" y="179"/>
                        </a:cubicBezTo>
                        <a:cubicBezTo>
                          <a:pt x="387" y="201"/>
                          <a:pt x="343" y="199"/>
                          <a:pt x="308" y="197"/>
                        </a:cubicBezTo>
                        <a:cubicBezTo>
                          <a:pt x="273" y="195"/>
                          <a:pt x="276" y="223"/>
                          <a:pt x="260" y="243"/>
                        </a:cubicBezTo>
                        <a:cubicBezTo>
                          <a:pt x="245" y="264"/>
                          <a:pt x="238" y="271"/>
                          <a:pt x="258" y="286"/>
                        </a:cubicBezTo>
                        <a:cubicBezTo>
                          <a:pt x="278" y="301"/>
                          <a:pt x="293" y="318"/>
                          <a:pt x="300" y="336"/>
                        </a:cubicBezTo>
                        <a:cubicBezTo>
                          <a:pt x="303" y="345"/>
                          <a:pt x="298" y="363"/>
                          <a:pt x="293" y="379"/>
                        </a:cubicBezTo>
                        <a:cubicBezTo>
                          <a:pt x="323" y="376"/>
                          <a:pt x="354" y="385"/>
                          <a:pt x="377" y="383"/>
                        </a:cubicBezTo>
                        <a:cubicBezTo>
                          <a:pt x="407" y="381"/>
                          <a:pt x="384" y="414"/>
                          <a:pt x="380" y="433"/>
                        </a:cubicBezTo>
                        <a:cubicBezTo>
                          <a:pt x="377" y="453"/>
                          <a:pt x="410" y="461"/>
                          <a:pt x="426" y="492"/>
                        </a:cubicBezTo>
                        <a:cubicBezTo>
                          <a:pt x="443" y="522"/>
                          <a:pt x="443" y="556"/>
                          <a:pt x="443" y="592"/>
                        </a:cubicBezTo>
                        <a:cubicBezTo>
                          <a:pt x="443" y="628"/>
                          <a:pt x="407" y="631"/>
                          <a:pt x="390" y="620"/>
                        </a:cubicBezTo>
                        <a:cubicBezTo>
                          <a:pt x="374" y="608"/>
                          <a:pt x="331" y="650"/>
                          <a:pt x="315" y="670"/>
                        </a:cubicBezTo>
                        <a:cubicBezTo>
                          <a:pt x="298" y="689"/>
                          <a:pt x="249" y="703"/>
                          <a:pt x="226" y="703"/>
                        </a:cubicBezTo>
                        <a:cubicBezTo>
                          <a:pt x="203" y="703"/>
                          <a:pt x="171" y="703"/>
                          <a:pt x="138" y="711"/>
                        </a:cubicBezTo>
                        <a:cubicBezTo>
                          <a:pt x="105" y="720"/>
                          <a:pt x="89" y="722"/>
                          <a:pt x="89" y="722"/>
                        </a:cubicBezTo>
                        <a:cubicBezTo>
                          <a:pt x="89" y="722"/>
                          <a:pt x="72" y="725"/>
                          <a:pt x="36" y="747"/>
                        </a:cubicBezTo>
                        <a:cubicBezTo>
                          <a:pt x="0" y="770"/>
                          <a:pt x="40" y="781"/>
                          <a:pt x="66" y="789"/>
                        </a:cubicBezTo>
                        <a:cubicBezTo>
                          <a:pt x="92" y="797"/>
                          <a:pt x="69" y="809"/>
                          <a:pt x="66" y="831"/>
                        </a:cubicBezTo>
                        <a:cubicBezTo>
                          <a:pt x="63" y="853"/>
                          <a:pt x="66" y="878"/>
                          <a:pt x="82" y="898"/>
                        </a:cubicBezTo>
                        <a:cubicBezTo>
                          <a:pt x="99" y="917"/>
                          <a:pt x="99" y="923"/>
                          <a:pt x="135" y="942"/>
                        </a:cubicBezTo>
                        <a:cubicBezTo>
                          <a:pt x="171" y="962"/>
                          <a:pt x="158" y="945"/>
                          <a:pt x="154" y="975"/>
                        </a:cubicBezTo>
                        <a:cubicBezTo>
                          <a:pt x="151" y="1006"/>
                          <a:pt x="207" y="1034"/>
                          <a:pt x="207" y="1034"/>
                        </a:cubicBezTo>
                        <a:cubicBezTo>
                          <a:pt x="261" y="1066"/>
                          <a:pt x="261" y="1066"/>
                          <a:pt x="261" y="1066"/>
                        </a:cubicBezTo>
                        <a:cubicBezTo>
                          <a:pt x="263" y="1024"/>
                          <a:pt x="275" y="1005"/>
                          <a:pt x="291" y="972"/>
                        </a:cubicBezTo>
                        <a:cubicBezTo>
                          <a:pt x="308" y="935"/>
                          <a:pt x="361" y="916"/>
                          <a:pt x="400" y="898"/>
                        </a:cubicBezTo>
                        <a:cubicBezTo>
                          <a:pt x="439" y="879"/>
                          <a:pt x="457" y="942"/>
                          <a:pt x="479" y="924"/>
                        </a:cubicBezTo>
                        <a:cubicBezTo>
                          <a:pt x="501" y="905"/>
                          <a:pt x="514" y="927"/>
                          <a:pt x="562" y="931"/>
                        </a:cubicBezTo>
                        <a:cubicBezTo>
                          <a:pt x="610" y="935"/>
                          <a:pt x="575" y="868"/>
                          <a:pt x="544" y="838"/>
                        </a:cubicBezTo>
                        <a:cubicBezTo>
                          <a:pt x="514" y="809"/>
                          <a:pt x="597" y="798"/>
                          <a:pt x="636" y="798"/>
                        </a:cubicBezTo>
                        <a:cubicBezTo>
                          <a:pt x="675" y="798"/>
                          <a:pt x="715" y="805"/>
                          <a:pt x="741" y="820"/>
                        </a:cubicBezTo>
                        <a:cubicBezTo>
                          <a:pt x="767" y="835"/>
                          <a:pt x="802" y="838"/>
                          <a:pt x="872" y="827"/>
                        </a:cubicBezTo>
                        <a:cubicBezTo>
                          <a:pt x="942" y="816"/>
                          <a:pt x="924" y="849"/>
                          <a:pt x="955" y="879"/>
                        </a:cubicBezTo>
                        <a:cubicBezTo>
                          <a:pt x="985" y="909"/>
                          <a:pt x="1016" y="894"/>
                          <a:pt x="1064" y="875"/>
                        </a:cubicBezTo>
                        <a:cubicBezTo>
                          <a:pt x="1112" y="857"/>
                          <a:pt x="1103" y="835"/>
                          <a:pt x="1134" y="823"/>
                        </a:cubicBezTo>
                        <a:cubicBezTo>
                          <a:pt x="1164" y="812"/>
                          <a:pt x="1173" y="846"/>
                          <a:pt x="1156" y="857"/>
                        </a:cubicBezTo>
                        <a:cubicBezTo>
                          <a:pt x="1138" y="868"/>
                          <a:pt x="1151" y="886"/>
                          <a:pt x="1195" y="909"/>
                        </a:cubicBezTo>
                        <a:cubicBezTo>
                          <a:pt x="1239" y="931"/>
                          <a:pt x="1226" y="879"/>
                          <a:pt x="1256" y="846"/>
                        </a:cubicBezTo>
                        <a:cubicBezTo>
                          <a:pt x="1287" y="812"/>
                          <a:pt x="1291" y="820"/>
                          <a:pt x="1330" y="842"/>
                        </a:cubicBezTo>
                        <a:cubicBezTo>
                          <a:pt x="1370" y="864"/>
                          <a:pt x="1339" y="890"/>
                          <a:pt x="1339" y="946"/>
                        </a:cubicBezTo>
                        <a:cubicBezTo>
                          <a:pt x="1339" y="983"/>
                          <a:pt x="1373" y="987"/>
                          <a:pt x="1403" y="992"/>
                        </a:cubicBezTo>
                        <a:cubicBezTo>
                          <a:pt x="1411" y="975"/>
                          <a:pt x="1424" y="954"/>
                          <a:pt x="1444" y="949"/>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2" name="Freeform 24">
                    <a:extLst>
                      <a:ext uri="{FF2B5EF4-FFF2-40B4-BE49-F238E27FC236}">
                        <a16:creationId xmlns:a16="http://schemas.microsoft.com/office/drawing/2014/main" id="{14ABF123-C959-FAFA-366D-E4FEB312E4E6}"/>
                      </a:ext>
                    </a:extLst>
                  </p:cNvPr>
                  <p:cNvSpPr>
                    <a:spLocks/>
                  </p:cNvSpPr>
                  <p:nvPr/>
                </p:nvSpPr>
                <p:spPr bwMode="auto">
                  <a:xfrm>
                    <a:off x="4490" y="2997"/>
                    <a:ext cx="504" cy="574"/>
                  </a:xfrm>
                  <a:custGeom>
                    <a:avLst/>
                    <a:gdLst>
                      <a:gd name="T0" fmla="*/ 1034 w 1088"/>
                      <a:gd name="T1" fmla="*/ 190 h 1239"/>
                      <a:gd name="T2" fmla="*/ 958 w 1088"/>
                      <a:gd name="T3" fmla="*/ 203 h 1239"/>
                      <a:gd name="T4" fmla="*/ 901 w 1088"/>
                      <a:gd name="T5" fmla="*/ 215 h 1239"/>
                      <a:gd name="T6" fmla="*/ 854 w 1088"/>
                      <a:gd name="T7" fmla="*/ 167 h 1239"/>
                      <a:gd name="T8" fmla="*/ 806 w 1088"/>
                      <a:gd name="T9" fmla="*/ 176 h 1239"/>
                      <a:gd name="T10" fmla="*/ 765 w 1088"/>
                      <a:gd name="T11" fmla="*/ 212 h 1239"/>
                      <a:gd name="T12" fmla="*/ 698 w 1088"/>
                      <a:gd name="T13" fmla="*/ 207 h 1239"/>
                      <a:gd name="T14" fmla="*/ 662 w 1088"/>
                      <a:gd name="T15" fmla="*/ 158 h 1239"/>
                      <a:gd name="T16" fmla="*/ 619 w 1088"/>
                      <a:gd name="T17" fmla="*/ 101 h 1239"/>
                      <a:gd name="T18" fmla="*/ 614 w 1088"/>
                      <a:gd name="T19" fmla="*/ 35 h 1239"/>
                      <a:gd name="T20" fmla="*/ 560 w 1088"/>
                      <a:gd name="T21" fmla="*/ 30 h 1239"/>
                      <a:gd name="T22" fmla="*/ 524 w 1088"/>
                      <a:gd name="T23" fmla="*/ 33 h 1239"/>
                      <a:gd name="T24" fmla="*/ 518 w 1088"/>
                      <a:gd name="T25" fmla="*/ 44 h 1239"/>
                      <a:gd name="T26" fmla="*/ 501 w 1088"/>
                      <a:gd name="T27" fmla="*/ 88 h 1239"/>
                      <a:gd name="T28" fmla="*/ 424 w 1088"/>
                      <a:gd name="T29" fmla="*/ 122 h 1239"/>
                      <a:gd name="T30" fmla="*/ 396 w 1088"/>
                      <a:gd name="T31" fmla="*/ 144 h 1239"/>
                      <a:gd name="T32" fmla="*/ 352 w 1088"/>
                      <a:gd name="T33" fmla="*/ 172 h 1239"/>
                      <a:gd name="T34" fmla="*/ 302 w 1088"/>
                      <a:gd name="T35" fmla="*/ 168 h 1239"/>
                      <a:gd name="T36" fmla="*/ 237 w 1088"/>
                      <a:gd name="T37" fmla="*/ 188 h 1239"/>
                      <a:gd name="T38" fmla="*/ 234 w 1088"/>
                      <a:gd name="T39" fmla="*/ 275 h 1239"/>
                      <a:gd name="T40" fmla="*/ 217 w 1088"/>
                      <a:gd name="T41" fmla="*/ 383 h 1239"/>
                      <a:gd name="T42" fmla="*/ 117 w 1088"/>
                      <a:gd name="T43" fmla="*/ 435 h 1239"/>
                      <a:gd name="T44" fmla="*/ 125 w 1088"/>
                      <a:gd name="T45" fmla="*/ 531 h 1239"/>
                      <a:gd name="T46" fmla="*/ 106 w 1088"/>
                      <a:gd name="T47" fmla="*/ 591 h 1239"/>
                      <a:gd name="T48" fmla="*/ 110 w 1088"/>
                      <a:gd name="T49" fmla="*/ 646 h 1239"/>
                      <a:gd name="T50" fmla="*/ 103 w 1088"/>
                      <a:gd name="T51" fmla="*/ 685 h 1239"/>
                      <a:gd name="T52" fmla="*/ 66 w 1088"/>
                      <a:gd name="T53" fmla="*/ 722 h 1239"/>
                      <a:gd name="T54" fmla="*/ 40 w 1088"/>
                      <a:gd name="T55" fmla="*/ 770 h 1239"/>
                      <a:gd name="T56" fmla="*/ 29 w 1088"/>
                      <a:gd name="T57" fmla="*/ 852 h 1239"/>
                      <a:gd name="T58" fmla="*/ 5 w 1088"/>
                      <a:gd name="T59" fmla="*/ 909 h 1239"/>
                      <a:gd name="T60" fmla="*/ 21 w 1088"/>
                      <a:gd name="T61" fmla="*/ 957 h 1239"/>
                      <a:gd name="T62" fmla="*/ 119 w 1088"/>
                      <a:gd name="T63" fmla="*/ 967 h 1239"/>
                      <a:gd name="T64" fmla="*/ 175 w 1088"/>
                      <a:gd name="T65" fmla="*/ 1000 h 1239"/>
                      <a:gd name="T66" fmla="*/ 245 w 1088"/>
                      <a:gd name="T67" fmla="*/ 1004 h 1239"/>
                      <a:gd name="T68" fmla="*/ 280 w 1088"/>
                      <a:gd name="T69" fmla="*/ 1037 h 1239"/>
                      <a:gd name="T70" fmla="*/ 341 w 1088"/>
                      <a:gd name="T71" fmla="*/ 1152 h 1239"/>
                      <a:gd name="T72" fmla="*/ 391 w 1088"/>
                      <a:gd name="T73" fmla="*/ 1239 h 1239"/>
                      <a:gd name="T74" fmla="*/ 438 w 1088"/>
                      <a:gd name="T75" fmla="*/ 1211 h 1239"/>
                      <a:gd name="T76" fmla="*/ 538 w 1088"/>
                      <a:gd name="T77" fmla="*/ 1145 h 1239"/>
                      <a:gd name="T78" fmla="*/ 617 w 1088"/>
                      <a:gd name="T79" fmla="*/ 1033 h 1239"/>
                      <a:gd name="T80" fmla="*/ 652 w 1088"/>
                      <a:gd name="T81" fmla="*/ 967 h 1239"/>
                      <a:gd name="T82" fmla="*/ 752 w 1088"/>
                      <a:gd name="T83" fmla="*/ 919 h 1239"/>
                      <a:gd name="T84" fmla="*/ 813 w 1088"/>
                      <a:gd name="T85" fmla="*/ 859 h 1239"/>
                      <a:gd name="T86" fmla="*/ 813 w 1088"/>
                      <a:gd name="T87" fmla="*/ 781 h 1239"/>
                      <a:gd name="T88" fmla="*/ 861 w 1088"/>
                      <a:gd name="T89" fmla="*/ 730 h 1239"/>
                      <a:gd name="T90" fmla="*/ 905 w 1088"/>
                      <a:gd name="T91" fmla="*/ 678 h 1239"/>
                      <a:gd name="T92" fmla="*/ 944 w 1088"/>
                      <a:gd name="T93" fmla="*/ 600 h 1239"/>
                      <a:gd name="T94" fmla="*/ 922 w 1088"/>
                      <a:gd name="T95" fmla="*/ 515 h 1239"/>
                      <a:gd name="T96" fmla="*/ 936 w 1088"/>
                      <a:gd name="T97" fmla="*/ 448 h 1239"/>
                      <a:gd name="T98" fmla="*/ 914 w 1088"/>
                      <a:gd name="T99" fmla="*/ 377 h 1239"/>
                      <a:gd name="T100" fmla="*/ 997 w 1088"/>
                      <a:gd name="T101" fmla="*/ 351 h 1239"/>
                      <a:gd name="T102" fmla="*/ 1062 w 1088"/>
                      <a:gd name="T103" fmla="*/ 259 h 1239"/>
                      <a:gd name="T104" fmla="*/ 1088 w 1088"/>
                      <a:gd name="T105" fmla="*/ 225 h 1239"/>
                      <a:gd name="T106" fmla="*/ 1081 w 1088"/>
                      <a:gd name="T107" fmla="*/ 224 h 1239"/>
                      <a:gd name="T108" fmla="*/ 1034 w 1088"/>
                      <a:gd name="T109" fmla="*/ 190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8" h="1239">
                        <a:moveTo>
                          <a:pt x="1034" y="190"/>
                        </a:moveTo>
                        <a:cubicBezTo>
                          <a:pt x="1024" y="168"/>
                          <a:pt x="985" y="192"/>
                          <a:pt x="958" y="203"/>
                        </a:cubicBezTo>
                        <a:cubicBezTo>
                          <a:pt x="932" y="214"/>
                          <a:pt x="932" y="219"/>
                          <a:pt x="901" y="215"/>
                        </a:cubicBezTo>
                        <a:cubicBezTo>
                          <a:pt x="870" y="211"/>
                          <a:pt x="875" y="201"/>
                          <a:pt x="854" y="167"/>
                        </a:cubicBezTo>
                        <a:cubicBezTo>
                          <a:pt x="832" y="132"/>
                          <a:pt x="816" y="157"/>
                          <a:pt x="806" y="176"/>
                        </a:cubicBezTo>
                        <a:cubicBezTo>
                          <a:pt x="796" y="196"/>
                          <a:pt x="782" y="200"/>
                          <a:pt x="765" y="212"/>
                        </a:cubicBezTo>
                        <a:cubicBezTo>
                          <a:pt x="749" y="225"/>
                          <a:pt x="719" y="217"/>
                          <a:pt x="698" y="207"/>
                        </a:cubicBezTo>
                        <a:cubicBezTo>
                          <a:pt x="677" y="197"/>
                          <a:pt x="667" y="179"/>
                          <a:pt x="662" y="158"/>
                        </a:cubicBezTo>
                        <a:cubicBezTo>
                          <a:pt x="657" y="137"/>
                          <a:pt x="639" y="117"/>
                          <a:pt x="619" y="101"/>
                        </a:cubicBezTo>
                        <a:cubicBezTo>
                          <a:pt x="600" y="86"/>
                          <a:pt x="613" y="69"/>
                          <a:pt x="614" y="35"/>
                        </a:cubicBezTo>
                        <a:cubicBezTo>
                          <a:pt x="616" y="0"/>
                          <a:pt x="578" y="21"/>
                          <a:pt x="560" y="30"/>
                        </a:cubicBezTo>
                        <a:cubicBezTo>
                          <a:pt x="552" y="35"/>
                          <a:pt x="537" y="35"/>
                          <a:pt x="524" y="33"/>
                        </a:cubicBezTo>
                        <a:cubicBezTo>
                          <a:pt x="521" y="36"/>
                          <a:pt x="519" y="40"/>
                          <a:pt x="518" y="44"/>
                        </a:cubicBezTo>
                        <a:cubicBezTo>
                          <a:pt x="516" y="61"/>
                          <a:pt x="514" y="72"/>
                          <a:pt x="501" y="88"/>
                        </a:cubicBezTo>
                        <a:cubicBezTo>
                          <a:pt x="488" y="105"/>
                          <a:pt x="453" y="120"/>
                          <a:pt x="424" y="122"/>
                        </a:cubicBezTo>
                        <a:cubicBezTo>
                          <a:pt x="396" y="124"/>
                          <a:pt x="400" y="125"/>
                          <a:pt x="396" y="144"/>
                        </a:cubicBezTo>
                        <a:cubicBezTo>
                          <a:pt x="392" y="162"/>
                          <a:pt x="385" y="166"/>
                          <a:pt x="352" y="172"/>
                        </a:cubicBezTo>
                        <a:cubicBezTo>
                          <a:pt x="320" y="177"/>
                          <a:pt x="352" y="172"/>
                          <a:pt x="302" y="168"/>
                        </a:cubicBezTo>
                        <a:cubicBezTo>
                          <a:pt x="252" y="164"/>
                          <a:pt x="258" y="168"/>
                          <a:pt x="237" y="188"/>
                        </a:cubicBezTo>
                        <a:cubicBezTo>
                          <a:pt x="215" y="209"/>
                          <a:pt x="224" y="233"/>
                          <a:pt x="234" y="275"/>
                        </a:cubicBezTo>
                        <a:cubicBezTo>
                          <a:pt x="245" y="318"/>
                          <a:pt x="239" y="337"/>
                          <a:pt x="217" y="383"/>
                        </a:cubicBezTo>
                        <a:cubicBezTo>
                          <a:pt x="195" y="429"/>
                          <a:pt x="141" y="422"/>
                          <a:pt x="117" y="435"/>
                        </a:cubicBezTo>
                        <a:cubicBezTo>
                          <a:pt x="92" y="448"/>
                          <a:pt x="92" y="502"/>
                          <a:pt x="125" y="531"/>
                        </a:cubicBezTo>
                        <a:cubicBezTo>
                          <a:pt x="158" y="561"/>
                          <a:pt x="127" y="574"/>
                          <a:pt x="106" y="591"/>
                        </a:cubicBezTo>
                        <a:cubicBezTo>
                          <a:pt x="84" y="607"/>
                          <a:pt x="103" y="622"/>
                          <a:pt x="110" y="646"/>
                        </a:cubicBezTo>
                        <a:cubicBezTo>
                          <a:pt x="117" y="670"/>
                          <a:pt x="119" y="668"/>
                          <a:pt x="103" y="685"/>
                        </a:cubicBezTo>
                        <a:cubicBezTo>
                          <a:pt x="88" y="702"/>
                          <a:pt x="75" y="707"/>
                          <a:pt x="66" y="722"/>
                        </a:cubicBezTo>
                        <a:cubicBezTo>
                          <a:pt x="58" y="737"/>
                          <a:pt x="58" y="750"/>
                          <a:pt x="40" y="770"/>
                        </a:cubicBezTo>
                        <a:cubicBezTo>
                          <a:pt x="23" y="791"/>
                          <a:pt x="31" y="828"/>
                          <a:pt x="29" y="852"/>
                        </a:cubicBezTo>
                        <a:cubicBezTo>
                          <a:pt x="27" y="876"/>
                          <a:pt x="14" y="889"/>
                          <a:pt x="5" y="909"/>
                        </a:cubicBezTo>
                        <a:cubicBezTo>
                          <a:pt x="0" y="921"/>
                          <a:pt x="11" y="941"/>
                          <a:pt x="21" y="957"/>
                        </a:cubicBezTo>
                        <a:cubicBezTo>
                          <a:pt x="47" y="948"/>
                          <a:pt x="101" y="970"/>
                          <a:pt x="119" y="967"/>
                        </a:cubicBezTo>
                        <a:cubicBezTo>
                          <a:pt x="141" y="963"/>
                          <a:pt x="162" y="982"/>
                          <a:pt x="175" y="1000"/>
                        </a:cubicBezTo>
                        <a:cubicBezTo>
                          <a:pt x="189" y="1019"/>
                          <a:pt x="224" y="1022"/>
                          <a:pt x="245" y="1004"/>
                        </a:cubicBezTo>
                        <a:cubicBezTo>
                          <a:pt x="267" y="985"/>
                          <a:pt x="272" y="1008"/>
                          <a:pt x="280" y="1037"/>
                        </a:cubicBezTo>
                        <a:cubicBezTo>
                          <a:pt x="289" y="1067"/>
                          <a:pt x="346" y="1096"/>
                          <a:pt x="341" y="1152"/>
                        </a:cubicBezTo>
                        <a:cubicBezTo>
                          <a:pt x="339" y="1183"/>
                          <a:pt x="366" y="1216"/>
                          <a:pt x="391" y="1239"/>
                        </a:cubicBezTo>
                        <a:cubicBezTo>
                          <a:pt x="405" y="1229"/>
                          <a:pt x="420" y="1220"/>
                          <a:pt x="438" y="1211"/>
                        </a:cubicBezTo>
                        <a:cubicBezTo>
                          <a:pt x="490" y="1185"/>
                          <a:pt x="490" y="1189"/>
                          <a:pt x="538" y="1145"/>
                        </a:cubicBezTo>
                        <a:cubicBezTo>
                          <a:pt x="586" y="1100"/>
                          <a:pt x="608" y="1082"/>
                          <a:pt x="617" y="1033"/>
                        </a:cubicBezTo>
                        <a:cubicBezTo>
                          <a:pt x="625" y="985"/>
                          <a:pt x="582" y="978"/>
                          <a:pt x="652" y="967"/>
                        </a:cubicBezTo>
                        <a:cubicBezTo>
                          <a:pt x="721" y="956"/>
                          <a:pt x="756" y="959"/>
                          <a:pt x="752" y="919"/>
                        </a:cubicBezTo>
                        <a:cubicBezTo>
                          <a:pt x="748" y="878"/>
                          <a:pt x="813" y="889"/>
                          <a:pt x="813" y="859"/>
                        </a:cubicBezTo>
                        <a:cubicBezTo>
                          <a:pt x="813" y="830"/>
                          <a:pt x="770" y="793"/>
                          <a:pt x="813" y="781"/>
                        </a:cubicBezTo>
                        <a:cubicBezTo>
                          <a:pt x="857" y="770"/>
                          <a:pt x="866" y="770"/>
                          <a:pt x="861" y="730"/>
                        </a:cubicBezTo>
                        <a:cubicBezTo>
                          <a:pt x="857" y="689"/>
                          <a:pt x="874" y="681"/>
                          <a:pt x="905" y="678"/>
                        </a:cubicBezTo>
                        <a:cubicBezTo>
                          <a:pt x="936" y="674"/>
                          <a:pt x="944" y="637"/>
                          <a:pt x="944" y="600"/>
                        </a:cubicBezTo>
                        <a:cubicBezTo>
                          <a:pt x="944" y="563"/>
                          <a:pt x="866" y="563"/>
                          <a:pt x="922" y="515"/>
                        </a:cubicBezTo>
                        <a:cubicBezTo>
                          <a:pt x="979" y="466"/>
                          <a:pt x="962" y="474"/>
                          <a:pt x="936" y="448"/>
                        </a:cubicBezTo>
                        <a:cubicBezTo>
                          <a:pt x="909" y="422"/>
                          <a:pt x="857" y="377"/>
                          <a:pt x="914" y="377"/>
                        </a:cubicBezTo>
                        <a:cubicBezTo>
                          <a:pt x="970" y="377"/>
                          <a:pt x="970" y="400"/>
                          <a:pt x="997" y="351"/>
                        </a:cubicBezTo>
                        <a:cubicBezTo>
                          <a:pt x="1023" y="303"/>
                          <a:pt x="1049" y="285"/>
                          <a:pt x="1062" y="259"/>
                        </a:cubicBezTo>
                        <a:cubicBezTo>
                          <a:pt x="1068" y="247"/>
                          <a:pt x="1078" y="237"/>
                          <a:pt x="1088" y="225"/>
                        </a:cubicBezTo>
                        <a:cubicBezTo>
                          <a:pt x="1086" y="224"/>
                          <a:pt x="1084" y="224"/>
                          <a:pt x="1081" y="224"/>
                        </a:cubicBezTo>
                        <a:cubicBezTo>
                          <a:pt x="1062" y="221"/>
                          <a:pt x="1044" y="212"/>
                          <a:pt x="1034" y="190"/>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3" name="Freeform 25">
                    <a:extLst>
                      <a:ext uri="{FF2B5EF4-FFF2-40B4-BE49-F238E27FC236}">
                        <a16:creationId xmlns:a16="http://schemas.microsoft.com/office/drawing/2014/main" id="{C9B650CA-05FB-EB53-697B-BA31339D09DB}"/>
                      </a:ext>
                    </a:extLst>
                  </p:cNvPr>
                  <p:cNvSpPr>
                    <a:spLocks/>
                  </p:cNvSpPr>
                  <p:nvPr/>
                </p:nvSpPr>
                <p:spPr bwMode="auto">
                  <a:xfrm>
                    <a:off x="3696" y="1645"/>
                    <a:ext cx="410" cy="745"/>
                  </a:xfrm>
                  <a:custGeom>
                    <a:avLst/>
                    <a:gdLst>
                      <a:gd name="T0" fmla="*/ 142 w 885"/>
                      <a:gd name="T1" fmla="*/ 1606 h 1609"/>
                      <a:gd name="T2" fmla="*/ 210 w 885"/>
                      <a:gd name="T3" fmla="*/ 1575 h 1609"/>
                      <a:gd name="T4" fmla="*/ 306 w 885"/>
                      <a:gd name="T5" fmla="*/ 1527 h 1609"/>
                      <a:gd name="T6" fmla="*/ 369 w 885"/>
                      <a:gd name="T7" fmla="*/ 1504 h 1609"/>
                      <a:gd name="T8" fmla="*/ 413 w 885"/>
                      <a:gd name="T9" fmla="*/ 1460 h 1609"/>
                      <a:gd name="T10" fmla="*/ 468 w 885"/>
                      <a:gd name="T11" fmla="*/ 1451 h 1609"/>
                      <a:gd name="T12" fmla="*/ 494 w 885"/>
                      <a:gd name="T13" fmla="*/ 1410 h 1609"/>
                      <a:gd name="T14" fmla="*/ 572 w 885"/>
                      <a:gd name="T15" fmla="*/ 1397 h 1609"/>
                      <a:gd name="T16" fmla="*/ 623 w 885"/>
                      <a:gd name="T17" fmla="*/ 1380 h 1609"/>
                      <a:gd name="T18" fmla="*/ 671 w 885"/>
                      <a:gd name="T19" fmla="*/ 1382 h 1609"/>
                      <a:gd name="T20" fmla="*/ 717 w 885"/>
                      <a:gd name="T21" fmla="*/ 1349 h 1609"/>
                      <a:gd name="T22" fmla="*/ 786 w 885"/>
                      <a:gd name="T23" fmla="*/ 1297 h 1609"/>
                      <a:gd name="T24" fmla="*/ 795 w 885"/>
                      <a:gd name="T25" fmla="*/ 1236 h 1609"/>
                      <a:gd name="T26" fmla="*/ 802 w 885"/>
                      <a:gd name="T27" fmla="*/ 1158 h 1609"/>
                      <a:gd name="T28" fmla="*/ 784 w 885"/>
                      <a:gd name="T29" fmla="*/ 1082 h 1609"/>
                      <a:gd name="T30" fmla="*/ 752 w 885"/>
                      <a:gd name="T31" fmla="*/ 1000 h 1609"/>
                      <a:gd name="T32" fmla="*/ 793 w 885"/>
                      <a:gd name="T33" fmla="*/ 939 h 1609"/>
                      <a:gd name="T34" fmla="*/ 808 w 885"/>
                      <a:gd name="T35" fmla="*/ 869 h 1609"/>
                      <a:gd name="T36" fmla="*/ 843 w 885"/>
                      <a:gd name="T37" fmla="*/ 798 h 1609"/>
                      <a:gd name="T38" fmla="*/ 821 w 885"/>
                      <a:gd name="T39" fmla="*/ 737 h 1609"/>
                      <a:gd name="T40" fmla="*/ 784 w 885"/>
                      <a:gd name="T41" fmla="*/ 687 h 1609"/>
                      <a:gd name="T42" fmla="*/ 745 w 885"/>
                      <a:gd name="T43" fmla="*/ 645 h 1609"/>
                      <a:gd name="T44" fmla="*/ 695 w 885"/>
                      <a:gd name="T45" fmla="*/ 570 h 1609"/>
                      <a:gd name="T46" fmla="*/ 734 w 885"/>
                      <a:gd name="T47" fmla="*/ 509 h 1609"/>
                      <a:gd name="T48" fmla="*/ 734 w 885"/>
                      <a:gd name="T49" fmla="*/ 463 h 1609"/>
                      <a:gd name="T50" fmla="*/ 749 w 885"/>
                      <a:gd name="T51" fmla="*/ 409 h 1609"/>
                      <a:gd name="T52" fmla="*/ 826 w 885"/>
                      <a:gd name="T53" fmla="*/ 407 h 1609"/>
                      <a:gd name="T54" fmla="*/ 861 w 885"/>
                      <a:gd name="T55" fmla="*/ 354 h 1609"/>
                      <a:gd name="T56" fmla="*/ 863 w 885"/>
                      <a:gd name="T57" fmla="*/ 287 h 1609"/>
                      <a:gd name="T58" fmla="*/ 841 w 885"/>
                      <a:gd name="T59" fmla="*/ 241 h 1609"/>
                      <a:gd name="T60" fmla="*/ 817 w 885"/>
                      <a:gd name="T61" fmla="*/ 205 h 1609"/>
                      <a:gd name="T62" fmla="*/ 743 w 885"/>
                      <a:gd name="T63" fmla="*/ 165 h 1609"/>
                      <a:gd name="T64" fmla="*/ 778 w 885"/>
                      <a:gd name="T65" fmla="*/ 131 h 1609"/>
                      <a:gd name="T66" fmla="*/ 826 w 885"/>
                      <a:gd name="T67" fmla="*/ 96 h 1609"/>
                      <a:gd name="T68" fmla="*/ 780 w 885"/>
                      <a:gd name="T69" fmla="*/ 65 h 1609"/>
                      <a:gd name="T70" fmla="*/ 740 w 885"/>
                      <a:gd name="T71" fmla="*/ 0 h 1609"/>
                      <a:gd name="T72" fmla="*/ 723 w 885"/>
                      <a:gd name="T73" fmla="*/ 66 h 1609"/>
                      <a:gd name="T74" fmla="*/ 649 w 885"/>
                      <a:gd name="T75" fmla="*/ 85 h 1609"/>
                      <a:gd name="T76" fmla="*/ 588 w 885"/>
                      <a:gd name="T77" fmla="*/ 115 h 1609"/>
                      <a:gd name="T78" fmla="*/ 531 w 885"/>
                      <a:gd name="T79" fmla="*/ 100 h 1609"/>
                      <a:gd name="T80" fmla="*/ 465 w 885"/>
                      <a:gd name="T81" fmla="*/ 159 h 1609"/>
                      <a:gd name="T82" fmla="*/ 361 w 885"/>
                      <a:gd name="T83" fmla="*/ 159 h 1609"/>
                      <a:gd name="T84" fmla="*/ 308 w 885"/>
                      <a:gd name="T85" fmla="*/ 293 h 1609"/>
                      <a:gd name="T86" fmla="*/ 256 w 885"/>
                      <a:gd name="T87" fmla="*/ 330 h 1609"/>
                      <a:gd name="T88" fmla="*/ 203 w 885"/>
                      <a:gd name="T89" fmla="*/ 333 h 1609"/>
                      <a:gd name="T90" fmla="*/ 164 w 885"/>
                      <a:gd name="T91" fmla="*/ 389 h 1609"/>
                      <a:gd name="T92" fmla="*/ 109 w 885"/>
                      <a:gd name="T93" fmla="*/ 346 h 1609"/>
                      <a:gd name="T94" fmla="*/ 151 w 885"/>
                      <a:gd name="T95" fmla="*/ 411 h 1609"/>
                      <a:gd name="T96" fmla="*/ 142 w 885"/>
                      <a:gd name="T97" fmla="*/ 478 h 1609"/>
                      <a:gd name="T98" fmla="*/ 118 w 885"/>
                      <a:gd name="T99" fmla="*/ 545 h 1609"/>
                      <a:gd name="T100" fmla="*/ 105 w 885"/>
                      <a:gd name="T101" fmla="*/ 626 h 1609"/>
                      <a:gd name="T102" fmla="*/ 40 w 885"/>
                      <a:gd name="T103" fmla="*/ 706 h 1609"/>
                      <a:gd name="T104" fmla="*/ 99 w 885"/>
                      <a:gd name="T105" fmla="*/ 832 h 1609"/>
                      <a:gd name="T106" fmla="*/ 96 w 885"/>
                      <a:gd name="T107" fmla="*/ 886 h 1609"/>
                      <a:gd name="T108" fmla="*/ 99 w 885"/>
                      <a:gd name="T109" fmla="*/ 936 h 1609"/>
                      <a:gd name="T110" fmla="*/ 59 w 885"/>
                      <a:gd name="T111" fmla="*/ 984 h 1609"/>
                      <a:gd name="T112" fmla="*/ 55 w 885"/>
                      <a:gd name="T113" fmla="*/ 1073 h 1609"/>
                      <a:gd name="T114" fmla="*/ 74 w 885"/>
                      <a:gd name="T115" fmla="*/ 1199 h 1609"/>
                      <a:gd name="T116" fmla="*/ 116 w 885"/>
                      <a:gd name="T117" fmla="*/ 1303 h 1609"/>
                      <a:gd name="T118" fmla="*/ 92 w 885"/>
                      <a:gd name="T119" fmla="*/ 1421 h 1609"/>
                      <a:gd name="T120" fmla="*/ 64 w 885"/>
                      <a:gd name="T121" fmla="*/ 1547 h 1609"/>
                      <a:gd name="T122" fmla="*/ 72 w 885"/>
                      <a:gd name="T123" fmla="*/ 1606 h 1609"/>
                      <a:gd name="T124" fmla="*/ 142 w 885"/>
                      <a:gd name="T125" fmla="*/ 160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5" h="1609">
                        <a:moveTo>
                          <a:pt x="142" y="1606"/>
                        </a:moveTo>
                        <a:cubicBezTo>
                          <a:pt x="175" y="1603"/>
                          <a:pt x="177" y="1597"/>
                          <a:pt x="210" y="1575"/>
                        </a:cubicBezTo>
                        <a:cubicBezTo>
                          <a:pt x="243" y="1553"/>
                          <a:pt x="265" y="1523"/>
                          <a:pt x="306" y="1527"/>
                        </a:cubicBezTo>
                        <a:cubicBezTo>
                          <a:pt x="347" y="1530"/>
                          <a:pt x="358" y="1519"/>
                          <a:pt x="369" y="1504"/>
                        </a:cubicBezTo>
                        <a:cubicBezTo>
                          <a:pt x="380" y="1490"/>
                          <a:pt x="387" y="1460"/>
                          <a:pt x="413" y="1460"/>
                        </a:cubicBezTo>
                        <a:cubicBezTo>
                          <a:pt x="439" y="1460"/>
                          <a:pt x="463" y="1469"/>
                          <a:pt x="468" y="1451"/>
                        </a:cubicBezTo>
                        <a:cubicBezTo>
                          <a:pt x="472" y="1432"/>
                          <a:pt x="459" y="1408"/>
                          <a:pt x="494" y="1410"/>
                        </a:cubicBezTo>
                        <a:cubicBezTo>
                          <a:pt x="529" y="1412"/>
                          <a:pt x="553" y="1404"/>
                          <a:pt x="572" y="1397"/>
                        </a:cubicBezTo>
                        <a:cubicBezTo>
                          <a:pt x="592" y="1390"/>
                          <a:pt x="612" y="1367"/>
                          <a:pt x="623" y="1380"/>
                        </a:cubicBezTo>
                        <a:cubicBezTo>
                          <a:pt x="634" y="1393"/>
                          <a:pt x="658" y="1399"/>
                          <a:pt x="671" y="1382"/>
                        </a:cubicBezTo>
                        <a:cubicBezTo>
                          <a:pt x="684" y="1366"/>
                          <a:pt x="682" y="1351"/>
                          <a:pt x="717" y="1349"/>
                        </a:cubicBezTo>
                        <a:cubicBezTo>
                          <a:pt x="752" y="1347"/>
                          <a:pt x="769" y="1321"/>
                          <a:pt x="786" y="1297"/>
                        </a:cubicBezTo>
                        <a:cubicBezTo>
                          <a:pt x="804" y="1273"/>
                          <a:pt x="808" y="1245"/>
                          <a:pt x="795" y="1236"/>
                        </a:cubicBezTo>
                        <a:cubicBezTo>
                          <a:pt x="782" y="1227"/>
                          <a:pt x="817" y="1186"/>
                          <a:pt x="802" y="1158"/>
                        </a:cubicBezTo>
                        <a:cubicBezTo>
                          <a:pt x="786" y="1130"/>
                          <a:pt x="826" y="1110"/>
                          <a:pt x="784" y="1082"/>
                        </a:cubicBezTo>
                        <a:cubicBezTo>
                          <a:pt x="743" y="1054"/>
                          <a:pt x="723" y="1021"/>
                          <a:pt x="752" y="1000"/>
                        </a:cubicBezTo>
                        <a:cubicBezTo>
                          <a:pt x="780" y="980"/>
                          <a:pt x="797" y="980"/>
                          <a:pt x="793" y="939"/>
                        </a:cubicBezTo>
                        <a:cubicBezTo>
                          <a:pt x="789" y="899"/>
                          <a:pt x="784" y="900"/>
                          <a:pt x="808" y="869"/>
                        </a:cubicBezTo>
                        <a:cubicBezTo>
                          <a:pt x="832" y="837"/>
                          <a:pt x="841" y="823"/>
                          <a:pt x="843" y="798"/>
                        </a:cubicBezTo>
                        <a:cubicBezTo>
                          <a:pt x="845" y="774"/>
                          <a:pt x="843" y="756"/>
                          <a:pt x="821" y="737"/>
                        </a:cubicBezTo>
                        <a:cubicBezTo>
                          <a:pt x="800" y="719"/>
                          <a:pt x="784" y="706"/>
                          <a:pt x="784" y="687"/>
                        </a:cubicBezTo>
                        <a:cubicBezTo>
                          <a:pt x="784" y="669"/>
                          <a:pt x="782" y="656"/>
                          <a:pt x="745" y="645"/>
                        </a:cubicBezTo>
                        <a:cubicBezTo>
                          <a:pt x="708" y="633"/>
                          <a:pt x="684" y="609"/>
                          <a:pt x="695" y="570"/>
                        </a:cubicBezTo>
                        <a:cubicBezTo>
                          <a:pt x="706" y="532"/>
                          <a:pt x="734" y="543"/>
                          <a:pt x="734" y="509"/>
                        </a:cubicBezTo>
                        <a:cubicBezTo>
                          <a:pt x="734" y="476"/>
                          <a:pt x="734" y="480"/>
                          <a:pt x="734" y="463"/>
                        </a:cubicBezTo>
                        <a:cubicBezTo>
                          <a:pt x="734" y="446"/>
                          <a:pt x="719" y="398"/>
                          <a:pt x="749" y="409"/>
                        </a:cubicBezTo>
                        <a:cubicBezTo>
                          <a:pt x="780" y="420"/>
                          <a:pt x="806" y="433"/>
                          <a:pt x="826" y="407"/>
                        </a:cubicBezTo>
                        <a:cubicBezTo>
                          <a:pt x="845" y="381"/>
                          <a:pt x="856" y="370"/>
                          <a:pt x="861" y="354"/>
                        </a:cubicBezTo>
                        <a:cubicBezTo>
                          <a:pt x="865" y="337"/>
                          <a:pt x="885" y="313"/>
                          <a:pt x="863" y="287"/>
                        </a:cubicBezTo>
                        <a:cubicBezTo>
                          <a:pt x="841" y="261"/>
                          <a:pt x="841" y="257"/>
                          <a:pt x="841" y="241"/>
                        </a:cubicBezTo>
                        <a:cubicBezTo>
                          <a:pt x="841" y="224"/>
                          <a:pt x="848" y="205"/>
                          <a:pt x="817" y="205"/>
                        </a:cubicBezTo>
                        <a:cubicBezTo>
                          <a:pt x="786" y="205"/>
                          <a:pt x="708" y="198"/>
                          <a:pt x="743" y="165"/>
                        </a:cubicBezTo>
                        <a:cubicBezTo>
                          <a:pt x="778" y="131"/>
                          <a:pt x="747" y="139"/>
                          <a:pt x="778" y="131"/>
                        </a:cubicBezTo>
                        <a:cubicBezTo>
                          <a:pt x="808" y="124"/>
                          <a:pt x="841" y="124"/>
                          <a:pt x="826" y="96"/>
                        </a:cubicBezTo>
                        <a:cubicBezTo>
                          <a:pt x="811" y="68"/>
                          <a:pt x="784" y="89"/>
                          <a:pt x="780" y="65"/>
                        </a:cubicBezTo>
                        <a:cubicBezTo>
                          <a:pt x="776" y="43"/>
                          <a:pt x="776" y="14"/>
                          <a:pt x="740" y="0"/>
                        </a:cubicBezTo>
                        <a:cubicBezTo>
                          <a:pt x="741" y="21"/>
                          <a:pt x="753" y="60"/>
                          <a:pt x="723" y="66"/>
                        </a:cubicBezTo>
                        <a:cubicBezTo>
                          <a:pt x="688" y="74"/>
                          <a:pt x="653" y="59"/>
                          <a:pt x="649" y="85"/>
                        </a:cubicBezTo>
                        <a:cubicBezTo>
                          <a:pt x="645" y="111"/>
                          <a:pt x="610" y="133"/>
                          <a:pt x="588" y="115"/>
                        </a:cubicBezTo>
                        <a:cubicBezTo>
                          <a:pt x="566" y="96"/>
                          <a:pt x="544" y="74"/>
                          <a:pt x="531" y="100"/>
                        </a:cubicBezTo>
                        <a:cubicBezTo>
                          <a:pt x="518" y="126"/>
                          <a:pt x="500" y="174"/>
                          <a:pt x="465" y="159"/>
                        </a:cubicBezTo>
                        <a:cubicBezTo>
                          <a:pt x="430" y="144"/>
                          <a:pt x="378" y="133"/>
                          <a:pt x="361" y="159"/>
                        </a:cubicBezTo>
                        <a:cubicBezTo>
                          <a:pt x="343" y="185"/>
                          <a:pt x="317" y="267"/>
                          <a:pt x="308" y="293"/>
                        </a:cubicBezTo>
                        <a:cubicBezTo>
                          <a:pt x="299" y="318"/>
                          <a:pt x="269" y="337"/>
                          <a:pt x="256" y="330"/>
                        </a:cubicBezTo>
                        <a:cubicBezTo>
                          <a:pt x="243" y="322"/>
                          <a:pt x="203" y="296"/>
                          <a:pt x="203" y="333"/>
                        </a:cubicBezTo>
                        <a:cubicBezTo>
                          <a:pt x="203" y="370"/>
                          <a:pt x="208" y="407"/>
                          <a:pt x="164" y="389"/>
                        </a:cubicBezTo>
                        <a:cubicBezTo>
                          <a:pt x="133" y="376"/>
                          <a:pt x="124" y="344"/>
                          <a:pt x="109" y="346"/>
                        </a:cubicBezTo>
                        <a:cubicBezTo>
                          <a:pt x="118" y="371"/>
                          <a:pt x="139" y="397"/>
                          <a:pt x="151" y="411"/>
                        </a:cubicBezTo>
                        <a:cubicBezTo>
                          <a:pt x="166" y="430"/>
                          <a:pt x="157" y="461"/>
                          <a:pt x="142" y="478"/>
                        </a:cubicBezTo>
                        <a:cubicBezTo>
                          <a:pt x="127" y="494"/>
                          <a:pt x="125" y="507"/>
                          <a:pt x="118" y="545"/>
                        </a:cubicBezTo>
                        <a:cubicBezTo>
                          <a:pt x="112" y="582"/>
                          <a:pt x="107" y="578"/>
                          <a:pt x="105" y="626"/>
                        </a:cubicBezTo>
                        <a:cubicBezTo>
                          <a:pt x="103" y="674"/>
                          <a:pt x="79" y="671"/>
                          <a:pt x="40" y="706"/>
                        </a:cubicBezTo>
                        <a:cubicBezTo>
                          <a:pt x="0" y="741"/>
                          <a:pt x="83" y="813"/>
                          <a:pt x="99" y="832"/>
                        </a:cubicBezTo>
                        <a:cubicBezTo>
                          <a:pt x="114" y="850"/>
                          <a:pt x="116" y="869"/>
                          <a:pt x="96" y="886"/>
                        </a:cubicBezTo>
                        <a:cubicBezTo>
                          <a:pt x="77" y="902"/>
                          <a:pt x="79" y="908"/>
                          <a:pt x="99" y="936"/>
                        </a:cubicBezTo>
                        <a:cubicBezTo>
                          <a:pt x="118" y="963"/>
                          <a:pt x="74" y="958"/>
                          <a:pt x="59" y="984"/>
                        </a:cubicBezTo>
                        <a:cubicBezTo>
                          <a:pt x="44" y="1010"/>
                          <a:pt x="29" y="1047"/>
                          <a:pt x="55" y="1073"/>
                        </a:cubicBezTo>
                        <a:cubicBezTo>
                          <a:pt x="81" y="1099"/>
                          <a:pt x="74" y="1164"/>
                          <a:pt x="74" y="1199"/>
                        </a:cubicBezTo>
                        <a:cubicBezTo>
                          <a:pt x="74" y="1234"/>
                          <a:pt x="90" y="1243"/>
                          <a:pt x="116" y="1303"/>
                        </a:cubicBezTo>
                        <a:cubicBezTo>
                          <a:pt x="142" y="1362"/>
                          <a:pt x="107" y="1386"/>
                          <a:pt x="92" y="1421"/>
                        </a:cubicBezTo>
                        <a:cubicBezTo>
                          <a:pt x="77" y="1456"/>
                          <a:pt x="61" y="1492"/>
                          <a:pt x="64" y="1547"/>
                        </a:cubicBezTo>
                        <a:cubicBezTo>
                          <a:pt x="65" y="1571"/>
                          <a:pt x="67" y="1590"/>
                          <a:pt x="72" y="1606"/>
                        </a:cubicBezTo>
                        <a:cubicBezTo>
                          <a:pt x="94" y="1608"/>
                          <a:pt x="123" y="1609"/>
                          <a:pt x="142" y="160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4" name="Freeform 26">
                    <a:extLst>
                      <a:ext uri="{FF2B5EF4-FFF2-40B4-BE49-F238E27FC236}">
                        <a16:creationId xmlns:a16="http://schemas.microsoft.com/office/drawing/2014/main" id="{FF886235-9AE3-6B63-C22B-1885FA35A76A}"/>
                      </a:ext>
                    </a:extLst>
                  </p:cNvPr>
                  <p:cNvSpPr>
                    <a:spLocks/>
                  </p:cNvSpPr>
                  <p:nvPr/>
                </p:nvSpPr>
                <p:spPr bwMode="auto">
                  <a:xfrm>
                    <a:off x="3730" y="2139"/>
                    <a:ext cx="699" cy="563"/>
                  </a:xfrm>
                  <a:custGeom>
                    <a:avLst/>
                    <a:gdLst>
                      <a:gd name="T0" fmla="*/ 1378 w 1510"/>
                      <a:gd name="T1" fmla="*/ 1097 h 1217"/>
                      <a:gd name="T2" fmla="*/ 1389 w 1510"/>
                      <a:gd name="T3" fmla="*/ 986 h 1217"/>
                      <a:gd name="T4" fmla="*/ 1344 w 1510"/>
                      <a:gd name="T5" fmla="*/ 936 h 1217"/>
                      <a:gd name="T6" fmla="*/ 1241 w 1510"/>
                      <a:gd name="T7" fmla="*/ 927 h 1217"/>
                      <a:gd name="T8" fmla="*/ 1175 w 1510"/>
                      <a:gd name="T9" fmla="*/ 854 h 1217"/>
                      <a:gd name="T10" fmla="*/ 1156 w 1510"/>
                      <a:gd name="T11" fmla="*/ 808 h 1217"/>
                      <a:gd name="T12" fmla="*/ 1217 w 1510"/>
                      <a:gd name="T13" fmla="*/ 682 h 1217"/>
                      <a:gd name="T14" fmla="*/ 1256 w 1510"/>
                      <a:gd name="T15" fmla="*/ 610 h 1217"/>
                      <a:gd name="T16" fmla="*/ 1315 w 1510"/>
                      <a:gd name="T17" fmla="*/ 558 h 1217"/>
                      <a:gd name="T18" fmla="*/ 1424 w 1510"/>
                      <a:gd name="T19" fmla="*/ 615 h 1217"/>
                      <a:gd name="T20" fmla="*/ 1490 w 1510"/>
                      <a:gd name="T21" fmla="*/ 538 h 1217"/>
                      <a:gd name="T22" fmla="*/ 1424 w 1510"/>
                      <a:gd name="T23" fmla="*/ 465 h 1217"/>
                      <a:gd name="T24" fmla="*/ 1330 w 1510"/>
                      <a:gd name="T25" fmla="*/ 397 h 1217"/>
                      <a:gd name="T26" fmla="*/ 1182 w 1510"/>
                      <a:gd name="T27" fmla="*/ 397 h 1217"/>
                      <a:gd name="T28" fmla="*/ 1053 w 1510"/>
                      <a:gd name="T29" fmla="*/ 330 h 1217"/>
                      <a:gd name="T30" fmla="*/ 1090 w 1510"/>
                      <a:gd name="T31" fmla="*/ 239 h 1217"/>
                      <a:gd name="T32" fmla="*/ 1230 w 1510"/>
                      <a:gd name="T33" fmla="*/ 84 h 1217"/>
                      <a:gd name="T34" fmla="*/ 1114 w 1510"/>
                      <a:gd name="T35" fmla="*/ 102 h 1217"/>
                      <a:gd name="T36" fmla="*/ 1036 w 1510"/>
                      <a:gd name="T37" fmla="*/ 50 h 1217"/>
                      <a:gd name="T38" fmla="*/ 950 w 1510"/>
                      <a:gd name="T39" fmla="*/ 56 h 1217"/>
                      <a:gd name="T40" fmla="*/ 811 w 1510"/>
                      <a:gd name="T41" fmla="*/ 33 h 1217"/>
                      <a:gd name="T42" fmla="*/ 730 w 1510"/>
                      <a:gd name="T43" fmla="*/ 91 h 1217"/>
                      <a:gd name="T44" fmla="*/ 714 w 1510"/>
                      <a:gd name="T45" fmla="*/ 230 h 1217"/>
                      <a:gd name="T46" fmla="*/ 599 w 1510"/>
                      <a:gd name="T47" fmla="*/ 315 h 1217"/>
                      <a:gd name="T48" fmla="*/ 500 w 1510"/>
                      <a:gd name="T49" fmla="*/ 330 h 1217"/>
                      <a:gd name="T50" fmla="*/ 396 w 1510"/>
                      <a:gd name="T51" fmla="*/ 384 h 1217"/>
                      <a:gd name="T52" fmla="*/ 297 w 1510"/>
                      <a:gd name="T53" fmla="*/ 437 h 1217"/>
                      <a:gd name="T54" fmla="*/ 138 w 1510"/>
                      <a:gd name="T55" fmla="*/ 508 h 1217"/>
                      <a:gd name="T56" fmla="*/ 0 w 1510"/>
                      <a:gd name="T57" fmla="*/ 539 h 1217"/>
                      <a:gd name="T58" fmla="*/ 88 w 1510"/>
                      <a:gd name="T59" fmla="*/ 684 h 1217"/>
                      <a:gd name="T60" fmla="*/ 189 w 1510"/>
                      <a:gd name="T61" fmla="*/ 852 h 1217"/>
                      <a:gd name="T62" fmla="*/ 377 w 1510"/>
                      <a:gd name="T63" fmla="*/ 1009 h 1217"/>
                      <a:gd name="T64" fmla="*/ 542 w 1510"/>
                      <a:gd name="T65" fmla="*/ 1057 h 1217"/>
                      <a:gd name="T66" fmla="*/ 710 w 1510"/>
                      <a:gd name="T67" fmla="*/ 1024 h 1217"/>
                      <a:gd name="T68" fmla="*/ 805 w 1510"/>
                      <a:gd name="T69" fmla="*/ 1056 h 1217"/>
                      <a:gd name="T70" fmla="*/ 889 w 1510"/>
                      <a:gd name="T71" fmla="*/ 1047 h 1217"/>
                      <a:gd name="T72" fmla="*/ 927 w 1510"/>
                      <a:gd name="T73" fmla="*/ 1145 h 1217"/>
                      <a:gd name="T74" fmla="*/ 1030 w 1510"/>
                      <a:gd name="T75" fmla="*/ 1129 h 1217"/>
                      <a:gd name="T76" fmla="*/ 1171 w 1510"/>
                      <a:gd name="T77" fmla="*/ 1213 h 1217"/>
                      <a:gd name="T78" fmla="*/ 1253 w 1510"/>
                      <a:gd name="T79" fmla="*/ 1197 h 1217"/>
                      <a:gd name="T80" fmla="*/ 1293 w 1510"/>
                      <a:gd name="T81" fmla="*/ 1217 h 1217"/>
                      <a:gd name="T82" fmla="*/ 1320 w 1510"/>
                      <a:gd name="T83" fmla="*/ 1127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0" h="1217">
                        <a:moveTo>
                          <a:pt x="1320" y="1127"/>
                        </a:moveTo>
                        <a:cubicBezTo>
                          <a:pt x="1352" y="1118"/>
                          <a:pt x="1352" y="1105"/>
                          <a:pt x="1378" y="1097"/>
                        </a:cubicBezTo>
                        <a:cubicBezTo>
                          <a:pt x="1405" y="1090"/>
                          <a:pt x="1407" y="1092"/>
                          <a:pt x="1405" y="1062"/>
                        </a:cubicBezTo>
                        <a:cubicBezTo>
                          <a:pt x="1402" y="1032"/>
                          <a:pt x="1407" y="1012"/>
                          <a:pt x="1389" y="986"/>
                        </a:cubicBezTo>
                        <a:cubicBezTo>
                          <a:pt x="1372" y="960"/>
                          <a:pt x="1372" y="953"/>
                          <a:pt x="1372" y="942"/>
                        </a:cubicBezTo>
                        <a:cubicBezTo>
                          <a:pt x="1372" y="930"/>
                          <a:pt x="1376" y="892"/>
                          <a:pt x="1344" y="936"/>
                        </a:cubicBezTo>
                        <a:cubicBezTo>
                          <a:pt x="1311" y="980"/>
                          <a:pt x="1298" y="966"/>
                          <a:pt x="1285" y="955"/>
                        </a:cubicBezTo>
                        <a:cubicBezTo>
                          <a:pt x="1271" y="943"/>
                          <a:pt x="1261" y="921"/>
                          <a:pt x="1241" y="927"/>
                        </a:cubicBezTo>
                        <a:cubicBezTo>
                          <a:pt x="1221" y="932"/>
                          <a:pt x="1202" y="925"/>
                          <a:pt x="1202" y="905"/>
                        </a:cubicBezTo>
                        <a:cubicBezTo>
                          <a:pt x="1202" y="884"/>
                          <a:pt x="1212" y="860"/>
                          <a:pt x="1175" y="854"/>
                        </a:cubicBezTo>
                        <a:cubicBezTo>
                          <a:pt x="1138" y="849"/>
                          <a:pt x="1121" y="849"/>
                          <a:pt x="1119" y="823"/>
                        </a:cubicBezTo>
                        <a:cubicBezTo>
                          <a:pt x="1116" y="797"/>
                          <a:pt x="1132" y="806"/>
                          <a:pt x="1156" y="808"/>
                        </a:cubicBezTo>
                        <a:cubicBezTo>
                          <a:pt x="1180" y="810"/>
                          <a:pt x="1210" y="806"/>
                          <a:pt x="1215" y="775"/>
                        </a:cubicBezTo>
                        <a:cubicBezTo>
                          <a:pt x="1219" y="743"/>
                          <a:pt x="1182" y="684"/>
                          <a:pt x="1217" y="682"/>
                        </a:cubicBezTo>
                        <a:cubicBezTo>
                          <a:pt x="1252" y="680"/>
                          <a:pt x="1285" y="686"/>
                          <a:pt x="1267" y="662"/>
                        </a:cubicBezTo>
                        <a:cubicBezTo>
                          <a:pt x="1250" y="638"/>
                          <a:pt x="1271" y="630"/>
                          <a:pt x="1256" y="610"/>
                        </a:cubicBezTo>
                        <a:cubicBezTo>
                          <a:pt x="1241" y="589"/>
                          <a:pt x="1232" y="571"/>
                          <a:pt x="1252" y="565"/>
                        </a:cubicBezTo>
                        <a:cubicBezTo>
                          <a:pt x="1271" y="560"/>
                          <a:pt x="1291" y="536"/>
                          <a:pt x="1315" y="558"/>
                        </a:cubicBezTo>
                        <a:cubicBezTo>
                          <a:pt x="1339" y="580"/>
                          <a:pt x="1357" y="575"/>
                          <a:pt x="1361" y="593"/>
                        </a:cubicBezTo>
                        <a:cubicBezTo>
                          <a:pt x="1365" y="612"/>
                          <a:pt x="1411" y="625"/>
                          <a:pt x="1424" y="615"/>
                        </a:cubicBezTo>
                        <a:cubicBezTo>
                          <a:pt x="1437" y="606"/>
                          <a:pt x="1422" y="591"/>
                          <a:pt x="1453" y="580"/>
                        </a:cubicBezTo>
                        <a:cubicBezTo>
                          <a:pt x="1483" y="569"/>
                          <a:pt x="1510" y="558"/>
                          <a:pt x="1490" y="538"/>
                        </a:cubicBezTo>
                        <a:cubicBezTo>
                          <a:pt x="1470" y="517"/>
                          <a:pt x="1464" y="512"/>
                          <a:pt x="1464" y="495"/>
                        </a:cubicBezTo>
                        <a:cubicBezTo>
                          <a:pt x="1464" y="478"/>
                          <a:pt x="1457" y="465"/>
                          <a:pt x="1424" y="465"/>
                        </a:cubicBezTo>
                        <a:cubicBezTo>
                          <a:pt x="1392" y="465"/>
                          <a:pt x="1378" y="458"/>
                          <a:pt x="1368" y="443"/>
                        </a:cubicBezTo>
                        <a:cubicBezTo>
                          <a:pt x="1357" y="428"/>
                          <a:pt x="1363" y="393"/>
                          <a:pt x="1330" y="397"/>
                        </a:cubicBezTo>
                        <a:cubicBezTo>
                          <a:pt x="1298" y="400"/>
                          <a:pt x="1282" y="432"/>
                          <a:pt x="1243" y="423"/>
                        </a:cubicBezTo>
                        <a:cubicBezTo>
                          <a:pt x="1204" y="413"/>
                          <a:pt x="1191" y="412"/>
                          <a:pt x="1182" y="397"/>
                        </a:cubicBezTo>
                        <a:cubicBezTo>
                          <a:pt x="1173" y="382"/>
                          <a:pt x="1173" y="369"/>
                          <a:pt x="1136" y="356"/>
                        </a:cubicBezTo>
                        <a:cubicBezTo>
                          <a:pt x="1099" y="343"/>
                          <a:pt x="1079" y="345"/>
                          <a:pt x="1053" y="330"/>
                        </a:cubicBezTo>
                        <a:cubicBezTo>
                          <a:pt x="1027" y="315"/>
                          <a:pt x="1031" y="308"/>
                          <a:pt x="1046" y="284"/>
                        </a:cubicBezTo>
                        <a:cubicBezTo>
                          <a:pt x="1062" y="260"/>
                          <a:pt x="1057" y="258"/>
                          <a:pt x="1090" y="239"/>
                        </a:cubicBezTo>
                        <a:cubicBezTo>
                          <a:pt x="1123" y="221"/>
                          <a:pt x="1132" y="187"/>
                          <a:pt x="1154" y="167"/>
                        </a:cubicBezTo>
                        <a:cubicBezTo>
                          <a:pt x="1175" y="147"/>
                          <a:pt x="1206" y="98"/>
                          <a:pt x="1230" y="84"/>
                        </a:cubicBezTo>
                        <a:cubicBezTo>
                          <a:pt x="1254" y="69"/>
                          <a:pt x="1300" y="0"/>
                          <a:pt x="1202" y="80"/>
                        </a:cubicBezTo>
                        <a:cubicBezTo>
                          <a:pt x="1167" y="91"/>
                          <a:pt x="1101" y="156"/>
                          <a:pt x="1114" y="102"/>
                        </a:cubicBezTo>
                        <a:cubicBezTo>
                          <a:pt x="1127" y="48"/>
                          <a:pt x="1145" y="48"/>
                          <a:pt x="1110" y="48"/>
                        </a:cubicBezTo>
                        <a:cubicBezTo>
                          <a:pt x="1075" y="48"/>
                          <a:pt x="1075" y="4"/>
                          <a:pt x="1036" y="50"/>
                        </a:cubicBezTo>
                        <a:cubicBezTo>
                          <a:pt x="1027" y="69"/>
                          <a:pt x="1016" y="72"/>
                          <a:pt x="994" y="63"/>
                        </a:cubicBezTo>
                        <a:cubicBezTo>
                          <a:pt x="972" y="54"/>
                          <a:pt x="977" y="50"/>
                          <a:pt x="950" y="56"/>
                        </a:cubicBezTo>
                        <a:cubicBezTo>
                          <a:pt x="924" y="61"/>
                          <a:pt x="920" y="59"/>
                          <a:pt x="887" y="54"/>
                        </a:cubicBezTo>
                        <a:cubicBezTo>
                          <a:pt x="854" y="48"/>
                          <a:pt x="835" y="37"/>
                          <a:pt x="811" y="33"/>
                        </a:cubicBezTo>
                        <a:cubicBezTo>
                          <a:pt x="794" y="31"/>
                          <a:pt x="760" y="23"/>
                          <a:pt x="727" y="29"/>
                        </a:cubicBezTo>
                        <a:cubicBezTo>
                          <a:pt x="741" y="50"/>
                          <a:pt x="717" y="68"/>
                          <a:pt x="730" y="91"/>
                        </a:cubicBezTo>
                        <a:cubicBezTo>
                          <a:pt x="745" y="119"/>
                          <a:pt x="710" y="160"/>
                          <a:pt x="723" y="169"/>
                        </a:cubicBezTo>
                        <a:cubicBezTo>
                          <a:pt x="736" y="178"/>
                          <a:pt x="732" y="206"/>
                          <a:pt x="714" y="230"/>
                        </a:cubicBezTo>
                        <a:cubicBezTo>
                          <a:pt x="697" y="254"/>
                          <a:pt x="680" y="280"/>
                          <a:pt x="645" y="282"/>
                        </a:cubicBezTo>
                        <a:cubicBezTo>
                          <a:pt x="610" y="284"/>
                          <a:pt x="612" y="299"/>
                          <a:pt x="599" y="315"/>
                        </a:cubicBezTo>
                        <a:cubicBezTo>
                          <a:pt x="586" y="332"/>
                          <a:pt x="562" y="326"/>
                          <a:pt x="551" y="313"/>
                        </a:cubicBezTo>
                        <a:cubicBezTo>
                          <a:pt x="540" y="300"/>
                          <a:pt x="520" y="323"/>
                          <a:pt x="500" y="330"/>
                        </a:cubicBezTo>
                        <a:cubicBezTo>
                          <a:pt x="481" y="337"/>
                          <a:pt x="457" y="345"/>
                          <a:pt x="422" y="343"/>
                        </a:cubicBezTo>
                        <a:cubicBezTo>
                          <a:pt x="387" y="341"/>
                          <a:pt x="400" y="365"/>
                          <a:pt x="396" y="384"/>
                        </a:cubicBezTo>
                        <a:cubicBezTo>
                          <a:pt x="391" y="402"/>
                          <a:pt x="367" y="393"/>
                          <a:pt x="341" y="393"/>
                        </a:cubicBezTo>
                        <a:cubicBezTo>
                          <a:pt x="315" y="393"/>
                          <a:pt x="308" y="423"/>
                          <a:pt x="297" y="437"/>
                        </a:cubicBezTo>
                        <a:cubicBezTo>
                          <a:pt x="286" y="452"/>
                          <a:pt x="275" y="463"/>
                          <a:pt x="234" y="460"/>
                        </a:cubicBezTo>
                        <a:cubicBezTo>
                          <a:pt x="193" y="456"/>
                          <a:pt x="171" y="486"/>
                          <a:pt x="138" y="508"/>
                        </a:cubicBezTo>
                        <a:cubicBezTo>
                          <a:pt x="105" y="530"/>
                          <a:pt x="103" y="536"/>
                          <a:pt x="70" y="539"/>
                        </a:cubicBezTo>
                        <a:cubicBezTo>
                          <a:pt x="51" y="542"/>
                          <a:pt x="22" y="541"/>
                          <a:pt x="0" y="539"/>
                        </a:cubicBezTo>
                        <a:cubicBezTo>
                          <a:pt x="6" y="561"/>
                          <a:pt x="16" y="577"/>
                          <a:pt x="31" y="593"/>
                        </a:cubicBezTo>
                        <a:cubicBezTo>
                          <a:pt x="57" y="621"/>
                          <a:pt x="72" y="639"/>
                          <a:pt x="88" y="684"/>
                        </a:cubicBezTo>
                        <a:cubicBezTo>
                          <a:pt x="103" y="728"/>
                          <a:pt x="177" y="778"/>
                          <a:pt x="195" y="806"/>
                        </a:cubicBezTo>
                        <a:cubicBezTo>
                          <a:pt x="207" y="825"/>
                          <a:pt x="201" y="839"/>
                          <a:pt x="189" y="852"/>
                        </a:cubicBezTo>
                        <a:cubicBezTo>
                          <a:pt x="228" y="879"/>
                          <a:pt x="269" y="936"/>
                          <a:pt x="284" y="955"/>
                        </a:cubicBezTo>
                        <a:cubicBezTo>
                          <a:pt x="302" y="979"/>
                          <a:pt x="354" y="1007"/>
                          <a:pt x="377" y="1009"/>
                        </a:cubicBezTo>
                        <a:cubicBezTo>
                          <a:pt x="400" y="1011"/>
                          <a:pt x="403" y="1023"/>
                          <a:pt x="452" y="1039"/>
                        </a:cubicBezTo>
                        <a:cubicBezTo>
                          <a:pt x="502" y="1055"/>
                          <a:pt x="505" y="1053"/>
                          <a:pt x="542" y="1057"/>
                        </a:cubicBezTo>
                        <a:cubicBezTo>
                          <a:pt x="579" y="1062"/>
                          <a:pt x="626" y="1055"/>
                          <a:pt x="650" y="1044"/>
                        </a:cubicBezTo>
                        <a:cubicBezTo>
                          <a:pt x="674" y="1034"/>
                          <a:pt x="685" y="1027"/>
                          <a:pt x="710" y="1024"/>
                        </a:cubicBezTo>
                        <a:cubicBezTo>
                          <a:pt x="735" y="1021"/>
                          <a:pt x="747" y="1025"/>
                          <a:pt x="760" y="1033"/>
                        </a:cubicBezTo>
                        <a:cubicBezTo>
                          <a:pt x="773" y="1042"/>
                          <a:pt x="773" y="1062"/>
                          <a:pt x="805" y="1056"/>
                        </a:cubicBezTo>
                        <a:cubicBezTo>
                          <a:pt x="837" y="1049"/>
                          <a:pt x="834" y="1018"/>
                          <a:pt x="853" y="1008"/>
                        </a:cubicBezTo>
                        <a:cubicBezTo>
                          <a:pt x="873" y="998"/>
                          <a:pt x="885" y="1031"/>
                          <a:pt x="889" y="1047"/>
                        </a:cubicBezTo>
                        <a:cubicBezTo>
                          <a:pt x="894" y="1064"/>
                          <a:pt x="888" y="1072"/>
                          <a:pt x="885" y="1094"/>
                        </a:cubicBezTo>
                        <a:cubicBezTo>
                          <a:pt x="882" y="1115"/>
                          <a:pt x="910" y="1131"/>
                          <a:pt x="927" y="1145"/>
                        </a:cubicBezTo>
                        <a:cubicBezTo>
                          <a:pt x="945" y="1160"/>
                          <a:pt x="959" y="1159"/>
                          <a:pt x="983" y="1148"/>
                        </a:cubicBezTo>
                        <a:cubicBezTo>
                          <a:pt x="1007" y="1137"/>
                          <a:pt x="1004" y="1124"/>
                          <a:pt x="1030" y="1129"/>
                        </a:cubicBezTo>
                        <a:cubicBezTo>
                          <a:pt x="1056" y="1133"/>
                          <a:pt x="1092" y="1184"/>
                          <a:pt x="1107" y="1197"/>
                        </a:cubicBezTo>
                        <a:cubicBezTo>
                          <a:pt x="1121" y="1210"/>
                          <a:pt x="1154" y="1215"/>
                          <a:pt x="1171" y="1213"/>
                        </a:cubicBezTo>
                        <a:cubicBezTo>
                          <a:pt x="1188" y="1211"/>
                          <a:pt x="1200" y="1212"/>
                          <a:pt x="1218" y="1190"/>
                        </a:cubicBezTo>
                        <a:cubicBezTo>
                          <a:pt x="1235" y="1168"/>
                          <a:pt x="1246" y="1189"/>
                          <a:pt x="1253" y="1197"/>
                        </a:cubicBezTo>
                        <a:cubicBezTo>
                          <a:pt x="1259" y="1206"/>
                          <a:pt x="1266" y="1214"/>
                          <a:pt x="1280" y="1212"/>
                        </a:cubicBezTo>
                        <a:cubicBezTo>
                          <a:pt x="1284" y="1212"/>
                          <a:pt x="1289" y="1213"/>
                          <a:pt x="1293" y="1217"/>
                        </a:cubicBezTo>
                        <a:cubicBezTo>
                          <a:pt x="1297" y="1206"/>
                          <a:pt x="1301" y="1191"/>
                          <a:pt x="1302" y="1177"/>
                        </a:cubicBezTo>
                        <a:cubicBezTo>
                          <a:pt x="1304" y="1147"/>
                          <a:pt x="1287" y="1136"/>
                          <a:pt x="1320" y="1127"/>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5" name="Freeform 27">
                    <a:extLst>
                      <a:ext uri="{FF2B5EF4-FFF2-40B4-BE49-F238E27FC236}">
                        <a16:creationId xmlns:a16="http://schemas.microsoft.com/office/drawing/2014/main" id="{F469BC17-2E46-5F8E-F40F-4217055D579F}"/>
                      </a:ext>
                    </a:extLst>
                  </p:cNvPr>
                  <p:cNvSpPr>
                    <a:spLocks/>
                  </p:cNvSpPr>
                  <p:nvPr/>
                </p:nvSpPr>
                <p:spPr bwMode="auto">
                  <a:xfrm>
                    <a:off x="4247" y="2313"/>
                    <a:ext cx="563" cy="589"/>
                  </a:xfrm>
                  <a:custGeom>
                    <a:avLst/>
                    <a:gdLst>
                      <a:gd name="T0" fmla="*/ 240 w 1217"/>
                      <a:gd name="T1" fmla="*/ 33 h 1271"/>
                      <a:gd name="T2" fmla="*/ 308 w 1217"/>
                      <a:gd name="T3" fmla="*/ 88 h 1271"/>
                      <a:gd name="T4" fmla="*/ 374 w 1217"/>
                      <a:gd name="T5" fmla="*/ 161 h 1271"/>
                      <a:gd name="T6" fmla="*/ 308 w 1217"/>
                      <a:gd name="T7" fmla="*/ 238 h 1271"/>
                      <a:gd name="T8" fmla="*/ 199 w 1217"/>
                      <a:gd name="T9" fmla="*/ 181 h 1271"/>
                      <a:gd name="T10" fmla="*/ 140 w 1217"/>
                      <a:gd name="T11" fmla="*/ 233 h 1271"/>
                      <a:gd name="T12" fmla="*/ 101 w 1217"/>
                      <a:gd name="T13" fmla="*/ 305 h 1271"/>
                      <a:gd name="T14" fmla="*/ 40 w 1217"/>
                      <a:gd name="T15" fmla="*/ 431 h 1271"/>
                      <a:gd name="T16" fmla="*/ 59 w 1217"/>
                      <a:gd name="T17" fmla="*/ 477 h 1271"/>
                      <a:gd name="T18" fmla="*/ 125 w 1217"/>
                      <a:gd name="T19" fmla="*/ 550 h 1271"/>
                      <a:gd name="T20" fmla="*/ 228 w 1217"/>
                      <a:gd name="T21" fmla="*/ 559 h 1271"/>
                      <a:gd name="T22" fmla="*/ 273 w 1217"/>
                      <a:gd name="T23" fmla="*/ 609 h 1271"/>
                      <a:gd name="T24" fmla="*/ 262 w 1217"/>
                      <a:gd name="T25" fmla="*/ 720 h 1271"/>
                      <a:gd name="T26" fmla="*/ 186 w 1217"/>
                      <a:gd name="T27" fmla="*/ 800 h 1271"/>
                      <a:gd name="T28" fmla="*/ 207 w 1217"/>
                      <a:gd name="T29" fmla="*/ 873 h 1271"/>
                      <a:gd name="T30" fmla="*/ 280 w 1217"/>
                      <a:gd name="T31" fmla="*/ 883 h 1271"/>
                      <a:gd name="T32" fmla="*/ 321 w 1217"/>
                      <a:gd name="T33" fmla="*/ 965 h 1271"/>
                      <a:gd name="T34" fmla="*/ 389 w 1217"/>
                      <a:gd name="T35" fmla="*/ 1135 h 1271"/>
                      <a:gd name="T36" fmla="*/ 494 w 1217"/>
                      <a:gd name="T37" fmla="*/ 1189 h 1271"/>
                      <a:gd name="T38" fmla="*/ 597 w 1217"/>
                      <a:gd name="T39" fmla="*/ 1161 h 1271"/>
                      <a:gd name="T40" fmla="*/ 568 w 1217"/>
                      <a:gd name="T41" fmla="*/ 1247 h 1271"/>
                      <a:gd name="T42" fmla="*/ 688 w 1217"/>
                      <a:gd name="T43" fmla="*/ 1165 h 1271"/>
                      <a:gd name="T44" fmla="*/ 878 w 1217"/>
                      <a:gd name="T45" fmla="*/ 1209 h 1271"/>
                      <a:gd name="T46" fmla="*/ 942 w 1217"/>
                      <a:gd name="T47" fmla="*/ 1241 h 1271"/>
                      <a:gd name="T48" fmla="*/ 1009 w 1217"/>
                      <a:gd name="T49" fmla="*/ 1181 h 1271"/>
                      <a:gd name="T50" fmla="*/ 1070 w 1217"/>
                      <a:gd name="T51" fmla="*/ 1079 h 1271"/>
                      <a:gd name="T52" fmla="*/ 1065 w 1217"/>
                      <a:gd name="T53" fmla="*/ 992 h 1271"/>
                      <a:gd name="T54" fmla="*/ 1175 w 1217"/>
                      <a:gd name="T55" fmla="*/ 947 h 1271"/>
                      <a:gd name="T56" fmla="*/ 1199 w 1217"/>
                      <a:gd name="T57" fmla="*/ 803 h 1271"/>
                      <a:gd name="T58" fmla="*/ 1081 w 1217"/>
                      <a:gd name="T59" fmla="*/ 744 h 1271"/>
                      <a:gd name="T60" fmla="*/ 991 w 1217"/>
                      <a:gd name="T61" fmla="*/ 717 h 1271"/>
                      <a:gd name="T62" fmla="*/ 906 w 1217"/>
                      <a:gd name="T63" fmla="*/ 643 h 1271"/>
                      <a:gd name="T64" fmla="*/ 872 w 1217"/>
                      <a:gd name="T65" fmla="*/ 562 h 1271"/>
                      <a:gd name="T66" fmla="*/ 888 w 1217"/>
                      <a:gd name="T67" fmla="*/ 455 h 1271"/>
                      <a:gd name="T68" fmla="*/ 1011 w 1217"/>
                      <a:gd name="T69" fmla="*/ 444 h 1271"/>
                      <a:gd name="T70" fmla="*/ 955 w 1217"/>
                      <a:gd name="T71" fmla="*/ 338 h 1271"/>
                      <a:gd name="T72" fmla="*/ 898 w 1217"/>
                      <a:gd name="T73" fmla="*/ 402 h 1271"/>
                      <a:gd name="T74" fmla="*/ 767 w 1217"/>
                      <a:gd name="T75" fmla="*/ 315 h 1271"/>
                      <a:gd name="T76" fmla="*/ 726 w 1217"/>
                      <a:gd name="T77" fmla="*/ 243 h 1271"/>
                      <a:gd name="T78" fmla="*/ 682 w 1217"/>
                      <a:gd name="T79" fmla="*/ 180 h 1271"/>
                      <a:gd name="T80" fmla="*/ 605 w 1217"/>
                      <a:gd name="T81" fmla="*/ 138 h 1271"/>
                      <a:gd name="T82" fmla="*/ 498 w 1217"/>
                      <a:gd name="T83" fmla="*/ 98 h 1271"/>
                      <a:gd name="T84" fmla="*/ 420 w 1217"/>
                      <a:gd name="T85" fmla="*/ 72 h 1271"/>
                      <a:gd name="T86" fmla="*/ 289 w 1217"/>
                      <a:gd name="T87" fmla="*/ 5 h 1271"/>
                      <a:gd name="T88" fmla="*/ 256 w 1217"/>
                      <a:gd name="T89" fmla="*/ 2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7" h="1271">
                        <a:moveTo>
                          <a:pt x="256" y="26"/>
                        </a:moveTo>
                        <a:cubicBezTo>
                          <a:pt x="252" y="28"/>
                          <a:pt x="246" y="31"/>
                          <a:pt x="240" y="33"/>
                        </a:cubicBezTo>
                        <a:cubicBezTo>
                          <a:pt x="245" y="44"/>
                          <a:pt x="246" y="58"/>
                          <a:pt x="252" y="66"/>
                        </a:cubicBezTo>
                        <a:cubicBezTo>
                          <a:pt x="262" y="81"/>
                          <a:pt x="276" y="88"/>
                          <a:pt x="308" y="88"/>
                        </a:cubicBezTo>
                        <a:cubicBezTo>
                          <a:pt x="341" y="88"/>
                          <a:pt x="348" y="101"/>
                          <a:pt x="348" y="118"/>
                        </a:cubicBezTo>
                        <a:cubicBezTo>
                          <a:pt x="348" y="135"/>
                          <a:pt x="354" y="140"/>
                          <a:pt x="374" y="161"/>
                        </a:cubicBezTo>
                        <a:cubicBezTo>
                          <a:pt x="394" y="181"/>
                          <a:pt x="367" y="192"/>
                          <a:pt x="337" y="203"/>
                        </a:cubicBezTo>
                        <a:cubicBezTo>
                          <a:pt x="306" y="214"/>
                          <a:pt x="321" y="229"/>
                          <a:pt x="308" y="238"/>
                        </a:cubicBezTo>
                        <a:cubicBezTo>
                          <a:pt x="295" y="248"/>
                          <a:pt x="249" y="235"/>
                          <a:pt x="245" y="216"/>
                        </a:cubicBezTo>
                        <a:cubicBezTo>
                          <a:pt x="241" y="198"/>
                          <a:pt x="223" y="203"/>
                          <a:pt x="199" y="181"/>
                        </a:cubicBezTo>
                        <a:cubicBezTo>
                          <a:pt x="175" y="159"/>
                          <a:pt x="155" y="183"/>
                          <a:pt x="136" y="188"/>
                        </a:cubicBezTo>
                        <a:cubicBezTo>
                          <a:pt x="116" y="194"/>
                          <a:pt x="125" y="212"/>
                          <a:pt x="140" y="233"/>
                        </a:cubicBezTo>
                        <a:cubicBezTo>
                          <a:pt x="155" y="253"/>
                          <a:pt x="134" y="261"/>
                          <a:pt x="151" y="285"/>
                        </a:cubicBezTo>
                        <a:cubicBezTo>
                          <a:pt x="169" y="309"/>
                          <a:pt x="136" y="303"/>
                          <a:pt x="101" y="305"/>
                        </a:cubicBezTo>
                        <a:cubicBezTo>
                          <a:pt x="66" y="307"/>
                          <a:pt x="103" y="366"/>
                          <a:pt x="99" y="398"/>
                        </a:cubicBezTo>
                        <a:cubicBezTo>
                          <a:pt x="94" y="429"/>
                          <a:pt x="64" y="433"/>
                          <a:pt x="40" y="431"/>
                        </a:cubicBezTo>
                        <a:cubicBezTo>
                          <a:pt x="16" y="429"/>
                          <a:pt x="0" y="420"/>
                          <a:pt x="3" y="446"/>
                        </a:cubicBezTo>
                        <a:cubicBezTo>
                          <a:pt x="5" y="472"/>
                          <a:pt x="22" y="472"/>
                          <a:pt x="59" y="477"/>
                        </a:cubicBezTo>
                        <a:cubicBezTo>
                          <a:pt x="96" y="483"/>
                          <a:pt x="86" y="507"/>
                          <a:pt x="86" y="528"/>
                        </a:cubicBezTo>
                        <a:cubicBezTo>
                          <a:pt x="86" y="548"/>
                          <a:pt x="105" y="555"/>
                          <a:pt x="125" y="550"/>
                        </a:cubicBezTo>
                        <a:cubicBezTo>
                          <a:pt x="145" y="544"/>
                          <a:pt x="155" y="566"/>
                          <a:pt x="169" y="578"/>
                        </a:cubicBezTo>
                        <a:cubicBezTo>
                          <a:pt x="182" y="589"/>
                          <a:pt x="195" y="603"/>
                          <a:pt x="228" y="559"/>
                        </a:cubicBezTo>
                        <a:cubicBezTo>
                          <a:pt x="260" y="515"/>
                          <a:pt x="256" y="553"/>
                          <a:pt x="256" y="565"/>
                        </a:cubicBezTo>
                        <a:cubicBezTo>
                          <a:pt x="256" y="576"/>
                          <a:pt x="256" y="583"/>
                          <a:pt x="273" y="609"/>
                        </a:cubicBezTo>
                        <a:cubicBezTo>
                          <a:pt x="291" y="635"/>
                          <a:pt x="286" y="655"/>
                          <a:pt x="289" y="685"/>
                        </a:cubicBezTo>
                        <a:cubicBezTo>
                          <a:pt x="291" y="715"/>
                          <a:pt x="289" y="713"/>
                          <a:pt x="262" y="720"/>
                        </a:cubicBezTo>
                        <a:cubicBezTo>
                          <a:pt x="236" y="728"/>
                          <a:pt x="236" y="741"/>
                          <a:pt x="204" y="750"/>
                        </a:cubicBezTo>
                        <a:cubicBezTo>
                          <a:pt x="171" y="759"/>
                          <a:pt x="188" y="770"/>
                          <a:pt x="186" y="800"/>
                        </a:cubicBezTo>
                        <a:cubicBezTo>
                          <a:pt x="185" y="814"/>
                          <a:pt x="181" y="829"/>
                          <a:pt x="177" y="840"/>
                        </a:cubicBezTo>
                        <a:cubicBezTo>
                          <a:pt x="187" y="847"/>
                          <a:pt x="196" y="861"/>
                          <a:pt x="207" y="873"/>
                        </a:cubicBezTo>
                        <a:cubicBezTo>
                          <a:pt x="222" y="890"/>
                          <a:pt x="230" y="883"/>
                          <a:pt x="246" y="877"/>
                        </a:cubicBezTo>
                        <a:cubicBezTo>
                          <a:pt x="262" y="870"/>
                          <a:pt x="254" y="871"/>
                          <a:pt x="280" y="883"/>
                        </a:cubicBezTo>
                        <a:cubicBezTo>
                          <a:pt x="306" y="895"/>
                          <a:pt x="293" y="883"/>
                          <a:pt x="328" y="906"/>
                        </a:cubicBezTo>
                        <a:cubicBezTo>
                          <a:pt x="363" y="928"/>
                          <a:pt x="345" y="943"/>
                          <a:pt x="321" y="965"/>
                        </a:cubicBezTo>
                        <a:cubicBezTo>
                          <a:pt x="297" y="987"/>
                          <a:pt x="343" y="1006"/>
                          <a:pt x="339" y="1050"/>
                        </a:cubicBezTo>
                        <a:cubicBezTo>
                          <a:pt x="335" y="1095"/>
                          <a:pt x="367" y="1106"/>
                          <a:pt x="389" y="1135"/>
                        </a:cubicBezTo>
                        <a:cubicBezTo>
                          <a:pt x="411" y="1165"/>
                          <a:pt x="404" y="1184"/>
                          <a:pt x="424" y="1206"/>
                        </a:cubicBezTo>
                        <a:cubicBezTo>
                          <a:pt x="444" y="1228"/>
                          <a:pt x="470" y="1200"/>
                          <a:pt x="494" y="1189"/>
                        </a:cubicBezTo>
                        <a:cubicBezTo>
                          <a:pt x="518" y="1178"/>
                          <a:pt x="529" y="1150"/>
                          <a:pt x="546" y="1134"/>
                        </a:cubicBezTo>
                        <a:cubicBezTo>
                          <a:pt x="564" y="1117"/>
                          <a:pt x="586" y="1143"/>
                          <a:pt x="597" y="1161"/>
                        </a:cubicBezTo>
                        <a:cubicBezTo>
                          <a:pt x="608" y="1180"/>
                          <a:pt x="588" y="1195"/>
                          <a:pt x="573" y="1206"/>
                        </a:cubicBezTo>
                        <a:cubicBezTo>
                          <a:pt x="557" y="1217"/>
                          <a:pt x="542" y="1222"/>
                          <a:pt x="568" y="1247"/>
                        </a:cubicBezTo>
                        <a:cubicBezTo>
                          <a:pt x="594" y="1271"/>
                          <a:pt x="612" y="1241"/>
                          <a:pt x="634" y="1219"/>
                        </a:cubicBezTo>
                        <a:cubicBezTo>
                          <a:pt x="656" y="1197"/>
                          <a:pt x="649" y="1193"/>
                          <a:pt x="688" y="1165"/>
                        </a:cubicBezTo>
                        <a:cubicBezTo>
                          <a:pt x="728" y="1137"/>
                          <a:pt x="739" y="1193"/>
                          <a:pt x="769" y="1211"/>
                        </a:cubicBezTo>
                        <a:cubicBezTo>
                          <a:pt x="800" y="1230"/>
                          <a:pt x="848" y="1217"/>
                          <a:pt x="878" y="1209"/>
                        </a:cubicBezTo>
                        <a:cubicBezTo>
                          <a:pt x="909" y="1202"/>
                          <a:pt x="905" y="1219"/>
                          <a:pt x="935" y="1235"/>
                        </a:cubicBezTo>
                        <a:cubicBezTo>
                          <a:pt x="939" y="1237"/>
                          <a:pt x="941" y="1239"/>
                          <a:pt x="942" y="1241"/>
                        </a:cubicBezTo>
                        <a:cubicBezTo>
                          <a:pt x="956" y="1238"/>
                          <a:pt x="969" y="1232"/>
                          <a:pt x="973" y="1222"/>
                        </a:cubicBezTo>
                        <a:cubicBezTo>
                          <a:pt x="983" y="1200"/>
                          <a:pt x="995" y="1192"/>
                          <a:pt x="1009" y="1181"/>
                        </a:cubicBezTo>
                        <a:cubicBezTo>
                          <a:pt x="1024" y="1170"/>
                          <a:pt x="1049" y="1159"/>
                          <a:pt x="1052" y="1136"/>
                        </a:cubicBezTo>
                        <a:cubicBezTo>
                          <a:pt x="1055" y="1114"/>
                          <a:pt x="1057" y="1093"/>
                          <a:pt x="1070" y="1079"/>
                        </a:cubicBezTo>
                        <a:cubicBezTo>
                          <a:pt x="1083" y="1065"/>
                          <a:pt x="1096" y="1056"/>
                          <a:pt x="1083" y="1040"/>
                        </a:cubicBezTo>
                        <a:cubicBezTo>
                          <a:pt x="1070" y="1025"/>
                          <a:pt x="1029" y="1000"/>
                          <a:pt x="1065" y="992"/>
                        </a:cubicBezTo>
                        <a:cubicBezTo>
                          <a:pt x="1101" y="983"/>
                          <a:pt x="1113" y="982"/>
                          <a:pt x="1132" y="975"/>
                        </a:cubicBezTo>
                        <a:cubicBezTo>
                          <a:pt x="1152" y="968"/>
                          <a:pt x="1190" y="967"/>
                          <a:pt x="1175" y="947"/>
                        </a:cubicBezTo>
                        <a:cubicBezTo>
                          <a:pt x="1160" y="928"/>
                          <a:pt x="1132" y="915"/>
                          <a:pt x="1157" y="894"/>
                        </a:cubicBezTo>
                        <a:cubicBezTo>
                          <a:pt x="1181" y="874"/>
                          <a:pt x="1217" y="833"/>
                          <a:pt x="1199" y="803"/>
                        </a:cubicBezTo>
                        <a:cubicBezTo>
                          <a:pt x="1181" y="772"/>
                          <a:pt x="1190" y="760"/>
                          <a:pt x="1162" y="758"/>
                        </a:cubicBezTo>
                        <a:cubicBezTo>
                          <a:pt x="1134" y="757"/>
                          <a:pt x="1118" y="715"/>
                          <a:pt x="1081" y="744"/>
                        </a:cubicBezTo>
                        <a:cubicBezTo>
                          <a:pt x="1045" y="774"/>
                          <a:pt x="1011" y="776"/>
                          <a:pt x="998" y="764"/>
                        </a:cubicBezTo>
                        <a:cubicBezTo>
                          <a:pt x="985" y="751"/>
                          <a:pt x="986" y="742"/>
                          <a:pt x="991" y="717"/>
                        </a:cubicBezTo>
                        <a:cubicBezTo>
                          <a:pt x="996" y="692"/>
                          <a:pt x="1011" y="683"/>
                          <a:pt x="978" y="671"/>
                        </a:cubicBezTo>
                        <a:cubicBezTo>
                          <a:pt x="946" y="658"/>
                          <a:pt x="926" y="661"/>
                          <a:pt x="906" y="643"/>
                        </a:cubicBezTo>
                        <a:cubicBezTo>
                          <a:pt x="887" y="625"/>
                          <a:pt x="872" y="628"/>
                          <a:pt x="869" y="608"/>
                        </a:cubicBezTo>
                        <a:cubicBezTo>
                          <a:pt x="865" y="589"/>
                          <a:pt x="842" y="579"/>
                          <a:pt x="872" y="562"/>
                        </a:cubicBezTo>
                        <a:cubicBezTo>
                          <a:pt x="901" y="546"/>
                          <a:pt x="919" y="536"/>
                          <a:pt x="919" y="508"/>
                        </a:cubicBezTo>
                        <a:cubicBezTo>
                          <a:pt x="919" y="480"/>
                          <a:pt x="891" y="466"/>
                          <a:pt x="888" y="455"/>
                        </a:cubicBezTo>
                        <a:cubicBezTo>
                          <a:pt x="885" y="444"/>
                          <a:pt x="916" y="411"/>
                          <a:pt x="942" y="429"/>
                        </a:cubicBezTo>
                        <a:cubicBezTo>
                          <a:pt x="968" y="447"/>
                          <a:pt x="991" y="455"/>
                          <a:pt x="1011" y="444"/>
                        </a:cubicBezTo>
                        <a:cubicBezTo>
                          <a:pt x="1031" y="433"/>
                          <a:pt x="1027" y="415"/>
                          <a:pt x="1013" y="389"/>
                        </a:cubicBezTo>
                        <a:cubicBezTo>
                          <a:pt x="998" y="362"/>
                          <a:pt x="980" y="338"/>
                          <a:pt x="955" y="338"/>
                        </a:cubicBezTo>
                        <a:cubicBezTo>
                          <a:pt x="931" y="338"/>
                          <a:pt x="911" y="344"/>
                          <a:pt x="913" y="366"/>
                        </a:cubicBezTo>
                        <a:cubicBezTo>
                          <a:pt x="914" y="389"/>
                          <a:pt x="918" y="400"/>
                          <a:pt x="898" y="402"/>
                        </a:cubicBezTo>
                        <a:cubicBezTo>
                          <a:pt x="878" y="405"/>
                          <a:pt x="833" y="425"/>
                          <a:pt x="810" y="402"/>
                        </a:cubicBezTo>
                        <a:cubicBezTo>
                          <a:pt x="787" y="380"/>
                          <a:pt x="790" y="315"/>
                          <a:pt x="767" y="315"/>
                        </a:cubicBezTo>
                        <a:cubicBezTo>
                          <a:pt x="744" y="315"/>
                          <a:pt x="701" y="315"/>
                          <a:pt x="705" y="297"/>
                        </a:cubicBezTo>
                        <a:cubicBezTo>
                          <a:pt x="708" y="279"/>
                          <a:pt x="700" y="259"/>
                          <a:pt x="726" y="243"/>
                        </a:cubicBezTo>
                        <a:cubicBezTo>
                          <a:pt x="752" y="226"/>
                          <a:pt x="749" y="208"/>
                          <a:pt x="731" y="191"/>
                        </a:cubicBezTo>
                        <a:cubicBezTo>
                          <a:pt x="713" y="174"/>
                          <a:pt x="695" y="162"/>
                          <a:pt x="682" y="180"/>
                        </a:cubicBezTo>
                        <a:cubicBezTo>
                          <a:pt x="669" y="198"/>
                          <a:pt x="657" y="208"/>
                          <a:pt x="644" y="187"/>
                        </a:cubicBezTo>
                        <a:cubicBezTo>
                          <a:pt x="631" y="166"/>
                          <a:pt x="624" y="154"/>
                          <a:pt x="605" y="138"/>
                        </a:cubicBezTo>
                        <a:cubicBezTo>
                          <a:pt x="585" y="123"/>
                          <a:pt x="585" y="116"/>
                          <a:pt x="541" y="117"/>
                        </a:cubicBezTo>
                        <a:cubicBezTo>
                          <a:pt x="497" y="119"/>
                          <a:pt x="503" y="111"/>
                          <a:pt x="498" y="98"/>
                        </a:cubicBezTo>
                        <a:cubicBezTo>
                          <a:pt x="493" y="86"/>
                          <a:pt x="492" y="80"/>
                          <a:pt x="474" y="81"/>
                        </a:cubicBezTo>
                        <a:cubicBezTo>
                          <a:pt x="456" y="83"/>
                          <a:pt x="436" y="90"/>
                          <a:pt x="420" y="72"/>
                        </a:cubicBezTo>
                        <a:cubicBezTo>
                          <a:pt x="403" y="54"/>
                          <a:pt x="371" y="47"/>
                          <a:pt x="346" y="34"/>
                        </a:cubicBezTo>
                        <a:cubicBezTo>
                          <a:pt x="321" y="22"/>
                          <a:pt x="292" y="19"/>
                          <a:pt x="289" y="5"/>
                        </a:cubicBezTo>
                        <a:cubicBezTo>
                          <a:pt x="288" y="4"/>
                          <a:pt x="288" y="2"/>
                          <a:pt x="288" y="0"/>
                        </a:cubicBezTo>
                        <a:cubicBezTo>
                          <a:pt x="273" y="7"/>
                          <a:pt x="264" y="22"/>
                          <a:pt x="256" y="2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6" name="Freeform 28">
                    <a:extLst>
                      <a:ext uri="{FF2B5EF4-FFF2-40B4-BE49-F238E27FC236}">
                        <a16:creationId xmlns:a16="http://schemas.microsoft.com/office/drawing/2014/main" id="{E166B724-FC3F-FCEF-7EFF-7F94F06EF3B8}"/>
                      </a:ext>
                    </a:extLst>
                  </p:cNvPr>
                  <p:cNvSpPr>
                    <a:spLocks/>
                  </p:cNvSpPr>
                  <p:nvPr/>
                </p:nvSpPr>
                <p:spPr bwMode="auto">
                  <a:xfrm>
                    <a:off x="4378" y="2218"/>
                    <a:ext cx="671" cy="469"/>
                  </a:xfrm>
                  <a:custGeom>
                    <a:avLst/>
                    <a:gdLst>
                      <a:gd name="T0" fmla="*/ 963 w 1448"/>
                      <a:gd name="T1" fmla="*/ 946 h 1013"/>
                      <a:gd name="T2" fmla="*/ 1032 w 1448"/>
                      <a:gd name="T3" fmla="*/ 991 h 1013"/>
                      <a:gd name="T4" fmla="*/ 1119 w 1448"/>
                      <a:gd name="T5" fmla="*/ 992 h 1013"/>
                      <a:gd name="T6" fmla="*/ 1191 w 1448"/>
                      <a:gd name="T7" fmla="*/ 977 h 1013"/>
                      <a:gd name="T8" fmla="*/ 1232 w 1448"/>
                      <a:gd name="T9" fmla="*/ 927 h 1013"/>
                      <a:gd name="T10" fmla="*/ 1251 w 1448"/>
                      <a:gd name="T11" fmla="*/ 843 h 1013"/>
                      <a:gd name="T12" fmla="*/ 1246 w 1448"/>
                      <a:gd name="T13" fmla="*/ 782 h 1013"/>
                      <a:gd name="T14" fmla="*/ 1274 w 1448"/>
                      <a:gd name="T15" fmla="*/ 742 h 1013"/>
                      <a:gd name="T16" fmla="*/ 1440 w 1448"/>
                      <a:gd name="T17" fmla="*/ 785 h 1013"/>
                      <a:gd name="T18" fmla="*/ 1370 w 1448"/>
                      <a:gd name="T19" fmla="*/ 656 h 1013"/>
                      <a:gd name="T20" fmla="*/ 1221 w 1448"/>
                      <a:gd name="T21" fmla="*/ 567 h 1013"/>
                      <a:gd name="T22" fmla="*/ 1156 w 1448"/>
                      <a:gd name="T23" fmla="*/ 474 h 1013"/>
                      <a:gd name="T24" fmla="*/ 968 w 1448"/>
                      <a:gd name="T25" fmla="*/ 266 h 1013"/>
                      <a:gd name="T26" fmla="*/ 867 w 1448"/>
                      <a:gd name="T27" fmla="*/ 148 h 1013"/>
                      <a:gd name="T28" fmla="*/ 649 w 1448"/>
                      <a:gd name="T29" fmla="*/ 52 h 1013"/>
                      <a:gd name="T30" fmla="*/ 571 w 1448"/>
                      <a:gd name="T31" fmla="*/ 29 h 1013"/>
                      <a:gd name="T32" fmla="*/ 478 w 1448"/>
                      <a:gd name="T33" fmla="*/ 133 h 1013"/>
                      <a:gd name="T34" fmla="*/ 409 w 1448"/>
                      <a:gd name="T35" fmla="*/ 191 h 1013"/>
                      <a:gd name="T36" fmla="*/ 331 w 1448"/>
                      <a:gd name="T37" fmla="*/ 176 h 1013"/>
                      <a:gd name="T38" fmla="*/ 250 w 1448"/>
                      <a:gd name="T39" fmla="*/ 211 h 1013"/>
                      <a:gd name="T40" fmla="*/ 116 w 1448"/>
                      <a:gd name="T41" fmla="*/ 134 h 1013"/>
                      <a:gd name="T42" fmla="*/ 5 w 1448"/>
                      <a:gd name="T43" fmla="*/ 151 h 1013"/>
                      <a:gd name="T44" fmla="*/ 62 w 1448"/>
                      <a:gd name="T45" fmla="*/ 240 h 1013"/>
                      <a:gd name="T46" fmla="*/ 190 w 1448"/>
                      <a:gd name="T47" fmla="*/ 287 h 1013"/>
                      <a:gd name="T48" fmla="*/ 257 w 1448"/>
                      <a:gd name="T49" fmla="*/ 323 h 1013"/>
                      <a:gd name="T50" fmla="*/ 360 w 1448"/>
                      <a:gd name="T51" fmla="*/ 393 h 1013"/>
                      <a:gd name="T52" fmla="*/ 447 w 1448"/>
                      <a:gd name="T53" fmla="*/ 397 h 1013"/>
                      <a:gd name="T54" fmla="*/ 421 w 1448"/>
                      <a:gd name="T55" fmla="*/ 503 h 1013"/>
                      <a:gd name="T56" fmla="*/ 526 w 1448"/>
                      <a:gd name="T57" fmla="*/ 608 h 1013"/>
                      <a:gd name="T58" fmla="*/ 629 w 1448"/>
                      <a:gd name="T59" fmla="*/ 572 h 1013"/>
                      <a:gd name="T60" fmla="*/ 729 w 1448"/>
                      <a:gd name="T61" fmla="*/ 595 h 1013"/>
                      <a:gd name="T62" fmla="*/ 658 w 1448"/>
                      <a:gd name="T63" fmla="*/ 635 h 1013"/>
                      <a:gd name="T64" fmla="*/ 635 w 1448"/>
                      <a:gd name="T65" fmla="*/ 714 h 1013"/>
                      <a:gd name="T66" fmla="*/ 585 w 1448"/>
                      <a:gd name="T67" fmla="*/ 814 h 1013"/>
                      <a:gd name="T68" fmla="*/ 694 w 1448"/>
                      <a:gd name="T69" fmla="*/ 877 h 1013"/>
                      <a:gd name="T70" fmla="*/ 714 w 1448"/>
                      <a:gd name="T71" fmla="*/ 970 h 1013"/>
                      <a:gd name="T72" fmla="*/ 878 w 1448"/>
                      <a:gd name="T73" fmla="*/ 964 h 1013"/>
                      <a:gd name="T74" fmla="*/ 919 w 1448"/>
                      <a:gd name="T75" fmla="*/ 96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8" h="1013">
                        <a:moveTo>
                          <a:pt x="919" y="963"/>
                        </a:moveTo>
                        <a:cubicBezTo>
                          <a:pt x="922" y="950"/>
                          <a:pt x="951" y="956"/>
                          <a:pt x="963" y="946"/>
                        </a:cubicBezTo>
                        <a:cubicBezTo>
                          <a:pt x="974" y="936"/>
                          <a:pt x="992" y="955"/>
                          <a:pt x="997" y="967"/>
                        </a:cubicBezTo>
                        <a:cubicBezTo>
                          <a:pt x="1002" y="980"/>
                          <a:pt x="1012" y="984"/>
                          <a:pt x="1032" y="991"/>
                        </a:cubicBezTo>
                        <a:cubicBezTo>
                          <a:pt x="1051" y="998"/>
                          <a:pt x="1051" y="1005"/>
                          <a:pt x="1073" y="996"/>
                        </a:cubicBezTo>
                        <a:cubicBezTo>
                          <a:pt x="1094" y="988"/>
                          <a:pt x="1102" y="971"/>
                          <a:pt x="1119" y="992"/>
                        </a:cubicBezTo>
                        <a:cubicBezTo>
                          <a:pt x="1135" y="1013"/>
                          <a:pt x="1140" y="1006"/>
                          <a:pt x="1160" y="1000"/>
                        </a:cubicBezTo>
                        <a:cubicBezTo>
                          <a:pt x="1179" y="995"/>
                          <a:pt x="1191" y="993"/>
                          <a:pt x="1191" y="977"/>
                        </a:cubicBezTo>
                        <a:cubicBezTo>
                          <a:pt x="1191" y="960"/>
                          <a:pt x="1196" y="960"/>
                          <a:pt x="1209" y="953"/>
                        </a:cubicBezTo>
                        <a:cubicBezTo>
                          <a:pt x="1222" y="946"/>
                          <a:pt x="1227" y="949"/>
                          <a:pt x="1232" y="927"/>
                        </a:cubicBezTo>
                        <a:cubicBezTo>
                          <a:pt x="1237" y="904"/>
                          <a:pt x="1255" y="910"/>
                          <a:pt x="1258" y="888"/>
                        </a:cubicBezTo>
                        <a:cubicBezTo>
                          <a:pt x="1261" y="866"/>
                          <a:pt x="1228" y="850"/>
                          <a:pt x="1251" y="843"/>
                        </a:cubicBezTo>
                        <a:cubicBezTo>
                          <a:pt x="1274" y="836"/>
                          <a:pt x="1294" y="838"/>
                          <a:pt x="1284" y="820"/>
                        </a:cubicBezTo>
                        <a:cubicBezTo>
                          <a:pt x="1274" y="802"/>
                          <a:pt x="1264" y="796"/>
                          <a:pt x="1246" y="782"/>
                        </a:cubicBezTo>
                        <a:cubicBezTo>
                          <a:pt x="1228" y="768"/>
                          <a:pt x="1223" y="749"/>
                          <a:pt x="1240" y="745"/>
                        </a:cubicBezTo>
                        <a:cubicBezTo>
                          <a:pt x="1252" y="741"/>
                          <a:pt x="1252" y="733"/>
                          <a:pt x="1274" y="742"/>
                        </a:cubicBezTo>
                        <a:cubicBezTo>
                          <a:pt x="1276" y="736"/>
                          <a:pt x="1285" y="734"/>
                          <a:pt x="1304" y="741"/>
                        </a:cubicBezTo>
                        <a:cubicBezTo>
                          <a:pt x="1365" y="763"/>
                          <a:pt x="1431" y="811"/>
                          <a:pt x="1440" y="785"/>
                        </a:cubicBezTo>
                        <a:cubicBezTo>
                          <a:pt x="1448" y="759"/>
                          <a:pt x="1413" y="730"/>
                          <a:pt x="1413" y="700"/>
                        </a:cubicBezTo>
                        <a:cubicBezTo>
                          <a:pt x="1413" y="670"/>
                          <a:pt x="1400" y="656"/>
                          <a:pt x="1370" y="656"/>
                        </a:cubicBezTo>
                        <a:cubicBezTo>
                          <a:pt x="1339" y="656"/>
                          <a:pt x="1304" y="659"/>
                          <a:pt x="1291" y="630"/>
                        </a:cubicBezTo>
                        <a:cubicBezTo>
                          <a:pt x="1278" y="600"/>
                          <a:pt x="1269" y="567"/>
                          <a:pt x="1221" y="567"/>
                        </a:cubicBezTo>
                        <a:cubicBezTo>
                          <a:pt x="1173" y="567"/>
                          <a:pt x="1147" y="552"/>
                          <a:pt x="1147" y="530"/>
                        </a:cubicBezTo>
                        <a:cubicBezTo>
                          <a:pt x="1147" y="507"/>
                          <a:pt x="1195" y="504"/>
                          <a:pt x="1156" y="474"/>
                        </a:cubicBezTo>
                        <a:cubicBezTo>
                          <a:pt x="1116" y="444"/>
                          <a:pt x="1042" y="374"/>
                          <a:pt x="1025" y="341"/>
                        </a:cubicBezTo>
                        <a:cubicBezTo>
                          <a:pt x="1007" y="307"/>
                          <a:pt x="1012" y="292"/>
                          <a:pt x="968" y="266"/>
                        </a:cubicBezTo>
                        <a:cubicBezTo>
                          <a:pt x="924" y="241"/>
                          <a:pt x="924" y="244"/>
                          <a:pt x="929" y="215"/>
                        </a:cubicBezTo>
                        <a:cubicBezTo>
                          <a:pt x="933" y="185"/>
                          <a:pt x="907" y="159"/>
                          <a:pt x="867" y="148"/>
                        </a:cubicBezTo>
                        <a:cubicBezTo>
                          <a:pt x="828" y="137"/>
                          <a:pt x="780" y="140"/>
                          <a:pt x="749" y="118"/>
                        </a:cubicBezTo>
                        <a:cubicBezTo>
                          <a:pt x="719" y="96"/>
                          <a:pt x="653" y="89"/>
                          <a:pt x="649" y="52"/>
                        </a:cubicBezTo>
                        <a:cubicBezTo>
                          <a:pt x="646" y="29"/>
                          <a:pt x="649" y="23"/>
                          <a:pt x="658" y="10"/>
                        </a:cubicBezTo>
                        <a:cubicBezTo>
                          <a:pt x="596" y="0"/>
                          <a:pt x="600" y="13"/>
                          <a:pt x="571" y="29"/>
                        </a:cubicBezTo>
                        <a:cubicBezTo>
                          <a:pt x="539" y="47"/>
                          <a:pt x="549" y="65"/>
                          <a:pt x="544" y="97"/>
                        </a:cubicBezTo>
                        <a:cubicBezTo>
                          <a:pt x="539" y="129"/>
                          <a:pt x="509" y="130"/>
                          <a:pt x="478" y="133"/>
                        </a:cubicBezTo>
                        <a:cubicBezTo>
                          <a:pt x="447" y="136"/>
                          <a:pt x="458" y="164"/>
                          <a:pt x="449" y="183"/>
                        </a:cubicBezTo>
                        <a:cubicBezTo>
                          <a:pt x="439" y="203"/>
                          <a:pt x="414" y="194"/>
                          <a:pt x="409" y="191"/>
                        </a:cubicBezTo>
                        <a:cubicBezTo>
                          <a:pt x="404" y="189"/>
                          <a:pt x="401" y="169"/>
                          <a:pt x="381" y="154"/>
                        </a:cubicBezTo>
                        <a:cubicBezTo>
                          <a:pt x="331" y="140"/>
                          <a:pt x="329" y="159"/>
                          <a:pt x="331" y="176"/>
                        </a:cubicBezTo>
                        <a:cubicBezTo>
                          <a:pt x="332" y="193"/>
                          <a:pt x="319" y="189"/>
                          <a:pt x="298" y="204"/>
                        </a:cubicBezTo>
                        <a:cubicBezTo>
                          <a:pt x="277" y="219"/>
                          <a:pt x="275" y="239"/>
                          <a:pt x="250" y="211"/>
                        </a:cubicBezTo>
                        <a:cubicBezTo>
                          <a:pt x="226" y="183"/>
                          <a:pt x="196" y="215"/>
                          <a:pt x="182" y="204"/>
                        </a:cubicBezTo>
                        <a:cubicBezTo>
                          <a:pt x="167" y="193"/>
                          <a:pt x="141" y="158"/>
                          <a:pt x="116" y="134"/>
                        </a:cubicBezTo>
                        <a:cubicBezTo>
                          <a:pt x="91" y="111"/>
                          <a:pt x="73" y="118"/>
                          <a:pt x="42" y="132"/>
                        </a:cubicBezTo>
                        <a:cubicBezTo>
                          <a:pt x="11" y="146"/>
                          <a:pt x="10" y="137"/>
                          <a:pt x="5" y="151"/>
                        </a:cubicBezTo>
                        <a:cubicBezTo>
                          <a:pt x="0" y="165"/>
                          <a:pt x="1" y="197"/>
                          <a:pt x="5" y="211"/>
                        </a:cubicBezTo>
                        <a:cubicBezTo>
                          <a:pt x="8" y="225"/>
                          <a:pt x="37" y="228"/>
                          <a:pt x="62" y="240"/>
                        </a:cubicBezTo>
                        <a:cubicBezTo>
                          <a:pt x="87" y="253"/>
                          <a:pt x="119" y="260"/>
                          <a:pt x="136" y="278"/>
                        </a:cubicBezTo>
                        <a:cubicBezTo>
                          <a:pt x="152" y="296"/>
                          <a:pt x="172" y="289"/>
                          <a:pt x="190" y="287"/>
                        </a:cubicBezTo>
                        <a:cubicBezTo>
                          <a:pt x="208" y="286"/>
                          <a:pt x="209" y="292"/>
                          <a:pt x="214" y="304"/>
                        </a:cubicBezTo>
                        <a:cubicBezTo>
                          <a:pt x="219" y="317"/>
                          <a:pt x="213" y="325"/>
                          <a:pt x="257" y="323"/>
                        </a:cubicBezTo>
                        <a:cubicBezTo>
                          <a:pt x="301" y="322"/>
                          <a:pt x="301" y="329"/>
                          <a:pt x="321" y="344"/>
                        </a:cubicBezTo>
                        <a:cubicBezTo>
                          <a:pt x="340" y="360"/>
                          <a:pt x="347" y="372"/>
                          <a:pt x="360" y="393"/>
                        </a:cubicBezTo>
                        <a:cubicBezTo>
                          <a:pt x="373" y="414"/>
                          <a:pt x="385" y="404"/>
                          <a:pt x="398" y="386"/>
                        </a:cubicBezTo>
                        <a:cubicBezTo>
                          <a:pt x="411" y="368"/>
                          <a:pt x="429" y="380"/>
                          <a:pt x="447" y="397"/>
                        </a:cubicBezTo>
                        <a:cubicBezTo>
                          <a:pt x="465" y="414"/>
                          <a:pt x="468" y="432"/>
                          <a:pt x="442" y="449"/>
                        </a:cubicBezTo>
                        <a:cubicBezTo>
                          <a:pt x="416" y="465"/>
                          <a:pt x="424" y="485"/>
                          <a:pt x="421" y="503"/>
                        </a:cubicBezTo>
                        <a:cubicBezTo>
                          <a:pt x="417" y="521"/>
                          <a:pt x="460" y="521"/>
                          <a:pt x="483" y="521"/>
                        </a:cubicBezTo>
                        <a:cubicBezTo>
                          <a:pt x="506" y="521"/>
                          <a:pt x="503" y="586"/>
                          <a:pt x="526" y="608"/>
                        </a:cubicBezTo>
                        <a:cubicBezTo>
                          <a:pt x="549" y="631"/>
                          <a:pt x="594" y="611"/>
                          <a:pt x="614" y="608"/>
                        </a:cubicBezTo>
                        <a:cubicBezTo>
                          <a:pt x="634" y="606"/>
                          <a:pt x="630" y="595"/>
                          <a:pt x="629" y="572"/>
                        </a:cubicBezTo>
                        <a:cubicBezTo>
                          <a:pt x="627" y="550"/>
                          <a:pt x="647" y="544"/>
                          <a:pt x="671" y="544"/>
                        </a:cubicBezTo>
                        <a:cubicBezTo>
                          <a:pt x="696" y="544"/>
                          <a:pt x="714" y="568"/>
                          <a:pt x="729" y="595"/>
                        </a:cubicBezTo>
                        <a:cubicBezTo>
                          <a:pt x="743" y="621"/>
                          <a:pt x="747" y="639"/>
                          <a:pt x="727" y="650"/>
                        </a:cubicBezTo>
                        <a:cubicBezTo>
                          <a:pt x="707" y="661"/>
                          <a:pt x="684" y="653"/>
                          <a:pt x="658" y="635"/>
                        </a:cubicBezTo>
                        <a:cubicBezTo>
                          <a:pt x="632" y="617"/>
                          <a:pt x="601" y="650"/>
                          <a:pt x="604" y="661"/>
                        </a:cubicBezTo>
                        <a:cubicBezTo>
                          <a:pt x="607" y="672"/>
                          <a:pt x="635" y="686"/>
                          <a:pt x="635" y="714"/>
                        </a:cubicBezTo>
                        <a:cubicBezTo>
                          <a:pt x="635" y="742"/>
                          <a:pt x="617" y="752"/>
                          <a:pt x="588" y="768"/>
                        </a:cubicBezTo>
                        <a:cubicBezTo>
                          <a:pt x="558" y="785"/>
                          <a:pt x="581" y="795"/>
                          <a:pt x="585" y="814"/>
                        </a:cubicBezTo>
                        <a:cubicBezTo>
                          <a:pt x="588" y="834"/>
                          <a:pt x="603" y="831"/>
                          <a:pt x="622" y="849"/>
                        </a:cubicBezTo>
                        <a:cubicBezTo>
                          <a:pt x="642" y="867"/>
                          <a:pt x="662" y="864"/>
                          <a:pt x="694" y="877"/>
                        </a:cubicBezTo>
                        <a:cubicBezTo>
                          <a:pt x="727" y="889"/>
                          <a:pt x="712" y="898"/>
                          <a:pt x="707" y="923"/>
                        </a:cubicBezTo>
                        <a:cubicBezTo>
                          <a:pt x="702" y="948"/>
                          <a:pt x="701" y="957"/>
                          <a:pt x="714" y="970"/>
                        </a:cubicBezTo>
                        <a:cubicBezTo>
                          <a:pt x="727" y="982"/>
                          <a:pt x="761" y="980"/>
                          <a:pt x="797" y="950"/>
                        </a:cubicBezTo>
                        <a:cubicBezTo>
                          <a:pt x="834" y="921"/>
                          <a:pt x="850" y="963"/>
                          <a:pt x="878" y="964"/>
                        </a:cubicBezTo>
                        <a:cubicBezTo>
                          <a:pt x="892" y="965"/>
                          <a:pt x="897" y="969"/>
                          <a:pt x="901" y="976"/>
                        </a:cubicBezTo>
                        <a:cubicBezTo>
                          <a:pt x="909" y="973"/>
                          <a:pt x="917" y="969"/>
                          <a:pt x="919" y="96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7" name="Freeform 29">
                    <a:extLst>
                      <a:ext uri="{FF2B5EF4-FFF2-40B4-BE49-F238E27FC236}">
                        <a16:creationId xmlns:a16="http://schemas.microsoft.com/office/drawing/2014/main" id="{07F517D2-313B-4BEE-4B7D-F44CA908C625}"/>
                      </a:ext>
                    </a:extLst>
                  </p:cNvPr>
                  <p:cNvSpPr>
                    <a:spLocks/>
                  </p:cNvSpPr>
                  <p:nvPr/>
                </p:nvSpPr>
                <p:spPr bwMode="auto">
                  <a:xfrm>
                    <a:off x="4661" y="2651"/>
                    <a:ext cx="455" cy="451"/>
                  </a:xfrm>
                  <a:custGeom>
                    <a:avLst/>
                    <a:gdLst>
                      <a:gd name="T0" fmla="*/ 913 w 983"/>
                      <a:gd name="T1" fmla="*/ 416 h 972"/>
                      <a:gd name="T2" fmla="*/ 965 w 983"/>
                      <a:gd name="T3" fmla="*/ 379 h 972"/>
                      <a:gd name="T4" fmla="*/ 926 w 983"/>
                      <a:gd name="T5" fmla="*/ 298 h 972"/>
                      <a:gd name="T6" fmla="*/ 948 w 983"/>
                      <a:gd name="T7" fmla="*/ 227 h 972"/>
                      <a:gd name="T8" fmla="*/ 830 w 983"/>
                      <a:gd name="T9" fmla="*/ 205 h 972"/>
                      <a:gd name="T10" fmla="*/ 707 w 983"/>
                      <a:gd name="T11" fmla="*/ 179 h 972"/>
                      <a:gd name="T12" fmla="*/ 607 w 983"/>
                      <a:gd name="T13" fmla="*/ 253 h 972"/>
                      <a:gd name="T14" fmla="*/ 572 w 983"/>
                      <a:gd name="T15" fmla="*/ 216 h 972"/>
                      <a:gd name="T16" fmla="*/ 559 w 983"/>
                      <a:gd name="T17" fmla="*/ 168 h 972"/>
                      <a:gd name="T18" fmla="*/ 668 w 983"/>
                      <a:gd name="T19" fmla="*/ 164 h 972"/>
                      <a:gd name="T20" fmla="*/ 706 w 983"/>
                      <a:gd name="T21" fmla="*/ 85 h 972"/>
                      <a:gd name="T22" fmla="*/ 677 w 983"/>
                      <a:gd name="T23" fmla="*/ 63 h 972"/>
                      <a:gd name="T24" fmla="*/ 620 w 983"/>
                      <a:gd name="T25" fmla="*/ 31 h 972"/>
                      <a:gd name="T26" fmla="*/ 601 w 983"/>
                      <a:gd name="T27" fmla="*/ 16 h 972"/>
                      <a:gd name="T28" fmla="*/ 599 w 983"/>
                      <a:gd name="T29" fmla="*/ 17 h 972"/>
                      <a:gd name="T30" fmla="*/ 581 w 983"/>
                      <a:gd name="T31" fmla="*/ 41 h 972"/>
                      <a:gd name="T32" fmla="*/ 550 w 983"/>
                      <a:gd name="T33" fmla="*/ 64 h 972"/>
                      <a:gd name="T34" fmla="*/ 509 w 983"/>
                      <a:gd name="T35" fmla="*/ 56 h 972"/>
                      <a:gd name="T36" fmla="*/ 463 w 983"/>
                      <a:gd name="T37" fmla="*/ 60 h 972"/>
                      <a:gd name="T38" fmla="*/ 422 w 983"/>
                      <a:gd name="T39" fmla="*/ 55 h 972"/>
                      <a:gd name="T40" fmla="*/ 387 w 983"/>
                      <a:gd name="T41" fmla="*/ 31 h 972"/>
                      <a:gd name="T42" fmla="*/ 353 w 983"/>
                      <a:gd name="T43" fmla="*/ 10 h 972"/>
                      <a:gd name="T44" fmla="*/ 309 w 983"/>
                      <a:gd name="T45" fmla="*/ 27 h 972"/>
                      <a:gd name="T46" fmla="*/ 291 w 983"/>
                      <a:gd name="T47" fmla="*/ 40 h 972"/>
                      <a:gd name="T48" fmla="*/ 305 w 983"/>
                      <a:gd name="T49" fmla="*/ 73 h 972"/>
                      <a:gd name="T50" fmla="*/ 263 w 983"/>
                      <a:gd name="T51" fmla="*/ 164 h 972"/>
                      <a:gd name="T52" fmla="*/ 281 w 983"/>
                      <a:gd name="T53" fmla="*/ 217 h 972"/>
                      <a:gd name="T54" fmla="*/ 238 w 983"/>
                      <a:gd name="T55" fmla="*/ 245 h 972"/>
                      <a:gd name="T56" fmla="*/ 171 w 983"/>
                      <a:gd name="T57" fmla="*/ 262 h 972"/>
                      <a:gd name="T58" fmla="*/ 189 w 983"/>
                      <a:gd name="T59" fmla="*/ 310 h 972"/>
                      <a:gd name="T60" fmla="*/ 176 w 983"/>
                      <a:gd name="T61" fmla="*/ 349 h 972"/>
                      <a:gd name="T62" fmla="*/ 158 w 983"/>
                      <a:gd name="T63" fmla="*/ 406 h 972"/>
                      <a:gd name="T64" fmla="*/ 115 w 983"/>
                      <a:gd name="T65" fmla="*/ 451 h 972"/>
                      <a:gd name="T66" fmla="*/ 79 w 983"/>
                      <a:gd name="T67" fmla="*/ 492 h 972"/>
                      <a:gd name="T68" fmla="*/ 48 w 983"/>
                      <a:gd name="T69" fmla="*/ 511 h 972"/>
                      <a:gd name="T70" fmla="*/ 6 w 983"/>
                      <a:gd name="T71" fmla="*/ 580 h 972"/>
                      <a:gd name="T72" fmla="*/ 91 w 983"/>
                      <a:gd name="T73" fmla="*/ 635 h 972"/>
                      <a:gd name="T74" fmla="*/ 157 w 983"/>
                      <a:gd name="T75" fmla="*/ 733 h 972"/>
                      <a:gd name="T76" fmla="*/ 156 w 983"/>
                      <a:gd name="T77" fmla="*/ 780 h 972"/>
                      <a:gd name="T78" fmla="*/ 192 w 983"/>
                      <a:gd name="T79" fmla="*/ 777 h 972"/>
                      <a:gd name="T80" fmla="*/ 246 w 983"/>
                      <a:gd name="T81" fmla="*/ 782 h 972"/>
                      <a:gd name="T82" fmla="*/ 251 w 983"/>
                      <a:gd name="T83" fmla="*/ 848 h 972"/>
                      <a:gd name="T84" fmla="*/ 294 w 983"/>
                      <a:gd name="T85" fmla="*/ 905 h 972"/>
                      <a:gd name="T86" fmla="*/ 330 w 983"/>
                      <a:gd name="T87" fmla="*/ 954 h 972"/>
                      <a:gd name="T88" fmla="*/ 397 w 983"/>
                      <a:gd name="T89" fmla="*/ 959 h 972"/>
                      <a:gd name="T90" fmla="*/ 438 w 983"/>
                      <a:gd name="T91" fmla="*/ 923 h 972"/>
                      <a:gd name="T92" fmla="*/ 486 w 983"/>
                      <a:gd name="T93" fmla="*/ 914 h 972"/>
                      <a:gd name="T94" fmla="*/ 533 w 983"/>
                      <a:gd name="T95" fmla="*/ 962 h 972"/>
                      <a:gd name="T96" fmla="*/ 590 w 983"/>
                      <a:gd name="T97" fmla="*/ 950 h 972"/>
                      <a:gd name="T98" fmla="*/ 666 w 983"/>
                      <a:gd name="T99" fmla="*/ 937 h 972"/>
                      <a:gd name="T100" fmla="*/ 713 w 983"/>
                      <a:gd name="T101" fmla="*/ 971 h 972"/>
                      <a:gd name="T102" fmla="*/ 720 w 983"/>
                      <a:gd name="T103" fmla="*/ 972 h 972"/>
                      <a:gd name="T104" fmla="*/ 747 w 983"/>
                      <a:gd name="T105" fmla="*/ 906 h 972"/>
                      <a:gd name="T106" fmla="*/ 768 w 983"/>
                      <a:gd name="T107" fmla="*/ 791 h 972"/>
                      <a:gd name="T108" fmla="*/ 812 w 983"/>
                      <a:gd name="T109" fmla="*/ 706 h 972"/>
                      <a:gd name="T110" fmla="*/ 851 w 983"/>
                      <a:gd name="T111" fmla="*/ 665 h 972"/>
                      <a:gd name="T112" fmla="*/ 900 w 983"/>
                      <a:gd name="T113" fmla="*/ 680 h 972"/>
                      <a:gd name="T114" fmla="*/ 948 w 983"/>
                      <a:gd name="T115" fmla="*/ 635 h 972"/>
                      <a:gd name="T116" fmla="*/ 913 w 983"/>
                      <a:gd name="T117" fmla="*/ 535 h 972"/>
                      <a:gd name="T118" fmla="*/ 900 w 983"/>
                      <a:gd name="T119" fmla="*/ 472 h 972"/>
                      <a:gd name="T120" fmla="*/ 913 w 983"/>
                      <a:gd name="T121" fmla="*/ 416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3" h="972">
                        <a:moveTo>
                          <a:pt x="913" y="416"/>
                        </a:moveTo>
                        <a:cubicBezTo>
                          <a:pt x="948" y="416"/>
                          <a:pt x="983" y="413"/>
                          <a:pt x="965" y="379"/>
                        </a:cubicBezTo>
                        <a:cubicBezTo>
                          <a:pt x="948" y="346"/>
                          <a:pt x="908" y="331"/>
                          <a:pt x="926" y="298"/>
                        </a:cubicBezTo>
                        <a:cubicBezTo>
                          <a:pt x="943" y="265"/>
                          <a:pt x="983" y="246"/>
                          <a:pt x="948" y="227"/>
                        </a:cubicBezTo>
                        <a:cubicBezTo>
                          <a:pt x="913" y="209"/>
                          <a:pt x="856" y="242"/>
                          <a:pt x="830" y="205"/>
                        </a:cubicBezTo>
                        <a:cubicBezTo>
                          <a:pt x="803" y="168"/>
                          <a:pt x="725" y="153"/>
                          <a:pt x="707" y="179"/>
                        </a:cubicBezTo>
                        <a:cubicBezTo>
                          <a:pt x="690" y="205"/>
                          <a:pt x="624" y="279"/>
                          <a:pt x="607" y="253"/>
                        </a:cubicBezTo>
                        <a:cubicBezTo>
                          <a:pt x="589" y="227"/>
                          <a:pt x="598" y="216"/>
                          <a:pt x="572" y="216"/>
                        </a:cubicBezTo>
                        <a:cubicBezTo>
                          <a:pt x="546" y="216"/>
                          <a:pt x="519" y="157"/>
                          <a:pt x="559" y="168"/>
                        </a:cubicBezTo>
                        <a:cubicBezTo>
                          <a:pt x="598" y="179"/>
                          <a:pt x="655" y="194"/>
                          <a:pt x="668" y="164"/>
                        </a:cubicBezTo>
                        <a:cubicBezTo>
                          <a:pt x="679" y="140"/>
                          <a:pt x="687" y="106"/>
                          <a:pt x="706" y="85"/>
                        </a:cubicBezTo>
                        <a:cubicBezTo>
                          <a:pt x="697" y="76"/>
                          <a:pt x="690" y="66"/>
                          <a:pt x="677" y="63"/>
                        </a:cubicBezTo>
                        <a:cubicBezTo>
                          <a:pt x="656" y="59"/>
                          <a:pt x="658" y="46"/>
                          <a:pt x="620" y="31"/>
                        </a:cubicBezTo>
                        <a:cubicBezTo>
                          <a:pt x="610" y="27"/>
                          <a:pt x="604" y="22"/>
                          <a:pt x="601" y="16"/>
                        </a:cubicBezTo>
                        <a:cubicBezTo>
                          <a:pt x="600" y="16"/>
                          <a:pt x="600" y="17"/>
                          <a:pt x="599" y="17"/>
                        </a:cubicBezTo>
                        <a:cubicBezTo>
                          <a:pt x="586" y="24"/>
                          <a:pt x="581" y="24"/>
                          <a:pt x="581" y="41"/>
                        </a:cubicBezTo>
                        <a:cubicBezTo>
                          <a:pt x="581" y="57"/>
                          <a:pt x="569" y="59"/>
                          <a:pt x="550" y="64"/>
                        </a:cubicBezTo>
                        <a:cubicBezTo>
                          <a:pt x="530" y="70"/>
                          <a:pt x="525" y="77"/>
                          <a:pt x="509" y="56"/>
                        </a:cubicBezTo>
                        <a:cubicBezTo>
                          <a:pt x="492" y="35"/>
                          <a:pt x="484" y="52"/>
                          <a:pt x="463" y="60"/>
                        </a:cubicBezTo>
                        <a:cubicBezTo>
                          <a:pt x="441" y="69"/>
                          <a:pt x="441" y="62"/>
                          <a:pt x="422" y="55"/>
                        </a:cubicBezTo>
                        <a:cubicBezTo>
                          <a:pt x="402" y="48"/>
                          <a:pt x="392" y="44"/>
                          <a:pt x="387" y="31"/>
                        </a:cubicBezTo>
                        <a:cubicBezTo>
                          <a:pt x="382" y="19"/>
                          <a:pt x="364" y="0"/>
                          <a:pt x="353" y="10"/>
                        </a:cubicBezTo>
                        <a:cubicBezTo>
                          <a:pt x="341" y="20"/>
                          <a:pt x="312" y="14"/>
                          <a:pt x="309" y="27"/>
                        </a:cubicBezTo>
                        <a:cubicBezTo>
                          <a:pt x="307" y="33"/>
                          <a:pt x="299" y="37"/>
                          <a:pt x="291" y="40"/>
                        </a:cubicBezTo>
                        <a:cubicBezTo>
                          <a:pt x="294" y="48"/>
                          <a:pt x="297" y="58"/>
                          <a:pt x="305" y="73"/>
                        </a:cubicBezTo>
                        <a:cubicBezTo>
                          <a:pt x="323" y="103"/>
                          <a:pt x="287" y="144"/>
                          <a:pt x="263" y="164"/>
                        </a:cubicBezTo>
                        <a:cubicBezTo>
                          <a:pt x="238" y="185"/>
                          <a:pt x="266" y="198"/>
                          <a:pt x="281" y="217"/>
                        </a:cubicBezTo>
                        <a:cubicBezTo>
                          <a:pt x="296" y="237"/>
                          <a:pt x="258" y="238"/>
                          <a:pt x="238" y="245"/>
                        </a:cubicBezTo>
                        <a:cubicBezTo>
                          <a:pt x="219" y="252"/>
                          <a:pt x="207" y="253"/>
                          <a:pt x="171" y="262"/>
                        </a:cubicBezTo>
                        <a:cubicBezTo>
                          <a:pt x="135" y="270"/>
                          <a:pt x="176" y="295"/>
                          <a:pt x="189" y="310"/>
                        </a:cubicBezTo>
                        <a:cubicBezTo>
                          <a:pt x="202" y="326"/>
                          <a:pt x="189" y="335"/>
                          <a:pt x="176" y="349"/>
                        </a:cubicBezTo>
                        <a:cubicBezTo>
                          <a:pt x="163" y="363"/>
                          <a:pt x="161" y="384"/>
                          <a:pt x="158" y="406"/>
                        </a:cubicBezTo>
                        <a:cubicBezTo>
                          <a:pt x="155" y="429"/>
                          <a:pt x="130" y="440"/>
                          <a:pt x="115" y="451"/>
                        </a:cubicBezTo>
                        <a:cubicBezTo>
                          <a:pt x="101" y="462"/>
                          <a:pt x="89" y="470"/>
                          <a:pt x="79" y="492"/>
                        </a:cubicBezTo>
                        <a:cubicBezTo>
                          <a:pt x="75" y="502"/>
                          <a:pt x="62" y="508"/>
                          <a:pt x="48" y="511"/>
                        </a:cubicBezTo>
                        <a:cubicBezTo>
                          <a:pt x="59" y="529"/>
                          <a:pt x="12" y="558"/>
                          <a:pt x="6" y="580"/>
                        </a:cubicBezTo>
                        <a:cubicBezTo>
                          <a:pt x="0" y="604"/>
                          <a:pt x="43" y="613"/>
                          <a:pt x="91" y="635"/>
                        </a:cubicBezTo>
                        <a:cubicBezTo>
                          <a:pt x="139" y="657"/>
                          <a:pt x="131" y="700"/>
                          <a:pt x="157" y="733"/>
                        </a:cubicBezTo>
                        <a:cubicBezTo>
                          <a:pt x="177" y="759"/>
                          <a:pt x="164" y="769"/>
                          <a:pt x="156" y="780"/>
                        </a:cubicBezTo>
                        <a:cubicBezTo>
                          <a:pt x="169" y="782"/>
                          <a:pt x="184" y="782"/>
                          <a:pt x="192" y="777"/>
                        </a:cubicBezTo>
                        <a:cubicBezTo>
                          <a:pt x="210" y="768"/>
                          <a:pt x="248" y="747"/>
                          <a:pt x="246" y="782"/>
                        </a:cubicBezTo>
                        <a:cubicBezTo>
                          <a:pt x="245" y="816"/>
                          <a:pt x="232" y="833"/>
                          <a:pt x="251" y="848"/>
                        </a:cubicBezTo>
                        <a:cubicBezTo>
                          <a:pt x="271" y="864"/>
                          <a:pt x="289" y="884"/>
                          <a:pt x="294" y="905"/>
                        </a:cubicBezTo>
                        <a:cubicBezTo>
                          <a:pt x="299" y="926"/>
                          <a:pt x="309" y="944"/>
                          <a:pt x="330" y="954"/>
                        </a:cubicBezTo>
                        <a:cubicBezTo>
                          <a:pt x="351" y="964"/>
                          <a:pt x="381" y="972"/>
                          <a:pt x="397" y="959"/>
                        </a:cubicBezTo>
                        <a:cubicBezTo>
                          <a:pt x="414" y="947"/>
                          <a:pt x="428" y="943"/>
                          <a:pt x="438" y="923"/>
                        </a:cubicBezTo>
                        <a:cubicBezTo>
                          <a:pt x="448" y="904"/>
                          <a:pt x="464" y="879"/>
                          <a:pt x="486" y="914"/>
                        </a:cubicBezTo>
                        <a:cubicBezTo>
                          <a:pt x="507" y="948"/>
                          <a:pt x="502" y="958"/>
                          <a:pt x="533" y="962"/>
                        </a:cubicBezTo>
                        <a:cubicBezTo>
                          <a:pt x="564" y="966"/>
                          <a:pt x="564" y="961"/>
                          <a:pt x="590" y="950"/>
                        </a:cubicBezTo>
                        <a:cubicBezTo>
                          <a:pt x="617" y="939"/>
                          <a:pt x="656" y="915"/>
                          <a:pt x="666" y="937"/>
                        </a:cubicBezTo>
                        <a:cubicBezTo>
                          <a:pt x="676" y="959"/>
                          <a:pt x="694" y="968"/>
                          <a:pt x="713" y="971"/>
                        </a:cubicBezTo>
                        <a:cubicBezTo>
                          <a:pt x="716" y="971"/>
                          <a:pt x="718" y="971"/>
                          <a:pt x="720" y="972"/>
                        </a:cubicBezTo>
                        <a:cubicBezTo>
                          <a:pt x="732" y="956"/>
                          <a:pt x="744" y="937"/>
                          <a:pt x="747" y="906"/>
                        </a:cubicBezTo>
                        <a:cubicBezTo>
                          <a:pt x="751" y="850"/>
                          <a:pt x="747" y="813"/>
                          <a:pt x="768" y="791"/>
                        </a:cubicBezTo>
                        <a:cubicBezTo>
                          <a:pt x="790" y="769"/>
                          <a:pt x="808" y="728"/>
                          <a:pt x="812" y="706"/>
                        </a:cubicBezTo>
                        <a:cubicBezTo>
                          <a:pt x="817" y="683"/>
                          <a:pt x="825" y="639"/>
                          <a:pt x="851" y="665"/>
                        </a:cubicBezTo>
                        <a:cubicBezTo>
                          <a:pt x="878" y="691"/>
                          <a:pt x="878" y="702"/>
                          <a:pt x="900" y="680"/>
                        </a:cubicBezTo>
                        <a:cubicBezTo>
                          <a:pt x="921" y="657"/>
                          <a:pt x="974" y="683"/>
                          <a:pt x="948" y="635"/>
                        </a:cubicBezTo>
                        <a:cubicBezTo>
                          <a:pt x="921" y="587"/>
                          <a:pt x="882" y="565"/>
                          <a:pt x="913" y="535"/>
                        </a:cubicBezTo>
                        <a:cubicBezTo>
                          <a:pt x="943" y="505"/>
                          <a:pt x="921" y="498"/>
                          <a:pt x="900" y="472"/>
                        </a:cubicBezTo>
                        <a:cubicBezTo>
                          <a:pt x="878" y="446"/>
                          <a:pt x="878" y="416"/>
                          <a:pt x="913" y="41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8" name="Freeform 30">
                    <a:extLst>
                      <a:ext uri="{FF2B5EF4-FFF2-40B4-BE49-F238E27FC236}">
                        <a16:creationId xmlns:a16="http://schemas.microsoft.com/office/drawing/2014/main" id="{2A0E4A6B-3568-8C36-F36D-947B1F5CA5D9}"/>
                      </a:ext>
                    </a:extLst>
                  </p:cNvPr>
                  <p:cNvSpPr>
                    <a:spLocks/>
                  </p:cNvSpPr>
                  <p:nvPr/>
                </p:nvSpPr>
                <p:spPr bwMode="auto">
                  <a:xfrm>
                    <a:off x="4939" y="2557"/>
                    <a:ext cx="128" cy="134"/>
                  </a:xfrm>
                  <a:custGeom>
                    <a:avLst/>
                    <a:gdLst>
                      <a:gd name="T0" fmla="*/ 19 w 277"/>
                      <a:gd name="T1" fmla="*/ 234 h 288"/>
                      <a:gd name="T2" fmla="*/ 76 w 277"/>
                      <a:gd name="T3" fmla="*/ 266 h 288"/>
                      <a:gd name="T4" fmla="*/ 105 w 277"/>
                      <a:gd name="T5" fmla="*/ 288 h 288"/>
                      <a:gd name="T6" fmla="*/ 119 w 277"/>
                      <a:gd name="T7" fmla="*/ 275 h 288"/>
                      <a:gd name="T8" fmla="*/ 264 w 277"/>
                      <a:gd name="T9" fmla="*/ 197 h 288"/>
                      <a:gd name="T10" fmla="*/ 207 w 277"/>
                      <a:gd name="T11" fmla="*/ 112 h 288"/>
                      <a:gd name="T12" fmla="*/ 102 w 277"/>
                      <a:gd name="T13" fmla="*/ 64 h 288"/>
                      <a:gd name="T14" fmla="*/ 63 w 277"/>
                      <a:gd name="T15" fmla="*/ 9 h 288"/>
                      <a:gd name="T16" fmla="*/ 29 w 277"/>
                      <a:gd name="T17" fmla="*/ 12 h 288"/>
                      <a:gd name="T18" fmla="*/ 35 w 277"/>
                      <a:gd name="T19" fmla="*/ 49 h 288"/>
                      <a:gd name="T20" fmla="*/ 73 w 277"/>
                      <a:gd name="T21" fmla="*/ 87 h 288"/>
                      <a:gd name="T22" fmla="*/ 40 w 277"/>
                      <a:gd name="T23" fmla="*/ 110 h 288"/>
                      <a:gd name="T24" fmla="*/ 47 w 277"/>
                      <a:gd name="T25" fmla="*/ 155 h 288"/>
                      <a:gd name="T26" fmla="*/ 21 w 277"/>
                      <a:gd name="T27" fmla="*/ 194 h 288"/>
                      <a:gd name="T28" fmla="*/ 0 w 277"/>
                      <a:gd name="T29" fmla="*/ 219 h 288"/>
                      <a:gd name="T30" fmla="*/ 19 w 277"/>
                      <a:gd name="T31" fmla="*/ 23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88">
                        <a:moveTo>
                          <a:pt x="19" y="234"/>
                        </a:moveTo>
                        <a:cubicBezTo>
                          <a:pt x="57" y="249"/>
                          <a:pt x="55" y="262"/>
                          <a:pt x="76" y="266"/>
                        </a:cubicBezTo>
                        <a:cubicBezTo>
                          <a:pt x="89" y="269"/>
                          <a:pt x="96" y="279"/>
                          <a:pt x="105" y="288"/>
                        </a:cubicBezTo>
                        <a:cubicBezTo>
                          <a:pt x="109" y="283"/>
                          <a:pt x="114" y="278"/>
                          <a:pt x="119" y="275"/>
                        </a:cubicBezTo>
                        <a:cubicBezTo>
                          <a:pt x="150" y="256"/>
                          <a:pt x="277" y="227"/>
                          <a:pt x="264" y="197"/>
                        </a:cubicBezTo>
                        <a:cubicBezTo>
                          <a:pt x="250" y="167"/>
                          <a:pt x="233" y="130"/>
                          <a:pt x="207" y="112"/>
                        </a:cubicBezTo>
                        <a:cubicBezTo>
                          <a:pt x="181" y="93"/>
                          <a:pt x="128" y="75"/>
                          <a:pt x="102" y="64"/>
                        </a:cubicBezTo>
                        <a:cubicBezTo>
                          <a:pt x="84" y="56"/>
                          <a:pt x="58" y="22"/>
                          <a:pt x="63" y="9"/>
                        </a:cubicBezTo>
                        <a:cubicBezTo>
                          <a:pt x="41" y="0"/>
                          <a:pt x="41" y="8"/>
                          <a:pt x="29" y="12"/>
                        </a:cubicBezTo>
                        <a:cubicBezTo>
                          <a:pt x="12" y="16"/>
                          <a:pt x="17" y="35"/>
                          <a:pt x="35" y="49"/>
                        </a:cubicBezTo>
                        <a:cubicBezTo>
                          <a:pt x="53" y="63"/>
                          <a:pt x="63" y="69"/>
                          <a:pt x="73" y="87"/>
                        </a:cubicBezTo>
                        <a:cubicBezTo>
                          <a:pt x="83" y="105"/>
                          <a:pt x="63" y="103"/>
                          <a:pt x="40" y="110"/>
                        </a:cubicBezTo>
                        <a:cubicBezTo>
                          <a:pt x="17" y="117"/>
                          <a:pt x="50" y="133"/>
                          <a:pt x="47" y="155"/>
                        </a:cubicBezTo>
                        <a:cubicBezTo>
                          <a:pt x="44" y="177"/>
                          <a:pt x="26" y="171"/>
                          <a:pt x="21" y="194"/>
                        </a:cubicBezTo>
                        <a:cubicBezTo>
                          <a:pt x="16" y="214"/>
                          <a:pt x="11" y="214"/>
                          <a:pt x="0" y="219"/>
                        </a:cubicBezTo>
                        <a:cubicBezTo>
                          <a:pt x="3" y="225"/>
                          <a:pt x="9" y="230"/>
                          <a:pt x="19" y="234"/>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9" name="Freeform 31">
                    <a:extLst>
                      <a:ext uri="{FF2B5EF4-FFF2-40B4-BE49-F238E27FC236}">
                        <a16:creationId xmlns:a16="http://schemas.microsoft.com/office/drawing/2014/main" id="{491D5B8C-5FCD-4508-03C1-CCB534DCD260}"/>
                      </a:ext>
                    </a:extLst>
                  </p:cNvPr>
                  <p:cNvSpPr>
                    <a:spLocks/>
                  </p:cNvSpPr>
                  <p:nvPr/>
                </p:nvSpPr>
                <p:spPr bwMode="auto">
                  <a:xfrm>
                    <a:off x="4205" y="1864"/>
                    <a:ext cx="781" cy="475"/>
                  </a:xfrm>
                  <a:custGeom>
                    <a:avLst/>
                    <a:gdLst>
                      <a:gd name="T0" fmla="*/ 1555 w 1686"/>
                      <a:gd name="T1" fmla="*/ 63 h 1025"/>
                      <a:gd name="T2" fmla="*/ 1393 w 1686"/>
                      <a:gd name="T3" fmla="*/ 100 h 1025"/>
                      <a:gd name="T4" fmla="*/ 1262 w 1686"/>
                      <a:gd name="T5" fmla="*/ 48 h 1025"/>
                      <a:gd name="T6" fmla="*/ 1109 w 1686"/>
                      <a:gd name="T7" fmla="*/ 119 h 1025"/>
                      <a:gd name="T8" fmla="*/ 987 w 1686"/>
                      <a:gd name="T9" fmla="*/ 260 h 1025"/>
                      <a:gd name="T10" fmla="*/ 847 w 1686"/>
                      <a:gd name="T11" fmla="*/ 185 h 1025"/>
                      <a:gd name="T12" fmla="*/ 782 w 1686"/>
                      <a:gd name="T13" fmla="*/ 41 h 1025"/>
                      <a:gd name="T14" fmla="*/ 548 w 1686"/>
                      <a:gd name="T15" fmla="*/ 35 h 1025"/>
                      <a:gd name="T16" fmla="*/ 469 w 1686"/>
                      <a:gd name="T17" fmla="*/ 144 h 1025"/>
                      <a:gd name="T18" fmla="*/ 296 w 1686"/>
                      <a:gd name="T19" fmla="*/ 238 h 1025"/>
                      <a:gd name="T20" fmla="*/ 197 w 1686"/>
                      <a:gd name="T21" fmla="*/ 313 h 1025"/>
                      <a:gd name="T22" fmla="*/ 102 w 1686"/>
                      <a:gd name="T23" fmla="*/ 469 h 1025"/>
                      <a:gd name="T24" fmla="*/ 99 w 1686"/>
                      <a:gd name="T25" fmla="*/ 600 h 1025"/>
                      <a:gd name="T26" fmla="*/ 87 w 1686"/>
                      <a:gd name="T27" fmla="*/ 695 h 1025"/>
                      <a:gd name="T28" fmla="*/ 203 w 1686"/>
                      <a:gd name="T29" fmla="*/ 677 h 1025"/>
                      <a:gd name="T30" fmla="*/ 63 w 1686"/>
                      <a:gd name="T31" fmla="*/ 832 h 1025"/>
                      <a:gd name="T32" fmla="*/ 26 w 1686"/>
                      <a:gd name="T33" fmla="*/ 923 h 1025"/>
                      <a:gd name="T34" fmla="*/ 155 w 1686"/>
                      <a:gd name="T35" fmla="*/ 990 h 1025"/>
                      <a:gd name="T36" fmla="*/ 303 w 1686"/>
                      <a:gd name="T37" fmla="*/ 990 h 1025"/>
                      <a:gd name="T38" fmla="*/ 345 w 1686"/>
                      <a:gd name="T39" fmla="*/ 996 h 1025"/>
                      <a:gd name="T40" fmla="*/ 378 w 1686"/>
                      <a:gd name="T41" fmla="*/ 915 h 1025"/>
                      <a:gd name="T42" fmla="*/ 489 w 1686"/>
                      <a:gd name="T43" fmla="*/ 898 h 1025"/>
                      <a:gd name="T44" fmla="*/ 623 w 1686"/>
                      <a:gd name="T45" fmla="*/ 975 h 1025"/>
                      <a:gd name="T46" fmla="*/ 704 w 1686"/>
                      <a:gd name="T47" fmla="*/ 940 h 1025"/>
                      <a:gd name="T48" fmla="*/ 782 w 1686"/>
                      <a:gd name="T49" fmla="*/ 955 h 1025"/>
                      <a:gd name="T50" fmla="*/ 851 w 1686"/>
                      <a:gd name="T51" fmla="*/ 897 h 1025"/>
                      <a:gd name="T52" fmla="*/ 944 w 1686"/>
                      <a:gd name="T53" fmla="*/ 793 h 1025"/>
                      <a:gd name="T54" fmla="*/ 1057 w 1686"/>
                      <a:gd name="T55" fmla="*/ 734 h 1025"/>
                      <a:gd name="T56" fmla="*/ 1188 w 1686"/>
                      <a:gd name="T57" fmla="*/ 556 h 1025"/>
                      <a:gd name="T58" fmla="*/ 1297 w 1686"/>
                      <a:gd name="T59" fmla="*/ 452 h 1025"/>
                      <a:gd name="T60" fmla="*/ 1485 w 1686"/>
                      <a:gd name="T61" fmla="*/ 248 h 1025"/>
                      <a:gd name="T62" fmla="*/ 1651 w 1686"/>
                      <a:gd name="T63" fmla="*/ 178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6" h="1025">
                        <a:moveTo>
                          <a:pt x="1638" y="71"/>
                        </a:moveTo>
                        <a:cubicBezTo>
                          <a:pt x="1590" y="63"/>
                          <a:pt x="1577" y="85"/>
                          <a:pt x="1555" y="63"/>
                        </a:cubicBezTo>
                        <a:cubicBezTo>
                          <a:pt x="1533" y="41"/>
                          <a:pt x="1516" y="59"/>
                          <a:pt x="1485" y="82"/>
                        </a:cubicBezTo>
                        <a:cubicBezTo>
                          <a:pt x="1454" y="104"/>
                          <a:pt x="1433" y="122"/>
                          <a:pt x="1393" y="100"/>
                        </a:cubicBezTo>
                        <a:cubicBezTo>
                          <a:pt x="1354" y="78"/>
                          <a:pt x="1363" y="74"/>
                          <a:pt x="1332" y="78"/>
                        </a:cubicBezTo>
                        <a:cubicBezTo>
                          <a:pt x="1302" y="82"/>
                          <a:pt x="1275" y="48"/>
                          <a:pt x="1262" y="48"/>
                        </a:cubicBezTo>
                        <a:cubicBezTo>
                          <a:pt x="1249" y="48"/>
                          <a:pt x="1214" y="0"/>
                          <a:pt x="1162" y="59"/>
                        </a:cubicBezTo>
                        <a:cubicBezTo>
                          <a:pt x="1109" y="119"/>
                          <a:pt x="1140" y="74"/>
                          <a:pt x="1109" y="119"/>
                        </a:cubicBezTo>
                        <a:cubicBezTo>
                          <a:pt x="1079" y="163"/>
                          <a:pt x="1057" y="189"/>
                          <a:pt x="1048" y="219"/>
                        </a:cubicBezTo>
                        <a:cubicBezTo>
                          <a:pt x="1039" y="248"/>
                          <a:pt x="1039" y="256"/>
                          <a:pt x="987" y="260"/>
                        </a:cubicBezTo>
                        <a:cubicBezTo>
                          <a:pt x="935" y="263"/>
                          <a:pt x="895" y="271"/>
                          <a:pt x="869" y="248"/>
                        </a:cubicBezTo>
                        <a:cubicBezTo>
                          <a:pt x="843" y="226"/>
                          <a:pt x="834" y="223"/>
                          <a:pt x="847" y="185"/>
                        </a:cubicBezTo>
                        <a:cubicBezTo>
                          <a:pt x="860" y="148"/>
                          <a:pt x="891" y="141"/>
                          <a:pt x="856" y="119"/>
                        </a:cubicBezTo>
                        <a:cubicBezTo>
                          <a:pt x="821" y="96"/>
                          <a:pt x="821" y="33"/>
                          <a:pt x="782" y="41"/>
                        </a:cubicBezTo>
                        <a:cubicBezTo>
                          <a:pt x="742" y="48"/>
                          <a:pt x="594" y="74"/>
                          <a:pt x="555" y="41"/>
                        </a:cubicBezTo>
                        <a:cubicBezTo>
                          <a:pt x="552" y="39"/>
                          <a:pt x="550" y="37"/>
                          <a:pt x="548" y="35"/>
                        </a:cubicBezTo>
                        <a:cubicBezTo>
                          <a:pt x="539" y="50"/>
                          <a:pt x="531" y="60"/>
                          <a:pt x="525" y="77"/>
                        </a:cubicBezTo>
                        <a:cubicBezTo>
                          <a:pt x="515" y="105"/>
                          <a:pt x="489" y="110"/>
                          <a:pt x="469" y="144"/>
                        </a:cubicBezTo>
                        <a:cubicBezTo>
                          <a:pt x="450" y="177"/>
                          <a:pt x="410" y="163"/>
                          <a:pt x="355" y="166"/>
                        </a:cubicBezTo>
                        <a:cubicBezTo>
                          <a:pt x="299" y="169"/>
                          <a:pt x="309" y="230"/>
                          <a:pt x="296" y="238"/>
                        </a:cubicBezTo>
                        <a:cubicBezTo>
                          <a:pt x="283" y="247"/>
                          <a:pt x="266" y="238"/>
                          <a:pt x="247" y="269"/>
                        </a:cubicBezTo>
                        <a:cubicBezTo>
                          <a:pt x="227" y="299"/>
                          <a:pt x="240" y="311"/>
                          <a:pt x="197" y="313"/>
                        </a:cubicBezTo>
                        <a:cubicBezTo>
                          <a:pt x="155" y="316"/>
                          <a:pt x="165" y="363"/>
                          <a:pt x="145" y="402"/>
                        </a:cubicBezTo>
                        <a:cubicBezTo>
                          <a:pt x="125" y="441"/>
                          <a:pt x="129" y="461"/>
                          <a:pt x="102" y="469"/>
                        </a:cubicBezTo>
                        <a:cubicBezTo>
                          <a:pt x="76" y="477"/>
                          <a:pt x="76" y="491"/>
                          <a:pt x="53" y="522"/>
                        </a:cubicBezTo>
                        <a:cubicBezTo>
                          <a:pt x="30" y="552"/>
                          <a:pt x="63" y="566"/>
                          <a:pt x="99" y="600"/>
                        </a:cubicBezTo>
                        <a:cubicBezTo>
                          <a:pt x="118" y="617"/>
                          <a:pt x="110" y="631"/>
                          <a:pt x="99" y="642"/>
                        </a:cubicBezTo>
                        <a:cubicBezTo>
                          <a:pt x="110" y="644"/>
                          <a:pt x="97" y="653"/>
                          <a:pt x="87" y="695"/>
                        </a:cubicBezTo>
                        <a:cubicBezTo>
                          <a:pt x="74" y="749"/>
                          <a:pt x="140" y="684"/>
                          <a:pt x="175" y="673"/>
                        </a:cubicBezTo>
                        <a:cubicBezTo>
                          <a:pt x="273" y="593"/>
                          <a:pt x="227" y="662"/>
                          <a:pt x="203" y="677"/>
                        </a:cubicBezTo>
                        <a:cubicBezTo>
                          <a:pt x="179" y="691"/>
                          <a:pt x="148" y="740"/>
                          <a:pt x="127" y="760"/>
                        </a:cubicBezTo>
                        <a:cubicBezTo>
                          <a:pt x="105" y="780"/>
                          <a:pt x="96" y="814"/>
                          <a:pt x="63" y="832"/>
                        </a:cubicBezTo>
                        <a:cubicBezTo>
                          <a:pt x="30" y="851"/>
                          <a:pt x="35" y="853"/>
                          <a:pt x="19" y="877"/>
                        </a:cubicBezTo>
                        <a:cubicBezTo>
                          <a:pt x="4" y="901"/>
                          <a:pt x="0" y="908"/>
                          <a:pt x="26" y="923"/>
                        </a:cubicBezTo>
                        <a:cubicBezTo>
                          <a:pt x="52" y="938"/>
                          <a:pt x="72" y="936"/>
                          <a:pt x="109" y="949"/>
                        </a:cubicBezTo>
                        <a:cubicBezTo>
                          <a:pt x="146" y="962"/>
                          <a:pt x="146" y="975"/>
                          <a:pt x="155" y="990"/>
                        </a:cubicBezTo>
                        <a:cubicBezTo>
                          <a:pt x="164" y="1005"/>
                          <a:pt x="177" y="1006"/>
                          <a:pt x="216" y="1016"/>
                        </a:cubicBezTo>
                        <a:cubicBezTo>
                          <a:pt x="255" y="1025"/>
                          <a:pt x="271" y="993"/>
                          <a:pt x="303" y="990"/>
                        </a:cubicBezTo>
                        <a:cubicBezTo>
                          <a:pt x="318" y="988"/>
                          <a:pt x="325" y="995"/>
                          <a:pt x="329" y="1003"/>
                        </a:cubicBezTo>
                        <a:cubicBezTo>
                          <a:pt x="335" y="1001"/>
                          <a:pt x="341" y="998"/>
                          <a:pt x="345" y="996"/>
                        </a:cubicBezTo>
                        <a:cubicBezTo>
                          <a:pt x="353" y="992"/>
                          <a:pt x="362" y="977"/>
                          <a:pt x="377" y="970"/>
                        </a:cubicBezTo>
                        <a:cubicBezTo>
                          <a:pt x="374" y="955"/>
                          <a:pt x="373" y="928"/>
                          <a:pt x="378" y="915"/>
                        </a:cubicBezTo>
                        <a:cubicBezTo>
                          <a:pt x="383" y="901"/>
                          <a:pt x="384" y="910"/>
                          <a:pt x="415" y="896"/>
                        </a:cubicBezTo>
                        <a:cubicBezTo>
                          <a:pt x="446" y="882"/>
                          <a:pt x="464" y="875"/>
                          <a:pt x="489" y="898"/>
                        </a:cubicBezTo>
                        <a:cubicBezTo>
                          <a:pt x="514" y="922"/>
                          <a:pt x="540" y="957"/>
                          <a:pt x="555" y="968"/>
                        </a:cubicBezTo>
                        <a:cubicBezTo>
                          <a:pt x="569" y="979"/>
                          <a:pt x="599" y="947"/>
                          <a:pt x="623" y="975"/>
                        </a:cubicBezTo>
                        <a:cubicBezTo>
                          <a:pt x="648" y="1003"/>
                          <a:pt x="650" y="983"/>
                          <a:pt x="671" y="968"/>
                        </a:cubicBezTo>
                        <a:cubicBezTo>
                          <a:pt x="692" y="953"/>
                          <a:pt x="705" y="957"/>
                          <a:pt x="704" y="940"/>
                        </a:cubicBezTo>
                        <a:cubicBezTo>
                          <a:pt x="702" y="923"/>
                          <a:pt x="704" y="904"/>
                          <a:pt x="754" y="918"/>
                        </a:cubicBezTo>
                        <a:cubicBezTo>
                          <a:pt x="774" y="933"/>
                          <a:pt x="777" y="953"/>
                          <a:pt x="782" y="955"/>
                        </a:cubicBezTo>
                        <a:cubicBezTo>
                          <a:pt x="787" y="958"/>
                          <a:pt x="812" y="967"/>
                          <a:pt x="822" y="947"/>
                        </a:cubicBezTo>
                        <a:cubicBezTo>
                          <a:pt x="831" y="928"/>
                          <a:pt x="820" y="900"/>
                          <a:pt x="851" y="897"/>
                        </a:cubicBezTo>
                        <a:cubicBezTo>
                          <a:pt x="882" y="894"/>
                          <a:pt x="912" y="893"/>
                          <a:pt x="917" y="861"/>
                        </a:cubicBezTo>
                        <a:cubicBezTo>
                          <a:pt x="922" y="829"/>
                          <a:pt x="912" y="811"/>
                          <a:pt x="944" y="793"/>
                        </a:cubicBezTo>
                        <a:cubicBezTo>
                          <a:pt x="973" y="777"/>
                          <a:pt x="969" y="764"/>
                          <a:pt x="1031" y="774"/>
                        </a:cubicBezTo>
                        <a:cubicBezTo>
                          <a:pt x="1037" y="765"/>
                          <a:pt x="1045" y="754"/>
                          <a:pt x="1057" y="734"/>
                        </a:cubicBezTo>
                        <a:cubicBezTo>
                          <a:pt x="1088" y="682"/>
                          <a:pt x="1092" y="649"/>
                          <a:pt x="1136" y="626"/>
                        </a:cubicBezTo>
                        <a:cubicBezTo>
                          <a:pt x="1179" y="604"/>
                          <a:pt x="1188" y="586"/>
                          <a:pt x="1188" y="556"/>
                        </a:cubicBezTo>
                        <a:cubicBezTo>
                          <a:pt x="1188" y="526"/>
                          <a:pt x="1136" y="530"/>
                          <a:pt x="1201" y="504"/>
                        </a:cubicBezTo>
                        <a:cubicBezTo>
                          <a:pt x="1267" y="478"/>
                          <a:pt x="1293" y="508"/>
                          <a:pt x="1297" y="452"/>
                        </a:cubicBezTo>
                        <a:cubicBezTo>
                          <a:pt x="1302" y="397"/>
                          <a:pt x="1284" y="360"/>
                          <a:pt x="1336" y="337"/>
                        </a:cubicBezTo>
                        <a:cubicBezTo>
                          <a:pt x="1389" y="315"/>
                          <a:pt x="1433" y="274"/>
                          <a:pt x="1485" y="248"/>
                        </a:cubicBezTo>
                        <a:cubicBezTo>
                          <a:pt x="1537" y="223"/>
                          <a:pt x="1520" y="171"/>
                          <a:pt x="1572" y="208"/>
                        </a:cubicBezTo>
                        <a:cubicBezTo>
                          <a:pt x="1625" y="245"/>
                          <a:pt x="1660" y="223"/>
                          <a:pt x="1651" y="178"/>
                        </a:cubicBezTo>
                        <a:cubicBezTo>
                          <a:pt x="1642" y="134"/>
                          <a:pt x="1686" y="78"/>
                          <a:pt x="1638" y="71"/>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0" name="Freeform 32">
                    <a:extLst>
                      <a:ext uri="{FF2B5EF4-FFF2-40B4-BE49-F238E27FC236}">
                        <a16:creationId xmlns:a16="http://schemas.microsoft.com/office/drawing/2014/main" id="{BA1EC69D-D5DE-46F9-CEA1-033766287C71}"/>
                      </a:ext>
                    </a:extLst>
                  </p:cNvPr>
                  <p:cNvSpPr>
                    <a:spLocks/>
                  </p:cNvSpPr>
                  <p:nvPr/>
                </p:nvSpPr>
                <p:spPr bwMode="auto">
                  <a:xfrm>
                    <a:off x="4003" y="1366"/>
                    <a:ext cx="624" cy="806"/>
                  </a:xfrm>
                  <a:custGeom>
                    <a:avLst/>
                    <a:gdLst>
                      <a:gd name="T0" fmla="*/ 1147 w 1348"/>
                      <a:gd name="T1" fmla="*/ 478 h 1740"/>
                      <a:gd name="T2" fmla="*/ 1107 w 1348"/>
                      <a:gd name="T3" fmla="*/ 375 h 1740"/>
                      <a:gd name="T4" fmla="*/ 1066 w 1348"/>
                      <a:gd name="T5" fmla="*/ 326 h 1740"/>
                      <a:gd name="T6" fmla="*/ 909 w 1348"/>
                      <a:gd name="T7" fmla="*/ 249 h 1740"/>
                      <a:gd name="T8" fmla="*/ 861 w 1348"/>
                      <a:gd name="T9" fmla="*/ 126 h 1740"/>
                      <a:gd name="T10" fmla="*/ 721 w 1348"/>
                      <a:gd name="T11" fmla="*/ 34 h 1740"/>
                      <a:gd name="T12" fmla="*/ 577 w 1348"/>
                      <a:gd name="T13" fmla="*/ 126 h 1740"/>
                      <a:gd name="T14" fmla="*/ 568 w 1348"/>
                      <a:gd name="T15" fmla="*/ 230 h 1740"/>
                      <a:gd name="T16" fmla="*/ 419 w 1348"/>
                      <a:gd name="T17" fmla="*/ 267 h 1740"/>
                      <a:gd name="T18" fmla="*/ 223 w 1348"/>
                      <a:gd name="T19" fmla="*/ 363 h 1740"/>
                      <a:gd name="T20" fmla="*/ 109 w 1348"/>
                      <a:gd name="T21" fmla="*/ 256 h 1740"/>
                      <a:gd name="T22" fmla="*/ 39 w 1348"/>
                      <a:gd name="T23" fmla="*/ 382 h 1740"/>
                      <a:gd name="T24" fmla="*/ 22 w 1348"/>
                      <a:gd name="T25" fmla="*/ 497 h 1740"/>
                      <a:gd name="T26" fmla="*/ 79 w 1348"/>
                      <a:gd name="T27" fmla="*/ 593 h 1740"/>
                      <a:gd name="T28" fmla="*/ 118 w 1348"/>
                      <a:gd name="T29" fmla="*/ 666 h 1740"/>
                      <a:gd name="T30" fmla="*/ 116 w 1348"/>
                      <a:gd name="T31" fmla="*/ 732 h 1740"/>
                      <a:gd name="T32" fmla="*/ 155 w 1348"/>
                      <a:gd name="T33" fmla="*/ 806 h 1740"/>
                      <a:gd name="T34" fmla="*/ 201 w 1348"/>
                      <a:gd name="T35" fmla="*/ 888 h 1740"/>
                      <a:gd name="T36" fmla="*/ 164 w 1348"/>
                      <a:gd name="T37" fmla="*/ 1008 h 1740"/>
                      <a:gd name="T38" fmla="*/ 72 w 1348"/>
                      <a:gd name="T39" fmla="*/ 1064 h 1740"/>
                      <a:gd name="T40" fmla="*/ 33 w 1348"/>
                      <a:gd name="T41" fmla="*/ 1171 h 1740"/>
                      <a:gd name="T42" fmla="*/ 122 w 1348"/>
                      <a:gd name="T43" fmla="*/ 1288 h 1740"/>
                      <a:gd name="T44" fmla="*/ 181 w 1348"/>
                      <a:gd name="T45" fmla="*/ 1399 h 1740"/>
                      <a:gd name="T46" fmla="*/ 131 w 1348"/>
                      <a:gd name="T47" fmla="*/ 1540 h 1740"/>
                      <a:gd name="T48" fmla="*/ 122 w 1348"/>
                      <a:gd name="T49" fmla="*/ 1683 h 1740"/>
                      <a:gd name="T50" fmla="*/ 221 w 1348"/>
                      <a:gd name="T51" fmla="*/ 1701 h 1740"/>
                      <a:gd name="T52" fmla="*/ 360 w 1348"/>
                      <a:gd name="T53" fmla="*/ 1724 h 1740"/>
                      <a:gd name="T54" fmla="*/ 446 w 1348"/>
                      <a:gd name="T55" fmla="*/ 1718 h 1740"/>
                      <a:gd name="T56" fmla="*/ 536 w 1348"/>
                      <a:gd name="T57" fmla="*/ 1717 h 1740"/>
                      <a:gd name="T58" fmla="*/ 490 w 1348"/>
                      <a:gd name="T59" fmla="*/ 1597 h 1740"/>
                      <a:gd name="T60" fmla="*/ 582 w 1348"/>
                      <a:gd name="T61" fmla="*/ 1477 h 1740"/>
                      <a:gd name="T62" fmla="*/ 684 w 1348"/>
                      <a:gd name="T63" fmla="*/ 1344 h 1740"/>
                      <a:gd name="T64" fmla="*/ 792 w 1348"/>
                      <a:gd name="T65" fmla="*/ 1241 h 1740"/>
                      <a:gd name="T66" fmla="*/ 962 w 1348"/>
                      <a:gd name="T67" fmla="*/ 1152 h 1740"/>
                      <a:gd name="T68" fmla="*/ 924 w 1348"/>
                      <a:gd name="T69" fmla="*/ 1018 h 1740"/>
                      <a:gd name="T70" fmla="*/ 841 w 1348"/>
                      <a:gd name="T71" fmla="*/ 1049 h 1740"/>
                      <a:gd name="T72" fmla="*/ 723 w 1348"/>
                      <a:gd name="T73" fmla="*/ 1021 h 1740"/>
                      <a:gd name="T74" fmla="*/ 723 w 1348"/>
                      <a:gd name="T75" fmla="*/ 907 h 1740"/>
                      <a:gd name="T76" fmla="*/ 680 w 1348"/>
                      <a:gd name="T77" fmla="*/ 805 h 1740"/>
                      <a:gd name="T78" fmla="*/ 602 w 1348"/>
                      <a:gd name="T79" fmla="*/ 860 h 1740"/>
                      <a:gd name="T80" fmla="*/ 444 w 1348"/>
                      <a:gd name="T81" fmla="*/ 843 h 1740"/>
                      <a:gd name="T82" fmla="*/ 412 w 1348"/>
                      <a:gd name="T83" fmla="*/ 721 h 1740"/>
                      <a:gd name="T84" fmla="*/ 484 w 1348"/>
                      <a:gd name="T85" fmla="*/ 663 h 1740"/>
                      <a:gd name="T86" fmla="*/ 546 w 1348"/>
                      <a:gd name="T87" fmla="*/ 540 h 1740"/>
                      <a:gd name="T88" fmla="*/ 634 w 1348"/>
                      <a:gd name="T89" fmla="*/ 482 h 1740"/>
                      <a:gd name="T90" fmla="*/ 798 w 1348"/>
                      <a:gd name="T91" fmla="*/ 552 h 1740"/>
                      <a:gd name="T92" fmla="*/ 838 w 1348"/>
                      <a:gd name="T93" fmla="*/ 649 h 1740"/>
                      <a:gd name="T94" fmla="*/ 867 w 1348"/>
                      <a:gd name="T95" fmla="*/ 757 h 1740"/>
                      <a:gd name="T96" fmla="*/ 962 w 1348"/>
                      <a:gd name="T97" fmla="*/ 824 h 1740"/>
                      <a:gd name="T98" fmla="*/ 996 w 1348"/>
                      <a:gd name="T99" fmla="*/ 895 h 1740"/>
                      <a:gd name="T100" fmla="*/ 1123 w 1348"/>
                      <a:gd name="T101" fmla="*/ 875 h 1740"/>
                      <a:gd name="T102" fmla="*/ 1293 w 1348"/>
                      <a:gd name="T103" fmla="*/ 667 h 1740"/>
                      <a:gd name="T104" fmla="*/ 1251 w 1348"/>
                      <a:gd name="T105" fmla="*/ 514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8" h="1740">
                        <a:moveTo>
                          <a:pt x="1251" y="514"/>
                        </a:moveTo>
                        <a:cubicBezTo>
                          <a:pt x="1243" y="491"/>
                          <a:pt x="1177" y="482"/>
                          <a:pt x="1147" y="478"/>
                        </a:cubicBezTo>
                        <a:cubicBezTo>
                          <a:pt x="1116" y="475"/>
                          <a:pt x="1101" y="473"/>
                          <a:pt x="1077" y="438"/>
                        </a:cubicBezTo>
                        <a:cubicBezTo>
                          <a:pt x="1053" y="402"/>
                          <a:pt x="1103" y="402"/>
                          <a:pt x="1107" y="375"/>
                        </a:cubicBezTo>
                        <a:cubicBezTo>
                          <a:pt x="1110" y="357"/>
                          <a:pt x="1122" y="337"/>
                          <a:pt x="1136" y="319"/>
                        </a:cubicBezTo>
                        <a:cubicBezTo>
                          <a:pt x="1111" y="323"/>
                          <a:pt x="1083" y="326"/>
                          <a:pt x="1066" y="326"/>
                        </a:cubicBezTo>
                        <a:cubicBezTo>
                          <a:pt x="1027" y="326"/>
                          <a:pt x="996" y="352"/>
                          <a:pt x="961" y="326"/>
                        </a:cubicBezTo>
                        <a:cubicBezTo>
                          <a:pt x="926" y="300"/>
                          <a:pt x="939" y="263"/>
                          <a:pt x="909" y="249"/>
                        </a:cubicBezTo>
                        <a:cubicBezTo>
                          <a:pt x="878" y="234"/>
                          <a:pt x="878" y="223"/>
                          <a:pt x="878" y="189"/>
                        </a:cubicBezTo>
                        <a:cubicBezTo>
                          <a:pt x="878" y="156"/>
                          <a:pt x="887" y="141"/>
                          <a:pt x="861" y="126"/>
                        </a:cubicBezTo>
                        <a:cubicBezTo>
                          <a:pt x="834" y="111"/>
                          <a:pt x="795" y="52"/>
                          <a:pt x="795" y="52"/>
                        </a:cubicBezTo>
                        <a:cubicBezTo>
                          <a:pt x="795" y="52"/>
                          <a:pt x="773" y="0"/>
                          <a:pt x="721" y="34"/>
                        </a:cubicBezTo>
                        <a:cubicBezTo>
                          <a:pt x="668" y="67"/>
                          <a:pt x="734" y="52"/>
                          <a:pt x="668" y="67"/>
                        </a:cubicBezTo>
                        <a:cubicBezTo>
                          <a:pt x="603" y="82"/>
                          <a:pt x="572" y="97"/>
                          <a:pt x="577" y="126"/>
                        </a:cubicBezTo>
                        <a:cubicBezTo>
                          <a:pt x="581" y="156"/>
                          <a:pt x="598" y="171"/>
                          <a:pt x="603" y="193"/>
                        </a:cubicBezTo>
                        <a:cubicBezTo>
                          <a:pt x="607" y="215"/>
                          <a:pt x="594" y="245"/>
                          <a:pt x="568" y="230"/>
                        </a:cubicBezTo>
                        <a:cubicBezTo>
                          <a:pt x="542" y="215"/>
                          <a:pt x="515" y="189"/>
                          <a:pt x="489" y="226"/>
                        </a:cubicBezTo>
                        <a:cubicBezTo>
                          <a:pt x="463" y="263"/>
                          <a:pt x="446" y="289"/>
                          <a:pt x="419" y="267"/>
                        </a:cubicBezTo>
                        <a:cubicBezTo>
                          <a:pt x="393" y="245"/>
                          <a:pt x="371" y="249"/>
                          <a:pt x="341" y="282"/>
                        </a:cubicBezTo>
                        <a:cubicBezTo>
                          <a:pt x="310" y="315"/>
                          <a:pt x="262" y="401"/>
                          <a:pt x="223" y="363"/>
                        </a:cubicBezTo>
                        <a:cubicBezTo>
                          <a:pt x="183" y="326"/>
                          <a:pt x="223" y="267"/>
                          <a:pt x="192" y="245"/>
                        </a:cubicBezTo>
                        <a:cubicBezTo>
                          <a:pt x="162" y="223"/>
                          <a:pt x="140" y="226"/>
                          <a:pt x="109" y="256"/>
                        </a:cubicBezTo>
                        <a:cubicBezTo>
                          <a:pt x="79" y="286"/>
                          <a:pt x="74" y="297"/>
                          <a:pt x="74" y="326"/>
                        </a:cubicBezTo>
                        <a:cubicBezTo>
                          <a:pt x="74" y="356"/>
                          <a:pt x="57" y="378"/>
                          <a:pt x="39" y="382"/>
                        </a:cubicBezTo>
                        <a:cubicBezTo>
                          <a:pt x="22" y="386"/>
                          <a:pt x="26" y="393"/>
                          <a:pt x="22" y="430"/>
                        </a:cubicBezTo>
                        <a:cubicBezTo>
                          <a:pt x="17" y="467"/>
                          <a:pt x="44" y="486"/>
                          <a:pt x="22" y="497"/>
                        </a:cubicBezTo>
                        <a:cubicBezTo>
                          <a:pt x="0" y="508"/>
                          <a:pt x="13" y="519"/>
                          <a:pt x="31" y="549"/>
                        </a:cubicBezTo>
                        <a:cubicBezTo>
                          <a:pt x="48" y="578"/>
                          <a:pt x="83" y="578"/>
                          <a:pt x="79" y="593"/>
                        </a:cubicBezTo>
                        <a:cubicBezTo>
                          <a:pt x="78" y="595"/>
                          <a:pt x="78" y="598"/>
                          <a:pt x="78" y="601"/>
                        </a:cubicBezTo>
                        <a:cubicBezTo>
                          <a:pt x="114" y="615"/>
                          <a:pt x="114" y="644"/>
                          <a:pt x="118" y="666"/>
                        </a:cubicBezTo>
                        <a:cubicBezTo>
                          <a:pt x="122" y="690"/>
                          <a:pt x="149" y="669"/>
                          <a:pt x="164" y="697"/>
                        </a:cubicBezTo>
                        <a:cubicBezTo>
                          <a:pt x="179" y="725"/>
                          <a:pt x="146" y="725"/>
                          <a:pt x="116" y="732"/>
                        </a:cubicBezTo>
                        <a:cubicBezTo>
                          <a:pt x="85" y="740"/>
                          <a:pt x="116" y="732"/>
                          <a:pt x="81" y="766"/>
                        </a:cubicBezTo>
                        <a:cubicBezTo>
                          <a:pt x="46" y="799"/>
                          <a:pt x="124" y="806"/>
                          <a:pt x="155" y="806"/>
                        </a:cubicBezTo>
                        <a:cubicBezTo>
                          <a:pt x="186" y="806"/>
                          <a:pt x="179" y="825"/>
                          <a:pt x="179" y="842"/>
                        </a:cubicBezTo>
                        <a:cubicBezTo>
                          <a:pt x="179" y="858"/>
                          <a:pt x="179" y="862"/>
                          <a:pt x="201" y="888"/>
                        </a:cubicBezTo>
                        <a:cubicBezTo>
                          <a:pt x="223" y="914"/>
                          <a:pt x="203" y="938"/>
                          <a:pt x="199" y="955"/>
                        </a:cubicBezTo>
                        <a:cubicBezTo>
                          <a:pt x="194" y="971"/>
                          <a:pt x="183" y="982"/>
                          <a:pt x="164" y="1008"/>
                        </a:cubicBezTo>
                        <a:cubicBezTo>
                          <a:pt x="144" y="1034"/>
                          <a:pt x="118" y="1021"/>
                          <a:pt x="87" y="1010"/>
                        </a:cubicBezTo>
                        <a:cubicBezTo>
                          <a:pt x="57" y="999"/>
                          <a:pt x="72" y="1047"/>
                          <a:pt x="72" y="1064"/>
                        </a:cubicBezTo>
                        <a:cubicBezTo>
                          <a:pt x="72" y="1081"/>
                          <a:pt x="72" y="1077"/>
                          <a:pt x="72" y="1110"/>
                        </a:cubicBezTo>
                        <a:cubicBezTo>
                          <a:pt x="72" y="1144"/>
                          <a:pt x="44" y="1133"/>
                          <a:pt x="33" y="1171"/>
                        </a:cubicBezTo>
                        <a:cubicBezTo>
                          <a:pt x="22" y="1210"/>
                          <a:pt x="46" y="1234"/>
                          <a:pt x="83" y="1246"/>
                        </a:cubicBezTo>
                        <a:cubicBezTo>
                          <a:pt x="120" y="1257"/>
                          <a:pt x="122" y="1270"/>
                          <a:pt x="122" y="1288"/>
                        </a:cubicBezTo>
                        <a:cubicBezTo>
                          <a:pt x="122" y="1307"/>
                          <a:pt x="138" y="1320"/>
                          <a:pt x="159" y="1338"/>
                        </a:cubicBezTo>
                        <a:cubicBezTo>
                          <a:pt x="181" y="1357"/>
                          <a:pt x="183" y="1375"/>
                          <a:pt x="181" y="1399"/>
                        </a:cubicBezTo>
                        <a:cubicBezTo>
                          <a:pt x="179" y="1424"/>
                          <a:pt x="170" y="1438"/>
                          <a:pt x="146" y="1470"/>
                        </a:cubicBezTo>
                        <a:cubicBezTo>
                          <a:pt x="122" y="1501"/>
                          <a:pt x="127" y="1500"/>
                          <a:pt x="131" y="1540"/>
                        </a:cubicBezTo>
                        <a:cubicBezTo>
                          <a:pt x="135" y="1581"/>
                          <a:pt x="118" y="1581"/>
                          <a:pt x="90" y="1601"/>
                        </a:cubicBezTo>
                        <a:cubicBezTo>
                          <a:pt x="61" y="1622"/>
                          <a:pt x="81" y="1655"/>
                          <a:pt x="122" y="1683"/>
                        </a:cubicBezTo>
                        <a:cubicBezTo>
                          <a:pt x="130" y="1688"/>
                          <a:pt x="134" y="1693"/>
                          <a:pt x="137" y="1697"/>
                        </a:cubicBezTo>
                        <a:cubicBezTo>
                          <a:pt x="170" y="1691"/>
                          <a:pt x="204" y="1699"/>
                          <a:pt x="221" y="1701"/>
                        </a:cubicBezTo>
                        <a:cubicBezTo>
                          <a:pt x="245" y="1705"/>
                          <a:pt x="264" y="1716"/>
                          <a:pt x="297" y="1722"/>
                        </a:cubicBezTo>
                        <a:cubicBezTo>
                          <a:pt x="330" y="1727"/>
                          <a:pt x="334" y="1729"/>
                          <a:pt x="360" y="1724"/>
                        </a:cubicBezTo>
                        <a:cubicBezTo>
                          <a:pt x="387" y="1718"/>
                          <a:pt x="382" y="1722"/>
                          <a:pt x="404" y="1731"/>
                        </a:cubicBezTo>
                        <a:cubicBezTo>
                          <a:pt x="426" y="1740"/>
                          <a:pt x="437" y="1737"/>
                          <a:pt x="446" y="1718"/>
                        </a:cubicBezTo>
                        <a:cubicBezTo>
                          <a:pt x="485" y="1672"/>
                          <a:pt x="485" y="1716"/>
                          <a:pt x="520" y="1716"/>
                        </a:cubicBezTo>
                        <a:cubicBezTo>
                          <a:pt x="528" y="1716"/>
                          <a:pt x="533" y="1716"/>
                          <a:pt x="536" y="1717"/>
                        </a:cubicBezTo>
                        <a:cubicBezTo>
                          <a:pt x="547" y="1706"/>
                          <a:pt x="555" y="1692"/>
                          <a:pt x="536" y="1675"/>
                        </a:cubicBezTo>
                        <a:cubicBezTo>
                          <a:pt x="500" y="1641"/>
                          <a:pt x="467" y="1627"/>
                          <a:pt x="490" y="1597"/>
                        </a:cubicBezTo>
                        <a:cubicBezTo>
                          <a:pt x="513" y="1566"/>
                          <a:pt x="513" y="1552"/>
                          <a:pt x="539" y="1544"/>
                        </a:cubicBezTo>
                        <a:cubicBezTo>
                          <a:pt x="566" y="1536"/>
                          <a:pt x="562" y="1516"/>
                          <a:pt x="582" y="1477"/>
                        </a:cubicBezTo>
                        <a:cubicBezTo>
                          <a:pt x="602" y="1438"/>
                          <a:pt x="592" y="1391"/>
                          <a:pt x="634" y="1388"/>
                        </a:cubicBezTo>
                        <a:cubicBezTo>
                          <a:pt x="677" y="1386"/>
                          <a:pt x="664" y="1374"/>
                          <a:pt x="684" y="1344"/>
                        </a:cubicBezTo>
                        <a:cubicBezTo>
                          <a:pt x="703" y="1313"/>
                          <a:pt x="720" y="1322"/>
                          <a:pt x="733" y="1313"/>
                        </a:cubicBezTo>
                        <a:cubicBezTo>
                          <a:pt x="746" y="1305"/>
                          <a:pt x="736" y="1244"/>
                          <a:pt x="792" y="1241"/>
                        </a:cubicBezTo>
                        <a:cubicBezTo>
                          <a:pt x="847" y="1238"/>
                          <a:pt x="887" y="1252"/>
                          <a:pt x="906" y="1219"/>
                        </a:cubicBezTo>
                        <a:cubicBezTo>
                          <a:pt x="926" y="1185"/>
                          <a:pt x="952" y="1180"/>
                          <a:pt x="962" y="1152"/>
                        </a:cubicBezTo>
                        <a:cubicBezTo>
                          <a:pt x="968" y="1135"/>
                          <a:pt x="976" y="1125"/>
                          <a:pt x="985" y="1110"/>
                        </a:cubicBezTo>
                        <a:cubicBezTo>
                          <a:pt x="953" y="1082"/>
                          <a:pt x="922" y="1049"/>
                          <a:pt x="924" y="1018"/>
                        </a:cubicBezTo>
                        <a:cubicBezTo>
                          <a:pt x="913" y="1022"/>
                          <a:pt x="902" y="1028"/>
                          <a:pt x="897" y="1035"/>
                        </a:cubicBezTo>
                        <a:cubicBezTo>
                          <a:pt x="883" y="1052"/>
                          <a:pt x="874" y="1066"/>
                          <a:pt x="841" y="1049"/>
                        </a:cubicBezTo>
                        <a:cubicBezTo>
                          <a:pt x="808" y="1032"/>
                          <a:pt x="802" y="999"/>
                          <a:pt x="782" y="1024"/>
                        </a:cubicBezTo>
                        <a:cubicBezTo>
                          <a:pt x="762" y="1049"/>
                          <a:pt x="746" y="1044"/>
                          <a:pt x="723" y="1021"/>
                        </a:cubicBezTo>
                        <a:cubicBezTo>
                          <a:pt x="700" y="999"/>
                          <a:pt x="690" y="969"/>
                          <a:pt x="707" y="957"/>
                        </a:cubicBezTo>
                        <a:cubicBezTo>
                          <a:pt x="723" y="946"/>
                          <a:pt x="736" y="924"/>
                          <a:pt x="723" y="907"/>
                        </a:cubicBezTo>
                        <a:cubicBezTo>
                          <a:pt x="710" y="891"/>
                          <a:pt x="710" y="866"/>
                          <a:pt x="710" y="843"/>
                        </a:cubicBezTo>
                        <a:cubicBezTo>
                          <a:pt x="710" y="821"/>
                          <a:pt x="707" y="799"/>
                          <a:pt x="680" y="805"/>
                        </a:cubicBezTo>
                        <a:cubicBezTo>
                          <a:pt x="654" y="810"/>
                          <a:pt x="631" y="818"/>
                          <a:pt x="631" y="838"/>
                        </a:cubicBezTo>
                        <a:cubicBezTo>
                          <a:pt x="631" y="857"/>
                          <a:pt x="621" y="877"/>
                          <a:pt x="602" y="860"/>
                        </a:cubicBezTo>
                        <a:cubicBezTo>
                          <a:pt x="582" y="843"/>
                          <a:pt x="572" y="835"/>
                          <a:pt x="536" y="846"/>
                        </a:cubicBezTo>
                        <a:cubicBezTo>
                          <a:pt x="500" y="857"/>
                          <a:pt x="467" y="863"/>
                          <a:pt x="444" y="843"/>
                        </a:cubicBezTo>
                        <a:cubicBezTo>
                          <a:pt x="422" y="824"/>
                          <a:pt x="395" y="807"/>
                          <a:pt x="395" y="782"/>
                        </a:cubicBezTo>
                        <a:cubicBezTo>
                          <a:pt x="395" y="757"/>
                          <a:pt x="389" y="735"/>
                          <a:pt x="412" y="721"/>
                        </a:cubicBezTo>
                        <a:cubicBezTo>
                          <a:pt x="435" y="707"/>
                          <a:pt x="438" y="696"/>
                          <a:pt x="458" y="693"/>
                        </a:cubicBezTo>
                        <a:cubicBezTo>
                          <a:pt x="477" y="691"/>
                          <a:pt x="494" y="677"/>
                          <a:pt x="484" y="663"/>
                        </a:cubicBezTo>
                        <a:cubicBezTo>
                          <a:pt x="474" y="649"/>
                          <a:pt x="451" y="604"/>
                          <a:pt x="481" y="585"/>
                        </a:cubicBezTo>
                        <a:cubicBezTo>
                          <a:pt x="510" y="565"/>
                          <a:pt x="543" y="571"/>
                          <a:pt x="546" y="540"/>
                        </a:cubicBezTo>
                        <a:cubicBezTo>
                          <a:pt x="549" y="510"/>
                          <a:pt x="543" y="507"/>
                          <a:pt x="572" y="485"/>
                        </a:cubicBezTo>
                        <a:cubicBezTo>
                          <a:pt x="602" y="463"/>
                          <a:pt x="608" y="460"/>
                          <a:pt x="634" y="482"/>
                        </a:cubicBezTo>
                        <a:cubicBezTo>
                          <a:pt x="661" y="504"/>
                          <a:pt x="693" y="538"/>
                          <a:pt x="733" y="532"/>
                        </a:cubicBezTo>
                        <a:cubicBezTo>
                          <a:pt x="772" y="527"/>
                          <a:pt x="831" y="527"/>
                          <a:pt x="798" y="552"/>
                        </a:cubicBezTo>
                        <a:cubicBezTo>
                          <a:pt x="766" y="577"/>
                          <a:pt x="762" y="604"/>
                          <a:pt x="779" y="616"/>
                        </a:cubicBezTo>
                        <a:cubicBezTo>
                          <a:pt x="795" y="627"/>
                          <a:pt x="802" y="646"/>
                          <a:pt x="838" y="649"/>
                        </a:cubicBezTo>
                        <a:cubicBezTo>
                          <a:pt x="874" y="652"/>
                          <a:pt x="893" y="668"/>
                          <a:pt x="870" y="693"/>
                        </a:cubicBezTo>
                        <a:cubicBezTo>
                          <a:pt x="847" y="718"/>
                          <a:pt x="854" y="743"/>
                          <a:pt x="867" y="757"/>
                        </a:cubicBezTo>
                        <a:cubicBezTo>
                          <a:pt x="880" y="771"/>
                          <a:pt x="923" y="788"/>
                          <a:pt x="933" y="805"/>
                        </a:cubicBezTo>
                        <a:cubicBezTo>
                          <a:pt x="942" y="821"/>
                          <a:pt x="949" y="818"/>
                          <a:pt x="962" y="824"/>
                        </a:cubicBezTo>
                        <a:cubicBezTo>
                          <a:pt x="975" y="830"/>
                          <a:pt x="982" y="852"/>
                          <a:pt x="982" y="866"/>
                        </a:cubicBezTo>
                        <a:cubicBezTo>
                          <a:pt x="982" y="876"/>
                          <a:pt x="990" y="881"/>
                          <a:pt x="996" y="895"/>
                        </a:cubicBezTo>
                        <a:cubicBezTo>
                          <a:pt x="1007" y="897"/>
                          <a:pt x="1021" y="903"/>
                          <a:pt x="1035" y="908"/>
                        </a:cubicBezTo>
                        <a:cubicBezTo>
                          <a:pt x="1066" y="919"/>
                          <a:pt x="1079" y="886"/>
                          <a:pt x="1123" y="875"/>
                        </a:cubicBezTo>
                        <a:cubicBezTo>
                          <a:pt x="1166" y="864"/>
                          <a:pt x="1223" y="853"/>
                          <a:pt x="1232" y="823"/>
                        </a:cubicBezTo>
                        <a:cubicBezTo>
                          <a:pt x="1241" y="793"/>
                          <a:pt x="1241" y="693"/>
                          <a:pt x="1293" y="667"/>
                        </a:cubicBezTo>
                        <a:cubicBezTo>
                          <a:pt x="1311" y="659"/>
                          <a:pt x="1329" y="649"/>
                          <a:pt x="1348" y="636"/>
                        </a:cubicBezTo>
                        <a:cubicBezTo>
                          <a:pt x="1317" y="593"/>
                          <a:pt x="1259" y="533"/>
                          <a:pt x="1251" y="514"/>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1" name="Freeform 33">
                    <a:extLst>
                      <a:ext uri="{FF2B5EF4-FFF2-40B4-BE49-F238E27FC236}">
                        <a16:creationId xmlns:a16="http://schemas.microsoft.com/office/drawing/2014/main" id="{D58D8DF7-06B7-E7BE-5837-DA7A6FDE01C0}"/>
                      </a:ext>
                    </a:extLst>
                  </p:cNvPr>
                  <p:cNvSpPr>
                    <a:spLocks/>
                  </p:cNvSpPr>
                  <p:nvPr/>
                </p:nvSpPr>
                <p:spPr bwMode="auto">
                  <a:xfrm>
                    <a:off x="4183" y="1579"/>
                    <a:ext cx="205" cy="193"/>
                  </a:xfrm>
                  <a:custGeom>
                    <a:avLst/>
                    <a:gdLst>
                      <a:gd name="T0" fmla="*/ 347 w 442"/>
                      <a:gd name="T1" fmla="*/ 322 h 417"/>
                      <a:gd name="T2" fmla="*/ 399 w 442"/>
                      <a:gd name="T3" fmla="*/ 286 h 417"/>
                      <a:gd name="T4" fmla="*/ 393 w 442"/>
                      <a:gd name="T5" fmla="*/ 219 h 417"/>
                      <a:gd name="T6" fmla="*/ 424 w 442"/>
                      <a:gd name="T7" fmla="*/ 183 h 417"/>
                      <a:gd name="T8" fmla="*/ 390 w 442"/>
                      <a:gd name="T9" fmla="*/ 156 h 417"/>
                      <a:gd name="T10" fmla="*/ 409 w 442"/>
                      <a:gd name="T11" fmla="*/ 92 h 417"/>
                      <a:gd name="T12" fmla="*/ 344 w 442"/>
                      <a:gd name="T13" fmla="*/ 72 h 417"/>
                      <a:gd name="T14" fmla="*/ 245 w 442"/>
                      <a:gd name="T15" fmla="*/ 22 h 417"/>
                      <a:gd name="T16" fmla="*/ 183 w 442"/>
                      <a:gd name="T17" fmla="*/ 25 h 417"/>
                      <a:gd name="T18" fmla="*/ 157 w 442"/>
                      <a:gd name="T19" fmla="*/ 80 h 417"/>
                      <a:gd name="T20" fmla="*/ 92 w 442"/>
                      <a:gd name="T21" fmla="*/ 125 h 417"/>
                      <a:gd name="T22" fmla="*/ 95 w 442"/>
                      <a:gd name="T23" fmla="*/ 203 h 417"/>
                      <a:gd name="T24" fmla="*/ 69 w 442"/>
                      <a:gd name="T25" fmla="*/ 233 h 417"/>
                      <a:gd name="T26" fmla="*/ 23 w 442"/>
                      <a:gd name="T27" fmla="*/ 261 h 417"/>
                      <a:gd name="T28" fmla="*/ 6 w 442"/>
                      <a:gd name="T29" fmla="*/ 322 h 417"/>
                      <a:gd name="T30" fmla="*/ 55 w 442"/>
                      <a:gd name="T31" fmla="*/ 383 h 417"/>
                      <a:gd name="T32" fmla="*/ 147 w 442"/>
                      <a:gd name="T33" fmla="*/ 386 h 417"/>
                      <a:gd name="T34" fmla="*/ 213 w 442"/>
                      <a:gd name="T35" fmla="*/ 400 h 417"/>
                      <a:gd name="T36" fmla="*/ 242 w 442"/>
                      <a:gd name="T37" fmla="*/ 378 h 417"/>
                      <a:gd name="T38" fmla="*/ 291 w 442"/>
                      <a:gd name="T39" fmla="*/ 345 h 417"/>
                      <a:gd name="T40" fmla="*/ 306 w 442"/>
                      <a:gd name="T41" fmla="*/ 345 h 417"/>
                      <a:gd name="T42" fmla="*/ 347 w 442"/>
                      <a:gd name="T43" fmla="*/ 32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417">
                        <a:moveTo>
                          <a:pt x="347" y="322"/>
                        </a:moveTo>
                        <a:cubicBezTo>
                          <a:pt x="383" y="325"/>
                          <a:pt x="406" y="311"/>
                          <a:pt x="399" y="286"/>
                        </a:cubicBezTo>
                        <a:cubicBezTo>
                          <a:pt x="393" y="261"/>
                          <a:pt x="367" y="247"/>
                          <a:pt x="393" y="219"/>
                        </a:cubicBezTo>
                        <a:cubicBezTo>
                          <a:pt x="408" y="204"/>
                          <a:pt x="416" y="194"/>
                          <a:pt x="424" y="183"/>
                        </a:cubicBezTo>
                        <a:cubicBezTo>
                          <a:pt x="408" y="176"/>
                          <a:pt x="401" y="163"/>
                          <a:pt x="390" y="156"/>
                        </a:cubicBezTo>
                        <a:cubicBezTo>
                          <a:pt x="373" y="144"/>
                          <a:pt x="377" y="117"/>
                          <a:pt x="409" y="92"/>
                        </a:cubicBezTo>
                        <a:cubicBezTo>
                          <a:pt x="442" y="67"/>
                          <a:pt x="383" y="67"/>
                          <a:pt x="344" y="72"/>
                        </a:cubicBezTo>
                        <a:cubicBezTo>
                          <a:pt x="304" y="78"/>
                          <a:pt x="272" y="44"/>
                          <a:pt x="245" y="22"/>
                        </a:cubicBezTo>
                        <a:cubicBezTo>
                          <a:pt x="219" y="0"/>
                          <a:pt x="213" y="3"/>
                          <a:pt x="183" y="25"/>
                        </a:cubicBezTo>
                        <a:cubicBezTo>
                          <a:pt x="154" y="47"/>
                          <a:pt x="160" y="50"/>
                          <a:pt x="157" y="80"/>
                        </a:cubicBezTo>
                        <a:cubicBezTo>
                          <a:pt x="154" y="111"/>
                          <a:pt x="121" y="105"/>
                          <a:pt x="92" y="125"/>
                        </a:cubicBezTo>
                        <a:cubicBezTo>
                          <a:pt x="62" y="144"/>
                          <a:pt x="85" y="189"/>
                          <a:pt x="95" y="203"/>
                        </a:cubicBezTo>
                        <a:cubicBezTo>
                          <a:pt x="105" y="217"/>
                          <a:pt x="88" y="231"/>
                          <a:pt x="69" y="233"/>
                        </a:cubicBezTo>
                        <a:cubicBezTo>
                          <a:pt x="49" y="236"/>
                          <a:pt x="46" y="247"/>
                          <a:pt x="23" y="261"/>
                        </a:cubicBezTo>
                        <a:cubicBezTo>
                          <a:pt x="0" y="275"/>
                          <a:pt x="6" y="297"/>
                          <a:pt x="6" y="322"/>
                        </a:cubicBezTo>
                        <a:cubicBezTo>
                          <a:pt x="6" y="347"/>
                          <a:pt x="33" y="364"/>
                          <a:pt x="55" y="383"/>
                        </a:cubicBezTo>
                        <a:cubicBezTo>
                          <a:pt x="78" y="403"/>
                          <a:pt x="111" y="397"/>
                          <a:pt x="147" y="386"/>
                        </a:cubicBezTo>
                        <a:cubicBezTo>
                          <a:pt x="183" y="375"/>
                          <a:pt x="193" y="383"/>
                          <a:pt x="213" y="400"/>
                        </a:cubicBezTo>
                        <a:cubicBezTo>
                          <a:pt x="232" y="417"/>
                          <a:pt x="242" y="397"/>
                          <a:pt x="242" y="378"/>
                        </a:cubicBezTo>
                        <a:cubicBezTo>
                          <a:pt x="242" y="358"/>
                          <a:pt x="265" y="350"/>
                          <a:pt x="291" y="345"/>
                        </a:cubicBezTo>
                        <a:cubicBezTo>
                          <a:pt x="297" y="343"/>
                          <a:pt x="302" y="344"/>
                          <a:pt x="306" y="345"/>
                        </a:cubicBezTo>
                        <a:cubicBezTo>
                          <a:pt x="318" y="332"/>
                          <a:pt x="333" y="321"/>
                          <a:pt x="347" y="322"/>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2" name="Freeform 34">
                    <a:extLst>
                      <a:ext uri="{FF2B5EF4-FFF2-40B4-BE49-F238E27FC236}">
                        <a16:creationId xmlns:a16="http://schemas.microsoft.com/office/drawing/2014/main" id="{136F163C-99F3-D26C-D15F-631043324440}"/>
                      </a:ext>
                    </a:extLst>
                  </p:cNvPr>
                  <p:cNvSpPr>
                    <a:spLocks/>
                  </p:cNvSpPr>
                  <p:nvPr/>
                </p:nvSpPr>
                <p:spPr bwMode="auto">
                  <a:xfrm>
                    <a:off x="4323" y="1664"/>
                    <a:ext cx="141" cy="196"/>
                  </a:xfrm>
                  <a:custGeom>
                    <a:avLst/>
                    <a:gdLst>
                      <a:gd name="T0" fmla="*/ 292 w 306"/>
                      <a:gd name="T1" fmla="*/ 223 h 423"/>
                      <a:gd name="T2" fmla="*/ 272 w 306"/>
                      <a:gd name="T3" fmla="*/ 181 h 423"/>
                      <a:gd name="T4" fmla="*/ 243 w 306"/>
                      <a:gd name="T5" fmla="*/ 162 h 423"/>
                      <a:gd name="T6" fmla="*/ 177 w 306"/>
                      <a:gd name="T7" fmla="*/ 114 h 423"/>
                      <a:gd name="T8" fmla="*/ 180 w 306"/>
                      <a:gd name="T9" fmla="*/ 50 h 423"/>
                      <a:gd name="T10" fmla="*/ 148 w 306"/>
                      <a:gd name="T11" fmla="*/ 6 h 423"/>
                      <a:gd name="T12" fmla="*/ 123 w 306"/>
                      <a:gd name="T13" fmla="*/ 0 h 423"/>
                      <a:gd name="T14" fmla="*/ 92 w 306"/>
                      <a:gd name="T15" fmla="*/ 36 h 423"/>
                      <a:gd name="T16" fmla="*/ 98 w 306"/>
                      <a:gd name="T17" fmla="*/ 103 h 423"/>
                      <a:gd name="T18" fmla="*/ 46 w 306"/>
                      <a:gd name="T19" fmla="*/ 139 h 423"/>
                      <a:gd name="T20" fmla="*/ 5 w 306"/>
                      <a:gd name="T21" fmla="*/ 162 h 423"/>
                      <a:gd name="T22" fmla="*/ 20 w 306"/>
                      <a:gd name="T23" fmla="*/ 200 h 423"/>
                      <a:gd name="T24" fmla="*/ 33 w 306"/>
                      <a:gd name="T25" fmla="*/ 264 h 423"/>
                      <a:gd name="T26" fmla="*/ 17 w 306"/>
                      <a:gd name="T27" fmla="*/ 314 h 423"/>
                      <a:gd name="T28" fmla="*/ 33 w 306"/>
                      <a:gd name="T29" fmla="*/ 378 h 423"/>
                      <a:gd name="T30" fmla="*/ 92 w 306"/>
                      <a:gd name="T31" fmla="*/ 381 h 423"/>
                      <a:gd name="T32" fmla="*/ 151 w 306"/>
                      <a:gd name="T33" fmla="*/ 406 h 423"/>
                      <a:gd name="T34" fmla="*/ 207 w 306"/>
                      <a:gd name="T35" fmla="*/ 392 h 423"/>
                      <a:gd name="T36" fmla="*/ 234 w 306"/>
                      <a:gd name="T37" fmla="*/ 375 h 423"/>
                      <a:gd name="T38" fmla="*/ 236 w 306"/>
                      <a:gd name="T39" fmla="*/ 362 h 423"/>
                      <a:gd name="T40" fmla="*/ 280 w 306"/>
                      <a:gd name="T41" fmla="*/ 269 h 423"/>
                      <a:gd name="T42" fmla="*/ 306 w 306"/>
                      <a:gd name="T43" fmla="*/ 252 h 423"/>
                      <a:gd name="T44" fmla="*/ 292 w 306"/>
                      <a:gd name="T45" fmla="*/ 2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6" h="423">
                        <a:moveTo>
                          <a:pt x="292" y="223"/>
                        </a:moveTo>
                        <a:cubicBezTo>
                          <a:pt x="292" y="209"/>
                          <a:pt x="285" y="187"/>
                          <a:pt x="272" y="181"/>
                        </a:cubicBezTo>
                        <a:cubicBezTo>
                          <a:pt x="259" y="175"/>
                          <a:pt x="252" y="178"/>
                          <a:pt x="243" y="162"/>
                        </a:cubicBezTo>
                        <a:cubicBezTo>
                          <a:pt x="233" y="145"/>
                          <a:pt x="190" y="128"/>
                          <a:pt x="177" y="114"/>
                        </a:cubicBezTo>
                        <a:cubicBezTo>
                          <a:pt x="164" y="100"/>
                          <a:pt x="157" y="75"/>
                          <a:pt x="180" y="50"/>
                        </a:cubicBezTo>
                        <a:cubicBezTo>
                          <a:pt x="203" y="25"/>
                          <a:pt x="184" y="9"/>
                          <a:pt x="148" y="6"/>
                        </a:cubicBezTo>
                        <a:cubicBezTo>
                          <a:pt x="137" y="5"/>
                          <a:pt x="130" y="3"/>
                          <a:pt x="123" y="0"/>
                        </a:cubicBezTo>
                        <a:cubicBezTo>
                          <a:pt x="115" y="11"/>
                          <a:pt x="107" y="21"/>
                          <a:pt x="92" y="36"/>
                        </a:cubicBezTo>
                        <a:cubicBezTo>
                          <a:pt x="66" y="64"/>
                          <a:pt x="92" y="78"/>
                          <a:pt x="98" y="103"/>
                        </a:cubicBezTo>
                        <a:cubicBezTo>
                          <a:pt x="105" y="128"/>
                          <a:pt x="82" y="142"/>
                          <a:pt x="46" y="139"/>
                        </a:cubicBezTo>
                        <a:cubicBezTo>
                          <a:pt x="32" y="138"/>
                          <a:pt x="17" y="149"/>
                          <a:pt x="5" y="162"/>
                        </a:cubicBezTo>
                        <a:cubicBezTo>
                          <a:pt x="18" y="166"/>
                          <a:pt x="20" y="183"/>
                          <a:pt x="20" y="200"/>
                        </a:cubicBezTo>
                        <a:cubicBezTo>
                          <a:pt x="20" y="223"/>
                          <a:pt x="20" y="248"/>
                          <a:pt x="33" y="264"/>
                        </a:cubicBezTo>
                        <a:cubicBezTo>
                          <a:pt x="46" y="281"/>
                          <a:pt x="33" y="303"/>
                          <a:pt x="17" y="314"/>
                        </a:cubicBezTo>
                        <a:cubicBezTo>
                          <a:pt x="0" y="326"/>
                          <a:pt x="10" y="356"/>
                          <a:pt x="33" y="378"/>
                        </a:cubicBezTo>
                        <a:cubicBezTo>
                          <a:pt x="56" y="401"/>
                          <a:pt x="72" y="406"/>
                          <a:pt x="92" y="381"/>
                        </a:cubicBezTo>
                        <a:cubicBezTo>
                          <a:pt x="112" y="356"/>
                          <a:pt x="118" y="389"/>
                          <a:pt x="151" y="406"/>
                        </a:cubicBezTo>
                        <a:cubicBezTo>
                          <a:pt x="184" y="423"/>
                          <a:pt x="193" y="409"/>
                          <a:pt x="207" y="392"/>
                        </a:cubicBezTo>
                        <a:cubicBezTo>
                          <a:pt x="212" y="385"/>
                          <a:pt x="223" y="379"/>
                          <a:pt x="234" y="375"/>
                        </a:cubicBezTo>
                        <a:cubicBezTo>
                          <a:pt x="234" y="370"/>
                          <a:pt x="235" y="366"/>
                          <a:pt x="236" y="362"/>
                        </a:cubicBezTo>
                        <a:cubicBezTo>
                          <a:pt x="249" y="325"/>
                          <a:pt x="271" y="299"/>
                          <a:pt x="280" y="269"/>
                        </a:cubicBezTo>
                        <a:cubicBezTo>
                          <a:pt x="284" y="253"/>
                          <a:pt x="294" y="250"/>
                          <a:pt x="306" y="252"/>
                        </a:cubicBezTo>
                        <a:cubicBezTo>
                          <a:pt x="300" y="238"/>
                          <a:pt x="292" y="233"/>
                          <a:pt x="292" y="223"/>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3" name="Freeform 35">
                    <a:extLst>
                      <a:ext uri="{FF2B5EF4-FFF2-40B4-BE49-F238E27FC236}">
                        <a16:creationId xmlns:a16="http://schemas.microsoft.com/office/drawing/2014/main" id="{280C5727-41B4-3335-F561-279835467836}"/>
                      </a:ext>
                    </a:extLst>
                  </p:cNvPr>
                  <p:cNvSpPr>
                    <a:spLocks/>
                  </p:cNvSpPr>
                  <p:nvPr/>
                </p:nvSpPr>
                <p:spPr bwMode="auto">
                  <a:xfrm>
                    <a:off x="5023" y="3295"/>
                    <a:ext cx="201" cy="412"/>
                  </a:xfrm>
                  <a:custGeom>
                    <a:avLst/>
                    <a:gdLst>
                      <a:gd name="T0" fmla="*/ 172 w 434"/>
                      <a:gd name="T1" fmla="*/ 136 h 890"/>
                      <a:gd name="T2" fmla="*/ 137 w 434"/>
                      <a:gd name="T3" fmla="*/ 212 h 890"/>
                      <a:gd name="T4" fmla="*/ 102 w 434"/>
                      <a:gd name="T5" fmla="*/ 249 h 890"/>
                      <a:gd name="T6" fmla="*/ 78 w 434"/>
                      <a:gd name="T7" fmla="*/ 336 h 890"/>
                      <a:gd name="T8" fmla="*/ 50 w 434"/>
                      <a:gd name="T9" fmla="*/ 406 h 890"/>
                      <a:gd name="T10" fmla="*/ 43 w 434"/>
                      <a:gd name="T11" fmla="*/ 445 h 890"/>
                      <a:gd name="T12" fmla="*/ 13 w 434"/>
                      <a:gd name="T13" fmla="*/ 506 h 890"/>
                      <a:gd name="T14" fmla="*/ 32 w 434"/>
                      <a:gd name="T15" fmla="*/ 545 h 890"/>
                      <a:gd name="T16" fmla="*/ 28 w 434"/>
                      <a:gd name="T17" fmla="*/ 625 h 890"/>
                      <a:gd name="T18" fmla="*/ 72 w 434"/>
                      <a:gd name="T19" fmla="*/ 668 h 890"/>
                      <a:gd name="T20" fmla="*/ 111 w 434"/>
                      <a:gd name="T21" fmla="*/ 734 h 890"/>
                      <a:gd name="T22" fmla="*/ 185 w 434"/>
                      <a:gd name="T23" fmla="*/ 773 h 890"/>
                      <a:gd name="T24" fmla="*/ 244 w 434"/>
                      <a:gd name="T25" fmla="*/ 834 h 890"/>
                      <a:gd name="T26" fmla="*/ 284 w 434"/>
                      <a:gd name="T27" fmla="*/ 888 h 890"/>
                      <a:gd name="T28" fmla="*/ 312 w 434"/>
                      <a:gd name="T29" fmla="*/ 855 h 890"/>
                      <a:gd name="T30" fmla="*/ 301 w 434"/>
                      <a:gd name="T31" fmla="*/ 788 h 890"/>
                      <a:gd name="T32" fmla="*/ 318 w 434"/>
                      <a:gd name="T33" fmla="*/ 705 h 890"/>
                      <a:gd name="T34" fmla="*/ 364 w 434"/>
                      <a:gd name="T35" fmla="*/ 619 h 890"/>
                      <a:gd name="T36" fmla="*/ 377 w 434"/>
                      <a:gd name="T37" fmla="*/ 580 h 890"/>
                      <a:gd name="T38" fmla="*/ 388 w 434"/>
                      <a:gd name="T39" fmla="*/ 492 h 890"/>
                      <a:gd name="T40" fmla="*/ 401 w 434"/>
                      <a:gd name="T41" fmla="*/ 438 h 890"/>
                      <a:gd name="T42" fmla="*/ 397 w 434"/>
                      <a:gd name="T43" fmla="*/ 386 h 890"/>
                      <a:gd name="T44" fmla="*/ 419 w 434"/>
                      <a:gd name="T45" fmla="*/ 336 h 890"/>
                      <a:gd name="T46" fmla="*/ 404 w 434"/>
                      <a:gd name="T47" fmla="*/ 278 h 890"/>
                      <a:gd name="T48" fmla="*/ 432 w 434"/>
                      <a:gd name="T49" fmla="*/ 206 h 890"/>
                      <a:gd name="T50" fmla="*/ 406 w 434"/>
                      <a:gd name="T51" fmla="*/ 115 h 890"/>
                      <a:gd name="T52" fmla="*/ 406 w 434"/>
                      <a:gd name="T53" fmla="*/ 45 h 890"/>
                      <a:gd name="T54" fmla="*/ 329 w 434"/>
                      <a:gd name="T55" fmla="*/ 30 h 890"/>
                      <a:gd name="T56" fmla="*/ 294 w 434"/>
                      <a:gd name="T57" fmla="*/ 15 h 890"/>
                      <a:gd name="T58" fmla="*/ 238 w 434"/>
                      <a:gd name="T59" fmla="*/ 62 h 890"/>
                      <a:gd name="T60" fmla="*/ 183 w 434"/>
                      <a:gd name="T61" fmla="*/ 93 h 890"/>
                      <a:gd name="T62" fmla="*/ 172 w 434"/>
                      <a:gd name="T63" fmla="*/ 136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890">
                        <a:moveTo>
                          <a:pt x="172" y="136"/>
                        </a:moveTo>
                        <a:cubicBezTo>
                          <a:pt x="172" y="136"/>
                          <a:pt x="166" y="208"/>
                          <a:pt x="137" y="212"/>
                        </a:cubicBezTo>
                        <a:cubicBezTo>
                          <a:pt x="109" y="215"/>
                          <a:pt x="111" y="225"/>
                          <a:pt x="102" y="249"/>
                        </a:cubicBezTo>
                        <a:cubicBezTo>
                          <a:pt x="93" y="273"/>
                          <a:pt x="93" y="317"/>
                          <a:pt x="78" y="336"/>
                        </a:cubicBezTo>
                        <a:cubicBezTo>
                          <a:pt x="63" y="354"/>
                          <a:pt x="48" y="391"/>
                          <a:pt x="50" y="406"/>
                        </a:cubicBezTo>
                        <a:cubicBezTo>
                          <a:pt x="52" y="421"/>
                          <a:pt x="56" y="434"/>
                          <a:pt x="43" y="445"/>
                        </a:cubicBezTo>
                        <a:cubicBezTo>
                          <a:pt x="30" y="456"/>
                          <a:pt x="8" y="484"/>
                          <a:pt x="13" y="506"/>
                        </a:cubicBezTo>
                        <a:cubicBezTo>
                          <a:pt x="17" y="529"/>
                          <a:pt x="32" y="516"/>
                          <a:pt x="32" y="545"/>
                        </a:cubicBezTo>
                        <a:cubicBezTo>
                          <a:pt x="32" y="575"/>
                          <a:pt x="0" y="595"/>
                          <a:pt x="28" y="625"/>
                        </a:cubicBezTo>
                        <a:cubicBezTo>
                          <a:pt x="56" y="655"/>
                          <a:pt x="67" y="649"/>
                          <a:pt x="72" y="668"/>
                        </a:cubicBezTo>
                        <a:cubicBezTo>
                          <a:pt x="76" y="686"/>
                          <a:pt x="83" y="710"/>
                          <a:pt x="111" y="734"/>
                        </a:cubicBezTo>
                        <a:cubicBezTo>
                          <a:pt x="139" y="758"/>
                          <a:pt x="166" y="747"/>
                          <a:pt x="185" y="773"/>
                        </a:cubicBezTo>
                        <a:cubicBezTo>
                          <a:pt x="205" y="799"/>
                          <a:pt x="240" y="808"/>
                          <a:pt x="244" y="834"/>
                        </a:cubicBezTo>
                        <a:cubicBezTo>
                          <a:pt x="249" y="860"/>
                          <a:pt x="266" y="886"/>
                          <a:pt x="284" y="888"/>
                        </a:cubicBezTo>
                        <a:cubicBezTo>
                          <a:pt x="301" y="890"/>
                          <a:pt x="325" y="881"/>
                          <a:pt x="312" y="855"/>
                        </a:cubicBezTo>
                        <a:cubicBezTo>
                          <a:pt x="299" y="829"/>
                          <a:pt x="308" y="816"/>
                          <a:pt x="301" y="788"/>
                        </a:cubicBezTo>
                        <a:cubicBezTo>
                          <a:pt x="294" y="760"/>
                          <a:pt x="294" y="727"/>
                          <a:pt x="318" y="705"/>
                        </a:cubicBezTo>
                        <a:cubicBezTo>
                          <a:pt x="342" y="682"/>
                          <a:pt x="362" y="645"/>
                          <a:pt x="364" y="619"/>
                        </a:cubicBezTo>
                        <a:cubicBezTo>
                          <a:pt x="366" y="593"/>
                          <a:pt x="358" y="593"/>
                          <a:pt x="377" y="580"/>
                        </a:cubicBezTo>
                        <a:cubicBezTo>
                          <a:pt x="397" y="568"/>
                          <a:pt x="371" y="512"/>
                          <a:pt x="388" y="492"/>
                        </a:cubicBezTo>
                        <a:cubicBezTo>
                          <a:pt x="406" y="471"/>
                          <a:pt x="415" y="451"/>
                          <a:pt x="401" y="438"/>
                        </a:cubicBezTo>
                        <a:cubicBezTo>
                          <a:pt x="388" y="425"/>
                          <a:pt x="380" y="395"/>
                          <a:pt x="397" y="386"/>
                        </a:cubicBezTo>
                        <a:cubicBezTo>
                          <a:pt x="415" y="377"/>
                          <a:pt x="432" y="356"/>
                          <a:pt x="419" y="336"/>
                        </a:cubicBezTo>
                        <a:cubicBezTo>
                          <a:pt x="406" y="315"/>
                          <a:pt x="397" y="306"/>
                          <a:pt x="404" y="278"/>
                        </a:cubicBezTo>
                        <a:cubicBezTo>
                          <a:pt x="410" y="251"/>
                          <a:pt x="430" y="239"/>
                          <a:pt x="432" y="206"/>
                        </a:cubicBezTo>
                        <a:cubicBezTo>
                          <a:pt x="434" y="173"/>
                          <a:pt x="401" y="149"/>
                          <a:pt x="406" y="115"/>
                        </a:cubicBezTo>
                        <a:cubicBezTo>
                          <a:pt x="410" y="82"/>
                          <a:pt x="423" y="58"/>
                          <a:pt x="406" y="45"/>
                        </a:cubicBezTo>
                        <a:cubicBezTo>
                          <a:pt x="388" y="32"/>
                          <a:pt x="340" y="41"/>
                          <a:pt x="329" y="30"/>
                        </a:cubicBezTo>
                        <a:cubicBezTo>
                          <a:pt x="318" y="19"/>
                          <a:pt x="312" y="0"/>
                          <a:pt x="294" y="15"/>
                        </a:cubicBezTo>
                        <a:cubicBezTo>
                          <a:pt x="277" y="30"/>
                          <a:pt x="259" y="56"/>
                          <a:pt x="238" y="62"/>
                        </a:cubicBezTo>
                        <a:cubicBezTo>
                          <a:pt x="216" y="67"/>
                          <a:pt x="198" y="78"/>
                          <a:pt x="183" y="93"/>
                        </a:cubicBezTo>
                        <a:cubicBezTo>
                          <a:pt x="168" y="108"/>
                          <a:pt x="172" y="113"/>
                          <a:pt x="172" y="136"/>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4" name="Freeform 36">
                    <a:extLst>
                      <a:ext uri="{FF2B5EF4-FFF2-40B4-BE49-F238E27FC236}">
                        <a16:creationId xmlns:a16="http://schemas.microsoft.com/office/drawing/2014/main" id="{856C3A31-D281-2B44-6DEC-C6B58BD40A1A}"/>
                      </a:ext>
                    </a:extLst>
                  </p:cNvPr>
                  <p:cNvSpPr>
                    <a:spLocks/>
                  </p:cNvSpPr>
                  <p:nvPr/>
                </p:nvSpPr>
                <p:spPr bwMode="auto">
                  <a:xfrm>
                    <a:off x="5438" y="3349"/>
                    <a:ext cx="38" cy="22"/>
                  </a:xfrm>
                  <a:custGeom>
                    <a:avLst/>
                    <a:gdLst>
                      <a:gd name="T0" fmla="*/ 53 w 81"/>
                      <a:gd name="T1" fmla="*/ 2 h 48"/>
                      <a:gd name="T2" fmla="*/ 5 w 81"/>
                      <a:gd name="T3" fmla="*/ 19 h 48"/>
                      <a:gd name="T4" fmla="*/ 31 w 81"/>
                      <a:gd name="T5" fmla="*/ 45 h 48"/>
                      <a:gd name="T6" fmla="*/ 53 w 81"/>
                      <a:gd name="T7" fmla="*/ 2 h 48"/>
                    </a:gdLst>
                    <a:ahLst/>
                    <a:cxnLst>
                      <a:cxn ang="0">
                        <a:pos x="T0" y="T1"/>
                      </a:cxn>
                      <a:cxn ang="0">
                        <a:pos x="T2" y="T3"/>
                      </a:cxn>
                      <a:cxn ang="0">
                        <a:pos x="T4" y="T5"/>
                      </a:cxn>
                      <a:cxn ang="0">
                        <a:pos x="T6" y="T7"/>
                      </a:cxn>
                    </a:cxnLst>
                    <a:rect l="0" t="0" r="r" b="b"/>
                    <a:pathLst>
                      <a:path w="81" h="48">
                        <a:moveTo>
                          <a:pt x="53" y="2"/>
                        </a:moveTo>
                        <a:cubicBezTo>
                          <a:pt x="53" y="2"/>
                          <a:pt x="0" y="0"/>
                          <a:pt x="5" y="19"/>
                        </a:cubicBezTo>
                        <a:cubicBezTo>
                          <a:pt x="9" y="37"/>
                          <a:pt x="5" y="41"/>
                          <a:pt x="31" y="45"/>
                        </a:cubicBezTo>
                        <a:cubicBezTo>
                          <a:pt x="57" y="48"/>
                          <a:pt x="81" y="15"/>
                          <a:pt x="53" y="2"/>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5" name="Freeform 37">
                    <a:extLst>
                      <a:ext uri="{FF2B5EF4-FFF2-40B4-BE49-F238E27FC236}">
                        <a16:creationId xmlns:a16="http://schemas.microsoft.com/office/drawing/2014/main" id="{8EE0F24A-AE15-3FF6-B470-894162FCDDC0}"/>
                      </a:ext>
                    </a:extLst>
                  </p:cNvPr>
                  <p:cNvSpPr>
                    <a:spLocks/>
                  </p:cNvSpPr>
                  <p:nvPr/>
                </p:nvSpPr>
                <p:spPr bwMode="auto">
                  <a:xfrm>
                    <a:off x="5489" y="3325"/>
                    <a:ext cx="25" cy="32"/>
                  </a:xfrm>
                  <a:custGeom>
                    <a:avLst/>
                    <a:gdLst>
                      <a:gd name="T0" fmla="*/ 33 w 55"/>
                      <a:gd name="T1" fmla="*/ 0 h 69"/>
                      <a:gd name="T2" fmla="*/ 3 w 55"/>
                      <a:gd name="T3" fmla="*/ 34 h 69"/>
                      <a:gd name="T4" fmla="*/ 35 w 55"/>
                      <a:gd name="T5" fmla="*/ 50 h 69"/>
                      <a:gd name="T6" fmla="*/ 33 w 55"/>
                      <a:gd name="T7" fmla="*/ 0 h 69"/>
                    </a:gdLst>
                    <a:ahLst/>
                    <a:cxnLst>
                      <a:cxn ang="0">
                        <a:pos x="T0" y="T1"/>
                      </a:cxn>
                      <a:cxn ang="0">
                        <a:pos x="T2" y="T3"/>
                      </a:cxn>
                      <a:cxn ang="0">
                        <a:pos x="T4" y="T5"/>
                      </a:cxn>
                      <a:cxn ang="0">
                        <a:pos x="T6" y="T7"/>
                      </a:cxn>
                    </a:cxnLst>
                    <a:rect l="0" t="0" r="r" b="b"/>
                    <a:pathLst>
                      <a:path w="55" h="69">
                        <a:moveTo>
                          <a:pt x="33" y="0"/>
                        </a:moveTo>
                        <a:cubicBezTo>
                          <a:pt x="33" y="0"/>
                          <a:pt x="0" y="15"/>
                          <a:pt x="3" y="34"/>
                        </a:cubicBezTo>
                        <a:cubicBezTo>
                          <a:pt x="5" y="52"/>
                          <a:pt x="31" y="69"/>
                          <a:pt x="35" y="50"/>
                        </a:cubicBezTo>
                        <a:cubicBezTo>
                          <a:pt x="40" y="32"/>
                          <a:pt x="55" y="4"/>
                          <a:pt x="33" y="0"/>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6" name="Freeform 38">
                    <a:extLst>
                      <a:ext uri="{FF2B5EF4-FFF2-40B4-BE49-F238E27FC236}">
                        <a16:creationId xmlns:a16="http://schemas.microsoft.com/office/drawing/2014/main" id="{CC8515B6-CF77-52F8-EA3E-6395A39EDBA5}"/>
                      </a:ext>
                    </a:extLst>
                  </p:cNvPr>
                  <p:cNvSpPr>
                    <a:spLocks/>
                  </p:cNvSpPr>
                  <p:nvPr/>
                </p:nvSpPr>
                <p:spPr bwMode="auto">
                  <a:xfrm>
                    <a:off x="5605" y="3264"/>
                    <a:ext cx="36" cy="26"/>
                  </a:xfrm>
                  <a:custGeom>
                    <a:avLst/>
                    <a:gdLst>
                      <a:gd name="T0" fmla="*/ 45 w 78"/>
                      <a:gd name="T1" fmla="*/ 9 h 55"/>
                      <a:gd name="T2" fmla="*/ 2 w 78"/>
                      <a:gd name="T3" fmla="*/ 11 h 55"/>
                      <a:gd name="T4" fmla="*/ 19 w 78"/>
                      <a:gd name="T5" fmla="*/ 40 h 55"/>
                      <a:gd name="T6" fmla="*/ 50 w 78"/>
                      <a:gd name="T7" fmla="*/ 44 h 55"/>
                      <a:gd name="T8" fmla="*/ 45 w 78"/>
                      <a:gd name="T9" fmla="*/ 9 h 55"/>
                    </a:gdLst>
                    <a:ahLst/>
                    <a:cxnLst>
                      <a:cxn ang="0">
                        <a:pos x="T0" y="T1"/>
                      </a:cxn>
                      <a:cxn ang="0">
                        <a:pos x="T2" y="T3"/>
                      </a:cxn>
                      <a:cxn ang="0">
                        <a:pos x="T4" y="T5"/>
                      </a:cxn>
                      <a:cxn ang="0">
                        <a:pos x="T6" y="T7"/>
                      </a:cxn>
                      <a:cxn ang="0">
                        <a:pos x="T8" y="T9"/>
                      </a:cxn>
                    </a:cxnLst>
                    <a:rect l="0" t="0" r="r" b="b"/>
                    <a:pathLst>
                      <a:path w="78" h="55">
                        <a:moveTo>
                          <a:pt x="45" y="9"/>
                        </a:moveTo>
                        <a:cubicBezTo>
                          <a:pt x="45" y="9"/>
                          <a:pt x="0" y="0"/>
                          <a:pt x="2" y="11"/>
                        </a:cubicBezTo>
                        <a:cubicBezTo>
                          <a:pt x="4" y="22"/>
                          <a:pt x="15" y="28"/>
                          <a:pt x="19" y="40"/>
                        </a:cubicBezTo>
                        <a:cubicBezTo>
                          <a:pt x="24" y="53"/>
                          <a:pt x="43" y="55"/>
                          <a:pt x="50" y="44"/>
                        </a:cubicBezTo>
                        <a:cubicBezTo>
                          <a:pt x="56" y="33"/>
                          <a:pt x="78" y="9"/>
                          <a:pt x="45" y="9"/>
                        </a:cubicBezTo>
                        <a:close/>
                      </a:path>
                    </a:pathLst>
                  </a:custGeom>
                  <a:grpFill/>
                  <a:ln w="6350" cap="rnd" cmpd="sng">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grpSp>
          </p:grpSp>
          <p:sp>
            <p:nvSpPr>
              <p:cNvPr id="40" name="Rectangle 39">
                <a:extLst>
                  <a:ext uri="{FF2B5EF4-FFF2-40B4-BE49-F238E27FC236}">
                    <a16:creationId xmlns:a16="http://schemas.microsoft.com/office/drawing/2014/main" id="{5D5B3906-BC1D-CA4D-D617-5C14B51E5050}"/>
                  </a:ext>
                </a:extLst>
              </p:cNvPr>
              <p:cNvSpPr/>
              <p:nvPr/>
            </p:nvSpPr>
            <p:spPr bwMode="gray">
              <a:xfrm>
                <a:off x="6130901" y="5411215"/>
                <a:ext cx="1195412" cy="196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38" name="Rectangle 37">
              <a:extLst>
                <a:ext uri="{FF2B5EF4-FFF2-40B4-BE49-F238E27FC236}">
                  <a16:creationId xmlns:a16="http://schemas.microsoft.com/office/drawing/2014/main" id="{186544A3-622E-CAD0-855F-DA959335BE2A}"/>
                </a:ext>
              </a:extLst>
            </p:cNvPr>
            <p:cNvSpPr/>
            <p:nvPr/>
          </p:nvSpPr>
          <p:spPr bwMode="gray">
            <a:xfrm>
              <a:off x="8845550" y="5449232"/>
              <a:ext cx="465427" cy="196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77" name="Oval 76">
            <a:extLst>
              <a:ext uri="{FF2B5EF4-FFF2-40B4-BE49-F238E27FC236}">
                <a16:creationId xmlns:a16="http://schemas.microsoft.com/office/drawing/2014/main" id="{17A75AB9-4EC3-F2E7-21A8-0FAB04FC3D14}"/>
              </a:ext>
            </a:extLst>
          </p:cNvPr>
          <p:cNvSpPr/>
          <p:nvPr/>
        </p:nvSpPr>
        <p:spPr bwMode="gray">
          <a:xfrm>
            <a:off x="482982" y="344819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Oval 77">
            <a:extLst>
              <a:ext uri="{FF2B5EF4-FFF2-40B4-BE49-F238E27FC236}">
                <a16:creationId xmlns:a16="http://schemas.microsoft.com/office/drawing/2014/main" id="{253F7680-4DF3-8B06-80D6-8BAFE754A621}"/>
              </a:ext>
            </a:extLst>
          </p:cNvPr>
          <p:cNvSpPr/>
          <p:nvPr/>
        </p:nvSpPr>
        <p:spPr bwMode="gray">
          <a:xfrm>
            <a:off x="482982" y="4195979"/>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Oval 78">
            <a:extLst>
              <a:ext uri="{FF2B5EF4-FFF2-40B4-BE49-F238E27FC236}">
                <a16:creationId xmlns:a16="http://schemas.microsoft.com/office/drawing/2014/main" id="{2C981038-C8B9-316F-DC56-CA6C8DF1F321}"/>
              </a:ext>
            </a:extLst>
          </p:cNvPr>
          <p:cNvSpPr/>
          <p:nvPr/>
        </p:nvSpPr>
        <p:spPr bwMode="gray">
          <a:xfrm>
            <a:off x="482982" y="5753079"/>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Oval 79">
            <a:extLst>
              <a:ext uri="{FF2B5EF4-FFF2-40B4-BE49-F238E27FC236}">
                <a16:creationId xmlns:a16="http://schemas.microsoft.com/office/drawing/2014/main" id="{BE193A00-2849-7CFD-3456-B9AA7DA88917}"/>
              </a:ext>
            </a:extLst>
          </p:cNvPr>
          <p:cNvSpPr/>
          <p:nvPr/>
        </p:nvSpPr>
        <p:spPr bwMode="gray">
          <a:xfrm>
            <a:off x="482982" y="4987380"/>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Rectangle 80">
            <a:extLst>
              <a:ext uri="{FF2B5EF4-FFF2-40B4-BE49-F238E27FC236}">
                <a16:creationId xmlns:a16="http://schemas.microsoft.com/office/drawing/2014/main" id="{11677408-7725-48C8-73AF-A92975A1DAF9}"/>
              </a:ext>
            </a:extLst>
          </p:cNvPr>
          <p:cNvSpPr/>
          <p:nvPr/>
        </p:nvSpPr>
        <p:spPr bwMode="gray">
          <a:xfrm>
            <a:off x="9634537" y="2373313"/>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Rectangle 81">
            <a:extLst>
              <a:ext uri="{FF2B5EF4-FFF2-40B4-BE49-F238E27FC236}">
                <a16:creationId xmlns:a16="http://schemas.microsoft.com/office/drawing/2014/main" id="{08409DF3-7455-FD6C-4BAB-F054A7F7E08B}"/>
              </a:ext>
            </a:extLst>
          </p:cNvPr>
          <p:cNvSpPr/>
          <p:nvPr/>
        </p:nvSpPr>
        <p:spPr bwMode="gray">
          <a:xfrm>
            <a:off x="9809163" y="2366963"/>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83" name="Rectangle 82">
            <a:extLst>
              <a:ext uri="{FF2B5EF4-FFF2-40B4-BE49-F238E27FC236}">
                <a16:creationId xmlns:a16="http://schemas.microsoft.com/office/drawing/2014/main" id="{D3D75DD5-4527-61EF-E001-E47BE24A6B48}"/>
              </a:ext>
            </a:extLst>
          </p:cNvPr>
          <p:cNvSpPr/>
          <p:nvPr/>
        </p:nvSpPr>
        <p:spPr bwMode="gray">
          <a:xfrm>
            <a:off x="9634537" y="2498725"/>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Rectangle 83">
            <a:extLst>
              <a:ext uri="{FF2B5EF4-FFF2-40B4-BE49-F238E27FC236}">
                <a16:creationId xmlns:a16="http://schemas.microsoft.com/office/drawing/2014/main" id="{4E4BB8E5-14A1-EEA1-E34B-7766E4107C11}"/>
              </a:ext>
            </a:extLst>
          </p:cNvPr>
          <p:cNvSpPr/>
          <p:nvPr/>
        </p:nvSpPr>
        <p:spPr bwMode="gray">
          <a:xfrm>
            <a:off x="9809163" y="2493963"/>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85" name="Rectangle 84">
            <a:extLst>
              <a:ext uri="{FF2B5EF4-FFF2-40B4-BE49-F238E27FC236}">
                <a16:creationId xmlns:a16="http://schemas.microsoft.com/office/drawing/2014/main" id="{FB4C962E-2955-58AE-FB7E-C5A3EDBAEF39}"/>
              </a:ext>
            </a:extLst>
          </p:cNvPr>
          <p:cNvSpPr/>
          <p:nvPr/>
        </p:nvSpPr>
        <p:spPr bwMode="gray">
          <a:xfrm>
            <a:off x="9634537" y="2624138"/>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6" name="Rectangle 85">
            <a:extLst>
              <a:ext uri="{FF2B5EF4-FFF2-40B4-BE49-F238E27FC236}">
                <a16:creationId xmlns:a16="http://schemas.microsoft.com/office/drawing/2014/main" id="{ADC66C76-B966-A133-086A-49C1D944A2BF}"/>
              </a:ext>
            </a:extLst>
          </p:cNvPr>
          <p:cNvSpPr/>
          <p:nvPr/>
        </p:nvSpPr>
        <p:spPr bwMode="gray">
          <a:xfrm>
            <a:off x="9809163" y="2619375"/>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87" name="Rectangle 86">
            <a:extLst>
              <a:ext uri="{FF2B5EF4-FFF2-40B4-BE49-F238E27FC236}">
                <a16:creationId xmlns:a16="http://schemas.microsoft.com/office/drawing/2014/main" id="{235AA0C9-0A25-838E-7580-931029F8F6ED}"/>
              </a:ext>
            </a:extLst>
          </p:cNvPr>
          <p:cNvSpPr/>
          <p:nvPr/>
        </p:nvSpPr>
        <p:spPr bwMode="gray">
          <a:xfrm>
            <a:off x="9634537" y="2755900"/>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F71BCDE2-3B56-FF2C-7CA5-6C046239CAA5}"/>
              </a:ext>
            </a:extLst>
          </p:cNvPr>
          <p:cNvSpPr/>
          <p:nvPr/>
        </p:nvSpPr>
        <p:spPr bwMode="gray">
          <a:xfrm>
            <a:off x="9809163" y="2749550"/>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89" name="Rectangle 88">
            <a:extLst>
              <a:ext uri="{FF2B5EF4-FFF2-40B4-BE49-F238E27FC236}">
                <a16:creationId xmlns:a16="http://schemas.microsoft.com/office/drawing/2014/main" id="{02F35CDB-4508-3A11-230B-A92EBB286691}"/>
              </a:ext>
            </a:extLst>
          </p:cNvPr>
          <p:cNvSpPr/>
          <p:nvPr/>
        </p:nvSpPr>
        <p:spPr bwMode="gray">
          <a:xfrm>
            <a:off x="7631113" y="2209800"/>
            <a:ext cx="1871663" cy="3067050"/>
          </a:xfrm>
          <a:prstGeom prst="rect">
            <a:avLst/>
          </a:prstGeom>
          <a:noFill/>
          <a:ln w="9525">
            <a:solidFill>
              <a:schemeClr val="accent5">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D010D7D5-3BAC-FD0D-805C-F160CC95E518}"/>
              </a:ext>
            </a:extLst>
          </p:cNvPr>
          <p:cNvSpPr/>
          <p:nvPr/>
        </p:nvSpPr>
        <p:spPr bwMode="gray">
          <a:xfrm>
            <a:off x="8815388" y="3430588"/>
            <a:ext cx="650875" cy="290513"/>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600" i="1" dirty="0">
                <a:solidFill>
                  <a:schemeClr val="tx1"/>
                </a:solidFill>
              </a:rPr>
              <a:t>94% of population lives in East China</a:t>
            </a:r>
          </a:p>
        </p:txBody>
      </p:sp>
      <p:sp>
        <p:nvSpPr>
          <p:cNvPr id="91" name="Rectangle 90">
            <a:extLst>
              <a:ext uri="{FF2B5EF4-FFF2-40B4-BE49-F238E27FC236}">
                <a16:creationId xmlns:a16="http://schemas.microsoft.com/office/drawing/2014/main" id="{BB8FC0D6-E82A-E35B-5B47-F16F0C26B519}"/>
              </a:ext>
            </a:extLst>
          </p:cNvPr>
          <p:cNvSpPr/>
          <p:nvPr/>
        </p:nvSpPr>
        <p:spPr bwMode="gray">
          <a:xfrm>
            <a:off x="10204450" y="4048125"/>
            <a:ext cx="1943100" cy="11541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900" i="1" dirty="0">
                <a:solidFill>
                  <a:schemeClr val="tx1"/>
                </a:solidFill>
              </a:rPr>
              <a:t>Equivalent to </a:t>
            </a:r>
          </a:p>
          <a:p>
            <a:pPr marL="0" indent="0" algn="ctr">
              <a:spcBef>
                <a:spcPts val="0"/>
              </a:spcBef>
              <a:buNone/>
            </a:pPr>
            <a:r>
              <a:rPr lang="en-US" sz="1200" b="1" i="1" dirty="0">
                <a:solidFill>
                  <a:schemeClr val="tx1"/>
                </a:solidFill>
              </a:rPr>
              <a:t>51B</a:t>
            </a:r>
            <a:endParaRPr lang="en-US" sz="1200" i="1" dirty="0">
              <a:solidFill>
                <a:schemeClr val="tx1"/>
              </a:solidFill>
            </a:endParaRPr>
          </a:p>
          <a:p>
            <a:pPr marL="0" indent="0" algn="ctr">
              <a:spcBef>
                <a:spcPts val="0"/>
              </a:spcBef>
              <a:buNone/>
            </a:pPr>
            <a:r>
              <a:rPr lang="en-US" sz="900" i="1" dirty="0">
                <a:solidFill>
                  <a:schemeClr val="tx1"/>
                </a:solidFill>
              </a:rPr>
              <a:t>barrels of oil</a:t>
            </a:r>
          </a:p>
        </p:txBody>
      </p:sp>
      <p:sp>
        <p:nvSpPr>
          <p:cNvPr id="92" name="Rectangle 91">
            <a:extLst>
              <a:ext uri="{FF2B5EF4-FFF2-40B4-BE49-F238E27FC236}">
                <a16:creationId xmlns:a16="http://schemas.microsoft.com/office/drawing/2014/main" id="{79A3861E-149F-7377-4B89-21341B071707}"/>
              </a:ext>
            </a:extLst>
          </p:cNvPr>
          <p:cNvSpPr/>
          <p:nvPr/>
        </p:nvSpPr>
        <p:spPr bwMode="gray">
          <a:xfrm>
            <a:off x="10248900" y="4991100"/>
            <a:ext cx="1943100" cy="11541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900" i="1" dirty="0">
                <a:solidFill>
                  <a:schemeClr val="tx1"/>
                </a:solidFill>
              </a:rPr>
              <a:t>Ability to power Beijing</a:t>
            </a:r>
          </a:p>
          <a:p>
            <a:pPr marL="0" indent="0" algn="ctr">
              <a:spcBef>
                <a:spcPts val="0"/>
              </a:spcBef>
              <a:buNone/>
            </a:pPr>
            <a:r>
              <a:rPr lang="en-US" sz="1200" b="1" i="1" dirty="0">
                <a:solidFill>
                  <a:schemeClr val="tx1"/>
                </a:solidFill>
              </a:rPr>
              <a:t>683x </a:t>
            </a:r>
            <a:r>
              <a:rPr lang="en-US" sz="900" i="1" dirty="0">
                <a:solidFill>
                  <a:schemeClr val="tx1"/>
                </a:solidFill>
              </a:rPr>
              <a:t>over </a:t>
            </a:r>
          </a:p>
        </p:txBody>
      </p:sp>
    </p:spTree>
    <p:extLst>
      <p:ext uri="{BB962C8B-B14F-4D97-AF65-F5344CB8AC3E}">
        <p14:creationId xmlns:p14="http://schemas.microsoft.com/office/powerpoint/2010/main" val="21799156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47D3EB7-7CF8-0D4A-83C1-07AE404BBFAC}"/>
              </a:ext>
            </a:extLst>
          </p:cNvPr>
          <p:cNvGraphicFramePr>
            <a:graphicFrameLocks/>
          </p:cNvGraphicFramePr>
          <p:nvPr>
            <p:custDataLst>
              <p:tags r:id="rId1"/>
            </p:custDataLst>
            <p:extLst>
              <p:ext uri="{D42A27DB-BD31-4B8C-83A1-F6EECF244321}">
                <p14:modId xmlns:p14="http://schemas.microsoft.com/office/powerpoint/2010/main" val="41304484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C5F305-748C-A1A8-F0F7-001A15536921}"/>
              </a:ext>
            </a:extLst>
          </p:cNvPr>
          <p:cNvSpPr>
            <a:spLocks noGrp="1"/>
          </p:cNvSpPr>
          <p:nvPr>
            <p:ph type="title"/>
          </p:nvPr>
        </p:nvSpPr>
        <p:spPr/>
        <p:txBody>
          <a:bodyPr vert="horz" rIns="91440"/>
          <a:lstStyle/>
          <a:p>
            <a:r>
              <a:rPr lang="en-US" dirty="0"/>
              <a:t>20% of global EGS potential is in Africa, providing opportunity for economic development and surpassing projected 2050 demand</a:t>
            </a:r>
          </a:p>
        </p:txBody>
      </p:sp>
      <p:sp>
        <p:nvSpPr>
          <p:cNvPr id="6" name="Footer Placeholder 5">
            <a:extLst>
              <a:ext uri="{FF2B5EF4-FFF2-40B4-BE49-F238E27FC236}">
                <a16:creationId xmlns:a16="http://schemas.microsoft.com/office/drawing/2014/main" id="{D5E20A0D-E046-597C-8216-508EF8F02DD3}"/>
              </a:ext>
            </a:extLst>
          </p:cNvPr>
          <p:cNvSpPr>
            <a:spLocks noGrp="1"/>
          </p:cNvSpPr>
          <p:nvPr>
            <p:ph type="ftr" sz="quarter" idx="3"/>
          </p:nvPr>
        </p:nvSpPr>
        <p:spPr/>
        <p:txBody>
          <a:bodyPr/>
          <a:lstStyle/>
          <a:p>
            <a:pPr lvl="0">
              <a:defRPr/>
            </a:pPr>
            <a:r>
              <a:rPr lang="en-US" dirty="0">
                <a:solidFill>
                  <a:srgbClr val="000000"/>
                </a:solidFill>
              </a:rPr>
              <a:t>Sources: </a:t>
            </a:r>
            <a:r>
              <a:rPr lang="en-US" dirty="0">
                <a:solidFill>
                  <a:srgbClr val="000000"/>
                </a:solidFill>
                <a:hlinkClick r:id="rId24"/>
              </a:rPr>
              <a:t>Superhot rock and the future of geothermal</a:t>
            </a:r>
            <a:r>
              <a:rPr lang="en-US" dirty="0">
                <a:solidFill>
                  <a:srgbClr val="000000"/>
                </a:solidFill>
              </a:rPr>
              <a:t> (CATF, 2025); </a:t>
            </a:r>
            <a:r>
              <a:rPr lang="en-US" dirty="0">
                <a:solidFill>
                  <a:srgbClr val="000000"/>
                </a:solidFill>
                <a:hlinkClick r:id="rId25"/>
              </a:rPr>
              <a:t>The Future of Geothermal Energy</a:t>
            </a:r>
            <a:r>
              <a:rPr lang="en-US" dirty="0">
                <a:solidFill>
                  <a:srgbClr val="000000"/>
                </a:solidFill>
              </a:rPr>
              <a:t> (IEA, 2025); </a:t>
            </a:r>
            <a:r>
              <a:rPr lang="en-US" dirty="0">
                <a:solidFill>
                  <a:srgbClr val="000000"/>
                </a:solidFill>
                <a:hlinkClick r:id="rId26"/>
              </a:rPr>
              <a:t>Africa’s population</a:t>
            </a:r>
            <a:r>
              <a:rPr lang="en-US" dirty="0">
                <a:solidFill>
                  <a:srgbClr val="000000"/>
                </a:solidFill>
              </a:rPr>
              <a:t> (Our World in Data, 2024).</a:t>
            </a:r>
          </a:p>
          <a:p>
            <a:pPr>
              <a:defRPr/>
            </a:pPr>
            <a:r>
              <a:rPr lang="en-US" dirty="0">
                <a:solidFill>
                  <a:srgbClr val="000000"/>
                </a:solidFill>
              </a:rPr>
              <a:t>Credit: Zacharia Thurston, and </a:t>
            </a:r>
            <a:r>
              <a:rPr lang="en-US" dirty="0">
                <a:solidFill>
                  <a:srgbClr val="000000"/>
                </a:solidFill>
                <a:hlinkClick r:id="rId27"/>
              </a:rPr>
              <a:t>Gernot Wagner</a:t>
            </a:r>
            <a:r>
              <a:rPr lang="en-US" dirty="0">
                <a:solidFill>
                  <a:srgbClr val="000000"/>
                </a:solidFill>
              </a:rPr>
              <a:t>. </a:t>
            </a:r>
            <a:r>
              <a:rPr lang="en-US" dirty="0">
                <a:solidFill>
                  <a:srgbClr val="000000">
                    <a:tint val="82000"/>
                  </a:srgbClr>
                </a:solidFill>
                <a:hlinkClick r:id="rId2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421FE672-B2EE-D800-A992-629D1BE927F6}"/>
              </a:ext>
            </a:extLst>
          </p:cNvPr>
          <p:cNvSpPr>
            <a:spLocks noGrp="1"/>
          </p:cNvSpPr>
          <p:nvPr>
            <p:ph type="body" sz="quarter" idx="13"/>
          </p:nvPr>
        </p:nvSpPr>
        <p:spPr/>
        <p:txBody>
          <a:bodyPr/>
          <a:lstStyle/>
          <a:p>
            <a:r>
              <a:rPr lang="en-US" sz="1400" dirty="0"/>
              <a:t>Kenya holds the majority of the continent’s installed conventional capacity</a:t>
            </a:r>
          </a:p>
        </p:txBody>
      </p:sp>
      <p:sp>
        <p:nvSpPr>
          <p:cNvPr id="8" name="Text Placeholder 7">
            <a:extLst>
              <a:ext uri="{FF2B5EF4-FFF2-40B4-BE49-F238E27FC236}">
                <a16:creationId xmlns:a16="http://schemas.microsoft.com/office/drawing/2014/main" id="{4F8668E8-6149-8305-A730-CD3EB32F1871}"/>
              </a:ext>
            </a:extLst>
          </p:cNvPr>
          <p:cNvSpPr>
            <a:spLocks noGrp="1"/>
          </p:cNvSpPr>
          <p:nvPr>
            <p:ph type="body" sz="quarter" idx="16"/>
          </p:nvPr>
        </p:nvSpPr>
        <p:spPr/>
        <p:txBody>
          <a:bodyPr/>
          <a:lstStyle/>
          <a:p>
            <a:r>
              <a:rPr lang="en-US" sz="1400" dirty="0"/>
              <a:t>Next-generation geothermal development presents a significant opportunity to reliably meet Africa’s growing energy needs and foster sustainable development</a:t>
            </a:r>
          </a:p>
        </p:txBody>
      </p:sp>
      <p:sp>
        <p:nvSpPr>
          <p:cNvPr id="9" name="Text Placeholder 1">
            <a:extLst>
              <a:ext uri="{FF2B5EF4-FFF2-40B4-BE49-F238E27FC236}">
                <a16:creationId xmlns:a16="http://schemas.microsoft.com/office/drawing/2014/main" id="{DB49B2CE-0990-4E66-E210-180A4512B490}"/>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frica</a:t>
            </a:r>
          </a:p>
        </p:txBody>
      </p:sp>
      <p:sp>
        <p:nvSpPr>
          <p:cNvPr id="11" name="Rectangle 10">
            <a:extLst>
              <a:ext uri="{FF2B5EF4-FFF2-40B4-BE49-F238E27FC236}">
                <a16:creationId xmlns:a16="http://schemas.microsoft.com/office/drawing/2014/main" id="{1120C3FE-043C-1BA8-75A3-E9C08051174D}"/>
              </a:ext>
            </a:extLst>
          </p:cNvPr>
          <p:cNvSpPr/>
          <p:nvPr/>
        </p:nvSpPr>
        <p:spPr bwMode="gray">
          <a:xfrm>
            <a:off x="7953375" y="5308600"/>
            <a:ext cx="3629025" cy="2921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02F8B552-2183-AD15-D2B3-6F08F0EAFF38}"/>
              </a:ext>
            </a:extLst>
          </p:cNvPr>
          <p:cNvSpPr/>
          <p:nvPr/>
        </p:nvSpPr>
        <p:spPr bwMode="gray">
          <a:xfrm>
            <a:off x="7953375" y="4992688"/>
            <a:ext cx="3629025" cy="2921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ectangle 12">
            <a:extLst>
              <a:ext uri="{FF2B5EF4-FFF2-40B4-BE49-F238E27FC236}">
                <a16:creationId xmlns:a16="http://schemas.microsoft.com/office/drawing/2014/main" id="{878652EC-1DB4-3C17-5EA1-A4CB01298B03}"/>
              </a:ext>
            </a:extLst>
          </p:cNvPr>
          <p:cNvSpPr/>
          <p:nvPr/>
        </p:nvSpPr>
        <p:spPr bwMode="gray">
          <a:xfrm>
            <a:off x="7953375" y="4708525"/>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467F7935-5832-0366-D936-F5F5073119A0}"/>
              </a:ext>
            </a:extLst>
          </p:cNvPr>
          <p:cNvSpPr/>
          <p:nvPr/>
        </p:nvSpPr>
        <p:spPr bwMode="gray">
          <a:xfrm>
            <a:off x="7953375" y="4427538"/>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3C1A6CF8-D4E9-2F77-535E-87683A93B298}"/>
              </a:ext>
            </a:extLst>
          </p:cNvPr>
          <p:cNvSpPr/>
          <p:nvPr/>
        </p:nvSpPr>
        <p:spPr bwMode="gray">
          <a:xfrm>
            <a:off x="7953375" y="4141788"/>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DA611D1B-7648-8A4C-A084-D5574578EF3A}"/>
              </a:ext>
            </a:extLst>
          </p:cNvPr>
          <p:cNvSpPr/>
          <p:nvPr/>
        </p:nvSpPr>
        <p:spPr bwMode="gray">
          <a:xfrm>
            <a:off x="7953375" y="3860800"/>
            <a:ext cx="3629025" cy="258763"/>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603EF95A-E0C0-D7A8-8F98-FA7341920506}"/>
              </a:ext>
            </a:extLst>
          </p:cNvPr>
          <p:cNvSpPr/>
          <p:nvPr/>
        </p:nvSpPr>
        <p:spPr bwMode="gray">
          <a:xfrm>
            <a:off x="7953375" y="3586163"/>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65F93455-911F-CF5A-2466-D7A09F60150F}"/>
              </a:ext>
            </a:extLst>
          </p:cNvPr>
          <p:cNvSpPr/>
          <p:nvPr/>
        </p:nvSpPr>
        <p:spPr bwMode="gray">
          <a:xfrm>
            <a:off x="7953375" y="3311525"/>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7D58F8B4-0194-444F-2181-DB90D1E2218D}"/>
              </a:ext>
            </a:extLst>
          </p:cNvPr>
          <p:cNvSpPr/>
          <p:nvPr/>
        </p:nvSpPr>
        <p:spPr bwMode="gray">
          <a:xfrm>
            <a:off x="7953375" y="3036888"/>
            <a:ext cx="3629025" cy="2571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Rectangle 19">
            <a:extLst>
              <a:ext uri="{FF2B5EF4-FFF2-40B4-BE49-F238E27FC236}">
                <a16:creationId xmlns:a16="http://schemas.microsoft.com/office/drawing/2014/main" id="{5A3FFEB8-8DAD-DF34-06D1-46E591FB291E}"/>
              </a:ext>
            </a:extLst>
          </p:cNvPr>
          <p:cNvSpPr/>
          <p:nvPr/>
        </p:nvSpPr>
        <p:spPr bwMode="gray">
          <a:xfrm>
            <a:off x="7953375" y="2711450"/>
            <a:ext cx="3629025" cy="30162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Title 1">
            <a:extLst>
              <a:ext uri="{FF2B5EF4-FFF2-40B4-BE49-F238E27FC236}">
                <a16:creationId xmlns:a16="http://schemas.microsoft.com/office/drawing/2014/main" id="{1B6A9EDF-831F-A114-722D-EAFBAE02F7BF}"/>
              </a:ext>
            </a:extLst>
          </p:cNvPr>
          <p:cNvSpPr txBox="1">
            <a:spLocks/>
          </p:cNvSpPr>
          <p:nvPr/>
        </p:nvSpPr>
        <p:spPr>
          <a:xfrm>
            <a:off x="5524297" y="3084513"/>
            <a:ext cx="1288480" cy="266700"/>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pPr marL="0" indent="0"/>
            <a:endParaRPr lang="en-US" sz="1000" dirty="0"/>
          </a:p>
        </p:txBody>
      </p:sp>
      <p:grpSp>
        <p:nvGrpSpPr>
          <p:cNvPr id="22" name="Group 21">
            <a:extLst>
              <a:ext uri="{FF2B5EF4-FFF2-40B4-BE49-F238E27FC236}">
                <a16:creationId xmlns:a16="http://schemas.microsoft.com/office/drawing/2014/main" id="{03FED982-EA76-F942-7985-2078ABF9C405}"/>
              </a:ext>
            </a:extLst>
          </p:cNvPr>
          <p:cNvGrpSpPr/>
          <p:nvPr/>
        </p:nvGrpSpPr>
        <p:grpSpPr>
          <a:xfrm>
            <a:off x="4575176" y="2259370"/>
            <a:ext cx="2826150" cy="2793138"/>
            <a:chOff x="5065167" y="1382295"/>
            <a:chExt cx="4059708" cy="4254654"/>
          </a:xfrm>
        </p:grpSpPr>
        <p:pic>
          <p:nvPicPr>
            <p:cNvPr id="23" name="Picture 22" descr="A map of africa with different colored areas&#10;&#10;AI-generated content may be incorrect.">
              <a:extLst>
                <a:ext uri="{FF2B5EF4-FFF2-40B4-BE49-F238E27FC236}">
                  <a16:creationId xmlns:a16="http://schemas.microsoft.com/office/drawing/2014/main" id="{57C004C6-232F-25A0-B44A-B83560B368F8}"/>
                </a:ext>
              </a:extLst>
            </p:cNvPr>
            <p:cNvPicPr>
              <a:picLocks noChangeAspect="1"/>
            </p:cNvPicPr>
            <p:nvPr/>
          </p:nvPicPr>
          <p:blipFill>
            <a:blip r:embed="rId29">
              <a:extLst>
                <a:ext uri="{28A0092B-C50C-407E-A947-70E740481C1C}">
                  <a14:useLocalDpi xmlns:a14="http://schemas.microsoft.com/office/drawing/2010/main"/>
                </a:ext>
              </a:extLst>
            </a:blip>
            <a:stretch>
              <a:fillRect/>
            </a:stretch>
          </p:blipFill>
          <p:spPr>
            <a:xfrm>
              <a:off x="5065167" y="1382295"/>
              <a:ext cx="4059708" cy="4254654"/>
            </a:xfrm>
            <a:prstGeom prst="rect">
              <a:avLst/>
            </a:prstGeom>
          </p:spPr>
        </p:pic>
        <p:grpSp>
          <p:nvGrpSpPr>
            <p:cNvPr id="24" name="Group 23">
              <a:extLst>
                <a:ext uri="{FF2B5EF4-FFF2-40B4-BE49-F238E27FC236}">
                  <a16:creationId xmlns:a16="http://schemas.microsoft.com/office/drawing/2014/main" id="{09B5D4A9-8887-4BE3-6320-662CEBCCC319}"/>
                </a:ext>
              </a:extLst>
            </p:cNvPr>
            <p:cNvGrpSpPr>
              <a:grpSpLocks noChangeAspect="1"/>
            </p:cNvGrpSpPr>
            <p:nvPr/>
          </p:nvGrpSpPr>
          <p:grpSpPr>
            <a:xfrm>
              <a:off x="5122990" y="1422323"/>
              <a:ext cx="3746273" cy="4214626"/>
              <a:chOff x="5379804" y="3234493"/>
              <a:chExt cx="1766795" cy="2094846"/>
            </a:xfrm>
            <a:noFill/>
          </p:grpSpPr>
          <p:sp>
            <p:nvSpPr>
              <p:cNvPr id="25" name="Freeform 486">
                <a:extLst>
                  <a:ext uri="{FF2B5EF4-FFF2-40B4-BE49-F238E27FC236}">
                    <a16:creationId xmlns:a16="http://schemas.microsoft.com/office/drawing/2014/main" id="{51E2E5B5-F48C-CD03-4339-FEE4499CEBDC}"/>
                  </a:ext>
                </a:extLst>
              </p:cNvPr>
              <p:cNvSpPr>
                <a:spLocks/>
              </p:cNvSpPr>
              <p:nvPr/>
            </p:nvSpPr>
            <p:spPr bwMode="auto">
              <a:xfrm>
                <a:off x="6932009" y="4657553"/>
                <a:ext cx="189554" cy="387933"/>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6" name="Freeform 729">
                <a:extLst>
                  <a:ext uri="{FF2B5EF4-FFF2-40B4-BE49-F238E27FC236}">
                    <a16:creationId xmlns:a16="http://schemas.microsoft.com/office/drawing/2014/main" id="{B3BD7EDE-C37C-AD05-1747-A36031702A8E}"/>
                  </a:ext>
                </a:extLst>
              </p:cNvPr>
              <p:cNvSpPr>
                <a:spLocks/>
              </p:cNvSpPr>
              <p:nvPr/>
            </p:nvSpPr>
            <p:spPr bwMode="auto">
              <a:xfrm>
                <a:off x="6597605" y="4600779"/>
                <a:ext cx="277180" cy="490123"/>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7" name="Freeform 730">
                <a:extLst>
                  <a:ext uri="{FF2B5EF4-FFF2-40B4-BE49-F238E27FC236}">
                    <a16:creationId xmlns:a16="http://schemas.microsoft.com/office/drawing/2014/main" id="{DDEFB9BE-3246-EAD8-7F8C-AF3F8925D3ED}"/>
                  </a:ext>
                </a:extLst>
              </p:cNvPr>
              <p:cNvSpPr>
                <a:spLocks/>
              </p:cNvSpPr>
              <p:nvPr/>
            </p:nvSpPr>
            <p:spPr bwMode="auto">
              <a:xfrm>
                <a:off x="6660194" y="4585640"/>
                <a:ext cx="84048" cy="210054"/>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8" name="Freeform 731">
                <a:extLst>
                  <a:ext uri="{FF2B5EF4-FFF2-40B4-BE49-F238E27FC236}">
                    <a16:creationId xmlns:a16="http://schemas.microsoft.com/office/drawing/2014/main" id="{28494C15-496C-C0AE-9382-9B9A9FD60C20}"/>
                  </a:ext>
                </a:extLst>
              </p:cNvPr>
              <p:cNvSpPr>
                <a:spLocks/>
              </p:cNvSpPr>
              <p:nvPr/>
            </p:nvSpPr>
            <p:spPr bwMode="auto">
              <a:xfrm>
                <a:off x="6375861" y="4545901"/>
                <a:ext cx="314732" cy="278179"/>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9" name="Freeform 732">
                <a:extLst>
                  <a:ext uri="{FF2B5EF4-FFF2-40B4-BE49-F238E27FC236}">
                    <a16:creationId xmlns:a16="http://schemas.microsoft.com/office/drawing/2014/main" id="{2DB8C82A-9439-BACC-96F0-9D6057E2739F}"/>
                  </a:ext>
                </a:extLst>
              </p:cNvPr>
              <p:cNvSpPr>
                <a:spLocks/>
              </p:cNvSpPr>
              <p:nvPr/>
            </p:nvSpPr>
            <p:spPr bwMode="auto">
              <a:xfrm>
                <a:off x="6136236" y="4795693"/>
                <a:ext cx="334403" cy="35008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0" name="Freeform 733">
                <a:extLst>
                  <a:ext uri="{FF2B5EF4-FFF2-40B4-BE49-F238E27FC236}">
                    <a16:creationId xmlns:a16="http://schemas.microsoft.com/office/drawing/2014/main" id="{E13772DE-5EFB-F45E-3740-C4A34D5ACFBE}"/>
                  </a:ext>
                </a:extLst>
              </p:cNvPr>
              <p:cNvSpPr>
                <a:spLocks/>
              </p:cNvSpPr>
              <p:nvPr/>
            </p:nvSpPr>
            <p:spPr bwMode="auto">
              <a:xfrm>
                <a:off x="6145177" y="4167429"/>
                <a:ext cx="477465" cy="527971"/>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1" name="Freeform 734">
                <a:extLst>
                  <a:ext uri="{FF2B5EF4-FFF2-40B4-BE49-F238E27FC236}">
                    <a16:creationId xmlns:a16="http://schemas.microsoft.com/office/drawing/2014/main" id="{1ABA2B5F-42FD-4E90-5969-9DC8CF1335FD}"/>
                  </a:ext>
                </a:extLst>
              </p:cNvPr>
              <p:cNvSpPr>
                <a:spLocks/>
              </p:cNvSpPr>
              <p:nvPr/>
            </p:nvSpPr>
            <p:spPr bwMode="auto">
              <a:xfrm>
                <a:off x="6139812" y="4479669"/>
                <a:ext cx="295062" cy="35008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2" name="Freeform 735">
                <a:extLst>
                  <a:ext uri="{FF2B5EF4-FFF2-40B4-BE49-F238E27FC236}">
                    <a16:creationId xmlns:a16="http://schemas.microsoft.com/office/drawing/2014/main" id="{4B0E2216-3DAE-AC2D-7914-7FB39C97DF6F}"/>
                  </a:ext>
                </a:extLst>
              </p:cNvPr>
              <p:cNvSpPr>
                <a:spLocks/>
              </p:cNvSpPr>
              <p:nvPr/>
            </p:nvSpPr>
            <p:spPr bwMode="auto">
              <a:xfrm>
                <a:off x="6329368" y="4812725"/>
                <a:ext cx="241415" cy="266824"/>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3" name="Freeform 736">
                <a:extLst>
                  <a:ext uri="{FF2B5EF4-FFF2-40B4-BE49-F238E27FC236}">
                    <a16:creationId xmlns:a16="http://schemas.microsoft.com/office/drawing/2014/main" id="{7011E3AA-8E55-5F82-040B-0B3930038A3A}"/>
                  </a:ext>
                </a:extLst>
              </p:cNvPr>
              <p:cNvSpPr>
                <a:spLocks/>
              </p:cNvSpPr>
              <p:nvPr/>
            </p:nvSpPr>
            <p:spPr bwMode="auto">
              <a:xfrm>
                <a:off x="6459909" y="4757845"/>
                <a:ext cx="205650" cy="193021"/>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4" name="Freeform 737">
                <a:extLst>
                  <a:ext uri="{FF2B5EF4-FFF2-40B4-BE49-F238E27FC236}">
                    <a16:creationId xmlns:a16="http://schemas.microsoft.com/office/drawing/2014/main" id="{A7EA7E9F-4D1E-43AC-3D0C-5A634A5F5A00}"/>
                  </a:ext>
                </a:extLst>
              </p:cNvPr>
              <p:cNvSpPr>
                <a:spLocks/>
              </p:cNvSpPr>
              <p:nvPr/>
            </p:nvSpPr>
            <p:spPr bwMode="auto">
              <a:xfrm>
                <a:off x="6597605" y="5045484"/>
                <a:ext cx="51859" cy="62449"/>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5" name="Freeform 738">
                <a:extLst>
                  <a:ext uri="{FF2B5EF4-FFF2-40B4-BE49-F238E27FC236}">
                    <a16:creationId xmlns:a16="http://schemas.microsoft.com/office/drawing/2014/main" id="{6CF36939-3180-E801-E16A-DB48B5E1C1B9}"/>
                  </a:ext>
                </a:extLst>
              </p:cNvPr>
              <p:cNvSpPr>
                <a:spLocks noEditPoints="1"/>
              </p:cNvSpPr>
              <p:nvPr/>
            </p:nvSpPr>
            <p:spPr bwMode="auto">
              <a:xfrm>
                <a:off x="6245319" y="4945190"/>
                <a:ext cx="414874" cy="384149"/>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6" name="Freeform 739">
                <a:extLst>
                  <a:ext uri="{FF2B5EF4-FFF2-40B4-BE49-F238E27FC236}">
                    <a16:creationId xmlns:a16="http://schemas.microsoft.com/office/drawing/2014/main" id="{E1C0A351-700B-DFAB-F883-506A47703426}"/>
                  </a:ext>
                </a:extLst>
              </p:cNvPr>
              <p:cNvSpPr>
                <a:spLocks/>
              </p:cNvSpPr>
              <p:nvPr/>
            </p:nvSpPr>
            <p:spPr bwMode="auto">
              <a:xfrm>
                <a:off x="6513556" y="5128749"/>
                <a:ext cx="67953" cy="73803"/>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 name="Freeform 740">
                <a:extLst>
                  <a:ext uri="{FF2B5EF4-FFF2-40B4-BE49-F238E27FC236}">
                    <a16:creationId xmlns:a16="http://schemas.microsoft.com/office/drawing/2014/main" id="{4723B3FA-29B0-744C-F8F4-DF10FAD9BA6D}"/>
                  </a:ext>
                </a:extLst>
              </p:cNvPr>
              <p:cNvSpPr>
                <a:spLocks/>
              </p:cNvSpPr>
              <p:nvPr/>
            </p:nvSpPr>
            <p:spPr bwMode="auto">
              <a:xfrm>
                <a:off x="6145177" y="4439927"/>
                <a:ext cx="26823" cy="45416"/>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8" name="Freeform 741">
                <a:extLst>
                  <a:ext uri="{FF2B5EF4-FFF2-40B4-BE49-F238E27FC236}">
                    <a16:creationId xmlns:a16="http://schemas.microsoft.com/office/drawing/2014/main" id="{D65CBDFB-DAD7-3DAF-58FB-08D15D35CFC9}"/>
                  </a:ext>
                </a:extLst>
              </p:cNvPr>
              <p:cNvSpPr>
                <a:spLocks/>
              </p:cNvSpPr>
              <p:nvPr/>
            </p:nvSpPr>
            <p:spPr bwMode="auto">
              <a:xfrm>
                <a:off x="6120140" y="4212845"/>
                <a:ext cx="182402" cy="2497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9" name="Freeform 742">
                <a:extLst>
                  <a:ext uri="{FF2B5EF4-FFF2-40B4-BE49-F238E27FC236}">
                    <a16:creationId xmlns:a16="http://schemas.microsoft.com/office/drawing/2014/main" id="{28F3EE18-2BF9-F6F1-CC37-9BFE2239E0AE}"/>
                  </a:ext>
                </a:extLst>
              </p:cNvPr>
              <p:cNvSpPr>
                <a:spLocks/>
              </p:cNvSpPr>
              <p:nvPr/>
            </p:nvSpPr>
            <p:spPr bwMode="auto">
              <a:xfrm>
                <a:off x="6198824" y="4012254"/>
                <a:ext cx="334403" cy="2497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0" name="Freeform 743">
                <a:extLst>
                  <a:ext uri="{FF2B5EF4-FFF2-40B4-BE49-F238E27FC236}">
                    <a16:creationId xmlns:a16="http://schemas.microsoft.com/office/drawing/2014/main" id="{D9F46638-697A-0ADC-41BA-363C57B324F2}"/>
                  </a:ext>
                </a:extLst>
              </p:cNvPr>
              <p:cNvSpPr>
                <a:spLocks/>
              </p:cNvSpPr>
              <p:nvPr/>
            </p:nvSpPr>
            <p:spPr bwMode="auto">
              <a:xfrm>
                <a:off x="5824388" y="3654133"/>
                <a:ext cx="613372" cy="456060"/>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1" name="Freeform 744">
                <a:extLst>
                  <a:ext uri="{FF2B5EF4-FFF2-40B4-BE49-F238E27FC236}">
                    <a16:creationId xmlns:a16="http://schemas.microsoft.com/office/drawing/2014/main" id="{273671B3-3D0E-F52B-7A6D-85DCF0D5B826}"/>
                  </a:ext>
                </a:extLst>
              </p:cNvPr>
              <p:cNvSpPr>
                <a:spLocks/>
              </p:cNvSpPr>
              <p:nvPr/>
            </p:nvSpPr>
            <p:spPr bwMode="auto">
              <a:xfrm>
                <a:off x="6381225" y="3667844"/>
                <a:ext cx="430969" cy="562032"/>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2" name="Freeform 745">
                <a:extLst>
                  <a:ext uri="{FF2B5EF4-FFF2-40B4-BE49-F238E27FC236}">
                    <a16:creationId xmlns:a16="http://schemas.microsoft.com/office/drawing/2014/main" id="{4DE4F7F6-1E31-D31F-D11F-136DDBCBB433}"/>
                  </a:ext>
                </a:extLst>
              </p:cNvPr>
              <p:cNvSpPr>
                <a:spLocks/>
              </p:cNvSpPr>
              <p:nvPr/>
            </p:nvSpPr>
            <p:spPr bwMode="auto">
              <a:xfrm>
                <a:off x="6758549" y="3811664"/>
                <a:ext cx="168096" cy="160852"/>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3" name="Freeform 746">
                <a:extLst>
                  <a:ext uri="{FF2B5EF4-FFF2-40B4-BE49-F238E27FC236}">
                    <a16:creationId xmlns:a16="http://schemas.microsoft.com/office/drawing/2014/main" id="{EAC3D190-0F39-006F-B872-B9A7E8EBBE68}"/>
                  </a:ext>
                </a:extLst>
              </p:cNvPr>
              <p:cNvSpPr>
                <a:spLocks/>
              </p:cNvSpPr>
              <p:nvPr/>
            </p:nvSpPr>
            <p:spPr bwMode="auto">
              <a:xfrm>
                <a:off x="6670923" y="3889252"/>
                <a:ext cx="388051" cy="340625"/>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4" name="Freeform 747">
                <a:extLst>
                  <a:ext uri="{FF2B5EF4-FFF2-40B4-BE49-F238E27FC236}">
                    <a16:creationId xmlns:a16="http://schemas.microsoft.com/office/drawing/2014/main" id="{C35918FE-8FB7-5250-1121-D3DE1F67FFDA}"/>
                  </a:ext>
                </a:extLst>
              </p:cNvPr>
              <p:cNvSpPr>
                <a:spLocks/>
              </p:cNvSpPr>
              <p:nvPr/>
            </p:nvSpPr>
            <p:spPr bwMode="auto">
              <a:xfrm>
                <a:off x="6690594" y="3989547"/>
                <a:ext cx="456005" cy="461736"/>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5" name="Freeform 748">
                <a:extLst>
                  <a:ext uri="{FF2B5EF4-FFF2-40B4-BE49-F238E27FC236}">
                    <a16:creationId xmlns:a16="http://schemas.microsoft.com/office/drawing/2014/main" id="{DDF8B27A-FDA8-5E0F-0460-CD2058B87CF9}"/>
                  </a:ext>
                </a:extLst>
              </p:cNvPr>
              <p:cNvSpPr>
                <a:spLocks/>
              </p:cNvSpPr>
              <p:nvPr/>
            </p:nvSpPr>
            <p:spPr bwMode="auto">
              <a:xfrm>
                <a:off x="6896245" y="3963053"/>
                <a:ext cx="46495" cy="6055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6" name="Freeform 749">
                <a:extLst>
                  <a:ext uri="{FF2B5EF4-FFF2-40B4-BE49-F238E27FC236}">
                    <a16:creationId xmlns:a16="http://schemas.microsoft.com/office/drawing/2014/main" id="{B6274A76-A603-3818-48A6-C75BA15668A2}"/>
                  </a:ext>
                </a:extLst>
              </p:cNvPr>
              <p:cNvSpPr>
                <a:spLocks/>
              </p:cNvSpPr>
              <p:nvPr/>
            </p:nvSpPr>
            <p:spPr bwMode="auto">
              <a:xfrm>
                <a:off x="6581512" y="4207169"/>
                <a:ext cx="135906" cy="155174"/>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7" name="Freeform 750">
                <a:extLst>
                  <a:ext uri="{FF2B5EF4-FFF2-40B4-BE49-F238E27FC236}">
                    <a16:creationId xmlns:a16="http://schemas.microsoft.com/office/drawing/2014/main" id="{01B32575-E375-8078-2C65-ABBC89519655}"/>
                  </a:ext>
                </a:extLst>
              </p:cNvPr>
              <p:cNvSpPr>
                <a:spLocks/>
              </p:cNvSpPr>
              <p:nvPr/>
            </p:nvSpPr>
            <p:spPr bwMode="auto">
              <a:xfrm>
                <a:off x="6565417" y="4385050"/>
                <a:ext cx="51859" cy="54878"/>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8" name="Freeform 751">
                <a:extLst>
                  <a:ext uri="{FF2B5EF4-FFF2-40B4-BE49-F238E27FC236}">
                    <a16:creationId xmlns:a16="http://schemas.microsoft.com/office/drawing/2014/main" id="{45BD777E-6C8F-4193-A44F-D1234D6CC0E2}"/>
                  </a:ext>
                </a:extLst>
              </p:cNvPr>
              <p:cNvSpPr>
                <a:spLocks/>
              </p:cNvSpPr>
              <p:nvPr/>
            </p:nvSpPr>
            <p:spPr bwMode="auto">
              <a:xfrm>
                <a:off x="6565417" y="4350989"/>
                <a:ext cx="57223" cy="51094"/>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9" name="Freeform 752">
                <a:extLst>
                  <a:ext uri="{FF2B5EF4-FFF2-40B4-BE49-F238E27FC236}">
                    <a16:creationId xmlns:a16="http://schemas.microsoft.com/office/drawing/2014/main" id="{B3934955-2068-8F77-8846-1D9D463C2D14}"/>
                  </a:ext>
                </a:extLst>
              </p:cNvPr>
              <p:cNvSpPr>
                <a:spLocks/>
              </p:cNvSpPr>
              <p:nvPr/>
            </p:nvSpPr>
            <p:spPr bwMode="auto">
              <a:xfrm>
                <a:off x="6576147" y="4333956"/>
                <a:ext cx="282545" cy="323595"/>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0" name="Freeform 753">
                <a:extLst>
                  <a:ext uri="{FF2B5EF4-FFF2-40B4-BE49-F238E27FC236}">
                    <a16:creationId xmlns:a16="http://schemas.microsoft.com/office/drawing/2014/main" id="{23A5C271-4E74-4D5E-A20A-94FB68813FB0}"/>
                  </a:ext>
                </a:extLst>
              </p:cNvPr>
              <p:cNvSpPr>
                <a:spLocks/>
              </p:cNvSpPr>
              <p:nvPr/>
            </p:nvSpPr>
            <p:spPr bwMode="auto">
              <a:xfrm>
                <a:off x="6062918" y="4256369"/>
                <a:ext cx="141272" cy="172206"/>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1" name="Freeform 754">
                <a:extLst>
                  <a:ext uri="{FF2B5EF4-FFF2-40B4-BE49-F238E27FC236}">
                    <a16:creationId xmlns:a16="http://schemas.microsoft.com/office/drawing/2014/main" id="{29A0A3EB-8766-3610-A301-8A5EFF976099}"/>
                  </a:ext>
                </a:extLst>
              </p:cNvPr>
              <p:cNvSpPr>
                <a:spLocks/>
              </p:cNvSpPr>
              <p:nvPr/>
            </p:nvSpPr>
            <p:spPr bwMode="auto">
              <a:xfrm>
                <a:off x="6071859" y="4256369"/>
                <a:ext cx="59013" cy="39739"/>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2" name="Freeform 755">
                <a:extLst>
                  <a:ext uri="{FF2B5EF4-FFF2-40B4-BE49-F238E27FC236}">
                    <a16:creationId xmlns:a16="http://schemas.microsoft.com/office/drawing/2014/main" id="{12EEA775-234A-229B-BD6B-F36C3EAB7F60}"/>
                  </a:ext>
                </a:extLst>
              </p:cNvPr>
              <p:cNvSpPr>
                <a:spLocks/>
              </p:cNvSpPr>
              <p:nvPr/>
            </p:nvSpPr>
            <p:spPr bwMode="auto">
              <a:xfrm>
                <a:off x="6052187" y="3957377"/>
                <a:ext cx="193132" cy="31602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3" name="Freeform 756">
                <a:extLst>
                  <a:ext uri="{FF2B5EF4-FFF2-40B4-BE49-F238E27FC236}">
                    <a16:creationId xmlns:a16="http://schemas.microsoft.com/office/drawing/2014/main" id="{3D1F6567-15E7-1B76-3C25-87322134C461}"/>
                  </a:ext>
                </a:extLst>
              </p:cNvPr>
              <p:cNvSpPr>
                <a:spLocks/>
              </p:cNvSpPr>
              <p:nvPr/>
            </p:nvSpPr>
            <p:spPr bwMode="auto">
              <a:xfrm>
                <a:off x="5846540" y="3972515"/>
                <a:ext cx="78683" cy="172206"/>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4" name="Freeform 757">
                <a:extLst>
                  <a:ext uri="{FF2B5EF4-FFF2-40B4-BE49-F238E27FC236}">
                    <a16:creationId xmlns:a16="http://schemas.microsoft.com/office/drawing/2014/main" id="{E4C424EC-5618-FB9D-783A-C5B5681BA9D8}"/>
                  </a:ext>
                </a:extLst>
              </p:cNvPr>
              <p:cNvSpPr>
                <a:spLocks/>
              </p:cNvSpPr>
              <p:nvPr/>
            </p:nvSpPr>
            <p:spPr bwMode="auto">
              <a:xfrm>
                <a:off x="5900187" y="3928989"/>
                <a:ext cx="309368" cy="283855"/>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5" name="Freeform 758">
                <a:extLst>
                  <a:ext uri="{FF2B5EF4-FFF2-40B4-BE49-F238E27FC236}">
                    <a16:creationId xmlns:a16="http://schemas.microsoft.com/office/drawing/2014/main" id="{6D1375F6-C181-31BE-7776-855DA53686AB}"/>
                  </a:ext>
                </a:extLst>
              </p:cNvPr>
              <p:cNvSpPr>
                <a:spLocks/>
              </p:cNvSpPr>
              <p:nvPr/>
            </p:nvSpPr>
            <p:spPr bwMode="auto">
              <a:xfrm>
                <a:off x="5678444" y="3894926"/>
                <a:ext cx="221744" cy="1665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6" name="Freeform 759">
                <a:extLst>
                  <a:ext uri="{FF2B5EF4-FFF2-40B4-BE49-F238E27FC236}">
                    <a16:creationId xmlns:a16="http://schemas.microsoft.com/office/drawing/2014/main" id="{53D2679E-42B2-9222-0039-06255987D243}"/>
                  </a:ext>
                </a:extLst>
              </p:cNvPr>
              <p:cNvSpPr>
                <a:spLocks/>
              </p:cNvSpPr>
              <p:nvPr/>
            </p:nvSpPr>
            <p:spPr bwMode="auto">
              <a:xfrm>
                <a:off x="5826869" y="4017930"/>
                <a:ext cx="51859" cy="132467"/>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7" name="Freeform 760">
                <a:extLst>
                  <a:ext uri="{FF2B5EF4-FFF2-40B4-BE49-F238E27FC236}">
                    <a16:creationId xmlns:a16="http://schemas.microsoft.com/office/drawing/2014/main" id="{7C109940-F8B9-B830-A9AF-07D8D212046B}"/>
                  </a:ext>
                </a:extLst>
              </p:cNvPr>
              <p:cNvSpPr>
                <a:spLocks/>
              </p:cNvSpPr>
              <p:nvPr/>
            </p:nvSpPr>
            <p:spPr bwMode="auto">
              <a:xfrm>
                <a:off x="5601548" y="4023608"/>
                <a:ext cx="166307" cy="172206"/>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8" name="Freeform 761">
                <a:extLst>
                  <a:ext uri="{FF2B5EF4-FFF2-40B4-BE49-F238E27FC236}">
                    <a16:creationId xmlns:a16="http://schemas.microsoft.com/office/drawing/2014/main" id="{2AFB0264-10AF-B723-698B-FD538EBC0264}"/>
                  </a:ext>
                </a:extLst>
              </p:cNvPr>
              <p:cNvSpPr>
                <a:spLocks/>
              </p:cNvSpPr>
              <p:nvPr/>
            </p:nvSpPr>
            <p:spPr bwMode="auto">
              <a:xfrm>
                <a:off x="5742820" y="4017930"/>
                <a:ext cx="119815" cy="1665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9" name="Freeform 762">
                <a:extLst>
                  <a:ext uri="{FF2B5EF4-FFF2-40B4-BE49-F238E27FC236}">
                    <a16:creationId xmlns:a16="http://schemas.microsoft.com/office/drawing/2014/main" id="{B2D911B0-927B-E6CE-F444-E856C99D9355}"/>
                  </a:ext>
                </a:extLst>
              </p:cNvPr>
              <p:cNvSpPr>
                <a:spLocks/>
              </p:cNvSpPr>
              <p:nvPr/>
            </p:nvSpPr>
            <p:spPr bwMode="auto">
              <a:xfrm>
                <a:off x="5479947" y="4034961"/>
                <a:ext cx="78683" cy="100296"/>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0" name="Freeform 763">
                <a:extLst>
                  <a:ext uri="{FF2B5EF4-FFF2-40B4-BE49-F238E27FC236}">
                    <a16:creationId xmlns:a16="http://schemas.microsoft.com/office/drawing/2014/main" id="{0514D7A4-7E42-CDC2-7F5E-F3EBB7EF3E5E}"/>
                  </a:ext>
                </a:extLst>
              </p:cNvPr>
              <p:cNvSpPr>
                <a:spLocks/>
              </p:cNvSpPr>
              <p:nvPr/>
            </p:nvSpPr>
            <p:spPr bwMode="auto">
              <a:xfrm>
                <a:off x="5526441" y="4078486"/>
                <a:ext cx="116236" cy="117328"/>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1" name="Freeform 764">
                <a:extLst>
                  <a:ext uri="{FF2B5EF4-FFF2-40B4-BE49-F238E27FC236}">
                    <a16:creationId xmlns:a16="http://schemas.microsoft.com/office/drawing/2014/main" id="{88B5B95B-2766-197F-FB27-D8FD21243A22}"/>
                  </a:ext>
                </a:extLst>
              </p:cNvPr>
              <p:cNvSpPr>
                <a:spLocks/>
              </p:cNvSpPr>
              <p:nvPr/>
            </p:nvSpPr>
            <p:spPr bwMode="auto">
              <a:xfrm>
                <a:off x="5444181" y="3966838"/>
                <a:ext cx="182402" cy="162744"/>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2" name="Freeform 765">
                <a:extLst>
                  <a:ext uri="{FF2B5EF4-FFF2-40B4-BE49-F238E27FC236}">
                    <a16:creationId xmlns:a16="http://schemas.microsoft.com/office/drawing/2014/main" id="{710D7BAA-1581-1B35-0CF1-E5FC5E8DF3DE}"/>
                  </a:ext>
                </a:extLst>
              </p:cNvPr>
              <p:cNvSpPr>
                <a:spLocks/>
              </p:cNvSpPr>
              <p:nvPr/>
            </p:nvSpPr>
            <p:spPr bwMode="auto">
              <a:xfrm>
                <a:off x="5395899" y="3972515"/>
                <a:ext cx="84048" cy="39739"/>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3" name="Freeform 766">
                <a:extLst>
                  <a:ext uri="{FF2B5EF4-FFF2-40B4-BE49-F238E27FC236}">
                    <a16:creationId xmlns:a16="http://schemas.microsoft.com/office/drawing/2014/main" id="{5556FEC6-C7E6-2FCD-0C0B-78632E0E26CC}"/>
                  </a:ext>
                </a:extLst>
              </p:cNvPr>
              <p:cNvSpPr>
                <a:spLocks/>
              </p:cNvSpPr>
              <p:nvPr/>
            </p:nvSpPr>
            <p:spPr bwMode="auto">
              <a:xfrm>
                <a:off x="5390533" y="3934667"/>
                <a:ext cx="78683" cy="22709"/>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4" name="Freeform 767">
                <a:extLst>
                  <a:ext uri="{FF2B5EF4-FFF2-40B4-BE49-F238E27FC236}">
                    <a16:creationId xmlns:a16="http://schemas.microsoft.com/office/drawing/2014/main" id="{8CB8C0D5-D925-BF30-DAA8-7AD458C2BF02}"/>
                  </a:ext>
                </a:extLst>
              </p:cNvPr>
              <p:cNvSpPr>
                <a:spLocks/>
              </p:cNvSpPr>
              <p:nvPr/>
            </p:nvSpPr>
            <p:spPr bwMode="auto">
              <a:xfrm>
                <a:off x="5379804" y="3544841"/>
                <a:ext cx="314732" cy="37847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5" name="Freeform 768">
                <a:extLst>
                  <a:ext uri="{FF2B5EF4-FFF2-40B4-BE49-F238E27FC236}">
                    <a16:creationId xmlns:a16="http://schemas.microsoft.com/office/drawing/2014/main" id="{25B2B3A0-BA22-3F96-2259-BBA33BC32EB7}"/>
                  </a:ext>
                </a:extLst>
              </p:cNvPr>
              <p:cNvSpPr>
                <a:spLocks/>
              </p:cNvSpPr>
              <p:nvPr/>
            </p:nvSpPr>
            <p:spPr bwMode="auto">
              <a:xfrm>
                <a:off x="5379804" y="3857080"/>
                <a:ext cx="152001" cy="126790"/>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6" name="Freeform 769">
                <a:extLst>
                  <a:ext uri="{FF2B5EF4-FFF2-40B4-BE49-F238E27FC236}">
                    <a16:creationId xmlns:a16="http://schemas.microsoft.com/office/drawing/2014/main" id="{1D107FBC-D541-160C-FB8A-A18AADE38984}"/>
                  </a:ext>
                </a:extLst>
              </p:cNvPr>
              <p:cNvSpPr>
                <a:spLocks/>
              </p:cNvSpPr>
              <p:nvPr/>
            </p:nvSpPr>
            <p:spPr bwMode="auto">
              <a:xfrm>
                <a:off x="5512135" y="3607288"/>
                <a:ext cx="439910" cy="43335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7" name="Freeform 770">
                <a:extLst>
                  <a:ext uri="{FF2B5EF4-FFF2-40B4-BE49-F238E27FC236}">
                    <a16:creationId xmlns:a16="http://schemas.microsoft.com/office/drawing/2014/main" id="{CAA502F9-EE7D-3140-B2A2-5759EB82967F}"/>
                  </a:ext>
                </a:extLst>
              </p:cNvPr>
              <p:cNvSpPr>
                <a:spLocks/>
              </p:cNvSpPr>
              <p:nvPr/>
            </p:nvSpPr>
            <p:spPr bwMode="auto">
              <a:xfrm>
                <a:off x="6454545" y="3406696"/>
                <a:ext cx="289696" cy="298994"/>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8" name="Freeform 771">
                <a:extLst>
                  <a:ext uri="{FF2B5EF4-FFF2-40B4-BE49-F238E27FC236}">
                    <a16:creationId xmlns:a16="http://schemas.microsoft.com/office/drawing/2014/main" id="{732CBA48-25DE-F1FB-E15C-FB5CF46A46C2}"/>
                  </a:ext>
                </a:extLst>
              </p:cNvPr>
              <p:cNvSpPr>
                <a:spLocks/>
              </p:cNvSpPr>
              <p:nvPr/>
            </p:nvSpPr>
            <p:spPr bwMode="auto">
              <a:xfrm>
                <a:off x="6025363" y="3234493"/>
                <a:ext cx="105509" cy="215730"/>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9" name="Freeform 772">
                <a:extLst>
                  <a:ext uri="{FF2B5EF4-FFF2-40B4-BE49-F238E27FC236}">
                    <a16:creationId xmlns:a16="http://schemas.microsoft.com/office/drawing/2014/main" id="{FF38A984-1DD1-0F04-8FCB-4F81BD9A3D68}"/>
                  </a:ext>
                </a:extLst>
              </p:cNvPr>
              <p:cNvSpPr>
                <a:spLocks/>
              </p:cNvSpPr>
              <p:nvPr/>
            </p:nvSpPr>
            <p:spPr bwMode="auto">
              <a:xfrm>
                <a:off x="6071860" y="3361280"/>
                <a:ext cx="398782" cy="406860"/>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0" name="Freeform 773">
                <a:extLst>
                  <a:ext uri="{FF2B5EF4-FFF2-40B4-BE49-F238E27FC236}">
                    <a16:creationId xmlns:a16="http://schemas.microsoft.com/office/drawing/2014/main" id="{17A45325-E56F-4EFA-BD59-EF977576AF85}"/>
                  </a:ext>
                </a:extLst>
              </p:cNvPr>
              <p:cNvSpPr>
                <a:spLocks/>
              </p:cNvSpPr>
              <p:nvPr/>
            </p:nvSpPr>
            <p:spPr bwMode="auto">
              <a:xfrm>
                <a:off x="5385169" y="3533487"/>
                <a:ext cx="219956" cy="189237"/>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1" name="Freeform 774">
                <a:extLst>
                  <a:ext uri="{FF2B5EF4-FFF2-40B4-BE49-F238E27FC236}">
                    <a16:creationId xmlns:a16="http://schemas.microsoft.com/office/drawing/2014/main" id="{B8868E65-7B62-C05B-379D-699CDC8D06F7}"/>
                  </a:ext>
                </a:extLst>
              </p:cNvPr>
              <p:cNvSpPr>
                <a:spLocks/>
              </p:cNvSpPr>
              <p:nvPr/>
            </p:nvSpPr>
            <p:spPr bwMode="auto">
              <a:xfrm>
                <a:off x="5490676" y="3266662"/>
                <a:ext cx="314732" cy="266824"/>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2" name="Freeform 775">
                <a:extLst>
                  <a:ext uri="{FF2B5EF4-FFF2-40B4-BE49-F238E27FC236}">
                    <a16:creationId xmlns:a16="http://schemas.microsoft.com/office/drawing/2014/main" id="{8AA8B764-B18E-2550-EC5C-1E45A0408247}"/>
                  </a:ext>
                </a:extLst>
              </p:cNvPr>
              <p:cNvSpPr>
                <a:spLocks/>
              </p:cNvSpPr>
              <p:nvPr/>
            </p:nvSpPr>
            <p:spPr bwMode="auto">
              <a:xfrm>
                <a:off x="5601549" y="3240170"/>
                <a:ext cx="543629" cy="548785"/>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solidFill>
                <a:srgbClr val="FFF6D5"/>
              </a:solidFill>
              <a:ln w="3175" cap="flat">
                <a:solidFill>
                  <a:schemeClr val="accent5"/>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grpSp>
      <p:sp>
        <p:nvSpPr>
          <p:cNvPr id="73" name="Rectangle 72">
            <a:extLst>
              <a:ext uri="{FF2B5EF4-FFF2-40B4-BE49-F238E27FC236}">
                <a16:creationId xmlns:a16="http://schemas.microsoft.com/office/drawing/2014/main" id="{0962D337-9EF2-331F-2CAD-036ACC7FB38D}"/>
              </a:ext>
            </a:extLst>
          </p:cNvPr>
          <p:cNvSpPr/>
          <p:nvPr/>
        </p:nvSpPr>
        <p:spPr bwMode="gray">
          <a:xfrm>
            <a:off x="6758053" y="2312445"/>
            <a:ext cx="139337"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4" name="Rectangle 73">
            <a:extLst>
              <a:ext uri="{FF2B5EF4-FFF2-40B4-BE49-F238E27FC236}">
                <a16:creationId xmlns:a16="http://schemas.microsoft.com/office/drawing/2014/main" id="{A2D15E5F-BC19-A951-3EA1-6D991B471269}"/>
              </a:ext>
            </a:extLst>
          </p:cNvPr>
          <p:cNvSpPr/>
          <p:nvPr/>
        </p:nvSpPr>
        <p:spPr bwMode="gray">
          <a:xfrm>
            <a:off x="6932496" y="2307683"/>
            <a:ext cx="652871"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75" name="Rectangle 74">
            <a:extLst>
              <a:ext uri="{FF2B5EF4-FFF2-40B4-BE49-F238E27FC236}">
                <a16:creationId xmlns:a16="http://schemas.microsoft.com/office/drawing/2014/main" id="{2CE72655-9ECC-F8B9-DD9F-0344F56F696B}"/>
              </a:ext>
            </a:extLst>
          </p:cNvPr>
          <p:cNvSpPr/>
          <p:nvPr/>
        </p:nvSpPr>
        <p:spPr bwMode="gray">
          <a:xfrm>
            <a:off x="6758053" y="2437858"/>
            <a:ext cx="139337"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Rectangle 75">
            <a:extLst>
              <a:ext uri="{FF2B5EF4-FFF2-40B4-BE49-F238E27FC236}">
                <a16:creationId xmlns:a16="http://schemas.microsoft.com/office/drawing/2014/main" id="{D492EFFC-02F4-DE4E-367F-12629A169B96}"/>
              </a:ext>
            </a:extLst>
          </p:cNvPr>
          <p:cNvSpPr/>
          <p:nvPr/>
        </p:nvSpPr>
        <p:spPr bwMode="gray">
          <a:xfrm>
            <a:off x="6932496" y="2433095"/>
            <a:ext cx="652871"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77" name="Rectangle 76">
            <a:extLst>
              <a:ext uri="{FF2B5EF4-FFF2-40B4-BE49-F238E27FC236}">
                <a16:creationId xmlns:a16="http://schemas.microsoft.com/office/drawing/2014/main" id="{390C0343-BE41-147A-F2D5-07741E73015E}"/>
              </a:ext>
            </a:extLst>
          </p:cNvPr>
          <p:cNvSpPr/>
          <p:nvPr/>
        </p:nvSpPr>
        <p:spPr bwMode="gray">
          <a:xfrm>
            <a:off x="6758053" y="2563270"/>
            <a:ext cx="139337" cy="79375"/>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Rectangle 77">
            <a:extLst>
              <a:ext uri="{FF2B5EF4-FFF2-40B4-BE49-F238E27FC236}">
                <a16:creationId xmlns:a16="http://schemas.microsoft.com/office/drawing/2014/main" id="{F21CDF3D-6B46-BF0C-2B4E-A6FE56DD07FD}"/>
              </a:ext>
            </a:extLst>
          </p:cNvPr>
          <p:cNvSpPr/>
          <p:nvPr/>
        </p:nvSpPr>
        <p:spPr bwMode="gray">
          <a:xfrm>
            <a:off x="6932496" y="2558508"/>
            <a:ext cx="652871"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79" name="Rectangle 78">
            <a:extLst>
              <a:ext uri="{FF2B5EF4-FFF2-40B4-BE49-F238E27FC236}">
                <a16:creationId xmlns:a16="http://schemas.microsoft.com/office/drawing/2014/main" id="{538A8004-1A84-CD0B-5CEC-73862117FCB7}"/>
              </a:ext>
            </a:extLst>
          </p:cNvPr>
          <p:cNvSpPr/>
          <p:nvPr/>
        </p:nvSpPr>
        <p:spPr bwMode="gray">
          <a:xfrm>
            <a:off x="6758053" y="2695033"/>
            <a:ext cx="139337"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Rectangle 79">
            <a:extLst>
              <a:ext uri="{FF2B5EF4-FFF2-40B4-BE49-F238E27FC236}">
                <a16:creationId xmlns:a16="http://schemas.microsoft.com/office/drawing/2014/main" id="{67BC17D7-5EB6-995A-CE41-7C03700DA1DC}"/>
              </a:ext>
            </a:extLst>
          </p:cNvPr>
          <p:cNvSpPr/>
          <p:nvPr/>
        </p:nvSpPr>
        <p:spPr bwMode="gray">
          <a:xfrm>
            <a:off x="6932496" y="2688683"/>
            <a:ext cx="652871"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graphicFrame>
        <p:nvGraphicFramePr>
          <p:cNvPr id="81" name="Chart 80">
            <a:extLst>
              <a:ext uri="{FF2B5EF4-FFF2-40B4-BE49-F238E27FC236}">
                <a16:creationId xmlns:a16="http://schemas.microsoft.com/office/drawing/2014/main" id="{D6D50ACB-D308-9A10-FA2D-08E4D103906F}"/>
              </a:ext>
            </a:extLst>
          </p:cNvPr>
          <p:cNvGraphicFramePr/>
          <p:nvPr>
            <p:custDataLst>
              <p:tags r:id="rId2"/>
            </p:custDataLst>
            <p:extLst>
              <p:ext uri="{D42A27DB-BD31-4B8C-83A1-F6EECF244321}">
                <p14:modId xmlns:p14="http://schemas.microsoft.com/office/powerpoint/2010/main" val="3632499121"/>
              </p:ext>
            </p:extLst>
          </p:nvPr>
        </p:nvGraphicFramePr>
        <p:xfrm>
          <a:off x="266700" y="2227263"/>
          <a:ext cx="3648075" cy="2622550"/>
        </p:xfrm>
        <a:graphic>
          <a:graphicData uri="http://schemas.openxmlformats.org/drawingml/2006/chart">
            <c:chart xmlns:c="http://schemas.openxmlformats.org/drawingml/2006/chart" xmlns:r="http://schemas.openxmlformats.org/officeDocument/2006/relationships" r:id="rId30"/>
          </a:graphicData>
        </a:graphic>
      </p:graphicFrame>
      <p:sp>
        <p:nvSpPr>
          <p:cNvPr id="82" name="Text Placeholder 10">
            <a:extLst>
              <a:ext uri="{FF2B5EF4-FFF2-40B4-BE49-F238E27FC236}">
                <a16:creationId xmlns:a16="http://schemas.microsoft.com/office/drawing/2014/main" id="{3DB56071-B359-A269-6923-6F9B10D0077E}"/>
              </a:ext>
            </a:extLst>
          </p:cNvPr>
          <p:cNvSpPr txBox="1">
            <a:spLocks/>
          </p:cNvSpPr>
          <p:nvPr>
            <p:custDataLst>
              <p:tags r:id="rId3"/>
            </p:custDataLst>
          </p:nvPr>
        </p:nvSpPr>
        <p:spPr bwMode="auto">
          <a:xfrm>
            <a:off x="3644900" y="24177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D3FEE7A-C6CC-4CC3-B0B3-44D127119236}" type="datetime'''''''''A''''f''''''''''''''''''r''''''''i''c''''a'''">
              <a:rPr lang="en-US" altLang="en-US" sz="1000" smtClean="0"/>
              <a:pPr/>
              <a:t>Africa</a:t>
            </a:fld>
            <a:endParaRPr lang="en-US" sz="1000" dirty="0"/>
          </a:p>
        </p:txBody>
      </p:sp>
      <p:sp>
        <p:nvSpPr>
          <p:cNvPr id="83" name="Title 1">
            <a:extLst>
              <a:ext uri="{FF2B5EF4-FFF2-40B4-BE49-F238E27FC236}">
                <a16:creationId xmlns:a16="http://schemas.microsoft.com/office/drawing/2014/main" id="{BC4CAE78-07B6-9BD2-BD65-498AC107DF12}"/>
              </a:ext>
            </a:extLst>
          </p:cNvPr>
          <p:cNvSpPr txBox="1">
            <a:spLocks/>
          </p:cNvSpPr>
          <p:nvPr/>
        </p:nvSpPr>
        <p:spPr>
          <a:xfrm>
            <a:off x="324000" y="2093913"/>
            <a:ext cx="3576638" cy="260350"/>
          </a:xfrm>
          <a:prstGeom prst="rect">
            <a:avLst/>
          </a:prstGeom>
        </p:spPr>
        <p:txBody>
          <a:bodyPr vert="horz" lIns="91440" tIns="0" rIns="91440" bIns="45720" rtlCol="0" anchor="t">
            <a:normAutofit fontScale="97500"/>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pPr marL="0" indent="0"/>
            <a:r>
              <a:rPr lang="en-US" sz="1000" b="0" dirty="0"/>
              <a:t>Cumulative installed capacity of geothermal power (</a:t>
            </a:r>
            <a:r>
              <a:rPr lang="en-US" sz="1000" b="0" i="1" dirty="0"/>
              <a:t>MW</a:t>
            </a:r>
            <a:r>
              <a:rPr lang="en-US" sz="1000" b="0" dirty="0"/>
              <a:t>) </a:t>
            </a:r>
          </a:p>
        </p:txBody>
      </p:sp>
      <p:sp>
        <p:nvSpPr>
          <p:cNvPr id="84" name="Left Brace 83">
            <a:extLst>
              <a:ext uri="{FF2B5EF4-FFF2-40B4-BE49-F238E27FC236}">
                <a16:creationId xmlns:a16="http://schemas.microsoft.com/office/drawing/2014/main" id="{8324DA50-FEBC-27BD-D199-CF7A6BE09EDF}"/>
              </a:ext>
            </a:extLst>
          </p:cNvPr>
          <p:cNvSpPr/>
          <p:nvPr/>
        </p:nvSpPr>
        <p:spPr bwMode="gray">
          <a:xfrm rot="16200000">
            <a:off x="2062163" y="3509963"/>
            <a:ext cx="188913" cy="2687988"/>
          </a:xfrm>
          <a:prstGeom prst="leftBrac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aphicFrame>
        <p:nvGraphicFramePr>
          <p:cNvPr id="85" name="Chart 84">
            <a:extLst>
              <a:ext uri="{FF2B5EF4-FFF2-40B4-BE49-F238E27FC236}">
                <a16:creationId xmlns:a16="http://schemas.microsoft.com/office/drawing/2014/main" id="{216C5961-01DE-491F-D6A9-476429976556}"/>
              </a:ext>
            </a:extLst>
          </p:cNvPr>
          <p:cNvGraphicFramePr/>
          <p:nvPr>
            <p:custDataLst>
              <p:tags r:id="rId4"/>
            </p:custDataLst>
            <p:extLst>
              <p:ext uri="{D42A27DB-BD31-4B8C-83A1-F6EECF244321}">
                <p14:modId xmlns:p14="http://schemas.microsoft.com/office/powerpoint/2010/main" val="1312013319"/>
              </p:ext>
            </p:extLst>
          </p:nvPr>
        </p:nvGraphicFramePr>
        <p:xfrm>
          <a:off x="2233613" y="2998788"/>
          <a:ext cx="2165350" cy="1368425"/>
        </p:xfrm>
        <a:graphic>
          <a:graphicData uri="http://schemas.openxmlformats.org/drawingml/2006/chart">
            <c:chart xmlns:c="http://schemas.openxmlformats.org/drawingml/2006/chart" xmlns:r="http://schemas.openxmlformats.org/officeDocument/2006/relationships" r:id="rId31"/>
          </a:graphicData>
        </a:graphic>
      </p:graphicFrame>
      <p:sp>
        <p:nvSpPr>
          <p:cNvPr id="86" name="Text Placeholder 10">
            <a:extLst>
              <a:ext uri="{FF2B5EF4-FFF2-40B4-BE49-F238E27FC236}">
                <a16:creationId xmlns:a16="http://schemas.microsoft.com/office/drawing/2014/main" id="{023CE643-37E2-0411-9824-F040DCBB3E54}"/>
              </a:ext>
            </a:extLst>
          </p:cNvPr>
          <p:cNvSpPr txBox="1">
            <a:spLocks/>
          </p:cNvSpPr>
          <p:nvPr>
            <p:custDataLst>
              <p:tags r:id="rId5"/>
            </p:custDataLst>
          </p:nvPr>
        </p:nvSpPr>
        <p:spPr bwMode="auto">
          <a:xfrm>
            <a:off x="3182938" y="4086225"/>
            <a:ext cx="2905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14C374-9E68-4FB0-AA9A-24B407C49D5F}" type="datetime'''K''''''''''''''''''e''''''n''''''''ya'''''''''">
              <a:rPr lang="en-US" altLang="en-US" sz="800" smtClean="0"/>
              <a:pPr/>
              <a:t>Kenya</a:t>
            </a:fld>
            <a:endParaRPr lang="en-US" sz="800" dirty="0"/>
          </a:p>
        </p:txBody>
      </p:sp>
      <p:sp>
        <p:nvSpPr>
          <p:cNvPr id="87" name="Text Placeholder 10">
            <a:extLst>
              <a:ext uri="{FF2B5EF4-FFF2-40B4-BE49-F238E27FC236}">
                <a16:creationId xmlns:a16="http://schemas.microsoft.com/office/drawing/2014/main" id="{F3D183BC-D385-9724-B7CA-EEED97AE91C8}"/>
              </a:ext>
            </a:extLst>
          </p:cNvPr>
          <p:cNvSpPr txBox="1">
            <a:spLocks/>
          </p:cNvSpPr>
          <p:nvPr>
            <p:custDataLst>
              <p:tags r:id="rId6"/>
            </p:custDataLst>
          </p:nvPr>
        </p:nvSpPr>
        <p:spPr bwMode="gray">
          <a:xfrm>
            <a:off x="3201988" y="3332163"/>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AA655B-E9AD-41FA-A7CF-8D1A63DD04CE}" type="datetime'''''''''''''''''''''''''''''''''''''''''1''''%'''''''">
              <a:rPr lang="en-US" altLang="en-US" sz="1000" smtClean="0">
                <a:solidFill>
                  <a:schemeClr val="bg1"/>
                </a:solidFill>
                <a:effectLst/>
              </a:rPr>
              <a:pPr marL="0" indent="0" algn="ctr">
                <a:spcBef>
                  <a:spcPct val="0"/>
                </a:spcBef>
                <a:spcAft>
                  <a:spcPct val="0"/>
                </a:spcAft>
                <a:buNone/>
              </a:pPr>
              <a:t>1%</a:t>
            </a:fld>
            <a:endParaRPr lang="en-US" sz="1000" dirty="0">
              <a:solidFill>
                <a:schemeClr val="bg1"/>
              </a:solidFill>
            </a:endParaRPr>
          </a:p>
        </p:txBody>
      </p:sp>
      <p:sp>
        <p:nvSpPr>
          <p:cNvPr id="88" name="Text Placeholder 10">
            <a:extLst>
              <a:ext uri="{FF2B5EF4-FFF2-40B4-BE49-F238E27FC236}">
                <a16:creationId xmlns:a16="http://schemas.microsoft.com/office/drawing/2014/main" id="{15BD00F1-8636-DA60-D30A-B8CAAFF1ED40}"/>
              </a:ext>
            </a:extLst>
          </p:cNvPr>
          <p:cNvSpPr txBox="1">
            <a:spLocks/>
          </p:cNvSpPr>
          <p:nvPr>
            <p:custDataLst>
              <p:tags r:id="rId7"/>
            </p:custDataLst>
          </p:nvPr>
        </p:nvSpPr>
        <p:spPr bwMode="auto">
          <a:xfrm>
            <a:off x="3121025" y="3159125"/>
            <a:ext cx="369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163C186-873D-4C4D-9968-A534CB3DF74E}" type="datetime'''''E''''t''h''i''''o''''''p''''''''''''''''''''''''i''''a'''">
              <a:rPr lang="en-US" altLang="en-US" sz="800" smtClean="0"/>
              <a:pPr marL="0" indent="0" algn="r">
                <a:spcBef>
                  <a:spcPct val="0"/>
                </a:spcBef>
                <a:spcAft>
                  <a:spcPct val="0"/>
                </a:spcAft>
                <a:buNone/>
              </a:pPr>
              <a:t>Ethiopia</a:t>
            </a:fld>
            <a:endParaRPr lang="en-US" sz="800" dirty="0"/>
          </a:p>
        </p:txBody>
      </p:sp>
      <p:graphicFrame>
        <p:nvGraphicFramePr>
          <p:cNvPr id="89" name="Chart 88">
            <a:extLst>
              <a:ext uri="{FF2B5EF4-FFF2-40B4-BE49-F238E27FC236}">
                <a16:creationId xmlns:a16="http://schemas.microsoft.com/office/drawing/2014/main" id="{1A4BA635-7BCF-8EE1-1D3E-27D176A09FA1}"/>
              </a:ext>
            </a:extLst>
          </p:cNvPr>
          <p:cNvGraphicFramePr/>
          <p:nvPr>
            <p:custDataLst>
              <p:tags r:id="rId8"/>
            </p:custDataLst>
            <p:extLst>
              <p:ext uri="{D42A27DB-BD31-4B8C-83A1-F6EECF244321}">
                <p14:modId xmlns:p14="http://schemas.microsoft.com/office/powerpoint/2010/main" val="3440587481"/>
              </p:ext>
            </p:extLst>
          </p:nvPr>
        </p:nvGraphicFramePr>
        <p:xfrm>
          <a:off x="4435475" y="5018088"/>
          <a:ext cx="3048000" cy="1285875"/>
        </p:xfrm>
        <a:graphic>
          <a:graphicData uri="http://schemas.openxmlformats.org/drawingml/2006/chart">
            <c:chart xmlns:c="http://schemas.openxmlformats.org/drawingml/2006/chart" xmlns:r="http://schemas.openxmlformats.org/officeDocument/2006/relationships" r:id="rId32"/>
          </a:graphicData>
        </a:graphic>
      </p:graphicFrame>
      <p:sp>
        <p:nvSpPr>
          <p:cNvPr id="90" name="Text Placeholder 10">
            <a:extLst>
              <a:ext uri="{FF2B5EF4-FFF2-40B4-BE49-F238E27FC236}">
                <a16:creationId xmlns:a16="http://schemas.microsoft.com/office/drawing/2014/main" id="{0C1D104B-09A1-0ADC-848B-8413F03B5E1F}"/>
              </a:ext>
            </a:extLst>
          </p:cNvPr>
          <p:cNvSpPr txBox="1">
            <a:spLocks/>
          </p:cNvSpPr>
          <p:nvPr>
            <p:custDataLst>
              <p:tags r:id="rId9"/>
            </p:custDataLst>
          </p:nvPr>
        </p:nvSpPr>
        <p:spPr bwMode="auto">
          <a:xfrm>
            <a:off x="4562475" y="6111875"/>
            <a:ext cx="1352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3779CB-A979-413F-AA26-C10670B4BEA9}" type="datetime'''''2021 ''Global ''''''E''''le''''c''tric'''' ''Cap''acity'">
              <a:rPr lang="en-US" altLang="en-US" sz="800" smtClean="0"/>
              <a:pPr marL="0" indent="0" algn="ctr">
                <a:spcBef>
                  <a:spcPct val="0"/>
                </a:spcBef>
                <a:spcAft>
                  <a:spcPct val="0"/>
                </a:spcAft>
                <a:buNone/>
              </a:pPr>
              <a:t>2021 Global Electric Capacity</a:t>
            </a:fld>
            <a:endParaRPr lang="en-US" sz="800" dirty="0"/>
          </a:p>
        </p:txBody>
      </p:sp>
      <p:sp>
        <p:nvSpPr>
          <p:cNvPr id="91" name="Text Placeholder 10">
            <a:extLst>
              <a:ext uri="{FF2B5EF4-FFF2-40B4-BE49-F238E27FC236}">
                <a16:creationId xmlns:a16="http://schemas.microsoft.com/office/drawing/2014/main" id="{4CD320BF-DAAB-E92C-6F0B-AF4B1D645200}"/>
              </a:ext>
            </a:extLst>
          </p:cNvPr>
          <p:cNvSpPr txBox="1">
            <a:spLocks/>
          </p:cNvSpPr>
          <p:nvPr>
            <p:custDataLst>
              <p:tags r:id="rId10"/>
            </p:custDataLst>
          </p:nvPr>
        </p:nvSpPr>
        <p:spPr bwMode="auto">
          <a:xfrm>
            <a:off x="6148388" y="6111875"/>
            <a:ext cx="10652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7946E6-4F8A-4807-9177-D98E935BD57A}" type="datetime'1%'' of'' Afri''can ''''S''up''erho''t Roc''k'' Potenti''al '">
              <a:rPr lang="en-US" altLang="en-US" sz="800" smtClean="0"/>
              <a:pPr marL="0" indent="0" algn="ctr">
                <a:spcBef>
                  <a:spcPct val="0"/>
                </a:spcBef>
                <a:spcAft>
                  <a:spcPct val="0"/>
                </a:spcAft>
                <a:buNone/>
              </a:pPr>
              <a:t>1% of African Superhot Rock Potential </a:t>
            </a:fld>
            <a:endParaRPr lang="en-US" sz="800" dirty="0"/>
          </a:p>
        </p:txBody>
      </p:sp>
      <p:sp>
        <p:nvSpPr>
          <p:cNvPr id="92" name="Rectangle 91">
            <a:extLst>
              <a:ext uri="{FF2B5EF4-FFF2-40B4-BE49-F238E27FC236}">
                <a16:creationId xmlns:a16="http://schemas.microsoft.com/office/drawing/2014/main" id="{33ADE0E4-66D1-F365-9573-BF7106EF528A}"/>
              </a:ext>
            </a:extLst>
          </p:cNvPr>
          <p:cNvSpPr/>
          <p:nvPr/>
        </p:nvSpPr>
        <p:spPr bwMode="gray">
          <a:xfrm>
            <a:off x="5534025" y="5387975"/>
            <a:ext cx="720725" cy="5111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050" b="1" i="1" dirty="0">
                <a:solidFill>
                  <a:schemeClr val="tx1"/>
                </a:solidFill>
              </a:rPr>
              <a:t>1.5x </a:t>
            </a:r>
          </a:p>
          <a:p>
            <a:pPr marL="0" indent="0" algn="ctr">
              <a:spcBef>
                <a:spcPts val="0"/>
              </a:spcBef>
              <a:buNone/>
            </a:pPr>
            <a:r>
              <a:rPr lang="en-US" sz="800" i="1" dirty="0">
                <a:solidFill>
                  <a:schemeClr val="tx1"/>
                </a:solidFill>
              </a:rPr>
              <a:t>global electric capacity in 2021</a:t>
            </a:r>
          </a:p>
        </p:txBody>
      </p:sp>
      <p:sp>
        <p:nvSpPr>
          <p:cNvPr id="93" name="Title 1">
            <a:extLst>
              <a:ext uri="{FF2B5EF4-FFF2-40B4-BE49-F238E27FC236}">
                <a16:creationId xmlns:a16="http://schemas.microsoft.com/office/drawing/2014/main" id="{0FD86521-62AD-B712-1E69-7983B1274352}"/>
              </a:ext>
            </a:extLst>
          </p:cNvPr>
          <p:cNvSpPr txBox="1">
            <a:spLocks/>
          </p:cNvSpPr>
          <p:nvPr/>
        </p:nvSpPr>
        <p:spPr>
          <a:xfrm>
            <a:off x="5113338" y="5148263"/>
            <a:ext cx="1541463" cy="196850"/>
          </a:xfrm>
          <a:prstGeom prst="rect">
            <a:avLst/>
          </a:prstGeom>
        </p:spPr>
        <p:txBody>
          <a:bodyPr vert="horz" lIns="91440" tIns="0" rIns="91440" bIns="45720" rtlCol="0" anchor="t">
            <a:normAutofit fontScale="97500" lnSpcReduction="10000"/>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pPr marL="0" indent="0"/>
            <a:r>
              <a:rPr lang="en-US" sz="1000" b="0" dirty="0"/>
              <a:t>Electric Capacity </a:t>
            </a:r>
            <a:r>
              <a:rPr lang="en-US" sz="1000" b="0" i="1" dirty="0"/>
              <a:t>TW</a:t>
            </a:r>
          </a:p>
        </p:txBody>
      </p:sp>
      <p:sp>
        <p:nvSpPr>
          <p:cNvPr id="94" name="Rectangle 93">
            <a:extLst>
              <a:ext uri="{FF2B5EF4-FFF2-40B4-BE49-F238E27FC236}">
                <a16:creationId xmlns:a16="http://schemas.microsoft.com/office/drawing/2014/main" id="{BCC1BC58-2E2D-6043-61CA-FD9D324EF9F4}"/>
              </a:ext>
            </a:extLst>
          </p:cNvPr>
          <p:cNvSpPr/>
          <p:nvPr/>
        </p:nvSpPr>
        <p:spPr bwMode="gray">
          <a:xfrm>
            <a:off x="7959725" y="2438400"/>
            <a:ext cx="3706813" cy="3254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tx1"/>
                </a:solidFill>
              </a:rPr>
              <a:t>Spotlight Countries for Superhot Rock (estimated </a:t>
            </a:r>
            <a:r>
              <a:rPr lang="en-US" sz="1000" i="1" dirty="0">
                <a:solidFill>
                  <a:schemeClr val="tx1"/>
                </a:solidFill>
              </a:rPr>
              <a:t>GW</a:t>
            </a:r>
            <a:r>
              <a:rPr lang="en-US" sz="1000" dirty="0">
                <a:solidFill>
                  <a:schemeClr val="tx1"/>
                </a:solidFill>
              </a:rPr>
              <a:t>)</a:t>
            </a:r>
          </a:p>
        </p:txBody>
      </p:sp>
      <p:sp>
        <p:nvSpPr>
          <p:cNvPr id="95" name="Rectangle 94">
            <a:extLst>
              <a:ext uri="{FF2B5EF4-FFF2-40B4-BE49-F238E27FC236}">
                <a16:creationId xmlns:a16="http://schemas.microsoft.com/office/drawing/2014/main" id="{11E454A9-99BC-1364-16E9-FFB6091BAA32}"/>
              </a:ext>
            </a:extLst>
          </p:cNvPr>
          <p:cNvSpPr/>
          <p:nvPr/>
        </p:nvSpPr>
        <p:spPr bwMode="gray">
          <a:xfrm>
            <a:off x="8201025" y="2746375"/>
            <a:ext cx="938213" cy="241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udan</a:t>
            </a:r>
          </a:p>
        </p:txBody>
      </p:sp>
      <p:sp>
        <p:nvSpPr>
          <p:cNvPr id="96" name="Rectangle 95">
            <a:extLst>
              <a:ext uri="{FF2B5EF4-FFF2-40B4-BE49-F238E27FC236}">
                <a16:creationId xmlns:a16="http://schemas.microsoft.com/office/drawing/2014/main" id="{FE440C14-9679-D991-9C79-7D719D867B66}"/>
              </a:ext>
            </a:extLst>
          </p:cNvPr>
          <p:cNvSpPr/>
          <p:nvPr/>
        </p:nvSpPr>
        <p:spPr bwMode="gray">
          <a:xfrm>
            <a:off x="8215313" y="3070225"/>
            <a:ext cx="936625" cy="204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Chad</a:t>
            </a:r>
          </a:p>
        </p:txBody>
      </p:sp>
      <p:sp>
        <p:nvSpPr>
          <p:cNvPr id="97" name="Rectangle 96">
            <a:extLst>
              <a:ext uri="{FF2B5EF4-FFF2-40B4-BE49-F238E27FC236}">
                <a16:creationId xmlns:a16="http://schemas.microsoft.com/office/drawing/2014/main" id="{2F714222-72BC-6724-6ABA-DCAA4F05AF18}"/>
              </a:ext>
            </a:extLst>
          </p:cNvPr>
          <p:cNvSpPr/>
          <p:nvPr/>
        </p:nvSpPr>
        <p:spPr bwMode="gray">
          <a:xfrm>
            <a:off x="8201025" y="3308350"/>
            <a:ext cx="938213" cy="2365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Niger</a:t>
            </a:r>
          </a:p>
        </p:txBody>
      </p:sp>
      <p:sp>
        <p:nvSpPr>
          <p:cNvPr id="98" name="Rectangle 97">
            <a:extLst>
              <a:ext uri="{FF2B5EF4-FFF2-40B4-BE49-F238E27FC236}">
                <a16:creationId xmlns:a16="http://schemas.microsoft.com/office/drawing/2014/main" id="{D509F3D0-D8EF-3BDF-56C5-D39CEE98EF6C}"/>
              </a:ext>
            </a:extLst>
          </p:cNvPr>
          <p:cNvSpPr/>
          <p:nvPr/>
        </p:nvSpPr>
        <p:spPr bwMode="gray">
          <a:xfrm>
            <a:off x="8135938" y="3598863"/>
            <a:ext cx="936625" cy="207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Ethiopia</a:t>
            </a:r>
          </a:p>
        </p:txBody>
      </p:sp>
      <p:sp>
        <p:nvSpPr>
          <p:cNvPr id="99" name="Rectangle 98">
            <a:extLst>
              <a:ext uri="{FF2B5EF4-FFF2-40B4-BE49-F238E27FC236}">
                <a16:creationId xmlns:a16="http://schemas.microsoft.com/office/drawing/2014/main" id="{24AF3C9F-32F8-0C01-6495-D7E56AA812EC}"/>
              </a:ext>
            </a:extLst>
          </p:cNvPr>
          <p:cNvSpPr/>
          <p:nvPr/>
        </p:nvSpPr>
        <p:spPr bwMode="gray">
          <a:xfrm>
            <a:off x="8162925" y="3863975"/>
            <a:ext cx="938213" cy="207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Nigeria</a:t>
            </a:r>
          </a:p>
        </p:txBody>
      </p:sp>
      <p:sp>
        <p:nvSpPr>
          <p:cNvPr id="100" name="Rectangle 99">
            <a:extLst>
              <a:ext uri="{FF2B5EF4-FFF2-40B4-BE49-F238E27FC236}">
                <a16:creationId xmlns:a16="http://schemas.microsoft.com/office/drawing/2014/main" id="{AC362033-5F7F-86CB-2E10-B791D8C29A4E}"/>
              </a:ext>
            </a:extLst>
          </p:cNvPr>
          <p:cNvSpPr/>
          <p:nvPr/>
        </p:nvSpPr>
        <p:spPr bwMode="gray">
          <a:xfrm>
            <a:off x="8061325" y="4137025"/>
            <a:ext cx="936625" cy="209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Cameroon</a:t>
            </a:r>
          </a:p>
        </p:txBody>
      </p:sp>
      <p:sp>
        <p:nvSpPr>
          <p:cNvPr id="101" name="Rectangle 100">
            <a:extLst>
              <a:ext uri="{FF2B5EF4-FFF2-40B4-BE49-F238E27FC236}">
                <a16:creationId xmlns:a16="http://schemas.microsoft.com/office/drawing/2014/main" id="{D93EED4B-2C3D-5B28-31EE-706646CDBCCB}"/>
              </a:ext>
            </a:extLst>
          </p:cNvPr>
          <p:cNvSpPr/>
          <p:nvPr/>
        </p:nvSpPr>
        <p:spPr bwMode="gray">
          <a:xfrm>
            <a:off x="8126413" y="4427538"/>
            <a:ext cx="936625" cy="244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omalia</a:t>
            </a:r>
          </a:p>
        </p:txBody>
      </p:sp>
      <p:sp>
        <p:nvSpPr>
          <p:cNvPr id="102" name="Rectangle 101">
            <a:extLst>
              <a:ext uri="{FF2B5EF4-FFF2-40B4-BE49-F238E27FC236}">
                <a16:creationId xmlns:a16="http://schemas.microsoft.com/office/drawing/2014/main" id="{51E69892-1DF8-BB0D-0331-9B97CA70E48F}"/>
              </a:ext>
            </a:extLst>
          </p:cNvPr>
          <p:cNvSpPr/>
          <p:nvPr/>
        </p:nvSpPr>
        <p:spPr bwMode="gray">
          <a:xfrm>
            <a:off x="8126413" y="4705350"/>
            <a:ext cx="91757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S. Sudan</a:t>
            </a:r>
          </a:p>
        </p:txBody>
      </p:sp>
      <p:sp>
        <p:nvSpPr>
          <p:cNvPr id="103" name="Rectangle 102">
            <a:extLst>
              <a:ext uri="{FF2B5EF4-FFF2-40B4-BE49-F238E27FC236}">
                <a16:creationId xmlns:a16="http://schemas.microsoft.com/office/drawing/2014/main" id="{31C4C595-D6E7-CE7E-BD17-9E1B103EE4B1}"/>
              </a:ext>
            </a:extLst>
          </p:cNvPr>
          <p:cNvSpPr/>
          <p:nvPr/>
        </p:nvSpPr>
        <p:spPr bwMode="gray">
          <a:xfrm>
            <a:off x="8175625" y="5026025"/>
            <a:ext cx="91757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Angola</a:t>
            </a:r>
          </a:p>
        </p:txBody>
      </p:sp>
      <p:sp>
        <p:nvSpPr>
          <p:cNvPr id="104" name="Rectangle 103">
            <a:extLst>
              <a:ext uri="{FF2B5EF4-FFF2-40B4-BE49-F238E27FC236}">
                <a16:creationId xmlns:a16="http://schemas.microsoft.com/office/drawing/2014/main" id="{C9AD56DB-43BE-54ED-CF6C-7394CCE06D64}"/>
              </a:ext>
            </a:extLst>
          </p:cNvPr>
          <p:cNvSpPr/>
          <p:nvPr/>
        </p:nvSpPr>
        <p:spPr bwMode="gray">
          <a:xfrm>
            <a:off x="8201025" y="5326063"/>
            <a:ext cx="91757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Kenya</a:t>
            </a:r>
          </a:p>
        </p:txBody>
      </p:sp>
      <p:graphicFrame>
        <p:nvGraphicFramePr>
          <p:cNvPr id="105" name="Chart 104">
            <a:extLst>
              <a:ext uri="{FF2B5EF4-FFF2-40B4-BE49-F238E27FC236}">
                <a16:creationId xmlns:a16="http://schemas.microsoft.com/office/drawing/2014/main" id="{2955E898-4A50-4CFF-C5BA-13130BBD9B38}"/>
              </a:ext>
            </a:extLst>
          </p:cNvPr>
          <p:cNvGraphicFramePr/>
          <p:nvPr>
            <p:custDataLst>
              <p:tags r:id="rId11"/>
            </p:custDataLst>
            <p:extLst>
              <p:ext uri="{D42A27DB-BD31-4B8C-83A1-F6EECF244321}">
                <p14:modId xmlns:p14="http://schemas.microsoft.com/office/powerpoint/2010/main" val="2300780940"/>
              </p:ext>
            </p:extLst>
          </p:nvPr>
        </p:nvGraphicFramePr>
        <p:xfrm>
          <a:off x="8853488" y="2495550"/>
          <a:ext cx="2503487" cy="714375"/>
        </p:xfrm>
        <a:graphic>
          <a:graphicData uri="http://schemas.openxmlformats.org/drawingml/2006/chart">
            <c:chart xmlns:c="http://schemas.openxmlformats.org/drawingml/2006/chart" xmlns:r="http://schemas.openxmlformats.org/officeDocument/2006/relationships" r:id="rId33"/>
          </a:graphicData>
        </a:graphic>
      </p:graphicFrame>
      <p:graphicFrame>
        <p:nvGraphicFramePr>
          <p:cNvPr id="106" name="Chart 105">
            <a:extLst>
              <a:ext uri="{FF2B5EF4-FFF2-40B4-BE49-F238E27FC236}">
                <a16:creationId xmlns:a16="http://schemas.microsoft.com/office/drawing/2014/main" id="{28ACBB2E-9362-24B4-448D-BFF2384A3473}"/>
              </a:ext>
            </a:extLst>
          </p:cNvPr>
          <p:cNvGraphicFramePr/>
          <p:nvPr>
            <p:custDataLst>
              <p:tags r:id="rId12"/>
            </p:custDataLst>
            <p:extLst>
              <p:ext uri="{D42A27DB-BD31-4B8C-83A1-F6EECF244321}">
                <p14:modId xmlns:p14="http://schemas.microsoft.com/office/powerpoint/2010/main" val="1691859454"/>
              </p:ext>
            </p:extLst>
          </p:nvPr>
        </p:nvGraphicFramePr>
        <p:xfrm>
          <a:off x="8853488" y="2852738"/>
          <a:ext cx="2381250" cy="666750"/>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107" name="Chart 106">
            <a:extLst>
              <a:ext uri="{FF2B5EF4-FFF2-40B4-BE49-F238E27FC236}">
                <a16:creationId xmlns:a16="http://schemas.microsoft.com/office/drawing/2014/main" id="{9EE89BAD-ECD4-EBE8-026A-6DADA1ADA368}"/>
              </a:ext>
            </a:extLst>
          </p:cNvPr>
          <p:cNvGraphicFramePr/>
          <p:nvPr>
            <p:custDataLst>
              <p:tags r:id="rId13"/>
            </p:custDataLst>
            <p:extLst>
              <p:ext uri="{D42A27DB-BD31-4B8C-83A1-F6EECF244321}">
                <p14:modId xmlns:p14="http://schemas.microsoft.com/office/powerpoint/2010/main" val="3990753576"/>
              </p:ext>
            </p:extLst>
          </p:nvPr>
        </p:nvGraphicFramePr>
        <p:xfrm>
          <a:off x="8582025" y="3125788"/>
          <a:ext cx="2309813" cy="668337"/>
        </p:xfrm>
        <a:graphic>
          <a:graphicData uri="http://schemas.openxmlformats.org/drawingml/2006/chart">
            <c:chart xmlns:c="http://schemas.openxmlformats.org/drawingml/2006/chart" xmlns:r="http://schemas.openxmlformats.org/officeDocument/2006/relationships" r:id="rId35"/>
          </a:graphicData>
        </a:graphic>
      </p:graphicFrame>
      <p:graphicFrame>
        <p:nvGraphicFramePr>
          <p:cNvPr id="108" name="Chart 107">
            <a:extLst>
              <a:ext uri="{FF2B5EF4-FFF2-40B4-BE49-F238E27FC236}">
                <a16:creationId xmlns:a16="http://schemas.microsoft.com/office/drawing/2014/main" id="{B2053E62-4476-B62B-0DA5-5BB81AD3B53B}"/>
              </a:ext>
            </a:extLst>
          </p:cNvPr>
          <p:cNvGraphicFramePr/>
          <p:nvPr>
            <p:custDataLst>
              <p:tags r:id="rId14"/>
            </p:custDataLst>
            <p:extLst>
              <p:ext uri="{D42A27DB-BD31-4B8C-83A1-F6EECF244321}">
                <p14:modId xmlns:p14="http://schemas.microsoft.com/office/powerpoint/2010/main" val="2058825684"/>
              </p:ext>
            </p:extLst>
          </p:nvPr>
        </p:nvGraphicFramePr>
        <p:xfrm>
          <a:off x="8594725" y="3348038"/>
          <a:ext cx="2309813" cy="714375"/>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109" name="Chart 108">
            <a:extLst>
              <a:ext uri="{FF2B5EF4-FFF2-40B4-BE49-F238E27FC236}">
                <a16:creationId xmlns:a16="http://schemas.microsoft.com/office/drawing/2014/main" id="{C7DC04D2-AA7C-197C-E25E-E0BAC05C775F}"/>
              </a:ext>
            </a:extLst>
          </p:cNvPr>
          <p:cNvGraphicFramePr/>
          <p:nvPr>
            <p:custDataLst>
              <p:tags r:id="rId15"/>
            </p:custDataLst>
            <p:extLst>
              <p:ext uri="{D42A27DB-BD31-4B8C-83A1-F6EECF244321}">
                <p14:modId xmlns:p14="http://schemas.microsoft.com/office/powerpoint/2010/main" val="298397270"/>
              </p:ext>
            </p:extLst>
          </p:nvPr>
        </p:nvGraphicFramePr>
        <p:xfrm>
          <a:off x="8572500" y="3673475"/>
          <a:ext cx="2309813" cy="663575"/>
        </p:xfrm>
        <a:graphic>
          <a:graphicData uri="http://schemas.openxmlformats.org/drawingml/2006/chart">
            <c:chart xmlns:c="http://schemas.openxmlformats.org/drawingml/2006/chart" xmlns:r="http://schemas.openxmlformats.org/officeDocument/2006/relationships" r:id="rId37"/>
          </a:graphicData>
        </a:graphic>
      </p:graphicFrame>
      <p:graphicFrame>
        <p:nvGraphicFramePr>
          <p:cNvPr id="110" name="Chart 109">
            <a:extLst>
              <a:ext uri="{FF2B5EF4-FFF2-40B4-BE49-F238E27FC236}">
                <a16:creationId xmlns:a16="http://schemas.microsoft.com/office/drawing/2014/main" id="{92F31A1F-AA8A-391B-F6B1-22142E6B4ECF}"/>
              </a:ext>
            </a:extLst>
          </p:cNvPr>
          <p:cNvGraphicFramePr/>
          <p:nvPr>
            <p:custDataLst>
              <p:tags r:id="rId16"/>
            </p:custDataLst>
            <p:extLst>
              <p:ext uri="{D42A27DB-BD31-4B8C-83A1-F6EECF244321}">
                <p14:modId xmlns:p14="http://schemas.microsoft.com/office/powerpoint/2010/main" val="3416256116"/>
              </p:ext>
            </p:extLst>
          </p:nvPr>
        </p:nvGraphicFramePr>
        <p:xfrm>
          <a:off x="8572500" y="3957638"/>
          <a:ext cx="2309813" cy="654050"/>
        </p:xfrm>
        <a:graphic>
          <a:graphicData uri="http://schemas.openxmlformats.org/drawingml/2006/chart">
            <c:chart xmlns:c="http://schemas.openxmlformats.org/drawingml/2006/chart" xmlns:r="http://schemas.openxmlformats.org/officeDocument/2006/relationships" r:id="rId38"/>
          </a:graphicData>
        </a:graphic>
      </p:graphicFrame>
      <p:graphicFrame>
        <p:nvGraphicFramePr>
          <p:cNvPr id="111" name="Chart 110">
            <a:extLst>
              <a:ext uri="{FF2B5EF4-FFF2-40B4-BE49-F238E27FC236}">
                <a16:creationId xmlns:a16="http://schemas.microsoft.com/office/drawing/2014/main" id="{12E96A1A-ABBC-94C9-D814-2FF500666770}"/>
              </a:ext>
            </a:extLst>
          </p:cNvPr>
          <p:cNvGraphicFramePr/>
          <p:nvPr>
            <p:custDataLst>
              <p:tags r:id="rId17"/>
            </p:custDataLst>
            <p:extLst>
              <p:ext uri="{D42A27DB-BD31-4B8C-83A1-F6EECF244321}">
                <p14:modId xmlns:p14="http://schemas.microsoft.com/office/powerpoint/2010/main" val="516449934"/>
              </p:ext>
            </p:extLst>
          </p:nvPr>
        </p:nvGraphicFramePr>
        <p:xfrm>
          <a:off x="8320088" y="4240213"/>
          <a:ext cx="1785937" cy="620712"/>
        </p:xfrm>
        <a:graphic>
          <a:graphicData uri="http://schemas.openxmlformats.org/drawingml/2006/chart">
            <c:chart xmlns:c="http://schemas.openxmlformats.org/drawingml/2006/chart" xmlns:r="http://schemas.openxmlformats.org/officeDocument/2006/relationships" r:id="rId39"/>
          </a:graphicData>
        </a:graphic>
      </p:graphicFrame>
      <p:graphicFrame>
        <p:nvGraphicFramePr>
          <p:cNvPr id="112" name="Chart 111">
            <a:extLst>
              <a:ext uri="{FF2B5EF4-FFF2-40B4-BE49-F238E27FC236}">
                <a16:creationId xmlns:a16="http://schemas.microsoft.com/office/drawing/2014/main" id="{6C48828C-9DA7-9055-436D-4283E8BBD3B3}"/>
              </a:ext>
            </a:extLst>
          </p:cNvPr>
          <p:cNvGraphicFramePr/>
          <p:nvPr>
            <p:custDataLst>
              <p:tags r:id="rId18"/>
            </p:custDataLst>
            <p:extLst>
              <p:ext uri="{D42A27DB-BD31-4B8C-83A1-F6EECF244321}">
                <p14:modId xmlns:p14="http://schemas.microsoft.com/office/powerpoint/2010/main" val="2869457467"/>
              </p:ext>
            </p:extLst>
          </p:nvPr>
        </p:nvGraphicFramePr>
        <p:xfrm>
          <a:off x="8320088" y="4525963"/>
          <a:ext cx="1785937" cy="628650"/>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113" name="Chart 112">
            <a:extLst>
              <a:ext uri="{FF2B5EF4-FFF2-40B4-BE49-F238E27FC236}">
                <a16:creationId xmlns:a16="http://schemas.microsoft.com/office/drawing/2014/main" id="{BE1B7C90-34FA-34D5-7057-95D7893E47BF}"/>
              </a:ext>
            </a:extLst>
          </p:cNvPr>
          <p:cNvGraphicFramePr/>
          <p:nvPr>
            <p:custDataLst>
              <p:tags r:id="rId19"/>
            </p:custDataLst>
            <p:extLst>
              <p:ext uri="{D42A27DB-BD31-4B8C-83A1-F6EECF244321}">
                <p14:modId xmlns:p14="http://schemas.microsoft.com/office/powerpoint/2010/main" val="181608856"/>
              </p:ext>
            </p:extLst>
          </p:nvPr>
        </p:nvGraphicFramePr>
        <p:xfrm>
          <a:off x="8285163" y="4811713"/>
          <a:ext cx="1785937" cy="663575"/>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114" name="Chart 113">
            <a:extLst>
              <a:ext uri="{FF2B5EF4-FFF2-40B4-BE49-F238E27FC236}">
                <a16:creationId xmlns:a16="http://schemas.microsoft.com/office/drawing/2014/main" id="{1272B8E8-6F87-7709-7C1C-ED9072CA63F8}"/>
              </a:ext>
            </a:extLst>
          </p:cNvPr>
          <p:cNvGraphicFramePr/>
          <p:nvPr>
            <p:custDataLst>
              <p:tags r:id="rId20"/>
            </p:custDataLst>
            <p:extLst>
              <p:ext uri="{D42A27DB-BD31-4B8C-83A1-F6EECF244321}">
                <p14:modId xmlns:p14="http://schemas.microsoft.com/office/powerpoint/2010/main" val="1941780769"/>
              </p:ext>
            </p:extLst>
          </p:nvPr>
        </p:nvGraphicFramePr>
        <p:xfrm>
          <a:off x="8291513" y="5105400"/>
          <a:ext cx="1785937" cy="647700"/>
        </p:xfrm>
        <a:graphic>
          <a:graphicData uri="http://schemas.openxmlformats.org/drawingml/2006/chart">
            <c:chart xmlns:c="http://schemas.openxmlformats.org/drawingml/2006/chart" xmlns:r="http://schemas.openxmlformats.org/officeDocument/2006/relationships" r:id="rId42"/>
          </a:graphicData>
        </a:graphic>
      </p:graphicFrame>
      <p:sp>
        <p:nvSpPr>
          <p:cNvPr id="115" name="Rectangle 114">
            <a:extLst>
              <a:ext uri="{FF2B5EF4-FFF2-40B4-BE49-F238E27FC236}">
                <a16:creationId xmlns:a16="http://schemas.microsoft.com/office/drawing/2014/main" id="{AEEAE3E3-2F87-253E-3545-568406A70D40}"/>
              </a:ext>
            </a:extLst>
          </p:cNvPr>
          <p:cNvSpPr/>
          <p:nvPr/>
        </p:nvSpPr>
        <p:spPr bwMode="gray">
          <a:xfrm>
            <a:off x="7954963" y="2741613"/>
            <a:ext cx="300038"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1</a:t>
            </a:r>
          </a:p>
        </p:txBody>
      </p:sp>
      <p:sp>
        <p:nvSpPr>
          <p:cNvPr id="116" name="Rectangle 115">
            <a:extLst>
              <a:ext uri="{FF2B5EF4-FFF2-40B4-BE49-F238E27FC236}">
                <a16:creationId xmlns:a16="http://schemas.microsoft.com/office/drawing/2014/main" id="{A22EA2D4-EA70-0A58-4B36-941B429161F3}"/>
              </a:ext>
            </a:extLst>
          </p:cNvPr>
          <p:cNvSpPr/>
          <p:nvPr/>
        </p:nvSpPr>
        <p:spPr bwMode="gray">
          <a:xfrm>
            <a:off x="7954963" y="3057525"/>
            <a:ext cx="300038"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2</a:t>
            </a:r>
          </a:p>
        </p:txBody>
      </p:sp>
      <p:sp>
        <p:nvSpPr>
          <p:cNvPr id="117" name="Rectangle 116">
            <a:extLst>
              <a:ext uri="{FF2B5EF4-FFF2-40B4-BE49-F238E27FC236}">
                <a16:creationId xmlns:a16="http://schemas.microsoft.com/office/drawing/2014/main" id="{C5C99ADC-FA1D-DC42-156B-52D3B7E1DC55}"/>
              </a:ext>
            </a:extLst>
          </p:cNvPr>
          <p:cNvSpPr/>
          <p:nvPr/>
        </p:nvSpPr>
        <p:spPr bwMode="gray">
          <a:xfrm>
            <a:off x="7947025" y="3319463"/>
            <a:ext cx="301625" cy="244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3</a:t>
            </a:r>
          </a:p>
        </p:txBody>
      </p:sp>
      <p:sp>
        <p:nvSpPr>
          <p:cNvPr id="118" name="Rectangle 117">
            <a:extLst>
              <a:ext uri="{FF2B5EF4-FFF2-40B4-BE49-F238E27FC236}">
                <a16:creationId xmlns:a16="http://schemas.microsoft.com/office/drawing/2014/main" id="{D92639A0-8995-41A1-9B28-3CD3891A8097}"/>
              </a:ext>
            </a:extLst>
          </p:cNvPr>
          <p:cNvSpPr/>
          <p:nvPr/>
        </p:nvSpPr>
        <p:spPr bwMode="gray">
          <a:xfrm>
            <a:off x="7959725" y="3600450"/>
            <a:ext cx="290513" cy="244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4</a:t>
            </a:r>
          </a:p>
        </p:txBody>
      </p:sp>
      <p:sp>
        <p:nvSpPr>
          <p:cNvPr id="119" name="Rectangle 118">
            <a:extLst>
              <a:ext uri="{FF2B5EF4-FFF2-40B4-BE49-F238E27FC236}">
                <a16:creationId xmlns:a16="http://schemas.microsoft.com/office/drawing/2014/main" id="{1E7F1E63-420F-023A-86E2-86022E24EFDE}"/>
              </a:ext>
            </a:extLst>
          </p:cNvPr>
          <p:cNvSpPr/>
          <p:nvPr/>
        </p:nvSpPr>
        <p:spPr bwMode="gray">
          <a:xfrm>
            <a:off x="7948613" y="3868738"/>
            <a:ext cx="30162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5</a:t>
            </a:r>
          </a:p>
        </p:txBody>
      </p:sp>
      <p:sp>
        <p:nvSpPr>
          <p:cNvPr id="120" name="Rectangle 119">
            <a:extLst>
              <a:ext uri="{FF2B5EF4-FFF2-40B4-BE49-F238E27FC236}">
                <a16:creationId xmlns:a16="http://schemas.microsoft.com/office/drawing/2014/main" id="{8D56372F-5F7F-1F3E-F9E9-B436E7B3539B}"/>
              </a:ext>
            </a:extLst>
          </p:cNvPr>
          <p:cNvSpPr/>
          <p:nvPr/>
        </p:nvSpPr>
        <p:spPr bwMode="gray">
          <a:xfrm>
            <a:off x="7947025" y="4146550"/>
            <a:ext cx="30162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6</a:t>
            </a:r>
          </a:p>
        </p:txBody>
      </p:sp>
      <p:sp>
        <p:nvSpPr>
          <p:cNvPr id="121" name="Rectangle 120">
            <a:extLst>
              <a:ext uri="{FF2B5EF4-FFF2-40B4-BE49-F238E27FC236}">
                <a16:creationId xmlns:a16="http://schemas.microsoft.com/office/drawing/2014/main" id="{B190A04F-53FB-EAFF-3478-D7E812D6364B}"/>
              </a:ext>
            </a:extLst>
          </p:cNvPr>
          <p:cNvSpPr/>
          <p:nvPr/>
        </p:nvSpPr>
        <p:spPr bwMode="gray">
          <a:xfrm>
            <a:off x="7950200" y="4452938"/>
            <a:ext cx="301625" cy="244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7</a:t>
            </a:r>
          </a:p>
        </p:txBody>
      </p:sp>
      <p:sp>
        <p:nvSpPr>
          <p:cNvPr id="122" name="Rectangle 121">
            <a:extLst>
              <a:ext uri="{FF2B5EF4-FFF2-40B4-BE49-F238E27FC236}">
                <a16:creationId xmlns:a16="http://schemas.microsoft.com/office/drawing/2014/main" id="{9A2D8617-5F89-2E14-D012-6656868FAD31}"/>
              </a:ext>
            </a:extLst>
          </p:cNvPr>
          <p:cNvSpPr/>
          <p:nvPr/>
        </p:nvSpPr>
        <p:spPr bwMode="gray">
          <a:xfrm>
            <a:off x="7956550" y="4722813"/>
            <a:ext cx="301625" cy="244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8</a:t>
            </a:r>
          </a:p>
        </p:txBody>
      </p:sp>
      <p:sp>
        <p:nvSpPr>
          <p:cNvPr id="123" name="Rectangle 122">
            <a:extLst>
              <a:ext uri="{FF2B5EF4-FFF2-40B4-BE49-F238E27FC236}">
                <a16:creationId xmlns:a16="http://schemas.microsoft.com/office/drawing/2014/main" id="{1690CCAC-FBF6-3FC6-9C83-AD21727E0D4B}"/>
              </a:ext>
            </a:extLst>
          </p:cNvPr>
          <p:cNvSpPr/>
          <p:nvPr/>
        </p:nvSpPr>
        <p:spPr bwMode="gray">
          <a:xfrm>
            <a:off x="7972425" y="5022850"/>
            <a:ext cx="30162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9</a:t>
            </a:r>
          </a:p>
        </p:txBody>
      </p:sp>
      <p:sp>
        <p:nvSpPr>
          <p:cNvPr id="124" name="Rectangle 123">
            <a:extLst>
              <a:ext uri="{FF2B5EF4-FFF2-40B4-BE49-F238E27FC236}">
                <a16:creationId xmlns:a16="http://schemas.microsoft.com/office/drawing/2014/main" id="{CCDE6897-50C6-3833-A5D9-F07C4990B3E8}"/>
              </a:ext>
            </a:extLst>
          </p:cNvPr>
          <p:cNvSpPr/>
          <p:nvPr/>
        </p:nvSpPr>
        <p:spPr bwMode="gray">
          <a:xfrm>
            <a:off x="7969250" y="5330825"/>
            <a:ext cx="301625"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10</a:t>
            </a:r>
          </a:p>
        </p:txBody>
      </p:sp>
      <p:sp>
        <p:nvSpPr>
          <p:cNvPr id="125" name="Rectangle 124">
            <a:extLst>
              <a:ext uri="{FF2B5EF4-FFF2-40B4-BE49-F238E27FC236}">
                <a16:creationId xmlns:a16="http://schemas.microsoft.com/office/drawing/2014/main" id="{05028CCA-FE05-4171-577E-63E0DF66CE3B}"/>
              </a:ext>
            </a:extLst>
          </p:cNvPr>
          <p:cNvSpPr/>
          <p:nvPr/>
        </p:nvSpPr>
        <p:spPr bwMode="gray">
          <a:xfrm>
            <a:off x="324000" y="5030442"/>
            <a:ext cx="3745080" cy="57236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dirty="0">
                <a:solidFill>
                  <a:schemeClr val="tx1"/>
                </a:solidFill>
              </a:rPr>
              <a:t>Africa approaches 1 GW of conventional geothermal power, with Kenya leading 99% of installed capacity. Ethiopia holds the remaining 1%.</a:t>
            </a:r>
          </a:p>
        </p:txBody>
      </p:sp>
      <p:pic>
        <p:nvPicPr>
          <p:cNvPr id="126" name="Graphic 125" descr="Man with solid fill">
            <a:extLst>
              <a:ext uri="{FF2B5EF4-FFF2-40B4-BE49-F238E27FC236}">
                <a16:creationId xmlns:a16="http://schemas.microsoft.com/office/drawing/2014/main" id="{B5A834D6-E376-FF73-7B64-F29AE4199FF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455613" y="5700713"/>
            <a:ext cx="538163" cy="538163"/>
          </a:xfrm>
          <a:prstGeom prst="rect">
            <a:avLst/>
          </a:prstGeom>
        </p:spPr>
      </p:pic>
      <p:sp>
        <p:nvSpPr>
          <p:cNvPr id="127" name="Rectangle 126">
            <a:extLst>
              <a:ext uri="{FF2B5EF4-FFF2-40B4-BE49-F238E27FC236}">
                <a16:creationId xmlns:a16="http://schemas.microsoft.com/office/drawing/2014/main" id="{F9C65967-39C9-79FA-93C3-D6A420E09EFC}"/>
              </a:ext>
            </a:extLst>
          </p:cNvPr>
          <p:cNvSpPr/>
          <p:nvPr/>
        </p:nvSpPr>
        <p:spPr bwMode="gray">
          <a:xfrm>
            <a:off x="911225" y="5716588"/>
            <a:ext cx="2703513" cy="5254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i="1" dirty="0">
                <a:solidFill>
                  <a:schemeClr val="tx1"/>
                </a:solidFill>
              </a:rPr>
              <a:t>Africa’s population is expected to rise from </a:t>
            </a:r>
          </a:p>
          <a:p>
            <a:pPr marL="0" indent="0">
              <a:spcBef>
                <a:spcPts val="0"/>
              </a:spcBef>
              <a:buNone/>
            </a:pPr>
            <a:r>
              <a:rPr lang="en-US" sz="1000" i="1" dirty="0">
                <a:solidFill>
                  <a:schemeClr val="tx1"/>
                </a:solidFill>
              </a:rPr>
              <a:t>1.5B to 3B by 2070, requiring more energy and opportunities for socioeconomic development.</a:t>
            </a:r>
          </a:p>
        </p:txBody>
      </p:sp>
      <p:sp>
        <p:nvSpPr>
          <p:cNvPr id="130" name="Rectangle 129">
            <a:extLst>
              <a:ext uri="{FF2B5EF4-FFF2-40B4-BE49-F238E27FC236}">
                <a16:creationId xmlns:a16="http://schemas.microsoft.com/office/drawing/2014/main" id="{B9B6F042-AAC2-6155-9E9A-798AC5A6F8C6}"/>
              </a:ext>
            </a:extLst>
          </p:cNvPr>
          <p:cNvSpPr/>
          <p:nvPr/>
        </p:nvSpPr>
        <p:spPr bwMode="gray">
          <a:xfrm>
            <a:off x="11128374" y="2466975"/>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1" name="Rectangle 130">
            <a:extLst>
              <a:ext uri="{FF2B5EF4-FFF2-40B4-BE49-F238E27FC236}">
                <a16:creationId xmlns:a16="http://schemas.microsoft.com/office/drawing/2014/main" id="{20188BF0-2DFD-F779-C869-6BEFA05A64D0}"/>
              </a:ext>
            </a:extLst>
          </p:cNvPr>
          <p:cNvSpPr/>
          <p:nvPr/>
        </p:nvSpPr>
        <p:spPr bwMode="gray">
          <a:xfrm>
            <a:off x="11303000" y="2438400"/>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132" name="Rectangle 131">
            <a:extLst>
              <a:ext uri="{FF2B5EF4-FFF2-40B4-BE49-F238E27FC236}">
                <a16:creationId xmlns:a16="http://schemas.microsoft.com/office/drawing/2014/main" id="{0132278C-0C71-D8CC-D0D4-349FFCAD2598}"/>
              </a:ext>
            </a:extLst>
          </p:cNvPr>
          <p:cNvSpPr/>
          <p:nvPr/>
        </p:nvSpPr>
        <p:spPr bwMode="gray">
          <a:xfrm>
            <a:off x="11128374" y="2568575"/>
            <a:ext cx="139700" cy="79375"/>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3" name="Rectangle 132">
            <a:extLst>
              <a:ext uri="{FF2B5EF4-FFF2-40B4-BE49-F238E27FC236}">
                <a16:creationId xmlns:a16="http://schemas.microsoft.com/office/drawing/2014/main" id="{0D957F15-39B2-4436-1F81-F23D83D94D02}"/>
              </a:ext>
            </a:extLst>
          </p:cNvPr>
          <p:cNvSpPr/>
          <p:nvPr/>
        </p:nvSpPr>
        <p:spPr bwMode="gray">
          <a:xfrm>
            <a:off x="11303000" y="2563813"/>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Tree>
    <p:extLst>
      <p:ext uri="{BB962C8B-B14F-4D97-AF65-F5344CB8AC3E}">
        <p14:creationId xmlns:p14="http://schemas.microsoft.com/office/powerpoint/2010/main" val="4707475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6A32157-FB07-BE69-FCA6-581FFE3AF894}"/>
              </a:ext>
            </a:extLst>
          </p:cNvPr>
          <p:cNvGraphicFramePr>
            <a:graphicFrameLocks/>
          </p:cNvGraphicFramePr>
          <p:nvPr>
            <p:custDataLst>
              <p:tags r:id="rId1"/>
            </p:custDataLst>
            <p:extLst>
              <p:ext uri="{D42A27DB-BD31-4B8C-83A1-F6EECF244321}">
                <p14:modId xmlns:p14="http://schemas.microsoft.com/office/powerpoint/2010/main" val="32774799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389913-C57B-8F41-1C8C-24E74252A8A0}"/>
              </a:ext>
            </a:extLst>
          </p:cNvPr>
          <p:cNvSpPr>
            <a:spLocks noGrp="1"/>
          </p:cNvSpPr>
          <p:nvPr>
            <p:ph type="title"/>
          </p:nvPr>
        </p:nvSpPr>
        <p:spPr/>
        <p:txBody>
          <a:bodyPr vert="horz" rIns="91440"/>
          <a:lstStyle/>
          <a:p>
            <a:r>
              <a:rPr lang="en-US" sz="2600" dirty="0"/>
              <a:t>East Africa can deliver Africa’s ~13 GW geothermal potential by 2050; policy reform and regional coordination will determine the pace</a:t>
            </a:r>
          </a:p>
        </p:txBody>
      </p:sp>
      <p:sp>
        <p:nvSpPr>
          <p:cNvPr id="4" name="Footer Placeholder 3">
            <a:extLst>
              <a:ext uri="{FF2B5EF4-FFF2-40B4-BE49-F238E27FC236}">
                <a16:creationId xmlns:a16="http://schemas.microsoft.com/office/drawing/2014/main" id="{C91FC467-6BCE-AF13-836C-9C148A25DD22}"/>
              </a:ext>
            </a:extLst>
          </p:cNvPr>
          <p:cNvSpPr>
            <a:spLocks noGrp="1"/>
          </p:cNvSpPr>
          <p:nvPr>
            <p:ph type="ftr" sz="quarter" idx="3"/>
          </p:nvPr>
        </p:nvSpPr>
        <p:spPr>
          <a:xfrm>
            <a:off x="334962" y="6201557"/>
            <a:ext cx="9147241" cy="216706"/>
          </a:xfrm>
        </p:spPr>
        <p:txBody>
          <a:bodyPr/>
          <a:lstStyle/>
          <a:p>
            <a:pPr>
              <a:defRPr/>
            </a:pPr>
            <a:r>
              <a:rPr lang="en-US" dirty="0">
                <a:solidFill>
                  <a:srgbClr val="000000"/>
                </a:solidFill>
              </a:rPr>
              <a:t>Sources: </a:t>
            </a:r>
            <a:r>
              <a:rPr lang="en-US" dirty="0">
                <a:solidFill>
                  <a:srgbClr val="000000"/>
                </a:solidFill>
                <a:hlinkClick r:id="rId18"/>
              </a:rPr>
              <a:t>Africa to Overtake Europe in Geothermal Capacity</a:t>
            </a:r>
            <a:r>
              <a:rPr lang="en-US" dirty="0">
                <a:solidFill>
                  <a:srgbClr val="000000"/>
                </a:solidFill>
              </a:rPr>
              <a:t> (Rystad Energy, 2023); </a:t>
            </a:r>
            <a:r>
              <a:rPr lang="en-US" dirty="0">
                <a:solidFill>
                  <a:srgbClr val="000000"/>
                </a:solidFill>
                <a:hlinkClick r:id="rId19"/>
              </a:rPr>
              <a:t>Geothermal is key to improving energy access in Africa </a:t>
            </a:r>
            <a:r>
              <a:rPr lang="en-US" dirty="0">
                <a:solidFill>
                  <a:srgbClr val="000000"/>
                </a:solidFill>
              </a:rPr>
              <a:t>(Project Syndicate, 2025); </a:t>
            </a:r>
            <a:r>
              <a:rPr lang="en-US" dirty="0">
                <a:solidFill>
                  <a:srgbClr val="000000"/>
                </a:solidFill>
                <a:hlinkClick r:id="rId20"/>
              </a:rPr>
              <a:t>Geothermal Outlook in East Africa</a:t>
            </a:r>
            <a:r>
              <a:rPr lang="en-US" dirty="0">
                <a:solidFill>
                  <a:srgbClr val="000000"/>
                </a:solidFill>
              </a:rPr>
              <a:t> (UNEP, 2018); </a:t>
            </a:r>
            <a:r>
              <a:rPr lang="en-US" dirty="0">
                <a:solidFill>
                  <a:srgbClr val="000000"/>
                </a:solidFill>
                <a:hlinkClick r:id="rId21"/>
              </a:rPr>
              <a:t>Inside East Africa’s Untapped Geothermal Goldmine</a:t>
            </a:r>
            <a:r>
              <a:rPr lang="en-US" dirty="0">
                <a:solidFill>
                  <a:srgbClr val="000000"/>
                </a:solidFill>
              </a:rPr>
              <a:t> (Africa Climate Insights, 2025); </a:t>
            </a:r>
            <a:r>
              <a:rPr lang="en-US" dirty="0">
                <a:solidFill>
                  <a:srgbClr val="000000"/>
                </a:solidFill>
                <a:hlinkClick r:id="rId22"/>
              </a:rPr>
              <a:t>Geothermal Development in East Africa</a:t>
            </a:r>
            <a:r>
              <a:rPr lang="en-US" dirty="0">
                <a:solidFill>
                  <a:srgbClr val="000000"/>
                </a:solidFill>
              </a:rPr>
              <a:t> (IRENA, 2020); </a:t>
            </a:r>
            <a:r>
              <a:rPr lang="en-US" dirty="0">
                <a:hlinkClick r:id="rId23"/>
              </a:rPr>
              <a:t>Geothermal Prospect for Decarbonization in East Africa</a:t>
            </a:r>
            <a:r>
              <a:rPr lang="en-US" dirty="0"/>
              <a:t> </a:t>
            </a:r>
            <a:r>
              <a:rPr lang="en-US" dirty="0">
                <a:solidFill>
                  <a:schemeClr val="tx1"/>
                </a:solidFill>
              </a:rPr>
              <a:t>(Energy Strategy Reviews, 2023).</a:t>
            </a:r>
            <a:endParaRPr lang="en-US" dirty="0">
              <a:solidFill>
                <a:schemeClr val="tx1"/>
              </a:solidFill>
              <a:cs typeface="Arial"/>
            </a:endParaRPr>
          </a:p>
          <a:p>
            <a:pPr>
              <a:defRPr/>
            </a:pPr>
            <a:r>
              <a:rPr lang="en-US" dirty="0">
                <a:solidFill>
                  <a:srgbClr val="000000"/>
                </a:solidFill>
              </a:rPr>
              <a:t>Credit: Shubhangi Prasad, and </a:t>
            </a:r>
            <a:r>
              <a:rPr lang="en-US" dirty="0">
                <a:hlinkClick r:id="rId24"/>
              </a:rPr>
              <a:t>Gernot Wagner.</a:t>
            </a:r>
            <a:r>
              <a:rPr lang="en-US" dirty="0">
                <a:solidFill>
                  <a:srgbClr val="000000"/>
                </a:solidFill>
              </a:rPr>
              <a:t> </a:t>
            </a:r>
            <a:r>
              <a:rPr lang="en-US" dirty="0">
                <a:hlinkClick r:id="rId2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8B673616-D06E-DB99-4A9F-49E694EE9DE2}"/>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East Africa deep dive</a:t>
            </a:r>
          </a:p>
        </p:txBody>
      </p:sp>
      <p:sp>
        <p:nvSpPr>
          <p:cNvPr id="7" name="Text Placeholder 10">
            <a:extLst>
              <a:ext uri="{FF2B5EF4-FFF2-40B4-BE49-F238E27FC236}">
                <a16:creationId xmlns:a16="http://schemas.microsoft.com/office/drawing/2014/main" id="{A9ABA227-0734-F460-79F3-182F2EA6F265}"/>
              </a:ext>
            </a:extLst>
          </p:cNvPr>
          <p:cNvSpPr txBox="1">
            <a:spLocks/>
          </p:cNvSpPr>
          <p:nvPr>
            <p:custDataLst>
              <p:tags r:id="rId2"/>
            </p:custDataLst>
          </p:nvPr>
        </p:nvSpPr>
        <p:spPr bwMode="auto">
          <a:xfrm>
            <a:off x="8623300" y="1423988"/>
            <a:ext cx="3100388" cy="311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dirty="0"/>
              <a:t>Geothermal Potential and Installed Capacity in East Africa Rift Valley Countries</a:t>
            </a:r>
            <a:r>
              <a:rPr lang="en-US" sz="1100" dirty="0"/>
              <a:t>, </a:t>
            </a:r>
            <a:r>
              <a:rPr lang="en-US" sz="1100" i="1" dirty="0"/>
              <a:t>MW</a:t>
            </a:r>
          </a:p>
        </p:txBody>
      </p:sp>
      <p:sp>
        <p:nvSpPr>
          <p:cNvPr id="8" name="Rectangle 7">
            <a:extLst>
              <a:ext uri="{FF2B5EF4-FFF2-40B4-BE49-F238E27FC236}">
                <a16:creationId xmlns:a16="http://schemas.microsoft.com/office/drawing/2014/main" id="{B1F47AA6-CA6E-E09E-86B9-E30C011CA435}"/>
              </a:ext>
            </a:extLst>
          </p:cNvPr>
          <p:cNvSpPr/>
          <p:nvPr/>
        </p:nvSpPr>
        <p:spPr bwMode="gray">
          <a:xfrm>
            <a:off x="287337" y="1352550"/>
            <a:ext cx="8216327" cy="1902894"/>
          </a:xfrm>
          <a:prstGeom prst="rect">
            <a:avLst/>
          </a:prstGeom>
          <a:solidFill>
            <a:schemeClr val="bg1"/>
          </a:solidFill>
        </p:spPr>
        <p:txBody>
          <a:bodyPr wrap="square" lIns="137160" tIns="137160" rIns="274320" bIns="137160" rtlCol="0" anchor="t">
            <a:noAutofit/>
          </a:bodyPr>
          <a:lstStyle/>
          <a:p>
            <a:pPr marL="0" indent="0">
              <a:spcAft>
                <a:spcPts val="600"/>
              </a:spcAft>
              <a:buNone/>
            </a:pPr>
            <a:r>
              <a:rPr lang="en-US" sz="1200" b="1" dirty="0"/>
              <a:t>East Africa Potential </a:t>
            </a:r>
            <a:endParaRPr lang="en-US" sz="1200" b="1" dirty="0">
              <a:solidFill>
                <a:schemeClr val="tx1"/>
              </a:solidFill>
            </a:endParaRPr>
          </a:p>
          <a:p>
            <a:pPr marL="171450" indent="-171450">
              <a:spcBef>
                <a:spcPts val="200"/>
              </a:spcBef>
              <a:spcAft>
                <a:spcPts val="200"/>
              </a:spcAft>
              <a:buFont typeface="Arial" panose="020B0604020202020204" pitchFamily="34" charset="0"/>
              <a:buChar char="•"/>
            </a:pPr>
            <a:r>
              <a:rPr lang="en-US" sz="1100" dirty="0">
                <a:solidFill>
                  <a:schemeClr val="tx1"/>
                </a:solidFill>
              </a:rPr>
              <a:t>Africa is on track to </a:t>
            </a:r>
            <a:r>
              <a:rPr lang="en-US" sz="1100" b="1" dirty="0">
                <a:solidFill>
                  <a:schemeClr val="tx1"/>
                </a:solidFill>
              </a:rPr>
              <a:t>surpass Europe </a:t>
            </a:r>
            <a:r>
              <a:rPr lang="en-US" sz="1100" dirty="0">
                <a:solidFill>
                  <a:schemeClr val="tx1"/>
                </a:solidFill>
              </a:rPr>
              <a:t>in geothermal capacity, scaling to </a:t>
            </a:r>
            <a:r>
              <a:rPr lang="en-US" sz="1100" b="1" dirty="0">
                <a:solidFill>
                  <a:schemeClr val="tx1"/>
                </a:solidFill>
              </a:rPr>
              <a:t>13 GW by 2050 </a:t>
            </a:r>
            <a:r>
              <a:rPr lang="en-US" sz="1100" dirty="0">
                <a:solidFill>
                  <a:schemeClr val="tx1"/>
                </a:solidFill>
              </a:rPr>
              <a:t>versus Europe’s 5.5 GW.</a:t>
            </a:r>
          </a:p>
          <a:p>
            <a:pPr marL="171450" indent="-171450">
              <a:spcBef>
                <a:spcPts val="200"/>
              </a:spcBef>
              <a:spcAft>
                <a:spcPts val="200"/>
              </a:spcAft>
              <a:buFont typeface="Arial" panose="020B0604020202020204" pitchFamily="34" charset="0"/>
              <a:buChar char="•"/>
            </a:pPr>
            <a:r>
              <a:rPr lang="en-US" sz="1100" dirty="0"/>
              <a:t>T</a:t>
            </a:r>
            <a:r>
              <a:rPr lang="en-US" sz="1100" dirty="0">
                <a:solidFill>
                  <a:schemeClr val="tx1"/>
                </a:solidFill>
              </a:rPr>
              <a:t>he </a:t>
            </a:r>
            <a:r>
              <a:rPr lang="en-US" sz="1100" b="1" dirty="0">
                <a:solidFill>
                  <a:schemeClr val="tx1"/>
                </a:solidFill>
              </a:rPr>
              <a:t>East African Rift</a:t>
            </a:r>
            <a:r>
              <a:rPr lang="en-US" sz="1100" dirty="0">
                <a:solidFill>
                  <a:schemeClr val="tx1"/>
                </a:solidFill>
              </a:rPr>
              <a:t>, one of the world's most active tectonic systems, contains more than 20 GW — roughly </a:t>
            </a:r>
            <a:r>
              <a:rPr lang="en-US" sz="1100" b="1" dirty="0">
                <a:solidFill>
                  <a:schemeClr val="tx1"/>
                </a:solidFill>
              </a:rPr>
              <a:t>70 to 80% of Africa's geothermal potential </a:t>
            </a:r>
            <a:r>
              <a:rPr lang="en-US" sz="1100" dirty="0"/>
              <a:t>— </a:t>
            </a:r>
            <a:r>
              <a:rPr lang="en-US" sz="1100" dirty="0">
                <a:solidFill>
                  <a:schemeClr val="tx1"/>
                </a:solidFill>
              </a:rPr>
              <a:t>where continuous plate movement generates extraordinarily high heat flow.</a:t>
            </a:r>
          </a:p>
          <a:p>
            <a:pPr marL="171450" indent="-171450">
              <a:spcBef>
                <a:spcPts val="200"/>
              </a:spcBef>
              <a:spcAft>
                <a:spcPts val="200"/>
              </a:spcAft>
              <a:buFont typeface="Arial" panose="020B0604020202020204" pitchFamily="34" charset="0"/>
              <a:buChar char="•"/>
            </a:pPr>
            <a:r>
              <a:rPr lang="en-US" sz="1100" dirty="0">
                <a:solidFill>
                  <a:schemeClr val="tx1"/>
                </a:solidFill>
              </a:rPr>
              <a:t>With </a:t>
            </a:r>
            <a:r>
              <a:rPr lang="en-US" sz="1100" b="1" dirty="0">
                <a:solidFill>
                  <a:schemeClr val="tx1"/>
                </a:solidFill>
              </a:rPr>
              <a:t>$35 billion in planned investment</a:t>
            </a:r>
            <a:r>
              <a:rPr lang="en-US" sz="1100" dirty="0">
                <a:solidFill>
                  <a:schemeClr val="tx1"/>
                </a:solidFill>
              </a:rPr>
              <a:t>, </a:t>
            </a:r>
            <a:r>
              <a:rPr lang="en-US" sz="1100" b="1" dirty="0">
                <a:solidFill>
                  <a:schemeClr val="tx1"/>
                </a:solidFill>
              </a:rPr>
              <a:t>Kenya</a:t>
            </a:r>
            <a:r>
              <a:rPr lang="en-US" sz="1100" dirty="0">
                <a:solidFill>
                  <a:schemeClr val="tx1"/>
                </a:solidFill>
              </a:rPr>
              <a:t> and </a:t>
            </a:r>
            <a:r>
              <a:rPr lang="en-US" sz="1100" b="1" dirty="0">
                <a:solidFill>
                  <a:schemeClr val="tx1"/>
                </a:solidFill>
              </a:rPr>
              <a:t>Ethiopia</a:t>
            </a:r>
            <a:r>
              <a:rPr lang="en-US" sz="1100" dirty="0">
                <a:solidFill>
                  <a:schemeClr val="tx1"/>
                </a:solidFill>
              </a:rPr>
              <a:t> are positioned to </a:t>
            </a:r>
            <a:r>
              <a:rPr lang="en-US" sz="1100" b="1" dirty="0">
                <a:solidFill>
                  <a:schemeClr val="tx1"/>
                </a:solidFill>
              </a:rPr>
              <a:t>deliver over 90% of Africa’s geothermal development by 2050</a:t>
            </a:r>
            <a:r>
              <a:rPr lang="en-US" sz="1100" dirty="0">
                <a:solidFill>
                  <a:schemeClr val="tx1"/>
                </a:solidFill>
              </a:rPr>
              <a:t>, anchoring the continent’s clean baseload expansion.</a:t>
            </a:r>
          </a:p>
          <a:p>
            <a:pPr marL="171450" indent="-171450">
              <a:spcBef>
                <a:spcPts val="200"/>
              </a:spcBef>
              <a:spcAft>
                <a:spcPts val="200"/>
              </a:spcAft>
              <a:buFont typeface="Arial" panose="020B0604020202020204" pitchFamily="34" charset="0"/>
              <a:buChar char="•"/>
            </a:pPr>
            <a:r>
              <a:rPr lang="en-US" sz="1100" b="1" dirty="0">
                <a:solidFill>
                  <a:schemeClr val="tx1"/>
                </a:solidFill>
              </a:rPr>
              <a:t>Unlocking this scale-up requires strong policy: </a:t>
            </a:r>
            <a:r>
              <a:rPr lang="en-US" sz="1100" dirty="0">
                <a:solidFill>
                  <a:schemeClr val="tx1"/>
                </a:solidFill>
              </a:rPr>
              <a:t>de-risking early drilling, harmonizing Rift Valley laws, and investing in cross-border grid integration to turn geology into bankable, scalable clean power.</a:t>
            </a:r>
          </a:p>
        </p:txBody>
      </p:sp>
      <p:sp>
        <p:nvSpPr>
          <p:cNvPr id="9" name="Rectangular Callout 8">
            <a:extLst>
              <a:ext uri="{FF2B5EF4-FFF2-40B4-BE49-F238E27FC236}">
                <a16:creationId xmlns:a16="http://schemas.microsoft.com/office/drawing/2014/main" id="{77C9ADDD-6BC9-AB32-CE71-F9700AD8459E}"/>
              </a:ext>
            </a:extLst>
          </p:cNvPr>
          <p:cNvSpPr/>
          <p:nvPr/>
        </p:nvSpPr>
        <p:spPr bwMode="gray">
          <a:xfrm>
            <a:off x="8879127" y="5376863"/>
            <a:ext cx="3112610" cy="759641"/>
          </a:xfrm>
          <a:prstGeom prst="wedgeRectCallout">
            <a:avLst>
              <a:gd name="adj1" fmla="val -20485"/>
              <a:gd name="adj2" fmla="val -91986"/>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Kenya leads with 985 MW, while Ethiopia's current ~7.3 MW, backed by an expanding project pipeline, mirrors the Rift Valley's wider geothermal takeoff. </a:t>
            </a:r>
          </a:p>
        </p:txBody>
      </p:sp>
      <p:sp>
        <p:nvSpPr>
          <p:cNvPr id="10" name="Text Placeholder 10">
            <a:extLst>
              <a:ext uri="{FF2B5EF4-FFF2-40B4-BE49-F238E27FC236}">
                <a16:creationId xmlns:a16="http://schemas.microsoft.com/office/drawing/2014/main" id="{676643BD-C200-B6EE-9B67-1A4CB35FC85B}"/>
              </a:ext>
            </a:extLst>
          </p:cNvPr>
          <p:cNvSpPr txBox="1">
            <a:spLocks/>
          </p:cNvSpPr>
          <p:nvPr>
            <p:custDataLst>
              <p:tags r:id="rId3"/>
            </p:custDataLst>
          </p:nvPr>
        </p:nvSpPr>
        <p:spPr bwMode="auto">
          <a:xfrm>
            <a:off x="1169988" y="3316288"/>
            <a:ext cx="6581775" cy="358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76213"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t>From Barriers to Solutions: Policy Levers for Geothermal Growth in East Africa</a:t>
            </a:r>
          </a:p>
        </p:txBody>
      </p:sp>
      <p:graphicFrame>
        <p:nvGraphicFramePr>
          <p:cNvPr id="26" name="Chart 25">
            <a:extLst>
              <a:ext uri="{FF2B5EF4-FFF2-40B4-BE49-F238E27FC236}">
                <a16:creationId xmlns:a16="http://schemas.microsoft.com/office/drawing/2014/main" id="{EDEE830F-73BB-068A-5007-3327110F9AE7}"/>
              </a:ext>
            </a:extLst>
          </p:cNvPr>
          <p:cNvGraphicFramePr/>
          <p:nvPr>
            <p:custDataLst>
              <p:tags r:id="rId4"/>
            </p:custDataLst>
            <p:extLst>
              <p:ext uri="{D42A27DB-BD31-4B8C-83A1-F6EECF244321}">
                <p14:modId xmlns:p14="http://schemas.microsoft.com/office/powerpoint/2010/main" val="1059518651"/>
              </p:ext>
            </p:extLst>
          </p:nvPr>
        </p:nvGraphicFramePr>
        <p:xfrm>
          <a:off x="8599488" y="2260600"/>
          <a:ext cx="3344862" cy="2720975"/>
        </p:xfrm>
        <a:graphic>
          <a:graphicData uri="http://schemas.openxmlformats.org/drawingml/2006/chart">
            <c:chart xmlns:c="http://schemas.openxmlformats.org/drawingml/2006/chart" xmlns:r="http://schemas.openxmlformats.org/officeDocument/2006/relationships" r:id="rId26"/>
          </a:graphicData>
        </a:graphic>
      </p:graphicFrame>
      <p:sp>
        <p:nvSpPr>
          <p:cNvPr id="12" name="Text Placeholder 10">
            <a:extLst>
              <a:ext uri="{FF2B5EF4-FFF2-40B4-BE49-F238E27FC236}">
                <a16:creationId xmlns:a16="http://schemas.microsoft.com/office/drawing/2014/main" id="{F38A33F0-EC31-38D4-7E9C-11D46D187344}"/>
              </a:ext>
            </a:extLst>
          </p:cNvPr>
          <p:cNvSpPr txBox="1">
            <a:spLocks/>
          </p:cNvSpPr>
          <p:nvPr>
            <p:custDataLst>
              <p:tags r:id="rId5"/>
            </p:custDataLst>
          </p:nvPr>
        </p:nvSpPr>
        <p:spPr bwMode="auto">
          <a:xfrm>
            <a:off x="9121775" y="4886325"/>
            <a:ext cx="425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717EFA-600B-4D76-AE8B-9051A690350D}" type="datetime'''''''C''''om''''o''''''''''''''''r''''''''''o''''s'''''''">
              <a:rPr lang="en-US" altLang="en-US" sz="800" smtClean="0"/>
              <a:pPr marL="0" indent="0" algn="ctr">
                <a:spcBef>
                  <a:spcPct val="0"/>
                </a:spcBef>
                <a:spcAft>
                  <a:spcPct val="0"/>
                </a:spcAft>
                <a:buNone/>
              </a:pPr>
              <a:t>Comoros</a:t>
            </a:fld>
            <a:endParaRPr lang="en-US" sz="800" dirty="0"/>
          </a:p>
        </p:txBody>
      </p:sp>
      <p:sp>
        <p:nvSpPr>
          <p:cNvPr id="13" name="Text Placeholder 10">
            <a:extLst>
              <a:ext uri="{FF2B5EF4-FFF2-40B4-BE49-F238E27FC236}">
                <a16:creationId xmlns:a16="http://schemas.microsoft.com/office/drawing/2014/main" id="{A6FE02F0-ECF6-948A-288F-7E1A65732681}"/>
              </a:ext>
            </a:extLst>
          </p:cNvPr>
          <p:cNvSpPr txBox="1">
            <a:spLocks/>
          </p:cNvSpPr>
          <p:nvPr>
            <p:custDataLst>
              <p:tags r:id="rId6"/>
            </p:custDataLst>
          </p:nvPr>
        </p:nvSpPr>
        <p:spPr bwMode="auto">
          <a:xfrm>
            <a:off x="9602788" y="4886325"/>
            <a:ext cx="382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5CDDE8-D2E2-4E2E-85FE-98F0AFE070B6}" type="datetime'''''E''''''''''''''''t''hi''o''''''''''p''i''''''a'''''''">
              <a:rPr lang="en-US" altLang="en-US" sz="800" smtClean="0"/>
              <a:pPr marL="0" indent="0" algn="ctr">
                <a:spcBef>
                  <a:spcPct val="0"/>
                </a:spcBef>
                <a:spcAft>
                  <a:spcPct val="0"/>
                </a:spcAft>
                <a:buNone/>
              </a:pPr>
              <a:t>Ethiopia</a:t>
            </a:fld>
            <a:endParaRPr lang="en-US" sz="800" dirty="0"/>
          </a:p>
        </p:txBody>
      </p:sp>
      <p:sp>
        <p:nvSpPr>
          <p:cNvPr id="14" name="Text Placeholder 10">
            <a:extLst>
              <a:ext uri="{FF2B5EF4-FFF2-40B4-BE49-F238E27FC236}">
                <a16:creationId xmlns:a16="http://schemas.microsoft.com/office/drawing/2014/main" id="{75CA179C-CD9E-3497-0ACD-289DC0D14FE6}"/>
              </a:ext>
            </a:extLst>
          </p:cNvPr>
          <p:cNvSpPr txBox="1">
            <a:spLocks/>
          </p:cNvSpPr>
          <p:nvPr>
            <p:custDataLst>
              <p:tags r:id="rId7"/>
            </p:custDataLst>
          </p:nvPr>
        </p:nvSpPr>
        <p:spPr bwMode="auto">
          <a:xfrm>
            <a:off x="10077450" y="4886325"/>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817C8F-B428-4B0F-9188-2057D14D9127}" type="datetime'''''D''''''''j''i''''''''b''''o''u''''t''''''i'''''''''">
              <a:rPr lang="en-US" altLang="en-US" sz="800" smtClean="0"/>
              <a:pPr marL="0" indent="0" algn="ctr">
                <a:spcBef>
                  <a:spcPct val="0"/>
                </a:spcBef>
                <a:spcAft>
                  <a:spcPct val="0"/>
                </a:spcAft>
                <a:buNone/>
              </a:pPr>
              <a:t>Djibouti</a:t>
            </a:fld>
            <a:endParaRPr lang="en-US" sz="800" dirty="0"/>
          </a:p>
        </p:txBody>
      </p:sp>
      <p:sp>
        <p:nvSpPr>
          <p:cNvPr id="15" name="Text Placeholder 10">
            <a:extLst>
              <a:ext uri="{FF2B5EF4-FFF2-40B4-BE49-F238E27FC236}">
                <a16:creationId xmlns:a16="http://schemas.microsoft.com/office/drawing/2014/main" id="{6F5FB5A3-97AC-13C3-AA3E-9530E034670B}"/>
              </a:ext>
            </a:extLst>
          </p:cNvPr>
          <p:cNvSpPr txBox="1">
            <a:spLocks/>
          </p:cNvSpPr>
          <p:nvPr>
            <p:custDataLst>
              <p:tags r:id="rId8"/>
            </p:custDataLst>
          </p:nvPr>
        </p:nvSpPr>
        <p:spPr bwMode="auto">
          <a:xfrm>
            <a:off x="10561638" y="4886325"/>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653D90-84EF-4D88-A4A0-2994854D25BA}" type="datetime'''''K''e''''''''''''''''''''''''n''''''''y''''''''''''''''''a'">
              <a:rPr lang="en-US" altLang="en-US" sz="800" smtClean="0"/>
              <a:pPr marL="0" indent="0" algn="ctr">
                <a:spcBef>
                  <a:spcPct val="0"/>
                </a:spcBef>
                <a:spcAft>
                  <a:spcPct val="0"/>
                </a:spcAft>
                <a:buNone/>
              </a:pPr>
              <a:t>Kenya</a:t>
            </a:fld>
            <a:endParaRPr lang="en-US" sz="800" dirty="0"/>
          </a:p>
        </p:txBody>
      </p:sp>
      <p:sp>
        <p:nvSpPr>
          <p:cNvPr id="16" name="Text Placeholder 10">
            <a:extLst>
              <a:ext uri="{FF2B5EF4-FFF2-40B4-BE49-F238E27FC236}">
                <a16:creationId xmlns:a16="http://schemas.microsoft.com/office/drawing/2014/main" id="{1CCE7367-5BFD-85C5-2CAE-3F9D2DD3BC2C}"/>
              </a:ext>
            </a:extLst>
          </p:cNvPr>
          <p:cNvSpPr txBox="1">
            <a:spLocks/>
          </p:cNvSpPr>
          <p:nvPr>
            <p:custDataLst>
              <p:tags r:id="rId9"/>
            </p:custDataLst>
          </p:nvPr>
        </p:nvSpPr>
        <p:spPr bwMode="auto">
          <a:xfrm>
            <a:off x="10987088" y="4886325"/>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BCB031-1871-4DBC-BC77-3EAF23D2892A}" type="datetime'''U''''''''''''''''g''''a''n''''''''''''''''''''''''da'''''">
              <a:rPr lang="en-US" altLang="en-US" sz="800" smtClean="0"/>
              <a:pPr marL="0" indent="0" algn="ctr">
                <a:spcBef>
                  <a:spcPct val="0"/>
                </a:spcBef>
                <a:spcAft>
                  <a:spcPct val="0"/>
                </a:spcAft>
                <a:buNone/>
              </a:pPr>
              <a:t>Uganda</a:t>
            </a:fld>
            <a:endParaRPr lang="en-US" sz="800" dirty="0"/>
          </a:p>
        </p:txBody>
      </p:sp>
      <p:sp>
        <p:nvSpPr>
          <p:cNvPr id="17" name="Text Placeholder 10">
            <a:extLst>
              <a:ext uri="{FF2B5EF4-FFF2-40B4-BE49-F238E27FC236}">
                <a16:creationId xmlns:a16="http://schemas.microsoft.com/office/drawing/2014/main" id="{DA637AA3-A811-6945-16E3-D13582DF8AB0}"/>
              </a:ext>
            </a:extLst>
          </p:cNvPr>
          <p:cNvSpPr txBox="1">
            <a:spLocks/>
          </p:cNvSpPr>
          <p:nvPr>
            <p:custDataLst>
              <p:tags r:id="rId10"/>
            </p:custDataLst>
          </p:nvPr>
        </p:nvSpPr>
        <p:spPr bwMode="auto">
          <a:xfrm>
            <a:off x="11415713" y="4886325"/>
            <a:ext cx="433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1D0440-00DD-44F0-A35B-6E6BD3A32A2B}" type="datetime'''T''''''a''''''''''''n''''''''''''''z''a''''''''n''i''''a'">
              <a:rPr lang="en-US" altLang="en-US" sz="800" smtClean="0"/>
              <a:pPr marL="0" indent="0" algn="ctr">
                <a:spcBef>
                  <a:spcPct val="0"/>
                </a:spcBef>
                <a:spcAft>
                  <a:spcPct val="0"/>
                </a:spcAft>
                <a:buNone/>
              </a:pPr>
              <a:t>Tanzania</a:t>
            </a:fld>
            <a:endParaRPr lang="en-US" sz="800" dirty="0"/>
          </a:p>
        </p:txBody>
      </p:sp>
      <p:sp>
        <p:nvSpPr>
          <p:cNvPr id="19" name="Rectangle 18">
            <a:extLst>
              <a:ext uri="{FF2B5EF4-FFF2-40B4-BE49-F238E27FC236}">
                <a16:creationId xmlns:a16="http://schemas.microsoft.com/office/drawing/2014/main" id="{671C4158-D1A2-4BAA-D357-741A7D9E7FA3}"/>
              </a:ext>
            </a:extLst>
          </p:cNvPr>
          <p:cNvSpPr/>
          <p:nvPr>
            <p:custDataLst>
              <p:tags r:id="rId11"/>
            </p:custDataLst>
          </p:nvPr>
        </p:nvSpPr>
        <p:spPr bwMode="auto">
          <a:xfrm>
            <a:off x="11329988" y="1914525"/>
            <a:ext cx="142875" cy="106362"/>
          </a:xfrm>
          <a:prstGeom prst="rect">
            <a:avLst/>
          </a:prstGeom>
          <a:solidFill>
            <a:schemeClr val="accent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DF965BCF-08F3-F71E-329D-3BFB1A72CC6A}"/>
              </a:ext>
            </a:extLst>
          </p:cNvPr>
          <p:cNvSpPr/>
          <p:nvPr>
            <p:custDataLst>
              <p:tags r:id="rId12"/>
            </p:custDataLst>
          </p:nvPr>
        </p:nvSpPr>
        <p:spPr bwMode="auto">
          <a:xfrm>
            <a:off x="11329988" y="2087563"/>
            <a:ext cx="142875" cy="106363"/>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Text Placeholder 10">
            <a:extLst>
              <a:ext uri="{FF2B5EF4-FFF2-40B4-BE49-F238E27FC236}">
                <a16:creationId xmlns:a16="http://schemas.microsoft.com/office/drawing/2014/main" id="{AF02B4FE-E83F-E3DC-FA72-17845B5D4C42}"/>
              </a:ext>
            </a:extLst>
          </p:cNvPr>
          <p:cNvSpPr txBox="1">
            <a:spLocks/>
          </p:cNvSpPr>
          <p:nvPr>
            <p:custDataLst>
              <p:tags r:id="rId13"/>
            </p:custDataLst>
          </p:nvPr>
        </p:nvSpPr>
        <p:spPr bwMode="auto">
          <a:xfrm>
            <a:off x="11523663" y="1909763"/>
            <a:ext cx="381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A8A1193-0290-45E0-B597-2C682E7F38C9}" type="datetime'''''Ins''''''''''ta''''''''''''l''l''''''''e''d'''''''''''''">
              <a:rPr lang="en-US" altLang="en-US" sz="800" smtClean="0"/>
              <a:pPr/>
              <a:t>Installed</a:t>
            </a:fld>
            <a:endParaRPr lang="en-US" sz="800" dirty="0"/>
          </a:p>
        </p:txBody>
      </p:sp>
      <p:sp>
        <p:nvSpPr>
          <p:cNvPr id="20" name="Text Placeholder 10">
            <a:extLst>
              <a:ext uri="{FF2B5EF4-FFF2-40B4-BE49-F238E27FC236}">
                <a16:creationId xmlns:a16="http://schemas.microsoft.com/office/drawing/2014/main" id="{C310F42A-FD9F-B41B-2AF3-09C9FF632952}"/>
              </a:ext>
            </a:extLst>
          </p:cNvPr>
          <p:cNvSpPr txBox="1">
            <a:spLocks/>
          </p:cNvSpPr>
          <p:nvPr>
            <p:custDataLst>
              <p:tags r:id="rId14"/>
            </p:custDataLst>
          </p:nvPr>
        </p:nvSpPr>
        <p:spPr bwMode="auto">
          <a:xfrm>
            <a:off x="11523663" y="2082800"/>
            <a:ext cx="427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DD410C-4757-4418-AA76-F6FDC99011CB}" type="datetime'''''''''''''P''''''''''''''''o''te''nti''''''''''a''''l '">
              <a:rPr lang="en-US" altLang="en-US" sz="800" smtClean="0"/>
              <a:pPr/>
              <a:t>Potential </a:t>
            </a:fld>
            <a:endParaRPr lang="en-US" sz="800" dirty="0"/>
          </a:p>
        </p:txBody>
      </p:sp>
      <p:graphicFrame>
        <p:nvGraphicFramePr>
          <p:cNvPr id="22" name="Table 21">
            <a:extLst>
              <a:ext uri="{FF2B5EF4-FFF2-40B4-BE49-F238E27FC236}">
                <a16:creationId xmlns:a16="http://schemas.microsoft.com/office/drawing/2014/main" id="{D05AA9D0-90C7-7689-7A72-93058A4B1E97}"/>
              </a:ext>
            </a:extLst>
          </p:cNvPr>
          <p:cNvGraphicFramePr>
            <a:graphicFrameLocks noGrp="1"/>
          </p:cNvGraphicFramePr>
          <p:nvPr>
            <p:extLst>
              <p:ext uri="{D42A27DB-BD31-4B8C-83A1-F6EECF244321}">
                <p14:modId xmlns:p14="http://schemas.microsoft.com/office/powerpoint/2010/main" val="723108772"/>
              </p:ext>
            </p:extLst>
          </p:nvPr>
        </p:nvGraphicFramePr>
        <p:xfrm>
          <a:off x="287337" y="3573463"/>
          <a:ext cx="8305799" cy="2512414"/>
        </p:xfrm>
        <a:graphic>
          <a:graphicData uri="http://schemas.openxmlformats.org/drawingml/2006/table">
            <a:tbl>
              <a:tblPr/>
              <a:tblGrid>
                <a:gridCol w="4103048">
                  <a:extLst>
                    <a:ext uri="{9D8B030D-6E8A-4147-A177-3AD203B41FA5}">
                      <a16:colId xmlns:a16="http://schemas.microsoft.com/office/drawing/2014/main" val="3854148362"/>
                    </a:ext>
                  </a:extLst>
                </a:gridCol>
                <a:gridCol w="4202751">
                  <a:extLst>
                    <a:ext uri="{9D8B030D-6E8A-4147-A177-3AD203B41FA5}">
                      <a16:colId xmlns:a16="http://schemas.microsoft.com/office/drawing/2014/main" val="680083595"/>
                    </a:ext>
                  </a:extLst>
                </a:gridCol>
              </a:tblGrid>
              <a:tr h="349830">
                <a:tc>
                  <a:txBody>
                    <a:bodyPr/>
                    <a:lstStyle/>
                    <a:p>
                      <a:pPr marL="0" indent="0" algn="ctr" rtl="0" fontAlgn="t">
                        <a:buNone/>
                      </a:pPr>
                      <a:r>
                        <a:rPr lang="en-US" sz="1100" b="1" i="0" u="none" strike="noStrike" dirty="0">
                          <a:solidFill>
                            <a:srgbClr val="000000"/>
                          </a:solidFill>
                          <a:effectLst/>
                          <a:latin typeface="Arial" panose="020B0604020202020204" pitchFamily="34" charset="0"/>
                        </a:rPr>
                        <a:t>Barriers</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indent="0" algn="ctr" rtl="0" fontAlgn="t">
                        <a:buNone/>
                      </a:pPr>
                      <a:r>
                        <a:rPr lang="en-US" sz="1100" b="1" i="0" u="none" strike="noStrike" dirty="0">
                          <a:solidFill>
                            <a:srgbClr val="000000"/>
                          </a:solidFill>
                          <a:effectLst/>
                          <a:latin typeface="Arial" panose="020B0604020202020204" pitchFamily="34" charset="0"/>
                        </a:rPr>
                        <a:t>Emerging Solution Reform</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139962918"/>
                  </a:ext>
                </a:extLst>
              </a:tr>
              <a:tr h="540646">
                <a:tc>
                  <a:txBody>
                    <a:bodyPr/>
                    <a:lstStyle/>
                    <a:p>
                      <a:pPr marL="0" indent="0" rtl="0" fontAlgn="t">
                        <a:buNone/>
                      </a:pPr>
                      <a:r>
                        <a:rPr lang="en-US" sz="1100" b="1" i="0" u="none" strike="noStrike" dirty="0">
                          <a:solidFill>
                            <a:srgbClr val="000000"/>
                          </a:solidFill>
                          <a:effectLst/>
                          <a:latin typeface="Arial" panose="020B0604020202020204" pitchFamily="34" charset="0"/>
                        </a:rPr>
                        <a:t>High upfront costs: </a:t>
                      </a:r>
                      <a:r>
                        <a:rPr lang="en-US" sz="1100" b="0" i="0" u="none" strike="noStrike" dirty="0">
                          <a:solidFill>
                            <a:srgbClr val="000000"/>
                          </a:solidFill>
                          <a:effectLst/>
                          <a:latin typeface="Arial" panose="020B0604020202020204" pitchFamily="34" charset="0"/>
                        </a:rPr>
                        <a:t>Drilling risk and CapEx-intensive exploration.</a:t>
                      </a:r>
                      <a:r>
                        <a:rPr lang="en-US" sz="1100" b="1" i="0" u="none" strike="noStrike" dirty="0">
                          <a:solidFill>
                            <a:srgbClr val="000000"/>
                          </a:solidFill>
                          <a:effectLst/>
                          <a:latin typeface="Arial" panose="020B0604020202020204" pitchFamily="34" charset="0"/>
                        </a:rPr>
                        <a:t> </a:t>
                      </a: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rtl="0" fontAlgn="t"/>
                      <a:r>
                        <a:rPr lang="en-US" sz="1100" b="0" i="0" u="none" strike="noStrike" dirty="0">
                          <a:solidFill>
                            <a:srgbClr val="000000"/>
                          </a:solidFill>
                          <a:effectLst/>
                          <a:latin typeface="Arial" panose="020B0604020202020204" pitchFamily="34" charset="0"/>
                        </a:rPr>
                        <a:t>Regional </a:t>
                      </a:r>
                      <a:r>
                        <a:rPr lang="en-US" sz="1100" b="1" i="0" u="none" strike="noStrike" dirty="0">
                          <a:solidFill>
                            <a:srgbClr val="000000"/>
                          </a:solidFill>
                          <a:effectLst/>
                          <a:latin typeface="Arial" panose="020B0604020202020204" pitchFamily="34" charset="0"/>
                        </a:rPr>
                        <a:t>Geothermal Risk Mitigation Facility </a:t>
                      </a:r>
                      <a:r>
                        <a:rPr lang="en-US" sz="1100" b="0" i="0" u="none" strike="noStrike" dirty="0">
                          <a:solidFill>
                            <a:srgbClr val="000000"/>
                          </a:solidFill>
                          <a:effectLst/>
                          <a:latin typeface="Arial" panose="020B0604020202020204" pitchFamily="34" charset="0"/>
                        </a:rPr>
                        <a:t>and blended finance with KfW, AfDB.</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387508704"/>
                  </a:ext>
                </a:extLst>
              </a:tr>
              <a:tr h="540646">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100" b="1" i="0" u="none" strike="noStrike" dirty="0">
                          <a:solidFill>
                            <a:srgbClr val="000000"/>
                          </a:solidFill>
                          <a:effectLst/>
                          <a:latin typeface="Arial" panose="020B0604020202020204" pitchFamily="34" charset="0"/>
                        </a:rPr>
                        <a:t>Institutional gaps: Weak regulatory clarity in early-stage markets (Tanzania, Uganda)</a:t>
                      </a:r>
                      <a:r>
                        <a:rPr lang="en-US" sz="1100" b="0" i="0" u="none" strike="noStrike" dirty="0">
                          <a:solidFill>
                            <a:srgbClr val="000000"/>
                          </a:solidFill>
                          <a:effectLst/>
                          <a:latin typeface="Arial" panose="020B0604020202020204" pitchFamily="34" charset="0"/>
                        </a:rPr>
                        <a:t>.</a:t>
                      </a: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rtl="0" fontAlgn="t"/>
                      <a:r>
                        <a:rPr lang="en-US" sz="1100" b="1" i="0" u="none" strike="noStrike" dirty="0">
                          <a:solidFill>
                            <a:srgbClr val="000000"/>
                          </a:solidFill>
                          <a:effectLst/>
                          <a:latin typeface="Arial" panose="020B0604020202020204" pitchFamily="34" charset="0"/>
                        </a:rPr>
                        <a:t>KenGen and GDC as regional training hubs</a:t>
                      </a:r>
                      <a:r>
                        <a:rPr lang="en-US" sz="1100" b="0" i="0" u="none" strike="noStrike" dirty="0">
                          <a:solidFill>
                            <a:srgbClr val="000000"/>
                          </a:solidFill>
                          <a:effectLst/>
                          <a:latin typeface="Arial" panose="020B0604020202020204" pitchFamily="34" charset="0"/>
                        </a:rPr>
                        <a:t> and harmonization of EAC geothermal policy.</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45197538"/>
                  </a:ext>
                </a:extLst>
              </a:tr>
              <a:tr h="540646">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100" b="1" i="0" u="none" strike="noStrike" dirty="0">
                          <a:solidFill>
                            <a:srgbClr val="000000"/>
                          </a:solidFill>
                          <a:effectLst/>
                          <a:latin typeface="Arial" panose="020B0604020202020204" pitchFamily="34" charset="0"/>
                        </a:rPr>
                        <a:t>Technical capacity: </a:t>
                      </a:r>
                      <a:r>
                        <a:rPr lang="en-US" sz="1100" b="0" i="0" u="none" strike="noStrike" dirty="0">
                          <a:solidFill>
                            <a:srgbClr val="000000"/>
                          </a:solidFill>
                          <a:effectLst/>
                          <a:latin typeface="Arial" panose="020B0604020202020204" pitchFamily="34" charset="0"/>
                        </a:rPr>
                        <a:t>Lack of specialized workforce and site modeling data.</a:t>
                      </a: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rtl="0" fontAlgn="t"/>
                      <a:r>
                        <a:rPr lang="en-US" sz="1100" b="1" i="0" u="none" strike="noStrike" dirty="0">
                          <a:solidFill>
                            <a:srgbClr val="000000"/>
                          </a:solidFill>
                          <a:effectLst/>
                          <a:latin typeface="Arial" panose="020B0604020202020204" pitchFamily="34" charset="0"/>
                        </a:rPr>
                        <a:t>UNEP and IGA capacity programs</a:t>
                      </a:r>
                      <a:r>
                        <a:rPr lang="en-US" sz="1100" b="0" i="0" u="none" strike="noStrike" dirty="0">
                          <a:solidFill>
                            <a:srgbClr val="000000"/>
                          </a:solidFill>
                          <a:effectLst/>
                          <a:latin typeface="Arial" panose="020B0604020202020204" pitchFamily="34" charset="0"/>
                        </a:rPr>
                        <a:t> and Kenyan training of 200+ regional engineers.</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93989144"/>
                  </a:ext>
                </a:extLst>
              </a:tr>
              <a:tr h="540646">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100" b="1" i="0" u="none" strike="noStrike" dirty="0">
                          <a:solidFill>
                            <a:srgbClr val="000000"/>
                          </a:solidFill>
                          <a:effectLst/>
                          <a:latin typeface="Arial" panose="020B0604020202020204" pitchFamily="34" charset="0"/>
                        </a:rPr>
                        <a:t>Environmental and social consent: </a:t>
                      </a:r>
                      <a:r>
                        <a:rPr lang="en-US" sz="1100" b="0" i="0" u="none" strike="noStrike" dirty="0">
                          <a:solidFill>
                            <a:srgbClr val="000000"/>
                          </a:solidFill>
                          <a:effectLst/>
                          <a:latin typeface="Arial" panose="020B0604020202020204" pitchFamily="34" charset="0"/>
                        </a:rPr>
                        <a:t>Local resistance near protected lands’ hot springs.</a:t>
                      </a: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rtl="0" fontAlgn="t"/>
                      <a:r>
                        <a:rPr lang="en-US" sz="1100" b="0" i="0" u="none" strike="noStrike" dirty="0">
                          <a:solidFill>
                            <a:srgbClr val="000000"/>
                          </a:solidFill>
                          <a:effectLst/>
                          <a:latin typeface="Arial" panose="020B0604020202020204" pitchFamily="34" charset="0"/>
                        </a:rPr>
                        <a:t>Early-stage </a:t>
                      </a:r>
                      <a:r>
                        <a:rPr lang="en-US" sz="1100" b="1" i="0" u="none" strike="noStrike" dirty="0">
                          <a:solidFill>
                            <a:srgbClr val="000000"/>
                          </a:solidFill>
                          <a:effectLst/>
                          <a:latin typeface="Arial" panose="020B0604020202020204" pitchFamily="34" charset="0"/>
                        </a:rPr>
                        <a:t>community co-design</a:t>
                      </a:r>
                      <a:r>
                        <a:rPr lang="en-US" sz="1100" b="0" i="0" u="none" strike="noStrike" dirty="0">
                          <a:solidFill>
                            <a:srgbClr val="000000"/>
                          </a:solidFill>
                          <a:effectLst/>
                          <a:latin typeface="Arial" panose="020B0604020202020204" pitchFamily="34" charset="0"/>
                        </a:rPr>
                        <a:t> and geothermal tourism pilots (e.g., Menengai).</a:t>
                      </a:r>
                      <a:endParaRPr lang="en-US" sz="1100" dirty="0">
                        <a:effectLst/>
                      </a:endParaRPr>
                    </a:p>
                  </a:txBody>
                  <a:tcPr marL="63500" marR="63500" marT="63500" marB="635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257046538"/>
                  </a:ext>
                </a:extLst>
              </a:tr>
            </a:tbl>
          </a:graphicData>
        </a:graphic>
      </p:graphicFrame>
    </p:spTree>
    <p:extLst>
      <p:ext uri="{BB962C8B-B14F-4D97-AF65-F5344CB8AC3E}">
        <p14:creationId xmlns:p14="http://schemas.microsoft.com/office/powerpoint/2010/main" val="83681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659B16-74F5-69E7-982C-FB0F960D6C3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5" imgW="7772400" imgH="10058400" progId="TCLayout.ActiveDocument.1">
                  <p:embed/>
                </p:oleObj>
              </mc:Choice>
              <mc:Fallback>
                <p:oleObj name="think-cell Slide" r:id="rId35" imgW="7772400" imgH="10058400" progId="TCLayout.ActiveDocument.1">
                  <p:embed/>
                  <p:pic>
                    <p:nvPicPr>
                      <p:cNvPr id="10" name="think-cell data - do not delete" hidden="1">
                        <a:extLst>
                          <a:ext uri="{FF2B5EF4-FFF2-40B4-BE49-F238E27FC236}">
                            <a16:creationId xmlns:a16="http://schemas.microsoft.com/office/drawing/2014/main" id="{EA659B16-74F5-69E7-982C-FB0F960D6C3D}"/>
                          </a:ext>
                        </a:extLst>
                      </p:cNvPr>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908755B-DDE2-E2E8-A785-60397CE40F71}"/>
              </a:ext>
            </a:extLst>
          </p:cNvPr>
          <p:cNvSpPr>
            <a:spLocks noGrp="1"/>
          </p:cNvSpPr>
          <p:nvPr>
            <p:ph type="body" sz="quarter" idx="14"/>
          </p:nvPr>
        </p:nvSpPr>
        <p:spPr>
          <a:xfrm>
            <a:off x="330199" y="5345112"/>
            <a:ext cx="11526837" cy="852455"/>
          </a:xfrm>
        </p:spPr>
        <p:txBody>
          <a:bodyPr tIns="0" rIns="91440" bIns="0" anchor="ctr"/>
          <a:lstStyle/>
          <a:p>
            <a:pPr>
              <a:spcAft>
                <a:spcPts val="400"/>
              </a:spcAft>
            </a:pPr>
            <a:r>
              <a:rPr lang="en-US" dirty="0"/>
              <a:t>Geothermal heating use </a:t>
            </a:r>
            <a:r>
              <a:rPr lang="en-US" b="1" dirty="0"/>
              <a:t>doubles in 2050</a:t>
            </a:r>
            <a:r>
              <a:rPr lang="en-US" dirty="0"/>
              <a:t> under a realistic government Stated Policies Scenario (STEPS), with China as the biggest source of growth. Yet, it remains </a:t>
            </a:r>
            <a:r>
              <a:rPr lang="en-US" b="1" dirty="0"/>
              <a:t>only 0.5% of total heat consumption globally</a:t>
            </a:r>
            <a:r>
              <a:rPr lang="en-US" dirty="0"/>
              <a:t>.</a:t>
            </a:r>
          </a:p>
          <a:p>
            <a:pPr>
              <a:spcAft>
                <a:spcPts val="400"/>
              </a:spcAft>
            </a:pPr>
            <a:r>
              <a:rPr lang="en-US" dirty="0"/>
              <a:t>From the use-case perspective, nearly </a:t>
            </a:r>
            <a:r>
              <a:rPr lang="en-US" b="1" dirty="0"/>
              <a:t>90% of geothermal heating consumption comes from residential and commercial buildings</a:t>
            </a:r>
            <a:r>
              <a:rPr lang="en-US" dirty="0"/>
              <a:t>, mainly through district heating networks, including thermal baths in the tourism and wellness sector.</a:t>
            </a:r>
          </a:p>
        </p:txBody>
      </p:sp>
      <p:sp>
        <p:nvSpPr>
          <p:cNvPr id="5" name="Title 4">
            <a:extLst>
              <a:ext uri="{FF2B5EF4-FFF2-40B4-BE49-F238E27FC236}">
                <a16:creationId xmlns:a16="http://schemas.microsoft.com/office/drawing/2014/main" id="{3EF170B7-6360-D109-696C-6065DEB8D704}"/>
              </a:ext>
            </a:extLst>
          </p:cNvPr>
          <p:cNvSpPr>
            <a:spLocks noGrp="1"/>
          </p:cNvSpPr>
          <p:nvPr>
            <p:ph type="title"/>
          </p:nvPr>
        </p:nvSpPr>
        <p:spPr/>
        <p:txBody>
          <a:bodyPr vert="horz" rIns="91440"/>
          <a:lstStyle/>
          <a:p>
            <a:r>
              <a:rPr lang="en-US" dirty="0"/>
              <a:t>By 2050, geothermal heating use is projected to almost double, driven largely by China and building and district heating</a:t>
            </a:r>
          </a:p>
        </p:txBody>
      </p:sp>
      <p:sp>
        <p:nvSpPr>
          <p:cNvPr id="6" name="Footer Placeholder 5">
            <a:extLst>
              <a:ext uri="{FF2B5EF4-FFF2-40B4-BE49-F238E27FC236}">
                <a16:creationId xmlns:a16="http://schemas.microsoft.com/office/drawing/2014/main" id="{138511EF-1218-BEBA-6753-E8F887A3E39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Faradis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Aninty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nd </a:t>
            </a:r>
            <a:r>
              <a:rPr lang="en-US" dirty="0">
                <a:solidFill>
                  <a:srgbClr val="000000">
                    <a:tint val="82000"/>
                  </a:srgbClr>
                </a:solidFill>
                <a:hlinkClick r:id="rId38"/>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3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4B0A53E5-D45A-8E40-878C-013EA2209727}"/>
              </a:ext>
            </a:extLst>
          </p:cNvPr>
          <p:cNvSpPr>
            <a:spLocks noGrp="1"/>
          </p:cNvSpPr>
          <p:nvPr>
            <p:ph type="body" sz="quarter" idx="13"/>
          </p:nvPr>
        </p:nvSpPr>
        <p:spPr/>
        <p:txBody>
          <a:bodyPr/>
          <a:lstStyle/>
          <a:p>
            <a:r>
              <a:rPr lang="en-US" altLang="en-US" dirty="0">
                <a:solidFill>
                  <a:srgbClr val="000000"/>
                </a:solidFill>
              </a:rPr>
              <a:t>Geothermal heating consumption (PJ), projection by region 2023-2050</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B6E2AAD6-4FB9-EC04-DD29-968861DF3354}"/>
              </a:ext>
            </a:extLst>
          </p:cNvPr>
          <p:cNvSpPr>
            <a:spLocks noGrp="1"/>
          </p:cNvSpPr>
          <p:nvPr>
            <p:ph type="body" sz="quarter" idx="18"/>
          </p:nvPr>
        </p:nvSpPr>
        <p:spPr/>
        <p:txBody>
          <a:bodyPr/>
          <a:lstStyle/>
          <a:p>
            <a:pPr lvl="0">
              <a:spcBef>
                <a:spcPct val="0"/>
              </a:spcBef>
              <a:spcAft>
                <a:spcPct val="0"/>
              </a:spcAft>
              <a:defRPr/>
            </a:pPr>
            <a:r>
              <a:rPr lang="en-US" altLang="en-US" dirty="0">
                <a:solidFill>
                  <a:srgbClr val="000000"/>
                </a:solidFill>
              </a:rPr>
              <a:t>Increase (%) by heating application globally, 2023-2050</a:t>
            </a:r>
          </a:p>
        </p:txBody>
      </p:sp>
      <p:sp>
        <p:nvSpPr>
          <p:cNvPr id="9" name="Text Placeholder 1">
            <a:extLst>
              <a:ext uri="{FF2B5EF4-FFF2-40B4-BE49-F238E27FC236}">
                <a16:creationId xmlns:a16="http://schemas.microsoft.com/office/drawing/2014/main" id="{D75408EB-68C1-B25F-66D9-D6F96FB9B6BE}"/>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Heating &amp; cooling</a:t>
            </a:r>
          </a:p>
        </p:txBody>
      </p:sp>
      <p:cxnSp>
        <p:nvCxnSpPr>
          <p:cNvPr id="11" name="Straight Connector 10">
            <a:extLst>
              <a:ext uri="{FF2B5EF4-FFF2-40B4-BE49-F238E27FC236}">
                <a16:creationId xmlns:a16="http://schemas.microsoft.com/office/drawing/2014/main" id="{37CB5D9F-EB3D-16EF-440F-5D4E33C6D183}"/>
              </a:ext>
            </a:extLst>
          </p:cNvPr>
          <p:cNvCxnSpPr/>
          <p:nvPr>
            <p:custDataLst>
              <p:tags r:id="rId2"/>
            </p:custDataLst>
          </p:nvPr>
        </p:nvCxnSpPr>
        <p:spPr bwMode="gray">
          <a:xfrm>
            <a:off x="836613" y="4083050"/>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653284F-6AA5-1ACA-C5DD-F93F2BF2A2A3}"/>
              </a:ext>
            </a:extLst>
          </p:cNvPr>
          <p:cNvCxnSpPr/>
          <p:nvPr>
            <p:custDataLst>
              <p:tags r:id="rId3"/>
            </p:custDataLst>
          </p:nvPr>
        </p:nvCxnSpPr>
        <p:spPr bwMode="gray">
          <a:xfrm>
            <a:off x="836613" y="3529013"/>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22588A4-22BC-7DF5-500A-03EA6D44C66A}"/>
              </a:ext>
            </a:extLst>
          </p:cNvPr>
          <p:cNvCxnSpPr/>
          <p:nvPr>
            <p:custDataLst>
              <p:tags r:id="rId4"/>
            </p:custDataLst>
          </p:nvPr>
        </p:nvCxnSpPr>
        <p:spPr bwMode="gray">
          <a:xfrm>
            <a:off x="836613" y="2973388"/>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F769494-46CC-6367-49BD-5F47047A3B13}"/>
              </a:ext>
            </a:extLst>
          </p:cNvPr>
          <p:cNvCxnSpPr/>
          <p:nvPr>
            <p:custDataLst>
              <p:tags r:id="rId5"/>
            </p:custDataLst>
          </p:nvPr>
        </p:nvCxnSpPr>
        <p:spPr bwMode="gray">
          <a:xfrm>
            <a:off x="836613" y="2419350"/>
            <a:ext cx="5873750" cy="0"/>
          </a:xfrm>
          <a:prstGeom prst="line">
            <a:avLst/>
          </a:prstGeom>
          <a:ln w="3175" cap="flat"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5" name="Chart 84">
            <a:extLst>
              <a:ext uri="{FF2B5EF4-FFF2-40B4-BE49-F238E27FC236}">
                <a16:creationId xmlns:a16="http://schemas.microsoft.com/office/drawing/2014/main" id="{D5342F34-CF31-3BB0-4306-97E1EED43C80}"/>
              </a:ext>
            </a:extLst>
          </p:cNvPr>
          <p:cNvGraphicFramePr/>
          <p:nvPr>
            <p:custDataLst>
              <p:tags r:id="rId6"/>
            </p:custDataLst>
          </p:nvPr>
        </p:nvGraphicFramePr>
        <p:xfrm>
          <a:off x="754063" y="2336800"/>
          <a:ext cx="6038850" cy="2382838"/>
        </p:xfrm>
        <a:graphic>
          <a:graphicData uri="http://schemas.openxmlformats.org/drawingml/2006/chart">
            <c:chart xmlns:c="http://schemas.openxmlformats.org/drawingml/2006/chart" xmlns:r="http://schemas.openxmlformats.org/officeDocument/2006/relationships" r:id="rId40"/>
          </a:graphicData>
        </a:graphic>
      </p:graphicFrame>
      <p:sp>
        <p:nvSpPr>
          <p:cNvPr id="16" name="Text Placeholder 10">
            <a:extLst>
              <a:ext uri="{FF2B5EF4-FFF2-40B4-BE49-F238E27FC236}">
                <a16:creationId xmlns:a16="http://schemas.microsoft.com/office/drawing/2014/main" id="{8C7E46F9-C600-F5E1-2D76-84EDA43DB593}"/>
              </a:ext>
            </a:extLst>
          </p:cNvPr>
          <p:cNvSpPr>
            <a:spLocks/>
          </p:cNvSpPr>
          <p:nvPr>
            <p:custDataLst>
              <p:tags r:id="rId7"/>
            </p:custDataLst>
          </p:nvPr>
        </p:nvSpPr>
        <p:spPr bwMode="gray">
          <a:xfrm>
            <a:off x="600075" y="454660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443732E-78C3-4736-BC19-5AC2EC42F079}"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FBB51D89-C4DA-4F38-A911-55BD6EDC78AC}"/>
              </a:ext>
            </a:extLst>
          </p:cNvPr>
          <p:cNvSpPr>
            <a:spLocks/>
          </p:cNvSpPr>
          <p:nvPr>
            <p:custDataLst>
              <p:tags r:id="rId8"/>
            </p:custDataLst>
          </p:nvPr>
        </p:nvSpPr>
        <p:spPr bwMode="gray">
          <a:xfrm>
            <a:off x="431800" y="39925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E5284C-9DED-416D-A224-4E42C94AB5F5}" type="datetime'''''''''''''''''''''''''''''''''''''5''''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BBEA694E-A8B8-E59F-F8D3-4D841D847BDE}"/>
              </a:ext>
            </a:extLst>
          </p:cNvPr>
          <p:cNvSpPr>
            <a:spLocks/>
          </p:cNvSpPr>
          <p:nvPr>
            <p:custDataLst>
              <p:tags r:id="rId9"/>
            </p:custDataLst>
          </p:nvPr>
        </p:nvSpPr>
        <p:spPr bwMode="gray">
          <a:xfrm>
            <a:off x="304800" y="34385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65A6B6-3ED0-4A29-9A2D-B2166405559A}"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3A53ACB1-687C-2303-3554-570292FB682A}"/>
              </a:ext>
            </a:extLst>
          </p:cNvPr>
          <p:cNvSpPr>
            <a:spLocks/>
          </p:cNvSpPr>
          <p:nvPr>
            <p:custDataLst>
              <p:tags r:id="rId10"/>
            </p:custDataLst>
          </p:nvPr>
        </p:nvSpPr>
        <p:spPr bwMode="gray">
          <a:xfrm>
            <a:off x="304800" y="28829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1325D9-B383-4FD2-83DF-270E07E5B10D}" type="datetime'''''''1''''''''''''''''''.''''''''''''5''''''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96F8DD21-3C88-DCF1-49EE-B59EAD51FDAB}"/>
              </a:ext>
            </a:extLst>
          </p:cNvPr>
          <p:cNvSpPr>
            <a:spLocks/>
          </p:cNvSpPr>
          <p:nvPr>
            <p:custDataLst>
              <p:tags r:id="rId11"/>
            </p:custDataLst>
          </p:nvPr>
        </p:nvSpPr>
        <p:spPr bwMode="gray">
          <a:xfrm>
            <a:off x="304800" y="23288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484640-9E84-413A-934D-AE62C5E74C27}" type="datetime'2''''''''''''''''''''.''''''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1902AE95-EAF4-3399-A4A9-198CC36E3A9D}"/>
              </a:ext>
            </a:extLst>
          </p:cNvPr>
          <p:cNvSpPr>
            <a:spLocks/>
          </p:cNvSpPr>
          <p:nvPr>
            <p:custDataLst>
              <p:tags r:id="rId12"/>
            </p:custDataLst>
          </p:nvPr>
        </p:nvSpPr>
        <p:spPr bwMode="auto">
          <a:xfrm>
            <a:off x="1030288" y="4687888"/>
            <a:ext cx="450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097FC-336E-4D0C-864E-F6672B469050}" type="datetime'''''''''''G''''l''''o''''b''''''''''''''''''''''''''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lobal</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B16718D5-9238-0159-659E-D9C4D21EB7B5}"/>
              </a:ext>
            </a:extLst>
          </p:cNvPr>
          <p:cNvSpPr>
            <a:spLocks/>
          </p:cNvSpPr>
          <p:nvPr>
            <p:custDataLst>
              <p:tags r:id="rId13"/>
            </p:custDataLst>
          </p:nvPr>
        </p:nvSpPr>
        <p:spPr bwMode="auto">
          <a:xfrm>
            <a:off x="1892300" y="4687888"/>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1E0009-7002-4245-A6F3-39D9B02961D7}" type="datetime'''''''''C''''''''''''''''h''''''''''''i''''''n''''''''''''''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0229BA92-DD19-A1CB-28FC-C2283FB77AE5}"/>
              </a:ext>
            </a:extLst>
          </p:cNvPr>
          <p:cNvSpPr>
            <a:spLocks/>
          </p:cNvSpPr>
          <p:nvPr>
            <p:custDataLst>
              <p:tags r:id="rId14"/>
            </p:custDataLst>
          </p:nvPr>
        </p:nvSpPr>
        <p:spPr bwMode="auto">
          <a:xfrm>
            <a:off x="2779713" y="4687888"/>
            <a:ext cx="309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U.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93B6DDBF-721F-374D-D2A8-40E640696B80}"/>
              </a:ext>
            </a:extLst>
          </p:cNvPr>
          <p:cNvSpPr>
            <a:spLocks/>
          </p:cNvSpPr>
          <p:nvPr>
            <p:custDataLst>
              <p:tags r:id="rId15"/>
            </p:custDataLst>
          </p:nvPr>
        </p:nvSpPr>
        <p:spPr bwMode="auto">
          <a:xfrm>
            <a:off x="3662363" y="4687888"/>
            <a:ext cx="223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A1B22C-B0C6-4C44-87D6-EBED105847EB}" type="datetime'''''''''E''''''''''''U'''''''''''''''''''''''''''">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3518B9BC-091B-1C34-854D-ED997A557662}"/>
              </a:ext>
            </a:extLst>
          </p:cNvPr>
          <p:cNvSpPr>
            <a:spLocks/>
          </p:cNvSpPr>
          <p:nvPr>
            <p:custDataLst>
              <p:tags r:id="rId16"/>
            </p:custDataLst>
          </p:nvPr>
        </p:nvSpPr>
        <p:spPr bwMode="auto">
          <a:xfrm>
            <a:off x="4360863" y="4687888"/>
            <a:ext cx="5016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DA863F-278D-45C4-B3B2-FE57F75C0101}" type="datetime'''''''''''''''''O''th''er'' ''''E''''''u''r''''''''o''''p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Europe</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71205409-34C9-1372-E05A-576E0477CFEC}"/>
              </a:ext>
            </a:extLst>
          </p:cNvPr>
          <p:cNvSpPr>
            <a:spLocks/>
          </p:cNvSpPr>
          <p:nvPr>
            <p:custDataLst>
              <p:tags r:id="rId17"/>
            </p:custDataLst>
          </p:nvPr>
        </p:nvSpPr>
        <p:spPr bwMode="auto">
          <a:xfrm>
            <a:off x="5238750" y="4687888"/>
            <a:ext cx="425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34D637-EEB9-421C-98DD-323FD06DA3E9}" type="datetime'''''''''''''''''''''''Ja''''p''''''''''a''''''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69FB07A3-9900-91E5-DFDD-98F80262C9CA}"/>
              </a:ext>
            </a:extLst>
          </p:cNvPr>
          <p:cNvSpPr>
            <a:spLocks/>
          </p:cNvSpPr>
          <p:nvPr>
            <p:custDataLst>
              <p:tags r:id="rId18"/>
            </p:custDataLst>
          </p:nvPr>
        </p:nvSpPr>
        <p:spPr bwMode="auto">
          <a:xfrm>
            <a:off x="6115050" y="4687888"/>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A837492-AD2D-46E4-A560-ABB69BBF8BA8}" type="datetime'''''R''''''''''''''''''''''''''''''''''o''''''''W'''''''''">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oW</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EB87A156-C3E5-4D12-130E-7282F898851C}"/>
              </a:ext>
            </a:extLst>
          </p:cNvPr>
          <p:cNvSpPr/>
          <p:nvPr>
            <p:custDataLst>
              <p:tags r:id="rId19"/>
            </p:custDataLst>
          </p:nvPr>
        </p:nvSpPr>
        <p:spPr bwMode="auto">
          <a:xfrm>
            <a:off x="5903913" y="2498725"/>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5F503E9-B9D9-21CB-F03E-C9D6664FDFB7}"/>
              </a:ext>
            </a:extLst>
          </p:cNvPr>
          <p:cNvSpPr/>
          <p:nvPr>
            <p:custDataLst>
              <p:tags r:id="rId20"/>
            </p:custDataLst>
          </p:nvPr>
        </p:nvSpPr>
        <p:spPr bwMode="auto">
          <a:xfrm>
            <a:off x="5903913" y="273208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3D63BB83-BF20-CD25-D278-659656005659}"/>
              </a:ext>
            </a:extLst>
          </p:cNvPr>
          <p:cNvSpPr>
            <a:spLocks/>
          </p:cNvSpPr>
          <p:nvPr>
            <p:custDataLst>
              <p:tags r:id="rId21"/>
            </p:custDataLst>
          </p:nvPr>
        </p:nvSpPr>
        <p:spPr bwMode="auto">
          <a:xfrm>
            <a:off x="6169025" y="249396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B80AD74-BE8B-40B5-9332-BBB4A95CE136}"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F8AD0A40-BA2C-1536-3AD4-31A33CD0A941}"/>
              </a:ext>
            </a:extLst>
          </p:cNvPr>
          <p:cNvSpPr>
            <a:spLocks/>
          </p:cNvSpPr>
          <p:nvPr>
            <p:custDataLst>
              <p:tags r:id="rId22"/>
            </p:custDataLst>
          </p:nvPr>
        </p:nvSpPr>
        <p:spPr bwMode="auto">
          <a:xfrm>
            <a:off x="6169025" y="27273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674F24-1900-4DEA-9BFC-8D58246BBDDD}" type="datetime'''2''0''''''''''''''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05289829-F530-2E4E-557C-C9A1239116BB}"/>
              </a:ext>
            </a:extLst>
          </p:cNvPr>
          <p:cNvSpPr txBox="1"/>
          <p:nvPr/>
        </p:nvSpPr>
        <p:spPr bwMode="gray">
          <a:xfrm>
            <a:off x="3358737" y="4932043"/>
            <a:ext cx="949023" cy="317500"/>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5C5C5C"/>
                </a:solidFill>
                <a:effectLst/>
                <a:uLnTx/>
                <a:uFillTx/>
                <a:latin typeface="Arial"/>
                <a:ea typeface="+mn-ea"/>
                <a:cs typeface="+mn-cs"/>
              </a:rPr>
              <a:t>Incl. Sweden, Germany, France</a:t>
            </a:r>
          </a:p>
        </p:txBody>
      </p:sp>
      <p:sp>
        <p:nvSpPr>
          <p:cNvPr id="33" name="TextBox 32">
            <a:extLst>
              <a:ext uri="{FF2B5EF4-FFF2-40B4-BE49-F238E27FC236}">
                <a16:creationId xmlns:a16="http://schemas.microsoft.com/office/drawing/2014/main" id="{CB876865-2842-BF62-B7D3-BDBD371D23CA}"/>
              </a:ext>
            </a:extLst>
          </p:cNvPr>
          <p:cNvSpPr txBox="1"/>
          <p:nvPr/>
        </p:nvSpPr>
        <p:spPr bwMode="gray">
          <a:xfrm>
            <a:off x="4221012" y="5013596"/>
            <a:ext cx="949023" cy="319088"/>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5C5C5C"/>
                </a:solidFill>
                <a:effectLst/>
                <a:uLnTx/>
                <a:uFillTx/>
                <a:latin typeface="Arial"/>
                <a:ea typeface="+mn-ea"/>
                <a:cs typeface="+mn-cs"/>
              </a:rPr>
              <a:t>Incl. Türkiye, Iceland, Norway</a:t>
            </a:r>
          </a:p>
        </p:txBody>
      </p:sp>
      <p:grpSp>
        <p:nvGrpSpPr>
          <p:cNvPr id="34" name="Group 33">
            <a:extLst>
              <a:ext uri="{FF2B5EF4-FFF2-40B4-BE49-F238E27FC236}">
                <a16:creationId xmlns:a16="http://schemas.microsoft.com/office/drawing/2014/main" id="{AA7BBBB5-A632-B883-4B35-B8CDE563C6CC}"/>
              </a:ext>
            </a:extLst>
          </p:cNvPr>
          <p:cNvGrpSpPr/>
          <p:nvPr/>
        </p:nvGrpSpPr>
        <p:grpSpPr>
          <a:xfrm>
            <a:off x="1775589" y="2935468"/>
            <a:ext cx="630293" cy="244475"/>
            <a:chOff x="1346002" y="2235879"/>
            <a:chExt cx="630293" cy="243907"/>
          </a:xfrm>
        </p:grpSpPr>
        <p:sp>
          <p:nvSpPr>
            <p:cNvPr id="35" name="Oval 34">
              <a:extLst>
                <a:ext uri="{FF2B5EF4-FFF2-40B4-BE49-F238E27FC236}">
                  <a16:creationId xmlns:a16="http://schemas.microsoft.com/office/drawing/2014/main" id="{6ABBA982-1C4C-AC7D-F6C1-35A7BB53B917}"/>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a:extLst>
                <a:ext uri="{FF2B5EF4-FFF2-40B4-BE49-F238E27FC236}">
                  <a16:creationId xmlns:a16="http://schemas.microsoft.com/office/drawing/2014/main" id="{DE398809-AB84-CAF2-9C72-7CFA2AC02E1A}"/>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2.0%</a:t>
              </a:r>
            </a:p>
          </p:txBody>
        </p:sp>
      </p:grpSp>
      <p:grpSp>
        <p:nvGrpSpPr>
          <p:cNvPr id="37" name="Group 36">
            <a:extLst>
              <a:ext uri="{FF2B5EF4-FFF2-40B4-BE49-F238E27FC236}">
                <a16:creationId xmlns:a16="http://schemas.microsoft.com/office/drawing/2014/main" id="{04831046-60BD-CE7D-BB78-D73663AD9053}"/>
              </a:ext>
            </a:extLst>
          </p:cNvPr>
          <p:cNvGrpSpPr/>
          <p:nvPr/>
        </p:nvGrpSpPr>
        <p:grpSpPr>
          <a:xfrm>
            <a:off x="2619347" y="4082559"/>
            <a:ext cx="630293" cy="242888"/>
            <a:chOff x="1346002" y="2235879"/>
            <a:chExt cx="630293" cy="243907"/>
          </a:xfrm>
        </p:grpSpPr>
        <p:sp>
          <p:nvSpPr>
            <p:cNvPr id="38" name="Oval 37">
              <a:extLst>
                <a:ext uri="{FF2B5EF4-FFF2-40B4-BE49-F238E27FC236}">
                  <a16:creationId xmlns:a16="http://schemas.microsoft.com/office/drawing/2014/main" id="{C2CEA9CA-7476-E755-9F64-A566CB25D255}"/>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B973CC34-A85C-0056-C1DE-6E833A31B06F}"/>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0.5%</a:t>
              </a:r>
            </a:p>
          </p:txBody>
        </p:sp>
      </p:grpSp>
      <p:grpSp>
        <p:nvGrpSpPr>
          <p:cNvPr id="40" name="Group 39">
            <a:extLst>
              <a:ext uri="{FF2B5EF4-FFF2-40B4-BE49-F238E27FC236}">
                <a16:creationId xmlns:a16="http://schemas.microsoft.com/office/drawing/2014/main" id="{EF5000CD-AE60-1ECA-1A9C-40FA150E4125}"/>
              </a:ext>
            </a:extLst>
          </p:cNvPr>
          <p:cNvGrpSpPr/>
          <p:nvPr/>
        </p:nvGrpSpPr>
        <p:grpSpPr>
          <a:xfrm>
            <a:off x="3477107" y="4082559"/>
            <a:ext cx="630293" cy="242888"/>
            <a:chOff x="1346002" y="2235879"/>
            <a:chExt cx="630293" cy="243907"/>
          </a:xfrm>
        </p:grpSpPr>
        <p:sp>
          <p:nvSpPr>
            <p:cNvPr id="41" name="Oval 40">
              <a:extLst>
                <a:ext uri="{FF2B5EF4-FFF2-40B4-BE49-F238E27FC236}">
                  <a16:creationId xmlns:a16="http://schemas.microsoft.com/office/drawing/2014/main" id="{C9378DCF-5F00-1838-B10E-1BDAA5E314C2}"/>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6555DD07-654E-F492-B6D1-9E6B14EA8D37}"/>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0.5%</a:t>
              </a:r>
            </a:p>
          </p:txBody>
        </p:sp>
      </p:grpSp>
      <p:grpSp>
        <p:nvGrpSpPr>
          <p:cNvPr id="43" name="Group 42">
            <a:extLst>
              <a:ext uri="{FF2B5EF4-FFF2-40B4-BE49-F238E27FC236}">
                <a16:creationId xmlns:a16="http://schemas.microsoft.com/office/drawing/2014/main" id="{0E9B3AB5-BCB4-620A-1986-960450314B9A}"/>
              </a:ext>
            </a:extLst>
          </p:cNvPr>
          <p:cNvGrpSpPr/>
          <p:nvPr/>
        </p:nvGrpSpPr>
        <p:grpSpPr>
          <a:xfrm>
            <a:off x="4296541" y="4089775"/>
            <a:ext cx="630293" cy="244475"/>
            <a:chOff x="1346002" y="2235879"/>
            <a:chExt cx="630293" cy="243907"/>
          </a:xfrm>
        </p:grpSpPr>
        <p:sp>
          <p:nvSpPr>
            <p:cNvPr id="44" name="Oval 43">
              <a:extLst>
                <a:ext uri="{FF2B5EF4-FFF2-40B4-BE49-F238E27FC236}">
                  <a16:creationId xmlns:a16="http://schemas.microsoft.com/office/drawing/2014/main" id="{10B89808-2A0E-683A-A99A-C14E719E253E}"/>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7C9C4799-78DC-B9D9-8D31-92A95C0F3DB0}"/>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5%</a:t>
              </a:r>
            </a:p>
          </p:txBody>
        </p:sp>
      </p:grpSp>
      <p:grpSp>
        <p:nvGrpSpPr>
          <p:cNvPr id="46" name="Group 45">
            <a:extLst>
              <a:ext uri="{FF2B5EF4-FFF2-40B4-BE49-F238E27FC236}">
                <a16:creationId xmlns:a16="http://schemas.microsoft.com/office/drawing/2014/main" id="{AC51351E-5B77-5603-B7CB-7882837A4327}"/>
              </a:ext>
            </a:extLst>
          </p:cNvPr>
          <p:cNvGrpSpPr/>
          <p:nvPr/>
        </p:nvGrpSpPr>
        <p:grpSpPr>
          <a:xfrm>
            <a:off x="5140120" y="4270148"/>
            <a:ext cx="630293" cy="242888"/>
            <a:chOff x="1346002" y="2235879"/>
            <a:chExt cx="630293" cy="243907"/>
          </a:xfrm>
        </p:grpSpPr>
        <p:sp>
          <p:nvSpPr>
            <p:cNvPr id="47" name="Oval 46">
              <a:extLst>
                <a:ext uri="{FF2B5EF4-FFF2-40B4-BE49-F238E27FC236}">
                  <a16:creationId xmlns:a16="http://schemas.microsoft.com/office/drawing/2014/main" id="{C897D4CF-45A0-9EC2-8E4D-1C00B71B171E}"/>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47">
              <a:extLst>
                <a:ext uri="{FF2B5EF4-FFF2-40B4-BE49-F238E27FC236}">
                  <a16:creationId xmlns:a16="http://schemas.microsoft.com/office/drawing/2014/main" id="{78D94C49-CB2F-E04E-7D90-0FE04B0E426A}"/>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0.2%</a:t>
              </a:r>
            </a:p>
          </p:txBody>
        </p:sp>
      </p:grpSp>
      <p:grpSp>
        <p:nvGrpSpPr>
          <p:cNvPr id="49" name="Group 48">
            <a:extLst>
              <a:ext uri="{FF2B5EF4-FFF2-40B4-BE49-F238E27FC236}">
                <a16:creationId xmlns:a16="http://schemas.microsoft.com/office/drawing/2014/main" id="{8FC28987-6F63-9D51-A7B6-2D485CE386AA}"/>
              </a:ext>
            </a:extLst>
          </p:cNvPr>
          <p:cNvGrpSpPr/>
          <p:nvPr/>
        </p:nvGrpSpPr>
        <p:grpSpPr>
          <a:xfrm>
            <a:off x="5973735" y="4283076"/>
            <a:ext cx="630293" cy="388938"/>
            <a:chOff x="1346002" y="2235879"/>
            <a:chExt cx="630293" cy="389138"/>
          </a:xfrm>
        </p:grpSpPr>
        <p:sp>
          <p:nvSpPr>
            <p:cNvPr id="50" name="Oval 49">
              <a:extLst>
                <a:ext uri="{FF2B5EF4-FFF2-40B4-BE49-F238E27FC236}">
                  <a16:creationId xmlns:a16="http://schemas.microsoft.com/office/drawing/2014/main" id="{B50F0DD0-F6D0-37E6-F092-D8616EC8E4AB}"/>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TextBox 50">
              <a:extLst>
                <a:ext uri="{FF2B5EF4-FFF2-40B4-BE49-F238E27FC236}">
                  <a16:creationId xmlns:a16="http://schemas.microsoft.com/office/drawing/2014/main" id="{86CDDD88-E723-DC0B-B15D-24CCF89C0E0D}"/>
                </a:ext>
              </a:extLst>
            </p:cNvPr>
            <p:cNvSpPr txBox="1"/>
            <p:nvPr/>
          </p:nvSpPr>
          <p:spPr bwMode="gray">
            <a:xfrm>
              <a:off x="1429903" y="2244537"/>
              <a:ext cx="462491" cy="380480"/>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lt;0.1%</a:t>
              </a:r>
            </a:p>
          </p:txBody>
        </p:sp>
      </p:grpSp>
      <p:grpSp>
        <p:nvGrpSpPr>
          <p:cNvPr id="52" name="Group 51">
            <a:extLst>
              <a:ext uri="{FF2B5EF4-FFF2-40B4-BE49-F238E27FC236}">
                <a16:creationId xmlns:a16="http://schemas.microsoft.com/office/drawing/2014/main" id="{AD6D3FEE-1745-1479-E273-CBA581839D7B}"/>
              </a:ext>
            </a:extLst>
          </p:cNvPr>
          <p:cNvGrpSpPr/>
          <p:nvPr/>
        </p:nvGrpSpPr>
        <p:grpSpPr>
          <a:xfrm>
            <a:off x="940566" y="2094903"/>
            <a:ext cx="630293" cy="242888"/>
            <a:chOff x="1346002" y="2235879"/>
            <a:chExt cx="630293" cy="243907"/>
          </a:xfrm>
        </p:grpSpPr>
        <p:sp>
          <p:nvSpPr>
            <p:cNvPr id="53" name="Oval 52">
              <a:extLst>
                <a:ext uri="{FF2B5EF4-FFF2-40B4-BE49-F238E27FC236}">
                  <a16:creationId xmlns:a16="http://schemas.microsoft.com/office/drawing/2014/main" id="{2F14A7A6-500F-A8AE-162F-8A013E8F9915}"/>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TextBox 53">
              <a:extLst>
                <a:ext uri="{FF2B5EF4-FFF2-40B4-BE49-F238E27FC236}">
                  <a16:creationId xmlns:a16="http://schemas.microsoft.com/office/drawing/2014/main" id="{D67AAE4F-22C9-7BA9-E008-A7B6A17A96EC}"/>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0.5%</a:t>
              </a:r>
            </a:p>
          </p:txBody>
        </p:sp>
      </p:grpSp>
      <p:grpSp>
        <p:nvGrpSpPr>
          <p:cNvPr id="55" name="Group 54">
            <a:extLst>
              <a:ext uri="{FF2B5EF4-FFF2-40B4-BE49-F238E27FC236}">
                <a16:creationId xmlns:a16="http://schemas.microsoft.com/office/drawing/2014/main" id="{CEF28581-42E9-8672-4F6A-4496738D16CC}"/>
              </a:ext>
            </a:extLst>
          </p:cNvPr>
          <p:cNvGrpSpPr/>
          <p:nvPr/>
        </p:nvGrpSpPr>
        <p:grpSpPr>
          <a:xfrm>
            <a:off x="6894456" y="2446379"/>
            <a:ext cx="630293" cy="244475"/>
            <a:chOff x="1346002" y="2235879"/>
            <a:chExt cx="630293" cy="243907"/>
          </a:xfrm>
        </p:grpSpPr>
        <p:sp>
          <p:nvSpPr>
            <p:cNvPr id="56" name="Oval 55">
              <a:extLst>
                <a:ext uri="{FF2B5EF4-FFF2-40B4-BE49-F238E27FC236}">
                  <a16:creationId xmlns:a16="http://schemas.microsoft.com/office/drawing/2014/main" id="{0DA3FA01-9426-43C5-8C5F-1B61981EA368}"/>
                </a:ext>
              </a:extLst>
            </p:cNvPr>
            <p:cNvSpPr/>
            <p:nvPr/>
          </p:nvSpPr>
          <p:spPr bwMode="gray">
            <a:xfrm>
              <a:off x="1346002" y="2235879"/>
              <a:ext cx="630293" cy="24390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Box 56">
              <a:extLst>
                <a:ext uri="{FF2B5EF4-FFF2-40B4-BE49-F238E27FC236}">
                  <a16:creationId xmlns:a16="http://schemas.microsoft.com/office/drawing/2014/main" id="{3318864F-2527-552A-F73E-384C2869F07F}"/>
                </a:ext>
              </a:extLst>
            </p:cNvPr>
            <p:cNvSpPr txBox="1"/>
            <p:nvPr/>
          </p:nvSpPr>
          <p:spPr bwMode="gray">
            <a:xfrm>
              <a:off x="1450925" y="2244537"/>
              <a:ext cx="420446"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xx%</a:t>
              </a:r>
            </a:p>
          </p:txBody>
        </p:sp>
      </p:grpSp>
      <p:sp>
        <p:nvSpPr>
          <p:cNvPr id="58" name="TextBox 57">
            <a:extLst>
              <a:ext uri="{FF2B5EF4-FFF2-40B4-BE49-F238E27FC236}">
                <a16:creationId xmlns:a16="http://schemas.microsoft.com/office/drawing/2014/main" id="{880328C2-6268-8CAA-F496-6C4E3D64EE0C}"/>
              </a:ext>
            </a:extLst>
          </p:cNvPr>
          <p:cNvSpPr txBox="1"/>
          <p:nvPr/>
        </p:nvSpPr>
        <p:spPr bwMode="gray">
          <a:xfrm>
            <a:off x="6829159" y="2759247"/>
            <a:ext cx="1111781" cy="688256"/>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 of geothermal </a:t>
            </a:r>
            <a:br>
              <a:rPr kumimoji="0" lang="en-US" sz="1000" b="0" i="1" u="none" strike="noStrike" kern="1200" cap="none" spc="0" normalizeH="0" baseline="0" noProof="0" dirty="0">
                <a:ln>
                  <a:noFill/>
                </a:ln>
                <a:solidFill>
                  <a:srgbClr val="000000"/>
                </a:solidFill>
                <a:effectLst/>
                <a:uLnTx/>
                <a:uFillTx/>
                <a:latin typeface="Arial"/>
                <a:ea typeface="+mn-ea"/>
                <a:cs typeface="+mn-cs"/>
              </a:rPr>
            </a:br>
            <a:r>
              <a:rPr kumimoji="0" lang="en-US" sz="1000" b="0" i="1" u="none" strike="noStrike" kern="1200" cap="none" spc="0" normalizeH="0" baseline="0" noProof="0" dirty="0">
                <a:ln>
                  <a:noFill/>
                </a:ln>
                <a:solidFill>
                  <a:srgbClr val="000000"/>
                </a:solidFill>
                <a:effectLst/>
                <a:uLnTx/>
                <a:uFillTx/>
                <a:latin typeface="Arial"/>
                <a:ea typeface="+mn-ea"/>
                <a:cs typeface="+mn-cs"/>
              </a:rPr>
              <a:t>to total heat consumption, by 2050</a:t>
            </a:r>
          </a:p>
        </p:txBody>
      </p:sp>
      <p:cxnSp>
        <p:nvCxnSpPr>
          <p:cNvPr id="65" name="Straight Connector 64">
            <a:extLst>
              <a:ext uri="{FF2B5EF4-FFF2-40B4-BE49-F238E27FC236}">
                <a16:creationId xmlns:a16="http://schemas.microsoft.com/office/drawing/2014/main" id="{E6C9D8EC-AC08-E6C8-CBED-5FF6B73BCDC8}"/>
              </a:ext>
            </a:extLst>
          </p:cNvPr>
          <p:cNvCxnSpPr/>
          <p:nvPr>
            <p:custDataLst>
              <p:tags r:id="rId23"/>
            </p:custDataLst>
          </p:nvPr>
        </p:nvCxnSpPr>
        <p:spPr bwMode="auto">
          <a:xfrm>
            <a:off x="8858250" y="2195513"/>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05F29F33-FB25-748C-A712-6B60F1D8A20C}"/>
              </a:ext>
            </a:extLst>
          </p:cNvPr>
          <p:cNvCxnSpPr/>
          <p:nvPr>
            <p:custDataLst>
              <p:tags r:id="rId24"/>
            </p:custDataLst>
          </p:nvPr>
        </p:nvCxnSpPr>
        <p:spPr bwMode="auto">
          <a:xfrm>
            <a:off x="9702800" y="4392613"/>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1E59AA8-702D-14E7-27C3-272F086CD0FF}"/>
              </a:ext>
            </a:extLst>
          </p:cNvPr>
          <p:cNvCxnSpPr/>
          <p:nvPr>
            <p:custDataLst>
              <p:tags r:id="rId25"/>
            </p:custDataLst>
          </p:nvPr>
        </p:nvCxnSpPr>
        <p:spPr bwMode="auto">
          <a:xfrm>
            <a:off x="10548938" y="4541838"/>
            <a:ext cx="3746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7703B124-C212-8439-F660-F94706627609}"/>
              </a:ext>
            </a:extLst>
          </p:cNvPr>
          <p:cNvGraphicFramePr/>
          <p:nvPr>
            <p:custDataLst>
              <p:tags r:id="rId26"/>
            </p:custDataLst>
          </p:nvPr>
        </p:nvGraphicFramePr>
        <p:xfrm>
          <a:off x="8116888" y="2112963"/>
          <a:ext cx="3546475" cy="2659062"/>
        </p:xfrm>
        <a:graphic>
          <a:graphicData uri="http://schemas.openxmlformats.org/drawingml/2006/chart">
            <c:chart xmlns:c="http://schemas.openxmlformats.org/drawingml/2006/chart" xmlns:r="http://schemas.openxmlformats.org/officeDocument/2006/relationships" r:id="rId41"/>
          </a:graphicData>
        </a:graphic>
      </p:graphicFrame>
      <p:sp>
        <p:nvSpPr>
          <p:cNvPr id="69" name="Text Placeholder 10">
            <a:extLst>
              <a:ext uri="{FF2B5EF4-FFF2-40B4-BE49-F238E27FC236}">
                <a16:creationId xmlns:a16="http://schemas.microsoft.com/office/drawing/2014/main" id="{204BA081-9174-B744-CC36-718FDB2A58F8}"/>
              </a:ext>
            </a:extLst>
          </p:cNvPr>
          <p:cNvSpPr>
            <a:spLocks/>
          </p:cNvSpPr>
          <p:nvPr>
            <p:custDataLst>
              <p:tags r:id="rId27"/>
            </p:custDataLst>
          </p:nvPr>
        </p:nvSpPr>
        <p:spPr bwMode="auto">
          <a:xfrm>
            <a:off x="8329613" y="4740275"/>
            <a:ext cx="5857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Total increase</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28D4F23B-3E62-16B4-0A2F-1CEDD7F14664}"/>
              </a:ext>
            </a:extLst>
          </p:cNvPr>
          <p:cNvSpPr>
            <a:spLocks/>
          </p:cNvSpPr>
          <p:nvPr>
            <p:custDataLst>
              <p:tags r:id="rId28"/>
            </p:custDataLst>
          </p:nvPr>
        </p:nvSpPr>
        <p:spPr bwMode="gray">
          <a:xfrm>
            <a:off x="9294813" y="32035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386F50-7BA9-4825-9489-1C6CD47DBD6F}" type="datetime'''''''''''''''''8''''''''''''''9''''''''''''''''''''''''''%'''">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9%</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089DE41F-52B8-E46E-658B-56961F757408}"/>
              </a:ext>
            </a:extLst>
          </p:cNvPr>
          <p:cNvSpPr>
            <a:spLocks/>
          </p:cNvSpPr>
          <p:nvPr>
            <p:custDataLst>
              <p:tags r:id="rId29"/>
            </p:custDataLst>
          </p:nvPr>
        </p:nvSpPr>
        <p:spPr bwMode="auto">
          <a:xfrm>
            <a:off x="9232900" y="4740275"/>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Res. &amp; comm.</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11FB3FCA-7CFA-0E01-27C4-3EAE7089F61C}"/>
              </a:ext>
            </a:extLst>
          </p:cNvPr>
          <p:cNvSpPr>
            <a:spLocks/>
          </p:cNvSpPr>
          <p:nvPr>
            <p:custDataLst>
              <p:tags r:id="rId30"/>
            </p:custDataLst>
          </p:nvPr>
        </p:nvSpPr>
        <p:spPr bwMode="gray">
          <a:xfrm>
            <a:off x="10180638" y="4376738"/>
            <a:ext cx="263525"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27EFA3-4CCC-4808-AAC4-87FE8B07AF30}" type="datetime'6''''''''''%'''''''''''''''''''''''''''''''''''''''''">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3" name="Text Placeholder 10">
            <a:extLst>
              <a:ext uri="{FF2B5EF4-FFF2-40B4-BE49-F238E27FC236}">
                <a16:creationId xmlns:a16="http://schemas.microsoft.com/office/drawing/2014/main" id="{2CDBF9DA-3438-AF43-41EF-B050608B461C}"/>
              </a:ext>
            </a:extLst>
          </p:cNvPr>
          <p:cNvSpPr>
            <a:spLocks/>
          </p:cNvSpPr>
          <p:nvPr>
            <p:custDataLst>
              <p:tags r:id="rId31"/>
            </p:custDataLst>
          </p:nvPr>
        </p:nvSpPr>
        <p:spPr bwMode="auto">
          <a:xfrm>
            <a:off x="10036175" y="4740275"/>
            <a:ext cx="5540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Industry &amp; other</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03F86320-4136-44E4-AB35-E12A346724FC}"/>
              </a:ext>
            </a:extLst>
          </p:cNvPr>
          <p:cNvSpPr>
            <a:spLocks/>
          </p:cNvSpPr>
          <p:nvPr>
            <p:custDataLst>
              <p:tags r:id="rId32"/>
            </p:custDataLst>
          </p:nvPr>
        </p:nvSpPr>
        <p:spPr bwMode="auto">
          <a:xfrm>
            <a:off x="10790238" y="4740275"/>
            <a:ext cx="738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Agriculture &amp; fishing</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 Placeholder 10">
            <a:extLst>
              <a:ext uri="{FF2B5EF4-FFF2-40B4-BE49-F238E27FC236}">
                <a16:creationId xmlns:a16="http://schemas.microsoft.com/office/drawing/2014/main" id="{2EE3772F-4829-B5D5-281C-C9952137E452}"/>
              </a:ext>
            </a:extLst>
          </p:cNvPr>
          <p:cNvSpPr>
            <a:spLocks/>
          </p:cNvSpPr>
          <p:nvPr>
            <p:custDataLst>
              <p:tags r:id="rId33"/>
            </p:custDataLst>
          </p:nvPr>
        </p:nvSpPr>
        <p:spPr bwMode="gray">
          <a:xfrm>
            <a:off x="11026775" y="43338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F6D9AF-88FC-4966-BA33-C17A82A812E0}" type="datetime'''''''''''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2758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245647-B0AC-32DC-0009-864C07E284B1}"/>
              </a:ext>
            </a:extLst>
          </p:cNvPr>
          <p:cNvGraphicFramePr>
            <a:graphicFrameLocks/>
          </p:cNvGraphicFramePr>
          <p:nvPr>
            <p:custDataLst>
              <p:tags r:id="rId1"/>
            </p:custDataLst>
            <p:extLst>
              <p:ext uri="{D42A27DB-BD31-4B8C-83A1-F6EECF244321}">
                <p14:modId xmlns:p14="http://schemas.microsoft.com/office/powerpoint/2010/main" val="2192259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0" name=""/>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CEB8011-BC1E-EB97-E088-F481A01584A2}"/>
              </a:ext>
            </a:extLst>
          </p:cNvPr>
          <p:cNvSpPr>
            <a:spLocks noGrp="1"/>
          </p:cNvSpPr>
          <p:nvPr>
            <p:ph type="title"/>
          </p:nvPr>
        </p:nvSpPr>
        <p:spPr/>
        <p:txBody>
          <a:bodyPr vert="horz" rIns="91440"/>
          <a:lstStyle/>
          <a:p>
            <a:r>
              <a:rPr lang="en-US" dirty="0"/>
              <a:t>Geothermal represents 43% of Kenya’s 2024 electricity generation; unlocking superhot rock potential will dwarf existing capacity</a:t>
            </a:r>
          </a:p>
        </p:txBody>
      </p:sp>
      <p:sp>
        <p:nvSpPr>
          <p:cNvPr id="6" name="Footer Placeholder 5">
            <a:extLst>
              <a:ext uri="{FF2B5EF4-FFF2-40B4-BE49-F238E27FC236}">
                <a16:creationId xmlns:a16="http://schemas.microsoft.com/office/drawing/2014/main" id="{0624D26D-F508-BC10-7CD2-8ABA5AC7B62D}"/>
              </a:ext>
            </a:extLst>
          </p:cNvPr>
          <p:cNvSpPr>
            <a:spLocks noGrp="1"/>
          </p:cNvSpPr>
          <p:nvPr>
            <p:ph type="ftr" sz="quarter" idx="3"/>
          </p:nvPr>
        </p:nvSpPr>
        <p:spPr>
          <a:xfrm>
            <a:off x="334962" y="6307361"/>
            <a:ext cx="9147241" cy="216706"/>
          </a:xfrm>
        </p:spPr>
        <p:txBody>
          <a:bodyPr/>
          <a:lstStyle/>
          <a:p>
            <a:pPr>
              <a:defRPr/>
            </a:pPr>
            <a:r>
              <a:rPr lang="en-US" dirty="0">
                <a:solidFill>
                  <a:srgbClr val="000000"/>
                </a:solidFill>
              </a:rPr>
              <a:t>Sources: </a:t>
            </a:r>
            <a:r>
              <a:rPr lang="en-US" dirty="0">
                <a:solidFill>
                  <a:srgbClr val="000000"/>
                </a:solidFill>
                <a:hlinkClick r:id="rId14"/>
              </a:rPr>
              <a:t>Kenya geothermal energy</a:t>
            </a:r>
            <a:r>
              <a:rPr lang="en-US" dirty="0">
                <a:solidFill>
                  <a:srgbClr val="000000"/>
                </a:solidFill>
              </a:rPr>
              <a:t> (Reasons to Be Cheerful, 2022); </a:t>
            </a:r>
            <a:r>
              <a:rPr lang="en-US" dirty="0">
                <a:solidFill>
                  <a:srgbClr val="000000"/>
                </a:solidFill>
                <a:hlinkClick r:id="rId15"/>
              </a:rPr>
              <a:t>10 years in Kenya – the geothermal success story of GEG</a:t>
            </a:r>
            <a:r>
              <a:rPr lang="en-US" dirty="0">
                <a:solidFill>
                  <a:srgbClr val="000000"/>
                </a:solidFill>
              </a:rPr>
              <a:t> (</a:t>
            </a:r>
            <a:r>
              <a:rPr lang="en-US" dirty="0" err="1">
                <a:solidFill>
                  <a:srgbClr val="000000"/>
                </a:solidFill>
              </a:rPr>
              <a:t>ThinkGeoEnergy</a:t>
            </a:r>
            <a:r>
              <a:rPr lang="en-US" dirty="0">
                <a:solidFill>
                  <a:srgbClr val="000000"/>
                </a:solidFill>
              </a:rPr>
              <a:t>, 2021); </a:t>
            </a:r>
            <a:r>
              <a:rPr lang="en-US" dirty="0">
                <a:solidFill>
                  <a:srgbClr val="45647B"/>
                </a:solidFill>
                <a:hlinkClick r:id="rId16">
                  <a:extLst>
                    <a:ext uri="{A12FA001-AC4F-418D-AE19-62706E023703}">
                      <ahyp:hlinkClr xmlns:ahyp="http://schemas.microsoft.com/office/drawing/2018/hyperlinkcolor" val="tx"/>
                    </a:ext>
                  </a:extLst>
                </a:hlinkClick>
              </a:rPr>
              <a:t>The Role of Geothermal in Energy Mix: Kenya’s Case Study</a:t>
            </a:r>
            <a:r>
              <a:rPr lang="en-US" dirty="0">
                <a:solidFill>
                  <a:srgbClr val="45647B"/>
                </a:solidFill>
              </a:rPr>
              <a:t> </a:t>
            </a:r>
            <a:r>
              <a:rPr lang="en-US" dirty="0">
                <a:solidFill>
                  <a:schemeClr val="tx1"/>
                </a:solidFill>
              </a:rPr>
              <a:t>(Xavier </a:t>
            </a:r>
            <a:r>
              <a:rPr lang="en-US" dirty="0" err="1">
                <a:solidFill>
                  <a:schemeClr val="tx1"/>
                </a:solidFill>
              </a:rPr>
              <a:t>Shioya</a:t>
            </a:r>
            <a:r>
              <a:rPr lang="en-US" dirty="0">
                <a:solidFill>
                  <a:schemeClr val="tx1"/>
                </a:solidFill>
              </a:rPr>
              <a:t> </a:t>
            </a:r>
            <a:r>
              <a:rPr lang="en-US" dirty="0" err="1">
                <a:solidFill>
                  <a:schemeClr val="tx1"/>
                </a:solidFill>
              </a:rPr>
              <a:t>Musonye</a:t>
            </a:r>
            <a:r>
              <a:rPr lang="en-US" dirty="0">
                <a:solidFill>
                  <a:schemeClr val="tx1"/>
                </a:solidFill>
              </a:rPr>
              <a:t>, 2022); </a:t>
            </a:r>
            <a:r>
              <a:rPr lang="en-US" dirty="0">
                <a:solidFill>
                  <a:srgbClr val="45647B"/>
                </a:solidFill>
                <a:hlinkClick r:id="rId17">
                  <a:extLst>
                    <a:ext uri="{A12FA001-AC4F-418D-AE19-62706E023703}">
                      <ahyp:hlinkClr xmlns:ahyp="http://schemas.microsoft.com/office/drawing/2018/hyperlinkcolor" val="tx"/>
                    </a:ext>
                  </a:extLst>
                </a:hlinkClick>
              </a:rPr>
              <a:t>An overview of geothermal energy in Kenya</a:t>
            </a:r>
            <a:r>
              <a:rPr lang="en-US" dirty="0">
                <a:solidFill>
                  <a:srgbClr val="45647B"/>
                </a:solidFill>
              </a:rPr>
              <a:t> </a:t>
            </a:r>
            <a:r>
              <a:rPr lang="en-US" dirty="0">
                <a:solidFill>
                  <a:schemeClr val="tx1"/>
                </a:solidFill>
              </a:rPr>
              <a:t>(University of Nairobi, 2009).</a:t>
            </a:r>
          </a:p>
          <a:p>
            <a:pPr>
              <a:defRPr/>
            </a:pPr>
            <a:r>
              <a:rPr lang="en-US" dirty="0">
                <a:solidFill>
                  <a:srgbClr val="000000"/>
                </a:solidFill>
              </a:rPr>
              <a:t>Credit: Zacharia Thurston, Shubhangi Prasad, and </a:t>
            </a:r>
            <a:r>
              <a:rPr lang="en-US" dirty="0">
                <a:hlinkClick r:id="rId18"/>
              </a:rPr>
              <a:t>Gernot Wagner.</a:t>
            </a:r>
            <a:r>
              <a:rPr lang="en-US" dirty="0">
                <a:solidFill>
                  <a:srgbClr val="000000"/>
                </a:solidFill>
              </a:rPr>
              <a:t> </a:t>
            </a:r>
            <a:r>
              <a:rPr lang="en-US" dirty="0">
                <a:hlinkClick r:id="rId1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4ABFACED-421D-DD13-249C-EE617BE32347}"/>
              </a:ext>
            </a:extLst>
          </p:cNvPr>
          <p:cNvSpPr>
            <a:spLocks noGrp="1"/>
          </p:cNvSpPr>
          <p:nvPr>
            <p:ph type="body" sz="quarter" idx="13"/>
          </p:nvPr>
        </p:nvSpPr>
        <p:spPr/>
        <p:txBody>
          <a:bodyPr/>
          <a:lstStyle/>
          <a:p>
            <a:r>
              <a:rPr lang="en-US" sz="1200" dirty="0"/>
              <a:t>Kenya’s adoption of geothermal power and favorable policies revolutionized its national electricity mix</a:t>
            </a:r>
          </a:p>
        </p:txBody>
      </p:sp>
      <p:sp>
        <p:nvSpPr>
          <p:cNvPr id="8" name="Text Placeholder 7">
            <a:extLst>
              <a:ext uri="{FF2B5EF4-FFF2-40B4-BE49-F238E27FC236}">
                <a16:creationId xmlns:a16="http://schemas.microsoft.com/office/drawing/2014/main" id="{E1948D20-5DCB-0580-05BD-1C0793B46256}"/>
              </a:ext>
            </a:extLst>
          </p:cNvPr>
          <p:cNvSpPr>
            <a:spLocks noGrp="1"/>
          </p:cNvSpPr>
          <p:nvPr>
            <p:ph type="body" sz="quarter" idx="16"/>
          </p:nvPr>
        </p:nvSpPr>
        <p:spPr/>
        <p:txBody>
          <a:bodyPr/>
          <a:lstStyle/>
          <a:p>
            <a:r>
              <a:rPr lang="en-US" sz="1200" dirty="0"/>
              <a:t>Tapping into Kenya’s superhot rock potential could produce 130x Nairobi’s energy demand, far surpassing current hydrothermal capacity</a:t>
            </a:r>
          </a:p>
        </p:txBody>
      </p:sp>
      <p:sp>
        <p:nvSpPr>
          <p:cNvPr id="9" name="Text Placeholder 1">
            <a:extLst>
              <a:ext uri="{FF2B5EF4-FFF2-40B4-BE49-F238E27FC236}">
                <a16:creationId xmlns:a16="http://schemas.microsoft.com/office/drawing/2014/main" id="{886BF901-16C6-F9B7-0CE9-25513B7B01A9}"/>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Kenya</a:t>
            </a:r>
          </a:p>
        </p:txBody>
      </p:sp>
      <p:sp>
        <p:nvSpPr>
          <p:cNvPr id="11" name="Rectangle 10">
            <a:extLst>
              <a:ext uri="{FF2B5EF4-FFF2-40B4-BE49-F238E27FC236}">
                <a16:creationId xmlns:a16="http://schemas.microsoft.com/office/drawing/2014/main" id="{016E8BB6-D7C2-90B3-55F1-E18F4A8D5006}"/>
              </a:ext>
            </a:extLst>
          </p:cNvPr>
          <p:cNvSpPr/>
          <p:nvPr/>
        </p:nvSpPr>
        <p:spPr bwMode="gray">
          <a:xfrm>
            <a:off x="9898062" y="2573338"/>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3F188DED-F662-EAAF-F91F-5C391D87C8AA}"/>
              </a:ext>
            </a:extLst>
          </p:cNvPr>
          <p:cNvSpPr/>
          <p:nvPr/>
        </p:nvSpPr>
        <p:spPr bwMode="gray">
          <a:xfrm>
            <a:off x="10072688" y="2566988"/>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13" name="Rectangle 12">
            <a:extLst>
              <a:ext uri="{FF2B5EF4-FFF2-40B4-BE49-F238E27FC236}">
                <a16:creationId xmlns:a16="http://schemas.microsoft.com/office/drawing/2014/main" id="{168EABA6-FDEF-E64B-27A8-27E619DDC06C}"/>
              </a:ext>
            </a:extLst>
          </p:cNvPr>
          <p:cNvSpPr/>
          <p:nvPr/>
        </p:nvSpPr>
        <p:spPr bwMode="gray">
          <a:xfrm>
            <a:off x="9898062" y="2698750"/>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C98DAB44-4CDE-9E80-5857-D0419E12446B}"/>
              </a:ext>
            </a:extLst>
          </p:cNvPr>
          <p:cNvSpPr/>
          <p:nvPr/>
        </p:nvSpPr>
        <p:spPr bwMode="gray">
          <a:xfrm>
            <a:off x="10072688" y="2693988"/>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15" name="Rectangle 14">
            <a:extLst>
              <a:ext uri="{FF2B5EF4-FFF2-40B4-BE49-F238E27FC236}">
                <a16:creationId xmlns:a16="http://schemas.microsoft.com/office/drawing/2014/main" id="{2896EA78-927A-5FAE-3A29-57F11B74296F}"/>
              </a:ext>
            </a:extLst>
          </p:cNvPr>
          <p:cNvSpPr/>
          <p:nvPr/>
        </p:nvSpPr>
        <p:spPr bwMode="gray">
          <a:xfrm>
            <a:off x="9898062" y="2824163"/>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7BC02B27-80D5-25D7-874D-4C1FB7BABA85}"/>
              </a:ext>
            </a:extLst>
          </p:cNvPr>
          <p:cNvSpPr/>
          <p:nvPr/>
        </p:nvSpPr>
        <p:spPr bwMode="gray">
          <a:xfrm>
            <a:off x="10072688" y="2819400"/>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17" name="Rectangle 16">
            <a:extLst>
              <a:ext uri="{FF2B5EF4-FFF2-40B4-BE49-F238E27FC236}">
                <a16:creationId xmlns:a16="http://schemas.microsoft.com/office/drawing/2014/main" id="{F4481801-67D4-D261-4B6C-291F8B552D30}"/>
              </a:ext>
            </a:extLst>
          </p:cNvPr>
          <p:cNvSpPr/>
          <p:nvPr/>
        </p:nvSpPr>
        <p:spPr bwMode="gray">
          <a:xfrm>
            <a:off x="9898062" y="2955925"/>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FCF1D0A7-A327-3BDD-497E-6DE0E91F3C72}"/>
              </a:ext>
            </a:extLst>
          </p:cNvPr>
          <p:cNvSpPr/>
          <p:nvPr/>
        </p:nvSpPr>
        <p:spPr bwMode="gray">
          <a:xfrm>
            <a:off x="10072688" y="2949575"/>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19" name="Right Brace 18">
            <a:extLst>
              <a:ext uri="{FF2B5EF4-FFF2-40B4-BE49-F238E27FC236}">
                <a16:creationId xmlns:a16="http://schemas.microsoft.com/office/drawing/2014/main" id="{7794D41F-999C-8C4C-026E-5119E3AC2594}"/>
              </a:ext>
            </a:extLst>
          </p:cNvPr>
          <p:cNvSpPr/>
          <p:nvPr/>
        </p:nvSpPr>
        <p:spPr bwMode="gray">
          <a:xfrm>
            <a:off x="10506075" y="4005264"/>
            <a:ext cx="384175" cy="1743075"/>
          </a:xfrm>
          <a:prstGeom prst="rightBrace">
            <a:avLst>
              <a:gd name="adj1" fmla="val 0"/>
              <a:gd name="adj2" fmla="val 50000"/>
            </a:avLst>
          </a:prstGeom>
          <a:ln>
            <a:tailEnd type="none" w="med" len="lg"/>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3F8379EF-257C-884D-EBBC-4DF1B96FD7EA}"/>
              </a:ext>
            </a:extLst>
          </p:cNvPr>
          <p:cNvSpPr/>
          <p:nvPr/>
        </p:nvSpPr>
        <p:spPr bwMode="gray">
          <a:xfrm>
            <a:off x="10890250" y="4683125"/>
            <a:ext cx="854075" cy="465138"/>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accent5"/>
                </a:solidFill>
              </a:rPr>
              <a:t>Excess of 1,209,299 GWh </a:t>
            </a:r>
          </a:p>
        </p:txBody>
      </p:sp>
      <p:sp>
        <p:nvSpPr>
          <p:cNvPr id="21" name="Rectangle 20">
            <a:extLst>
              <a:ext uri="{FF2B5EF4-FFF2-40B4-BE49-F238E27FC236}">
                <a16:creationId xmlns:a16="http://schemas.microsoft.com/office/drawing/2014/main" id="{AC0BBACB-658F-7AD3-121E-07C48F5AE425}"/>
              </a:ext>
            </a:extLst>
          </p:cNvPr>
          <p:cNvSpPr/>
          <p:nvPr/>
        </p:nvSpPr>
        <p:spPr bwMode="gray">
          <a:xfrm>
            <a:off x="10929938" y="5233988"/>
            <a:ext cx="812800" cy="996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Ability to power Nairobi</a:t>
            </a:r>
          </a:p>
          <a:p>
            <a:pPr marL="0" indent="0">
              <a:spcBef>
                <a:spcPts val="0"/>
              </a:spcBef>
              <a:buNone/>
            </a:pPr>
            <a:r>
              <a:rPr lang="en-US" sz="1200" b="1" i="1" dirty="0">
                <a:solidFill>
                  <a:schemeClr val="tx1"/>
                </a:solidFill>
              </a:rPr>
              <a:t>130x </a:t>
            </a:r>
            <a:r>
              <a:rPr lang="en-US" sz="900" i="1" dirty="0">
                <a:solidFill>
                  <a:schemeClr val="tx1"/>
                </a:solidFill>
              </a:rPr>
              <a:t>over</a:t>
            </a:r>
          </a:p>
        </p:txBody>
      </p:sp>
      <p:sp>
        <p:nvSpPr>
          <p:cNvPr id="22" name="Rectangle 21">
            <a:extLst>
              <a:ext uri="{FF2B5EF4-FFF2-40B4-BE49-F238E27FC236}">
                <a16:creationId xmlns:a16="http://schemas.microsoft.com/office/drawing/2014/main" id="{2402D38F-92F4-4C7E-22D9-4E1F9C854F6F}"/>
              </a:ext>
            </a:extLst>
          </p:cNvPr>
          <p:cNvSpPr/>
          <p:nvPr/>
        </p:nvSpPr>
        <p:spPr bwMode="gray">
          <a:xfrm>
            <a:off x="10910888" y="4038600"/>
            <a:ext cx="812800" cy="996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Equivalent to</a:t>
            </a:r>
          </a:p>
          <a:p>
            <a:pPr marL="0" indent="0">
              <a:spcBef>
                <a:spcPts val="0"/>
              </a:spcBef>
              <a:buNone/>
            </a:pPr>
            <a:r>
              <a:rPr lang="en-US" sz="1100" b="1" i="1" dirty="0">
                <a:solidFill>
                  <a:schemeClr val="tx1"/>
                </a:solidFill>
              </a:rPr>
              <a:t>643M</a:t>
            </a:r>
          </a:p>
          <a:p>
            <a:pPr marL="0" indent="0">
              <a:spcBef>
                <a:spcPts val="0"/>
              </a:spcBef>
              <a:buNone/>
            </a:pPr>
            <a:r>
              <a:rPr lang="en-US" sz="900" b="1" i="1" dirty="0">
                <a:solidFill>
                  <a:schemeClr val="tx1"/>
                </a:solidFill>
              </a:rPr>
              <a:t>barrels of oil </a:t>
            </a:r>
            <a:r>
              <a:rPr lang="en-US" sz="600" b="1" i="1" dirty="0">
                <a:solidFill>
                  <a:schemeClr val="tx1"/>
                </a:solidFill>
              </a:rPr>
              <a:t> </a:t>
            </a:r>
          </a:p>
        </p:txBody>
      </p:sp>
      <p:grpSp>
        <p:nvGrpSpPr>
          <p:cNvPr id="23" name="Group 22">
            <a:extLst>
              <a:ext uri="{FF2B5EF4-FFF2-40B4-BE49-F238E27FC236}">
                <a16:creationId xmlns:a16="http://schemas.microsoft.com/office/drawing/2014/main" id="{5B950D2C-59D3-603E-91CC-A6B29AE2AE9C}"/>
              </a:ext>
            </a:extLst>
          </p:cNvPr>
          <p:cNvGrpSpPr>
            <a:grpSpLocks noChangeAspect="1"/>
          </p:cNvGrpSpPr>
          <p:nvPr/>
        </p:nvGrpSpPr>
        <p:grpSpPr>
          <a:xfrm>
            <a:off x="6918326" y="2190750"/>
            <a:ext cx="2501279" cy="3136900"/>
            <a:chOff x="1916113" y="1233488"/>
            <a:chExt cx="4233862" cy="5167312"/>
          </a:xfrm>
          <a:noFill/>
        </p:grpSpPr>
        <p:sp>
          <p:nvSpPr>
            <p:cNvPr id="24" name="Freeform 20">
              <a:extLst>
                <a:ext uri="{FF2B5EF4-FFF2-40B4-BE49-F238E27FC236}">
                  <a16:creationId xmlns:a16="http://schemas.microsoft.com/office/drawing/2014/main" id="{B39D78D9-AF85-3C2F-924C-D54EF09A770E}"/>
                </a:ext>
              </a:extLst>
            </p:cNvPr>
            <p:cNvSpPr>
              <a:spLocks/>
            </p:cNvSpPr>
            <p:nvPr/>
          </p:nvSpPr>
          <p:spPr bwMode="auto">
            <a:xfrm>
              <a:off x="3336925" y="4525963"/>
              <a:ext cx="246062" cy="152400"/>
            </a:xfrm>
            <a:custGeom>
              <a:avLst/>
              <a:gdLst>
                <a:gd name="T0" fmla="*/ 259574773 w 155"/>
                <a:gd name="T1" fmla="*/ 229335013 h 96"/>
                <a:gd name="T2" fmla="*/ 221773299 w 155"/>
                <a:gd name="T3" fmla="*/ 186491563 h 96"/>
                <a:gd name="T4" fmla="*/ 259574773 w 155"/>
                <a:gd name="T5" fmla="*/ 151209375 h 96"/>
                <a:gd name="T6" fmla="*/ 282256926 w 155"/>
                <a:gd name="T7" fmla="*/ 151209375 h 96"/>
                <a:gd name="T8" fmla="*/ 282256926 w 155"/>
                <a:gd name="T9" fmla="*/ 113407825 h 96"/>
                <a:gd name="T10" fmla="*/ 337700251 w 155"/>
                <a:gd name="T11" fmla="*/ 120967500 h 96"/>
                <a:gd name="T12" fmla="*/ 355340515 w 155"/>
                <a:gd name="T13" fmla="*/ 126007813 h 96"/>
                <a:gd name="T14" fmla="*/ 390622631 w 155"/>
                <a:gd name="T15" fmla="*/ 90725625 h 96"/>
                <a:gd name="T16" fmla="*/ 372982367 w 155"/>
                <a:gd name="T17" fmla="*/ 65524063 h 96"/>
                <a:gd name="T18" fmla="*/ 360380818 w 155"/>
                <a:gd name="T19" fmla="*/ 47883763 h 96"/>
                <a:gd name="T20" fmla="*/ 330139004 w 155"/>
                <a:gd name="T21" fmla="*/ 52924075 h 96"/>
                <a:gd name="T22" fmla="*/ 312498740 w 155"/>
                <a:gd name="T23" fmla="*/ 73085325 h 96"/>
                <a:gd name="T24" fmla="*/ 241934508 w 155"/>
                <a:gd name="T25" fmla="*/ 52924075 h 96"/>
                <a:gd name="T26" fmla="*/ 252015113 w 155"/>
                <a:gd name="T27" fmla="*/ 17641888 h 96"/>
                <a:gd name="T28" fmla="*/ 229332959 w 155"/>
                <a:gd name="T29" fmla="*/ 0 h 96"/>
                <a:gd name="T30" fmla="*/ 211692695 w 155"/>
                <a:gd name="T31" fmla="*/ 30241875 h 96"/>
                <a:gd name="T32" fmla="*/ 168849332 w 155"/>
                <a:gd name="T33" fmla="*/ 47883763 h 96"/>
                <a:gd name="T34" fmla="*/ 120967254 w 155"/>
                <a:gd name="T35" fmla="*/ 30241875 h 96"/>
                <a:gd name="T36" fmla="*/ 113406007 w 155"/>
                <a:gd name="T37" fmla="*/ 52924075 h 96"/>
                <a:gd name="T38" fmla="*/ 90725441 w 155"/>
                <a:gd name="T39" fmla="*/ 65524063 h 96"/>
                <a:gd name="T40" fmla="*/ 40322418 w 155"/>
                <a:gd name="T41" fmla="*/ 90725625 h 96"/>
                <a:gd name="T42" fmla="*/ 0 w 155"/>
                <a:gd name="T43" fmla="*/ 133569075 h 96"/>
                <a:gd name="T44" fmla="*/ 70564232 w 155"/>
                <a:gd name="T45" fmla="*/ 199093138 h 96"/>
                <a:gd name="T46" fmla="*/ 138607518 w 155"/>
                <a:gd name="T47" fmla="*/ 194052825 h 96"/>
                <a:gd name="T48" fmla="*/ 204131448 w 155"/>
                <a:gd name="T49" fmla="*/ 229335013 h 96"/>
                <a:gd name="T50" fmla="*/ 252015113 w 155"/>
                <a:gd name="T51" fmla="*/ 241935000 h 96"/>
                <a:gd name="T52" fmla="*/ 259574773 w 155"/>
                <a:gd name="T53" fmla="*/ 229335013 h 9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55" h="96">
                  <a:moveTo>
                    <a:pt x="103" y="91"/>
                  </a:moveTo>
                  <a:lnTo>
                    <a:pt x="88" y="74"/>
                  </a:lnTo>
                  <a:lnTo>
                    <a:pt x="103" y="60"/>
                  </a:lnTo>
                  <a:lnTo>
                    <a:pt x="112" y="60"/>
                  </a:lnTo>
                  <a:lnTo>
                    <a:pt x="112" y="45"/>
                  </a:lnTo>
                  <a:lnTo>
                    <a:pt x="134" y="48"/>
                  </a:lnTo>
                  <a:lnTo>
                    <a:pt x="141" y="50"/>
                  </a:lnTo>
                  <a:lnTo>
                    <a:pt x="155" y="36"/>
                  </a:lnTo>
                  <a:lnTo>
                    <a:pt x="148" y="26"/>
                  </a:lnTo>
                  <a:lnTo>
                    <a:pt x="143" y="19"/>
                  </a:lnTo>
                  <a:lnTo>
                    <a:pt x="131" y="21"/>
                  </a:lnTo>
                  <a:lnTo>
                    <a:pt x="124" y="29"/>
                  </a:lnTo>
                  <a:lnTo>
                    <a:pt x="96" y="21"/>
                  </a:lnTo>
                  <a:lnTo>
                    <a:pt x="100" y="7"/>
                  </a:lnTo>
                  <a:lnTo>
                    <a:pt x="91" y="0"/>
                  </a:lnTo>
                  <a:lnTo>
                    <a:pt x="84" y="12"/>
                  </a:lnTo>
                  <a:lnTo>
                    <a:pt x="67" y="19"/>
                  </a:lnTo>
                  <a:lnTo>
                    <a:pt x="48" y="12"/>
                  </a:lnTo>
                  <a:lnTo>
                    <a:pt x="45" y="21"/>
                  </a:lnTo>
                  <a:lnTo>
                    <a:pt x="36" y="26"/>
                  </a:lnTo>
                  <a:lnTo>
                    <a:pt x="16" y="36"/>
                  </a:lnTo>
                  <a:lnTo>
                    <a:pt x="0" y="53"/>
                  </a:lnTo>
                  <a:lnTo>
                    <a:pt x="28" y="79"/>
                  </a:lnTo>
                  <a:lnTo>
                    <a:pt x="55" y="77"/>
                  </a:lnTo>
                  <a:lnTo>
                    <a:pt x="81" y="91"/>
                  </a:lnTo>
                  <a:lnTo>
                    <a:pt x="100" y="96"/>
                  </a:lnTo>
                  <a:lnTo>
                    <a:pt x="103" y="91"/>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25" name="Freeform 21">
              <a:extLst>
                <a:ext uri="{FF2B5EF4-FFF2-40B4-BE49-F238E27FC236}">
                  <a16:creationId xmlns:a16="http://schemas.microsoft.com/office/drawing/2014/main" id="{2A1FD9AF-6CC5-CA00-0F98-32322109FFD3}"/>
                </a:ext>
              </a:extLst>
            </p:cNvPr>
            <p:cNvSpPr>
              <a:spLocks/>
            </p:cNvSpPr>
            <p:nvPr/>
          </p:nvSpPr>
          <p:spPr bwMode="auto">
            <a:xfrm>
              <a:off x="2354263" y="4125913"/>
              <a:ext cx="155575" cy="258763"/>
            </a:xfrm>
            <a:custGeom>
              <a:avLst/>
              <a:gdLst>
                <a:gd name="T0" fmla="*/ 224294700 w 98"/>
                <a:gd name="T1" fmla="*/ 90725800 h 163"/>
                <a:gd name="T2" fmla="*/ 204133450 w 98"/>
                <a:gd name="T3" fmla="*/ 73085466 h 163"/>
                <a:gd name="T4" fmla="*/ 211693125 w 98"/>
                <a:gd name="T5" fmla="*/ 22682244 h 163"/>
                <a:gd name="T6" fmla="*/ 194052825 w 98"/>
                <a:gd name="T7" fmla="*/ 0 h 163"/>
                <a:gd name="T8" fmla="*/ 173891575 w 98"/>
                <a:gd name="T9" fmla="*/ 22682244 h 163"/>
                <a:gd name="T10" fmla="*/ 113407825 w 98"/>
                <a:gd name="T11" fmla="*/ 52924177 h 163"/>
                <a:gd name="T12" fmla="*/ 60483750 w 98"/>
                <a:gd name="T13" fmla="*/ 83166111 h 163"/>
                <a:gd name="T14" fmla="*/ 65524063 w 98"/>
                <a:gd name="T15" fmla="*/ 103327400 h 163"/>
                <a:gd name="T16" fmla="*/ 78125638 w 98"/>
                <a:gd name="T17" fmla="*/ 168851589 h 163"/>
                <a:gd name="T18" fmla="*/ 42843450 w 98"/>
                <a:gd name="T19" fmla="*/ 168851589 h 163"/>
                <a:gd name="T20" fmla="*/ 47883763 w 98"/>
                <a:gd name="T21" fmla="*/ 216733856 h 163"/>
                <a:gd name="T22" fmla="*/ 22682200 w 98"/>
                <a:gd name="T23" fmla="*/ 216733856 h 163"/>
                <a:gd name="T24" fmla="*/ 0 w 98"/>
                <a:gd name="T25" fmla="*/ 229335456 h 163"/>
                <a:gd name="T26" fmla="*/ 47883763 w 98"/>
                <a:gd name="T27" fmla="*/ 264617711 h 163"/>
                <a:gd name="T28" fmla="*/ 138609388 w 98"/>
                <a:gd name="T29" fmla="*/ 320061256 h 163"/>
                <a:gd name="T30" fmla="*/ 186491563 w 98"/>
                <a:gd name="T31" fmla="*/ 410787056 h 163"/>
                <a:gd name="T32" fmla="*/ 194052825 w 98"/>
                <a:gd name="T33" fmla="*/ 385585445 h 163"/>
                <a:gd name="T34" fmla="*/ 234375325 w 98"/>
                <a:gd name="T35" fmla="*/ 355343512 h 163"/>
                <a:gd name="T36" fmla="*/ 246975313 w 98"/>
                <a:gd name="T37" fmla="*/ 337701590 h 163"/>
                <a:gd name="T38" fmla="*/ 241935000 w 98"/>
                <a:gd name="T39" fmla="*/ 294859645 h 163"/>
                <a:gd name="T40" fmla="*/ 224294700 w 98"/>
                <a:gd name="T41" fmla="*/ 272177401 h 163"/>
                <a:gd name="T42" fmla="*/ 234375325 w 98"/>
                <a:gd name="T43" fmla="*/ 246975790 h 163"/>
                <a:gd name="T44" fmla="*/ 229335013 w 98"/>
                <a:gd name="T45" fmla="*/ 156249989 h 163"/>
                <a:gd name="T46" fmla="*/ 224294700 w 98"/>
                <a:gd name="T47" fmla="*/ 90725800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8" h="163">
                  <a:moveTo>
                    <a:pt x="89" y="36"/>
                  </a:moveTo>
                  <a:lnTo>
                    <a:pt x="81" y="29"/>
                  </a:lnTo>
                  <a:lnTo>
                    <a:pt x="84" y="9"/>
                  </a:lnTo>
                  <a:lnTo>
                    <a:pt x="77" y="0"/>
                  </a:lnTo>
                  <a:lnTo>
                    <a:pt x="69" y="9"/>
                  </a:lnTo>
                  <a:lnTo>
                    <a:pt x="45" y="21"/>
                  </a:lnTo>
                  <a:lnTo>
                    <a:pt x="24" y="33"/>
                  </a:lnTo>
                  <a:lnTo>
                    <a:pt x="26" y="41"/>
                  </a:lnTo>
                  <a:lnTo>
                    <a:pt x="31" y="67"/>
                  </a:lnTo>
                  <a:lnTo>
                    <a:pt x="17" y="67"/>
                  </a:lnTo>
                  <a:lnTo>
                    <a:pt x="19" y="86"/>
                  </a:lnTo>
                  <a:lnTo>
                    <a:pt x="9" y="86"/>
                  </a:lnTo>
                  <a:lnTo>
                    <a:pt x="0" y="91"/>
                  </a:lnTo>
                  <a:lnTo>
                    <a:pt x="19" y="105"/>
                  </a:lnTo>
                  <a:lnTo>
                    <a:pt x="55" y="127"/>
                  </a:lnTo>
                  <a:lnTo>
                    <a:pt x="74" y="163"/>
                  </a:lnTo>
                  <a:lnTo>
                    <a:pt x="77" y="153"/>
                  </a:lnTo>
                  <a:lnTo>
                    <a:pt x="93" y="141"/>
                  </a:lnTo>
                  <a:lnTo>
                    <a:pt x="98" y="134"/>
                  </a:lnTo>
                  <a:lnTo>
                    <a:pt x="96" y="117"/>
                  </a:lnTo>
                  <a:lnTo>
                    <a:pt x="89" y="108"/>
                  </a:lnTo>
                  <a:lnTo>
                    <a:pt x="93" y="98"/>
                  </a:lnTo>
                  <a:lnTo>
                    <a:pt x="91" y="62"/>
                  </a:lnTo>
                  <a:lnTo>
                    <a:pt x="89" y="36"/>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26" name="Freeform 22">
              <a:extLst>
                <a:ext uri="{FF2B5EF4-FFF2-40B4-BE49-F238E27FC236}">
                  <a16:creationId xmlns:a16="http://schemas.microsoft.com/office/drawing/2014/main" id="{A55E843E-19B9-03BA-EC45-2275F7F9FF92}"/>
                </a:ext>
              </a:extLst>
            </p:cNvPr>
            <p:cNvSpPr>
              <a:spLocks/>
            </p:cNvSpPr>
            <p:nvPr/>
          </p:nvSpPr>
          <p:spPr bwMode="auto">
            <a:xfrm>
              <a:off x="2262188" y="4178300"/>
              <a:ext cx="209550" cy="252413"/>
            </a:xfrm>
            <a:custGeom>
              <a:avLst/>
              <a:gdLst>
                <a:gd name="T0" fmla="*/ 194052825 w 132"/>
                <a:gd name="T1" fmla="*/ 181451609 h 159"/>
                <a:gd name="T2" fmla="*/ 146169063 w 132"/>
                <a:gd name="T3" fmla="*/ 146169352 h 159"/>
                <a:gd name="T4" fmla="*/ 168851263 w 132"/>
                <a:gd name="T5" fmla="*/ 133569340 h 159"/>
                <a:gd name="T6" fmla="*/ 194052825 w 132"/>
                <a:gd name="T7" fmla="*/ 133569340 h 159"/>
                <a:gd name="T8" fmla="*/ 189012513 w 132"/>
                <a:gd name="T9" fmla="*/ 85685482 h 159"/>
                <a:gd name="T10" fmla="*/ 224294700 w 132"/>
                <a:gd name="T11" fmla="*/ 85685482 h 159"/>
                <a:gd name="T12" fmla="*/ 211693125 w 132"/>
                <a:gd name="T13" fmla="*/ 20161290 h 159"/>
                <a:gd name="T14" fmla="*/ 206652813 w 132"/>
                <a:gd name="T15" fmla="*/ 0 h 159"/>
                <a:gd name="T16" fmla="*/ 138609388 w 132"/>
                <a:gd name="T17" fmla="*/ 25201612 h 159"/>
                <a:gd name="T18" fmla="*/ 85685313 w 132"/>
                <a:gd name="T19" fmla="*/ 37803212 h 159"/>
                <a:gd name="T20" fmla="*/ 60483750 w 132"/>
                <a:gd name="T21" fmla="*/ 80645160 h 159"/>
                <a:gd name="T22" fmla="*/ 42843450 w 132"/>
                <a:gd name="T23" fmla="*/ 80645160 h 159"/>
                <a:gd name="T24" fmla="*/ 12601575 w 132"/>
                <a:gd name="T25" fmla="*/ 133569340 h 159"/>
                <a:gd name="T26" fmla="*/ 25201563 w 132"/>
                <a:gd name="T27" fmla="*/ 163811274 h 159"/>
                <a:gd name="T28" fmla="*/ 0 w 132"/>
                <a:gd name="T29" fmla="*/ 327620961 h 159"/>
                <a:gd name="T30" fmla="*/ 12601575 w 132"/>
                <a:gd name="T31" fmla="*/ 400706431 h 159"/>
                <a:gd name="T32" fmla="*/ 332660625 w 132"/>
                <a:gd name="T33" fmla="*/ 327620961 h 159"/>
                <a:gd name="T34" fmla="*/ 284778450 w 132"/>
                <a:gd name="T35" fmla="*/ 236895157 h 159"/>
                <a:gd name="T36" fmla="*/ 194052825 w 132"/>
                <a:gd name="T37" fmla="*/ 181451609 h 1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2" h="159">
                  <a:moveTo>
                    <a:pt x="77" y="72"/>
                  </a:moveTo>
                  <a:lnTo>
                    <a:pt x="58" y="58"/>
                  </a:lnTo>
                  <a:lnTo>
                    <a:pt x="67" y="53"/>
                  </a:lnTo>
                  <a:lnTo>
                    <a:pt x="77" y="53"/>
                  </a:lnTo>
                  <a:lnTo>
                    <a:pt x="75" y="34"/>
                  </a:lnTo>
                  <a:lnTo>
                    <a:pt x="89" y="34"/>
                  </a:lnTo>
                  <a:lnTo>
                    <a:pt x="84" y="8"/>
                  </a:lnTo>
                  <a:lnTo>
                    <a:pt x="82" y="0"/>
                  </a:lnTo>
                  <a:lnTo>
                    <a:pt x="55" y="10"/>
                  </a:lnTo>
                  <a:lnTo>
                    <a:pt x="34" y="15"/>
                  </a:lnTo>
                  <a:lnTo>
                    <a:pt x="24" y="32"/>
                  </a:lnTo>
                  <a:lnTo>
                    <a:pt x="17" y="32"/>
                  </a:lnTo>
                  <a:lnTo>
                    <a:pt x="5" y="53"/>
                  </a:lnTo>
                  <a:lnTo>
                    <a:pt x="10" y="65"/>
                  </a:lnTo>
                  <a:lnTo>
                    <a:pt x="0" y="130"/>
                  </a:lnTo>
                  <a:lnTo>
                    <a:pt x="5" y="159"/>
                  </a:lnTo>
                  <a:lnTo>
                    <a:pt x="132" y="130"/>
                  </a:lnTo>
                  <a:lnTo>
                    <a:pt x="113" y="94"/>
                  </a:lnTo>
                  <a:lnTo>
                    <a:pt x="77" y="72"/>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27" name="Freeform 23">
              <a:extLst>
                <a:ext uri="{FF2B5EF4-FFF2-40B4-BE49-F238E27FC236}">
                  <a16:creationId xmlns:a16="http://schemas.microsoft.com/office/drawing/2014/main" id="{DB37E0A8-4925-97CA-B04B-D69B8B38D382}"/>
                </a:ext>
              </a:extLst>
            </p:cNvPr>
            <p:cNvSpPr>
              <a:spLocks/>
            </p:cNvSpPr>
            <p:nvPr/>
          </p:nvSpPr>
          <p:spPr bwMode="auto">
            <a:xfrm>
              <a:off x="1973263" y="4259263"/>
              <a:ext cx="342900" cy="384175"/>
            </a:xfrm>
            <a:custGeom>
              <a:avLst/>
              <a:gdLst>
                <a:gd name="T0" fmla="*/ 1161288000 w 90"/>
                <a:gd name="T1" fmla="*/ 86808335 h 101"/>
                <a:gd name="T2" fmla="*/ 1132255800 w 90"/>
                <a:gd name="T3" fmla="*/ 14469324 h 101"/>
                <a:gd name="T4" fmla="*/ 1016127000 w 90"/>
                <a:gd name="T5" fmla="*/ 0 h 101"/>
                <a:gd name="T6" fmla="*/ 929030400 w 90"/>
                <a:gd name="T7" fmla="*/ 101277659 h 101"/>
                <a:gd name="T8" fmla="*/ 929030400 w 90"/>
                <a:gd name="T9" fmla="*/ 173620474 h 101"/>
                <a:gd name="T10" fmla="*/ 827417700 w 90"/>
                <a:gd name="T11" fmla="*/ 260428809 h 101"/>
                <a:gd name="T12" fmla="*/ 783869400 w 90"/>
                <a:gd name="T13" fmla="*/ 419579959 h 101"/>
                <a:gd name="T14" fmla="*/ 667740600 w 90"/>
                <a:gd name="T15" fmla="*/ 318302300 h 101"/>
                <a:gd name="T16" fmla="*/ 609676200 w 90"/>
                <a:gd name="T17" fmla="*/ 405110636 h 101"/>
                <a:gd name="T18" fmla="*/ 537095700 w 90"/>
                <a:gd name="T19" fmla="*/ 405110636 h 101"/>
                <a:gd name="T20" fmla="*/ 522579600 w 90"/>
                <a:gd name="T21" fmla="*/ 419579959 h 101"/>
                <a:gd name="T22" fmla="*/ 479031300 w 90"/>
                <a:gd name="T23" fmla="*/ 419579959 h 101"/>
                <a:gd name="T24" fmla="*/ 435483000 w 90"/>
                <a:gd name="T25" fmla="*/ 347237144 h 101"/>
                <a:gd name="T26" fmla="*/ 333870300 w 90"/>
                <a:gd name="T27" fmla="*/ 332767821 h 101"/>
                <a:gd name="T28" fmla="*/ 261289800 w 90"/>
                <a:gd name="T29" fmla="*/ 188085994 h 101"/>
                <a:gd name="T30" fmla="*/ 58064400 w 90"/>
                <a:gd name="T31" fmla="*/ 289363653 h 101"/>
                <a:gd name="T32" fmla="*/ 101612700 w 90"/>
                <a:gd name="T33" fmla="*/ 318302300 h 101"/>
                <a:gd name="T34" fmla="*/ 174193200 w 90"/>
                <a:gd name="T35" fmla="*/ 376175792 h 101"/>
                <a:gd name="T36" fmla="*/ 261289800 w 90"/>
                <a:gd name="T37" fmla="*/ 405110636 h 101"/>
                <a:gd name="T38" fmla="*/ 261289800 w 90"/>
                <a:gd name="T39" fmla="*/ 462984127 h 101"/>
                <a:gd name="T40" fmla="*/ 159677100 w 90"/>
                <a:gd name="T41" fmla="*/ 520857618 h 101"/>
                <a:gd name="T42" fmla="*/ 145161000 w 90"/>
                <a:gd name="T43" fmla="*/ 593196630 h 101"/>
                <a:gd name="T44" fmla="*/ 130644900 w 90"/>
                <a:gd name="T45" fmla="*/ 665539445 h 101"/>
                <a:gd name="T46" fmla="*/ 116128800 w 90"/>
                <a:gd name="T47" fmla="*/ 708943612 h 101"/>
                <a:gd name="T48" fmla="*/ 87096600 w 90"/>
                <a:gd name="T49" fmla="*/ 708943612 h 101"/>
                <a:gd name="T50" fmla="*/ 58064400 w 90"/>
                <a:gd name="T51" fmla="*/ 665539445 h 101"/>
                <a:gd name="T52" fmla="*/ 29032200 w 90"/>
                <a:gd name="T53" fmla="*/ 694474289 h 101"/>
                <a:gd name="T54" fmla="*/ 0 w 90"/>
                <a:gd name="T55" fmla="*/ 708943612 h 101"/>
                <a:gd name="T56" fmla="*/ 14516100 w 90"/>
                <a:gd name="T57" fmla="*/ 723412936 h 101"/>
                <a:gd name="T58" fmla="*/ 72580500 w 90"/>
                <a:gd name="T59" fmla="*/ 737878456 h 101"/>
                <a:gd name="T60" fmla="*/ 72580500 w 90"/>
                <a:gd name="T61" fmla="*/ 752347780 h 101"/>
                <a:gd name="T62" fmla="*/ 1306449000 w 90"/>
                <a:gd name="T63" fmla="*/ 1461291392 h 101"/>
                <a:gd name="T64" fmla="*/ 1248384600 w 90"/>
                <a:gd name="T65" fmla="*/ 1171927739 h 101"/>
                <a:gd name="T66" fmla="*/ 1132255800 w 90"/>
                <a:gd name="T67" fmla="*/ 1027245913 h 101"/>
                <a:gd name="T68" fmla="*/ 1045159200 w 90"/>
                <a:gd name="T69" fmla="*/ 752347780 h 101"/>
                <a:gd name="T70" fmla="*/ 1132255800 w 90"/>
                <a:gd name="T71" fmla="*/ 651070121 h 101"/>
                <a:gd name="T72" fmla="*/ 1103223600 w 90"/>
                <a:gd name="T73" fmla="*/ 477453451 h 101"/>
                <a:gd name="T74" fmla="*/ 1161288000 w 90"/>
                <a:gd name="T75" fmla="*/ 86808335 h 1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0" h="101">
                  <a:moveTo>
                    <a:pt x="80" y="6"/>
                  </a:moveTo>
                  <a:cubicBezTo>
                    <a:pt x="78" y="1"/>
                    <a:pt x="78" y="1"/>
                    <a:pt x="78" y="1"/>
                  </a:cubicBezTo>
                  <a:cubicBezTo>
                    <a:pt x="70" y="0"/>
                    <a:pt x="70" y="0"/>
                    <a:pt x="70" y="0"/>
                  </a:cubicBezTo>
                  <a:cubicBezTo>
                    <a:pt x="64" y="7"/>
                    <a:pt x="64" y="7"/>
                    <a:pt x="64" y="7"/>
                  </a:cubicBezTo>
                  <a:cubicBezTo>
                    <a:pt x="64" y="12"/>
                    <a:pt x="64" y="12"/>
                    <a:pt x="64" y="12"/>
                  </a:cubicBezTo>
                  <a:cubicBezTo>
                    <a:pt x="57" y="18"/>
                    <a:pt x="57" y="18"/>
                    <a:pt x="57" y="18"/>
                  </a:cubicBezTo>
                  <a:cubicBezTo>
                    <a:pt x="54" y="29"/>
                    <a:pt x="54" y="29"/>
                    <a:pt x="54" y="29"/>
                  </a:cubicBezTo>
                  <a:cubicBezTo>
                    <a:pt x="46" y="22"/>
                    <a:pt x="46" y="22"/>
                    <a:pt x="46" y="22"/>
                  </a:cubicBezTo>
                  <a:cubicBezTo>
                    <a:pt x="42" y="28"/>
                    <a:pt x="42" y="28"/>
                    <a:pt x="42" y="28"/>
                  </a:cubicBezTo>
                  <a:cubicBezTo>
                    <a:pt x="42" y="28"/>
                    <a:pt x="38" y="28"/>
                    <a:pt x="37" y="28"/>
                  </a:cubicBezTo>
                  <a:cubicBezTo>
                    <a:pt x="37" y="28"/>
                    <a:pt x="36" y="29"/>
                    <a:pt x="36" y="29"/>
                  </a:cubicBezTo>
                  <a:cubicBezTo>
                    <a:pt x="35" y="29"/>
                    <a:pt x="33" y="29"/>
                    <a:pt x="33" y="29"/>
                  </a:cubicBezTo>
                  <a:cubicBezTo>
                    <a:pt x="30" y="24"/>
                    <a:pt x="30" y="24"/>
                    <a:pt x="30" y="24"/>
                  </a:cubicBezTo>
                  <a:cubicBezTo>
                    <a:pt x="23" y="23"/>
                    <a:pt x="23" y="23"/>
                    <a:pt x="23" y="23"/>
                  </a:cubicBezTo>
                  <a:cubicBezTo>
                    <a:pt x="18" y="13"/>
                    <a:pt x="18" y="13"/>
                    <a:pt x="18" y="13"/>
                  </a:cubicBezTo>
                  <a:cubicBezTo>
                    <a:pt x="4" y="20"/>
                    <a:pt x="4" y="20"/>
                    <a:pt x="4" y="20"/>
                  </a:cubicBezTo>
                  <a:cubicBezTo>
                    <a:pt x="5" y="21"/>
                    <a:pt x="6" y="21"/>
                    <a:pt x="7" y="22"/>
                  </a:cubicBezTo>
                  <a:cubicBezTo>
                    <a:pt x="7" y="23"/>
                    <a:pt x="12" y="26"/>
                    <a:pt x="12" y="26"/>
                  </a:cubicBezTo>
                  <a:cubicBezTo>
                    <a:pt x="18" y="28"/>
                    <a:pt x="18" y="28"/>
                    <a:pt x="18" y="28"/>
                  </a:cubicBezTo>
                  <a:cubicBezTo>
                    <a:pt x="18" y="32"/>
                    <a:pt x="18" y="32"/>
                    <a:pt x="18" y="32"/>
                  </a:cubicBezTo>
                  <a:cubicBezTo>
                    <a:pt x="18" y="32"/>
                    <a:pt x="11" y="35"/>
                    <a:pt x="11" y="36"/>
                  </a:cubicBezTo>
                  <a:cubicBezTo>
                    <a:pt x="10" y="36"/>
                    <a:pt x="10" y="40"/>
                    <a:pt x="10" y="41"/>
                  </a:cubicBezTo>
                  <a:cubicBezTo>
                    <a:pt x="10" y="42"/>
                    <a:pt x="9" y="45"/>
                    <a:pt x="9" y="46"/>
                  </a:cubicBezTo>
                  <a:cubicBezTo>
                    <a:pt x="9" y="48"/>
                    <a:pt x="8" y="49"/>
                    <a:pt x="8" y="49"/>
                  </a:cubicBezTo>
                  <a:cubicBezTo>
                    <a:pt x="8" y="49"/>
                    <a:pt x="7" y="49"/>
                    <a:pt x="6" y="49"/>
                  </a:cubicBezTo>
                  <a:cubicBezTo>
                    <a:pt x="6" y="48"/>
                    <a:pt x="4" y="46"/>
                    <a:pt x="4" y="46"/>
                  </a:cubicBezTo>
                  <a:cubicBezTo>
                    <a:pt x="4" y="46"/>
                    <a:pt x="2" y="47"/>
                    <a:pt x="2" y="48"/>
                  </a:cubicBezTo>
                  <a:cubicBezTo>
                    <a:pt x="2" y="48"/>
                    <a:pt x="0" y="49"/>
                    <a:pt x="0" y="49"/>
                  </a:cubicBezTo>
                  <a:cubicBezTo>
                    <a:pt x="1" y="50"/>
                    <a:pt x="1" y="50"/>
                    <a:pt x="1" y="50"/>
                  </a:cubicBezTo>
                  <a:cubicBezTo>
                    <a:pt x="5" y="51"/>
                    <a:pt x="5" y="51"/>
                    <a:pt x="5" y="51"/>
                  </a:cubicBezTo>
                  <a:cubicBezTo>
                    <a:pt x="5" y="52"/>
                    <a:pt x="5" y="52"/>
                    <a:pt x="5" y="52"/>
                  </a:cubicBezTo>
                  <a:cubicBezTo>
                    <a:pt x="90" y="101"/>
                    <a:pt x="90" y="101"/>
                    <a:pt x="90" y="101"/>
                  </a:cubicBezTo>
                  <a:cubicBezTo>
                    <a:pt x="86" y="81"/>
                    <a:pt x="86" y="81"/>
                    <a:pt x="86" y="81"/>
                  </a:cubicBezTo>
                  <a:cubicBezTo>
                    <a:pt x="78" y="71"/>
                    <a:pt x="78" y="71"/>
                    <a:pt x="78" y="71"/>
                  </a:cubicBezTo>
                  <a:cubicBezTo>
                    <a:pt x="72" y="52"/>
                    <a:pt x="72" y="52"/>
                    <a:pt x="72" y="52"/>
                  </a:cubicBezTo>
                  <a:cubicBezTo>
                    <a:pt x="78" y="45"/>
                    <a:pt x="78" y="45"/>
                    <a:pt x="78" y="45"/>
                  </a:cubicBezTo>
                  <a:cubicBezTo>
                    <a:pt x="76" y="33"/>
                    <a:pt x="76" y="33"/>
                    <a:pt x="76" y="33"/>
                  </a:cubicBezTo>
                  <a:lnTo>
                    <a:pt x="80" y="6"/>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28" name="Freeform 24">
              <a:extLst>
                <a:ext uri="{FF2B5EF4-FFF2-40B4-BE49-F238E27FC236}">
                  <a16:creationId xmlns:a16="http://schemas.microsoft.com/office/drawing/2014/main" id="{5E1C50B1-6F5D-3DB8-9CCB-B3EBEBF8E1F0}"/>
                </a:ext>
              </a:extLst>
            </p:cNvPr>
            <p:cNvSpPr>
              <a:spLocks noEditPoints="1"/>
            </p:cNvSpPr>
            <p:nvPr/>
          </p:nvSpPr>
          <p:spPr bwMode="auto">
            <a:xfrm>
              <a:off x="1916113" y="4083050"/>
              <a:ext cx="560387" cy="285750"/>
            </a:xfrm>
            <a:custGeom>
              <a:avLst/>
              <a:gdLst>
                <a:gd name="T0" fmla="*/ 1816568798 w 147"/>
                <a:gd name="T1" fmla="*/ 362902500 h 75"/>
                <a:gd name="T2" fmla="*/ 1525914740 w 147"/>
                <a:gd name="T3" fmla="*/ 449999100 h 75"/>
                <a:gd name="T4" fmla="*/ 1424187345 w 147"/>
                <a:gd name="T5" fmla="*/ 551611800 h 75"/>
                <a:gd name="T6" fmla="*/ 1235264495 w 147"/>
                <a:gd name="T7" fmla="*/ 667740600 h 75"/>
                <a:gd name="T8" fmla="*/ 1148069040 w 147"/>
                <a:gd name="T9" fmla="*/ 841933800 h 75"/>
                <a:gd name="T10" fmla="*/ 1002745824 w 147"/>
                <a:gd name="T11" fmla="*/ 1088707500 h 75"/>
                <a:gd name="T12" fmla="*/ 828354914 w 147"/>
                <a:gd name="T13" fmla="*/ 1074191400 h 75"/>
                <a:gd name="T14" fmla="*/ 741159459 w 147"/>
                <a:gd name="T15" fmla="*/ 1088707500 h 75"/>
                <a:gd name="T16" fmla="*/ 653964005 w 147"/>
                <a:gd name="T17" fmla="*/ 1016127000 h 75"/>
                <a:gd name="T18" fmla="*/ 479573095 w 147"/>
                <a:gd name="T19" fmla="*/ 856449900 h 75"/>
                <a:gd name="T20" fmla="*/ 261586364 w 147"/>
                <a:gd name="T21" fmla="*/ 943546500 h 75"/>
                <a:gd name="T22" fmla="*/ 247054424 w 147"/>
                <a:gd name="T23" fmla="*/ 827417700 h 75"/>
                <a:gd name="T24" fmla="*/ 203454790 w 147"/>
                <a:gd name="T25" fmla="*/ 740321100 h 75"/>
                <a:gd name="T26" fmla="*/ 217986731 w 147"/>
                <a:gd name="T27" fmla="*/ 638708400 h 75"/>
                <a:gd name="T28" fmla="*/ 276118305 w 147"/>
                <a:gd name="T29" fmla="*/ 566127900 h 75"/>
                <a:gd name="T30" fmla="*/ 276118305 w 147"/>
                <a:gd name="T31" fmla="*/ 464515200 h 75"/>
                <a:gd name="T32" fmla="*/ 406909581 w 147"/>
                <a:gd name="T33" fmla="*/ 449999100 h 75"/>
                <a:gd name="T34" fmla="*/ 435977274 w 147"/>
                <a:gd name="T35" fmla="*/ 304838100 h 75"/>
                <a:gd name="T36" fmla="*/ 494105036 w 147"/>
                <a:gd name="T37" fmla="*/ 232257600 h 75"/>
                <a:gd name="T38" fmla="*/ 552236609 w 147"/>
                <a:gd name="T39" fmla="*/ 246773700 h 75"/>
                <a:gd name="T40" fmla="*/ 639432064 w 147"/>
                <a:gd name="T41" fmla="*/ 261289800 h 75"/>
                <a:gd name="T42" fmla="*/ 741159459 w 147"/>
                <a:gd name="T43" fmla="*/ 290322000 h 75"/>
                <a:gd name="T44" fmla="*/ 770223340 w 147"/>
                <a:gd name="T45" fmla="*/ 333870300 h 75"/>
                <a:gd name="T46" fmla="*/ 842886855 w 147"/>
                <a:gd name="T47" fmla="*/ 261289800 h 75"/>
                <a:gd name="T48" fmla="*/ 944614250 w 147"/>
                <a:gd name="T49" fmla="*/ 333870300 h 75"/>
                <a:gd name="T50" fmla="*/ 930082309 w 147"/>
                <a:gd name="T51" fmla="*/ 391934700 h 75"/>
                <a:gd name="T52" fmla="*/ 1075409338 w 147"/>
                <a:gd name="T53" fmla="*/ 348386400 h 75"/>
                <a:gd name="T54" fmla="*/ 1017277764 w 147"/>
                <a:gd name="T55" fmla="*/ 188709300 h 75"/>
                <a:gd name="T56" fmla="*/ 1017277764 w 147"/>
                <a:gd name="T57" fmla="*/ 87096600 h 75"/>
                <a:gd name="T58" fmla="*/ 1191668674 w 147"/>
                <a:gd name="T59" fmla="*/ 14516100 h 75"/>
                <a:gd name="T60" fmla="*/ 1336991890 w 147"/>
                <a:gd name="T61" fmla="*/ 29032200 h 75"/>
                <a:gd name="T62" fmla="*/ 1453255038 w 147"/>
                <a:gd name="T63" fmla="*/ 87096600 h 75"/>
                <a:gd name="T64" fmla="*/ 1584046314 w 147"/>
                <a:gd name="T65" fmla="*/ 188709300 h 75"/>
                <a:gd name="T66" fmla="*/ 1772969164 w 147"/>
                <a:gd name="T67" fmla="*/ 130644900 h 75"/>
                <a:gd name="T68" fmla="*/ 1961892014 w 147"/>
                <a:gd name="T69" fmla="*/ 174193200 h 75"/>
                <a:gd name="T70" fmla="*/ 2092687102 w 147"/>
                <a:gd name="T71" fmla="*/ 159677100 h 75"/>
                <a:gd name="T72" fmla="*/ 2092687102 w 147"/>
                <a:gd name="T73" fmla="*/ 217741500 h 75"/>
                <a:gd name="T74" fmla="*/ 217986731 w 147"/>
                <a:gd name="T75" fmla="*/ 290322000 h 75"/>
                <a:gd name="T76" fmla="*/ 159858969 w 147"/>
                <a:gd name="T77" fmla="*/ 232257600 h 75"/>
                <a:gd name="T78" fmla="*/ 116259336 w 147"/>
                <a:gd name="T79" fmla="*/ 217741500 h 75"/>
                <a:gd name="T80" fmla="*/ 87195455 w 147"/>
                <a:gd name="T81" fmla="*/ 232257600 h 75"/>
                <a:gd name="T82" fmla="*/ 72663514 w 147"/>
                <a:gd name="T83" fmla="*/ 246773700 h 75"/>
                <a:gd name="T84" fmla="*/ 14531940 w 147"/>
                <a:gd name="T85" fmla="*/ 261289800 h 75"/>
                <a:gd name="T86" fmla="*/ 14531940 w 147"/>
                <a:gd name="T87" fmla="*/ 304838100 h 75"/>
                <a:gd name="T88" fmla="*/ 58131574 w 147"/>
                <a:gd name="T89" fmla="*/ 333870300 h 75"/>
                <a:gd name="T90" fmla="*/ 101727395 w 147"/>
                <a:gd name="T91" fmla="*/ 348386400 h 75"/>
                <a:gd name="T92" fmla="*/ 130791276 w 147"/>
                <a:gd name="T93" fmla="*/ 348386400 h 75"/>
                <a:gd name="T94" fmla="*/ 203454790 w 147"/>
                <a:gd name="T95" fmla="*/ 319354200 h 75"/>
                <a:gd name="T96" fmla="*/ 377845700 w 147"/>
                <a:gd name="T97" fmla="*/ 232257600 h 75"/>
                <a:gd name="T98" fmla="*/ 465041155 w 147"/>
                <a:gd name="T99" fmla="*/ 217741500 h 75"/>
                <a:gd name="T100" fmla="*/ 523172729 w 147"/>
                <a:gd name="T101" fmla="*/ 159677100 h 75"/>
                <a:gd name="T102" fmla="*/ 523172729 w 147"/>
                <a:gd name="T103" fmla="*/ 145161000 h 75"/>
                <a:gd name="T104" fmla="*/ 450509214 w 147"/>
                <a:gd name="T105" fmla="*/ 130644900 h 75"/>
                <a:gd name="T106" fmla="*/ 435977274 w 147"/>
                <a:gd name="T107" fmla="*/ 116128800 h 75"/>
                <a:gd name="T108" fmla="*/ 406909581 w 147"/>
                <a:gd name="T109" fmla="*/ 145161000 h 75"/>
                <a:gd name="T110" fmla="*/ 348781819 w 147"/>
                <a:gd name="T111" fmla="*/ 188709300 h 75"/>
                <a:gd name="T112" fmla="*/ 377845700 w 147"/>
                <a:gd name="T113" fmla="*/ 232257600 h 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7" h="75">
                  <a:moveTo>
                    <a:pt x="134" y="20"/>
                  </a:moveTo>
                  <a:cubicBezTo>
                    <a:pt x="125" y="25"/>
                    <a:pt x="125" y="25"/>
                    <a:pt x="125" y="25"/>
                  </a:cubicBezTo>
                  <a:cubicBezTo>
                    <a:pt x="114" y="29"/>
                    <a:pt x="114" y="29"/>
                    <a:pt x="114" y="29"/>
                  </a:cubicBezTo>
                  <a:cubicBezTo>
                    <a:pt x="105" y="31"/>
                    <a:pt x="105" y="31"/>
                    <a:pt x="105" y="31"/>
                  </a:cubicBezTo>
                  <a:cubicBezTo>
                    <a:pt x="101" y="38"/>
                    <a:pt x="101" y="38"/>
                    <a:pt x="101" y="38"/>
                  </a:cubicBezTo>
                  <a:cubicBezTo>
                    <a:pt x="98" y="38"/>
                    <a:pt x="98" y="38"/>
                    <a:pt x="98" y="38"/>
                  </a:cubicBezTo>
                  <a:cubicBezTo>
                    <a:pt x="93" y="47"/>
                    <a:pt x="93" y="47"/>
                    <a:pt x="93" y="47"/>
                  </a:cubicBezTo>
                  <a:cubicBezTo>
                    <a:pt x="85" y="46"/>
                    <a:pt x="85" y="46"/>
                    <a:pt x="85" y="46"/>
                  </a:cubicBezTo>
                  <a:cubicBezTo>
                    <a:pt x="79" y="53"/>
                    <a:pt x="79" y="53"/>
                    <a:pt x="79" y="53"/>
                  </a:cubicBezTo>
                  <a:cubicBezTo>
                    <a:pt x="79" y="58"/>
                    <a:pt x="79" y="58"/>
                    <a:pt x="79" y="58"/>
                  </a:cubicBezTo>
                  <a:cubicBezTo>
                    <a:pt x="72" y="64"/>
                    <a:pt x="72" y="64"/>
                    <a:pt x="72" y="64"/>
                  </a:cubicBezTo>
                  <a:cubicBezTo>
                    <a:pt x="69" y="75"/>
                    <a:pt x="69" y="75"/>
                    <a:pt x="69" y="75"/>
                  </a:cubicBezTo>
                  <a:cubicBezTo>
                    <a:pt x="61" y="68"/>
                    <a:pt x="61" y="68"/>
                    <a:pt x="61" y="68"/>
                  </a:cubicBezTo>
                  <a:cubicBezTo>
                    <a:pt x="57" y="74"/>
                    <a:pt x="57" y="74"/>
                    <a:pt x="57" y="74"/>
                  </a:cubicBezTo>
                  <a:cubicBezTo>
                    <a:pt x="57" y="74"/>
                    <a:pt x="53" y="74"/>
                    <a:pt x="52" y="74"/>
                  </a:cubicBezTo>
                  <a:cubicBezTo>
                    <a:pt x="52" y="74"/>
                    <a:pt x="51" y="75"/>
                    <a:pt x="51" y="75"/>
                  </a:cubicBezTo>
                  <a:cubicBezTo>
                    <a:pt x="50" y="75"/>
                    <a:pt x="48" y="75"/>
                    <a:pt x="48" y="75"/>
                  </a:cubicBezTo>
                  <a:cubicBezTo>
                    <a:pt x="45" y="70"/>
                    <a:pt x="45" y="70"/>
                    <a:pt x="45" y="70"/>
                  </a:cubicBezTo>
                  <a:cubicBezTo>
                    <a:pt x="38" y="69"/>
                    <a:pt x="38" y="69"/>
                    <a:pt x="38" y="69"/>
                  </a:cubicBezTo>
                  <a:cubicBezTo>
                    <a:pt x="33" y="59"/>
                    <a:pt x="33" y="59"/>
                    <a:pt x="33" y="59"/>
                  </a:cubicBezTo>
                  <a:cubicBezTo>
                    <a:pt x="19" y="66"/>
                    <a:pt x="19" y="66"/>
                    <a:pt x="19" y="66"/>
                  </a:cubicBezTo>
                  <a:cubicBezTo>
                    <a:pt x="19" y="65"/>
                    <a:pt x="18" y="65"/>
                    <a:pt x="18" y="65"/>
                  </a:cubicBezTo>
                  <a:cubicBezTo>
                    <a:pt x="18" y="64"/>
                    <a:pt x="17" y="59"/>
                    <a:pt x="17" y="59"/>
                  </a:cubicBezTo>
                  <a:cubicBezTo>
                    <a:pt x="17" y="59"/>
                    <a:pt x="17" y="57"/>
                    <a:pt x="17" y="57"/>
                  </a:cubicBezTo>
                  <a:cubicBezTo>
                    <a:pt x="14" y="57"/>
                    <a:pt x="14" y="57"/>
                    <a:pt x="14" y="57"/>
                  </a:cubicBezTo>
                  <a:cubicBezTo>
                    <a:pt x="14" y="51"/>
                    <a:pt x="14" y="51"/>
                    <a:pt x="14" y="51"/>
                  </a:cubicBezTo>
                  <a:cubicBezTo>
                    <a:pt x="14" y="51"/>
                    <a:pt x="15" y="50"/>
                    <a:pt x="15" y="50"/>
                  </a:cubicBezTo>
                  <a:cubicBezTo>
                    <a:pt x="15" y="50"/>
                    <a:pt x="15" y="44"/>
                    <a:pt x="15" y="44"/>
                  </a:cubicBezTo>
                  <a:cubicBezTo>
                    <a:pt x="17" y="44"/>
                    <a:pt x="17" y="44"/>
                    <a:pt x="17" y="44"/>
                  </a:cubicBezTo>
                  <a:cubicBezTo>
                    <a:pt x="19" y="39"/>
                    <a:pt x="19" y="39"/>
                    <a:pt x="19" y="39"/>
                  </a:cubicBezTo>
                  <a:cubicBezTo>
                    <a:pt x="17" y="36"/>
                    <a:pt x="17" y="36"/>
                    <a:pt x="17" y="36"/>
                  </a:cubicBezTo>
                  <a:cubicBezTo>
                    <a:pt x="17" y="36"/>
                    <a:pt x="19" y="33"/>
                    <a:pt x="19" y="32"/>
                  </a:cubicBezTo>
                  <a:cubicBezTo>
                    <a:pt x="20" y="32"/>
                    <a:pt x="21" y="31"/>
                    <a:pt x="22" y="31"/>
                  </a:cubicBezTo>
                  <a:cubicBezTo>
                    <a:pt x="22" y="31"/>
                    <a:pt x="28" y="31"/>
                    <a:pt x="28" y="31"/>
                  </a:cubicBezTo>
                  <a:cubicBezTo>
                    <a:pt x="28" y="23"/>
                    <a:pt x="28" y="23"/>
                    <a:pt x="28" y="23"/>
                  </a:cubicBezTo>
                  <a:cubicBezTo>
                    <a:pt x="28" y="23"/>
                    <a:pt x="30" y="22"/>
                    <a:pt x="30" y="21"/>
                  </a:cubicBezTo>
                  <a:cubicBezTo>
                    <a:pt x="30" y="21"/>
                    <a:pt x="32" y="20"/>
                    <a:pt x="32" y="20"/>
                  </a:cubicBezTo>
                  <a:cubicBezTo>
                    <a:pt x="33" y="19"/>
                    <a:pt x="33" y="17"/>
                    <a:pt x="34" y="16"/>
                  </a:cubicBezTo>
                  <a:cubicBezTo>
                    <a:pt x="34" y="15"/>
                    <a:pt x="35" y="14"/>
                    <a:pt x="35" y="14"/>
                  </a:cubicBezTo>
                  <a:cubicBezTo>
                    <a:pt x="36" y="14"/>
                    <a:pt x="37" y="17"/>
                    <a:pt x="38" y="17"/>
                  </a:cubicBezTo>
                  <a:cubicBezTo>
                    <a:pt x="38" y="17"/>
                    <a:pt x="40" y="15"/>
                    <a:pt x="40" y="15"/>
                  </a:cubicBezTo>
                  <a:cubicBezTo>
                    <a:pt x="41" y="15"/>
                    <a:pt x="41" y="16"/>
                    <a:pt x="44" y="18"/>
                  </a:cubicBezTo>
                  <a:cubicBezTo>
                    <a:pt x="46" y="19"/>
                    <a:pt x="46" y="19"/>
                    <a:pt x="48" y="20"/>
                  </a:cubicBezTo>
                  <a:cubicBezTo>
                    <a:pt x="49" y="21"/>
                    <a:pt x="51" y="21"/>
                    <a:pt x="51" y="20"/>
                  </a:cubicBezTo>
                  <a:cubicBezTo>
                    <a:pt x="51" y="20"/>
                    <a:pt x="52" y="20"/>
                    <a:pt x="52" y="20"/>
                  </a:cubicBezTo>
                  <a:cubicBezTo>
                    <a:pt x="53" y="20"/>
                    <a:pt x="52" y="22"/>
                    <a:pt x="53" y="23"/>
                  </a:cubicBezTo>
                  <a:cubicBezTo>
                    <a:pt x="54" y="23"/>
                    <a:pt x="55" y="23"/>
                    <a:pt x="55" y="21"/>
                  </a:cubicBezTo>
                  <a:cubicBezTo>
                    <a:pt x="56" y="19"/>
                    <a:pt x="57" y="18"/>
                    <a:pt x="58" y="18"/>
                  </a:cubicBezTo>
                  <a:cubicBezTo>
                    <a:pt x="60" y="18"/>
                    <a:pt x="60" y="18"/>
                    <a:pt x="62" y="19"/>
                  </a:cubicBezTo>
                  <a:cubicBezTo>
                    <a:pt x="65" y="21"/>
                    <a:pt x="64" y="23"/>
                    <a:pt x="65" y="23"/>
                  </a:cubicBezTo>
                  <a:cubicBezTo>
                    <a:pt x="65" y="24"/>
                    <a:pt x="66" y="24"/>
                    <a:pt x="65" y="25"/>
                  </a:cubicBezTo>
                  <a:cubicBezTo>
                    <a:pt x="65" y="26"/>
                    <a:pt x="63" y="25"/>
                    <a:pt x="64" y="27"/>
                  </a:cubicBezTo>
                  <a:cubicBezTo>
                    <a:pt x="66" y="29"/>
                    <a:pt x="67" y="29"/>
                    <a:pt x="68" y="29"/>
                  </a:cubicBezTo>
                  <a:cubicBezTo>
                    <a:pt x="69" y="28"/>
                    <a:pt x="73" y="25"/>
                    <a:pt x="74" y="24"/>
                  </a:cubicBezTo>
                  <a:cubicBezTo>
                    <a:pt x="75" y="23"/>
                    <a:pt x="77" y="22"/>
                    <a:pt x="76" y="21"/>
                  </a:cubicBezTo>
                  <a:cubicBezTo>
                    <a:pt x="75" y="19"/>
                    <a:pt x="71" y="14"/>
                    <a:pt x="70" y="13"/>
                  </a:cubicBezTo>
                  <a:cubicBezTo>
                    <a:pt x="70" y="13"/>
                    <a:pt x="69" y="11"/>
                    <a:pt x="69" y="10"/>
                  </a:cubicBezTo>
                  <a:cubicBezTo>
                    <a:pt x="69" y="10"/>
                    <a:pt x="69" y="8"/>
                    <a:pt x="70" y="6"/>
                  </a:cubicBezTo>
                  <a:cubicBezTo>
                    <a:pt x="71" y="5"/>
                    <a:pt x="76" y="3"/>
                    <a:pt x="77" y="3"/>
                  </a:cubicBezTo>
                  <a:cubicBezTo>
                    <a:pt x="79" y="2"/>
                    <a:pt x="81" y="1"/>
                    <a:pt x="82" y="1"/>
                  </a:cubicBezTo>
                  <a:cubicBezTo>
                    <a:pt x="83" y="0"/>
                    <a:pt x="82" y="1"/>
                    <a:pt x="86" y="1"/>
                  </a:cubicBezTo>
                  <a:cubicBezTo>
                    <a:pt x="90" y="2"/>
                    <a:pt x="91" y="1"/>
                    <a:pt x="92" y="2"/>
                  </a:cubicBezTo>
                  <a:cubicBezTo>
                    <a:pt x="93" y="3"/>
                    <a:pt x="98" y="4"/>
                    <a:pt x="101" y="4"/>
                  </a:cubicBezTo>
                  <a:cubicBezTo>
                    <a:pt x="100" y="6"/>
                    <a:pt x="100" y="6"/>
                    <a:pt x="100" y="6"/>
                  </a:cubicBezTo>
                  <a:cubicBezTo>
                    <a:pt x="102" y="12"/>
                    <a:pt x="102" y="12"/>
                    <a:pt x="102" y="12"/>
                  </a:cubicBezTo>
                  <a:cubicBezTo>
                    <a:pt x="109" y="13"/>
                    <a:pt x="109" y="13"/>
                    <a:pt x="109" y="13"/>
                  </a:cubicBezTo>
                  <a:cubicBezTo>
                    <a:pt x="119" y="6"/>
                    <a:pt x="119" y="6"/>
                    <a:pt x="119" y="6"/>
                  </a:cubicBezTo>
                  <a:cubicBezTo>
                    <a:pt x="122" y="9"/>
                    <a:pt x="122" y="9"/>
                    <a:pt x="122" y="9"/>
                  </a:cubicBezTo>
                  <a:cubicBezTo>
                    <a:pt x="133" y="9"/>
                    <a:pt x="133" y="9"/>
                    <a:pt x="133" y="9"/>
                  </a:cubicBezTo>
                  <a:cubicBezTo>
                    <a:pt x="135" y="12"/>
                    <a:pt x="135" y="12"/>
                    <a:pt x="135" y="12"/>
                  </a:cubicBezTo>
                  <a:cubicBezTo>
                    <a:pt x="142" y="13"/>
                    <a:pt x="142" y="13"/>
                    <a:pt x="142" y="13"/>
                  </a:cubicBezTo>
                  <a:cubicBezTo>
                    <a:pt x="144" y="11"/>
                    <a:pt x="144" y="11"/>
                    <a:pt x="144" y="11"/>
                  </a:cubicBezTo>
                  <a:cubicBezTo>
                    <a:pt x="147" y="11"/>
                    <a:pt x="147" y="11"/>
                    <a:pt x="147" y="11"/>
                  </a:cubicBezTo>
                  <a:cubicBezTo>
                    <a:pt x="144" y="15"/>
                    <a:pt x="144" y="15"/>
                    <a:pt x="144" y="15"/>
                  </a:cubicBezTo>
                  <a:lnTo>
                    <a:pt x="134" y="20"/>
                  </a:lnTo>
                  <a:close/>
                  <a:moveTo>
                    <a:pt x="15" y="20"/>
                  </a:moveTo>
                  <a:cubicBezTo>
                    <a:pt x="14" y="19"/>
                    <a:pt x="14" y="18"/>
                    <a:pt x="13" y="18"/>
                  </a:cubicBezTo>
                  <a:cubicBezTo>
                    <a:pt x="13" y="17"/>
                    <a:pt x="12" y="16"/>
                    <a:pt x="11" y="16"/>
                  </a:cubicBezTo>
                  <a:cubicBezTo>
                    <a:pt x="11" y="16"/>
                    <a:pt x="10" y="16"/>
                    <a:pt x="10" y="16"/>
                  </a:cubicBezTo>
                  <a:cubicBezTo>
                    <a:pt x="9" y="16"/>
                    <a:pt x="9" y="15"/>
                    <a:pt x="8" y="15"/>
                  </a:cubicBezTo>
                  <a:cubicBezTo>
                    <a:pt x="8" y="15"/>
                    <a:pt x="7" y="15"/>
                    <a:pt x="7" y="15"/>
                  </a:cubicBezTo>
                  <a:cubicBezTo>
                    <a:pt x="6" y="15"/>
                    <a:pt x="6" y="16"/>
                    <a:pt x="6" y="16"/>
                  </a:cubicBezTo>
                  <a:cubicBezTo>
                    <a:pt x="6" y="16"/>
                    <a:pt x="6" y="16"/>
                    <a:pt x="6" y="17"/>
                  </a:cubicBezTo>
                  <a:cubicBezTo>
                    <a:pt x="5" y="17"/>
                    <a:pt x="5" y="17"/>
                    <a:pt x="5" y="17"/>
                  </a:cubicBezTo>
                  <a:cubicBezTo>
                    <a:pt x="4" y="17"/>
                    <a:pt x="3" y="17"/>
                    <a:pt x="2" y="17"/>
                  </a:cubicBezTo>
                  <a:cubicBezTo>
                    <a:pt x="2" y="17"/>
                    <a:pt x="2" y="18"/>
                    <a:pt x="1" y="18"/>
                  </a:cubicBezTo>
                  <a:cubicBezTo>
                    <a:pt x="1" y="18"/>
                    <a:pt x="1" y="18"/>
                    <a:pt x="1" y="19"/>
                  </a:cubicBezTo>
                  <a:cubicBezTo>
                    <a:pt x="1" y="19"/>
                    <a:pt x="0" y="20"/>
                    <a:pt x="1" y="21"/>
                  </a:cubicBezTo>
                  <a:cubicBezTo>
                    <a:pt x="1" y="21"/>
                    <a:pt x="1" y="21"/>
                    <a:pt x="1" y="21"/>
                  </a:cubicBezTo>
                  <a:cubicBezTo>
                    <a:pt x="2" y="22"/>
                    <a:pt x="3" y="23"/>
                    <a:pt x="4" y="23"/>
                  </a:cubicBezTo>
                  <a:cubicBezTo>
                    <a:pt x="5" y="23"/>
                    <a:pt x="6" y="23"/>
                    <a:pt x="6" y="23"/>
                  </a:cubicBezTo>
                  <a:cubicBezTo>
                    <a:pt x="6" y="24"/>
                    <a:pt x="7" y="24"/>
                    <a:pt x="7" y="24"/>
                  </a:cubicBezTo>
                  <a:cubicBezTo>
                    <a:pt x="7" y="25"/>
                    <a:pt x="8" y="25"/>
                    <a:pt x="8" y="25"/>
                  </a:cubicBezTo>
                  <a:cubicBezTo>
                    <a:pt x="8" y="24"/>
                    <a:pt x="8" y="24"/>
                    <a:pt x="9" y="24"/>
                  </a:cubicBezTo>
                  <a:cubicBezTo>
                    <a:pt x="9" y="23"/>
                    <a:pt x="10" y="23"/>
                    <a:pt x="11" y="23"/>
                  </a:cubicBezTo>
                  <a:cubicBezTo>
                    <a:pt x="12" y="23"/>
                    <a:pt x="13" y="23"/>
                    <a:pt x="14" y="22"/>
                  </a:cubicBezTo>
                  <a:cubicBezTo>
                    <a:pt x="14" y="22"/>
                    <a:pt x="15" y="21"/>
                    <a:pt x="15" y="20"/>
                  </a:cubicBezTo>
                  <a:close/>
                  <a:moveTo>
                    <a:pt x="26" y="16"/>
                  </a:moveTo>
                  <a:cubicBezTo>
                    <a:pt x="27" y="16"/>
                    <a:pt x="27" y="16"/>
                    <a:pt x="28" y="16"/>
                  </a:cubicBezTo>
                  <a:cubicBezTo>
                    <a:pt x="30" y="16"/>
                    <a:pt x="31" y="16"/>
                    <a:pt x="32" y="15"/>
                  </a:cubicBezTo>
                  <a:cubicBezTo>
                    <a:pt x="33" y="14"/>
                    <a:pt x="34" y="12"/>
                    <a:pt x="35" y="11"/>
                  </a:cubicBezTo>
                  <a:cubicBezTo>
                    <a:pt x="36" y="11"/>
                    <a:pt x="36" y="11"/>
                    <a:pt x="36" y="11"/>
                  </a:cubicBezTo>
                  <a:cubicBezTo>
                    <a:pt x="36" y="10"/>
                    <a:pt x="36" y="10"/>
                    <a:pt x="36" y="10"/>
                  </a:cubicBezTo>
                  <a:cubicBezTo>
                    <a:pt x="36" y="10"/>
                    <a:pt x="36" y="10"/>
                    <a:pt x="36" y="10"/>
                  </a:cubicBezTo>
                  <a:cubicBezTo>
                    <a:pt x="35" y="9"/>
                    <a:pt x="34" y="9"/>
                    <a:pt x="33" y="9"/>
                  </a:cubicBezTo>
                  <a:cubicBezTo>
                    <a:pt x="32" y="9"/>
                    <a:pt x="32" y="9"/>
                    <a:pt x="31" y="9"/>
                  </a:cubicBezTo>
                  <a:cubicBezTo>
                    <a:pt x="31" y="9"/>
                    <a:pt x="31" y="9"/>
                    <a:pt x="31" y="8"/>
                  </a:cubicBezTo>
                  <a:cubicBezTo>
                    <a:pt x="31" y="8"/>
                    <a:pt x="31" y="8"/>
                    <a:pt x="30" y="8"/>
                  </a:cubicBezTo>
                  <a:cubicBezTo>
                    <a:pt x="30" y="8"/>
                    <a:pt x="29" y="8"/>
                    <a:pt x="29" y="9"/>
                  </a:cubicBezTo>
                  <a:cubicBezTo>
                    <a:pt x="29" y="9"/>
                    <a:pt x="28" y="9"/>
                    <a:pt x="28" y="10"/>
                  </a:cubicBezTo>
                  <a:cubicBezTo>
                    <a:pt x="28" y="10"/>
                    <a:pt x="27" y="11"/>
                    <a:pt x="26" y="11"/>
                  </a:cubicBezTo>
                  <a:cubicBezTo>
                    <a:pt x="25" y="12"/>
                    <a:pt x="25" y="12"/>
                    <a:pt x="24" y="13"/>
                  </a:cubicBezTo>
                  <a:cubicBezTo>
                    <a:pt x="24" y="13"/>
                    <a:pt x="24" y="14"/>
                    <a:pt x="24" y="14"/>
                  </a:cubicBezTo>
                  <a:cubicBezTo>
                    <a:pt x="24" y="15"/>
                    <a:pt x="25" y="16"/>
                    <a:pt x="26" y="16"/>
                  </a:cubicBez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29" name="Freeform 25">
              <a:extLst>
                <a:ext uri="{FF2B5EF4-FFF2-40B4-BE49-F238E27FC236}">
                  <a16:creationId xmlns:a16="http://schemas.microsoft.com/office/drawing/2014/main" id="{1AA69EF1-F886-FD4A-ADF2-43E62D6F4F41}"/>
                </a:ext>
              </a:extLst>
            </p:cNvPr>
            <p:cNvSpPr>
              <a:spLocks/>
            </p:cNvSpPr>
            <p:nvPr/>
          </p:nvSpPr>
          <p:spPr bwMode="auto">
            <a:xfrm>
              <a:off x="2152650" y="3897313"/>
              <a:ext cx="498475" cy="236538"/>
            </a:xfrm>
            <a:custGeom>
              <a:avLst/>
              <a:gdLst>
                <a:gd name="T0" fmla="*/ 1317606410 w 131"/>
                <a:gd name="T1" fmla="*/ 494875647 h 62"/>
                <a:gd name="T2" fmla="*/ 1447917669 w 131"/>
                <a:gd name="T3" fmla="*/ 363879377 h 62"/>
                <a:gd name="T4" fmla="*/ 1737501203 w 131"/>
                <a:gd name="T5" fmla="*/ 523988897 h 62"/>
                <a:gd name="T6" fmla="*/ 1867816266 w 131"/>
                <a:gd name="T7" fmla="*/ 392988811 h 62"/>
                <a:gd name="T8" fmla="*/ 1650625762 w 131"/>
                <a:gd name="T9" fmla="*/ 261992541 h 62"/>
                <a:gd name="T10" fmla="*/ 1491357292 w 131"/>
                <a:gd name="T11" fmla="*/ 116441553 h 62"/>
                <a:gd name="T12" fmla="*/ 1375524639 w 131"/>
                <a:gd name="T13" fmla="*/ 130996270 h 62"/>
                <a:gd name="T14" fmla="*/ 1216252364 w 131"/>
                <a:gd name="T15" fmla="*/ 160105705 h 62"/>
                <a:gd name="T16" fmla="*/ 1042501483 w 131"/>
                <a:gd name="T17" fmla="*/ 130996270 h 62"/>
                <a:gd name="T18" fmla="*/ 825314784 w 131"/>
                <a:gd name="T19" fmla="*/ 0 h 62"/>
                <a:gd name="T20" fmla="*/ 781875161 w 131"/>
                <a:gd name="T21" fmla="*/ 43664152 h 62"/>
                <a:gd name="T22" fmla="*/ 709478326 w 131"/>
                <a:gd name="T23" fmla="*/ 29109435 h 62"/>
                <a:gd name="T24" fmla="*/ 637085296 w 131"/>
                <a:gd name="T25" fmla="*/ 58222684 h 62"/>
                <a:gd name="T26" fmla="*/ 361980369 w 131"/>
                <a:gd name="T27" fmla="*/ 29109435 h 62"/>
                <a:gd name="T28" fmla="*/ 260626322 w 131"/>
                <a:gd name="T29" fmla="*/ 72777401 h 62"/>
                <a:gd name="T30" fmla="*/ 72396835 w 131"/>
                <a:gd name="T31" fmla="*/ 407547344 h 62"/>
                <a:gd name="T32" fmla="*/ 188229487 w 131"/>
                <a:gd name="T33" fmla="*/ 465766213 h 62"/>
                <a:gd name="T34" fmla="*/ 318540746 w 131"/>
                <a:gd name="T35" fmla="*/ 349324660 h 62"/>
                <a:gd name="T36" fmla="*/ 361980369 w 131"/>
                <a:gd name="T37" fmla="*/ 349324660 h 62"/>
                <a:gd name="T38" fmla="*/ 564688462 w 131"/>
                <a:gd name="T39" fmla="*/ 261992541 h 62"/>
                <a:gd name="T40" fmla="*/ 680521114 w 131"/>
                <a:gd name="T41" fmla="*/ 247437824 h 62"/>
                <a:gd name="T42" fmla="*/ 694999720 w 131"/>
                <a:gd name="T43" fmla="*/ 276547258 h 62"/>
                <a:gd name="T44" fmla="*/ 752917949 w 131"/>
                <a:gd name="T45" fmla="*/ 436656778 h 62"/>
                <a:gd name="T46" fmla="*/ 897707813 w 131"/>
                <a:gd name="T47" fmla="*/ 611317200 h 62"/>
                <a:gd name="T48" fmla="*/ 883229207 w 131"/>
                <a:gd name="T49" fmla="*/ 698649319 h 62"/>
                <a:gd name="T50" fmla="*/ 752917949 w 131"/>
                <a:gd name="T51" fmla="*/ 669539885 h 62"/>
                <a:gd name="T52" fmla="*/ 694999720 w 131"/>
                <a:gd name="T53" fmla="*/ 771426721 h 62"/>
                <a:gd name="T54" fmla="*/ 564688462 w 131"/>
                <a:gd name="T55" fmla="*/ 771426721 h 62"/>
                <a:gd name="T56" fmla="*/ 579167068 w 131"/>
                <a:gd name="T57" fmla="*/ 887868274 h 62"/>
                <a:gd name="T58" fmla="*/ 825314784 w 131"/>
                <a:gd name="T59" fmla="*/ 800536155 h 62"/>
                <a:gd name="T60" fmla="*/ 1028022877 w 131"/>
                <a:gd name="T61" fmla="*/ 844200307 h 62"/>
                <a:gd name="T62" fmla="*/ 1158334135 w 131"/>
                <a:gd name="T63" fmla="*/ 902422991 h 62"/>
                <a:gd name="T64" fmla="*/ 1230730970 w 131"/>
                <a:gd name="T65" fmla="*/ 873313557 h 62"/>
                <a:gd name="T66" fmla="*/ 1303127805 w 131"/>
                <a:gd name="T67" fmla="*/ 654985167 h 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1" h="62">
                  <a:moveTo>
                    <a:pt x="90" y="45"/>
                  </a:moveTo>
                  <a:cubicBezTo>
                    <a:pt x="91" y="34"/>
                    <a:pt x="91" y="34"/>
                    <a:pt x="91" y="34"/>
                  </a:cubicBezTo>
                  <a:cubicBezTo>
                    <a:pt x="98" y="30"/>
                    <a:pt x="98" y="30"/>
                    <a:pt x="98" y="30"/>
                  </a:cubicBezTo>
                  <a:cubicBezTo>
                    <a:pt x="100" y="25"/>
                    <a:pt x="100" y="25"/>
                    <a:pt x="100" y="25"/>
                  </a:cubicBezTo>
                  <a:cubicBezTo>
                    <a:pt x="110" y="27"/>
                    <a:pt x="110" y="27"/>
                    <a:pt x="110" y="27"/>
                  </a:cubicBezTo>
                  <a:cubicBezTo>
                    <a:pt x="120" y="36"/>
                    <a:pt x="120" y="36"/>
                    <a:pt x="120" y="36"/>
                  </a:cubicBezTo>
                  <a:cubicBezTo>
                    <a:pt x="131" y="37"/>
                    <a:pt x="131" y="37"/>
                    <a:pt x="131" y="37"/>
                  </a:cubicBezTo>
                  <a:cubicBezTo>
                    <a:pt x="129" y="27"/>
                    <a:pt x="129" y="27"/>
                    <a:pt x="129" y="27"/>
                  </a:cubicBezTo>
                  <a:cubicBezTo>
                    <a:pt x="124" y="27"/>
                    <a:pt x="124" y="27"/>
                    <a:pt x="124" y="27"/>
                  </a:cubicBezTo>
                  <a:cubicBezTo>
                    <a:pt x="114" y="18"/>
                    <a:pt x="114" y="18"/>
                    <a:pt x="114" y="18"/>
                  </a:cubicBezTo>
                  <a:cubicBezTo>
                    <a:pt x="111" y="7"/>
                    <a:pt x="111" y="7"/>
                    <a:pt x="111" y="7"/>
                  </a:cubicBezTo>
                  <a:cubicBezTo>
                    <a:pt x="103" y="8"/>
                    <a:pt x="103" y="8"/>
                    <a:pt x="103" y="8"/>
                  </a:cubicBezTo>
                  <a:cubicBezTo>
                    <a:pt x="97" y="4"/>
                    <a:pt x="97" y="4"/>
                    <a:pt x="97" y="4"/>
                  </a:cubicBezTo>
                  <a:cubicBezTo>
                    <a:pt x="95" y="9"/>
                    <a:pt x="95" y="9"/>
                    <a:pt x="95" y="9"/>
                  </a:cubicBezTo>
                  <a:cubicBezTo>
                    <a:pt x="92" y="12"/>
                    <a:pt x="92" y="12"/>
                    <a:pt x="92" y="12"/>
                  </a:cubicBezTo>
                  <a:cubicBezTo>
                    <a:pt x="84" y="11"/>
                    <a:pt x="84" y="11"/>
                    <a:pt x="84" y="11"/>
                  </a:cubicBezTo>
                  <a:cubicBezTo>
                    <a:pt x="81" y="6"/>
                    <a:pt x="81" y="6"/>
                    <a:pt x="81" y="6"/>
                  </a:cubicBezTo>
                  <a:cubicBezTo>
                    <a:pt x="72" y="9"/>
                    <a:pt x="72" y="9"/>
                    <a:pt x="72" y="9"/>
                  </a:cubicBezTo>
                  <a:cubicBezTo>
                    <a:pt x="57" y="7"/>
                    <a:pt x="57" y="7"/>
                    <a:pt x="57" y="7"/>
                  </a:cubicBezTo>
                  <a:cubicBezTo>
                    <a:pt x="57" y="0"/>
                    <a:pt x="57" y="0"/>
                    <a:pt x="57" y="0"/>
                  </a:cubicBezTo>
                  <a:cubicBezTo>
                    <a:pt x="52" y="0"/>
                    <a:pt x="52" y="0"/>
                    <a:pt x="52" y="0"/>
                  </a:cubicBezTo>
                  <a:cubicBezTo>
                    <a:pt x="54" y="3"/>
                    <a:pt x="54" y="3"/>
                    <a:pt x="54" y="3"/>
                  </a:cubicBezTo>
                  <a:cubicBezTo>
                    <a:pt x="51" y="4"/>
                    <a:pt x="51" y="4"/>
                    <a:pt x="51" y="4"/>
                  </a:cubicBezTo>
                  <a:cubicBezTo>
                    <a:pt x="49" y="2"/>
                    <a:pt x="49" y="2"/>
                    <a:pt x="49" y="2"/>
                  </a:cubicBezTo>
                  <a:cubicBezTo>
                    <a:pt x="46" y="6"/>
                    <a:pt x="46" y="6"/>
                    <a:pt x="46" y="6"/>
                  </a:cubicBezTo>
                  <a:cubicBezTo>
                    <a:pt x="44" y="4"/>
                    <a:pt x="44" y="4"/>
                    <a:pt x="44" y="4"/>
                  </a:cubicBezTo>
                  <a:cubicBezTo>
                    <a:pt x="39" y="6"/>
                    <a:pt x="39" y="6"/>
                    <a:pt x="39" y="6"/>
                  </a:cubicBezTo>
                  <a:cubicBezTo>
                    <a:pt x="25" y="2"/>
                    <a:pt x="25" y="2"/>
                    <a:pt x="25" y="2"/>
                  </a:cubicBezTo>
                  <a:cubicBezTo>
                    <a:pt x="23" y="9"/>
                    <a:pt x="23" y="9"/>
                    <a:pt x="23" y="9"/>
                  </a:cubicBezTo>
                  <a:cubicBezTo>
                    <a:pt x="18" y="5"/>
                    <a:pt x="18" y="5"/>
                    <a:pt x="18" y="5"/>
                  </a:cubicBezTo>
                  <a:cubicBezTo>
                    <a:pt x="0" y="15"/>
                    <a:pt x="0" y="15"/>
                    <a:pt x="0" y="15"/>
                  </a:cubicBezTo>
                  <a:cubicBezTo>
                    <a:pt x="5" y="28"/>
                    <a:pt x="5" y="28"/>
                    <a:pt x="5" y="28"/>
                  </a:cubicBezTo>
                  <a:cubicBezTo>
                    <a:pt x="6" y="28"/>
                    <a:pt x="7" y="28"/>
                    <a:pt x="8" y="28"/>
                  </a:cubicBezTo>
                  <a:cubicBezTo>
                    <a:pt x="10" y="29"/>
                    <a:pt x="11" y="32"/>
                    <a:pt x="13" y="32"/>
                  </a:cubicBezTo>
                  <a:cubicBezTo>
                    <a:pt x="15" y="33"/>
                    <a:pt x="17" y="31"/>
                    <a:pt x="18" y="29"/>
                  </a:cubicBezTo>
                  <a:cubicBezTo>
                    <a:pt x="19" y="28"/>
                    <a:pt x="20" y="25"/>
                    <a:pt x="22" y="24"/>
                  </a:cubicBezTo>
                  <a:cubicBezTo>
                    <a:pt x="22" y="24"/>
                    <a:pt x="23" y="23"/>
                    <a:pt x="23" y="23"/>
                  </a:cubicBezTo>
                  <a:cubicBezTo>
                    <a:pt x="24" y="23"/>
                    <a:pt x="25" y="24"/>
                    <a:pt x="25" y="24"/>
                  </a:cubicBezTo>
                  <a:cubicBezTo>
                    <a:pt x="28" y="26"/>
                    <a:pt x="32" y="25"/>
                    <a:pt x="35" y="22"/>
                  </a:cubicBezTo>
                  <a:cubicBezTo>
                    <a:pt x="36" y="21"/>
                    <a:pt x="37" y="18"/>
                    <a:pt x="39" y="18"/>
                  </a:cubicBezTo>
                  <a:cubicBezTo>
                    <a:pt x="40" y="17"/>
                    <a:pt x="41" y="17"/>
                    <a:pt x="42" y="17"/>
                  </a:cubicBezTo>
                  <a:cubicBezTo>
                    <a:pt x="44" y="17"/>
                    <a:pt x="45" y="17"/>
                    <a:pt x="47" y="17"/>
                  </a:cubicBezTo>
                  <a:cubicBezTo>
                    <a:pt x="47" y="17"/>
                    <a:pt x="48" y="17"/>
                    <a:pt x="48" y="18"/>
                  </a:cubicBezTo>
                  <a:cubicBezTo>
                    <a:pt x="48" y="18"/>
                    <a:pt x="48" y="18"/>
                    <a:pt x="48" y="19"/>
                  </a:cubicBezTo>
                  <a:cubicBezTo>
                    <a:pt x="48" y="21"/>
                    <a:pt x="47" y="23"/>
                    <a:pt x="48" y="25"/>
                  </a:cubicBezTo>
                  <a:cubicBezTo>
                    <a:pt x="49" y="26"/>
                    <a:pt x="50" y="28"/>
                    <a:pt x="52" y="30"/>
                  </a:cubicBezTo>
                  <a:cubicBezTo>
                    <a:pt x="53" y="32"/>
                    <a:pt x="55" y="35"/>
                    <a:pt x="56" y="37"/>
                  </a:cubicBezTo>
                  <a:cubicBezTo>
                    <a:pt x="57" y="39"/>
                    <a:pt x="60" y="40"/>
                    <a:pt x="62" y="42"/>
                  </a:cubicBezTo>
                  <a:cubicBezTo>
                    <a:pt x="65" y="44"/>
                    <a:pt x="62" y="44"/>
                    <a:pt x="62" y="45"/>
                  </a:cubicBezTo>
                  <a:cubicBezTo>
                    <a:pt x="62" y="47"/>
                    <a:pt x="62" y="48"/>
                    <a:pt x="61" y="48"/>
                  </a:cubicBezTo>
                  <a:cubicBezTo>
                    <a:pt x="61" y="49"/>
                    <a:pt x="58" y="49"/>
                    <a:pt x="57" y="48"/>
                  </a:cubicBezTo>
                  <a:cubicBezTo>
                    <a:pt x="56" y="47"/>
                    <a:pt x="54" y="46"/>
                    <a:pt x="52" y="46"/>
                  </a:cubicBezTo>
                  <a:cubicBezTo>
                    <a:pt x="50" y="47"/>
                    <a:pt x="51" y="48"/>
                    <a:pt x="51" y="49"/>
                  </a:cubicBezTo>
                  <a:cubicBezTo>
                    <a:pt x="51" y="50"/>
                    <a:pt x="50" y="52"/>
                    <a:pt x="48" y="53"/>
                  </a:cubicBezTo>
                  <a:cubicBezTo>
                    <a:pt x="47" y="53"/>
                    <a:pt x="42" y="53"/>
                    <a:pt x="40" y="53"/>
                  </a:cubicBezTo>
                  <a:cubicBezTo>
                    <a:pt x="40" y="53"/>
                    <a:pt x="40" y="53"/>
                    <a:pt x="39" y="53"/>
                  </a:cubicBezTo>
                  <a:cubicBezTo>
                    <a:pt x="38" y="55"/>
                    <a:pt x="38" y="55"/>
                    <a:pt x="38" y="55"/>
                  </a:cubicBezTo>
                  <a:cubicBezTo>
                    <a:pt x="40" y="61"/>
                    <a:pt x="40" y="61"/>
                    <a:pt x="40" y="61"/>
                  </a:cubicBezTo>
                  <a:cubicBezTo>
                    <a:pt x="47" y="62"/>
                    <a:pt x="47" y="62"/>
                    <a:pt x="47" y="62"/>
                  </a:cubicBezTo>
                  <a:cubicBezTo>
                    <a:pt x="57" y="55"/>
                    <a:pt x="57" y="55"/>
                    <a:pt x="57" y="55"/>
                  </a:cubicBezTo>
                  <a:cubicBezTo>
                    <a:pt x="60" y="58"/>
                    <a:pt x="60" y="58"/>
                    <a:pt x="60" y="58"/>
                  </a:cubicBezTo>
                  <a:cubicBezTo>
                    <a:pt x="71" y="58"/>
                    <a:pt x="71" y="58"/>
                    <a:pt x="71" y="58"/>
                  </a:cubicBezTo>
                  <a:cubicBezTo>
                    <a:pt x="73" y="61"/>
                    <a:pt x="73" y="61"/>
                    <a:pt x="73" y="61"/>
                  </a:cubicBezTo>
                  <a:cubicBezTo>
                    <a:pt x="80" y="62"/>
                    <a:pt x="80" y="62"/>
                    <a:pt x="80" y="62"/>
                  </a:cubicBezTo>
                  <a:cubicBezTo>
                    <a:pt x="82" y="60"/>
                    <a:pt x="82" y="60"/>
                    <a:pt x="82" y="60"/>
                  </a:cubicBezTo>
                  <a:cubicBezTo>
                    <a:pt x="85" y="60"/>
                    <a:pt x="85" y="60"/>
                    <a:pt x="85" y="60"/>
                  </a:cubicBezTo>
                  <a:cubicBezTo>
                    <a:pt x="84" y="51"/>
                    <a:pt x="84" y="51"/>
                    <a:pt x="84" y="51"/>
                  </a:cubicBezTo>
                  <a:lnTo>
                    <a:pt x="90" y="45"/>
                  </a:lnTo>
                  <a:close/>
                </a:path>
              </a:pathLst>
            </a:custGeom>
            <a:solidFill>
              <a:schemeClr val="accent5">
                <a:lumMod val="60000"/>
                <a:lumOff val="40000"/>
              </a:schemeClr>
            </a:solidFill>
            <a:ln w="7938" cap="flat">
              <a:solidFill>
                <a:schemeClr val="accent5"/>
              </a:solidFill>
              <a:prstDash val="solid"/>
              <a:miter lim="800000"/>
              <a:headEnd/>
              <a:tailEnd/>
            </a:ln>
          </p:spPr>
          <p:txBody>
            <a:bodyPr/>
            <a:lstStyle/>
            <a:p>
              <a:endParaRPr lang="ru-RU"/>
            </a:p>
          </p:txBody>
        </p:sp>
        <p:sp>
          <p:nvSpPr>
            <p:cNvPr id="30" name="Freeform 26">
              <a:extLst>
                <a:ext uri="{FF2B5EF4-FFF2-40B4-BE49-F238E27FC236}">
                  <a16:creationId xmlns:a16="http://schemas.microsoft.com/office/drawing/2014/main" id="{D33D2B66-A0FD-2899-81E0-A00A71B7FA9E}"/>
                </a:ext>
              </a:extLst>
            </p:cNvPr>
            <p:cNvSpPr>
              <a:spLocks/>
            </p:cNvSpPr>
            <p:nvPr/>
          </p:nvSpPr>
          <p:spPr bwMode="auto">
            <a:xfrm>
              <a:off x="1943100" y="3744913"/>
              <a:ext cx="288925" cy="381000"/>
            </a:xfrm>
            <a:custGeom>
              <a:avLst/>
              <a:gdLst>
                <a:gd name="T0" fmla="*/ 1055032447 w 76"/>
                <a:gd name="T1" fmla="*/ 348386400 h 100"/>
                <a:gd name="T2" fmla="*/ 910509121 w 76"/>
                <a:gd name="T3" fmla="*/ 391934700 h 100"/>
                <a:gd name="T4" fmla="*/ 838243656 w 76"/>
                <a:gd name="T5" fmla="*/ 319354200 h 100"/>
                <a:gd name="T6" fmla="*/ 765981993 w 76"/>
                <a:gd name="T7" fmla="*/ 246773700 h 100"/>
                <a:gd name="T8" fmla="*/ 780435846 w 76"/>
                <a:gd name="T9" fmla="*/ 116128800 h 100"/>
                <a:gd name="T10" fmla="*/ 476931539 w 76"/>
                <a:gd name="T11" fmla="*/ 0 h 100"/>
                <a:gd name="T12" fmla="*/ 332408213 w 76"/>
                <a:gd name="T13" fmla="*/ 43548300 h 100"/>
                <a:gd name="T14" fmla="*/ 202334938 w 76"/>
                <a:gd name="T15" fmla="*/ 159677100 h 100"/>
                <a:gd name="T16" fmla="*/ 115619421 w 76"/>
                <a:gd name="T17" fmla="*/ 391934700 h 100"/>
                <a:gd name="T18" fmla="*/ 0 w 76"/>
                <a:gd name="T19" fmla="*/ 682256700 h 100"/>
                <a:gd name="T20" fmla="*/ 72261663 w 76"/>
                <a:gd name="T21" fmla="*/ 769353300 h 100"/>
                <a:gd name="T22" fmla="*/ 72261663 w 76"/>
                <a:gd name="T23" fmla="*/ 783869400 h 100"/>
                <a:gd name="T24" fmla="*/ 144523326 w 76"/>
                <a:gd name="T25" fmla="*/ 798385500 h 100"/>
                <a:gd name="T26" fmla="*/ 130073275 w 76"/>
                <a:gd name="T27" fmla="*/ 827417700 h 100"/>
                <a:gd name="T28" fmla="*/ 115619421 w 76"/>
                <a:gd name="T29" fmla="*/ 856449900 h 100"/>
                <a:gd name="T30" fmla="*/ 130073275 w 76"/>
                <a:gd name="T31" fmla="*/ 856449900 h 100"/>
                <a:gd name="T32" fmla="*/ 173431033 w 76"/>
                <a:gd name="T33" fmla="*/ 783869400 h 100"/>
                <a:gd name="T34" fmla="*/ 202334938 w 76"/>
                <a:gd name="T35" fmla="*/ 783869400 h 100"/>
                <a:gd name="T36" fmla="*/ 245692696 w 76"/>
                <a:gd name="T37" fmla="*/ 769353300 h 100"/>
                <a:gd name="T38" fmla="*/ 260146549 w 76"/>
                <a:gd name="T39" fmla="*/ 798385500 h 100"/>
                <a:gd name="T40" fmla="*/ 289050454 w 76"/>
                <a:gd name="T41" fmla="*/ 827417700 h 100"/>
                <a:gd name="T42" fmla="*/ 245692696 w 76"/>
                <a:gd name="T43" fmla="*/ 885482100 h 100"/>
                <a:gd name="T44" fmla="*/ 231238843 w 76"/>
                <a:gd name="T45" fmla="*/ 1016127000 h 100"/>
                <a:gd name="T46" fmla="*/ 346858264 w 76"/>
                <a:gd name="T47" fmla="*/ 1030643100 h 100"/>
                <a:gd name="T48" fmla="*/ 375765971 w 76"/>
                <a:gd name="T49" fmla="*/ 1045159200 h 100"/>
                <a:gd name="T50" fmla="*/ 404669876 w 76"/>
                <a:gd name="T51" fmla="*/ 1117739700 h 100"/>
                <a:gd name="T52" fmla="*/ 462481487 w 76"/>
                <a:gd name="T53" fmla="*/ 1117739700 h 100"/>
                <a:gd name="T54" fmla="*/ 505839245 w 76"/>
                <a:gd name="T55" fmla="*/ 1161288000 h 100"/>
                <a:gd name="T56" fmla="*/ 520289297 w 76"/>
                <a:gd name="T57" fmla="*/ 1277416800 h 100"/>
                <a:gd name="T58" fmla="*/ 534743150 w 76"/>
                <a:gd name="T59" fmla="*/ 1335481200 h 100"/>
                <a:gd name="T60" fmla="*/ 578100909 w 76"/>
                <a:gd name="T61" fmla="*/ 1379029500 h 100"/>
                <a:gd name="T62" fmla="*/ 563647055 w 76"/>
                <a:gd name="T63" fmla="*/ 1422577800 h 100"/>
                <a:gd name="T64" fmla="*/ 578100909 w 76"/>
                <a:gd name="T65" fmla="*/ 1451610000 h 100"/>
                <a:gd name="T66" fmla="*/ 635908718 w 76"/>
                <a:gd name="T67" fmla="*/ 1379029500 h 100"/>
                <a:gd name="T68" fmla="*/ 765981993 w 76"/>
                <a:gd name="T69" fmla="*/ 1248384600 h 100"/>
                <a:gd name="T70" fmla="*/ 751531941 w 76"/>
                <a:gd name="T71" fmla="*/ 1132255800 h 100"/>
                <a:gd name="T72" fmla="*/ 679266477 w 76"/>
                <a:gd name="T73" fmla="*/ 1074191400 h 100"/>
                <a:gd name="T74" fmla="*/ 708174183 w 76"/>
                <a:gd name="T75" fmla="*/ 1059675300 h 100"/>
                <a:gd name="T76" fmla="*/ 867151363 w 76"/>
                <a:gd name="T77" fmla="*/ 987094800 h 100"/>
                <a:gd name="T78" fmla="*/ 1055032447 w 76"/>
                <a:gd name="T79" fmla="*/ 653224500 h 100"/>
                <a:gd name="T80" fmla="*/ 1098390206 w 76"/>
                <a:gd name="T81" fmla="*/ 420966900 h 1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6" h="100">
                  <a:moveTo>
                    <a:pt x="76" y="29"/>
                  </a:moveTo>
                  <a:cubicBezTo>
                    <a:pt x="73" y="24"/>
                    <a:pt x="73" y="24"/>
                    <a:pt x="73" y="24"/>
                  </a:cubicBezTo>
                  <a:cubicBezTo>
                    <a:pt x="69" y="28"/>
                    <a:pt x="69" y="28"/>
                    <a:pt x="69" y="28"/>
                  </a:cubicBezTo>
                  <a:cubicBezTo>
                    <a:pt x="63" y="27"/>
                    <a:pt x="63" y="27"/>
                    <a:pt x="63" y="27"/>
                  </a:cubicBezTo>
                  <a:cubicBezTo>
                    <a:pt x="64" y="22"/>
                    <a:pt x="64" y="22"/>
                    <a:pt x="64" y="22"/>
                  </a:cubicBezTo>
                  <a:cubicBezTo>
                    <a:pt x="58" y="22"/>
                    <a:pt x="58" y="22"/>
                    <a:pt x="58" y="22"/>
                  </a:cubicBezTo>
                  <a:cubicBezTo>
                    <a:pt x="60" y="13"/>
                    <a:pt x="60" y="13"/>
                    <a:pt x="60" y="13"/>
                  </a:cubicBezTo>
                  <a:cubicBezTo>
                    <a:pt x="53" y="17"/>
                    <a:pt x="53" y="17"/>
                    <a:pt x="53" y="17"/>
                  </a:cubicBezTo>
                  <a:cubicBezTo>
                    <a:pt x="52" y="12"/>
                    <a:pt x="52" y="12"/>
                    <a:pt x="52" y="12"/>
                  </a:cubicBezTo>
                  <a:cubicBezTo>
                    <a:pt x="54" y="8"/>
                    <a:pt x="54" y="8"/>
                    <a:pt x="54" y="8"/>
                  </a:cubicBezTo>
                  <a:cubicBezTo>
                    <a:pt x="50" y="0"/>
                    <a:pt x="50" y="0"/>
                    <a:pt x="50" y="0"/>
                  </a:cubicBezTo>
                  <a:cubicBezTo>
                    <a:pt x="33" y="0"/>
                    <a:pt x="33" y="0"/>
                    <a:pt x="33" y="0"/>
                  </a:cubicBezTo>
                  <a:cubicBezTo>
                    <a:pt x="27" y="7"/>
                    <a:pt x="27" y="7"/>
                    <a:pt x="27" y="7"/>
                  </a:cubicBezTo>
                  <a:cubicBezTo>
                    <a:pt x="23" y="3"/>
                    <a:pt x="23" y="3"/>
                    <a:pt x="23" y="3"/>
                  </a:cubicBezTo>
                  <a:cubicBezTo>
                    <a:pt x="20" y="2"/>
                    <a:pt x="20" y="2"/>
                    <a:pt x="20" y="2"/>
                  </a:cubicBezTo>
                  <a:cubicBezTo>
                    <a:pt x="14" y="11"/>
                    <a:pt x="14" y="11"/>
                    <a:pt x="14" y="11"/>
                  </a:cubicBezTo>
                  <a:cubicBezTo>
                    <a:pt x="14" y="24"/>
                    <a:pt x="14" y="24"/>
                    <a:pt x="14" y="24"/>
                  </a:cubicBezTo>
                  <a:cubicBezTo>
                    <a:pt x="8" y="27"/>
                    <a:pt x="8" y="27"/>
                    <a:pt x="8" y="27"/>
                  </a:cubicBezTo>
                  <a:cubicBezTo>
                    <a:pt x="4" y="43"/>
                    <a:pt x="4" y="43"/>
                    <a:pt x="4" y="43"/>
                  </a:cubicBezTo>
                  <a:cubicBezTo>
                    <a:pt x="0" y="47"/>
                    <a:pt x="0" y="47"/>
                    <a:pt x="0" y="47"/>
                  </a:cubicBezTo>
                  <a:cubicBezTo>
                    <a:pt x="1" y="48"/>
                    <a:pt x="2" y="50"/>
                    <a:pt x="3" y="51"/>
                  </a:cubicBezTo>
                  <a:cubicBezTo>
                    <a:pt x="3" y="51"/>
                    <a:pt x="4" y="52"/>
                    <a:pt x="5" y="53"/>
                  </a:cubicBezTo>
                  <a:cubicBezTo>
                    <a:pt x="5" y="53"/>
                    <a:pt x="5" y="53"/>
                    <a:pt x="5" y="54"/>
                  </a:cubicBezTo>
                  <a:cubicBezTo>
                    <a:pt x="5" y="54"/>
                    <a:pt x="5" y="54"/>
                    <a:pt x="5" y="54"/>
                  </a:cubicBezTo>
                  <a:cubicBezTo>
                    <a:pt x="6" y="54"/>
                    <a:pt x="7" y="54"/>
                    <a:pt x="8" y="54"/>
                  </a:cubicBezTo>
                  <a:cubicBezTo>
                    <a:pt x="9" y="54"/>
                    <a:pt x="10" y="54"/>
                    <a:pt x="10" y="55"/>
                  </a:cubicBezTo>
                  <a:cubicBezTo>
                    <a:pt x="10" y="55"/>
                    <a:pt x="10" y="56"/>
                    <a:pt x="10" y="56"/>
                  </a:cubicBezTo>
                  <a:cubicBezTo>
                    <a:pt x="10" y="56"/>
                    <a:pt x="9" y="57"/>
                    <a:pt x="9" y="57"/>
                  </a:cubicBezTo>
                  <a:cubicBezTo>
                    <a:pt x="9" y="57"/>
                    <a:pt x="8" y="57"/>
                    <a:pt x="8" y="57"/>
                  </a:cubicBezTo>
                  <a:cubicBezTo>
                    <a:pt x="8" y="58"/>
                    <a:pt x="8" y="58"/>
                    <a:pt x="8" y="59"/>
                  </a:cubicBezTo>
                  <a:cubicBezTo>
                    <a:pt x="8" y="59"/>
                    <a:pt x="8" y="59"/>
                    <a:pt x="8" y="59"/>
                  </a:cubicBezTo>
                  <a:cubicBezTo>
                    <a:pt x="8" y="59"/>
                    <a:pt x="8" y="59"/>
                    <a:pt x="9" y="59"/>
                  </a:cubicBezTo>
                  <a:cubicBezTo>
                    <a:pt x="10" y="58"/>
                    <a:pt x="11" y="57"/>
                    <a:pt x="11" y="55"/>
                  </a:cubicBezTo>
                  <a:cubicBezTo>
                    <a:pt x="11" y="55"/>
                    <a:pt x="11" y="54"/>
                    <a:pt x="12" y="54"/>
                  </a:cubicBezTo>
                  <a:cubicBezTo>
                    <a:pt x="12" y="54"/>
                    <a:pt x="12" y="54"/>
                    <a:pt x="12" y="54"/>
                  </a:cubicBezTo>
                  <a:cubicBezTo>
                    <a:pt x="13" y="54"/>
                    <a:pt x="14" y="54"/>
                    <a:pt x="14" y="54"/>
                  </a:cubicBezTo>
                  <a:cubicBezTo>
                    <a:pt x="15" y="54"/>
                    <a:pt x="15" y="54"/>
                    <a:pt x="16" y="54"/>
                  </a:cubicBezTo>
                  <a:cubicBezTo>
                    <a:pt x="16" y="54"/>
                    <a:pt x="17" y="54"/>
                    <a:pt x="17" y="53"/>
                  </a:cubicBezTo>
                  <a:cubicBezTo>
                    <a:pt x="17" y="53"/>
                    <a:pt x="18" y="53"/>
                    <a:pt x="18" y="53"/>
                  </a:cubicBezTo>
                  <a:cubicBezTo>
                    <a:pt x="19" y="54"/>
                    <a:pt x="18" y="54"/>
                    <a:pt x="18" y="55"/>
                  </a:cubicBezTo>
                  <a:cubicBezTo>
                    <a:pt x="19" y="56"/>
                    <a:pt x="20" y="55"/>
                    <a:pt x="20" y="56"/>
                  </a:cubicBezTo>
                  <a:cubicBezTo>
                    <a:pt x="20" y="57"/>
                    <a:pt x="20" y="57"/>
                    <a:pt x="20" y="57"/>
                  </a:cubicBezTo>
                  <a:cubicBezTo>
                    <a:pt x="19" y="57"/>
                    <a:pt x="19" y="58"/>
                    <a:pt x="19" y="58"/>
                  </a:cubicBezTo>
                  <a:cubicBezTo>
                    <a:pt x="18" y="59"/>
                    <a:pt x="18" y="60"/>
                    <a:pt x="17" y="61"/>
                  </a:cubicBezTo>
                  <a:cubicBezTo>
                    <a:pt x="16" y="62"/>
                    <a:pt x="14" y="63"/>
                    <a:pt x="14" y="65"/>
                  </a:cubicBezTo>
                  <a:cubicBezTo>
                    <a:pt x="14" y="67"/>
                    <a:pt x="15" y="69"/>
                    <a:pt x="16" y="70"/>
                  </a:cubicBezTo>
                  <a:cubicBezTo>
                    <a:pt x="17" y="71"/>
                    <a:pt x="18" y="72"/>
                    <a:pt x="20" y="72"/>
                  </a:cubicBezTo>
                  <a:cubicBezTo>
                    <a:pt x="21" y="72"/>
                    <a:pt x="23" y="71"/>
                    <a:pt x="24" y="71"/>
                  </a:cubicBezTo>
                  <a:cubicBezTo>
                    <a:pt x="25" y="71"/>
                    <a:pt x="25" y="71"/>
                    <a:pt x="25" y="72"/>
                  </a:cubicBezTo>
                  <a:cubicBezTo>
                    <a:pt x="26" y="72"/>
                    <a:pt x="26" y="72"/>
                    <a:pt x="26" y="72"/>
                  </a:cubicBezTo>
                  <a:cubicBezTo>
                    <a:pt x="27" y="73"/>
                    <a:pt x="27" y="75"/>
                    <a:pt x="28" y="76"/>
                  </a:cubicBezTo>
                  <a:cubicBezTo>
                    <a:pt x="28" y="76"/>
                    <a:pt x="28" y="76"/>
                    <a:pt x="28" y="77"/>
                  </a:cubicBezTo>
                  <a:cubicBezTo>
                    <a:pt x="28" y="77"/>
                    <a:pt x="29" y="77"/>
                    <a:pt x="29" y="77"/>
                  </a:cubicBezTo>
                  <a:cubicBezTo>
                    <a:pt x="30" y="77"/>
                    <a:pt x="31" y="77"/>
                    <a:pt x="32" y="77"/>
                  </a:cubicBezTo>
                  <a:cubicBezTo>
                    <a:pt x="33" y="78"/>
                    <a:pt x="34" y="78"/>
                    <a:pt x="34" y="79"/>
                  </a:cubicBezTo>
                  <a:cubicBezTo>
                    <a:pt x="34" y="79"/>
                    <a:pt x="35" y="80"/>
                    <a:pt x="35" y="80"/>
                  </a:cubicBezTo>
                  <a:cubicBezTo>
                    <a:pt x="35" y="82"/>
                    <a:pt x="35" y="84"/>
                    <a:pt x="35" y="85"/>
                  </a:cubicBezTo>
                  <a:cubicBezTo>
                    <a:pt x="35" y="86"/>
                    <a:pt x="35" y="87"/>
                    <a:pt x="36" y="88"/>
                  </a:cubicBezTo>
                  <a:cubicBezTo>
                    <a:pt x="36" y="88"/>
                    <a:pt x="36" y="88"/>
                    <a:pt x="36" y="89"/>
                  </a:cubicBezTo>
                  <a:cubicBezTo>
                    <a:pt x="37" y="89"/>
                    <a:pt x="36" y="91"/>
                    <a:pt x="37" y="92"/>
                  </a:cubicBezTo>
                  <a:cubicBezTo>
                    <a:pt x="37" y="93"/>
                    <a:pt x="38" y="93"/>
                    <a:pt x="38" y="94"/>
                  </a:cubicBezTo>
                  <a:cubicBezTo>
                    <a:pt x="39" y="94"/>
                    <a:pt x="40" y="95"/>
                    <a:pt x="40" y="95"/>
                  </a:cubicBezTo>
                  <a:cubicBezTo>
                    <a:pt x="41" y="96"/>
                    <a:pt x="41" y="97"/>
                    <a:pt x="40" y="98"/>
                  </a:cubicBezTo>
                  <a:cubicBezTo>
                    <a:pt x="40" y="98"/>
                    <a:pt x="40" y="98"/>
                    <a:pt x="39" y="98"/>
                  </a:cubicBezTo>
                  <a:cubicBezTo>
                    <a:pt x="39" y="99"/>
                    <a:pt x="38" y="99"/>
                    <a:pt x="39" y="100"/>
                  </a:cubicBezTo>
                  <a:cubicBezTo>
                    <a:pt x="39" y="100"/>
                    <a:pt x="39" y="100"/>
                    <a:pt x="40" y="100"/>
                  </a:cubicBezTo>
                  <a:cubicBezTo>
                    <a:pt x="40" y="100"/>
                    <a:pt x="41" y="99"/>
                    <a:pt x="41" y="99"/>
                  </a:cubicBezTo>
                  <a:cubicBezTo>
                    <a:pt x="42" y="97"/>
                    <a:pt x="43" y="96"/>
                    <a:pt x="44" y="95"/>
                  </a:cubicBezTo>
                  <a:cubicBezTo>
                    <a:pt x="46" y="93"/>
                    <a:pt x="49" y="91"/>
                    <a:pt x="51" y="89"/>
                  </a:cubicBezTo>
                  <a:cubicBezTo>
                    <a:pt x="52" y="88"/>
                    <a:pt x="53" y="87"/>
                    <a:pt x="53" y="86"/>
                  </a:cubicBezTo>
                  <a:cubicBezTo>
                    <a:pt x="54" y="85"/>
                    <a:pt x="54" y="83"/>
                    <a:pt x="54" y="82"/>
                  </a:cubicBezTo>
                  <a:cubicBezTo>
                    <a:pt x="54" y="80"/>
                    <a:pt x="53" y="79"/>
                    <a:pt x="52" y="78"/>
                  </a:cubicBezTo>
                  <a:cubicBezTo>
                    <a:pt x="51" y="78"/>
                    <a:pt x="50" y="78"/>
                    <a:pt x="49" y="77"/>
                  </a:cubicBezTo>
                  <a:cubicBezTo>
                    <a:pt x="48" y="77"/>
                    <a:pt x="48" y="75"/>
                    <a:pt x="47" y="74"/>
                  </a:cubicBezTo>
                  <a:cubicBezTo>
                    <a:pt x="47" y="74"/>
                    <a:pt x="47" y="73"/>
                    <a:pt x="47" y="73"/>
                  </a:cubicBezTo>
                  <a:cubicBezTo>
                    <a:pt x="48" y="73"/>
                    <a:pt x="48" y="73"/>
                    <a:pt x="49" y="73"/>
                  </a:cubicBezTo>
                  <a:cubicBezTo>
                    <a:pt x="51" y="72"/>
                    <a:pt x="54" y="72"/>
                    <a:pt x="56" y="70"/>
                  </a:cubicBezTo>
                  <a:cubicBezTo>
                    <a:pt x="57" y="70"/>
                    <a:pt x="58" y="69"/>
                    <a:pt x="60" y="68"/>
                  </a:cubicBezTo>
                  <a:cubicBezTo>
                    <a:pt x="55" y="55"/>
                    <a:pt x="55" y="55"/>
                    <a:pt x="55" y="55"/>
                  </a:cubicBezTo>
                  <a:cubicBezTo>
                    <a:pt x="73" y="45"/>
                    <a:pt x="73" y="45"/>
                    <a:pt x="73" y="45"/>
                  </a:cubicBezTo>
                  <a:cubicBezTo>
                    <a:pt x="74" y="36"/>
                    <a:pt x="74" y="36"/>
                    <a:pt x="74" y="36"/>
                  </a:cubicBezTo>
                  <a:lnTo>
                    <a:pt x="76" y="29"/>
                  </a:lnTo>
                  <a:close/>
                </a:path>
              </a:pathLst>
            </a:custGeom>
            <a:solidFill>
              <a:schemeClr val="accent5">
                <a:lumMod val="60000"/>
                <a:lumOff val="40000"/>
              </a:schemeClr>
            </a:solidFill>
            <a:ln w="7938" cap="flat">
              <a:solidFill>
                <a:schemeClr val="accent5"/>
              </a:solidFill>
              <a:prstDash val="solid"/>
              <a:miter lim="800000"/>
              <a:headEnd/>
              <a:tailEnd/>
            </a:ln>
          </p:spPr>
          <p:txBody>
            <a:bodyPr/>
            <a:lstStyle/>
            <a:p>
              <a:endParaRPr lang="ru-RU"/>
            </a:p>
          </p:txBody>
        </p:sp>
        <p:sp>
          <p:nvSpPr>
            <p:cNvPr id="31" name="Freeform 27">
              <a:extLst>
                <a:ext uri="{FF2B5EF4-FFF2-40B4-BE49-F238E27FC236}">
                  <a16:creationId xmlns:a16="http://schemas.microsoft.com/office/drawing/2014/main" id="{CEC4FC75-76B5-1F85-D84E-946849F9E42C}"/>
                </a:ext>
              </a:extLst>
            </p:cNvPr>
            <p:cNvSpPr>
              <a:spLocks/>
            </p:cNvSpPr>
            <p:nvPr/>
          </p:nvSpPr>
          <p:spPr bwMode="auto">
            <a:xfrm>
              <a:off x="1916113" y="3492500"/>
              <a:ext cx="250825" cy="431800"/>
            </a:xfrm>
            <a:custGeom>
              <a:avLst/>
              <a:gdLst>
                <a:gd name="T0" fmla="*/ 895456651 w 66"/>
                <a:gd name="T1" fmla="*/ 817703099 h 113"/>
                <a:gd name="T2" fmla="*/ 779913735 w 66"/>
                <a:gd name="T3" fmla="*/ 730093554 h 113"/>
                <a:gd name="T4" fmla="*/ 866573772 w 66"/>
                <a:gd name="T5" fmla="*/ 642484009 h 113"/>
                <a:gd name="T6" fmla="*/ 852128533 w 66"/>
                <a:gd name="T7" fmla="*/ 598677326 h 113"/>
                <a:gd name="T8" fmla="*/ 909901891 w 66"/>
                <a:gd name="T9" fmla="*/ 554870642 h 113"/>
                <a:gd name="T10" fmla="*/ 808800414 w 66"/>
                <a:gd name="T11" fmla="*/ 452656322 h 113"/>
                <a:gd name="T12" fmla="*/ 823245654 w 66"/>
                <a:gd name="T13" fmla="*/ 350445823 h 113"/>
                <a:gd name="T14" fmla="*/ 852128533 w 66"/>
                <a:gd name="T15" fmla="*/ 277437232 h 113"/>
                <a:gd name="T16" fmla="*/ 909901891 w 66"/>
                <a:gd name="T17" fmla="*/ 248231503 h 113"/>
                <a:gd name="T18" fmla="*/ 895456651 w 66"/>
                <a:gd name="T19" fmla="*/ 116815274 h 113"/>
                <a:gd name="T20" fmla="*/ 953230009 w 66"/>
                <a:gd name="T21" fmla="*/ 87609545 h 113"/>
                <a:gd name="T22" fmla="*/ 938788570 w 66"/>
                <a:gd name="T23" fmla="*/ 29201908 h 113"/>
                <a:gd name="T24" fmla="*/ 881015212 w 66"/>
                <a:gd name="T25" fmla="*/ 58407637 h 113"/>
                <a:gd name="T26" fmla="*/ 808800414 w 66"/>
                <a:gd name="T27" fmla="*/ 0 h 113"/>
                <a:gd name="T28" fmla="*/ 707702738 w 66"/>
                <a:gd name="T29" fmla="*/ 43806683 h 113"/>
                <a:gd name="T30" fmla="*/ 707702738 w 66"/>
                <a:gd name="T31" fmla="*/ 189823865 h 113"/>
                <a:gd name="T32" fmla="*/ 635487940 w 66"/>
                <a:gd name="T33" fmla="*/ 219029595 h 113"/>
                <a:gd name="T34" fmla="*/ 635487940 w 66"/>
                <a:gd name="T35" fmla="*/ 292038186 h 113"/>
                <a:gd name="T36" fmla="*/ 548827902 w 66"/>
                <a:gd name="T37" fmla="*/ 321240094 h 113"/>
                <a:gd name="T38" fmla="*/ 505499784 w 66"/>
                <a:gd name="T39" fmla="*/ 321240094 h 113"/>
                <a:gd name="T40" fmla="*/ 433284986 w 66"/>
                <a:gd name="T41" fmla="*/ 350445823 h 113"/>
                <a:gd name="T42" fmla="*/ 361070188 w 66"/>
                <a:gd name="T43" fmla="*/ 408853460 h 113"/>
                <a:gd name="T44" fmla="*/ 332187309 w 66"/>
                <a:gd name="T45" fmla="*/ 481862051 h 113"/>
                <a:gd name="T46" fmla="*/ 303300630 w 66"/>
                <a:gd name="T47" fmla="*/ 525668735 h 113"/>
                <a:gd name="T48" fmla="*/ 303300630 w 66"/>
                <a:gd name="T49" fmla="*/ 554870642 h 113"/>
                <a:gd name="T50" fmla="*/ 317742070 w 66"/>
                <a:gd name="T51" fmla="*/ 584076372 h 113"/>
                <a:gd name="T52" fmla="*/ 317742070 w 66"/>
                <a:gd name="T53" fmla="*/ 613278280 h 113"/>
                <a:gd name="T54" fmla="*/ 274413951 w 66"/>
                <a:gd name="T55" fmla="*/ 657084963 h 113"/>
                <a:gd name="T56" fmla="*/ 274413951 w 66"/>
                <a:gd name="T57" fmla="*/ 890715512 h 113"/>
                <a:gd name="T58" fmla="*/ 187757714 w 66"/>
                <a:gd name="T59" fmla="*/ 949123149 h 113"/>
                <a:gd name="T60" fmla="*/ 187757714 w 66"/>
                <a:gd name="T61" fmla="*/ 1007526965 h 113"/>
                <a:gd name="T62" fmla="*/ 101101477 w 66"/>
                <a:gd name="T63" fmla="*/ 1124342239 h 113"/>
                <a:gd name="T64" fmla="*/ 101101477 w 66"/>
                <a:gd name="T65" fmla="*/ 1182749876 h 113"/>
                <a:gd name="T66" fmla="*/ 101101477 w 66"/>
                <a:gd name="T67" fmla="*/ 1197354651 h 113"/>
                <a:gd name="T68" fmla="*/ 86656237 w 66"/>
                <a:gd name="T69" fmla="*/ 1197354651 h 113"/>
                <a:gd name="T70" fmla="*/ 86656237 w 66"/>
                <a:gd name="T71" fmla="*/ 1226556559 h 113"/>
                <a:gd name="T72" fmla="*/ 86656237 w 66"/>
                <a:gd name="T73" fmla="*/ 1255762288 h 113"/>
                <a:gd name="T74" fmla="*/ 72214798 w 66"/>
                <a:gd name="T75" fmla="*/ 1299565150 h 113"/>
                <a:gd name="T76" fmla="*/ 57773358 w 66"/>
                <a:gd name="T77" fmla="*/ 1314169926 h 113"/>
                <a:gd name="T78" fmla="*/ 57773358 w 66"/>
                <a:gd name="T79" fmla="*/ 1328770880 h 113"/>
                <a:gd name="T80" fmla="*/ 57773358 w 66"/>
                <a:gd name="T81" fmla="*/ 1372573742 h 113"/>
                <a:gd name="T82" fmla="*/ 43328119 w 66"/>
                <a:gd name="T83" fmla="*/ 1401779471 h 113"/>
                <a:gd name="T84" fmla="*/ 14441439 w 66"/>
                <a:gd name="T85" fmla="*/ 1416380425 h 113"/>
                <a:gd name="T86" fmla="*/ 0 w 66"/>
                <a:gd name="T87" fmla="*/ 1430981379 h 113"/>
                <a:gd name="T88" fmla="*/ 14441439 w 66"/>
                <a:gd name="T89" fmla="*/ 1445586154 h 113"/>
                <a:gd name="T90" fmla="*/ 14441439 w 66"/>
                <a:gd name="T91" fmla="*/ 1474788062 h 113"/>
                <a:gd name="T92" fmla="*/ 28886679 w 66"/>
                <a:gd name="T93" fmla="*/ 1503993791 h 113"/>
                <a:gd name="T94" fmla="*/ 101101477 w 66"/>
                <a:gd name="T95" fmla="*/ 1650010973 h 113"/>
                <a:gd name="T96" fmla="*/ 158871035 w 66"/>
                <a:gd name="T97" fmla="*/ 1591603336 h 113"/>
                <a:gd name="T98" fmla="*/ 216644393 w 66"/>
                <a:gd name="T99" fmla="*/ 1357972788 h 113"/>
                <a:gd name="T100" fmla="*/ 303300630 w 66"/>
                <a:gd name="T101" fmla="*/ 1314169926 h 113"/>
                <a:gd name="T102" fmla="*/ 303300630 w 66"/>
                <a:gd name="T103" fmla="*/ 1124342239 h 113"/>
                <a:gd name="T104" fmla="*/ 389956867 w 66"/>
                <a:gd name="T105" fmla="*/ 992926011 h 113"/>
                <a:gd name="T106" fmla="*/ 433284986 w 66"/>
                <a:gd name="T107" fmla="*/ 1007526965 h 113"/>
                <a:gd name="T108" fmla="*/ 491058344 w 66"/>
                <a:gd name="T109" fmla="*/ 1065934602 h 113"/>
                <a:gd name="T110" fmla="*/ 577714581 w 66"/>
                <a:gd name="T111" fmla="*/ 963724103 h 113"/>
                <a:gd name="T112" fmla="*/ 823245654 w 66"/>
                <a:gd name="T113" fmla="*/ 963724103 h 113"/>
                <a:gd name="T114" fmla="*/ 909901891 w 66"/>
                <a:gd name="T115" fmla="*/ 846908828 h 113"/>
                <a:gd name="T116" fmla="*/ 895456651 w 66"/>
                <a:gd name="T117" fmla="*/ 817703099 h 1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6" h="113">
                  <a:moveTo>
                    <a:pt x="62" y="56"/>
                  </a:moveTo>
                  <a:cubicBezTo>
                    <a:pt x="54" y="50"/>
                    <a:pt x="54" y="50"/>
                    <a:pt x="54" y="50"/>
                  </a:cubicBezTo>
                  <a:cubicBezTo>
                    <a:pt x="60" y="44"/>
                    <a:pt x="60" y="44"/>
                    <a:pt x="60" y="44"/>
                  </a:cubicBezTo>
                  <a:cubicBezTo>
                    <a:pt x="59" y="41"/>
                    <a:pt x="59" y="41"/>
                    <a:pt x="59" y="41"/>
                  </a:cubicBezTo>
                  <a:cubicBezTo>
                    <a:pt x="63" y="38"/>
                    <a:pt x="63" y="38"/>
                    <a:pt x="63" y="38"/>
                  </a:cubicBezTo>
                  <a:cubicBezTo>
                    <a:pt x="56" y="31"/>
                    <a:pt x="56" y="31"/>
                    <a:pt x="56" y="31"/>
                  </a:cubicBezTo>
                  <a:cubicBezTo>
                    <a:pt x="57" y="24"/>
                    <a:pt x="57" y="24"/>
                    <a:pt x="57" y="24"/>
                  </a:cubicBezTo>
                  <a:cubicBezTo>
                    <a:pt x="59" y="19"/>
                    <a:pt x="59" y="19"/>
                    <a:pt x="59" y="19"/>
                  </a:cubicBezTo>
                  <a:cubicBezTo>
                    <a:pt x="63" y="17"/>
                    <a:pt x="63" y="17"/>
                    <a:pt x="63" y="17"/>
                  </a:cubicBezTo>
                  <a:cubicBezTo>
                    <a:pt x="62" y="8"/>
                    <a:pt x="62" y="8"/>
                    <a:pt x="62" y="8"/>
                  </a:cubicBezTo>
                  <a:cubicBezTo>
                    <a:pt x="66" y="6"/>
                    <a:pt x="66" y="6"/>
                    <a:pt x="66" y="6"/>
                  </a:cubicBezTo>
                  <a:cubicBezTo>
                    <a:pt x="65" y="2"/>
                    <a:pt x="65" y="2"/>
                    <a:pt x="65" y="2"/>
                  </a:cubicBezTo>
                  <a:cubicBezTo>
                    <a:pt x="61" y="4"/>
                    <a:pt x="61" y="4"/>
                    <a:pt x="61" y="4"/>
                  </a:cubicBezTo>
                  <a:cubicBezTo>
                    <a:pt x="56" y="0"/>
                    <a:pt x="56" y="0"/>
                    <a:pt x="56" y="0"/>
                  </a:cubicBezTo>
                  <a:cubicBezTo>
                    <a:pt x="53" y="1"/>
                    <a:pt x="49" y="3"/>
                    <a:pt x="49" y="3"/>
                  </a:cubicBezTo>
                  <a:cubicBezTo>
                    <a:pt x="49" y="13"/>
                    <a:pt x="49" y="13"/>
                    <a:pt x="49" y="13"/>
                  </a:cubicBezTo>
                  <a:cubicBezTo>
                    <a:pt x="44" y="15"/>
                    <a:pt x="44" y="15"/>
                    <a:pt x="44" y="15"/>
                  </a:cubicBezTo>
                  <a:cubicBezTo>
                    <a:pt x="44" y="20"/>
                    <a:pt x="44" y="20"/>
                    <a:pt x="44" y="20"/>
                  </a:cubicBezTo>
                  <a:cubicBezTo>
                    <a:pt x="44" y="20"/>
                    <a:pt x="38" y="22"/>
                    <a:pt x="38" y="22"/>
                  </a:cubicBezTo>
                  <a:cubicBezTo>
                    <a:pt x="38" y="22"/>
                    <a:pt x="35" y="22"/>
                    <a:pt x="35" y="22"/>
                  </a:cubicBezTo>
                  <a:cubicBezTo>
                    <a:pt x="34" y="22"/>
                    <a:pt x="30" y="24"/>
                    <a:pt x="30" y="24"/>
                  </a:cubicBezTo>
                  <a:cubicBezTo>
                    <a:pt x="30" y="25"/>
                    <a:pt x="25" y="28"/>
                    <a:pt x="25" y="28"/>
                  </a:cubicBezTo>
                  <a:cubicBezTo>
                    <a:pt x="25" y="28"/>
                    <a:pt x="23" y="33"/>
                    <a:pt x="23" y="33"/>
                  </a:cubicBezTo>
                  <a:cubicBezTo>
                    <a:pt x="23" y="33"/>
                    <a:pt x="21" y="36"/>
                    <a:pt x="21" y="36"/>
                  </a:cubicBezTo>
                  <a:cubicBezTo>
                    <a:pt x="21" y="36"/>
                    <a:pt x="21" y="37"/>
                    <a:pt x="21" y="38"/>
                  </a:cubicBezTo>
                  <a:cubicBezTo>
                    <a:pt x="21" y="38"/>
                    <a:pt x="22" y="40"/>
                    <a:pt x="22" y="40"/>
                  </a:cubicBezTo>
                  <a:cubicBezTo>
                    <a:pt x="22" y="40"/>
                    <a:pt x="22" y="42"/>
                    <a:pt x="22" y="42"/>
                  </a:cubicBezTo>
                  <a:cubicBezTo>
                    <a:pt x="19" y="45"/>
                    <a:pt x="19" y="45"/>
                    <a:pt x="19" y="45"/>
                  </a:cubicBezTo>
                  <a:cubicBezTo>
                    <a:pt x="19" y="61"/>
                    <a:pt x="19" y="61"/>
                    <a:pt x="19" y="61"/>
                  </a:cubicBezTo>
                  <a:cubicBezTo>
                    <a:pt x="19" y="61"/>
                    <a:pt x="13" y="65"/>
                    <a:pt x="13" y="65"/>
                  </a:cubicBezTo>
                  <a:cubicBezTo>
                    <a:pt x="13" y="65"/>
                    <a:pt x="13" y="69"/>
                    <a:pt x="13" y="69"/>
                  </a:cubicBezTo>
                  <a:cubicBezTo>
                    <a:pt x="13" y="69"/>
                    <a:pt x="7" y="77"/>
                    <a:pt x="7" y="77"/>
                  </a:cubicBezTo>
                  <a:cubicBezTo>
                    <a:pt x="7" y="78"/>
                    <a:pt x="7" y="80"/>
                    <a:pt x="7" y="81"/>
                  </a:cubicBezTo>
                  <a:cubicBezTo>
                    <a:pt x="7" y="81"/>
                    <a:pt x="7" y="82"/>
                    <a:pt x="7" y="82"/>
                  </a:cubicBezTo>
                  <a:cubicBezTo>
                    <a:pt x="7" y="82"/>
                    <a:pt x="6" y="82"/>
                    <a:pt x="6" y="82"/>
                  </a:cubicBezTo>
                  <a:cubicBezTo>
                    <a:pt x="6" y="83"/>
                    <a:pt x="6" y="83"/>
                    <a:pt x="6" y="84"/>
                  </a:cubicBezTo>
                  <a:cubicBezTo>
                    <a:pt x="6" y="85"/>
                    <a:pt x="6" y="85"/>
                    <a:pt x="6" y="86"/>
                  </a:cubicBezTo>
                  <a:cubicBezTo>
                    <a:pt x="6" y="87"/>
                    <a:pt x="6" y="88"/>
                    <a:pt x="5" y="89"/>
                  </a:cubicBezTo>
                  <a:cubicBezTo>
                    <a:pt x="5" y="89"/>
                    <a:pt x="5" y="90"/>
                    <a:pt x="4" y="90"/>
                  </a:cubicBezTo>
                  <a:cubicBezTo>
                    <a:pt x="4" y="90"/>
                    <a:pt x="4" y="91"/>
                    <a:pt x="4" y="91"/>
                  </a:cubicBezTo>
                  <a:cubicBezTo>
                    <a:pt x="4" y="92"/>
                    <a:pt x="4" y="93"/>
                    <a:pt x="4" y="94"/>
                  </a:cubicBezTo>
                  <a:cubicBezTo>
                    <a:pt x="4" y="95"/>
                    <a:pt x="4" y="96"/>
                    <a:pt x="3" y="96"/>
                  </a:cubicBezTo>
                  <a:cubicBezTo>
                    <a:pt x="2" y="96"/>
                    <a:pt x="2" y="97"/>
                    <a:pt x="1" y="97"/>
                  </a:cubicBezTo>
                  <a:cubicBezTo>
                    <a:pt x="0" y="97"/>
                    <a:pt x="0" y="98"/>
                    <a:pt x="0" y="98"/>
                  </a:cubicBezTo>
                  <a:cubicBezTo>
                    <a:pt x="0" y="99"/>
                    <a:pt x="0" y="99"/>
                    <a:pt x="1" y="99"/>
                  </a:cubicBezTo>
                  <a:cubicBezTo>
                    <a:pt x="1" y="100"/>
                    <a:pt x="1" y="101"/>
                    <a:pt x="1" y="101"/>
                  </a:cubicBezTo>
                  <a:cubicBezTo>
                    <a:pt x="1" y="102"/>
                    <a:pt x="2" y="103"/>
                    <a:pt x="2" y="103"/>
                  </a:cubicBezTo>
                  <a:cubicBezTo>
                    <a:pt x="4" y="106"/>
                    <a:pt x="6" y="110"/>
                    <a:pt x="7" y="113"/>
                  </a:cubicBezTo>
                  <a:cubicBezTo>
                    <a:pt x="7" y="113"/>
                    <a:pt x="11" y="109"/>
                    <a:pt x="11" y="109"/>
                  </a:cubicBezTo>
                  <a:cubicBezTo>
                    <a:pt x="15" y="93"/>
                    <a:pt x="15" y="93"/>
                    <a:pt x="15" y="93"/>
                  </a:cubicBezTo>
                  <a:cubicBezTo>
                    <a:pt x="21" y="90"/>
                    <a:pt x="21" y="90"/>
                    <a:pt x="21" y="90"/>
                  </a:cubicBezTo>
                  <a:cubicBezTo>
                    <a:pt x="21" y="77"/>
                    <a:pt x="21" y="77"/>
                    <a:pt x="21" y="77"/>
                  </a:cubicBezTo>
                  <a:cubicBezTo>
                    <a:pt x="27" y="68"/>
                    <a:pt x="27" y="68"/>
                    <a:pt x="27" y="68"/>
                  </a:cubicBezTo>
                  <a:cubicBezTo>
                    <a:pt x="30" y="69"/>
                    <a:pt x="30" y="69"/>
                    <a:pt x="30" y="69"/>
                  </a:cubicBezTo>
                  <a:cubicBezTo>
                    <a:pt x="34" y="73"/>
                    <a:pt x="34" y="73"/>
                    <a:pt x="34" y="73"/>
                  </a:cubicBezTo>
                  <a:cubicBezTo>
                    <a:pt x="40" y="66"/>
                    <a:pt x="40" y="66"/>
                    <a:pt x="40" y="66"/>
                  </a:cubicBezTo>
                  <a:cubicBezTo>
                    <a:pt x="57" y="66"/>
                    <a:pt x="57" y="66"/>
                    <a:pt x="57" y="66"/>
                  </a:cubicBezTo>
                  <a:cubicBezTo>
                    <a:pt x="63" y="58"/>
                    <a:pt x="63" y="58"/>
                    <a:pt x="63" y="58"/>
                  </a:cubicBezTo>
                  <a:lnTo>
                    <a:pt x="62" y="56"/>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32" name="Freeform 28">
              <a:extLst>
                <a:ext uri="{FF2B5EF4-FFF2-40B4-BE49-F238E27FC236}">
                  <a16:creationId xmlns:a16="http://schemas.microsoft.com/office/drawing/2014/main" id="{8CA09AED-12B1-E42F-DB48-4C03BBCDABD4}"/>
                </a:ext>
              </a:extLst>
            </p:cNvPr>
            <p:cNvSpPr>
              <a:spLocks/>
            </p:cNvSpPr>
            <p:nvPr/>
          </p:nvSpPr>
          <p:spPr bwMode="auto">
            <a:xfrm>
              <a:off x="2128838" y="3295650"/>
              <a:ext cx="369887" cy="384175"/>
            </a:xfrm>
            <a:custGeom>
              <a:avLst/>
              <a:gdLst>
                <a:gd name="T0" fmla="*/ 319902683 w 97"/>
                <a:gd name="T1" fmla="*/ 1417887225 h 101"/>
                <a:gd name="T2" fmla="*/ 378066460 w 97"/>
                <a:gd name="T3" fmla="*/ 1388948577 h 101"/>
                <a:gd name="T4" fmla="*/ 421690246 w 97"/>
                <a:gd name="T5" fmla="*/ 1403417901 h 101"/>
                <a:gd name="T6" fmla="*/ 450770228 w 97"/>
                <a:gd name="T7" fmla="*/ 1461291392 h 101"/>
                <a:gd name="T8" fmla="*/ 523477810 w 97"/>
                <a:gd name="T9" fmla="*/ 1388948577 h 101"/>
                <a:gd name="T10" fmla="*/ 625265374 w 97"/>
                <a:gd name="T11" fmla="*/ 1374483057 h 101"/>
                <a:gd name="T12" fmla="*/ 872460475 w 97"/>
                <a:gd name="T13" fmla="*/ 1157458416 h 101"/>
                <a:gd name="T14" fmla="*/ 988788030 w 97"/>
                <a:gd name="T15" fmla="*/ 954903098 h 101"/>
                <a:gd name="T16" fmla="*/ 1119659389 w 97"/>
                <a:gd name="T17" fmla="*/ 911498930 h 101"/>
                <a:gd name="T18" fmla="*/ 1177823166 w 97"/>
                <a:gd name="T19" fmla="*/ 824690595 h 101"/>
                <a:gd name="T20" fmla="*/ 1410478276 w 97"/>
                <a:gd name="T21" fmla="*/ 795751948 h 101"/>
                <a:gd name="T22" fmla="*/ 1410478276 w 97"/>
                <a:gd name="T23" fmla="*/ 723412936 h 101"/>
                <a:gd name="T24" fmla="*/ 1337774507 w 97"/>
                <a:gd name="T25" fmla="*/ 636600797 h 101"/>
                <a:gd name="T26" fmla="*/ 1323230703 w 97"/>
                <a:gd name="T27" fmla="*/ 520857618 h 101"/>
                <a:gd name="T28" fmla="*/ 1105115584 w 97"/>
                <a:gd name="T29" fmla="*/ 622135277 h 101"/>
                <a:gd name="T30" fmla="*/ 916084261 w 97"/>
                <a:gd name="T31" fmla="*/ 708943612 h 101"/>
                <a:gd name="T32" fmla="*/ 887000466 w 97"/>
                <a:gd name="T33" fmla="*/ 491918971 h 101"/>
                <a:gd name="T34" fmla="*/ 712509134 w 97"/>
                <a:gd name="T35" fmla="*/ 390641312 h 101"/>
                <a:gd name="T36" fmla="*/ 596181579 w 97"/>
                <a:gd name="T37" fmla="*/ 217024642 h 101"/>
                <a:gd name="T38" fmla="*/ 610721570 w 97"/>
                <a:gd name="T39" fmla="*/ 144681826 h 101"/>
                <a:gd name="T40" fmla="*/ 479854024 w 97"/>
                <a:gd name="T41" fmla="*/ 57873491 h 101"/>
                <a:gd name="T42" fmla="*/ 465314033 w 97"/>
                <a:gd name="T43" fmla="*/ 0 h 101"/>
                <a:gd name="T44" fmla="*/ 436230237 w 97"/>
                <a:gd name="T45" fmla="*/ 14469324 h 101"/>
                <a:gd name="T46" fmla="*/ 436230237 w 97"/>
                <a:gd name="T47" fmla="*/ 115746983 h 101"/>
                <a:gd name="T48" fmla="*/ 392606451 w 97"/>
                <a:gd name="T49" fmla="*/ 115746983 h 101"/>
                <a:gd name="T50" fmla="*/ 363526469 w 97"/>
                <a:gd name="T51" fmla="*/ 101277659 h 101"/>
                <a:gd name="T52" fmla="*/ 319902683 w 97"/>
                <a:gd name="T53" fmla="*/ 115746983 h 101"/>
                <a:gd name="T54" fmla="*/ 276278896 w 97"/>
                <a:gd name="T55" fmla="*/ 202555318 h 101"/>
                <a:gd name="T56" fmla="*/ 247198914 w 97"/>
                <a:gd name="T57" fmla="*/ 347237144 h 101"/>
                <a:gd name="T58" fmla="*/ 232655110 w 97"/>
                <a:gd name="T59" fmla="*/ 448514803 h 101"/>
                <a:gd name="T60" fmla="*/ 174491332 w 97"/>
                <a:gd name="T61" fmla="*/ 520857618 h 101"/>
                <a:gd name="T62" fmla="*/ 174491332 w 97"/>
                <a:gd name="T63" fmla="*/ 607665953 h 101"/>
                <a:gd name="T64" fmla="*/ 101787564 w 97"/>
                <a:gd name="T65" fmla="*/ 636600797 h 101"/>
                <a:gd name="T66" fmla="*/ 101787564 w 97"/>
                <a:gd name="T67" fmla="*/ 708943612 h 101"/>
                <a:gd name="T68" fmla="*/ 29083795 w 97"/>
                <a:gd name="T69" fmla="*/ 737878456 h 101"/>
                <a:gd name="T70" fmla="*/ 0 w 97"/>
                <a:gd name="T71" fmla="*/ 752347780 h 101"/>
                <a:gd name="T72" fmla="*/ 72703768 w 97"/>
                <a:gd name="T73" fmla="*/ 810221271 h 101"/>
                <a:gd name="T74" fmla="*/ 130867546 w 97"/>
                <a:gd name="T75" fmla="*/ 781282624 h 101"/>
                <a:gd name="T76" fmla="*/ 145411350 w 97"/>
                <a:gd name="T77" fmla="*/ 839156115 h 101"/>
                <a:gd name="T78" fmla="*/ 87247573 w 97"/>
                <a:gd name="T79" fmla="*/ 868094763 h 101"/>
                <a:gd name="T80" fmla="*/ 101787564 w 97"/>
                <a:gd name="T81" fmla="*/ 998307265 h 101"/>
                <a:gd name="T82" fmla="*/ 43623786 w 97"/>
                <a:gd name="T83" fmla="*/ 1027245913 h 101"/>
                <a:gd name="T84" fmla="*/ 14539991 w 97"/>
                <a:gd name="T85" fmla="*/ 1099584924 h 101"/>
                <a:gd name="T86" fmla="*/ 0 w 97"/>
                <a:gd name="T87" fmla="*/ 1200862583 h 101"/>
                <a:gd name="T88" fmla="*/ 101787564 w 97"/>
                <a:gd name="T89" fmla="*/ 1302140242 h 101"/>
                <a:gd name="T90" fmla="*/ 43623786 w 97"/>
                <a:gd name="T91" fmla="*/ 1345544410 h 101"/>
                <a:gd name="T92" fmla="*/ 58163777 w 97"/>
                <a:gd name="T93" fmla="*/ 1388948577 h 101"/>
                <a:gd name="T94" fmla="*/ 218115119 w 97"/>
                <a:gd name="T95" fmla="*/ 1360013733 h 101"/>
                <a:gd name="T96" fmla="*/ 319902683 w 97"/>
                <a:gd name="T97" fmla="*/ 1417887225 h 10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97" h="101">
                  <a:moveTo>
                    <a:pt x="22" y="98"/>
                  </a:moveTo>
                  <a:cubicBezTo>
                    <a:pt x="26" y="96"/>
                    <a:pt x="26" y="96"/>
                    <a:pt x="26" y="96"/>
                  </a:cubicBezTo>
                  <a:cubicBezTo>
                    <a:pt x="29" y="97"/>
                    <a:pt x="29" y="97"/>
                    <a:pt x="29" y="97"/>
                  </a:cubicBezTo>
                  <a:cubicBezTo>
                    <a:pt x="31" y="101"/>
                    <a:pt x="31" y="101"/>
                    <a:pt x="31" y="101"/>
                  </a:cubicBezTo>
                  <a:cubicBezTo>
                    <a:pt x="36" y="96"/>
                    <a:pt x="36" y="96"/>
                    <a:pt x="36" y="96"/>
                  </a:cubicBezTo>
                  <a:cubicBezTo>
                    <a:pt x="43" y="95"/>
                    <a:pt x="43" y="95"/>
                    <a:pt x="43" y="95"/>
                  </a:cubicBezTo>
                  <a:cubicBezTo>
                    <a:pt x="60" y="80"/>
                    <a:pt x="60" y="80"/>
                    <a:pt x="60" y="80"/>
                  </a:cubicBezTo>
                  <a:cubicBezTo>
                    <a:pt x="68" y="66"/>
                    <a:pt x="68" y="66"/>
                    <a:pt x="68" y="66"/>
                  </a:cubicBezTo>
                  <a:cubicBezTo>
                    <a:pt x="77" y="63"/>
                    <a:pt x="77" y="63"/>
                    <a:pt x="77" y="63"/>
                  </a:cubicBezTo>
                  <a:cubicBezTo>
                    <a:pt x="81" y="57"/>
                    <a:pt x="81" y="57"/>
                    <a:pt x="81" y="57"/>
                  </a:cubicBezTo>
                  <a:cubicBezTo>
                    <a:pt x="97" y="55"/>
                    <a:pt x="97" y="55"/>
                    <a:pt x="97" y="55"/>
                  </a:cubicBezTo>
                  <a:cubicBezTo>
                    <a:pt x="97" y="50"/>
                    <a:pt x="97" y="50"/>
                    <a:pt x="97" y="50"/>
                  </a:cubicBezTo>
                  <a:cubicBezTo>
                    <a:pt x="92" y="44"/>
                    <a:pt x="92" y="44"/>
                    <a:pt x="92" y="44"/>
                  </a:cubicBezTo>
                  <a:cubicBezTo>
                    <a:pt x="91" y="36"/>
                    <a:pt x="91" y="36"/>
                    <a:pt x="91" y="36"/>
                  </a:cubicBezTo>
                  <a:cubicBezTo>
                    <a:pt x="76" y="43"/>
                    <a:pt x="76" y="43"/>
                    <a:pt x="76" y="43"/>
                  </a:cubicBezTo>
                  <a:cubicBezTo>
                    <a:pt x="63" y="49"/>
                    <a:pt x="63" y="49"/>
                    <a:pt x="63" y="49"/>
                  </a:cubicBezTo>
                  <a:cubicBezTo>
                    <a:pt x="61" y="34"/>
                    <a:pt x="61" y="34"/>
                    <a:pt x="61" y="34"/>
                  </a:cubicBezTo>
                  <a:cubicBezTo>
                    <a:pt x="49" y="27"/>
                    <a:pt x="49" y="27"/>
                    <a:pt x="49" y="27"/>
                  </a:cubicBezTo>
                  <a:cubicBezTo>
                    <a:pt x="41" y="15"/>
                    <a:pt x="41" y="15"/>
                    <a:pt x="41" y="15"/>
                  </a:cubicBezTo>
                  <a:cubicBezTo>
                    <a:pt x="42" y="10"/>
                    <a:pt x="42" y="10"/>
                    <a:pt x="42" y="10"/>
                  </a:cubicBezTo>
                  <a:cubicBezTo>
                    <a:pt x="42" y="10"/>
                    <a:pt x="34" y="4"/>
                    <a:pt x="33" y="4"/>
                  </a:cubicBezTo>
                  <a:cubicBezTo>
                    <a:pt x="33" y="3"/>
                    <a:pt x="33" y="2"/>
                    <a:pt x="32" y="0"/>
                  </a:cubicBezTo>
                  <a:cubicBezTo>
                    <a:pt x="30" y="1"/>
                    <a:pt x="30" y="1"/>
                    <a:pt x="30" y="1"/>
                  </a:cubicBezTo>
                  <a:cubicBezTo>
                    <a:pt x="30" y="8"/>
                    <a:pt x="30" y="8"/>
                    <a:pt x="30" y="8"/>
                  </a:cubicBezTo>
                  <a:cubicBezTo>
                    <a:pt x="30" y="8"/>
                    <a:pt x="27" y="8"/>
                    <a:pt x="27" y="8"/>
                  </a:cubicBezTo>
                  <a:cubicBezTo>
                    <a:pt x="27" y="8"/>
                    <a:pt x="25" y="7"/>
                    <a:pt x="25" y="7"/>
                  </a:cubicBezTo>
                  <a:cubicBezTo>
                    <a:pt x="22" y="8"/>
                    <a:pt x="22" y="8"/>
                    <a:pt x="22" y="8"/>
                  </a:cubicBezTo>
                  <a:cubicBezTo>
                    <a:pt x="19" y="14"/>
                    <a:pt x="19" y="14"/>
                    <a:pt x="19" y="14"/>
                  </a:cubicBezTo>
                  <a:cubicBezTo>
                    <a:pt x="17" y="24"/>
                    <a:pt x="17" y="24"/>
                    <a:pt x="17" y="24"/>
                  </a:cubicBezTo>
                  <a:cubicBezTo>
                    <a:pt x="16" y="31"/>
                    <a:pt x="16" y="31"/>
                    <a:pt x="16" y="31"/>
                  </a:cubicBezTo>
                  <a:cubicBezTo>
                    <a:pt x="12" y="36"/>
                    <a:pt x="12" y="36"/>
                    <a:pt x="12" y="36"/>
                  </a:cubicBezTo>
                  <a:cubicBezTo>
                    <a:pt x="12" y="42"/>
                    <a:pt x="12" y="42"/>
                    <a:pt x="12" y="42"/>
                  </a:cubicBezTo>
                  <a:cubicBezTo>
                    <a:pt x="7" y="44"/>
                    <a:pt x="7" y="44"/>
                    <a:pt x="7" y="44"/>
                  </a:cubicBezTo>
                  <a:cubicBezTo>
                    <a:pt x="7" y="49"/>
                    <a:pt x="7" y="49"/>
                    <a:pt x="7" y="49"/>
                  </a:cubicBezTo>
                  <a:cubicBezTo>
                    <a:pt x="7" y="49"/>
                    <a:pt x="2" y="51"/>
                    <a:pt x="2" y="51"/>
                  </a:cubicBezTo>
                  <a:cubicBezTo>
                    <a:pt x="2" y="51"/>
                    <a:pt x="1" y="52"/>
                    <a:pt x="0" y="52"/>
                  </a:cubicBezTo>
                  <a:cubicBezTo>
                    <a:pt x="5" y="56"/>
                    <a:pt x="5" y="56"/>
                    <a:pt x="5" y="56"/>
                  </a:cubicBezTo>
                  <a:cubicBezTo>
                    <a:pt x="9" y="54"/>
                    <a:pt x="9" y="54"/>
                    <a:pt x="9" y="54"/>
                  </a:cubicBezTo>
                  <a:cubicBezTo>
                    <a:pt x="10" y="58"/>
                    <a:pt x="10" y="58"/>
                    <a:pt x="10" y="58"/>
                  </a:cubicBezTo>
                  <a:cubicBezTo>
                    <a:pt x="6" y="60"/>
                    <a:pt x="6" y="60"/>
                    <a:pt x="6" y="60"/>
                  </a:cubicBezTo>
                  <a:cubicBezTo>
                    <a:pt x="7" y="69"/>
                    <a:pt x="7" y="69"/>
                    <a:pt x="7" y="69"/>
                  </a:cubicBezTo>
                  <a:cubicBezTo>
                    <a:pt x="3" y="71"/>
                    <a:pt x="3" y="71"/>
                    <a:pt x="3" y="71"/>
                  </a:cubicBezTo>
                  <a:cubicBezTo>
                    <a:pt x="1" y="76"/>
                    <a:pt x="1" y="76"/>
                    <a:pt x="1" y="76"/>
                  </a:cubicBezTo>
                  <a:cubicBezTo>
                    <a:pt x="0" y="83"/>
                    <a:pt x="0" y="83"/>
                    <a:pt x="0" y="83"/>
                  </a:cubicBezTo>
                  <a:cubicBezTo>
                    <a:pt x="7" y="90"/>
                    <a:pt x="7" y="90"/>
                    <a:pt x="7" y="90"/>
                  </a:cubicBezTo>
                  <a:cubicBezTo>
                    <a:pt x="3" y="93"/>
                    <a:pt x="3" y="93"/>
                    <a:pt x="3" y="93"/>
                  </a:cubicBezTo>
                  <a:cubicBezTo>
                    <a:pt x="4" y="96"/>
                    <a:pt x="4" y="96"/>
                    <a:pt x="4" y="96"/>
                  </a:cubicBezTo>
                  <a:cubicBezTo>
                    <a:pt x="15" y="94"/>
                    <a:pt x="15" y="94"/>
                    <a:pt x="15" y="94"/>
                  </a:cubicBezTo>
                  <a:lnTo>
                    <a:pt x="22" y="98"/>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33" name="Freeform 29">
              <a:extLst>
                <a:ext uri="{FF2B5EF4-FFF2-40B4-BE49-F238E27FC236}">
                  <a16:creationId xmlns:a16="http://schemas.microsoft.com/office/drawing/2014/main" id="{6393E0DF-9B52-1B11-F43C-EB83CD368F1D}"/>
                </a:ext>
              </a:extLst>
            </p:cNvPr>
            <p:cNvSpPr>
              <a:spLocks/>
            </p:cNvSpPr>
            <p:nvPr/>
          </p:nvSpPr>
          <p:spPr bwMode="auto">
            <a:xfrm>
              <a:off x="2220913" y="3802063"/>
              <a:ext cx="204787" cy="128588"/>
            </a:xfrm>
            <a:custGeom>
              <a:avLst/>
              <a:gdLst>
                <a:gd name="T0" fmla="*/ 272176210 w 129"/>
                <a:gd name="T1" fmla="*/ 60483985 h 81"/>
                <a:gd name="T2" fmla="*/ 307458312 w 129"/>
                <a:gd name="T3" fmla="*/ 47883949 h 81"/>
                <a:gd name="T4" fmla="*/ 320058269 w 129"/>
                <a:gd name="T5" fmla="*/ 30241993 h 81"/>
                <a:gd name="T6" fmla="*/ 325098569 w 129"/>
                <a:gd name="T7" fmla="*/ 0 h 81"/>
                <a:gd name="T8" fmla="*/ 284776167 w 129"/>
                <a:gd name="T9" fmla="*/ 5040332 h 81"/>
                <a:gd name="T10" fmla="*/ 234373165 w 129"/>
                <a:gd name="T11" fmla="*/ 12601624 h 81"/>
                <a:gd name="T12" fmla="*/ 224292565 w 129"/>
                <a:gd name="T13" fmla="*/ 30241993 h 81"/>
                <a:gd name="T14" fmla="*/ 156249306 w 129"/>
                <a:gd name="T15" fmla="*/ 52924281 h 81"/>
                <a:gd name="T16" fmla="*/ 73083559 w 129"/>
                <a:gd name="T17" fmla="*/ 60483985 h 81"/>
                <a:gd name="T18" fmla="*/ 17640257 w 129"/>
                <a:gd name="T19" fmla="*/ 83166273 h 81"/>
                <a:gd name="T20" fmla="*/ 5040300 w 129"/>
                <a:gd name="T21" fmla="*/ 126008302 h 81"/>
                <a:gd name="T22" fmla="*/ 0 w 129"/>
                <a:gd name="T23" fmla="*/ 181451956 h 81"/>
                <a:gd name="T24" fmla="*/ 30241801 w 129"/>
                <a:gd name="T25" fmla="*/ 204134244 h 81"/>
                <a:gd name="T26" fmla="*/ 42841758 w 129"/>
                <a:gd name="T27" fmla="*/ 163811587 h 81"/>
                <a:gd name="T28" fmla="*/ 126007505 w 129"/>
                <a:gd name="T29" fmla="*/ 186492288 h 81"/>
                <a:gd name="T30" fmla="*/ 156249306 w 129"/>
                <a:gd name="T31" fmla="*/ 173892251 h 81"/>
                <a:gd name="T32" fmla="*/ 168849263 w 129"/>
                <a:gd name="T33" fmla="*/ 186492288 h 81"/>
                <a:gd name="T34" fmla="*/ 186491107 w 129"/>
                <a:gd name="T35" fmla="*/ 163811587 h 81"/>
                <a:gd name="T36" fmla="*/ 199091064 w 129"/>
                <a:gd name="T37" fmla="*/ 173892251 h 81"/>
                <a:gd name="T38" fmla="*/ 216732908 w 129"/>
                <a:gd name="T39" fmla="*/ 168851919 h 81"/>
                <a:gd name="T40" fmla="*/ 204131364 w 129"/>
                <a:gd name="T41" fmla="*/ 151209963 h 81"/>
                <a:gd name="T42" fmla="*/ 234373165 w 129"/>
                <a:gd name="T43" fmla="*/ 151209963 h 81"/>
                <a:gd name="T44" fmla="*/ 259574666 w 129"/>
                <a:gd name="T45" fmla="*/ 108367934 h 81"/>
                <a:gd name="T46" fmla="*/ 272176210 w 129"/>
                <a:gd name="T47" fmla="*/ 60483985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29" h="81">
                  <a:moveTo>
                    <a:pt x="108" y="24"/>
                  </a:moveTo>
                  <a:lnTo>
                    <a:pt x="122" y="19"/>
                  </a:lnTo>
                  <a:lnTo>
                    <a:pt x="127" y="12"/>
                  </a:lnTo>
                  <a:lnTo>
                    <a:pt x="129" y="0"/>
                  </a:lnTo>
                  <a:lnTo>
                    <a:pt x="113" y="2"/>
                  </a:lnTo>
                  <a:lnTo>
                    <a:pt x="93" y="5"/>
                  </a:lnTo>
                  <a:lnTo>
                    <a:pt x="89" y="12"/>
                  </a:lnTo>
                  <a:lnTo>
                    <a:pt x="62" y="21"/>
                  </a:lnTo>
                  <a:lnTo>
                    <a:pt x="29" y="24"/>
                  </a:lnTo>
                  <a:lnTo>
                    <a:pt x="7" y="33"/>
                  </a:lnTo>
                  <a:lnTo>
                    <a:pt x="2" y="50"/>
                  </a:lnTo>
                  <a:lnTo>
                    <a:pt x="0" y="72"/>
                  </a:lnTo>
                  <a:lnTo>
                    <a:pt x="12" y="81"/>
                  </a:lnTo>
                  <a:lnTo>
                    <a:pt x="17" y="65"/>
                  </a:lnTo>
                  <a:lnTo>
                    <a:pt x="50" y="74"/>
                  </a:lnTo>
                  <a:lnTo>
                    <a:pt x="62" y="69"/>
                  </a:lnTo>
                  <a:lnTo>
                    <a:pt x="67" y="74"/>
                  </a:lnTo>
                  <a:lnTo>
                    <a:pt x="74" y="65"/>
                  </a:lnTo>
                  <a:lnTo>
                    <a:pt x="79" y="69"/>
                  </a:lnTo>
                  <a:lnTo>
                    <a:pt x="86" y="67"/>
                  </a:lnTo>
                  <a:lnTo>
                    <a:pt x="81" y="60"/>
                  </a:lnTo>
                  <a:lnTo>
                    <a:pt x="93" y="60"/>
                  </a:lnTo>
                  <a:lnTo>
                    <a:pt x="103" y="43"/>
                  </a:lnTo>
                  <a:lnTo>
                    <a:pt x="108" y="24"/>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34" name="Freeform 30">
              <a:extLst>
                <a:ext uri="{FF2B5EF4-FFF2-40B4-BE49-F238E27FC236}">
                  <a16:creationId xmlns:a16="http://schemas.microsoft.com/office/drawing/2014/main" id="{C0850E20-2E38-F1B6-4DE1-BB0E21A6DF8D}"/>
                </a:ext>
              </a:extLst>
            </p:cNvPr>
            <p:cNvSpPr>
              <a:spLocks/>
            </p:cNvSpPr>
            <p:nvPr/>
          </p:nvSpPr>
          <p:spPr bwMode="auto">
            <a:xfrm>
              <a:off x="2122488" y="3429000"/>
              <a:ext cx="425450" cy="425450"/>
            </a:xfrm>
            <a:custGeom>
              <a:avLst/>
              <a:gdLst>
                <a:gd name="T0" fmla="*/ 1197675938 w 112"/>
                <a:gd name="T1" fmla="*/ 606053525 h 112"/>
                <a:gd name="T2" fmla="*/ 1255392789 w 112"/>
                <a:gd name="T3" fmla="*/ 562763988 h 112"/>
                <a:gd name="T4" fmla="*/ 1486271588 w 112"/>
                <a:gd name="T5" fmla="*/ 548332875 h 112"/>
                <a:gd name="T6" fmla="*/ 1601709089 w 112"/>
                <a:gd name="T7" fmla="*/ 505043338 h 112"/>
                <a:gd name="T8" fmla="*/ 1616140201 w 112"/>
                <a:gd name="T9" fmla="*/ 360747412 h 112"/>
                <a:gd name="T10" fmla="*/ 1616140201 w 112"/>
                <a:gd name="T11" fmla="*/ 158727038 h 112"/>
                <a:gd name="T12" fmla="*/ 1543992238 w 112"/>
                <a:gd name="T13" fmla="*/ 129868613 h 112"/>
                <a:gd name="T14" fmla="*/ 1529561126 w 112"/>
                <a:gd name="T15" fmla="*/ 28858425 h 112"/>
                <a:gd name="T16" fmla="*/ 1414123625 w 112"/>
                <a:gd name="T17" fmla="*/ 0 h 112"/>
                <a:gd name="T18" fmla="*/ 1341971864 w 112"/>
                <a:gd name="T19" fmla="*/ 14431112 h 112"/>
                <a:gd name="T20" fmla="*/ 1356402976 w 112"/>
                <a:gd name="T21" fmla="*/ 129868613 h 112"/>
                <a:gd name="T22" fmla="*/ 1428550939 w 112"/>
                <a:gd name="T23" fmla="*/ 216447688 h 112"/>
                <a:gd name="T24" fmla="*/ 1428550939 w 112"/>
                <a:gd name="T25" fmla="*/ 288595650 h 112"/>
                <a:gd name="T26" fmla="*/ 1197675938 w 112"/>
                <a:gd name="T27" fmla="*/ 317457875 h 112"/>
                <a:gd name="T28" fmla="*/ 1139955288 w 112"/>
                <a:gd name="T29" fmla="*/ 404036950 h 112"/>
                <a:gd name="T30" fmla="*/ 1010086676 w 112"/>
                <a:gd name="T31" fmla="*/ 447322688 h 112"/>
                <a:gd name="T32" fmla="*/ 894649175 w 112"/>
                <a:gd name="T33" fmla="*/ 649343063 h 112"/>
                <a:gd name="T34" fmla="*/ 649343063 w 112"/>
                <a:gd name="T35" fmla="*/ 865790750 h 112"/>
                <a:gd name="T36" fmla="*/ 548332875 w 112"/>
                <a:gd name="T37" fmla="*/ 880218063 h 112"/>
                <a:gd name="T38" fmla="*/ 476184913 w 112"/>
                <a:gd name="T39" fmla="*/ 952369825 h 112"/>
                <a:gd name="T40" fmla="*/ 447322688 w 112"/>
                <a:gd name="T41" fmla="*/ 894649175 h 112"/>
                <a:gd name="T42" fmla="*/ 404036950 w 112"/>
                <a:gd name="T43" fmla="*/ 880218063 h 112"/>
                <a:gd name="T44" fmla="*/ 346316300 w 112"/>
                <a:gd name="T45" fmla="*/ 909080288 h 112"/>
                <a:gd name="T46" fmla="*/ 245306113 w 112"/>
                <a:gd name="T47" fmla="*/ 851359638 h 112"/>
                <a:gd name="T48" fmla="*/ 86579075 w 112"/>
                <a:gd name="T49" fmla="*/ 880218063 h 112"/>
                <a:gd name="T50" fmla="*/ 0 w 112"/>
                <a:gd name="T51" fmla="*/ 966797138 h 112"/>
                <a:gd name="T52" fmla="*/ 115437500 w 112"/>
                <a:gd name="T53" fmla="*/ 1053376213 h 112"/>
                <a:gd name="T54" fmla="*/ 129868613 w 112"/>
                <a:gd name="T55" fmla="*/ 1082238438 h 112"/>
                <a:gd name="T56" fmla="*/ 43289538 w 112"/>
                <a:gd name="T57" fmla="*/ 1197675938 h 112"/>
                <a:gd name="T58" fmla="*/ 101010187 w 112"/>
                <a:gd name="T59" fmla="*/ 1313113438 h 112"/>
                <a:gd name="T60" fmla="*/ 72147963 w 112"/>
                <a:gd name="T61" fmla="*/ 1370834088 h 112"/>
                <a:gd name="T62" fmla="*/ 86579075 w 112"/>
                <a:gd name="T63" fmla="*/ 1442982051 h 112"/>
                <a:gd name="T64" fmla="*/ 187589262 w 112"/>
                <a:gd name="T65" fmla="*/ 1385261401 h 112"/>
                <a:gd name="T66" fmla="*/ 158727038 w 112"/>
                <a:gd name="T67" fmla="*/ 1515130014 h 112"/>
                <a:gd name="T68" fmla="*/ 245306113 w 112"/>
                <a:gd name="T69" fmla="*/ 1515130014 h 112"/>
                <a:gd name="T70" fmla="*/ 230878800 w 112"/>
                <a:gd name="T71" fmla="*/ 1587281775 h 112"/>
                <a:gd name="T72" fmla="*/ 317457875 w 112"/>
                <a:gd name="T73" fmla="*/ 1601709089 h 112"/>
                <a:gd name="T74" fmla="*/ 375174725 w 112"/>
                <a:gd name="T75" fmla="*/ 1543992238 h 112"/>
                <a:gd name="T76" fmla="*/ 418464263 w 112"/>
                <a:gd name="T77" fmla="*/ 1616140201 h 112"/>
                <a:gd name="T78" fmla="*/ 548332875 w 112"/>
                <a:gd name="T79" fmla="*/ 1558419551 h 112"/>
                <a:gd name="T80" fmla="*/ 750349451 w 112"/>
                <a:gd name="T81" fmla="*/ 1543992238 h 112"/>
                <a:gd name="T82" fmla="*/ 909080288 w 112"/>
                <a:gd name="T83" fmla="*/ 1486271588 h 112"/>
                <a:gd name="T84" fmla="*/ 937938713 w 112"/>
                <a:gd name="T85" fmla="*/ 1442982051 h 112"/>
                <a:gd name="T86" fmla="*/ 1053376213 w 112"/>
                <a:gd name="T87" fmla="*/ 1428550939 h 112"/>
                <a:gd name="T88" fmla="*/ 1154386400 w 112"/>
                <a:gd name="T89" fmla="*/ 1414123625 h 112"/>
                <a:gd name="T90" fmla="*/ 1240965475 w 112"/>
                <a:gd name="T91" fmla="*/ 1356402976 h 112"/>
                <a:gd name="T92" fmla="*/ 1255392789 w 112"/>
                <a:gd name="T93" fmla="*/ 1298682326 h 112"/>
                <a:gd name="T94" fmla="*/ 1226534363 w 112"/>
                <a:gd name="T95" fmla="*/ 1255392789 h 112"/>
                <a:gd name="T96" fmla="*/ 1197675938 w 112"/>
                <a:gd name="T97" fmla="*/ 1183244826 h 112"/>
                <a:gd name="T98" fmla="*/ 1183244826 w 112"/>
                <a:gd name="T99" fmla="*/ 1125527975 h 112"/>
                <a:gd name="T100" fmla="*/ 1212107050 w 112"/>
                <a:gd name="T101" fmla="*/ 1082238438 h 112"/>
                <a:gd name="T102" fmla="*/ 1226534363 w 112"/>
                <a:gd name="T103" fmla="*/ 995659363 h 112"/>
                <a:gd name="T104" fmla="*/ 1183244826 w 112"/>
                <a:gd name="T105" fmla="*/ 909080288 h 112"/>
                <a:gd name="T106" fmla="*/ 1024517788 w 112"/>
                <a:gd name="T107" fmla="*/ 707059913 h 112"/>
                <a:gd name="T108" fmla="*/ 1111096863 w 112"/>
                <a:gd name="T109" fmla="*/ 606053525 h 112"/>
                <a:gd name="T110" fmla="*/ 1197675938 w 112"/>
                <a:gd name="T111" fmla="*/ 606053525 h 1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2" h="112">
                  <a:moveTo>
                    <a:pt x="83" y="42"/>
                  </a:moveTo>
                  <a:cubicBezTo>
                    <a:pt x="87" y="39"/>
                    <a:pt x="87" y="39"/>
                    <a:pt x="87" y="39"/>
                  </a:cubicBezTo>
                  <a:cubicBezTo>
                    <a:pt x="103" y="38"/>
                    <a:pt x="103" y="38"/>
                    <a:pt x="103" y="38"/>
                  </a:cubicBezTo>
                  <a:cubicBezTo>
                    <a:pt x="111" y="35"/>
                    <a:pt x="111" y="35"/>
                    <a:pt x="111" y="35"/>
                  </a:cubicBezTo>
                  <a:cubicBezTo>
                    <a:pt x="112" y="25"/>
                    <a:pt x="112" y="25"/>
                    <a:pt x="112" y="25"/>
                  </a:cubicBezTo>
                  <a:cubicBezTo>
                    <a:pt x="112" y="11"/>
                    <a:pt x="112" y="11"/>
                    <a:pt x="112" y="11"/>
                  </a:cubicBezTo>
                  <a:cubicBezTo>
                    <a:pt x="107" y="9"/>
                    <a:pt x="107" y="9"/>
                    <a:pt x="107" y="9"/>
                  </a:cubicBezTo>
                  <a:cubicBezTo>
                    <a:pt x="106" y="2"/>
                    <a:pt x="106" y="2"/>
                    <a:pt x="106" y="2"/>
                  </a:cubicBezTo>
                  <a:cubicBezTo>
                    <a:pt x="98" y="0"/>
                    <a:pt x="98" y="0"/>
                    <a:pt x="98" y="0"/>
                  </a:cubicBezTo>
                  <a:cubicBezTo>
                    <a:pt x="93" y="1"/>
                    <a:pt x="93" y="1"/>
                    <a:pt x="93" y="1"/>
                  </a:cubicBezTo>
                  <a:cubicBezTo>
                    <a:pt x="94" y="9"/>
                    <a:pt x="94" y="9"/>
                    <a:pt x="94" y="9"/>
                  </a:cubicBezTo>
                  <a:cubicBezTo>
                    <a:pt x="99" y="15"/>
                    <a:pt x="99" y="15"/>
                    <a:pt x="99" y="15"/>
                  </a:cubicBezTo>
                  <a:cubicBezTo>
                    <a:pt x="99" y="20"/>
                    <a:pt x="99" y="20"/>
                    <a:pt x="99" y="20"/>
                  </a:cubicBezTo>
                  <a:cubicBezTo>
                    <a:pt x="83" y="22"/>
                    <a:pt x="83" y="22"/>
                    <a:pt x="83" y="22"/>
                  </a:cubicBezTo>
                  <a:cubicBezTo>
                    <a:pt x="79" y="28"/>
                    <a:pt x="79" y="28"/>
                    <a:pt x="79" y="28"/>
                  </a:cubicBezTo>
                  <a:cubicBezTo>
                    <a:pt x="70" y="31"/>
                    <a:pt x="70" y="31"/>
                    <a:pt x="70" y="31"/>
                  </a:cubicBezTo>
                  <a:cubicBezTo>
                    <a:pt x="62" y="45"/>
                    <a:pt x="62" y="45"/>
                    <a:pt x="62" y="45"/>
                  </a:cubicBezTo>
                  <a:cubicBezTo>
                    <a:pt x="45" y="60"/>
                    <a:pt x="45" y="60"/>
                    <a:pt x="45" y="60"/>
                  </a:cubicBezTo>
                  <a:cubicBezTo>
                    <a:pt x="38" y="61"/>
                    <a:pt x="38" y="61"/>
                    <a:pt x="38" y="61"/>
                  </a:cubicBezTo>
                  <a:cubicBezTo>
                    <a:pt x="33" y="66"/>
                    <a:pt x="33" y="66"/>
                    <a:pt x="33" y="66"/>
                  </a:cubicBezTo>
                  <a:cubicBezTo>
                    <a:pt x="31" y="62"/>
                    <a:pt x="31" y="62"/>
                    <a:pt x="31" y="62"/>
                  </a:cubicBezTo>
                  <a:cubicBezTo>
                    <a:pt x="28" y="61"/>
                    <a:pt x="28" y="61"/>
                    <a:pt x="28" y="61"/>
                  </a:cubicBezTo>
                  <a:cubicBezTo>
                    <a:pt x="24" y="63"/>
                    <a:pt x="24" y="63"/>
                    <a:pt x="24" y="63"/>
                  </a:cubicBezTo>
                  <a:cubicBezTo>
                    <a:pt x="17" y="59"/>
                    <a:pt x="17" y="59"/>
                    <a:pt x="17" y="59"/>
                  </a:cubicBezTo>
                  <a:cubicBezTo>
                    <a:pt x="6" y="61"/>
                    <a:pt x="6" y="61"/>
                    <a:pt x="6" y="61"/>
                  </a:cubicBezTo>
                  <a:cubicBezTo>
                    <a:pt x="0" y="67"/>
                    <a:pt x="0" y="67"/>
                    <a:pt x="0" y="67"/>
                  </a:cubicBezTo>
                  <a:cubicBezTo>
                    <a:pt x="8" y="73"/>
                    <a:pt x="8" y="73"/>
                    <a:pt x="8" y="73"/>
                  </a:cubicBezTo>
                  <a:cubicBezTo>
                    <a:pt x="9" y="75"/>
                    <a:pt x="9" y="75"/>
                    <a:pt x="9" y="75"/>
                  </a:cubicBezTo>
                  <a:cubicBezTo>
                    <a:pt x="3" y="83"/>
                    <a:pt x="3" y="83"/>
                    <a:pt x="3" y="83"/>
                  </a:cubicBezTo>
                  <a:cubicBezTo>
                    <a:pt x="7" y="91"/>
                    <a:pt x="7" y="91"/>
                    <a:pt x="7" y="91"/>
                  </a:cubicBezTo>
                  <a:cubicBezTo>
                    <a:pt x="5" y="95"/>
                    <a:pt x="5" y="95"/>
                    <a:pt x="5" y="95"/>
                  </a:cubicBezTo>
                  <a:cubicBezTo>
                    <a:pt x="6" y="100"/>
                    <a:pt x="6" y="100"/>
                    <a:pt x="6" y="100"/>
                  </a:cubicBezTo>
                  <a:cubicBezTo>
                    <a:pt x="13" y="96"/>
                    <a:pt x="13" y="96"/>
                    <a:pt x="13" y="96"/>
                  </a:cubicBezTo>
                  <a:cubicBezTo>
                    <a:pt x="11" y="105"/>
                    <a:pt x="11" y="105"/>
                    <a:pt x="11" y="105"/>
                  </a:cubicBezTo>
                  <a:cubicBezTo>
                    <a:pt x="17" y="105"/>
                    <a:pt x="17" y="105"/>
                    <a:pt x="17" y="105"/>
                  </a:cubicBezTo>
                  <a:cubicBezTo>
                    <a:pt x="16" y="110"/>
                    <a:pt x="16" y="110"/>
                    <a:pt x="16" y="110"/>
                  </a:cubicBezTo>
                  <a:cubicBezTo>
                    <a:pt x="22" y="111"/>
                    <a:pt x="22" y="111"/>
                    <a:pt x="22" y="111"/>
                  </a:cubicBezTo>
                  <a:cubicBezTo>
                    <a:pt x="26" y="107"/>
                    <a:pt x="26" y="107"/>
                    <a:pt x="26" y="107"/>
                  </a:cubicBezTo>
                  <a:cubicBezTo>
                    <a:pt x="29" y="112"/>
                    <a:pt x="29" y="112"/>
                    <a:pt x="29" y="112"/>
                  </a:cubicBezTo>
                  <a:cubicBezTo>
                    <a:pt x="38" y="108"/>
                    <a:pt x="38" y="108"/>
                    <a:pt x="38" y="108"/>
                  </a:cubicBezTo>
                  <a:cubicBezTo>
                    <a:pt x="52" y="107"/>
                    <a:pt x="52" y="107"/>
                    <a:pt x="52" y="107"/>
                  </a:cubicBezTo>
                  <a:cubicBezTo>
                    <a:pt x="63" y="103"/>
                    <a:pt x="63" y="103"/>
                    <a:pt x="63" y="103"/>
                  </a:cubicBezTo>
                  <a:cubicBezTo>
                    <a:pt x="65" y="100"/>
                    <a:pt x="65" y="100"/>
                    <a:pt x="65" y="100"/>
                  </a:cubicBezTo>
                  <a:cubicBezTo>
                    <a:pt x="73" y="99"/>
                    <a:pt x="73" y="99"/>
                    <a:pt x="73" y="99"/>
                  </a:cubicBezTo>
                  <a:cubicBezTo>
                    <a:pt x="80" y="98"/>
                    <a:pt x="80" y="98"/>
                    <a:pt x="80" y="98"/>
                  </a:cubicBezTo>
                  <a:cubicBezTo>
                    <a:pt x="86" y="94"/>
                    <a:pt x="86" y="94"/>
                    <a:pt x="86" y="94"/>
                  </a:cubicBezTo>
                  <a:cubicBezTo>
                    <a:pt x="87" y="90"/>
                    <a:pt x="87" y="90"/>
                    <a:pt x="87" y="90"/>
                  </a:cubicBezTo>
                  <a:cubicBezTo>
                    <a:pt x="87" y="90"/>
                    <a:pt x="86" y="87"/>
                    <a:pt x="85" y="87"/>
                  </a:cubicBezTo>
                  <a:cubicBezTo>
                    <a:pt x="85" y="87"/>
                    <a:pt x="83" y="82"/>
                    <a:pt x="83" y="82"/>
                  </a:cubicBezTo>
                  <a:cubicBezTo>
                    <a:pt x="82" y="78"/>
                    <a:pt x="82" y="78"/>
                    <a:pt x="82" y="78"/>
                  </a:cubicBezTo>
                  <a:cubicBezTo>
                    <a:pt x="84" y="75"/>
                    <a:pt x="84" y="75"/>
                    <a:pt x="84" y="75"/>
                  </a:cubicBezTo>
                  <a:cubicBezTo>
                    <a:pt x="84" y="75"/>
                    <a:pt x="85" y="70"/>
                    <a:pt x="85" y="69"/>
                  </a:cubicBezTo>
                  <a:cubicBezTo>
                    <a:pt x="85" y="69"/>
                    <a:pt x="82" y="63"/>
                    <a:pt x="82" y="63"/>
                  </a:cubicBezTo>
                  <a:cubicBezTo>
                    <a:pt x="71" y="49"/>
                    <a:pt x="71" y="49"/>
                    <a:pt x="71" y="49"/>
                  </a:cubicBezTo>
                  <a:cubicBezTo>
                    <a:pt x="77" y="42"/>
                    <a:pt x="77" y="42"/>
                    <a:pt x="77" y="42"/>
                  </a:cubicBezTo>
                  <a:lnTo>
                    <a:pt x="83" y="42"/>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35" name="Freeform 31">
              <a:extLst>
                <a:ext uri="{FF2B5EF4-FFF2-40B4-BE49-F238E27FC236}">
                  <a16:creationId xmlns:a16="http://schemas.microsoft.com/office/drawing/2014/main" id="{B8751F4E-76BD-702D-8ECF-503CD5FB8CB0}"/>
                </a:ext>
              </a:extLst>
            </p:cNvPr>
            <p:cNvSpPr>
              <a:spLocks/>
            </p:cNvSpPr>
            <p:nvPr/>
          </p:nvSpPr>
          <p:spPr bwMode="auto">
            <a:xfrm>
              <a:off x="2471738" y="4106863"/>
              <a:ext cx="304800" cy="357188"/>
            </a:xfrm>
            <a:custGeom>
              <a:avLst/>
              <a:gdLst>
                <a:gd name="T0" fmla="*/ 827417700 w 80"/>
                <a:gd name="T1" fmla="*/ 57754260 h 94"/>
                <a:gd name="T2" fmla="*/ 754837200 w 80"/>
                <a:gd name="T3" fmla="*/ 57754260 h 94"/>
                <a:gd name="T4" fmla="*/ 638708400 w 80"/>
                <a:gd name="T5" fmla="*/ 72193775 h 94"/>
                <a:gd name="T6" fmla="*/ 580644000 w 80"/>
                <a:gd name="T7" fmla="*/ 129951834 h 94"/>
                <a:gd name="T8" fmla="*/ 479031300 w 80"/>
                <a:gd name="T9" fmla="*/ 115512319 h 94"/>
                <a:gd name="T10" fmla="*/ 435483000 w 80"/>
                <a:gd name="T11" fmla="*/ 129951834 h 94"/>
                <a:gd name="T12" fmla="*/ 420966900 w 80"/>
                <a:gd name="T13" fmla="*/ 216585124 h 94"/>
                <a:gd name="T14" fmla="*/ 348386400 w 80"/>
                <a:gd name="T15" fmla="*/ 216585124 h 94"/>
                <a:gd name="T16" fmla="*/ 377418600 w 80"/>
                <a:gd name="T17" fmla="*/ 447609762 h 94"/>
                <a:gd name="T18" fmla="*/ 493547400 w 80"/>
                <a:gd name="T19" fmla="*/ 620880141 h 94"/>
                <a:gd name="T20" fmla="*/ 420966900 w 80"/>
                <a:gd name="T21" fmla="*/ 664194886 h 94"/>
                <a:gd name="T22" fmla="*/ 290322000 w 80"/>
                <a:gd name="T23" fmla="*/ 721952945 h 94"/>
                <a:gd name="T24" fmla="*/ 246773700 w 80"/>
                <a:gd name="T25" fmla="*/ 664194886 h 94"/>
                <a:gd name="T26" fmla="*/ 116128800 w 80"/>
                <a:gd name="T27" fmla="*/ 664194886 h 94"/>
                <a:gd name="T28" fmla="*/ 87096600 w 80"/>
                <a:gd name="T29" fmla="*/ 721952945 h 94"/>
                <a:gd name="T30" fmla="*/ 130644900 w 80"/>
                <a:gd name="T31" fmla="*/ 779707205 h 94"/>
                <a:gd name="T32" fmla="*/ 145161000 w 80"/>
                <a:gd name="T33" fmla="*/ 880780010 h 94"/>
                <a:gd name="T34" fmla="*/ 116128800 w 80"/>
                <a:gd name="T35" fmla="*/ 924098554 h 94"/>
                <a:gd name="T36" fmla="*/ 14516100 w 80"/>
                <a:gd name="T37" fmla="*/ 996292329 h 94"/>
                <a:gd name="T38" fmla="*/ 0 w 80"/>
                <a:gd name="T39" fmla="*/ 1054050388 h 94"/>
                <a:gd name="T40" fmla="*/ 174193200 w 80"/>
                <a:gd name="T41" fmla="*/ 1111804648 h 94"/>
                <a:gd name="T42" fmla="*/ 449999100 w 80"/>
                <a:gd name="T43" fmla="*/ 1357268802 h 94"/>
                <a:gd name="T44" fmla="*/ 798385500 w 80"/>
                <a:gd name="T45" fmla="*/ 1184002223 h 94"/>
                <a:gd name="T46" fmla="*/ 827417700 w 80"/>
                <a:gd name="T47" fmla="*/ 1097365133 h 94"/>
                <a:gd name="T48" fmla="*/ 885482100 w 80"/>
                <a:gd name="T49" fmla="*/ 1010731844 h 94"/>
                <a:gd name="T50" fmla="*/ 1074191400 w 80"/>
                <a:gd name="T51" fmla="*/ 880780010 h 94"/>
                <a:gd name="T52" fmla="*/ 841933800 w 80"/>
                <a:gd name="T53" fmla="*/ 736388660 h 94"/>
                <a:gd name="T54" fmla="*/ 812901600 w 80"/>
                <a:gd name="T55" fmla="*/ 635315856 h 94"/>
                <a:gd name="T56" fmla="*/ 783869400 w 80"/>
                <a:gd name="T57" fmla="*/ 548682567 h 94"/>
                <a:gd name="T58" fmla="*/ 1161288000 w 80"/>
                <a:gd name="T59" fmla="*/ 447609762 h 94"/>
                <a:gd name="T60" fmla="*/ 885482100 w 80"/>
                <a:gd name="T61" fmla="*/ 0 h 94"/>
                <a:gd name="T62" fmla="*/ 827417700 w 80"/>
                <a:gd name="T63" fmla="*/ 57754260 h 9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94">
                  <a:moveTo>
                    <a:pt x="57" y="4"/>
                  </a:moveTo>
                  <a:cubicBezTo>
                    <a:pt x="52" y="4"/>
                    <a:pt x="52" y="4"/>
                    <a:pt x="52" y="4"/>
                  </a:cubicBezTo>
                  <a:cubicBezTo>
                    <a:pt x="44" y="5"/>
                    <a:pt x="44" y="5"/>
                    <a:pt x="44" y="5"/>
                  </a:cubicBezTo>
                  <a:cubicBezTo>
                    <a:pt x="40" y="9"/>
                    <a:pt x="40" y="9"/>
                    <a:pt x="40" y="9"/>
                  </a:cubicBezTo>
                  <a:cubicBezTo>
                    <a:pt x="33" y="8"/>
                    <a:pt x="33" y="8"/>
                    <a:pt x="33" y="8"/>
                  </a:cubicBezTo>
                  <a:cubicBezTo>
                    <a:pt x="30" y="9"/>
                    <a:pt x="30" y="9"/>
                    <a:pt x="30" y="9"/>
                  </a:cubicBezTo>
                  <a:cubicBezTo>
                    <a:pt x="29" y="15"/>
                    <a:pt x="29" y="15"/>
                    <a:pt x="29" y="15"/>
                  </a:cubicBezTo>
                  <a:cubicBezTo>
                    <a:pt x="24" y="15"/>
                    <a:pt x="24" y="15"/>
                    <a:pt x="24" y="15"/>
                  </a:cubicBezTo>
                  <a:cubicBezTo>
                    <a:pt x="26" y="31"/>
                    <a:pt x="26" y="31"/>
                    <a:pt x="26" y="31"/>
                  </a:cubicBezTo>
                  <a:cubicBezTo>
                    <a:pt x="34" y="43"/>
                    <a:pt x="34" y="43"/>
                    <a:pt x="34" y="43"/>
                  </a:cubicBezTo>
                  <a:cubicBezTo>
                    <a:pt x="29" y="46"/>
                    <a:pt x="29" y="46"/>
                    <a:pt x="29" y="46"/>
                  </a:cubicBezTo>
                  <a:cubicBezTo>
                    <a:pt x="20" y="50"/>
                    <a:pt x="20" y="50"/>
                    <a:pt x="20" y="50"/>
                  </a:cubicBezTo>
                  <a:cubicBezTo>
                    <a:pt x="17" y="46"/>
                    <a:pt x="17" y="46"/>
                    <a:pt x="17" y="46"/>
                  </a:cubicBezTo>
                  <a:cubicBezTo>
                    <a:pt x="8" y="46"/>
                    <a:pt x="8" y="46"/>
                    <a:pt x="8" y="46"/>
                  </a:cubicBezTo>
                  <a:cubicBezTo>
                    <a:pt x="6" y="50"/>
                    <a:pt x="6" y="50"/>
                    <a:pt x="6" y="50"/>
                  </a:cubicBezTo>
                  <a:cubicBezTo>
                    <a:pt x="9" y="54"/>
                    <a:pt x="9" y="54"/>
                    <a:pt x="9" y="54"/>
                  </a:cubicBezTo>
                  <a:cubicBezTo>
                    <a:pt x="10" y="61"/>
                    <a:pt x="10" y="61"/>
                    <a:pt x="10" y="61"/>
                  </a:cubicBezTo>
                  <a:cubicBezTo>
                    <a:pt x="8" y="64"/>
                    <a:pt x="8" y="64"/>
                    <a:pt x="8" y="64"/>
                  </a:cubicBezTo>
                  <a:cubicBezTo>
                    <a:pt x="1" y="69"/>
                    <a:pt x="1" y="69"/>
                    <a:pt x="1" y="69"/>
                  </a:cubicBezTo>
                  <a:cubicBezTo>
                    <a:pt x="0" y="73"/>
                    <a:pt x="0" y="73"/>
                    <a:pt x="0" y="73"/>
                  </a:cubicBezTo>
                  <a:cubicBezTo>
                    <a:pt x="12" y="77"/>
                    <a:pt x="12" y="77"/>
                    <a:pt x="12" y="77"/>
                  </a:cubicBezTo>
                  <a:cubicBezTo>
                    <a:pt x="31" y="94"/>
                    <a:pt x="31" y="94"/>
                    <a:pt x="31" y="94"/>
                  </a:cubicBezTo>
                  <a:cubicBezTo>
                    <a:pt x="55" y="82"/>
                    <a:pt x="55" y="82"/>
                    <a:pt x="55" y="82"/>
                  </a:cubicBezTo>
                  <a:cubicBezTo>
                    <a:pt x="55" y="82"/>
                    <a:pt x="57" y="77"/>
                    <a:pt x="57" y="76"/>
                  </a:cubicBezTo>
                  <a:cubicBezTo>
                    <a:pt x="57" y="76"/>
                    <a:pt x="61" y="70"/>
                    <a:pt x="61" y="70"/>
                  </a:cubicBezTo>
                  <a:cubicBezTo>
                    <a:pt x="74" y="61"/>
                    <a:pt x="74" y="61"/>
                    <a:pt x="74" y="61"/>
                  </a:cubicBezTo>
                  <a:cubicBezTo>
                    <a:pt x="58" y="51"/>
                    <a:pt x="58" y="51"/>
                    <a:pt x="58" y="51"/>
                  </a:cubicBezTo>
                  <a:cubicBezTo>
                    <a:pt x="56" y="44"/>
                    <a:pt x="56" y="44"/>
                    <a:pt x="56" y="44"/>
                  </a:cubicBezTo>
                  <a:cubicBezTo>
                    <a:pt x="54" y="38"/>
                    <a:pt x="54" y="38"/>
                    <a:pt x="54" y="38"/>
                  </a:cubicBezTo>
                  <a:cubicBezTo>
                    <a:pt x="80" y="31"/>
                    <a:pt x="80" y="31"/>
                    <a:pt x="80" y="31"/>
                  </a:cubicBezTo>
                  <a:cubicBezTo>
                    <a:pt x="61" y="0"/>
                    <a:pt x="61" y="0"/>
                    <a:pt x="61" y="0"/>
                  </a:cubicBezTo>
                  <a:lnTo>
                    <a:pt x="57" y="4"/>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36" name="Freeform 32">
              <a:extLst>
                <a:ext uri="{FF2B5EF4-FFF2-40B4-BE49-F238E27FC236}">
                  <a16:creationId xmlns:a16="http://schemas.microsoft.com/office/drawing/2014/main" id="{4637850F-472F-B5E6-7123-A215F87A9D19}"/>
                </a:ext>
              </a:extLst>
            </p:cNvPr>
            <p:cNvSpPr>
              <a:spLocks/>
            </p:cNvSpPr>
            <p:nvPr/>
          </p:nvSpPr>
          <p:spPr bwMode="auto">
            <a:xfrm>
              <a:off x="2450378" y="3873424"/>
              <a:ext cx="380701" cy="440077"/>
            </a:xfrm>
            <a:custGeom>
              <a:avLst/>
              <a:gdLst>
                <a:gd name="T0" fmla="*/ 350302513 w 218"/>
                <a:gd name="T1" fmla="*/ 272176875 h 252"/>
                <a:gd name="T2" fmla="*/ 448587813 w 218"/>
                <a:gd name="T3" fmla="*/ 246975313 h 252"/>
                <a:gd name="T4" fmla="*/ 466229700 w 218"/>
                <a:gd name="T5" fmla="*/ 277217188 h 252"/>
                <a:gd name="T6" fmla="*/ 488910313 w 218"/>
                <a:gd name="T7" fmla="*/ 259576888 h 252"/>
                <a:gd name="T8" fmla="*/ 519152188 w 218"/>
                <a:gd name="T9" fmla="*/ 272176875 h 252"/>
                <a:gd name="T10" fmla="*/ 539313438 w 218"/>
                <a:gd name="T11" fmla="*/ 241935000 h 252"/>
                <a:gd name="T12" fmla="*/ 549394063 w 218"/>
                <a:gd name="T13" fmla="*/ 168851263 h 252"/>
                <a:gd name="T14" fmla="*/ 539313438 w 218"/>
                <a:gd name="T15" fmla="*/ 151209375 h 252"/>
                <a:gd name="T16" fmla="*/ 501511888 w 218"/>
                <a:gd name="T17" fmla="*/ 151209375 h 252"/>
                <a:gd name="T18" fmla="*/ 496471575 w 218"/>
                <a:gd name="T19" fmla="*/ 126007813 h 252"/>
                <a:gd name="T20" fmla="*/ 514111875 w 218"/>
                <a:gd name="T21" fmla="*/ 95765938 h 252"/>
                <a:gd name="T22" fmla="*/ 539313438 w 218"/>
                <a:gd name="T23" fmla="*/ 65524063 h 252"/>
                <a:gd name="T24" fmla="*/ 519152188 w 218"/>
                <a:gd name="T25" fmla="*/ 35282188 h 252"/>
                <a:gd name="T26" fmla="*/ 448587813 w 218"/>
                <a:gd name="T27" fmla="*/ 17641888 h 252"/>
                <a:gd name="T28" fmla="*/ 435987825 w 218"/>
                <a:gd name="T29" fmla="*/ 5040313 h 252"/>
                <a:gd name="T30" fmla="*/ 393144375 w 218"/>
                <a:gd name="T31" fmla="*/ 12601575 h 252"/>
                <a:gd name="T32" fmla="*/ 380544388 w 218"/>
                <a:gd name="T33" fmla="*/ 0 h 252"/>
                <a:gd name="T34" fmla="*/ 357862188 w 218"/>
                <a:gd name="T35" fmla="*/ 0 h 252"/>
                <a:gd name="T36" fmla="*/ 337700938 w 218"/>
                <a:gd name="T37" fmla="*/ 17641888 h 252"/>
                <a:gd name="T38" fmla="*/ 345262200 w 218"/>
                <a:gd name="T39" fmla="*/ 83165950 h 252"/>
                <a:gd name="T40" fmla="*/ 302418750 w 218"/>
                <a:gd name="T41" fmla="*/ 113407825 h 252"/>
                <a:gd name="T42" fmla="*/ 246975313 w 218"/>
                <a:gd name="T43" fmla="*/ 90725625 h 252"/>
                <a:gd name="T44" fmla="*/ 181451250 w 218"/>
                <a:gd name="T45" fmla="*/ 108367513 h 252"/>
                <a:gd name="T46" fmla="*/ 241935000 w 218"/>
                <a:gd name="T47" fmla="*/ 163810950 h 252"/>
                <a:gd name="T48" fmla="*/ 272176875 w 218"/>
                <a:gd name="T49" fmla="*/ 163810950 h 252"/>
                <a:gd name="T50" fmla="*/ 284778450 w 218"/>
                <a:gd name="T51" fmla="*/ 224294700 h 252"/>
                <a:gd name="T52" fmla="*/ 219254388 w 218"/>
                <a:gd name="T53" fmla="*/ 216733438 h 252"/>
                <a:gd name="T54" fmla="*/ 158770638 w 218"/>
                <a:gd name="T55" fmla="*/ 163810950 h 252"/>
                <a:gd name="T56" fmla="*/ 98286888 w 218"/>
                <a:gd name="T57" fmla="*/ 151209375 h 252"/>
                <a:gd name="T58" fmla="*/ 85685313 w 218"/>
                <a:gd name="T59" fmla="*/ 181451250 h 252"/>
                <a:gd name="T60" fmla="*/ 42843450 w 218"/>
                <a:gd name="T61" fmla="*/ 204133450 h 252"/>
                <a:gd name="T62" fmla="*/ 37803138 w 218"/>
                <a:gd name="T63" fmla="*/ 272176875 h 252"/>
                <a:gd name="T64" fmla="*/ 0 w 218"/>
                <a:gd name="T65" fmla="*/ 307459063 h 252"/>
                <a:gd name="T66" fmla="*/ 7561263 w 218"/>
                <a:gd name="T67" fmla="*/ 362902500 h 252"/>
                <a:gd name="T68" fmla="*/ 25201563 w 218"/>
                <a:gd name="T69" fmla="*/ 385584700 h 252"/>
                <a:gd name="T70" fmla="*/ 17641888 w 218"/>
                <a:gd name="T71" fmla="*/ 435987825 h 252"/>
                <a:gd name="T72" fmla="*/ 37803138 w 218"/>
                <a:gd name="T73" fmla="*/ 453628125 h 252"/>
                <a:gd name="T74" fmla="*/ 42843450 w 218"/>
                <a:gd name="T75" fmla="*/ 519152188 h 252"/>
                <a:gd name="T76" fmla="*/ 47883763 w 218"/>
                <a:gd name="T77" fmla="*/ 609877813 h 252"/>
                <a:gd name="T78" fmla="*/ 103327200 w 218"/>
                <a:gd name="T79" fmla="*/ 609877813 h 252"/>
                <a:gd name="T80" fmla="*/ 120967500 w 218"/>
                <a:gd name="T81" fmla="*/ 635079375 h 252"/>
                <a:gd name="T82" fmla="*/ 176410938 w 218"/>
                <a:gd name="T83" fmla="*/ 609877813 h 252"/>
                <a:gd name="T84" fmla="*/ 206652813 w 218"/>
                <a:gd name="T85" fmla="*/ 592237513 h 252"/>
                <a:gd name="T86" fmla="*/ 158770638 w 218"/>
                <a:gd name="T87" fmla="*/ 519152188 h 252"/>
                <a:gd name="T88" fmla="*/ 146169063 w 218"/>
                <a:gd name="T89" fmla="*/ 423386250 h 252"/>
                <a:gd name="T90" fmla="*/ 176410938 w 218"/>
                <a:gd name="T91" fmla="*/ 423386250 h 252"/>
                <a:gd name="T92" fmla="*/ 181451250 w 218"/>
                <a:gd name="T93" fmla="*/ 385584700 h 252"/>
                <a:gd name="T94" fmla="*/ 199093138 w 218"/>
                <a:gd name="T95" fmla="*/ 380544388 h 252"/>
                <a:gd name="T96" fmla="*/ 241935000 w 218"/>
                <a:gd name="T97" fmla="*/ 385584700 h 252"/>
                <a:gd name="T98" fmla="*/ 267136563 w 218"/>
                <a:gd name="T99" fmla="*/ 362902500 h 252"/>
                <a:gd name="T100" fmla="*/ 315020325 w 218"/>
                <a:gd name="T101" fmla="*/ 355342825 h 252"/>
                <a:gd name="T102" fmla="*/ 345262200 w 218"/>
                <a:gd name="T103" fmla="*/ 355342825 h 252"/>
                <a:gd name="T104" fmla="*/ 367942813 w 218"/>
                <a:gd name="T105" fmla="*/ 332660625 h 252"/>
                <a:gd name="T106" fmla="*/ 350302513 w 218"/>
                <a:gd name="T107" fmla="*/ 294859075 h 252"/>
                <a:gd name="T108" fmla="*/ 350302513 w 218"/>
                <a:gd name="T109" fmla="*/ 272176875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 h="252">
                  <a:moveTo>
                    <a:pt x="139" y="108"/>
                  </a:moveTo>
                  <a:lnTo>
                    <a:pt x="178" y="98"/>
                  </a:lnTo>
                  <a:lnTo>
                    <a:pt x="185" y="110"/>
                  </a:lnTo>
                  <a:lnTo>
                    <a:pt x="194" y="103"/>
                  </a:lnTo>
                  <a:lnTo>
                    <a:pt x="206" y="108"/>
                  </a:lnTo>
                  <a:lnTo>
                    <a:pt x="214" y="96"/>
                  </a:lnTo>
                  <a:lnTo>
                    <a:pt x="218" y="67"/>
                  </a:lnTo>
                  <a:lnTo>
                    <a:pt x="214" y="60"/>
                  </a:lnTo>
                  <a:lnTo>
                    <a:pt x="199" y="60"/>
                  </a:lnTo>
                  <a:lnTo>
                    <a:pt x="197" y="50"/>
                  </a:lnTo>
                  <a:lnTo>
                    <a:pt x="204" y="38"/>
                  </a:lnTo>
                  <a:lnTo>
                    <a:pt x="214" y="26"/>
                  </a:lnTo>
                  <a:lnTo>
                    <a:pt x="206" y="14"/>
                  </a:lnTo>
                  <a:lnTo>
                    <a:pt x="178" y="7"/>
                  </a:lnTo>
                  <a:lnTo>
                    <a:pt x="173" y="2"/>
                  </a:lnTo>
                  <a:lnTo>
                    <a:pt x="156" y="5"/>
                  </a:lnTo>
                  <a:lnTo>
                    <a:pt x="151" y="0"/>
                  </a:lnTo>
                  <a:lnTo>
                    <a:pt x="142" y="0"/>
                  </a:lnTo>
                  <a:lnTo>
                    <a:pt x="134" y="7"/>
                  </a:lnTo>
                  <a:lnTo>
                    <a:pt x="137" y="33"/>
                  </a:lnTo>
                  <a:lnTo>
                    <a:pt x="120" y="45"/>
                  </a:lnTo>
                  <a:lnTo>
                    <a:pt x="98" y="36"/>
                  </a:lnTo>
                  <a:lnTo>
                    <a:pt x="72" y="43"/>
                  </a:lnTo>
                  <a:lnTo>
                    <a:pt x="96" y="65"/>
                  </a:lnTo>
                  <a:lnTo>
                    <a:pt x="108" y="65"/>
                  </a:lnTo>
                  <a:lnTo>
                    <a:pt x="113" y="89"/>
                  </a:lnTo>
                  <a:lnTo>
                    <a:pt x="87" y="86"/>
                  </a:lnTo>
                  <a:lnTo>
                    <a:pt x="63" y="65"/>
                  </a:lnTo>
                  <a:lnTo>
                    <a:pt x="39" y="60"/>
                  </a:lnTo>
                  <a:lnTo>
                    <a:pt x="34" y="72"/>
                  </a:lnTo>
                  <a:lnTo>
                    <a:pt x="17" y="81"/>
                  </a:lnTo>
                  <a:lnTo>
                    <a:pt x="15" y="108"/>
                  </a:lnTo>
                  <a:lnTo>
                    <a:pt x="0" y="122"/>
                  </a:lnTo>
                  <a:lnTo>
                    <a:pt x="3" y="144"/>
                  </a:lnTo>
                  <a:lnTo>
                    <a:pt x="10" y="153"/>
                  </a:lnTo>
                  <a:lnTo>
                    <a:pt x="7" y="173"/>
                  </a:lnTo>
                  <a:lnTo>
                    <a:pt x="15" y="180"/>
                  </a:lnTo>
                  <a:lnTo>
                    <a:pt x="17" y="206"/>
                  </a:lnTo>
                  <a:lnTo>
                    <a:pt x="19" y="242"/>
                  </a:lnTo>
                  <a:lnTo>
                    <a:pt x="41" y="242"/>
                  </a:lnTo>
                  <a:lnTo>
                    <a:pt x="48" y="252"/>
                  </a:lnTo>
                  <a:lnTo>
                    <a:pt x="70" y="242"/>
                  </a:lnTo>
                  <a:lnTo>
                    <a:pt x="82" y="235"/>
                  </a:lnTo>
                  <a:lnTo>
                    <a:pt x="63" y="206"/>
                  </a:lnTo>
                  <a:lnTo>
                    <a:pt x="58" y="168"/>
                  </a:lnTo>
                  <a:lnTo>
                    <a:pt x="70" y="168"/>
                  </a:lnTo>
                  <a:lnTo>
                    <a:pt x="72" y="153"/>
                  </a:lnTo>
                  <a:lnTo>
                    <a:pt x="79" y="151"/>
                  </a:lnTo>
                  <a:lnTo>
                    <a:pt x="96" y="153"/>
                  </a:lnTo>
                  <a:lnTo>
                    <a:pt x="106" y="144"/>
                  </a:lnTo>
                  <a:lnTo>
                    <a:pt x="125" y="141"/>
                  </a:lnTo>
                  <a:lnTo>
                    <a:pt x="137" y="141"/>
                  </a:lnTo>
                  <a:lnTo>
                    <a:pt x="146" y="132"/>
                  </a:lnTo>
                  <a:lnTo>
                    <a:pt x="139" y="117"/>
                  </a:lnTo>
                  <a:lnTo>
                    <a:pt x="139" y="108"/>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37" name="Freeform 34">
              <a:extLst>
                <a:ext uri="{FF2B5EF4-FFF2-40B4-BE49-F238E27FC236}">
                  <a16:creationId xmlns:a16="http://schemas.microsoft.com/office/drawing/2014/main" id="{884DE61C-6F28-5971-3AFB-2F0C5485BB2A}"/>
                </a:ext>
              </a:extLst>
            </p:cNvPr>
            <p:cNvSpPr>
              <a:spLocks/>
            </p:cNvSpPr>
            <p:nvPr/>
          </p:nvSpPr>
          <p:spPr bwMode="auto">
            <a:xfrm>
              <a:off x="2247900" y="4147902"/>
              <a:ext cx="928686" cy="884474"/>
            </a:xfrm>
            <a:custGeom>
              <a:avLst/>
              <a:gdLst>
                <a:gd name="T0" fmla="*/ 2147483646 w 244"/>
                <a:gd name="T1" fmla="*/ 927690028 h 231"/>
                <a:gd name="T2" fmla="*/ 2147483646 w 244"/>
                <a:gd name="T3" fmla="*/ 724759738 h 231"/>
                <a:gd name="T4" fmla="*/ 2147483646 w 244"/>
                <a:gd name="T5" fmla="*/ 463845014 h 231"/>
                <a:gd name="T6" fmla="*/ 2147483646 w 244"/>
                <a:gd name="T7" fmla="*/ 463845014 h 231"/>
                <a:gd name="T8" fmla="*/ 2147483646 w 244"/>
                <a:gd name="T9" fmla="*/ 536319845 h 231"/>
                <a:gd name="T10" fmla="*/ 2147483646 w 244"/>
                <a:gd name="T11" fmla="*/ 376875977 h 231"/>
                <a:gd name="T12" fmla="*/ 2147483646 w 244"/>
                <a:gd name="T13" fmla="*/ 434856604 h 231"/>
                <a:gd name="T14" fmla="*/ 2147483646 w 244"/>
                <a:gd name="T15" fmla="*/ 318895351 h 231"/>
                <a:gd name="T16" fmla="*/ 2147483646 w 244"/>
                <a:gd name="T17" fmla="*/ 130455458 h 231"/>
                <a:gd name="T18" fmla="*/ 2147483646 w 244"/>
                <a:gd name="T19" fmla="*/ 28992217 h 231"/>
                <a:gd name="T20" fmla="*/ 2147483646 w 244"/>
                <a:gd name="T21" fmla="*/ 0 h 231"/>
                <a:gd name="T22" fmla="*/ 2147483646 w 244"/>
                <a:gd name="T23" fmla="*/ 115961253 h 231"/>
                <a:gd name="T24" fmla="*/ 2147483646 w 244"/>
                <a:gd name="T25" fmla="*/ 159447675 h 231"/>
                <a:gd name="T26" fmla="*/ 2147483646 w 244"/>
                <a:gd name="T27" fmla="*/ 289903134 h 231"/>
                <a:gd name="T28" fmla="*/ 2115008521 w 244"/>
                <a:gd name="T29" fmla="*/ 507331436 h 231"/>
                <a:gd name="T30" fmla="*/ 2013602751 w 244"/>
                <a:gd name="T31" fmla="*/ 275408929 h 231"/>
                <a:gd name="T32" fmla="*/ 1665931265 w 244"/>
                <a:gd name="T33" fmla="*/ 463845014 h 231"/>
                <a:gd name="T34" fmla="*/ 1926686783 w 244"/>
                <a:gd name="T35" fmla="*/ 710261726 h 231"/>
                <a:gd name="T36" fmla="*/ 1680417259 w 244"/>
                <a:gd name="T37" fmla="*/ 927690028 h 231"/>
                <a:gd name="T38" fmla="*/ 1303769977 w 244"/>
                <a:gd name="T39" fmla="*/ 1188604752 h 231"/>
                <a:gd name="T40" fmla="*/ 854696528 w 244"/>
                <a:gd name="T41" fmla="*/ 884203606 h 231"/>
                <a:gd name="T42" fmla="*/ 0 w 244"/>
                <a:gd name="T43" fmla="*/ 1159612535 h 231"/>
                <a:gd name="T44" fmla="*/ 202807733 w 244"/>
                <a:gd name="T45" fmla="*/ 1579971127 h 231"/>
                <a:gd name="T46" fmla="*/ 1463123532 w 244"/>
                <a:gd name="T47" fmla="*/ 2147483646 h 231"/>
                <a:gd name="T48" fmla="*/ 2147483646 w 244"/>
                <a:gd name="T49" fmla="*/ 2147483646 h 231"/>
                <a:gd name="T50" fmla="*/ 2147483646 w 244"/>
                <a:gd name="T51" fmla="*/ 2147483646 h 231"/>
                <a:gd name="T52" fmla="*/ 2147483646 w 244"/>
                <a:gd name="T53" fmla="*/ 2147483646 h 231"/>
                <a:gd name="T54" fmla="*/ 2147483646 w 244"/>
                <a:gd name="T55" fmla="*/ 2147483646 h 231"/>
                <a:gd name="T56" fmla="*/ 2147483646 w 244"/>
                <a:gd name="T57" fmla="*/ 2147483646 h 231"/>
                <a:gd name="T58" fmla="*/ 2147483646 w 244"/>
                <a:gd name="T59" fmla="*/ 2147483646 h 231"/>
                <a:gd name="T60" fmla="*/ 2147483646 w 244"/>
                <a:gd name="T61" fmla="*/ 2147483646 h 231"/>
                <a:gd name="T62" fmla="*/ 2147483646 w 244"/>
                <a:gd name="T63" fmla="*/ 2101796767 h 231"/>
                <a:gd name="T64" fmla="*/ 2147483646 w 244"/>
                <a:gd name="T65" fmla="*/ 1232087366 h 231"/>
                <a:gd name="T66" fmla="*/ 2147483646 w 244"/>
                <a:gd name="T67" fmla="*/ 985670654 h 23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44" h="231">
                  <a:moveTo>
                    <a:pt x="226" y="68"/>
                  </a:moveTo>
                  <a:cubicBezTo>
                    <a:pt x="223" y="64"/>
                    <a:pt x="223" y="64"/>
                    <a:pt x="223" y="64"/>
                  </a:cubicBezTo>
                  <a:cubicBezTo>
                    <a:pt x="220" y="55"/>
                    <a:pt x="220" y="55"/>
                    <a:pt x="220" y="55"/>
                  </a:cubicBezTo>
                  <a:cubicBezTo>
                    <a:pt x="222" y="50"/>
                    <a:pt x="222" y="50"/>
                    <a:pt x="222" y="50"/>
                  </a:cubicBezTo>
                  <a:cubicBezTo>
                    <a:pt x="223" y="46"/>
                    <a:pt x="223" y="46"/>
                    <a:pt x="223" y="46"/>
                  </a:cubicBezTo>
                  <a:cubicBezTo>
                    <a:pt x="211" y="32"/>
                    <a:pt x="211" y="32"/>
                    <a:pt x="211" y="32"/>
                  </a:cubicBezTo>
                  <a:cubicBezTo>
                    <a:pt x="209" y="27"/>
                    <a:pt x="209" y="27"/>
                    <a:pt x="209" y="27"/>
                  </a:cubicBezTo>
                  <a:cubicBezTo>
                    <a:pt x="201" y="32"/>
                    <a:pt x="201" y="32"/>
                    <a:pt x="201" y="32"/>
                  </a:cubicBezTo>
                  <a:cubicBezTo>
                    <a:pt x="197" y="31"/>
                    <a:pt x="197" y="31"/>
                    <a:pt x="197" y="31"/>
                  </a:cubicBezTo>
                  <a:cubicBezTo>
                    <a:pt x="189" y="37"/>
                    <a:pt x="189" y="37"/>
                    <a:pt x="189" y="37"/>
                  </a:cubicBezTo>
                  <a:cubicBezTo>
                    <a:pt x="180" y="28"/>
                    <a:pt x="180" y="28"/>
                    <a:pt x="180" y="28"/>
                  </a:cubicBezTo>
                  <a:cubicBezTo>
                    <a:pt x="182" y="26"/>
                    <a:pt x="182" y="26"/>
                    <a:pt x="182" y="26"/>
                  </a:cubicBezTo>
                  <a:cubicBezTo>
                    <a:pt x="186" y="26"/>
                    <a:pt x="186" y="26"/>
                    <a:pt x="186" y="26"/>
                  </a:cubicBezTo>
                  <a:cubicBezTo>
                    <a:pt x="190" y="30"/>
                    <a:pt x="190" y="30"/>
                    <a:pt x="190" y="30"/>
                  </a:cubicBezTo>
                  <a:cubicBezTo>
                    <a:pt x="193" y="26"/>
                    <a:pt x="193" y="26"/>
                    <a:pt x="193" y="26"/>
                  </a:cubicBezTo>
                  <a:cubicBezTo>
                    <a:pt x="194" y="22"/>
                    <a:pt x="194" y="22"/>
                    <a:pt x="194" y="22"/>
                  </a:cubicBezTo>
                  <a:cubicBezTo>
                    <a:pt x="189" y="15"/>
                    <a:pt x="189" y="15"/>
                    <a:pt x="189" y="15"/>
                  </a:cubicBezTo>
                  <a:cubicBezTo>
                    <a:pt x="178" y="9"/>
                    <a:pt x="178" y="9"/>
                    <a:pt x="178" y="9"/>
                  </a:cubicBezTo>
                  <a:cubicBezTo>
                    <a:pt x="174" y="6"/>
                    <a:pt x="174" y="6"/>
                    <a:pt x="174" y="6"/>
                  </a:cubicBezTo>
                  <a:cubicBezTo>
                    <a:pt x="174" y="6"/>
                    <a:pt x="173" y="3"/>
                    <a:pt x="173" y="2"/>
                  </a:cubicBezTo>
                  <a:cubicBezTo>
                    <a:pt x="173" y="2"/>
                    <a:pt x="170" y="2"/>
                    <a:pt x="170" y="2"/>
                  </a:cubicBezTo>
                  <a:cubicBezTo>
                    <a:pt x="170" y="0"/>
                    <a:pt x="170" y="0"/>
                    <a:pt x="170" y="0"/>
                  </a:cubicBezTo>
                  <a:cubicBezTo>
                    <a:pt x="170" y="0"/>
                    <a:pt x="167" y="3"/>
                    <a:pt x="167" y="3"/>
                  </a:cubicBezTo>
                  <a:cubicBezTo>
                    <a:pt x="167" y="4"/>
                    <a:pt x="165" y="8"/>
                    <a:pt x="165" y="8"/>
                  </a:cubicBezTo>
                  <a:cubicBezTo>
                    <a:pt x="165" y="8"/>
                    <a:pt x="164" y="11"/>
                    <a:pt x="164" y="11"/>
                  </a:cubicBezTo>
                  <a:cubicBezTo>
                    <a:pt x="160" y="11"/>
                    <a:pt x="160" y="11"/>
                    <a:pt x="160" y="11"/>
                  </a:cubicBezTo>
                  <a:cubicBezTo>
                    <a:pt x="156" y="15"/>
                    <a:pt x="156" y="15"/>
                    <a:pt x="156" y="15"/>
                  </a:cubicBezTo>
                  <a:cubicBezTo>
                    <a:pt x="156" y="15"/>
                    <a:pt x="155" y="20"/>
                    <a:pt x="155" y="20"/>
                  </a:cubicBezTo>
                  <a:cubicBezTo>
                    <a:pt x="155" y="21"/>
                    <a:pt x="151" y="30"/>
                    <a:pt x="151" y="30"/>
                  </a:cubicBezTo>
                  <a:cubicBezTo>
                    <a:pt x="146" y="35"/>
                    <a:pt x="146" y="35"/>
                    <a:pt x="146" y="35"/>
                  </a:cubicBezTo>
                  <a:cubicBezTo>
                    <a:pt x="140" y="29"/>
                    <a:pt x="140" y="29"/>
                    <a:pt x="140" y="29"/>
                  </a:cubicBezTo>
                  <a:cubicBezTo>
                    <a:pt x="139" y="19"/>
                    <a:pt x="139" y="19"/>
                    <a:pt x="139" y="19"/>
                  </a:cubicBezTo>
                  <a:cubicBezTo>
                    <a:pt x="113" y="26"/>
                    <a:pt x="113" y="26"/>
                    <a:pt x="113" y="26"/>
                  </a:cubicBezTo>
                  <a:cubicBezTo>
                    <a:pt x="115" y="32"/>
                    <a:pt x="115" y="32"/>
                    <a:pt x="115" y="32"/>
                  </a:cubicBezTo>
                  <a:cubicBezTo>
                    <a:pt x="117" y="39"/>
                    <a:pt x="117" y="39"/>
                    <a:pt x="117" y="39"/>
                  </a:cubicBezTo>
                  <a:cubicBezTo>
                    <a:pt x="133" y="49"/>
                    <a:pt x="133" y="49"/>
                    <a:pt x="133" y="49"/>
                  </a:cubicBezTo>
                  <a:cubicBezTo>
                    <a:pt x="120" y="58"/>
                    <a:pt x="120" y="58"/>
                    <a:pt x="120" y="58"/>
                  </a:cubicBezTo>
                  <a:cubicBezTo>
                    <a:pt x="120" y="58"/>
                    <a:pt x="116" y="64"/>
                    <a:pt x="116" y="64"/>
                  </a:cubicBezTo>
                  <a:cubicBezTo>
                    <a:pt x="116" y="65"/>
                    <a:pt x="114" y="70"/>
                    <a:pt x="114" y="70"/>
                  </a:cubicBezTo>
                  <a:cubicBezTo>
                    <a:pt x="90" y="82"/>
                    <a:pt x="90" y="82"/>
                    <a:pt x="90" y="82"/>
                  </a:cubicBezTo>
                  <a:cubicBezTo>
                    <a:pt x="71" y="65"/>
                    <a:pt x="71" y="65"/>
                    <a:pt x="71" y="65"/>
                  </a:cubicBezTo>
                  <a:cubicBezTo>
                    <a:pt x="59" y="61"/>
                    <a:pt x="59" y="61"/>
                    <a:pt x="59" y="61"/>
                  </a:cubicBezTo>
                  <a:cubicBezTo>
                    <a:pt x="6" y="73"/>
                    <a:pt x="6" y="73"/>
                    <a:pt x="6" y="73"/>
                  </a:cubicBezTo>
                  <a:cubicBezTo>
                    <a:pt x="0" y="80"/>
                    <a:pt x="0" y="80"/>
                    <a:pt x="0" y="80"/>
                  </a:cubicBezTo>
                  <a:cubicBezTo>
                    <a:pt x="6" y="99"/>
                    <a:pt x="6" y="99"/>
                    <a:pt x="6" y="99"/>
                  </a:cubicBezTo>
                  <a:cubicBezTo>
                    <a:pt x="14" y="109"/>
                    <a:pt x="14" y="109"/>
                    <a:pt x="14" y="109"/>
                  </a:cubicBezTo>
                  <a:cubicBezTo>
                    <a:pt x="18" y="129"/>
                    <a:pt x="18" y="129"/>
                    <a:pt x="18" y="129"/>
                  </a:cubicBezTo>
                  <a:cubicBezTo>
                    <a:pt x="101" y="176"/>
                    <a:pt x="101" y="176"/>
                    <a:pt x="101" y="176"/>
                  </a:cubicBezTo>
                  <a:cubicBezTo>
                    <a:pt x="199" y="231"/>
                    <a:pt x="199" y="231"/>
                    <a:pt x="199" y="231"/>
                  </a:cubicBezTo>
                  <a:cubicBezTo>
                    <a:pt x="201" y="218"/>
                    <a:pt x="201" y="218"/>
                    <a:pt x="201" y="218"/>
                  </a:cubicBezTo>
                  <a:cubicBezTo>
                    <a:pt x="201" y="218"/>
                    <a:pt x="200" y="206"/>
                    <a:pt x="200" y="204"/>
                  </a:cubicBezTo>
                  <a:cubicBezTo>
                    <a:pt x="200" y="203"/>
                    <a:pt x="201" y="203"/>
                    <a:pt x="202" y="202"/>
                  </a:cubicBezTo>
                  <a:cubicBezTo>
                    <a:pt x="202" y="200"/>
                    <a:pt x="202" y="198"/>
                    <a:pt x="202" y="197"/>
                  </a:cubicBezTo>
                  <a:cubicBezTo>
                    <a:pt x="202" y="195"/>
                    <a:pt x="201" y="195"/>
                    <a:pt x="200" y="193"/>
                  </a:cubicBezTo>
                  <a:cubicBezTo>
                    <a:pt x="199" y="192"/>
                    <a:pt x="199" y="189"/>
                    <a:pt x="199" y="188"/>
                  </a:cubicBezTo>
                  <a:cubicBezTo>
                    <a:pt x="199" y="187"/>
                    <a:pt x="201" y="184"/>
                    <a:pt x="201" y="183"/>
                  </a:cubicBezTo>
                  <a:cubicBezTo>
                    <a:pt x="202" y="183"/>
                    <a:pt x="205" y="176"/>
                    <a:pt x="205" y="176"/>
                  </a:cubicBezTo>
                  <a:cubicBezTo>
                    <a:pt x="205" y="175"/>
                    <a:pt x="204" y="173"/>
                    <a:pt x="204" y="171"/>
                  </a:cubicBezTo>
                  <a:cubicBezTo>
                    <a:pt x="203" y="170"/>
                    <a:pt x="203" y="169"/>
                    <a:pt x="204" y="167"/>
                  </a:cubicBezTo>
                  <a:cubicBezTo>
                    <a:pt x="204" y="166"/>
                    <a:pt x="205" y="164"/>
                    <a:pt x="206" y="162"/>
                  </a:cubicBezTo>
                  <a:cubicBezTo>
                    <a:pt x="207" y="160"/>
                    <a:pt x="207" y="158"/>
                    <a:pt x="207" y="157"/>
                  </a:cubicBezTo>
                  <a:cubicBezTo>
                    <a:pt x="207" y="156"/>
                    <a:pt x="206" y="153"/>
                    <a:pt x="206" y="152"/>
                  </a:cubicBezTo>
                  <a:cubicBezTo>
                    <a:pt x="205" y="151"/>
                    <a:pt x="204" y="149"/>
                    <a:pt x="204" y="148"/>
                  </a:cubicBezTo>
                  <a:cubicBezTo>
                    <a:pt x="203" y="147"/>
                    <a:pt x="204" y="145"/>
                    <a:pt x="204" y="145"/>
                  </a:cubicBezTo>
                  <a:cubicBezTo>
                    <a:pt x="244" y="103"/>
                    <a:pt x="244" y="103"/>
                    <a:pt x="244" y="103"/>
                  </a:cubicBezTo>
                  <a:cubicBezTo>
                    <a:pt x="243" y="85"/>
                    <a:pt x="243" y="85"/>
                    <a:pt x="243" y="85"/>
                  </a:cubicBezTo>
                  <a:cubicBezTo>
                    <a:pt x="232" y="66"/>
                    <a:pt x="232" y="66"/>
                    <a:pt x="232" y="66"/>
                  </a:cubicBezTo>
                  <a:lnTo>
                    <a:pt x="226" y="68"/>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38" name="Freeform 35">
              <a:extLst>
                <a:ext uri="{FF2B5EF4-FFF2-40B4-BE49-F238E27FC236}">
                  <a16:creationId xmlns:a16="http://schemas.microsoft.com/office/drawing/2014/main" id="{578324F6-CAE1-3454-889F-8962CDF621F4}"/>
                </a:ext>
              </a:extLst>
            </p:cNvPr>
            <p:cNvSpPr>
              <a:spLocks/>
            </p:cNvSpPr>
            <p:nvPr/>
          </p:nvSpPr>
          <p:spPr bwMode="auto">
            <a:xfrm>
              <a:off x="2692400" y="3783013"/>
              <a:ext cx="617537" cy="742950"/>
            </a:xfrm>
            <a:custGeom>
              <a:avLst/>
              <a:gdLst>
                <a:gd name="T0" fmla="*/ 2147483646 w 162"/>
                <a:gd name="T1" fmla="*/ 2147483646 h 195"/>
                <a:gd name="T2" fmla="*/ 2147483646 w 162"/>
                <a:gd name="T3" fmla="*/ 2133866700 h 195"/>
                <a:gd name="T4" fmla="*/ 2147483646 w 162"/>
                <a:gd name="T5" fmla="*/ 1887093000 h 195"/>
                <a:gd name="T6" fmla="*/ 2106998124 w 162"/>
                <a:gd name="T7" fmla="*/ 1756448100 h 195"/>
                <a:gd name="T8" fmla="*/ 1976217511 w 162"/>
                <a:gd name="T9" fmla="*/ 1654835400 h 195"/>
                <a:gd name="T10" fmla="*/ 1947155152 w 162"/>
                <a:gd name="T11" fmla="*/ 1437093900 h 195"/>
                <a:gd name="T12" fmla="*/ 1714660096 w 162"/>
                <a:gd name="T13" fmla="*/ 1262900700 h 195"/>
                <a:gd name="T14" fmla="*/ 1627473020 w 162"/>
                <a:gd name="T15" fmla="*/ 1190320200 h 195"/>
                <a:gd name="T16" fmla="*/ 1656535379 w 162"/>
                <a:gd name="T17" fmla="*/ 1001610900 h 195"/>
                <a:gd name="T18" fmla="*/ 1656535379 w 162"/>
                <a:gd name="T19" fmla="*/ 725805000 h 195"/>
                <a:gd name="T20" fmla="*/ 1685597737 w 162"/>
                <a:gd name="T21" fmla="*/ 508063500 h 195"/>
                <a:gd name="T22" fmla="*/ 1743722454 w 162"/>
                <a:gd name="T23" fmla="*/ 275805900 h 195"/>
                <a:gd name="T24" fmla="*/ 1569348303 w 162"/>
                <a:gd name="T25" fmla="*/ 0 h 195"/>
                <a:gd name="T26" fmla="*/ 1453102681 w 162"/>
                <a:gd name="T27" fmla="*/ 116128800 h 195"/>
                <a:gd name="T28" fmla="*/ 1380446784 w 162"/>
                <a:gd name="T29" fmla="*/ 493547400 h 195"/>
                <a:gd name="T30" fmla="*/ 1075295831 w 162"/>
                <a:gd name="T31" fmla="*/ 304838100 h 195"/>
                <a:gd name="T32" fmla="*/ 1133420548 w 162"/>
                <a:gd name="T33" fmla="*/ 435483000 h 195"/>
                <a:gd name="T34" fmla="*/ 1002639935 w 162"/>
                <a:gd name="T35" fmla="*/ 653224500 h 195"/>
                <a:gd name="T36" fmla="*/ 886390500 w 162"/>
                <a:gd name="T37" fmla="*/ 624192300 h 195"/>
                <a:gd name="T38" fmla="*/ 755613699 w 162"/>
                <a:gd name="T39" fmla="*/ 711288900 h 195"/>
                <a:gd name="T40" fmla="*/ 639364265 w 162"/>
                <a:gd name="T41" fmla="*/ 899998200 h 195"/>
                <a:gd name="T42" fmla="*/ 595770727 w 162"/>
                <a:gd name="T43" fmla="*/ 798385500 h 195"/>
                <a:gd name="T44" fmla="*/ 537646010 w 162"/>
                <a:gd name="T45" fmla="*/ 653224500 h 195"/>
                <a:gd name="T46" fmla="*/ 392338029 w 162"/>
                <a:gd name="T47" fmla="*/ 667740600 h 195"/>
                <a:gd name="T48" fmla="*/ 363275670 w 162"/>
                <a:gd name="T49" fmla="*/ 798385500 h 195"/>
                <a:gd name="T50" fmla="*/ 479525104 w 162"/>
                <a:gd name="T51" fmla="*/ 841933800 h 195"/>
                <a:gd name="T52" fmla="*/ 406869208 w 162"/>
                <a:gd name="T53" fmla="*/ 1088707500 h 195"/>
                <a:gd name="T54" fmla="*/ 276088594 w 162"/>
                <a:gd name="T55" fmla="*/ 1103223600 h 195"/>
                <a:gd name="T56" fmla="*/ 0 w 162"/>
                <a:gd name="T57" fmla="*/ 1088707500 h 195"/>
                <a:gd name="T58" fmla="*/ 43593538 w 162"/>
                <a:gd name="T59" fmla="*/ 1233868500 h 195"/>
                <a:gd name="T60" fmla="*/ 334213312 w 162"/>
                <a:gd name="T61" fmla="*/ 1829028600 h 195"/>
                <a:gd name="T62" fmla="*/ 494056284 w 162"/>
                <a:gd name="T63" fmla="*/ 1843544700 h 195"/>
                <a:gd name="T64" fmla="*/ 566708368 w 162"/>
                <a:gd name="T65" fmla="*/ 1625803200 h 195"/>
                <a:gd name="T66" fmla="*/ 682957802 w 162"/>
                <a:gd name="T67" fmla="*/ 1567738800 h 195"/>
                <a:gd name="T68" fmla="*/ 726551340 w 162"/>
                <a:gd name="T69" fmla="*/ 1451610000 h 195"/>
                <a:gd name="T70" fmla="*/ 770144878 w 162"/>
                <a:gd name="T71" fmla="*/ 1437093900 h 195"/>
                <a:gd name="T72" fmla="*/ 828269595 w 162"/>
                <a:gd name="T73" fmla="*/ 1495158300 h 195"/>
                <a:gd name="T74" fmla="*/ 1046233473 w 162"/>
                <a:gd name="T75" fmla="*/ 1625803200 h 195"/>
                <a:gd name="T76" fmla="*/ 1104358190 w 162"/>
                <a:gd name="T77" fmla="*/ 1785480300 h 195"/>
                <a:gd name="T78" fmla="*/ 1002639935 w 162"/>
                <a:gd name="T79" fmla="*/ 1785480300 h 195"/>
                <a:gd name="T80" fmla="*/ 915452859 w 162"/>
                <a:gd name="T81" fmla="*/ 1814512500 h 195"/>
                <a:gd name="T82" fmla="*/ 1162482907 w 162"/>
                <a:gd name="T83" fmla="*/ 1858060800 h 195"/>
                <a:gd name="T84" fmla="*/ 1336853246 w 162"/>
                <a:gd name="T85" fmla="*/ 1799996400 h 195"/>
                <a:gd name="T86" fmla="*/ 1540285944 w 162"/>
                <a:gd name="T87" fmla="*/ 2075802300 h 195"/>
                <a:gd name="T88" fmla="*/ 1496696218 w 162"/>
                <a:gd name="T89" fmla="*/ 2147483646 h 195"/>
                <a:gd name="T90" fmla="*/ 1583879482 w 162"/>
                <a:gd name="T91" fmla="*/ 2147483646 h 195"/>
                <a:gd name="T92" fmla="*/ 1830909530 w 162"/>
                <a:gd name="T93" fmla="*/ 2147483646 h 195"/>
                <a:gd name="T94" fmla="*/ 2147483646 w 162"/>
                <a:gd name="T95" fmla="*/ 2147483646 h 1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2" h="195">
                  <a:moveTo>
                    <a:pt x="162" y="168"/>
                  </a:moveTo>
                  <a:cubicBezTo>
                    <a:pt x="158" y="162"/>
                    <a:pt x="158" y="162"/>
                    <a:pt x="158" y="162"/>
                  </a:cubicBezTo>
                  <a:cubicBezTo>
                    <a:pt x="156" y="159"/>
                    <a:pt x="156" y="159"/>
                    <a:pt x="156" y="159"/>
                  </a:cubicBezTo>
                  <a:cubicBezTo>
                    <a:pt x="158" y="147"/>
                    <a:pt x="158" y="147"/>
                    <a:pt x="158" y="147"/>
                  </a:cubicBezTo>
                  <a:cubicBezTo>
                    <a:pt x="153" y="134"/>
                    <a:pt x="153" y="134"/>
                    <a:pt x="153" y="134"/>
                  </a:cubicBezTo>
                  <a:cubicBezTo>
                    <a:pt x="155" y="130"/>
                    <a:pt x="155" y="130"/>
                    <a:pt x="155" y="130"/>
                  </a:cubicBezTo>
                  <a:cubicBezTo>
                    <a:pt x="150" y="119"/>
                    <a:pt x="150" y="119"/>
                    <a:pt x="150" y="119"/>
                  </a:cubicBezTo>
                  <a:cubicBezTo>
                    <a:pt x="150" y="119"/>
                    <a:pt x="146" y="121"/>
                    <a:pt x="145" y="121"/>
                  </a:cubicBezTo>
                  <a:cubicBezTo>
                    <a:pt x="145" y="120"/>
                    <a:pt x="143" y="114"/>
                    <a:pt x="143" y="114"/>
                  </a:cubicBezTo>
                  <a:cubicBezTo>
                    <a:pt x="136" y="114"/>
                    <a:pt x="136" y="114"/>
                    <a:pt x="136" y="114"/>
                  </a:cubicBezTo>
                  <a:cubicBezTo>
                    <a:pt x="136" y="114"/>
                    <a:pt x="134" y="107"/>
                    <a:pt x="134" y="106"/>
                  </a:cubicBezTo>
                  <a:cubicBezTo>
                    <a:pt x="134" y="106"/>
                    <a:pt x="134" y="99"/>
                    <a:pt x="134" y="99"/>
                  </a:cubicBezTo>
                  <a:cubicBezTo>
                    <a:pt x="130" y="87"/>
                    <a:pt x="130" y="87"/>
                    <a:pt x="130" y="87"/>
                  </a:cubicBezTo>
                  <a:cubicBezTo>
                    <a:pt x="130" y="87"/>
                    <a:pt x="118" y="87"/>
                    <a:pt x="118" y="87"/>
                  </a:cubicBezTo>
                  <a:cubicBezTo>
                    <a:pt x="118" y="87"/>
                    <a:pt x="116" y="83"/>
                    <a:pt x="116" y="83"/>
                  </a:cubicBezTo>
                  <a:cubicBezTo>
                    <a:pt x="116" y="83"/>
                    <a:pt x="112" y="83"/>
                    <a:pt x="112" y="82"/>
                  </a:cubicBezTo>
                  <a:cubicBezTo>
                    <a:pt x="111" y="82"/>
                    <a:pt x="110" y="77"/>
                    <a:pt x="110" y="76"/>
                  </a:cubicBezTo>
                  <a:cubicBezTo>
                    <a:pt x="110" y="76"/>
                    <a:pt x="114" y="69"/>
                    <a:pt x="114" y="69"/>
                  </a:cubicBezTo>
                  <a:cubicBezTo>
                    <a:pt x="108" y="52"/>
                    <a:pt x="108" y="52"/>
                    <a:pt x="108" y="52"/>
                  </a:cubicBezTo>
                  <a:cubicBezTo>
                    <a:pt x="114" y="50"/>
                    <a:pt x="114" y="50"/>
                    <a:pt x="114" y="50"/>
                  </a:cubicBezTo>
                  <a:cubicBezTo>
                    <a:pt x="116" y="41"/>
                    <a:pt x="116" y="41"/>
                    <a:pt x="116" y="41"/>
                  </a:cubicBezTo>
                  <a:cubicBezTo>
                    <a:pt x="116" y="35"/>
                    <a:pt x="116" y="35"/>
                    <a:pt x="116" y="35"/>
                  </a:cubicBezTo>
                  <a:cubicBezTo>
                    <a:pt x="115" y="25"/>
                    <a:pt x="115" y="25"/>
                    <a:pt x="115" y="25"/>
                  </a:cubicBezTo>
                  <a:cubicBezTo>
                    <a:pt x="120" y="19"/>
                    <a:pt x="120" y="19"/>
                    <a:pt x="120" y="19"/>
                  </a:cubicBezTo>
                  <a:cubicBezTo>
                    <a:pt x="112" y="8"/>
                    <a:pt x="112" y="8"/>
                    <a:pt x="112" y="8"/>
                  </a:cubicBezTo>
                  <a:cubicBezTo>
                    <a:pt x="108" y="0"/>
                    <a:pt x="108" y="0"/>
                    <a:pt x="108" y="0"/>
                  </a:cubicBezTo>
                  <a:cubicBezTo>
                    <a:pt x="107" y="5"/>
                    <a:pt x="107" y="5"/>
                    <a:pt x="107" y="5"/>
                  </a:cubicBezTo>
                  <a:cubicBezTo>
                    <a:pt x="100" y="8"/>
                    <a:pt x="100" y="8"/>
                    <a:pt x="100" y="8"/>
                  </a:cubicBezTo>
                  <a:cubicBezTo>
                    <a:pt x="98" y="21"/>
                    <a:pt x="98" y="21"/>
                    <a:pt x="98" y="21"/>
                  </a:cubicBezTo>
                  <a:cubicBezTo>
                    <a:pt x="95" y="34"/>
                    <a:pt x="95" y="34"/>
                    <a:pt x="95" y="34"/>
                  </a:cubicBezTo>
                  <a:cubicBezTo>
                    <a:pt x="86" y="32"/>
                    <a:pt x="86" y="32"/>
                    <a:pt x="86" y="32"/>
                  </a:cubicBezTo>
                  <a:cubicBezTo>
                    <a:pt x="74" y="21"/>
                    <a:pt x="74" y="21"/>
                    <a:pt x="74" y="21"/>
                  </a:cubicBezTo>
                  <a:cubicBezTo>
                    <a:pt x="71" y="23"/>
                    <a:pt x="71" y="23"/>
                    <a:pt x="71" y="23"/>
                  </a:cubicBezTo>
                  <a:cubicBezTo>
                    <a:pt x="78" y="30"/>
                    <a:pt x="78" y="30"/>
                    <a:pt x="78" y="30"/>
                  </a:cubicBezTo>
                  <a:cubicBezTo>
                    <a:pt x="76" y="35"/>
                    <a:pt x="76" y="35"/>
                    <a:pt x="76" y="35"/>
                  </a:cubicBezTo>
                  <a:cubicBezTo>
                    <a:pt x="69" y="45"/>
                    <a:pt x="69" y="45"/>
                    <a:pt x="69" y="45"/>
                  </a:cubicBezTo>
                  <a:cubicBezTo>
                    <a:pt x="62" y="39"/>
                    <a:pt x="62" y="39"/>
                    <a:pt x="62" y="39"/>
                  </a:cubicBezTo>
                  <a:cubicBezTo>
                    <a:pt x="61" y="43"/>
                    <a:pt x="61" y="43"/>
                    <a:pt x="61" y="43"/>
                  </a:cubicBezTo>
                  <a:cubicBezTo>
                    <a:pt x="58" y="47"/>
                    <a:pt x="58" y="47"/>
                    <a:pt x="58" y="47"/>
                  </a:cubicBezTo>
                  <a:cubicBezTo>
                    <a:pt x="52" y="49"/>
                    <a:pt x="52" y="49"/>
                    <a:pt x="52" y="49"/>
                  </a:cubicBezTo>
                  <a:cubicBezTo>
                    <a:pt x="51" y="59"/>
                    <a:pt x="51" y="59"/>
                    <a:pt x="51" y="59"/>
                  </a:cubicBezTo>
                  <a:cubicBezTo>
                    <a:pt x="44" y="62"/>
                    <a:pt x="44" y="62"/>
                    <a:pt x="44" y="62"/>
                  </a:cubicBezTo>
                  <a:cubicBezTo>
                    <a:pt x="42" y="61"/>
                    <a:pt x="42" y="61"/>
                    <a:pt x="42" y="61"/>
                  </a:cubicBezTo>
                  <a:cubicBezTo>
                    <a:pt x="42" y="61"/>
                    <a:pt x="41" y="55"/>
                    <a:pt x="41" y="55"/>
                  </a:cubicBezTo>
                  <a:cubicBezTo>
                    <a:pt x="41" y="54"/>
                    <a:pt x="38" y="47"/>
                    <a:pt x="38" y="47"/>
                  </a:cubicBezTo>
                  <a:cubicBezTo>
                    <a:pt x="37" y="45"/>
                    <a:pt x="37" y="45"/>
                    <a:pt x="37" y="45"/>
                  </a:cubicBezTo>
                  <a:cubicBezTo>
                    <a:pt x="31" y="41"/>
                    <a:pt x="31" y="41"/>
                    <a:pt x="31" y="41"/>
                  </a:cubicBezTo>
                  <a:cubicBezTo>
                    <a:pt x="27" y="46"/>
                    <a:pt x="27" y="46"/>
                    <a:pt x="27" y="46"/>
                  </a:cubicBezTo>
                  <a:cubicBezTo>
                    <a:pt x="24" y="51"/>
                    <a:pt x="24" y="51"/>
                    <a:pt x="24" y="51"/>
                  </a:cubicBezTo>
                  <a:cubicBezTo>
                    <a:pt x="25" y="55"/>
                    <a:pt x="25" y="55"/>
                    <a:pt x="25" y="55"/>
                  </a:cubicBezTo>
                  <a:cubicBezTo>
                    <a:pt x="31" y="55"/>
                    <a:pt x="31" y="55"/>
                    <a:pt x="31" y="55"/>
                  </a:cubicBezTo>
                  <a:cubicBezTo>
                    <a:pt x="33" y="58"/>
                    <a:pt x="33" y="58"/>
                    <a:pt x="33" y="58"/>
                  </a:cubicBezTo>
                  <a:cubicBezTo>
                    <a:pt x="31" y="70"/>
                    <a:pt x="31" y="70"/>
                    <a:pt x="31" y="70"/>
                  </a:cubicBezTo>
                  <a:cubicBezTo>
                    <a:pt x="28" y="75"/>
                    <a:pt x="28" y="75"/>
                    <a:pt x="28" y="75"/>
                  </a:cubicBezTo>
                  <a:cubicBezTo>
                    <a:pt x="23" y="73"/>
                    <a:pt x="23" y="73"/>
                    <a:pt x="23" y="73"/>
                  </a:cubicBezTo>
                  <a:cubicBezTo>
                    <a:pt x="19" y="76"/>
                    <a:pt x="19" y="76"/>
                    <a:pt x="19" y="76"/>
                  </a:cubicBezTo>
                  <a:cubicBezTo>
                    <a:pt x="16" y="71"/>
                    <a:pt x="16" y="71"/>
                    <a:pt x="16" y="71"/>
                  </a:cubicBezTo>
                  <a:cubicBezTo>
                    <a:pt x="0" y="75"/>
                    <a:pt x="0" y="75"/>
                    <a:pt x="0" y="75"/>
                  </a:cubicBezTo>
                  <a:cubicBezTo>
                    <a:pt x="0" y="79"/>
                    <a:pt x="0" y="79"/>
                    <a:pt x="0" y="79"/>
                  </a:cubicBezTo>
                  <a:cubicBezTo>
                    <a:pt x="3" y="85"/>
                    <a:pt x="3" y="85"/>
                    <a:pt x="3" y="85"/>
                  </a:cubicBezTo>
                  <a:cubicBezTo>
                    <a:pt x="22" y="116"/>
                    <a:pt x="22" y="116"/>
                    <a:pt x="22" y="116"/>
                  </a:cubicBezTo>
                  <a:cubicBezTo>
                    <a:pt x="23" y="126"/>
                    <a:pt x="23" y="126"/>
                    <a:pt x="23" y="126"/>
                  </a:cubicBezTo>
                  <a:cubicBezTo>
                    <a:pt x="29" y="132"/>
                    <a:pt x="29" y="132"/>
                    <a:pt x="29" y="132"/>
                  </a:cubicBezTo>
                  <a:cubicBezTo>
                    <a:pt x="34" y="127"/>
                    <a:pt x="34" y="127"/>
                    <a:pt x="34" y="127"/>
                  </a:cubicBezTo>
                  <a:cubicBezTo>
                    <a:pt x="34" y="127"/>
                    <a:pt x="38" y="118"/>
                    <a:pt x="38" y="117"/>
                  </a:cubicBezTo>
                  <a:cubicBezTo>
                    <a:pt x="38" y="117"/>
                    <a:pt x="39" y="112"/>
                    <a:pt x="39" y="112"/>
                  </a:cubicBezTo>
                  <a:cubicBezTo>
                    <a:pt x="43" y="108"/>
                    <a:pt x="43" y="108"/>
                    <a:pt x="43" y="108"/>
                  </a:cubicBezTo>
                  <a:cubicBezTo>
                    <a:pt x="47" y="108"/>
                    <a:pt x="47" y="108"/>
                    <a:pt x="47" y="108"/>
                  </a:cubicBezTo>
                  <a:cubicBezTo>
                    <a:pt x="47" y="108"/>
                    <a:pt x="48" y="105"/>
                    <a:pt x="48" y="105"/>
                  </a:cubicBezTo>
                  <a:cubicBezTo>
                    <a:pt x="48" y="105"/>
                    <a:pt x="50" y="101"/>
                    <a:pt x="50" y="100"/>
                  </a:cubicBezTo>
                  <a:cubicBezTo>
                    <a:pt x="50" y="100"/>
                    <a:pt x="53" y="97"/>
                    <a:pt x="53" y="97"/>
                  </a:cubicBezTo>
                  <a:cubicBezTo>
                    <a:pt x="53" y="99"/>
                    <a:pt x="53" y="99"/>
                    <a:pt x="53" y="99"/>
                  </a:cubicBezTo>
                  <a:cubicBezTo>
                    <a:pt x="53" y="99"/>
                    <a:pt x="56" y="99"/>
                    <a:pt x="56" y="99"/>
                  </a:cubicBezTo>
                  <a:cubicBezTo>
                    <a:pt x="56" y="100"/>
                    <a:pt x="57" y="103"/>
                    <a:pt x="57" y="103"/>
                  </a:cubicBezTo>
                  <a:cubicBezTo>
                    <a:pt x="61" y="106"/>
                    <a:pt x="61" y="106"/>
                    <a:pt x="61" y="106"/>
                  </a:cubicBezTo>
                  <a:cubicBezTo>
                    <a:pt x="72" y="112"/>
                    <a:pt x="72" y="112"/>
                    <a:pt x="72" y="112"/>
                  </a:cubicBezTo>
                  <a:cubicBezTo>
                    <a:pt x="77" y="119"/>
                    <a:pt x="77" y="119"/>
                    <a:pt x="77" y="119"/>
                  </a:cubicBezTo>
                  <a:cubicBezTo>
                    <a:pt x="76" y="123"/>
                    <a:pt x="76" y="123"/>
                    <a:pt x="76" y="123"/>
                  </a:cubicBezTo>
                  <a:cubicBezTo>
                    <a:pt x="73" y="127"/>
                    <a:pt x="73" y="127"/>
                    <a:pt x="73" y="127"/>
                  </a:cubicBezTo>
                  <a:cubicBezTo>
                    <a:pt x="69" y="123"/>
                    <a:pt x="69" y="123"/>
                    <a:pt x="69" y="123"/>
                  </a:cubicBezTo>
                  <a:cubicBezTo>
                    <a:pt x="65" y="123"/>
                    <a:pt x="65" y="123"/>
                    <a:pt x="65" y="123"/>
                  </a:cubicBezTo>
                  <a:cubicBezTo>
                    <a:pt x="63" y="125"/>
                    <a:pt x="63" y="125"/>
                    <a:pt x="63" y="125"/>
                  </a:cubicBezTo>
                  <a:cubicBezTo>
                    <a:pt x="72" y="134"/>
                    <a:pt x="72" y="134"/>
                    <a:pt x="72" y="134"/>
                  </a:cubicBezTo>
                  <a:cubicBezTo>
                    <a:pt x="80" y="128"/>
                    <a:pt x="80" y="128"/>
                    <a:pt x="80" y="128"/>
                  </a:cubicBezTo>
                  <a:cubicBezTo>
                    <a:pt x="84" y="129"/>
                    <a:pt x="84" y="129"/>
                    <a:pt x="84" y="129"/>
                  </a:cubicBezTo>
                  <a:cubicBezTo>
                    <a:pt x="92" y="124"/>
                    <a:pt x="92" y="124"/>
                    <a:pt x="92" y="124"/>
                  </a:cubicBezTo>
                  <a:cubicBezTo>
                    <a:pt x="94" y="129"/>
                    <a:pt x="94" y="129"/>
                    <a:pt x="94" y="129"/>
                  </a:cubicBezTo>
                  <a:cubicBezTo>
                    <a:pt x="106" y="143"/>
                    <a:pt x="106" y="143"/>
                    <a:pt x="106" y="143"/>
                  </a:cubicBezTo>
                  <a:cubicBezTo>
                    <a:pt x="105" y="147"/>
                    <a:pt x="105" y="147"/>
                    <a:pt x="105" y="147"/>
                  </a:cubicBezTo>
                  <a:cubicBezTo>
                    <a:pt x="103" y="152"/>
                    <a:pt x="103" y="152"/>
                    <a:pt x="103" y="152"/>
                  </a:cubicBezTo>
                  <a:cubicBezTo>
                    <a:pt x="106" y="161"/>
                    <a:pt x="106" y="161"/>
                    <a:pt x="106" y="161"/>
                  </a:cubicBezTo>
                  <a:cubicBezTo>
                    <a:pt x="109" y="165"/>
                    <a:pt x="109" y="165"/>
                    <a:pt x="109" y="165"/>
                  </a:cubicBezTo>
                  <a:cubicBezTo>
                    <a:pt x="115" y="163"/>
                    <a:pt x="115" y="163"/>
                    <a:pt x="115" y="163"/>
                  </a:cubicBezTo>
                  <a:cubicBezTo>
                    <a:pt x="126" y="182"/>
                    <a:pt x="126" y="182"/>
                    <a:pt x="126" y="182"/>
                  </a:cubicBezTo>
                  <a:cubicBezTo>
                    <a:pt x="153" y="195"/>
                    <a:pt x="153" y="195"/>
                    <a:pt x="153" y="195"/>
                  </a:cubicBezTo>
                  <a:cubicBezTo>
                    <a:pt x="162" y="183"/>
                    <a:pt x="162" y="183"/>
                    <a:pt x="162" y="183"/>
                  </a:cubicBezTo>
                  <a:lnTo>
                    <a:pt x="162" y="168"/>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39" name="Freeform 37">
              <a:extLst>
                <a:ext uri="{FF2B5EF4-FFF2-40B4-BE49-F238E27FC236}">
                  <a16:creationId xmlns:a16="http://schemas.microsoft.com/office/drawing/2014/main" id="{8B0645F2-432D-AF83-1E3D-634D04A0566D}"/>
                </a:ext>
              </a:extLst>
            </p:cNvPr>
            <p:cNvSpPr>
              <a:spLocks/>
            </p:cNvSpPr>
            <p:nvPr/>
          </p:nvSpPr>
          <p:spPr bwMode="auto">
            <a:xfrm>
              <a:off x="2754313" y="3021013"/>
              <a:ext cx="498475" cy="998538"/>
            </a:xfrm>
            <a:custGeom>
              <a:avLst/>
              <a:gdLst>
                <a:gd name="T0" fmla="*/ 1549271715 w 131"/>
                <a:gd name="T1" fmla="*/ 1365382567 h 262"/>
                <a:gd name="T2" fmla="*/ 1114898317 w 131"/>
                <a:gd name="T3" fmla="*/ 1002250122 h 262"/>
                <a:gd name="T4" fmla="*/ 492291627 w 131"/>
                <a:gd name="T5" fmla="*/ 0 h 262"/>
                <a:gd name="T6" fmla="*/ 405416186 w 131"/>
                <a:gd name="T7" fmla="*/ 290505956 h 262"/>
                <a:gd name="T8" fmla="*/ 304062140 w 131"/>
                <a:gd name="T9" fmla="*/ 522913770 h 262"/>
                <a:gd name="T10" fmla="*/ 333023157 w 131"/>
                <a:gd name="T11" fmla="*/ 1074876611 h 262"/>
                <a:gd name="T12" fmla="*/ 159272275 w 131"/>
                <a:gd name="T13" fmla="*/ 1641363988 h 262"/>
                <a:gd name="T14" fmla="*/ 188229487 w 131"/>
                <a:gd name="T15" fmla="*/ 1801145313 h 262"/>
                <a:gd name="T16" fmla="*/ 188229487 w 131"/>
                <a:gd name="T17" fmla="*/ 1975447362 h 262"/>
                <a:gd name="T18" fmla="*/ 144793669 w 131"/>
                <a:gd name="T19" fmla="*/ 2147483646 h 262"/>
                <a:gd name="T20" fmla="*/ 217186699 w 131"/>
                <a:gd name="T21" fmla="*/ 2147483646 h 262"/>
                <a:gd name="T22" fmla="*/ 376458974 w 131"/>
                <a:gd name="T23" fmla="*/ 2147483646 h 262"/>
                <a:gd name="T24" fmla="*/ 376458974 w 131"/>
                <a:gd name="T25" fmla="*/ 2147483646 h 262"/>
                <a:gd name="T26" fmla="*/ 115832652 w 131"/>
                <a:gd name="T27" fmla="*/ 2147483646 h 262"/>
                <a:gd name="T28" fmla="*/ 86875441 w 131"/>
                <a:gd name="T29" fmla="*/ 2147483646 h 262"/>
                <a:gd name="T30" fmla="*/ 0 w 131"/>
                <a:gd name="T31" fmla="*/ 2147483646 h 262"/>
                <a:gd name="T32" fmla="*/ 217186699 w 131"/>
                <a:gd name="T33" fmla="*/ 2147483646 h 262"/>
                <a:gd name="T34" fmla="*/ 318540746 w 131"/>
                <a:gd name="T35" fmla="*/ 2147483646 h 262"/>
                <a:gd name="T36" fmla="*/ 376458974 w 131"/>
                <a:gd name="T37" fmla="*/ 2147483646 h 262"/>
                <a:gd name="T38" fmla="*/ 506770233 w 131"/>
                <a:gd name="T39" fmla="*/ 2147483646 h 262"/>
                <a:gd name="T40" fmla="*/ 608124279 w 131"/>
                <a:gd name="T41" fmla="*/ 2147483646 h 262"/>
                <a:gd name="T42" fmla="*/ 666042508 w 131"/>
                <a:gd name="T43" fmla="*/ 2147483646 h 262"/>
                <a:gd name="T44" fmla="*/ 868750601 w 131"/>
                <a:gd name="T45" fmla="*/ 2147483646 h 262"/>
                <a:gd name="T46" fmla="*/ 796353767 w 131"/>
                <a:gd name="T47" fmla="*/ 2147483646 h 262"/>
                <a:gd name="T48" fmla="*/ 1013544271 w 131"/>
                <a:gd name="T49" fmla="*/ 2147483646 h 262"/>
                <a:gd name="T50" fmla="*/ 1187295152 w 131"/>
                <a:gd name="T51" fmla="*/ 2147483646 h 262"/>
                <a:gd name="T52" fmla="*/ 1317606410 w 131"/>
                <a:gd name="T53" fmla="*/ 2147483646 h 262"/>
                <a:gd name="T54" fmla="*/ 1375524639 w 131"/>
                <a:gd name="T55" fmla="*/ 2147483646 h 262"/>
                <a:gd name="T56" fmla="*/ 1418960457 w 131"/>
                <a:gd name="T57" fmla="*/ 2147483646 h 262"/>
                <a:gd name="T58" fmla="*/ 1447917669 w 131"/>
                <a:gd name="T59" fmla="*/ 2147483646 h 262"/>
                <a:gd name="T60" fmla="*/ 1505835898 w 131"/>
                <a:gd name="T61" fmla="*/ 2147483646 h 262"/>
                <a:gd name="T62" fmla="*/ 1607189944 w 131"/>
                <a:gd name="T63" fmla="*/ 2062598387 h 262"/>
                <a:gd name="T64" fmla="*/ 1896773478 w 131"/>
                <a:gd name="T65" fmla="*/ 1641363988 h 262"/>
                <a:gd name="T66" fmla="*/ 1708543991 w 131"/>
                <a:gd name="T67" fmla="*/ 1452533592 h 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1" h="262">
                  <a:moveTo>
                    <a:pt x="118" y="100"/>
                  </a:moveTo>
                  <a:cubicBezTo>
                    <a:pt x="107" y="94"/>
                    <a:pt x="107" y="94"/>
                    <a:pt x="107" y="94"/>
                  </a:cubicBezTo>
                  <a:cubicBezTo>
                    <a:pt x="88" y="69"/>
                    <a:pt x="88" y="69"/>
                    <a:pt x="88" y="69"/>
                  </a:cubicBezTo>
                  <a:cubicBezTo>
                    <a:pt x="77" y="69"/>
                    <a:pt x="77" y="69"/>
                    <a:pt x="77" y="69"/>
                  </a:cubicBezTo>
                  <a:cubicBezTo>
                    <a:pt x="37" y="2"/>
                    <a:pt x="37" y="2"/>
                    <a:pt x="37" y="2"/>
                  </a:cubicBezTo>
                  <a:cubicBezTo>
                    <a:pt x="34" y="0"/>
                    <a:pt x="34" y="0"/>
                    <a:pt x="34" y="0"/>
                  </a:cubicBezTo>
                  <a:cubicBezTo>
                    <a:pt x="34" y="12"/>
                    <a:pt x="34" y="12"/>
                    <a:pt x="34" y="12"/>
                  </a:cubicBezTo>
                  <a:cubicBezTo>
                    <a:pt x="34" y="12"/>
                    <a:pt x="28" y="20"/>
                    <a:pt x="28" y="20"/>
                  </a:cubicBezTo>
                  <a:cubicBezTo>
                    <a:pt x="28" y="21"/>
                    <a:pt x="27" y="26"/>
                    <a:pt x="27" y="26"/>
                  </a:cubicBezTo>
                  <a:cubicBezTo>
                    <a:pt x="21" y="36"/>
                    <a:pt x="21" y="36"/>
                    <a:pt x="21" y="36"/>
                  </a:cubicBezTo>
                  <a:cubicBezTo>
                    <a:pt x="21" y="47"/>
                    <a:pt x="21" y="47"/>
                    <a:pt x="21" y="47"/>
                  </a:cubicBezTo>
                  <a:cubicBezTo>
                    <a:pt x="23" y="74"/>
                    <a:pt x="23" y="74"/>
                    <a:pt x="23" y="74"/>
                  </a:cubicBezTo>
                  <a:cubicBezTo>
                    <a:pt x="13" y="92"/>
                    <a:pt x="13" y="92"/>
                    <a:pt x="13" y="92"/>
                  </a:cubicBezTo>
                  <a:cubicBezTo>
                    <a:pt x="11" y="113"/>
                    <a:pt x="11" y="113"/>
                    <a:pt x="11" y="113"/>
                  </a:cubicBezTo>
                  <a:cubicBezTo>
                    <a:pt x="11" y="113"/>
                    <a:pt x="14" y="118"/>
                    <a:pt x="14" y="119"/>
                  </a:cubicBezTo>
                  <a:cubicBezTo>
                    <a:pt x="14" y="119"/>
                    <a:pt x="13" y="124"/>
                    <a:pt x="13" y="124"/>
                  </a:cubicBezTo>
                  <a:cubicBezTo>
                    <a:pt x="13" y="125"/>
                    <a:pt x="12" y="130"/>
                    <a:pt x="12" y="130"/>
                  </a:cubicBezTo>
                  <a:cubicBezTo>
                    <a:pt x="13" y="136"/>
                    <a:pt x="13" y="136"/>
                    <a:pt x="13" y="136"/>
                  </a:cubicBezTo>
                  <a:cubicBezTo>
                    <a:pt x="7" y="146"/>
                    <a:pt x="7" y="146"/>
                    <a:pt x="7" y="146"/>
                  </a:cubicBezTo>
                  <a:cubicBezTo>
                    <a:pt x="10" y="152"/>
                    <a:pt x="10" y="152"/>
                    <a:pt x="10" y="152"/>
                  </a:cubicBezTo>
                  <a:cubicBezTo>
                    <a:pt x="8" y="157"/>
                    <a:pt x="8" y="157"/>
                    <a:pt x="8" y="157"/>
                  </a:cubicBezTo>
                  <a:cubicBezTo>
                    <a:pt x="15" y="169"/>
                    <a:pt x="15" y="169"/>
                    <a:pt x="15" y="169"/>
                  </a:cubicBezTo>
                  <a:cubicBezTo>
                    <a:pt x="17" y="178"/>
                    <a:pt x="17" y="178"/>
                    <a:pt x="17" y="178"/>
                  </a:cubicBezTo>
                  <a:cubicBezTo>
                    <a:pt x="26" y="186"/>
                    <a:pt x="26" y="186"/>
                    <a:pt x="26" y="186"/>
                  </a:cubicBezTo>
                  <a:cubicBezTo>
                    <a:pt x="24" y="195"/>
                    <a:pt x="24" y="195"/>
                    <a:pt x="24" y="195"/>
                  </a:cubicBezTo>
                  <a:cubicBezTo>
                    <a:pt x="26" y="204"/>
                    <a:pt x="26" y="204"/>
                    <a:pt x="26" y="204"/>
                  </a:cubicBezTo>
                  <a:cubicBezTo>
                    <a:pt x="18" y="210"/>
                    <a:pt x="18" y="210"/>
                    <a:pt x="18" y="210"/>
                  </a:cubicBezTo>
                  <a:cubicBezTo>
                    <a:pt x="8" y="209"/>
                    <a:pt x="8" y="209"/>
                    <a:pt x="8" y="209"/>
                  </a:cubicBezTo>
                  <a:cubicBezTo>
                    <a:pt x="8" y="209"/>
                    <a:pt x="6" y="215"/>
                    <a:pt x="6" y="216"/>
                  </a:cubicBezTo>
                  <a:cubicBezTo>
                    <a:pt x="6" y="216"/>
                    <a:pt x="6" y="224"/>
                    <a:pt x="6" y="224"/>
                  </a:cubicBezTo>
                  <a:cubicBezTo>
                    <a:pt x="0" y="222"/>
                    <a:pt x="0" y="222"/>
                    <a:pt x="0" y="222"/>
                  </a:cubicBezTo>
                  <a:cubicBezTo>
                    <a:pt x="0" y="233"/>
                    <a:pt x="0" y="233"/>
                    <a:pt x="0" y="233"/>
                  </a:cubicBezTo>
                  <a:cubicBezTo>
                    <a:pt x="12" y="236"/>
                    <a:pt x="12" y="236"/>
                    <a:pt x="12" y="236"/>
                  </a:cubicBezTo>
                  <a:cubicBezTo>
                    <a:pt x="15" y="241"/>
                    <a:pt x="15" y="241"/>
                    <a:pt x="15" y="241"/>
                  </a:cubicBezTo>
                  <a:cubicBezTo>
                    <a:pt x="21" y="245"/>
                    <a:pt x="21" y="245"/>
                    <a:pt x="21" y="245"/>
                  </a:cubicBezTo>
                  <a:cubicBezTo>
                    <a:pt x="22" y="247"/>
                    <a:pt x="22" y="247"/>
                    <a:pt x="22" y="247"/>
                  </a:cubicBezTo>
                  <a:cubicBezTo>
                    <a:pt x="22" y="247"/>
                    <a:pt x="25" y="254"/>
                    <a:pt x="25" y="255"/>
                  </a:cubicBezTo>
                  <a:cubicBezTo>
                    <a:pt x="25" y="255"/>
                    <a:pt x="26" y="261"/>
                    <a:pt x="26" y="261"/>
                  </a:cubicBezTo>
                  <a:cubicBezTo>
                    <a:pt x="28" y="262"/>
                    <a:pt x="28" y="262"/>
                    <a:pt x="28" y="262"/>
                  </a:cubicBezTo>
                  <a:cubicBezTo>
                    <a:pt x="35" y="259"/>
                    <a:pt x="35" y="259"/>
                    <a:pt x="35" y="259"/>
                  </a:cubicBezTo>
                  <a:cubicBezTo>
                    <a:pt x="36" y="249"/>
                    <a:pt x="36" y="249"/>
                    <a:pt x="36" y="249"/>
                  </a:cubicBezTo>
                  <a:cubicBezTo>
                    <a:pt x="42" y="247"/>
                    <a:pt x="42" y="247"/>
                    <a:pt x="42" y="247"/>
                  </a:cubicBezTo>
                  <a:cubicBezTo>
                    <a:pt x="45" y="243"/>
                    <a:pt x="45" y="243"/>
                    <a:pt x="45" y="243"/>
                  </a:cubicBezTo>
                  <a:cubicBezTo>
                    <a:pt x="46" y="239"/>
                    <a:pt x="46" y="239"/>
                    <a:pt x="46" y="239"/>
                  </a:cubicBezTo>
                  <a:cubicBezTo>
                    <a:pt x="53" y="245"/>
                    <a:pt x="53" y="245"/>
                    <a:pt x="53" y="245"/>
                  </a:cubicBezTo>
                  <a:cubicBezTo>
                    <a:pt x="60" y="235"/>
                    <a:pt x="60" y="235"/>
                    <a:pt x="60" y="235"/>
                  </a:cubicBezTo>
                  <a:cubicBezTo>
                    <a:pt x="62" y="230"/>
                    <a:pt x="62" y="230"/>
                    <a:pt x="62" y="230"/>
                  </a:cubicBezTo>
                  <a:cubicBezTo>
                    <a:pt x="55" y="223"/>
                    <a:pt x="55" y="223"/>
                    <a:pt x="55" y="223"/>
                  </a:cubicBezTo>
                  <a:cubicBezTo>
                    <a:pt x="58" y="221"/>
                    <a:pt x="58" y="221"/>
                    <a:pt x="58" y="221"/>
                  </a:cubicBezTo>
                  <a:cubicBezTo>
                    <a:pt x="70" y="232"/>
                    <a:pt x="70" y="232"/>
                    <a:pt x="70" y="232"/>
                  </a:cubicBezTo>
                  <a:cubicBezTo>
                    <a:pt x="79" y="234"/>
                    <a:pt x="79" y="234"/>
                    <a:pt x="79" y="234"/>
                  </a:cubicBezTo>
                  <a:cubicBezTo>
                    <a:pt x="82" y="221"/>
                    <a:pt x="82" y="221"/>
                    <a:pt x="82" y="221"/>
                  </a:cubicBezTo>
                  <a:cubicBezTo>
                    <a:pt x="84" y="208"/>
                    <a:pt x="84" y="208"/>
                    <a:pt x="84" y="208"/>
                  </a:cubicBezTo>
                  <a:cubicBezTo>
                    <a:pt x="91" y="205"/>
                    <a:pt x="91" y="205"/>
                    <a:pt x="91" y="205"/>
                  </a:cubicBezTo>
                  <a:cubicBezTo>
                    <a:pt x="92" y="200"/>
                    <a:pt x="92" y="200"/>
                    <a:pt x="92" y="200"/>
                  </a:cubicBezTo>
                  <a:cubicBezTo>
                    <a:pt x="95" y="197"/>
                    <a:pt x="95" y="197"/>
                    <a:pt x="95" y="197"/>
                  </a:cubicBezTo>
                  <a:cubicBezTo>
                    <a:pt x="101" y="195"/>
                    <a:pt x="101" y="195"/>
                    <a:pt x="101" y="195"/>
                  </a:cubicBezTo>
                  <a:cubicBezTo>
                    <a:pt x="98" y="192"/>
                    <a:pt x="98" y="192"/>
                    <a:pt x="98" y="192"/>
                  </a:cubicBezTo>
                  <a:cubicBezTo>
                    <a:pt x="97" y="189"/>
                    <a:pt x="97" y="189"/>
                    <a:pt x="97" y="189"/>
                  </a:cubicBezTo>
                  <a:cubicBezTo>
                    <a:pt x="100" y="179"/>
                    <a:pt x="100" y="179"/>
                    <a:pt x="100" y="179"/>
                  </a:cubicBezTo>
                  <a:cubicBezTo>
                    <a:pt x="96" y="172"/>
                    <a:pt x="96" y="172"/>
                    <a:pt x="96" y="172"/>
                  </a:cubicBezTo>
                  <a:cubicBezTo>
                    <a:pt x="104" y="156"/>
                    <a:pt x="104" y="156"/>
                    <a:pt x="104" y="156"/>
                  </a:cubicBezTo>
                  <a:cubicBezTo>
                    <a:pt x="102" y="144"/>
                    <a:pt x="102" y="144"/>
                    <a:pt x="102" y="144"/>
                  </a:cubicBezTo>
                  <a:cubicBezTo>
                    <a:pt x="111" y="142"/>
                    <a:pt x="111" y="142"/>
                    <a:pt x="111" y="142"/>
                  </a:cubicBezTo>
                  <a:cubicBezTo>
                    <a:pt x="121" y="129"/>
                    <a:pt x="121" y="129"/>
                    <a:pt x="121" y="129"/>
                  </a:cubicBezTo>
                  <a:cubicBezTo>
                    <a:pt x="131" y="113"/>
                    <a:pt x="131" y="113"/>
                    <a:pt x="131" y="113"/>
                  </a:cubicBezTo>
                  <a:cubicBezTo>
                    <a:pt x="118" y="105"/>
                    <a:pt x="118" y="105"/>
                    <a:pt x="118" y="105"/>
                  </a:cubicBezTo>
                  <a:lnTo>
                    <a:pt x="118" y="100"/>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40" name="Freeform 38">
              <a:extLst>
                <a:ext uri="{FF2B5EF4-FFF2-40B4-BE49-F238E27FC236}">
                  <a16:creationId xmlns:a16="http://schemas.microsoft.com/office/drawing/2014/main" id="{A5FC3253-26F3-2DFD-587D-C66A64BE2385}"/>
                </a:ext>
              </a:extLst>
            </p:cNvPr>
            <p:cNvSpPr>
              <a:spLocks/>
            </p:cNvSpPr>
            <p:nvPr/>
          </p:nvSpPr>
          <p:spPr bwMode="auto">
            <a:xfrm>
              <a:off x="2368550" y="3611563"/>
              <a:ext cx="328612" cy="357188"/>
            </a:xfrm>
            <a:custGeom>
              <a:avLst/>
              <a:gdLst>
                <a:gd name="T0" fmla="*/ 1124242789 w 86"/>
                <a:gd name="T1" fmla="*/ 1357268802 h 94"/>
                <a:gd name="T2" fmla="*/ 1226448763 w 86"/>
                <a:gd name="T3" fmla="*/ 1285075027 h 94"/>
                <a:gd name="T4" fmla="*/ 1211848456 w 86"/>
                <a:gd name="T5" fmla="*/ 1126244163 h 94"/>
                <a:gd name="T6" fmla="*/ 1255649378 w 86"/>
                <a:gd name="T7" fmla="*/ 1082925618 h 94"/>
                <a:gd name="T8" fmla="*/ 1153447225 w 86"/>
                <a:gd name="T9" fmla="*/ 895219524 h 94"/>
                <a:gd name="T10" fmla="*/ 1051241251 w 86"/>
                <a:gd name="T11" fmla="*/ 823025750 h 94"/>
                <a:gd name="T12" fmla="*/ 1109642482 w 86"/>
                <a:gd name="T13" fmla="*/ 736388660 h 94"/>
                <a:gd name="T14" fmla="*/ 934434969 w 86"/>
                <a:gd name="T15" fmla="*/ 649755371 h 94"/>
                <a:gd name="T16" fmla="*/ 671625612 w 86"/>
                <a:gd name="T17" fmla="*/ 187706094 h 94"/>
                <a:gd name="T18" fmla="*/ 715426535 w 86"/>
                <a:gd name="T19" fmla="*/ 43318545 h 94"/>
                <a:gd name="T20" fmla="*/ 540222844 w 86"/>
                <a:gd name="T21" fmla="*/ 43318545 h 94"/>
                <a:gd name="T22" fmla="*/ 423416562 w 86"/>
                <a:gd name="T23" fmla="*/ 0 h 94"/>
                <a:gd name="T24" fmla="*/ 87601845 w 86"/>
                <a:gd name="T25" fmla="*/ 14439515 h 94"/>
                <a:gd name="T26" fmla="*/ 248209050 w 86"/>
                <a:gd name="T27" fmla="*/ 216585124 h 94"/>
                <a:gd name="T28" fmla="*/ 292009973 w 86"/>
                <a:gd name="T29" fmla="*/ 303218413 h 94"/>
                <a:gd name="T30" fmla="*/ 277409665 w 86"/>
                <a:gd name="T31" fmla="*/ 389855503 h 94"/>
                <a:gd name="T32" fmla="*/ 248209050 w 86"/>
                <a:gd name="T33" fmla="*/ 433170247 h 94"/>
                <a:gd name="T34" fmla="*/ 262809358 w 86"/>
                <a:gd name="T35" fmla="*/ 490928307 h 94"/>
                <a:gd name="T36" fmla="*/ 292009973 w 86"/>
                <a:gd name="T37" fmla="*/ 563122081 h 94"/>
                <a:gd name="T38" fmla="*/ 321214409 w 86"/>
                <a:gd name="T39" fmla="*/ 606440626 h 94"/>
                <a:gd name="T40" fmla="*/ 306610280 w 86"/>
                <a:gd name="T41" fmla="*/ 664194886 h 94"/>
                <a:gd name="T42" fmla="*/ 219008435 w 86"/>
                <a:gd name="T43" fmla="*/ 721952945 h 94"/>
                <a:gd name="T44" fmla="*/ 204408127 w 86"/>
                <a:gd name="T45" fmla="*/ 794146720 h 94"/>
                <a:gd name="T46" fmla="*/ 175207512 w 86"/>
                <a:gd name="T47" fmla="*/ 837465265 h 94"/>
                <a:gd name="T48" fmla="*/ 87601845 w 86"/>
                <a:gd name="T49" fmla="*/ 866340495 h 94"/>
                <a:gd name="T50" fmla="*/ 58401230 w 86"/>
                <a:gd name="T51" fmla="*/ 981852814 h 94"/>
                <a:gd name="T52" fmla="*/ 0 w 86"/>
                <a:gd name="T53" fmla="*/ 1082925618 h 94"/>
                <a:gd name="T54" fmla="*/ 0 w 86"/>
                <a:gd name="T55" fmla="*/ 1184002223 h 94"/>
                <a:gd name="T56" fmla="*/ 219008435 w 86"/>
                <a:gd name="T57" fmla="*/ 1212877452 h 94"/>
                <a:gd name="T58" fmla="*/ 350415024 w 86"/>
                <a:gd name="T59" fmla="*/ 1169562708 h 94"/>
                <a:gd name="T60" fmla="*/ 394215947 w 86"/>
                <a:gd name="T61" fmla="*/ 1241756482 h 94"/>
                <a:gd name="T62" fmla="*/ 511018407 w 86"/>
                <a:gd name="T63" fmla="*/ 1256195997 h 94"/>
                <a:gd name="T64" fmla="*/ 554823151 w 86"/>
                <a:gd name="T65" fmla="*/ 1212877452 h 94"/>
                <a:gd name="T66" fmla="*/ 584023766 w 86"/>
                <a:gd name="T67" fmla="*/ 1140683678 h 94"/>
                <a:gd name="T68" fmla="*/ 671625612 w 86"/>
                <a:gd name="T69" fmla="*/ 1198437938 h 94"/>
                <a:gd name="T70" fmla="*/ 788431894 w 86"/>
                <a:gd name="T71" fmla="*/ 1184002223 h 94"/>
                <a:gd name="T72" fmla="*/ 832232816 w 86"/>
                <a:gd name="T73" fmla="*/ 1342829287 h 94"/>
                <a:gd name="T74" fmla="*/ 992840021 w 86"/>
                <a:gd name="T75" fmla="*/ 1299514542 h 94"/>
                <a:gd name="T76" fmla="*/ 1124242789 w 86"/>
                <a:gd name="T77" fmla="*/ 1357268802 h 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6" h="94">
                  <a:moveTo>
                    <a:pt x="77" y="94"/>
                  </a:moveTo>
                  <a:cubicBezTo>
                    <a:pt x="84" y="89"/>
                    <a:pt x="84" y="89"/>
                    <a:pt x="84" y="89"/>
                  </a:cubicBezTo>
                  <a:cubicBezTo>
                    <a:pt x="83" y="78"/>
                    <a:pt x="83" y="78"/>
                    <a:pt x="83" y="78"/>
                  </a:cubicBezTo>
                  <a:cubicBezTo>
                    <a:pt x="86" y="75"/>
                    <a:pt x="86" y="75"/>
                    <a:pt x="86" y="75"/>
                  </a:cubicBezTo>
                  <a:cubicBezTo>
                    <a:pt x="79" y="62"/>
                    <a:pt x="79" y="62"/>
                    <a:pt x="79" y="62"/>
                  </a:cubicBezTo>
                  <a:cubicBezTo>
                    <a:pt x="72" y="57"/>
                    <a:pt x="72" y="57"/>
                    <a:pt x="72" y="57"/>
                  </a:cubicBezTo>
                  <a:cubicBezTo>
                    <a:pt x="76" y="51"/>
                    <a:pt x="76" y="51"/>
                    <a:pt x="76" y="51"/>
                  </a:cubicBezTo>
                  <a:cubicBezTo>
                    <a:pt x="64" y="45"/>
                    <a:pt x="64" y="45"/>
                    <a:pt x="64" y="45"/>
                  </a:cubicBezTo>
                  <a:cubicBezTo>
                    <a:pt x="46" y="13"/>
                    <a:pt x="46" y="13"/>
                    <a:pt x="46" y="13"/>
                  </a:cubicBezTo>
                  <a:cubicBezTo>
                    <a:pt x="49" y="3"/>
                    <a:pt x="49" y="3"/>
                    <a:pt x="49" y="3"/>
                  </a:cubicBezTo>
                  <a:cubicBezTo>
                    <a:pt x="37" y="3"/>
                    <a:pt x="37" y="3"/>
                    <a:pt x="37" y="3"/>
                  </a:cubicBezTo>
                  <a:cubicBezTo>
                    <a:pt x="29" y="0"/>
                    <a:pt x="29" y="0"/>
                    <a:pt x="29" y="0"/>
                  </a:cubicBezTo>
                  <a:cubicBezTo>
                    <a:pt x="6" y="1"/>
                    <a:pt x="6" y="1"/>
                    <a:pt x="6" y="1"/>
                  </a:cubicBezTo>
                  <a:cubicBezTo>
                    <a:pt x="17" y="15"/>
                    <a:pt x="17" y="15"/>
                    <a:pt x="17" y="15"/>
                  </a:cubicBezTo>
                  <a:cubicBezTo>
                    <a:pt x="17" y="15"/>
                    <a:pt x="20" y="21"/>
                    <a:pt x="20" y="21"/>
                  </a:cubicBezTo>
                  <a:cubicBezTo>
                    <a:pt x="20" y="22"/>
                    <a:pt x="19" y="27"/>
                    <a:pt x="19" y="27"/>
                  </a:cubicBezTo>
                  <a:cubicBezTo>
                    <a:pt x="17" y="30"/>
                    <a:pt x="17" y="30"/>
                    <a:pt x="17" y="30"/>
                  </a:cubicBezTo>
                  <a:cubicBezTo>
                    <a:pt x="18" y="34"/>
                    <a:pt x="18" y="34"/>
                    <a:pt x="18" y="34"/>
                  </a:cubicBezTo>
                  <a:cubicBezTo>
                    <a:pt x="18" y="34"/>
                    <a:pt x="20" y="39"/>
                    <a:pt x="20" y="39"/>
                  </a:cubicBezTo>
                  <a:cubicBezTo>
                    <a:pt x="21" y="39"/>
                    <a:pt x="22" y="42"/>
                    <a:pt x="22" y="42"/>
                  </a:cubicBezTo>
                  <a:cubicBezTo>
                    <a:pt x="21" y="46"/>
                    <a:pt x="21" y="46"/>
                    <a:pt x="21" y="46"/>
                  </a:cubicBezTo>
                  <a:cubicBezTo>
                    <a:pt x="15" y="50"/>
                    <a:pt x="15" y="50"/>
                    <a:pt x="15" y="50"/>
                  </a:cubicBezTo>
                  <a:cubicBezTo>
                    <a:pt x="14" y="55"/>
                    <a:pt x="14" y="55"/>
                    <a:pt x="14" y="55"/>
                  </a:cubicBezTo>
                  <a:cubicBezTo>
                    <a:pt x="12" y="58"/>
                    <a:pt x="12" y="58"/>
                    <a:pt x="12" y="58"/>
                  </a:cubicBezTo>
                  <a:cubicBezTo>
                    <a:pt x="6" y="60"/>
                    <a:pt x="6" y="60"/>
                    <a:pt x="6" y="60"/>
                  </a:cubicBezTo>
                  <a:cubicBezTo>
                    <a:pt x="4" y="68"/>
                    <a:pt x="4" y="68"/>
                    <a:pt x="4" y="68"/>
                  </a:cubicBezTo>
                  <a:cubicBezTo>
                    <a:pt x="0" y="75"/>
                    <a:pt x="0" y="75"/>
                    <a:pt x="0" y="75"/>
                  </a:cubicBezTo>
                  <a:cubicBezTo>
                    <a:pt x="0" y="82"/>
                    <a:pt x="0" y="82"/>
                    <a:pt x="0" y="82"/>
                  </a:cubicBezTo>
                  <a:cubicBezTo>
                    <a:pt x="15" y="84"/>
                    <a:pt x="15" y="84"/>
                    <a:pt x="15" y="84"/>
                  </a:cubicBezTo>
                  <a:cubicBezTo>
                    <a:pt x="24" y="81"/>
                    <a:pt x="24" y="81"/>
                    <a:pt x="24" y="81"/>
                  </a:cubicBezTo>
                  <a:cubicBezTo>
                    <a:pt x="27" y="86"/>
                    <a:pt x="27" y="86"/>
                    <a:pt x="27" y="86"/>
                  </a:cubicBezTo>
                  <a:cubicBezTo>
                    <a:pt x="35" y="87"/>
                    <a:pt x="35" y="87"/>
                    <a:pt x="35" y="87"/>
                  </a:cubicBezTo>
                  <a:cubicBezTo>
                    <a:pt x="38" y="84"/>
                    <a:pt x="38" y="84"/>
                    <a:pt x="38" y="84"/>
                  </a:cubicBezTo>
                  <a:cubicBezTo>
                    <a:pt x="40" y="79"/>
                    <a:pt x="40" y="79"/>
                    <a:pt x="40" y="79"/>
                  </a:cubicBezTo>
                  <a:cubicBezTo>
                    <a:pt x="46" y="83"/>
                    <a:pt x="46" y="83"/>
                    <a:pt x="46" y="83"/>
                  </a:cubicBezTo>
                  <a:cubicBezTo>
                    <a:pt x="54" y="82"/>
                    <a:pt x="54" y="82"/>
                    <a:pt x="54" y="82"/>
                  </a:cubicBezTo>
                  <a:cubicBezTo>
                    <a:pt x="57" y="93"/>
                    <a:pt x="57" y="93"/>
                    <a:pt x="57" y="93"/>
                  </a:cubicBezTo>
                  <a:cubicBezTo>
                    <a:pt x="68" y="90"/>
                    <a:pt x="68" y="90"/>
                    <a:pt x="68" y="90"/>
                  </a:cubicBezTo>
                  <a:lnTo>
                    <a:pt x="77" y="94"/>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41" name="Freeform 39">
              <a:extLst>
                <a:ext uri="{FF2B5EF4-FFF2-40B4-BE49-F238E27FC236}">
                  <a16:creationId xmlns:a16="http://schemas.microsoft.com/office/drawing/2014/main" id="{79C41CE6-B93B-F9C7-EFC0-C0F69F0B333A}"/>
                </a:ext>
              </a:extLst>
            </p:cNvPr>
            <p:cNvSpPr>
              <a:spLocks/>
            </p:cNvSpPr>
            <p:nvPr/>
          </p:nvSpPr>
          <p:spPr bwMode="auto">
            <a:xfrm>
              <a:off x="2552700" y="3200400"/>
              <a:ext cx="300037" cy="620713"/>
            </a:xfrm>
            <a:custGeom>
              <a:avLst/>
              <a:gdLst>
                <a:gd name="T0" fmla="*/ 1139521536 w 79"/>
                <a:gd name="T1" fmla="*/ 2147483646 h 163"/>
                <a:gd name="T2" fmla="*/ 1110672409 w 79"/>
                <a:gd name="T3" fmla="*/ 2146189455 h 163"/>
                <a:gd name="T4" fmla="*/ 1139521536 w 79"/>
                <a:gd name="T5" fmla="*/ 2015679786 h 163"/>
                <a:gd name="T6" fmla="*/ 1009704262 w 79"/>
                <a:gd name="T7" fmla="*/ 1899667384 h 163"/>
                <a:gd name="T8" fmla="*/ 980855134 w 79"/>
                <a:gd name="T9" fmla="*/ 1769157716 h 163"/>
                <a:gd name="T10" fmla="*/ 879883189 w 79"/>
                <a:gd name="T11" fmla="*/ 1595141017 h 163"/>
                <a:gd name="T12" fmla="*/ 908732316 w 79"/>
                <a:gd name="T13" fmla="*/ 1522635645 h 163"/>
                <a:gd name="T14" fmla="*/ 865458625 w 79"/>
                <a:gd name="T15" fmla="*/ 1435625392 h 163"/>
                <a:gd name="T16" fmla="*/ 952006007 w 79"/>
                <a:gd name="T17" fmla="*/ 1290614649 h 163"/>
                <a:gd name="T18" fmla="*/ 937581444 w 79"/>
                <a:gd name="T19" fmla="*/ 1203608204 h 163"/>
                <a:gd name="T20" fmla="*/ 952006007 w 79"/>
                <a:gd name="T21" fmla="*/ 1116597950 h 163"/>
                <a:gd name="T22" fmla="*/ 966430571 w 79"/>
                <a:gd name="T23" fmla="*/ 1044092579 h 163"/>
                <a:gd name="T24" fmla="*/ 923156880 w 79"/>
                <a:gd name="T25" fmla="*/ 957086133 h 163"/>
                <a:gd name="T26" fmla="*/ 952006007 w 79"/>
                <a:gd name="T27" fmla="*/ 652555958 h 163"/>
                <a:gd name="T28" fmla="*/ 1096247845 w 79"/>
                <a:gd name="T29" fmla="*/ 391532813 h 163"/>
                <a:gd name="T30" fmla="*/ 1067398718 w 79"/>
                <a:gd name="T31" fmla="*/ 0 h 163"/>
                <a:gd name="T32" fmla="*/ 1009704262 w 79"/>
                <a:gd name="T33" fmla="*/ 14501074 h 163"/>
                <a:gd name="T34" fmla="*/ 851034062 w 79"/>
                <a:gd name="T35" fmla="*/ 87006446 h 163"/>
                <a:gd name="T36" fmla="*/ 764490478 w 79"/>
                <a:gd name="T37" fmla="*/ 72505371 h 163"/>
                <a:gd name="T38" fmla="*/ 346181931 w 79"/>
                <a:gd name="T39" fmla="*/ 420538770 h 163"/>
                <a:gd name="T40" fmla="*/ 0 w 79"/>
                <a:gd name="T41" fmla="*/ 290025293 h 163"/>
                <a:gd name="T42" fmla="*/ 0 w 79"/>
                <a:gd name="T43" fmla="*/ 319027442 h 163"/>
                <a:gd name="T44" fmla="*/ 28849127 w 79"/>
                <a:gd name="T45" fmla="*/ 362530664 h 163"/>
                <a:gd name="T46" fmla="*/ 144241838 w 79"/>
                <a:gd name="T47" fmla="*/ 507545215 h 163"/>
                <a:gd name="T48" fmla="*/ 403880185 w 79"/>
                <a:gd name="T49" fmla="*/ 638054883 h 163"/>
                <a:gd name="T50" fmla="*/ 360606495 w 79"/>
                <a:gd name="T51" fmla="*/ 725065137 h 163"/>
                <a:gd name="T52" fmla="*/ 375031058 w 79"/>
                <a:gd name="T53" fmla="*/ 783069434 h 163"/>
                <a:gd name="T54" fmla="*/ 490427567 w 79"/>
                <a:gd name="T55" fmla="*/ 783069434 h 163"/>
                <a:gd name="T56" fmla="*/ 519276694 w 79"/>
                <a:gd name="T57" fmla="*/ 855574805 h 163"/>
                <a:gd name="T58" fmla="*/ 605820278 w 79"/>
                <a:gd name="T59" fmla="*/ 884576954 h 163"/>
                <a:gd name="T60" fmla="*/ 620244842 w 79"/>
                <a:gd name="T61" fmla="*/ 913579102 h 163"/>
                <a:gd name="T62" fmla="*/ 663518533 w 79"/>
                <a:gd name="T63" fmla="*/ 942585059 h 163"/>
                <a:gd name="T64" fmla="*/ 692367660 w 79"/>
                <a:gd name="T65" fmla="*/ 1276113575 h 163"/>
                <a:gd name="T66" fmla="*/ 504852131 w 79"/>
                <a:gd name="T67" fmla="*/ 1290614649 h 163"/>
                <a:gd name="T68" fmla="*/ 620244842 w 79"/>
                <a:gd name="T69" fmla="*/ 1450130274 h 163"/>
                <a:gd name="T70" fmla="*/ 634669405 w 79"/>
                <a:gd name="T71" fmla="*/ 1566138868 h 163"/>
                <a:gd name="T72" fmla="*/ 605820278 w 79"/>
                <a:gd name="T73" fmla="*/ 1885166310 h 163"/>
                <a:gd name="T74" fmla="*/ 706792224 w 79"/>
                <a:gd name="T75" fmla="*/ 2044681935 h 163"/>
                <a:gd name="T76" fmla="*/ 677943096 w 79"/>
                <a:gd name="T77" fmla="*/ 2147483646 h 163"/>
                <a:gd name="T78" fmla="*/ 735641351 w 79"/>
                <a:gd name="T79" fmla="*/ 2147483646 h 163"/>
                <a:gd name="T80" fmla="*/ 735641351 w 79"/>
                <a:gd name="T81" fmla="*/ 2147483646 h 163"/>
                <a:gd name="T82" fmla="*/ 822184935 w 79"/>
                <a:gd name="T83" fmla="*/ 2147483646 h 163"/>
                <a:gd name="T84" fmla="*/ 879883189 w 79"/>
                <a:gd name="T85" fmla="*/ 2147483646 h 163"/>
                <a:gd name="T86" fmla="*/ 1024128825 w 79"/>
                <a:gd name="T87" fmla="*/ 2147483646 h 163"/>
                <a:gd name="T88" fmla="*/ 1139521536 w 79"/>
                <a:gd name="T89" fmla="*/ 2147483646 h 16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9" h="163">
                  <a:moveTo>
                    <a:pt x="79" y="157"/>
                  </a:moveTo>
                  <a:cubicBezTo>
                    <a:pt x="77" y="148"/>
                    <a:pt x="77" y="148"/>
                    <a:pt x="77" y="148"/>
                  </a:cubicBezTo>
                  <a:cubicBezTo>
                    <a:pt x="79" y="139"/>
                    <a:pt x="79" y="139"/>
                    <a:pt x="79" y="139"/>
                  </a:cubicBezTo>
                  <a:cubicBezTo>
                    <a:pt x="70" y="131"/>
                    <a:pt x="70" y="131"/>
                    <a:pt x="70" y="131"/>
                  </a:cubicBezTo>
                  <a:cubicBezTo>
                    <a:pt x="68" y="122"/>
                    <a:pt x="68" y="122"/>
                    <a:pt x="68" y="122"/>
                  </a:cubicBezTo>
                  <a:cubicBezTo>
                    <a:pt x="61" y="110"/>
                    <a:pt x="61" y="110"/>
                    <a:pt x="61" y="110"/>
                  </a:cubicBezTo>
                  <a:cubicBezTo>
                    <a:pt x="63" y="105"/>
                    <a:pt x="63" y="105"/>
                    <a:pt x="63" y="105"/>
                  </a:cubicBezTo>
                  <a:cubicBezTo>
                    <a:pt x="60" y="99"/>
                    <a:pt x="60" y="99"/>
                    <a:pt x="60" y="99"/>
                  </a:cubicBezTo>
                  <a:cubicBezTo>
                    <a:pt x="66" y="89"/>
                    <a:pt x="66" y="89"/>
                    <a:pt x="66" y="89"/>
                  </a:cubicBezTo>
                  <a:cubicBezTo>
                    <a:pt x="65" y="83"/>
                    <a:pt x="65" y="83"/>
                    <a:pt x="65" y="83"/>
                  </a:cubicBezTo>
                  <a:cubicBezTo>
                    <a:pt x="65" y="83"/>
                    <a:pt x="66" y="78"/>
                    <a:pt x="66" y="77"/>
                  </a:cubicBezTo>
                  <a:cubicBezTo>
                    <a:pt x="66" y="77"/>
                    <a:pt x="67" y="72"/>
                    <a:pt x="67" y="72"/>
                  </a:cubicBezTo>
                  <a:cubicBezTo>
                    <a:pt x="67" y="71"/>
                    <a:pt x="64" y="66"/>
                    <a:pt x="64" y="66"/>
                  </a:cubicBezTo>
                  <a:cubicBezTo>
                    <a:pt x="66" y="45"/>
                    <a:pt x="66" y="45"/>
                    <a:pt x="66" y="45"/>
                  </a:cubicBezTo>
                  <a:cubicBezTo>
                    <a:pt x="76" y="27"/>
                    <a:pt x="76" y="27"/>
                    <a:pt x="76" y="27"/>
                  </a:cubicBezTo>
                  <a:cubicBezTo>
                    <a:pt x="74" y="0"/>
                    <a:pt x="74" y="0"/>
                    <a:pt x="74" y="0"/>
                  </a:cubicBezTo>
                  <a:cubicBezTo>
                    <a:pt x="70" y="1"/>
                    <a:pt x="70" y="1"/>
                    <a:pt x="70" y="1"/>
                  </a:cubicBezTo>
                  <a:cubicBezTo>
                    <a:pt x="59" y="6"/>
                    <a:pt x="59" y="6"/>
                    <a:pt x="59" y="6"/>
                  </a:cubicBezTo>
                  <a:cubicBezTo>
                    <a:pt x="53" y="5"/>
                    <a:pt x="53" y="5"/>
                    <a:pt x="53" y="5"/>
                  </a:cubicBezTo>
                  <a:cubicBezTo>
                    <a:pt x="24" y="29"/>
                    <a:pt x="24" y="29"/>
                    <a:pt x="24" y="29"/>
                  </a:cubicBezTo>
                  <a:cubicBezTo>
                    <a:pt x="0" y="20"/>
                    <a:pt x="0" y="20"/>
                    <a:pt x="0" y="20"/>
                  </a:cubicBezTo>
                  <a:cubicBezTo>
                    <a:pt x="0" y="22"/>
                    <a:pt x="0" y="22"/>
                    <a:pt x="0" y="22"/>
                  </a:cubicBezTo>
                  <a:cubicBezTo>
                    <a:pt x="2" y="25"/>
                    <a:pt x="2" y="25"/>
                    <a:pt x="2" y="25"/>
                  </a:cubicBezTo>
                  <a:cubicBezTo>
                    <a:pt x="10" y="35"/>
                    <a:pt x="10" y="35"/>
                    <a:pt x="10" y="35"/>
                  </a:cubicBezTo>
                  <a:cubicBezTo>
                    <a:pt x="28" y="44"/>
                    <a:pt x="28" y="44"/>
                    <a:pt x="28" y="44"/>
                  </a:cubicBezTo>
                  <a:cubicBezTo>
                    <a:pt x="25" y="50"/>
                    <a:pt x="25" y="50"/>
                    <a:pt x="25" y="50"/>
                  </a:cubicBezTo>
                  <a:cubicBezTo>
                    <a:pt x="26" y="54"/>
                    <a:pt x="26" y="54"/>
                    <a:pt x="26" y="54"/>
                  </a:cubicBezTo>
                  <a:cubicBezTo>
                    <a:pt x="34" y="54"/>
                    <a:pt x="34" y="54"/>
                    <a:pt x="34" y="54"/>
                  </a:cubicBezTo>
                  <a:cubicBezTo>
                    <a:pt x="36" y="59"/>
                    <a:pt x="36" y="59"/>
                    <a:pt x="36" y="59"/>
                  </a:cubicBezTo>
                  <a:cubicBezTo>
                    <a:pt x="42" y="61"/>
                    <a:pt x="42" y="61"/>
                    <a:pt x="42" y="61"/>
                  </a:cubicBezTo>
                  <a:cubicBezTo>
                    <a:pt x="43" y="63"/>
                    <a:pt x="43" y="63"/>
                    <a:pt x="43" y="63"/>
                  </a:cubicBezTo>
                  <a:cubicBezTo>
                    <a:pt x="46" y="65"/>
                    <a:pt x="46" y="65"/>
                    <a:pt x="46" y="65"/>
                  </a:cubicBezTo>
                  <a:cubicBezTo>
                    <a:pt x="48" y="88"/>
                    <a:pt x="48" y="88"/>
                    <a:pt x="48" y="88"/>
                  </a:cubicBezTo>
                  <a:cubicBezTo>
                    <a:pt x="35" y="89"/>
                    <a:pt x="35" y="89"/>
                    <a:pt x="35" y="89"/>
                  </a:cubicBezTo>
                  <a:cubicBezTo>
                    <a:pt x="43" y="100"/>
                    <a:pt x="43" y="100"/>
                    <a:pt x="43" y="100"/>
                  </a:cubicBezTo>
                  <a:cubicBezTo>
                    <a:pt x="44" y="108"/>
                    <a:pt x="44" y="108"/>
                    <a:pt x="44" y="108"/>
                  </a:cubicBezTo>
                  <a:cubicBezTo>
                    <a:pt x="42" y="130"/>
                    <a:pt x="42" y="130"/>
                    <a:pt x="42" y="130"/>
                  </a:cubicBezTo>
                  <a:cubicBezTo>
                    <a:pt x="49" y="141"/>
                    <a:pt x="49" y="141"/>
                    <a:pt x="49" y="141"/>
                  </a:cubicBezTo>
                  <a:cubicBezTo>
                    <a:pt x="47" y="153"/>
                    <a:pt x="47" y="153"/>
                    <a:pt x="47" y="153"/>
                  </a:cubicBezTo>
                  <a:cubicBezTo>
                    <a:pt x="51" y="154"/>
                    <a:pt x="51" y="154"/>
                    <a:pt x="51" y="154"/>
                  </a:cubicBezTo>
                  <a:cubicBezTo>
                    <a:pt x="51" y="160"/>
                    <a:pt x="51" y="160"/>
                    <a:pt x="51" y="160"/>
                  </a:cubicBezTo>
                  <a:cubicBezTo>
                    <a:pt x="57" y="158"/>
                    <a:pt x="57" y="158"/>
                    <a:pt x="57" y="158"/>
                  </a:cubicBezTo>
                  <a:cubicBezTo>
                    <a:pt x="61" y="162"/>
                    <a:pt x="61" y="162"/>
                    <a:pt x="61" y="162"/>
                  </a:cubicBezTo>
                  <a:cubicBezTo>
                    <a:pt x="71" y="163"/>
                    <a:pt x="71" y="163"/>
                    <a:pt x="71" y="163"/>
                  </a:cubicBezTo>
                  <a:lnTo>
                    <a:pt x="79" y="157"/>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42" name="Freeform 40">
              <a:extLst>
                <a:ext uri="{FF2B5EF4-FFF2-40B4-BE49-F238E27FC236}">
                  <a16:creationId xmlns:a16="http://schemas.microsoft.com/office/drawing/2014/main" id="{FD42F18F-CA09-9053-D2EB-E19E7B93EE9E}"/>
                </a:ext>
              </a:extLst>
            </p:cNvPr>
            <p:cNvSpPr>
              <a:spLocks/>
            </p:cNvSpPr>
            <p:nvPr/>
          </p:nvSpPr>
          <p:spPr bwMode="auto">
            <a:xfrm>
              <a:off x="2392363" y="3405188"/>
              <a:ext cx="392112" cy="503238"/>
            </a:xfrm>
            <a:custGeom>
              <a:avLst/>
              <a:gdLst>
                <a:gd name="T0" fmla="*/ 1463750289 w 103"/>
                <a:gd name="T1" fmla="*/ 1671463081 h 132"/>
                <a:gd name="T2" fmla="*/ 1492736122 w 103"/>
                <a:gd name="T3" fmla="*/ 1569721319 h 132"/>
                <a:gd name="T4" fmla="*/ 1434764456 w 103"/>
                <a:gd name="T5" fmla="*/ 1511585893 h 132"/>
                <a:gd name="T6" fmla="*/ 1347810765 w 103"/>
                <a:gd name="T7" fmla="*/ 1540651700 h 132"/>
                <a:gd name="T8" fmla="*/ 1347810765 w 103"/>
                <a:gd name="T9" fmla="*/ 1453446654 h 132"/>
                <a:gd name="T10" fmla="*/ 1289839100 w 103"/>
                <a:gd name="T11" fmla="*/ 1438913751 h 132"/>
                <a:gd name="T12" fmla="*/ 1318824933 w 103"/>
                <a:gd name="T13" fmla="*/ 1264499847 h 132"/>
                <a:gd name="T14" fmla="*/ 1217378325 w 103"/>
                <a:gd name="T15" fmla="*/ 1104618847 h 132"/>
                <a:gd name="T16" fmla="*/ 1246360351 w 103"/>
                <a:gd name="T17" fmla="*/ 784860660 h 132"/>
                <a:gd name="T18" fmla="*/ 1231871241 w 103"/>
                <a:gd name="T19" fmla="*/ 668585995 h 132"/>
                <a:gd name="T20" fmla="*/ 1115927911 w 103"/>
                <a:gd name="T21" fmla="*/ 508704995 h 132"/>
                <a:gd name="T22" fmla="*/ 1304332016 w 103"/>
                <a:gd name="T23" fmla="*/ 494172091 h 132"/>
                <a:gd name="T24" fmla="*/ 1275346183 w 103"/>
                <a:gd name="T25" fmla="*/ 159881000 h 132"/>
                <a:gd name="T26" fmla="*/ 1231871241 w 103"/>
                <a:gd name="T27" fmla="*/ 130811381 h 132"/>
                <a:gd name="T28" fmla="*/ 1217378325 w 103"/>
                <a:gd name="T29" fmla="*/ 101741761 h 132"/>
                <a:gd name="T30" fmla="*/ 1130420827 w 103"/>
                <a:gd name="T31" fmla="*/ 72672142 h 132"/>
                <a:gd name="T32" fmla="*/ 1101434994 w 103"/>
                <a:gd name="T33" fmla="*/ 0 h 132"/>
                <a:gd name="T34" fmla="*/ 985495470 w 103"/>
                <a:gd name="T35" fmla="*/ 0 h 132"/>
                <a:gd name="T36" fmla="*/ 913030889 w 103"/>
                <a:gd name="T37" fmla="*/ 116274665 h 132"/>
                <a:gd name="T38" fmla="*/ 797091365 w 103"/>
                <a:gd name="T39" fmla="*/ 0 h 132"/>
                <a:gd name="T40" fmla="*/ 710137673 w 103"/>
                <a:gd name="T41" fmla="*/ 58139239 h 132"/>
                <a:gd name="T42" fmla="*/ 550719401 w 103"/>
                <a:gd name="T43" fmla="*/ 58139239 h 132"/>
                <a:gd name="T44" fmla="*/ 507240651 w 103"/>
                <a:gd name="T45" fmla="*/ 116274665 h 132"/>
                <a:gd name="T46" fmla="*/ 521733568 w 103"/>
                <a:gd name="T47" fmla="*/ 218016426 h 132"/>
                <a:gd name="T48" fmla="*/ 594194343 w 103"/>
                <a:gd name="T49" fmla="*/ 247086046 h 132"/>
                <a:gd name="T50" fmla="*/ 594194343 w 103"/>
                <a:gd name="T51" fmla="*/ 450569568 h 132"/>
                <a:gd name="T52" fmla="*/ 579705233 w 103"/>
                <a:gd name="T53" fmla="*/ 595913853 h 132"/>
                <a:gd name="T54" fmla="*/ 463761902 w 103"/>
                <a:gd name="T55" fmla="*/ 639516375 h 132"/>
                <a:gd name="T56" fmla="*/ 231882855 w 103"/>
                <a:gd name="T57" fmla="*/ 654049279 h 132"/>
                <a:gd name="T58" fmla="*/ 173911189 w 103"/>
                <a:gd name="T59" fmla="*/ 697655614 h 132"/>
                <a:gd name="T60" fmla="*/ 86953691 w 103"/>
                <a:gd name="T61" fmla="*/ 697655614 h 132"/>
                <a:gd name="T62" fmla="*/ 0 w 103"/>
                <a:gd name="T63" fmla="*/ 799397375 h 132"/>
                <a:gd name="T64" fmla="*/ 333329462 w 103"/>
                <a:gd name="T65" fmla="*/ 784860660 h 132"/>
                <a:gd name="T66" fmla="*/ 449268986 w 103"/>
                <a:gd name="T67" fmla="*/ 828463182 h 132"/>
                <a:gd name="T68" fmla="*/ 623180175 w 103"/>
                <a:gd name="T69" fmla="*/ 828463182 h 132"/>
                <a:gd name="T70" fmla="*/ 579705233 w 103"/>
                <a:gd name="T71" fmla="*/ 973807467 h 132"/>
                <a:gd name="T72" fmla="*/ 840570114 w 103"/>
                <a:gd name="T73" fmla="*/ 1438913751 h 132"/>
                <a:gd name="T74" fmla="*/ 1014481303 w 103"/>
                <a:gd name="T75" fmla="*/ 1526118796 h 132"/>
                <a:gd name="T76" fmla="*/ 956509638 w 103"/>
                <a:gd name="T77" fmla="*/ 1613323842 h 132"/>
                <a:gd name="T78" fmla="*/ 1057960052 w 103"/>
                <a:gd name="T79" fmla="*/ 1685995984 h 132"/>
                <a:gd name="T80" fmla="*/ 1159406660 w 103"/>
                <a:gd name="T81" fmla="*/ 1874946603 h 132"/>
                <a:gd name="T82" fmla="*/ 1217378325 w 103"/>
                <a:gd name="T83" fmla="*/ 1874946603 h 132"/>
                <a:gd name="T84" fmla="*/ 1246360351 w 103"/>
                <a:gd name="T85" fmla="*/ 1904016223 h 132"/>
                <a:gd name="T86" fmla="*/ 1347810765 w 103"/>
                <a:gd name="T87" fmla="*/ 1889479507 h 132"/>
                <a:gd name="T88" fmla="*/ 1376796598 w 103"/>
                <a:gd name="T89" fmla="*/ 1918549126 h 132"/>
                <a:gd name="T90" fmla="*/ 1376796598 w 103"/>
                <a:gd name="T91" fmla="*/ 1758671938 h 132"/>
                <a:gd name="T92" fmla="*/ 1463750289 w 103"/>
                <a:gd name="T93" fmla="*/ 1787737745 h 132"/>
                <a:gd name="T94" fmla="*/ 1463750289 w 103"/>
                <a:gd name="T95" fmla="*/ 1671463081 h 1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3" h="132">
                  <a:moveTo>
                    <a:pt x="101" y="115"/>
                  </a:moveTo>
                  <a:cubicBezTo>
                    <a:pt x="101" y="114"/>
                    <a:pt x="103" y="108"/>
                    <a:pt x="103" y="108"/>
                  </a:cubicBezTo>
                  <a:cubicBezTo>
                    <a:pt x="99" y="104"/>
                    <a:pt x="99" y="104"/>
                    <a:pt x="99" y="104"/>
                  </a:cubicBezTo>
                  <a:cubicBezTo>
                    <a:pt x="93" y="106"/>
                    <a:pt x="93" y="106"/>
                    <a:pt x="93" y="106"/>
                  </a:cubicBezTo>
                  <a:cubicBezTo>
                    <a:pt x="93" y="100"/>
                    <a:pt x="93" y="100"/>
                    <a:pt x="93" y="100"/>
                  </a:cubicBezTo>
                  <a:cubicBezTo>
                    <a:pt x="89" y="99"/>
                    <a:pt x="89" y="99"/>
                    <a:pt x="89" y="99"/>
                  </a:cubicBezTo>
                  <a:cubicBezTo>
                    <a:pt x="91" y="87"/>
                    <a:pt x="91" y="87"/>
                    <a:pt x="91" y="87"/>
                  </a:cubicBezTo>
                  <a:cubicBezTo>
                    <a:pt x="84" y="76"/>
                    <a:pt x="84" y="76"/>
                    <a:pt x="84" y="76"/>
                  </a:cubicBezTo>
                  <a:cubicBezTo>
                    <a:pt x="86" y="54"/>
                    <a:pt x="86" y="54"/>
                    <a:pt x="86" y="54"/>
                  </a:cubicBezTo>
                  <a:cubicBezTo>
                    <a:pt x="85" y="46"/>
                    <a:pt x="85" y="46"/>
                    <a:pt x="85" y="46"/>
                  </a:cubicBezTo>
                  <a:cubicBezTo>
                    <a:pt x="77" y="35"/>
                    <a:pt x="77" y="35"/>
                    <a:pt x="77" y="35"/>
                  </a:cubicBezTo>
                  <a:cubicBezTo>
                    <a:pt x="90" y="34"/>
                    <a:pt x="90" y="34"/>
                    <a:pt x="90" y="34"/>
                  </a:cubicBezTo>
                  <a:cubicBezTo>
                    <a:pt x="88" y="11"/>
                    <a:pt x="88" y="11"/>
                    <a:pt x="88" y="11"/>
                  </a:cubicBezTo>
                  <a:cubicBezTo>
                    <a:pt x="85" y="9"/>
                    <a:pt x="85" y="9"/>
                    <a:pt x="85" y="9"/>
                  </a:cubicBezTo>
                  <a:cubicBezTo>
                    <a:pt x="84" y="7"/>
                    <a:pt x="84" y="7"/>
                    <a:pt x="84" y="7"/>
                  </a:cubicBezTo>
                  <a:cubicBezTo>
                    <a:pt x="78" y="5"/>
                    <a:pt x="78" y="5"/>
                    <a:pt x="78" y="5"/>
                  </a:cubicBezTo>
                  <a:cubicBezTo>
                    <a:pt x="76" y="0"/>
                    <a:pt x="76" y="0"/>
                    <a:pt x="76" y="0"/>
                  </a:cubicBezTo>
                  <a:cubicBezTo>
                    <a:pt x="68" y="0"/>
                    <a:pt x="68" y="0"/>
                    <a:pt x="68" y="0"/>
                  </a:cubicBezTo>
                  <a:cubicBezTo>
                    <a:pt x="63" y="8"/>
                    <a:pt x="63" y="8"/>
                    <a:pt x="63" y="8"/>
                  </a:cubicBezTo>
                  <a:cubicBezTo>
                    <a:pt x="55" y="0"/>
                    <a:pt x="55" y="0"/>
                    <a:pt x="55" y="0"/>
                  </a:cubicBezTo>
                  <a:cubicBezTo>
                    <a:pt x="49" y="4"/>
                    <a:pt x="49" y="4"/>
                    <a:pt x="49" y="4"/>
                  </a:cubicBezTo>
                  <a:cubicBezTo>
                    <a:pt x="38" y="4"/>
                    <a:pt x="38" y="4"/>
                    <a:pt x="38" y="4"/>
                  </a:cubicBezTo>
                  <a:cubicBezTo>
                    <a:pt x="35" y="8"/>
                    <a:pt x="35" y="8"/>
                    <a:pt x="35" y="8"/>
                  </a:cubicBezTo>
                  <a:cubicBezTo>
                    <a:pt x="36" y="15"/>
                    <a:pt x="36" y="15"/>
                    <a:pt x="36" y="15"/>
                  </a:cubicBezTo>
                  <a:cubicBezTo>
                    <a:pt x="41" y="17"/>
                    <a:pt x="41" y="17"/>
                    <a:pt x="41" y="17"/>
                  </a:cubicBezTo>
                  <a:cubicBezTo>
                    <a:pt x="41" y="31"/>
                    <a:pt x="41" y="31"/>
                    <a:pt x="41" y="31"/>
                  </a:cubicBezTo>
                  <a:cubicBezTo>
                    <a:pt x="40" y="41"/>
                    <a:pt x="40" y="41"/>
                    <a:pt x="40" y="41"/>
                  </a:cubicBezTo>
                  <a:cubicBezTo>
                    <a:pt x="32" y="44"/>
                    <a:pt x="32" y="44"/>
                    <a:pt x="32" y="44"/>
                  </a:cubicBezTo>
                  <a:cubicBezTo>
                    <a:pt x="16" y="45"/>
                    <a:pt x="16" y="45"/>
                    <a:pt x="16" y="45"/>
                  </a:cubicBezTo>
                  <a:cubicBezTo>
                    <a:pt x="12" y="48"/>
                    <a:pt x="12" y="48"/>
                    <a:pt x="12" y="48"/>
                  </a:cubicBezTo>
                  <a:cubicBezTo>
                    <a:pt x="6" y="48"/>
                    <a:pt x="6" y="48"/>
                    <a:pt x="6" y="48"/>
                  </a:cubicBezTo>
                  <a:cubicBezTo>
                    <a:pt x="0" y="55"/>
                    <a:pt x="0" y="55"/>
                    <a:pt x="0" y="55"/>
                  </a:cubicBezTo>
                  <a:cubicBezTo>
                    <a:pt x="23" y="54"/>
                    <a:pt x="23" y="54"/>
                    <a:pt x="23" y="54"/>
                  </a:cubicBezTo>
                  <a:cubicBezTo>
                    <a:pt x="31" y="57"/>
                    <a:pt x="31" y="57"/>
                    <a:pt x="31" y="57"/>
                  </a:cubicBezTo>
                  <a:cubicBezTo>
                    <a:pt x="43" y="57"/>
                    <a:pt x="43" y="57"/>
                    <a:pt x="43" y="57"/>
                  </a:cubicBezTo>
                  <a:cubicBezTo>
                    <a:pt x="40" y="67"/>
                    <a:pt x="40" y="67"/>
                    <a:pt x="40" y="67"/>
                  </a:cubicBezTo>
                  <a:cubicBezTo>
                    <a:pt x="58" y="99"/>
                    <a:pt x="58" y="99"/>
                    <a:pt x="58" y="99"/>
                  </a:cubicBezTo>
                  <a:cubicBezTo>
                    <a:pt x="70" y="105"/>
                    <a:pt x="70" y="105"/>
                    <a:pt x="70" y="105"/>
                  </a:cubicBezTo>
                  <a:cubicBezTo>
                    <a:pt x="66" y="111"/>
                    <a:pt x="66" y="111"/>
                    <a:pt x="66" y="111"/>
                  </a:cubicBezTo>
                  <a:cubicBezTo>
                    <a:pt x="73" y="116"/>
                    <a:pt x="73" y="116"/>
                    <a:pt x="73" y="116"/>
                  </a:cubicBezTo>
                  <a:cubicBezTo>
                    <a:pt x="80" y="129"/>
                    <a:pt x="80" y="129"/>
                    <a:pt x="80" y="129"/>
                  </a:cubicBezTo>
                  <a:cubicBezTo>
                    <a:pt x="84" y="129"/>
                    <a:pt x="84" y="129"/>
                    <a:pt x="84" y="129"/>
                  </a:cubicBezTo>
                  <a:cubicBezTo>
                    <a:pt x="86" y="131"/>
                    <a:pt x="86" y="131"/>
                    <a:pt x="86" y="131"/>
                  </a:cubicBezTo>
                  <a:cubicBezTo>
                    <a:pt x="93" y="130"/>
                    <a:pt x="93" y="130"/>
                    <a:pt x="93" y="130"/>
                  </a:cubicBezTo>
                  <a:cubicBezTo>
                    <a:pt x="95" y="132"/>
                    <a:pt x="95" y="132"/>
                    <a:pt x="95" y="132"/>
                  </a:cubicBezTo>
                  <a:cubicBezTo>
                    <a:pt x="95" y="121"/>
                    <a:pt x="95" y="121"/>
                    <a:pt x="95" y="121"/>
                  </a:cubicBezTo>
                  <a:cubicBezTo>
                    <a:pt x="101" y="123"/>
                    <a:pt x="101" y="123"/>
                    <a:pt x="101" y="123"/>
                  </a:cubicBezTo>
                  <a:cubicBezTo>
                    <a:pt x="101" y="123"/>
                    <a:pt x="101" y="115"/>
                    <a:pt x="101" y="115"/>
                  </a:cubicBezTo>
                  <a:close/>
                </a:path>
              </a:pathLst>
            </a:custGeom>
            <a:solidFill>
              <a:schemeClr val="accent5">
                <a:lumMod val="60000"/>
                <a:lumOff val="40000"/>
              </a:schemeClr>
            </a:solidFill>
            <a:ln w="7938" cap="flat">
              <a:solidFill>
                <a:schemeClr val="accent5"/>
              </a:solidFill>
              <a:prstDash val="solid"/>
              <a:miter lim="800000"/>
              <a:headEnd/>
              <a:tailEnd/>
            </a:ln>
          </p:spPr>
          <p:txBody>
            <a:bodyPr/>
            <a:lstStyle/>
            <a:p>
              <a:endParaRPr lang="ru-RU"/>
            </a:p>
          </p:txBody>
        </p:sp>
        <p:sp>
          <p:nvSpPr>
            <p:cNvPr id="43" name="Freeform 41">
              <a:extLst>
                <a:ext uri="{FF2B5EF4-FFF2-40B4-BE49-F238E27FC236}">
                  <a16:creationId xmlns:a16="http://schemas.microsoft.com/office/drawing/2014/main" id="{A14FF413-B2EF-751C-EC8A-C4C82C562231}"/>
                </a:ext>
              </a:extLst>
            </p:cNvPr>
            <p:cNvSpPr>
              <a:spLocks/>
            </p:cNvSpPr>
            <p:nvPr/>
          </p:nvSpPr>
          <p:spPr bwMode="auto">
            <a:xfrm>
              <a:off x="2251075" y="3222625"/>
              <a:ext cx="407987" cy="258763"/>
            </a:xfrm>
            <a:custGeom>
              <a:avLst/>
              <a:gdLst>
                <a:gd name="T0" fmla="*/ 1555639179 w 107"/>
                <a:gd name="T1" fmla="*/ 550263325 h 68"/>
                <a:gd name="T2" fmla="*/ 1293944116 w 107"/>
                <a:gd name="T3" fmla="*/ 419938101 h 68"/>
                <a:gd name="T4" fmla="*/ 1177633504 w 107"/>
                <a:gd name="T5" fmla="*/ 275129760 h 68"/>
                <a:gd name="T6" fmla="*/ 1148555851 w 107"/>
                <a:gd name="T7" fmla="*/ 231688018 h 68"/>
                <a:gd name="T8" fmla="*/ 1148555851 w 107"/>
                <a:gd name="T9" fmla="*/ 202729394 h 68"/>
                <a:gd name="T10" fmla="*/ 1090400545 w 107"/>
                <a:gd name="T11" fmla="*/ 188246277 h 68"/>
                <a:gd name="T12" fmla="*/ 988628760 w 107"/>
                <a:gd name="T13" fmla="*/ 246171136 h 68"/>
                <a:gd name="T14" fmla="*/ 857783135 w 107"/>
                <a:gd name="T15" fmla="*/ 130325224 h 68"/>
                <a:gd name="T16" fmla="*/ 814166656 w 107"/>
                <a:gd name="T17" fmla="*/ 57921053 h 68"/>
                <a:gd name="T18" fmla="*/ 639700738 w 107"/>
                <a:gd name="T19" fmla="*/ 57921053 h 68"/>
                <a:gd name="T20" fmla="*/ 610623085 w 107"/>
                <a:gd name="T21" fmla="*/ 0 h 68"/>
                <a:gd name="T22" fmla="*/ 479777460 w 107"/>
                <a:gd name="T23" fmla="*/ 28962429 h 68"/>
                <a:gd name="T24" fmla="*/ 479777460 w 107"/>
                <a:gd name="T25" fmla="*/ 57921053 h 68"/>
                <a:gd name="T26" fmla="*/ 407083328 w 107"/>
                <a:gd name="T27" fmla="*/ 159287653 h 68"/>
                <a:gd name="T28" fmla="*/ 276233890 w 107"/>
                <a:gd name="T29" fmla="*/ 159287653 h 68"/>
                <a:gd name="T30" fmla="*/ 159927091 w 107"/>
                <a:gd name="T31" fmla="*/ 173766965 h 68"/>
                <a:gd name="T32" fmla="*/ 72694132 w 107"/>
                <a:gd name="T33" fmla="*/ 260650448 h 68"/>
                <a:gd name="T34" fmla="*/ 0 w 107"/>
                <a:gd name="T35" fmla="*/ 275129760 h 68"/>
                <a:gd name="T36" fmla="*/ 14538826 w 107"/>
                <a:gd name="T37" fmla="*/ 333054618 h 68"/>
                <a:gd name="T38" fmla="*/ 145388265 w 107"/>
                <a:gd name="T39" fmla="*/ 419938101 h 68"/>
                <a:gd name="T40" fmla="*/ 130849438 w 107"/>
                <a:gd name="T41" fmla="*/ 492342272 h 68"/>
                <a:gd name="T42" fmla="*/ 247156237 w 107"/>
                <a:gd name="T43" fmla="*/ 666109237 h 68"/>
                <a:gd name="T44" fmla="*/ 421622154 w 107"/>
                <a:gd name="T45" fmla="*/ 767472031 h 68"/>
                <a:gd name="T46" fmla="*/ 450699807 w 107"/>
                <a:gd name="T47" fmla="*/ 984680738 h 68"/>
                <a:gd name="T48" fmla="*/ 639700738 w 107"/>
                <a:gd name="T49" fmla="*/ 897797255 h 68"/>
                <a:gd name="T50" fmla="*/ 857783135 w 107"/>
                <a:gd name="T51" fmla="*/ 796434461 h 68"/>
                <a:gd name="T52" fmla="*/ 930477267 w 107"/>
                <a:gd name="T53" fmla="*/ 781951343 h 68"/>
                <a:gd name="T54" fmla="*/ 1046784066 w 107"/>
                <a:gd name="T55" fmla="*/ 810913773 h 68"/>
                <a:gd name="T56" fmla="*/ 1090400545 w 107"/>
                <a:gd name="T57" fmla="*/ 752992719 h 68"/>
                <a:gd name="T58" fmla="*/ 1250327636 w 107"/>
                <a:gd name="T59" fmla="*/ 752992719 h 68"/>
                <a:gd name="T60" fmla="*/ 1337560595 w 107"/>
                <a:gd name="T61" fmla="*/ 695067861 h 68"/>
                <a:gd name="T62" fmla="*/ 1453867394 w 107"/>
                <a:gd name="T63" fmla="*/ 810913773 h 68"/>
                <a:gd name="T64" fmla="*/ 1526561526 w 107"/>
                <a:gd name="T65" fmla="*/ 695067861 h 68"/>
                <a:gd name="T66" fmla="*/ 1512022700 w 107"/>
                <a:gd name="T67" fmla="*/ 637146807 h 68"/>
                <a:gd name="T68" fmla="*/ 1555639179 w 107"/>
                <a:gd name="T69" fmla="*/ 550263325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7" h="68">
                  <a:moveTo>
                    <a:pt x="107" y="38"/>
                  </a:moveTo>
                  <a:cubicBezTo>
                    <a:pt x="89" y="29"/>
                    <a:pt x="89" y="29"/>
                    <a:pt x="89" y="29"/>
                  </a:cubicBezTo>
                  <a:cubicBezTo>
                    <a:pt x="81" y="19"/>
                    <a:pt x="81" y="19"/>
                    <a:pt x="81" y="19"/>
                  </a:cubicBezTo>
                  <a:cubicBezTo>
                    <a:pt x="79" y="16"/>
                    <a:pt x="79" y="16"/>
                    <a:pt x="79" y="16"/>
                  </a:cubicBezTo>
                  <a:cubicBezTo>
                    <a:pt x="79" y="14"/>
                    <a:pt x="79" y="14"/>
                    <a:pt x="79" y="14"/>
                  </a:cubicBezTo>
                  <a:cubicBezTo>
                    <a:pt x="75" y="13"/>
                    <a:pt x="75" y="13"/>
                    <a:pt x="75" y="13"/>
                  </a:cubicBezTo>
                  <a:cubicBezTo>
                    <a:pt x="68" y="17"/>
                    <a:pt x="68" y="17"/>
                    <a:pt x="68" y="17"/>
                  </a:cubicBezTo>
                  <a:cubicBezTo>
                    <a:pt x="59" y="9"/>
                    <a:pt x="59" y="9"/>
                    <a:pt x="59" y="9"/>
                  </a:cubicBezTo>
                  <a:cubicBezTo>
                    <a:pt x="56" y="4"/>
                    <a:pt x="56" y="4"/>
                    <a:pt x="56" y="4"/>
                  </a:cubicBezTo>
                  <a:cubicBezTo>
                    <a:pt x="44" y="4"/>
                    <a:pt x="44" y="4"/>
                    <a:pt x="44" y="4"/>
                  </a:cubicBezTo>
                  <a:cubicBezTo>
                    <a:pt x="42" y="0"/>
                    <a:pt x="42" y="0"/>
                    <a:pt x="42" y="0"/>
                  </a:cubicBezTo>
                  <a:cubicBezTo>
                    <a:pt x="33" y="2"/>
                    <a:pt x="33" y="2"/>
                    <a:pt x="33" y="2"/>
                  </a:cubicBezTo>
                  <a:cubicBezTo>
                    <a:pt x="33" y="4"/>
                    <a:pt x="33" y="4"/>
                    <a:pt x="33" y="4"/>
                  </a:cubicBezTo>
                  <a:cubicBezTo>
                    <a:pt x="28" y="11"/>
                    <a:pt x="28" y="11"/>
                    <a:pt x="28" y="11"/>
                  </a:cubicBezTo>
                  <a:cubicBezTo>
                    <a:pt x="19" y="11"/>
                    <a:pt x="19" y="11"/>
                    <a:pt x="19" y="11"/>
                  </a:cubicBezTo>
                  <a:cubicBezTo>
                    <a:pt x="11" y="12"/>
                    <a:pt x="11" y="12"/>
                    <a:pt x="11" y="12"/>
                  </a:cubicBezTo>
                  <a:cubicBezTo>
                    <a:pt x="5" y="18"/>
                    <a:pt x="5" y="18"/>
                    <a:pt x="5" y="18"/>
                  </a:cubicBezTo>
                  <a:cubicBezTo>
                    <a:pt x="0" y="19"/>
                    <a:pt x="0" y="19"/>
                    <a:pt x="0" y="19"/>
                  </a:cubicBezTo>
                  <a:cubicBezTo>
                    <a:pt x="1" y="21"/>
                    <a:pt x="1" y="22"/>
                    <a:pt x="1" y="23"/>
                  </a:cubicBezTo>
                  <a:cubicBezTo>
                    <a:pt x="2" y="23"/>
                    <a:pt x="10" y="29"/>
                    <a:pt x="10" y="29"/>
                  </a:cubicBezTo>
                  <a:cubicBezTo>
                    <a:pt x="9" y="34"/>
                    <a:pt x="9" y="34"/>
                    <a:pt x="9" y="34"/>
                  </a:cubicBezTo>
                  <a:cubicBezTo>
                    <a:pt x="17" y="46"/>
                    <a:pt x="17" y="46"/>
                    <a:pt x="17" y="46"/>
                  </a:cubicBezTo>
                  <a:cubicBezTo>
                    <a:pt x="29" y="53"/>
                    <a:pt x="29" y="53"/>
                    <a:pt x="29" y="53"/>
                  </a:cubicBezTo>
                  <a:cubicBezTo>
                    <a:pt x="31" y="68"/>
                    <a:pt x="31" y="68"/>
                    <a:pt x="31" y="68"/>
                  </a:cubicBezTo>
                  <a:cubicBezTo>
                    <a:pt x="44" y="62"/>
                    <a:pt x="44" y="62"/>
                    <a:pt x="44" y="62"/>
                  </a:cubicBezTo>
                  <a:cubicBezTo>
                    <a:pt x="59" y="55"/>
                    <a:pt x="59" y="55"/>
                    <a:pt x="59" y="55"/>
                  </a:cubicBezTo>
                  <a:cubicBezTo>
                    <a:pt x="64" y="54"/>
                    <a:pt x="64" y="54"/>
                    <a:pt x="64" y="54"/>
                  </a:cubicBezTo>
                  <a:cubicBezTo>
                    <a:pt x="72" y="56"/>
                    <a:pt x="72" y="56"/>
                    <a:pt x="72" y="56"/>
                  </a:cubicBezTo>
                  <a:cubicBezTo>
                    <a:pt x="75" y="52"/>
                    <a:pt x="75" y="52"/>
                    <a:pt x="75" y="52"/>
                  </a:cubicBezTo>
                  <a:cubicBezTo>
                    <a:pt x="86" y="52"/>
                    <a:pt x="86" y="52"/>
                    <a:pt x="86" y="52"/>
                  </a:cubicBezTo>
                  <a:cubicBezTo>
                    <a:pt x="92" y="48"/>
                    <a:pt x="92" y="48"/>
                    <a:pt x="92" y="48"/>
                  </a:cubicBezTo>
                  <a:cubicBezTo>
                    <a:pt x="100" y="56"/>
                    <a:pt x="100" y="56"/>
                    <a:pt x="100" y="56"/>
                  </a:cubicBezTo>
                  <a:cubicBezTo>
                    <a:pt x="105" y="48"/>
                    <a:pt x="105" y="48"/>
                    <a:pt x="105" y="48"/>
                  </a:cubicBezTo>
                  <a:cubicBezTo>
                    <a:pt x="104" y="44"/>
                    <a:pt x="104" y="44"/>
                    <a:pt x="104" y="44"/>
                  </a:cubicBezTo>
                  <a:lnTo>
                    <a:pt x="107" y="38"/>
                  </a:lnTo>
                  <a:close/>
                </a:path>
              </a:pathLst>
            </a:custGeom>
            <a:solidFill>
              <a:srgbClr val="CB2DA2"/>
            </a:solidFill>
            <a:ln w="7938" cap="flat">
              <a:solidFill>
                <a:schemeClr val="accent5"/>
              </a:solidFill>
              <a:prstDash val="solid"/>
              <a:miter lim="800000"/>
              <a:headEnd/>
              <a:tailEnd/>
            </a:ln>
          </p:spPr>
          <p:txBody>
            <a:bodyPr/>
            <a:lstStyle/>
            <a:p>
              <a:endParaRPr lang="ru-RU"/>
            </a:p>
          </p:txBody>
        </p:sp>
        <p:sp>
          <p:nvSpPr>
            <p:cNvPr id="44" name="Freeform 49">
              <a:extLst>
                <a:ext uri="{FF2B5EF4-FFF2-40B4-BE49-F238E27FC236}">
                  <a16:creationId xmlns:a16="http://schemas.microsoft.com/office/drawing/2014/main" id="{50DC80E9-C7C4-BEA9-B85F-B4E9307E7080}"/>
                </a:ext>
              </a:extLst>
            </p:cNvPr>
            <p:cNvSpPr>
              <a:spLocks/>
            </p:cNvSpPr>
            <p:nvPr/>
          </p:nvSpPr>
          <p:spPr bwMode="auto">
            <a:xfrm>
              <a:off x="3103563" y="3848100"/>
              <a:ext cx="277812" cy="552450"/>
            </a:xfrm>
            <a:custGeom>
              <a:avLst/>
              <a:gdLst>
                <a:gd name="T0" fmla="*/ 724145520 w 73"/>
                <a:gd name="T1" fmla="*/ 435483000 h 145"/>
                <a:gd name="T2" fmla="*/ 709665046 w 73"/>
                <a:gd name="T3" fmla="*/ 391934700 h 145"/>
                <a:gd name="T4" fmla="*/ 724145520 w 73"/>
                <a:gd name="T5" fmla="*/ 348386400 h 145"/>
                <a:gd name="T6" fmla="*/ 767594556 w 73"/>
                <a:gd name="T7" fmla="*/ 290322000 h 145"/>
                <a:gd name="T8" fmla="*/ 840008347 w 73"/>
                <a:gd name="T9" fmla="*/ 290322000 h 145"/>
                <a:gd name="T10" fmla="*/ 897941663 w 73"/>
                <a:gd name="T11" fmla="*/ 261289800 h 145"/>
                <a:gd name="T12" fmla="*/ 883457383 w 73"/>
                <a:gd name="T13" fmla="*/ 217741500 h 145"/>
                <a:gd name="T14" fmla="*/ 825527872 w 73"/>
                <a:gd name="T15" fmla="*/ 217741500 h 145"/>
                <a:gd name="T16" fmla="*/ 782078836 w 73"/>
                <a:gd name="T17" fmla="*/ 145161000 h 145"/>
                <a:gd name="T18" fmla="*/ 738629801 w 73"/>
                <a:gd name="T19" fmla="*/ 101612700 h 145"/>
                <a:gd name="T20" fmla="*/ 637247449 w 73"/>
                <a:gd name="T21" fmla="*/ 116128800 h 145"/>
                <a:gd name="T22" fmla="*/ 564833658 w 73"/>
                <a:gd name="T23" fmla="*/ 0 h 145"/>
                <a:gd name="T24" fmla="*/ 434486551 w 73"/>
                <a:gd name="T25" fmla="*/ 87096600 h 145"/>
                <a:gd name="T26" fmla="*/ 434486551 w 73"/>
                <a:gd name="T27" fmla="*/ 145161000 h 145"/>
                <a:gd name="T28" fmla="*/ 115862827 w 73"/>
                <a:gd name="T29" fmla="*/ 246773700 h 145"/>
                <a:gd name="T30" fmla="*/ 115862827 w 73"/>
                <a:gd name="T31" fmla="*/ 261289800 h 145"/>
                <a:gd name="T32" fmla="*/ 115862827 w 73"/>
                <a:gd name="T33" fmla="*/ 348386400 h 145"/>
                <a:gd name="T34" fmla="*/ 86898071 w 73"/>
                <a:gd name="T35" fmla="*/ 479031300 h 145"/>
                <a:gd name="T36" fmla="*/ 0 w 73"/>
                <a:gd name="T37" fmla="*/ 508063500 h 145"/>
                <a:gd name="T38" fmla="*/ 86898071 w 73"/>
                <a:gd name="T39" fmla="*/ 754837200 h 145"/>
                <a:gd name="T40" fmla="*/ 28964755 w 73"/>
                <a:gd name="T41" fmla="*/ 856449900 h 145"/>
                <a:gd name="T42" fmla="*/ 57933316 w 73"/>
                <a:gd name="T43" fmla="*/ 943546500 h 145"/>
                <a:gd name="T44" fmla="*/ 115862827 w 73"/>
                <a:gd name="T45" fmla="*/ 958062600 h 145"/>
                <a:gd name="T46" fmla="*/ 144827582 w 73"/>
                <a:gd name="T47" fmla="*/ 1016127000 h 145"/>
                <a:gd name="T48" fmla="*/ 318623724 w 73"/>
                <a:gd name="T49" fmla="*/ 1016127000 h 145"/>
                <a:gd name="T50" fmla="*/ 376557041 w 73"/>
                <a:gd name="T51" fmla="*/ 1190320200 h 145"/>
                <a:gd name="T52" fmla="*/ 376557041 w 73"/>
                <a:gd name="T53" fmla="*/ 1291932900 h 145"/>
                <a:gd name="T54" fmla="*/ 405521796 w 73"/>
                <a:gd name="T55" fmla="*/ 1408061700 h 145"/>
                <a:gd name="T56" fmla="*/ 506904148 w 73"/>
                <a:gd name="T57" fmla="*/ 1408061700 h 145"/>
                <a:gd name="T58" fmla="*/ 535868903 w 73"/>
                <a:gd name="T59" fmla="*/ 1509674400 h 145"/>
                <a:gd name="T60" fmla="*/ 608282694 w 73"/>
                <a:gd name="T61" fmla="*/ 1480642200 h 145"/>
                <a:gd name="T62" fmla="*/ 680696485 w 73"/>
                <a:gd name="T63" fmla="*/ 1640319300 h 145"/>
                <a:gd name="T64" fmla="*/ 651731729 w 73"/>
                <a:gd name="T65" fmla="*/ 1698383700 h 145"/>
                <a:gd name="T66" fmla="*/ 724145520 w 73"/>
                <a:gd name="T67" fmla="*/ 1887093000 h 145"/>
                <a:gd name="T68" fmla="*/ 695180765 w 73"/>
                <a:gd name="T69" fmla="*/ 2061286200 h 145"/>
                <a:gd name="T70" fmla="*/ 724145520 w 73"/>
                <a:gd name="T71" fmla="*/ 2104834500 h 145"/>
                <a:gd name="T72" fmla="*/ 796559311 w 73"/>
                <a:gd name="T73" fmla="*/ 2017737900 h 145"/>
                <a:gd name="T74" fmla="*/ 796559311 w 73"/>
                <a:gd name="T75" fmla="*/ 1930641300 h 145"/>
                <a:gd name="T76" fmla="*/ 840008347 w 73"/>
                <a:gd name="T77" fmla="*/ 1916125200 h 145"/>
                <a:gd name="T78" fmla="*/ 941390699 w 73"/>
                <a:gd name="T79" fmla="*/ 1829028600 h 145"/>
                <a:gd name="T80" fmla="*/ 897941663 w 73"/>
                <a:gd name="T81" fmla="*/ 1799996400 h 145"/>
                <a:gd name="T82" fmla="*/ 970355454 w 73"/>
                <a:gd name="T83" fmla="*/ 1770964200 h 145"/>
                <a:gd name="T84" fmla="*/ 1042769245 w 73"/>
                <a:gd name="T85" fmla="*/ 1872576900 h 145"/>
                <a:gd name="T86" fmla="*/ 1057253525 w 73"/>
                <a:gd name="T87" fmla="*/ 1814512500 h 145"/>
                <a:gd name="T88" fmla="*/ 1028288770 w 73"/>
                <a:gd name="T89" fmla="*/ 1741932000 h 145"/>
                <a:gd name="T90" fmla="*/ 1013804490 w 73"/>
                <a:gd name="T91" fmla="*/ 1495158300 h 145"/>
                <a:gd name="T92" fmla="*/ 941390699 w 73"/>
                <a:gd name="T93" fmla="*/ 1379029500 h 145"/>
                <a:gd name="T94" fmla="*/ 941390699 w 73"/>
                <a:gd name="T95" fmla="*/ 1248384600 h 145"/>
                <a:gd name="T96" fmla="*/ 883457383 w 73"/>
                <a:gd name="T97" fmla="*/ 1074191400 h 145"/>
                <a:gd name="T98" fmla="*/ 868976908 w 73"/>
                <a:gd name="T99" fmla="*/ 1016127000 h 145"/>
                <a:gd name="T100" fmla="*/ 811043592 w 73"/>
                <a:gd name="T101" fmla="*/ 1001610900 h 145"/>
                <a:gd name="T102" fmla="*/ 840008347 w 73"/>
                <a:gd name="T103" fmla="*/ 870966000 h 145"/>
                <a:gd name="T104" fmla="*/ 868976908 w 73"/>
                <a:gd name="T105" fmla="*/ 798385500 h 145"/>
                <a:gd name="T106" fmla="*/ 926906418 w 73"/>
                <a:gd name="T107" fmla="*/ 682256700 h 145"/>
                <a:gd name="T108" fmla="*/ 970355454 w 73"/>
                <a:gd name="T109" fmla="*/ 609676200 h 145"/>
                <a:gd name="T110" fmla="*/ 912425943 w 73"/>
                <a:gd name="T111" fmla="*/ 537095700 h 145"/>
                <a:gd name="T112" fmla="*/ 868976908 w 73"/>
                <a:gd name="T113" fmla="*/ 449999100 h 145"/>
                <a:gd name="T114" fmla="*/ 724145520 w 73"/>
                <a:gd name="T115" fmla="*/ 435483000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 h="145">
                  <a:moveTo>
                    <a:pt x="50" y="30"/>
                  </a:moveTo>
                  <a:cubicBezTo>
                    <a:pt x="50" y="30"/>
                    <a:pt x="49" y="27"/>
                    <a:pt x="49" y="27"/>
                  </a:cubicBezTo>
                  <a:cubicBezTo>
                    <a:pt x="50" y="24"/>
                    <a:pt x="50" y="24"/>
                    <a:pt x="50" y="24"/>
                  </a:cubicBezTo>
                  <a:cubicBezTo>
                    <a:pt x="53" y="20"/>
                    <a:pt x="53" y="20"/>
                    <a:pt x="53" y="20"/>
                  </a:cubicBezTo>
                  <a:cubicBezTo>
                    <a:pt x="58" y="20"/>
                    <a:pt x="58" y="20"/>
                    <a:pt x="58" y="20"/>
                  </a:cubicBezTo>
                  <a:cubicBezTo>
                    <a:pt x="62" y="18"/>
                    <a:pt x="62" y="18"/>
                    <a:pt x="62" y="18"/>
                  </a:cubicBezTo>
                  <a:cubicBezTo>
                    <a:pt x="61" y="15"/>
                    <a:pt x="61" y="15"/>
                    <a:pt x="61" y="15"/>
                  </a:cubicBezTo>
                  <a:cubicBezTo>
                    <a:pt x="57" y="15"/>
                    <a:pt x="57" y="15"/>
                    <a:pt x="57" y="15"/>
                  </a:cubicBezTo>
                  <a:cubicBezTo>
                    <a:pt x="54" y="10"/>
                    <a:pt x="54" y="10"/>
                    <a:pt x="54" y="10"/>
                  </a:cubicBezTo>
                  <a:cubicBezTo>
                    <a:pt x="51" y="7"/>
                    <a:pt x="51" y="7"/>
                    <a:pt x="51" y="7"/>
                  </a:cubicBezTo>
                  <a:cubicBezTo>
                    <a:pt x="44" y="8"/>
                    <a:pt x="44" y="8"/>
                    <a:pt x="44" y="8"/>
                  </a:cubicBezTo>
                  <a:cubicBezTo>
                    <a:pt x="39" y="0"/>
                    <a:pt x="39" y="0"/>
                    <a:pt x="39" y="0"/>
                  </a:cubicBezTo>
                  <a:cubicBezTo>
                    <a:pt x="30" y="6"/>
                    <a:pt x="30" y="6"/>
                    <a:pt x="30" y="6"/>
                  </a:cubicBezTo>
                  <a:cubicBezTo>
                    <a:pt x="30" y="10"/>
                    <a:pt x="30" y="10"/>
                    <a:pt x="30" y="10"/>
                  </a:cubicBezTo>
                  <a:cubicBezTo>
                    <a:pt x="8" y="17"/>
                    <a:pt x="8" y="17"/>
                    <a:pt x="8" y="17"/>
                  </a:cubicBezTo>
                  <a:cubicBezTo>
                    <a:pt x="8" y="18"/>
                    <a:pt x="8" y="18"/>
                    <a:pt x="8" y="18"/>
                  </a:cubicBezTo>
                  <a:cubicBezTo>
                    <a:pt x="8" y="24"/>
                    <a:pt x="8" y="24"/>
                    <a:pt x="8" y="24"/>
                  </a:cubicBezTo>
                  <a:cubicBezTo>
                    <a:pt x="6" y="33"/>
                    <a:pt x="6" y="33"/>
                    <a:pt x="6" y="33"/>
                  </a:cubicBezTo>
                  <a:cubicBezTo>
                    <a:pt x="0" y="35"/>
                    <a:pt x="0" y="35"/>
                    <a:pt x="0" y="35"/>
                  </a:cubicBezTo>
                  <a:cubicBezTo>
                    <a:pt x="6" y="52"/>
                    <a:pt x="6" y="52"/>
                    <a:pt x="6" y="52"/>
                  </a:cubicBezTo>
                  <a:cubicBezTo>
                    <a:pt x="6" y="52"/>
                    <a:pt x="2" y="59"/>
                    <a:pt x="2" y="59"/>
                  </a:cubicBezTo>
                  <a:cubicBezTo>
                    <a:pt x="2" y="60"/>
                    <a:pt x="3" y="65"/>
                    <a:pt x="4" y="65"/>
                  </a:cubicBezTo>
                  <a:cubicBezTo>
                    <a:pt x="4" y="66"/>
                    <a:pt x="8" y="66"/>
                    <a:pt x="8" y="66"/>
                  </a:cubicBezTo>
                  <a:cubicBezTo>
                    <a:pt x="8" y="66"/>
                    <a:pt x="10" y="70"/>
                    <a:pt x="10" y="70"/>
                  </a:cubicBezTo>
                  <a:cubicBezTo>
                    <a:pt x="10" y="70"/>
                    <a:pt x="22" y="70"/>
                    <a:pt x="22" y="70"/>
                  </a:cubicBezTo>
                  <a:cubicBezTo>
                    <a:pt x="26" y="82"/>
                    <a:pt x="26" y="82"/>
                    <a:pt x="26" y="82"/>
                  </a:cubicBezTo>
                  <a:cubicBezTo>
                    <a:pt x="26" y="82"/>
                    <a:pt x="26" y="89"/>
                    <a:pt x="26" y="89"/>
                  </a:cubicBezTo>
                  <a:cubicBezTo>
                    <a:pt x="26" y="90"/>
                    <a:pt x="28" y="97"/>
                    <a:pt x="28" y="97"/>
                  </a:cubicBezTo>
                  <a:cubicBezTo>
                    <a:pt x="35" y="97"/>
                    <a:pt x="35" y="97"/>
                    <a:pt x="35" y="97"/>
                  </a:cubicBezTo>
                  <a:cubicBezTo>
                    <a:pt x="35" y="97"/>
                    <a:pt x="37" y="103"/>
                    <a:pt x="37" y="104"/>
                  </a:cubicBezTo>
                  <a:cubicBezTo>
                    <a:pt x="38" y="104"/>
                    <a:pt x="42" y="102"/>
                    <a:pt x="42" y="102"/>
                  </a:cubicBezTo>
                  <a:cubicBezTo>
                    <a:pt x="47" y="113"/>
                    <a:pt x="47" y="113"/>
                    <a:pt x="47" y="113"/>
                  </a:cubicBezTo>
                  <a:cubicBezTo>
                    <a:pt x="45" y="117"/>
                    <a:pt x="45" y="117"/>
                    <a:pt x="45" y="117"/>
                  </a:cubicBezTo>
                  <a:cubicBezTo>
                    <a:pt x="50" y="130"/>
                    <a:pt x="50" y="130"/>
                    <a:pt x="50" y="130"/>
                  </a:cubicBezTo>
                  <a:cubicBezTo>
                    <a:pt x="48" y="142"/>
                    <a:pt x="48" y="142"/>
                    <a:pt x="48" y="142"/>
                  </a:cubicBezTo>
                  <a:cubicBezTo>
                    <a:pt x="50" y="145"/>
                    <a:pt x="50" y="145"/>
                    <a:pt x="50" y="145"/>
                  </a:cubicBezTo>
                  <a:cubicBezTo>
                    <a:pt x="50" y="145"/>
                    <a:pt x="55" y="139"/>
                    <a:pt x="55" y="139"/>
                  </a:cubicBezTo>
                  <a:cubicBezTo>
                    <a:pt x="55" y="133"/>
                    <a:pt x="55" y="133"/>
                    <a:pt x="55" y="133"/>
                  </a:cubicBezTo>
                  <a:cubicBezTo>
                    <a:pt x="58" y="132"/>
                    <a:pt x="58" y="132"/>
                    <a:pt x="58" y="132"/>
                  </a:cubicBezTo>
                  <a:cubicBezTo>
                    <a:pt x="65" y="126"/>
                    <a:pt x="65" y="126"/>
                    <a:pt x="65" y="126"/>
                  </a:cubicBezTo>
                  <a:cubicBezTo>
                    <a:pt x="62" y="124"/>
                    <a:pt x="62" y="124"/>
                    <a:pt x="62" y="124"/>
                  </a:cubicBezTo>
                  <a:cubicBezTo>
                    <a:pt x="67" y="122"/>
                    <a:pt x="67" y="122"/>
                    <a:pt x="67" y="122"/>
                  </a:cubicBezTo>
                  <a:cubicBezTo>
                    <a:pt x="72" y="129"/>
                    <a:pt x="72" y="129"/>
                    <a:pt x="72" y="129"/>
                  </a:cubicBezTo>
                  <a:cubicBezTo>
                    <a:pt x="73" y="125"/>
                    <a:pt x="73" y="125"/>
                    <a:pt x="73" y="125"/>
                  </a:cubicBezTo>
                  <a:cubicBezTo>
                    <a:pt x="71" y="120"/>
                    <a:pt x="71" y="120"/>
                    <a:pt x="71" y="120"/>
                  </a:cubicBezTo>
                  <a:cubicBezTo>
                    <a:pt x="70" y="103"/>
                    <a:pt x="70" y="103"/>
                    <a:pt x="70" y="103"/>
                  </a:cubicBezTo>
                  <a:cubicBezTo>
                    <a:pt x="65" y="95"/>
                    <a:pt x="65" y="95"/>
                    <a:pt x="65" y="95"/>
                  </a:cubicBezTo>
                  <a:cubicBezTo>
                    <a:pt x="65" y="86"/>
                    <a:pt x="65" y="86"/>
                    <a:pt x="65" y="86"/>
                  </a:cubicBezTo>
                  <a:cubicBezTo>
                    <a:pt x="61" y="74"/>
                    <a:pt x="61" y="74"/>
                    <a:pt x="61" y="74"/>
                  </a:cubicBezTo>
                  <a:cubicBezTo>
                    <a:pt x="60" y="70"/>
                    <a:pt x="60" y="70"/>
                    <a:pt x="60" y="70"/>
                  </a:cubicBezTo>
                  <a:cubicBezTo>
                    <a:pt x="56" y="69"/>
                    <a:pt x="56" y="69"/>
                    <a:pt x="56" y="69"/>
                  </a:cubicBezTo>
                  <a:cubicBezTo>
                    <a:pt x="58" y="60"/>
                    <a:pt x="58" y="60"/>
                    <a:pt x="58" y="60"/>
                  </a:cubicBezTo>
                  <a:cubicBezTo>
                    <a:pt x="60" y="55"/>
                    <a:pt x="60" y="55"/>
                    <a:pt x="60" y="55"/>
                  </a:cubicBezTo>
                  <a:cubicBezTo>
                    <a:pt x="64" y="47"/>
                    <a:pt x="64" y="47"/>
                    <a:pt x="64" y="47"/>
                  </a:cubicBezTo>
                  <a:cubicBezTo>
                    <a:pt x="67" y="42"/>
                    <a:pt x="67" y="42"/>
                    <a:pt x="67" y="42"/>
                  </a:cubicBezTo>
                  <a:cubicBezTo>
                    <a:pt x="63" y="37"/>
                    <a:pt x="63" y="37"/>
                    <a:pt x="63" y="37"/>
                  </a:cubicBezTo>
                  <a:cubicBezTo>
                    <a:pt x="60" y="31"/>
                    <a:pt x="60" y="31"/>
                    <a:pt x="60" y="31"/>
                  </a:cubicBezTo>
                  <a:cubicBezTo>
                    <a:pt x="60" y="31"/>
                    <a:pt x="51" y="30"/>
                    <a:pt x="50" y="30"/>
                  </a:cubicBezTo>
                  <a:close/>
                </a:path>
              </a:pathLst>
            </a:custGeom>
            <a:solidFill>
              <a:srgbClr val="CB2DA2"/>
            </a:solidFill>
            <a:ln w="7938" cap="flat">
              <a:solidFill>
                <a:schemeClr val="accent5"/>
              </a:solidFill>
              <a:prstDash val="solid"/>
              <a:miter lim="800000"/>
              <a:headEnd/>
              <a:tailEnd/>
            </a:ln>
          </p:spPr>
          <p:txBody>
            <a:bodyPr/>
            <a:lstStyle/>
            <a:p>
              <a:endParaRPr lang="ru-RU">
                <a:solidFill>
                  <a:schemeClr val="accent5">
                    <a:lumMod val="20000"/>
                    <a:lumOff val="80000"/>
                  </a:schemeClr>
                </a:solidFill>
              </a:endParaRPr>
            </a:p>
          </p:txBody>
        </p:sp>
        <p:sp>
          <p:nvSpPr>
            <p:cNvPr id="45" name="Freeform 36">
              <a:extLst>
                <a:ext uri="{FF2B5EF4-FFF2-40B4-BE49-F238E27FC236}">
                  <a16:creationId xmlns:a16="http://schemas.microsoft.com/office/drawing/2014/main" id="{411D58E1-CF03-9B95-90B8-9AE4E36E253E}"/>
                </a:ext>
              </a:extLst>
            </p:cNvPr>
            <p:cNvSpPr>
              <a:spLocks/>
            </p:cNvSpPr>
            <p:nvPr/>
          </p:nvSpPr>
          <p:spPr bwMode="auto">
            <a:xfrm>
              <a:off x="3103563" y="3443288"/>
              <a:ext cx="631825" cy="620713"/>
            </a:xfrm>
            <a:custGeom>
              <a:avLst/>
              <a:gdLst>
                <a:gd name="T0" fmla="*/ 2147483646 w 166"/>
                <a:gd name="T1" fmla="*/ 797570508 h 163"/>
                <a:gd name="T2" fmla="*/ 1347286883 w 166"/>
                <a:gd name="T3" fmla="*/ 609052735 h 163"/>
                <a:gd name="T4" fmla="*/ 1448694795 w 166"/>
                <a:gd name="T5" fmla="*/ 420538770 h 163"/>
                <a:gd name="T6" fmla="*/ 1347286883 w 166"/>
                <a:gd name="T7" fmla="*/ 275524219 h 163"/>
                <a:gd name="T8" fmla="*/ 1028573038 w 166"/>
                <a:gd name="T9" fmla="*/ 130509668 h 163"/>
                <a:gd name="T10" fmla="*/ 564992378 w 166"/>
                <a:gd name="T11" fmla="*/ 29002149 h 163"/>
                <a:gd name="T12" fmla="*/ 275251136 w 166"/>
                <a:gd name="T13" fmla="*/ 449540918 h 163"/>
                <a:gd name="T14" fmla="*/ 173843223 w 166"/>
                <a:gd name="T15" fmla="*/ 652555958 h 163"/>
                <a:gd name="T16" fmla="*/ 115894213 w 166"/>
                <a:gd name="T17" fmla="*/ 986088282 h 163"/>
                <a:gd name="T18" fmla="*/ 86921612 w 166"/>
                <a:gd name="T19" fmla="*/ 1174602247 h 163"/>
                <a:gd name="T20" fmla="*/ 43462709 w 166"/>
                <a:gd name="T21" fmla="*/ 1247111426 h 163"/>
                <a:gd name="T22" fmla="*/ 57949010 w 166"/>
                <a:gd name="T23" fmla="*/ 1406623243 h 163"/>
                <a:gd name="T24" fmla="*/ 101407913 w 166"/>
                <a:gd name="T25" fmla="*/ 1653145314 h 163"/>
                <a:gd name="T26" fmla="*/ 434608058 w 166"/>
                <a:gd name="T27" fmla="*/ 1682147462 h 163"/>
                <a:gd name="T28" fmla="*/ 564992378 w 166"/>
                <a:gd name="T29" fmla="*/ 1537136720 h 163"/>
                <a:gd name="T30" fmla="*/ 738835602 w 166"/>
                <a:gd name="T31" fmla="*/ 1638644239 h 163"/>
                <a:gd name="T32" fmla="*/ 825757213 w 166"/>
                <a:gd name="T33" fmla="*/ 1754656642 h 163"/>
                <a:gd name="T34" fmla="*/ 898192524 w 166"/>
                <a:gd name="T35" fmla="*/ 1798159864 h 163"/>
                <a:gd name="T36" fmla="*/ 767808203 w 166"/>
                <a:gd name="T37" fmla="*/ 1827162013 h 163"/>
                <a:gd name="T38" fmla="*/ 709863000 w 166"/>
                <a:gd name="T39" fmla="*/ 1928669533 h 163"/>
                <a:gd name="T40" fmla="*/ 869216116 w 166"/>
                <a:gd name="T41" fmla="*/ 1986677638 h 163"/>
                <a:gd name="T42" fmla="*/ 1101008349 w 166"/>
                <a:gd name="T43" fmla="*/ 2001178712 h 163"/>
                <a:gd name="T44" fmla="*/ 1347286883 w 166"/>
                <a:gd name="T45" fmla="*/ 2102686232 h 163"/>
                <a:gd name="T46" fmla="*/ 1332800582 w 166"/>
                <a:gd name="T47" fmla="*/ 2147483646 h 163"/>
                <a:gd name="T48" fmla="*/ 1477671203 w 166"/>
                <a:gd name="T49" fmla="*/ 2147483646 h 163"/>
                <a:gd name="T50" fmla="*/ 1622541825 w 166"/>
                <a:gd name="T51" fmla="*/ 2147483646 h 163"/>
                <a:gd name="T52" fmla="*/ 1579079116 w 166"/>
                <a:gd name="T53" fmla="*/ 2044681935 h 163"/>
                <a:gd name="T54" fmla="*/ 1651514427 w 166"/>
                <a:gd name="T55" fmla="*/ 1885166310 h 163"/>
                <a:gd name="T56" fmla="*/ 1781894941 w 166"/>
                <a:gd name="T57" fmla="*/ 1754656642 h 163"/>
                <a:gd name="T58" fmla="*/ 1868820359 w 166"/>
                <a:gd name="T59" fmla="*/ 1827162013 h 163"/>
                <a:gd name="T60" fmla="*/ 2042663582 w 166"/>
                <a:gd name="T61" fmla="*/ 1624143165 h 163"/>
                <a:gd name="T62" fmla="*/ 2147483646 w 166"/>
                <a:gd name="T63" fmla="*/ 1537136720 h 163"/>
                <a:gd name="T64" fmla="*/ 2147483646 w 166"/>
                <a:gd name="T65" fmla="*/ 1406623243 h 163"/>
                <a:gd name="T66" fmla="*/ 2147483646 w 166"/>
                <a:gd name="T67" fmla="*/ 1189107129 h 163"/>
                <a:gd name="T68" fmla="*/ 2147483646 w 166"/>
                <a:gd name="T69" fmla="*/ 913579102 h 16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6" h="163">
                  <a:moveTo>
                    <a:pt x="160" y="63"/>
                  </a:moveTo>
                  <a:cubicBezTo>
                    <a:pt x="162" y="55"/>
                    <a:pt x="162" y="55"/>
                    <a:pt x="162" y="55"/>
                  </a:cubicBezTo>
                  <a:cubicBezTo>
                    <a:pt x="162" y="51"/>
                    <a:pt x="162" y="51"/>
                    <a:pt x="162" y="51"/>
                  </a:cubicBezTo>
                  <a:cubicBezTo>
                    <a:pt x="93" y="42"/>
                    <a:pt x="93" y="42"/>
                    <a:pt x="93" y="42"/>
                  </a:cubicBezTo>
                  <a:cubicBezTo>
                    <a:pt x="91" y="40"/>
                    <a:pt x="91" y="40"/>
                    <a:pt x="91" y="40"/>
                  </a:cubicBezTo>
                  <a:cubicBezTo>
                    <a:pt x="100" y="29"/>
                    <a:pt x="100" y="29"/>
                    <a:pt x="100" y="29"/>
                  </a:cubicBezTo>
                  <a:cubicBezTo>
                    <a:pt x="101" y="19"/>
                    <a:pt x="101" y="19"/>
                    <a:pt x="101" y="19"/>
                  </a:cubicBezTo>
                  <a:cubicBezTo>
                    <a:pt x="93" y="19"/>
                    <a:pt x="93" y="19"/>
                    <a:pt x="93" y="19"/>
                  </a:cubicBezTo>
                  <a:cubicBezTo>
                    <a:pt x="83" y="0"/>
                    <a:pt x="83" y="0"/>
                    <a:pt x="83" y="0"/>
                  </a:cubicBezTo>
                  <a:cubicBezTo>
                    <a:pt x="71" y="9"/>
                    <a:pt x="71" y="9"/>
                    <a:pt x="71" y="9"/>
                  </a:cubicBezTo>
                  <a:cubicBezTo>
                    <a:pt x="40" y="8"/>
                    <a:pt x="40" y="8"/>
                    <a:pt x="40" y="8"/>
                  </a:cubicBezTo>
                  <a:cubicBezTo>
                    <a:pt x="39" y="2"/>
                    <a:pt x="39" y="2"/>
                    <a:pt x="39" y="2"/>
                  </a:cubicBezTo>
                  <a:cubicBezTo>
                    <a:pt x="29" y="18"/>
                    <a:pt x="29" y="18"/>
                    <a:pt x="29" y="18"/>
                  </a:cubicBezTo>
                  <a:cubicBezTo>
                    <a:pt x="19" y="31"/>
                    <a:pt x="19" y="31"/>
                    <a:pt x="19" y="31"/>
                  </a:cubicBezTo>
                  <a:cubicBezTo>
                    <a:pt x="10" y="33"/>
                    <a:pt x="10" y="33"/>
                    <a:pt x="10" y="33"/>
                  </a:cubicBezTo>
                  <a:cubicBezTo>
                    <a:pt x="12" y="45"/>
                    <a:pt x="12" y="45"/>
                    <a:pt x="12" y="45"/>
                  </a:cubicBezTo>
                  <a:cubicBezTo>
                    <a:pt x="4" y="61"/>
                    <a:pt x="4" y="61"/>
                    <a:pt x="4" y="61"/>
                  </a:cubicBezTo>
                  <a:cubicBezTo>
                    <a:pt x="8" y="68"/>
                    <a:pt x="8" y="68"/>
                    <a:pt x="8" y="68"/>
                  </a:cubicBezTo>
                  <a:cubicBezTo>
                    <a:pt x="5" y="78"/>
                    <a:pt x="5" y="78"/>
                    <a:pt x="5" y="78"/>
                  </a:cubicBezTo>
                  <a:cubicBezTo>
                    <a:pt x="6" y="81"/>
                    <a:pt x="6" y="81"/>
                    <a:pt x="6" y="81"/>
                  </a:cubicBezTo>
                  <a:cubicBezTo>
                    <a:pt x="9" y="84"/>
                    <a:pt x="9" y="84"/>
                    <a:pt x="9" y="84"/>
                  </a:cubicBezTo>
                  <a:cubicBezTo>
                    <a:pt x="3" y="86"/>
                    <a:pt x="3" y="86"/>
                    <a:pt x="3" y="86"/>
                  </a:cubicBezTo>
                  <a:cubicBezTo>
                    <a:pt x="0" y="89"/>
                    <a:pt x="0" y="89"/>
                    <a:pt x="0" y="89"/>
                  </a:cubicBezTo>
                  <a:cubicBezTo>
                    <a:pt x="4" y="97"/>
                    <a:pt x="4" y="97"/>
                    <a:pt x="4" y="97"/>
                  </a:cubicBezTo>
                  <a:cubicBezTo>
                    <a:pt x="12" y="108"/>
                    <a:pt x="12" y="108"/>
                    <a:pt x="12" y="108"/>
                  </a:cubicBezTo>
                  <a:cubicBezTo>
                    <a:pt x="7" y="114"/>
                    <a:pt x="7" y="114"/>
                    <a:pt x="7" y="114"/>
                  </a:cubicBezTo>
                  <a:cubicBezTo>
                    <a:pt x="8" y="123"/>
                    <a:pt x="8" y="123"/>
                    <a:pt x="8" y="123"/>
                  </a:cubicBezTo>
                  <a:cubicBezTo>
                    <a:pt x="30" y="116"/>
                    <a:pt x="30" y="116"/>
                    <a:pt x="30" y="116"/>
                  </a:cubicBezTo>
                  <a:cubicBezTo>
                    <a:pt x="30" y="112"/>
                    <a:pt x="30" y="112"/>
                    <a:pt x="30" y="112"/>
                  </a:cubicBezTo>
                  <a:cubicBezTo>
                    <a:pt x="39" y="106"/>
                    <a:pt x="39" y="106"/>
                    <a:pt x="39" y="106"/>
                  </a:cubicBezTo>
                  <a:cubicBezTo>
                    <a:pt x="44" y="114"/>
                    <a:pt x="44" y="114"/>
                    <a:pt x="44" y="114"/>
                  </a:cubicBezTo>
                  <a:cubicBezTo>
                    <a:pt x="51" y="113"/>
                    <a:pt x="51" y="113"/>
                    <a:pt x="51" y="113"/>
                  </a:cubicBezTo>
                  <a:cubicBezTo>
                    <a:pt x="54" y="116"/>
                    <a:pt x="54" y="116"/>
                    <a:pt x="54" y="116"/>
                  </a:cubicBezTo>
                  <a:cubicBezTo>
                    <a:pt x="57" y="121"/>
                    <a:pt x="57" y="121"/>
                    <a:pt x="57" y="121"/>
                  </a:cubicBezTo>
                  <a:cubicBezTo>
                    <a:pt x="61" y="121"/>
                    <a:pt x="61" y="121"/>
                    <a:pt x="61" y="121"/>
                  </a:cubicBezTo>
                  <a:cubicBezTo>
                    <a:pt x="62" y="124"/>
                    <a:pt x="62" y="124"/>
                    <a:pt x="62" y="124"/>
                  </a:cubicBezTo>
                  <a:cubicBezTo>
                    <a:pt x="58" y="126"/>
                    <a:pt x="58" y="126"/>
                    <a:pt x="58" y="126"/>
                  </a:cubicBezTo>
                  <a:cubicBezTo>
                    <a:pt x="53" y="126"/>
                    <a:pt x="53" y="126"/>
                    <a:pt x="53" y="126"/>
                  </a:cubicBezTo>
                  <a:cubicBezTo>
                    <a:pt x="50" y="130"/>
                    <a:pt x="50" y="130"/>
                    <a:pt x="50" y="130"/>
                  </a:cubicBezTo>
                  <a:cubicBezTo>
                    <a:pt x="49" y="133"/>
                    <a:pt x="49" y="133"/>
                    <a:pt x="49" y="133"/>
                  </a:cubicBezTo>
                  <a:cubicBezTo>
                    <a:pt x="49" y="133"/>
                    <a:pt x="50" y="136"/>
                    <a:pt x="50" y="136"/>
                  </a:cubicBezTo>
                  <a:cubicBezTo>
                    <a:pt x="51" y="136"/>
                    <a:pt x="60" y="137"/>
                    <a:pt x="60" y="137"/>
                  </a:cubicBezTo>
                  <a:cubicBezTo>
                    <a:pt x="63" y="143"/>
                    <a:pt x="63" y="143"/>
                    <a:pt x="63" y="143"/>
                  </a:cubicBezTo>
                  <a:cubicBezTo>
                    <a:pt x="76" y="138"/>
                    <a:pt x="76" y="138"/>
                    <a:pt x="76" y="138"/>
                  </a:cubicBezTo>
                  <a:cubicBezTo>
                    <a:pt x="86" y="136"/>
                    <a:pt x="86" y="136"/>
                    <a:pt x="86" y="136"/>
                  </a:cubicBezTo>
                  <a:cubicBezTo>
                    <a:pt x="93" y="145"/>
                    <a:pt x="93" y="145"/>
                    <a:pt x="93" y="145"/>
                  </a:cubicBezTo>
                  <a:cubicBezTo>
                    <a:pt x="89" y="149"/>
                    <a:pt x="89" y="149"/>
                    <a:pt x="89" y="149"/>
                  </a:cubicBezTo>
                  <a:cubicBezTo>
                    <a:pt x="92" y="157"/>
                    <a:pt x="92" y="157"/>
                    <a:pt x="92" y="157"/>
                  </a:cubicBezTo>
                  <a:cubicBezTo>
                    <a:pt x="99" y="159"/>
                    <a:pt x="99" y="159"/>
                    <a:pt x="99" y="159"/>
                  </a:cubicBezTo>
                  <a:cubicBezTo>
                    <a:pt x="99" y="159"/>
                    <a:pt x="102" y="161"/>
                    <a:pt x="102" y="161"/>
                  </a:cubicBezTo>
                  <a:cubicBezTo>
                    <a:pt x="102" y="161"/>
                    <a:pt x="108" y="163"/>
                    <a:pt x="108" y="163"/>
                  </a:cubicBezTo>
                  <a:cubicBezTo>
                    <a:pt x="108" y="163"/>
                    <a:pt x="112" y="152"/>
                    <a:pt x="112" y="152"/>
                  </a:cubicBezTo>
                  <a:cubicBezTo>
                    <a:pt x="112" y="151"/>
                    <a:pt x="114" y="145"/>
                    <a:pt x="114" y="145"/>
                  </a:cubicBezTo>
                  <a:cubicBezTo>
                    <a:pt x="109" y="141"/>
                    <a:pt x="109" y="141"/>
                    <a:pt x="109" y="141"/>
                  </a:cubicBezTo>
                  <a:cubicBezTo>
                    <a:pt x="109" y="132"/>
                    <a:pt x="109" y="132"/>
                    <a:pt x="109" y="132"/>
                  </a:cubicBezTo>
                  <a:cubicBezTo>
                    <a:pt x="114" y="130"/>
                    <a:pt x="114" y="130"/>
                    <a:pt x="114" y="130"/>
                  </a:cubicBezTo>
                  <a:cubicBezTo>
                    <a:pt x="117" y="124"/>
                    <a:pt x="117" y="124"/>
                    <a:pt x="117" y="124"/>
                  </a:cubicBezTo>
                  <a:cubicBezTo>
                    <a:pt x="123" y="121"/>
                    <a:pt x="123" y="121"/>
                    <a:pt x="123" y="121"/>
                  </a:cubicBezTo>
                  <a:cubicBezTo>
                    <a:pt x="126" y="124"/>
                    <a:pt x="126" y="124"/>
                    <a:pt x="126" y="124"/>
                  </a:cubicBezTo>
                  <a:cubicBezTo>
                    <a:pt x="129" y="126"/>
                    <a:pt x="129" y="126"/>
                    <a:pt x="129" y="126"/>
                  </a:cubicBezTo>
                  <a:cubicBezTo>
                    <a:pt x="128" y="123"/>
                    <a:pt x="127" y="117"/>
                    <a:pt x="127" y="117"/>
                  </a:cubicBezTo>
                  <a:cubicBezTo>
                    <a:pt x="141" y="112"/>
                    <a:pt x="141" y="112"/>
                    <a:pt x="141" y="112"/>
                  </a:cubicBezTo>
                  <a:cubicBezTo>
                    <a:pt x="145" y="106"/>
                    <a:pt x="145" y="106"/>
                    <a:pt x="145" y="106"/>
                  </a:cubicBezTo>
                  <a:cubicBezTo>
                    <a:pt x="149" y="106"/>
                    <a:pt x="149" y="106"/>
                    <a:pt x="149" y="106"/>
                  </a:cubicBezTo>
                  <a:cubicBezTo>
                    <a:pt x="154" y="99"/>
                    <a:pt x="154" y="99"/>
                    <a:pt x="154" y="99"/>
                  </a:cubicBezTo>
                  <a:cubicBezTo>
                    <a:pt x="158" y="97"/>
                    <a:pt x="158" y="97"/>
                    <a:pt x="158" y="97"/>
                  </a:cubicBezTo>
                  <a:cubicBezTo>
                    <a:pt x="163" y="85"/>
                    <a:pt x="163" y="85"/>
                    <a:pt x="163" y="85"/>
                  </a:cubicBezTo>
                  <a:cubicBezTo>
                    <a:pt x="165" y="82"/>
                    <a:pt x="165" y="82"/>
                    <a:pt x="165" y="82"/>
                  </a:cubicBezTo>
                  <a:cubicBezTo>
                    <a:pt x="166" y="71"/>
                    <a:pt x="166" y="71"/>
                    <a:pt x="166" y="71"/>
                  </a:cubicBezTo>
                  <a:lnTo>
                    <a:pt x="160" y="63"/>
                  </a:lnTo>
                  <a:close/>
                </a:path>
              </a:pathLst>
            </a:custGeom>
            <a:solidFill>
              <a:srgbClr val="FE6A7D"/>
            </a:solidFill>
            <a:ln w="7938" cap="flat">
              <a:solidFill>
                <a:schemeClr val="accent5"/>
              </a:solidFill>
              <a:prstDash val="solid"/>
              <a:miter lim="800000"/>
              <a:headEnd/>
              <a:tailEnd/>
            </a:ln>
          </p:spPr>
          <p:txBody>
            <a:bodyPr/>
            <a:lstStyle/>
            <a:p>
              <a:endParaRPr lang="ru-RU">
                <a:solidFill>
                  <a:schemeClr val="accent5">
                    <a:lumMod val="75000"/>
                  </a:schemeClr>
                </a:solidFill>
              </a:endParaRPr>
            </a:p>
          </p:txBody>
        </p:sp>
        <p:sp>
          <p:nvSpPr>
            <p:cNvPr id="46" name="Freeform 42">
              <a:extLst>
                <a:ext uri="{FF2B5EF4-FFF2-40B4-BE49-F238E27FC236}">
                  <a16:creationId xmlns:a16="http://schemas.microsoft.com/office/drawing/2014/main" id="{F1CE8983-C72D-C5CA-DE84-5CF14F726E24}"/>
                </a:ext>
              </a:extLst>
            </p:cNvPr>
            <p:cNvSpPr>
              <a:spLocks/>
            </p:cNvSpPr>
            <p:nvPr/>
          </p:nvSpPr>
          <p:spPr bwMode="auto">
            <a:xfrm>
              <a:off x="3149600" y="2574925"/>
              <a:ext cx="947737" cy="1028700"/>
            </a:xfrm>
            <a:custGeom>
              <a:avLst/>
              <a:gdLst>
                <a:gd name="T0" fmla="*/ 2147483646 w 249"/>
                <a:gd name="T1" fmla="*/ 2147483646 h 270"/>
                <a:gd name="T2" fmla="*/ 2147483646 w 249"/>
                <a:gd name="T3" fmla="*/ 2147483646 h 270"/>
                <a:gd name="T4" fmla="*/ 2147483646 w 249"/>
                <a:gd name="T5" fmla="*/ 1654835400 h 270"/>
                <a:gd name="T6" fmla="*/ 2028172405 w 249"/>
                <a:gd name="T7" fmla="*/ 1379029500 h 270"/>
                <a:gd name="T8" fmla="*/ 1883301860 w 249"/>
                <a:gd name="T9" fmla="*/ 1233868500 h 270"/>
                <a:gd name="T10" fmla="*/ 1738435121 w 249"/>
                <a:gd name="T11" fmla="*/ 1074191400 h 270"/>
                <a:gd name="T12" fmla="*/ 1332799879 w 249"/>
                <a:gd name="T13" fmla="*/ 929030400 h 270"/>
                <a:gd name="T14" fmla="*/ 1187929334 w 249"/>
                <a:gd name="T15" fmla="*/ 522579600 h 270"/>
                <a:gd name="T16" fmla="*/ 985113616 w 249"/>
                <a:gd name="T17" fmla="*/ 0 h 270"/>
                <a:gd name="T18" fmla="*/ 883705757 w 249"/>
                <a:gd name="T19" fmla="*/ 130644900 h 270"/>
                <a:gd name="T20" fmla="*/ 724348919 w 249"/>
                <a:gd name="T21" fmla="*/ 203225400 h 270"/>
                <a:gd name="T22" fmla="*/ 637427353 w 249"/>
                <a:gd name="T23" fmla="*/ 203225400 h 270"/>
                <a:gd name="T24" fmla="*/ 883705757 w 249"/>
                <a:gd name="T25" fmla="*/ 406450800 h 270"/>
                <a:gd name="T26" fmla="*/ 854729364 w 249"/>
                <a:gd name="T27" fmla="*/ 609676200 h 270"/>
                <a:gd name="T28" fmla="*/ 564992080 w 249"/>
                <a:gd name="T29" fmla="*/ 812901600 h 270"/>
                <a:gd name="T30" fmla="*/ 507043101 w 249"/>
                <a:gd name="T31" fmla="*/ 1030643100 h 270"/>
                <a:gd name="T32" fmla="*/ 463584221 w 249"/>
                <a:gd name="T33" fmla="*/ 1277416800 h 270"/>
                <a:gd name="T34" fmla="*/ 391148949 w 249"/>
                <a:gd name="T35" fmla="*/ 1698383700 h 270"/>
                <a:gd name="T36" fmla="*/ 333199970 w 249"/>
                <a:gd name="T37" fmla="*/ 1799996400 h 270"/>
                <a:gd name="T38" fmla="*/ 173843131 w 249"/>
                <a:gd name="T39" fmla="*/ 1930641300 h 270"/>
                <a:gd name="T40" fmla="*/ 115894152 w 249"/>
                <a:gd name="T41" fmla="*/ 1916125200 h 270"/>
                <a:gd name="T42" fmla="*/ 28972587 w 249"/>
                <a:gd name="T43" fmla="*/ 2017737900 h 270"/>
                <a:gd name="T44" fmla="*/ 217305817 w 249"/>
                <a:gd name="T45" fmla="*/ 2147483646 h 270"/>
                <a:gd name="T46" fmla="*/ 246278404 w 249"/>
                <a:gd name="T47" fmla="*/ 2147483646 h 270"/>
                <a:gd name="T48" fmla="*/ 347686263 w 249"/>
                <a:gd name="T49" fmla="*/ 2147483646 h 270"/>
                <a:gd name="T50" fmla="*/ 202815718 w 249"/>
                <a:gd name="T51" fmla="*/ 2147483646 h 270"/>
                <a:gd name="T52" fmla="*/ 217305817 w 249"/>
                <a:gd name="T53" fmla="*/ 2147483646 h 270"/>
                <a:gd name="T54" fmla="*/ 318713676 w 249"/>
                <a:gd name="T55" fmla="*/ 2147483646 h 270"/>
                <a:gd name="T56" fmla="*/ 289737284 w 249"/>
                <a:gd name="T57" fmla="*/ 2147483646 h 270"/>
                <a:gd name="T58" fmla="*/ 202815718 w 249"/>
                <a:gd name="T59" fmla="*/ 2147483646 h 270"/>
                <a:gd name="T60" fmla="*/ 405635242 w 249"/>
                <a:gd name="T61" fmla="*/ 2147483646 h 270"/>
                <a:gd name="T62" fmla="*/ 1028572496 w 249"/>
                <a:gd name="T63" fmla="*/ 2147483646 h 270"/>
                <a:gd name="T64" fmla="*/ 1289337193 w 249"/>
                <a:gd name="T65" fmla="*/ 2147483646 h 270"/>
                <a:gd name="T66" fmla="*/ 1477670424 w 249"/>
                <a:gd name="T67" fmla="*/ 2147483646 h 270"/>
                <a:gd name="T68" fmla="*/ 1825356687 w 249"/>
                <a:gd name="T69" fmla="*/ 2147483646 h 270"/>
                <a:gd name="T70" fmla="*/ 1955737132 w 249"/>
                <a:gd name="T71" fmla="*/ 2147483646 h 270"/>
                <a:gd name="T72" fmla="*/ 2147483646 w 249"/>
                <a:gd name="T73" fmla="*/ 2147483646 h 270"/>
                <a:gd name="T74" fmla="*/ 2147483646 w 249"/>
                <a:gd name="T75" fmla="*/ 2147483646 h 270"/>
                <a:gd name="T76" fmla="*/ 2147483646 w 249"/>
                <a:gd name="T77" fmla="*/ 2147483646 h 270"/>
                <a:gd name="T78" fmla="*/ 2147483646 w 249"/>
                <a:gd name="T79" fmla="*/ 2147483646 h 270"/>
                <a:gd name="T80" fmla="*/ 2147483646 w 249"/>
                <a:gd name="T81" fmla="*/ 2147483646 h 270"/>
                <a:gd name="T82" fmla="*/ 2147483646 w 249"/>
                <a:gd name="T83" fmla="*/ 2147483646 h 270"/>
                <a:gd name="T84" fmla="*/ 2147483646 w 249"/>
                <a:gd name="T85" fmla="*/ 2147483646 h 270"/>
                <a:gd name="T86" fmla="*/ 2147483646 w 249"/>
                <a:gd name="T87" fmla="*/ 2147483646 h 270"/>
                <a:gd name="T88" fmla="*/ 2147483646 w 249"/>
                <a:gd name="T89" fmla="*/ 2147483646 h 270"/>
                <a:gd name="T90" fmla="*/ 2147483646 w 249"/>
                <a:gd name="T91" fmla="*/ 2147483646 h 270"/>
                <a:gd name="T92" fmla="*/ 2147483646 w 249"/>
                <a:gd name="T93" fmla="*/ 2147483646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 h="270">
                  <a:moveTo>
                    <a:pt x="225" y="149"/>
                  </a:moveTo>
                  <a:cubicBezTo>
                    <a:pt x="220" y="153"/>
                    <a:pt x="220" y="153"/>
                    <a:pt x="220" y="153"/>
                  </a:cubicBezTo>
                  <a:cubicBezTo>
                    <a:pt x="199" y="159"/>
                    <a:pt x="199" y="159"/>
                    <a:pt x="199" y="159"/>
                  </a:cubicBezTo>
                  <a:cubicBezTo>
                    <a:pt x="183" y="163"/>
                    <a:pt x="183" y="163"/>
                    <a:pt x="183" y="163"/>
                  </a:cubicBezTo>
                  <a:cubicBezTo>
                    <a:pt x="169" y="137"/>
                    <a:pt x="169" y="137"/>
                    <a:pt x="169" y="137"/>
                  </a:cubicBezTo>
                  <a:cubicBezTo>
                    <a:pt x="157" y="114"/>
                    <a:pt x="157" y="114"/>
                    <a:pt x="157" y="114"/>
                  </a:cubicBezTo>
                  <a:cubicBezTo>
                    <a:pt x="142" y="102"/>
                    <a:pt x="142" y="102"/>
                    <a:pt x="142" y="102"/>
                  </a:cubicBezTo>
                  <a:cubicBezTo>
                    <a:pt x="140" y="95"/>
                    <a:pt x="140" y="95"/>
                    <a:pt x="140" y="95"/>
                  </a:cubicBezTo>
                  <a:cubicBezTo>
                    <a:pt x="132" y="90"/>
                    <a:pt x="132" y="90"/>
                    <a:pt x="132" y="90"/>
                  </a:cubicBezTo>
                  <a:cubicBezTo>
                    <a:pt x="132" y="90"/>
                    <a:pt x="130" y="85"/>
                    <a:pt x="130" y="85"/>
                  </a:cubicBezTo>
                  <a:cubicBezTo>
                    <a:pt x="130" y="85"/>
                    <a:pt x="122" y="81"/>
                    <a:pt x="122" y="81"/>
                  </a:cubicBezTo>
                  <a:cubicBezTo>
                    <a:pt x="120" y="74"/>
                    <a:pt x="120" y="74"/>
                    <a:pt x="120" y="74"/>
                  </a:cubicBezTo>
                  <a:cubicBezTo>
                    <a:pt x="102" y="71"/>
                    <a:pt x="102" y="71"/>
                    <a:pt x="102" y="71"/>
                  </a:cubicBezTo>
                  <a:cubicBezTo>
                    <a:pt x="92" y="64"/>
                    <a:pt x="92" y="64"/>
                    <a:pt x="92" y="64"/>
                  </a:cubicBezTo>
                  <a:cubicBezTo>
                    <a:pt x="89" y="47"/>
                    <a:pt x="89" y="47"/>
                    <a:pt x="89" y="47"/>
                  </a:cubicBezTo>
                  <a:cubicBezTo>
                    <a:pt x="82" y="36"/>
                    <a:pt x="82" y="36"/>
                    <a:pt x="82" y="36"/>
                  </a:cubicBezTo>
                  <a:cubicBezTo>
                    <a:pt x="71" y="7"/>
                    <a:pt x="71" y="7"/>
                    <a:pt x="71" y="7"/>
                  </a:cubicBezTo>
                  <a:cubicBezTo>
                    <a:pt x="68" y="0"/>
                    <a:pt x="68" y="0"/>
                    <a:pt x="68" y="0"/>
                  </a:cubicBezTo>
                  <a:cubicBezTo>
                    <a:pt x="63" y="4"/>
                    <a:pt x="63" y="4"/>
                    <a:pt x="63" y="4"/>
                  </a:cubicBezTo>
                  <a:cubicBezTo>
                    <a:pt x="61" y="9"/>
                    <a:pt x="61" y="9"/>
                    <a:pt x="61" y="9"/>
                  </a:cubicBezTo>
                  <a:cubicBezTo>
                    <a:pt x="55" y="7"/>
                    <a:pt x="55" y="7"/>
                    <a:pt x="55" y="7"/>
                  </a:cubicBezTo>
                  <a:cubicBezTo>
                    <a:pt x="55" y="7"/>
                    <a:pt x="50" y="14"/>
                    <a:pt x="50" y="14"/>
                  </a:cubicBezTo>
                  <a:cubicBezTo>
                    <a:pt x="50" y="14"/>
                    <a:pt x="48" y="12"/>
                    <a:pt x="48" y="12"/>
                  </a:cubicBezTo>
                  <a:cubicBezTo>
                    <a:pt x="44" y="14"/>
                    <a:pt x="44" y="14"/>
                    <a:pt x="44" y="14"/>
                  </a:cubicBezTo>
                  <a:cubicBezTo>
                    <a:pt x="44" y="19"/>
                    <a:pt x="44" y="19"/>
                    <a:pt x="44" y="19"/>
                  </a:cubicBezTo>
                  <a:cubicBezTo>
                    <a:pt x="61" y="28"/>
                    <a:pt x="61" y="28"/>
                    <a:pt x="61" y="28"/>
                  </a:cubicBezTo>
                  <a:cubicBezTo>
                    <a:pt x="60" y="34"/>
                    <a:pt x="60" y="34"/>
                    <a:pt x="60" y="34"/>
                  </a:cubicBezTo>
                  <a:cubicBezTo>
                    <a:pt x="59" y="42"/>
                    <a:pt x="59" y="42"/>
                    <a:pt x="59" y="42"/>
                  </a:cubicBezTo>
                  <a:cubicBezTo>
                    <a:pt x="43" y="50"/>
                    <a:pt x="43" y="50"/>
                    <a:pt x="43" y="50"/>
                  </a:cubicBezTo>
                  <a:cubicBezTo>
                    <a:pt x="39" y="56"/>
                    <a:pt x="39" y="56"/>
                    <a:pt x="39" y="56"/>
                  </a:cubicBezTo>
                  <a:cubicBezTo>
                    <a:pt x="39" y="56"/>
                    <a:pt x="38" y="64"/>
                    <a:pt x="38" y="64"/>
                  </a:cubicBezTo>
                  <a:cubicBezTo>
                    <a:pt x="38" y="64"/>
                    <a:pt x="35" y="71"/>
                    <a:pt x="35" y="71"/>
                  </a:cubicBezTo>
                  <a:cubicBezTo>
                    <a:pt x="36" y="84"/>
                    <a:pt x="36" y="84"/>
                    <a:pt x="36" y="84"/>
                  </a:cubicBezTo>
                  <a:cubicBezTo>
                    <a:pt x="32" y="88"/>
                    <a:pt x="32" y="88"/>
                    <a:pt x="32" y="88"/>
                  </a:cubicBezTo>
                  <a:cubicBezTo>
                    <a:pt x="34" y="105"/>
                    <a:pt x="34" y="105"/>
                    <a:pt x="34" y="105"/>
                  </a:cubicBezTo>
                  <a:cubicBezTo>
                    <a:pt x="27" y="117"/>
                    <a:pt x="27" y="117"/>
                    <a:pt x="27" y="117"/>
                  </a:cubicBezTo>
                  <a:cubicBezTo>
                    <a:pt x="27" y="117"/>
                    <a:pt x="26" y="123"/>
                    <a:pt x="26" y="123"/>
                  </a:cubicBezTo>
                  <a:cubicBezTo>
                    <a:pt x="26" y="124"/>
                    <a:pt x="23" y="124"/>
                    <a:pt x="23" y="124"/>
                  </a:cubicBezTo>
                  <a:cubicBezTo>
                    <a:pt x="22" y="124"/>
                    <a:pt x="16" y="136"/>
                    <a:pt x="16" y="136"/>
                  </a:cubicBezTo>
                  <a:cubicBezTo>
                    <a:pt x="12" y="133"/>
                    <a:pt x="12" y="133"/>
                    <a:pt x="12" y="133"/>
                  </a:cubicBezTo>
                  <a:cubicBezTo>
                    <a:pt x="12" y="127"/>
                    <a:pt x="12" y="127"/>
                    <a:pt x="12" y="127"/>
                  </a:cubicBezTo>
                  <a:cubicBezTo>
                    <a:pt x="12" y="127"/>
                    <a:pt x="8" y="132"/>
                    <a:pt x="8" y="132"/>
                  </a:cubicBezTo>
                  <a:cubicBezTo>
                    <a:pt x="8" y="132"/>
                    <a:pt x="2" y="136"/>
                    <a:pt x="2" y="136"/>
                  </a:cubicBezTo>
                  <a:cubicBezTo>
                    <a:pt x="2" y="136"/>
                    <a:pt x="2" y="139"/>
                    <a:pt x="2" y="139"/>
                  </a:cubicBezTo>
                  <a:cubicBezTo>
                    <a:pt x="2" y="139"/>
                    <a:pt x="0" y="144"/>
                    <a:pt x="0" y="144"/>
                  </a:cubicBezTo>
                  <a:cubicBezTo>
                    <a:pt x="0" y="144"/>
                    <a:pt x="15" y="149"/>
                    <a:pt x="15" y="149"/>
                  </a:cubicBezTo>
                  <a:cubicBezTo>
                    <a:pt x="15" y="149"/>
                    <a:pt x="24" y="158"/>
                    <a:pt x="24" y="158"/>
                  </a:cubicBezTo>
                  <a:cubicBezTo>
                    <a:pt x="17" y="166"/>
                    <a:pt x="17" y="166"/>
                    <a:pt x="17" y="166"/>
                  </a:cubicBezTo>
                  <a:cubicBezTo>
                    <a:pt x="17" y="166"/>
                    <a:pt x="22" y="167"/>
                    <a:pt x="22" y="168"/>
                  </a:cubicBezTo>
                  <a:cubicBezTo>
                    <a:pt x="22" y="168"/>
                    <a:pt x="24" y="171"/>
                    <a:pt x="24" y="171"/>
                  </a:cubicBezTo>
                  <a:cubicBezTo>
                    <a:pt x="24" y="172"/>
                    <a:pt x="22" y="175"/>
                    <a:pt x="22" y="175"/>
                  </a:cubicBezTo>
                  <a:cubicBezTo>
                    <a:pt x="14" y="174"/>
                    <a:pt x="14" y="174"/>
                    <a:pt x="14" y="174"/>
                  </a:cubicBezTo>
                  <a:cubicBezTo>
                    <a:pt x="14" y="174"/>
                    <a:pt x="18" y="177"/>
                    <a:pt x="18" y="177"/>
                  </a:cubicBezTo>
                  <a:cubicBezTo>
                    <a:pt x="19" y="178"/>
                    <a:pt x="15" y="185"/>
                    <a:pt x="15" y="185"/>
                  </a:cubicBezTo>
                  <a:cubicBezTo>
                    <a:pt x="21" y="187"/>
                    <a:pt x="21" y="187"/>
                    <a:pt x="21" y="187"/>
                  </a:cubicBezTo>
                  <a:cubicBezTo>
                    <a:pt x="22" y="202"/>
                    <a:pt x="22" y="202"/>
                    <a:pt x="22" y="202"/>
                  </a:cubicBezTo>
                  <a:cubicBezTo>
                    <a:pt x="25" y="212"/>
                    <a:pt x="25" y="212"/>
                    <a:pt x="25" y="212"/>
                  </a:cubicBezTo>
                  <a:cubicBezTo>
                    <a:pt x="20" y="217"/>
                    <a:pt x="20" y="217"/>
                    <a:pt x="20" y="217"/>
                  </a:cubicBezTo>
                  <a:cubicBezTo>
                    <a:pt x="14" y="217"/>
                    <a:pt x="14" y="217"/>
                    <a:pt x="14" y="217"/>
                  </a:cubicBezTo>
                  <a:cubicBezTo>
                    <a:pt x="14" y="222"/>
                    <a:pt x="14" y="222"/>
                    <a:pt x="14" y="222"/>
                  </a:cubicBezTo>
                  <a:cubicBezTo>
                    <a:pt x="27" y="230"/>
                    <a:pt x="27" y="230"/>
                    <a:pt x="27" y="230"/>
                  </a:cubicBezTo>
                  <a:cubicBezTo>
                    <a:pt x="28" y="236"/>
                    <a:pt x="28" y="236"/>
                    <a:pt x="28" y="236"/>
                  </a:cubicBezTo>
                  <a:cubicBezTo>
                    <a:pt x="59" y="237"/>
                    <a:pt x="59" y="237"/>
                    <a:pt x="59" y="237"/>
                  </a:cubicBezTo>
                  <a:cubicBezTo>
                    <a:pt x="71" y="228"/>
                    <a:pt x="71" y="228"/>
                    <a:pt x="71" y="228"/>
                  </a:cubicBezTo>
                  <a:cubicBezTo>
                    <a:pt x="81" y="247"/>
                    <a:pt x="81" y="247"/>
                    <a:pt x="81" y="247"/>
                  </a:cubicBezTo>
                  <a:cubicBezTo>
                    <a:pt x="89" y="247"/>
                    <a:pt x="89" y="247"/>
                    <a:pt x="89" y="247"/>
                  </a:cubicBezTo>
                  <a:cubicBezTo>
                    <a:pt x="90" y="244"/>
                    <a:pt x="90" y="244"/>
                    <a:pt x="90" y="244"/>
                  </a:cubicBezTo>
                  <a:cubicBezTo>
                    <a:pt x="102" y="245"/>
                    <a:pt x="102" y="245"/>
                    <a:pt x="102" y="245"/>
                  </a:cubicBezTo>
                  <a:cubicBezTo>
                    <a:pt x="112" y="240"/>
                    <a:pt x="112" y="240"/>
                    <a:pt x="112" y="240"/>
                  </a:cubicBezTo>
                  <a:cubicBezTo>
                    <a:pt x="126" y="247"/>
                    <a:pt x="126" y="247"/>
                    <a:pt x="126" y="247"/>
                  </a:cubicBezTo>
                  <a:cubicBezTo>
                    <a:pt x="131" y="247"/>
                    <a:pt x="131" y="247"/>
                    <a:pt x="131" y="247"/>
                  </a:cubicBezTo>
                  <a:cubicBezTo>
                    <a:pt x="135" y="244"/>
                    <a:pt x="135" y="244"/>
                    <a:pt x="135" y="244"/>
                  </a:cubicBezTo>
                  <a:cubicBezTo>
                    <a:pt x="141" y="248"/>
                    <a:pt x="141" y="248"/>
                    <a:pt x="141" y="248"/>
                  </a:cubicBezTo>
                  <a:cubicBezTo>
                    <a:pt x="151" y="268"/>
                    <a:pt x="151" y="268"/>
                    <a:pt x="151" y="268"/>
                  </a:cubicBezTo>
                  <a:cubicBezTo>
                    <a:pt x="162" y="269"/>
                    <a:pt x="162" y="269"/>
                    <a:pt x="162" y="269"/>
                  </a:cubicBezTo>
                  <a:cubicBezTo>
                    <a:pt x="166" y="267"/>
                    <a:pt x="166" y="267"/>
                    <a:pt x="166" y="267"/>
                  </a:cubicBezTo>
                  <a:cubicBezTo>
                    <a:pt x="166" y="267"/>
                    <a:pt x="172" y="269"/>
                    <a:pt x="172" y="269"/>
                  </a:cubicBezTo>
                  <a:cubicBezTo>
                    <a:pt x="173" y="270"/>
                    <a:pt x="177" y="270"/>
                    <a:pt x="177" y="270"/>
                  </a:cubicBezTo>
                  <a:cubicBezTo>
                    <a:pt x="190" y="264"/>
                    <a:pt x="190" y="264"/>
                    <a:pt x="190" y="264"/>
                  </a:cubicBezTo>
                  <a:cubicBezTo>
                    <a:pt x="197" y="257"/>
                    <a:pt x="197" y="257"/>
                    <a:pt x="197" y="257"/>
                  </a:cubicBezTo>
                  <a:cubicBezTo>
                    <a:pt x="213" y="256"/>
                    <a:pt x="213" y="256"/>
                    <a:pt x="213" y="256"/>
                  </a:cubicBezTo>
                  <a:cubicBezTo>
                    <a:pt x="221" y="248"/>
                    <a:pt x="221" y="248"/>
                    <a:pt x="221" y="248"/>
                  </a:cubicBezTo>
                  <a:cubicBezTo>
                    <a:pt x="228" y="250"/>
                    <a:pt x="228" y="250"/>
                    <a:pt x="228" y="250"/>
                  </a:cubicBezTo>
                  <a:cubicBezTo>
                    <a:pt x="239" y="241"/>
                    <a:pt x="239" y="241"/>
                    <a:pt x="239" y="241"/>
                  </a:cubicBezTo>
                  <a:cubicBezTo>
                    <a:pt x="242" y="240"/>
                    <a:pt x="242" y="240"/>
                    <a:pt x="242" y="240"/>
                  </a:cubicBezTo>
                  <a:cubicBezTo>
                    <a:pt x="246" y="242"/>
                    <a:pt x="246" y="242"/>
                    <a:pt x="246" y="242"/>
                  </a:cubicBezTo>
                  <a:cubicBezTo>
                    <a:pt x="249" y="240"/>
                    <a:pt x="249" y="240"/>
                    <a:pt x="249" y="240"/>
                  </a:cubicBezTo>
                  <a:cubicBezTo>
                    <a:pt x="244" y="236"/>
                    <a:pt x="244" y="236"/>
                    <a:pt x="244" y="236"/>
                  </a:cubicBezTo>
                  <a:cubicBezTo>
                    <a:pt x="243" y="200"/>
                    <a:pt x="243" y="200"/>
                    <a:pt x="243" y="200"/>
                  </a:cubicBezTo>
                  <a:cubicBezTo>
                    <a:pt x="243" y="200"/>
                    <a:pt x="232" y="186"/>
                    <a:pt x="232" y="185"/>
                  </a:cubicBezTo>
                  <a:cubicBezTo>
                    <a:pt x="232" y="184"/>
                    <a:pt x="232" y="177"/>
                    <a:pt x="232" y="177"/>
                  </a:cubicBezTo>
                  <a:cubicBezTo>
                    <a:pt x="235" y="174"/>
                    <a:pt x="235" y="174"/>
                    <a:pt x="235" y="174"/>
                  </a:cubicBezTo>
                  <a:cubicBezTo>
                    <a:pt x="235" y="174"/>
                    <a:pt x="235" y="174"/>
                    <a:pt x="235" y="174"/>
                  </a:cubicBezTo>
                  <a:cubicBezTo>
                    <a:pt x="234" y="156"/>
                    <a:pt x="234" y="156"/>
                    <a:pt x="234" y="156"/>
                  </a:cubicBezTo>
                  <a:lnTo>
                    <a:pt x="225" y="149"/>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47" name="Freeform 43">
              <a:extLst>
                <a:ext uri="{FF2B5EF4-FFF2-40B4-BE49-F238E27FC236}">
                  <a16:creationId xmlns:a16="http://schemas.microsoft.com/office/drawing/2014/main" id="{A5C964CC-5878-43DE-7E70-58CF808E1569}"/>
                </a:ext>
              </a:extLst>
            </p:cNvPr>
            <p:cNvSpPr>
              <a:spLocks/>
            </p:cNvSpPr>
            <p:nvPr/>
          </p:nvSpPr>
          <p:spPr bwMode="auto">
            <a:xfrm>
              <a:off x="2343150" y="2479675"/>
              <a:ext cx="539750" cy="830263"/>
            </a:xfrm>
            <a:custGeom>
              <a:avLst/>
              <a:gdLst>
                <a:gd name="T0" fmla="*/ 1950485452 w 142"/>
                <a:gd name="T1" fmla="*/ 2147483646 h 218"/>
                <a:gd name="T2" fmla="*/ 1964933268 w 142"/>
                <a:gd name="T3" fmla="*/ 2147483646 h 218"/>
                <a:gd name="T4" fmla="*/ 2051620158 w 142"/>
                <a:gd name="T5" fmla="*/ 2147483646 h 218"/>
                <a:gd name="T6" fmla="*/ 2051620158 w 142"/>
                <a:gd name="T7" fmla="*/ 2059714927 h 218"/>
                <a:gd name="T8" fmla="*/ 1806003500 w 142"/>
                <a:gd name="T9" fmla="*/ 1914662649 h 218"/>
                <a:gd name="T10" fmla="*/ 1473699951 w 142"/>
                <a:gd name="T11" fmla="*/ 1842136510 h 218"/>
                <a:gd name="T12" fmla="*/ 1415908690 w 142"/>
                <a:gd name="T13" fmla="*/ 1697088040 h 218"/>
                <a:gd name="T14" fmla="*/ 1213635477 w 142"/>
                <a:gd name="T15" fmla="*/ 1523026068 h 218"/>
                <a:gd name="T16" fmla="*/ 1256978923 w 142"/>
                <a:gd name="T17" fmla="*/ 1435996987 h 218"/>
                <a:gd name="T18" fmla="*/ 1069153525 w 142"/>
                <a:gd name="T19" fmla="*/ 768766410 h 218"/>
                <a:gd name="T20" fmla="*/ 1011362264 w 142"/>
                <a:gd name="T21" fmla="*/ 696240271 h 218"/>
                <a:gd name="T22" fmla="*/ 1083601340 w 142"/>
                <a:gd name="T23" fmla="*/ 551191801 h 218"/>
                <a:gd name="T24" fmla="*/ 1011362264 w 142"/>
                <a:gd name="T25" fmla="*/ 406139523 h 218"/>
                <a:gd name="T26" fmla="*/ 968018819 w 142"/>
                <a:gd name="T27" fmla="*/ 188564915 h 218"/>
                <a:gd name="T28" fmla="*/ 794641236 w 142"/>
                <a:gd name="T29" fmla="*/ 0 h 218"/>
                <a:gd name="T30" fmla="*/ 765745606 w 142"/>
                <a:gd name="T31" fmla="*/ 0 h 218"/>
                <a:gd name="T32" fmla="*/ 707954345 w 142"/>
                <a:gd name="T33" fmla="*/ 174061972 h 218"/>
                <a:gd name="T34" fmla="*/ 707954345 w 142"/>
                <a:gd name="T35" fmla="*/ 304603690 h 218"/>
                <a:gd name="T36" fmla="*/ 635711468 w 142"/>
                <a:gd name="T37" fmla="*/ 435149217 h 218"/>
                <a:gd name="T38" fmla="*/ 549024577 w 142"/>
                <a:gd name="T39" fmla="*/ 275593996 h 218"/>
                <a:gd name="T40" fmla="*/ 549024577 w 142"/>
                <a:gd name="T41" fmla="*/ 435149217 h 218"/>
                <a:gd name="T42" fmla="*/ 534576762 w 142"/>
                <a:gd name="T43" fmla="*/ 478665662 h 218"/>
                <a:gd name="T44" fmla="*/ 361199180 w 142"/>
                <a:gd name="T45" fmla="*/ 406139523 h 218"/>
                <a:gd name="T46" fmla="*/ 375646995 w 142"/>
                <a:gd name="T47" fmla="*/ 449655968 h 218"/>
                <a:gd name="T48" fmla="*/ 375646995 w 142"/>
                <a:gd name="T49" fmla="*/ 493172413 h 218"/>
                <a:gd name="T50" fmla="*/ 303407919 w 142"/>
                <a:gd name="T51" fmla="*/ 594704438 h 218"/>
                <a:gd name="T52" fmla="*/ 433442056 w 142"/>
                <a:gd name="T53" fmla="*/ 1421490235 h 218"/>
                <a:gd name="T54" fmla="*/ 534576762 w 142"/>
                <a:gd name="T55" fmla="*/ 1566542514 h 218"/>
                <a:gd name="T56" fmla="*/ 520128947 w 142"/>
                <a:gd name="T57" fmla="*/ 1682581289 h 218"/>
                <a:gd name="T58" fmla="*/ 476785502 w 142"/>
                <a:gd name="T59" fmla="*/ 1943672343 h 218"/>
                <a:gd name="T60" fmla="*/ 447889871 w 142"/>
                <a:gd name="T61" fmla="*/ 2074217870 h 218"/>
                <a:gd name="T62" fmla="*/ 375646995 w 142"/>
                <a:gd name="T63" fmla="*/ 2147483646 h 218"/>
                <a:gd name="T64" fmla="*/ 202273213 w 142"/>
                <a:gd name="T65" fmla="*/ 2147483646 h 218"/>
                <a:gd name="T66" fmla="*/ 173377583 w 142"/>
                <a:gd name="T67" fmla="*/ 2147483646 h 218"/>
                <a:gd name="T68" fmla="*/ 158929768 w 142"/>
                <a:gd name="T69" fmla="*/ 2147483646 h 218"/>
                <a:gd name="T70" fmla="*/ 43343445 w 142"/>
                <a:gd name="T71" fmla="*/ 2147483646 h 218"/>
                <a:gd name="T72" fmla="*/ 0 w 142"/>
                <a:gd name="T73" fmla="*/ 2147483646 h 218"/>
                <a:gd name="T74" fmla="*/ 130034137 w 142"/>
                <a:gd name="T75" fmla="*/ 2147483646 h 218"/>
                <a:gd name="T76" fmla="*/ 130034137 w 142"/>
                <a:gd name="T77" fmla="*/ 2147483646 h 218"/>
                <a:gd name="T78" fmla="*/ 260064474 w 142"/>
                <a:gd name="T79" fmla="*/ 2147483646 h 218"/>
                <a:gd name="T80" fmla="*/ 288960104 w 142"/>
                <a:gd name="T81" fmla="*/ 2147483646 h 218"/>
                <a:gd name="T82" fmla="*/ 462337687 w 142"/>
                <a:gd name="T83" fmla="*/ 2147483646 h 218"/>
                <a:gd name="T84" fmla="*/ 505681132 w 142"/>
                <a:gd name="T85" fmla="*/ 2147483646 h 218"/>
                <a:gd name="T86" fmla="*/ 635711468 w 142"/>
                <a:gd name="T87" fmla="*/ 2147483646 h 218"/>
                <a:gd name="T88" fmla="*/ 736849975 w 142"/>
                <a:gd name="T89" fmla="*/ 2147483646 h 218"/>
                <a:gd name="T90" fmla="*/ 794641236 w 142"/>
                <a:gd name="T91" fmla="*/ 2147483646 h 218"/>
                <a:gd name="T92" fmla="*/ 1141392600 w 142"/>
                <a:gd name="T93" fmla="*/ 2147483646 h 218"/>
                <a:gd name="T94" fmla="*/ 1560386842 w 142"/>
                <a:gd name="T95" fmla="*/ 2147483646 h 218"/>
                <a:gd name="T96" fmla="*/ 1647073732 w 142"/>
                <a:gd name="T97" fmla="*/ 2147483646 h 218"/>
                <a:gd name="T98" fmla="*/ 1806003500 w 142"/>
                <a:gd name="T99" fmla="*/ 2147483646 h 218"/>
                <a:gd name="T100" fmla="*/ 1863794761 w 142"/>
                <a:gd name="T101" fmla="*/ 2147483646 h 218"/>
                <a:gd name="T102" fmla="*/ 1863794761 w 142"/>
                <a:gd name="T103" fmla="*/ 2147483646 h 218"/>
                <a:gd name="T104" fmla="*/ 1950485452 w 142"/>
                <a:gd name="T105" fmla="*/ 2147483646 h 2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42" h="218">
                  <a:moveTo>
                    <a:pt x="135" y="168"/>
                  </a:moveTo>
                  <a:cubicBezTo>
                    <a:pt x="135" y="168"/>
                    <a:pt x="136" y="163"/>
                    <a:pt x="136" y="162"/>
                  </a:cubicBezTo>
                  <a:cubicBezTo>
                    <a:pt x="136" y="162"/>
                    <a:pt x="142" y="154"/>
                    <a:pt x="142" y="154"/>
                  </a:cubicBezTo>
                  <a:cubicBezTo>
                    <a:pt x="142" y="142"/>
                    <a:pt x="142" y="142"/>
                    <a:pt x="142" y="142"/>
                  </a:cubicBezTo>
                  <a:cubicBezTo>
                    <a:pt x="125" y="132"/>
                    <a:pt x="125" y="132"/>
                    <a:pt x="125" y="132"/>
                  </a:cubicBezTo>
                  <a:cubicBezTo>
                    <a:pt x="102" y="127"/>
                    <a:pt x="102" y="127"/>
                    <a:pt x="102" y="127"/>
                  </a:cubicBezTo>
                  <a:cubicBezTo>
                    <a:pt x="98" y="117"/>
                    <a:pt x="98" y="117"/>
                    <a:pt x="98" y="117"/>
                  </a:cubicBezTo>
                  <a:cubicBezTo>
                    <a:pt x="84" y="105"/>
                    <a:pt x="84" y="105"/>
                    <a:pt x="84" y="105"/>
                  </a:cubicBezTo>
                  <a:cubicBezTo>
                    <a:pt x="87" y="99"/>
                    <a:pt x="87" y="99"/>
                    <a:pt x="87" y="99"/>
                  </a:cubicBezTo>
                  <a:cubicBezTo>
                    <a:pt x="74" y="53"/>
                    <a:pt x="74" y="53"/>
                    <a:pt x="74" y="53"/>
                  </a:cubicBezTo>
                  <a:cubicBezTo>
                    <a:pt x="70" y="48"/>
                    <a:pt x="70" y="48"/>
                    <a:pt x="70" y="48"/>
                  </a:cubicBezTo>
                  <a:cubicBezTo>
                    <a:pt x="75" y="38"/>
                    <a:pt x="75" y="38"/>
                    <a:pt x="75" y="38"/>
                  </a:cubicBezTo>
                  <a:cubicBezTo>
                    <a:pt x="75" y="38"/>
                    <a:pt x="70" y="28"/>
                    <a:pt x="70" y="28"/>
                  </a:cubicBezTo>
                  <a:cubicBezTo>
                    <a:pt x="70" y="28"/>
                    <a:pt x="67" y="13"/>
                    <a:pt x="67" y="13"/>
                  </a:cubicBezTo>
                  <a:cubicBezTo>
                    <a:pt x="55" y="0"/>
                    <a:pt x="55" y="0"/>
                    <a:pt x="55" y="0"/>
                  </a:cubicBezTo>
                  <a:cubicBezTo>
                    <a:pt x="53" y="0"/>
                    <a:pt x="53" y="0"/>
                    <a:pt x="53" y="0"/>
                  </a:cubicBezTo>
                  <a:cubicBezTo>
                    <a:pt x="49" y="12"/>
                    <a:pt x="49" y="12"/>
                    <a:pt x="49" y="12"/>
                  </a:cubicBezTo>
                  <a:cubicBezTo>
                    <a:pt x="49" y="21"/>
                    <a:pt x="49" y="21"/>
                    <a:pt x="49" y="21"/>
                  </a:cubicBezTo>
                  <a:cubicBezTo>
                    <a:pt x="44" y="30"/>
                    <a:pt x="44" y="30"/>
                    <a:pt x="44" y="30"/>
                  </a:cubicBezTo>
                  <a:cubicBezTo>
                    <a:pt x="38" y="19"/>
                    <a:pt x="38" y="19"/>
                    <a:pt x="38" y="19"/>
                  </a:cubicBezTo>
                  <a:cubicBezTo>
                    <a:pt x="38" y="19"/>
                    <a:pt x="39" y="30"/>
                    <a:pt x="38" y="30"/>
                  </a:cubicBezTo>
                  <a:cubicBezTo>
                    <a:pt x="38" y="30"/>
                    <a:pt x="37" y="33"/>
                    <a:pt x="37" y="33"/>
                  </a:cubicBezTo>
                  <a:cubicBezTo>
                    <a:pt x="25" y="28"/>
                    <a:pt x="25" y="28"/>
                    <a:pt x="25" y="28"/>
                  </a:cubicBezTo>
                  <a:cubicBezTo>
                    <a:pt x="25" y="28"/>
                    <a:pt x="26" y="31"/>
                    <a:pt x="26" y="31"/>
                  </a:cubicBezTo>
                  <a:cubicBezTo>
                    <a:pt x="26" y="31"/>
                    <a:pt x="26" y="34"/>
                    <a:pt x="26" y="34"/>
                  </a:cubicBezTo>
                  <a:cubicBezTo>
                    <a:pt x="21" y="41"/>
                    <a:pt x="21" y="41"/>
                    <a:pt x="21" y="41"/>
                  </a:cubicBezTo>
                  <a:cubicBezTo>
                    <a:pt x="30" y="98"/>
                    <a:pt x="30" y="98"/>
                    <a:pt x="30" y="98"/>
                  </a:cubicBezTo>
                  <a:cubicBezTo>
                    <a:pt x="37" y="108"/>
                    <a:pt x="37" y="108"/>
                    <a:pt x="37" y="108"/>
                  </a:cubicBezTo>
                  <a:cubicBezTo>
                    <a:pt x="37" y="108"/>
                    <a:pt x="36" y="115"/>
                    <a:pt x="36" y="116"/>
                  </a:cubicBezTo>
                  <a:cubicBezTo>
                    <a:pt x="36" y="116"/>
                    <a:pt x="33" y="134"/>
                    <a:pt x="33" y="134"/>
                  </a:cubicBezTo>
                  <a:cubicBezTo>
                    <a:pt x="33" y="134"/>
                    <a:pt x="32" y="142"/>
                    <a:pt x="31" y="143"/>
                  </a:cubicBezTo>
                  <a:cubicBezTo>
                    <a:pt x="31" y="144"/>
                    <a:pt x="26" y="155"/>
                    <a:pt x="26" y="155"/>
                  </a:cubicBezTo>
                  <a:cubicBezTo>
                    <a:pt x="14" y="163"/>
                    <a:pt x="14" y="163"/>
                    <a:pt x="14" y="163"/>
                  </a:cubicBezTo>
                  <a:cubicBezTo>
                    <a:pt x="14" y="163"/>
                    <a:pt x="13" y="170"/>
                    <a:pt x="12" y="170"/>
                  </a:cubicBezTo>
                  <a:cubicBezTo>
                    <a:pt x="12" y="171"/>
                    <a:pt x="11" y="176"/>
                    <a:pt x="11" y="176"/>
                  </a:cubicBezTo>
                  <a:cubicBezTo>
                    <a:pt x="3" y="176"/>
                    <a:pt x="3" y="176"/>
                    <a:pt x="3" y="176"/>
                  </a:cubicBezTo>
                  <a:cubicBezTo>
                    <a:pt x="0" y="178"/>
                    <a:pt x="0" y="178"/>
                    <a:pt x="0" y="178"/>
                  </a:cubicBezTo>
                  <a:cubicBezTo>
                    <a:pt x="9" y="193"/>
                    <a:pt x="9" y="193"/>
                    <a:pt x="9" y="193"/>
                  </a:cubicBezTo>
                  <a:cubicBezTo>
                    <a:pt x="9" y="197"/>
                    <a:pt x="9" y="197"/>
                    <a:pt x="9" y="197"/>
                  </a:cubicBezTo>
                  <a:cubicBezTo>
                    <a:pt x="18" y="195"/>
                    <a:pt x="18" y="195"/>
                    <a:pt x="18" y="195"/>
                  </a:cubicBezTo>
                  <a:cubicBezTo>
                    <a:pt x="20" y="199"/>
                    <a:pt x="20" y="199"/>
                    <a:pt x="20" y="199"/>
                  </a:cubicBezTo>
                  <a:cubicBezTo>
                    <a:pt x="32" y="199"/>
                    <a:pt x="32" y="199"/>
                    <a:pt x="32" y="199"/>
                  </a:cubicBezTo>
                  <a:cubicBezTo>
                    <a:pt x="35" y="204"/>
                    <a:pt x="35" y="204"/>
                    <a:pt x="35" y="204"/>
                  </a:cubicBezTo>
                  <a:cubicBezTo>
                    <a:pt x="44" y="212"/>
                    <a:pt x="44" y="212"/>
                    <a:pt x="44" y="212"/>
                  </a:cubicBezTo>
                  <a:cubicBezTo>
                    <a:pt x="51" y="208"/>
                    <a:pt x="51" y="208"/>
                    <a:pt x="51" y="208"/>
                  </a:cubicBezTo>
                  <a:cubicBezTo>
                    <a:pt x="55" y="209"/>
                    <a:pt x="55" y="209"/>
                    <a:pt x="55" y="209"/>
                  </a:cubicBezTo>
                  <a:cubicBezTo>
                    <a:pt x="79" y="218"/>
                    <a:pt x="79" y="218"/>
                    <a:pt x="79" y="218"/>
                  </a:cubicBezTo>
                  <a:cubicBezTo>
                    <a:pt x="108" y="194"/>
                    <a:pt x="108" y="194"/>
                    <a:pt x="108" y="194"/>
                  </a:cubicBezTo>
                  <a:cubicBezTo>
                    <a:pt x="114" y="195"/>
                    <a:pt x="114" y="195"/>
                    <a:pt x="114" y="195"/>
                  </a:cubicBezTo>
                  <a:cubicBezTo>
                    <a:pt x="125" y="190"/>
                    <a:pt x="125" y="190"/>
                    <a:pt x="125" y="190"/>
                  </a:cubicBezTo>
                  <a:cubicBezTo>
                    <a:pt x="129" y="189"/>
                    <a:pt x="129" y="189"/>
                    <a:pt x="129" y="189"/>
                  </a:cubicBezTo>
                  <a:cubicBezTo>
                    <a:pt x="129" y="178"/>
                    <a:pt x="129" y="178"/>
                    <a:pt x="129" y="178"/>
                  </a:cubicBezTo>
                  <a:lnTo>
                    <a:pt x="135" y="168"/>
                  </a:lnTo>
                  <a:close/>
                </a:path>
              </a:pathLst>
            </a:custGeom>
            <a:solidFill>
              <a:schemeClr val="accent5">
                <a:lumMod val="60000"/>
                <a:lumOff val="40000"/>
              </a:schemeClr>
            </a:solidFill>
            <a:ln w="7938" cap="flat">
              <a:solidFill>
                <a:schemeClr val="accent5"/>
              </a:solidFill>
              <a:prstDash val="solid"/>
              <a:miter lim="800000"/>
              <a:headEnd/>
              <a:tailEnd/>
            </a:ln>
          </p:spPr>
          <p:txBody>
            <a:bodyPr/>
            <a:lstStyle/>
            <a:p>
              <a:endParaRPr lang="ru-RU"/>
            </a:p>
          </p:txBody>
        </p:sp>
        <p:sp>
          <p:nvSpPr>
            <p:cNvPr id="48" name="Freeform 44">
              <a:extLst>
                <a:ext uri="{FF2B5EF4-FFF2-40B4-BE49-F238E27FC236}">
                  <a16:creationId xmlns:a16="http://schemas.microsoft.com/office/drawing/2014/main" id="{87EC1A18-6AF2-A3F7-C4CB-9171BBCA1608}"/>
                </a:ext>
              </a:extLst>
            </p:cNvPr>
            <p:cNvSpPr>
              <a:spLocks/>
            </p:cNvSpPr>
            <p:nvPr/>
          </p:nvSpPr>
          <p:spPr bwMode="auto">
            <a:xfrm>
              <a:off x="1931988" y="1233488"/>
              <a:ext cx="1449387" cy="2168525"/>
            </a:xfrm>
            <a:custGeom>
              <a:avLst/>
              <a:gdLst>
                <a:gd name="T0" fmla="*/ 2147483646 w 381"/>
                <a:gd name="T1" fmla="*/ 2147483646 h 569"/>
                <a:gd name="T2" fmla="*/ 2147483646 w 381"/>
                <a:gd name="T3" fmla="*/ 2147483646 h 569"/>
                <a:gd name="T4" fmla="*/ 2147483646 w 381"/>
                <a:gd name="T5" fmla="*/ 2147483646 h 569"/>
                <a:gd name="T6" fmla="*/ 2147483646 w 381"/>
                <a:gd name="T7" fmla="*/ 2147483646 h 569"/>
                <a:gd name="T8" fmla="*/ 2147483646 w 381"/>
                <a:gd name="T9" fmla="*/ 2147483646 h 569"/>
                <a:gd name="T10" fmla="*/ 2147483646 w 381"/>
                <a:gd name="T11" fmla="*/ 2147483646 h 569"/>
                <a:gd name="T12" fmla="*/ 2147483646 w 381"/>
                <a:gd name="T13" fmla="*/ 1786525411 h 569"/>
                <a:gd name="T14" fmla="*/ 2147483646 w 381"/>
                <a:gd name="T15" fmla="*/ 987673576 h 569"/>
                <a:gd name="T16" fmla="*/ 2147483646 w 381"/>
                <a:gd name="T17" fmla="*/ 842428135 h 569"/>
                <a:gd name="T18" fmla="*/ 2147483646 w 381"/>
                <a:gd name="T19" fmla="*/ 769803508 h 569"/>
                <a:gd name="T20" fmla="*/ 2147483646 w 381"/>
                <a:gd name="T21" fmla="*/ 726231019 h 569"/>
                <a:gd name="T22" fmla="*/ 2147483646 w 381"/>
                <a:gd name="T23" fmla="*/ 246918394 h 569"/>
                <a:gd name="T24" fmla="*/ 2147483646 w 381"/>
                <a:gd name="T25" fmla="*/ 232394231 h 569"/>
                <a:gd name="T26" fmla="*/ 2147483646 w 381"/>
                <a:gd name="T27" fmla="*/ 130721279 h 569"/>
                <a:gd name="T28" fmla="*/ 1273509023 w 381"/>
                <a:gd name="T29" fmla="*/ 595509741 h 569"/>
                <a:gd name="T30" fmla="*/ 159189103 w 381"/>
                <a:gd name="T31" fmla="*/ 1815573737 h 569"/>
                <a:gd name="T32" fmla="*/ 144718058 w 381"/>
                <a:gd name="T33" fmla="*/ 2047967968 h 569"/>
                <a:gd name="T34" fmla="*/ 274961268 w 381"/>
                <a:gd name="T35" fmla="*/ 2147483646 h 569"/>
                <a:gd name="T36" fmla="*/ 202602238 w 381"/>
                <a:gd name="T37" fmla="*/ 2147483646 h 569"/>
                <a:gd name="T38" fmla="*/ 477563506 w 381"/>
                <a:gd name="T39" fmla="*/ 2147483646 h 569"/>
                <a:gd name="T40" fmla="*/ 405208281 w 381"/>
                <a:gd name="T41" fmla="*/ 2147483646 h 569"/>
                <a:gd name="T42" fmla="*/ 376262387 w 381"/>
                <a:gd name="T43" fmla="*/ 2147483646 h 569"/>
                <a:gd name="T44" fmla="*/ 636752610 w 381"/>
                <a:gd name="T45" fmla="*/ 2147483646 h 569"/>
                <a:gd name="T46" fmla="*/ 766999623 w 381"/>
                <a:gd name="T47" fmla="*/ 2147483646 h 569"/>
                <a:gd name="T48" fmla="*/ 926188726 w 381"/>
                <a:gd name="T49" fmla="*/ 2147483646 h 569"/>
                <a:gd name="T50" fmla="*/ 868300742 w 381"/>
                <a:gd name="T51" fmla="*/ 2147483646 h 569"/>
                <a:gd name="T52" fmla="*/ 882771787 w 381"/>
                <a:gd name="T53" fmla="*/ 2147483646 h 569"/>
                <a:gd name="T54" fmla="*/ 1013018801 w 381"/>
                <a:gd name="T55" fmla="*/ 2147483646 h 569"/>
                <a:gd name="T56" fmla="*/ 1215621039 w 381"/>
                <a:gd name="T57" fmla="*/ 2147483646 h 569"/>
                <a:gd name="T58" fmla="*/ 1418223277 w 381"/>
                <a:gd name="T59" fmla="*/ 2147483646 h 569"/>
                <a:gd name="T60" fmla="*/ 1577412381 w 381"/>
                <a:gd name="T61" fmla="*/ 2147483646 h 569"/>
                <a:gd name="T62" fmla="*/ 1591883426 w 381"/>
                <a:gd name="T63" fmla="*/ 2147483646 h 569"/>
                <a:gd name="T64" fmla="*/ 1837902603 w 381"/>
                <a:gd name="T65" fmla="*/ 2147483646 h 569"/>
                <a:gd name="T66" fmla="*/ 2098392826 w 381"/>
                <a:gd name="T67" fmla="*/ 2147483646 h 569"/>
                <a:gd name="T68" fmla="*/ 2147483646 w 381"/>
                <a:gd name="T69" fmla="*/ 2147483646 h 569"/>
                <a:gd name="T70" fmla="*/ 2147483646 w 381"/>
                <a:gd name="T71" fmla="*/ 2147483646 h 569"/>
                <a:gd name="T72" fmla="*/ 2147483646 w 381"/>
                <a:gd name="T73" fmla="*/ 2147483646 h 569"/>
                <a:gd name="T74" fmla="*/ 2147483646 w 381"/>
                <a:gd name="T75" fmla="*/ 2147483646 h 569"/>
                <a:gd name="T76" fmla="*/ 2147483646 w 381"/>
                <a:gd name="T77" fmla="*/ 2147483646 h 569"/>
                <a:gd name="T78" fmla="*/ 2147483646 w 381"/>
                <a:gd name="T79" fmla="*/ 2147483646 h 569"/>
                <a:gd name="T80" fmla="*/ 2147483646 w 381"/>
                <a:gd name="T81" fmla="*/ 2147483646 h 569"/>
                <a:gd name="T82" fmla="*/ 2147483646 w 381"/>
                <a:gd name="T83" fmla="*/ 2147483646 h 569"/>
                <a:gd name="T84" fmla="*/ 2147483646 w 381"/>
                <a:gd name="T85" fmla="*/ 2147483646 h 569"/>
                <a:gd name="T86" fmla="*/ 2147483646 w 381"/>
                <a:gd name="T87" fmla="*/ 2147483646 h 569"/>
                <a:gd name="T88" fmla="*/ 2147483646 w 381"/>
                <a:gd name="T89" fmla="*/ 2147483646 h 569"/>
                <a:gd name="T90" fmla="*/ 2147483646 w 381"/>
                <a:gd name="T91" fmla="*/ 2147483646 h 569"/>
                <a:gd name="T92" fmla="*/ 2147483646 w 381"/>
                <a:gd name="T93" fmla="*/ 2147483646 h 569"/>
                <a:gd name="T94" fmla="*/ 2147483646 w 381"/>
                <a:gd name="T95" fmla="*/ 2147483646 h 569"/>
                <a:gd name="T96" fmla="*/ 2147483646 w 381"/>
                <a:gd name="T97" fmla="*/ 2147483646 h 569"/>
                <a:gd name="T98" fmla="*/ 2147483646 w 381"/>
                <a:gd name="T99" fmla="*/ 2147483646 h 569"/>
                <a:gd name="T100" fmla="*/ 2147483646 w 381"/>
                <a:gd name="T101" fmla="*/ 2147483646 h 569"/>
                <a:gd name="T102" fmla="*/ 2147483646 w 381"/>
                <a:gd name="T103" fmla="*/ 2147483646 h 569"/>
                <a:gd name="T104" fmla="*/ 2147483646 w 381"/>
                <a:gd name="T105" fmla="*/ 2147483646 h 569"/>
                <a:gd name="T106" fmla="*/ 2147483646 w 381"/>
                <a:gd name="T107" fmla="*/ 2147483646 h 5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81" h="569">
                  <a:moveTo>
                    <a:pt x="355" y="364"/>
                  </a:moveTo>
                  <a:cubicBezTo>
                    <a:pt x="355" y="363"/>
                    <a:pt x="354" y="349"/>
                    <a:pt x="354" y="349"/>
                  </a:cubicBezTo>
                  <a:cubicBezTo>
                    <a:pt x="343" y="337"/>
                    <a:pt x="343" y="337"/>
                    <a:pt x="343" y="337"/>
                  </a:cubicBezTo>
                  <a:cubicBezTo>
                    <a:pt x="340" y="319"/>
                    <a:pt x="340" y="319"/>
                    <a:pt x="340" y="319"/>
                  </a:cubicBezTo>
                  <a:cubicBezTo>
                    <a:pt x="333" y="306"/>
                    <a:pt x="333" y="306"/>
                    <a:pt x="333" y="306"/>
                  </a:cubicBezTo>
                  <a:cubicBezTo>
                    <a:pt x="322" y="302"/>
                    <a:pt x="322" y="302"/>
                    <a:pt x="322" y="302"/>
                  </a:cubicBezTo>
                  <a:cubicBezTo>
                    <a:pt x="317" y="296"/>
                    <a:pt x="317" y="296"/>
                    <a:pt x="317" y="296"/>
                  </a:cubicBezTo>
                  <a:cubicBezTo>
                    <a:pt x="317" y="292"/>
                    <a:pt x="317" y="292"/>
                    <a:pt x="317" y="292"/>
                  </a:cubicBezTo>
                  <a:cubicBezTo>
                    <a:pt x="304" y="289"/>
                    <a:pt x="304" y="289"/>
                    <a:pt x="304" y="289"/>
                  </a:cubicBezTo>
                  <a:cubicBezTo>
                    <a:pt x="301" y="286"/>
                    <a:pt x="301" y="286"/>
                    <a:pt x="301" y="286"/>
                  </a:cubicBezTo>
                  <a:cubicBezTo>
                    <a:pt x="298" y="284"/>
                    <a:pt x="298" y="284"/>
                    <a:pt x="298" y="284"/>
                  </a:cubicBezTo>
                  <a:cubicBezTo>
                    <a:pt x="298" y="280"/>
                    <a:pt x="298" y="280"/>
                    <a:pt x="298" y="280"/>
                  </a:cubicBezTo>
                  <a:cubicBezTo>
                    <a:pt x="299" y="274"/>
                    <a:pt x="299" y="274"/>
                    <a:pt x="299" y="274"/>
                  </a:cubicBezTo>
                  <a:cubicBezTo>
                    <a:pt x="299" y="274"/>
                    <a:pt x="300" y="270"/>
                    <a:pt x="300" y="269"/>
                  </a:cubicBezTo>
                  <a:cubicBezTo>
                    <a:pt x="300" y="268"/>
                    <a:pt x="300" y="259"/>
                    <a:pt x="300" y="259"/>
                  </a:cubicBezTo>
                  <a:cubicBezTo>
                    <a:pt x="300" y="256"/>
                    <a:pt x="300" y="256"/>
                    <a:pt x="300" y="256"/>
                  </a:cubicBezTo>
                  <a:cubicBezTo>
                    <a:pt x="288" y="253"/>
                    <a:pt x="288" y="253"/>
                    <a:pt x="288" y="253"/>
                  </a:cubicBezTo>
                  <a:cubicBezTo>
                    <a:pt x="288" y="247"/>
                    <a:pt x="288" y="247"/>
                    <a:pt x="288" y="247"/>
                  </a:cubicBezTo>
                  <a:cubicBezTo>
                    <a:pt x="295" y="234"/>
                    <a:pt x="295" y="234"/>
                    <a:pt x="295" y="234"/>
                  </a:cubicBezTo>
                  <a:cubicBezTo>
                    <a:pt x="296" y="205"/>
                    <a:pt x="296" y="205"/>
                    <a:pt x="296" y="205"/>
                  </a:cubicBezTo>
                  <a:cubicBezTo>
                    <a:pt x="297" y="123"/>
                    <a:pt x="297" y="123"/>
                    <a:pt x="297" y="123"/>
                  </a:cubicBezTo>
                  <a:cubicBezTo>
                    <a:pt x="296" y="81"/>
                    <a:pt x="296" y="81"/>
                    <a:pt x="296" y="81"/>
                  </a:cubicBezTo>
                  <a:cubicBezTo>
                    <a:pt x="287" y="81"/>
                    <a:pt x="287" y="81"/>
                    <a:pt x="287" y="81"/>
                  </a:cubicBezTo>
                  <a:cubicBezTo>
                    <a:pt x="272" y="68"/>
                    <a:pt x="272" y="68"/>
                    <a:pt x="272" y="68"/>
                  </a:cubicBezTo>
                  <a:cubicBezTo>
                    <a:pt x="275" y="65"/>
                    <a:pt x="275" y="65"/>
                    <a:pt x="275" y="65"/>
                  </a:cubicBezTo>
                  <a:cubicBezTo>
                    <a:pt x="272" y="62"/>
                    <a:pt x="272" y="62"/>
                    <a:pt x="272" y="62"/>
                  </a:cubicBezTo>
                  <a:cubicBezTo>
                    <a:pt x="272" y="58"/>
                    <a:pt x="272" y="58"/>
                    <a:pt x="272" y="58"/>
                  </a:cubicBezTo>
                  <a:cubicBezTo>
                    <a:pt x="249" y="58"/>
                    <a:pt x="249" y="58"/>
                    <a:pt x="249" y="58"/>
                  </a:cubicBezTo>
                  <a:cubicBezTo>
                    <a:pt x="247" y="49"/>
                    <a:pt x="247" y="49"/>
                    <a:pt x="247" y="49"/>
                  </a:cubicBezTo>
                  <a:cubicBezTo>
                    <a:pt x="247" y="49"/>
                    <a:pt x="240" y="53"/>
                    <a:pt x="240" y="53"/>
                  </a:cubicBezTo>
                  <a:cubicBezTo>
                    <a:pt x="240" y="53"/>
                    <a:pt x="238" y="63"/>
                    <a:pt x="238" y="63"/>
                  </a:cubicBezTo>
                  <a:cubicBezTo>
                    <a:pt x="238" y="63"/>
                    <a:pt x="225" y="58"/>
                    <a:pt x="225" y="58"/>
                  </a:cubicBezTo>
                  <a:cubicBezTo>
                    <a:pt x="225" y="58"/>
                    <a:pt x="219" y="50"/>
                    <a:pt x="219" y="50"/>
                  </a:cubicBezTo>
                  <a:cubicBezTo>
                    <a:pt x="213" y="39"/>
                    <a:pt x="213" y="39"/>
                    <a:pt x="213" y="39"/>
                  </a:cubicBezTo>
                  <a:cubicBezTo>
                    <a:pt x="214" y="33"/>
                    <a:pt x="214" y="33"/>
                    <a:pt x="214" y="33"/>
                  </a:cubicBezTo>
                  <a:cubicBezTo>
                    <a:pt x="219" y="17"/>
                    <a:pt x="219" y="17"/>
                    <a:pt x="219" y="17"/>
                  </a:cubicBezTo>
                  <a:cubicBezTo>
                    <a:pt x="219" y="17"/>
                    <a:pt x="214" y="16"/>
                    <a:pt x="214" y="16"/>
                  </a:cubicBezTo>
                  <a:cubicBezTo>
                    <a:pt x="214" y="16"/>
                    <a:pt x="206" y="15"/>
                    <a:pt x="206" y="15"/>
                  </a:cubicBezTo>
                  <a:cubicBezTo>
                    <a:pt x="195" y="16"/>
                    <a:pt x="195" y="16"/>
                    <a:pt x="195" y="16"/>
                  </a:cubicBezTo>
                  <a:cubicBezTo>
                    <a:pt x="201" y="4"/>
                    <a:pt x="201" y="4"/>
                    <a:pt x="201" y="4"/>
                  </a:cubicBezTo>
                  <a:cubicBezTo>
                    <a:pt x="198" y="0"/>
                    <a:pt x="198" y="0"/>
                    <a:pt x="198" y="0"/>
                  </a:cubicBezTo>
                  <a:cubicBezTo>
                    <a:pt x="184" y="9"/>
                    <a:pt x="184" y="9"/>
                    <a:pt x="184" y="9"/>
                  </a:cubicBezTo>
                  <a:cubicBezTo>
                    <a:pt x="177" y="11"/>
                    <a:pt x="177" y="11"/>
                    <a:pt x="177" y="11"/>
                  </a:cubicBezTo>
                  <a:cubicBezTo>
                    <a:pt x="174" y="7"/>
                    <a:pt x="174" y="7"/>
                    <a:pt x="174" y="7"/>
                  </a:cubicBezTo>
                  <a:cubicBezTo>
                    <a:pt x="88" y="41"/>
                    <a:pt x="88" y="41"/>
                    <a:pt x="88" y="41"/>
                  </a:cubicBezTo>
                  <a:cubicBezTo>
                    <a:pt x="53" y="59"/>
                    <a:pt x="53" y="59"/>
                    <a:pt x="53" y="59"/>
                  </a:cubicBezTo>
                  <a:cubicBezTo>
                    <a:pt x="0" y="114"/>
                    <a:pt x="0" y="114"/>
                    <a:pt x="0" y="114"/>
                  </a:cubicBezTo>
                  <a:cubicBezTo>
                    <a:pt x="11" y="125"/>
                    <a:pt x="11" y="125"/>
                    <a:pt x="11" y="125"/>
                  </a:cubicBezTo>
                  <a:cubicBezTo>
                    <a:pt x="11" y="125"/>
                    <a:pt x="8" y="128"/>
                    <a:pt x="8" y="128"/>
                  </a:cubicBezTo>
                  <a:cubicBezTo>
                    <a:pt x="8" y="128"/>
                    <a:pt x="15" y="138"/>
                    <a:pt x="15" y="138"/>
                  </a:cubicBezTo>
                  <a:cubicBezTo>
                    <a:pt x="10" y="141"/>
                    <a:pt x="10" y="141"/>
                    <a:pt x="10" y="141"/>
                  </a:cubicBezTo>
                  <a:cubicBezTo>
                    <a:pt x="10" y="144"/>
                    <a:pt x="10" y="144"/>
                    <a:pt x="10" y="144"/>
                  </a:cubicBezTo>
                  <a:cubicBezTo>
                    <a:pt x="20" y="150"/>
                    <a:pt x="20" y="150"/>
                    <a:pt x="20" y="150"/>
                  </a:cubicBezTo>
                  <a:cubicBezTo>
                    <a:pt x="19" y="154"/>
                    <a:pt x="19" y="154"/>
                    <a:pt x="19" y="154"/>
                  </a:cubicBezTo>
                  <a:cubicBezTo>
                    <a:pt x="18" y="158"/>
                    <a:pt x="18" y="158"/>
                    <a:pt x="18" y="158"/>
                  </a:cubicBezTo>
                  <a:cubicBezTo>
                    <a:pt x="14" y="161"/>
                    <a:pt x="14" y="161"/>
                    <a:pt x="14" y="161"/>
                  </a:cubicBezTo>
                  <a:cubicBezTo>
                    <a:pt x="14" y="165"/>
                    <a:pt x="14" y="165"/>
                    <a:pt x="14" y="165"/>
                  </a:cubicBezTo>
                  <a:cubicBezTo>
                    <a:pt x="14" y="165"/>
                    <a:pt x="23" y="163"/>
                    <a:pt x="23" y="163"/>
                  </a:cubicBezTo>
                  <a:cubicBezTo>
                    <a:pt x="23" y="163"/>
                    <a:pt x="32" y="162"/>
                    <a:pt x="32" y="162"/>
                  </a:cubicBezTo>
                  <a:cubicBezTo>
                    <a:pt x="33" y="169"/>
                    <a:pt x="33" y="169"/>
                    <a:pt x="33" y="169"/>
                  </a:cubicBezTo>
                  <a:cubicBezTo>
                    <a:pt x="26" y="169"/>
                    <a:pt x="26" y="169"/>
                    <a:pt x="26" y="169"/>
                  </a:cubicBezTo>
                  <a:cubicBezTo>
                    <a:pt x="23" y="173"/>
                    <a:pt x="23" y="173"/>
                    <a:pt x="23" y="173"/>
                  </a:cubicBezTo>
                  <a:cubicBezTo>
                    <a:pt x="28" y="173"/>
                    <a:pt x="28" y="173"/>
                    <a:pt x="28" y="173"/>
                  </a:cubicBezTo>
                  <a:cubicBezTo>
                    <a:pt x="25" y="176"/>
                    <a:pt x="25" y="176"/>
                    <a:pt x="25" y="176"/>
                  </a:cubicBezTo>
                  <a:cubicBezTo>
                    <a:pt x="25" y="177"/>
                    <a:pt x="25" y="177"/>
                    <a:pt x="25" y="177"/>
                  </a:cubicBezTo>
                  <a:cubicBezTo>
                    <a:pt x="26" y="177"/>
                    <a:pt x="26" y="177"/>
                    <a:pt x="26" y="177"/>
                  </a:cubicBezTo>
                  <a:cubicBezTo>
                    <a:pt x="29" y="176"/>
                    <a:pt x="29" y="176"/>
                    <a:pt x="29" y="176"/>
                  </a:cubicBezTo>
                  <a:cubicBezTo>
                    <a:pt x="36" y="176"/>
                    <a:pt x="36" y="176"/>
                    <a:pt x="36" y="176"/>
                  </a:cubicBezTo>
                  <a:cubicBezTo>
                    <a:pt x="44" y="184"/>
                    <a:pt x="44" y="184"/>
                    <a:pt x="44" y="184"/>
                  </a:cubicBezTo>
                  <a:cubicBezTo>
                    <a:pt x="44" y="189"/>
                    <a:pt x="44" y="189"/>
                    <a:pt x="44" y="189"/>
                  </a:cubicBezTo>
                  <a:cubicBezTo>
                    <a:pt x="48" y="182"/>
                    <a:pt x="48" y="182"/>
                    <a:pt x="48" y="182"/>
                  </a:cubicBezTo>
                  <a:cubicBezTo>
                    <a:pt x="53" y="182"/>
                    <a:pt x="53" y="182"/>
                    <a:pt x="53" y="182"/>
                  </a:cubicBezTo>
                  <a:cubicBezTo>
                    <a:pt x="58" y="189"/>
                    <a:pt x="58" y="189"/>
                    <a:pt x="58" y="189"/>
                  </a:cubicBezTo>
                  <a:cubicBezTo>
                    <a:pt x="64" y="191"/>
                    <a:pt x="64" y="191"/>
                    <a:pt x="64" y="191"/>
                  </a:cubicBezTo>
                  <a:cubicBezTo>
                    <a:pt x="64" y="211"/>
                    <a:pt x="64" y="211"/>
                    <a:pt x="64" y="211"/>
                  </a:cubicBezTo>
                  <a:cubicBezTo>
                    <a:pt x="60" y="216"/>
                    <a:pt x="60" y="216"/>
                    <a:pt x="60" y="216"/>
                  </a:cubicBezTo>
                  <a:cubicBezTo>
                    <a:pt x="56" y="216"/>
                    <a:pt x="56" y="216"/>
                    <a:pt x="56" y="216"/>
                  </a:cubicBezTo>
                  <a:cubicBezTo>
                    <a:pt x="60" y="222"/>
                    <a:pt x="60" y="222"/>
                    <a:pt x="60" y="222"/>
                  </a:cubicBezTo>
                  <a:cubicBezTo>
                    <a:pt x="60" y="222"/>
                    <a:pt x="58" y="227"/>
                    <a:pt x="58" y="228"/>
                  </a:cubicBezTo>
                  <a:cubicBezTo>
                    <a:pt x="57" y="229"/>
                    <a:pt x="56" y="233"/>
                    <a:pt x="56" y="233"/>
                  </a:cubicBezTo>
                  <a:cubicBezTo>
                    <a:pt x="56" y="233"/>
                    <a:pt x="61" y="237"/>
                    <a:pt x="61" y="238"/>
                  </a:cubicBezTo>
                  <a:cubicBezTo>
                    <a:pt x="61" y="238"/>
                    <a:pt x="63" y="245"/>
                    <a:pt x="63" y="245"/>
                  </a:cubicBezTo>
                  <a:cubicBezTo>
                    <a:pt x="64" y="259"/>
                    <a:pt x="64" y="259"/>
                    <a:pt x="64" y="259"/>
                  </a:cubicBezTo>
                  <a:cubicBezTo>
                    <a:pt x="64" y="259"/>
                    <a:pt x="70" y="265"/>
                    <a:pt x="70" y="265"/>
                  </a:cubicBezTo>
                  <a:cubicBezTo>
                    <a:pt x="70" y="265"/>
                    <a:pt x="77" y="266"/>
                    <a:pt x="77" y="266"/>
                  </a:cubicBezTo>
                  <a:cubicBezTo>
                    <a:pt x="81" y="272"/>
                    <a:pt x="81" y="272"/>
                    <a:pt x="81" y="272"/>
                  </a:cubicBezTo>
                  <a:cubicBezTo>
                    <a:pt x="84" y="295"/>
                    <a:pt x="84" y="295"/>
                    <a:pt x="84" y="295"/>
                  </a:cubicBezTo>
                  <a:cubicBezTo>
                    <a:pt x="90" y="298"/>
                    <a:pt x="90" y="298"/>
                    <a:pt x="90" y="298"/>
                  </a:cubicBezTo>
                  <a:cubicBezTo>
                    <a:pt x="92" y="304"/>
                    <a:pt x="92" y="304"/>
                    <a:pt x="92" y="304"/>
                  </a:cubicBezTo>
                  <a:cubicBezTo>
                    <a:pt x="98" y="304"/>
                    <a:pt x="98" y="304"/>
                    <a:pt x="98" y="304"/>
                  </a:cubicBezTo>
                  <a:cubicBezTo>
                    <a:pt x="100" y="302"/>
                    <a:pt x="100" y="302"/>
                    <a:pt x="100" y="302"/>
                  </a:cubicBezTo>
                  <a:cubicBezTo>
                    <a:pt x="108" y="311"/>
                    <a:pt x="108" y="311"/>
                    <a:pt x="108" y="311"/>
                  </a:cubicBezTo>
                  <a:cubicBezTo>
                    <a:pt x="108" y="311"/>
                    <a:pt x="109" y="314"/>
                    <a:pt x="109" y="314"/>
                  </a:cubicBezTo>
                  <a:cubicBezTo>
                    <a:pt x="109" y="315"/>
                    <a:pt x="111" y="320"/>
                    <a:pt x="111" y="321"/>
                  </a:cubicBezTo>
                  <a:cubicBezTo>
                    <a:pt x="111" y="321"/>
                    <a:pt x="109" y="325"/>
                    <a:pt x="109" y="325"/>
                  </a:cubicBezTo>
                  <a:cubicBezTo>
                    <a:pt x="109" y="325"/>
                    <a:pt x="110" y="329"/>
                    <a:pt x="110" y="329"/>
                  </a:cubicBezTo>
                  <a:cubicBezTo>
                    <a:pt x="110" y="329"/>
                    <a:pt x="123" y="345"/>
                    <a:pt x="123" y="345"/>
                  </a:cubicBezTo>
                  <a:cubicBezTo>
                    <a:pt x="126" y="342"/>
                    <a:pt x="126" y="342"/>
                    <a:pt x="126" y="342"/>
                  </a:cubicBezTo>
                  <a:cubicBezTo>
                    <a:pt x="127" y="347"/>
                    <a:pt x="127" y="347"/>
                    <a:pt x="127" y="347"/>
                  </a:cubicBezTo>
                  <a:cubicBezTo>
                    <a:pt x="128" y="352"/>
                    <a:pt x="128" y="352"/>
                    <a:pt x="128" y="352"/>
                  </a:cubicBezTo>
                  <a:cubicBezTo>
                    <a:pt x="128" y="352"/>
                    <a:pt x="133" y="355"/>
                    <a:pt x="133" y="355"/>
                  </a:cubicBezTo>
                  <a:cubicBezTo>
                    <a:pt x="145" y="360"/>
                    <a:pt x="145" y="360"/>
                    <a:pt x="145" y="360"/>
                  </a:cubicBezTo>
                  <a:cubicBezTo>
                    <a:pt x="145" y="360"/>
                    <a:pt x="146" y="357"/>
                    <a:pt x="146" y="357"/>
                  </a:cubicBezTo>
                  <a:cubicBezTo>
                    <a:pt x="147" y="357"/>
                    <a:pt x="146" y="346"/>
                    <a:pt x="146" y="346"/>
                  </a:cubicBezTo>
                  <a:cubicBezTo>
                    <a:pt x="152" y="357"/>
                    <a:pt x="152" y="357"/>
                    <a:pt x="152" y="357"/>
                  </a:cubicBezTo>
                  <a:cubicBezTo>
                    <a:pt x="157" y="348"/>
                    <a:pt x="157" y="348"/>
                    <a:pt x="157" y="348"/>
                  </a:cubicBezTo>
                  <a:cubicBezTo>
                    <a:pt x="157" y="339"/>
                    <a:pt x="157" y="339"/>
                    <a:pt x="157" y="339"/>
                  </a:cubicBezTo>
                  <a:cubicBezTo>
                    <a:pt x="161" y="327"/>
                    <a:pt x="161" y="327"/>
                    <a:pt x="161" y="327"/>
                  </a:cubicBezTo>
                  <a:cubicBezTo>
                    <a:pt x="163" y="327"/>
                    <a:pt x="163" y="327"/>
                    <a:pt x="163" y="327"/>
                  </a:cubicBezTo>
                  <a:cubicBezTo>
                    <a:pt x="175" y="340"/>
                    <a:pt x="175" y="340"/>
                    <a:pt x="175" y="340"/>
                  </a:cubicBezTo>
                  <a:cubicBezTo>
                    <a:pt x="175" y="340"/>
                    <a:pt x="178" y="355"/>
                    <a:pt x="178" y="355"/>
                  </a:cubicBezTo>
                  <a:cubicBezTo>
                    <a:pt x="178" y="355"/>
                    <a:pt x="183" y="365"/>
                    <a:pt x="183" y="365"/>
                  </a:cubicBezTo>
                  <a:cubicBezTo>
                    <a:pt x="178" y="375"/>
                    <a:pt x="178" y="375"/>
                    <a:pt x="178" y="375"/>
                  </a:cubicBezTo>
                  <a:cubicBezTo>
                    <a:pt x="182" y="380"/>
                    <a:pt x="182" y="380"/>
                    <a:pt x="182" y="380"/>
                  </a:cubicBezTo>
                  <a:cubicBezTo>
                    <a:pt x="195" y="426"/>
                    <a:pt x="195" y="426"/>
                    <a:pt x="195" y="426"/>
                  </a:cubicBezTo>
                  <a:cubicBezTo>
                    <a:pt x="192" y="432"/>
                    <a:pt x="192" y="432"/>
                    <a:pt x="192" y="432"/>
                  </a:cubicBezTo>
                  <a:cubicBezTo>
                    <a:pt x="206" y="444"/>
                    <a:pt x="206" y="444"/>
                    <a:pt x="206" y="444"/>
                  </a:cubicBezTo>
                  <a:cubicBezTo>
                    <a:pt x="210" y="454"/>
                    <a:pt x="210" y="454"/>
                    <a:pt x="210" y="454"/>
                  </a:cubicBezTo>
                  <a:cubicBezTo>
                    <a:pt x="233" y="459"/>
                    <a:pt x="233" y="459"/>
                    <a:pt x="233" y="459"/>
                  </a:cubicBezTo>
                  <a:cubicBezTo>
                    <a:pt x="250" y="469"/>
                    <a:pt x="250" y="469"/>
                    <a:pt x="250" y="469"/>
                  </a:cubicBezTo>
                  <a:cubicBezTo>
                    <a:pt x="253" y="471"/>
                    <a:pt x="253" y="471"/>
                    <a:pt x="253" y="471"/>
                  </a:cubicBezTo>
                  <a:cubicBezTo>
                    <a:pt x="293" y="538"/>
                    <a:pt x="293" y="538"/>
                    <a:pt x="293" y="538"/>
                  </a:cubicBezTo>
                  <a:cubicBezTo>
                    <a:pt x="304" y="538"/>
                    <a:pt x="304" y="538"/>
                    <a:pt x="304" y="538"/>
                  </a:cubicBezTo>
                  <a:cubicBezTo>
                    <a:pt x="323" y="563"/>
                    <a:pt x="323" y="563"/>
                    <a:pt x="323" y="563"/>
                  </a:cubicBezTo>
                  <a:cubicBezTo>
                    <a:pt x="334" y="569"/>
                    <a:pt x="334" y="569"/>
                    <a:pt x="334" y="569"/>
                  </a:cubicBezTo>
                  <a:cubicBezTo>
                    <a:pt x="340" y="569"/>
                    <a:pt x="340" y="569"/>
                    <a:pt x="340" y="569"/>
                  </a:cubicBezTo>
                  <a:cubicBezTo>
                    <a:pt x="345" y="564"/>
                    <a:pt x="345" y="564"/>
                    <a:pt x="345" y="564"/>
                  </a:cubicBezTo>
                  <a:cubicBezTo>
                    <a:pt x="342" y="554"/>
                    <a:pt x="342" y="554"/>
                    <a:pt x="342" y="554"/>
                  </a:cubicBezTo>
                  <a:cubicBezTo>
                    <a:pt x="341" y="539"/>
                    <a:pt x="341" y="539"/>
                    <a:pt x="341" y="539"/>
                  </a:cubicBezTo>
                  <a:cubicBezTo>
                    <a:pt x="335" y="537"/>
                    <a:pt x="335" y="537"/>
                    <a:pt x="335" y="537"/>
                  </a:cubicBezTo>
                  <a:cubicBezTo>
                    <a:pt x="335" y="537"/>
                    <a:pt x="339" y="530"/>
                    <a:pt x="338" y="529"/>
                  </a:cubicBezTo>
                  <a:cubicBezTo>
                    <a:pt x="338" y="529"/>
                    <a:pt x="334" y="526"/>
                    <a:pt x="334" y="526"/>
                  </a:cubicBezTo>
                  <a:cubicBezTo>
                    <a:pt x="342" y="527"/>
                    <a:pt x="342" y="527"/>
                    <a:pt x="342" y="527"/>
                  </a:cubicBezTo>
                  <a:cubicBezTo>
                    <a:pt x="342" y="527"/>
                    <a:pt x="344" y="524"/>
                    <a:pt x="344" y="523"/>
                  </a:cubicBezTo>
                  <a:cubicBezTo>
                    <a:pt x="344" y="523"/>
                    <a:pt x="342" y="520"/>
                    <a:pt x="342" y="520"/>
                  </a:cubicBezTo>
                  <a:cubicBezTo>
                    <a:pt x="342" y="519"/>
                    <a:pt x="337" y="518"/>
                    <a:pt x="337" y="518"/>
                  </a:cubicBezTo>
                  <a:cubicBezTo>
                    <a:pt x="344" y="510"/>
                    <a:pt x="344" y="510"/>
                    <a:pt x="344" y="510"/>
                  </a:cubicBezTo>
                  <a:cubicBezTo>
                    <a:pt x="344" y="510"/>
                    <a:pt x="335" y="501"/>
                    <a:pt x="335" y="501"/>
                  </a:cubicBezTo>
                  <a:cubicBezTo>
                    <a:pt x="335" y="501"/>
                    <a:pt x="320" y="496"/>
                    <a:pt x="320" y="496"/>
                  </a:cubicBezTo>
                  <a:cubicBezTo>
                    <a:pt x="320" y="496"/>
                    <a:pt x="322" y="491"/>
                    <a:pt x="322" y="491"/>
                  </a:cubicBezTo>
                  <a:cubicBezTo>
                    <a:pt x="322" y="491"/>
                    <a:pt x="322" y="488"/>
                    <a:pt x="322" y="488"/>
                  </a:cubicBezTo>
                  <a:cubicBezTo>
                    <a:pt x="322" y="488"/>
                    <a:pt x="328" y="484"/>
                    <a:pt x="328" y="484"/>
                  </a:cubicBezTo>
                  <a:cubicBezTo>
                    <a:pt x="328" y="484"/>
                    <a:pt x="332" y="479"/>
                    <a:pt x="332" y="479"/>
                  </a:cubicBezTo>
                  <a:cubicBezTo>
                    <a:pt x="332" y="485"/>
                    <a:pt x="332" y="485"/>
                    <a:pt x="332" y="485"/>
                  </a:cubicBezTo>
                  <a:cubicBezTo>
                    <a:pt x="336" y="488"/>
                    <a:pt x="336" y="488"/>
                    <a:pt x="336" y="488"/>
                  </a:cubicBezTo>
                  <a:cubicBezTo>
                    <a:pt x="336" y="488"/>
                    <a:pt x="342" y="476"/>
                    <a:pt x="343" y="476"/>
                  </a:cubicBezTo>
                  <a:cubicBezTo>
                    <a:pt x="343" y="476"/>
                    <a:pt x="346" y="476"/>
                    <a:pt x="346" y="475"/>
                  </a:cubicBezTo>
                  <a:cubicBezTo>
                    <a:pt x="346" y="475"/>
                    <a:pt x="347" y="469"/>
                    <a:pt x="347" y="469"/>
                  </a:cubicBezTo>
                  <a:cubicBezTo>
                    <a:pt x="354" y="457"/>
                    <a:pt x="354" y="457"/>
                    <a:pt x="354" y="457"/>
                  </a:cubicBezTo>
                  <a:cubicBezTo>
                    <a:pt x="352" y="440"/>
                    <a:pt x="352" y="440"/>
                    <a:pt x="352" y="440"/>
                  </a:cubicBezTo>
                  <a:cubicBezTo>
                    <a:pt x="356" y="436"/>
                    <a:pt x="356" y="436"/>
                    <a:pt x="356" y="436"/>
                  </a:cubicBezTo>
                  <a:cubicBezTo>
                    <a:pt x="355" y="423"/>
                    <a:pt x="355" y="423"/>
                    <a:pt x="355" y="423"/>
                  </a:cubicBezTo>
                  <a:cubicBezTo>
                    <a:pt x="355" y="423"/>
                    <a:pt x="358" y="416"/>
                    <a:pt x="358" y="416"/>
                  </a:cubicBezTo>
                  <a:cubicBezTo>
                    <a:pt x="358" y="416"/>
                    <a:pt x="359" y="408"/>
                    <a:pt x="359" y="408"/>
                  </a:cubicBezTo>
                  <a:cubicBezTo>
                    <a:pt x="363" y="402"/>
                    <a:pt x="363" y="402"/>
                    <a:pt x="363" y="402"/>
                  </a:cubicBezTo>
                  <a:cubicBezTo>
                    <a:pt x="379" y="394"/>
                    <a:pt x="379" y="394"/>
                    <a:pt x="379" y="394"/>
                  </a:cubicBezTo>
                  <a:cubicBezTo>
                    <a:pt x="380" y="386"/>
                    <a:pt x="380" y="386"/>
                    <a:pt x="380" y="386"/>
                  </a:cubicBezTo>
                  <a:cubicBezTo>
                    <a:pt x="381" y="380"/>
                    <a:pt x="381" y="380"/>
                    <a:pt x="381" y="380"/>
                  </a:cubicBezTo>
                  <a:cubicBezTo>
                    <a:pt x="364" y="371"/>
                    <a:pt x="364" y="371"/>
                    <a:pt x="364" y="371"/>
                  </a:cubicBezTo>
                  <a:cubicBezTo>
                    <a:pt x="364" y="366"/>
                    <a:pt x="364" y="366"/>
                    <a:pt x="364" y="366"/>
                  </a:cubicBezTo>
                  <a:cubicBezTo>
                    <a:pt x="359" y="369"/>
                    <a:pt x="359" y="369"/>
                    <a:pt x="359" y="369"/>
                  </a:cubicBezTo>
                  <a:cubicBezTo>
                    <a:pt x="359" y="369"/>
                    <a:pt x="355" y="365"/>
                    <a:pt x="355" y="364"/>
                  </a:cubicBez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49" name="Freeform 47">
              <a:extLst>
                <a:ext uri="{FF2B5EF4-FFF2-40B4-BE49-F238E27FC236}">
                  <a16:creationId xmlns:a16="http://schemas.microsoft.com/office/drawing/2014/main" id="{05CE9C24-227D-8742-5F52-30A78F0834AD}"/>
                </a:ext>
              </a:extLst>
            </p:cNvPr>
            <p:cNvSpPr>
              <a:spLocks/>
            </p:cNvSpPr>
            <p:nvPr/>
          </p:nvSpPr>
          <p:spPr bwMode="auto">
            <a:xfrm>
              <a:off x="3602038" y="3995738"/>
              <a:ext cx="187325" cy="328613"/>
            </a:xfrm>
            <a:custGeom>
              <a:avLst/>
              <a:gdLst>
                <a:gd name="T0" fmla="*/ 350760328 w 49"/>
                <a:gd name="T1" fmla="*/ 0 h 86"/>
                <a:gd name="T2" fmla="*/ 306914809 w 49"/>
                <a:gd name="T3" fmla="*/ 58401408 h 86"/>
                <a:gd name="T4" fmla="*/ 189993426 w 49"/>
                <a:gd name="T5" fmla="*/ 321215386 h 86"/>
                <a:gd name="T6" fmla="*/ 29230346 w 49"/>
                <a:gd name="T7" fmla="*/ 730032885 h 86"/>
                <a:gd name="T8" fmla="*/ 0 w 49"/>
                <a:gd name="T9" fmla="*/ 803034645 h 86"/>
                <a:gd name="T10" fmla="*/ 14615173 w 49"/>
                <a:gd name="T11" fmla="*/ 846839522 h 86"/>
                <a:gd name="T12" fmla="*/ 58460692 w 49"/>
                <a:gd name="T13" fmla="*/ 890640578 h 86"/>
                <a:gd name="T14" fmla="*/ 58460692 w 49"/>
                <a:gd name="T15" fmla="*/ 963642338 h 86"/>
                <a:gd name="T16" fmla="*/ 131536557 w 49"/>
                <a:gd name="T17" fmla="*/ 1065848623 h 86"/>
                <a:gd name="T18" fmla="*/ 189993426 w 49"/>
                <a:gd name="T19" fmla="*/ 1036647919 h 86"/>
                <a:gd name="T20" fmla="*/ 233838944 w 49"/>
                <a:gd name="T21" fmla="*/ 1197255613 h 86"/>
                <a:gd name="T22" fmla="*/ 365375501 w 49"/>
                <a:gd name="T23" fmla="*/ 1211855965 h 86"/>
                <a:gd name="T24" fmla="*/ 423836193 w 49"/>
                <a:gd name="T25" fmla="*/ 1255657021 h 86"/>
                <a:gd name="T26" fmla="*/ 716135829 w 49"/>
                <a:gd name="T27" fmla="*/ 1168054909 h 86"/>
                <a:gd name="T28" fmla="*/ 672290310 w 49"/>
                <a:gd name="T29" fmla="*/ 1124250031 h 86"/>
                <a:gd name="T30" fmla="*/ 686905483 w 49"/>
                <a:gd name="T31" fmla="*/ 846839522 h 86"/>
                <a:gd name="T32" fmla="*/ 569984099 w 49"/>
                <a:gd name="T33" fmla="*/ 715432533 h 86"/>
                <a:gd name="T34" fmla="*/ 584599272 w 49"/>
                <a:gd name="T35" fmla="*/ 511023784 h 86"/>
                <a:gd name="T36" fmla="*/ 482296885 w 49"/>
                <a:gd name="T37" fmla="*/ 335815738 h 86"/>
                <a:gd name="T38" fmla="*/ 394605847 w 49"/>
                <a:gd name="T39" fmla="*/ 116806637 h 86"/>
                <a:gd name="T40" fmla="*/ 423836193 w 49"/>
                <a:gd name="T41" fmla="*/ 73001760 h 86"/>
                <a:gd name="T42" fmla="*/ 379990674 w 49"/>
                <a:gd name="T43" fmla="*/ 58401408 h 86"/>
                <a:gd name="T44" fmla="*/ 350760328 w 49"/>
                <a:gd name="T45" fmla="*/ 0 h 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9" h="86">
                  <a:moveTo>
                    <a:pt x="24" y="0"/>
                  </a:moveTo>
                  <a:cubicBezTo>
                    <a:pt x="21" y="4"/>
                    <a:pt x="21" y="4"/>
                    <a:pt x="21" y="4"/>
                  </a:cubicBezTo>
                  <a:cubicBezTo>
                    <a:pt x="13" y="22"/>
                    <a:pt x="13" y="22"/>
                    <a:pt x="13" y="22"/>
                  </a:cubicBezTo>
                  <a:cubicBezTo>
                    <a:pt x="2" y="50"/>
                    <a:pt x="2" y="50"/>
                    <a:pt x="2" y="50"/>
                  </a:cubicBezTo>
                  <a:cubicBezTo>
                    <a:pt x="0" y="55"/>
                    <a:pt x="0" y="55"/>
                    <a:pt x="0" y="55"/>
                  </a:cubicBezTo>
                  <a:cubicBezTo>
                    <a:pt x="1" y="58"/>
                    <a:pt x="1" y="58"/>
                    <a:pt x="1" y="58"/>
                  </a:cubicBezTo>
                  <a:cubicBezTo>
                    <a:pt x="4" y="61"/>
                    <a:pt x="4" y="61"/>
                    <a:pt x="4" y="61"/>
                  </a:cubicBezTo>
                  <a:cubicBezTo>
                    <a:pt x="4" y="66"/>
                    <a:pt x="4" y="66"/>
                    <a:pt x="4" y="66"/>
                  </a:cubicBezTo>
                  <a:cubicBezTo>
                    <a:pt x="9" y="73"/>
                    <a:pt x="9" y="73"/>
                    <a:pt x="9" y="73"/>
                  </a:cubicBezTo>
                  <a:cubicBezTo>
                    <a:pt x="13" y="71"/>
                    <a:pt x="13" y="71"/>
                    <a:pt x="13" y="71"/>
                  </a:cubicBezTo>
                  <a:cubicBezTo>
                    <a:pt x="16" y="82"/>
                    <a:pt x="16" y="82"/>
                    <a:pt x="16" y="82"/>
                  </a:cubicBezTo>
                  <a:cubicBezTo>
                    <a:pt x="25" y="83"/>
                    <a:pt x="25" y="83"/>
                    <a:pt x="25" y="83"/>
                  </a:cubicBezTo>
                  <a:cubicBezTo>
                    <a:pt x="29" y="86"/>
                    <a:pt x="29" y="86"/>
                    <a:pt x="29" y="86"/>
                  </a:cubicBezTo>
                  <a:cubicBezTo>
                    <a:pt x="49" y="80"/>
                    <a:pt x="49" y="80"/>
                    <a:pt x="49" y="80"/>
                  </a:cubicBezTo>
                  <a:cubicBezTo>
                    <a:pt x="46" y="77"/>
                    <a:pt x="46" y="77"/>
                    <a:pt x="46" y="77"/>
                  </a:cubicBezTo>
                  <a:cubicBezTo>
                    <a:pt x="47" y="58"/>
                    <a:pt x="47" y="58"/>
                    <a:pt x="47" y="58"/>
                  </a:cubicBezTo>
                  <a:cubicBezTo>
                    <a:pt x="39" y="49"/>
                    <a:pt x="39" y="49"/>
                    <a:pt x="39" y="49"/>
                  </a:cubicBezTo>
                  <a:cubicBezTo>
                    <a:pt x="40" y="35"/>
                    <a:pt x="40" y="35"/>
                    <a:pt x="40" y="35"/>
                  </a:cubicBezTo>
                  <a:cubicBezTo>
                    <a:pt x="40" y="35"/>
                    <a:pt x="32" y="23"/>
                    <a:pt x="33" y="23"/>
                  </a:cubicBezTo>
                  <a:cubicBezTo>
                    <a:pt x="33" y="22"/>
                    <a:pt x="27" y="8"/>
                    <a:pt x="27" y="8"/>
                  </a:cubicBezTo>
                  <a:cubicBezTo>
                    <a:pt x="29" y="5"/>
                    <a:pt x="29" y="5"/>
                    <a:pt x="29" y="5"/>
                  </a:cubicBezTo>
                  <a:cubicBezTo>
                    <a:pt x="26" y="4"/>
                    <a:pt x="26" y="4"/>
                    <a:pt x="26" y="4"/>
                  </a:cubicBezTo>
                  <a:lnTo>
                    <a:pt x="24" y="0"/>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50" name="Freeform 48">
              <a:extLst>
                <a:ext uri="{FF2B5EF4-FFF2-40B4-BE49-F238E27FC236}">
                  <a16:creationId xmlns:a16="http://schemas.microsoft.com/office/drawing/2014/main" id="{36C61B48-B4C0-6232-CF12-357C49553CF8}"/>
                </a:ext>
              </a:extLst>
            </p:cNvPr>
            <p:cNvSpPr>
              <a:spLocks/>
            </p:cNvSpPr>
            <p:nvPr/>
          </p:nvSpPr>
          <p:spPr bwMode="auto">
            <a:xfrm>
              <a:off x="3317875" y="3905250"/>
              <a:ext cx="376237" cy="346075"/>
            </a:xfrm>
            <a:custGeom>
              <a:avLst/>
              <a:gdLst>
                <a:gd name="T0" fmla="*/ 967670163 w 99"/>
                <a:gd name="T1" fmla="*/ 0 h 91"/>
                <a:gd name="T2" fmla="*/ 881014041 w 99"/>
                <a:gd name="T3" fmla="*/ 43388678 h 91"/>
                <a:gd name="T4" fmla="*/ 837685980 w 99"/>
                <a:gd name="T5" fmla="*/ 130166033 h 91"/>
                <a:gd name="T6" fmla="*/ 765471278 w 99"/>
                <a:gd name="T7" fmla="*/ 159091818 h 91"/>
                <a:gd name="T8" fmla="*/ 765471278 w 99"/>
                <a:gd name="T9" fmla="*/ 289257852 h 91"/>
                <a:gd name="T10" fmla="*/ 837685980 w 99"/>
                <a:gd name="T11" fmla="*/ 347113225 h 91"/>
                <a:gd name="T12" fmla="*/ 808799339 w 99"/>
                <a:gd name="T13" fmla="*/ 448353473 h 91"/>
                <a:gd name="T14" fmla="*/ 751026058 w 99"/>
                <a:gd name="T15" fmla="*/ 607445291 h 91"/>
                <a:gd name="T16" fmla="*/ 664369936 w 99"/>
                <a:gd name="T17" fmla="*/ 578519506 h 91"/>
                <a:gd name="T18" fmla="*/ 621041875 w 99"/>
                <a:gd name="T19" fmla="*/ 549593721 h 91"/>
                <a:gd name="T20" fmla="*/ 519940532 w 99"/>
                <a:gd name="T21" fmla="*/ 520667936 h 91"/>
                <a:gd name="T22" fmla="*/ 476612471 w 99"/>
                <a:gd name="T23" fmla="*/ 404964795 h 91"/>
                <a:gd name="T24" fmla="*/ 534385753 w 99"/>
                <a:gd name="T25" fmla="*/ 347113225 h 91"/>
                <a:gd name="T26" fmla="*/ 433284410 w 99"/>
                <a:gd name="T27" fmla="*/ 216943389 h 91"/>
                <a:gd name="T28" fmla="*/ 288855007 w 99"/>
                <a:gd name="T29" fmla="*/ 245869174 h 91"/>
                <a:gd name="T30" fmla="*/ 101101343 w 99"/>
                <a:gd name="T31" fmla="*/ 318183637 h 91"/>
                <a:gd name="T32" fmla="*/ 158870824 w 99"/>
                <a:gd name="T33" fmla="*/ 390501903 h 91"/>
                <a:gd name="T34" fmla="*/ 115542763 w 99"/>
                <a:gd name="T35" fmla="*/ 462816366 h 91"/>
                <a:gd name="T36" fmla="*/ 57769481 w 99"/>
                <a:gd name="T37" fmla="*/ 578519506 h 91"/>
                <a:gd name="T38" fmla="*/ 28886641 w 99"/>
                <a:gd name="T39" fmla="*/ 650833969 h 91"/>
                <a:gd name="T40" fmla="*/ 0 w 99"/>
                <a:gd name="T41" fmla="*/ 781000002 h 91"/>
                <a:gd name="T42" fmla="*/ 57769481 w 99"/>
                <a:gd name="T43" fmla="*/ 795462895 h 91"/>
                <a:gd name="T44" fmla="*/ 72214702 w 99"/>
                <a:gd name="T45" fmla="*/ 853314465 h 91"/>
                <a:gd name="T46" fmla="*/ 129984183 w 99"/>
                <a:gd name="T47" fmla="*/ 1026872979 h 91"/>
                <a:gd name="T48" fmla="*/ 129984183 w 99"/>
                <a:gd name="T49" fmla="*/ 1157039013 h 91"/>
                <a:gd name="T50" fmla="*/ 202198885 w 99"/>
                <a:gd name="T51" fmla="*/ 1272742153 h 91"/>
                <a:gd name="T52" fmla="*/ 231085525 w 99"/>
                <a:gd name="T53" fmla="*/ 1171501905 h 91"/>
                <a:gd name="T54" fmla="*/ 375514929 w 99"/>
                <a:gd name="T55" fmla="*/ 1171501905 h 91"/>
                <a:gd name="T56" fmla="*/ 563272393 w 99"/>
                <a:gd name="T57" fmla="*/ 1258279261 h 91"/>
                <a:gd name="T58" fmla="*/ 765471278 w 99"/>
                <a:gd name="T59" fmla="*/ 1171501905 h 91"/>
                <a:gd name="T60" fmla="*/ 1025443444 w 99"/>
                <a:gd name="T61" fmla="*/ 1316130831 h 91"/>
                <a:gd name="T62" fmla="*/ 1140986207 w 99"/>
                <a:gd name="T63" fmla="*/ 1301667938 h 91"/>
                <a:gd name="T64" fmla="*/ 1140986207 w 99"/>
                <a:gd name="T65" fmla="*/ 1229353476 h 91"/>
                <a:gd name="T66" fmla="*/ 1097654346 w 99"/>
                <a:gd name="T67" fmla="*/ 1185964798 h 91"/>
                <a:gd name="T68" fmla="*/ 1083212926 w 99"/>
                <a:gd name="T69" fmla="*/ 1142576120 h 91"/>
                <a:gd name="T70" fmla="*/ 1112099566 w 99"/>
                <a:gd name="T71" fmla="*/ 1070261657 h 91"/>
                <a:gd name="T72" fmla="*/ 1270970390 w 99"/>
                <a:gd name="T73" fmla="*/ 665296862 h 91"/>
                <a:gd name="T74" fmla="*/ 1386513153 w 99"/>
                <a:gd name="T75" fmla="*/ 404964795 h 91"/>
                <a:gd name="T76" fmla="*/ 1429841214 w 99"/>
                <a:gd name="T77" fmla="*/ 347113225 h 91"/>
                <a:gd name="T78" fmla="*/ 1010998224 w 99"/>
                <a:gd name="T79" fmla="*/ 43388678 h 91"/>
                <a:gd name="T80" fmla="*/ 967670163 w 99"/>
                <a:gd name="T81" fmla="*/ 0 h 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9" h="91">
                  <a:moveTo>
                    <a:pt x="67" y="0"/>
                  </a:moveTo>
                  <a:cubicBezTo>
                    <a:pt x="61" y="3"/>
                    <a:pt x="61" y="3"/>
                    <a:pt x="61" y="3"/>
                  </a:cubicBezTo>
                  <a:cubicBezTo>
                    <a:pt x="58" y="9"/>
                    <a:pt x="58" y="9"/>
                    <a:pt x="58" y="9"/>
                  </a:cubicBezTo>
                  <a:cubicBezTo>
                    <a:pt x="53" y="11"/>
                    <a:pt x="53" y="11"/>
                    <a:pt x="53" y="11"/>
                  </a:cubicBezTo>
                  <a:cubicBezTo>
                    <a:pt x="53" y="20"/>
                    <a:pt x="53" y="20"/>
                    <a:pt x="53" y="20"/>
                  </a:cubicBezTo>
                  <a:cubicBezTo>
                    <a:pt x="58" y="24"/>
                    <a:pt x="58" y="24"/>
                    <a:pt x="58" y="24"/>
                  </a:cubicBezTo>
                  <a:cubicBezTo>
                    <a:pt x="58" y="24"/>
                    <a:pt x="56" y="30"/>
                    <a:pt x="56" y="31"/>
                  </a:cubicBezTo>
                  <a:cubicBezTo>
                    <a:pt x="56" y="31"/>
                    <a:pt x="52" y="42"/>
                    <a:pt x="52" y="42"/>
                  </a:cubicBezTo>
                  <a:cubicBezTo>
                    <a:pt x="52" y="42"/>
                    <a:pt x="46" y="40"/>
                    <a:pt x="46" y="40"/>
                  </a:cubicBezTo>
                  <a:cubicBezTo>
                    <a:pt x="46" y="40"/>
                    <a:pt x="43" y="38"/>
                    <a:pt x="43" y="38"/>
                  </a:cubicBezTo>
                  <a:cubicBezTo>
                    <a:pt x="36" y="36"/>
                    <a:pt x="36" y="36"/>
                    <a:pt x="36" y="36"/>
                  </a:cubicBezTo>
                  <a:cubicBezTo>
                    <a:pt x="33" y="28"/>
                    <a:pt x="33" y="28"/>
                    <a:pt x="33" y="28"/>
                  </a:cubicBezTo>
                  <a:cubicBezTo>
                    <a:pt x="37" y="24"/>
                    <a:pt x="37" y="24"/>
                    <a:pt x="37" y="24"/>
                  </a:cubicBezTo>
                  <a:cubicBezTo>
                    <a:pt x="30" y="15"/>
                    <a:pt x="30" y="15"/>
                    <a:pt x="30" y="15"/>
                  </a:cubicBezTo>
                  <a:cubicBezTo>
                    <a:pt x="20" y="17"/>
                    <a:pt x="20" y="17"/>
                    <a:pt x="20" y="17"/>
                  </a:cubicBezTo>
                  <a:cubicBezTo>
                    <a:pt x="7" y="22"/>
                    <a:pt x="7" y="22"/>
                    <a:pt x="7" y="22"/>
                  </a:cubicBezTo>
                  <a:cubicBezTo>
                    <a:pt x="11" y="27"/>
                    <a:pt x="11" y="27"/>
                    <a:pt x="11" y="27"/>
                  </a:cubicBezTo>
                  <a:cubicBezTo>
                    <a:pt x="8" y="32"/>
                    <a:pt x="8" y="32"/>
                    <a:pt x="8" y="32"/>
                  </a:cubicBezTo>
                  <a:cubicBezTo>
                    <a:pt x="4" y="40"/>
                    <a:pt x="4" y="40"/>
                    <a:pt x="4" y="40"/>
                  </a:cubicBezTo>
                  <a:cubicBezTo>
                    <a:pt x="2" y="45"/>
                    <a:pt x="2" y="45"/>
                    <a:pt x="2" y="45"/>
                  </a:cubicBezTo>
                  <a:cubicBezTo>
                    <a:pt x="0" y="54"/>
                    <a:pt x="0" y="54"/>
                    <a:pt x="0" y="54"/>
                  </a:cubicBezTo>
                  <a:cubicBezTo>
                    <a:pt x="4" y="55"/>
                    <a:pt x="4" y="55"/>
                    <a:pt x="4" y="55"/>
                  </a:cubicBezTo>
                  <a:cubicBezTo>
                    <a:pt x="5" y="59"/>
                    <a:pt x="5" y="59"/>
                    <a:pt x="5" y="59"/>
                  </a:cubicBezTo>
                  <a:cubicBezTo>
                    <a:pt x="9" y="71"/>
                    <a:pt x="9" y="71"/>
                    <a:pt x="9" y="71"/>
                  </a:cubicBezTo>
                  <a:cubicBezTo>
                    <a:pt x="9" y="80"/>
                    <a:pt x="9" y="80"/>
                    <a:pt x="9" y="80"/>
                  </a:cubicBezTo>
                  <a:cubicBezTo>
                    <a:pt x="14" y="88"/>
                    <a:pt x="14" y="88"/>
                    <a:pt x="14" y="88"/>
                  </a:cubicBezTo>
                  <a:cubicBezTo>
                    <a:pt x="16" y="81"/>
                    <a:pt x="16" y="81"/>
                    <a:pt x="16" y="81"/>
                  </a:cubicBezTo>
                  <a:cubicBezTo>
                    <a:pt x="26" y="81"/>
                    <a:pt x="26" y="81"/>
                    <a:pt x="26" y="81"/>
                  </a:cubicBezTo>
                  <a:cubicBezTo>
                    <a:pt x="39" y="87"/>
                    <a:pt x="39" y="87"/>
                    <a:pt x="39" y="87"/>
                  </a:cubicBezTo>
                  <a:cubicBezTo>
                    <a:pt x="53" y="81"/>
                    <a:pt x="53" y="81"/>
                    <a:pt x="53" y="81"/>
                  </a:cubicBezTo>
                  <a:cubicBezTo>
                    <a:pt x="71" y="91"/>
                    <a:pt x="71" y="91"/>
                    <a:pt x="71" y="91"/>
                  </a:cubicBezTo>
                  <a:cubicBezTo>
                    <a:pt x="79" y="90"/>
                    <a:pt x="79" y="90"/>
                    <a:pt x="79" y="90"/>
                  </a:cubicBezTo>
                  <a:cubicBezTo>
                    <a:pt x="79" y="85"/>
                    <a:pt x="79" y="85"/>
                    <a:pt x="79" y="85"/>
                  </a:cubicBezTo>
                  <a:cubicBezTo>
                    <a:pt x="76" y="82"/>
                    <a:pt x="76" y="82"/>
                    <a:pt x="76" y="82"/>
                  </a:cubicBezTo>
                  <a:cubicBezTo>
                    <a:pt x="75" y="79"/>
                    <a:pt x="75" y="79"/>
                    <a:pt x="75" y="79"/>
                  </a:cubicBezTo>
                  <a:cubicBezTo>
                    <a:pt x="77" y="74"/>
                    <a:pt x="77" y="74"/>
                    <a:pt x="77" y="74"/>
                  </a:cubicBezTo>
                  <a:cubicBezTo>
                    <a:pt x="88" y="46"/>
                    <a:pt x="88" y="46"/>
                    <a:pt x="88" y="46"/>
                  </a:cubicBezTo>
                  <a:cubicBezTo>
                    <a:pt x="96" y="28"/>
                    <a:pt x="96" y="28"/>
                    <a:pt x="96" y="28"/>
                  </a:cubicBezTo>
                  <a:cubicBezTo>
                    <a:pt x="99" y="24"/>
                    <a:pt x="99" y="24"/>
                    <a:pt x="99" y="24"/>
                  </a:cubicBezTo>
                  <a:cubicBezTo>
                    <a:pt x="70" y="3"/>
                    <a:pt x="70" y="3"/>
                    <a:pt x="70" y="3"/>
                  </a:cubicBezTo>
                  <a:lnTo>
                    <a:pt x="67" y="0"/>
                  </a:lnTo>
                  <a:close/>
                </a:path>
              </a:pathLst>
            </a:custGeom>
            <a:solidFill>
              <a:srgbClr val="FE6A7D"/>
            </a:solidFill>
            <a:ln w="7938" cap="flat">
              <a:solidFill>
                <a:schemeClr val="accent5"/>
              </a:solidFill>
              <a:prstDash val="solid"/>
              <a:miter lim="800000"/>
              <a:headEnd/>
              <a:tailEnd/>
            </a:ln>
          </p:spPr>
          <p:txBody>
            <a:bodyPr/>
            <a:lstStyle/>
            <a:p>
              <a:endParaRPr lang="ru-RU"/>
            </a:p>
          </p:txBody>
        </p:sp>
        <p:sp>
          <p:nvSpPr>
            <p:cNvPr id="51" name="Freeform 54">
              <a:extLst>
                <a:ext uri="{FF2B5EF4-FFF2-40B4-BE49-F238E27FC236}">
                  <a16:creationId xmlns:a16="http://schemas.microsoft.com/office/drawing/2014/main" id="{3946B640-7CED-797C-33F1-48833E518239}"/>
                </a:ext>
              </a:extLst>
            </p:cNvPr>
            <p:cNvSpPr>
              <a:spLocks/>
            </p:cNvSpPr>
            <p:nvPr/>
          </p:nvSpPr>
          <p:spPr bwMode="auto">
            <a:xfrm>
              <a:off x="3835400" y="3878263"/>
              <a:ext cx="384175" cy="274638"/>
            </a:xfrm>
            <a:custGeom>
              <a:avLst/>
              <a:gdLst>
                <a:gd name="T0" fmla="*/ 1331078890 w 101"/>
                <a:gd name="T1" fmla="*/ 145497109 h 72"/>
                <a:gd name="T2" fmla="*/ 1099584924 w 101"/>
                <a:gd name="T3" fmla="*/ 14548185 h 72"/>
                <a:gd name="T4" fmla="*/ 940433774 w 101"/>
                <a:gd name="T5" fmla="*/ 58200370 h 72"/>
                <a:gd name="T6" fmla="*/ 853625439 w 101"/>
                <a:gd name="T7" fmla="*/ 0 h 72"/>
                <a:gd name="T8" fmla="*/ 680008769 w 101"/>
                <a:gd name="T9" fmla="*/ 87300554 h 72"/>
                <a:gd name="T10" fmla="*/ 622135277 w 101"/>
                <a:gd name="T11" fmla="*/ 160049109 h 72"/>
                <a:gd name="T12" fmla="*/ 680008769 w 101"/>
                <a:gd name="T13" fmla="*/ 203697479 h 72"/>
                <a:gd name="T14" fmla="*/ 694474289 w 101"/>
                <a:gd name="T15" fmla="*/ 261897848 h 72"/>
                <a:gd name="T16" fmla="*/ 434045479 w 101"/>
                <a:gd name="T17" fmla="*/ 494691698 h 72"/>
                <a:gd name="T18" fmla="*/ 361706468 w 101"/>
                <a:gd name="T19" fmla="*/ 451043328 h 72"/>
                <a:gd name="T20" fmla="*/ 303832977 w 101"/>
                <a:gd name="T21" fmla="*/ 538340067 h 72"/>
                <a:gd name="T22" fmla="*/ 217024642 w 101"/>
                <a:gd name="T23" fmla="*/ 552892067 h 72"/>
                <a:gd name="T24" fmla="*/ 130212503 w 101"/>
                <a:gd name="T25" fmla="*/ 538340067 h 72"/>
                <a:gd name="T26" fmla="*/ 57873491 w 101"/>
                <a:gd name="T27" fmla="*/ 509243697 h 72"/>
                <a:gd name="T28" fmla="*/ 0 w 101"/>
                <a:gd name="T29" fmla="*/ 523791882 h 72"/>
                <a:gd name="T30" fmla="*/ 43404168 w 101"/>
                <a:gd name="T31" fmla="*/ 581992252 h 72"/>
                <a:gd name="T32" fmla="*/ 14469324 w 101"/>
                <a:gd name="T33" fmla="*/ 640188807 h 72"/>
                <a:gd name="T34" fmla="*/ 72342815 w 101"/>
                <a:gd name="T35" fmla="*/ 712937362 h 72"/>
                <a:gd name="T36" fmla="*/ 57873491 w 101"/>
                <a:gd name="T37" fmla="*/ 814786101 h 72"/>
                <a:gd name="T38" fmla="*/ 0 w 101"/>
                <a:gd name="T39" fmla="*/ 902086655 h 72"/>
                <a:gd name="T40" fmla="*/ 245959485 w 101"/>
                <a:gd name="T41" fmla="*/ 1033035579 h 72"/>
                <a:gd name="T42" fmla="*/ 405110636 w 101"/>
                <a:gd name="T43" fmla="*/ 1047583765 h 72"/>
                <a:gd name="T44" fmla="*/ 564261786 w 101"/>
                <a:gd name="T45" fmla="*/ 931186840 h 72"/>
                <a:gd name="T46" fmla="*/ 622135277 w 101"/>
                <a:gd name="T47" fmla="*/ 829338101 h 72"/>
                <a:gd name="T48" fmla="*/ 622135277 w 101"/>
                <a:gd name="T49" fmla="*/ 931186840 h 72"/>
                <a:gd name="T50" fmla="*/ 708943612 w 101"/>
                <a:gd name="T51" fmla="*/ 989383395 h 72"/>
                <a:gd name="T52" fmla="*/ 795751948 w 101"/>
                <a:gd name="T53" fmla="*/ 945735025 h 72"/>
                <a:gd name="T54" fmla="*/ 795751948 w 101"/>
                <a:gd name="T55" fmla="*/ 814786101 h 72"/>
                <a:gd name="T56" fmla="*/ 795751948 w 101"/>
                <a:gd name="T57" fmla="*/ 771137731 h 72"/>
                <a:gd name="T58" fmla="*/ 853625439 w 101"/>
                <a:gd name="T59" fmla="*/ 698389176 h 72"/>
                <a:gd name="T60" fmla="*/ 1085115600 w 101"/>
                <a:gd name="T61" fmla="*/ 698389176 h 72"/>
                <a:gd name="T62" fmla="*/ 1171927739 w 101"/>
                <a:gd name="T63" fmla="*/ 611092437 h 72"/>
                <a:gd name="T64" fmla="*/ 1229801231 w 101"/>
                <a:gd name="T65" fmla="*/ 436495142 h 72"/>
                <a:gd name="T66" fmla="*/ 1258736075 w 101"/>
                <a:gd name="T67" fmla="*/ 363742773 h 72"/>
                <a:gd name="T68" fmla="*/ 1316609566 w 101"/>
                <a:gd name="T69" fmla="*/ 320094403 h 72"/>
                <a:gd name="T70" fmla="*/ 1374483057 w 101"/>
                <a:gd name="T71" fmla="*/ 305546218 h 72"/>
                <a:gd name="T72" fmla="*/ 1403417901 w 101"/>
                <a:gd name="T73" fmla="*/ 290994219 h 72"/>
                <a:gd name="T74" fmla="*/ 1461291392 w 101"/>
                <a:gd name="T75" fmla="*/ 218245664 h 72"/>
                <a:gd name="T76" fmla="*/ 1417887225 w 101"/>
                <a:gd name="T77" fmla="*/ 145497109 h 72"/>
                <a:gd name="T78" fmla="*/ 1331078890 w 101"/>
                <a:gd name="T79" fmla="*/ 145497109 h 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1" h="72">
                  <a:moveTo>
                    <a:pt x="92" y="10"/>
                  </a:moveTo>
                  <a:cubicBezTo>
                    <a:pt x="76" y="1"/>
                    <a:pt x="76" y="1"/>
                    <a:pt x="76" y="1"/>
                  </a:cubicBezTo>
                  <a:cubicBezTo>
                    <a:pt x="65" y="4"/>
                    <a:pt x="65" y="4"/>
                    <a:pt x="65" y="4"/>
                  </a:cubicBezTo>
                  <a:cubicBezTo>
                    <a:pt x="59" y="0"/>
                    <a:pt x="59" y="0"/>
                    <a:pt x="59" y="0"/>
                  </a:cubicBezTo>
                  <a:cubicBezTo>
                    <a:pt x="59" y="0"/>
                    <a:pt x="47" y="6"/>
                    <a:pt x="47" y="6"/>
                  </a:cubicBezTo>
                  <a:cubicBezTo>
                    <a:pt x="46" y="7"/>
                    <a:pt x="43" y="11"/>
                    <a:pt x="43" y="11"/>
                  </a:cubicBezTo>
                  <a:cubicBezTo>
                    <a:pt x="47" y="14"/>
                    <a:pt x="47" y="14"/>
                    <a:pt x="47" y="14"/>
                  </a:cubicBezTo>
                  <a:cubicBezTo>
                    <a:pt x="48" y="18"/>
                    <a:pt x="48" y="18"/>
                    <a:pt x="48" y="18"/>
                  </a:cubicBezTo>
                  <a:cubicBezTo>
                    <a:pt x="30" y="34"/>
                    <a:pt x="30" y="34"/>
                    <a:pt x="30" y="34"/>
                  </a:cubicBezTo>
                  <a:cubicBezTo>
                    <a:pt x="25" y="31"/>
                    <a:pt x="25" y="31"/>
                    <a:pt x="25" y="31"/>
                  </a:cubicBezTo>
                  <a:cubicBezTo>
                    <a:pt x="21" y="37"/>
                    <a:pt x="21" y="37"/>
                    <a:pt x="21" y="37"/>
                  </a:cubicBezTo>
                  <a:cubicBezTo>
                    <a:pt x="15" y="38"/>
                    <a:pt x="15" y="38"/>
                    <a:pt x="15" y="38"/>
                  </a:cubicBezTo>
                  <a:cubicBezTo>
                    <a:pt x="9" y="37"/>
                    <a:pt x="9" y="37"/>
                    <a:pt x="9" y="37"/>
                  </a:cubicBezTo>
                  <a:cubicBezTo>
                    <a:pt x="4" y="35"/>
                    <a:pt x="4" y="35"/>
                    <a:pt x="4" y="35"/>
                  </a:cubicBezTo>
                  <a:cubicBezTo>
                    <a:pt x="0" y="36"/>
                    <a:pt x="0" y="36"/>
                    <a:pt x="0" y="36"/>
                  </a:cubicBezTo>
                  <a:cubicBezTo>
                    <a:pt x="3" y="40"/>
                    <a:pt x="3" y="40"/>
                    <a:pt x="3" y="40"/>
                  </a:cubicBezTo>
                  <a:cubicBezTo>
                    <a:pt x="1" y="44"/>
                    <a:pt x="1" y="44"/>
                    <a:pt x="1" y="44"/>
                  </a:cubicBezTo>
                  <a:cubicBezTo>
                    <a:pt x="5" y="49"/>
                    <a:pt x="5" y="49"/>
                    <a:pt x="5" y="49"/>
                  </a:cubicBezTo>
                  <a:cubicBezTo>
                    <a:pt x="4" y="56"/>
                    <a:pt x="4" y="56"/>
                    <a:pt x="4" y="56"/>
                  </a:cubicBezTo>
                  <a:cubicBezTo>
                    <a:pt x="0" y="62"/>
                    <a:pt x="0" y="62"/>
                    <a:pt x="0" y="62"/>
                  </a:cubicBezTo>
                  <a:cubicBezTo>
                    <a:pt x="17" y="71"/>
                    <a:pt x="17" y="71"/>
                    <a:pt x="17" y="71"/>
                  </a:cubicBezTo>
                  <a:cubicBezTo>
                    <a:pt x="28" y="72"/>
                    <a:pt x="28" y="72"/>
                    <a:pt x="28" y="72"/>
                  </a:cubicBezTo>
                  <a:cubicBezTo>
                    <a:pt x="39" y="64"/>
                    <a:pt x="39" y="64"/>
                    <a:pt x="39" y="64"/>
                  </a:cubicBezTo>
                  <a:cubicBezTo>
                    <a:pt x="43" y="57"/>
                    <a:pt x="43" y="57"/>
                    <a:pt x="43" y="57"/>
                  </a:cubicBezTo>
                  <a:cubicBezTo>
                    <a:pt x="43" y="64"/>
                    <a:pt x="43" y="64"/>
                    <a:pt x="43" y="64"/>
                  </a:cubicBezTo>
                  <a:cubicBezTo>
                    <a:pt x="49" y="68"/>
                    <a:pt x="49" y="68"/>
                    <a:pt x="49" y="68"/>
                  </a:cubicBezTo>
                  <a:cubicBezTo>
                    <a:pt x="55" y="65"/>
                    <a:pt x="55" y="65"/>
                    <a:pt x="55" y="65"/>
                  </a:cubicBezTo>
                  <a:cubicBezTo>
                    <a:pt x="55" y="65"/>
                    <a:pt x="55" y="57"/>
                    <a:pt x="55" y="56"/>
                  </a:cubicBezTo>
                  <a:cubicBezTo>
                    <a:pt x="55" y="56"/>
                    <a:pt x="55" y="54"/>
                    <a:pt x="55" y="53"/>
                  </a:cubicBezTo>
                  <a:cubicBezTo>
                    <a:pt x="56" y="53"/>
                    <a:pt x="59" y="48"/>
                    <a:pt x="59" y="48"/>
                  </a:cubicBezTo>
                  <a:cubicBezTo>
                    <a:pt x="75" y="48"/>
                    <a:pt x="75" y="48"/>
                    <a:pt x="75" y="48"/>
                  </a:cubicBezTo>
                  <a:cubicBezTo>
                    <a:pt x="81" y="42"/>
                    <a:pt x="81" y="42"/>
                    <a:pt x="81" y="42"/>
                  </a:cubicBezTo>
                  <a:cubicBezTo>
                    <a:pt x="81" y="42"/>
                    <a:pt x="85" y="30"/>
                    <a:pt x="85" y="30"/>
                  </a:cubicBezTo>
                  <a:cubicBezTo>
                    <a:pt x="85" y="29"/>
                    <a:pt x="86" y="26"/>
                    <a:pt x="87" y="25"/>
                  </a:cubicBezTo>
                  <a:cubicBezTo>
                    <a:pt x="87" y="25"/>
                    <a:pt x="91" y="22"/>
                    <a:pt x="91" y="22"/>
                  </a:cubicBezTo>
                  <a:cubicBezTo>
                    <a:pt x="91" y="22"/>
                    <a:pt x="94" y="21"/>
                    <a:pt x="95" y="21"/>
                  </a:cubicBezTo>
                  <a:cubicBezTo>
                    <a:pt x="95" y="21"/>
                    <a:pt x="97" y="20"/>
                    <a:pt x="97" y="20"/>
                  </a:cubicBezTo>
                  <a:cubicBezTo>
                    <a:pt x="101" y="15"/>
                    <a:pt x="101" y="15"/>
                    <a:pt x="101" y="15"/>
                  </a:cubicBezTo>
                  <a:cubicBezTo>
                    <a:pt x="98" y="10"/>
                    <a:pt x="98" y="10"/>
                    <a:pt x="98" y="10"/>
                  </a:cubicBezTo>
                  <a:lnTo>
                    <a:pt x="92" y="10"/>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52" name="Freeform 55">
              <a:extLst>
                <a:ext uri="{FF2B5EF4-FFF2-40B4-BE49-F238E27FC236}">
                  <a16:creationId xmlns:a16="http://schemas.microsoft.com/office/drawing/2014/main" id="{76276593-6E0E-29BC-70D6-EE7382CBF7B8}"/>
                </a:ext>
              </a:extLst>
            </p:cNvPr>
            <p:cNvSpPr>
              <a:spLocks/>
            </p:cNvSpPr>
            <p:nvPr/>
          </p:nvSpPr>
          <p:spPr bwMode="auto">
            <a:xfrm>
              <a:off x="3587750" y="3557588"/>
              <a:ext cx="688975" cy="557213"/>
            </a:xfrm>
            <a:custGeom>
              <a:avLst/>
              <a:gdLst>
                <a:gd name="T0" fmla="*/ 2147483646 w 181"/>
                <a:gd name="T1" fmla="*/ 1383758338 h 146"/>
                <a:gd name="T2" fmla="*/ 2147483646 w 181"/>
                <a:gd name="T3" fmla="*/ 1281795992 h 146"/>
                <a:gd name="T4" fmla="*/ 2147483646 w 181"/>
                <a:gd name="T5" fmla="*/ 1165269778 h 146"/>
                <a:gd name="T6" fmla="*/ 2147483646 w 181"/>
                <a:gd name="T7" fmla="*/ 1034175878 h 146"/>
                <a:gd name="T8" fmla="*/ 2147483646 w 181"/>
                <a:gd name="T9" fmla="*/ 844822688 h 146"/>
                <a:gd name="T10" fmla="*/ 2147483646 w 181"/>
                <a:gd name="T11" fmla="*/ 670029550 h 146"/>
                <a:gd name="T12" fmla="*/ 1912598406 w 181"/>
                <a:gd name="T13" fmla="*/ 0 h 146"/>
                <a:gd name="T14" fmla="*/ 1463428578 w 181"/>
                <a:gd name="T15" fmla="*/ 174789322 h 146"/>
                <a:gd name="T16" fmla="*/ 1086703900 w 181"/>
                <a:gd name="T17" fmla="*/ 320450906 h 146"/>
                <a:gd name="T18" fmla="*/ 1028746257 w 181"/>
                <a:gd name="T19" fmla="*/ 422409436 h 146"/>
                <a:gd name="T20" fmla="*/ 1043233764 w 181"/>
                <a:gd name="T21" fmla="*/ 597202574 h 146"/>
                <a:gd name="T22" fmla="*/ 985276121 w 181"/>
                <a:gd name="T23" fmla="*/ 670029550 h 146"/>
                <a:gd name="T24" fmla="*/ 883852150 w 181"/>
                <a:gd name="T25" fmla="*/ 670029550 h 146"/>
                <a:gd name="T26" fmla="*/ 869364642 w 181"/>
                <a:gd name="T27" fmla="*/ 801123449 h 146"/>
                <a:gd name="T28" fmla="*/ 623042757 w 181"/>
                <a:gd name="T29" fmla="*/ 742860342 h 146"/>
                <a:gd name="T30" fmla="*/ 550597607 w 181"/>
                <a:gd name="T31" fmla="*/ 757424211 h 146"/>
                <a:gd name="T32" fmla="*/ 521618785 w 181"/>
                <a:gd name="T33" fmla="*/ 801123449 h 146"/>
                <a:gd name="T34" fmla="*/ 449169829 w 181"/>
                <a:gd name="T35" fmla="*/ 975912771 h 146"/>
                <a:gd name="T36" fmla="*/ 391212186 w 181"/>
                <a:gd name="T37" fmla="*/ 1005044325 h 146"/>
                <a:gd name="T38" fmla="*/ 318767035 w 181"/>
                <a:gd name="T39" fmla="*/ 1107006671 h 146"/>
                <a:gd name="T40" fmla="*/ 260809393 w 181"/>
                <a:gd name="T41" fmla="*/ 1107006671 h 146"/>
                <a:gd name="T42" fmla="*/ 202851750 w 181"/>
                <a:gd name="T43" fmla="*/ 1194401332 h 146"/>
                <a:gd name="T44" fmla="*/ 0 w 181"/>
                <a:gd name="T45" fmla="*/ 1267232124 h 146"/>
                <a:gd name="T46" fmla="*/ 28978821 w 181"/>
                <a:gd name="T47" fmla="*/ 1398326024 h 146"/>
                <a:gd name="T48" fmla="*/ 405703500 w 181"/>
                <a:gd name="T49" fmla="*/ 1675077691 h 146"/>
                <a:gd name="T50" fmla="*/ 434682321 w 181"/>
                <a:gd name="T51" fmla="*/ 1733340798 h 146"/>
                <a:gd name="T52" fmla="*/ 478148650 w 181"/>
                <a:gd name="T53" fmla="*/ 1747904667 h 146"/>
                <a:gd name="T54" fmla="*/ 941809793 w 181"/>
                <a:gd name="T55" fmla="*/ 2126618681 h 146"/>
                <a:gd name="T56" fmla="*/ 999767435 w 181"/>
                <a:gd name="T57" fmla="*/ 2039224020 h 146"/>
                <a:gd name="T58" fmla="*/ 1014254943 w 181"/>
                <a:gd name="T59" fmla="*/ 1937261674 h 146"/>
                <a:gd name="T60" fmla="*/ 956297300 w 181"/>
                <a:gd name="T61" fmla="*/ 1864434698 h 146"/>
                <a:gd name="T62" fmla="*/ 985276121 w 181"/>
                <a:gd name="T63" fmla="*/ 1806167774 h 146"/>
                <a:gd name="T64" fmla="*/ 941809793 w 181"/>
                <a:gd name="T65" fmla="*/ 1747904667 h 146"/>
                <a:gd name="T66" fmla="*/ 999767435 w 181"/>
                <a:gd name="T67" fmla="*/ 1733340798 h 146"/>
                <a:gd name="T68" fmla="*/ 1072212586 w 181"/>
                <a:gd name="T69" fmla="*/ 1762472352 h 146"/>
                <a:gd name="T70" fmla="*/ 1159149050 w 181"/>
                <a:gd name="T71" fmla="*/ 1777036221 h 146"/>
                <a:gd name="T72" fmla="*/ 1246085514 w 181"/>
                <a:gd name="T73" fmla="*/ 1762472352 h 146"/>
                <a:gd name="T74" fmla="*/ 1304043157 w 181"/>
                <a:gd name="T75" fmla="*/ 1675077691 h 146"/>
                <a:gd name="T76" fmla="*/ 1376492114 w 181"/>
                <a:gd name="T77" fmla="*/ 1718773113 h 146"/>
                <a:gd name="T78" fmla="*/ 1637301506 w 181"/>
                <a:gd name="T79" fmla="*/ 1485720684 h 146"/>
                <a:gd name="T80" fmla="*/ 1622810192 w 181"/>
                <a:gd name="T81" fmla="*/ 1427457577 h 146"/>
                <a:gd name="T82" fmla="*/ 1564852550 w 181"/>
                <a:gd name="T83" fmla="*/ 1383758338 h 146"/>
                <a:gd name="T84" fmla="*/ 1622810192 w 181"/>
                <a:gd name="T85" fmla="*/ 1310927546 h 146"/>
                <a:gd name="T86" fmla="*/ 1796683121 w 181"/>
                <a:gd name="T87" fmla="*/ 1223532885 h 146"/>
                <a:gd name="T88" fmla="*/ 1883619585 w 181"/>
                <a:gd name="T89" fmla="*/ 1281795992 h 146"/>
                <a:gd name="T90" fmla="*/ 2043001200 w 181"/>
                <a:gd name="T91" fmla="*/ 1238100570 h 146"/>
                <a:gd name="T92" fmla="*/ 2147483646 w 181"/>
                <a:gd name="T93" fmla="*/ 1369194470 h 146"/>
                <a:gd name="T94" fmla="*/ 2147483646 w 181"/>
                <a:gd name="T95" fmla="*/ 1369194470 h 146"/>
                <a:gd name="T96" fmla="*/ 2147483646 w 181"/>
                <a:gd name="T97" fmla="*/ 1442021446 h 146"/>
                <a:gd name="T98" fmla="*/ 2147483646 w 181"/>
                <a:gd name="T99" fmla="*/ 1543983792 h 146"/>
                <a:gd name="T100" fmla="*/ 2147483646 w 181"/>
                <a:gd name="T101" fmla="*/ 1500284553 h 146"/>
                <a:gd name="T102" fmla="*/ 2147483646 w 181"/>
                <a:gd name="T103" fmla="*/ 1485720684 h 146"/>
                <a:gd name="T104" fmla="*/ 2147483646 w 181"/>
                <a:gd name="T105" fmla="*/ 1412889892 h 146"/>
                <a:gd name="T106" fmla="*/ 2147483646 w 181"/>
                <a:gd name="T107" fmla="*/ 1383758338 h 1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1" h="146">
                  <a:moveTo>
                    <a:pt x="178" y="95"/>
                  </a:moveTo>
                  <a:cubicBezTo>
                    <a:pt x="174" y="88"/>
                    <a:pt x="174" y="88"/>
                    <a:pt x="174" y="88"/>
                  </a:cubicBezTo>
                  <a:cubicBezTo>
                    <a:pt x="168" y="80"/>
                    <a:pt x="168" y="80"/>
                    <a:pt x="168" y="80"/>
                  </a:cubicBezTo>
                  <a:cubicBezTo>
                    <a:pt x="165" y="71"/>
                    <a:pt x="165" y="71"/>
                    <a:pt x="165" y="71"/>
                  </a:cubicBezTo>
                  <a:cubicBezTo>
                    <a:pt x="150" y="58"/>
                    <a:pt x="150" y="58"/>
                    <a:pt x="150" y="58"/>
                  </a:cubicBezTo>
                  <a:cubicBezTo>
                    <a:pt x="149" y="46"/>
                    <a:pt x="149" y="46"/>
                    <a:pt x="149" y="46"/>
                  </a:cubicBezTo>
                  <a:cubicBezTo>
                    <a:pt x="132" y="0"/>
                    <a:pt x="132" y="0"/>
                    <a:pt x="132" y="0"/>
                  </a:cubicBezTo>
                  <a:cubicBezTo>
                    <a:pt x="101" y="12"/>
                    <a:pt x="101" y="12"/>
                    <a:pt x="101" y="12"/>
                  </a:cubicBezTo>
                  <a:cubicBezTo>
                    <a:pt x="75" y="22"/>
                    <a:pt x="75" y="22"/>
                    <a:pt x="75" y="22"/>
                  </a:cubicBezTo>
                  <a:cubicBezTo>
                    <a:pt x="71" y="29"/>
                    <a:pt x="71" y="29"/>
                    <a:pt x="71" y="29"/>
                  </a:cubicBezTo>
                  <a:cubicBezTo>
                    <a:pt x="72" y="41"/>
                    <a:pt x="72" y="41"/>
                    <a:pt x="72" y="41"/>
                  </a:cubicBezTo>
                  <a:cubicBezTo>
                    <a:pt x="68" y="46"/>
                    <a:pt x="68" y="46"/>
                    <a:pt x="68" y="46"/>
                  </a:cubicBezTo>
                  <a:cubicBezTo>
                    <a:pt x="61" y="46"/>
                    <a:pt x="61" y="46"/>
                    <a:pt x="61" y="46"/>
                  </a:cubicBezTo>
                  <a:cubicBezTo>
                    <a:pt x="60" y="55"/>
                    <a:pt x="60" y="55"/>
                    <a:pt x="60" y="55"/>
                  </a:cubicBezTo>
                  <a:cubicBezTo>
                    <a:pt x="43" y="51"/>
                    <a:pt x="43" y="51"/>
                    <a:pt x="43" y="51"/>
                  </a:cubicBezTo>
                  <a:cubicBezTo>
                    <a:pt x="38" y="52"/>
                    <a:pt x="38" y="52"/>
                    <a:pt x="38" y="52"/>
                  </a:cubicBezTo>
                  <a:cubicBezTo>
                    <a:pt x="36" y="55"/>
                    <a:pt x="36" y="55"/>
                    <a:pt x="36" y="55"/>
                  </a:cubicBezTo>
                  <a:cubicBezTo>
                    <a:pt x="31" y="67"/>
                    <a:pt x="31" y="67"/>
                    <a:pt x="31" y="67"/>
                  </a:cubicBezTo>
                  <a:cubicBezTo>
                    <a:pt x="27" y="69"/>
                    <a:pt x="27" y="69"/>
                    <a:pt x="27" y="69"/>
                  </a:cubicBezTo>
                  <a:cubicBezTo>
                    <a:pt x="22" y="76"/>
                    <a:pt x="22" y="76"/>
                    <a:pt x="22" y="76"/>
                  </a:cubicBezTo>
                  <a:cubicBezTo>
                    <a:pt x="18" y="76"/>
                    <a:pt x="18" y="76"/>
                    <a:pt x="18" y="76"/>
                  </a:cubicBezTo>
                  <a:cubicBezTo>
                    <a:pt x="14" y="82"/>
                    <a:pt x="14" y="82"/>
                    <a:pt x="14" y="82"/>
                  </a:cubicBezTo>
                  <a:cubicBezTo>
                    <a:pt x="0" y="87"/>
                    <a:pt x="0" y="87"/>
                    <a:pt x="0" y="87"/>
                  </a:cubicBezTo>
                  <a:cubicBezTo>
                    <a:pt x="0" y="87"/>
                    <a:pt x="1" y="93"/>
                    <a:pt x="2" y="96"/>
                  </a:cubicBezTo>
                  <a:cubicBezTo>
                    <a:pt x="28" y="115"/>
                    <a:pt x="28" y="115"/>
                    <a:pt x="28" y="115"/>
                  </a:cubicBezTo>
                  <a:cubicBezTo>
                    <a:pt x="30" y="119"/>
                    <a:pt x="30" y="119"/>
                    <a:pt x="30" y="119"/>
                  </a:cubicBezTo>
                  <a:cubicBezTo>
                    <a:pt x="33" y="120"/>
                    <a:pt x="33" y="120"/>
                    <a:pt x="33" y="120"/>
                  </a:cubicBezTo>
                  <a:cubicBezTo>
                    <a:pt x="65" y="146"/>
                    <a:pt x="65" y="146"/>
                    <a:pt x="65" y="146"/>
                  </a:cubicBezTo>
                  <a:cubicBezTo>
                    <a:pt x="69" y="140"/>
                    <a:pt x="69" y="140"/>
                    <a:pt x="69" y="140"/>
                  </a:cubicBezTo>
                  <a:cubicBezTo>
                    <a:pt x="70" y="133"/>
                    <a:pt x="70" y="133"/>
                    <a:pt x="70" y="133"/>
                  </a:cubicBezTo>
                  <a:cubicBezTo>
                    <a:pt x="66" y="128"/>
                    <a:pt x="66" y="128"/>
                    <a:pt x="66" y="128"/>
                  </a:cubicBezTo>
                  <a:cubicBezTo>
                    <a:pt x="68" y="124"/>
                    <a:pt x="68" y="124"/>
                    <a:pt x="68" y="124"/>
                  </a:cubicBezTo>
                  <a:cubicBezTo>
                    <a:pt x="65" y="120"/>
                    <a:pt x="65" y="120"/>
                    <a:pt x="65" y="120"/>
                  </a:cubicBezTo>
                  <a:cubicBezTo>
                    <a:pt x="69" y="119"/>
                    <a:pt x="69" y="119"/>
                    <a:pt x="69" y="119"/>
                  </a:cubicBezTo>
                  <a:cubicBezTo>
                    <a:pt x="74" y="121"/>
                    <a:pt x="74" y="121"/>
                    <a:pt x="74" y="121"/>
                  </a:cubicBezTo>
                  <a:cubicBezTo>
                    <a:pt x="80" y="122"/>
                    <a:pt x="80" y="122"/>
                    <a:pt x="80" y="122"/>
                  </a:cubicBezTo>
                  <a:cubicBezTo>
                    <a:pt x="86" y="121"/>
                    <a:pt x="86" y="121"/>
                    <a:pt x="86" y="121"/>
                  </a:cubicBezTo>
                  <a:cubicBezTo>
                    <a:pt x="90" y="115"/>
                    <a:pt x="90" y="115"/>
                    <a:pt x="90" y="115"/>
                  </a:cubicBezTo>
                  <a:cubicBezTo>
                    <a:pt x="95" y="118"/>
                    <a:pt x="95" y="118"/>
                    <a:pt x="95" y="118"/>
                  </a:cubicBezTo>
                  <a:cubicBezTo>
                    <a:pt x="113" y="102"/>
                    <a:pt x="113" y="102"/>
                    <a:pt x="113" y="102"/>
                  </a:cubicBezTo>
                  <a:cubicBezTo>
                    <a:pt x="112" y="98"/>
                    <a:pt x="112" y="98"/>
                    <a:pt x="112" y="98"/>
                  </a:cubicBezTo>
                  <a:cubicBezTo>
                    <a:pt x="108" y="95"/>
                    <a:pt x="108" y="95"/>
                    <a:pt x="108" y="95"/>
                  </a:cubicBezTo>
                  <a:cubicBezTo>
                    <a:pt x="108" y="95"/>
                    <a:pt x="111" y="91"/>
                    <a:pt x="112" y="90"/>
                  </a:cubicBezTo>
                  <a:cubicBezTo>
                    <a:pt x="112" y="90"/>
                    <a:pt x="124" y="84"/>
                    <a:pt x="124" y="84"/>
                  </a:cubicBezTo>
                  <a:cubicBezTo>
                    <a:pt x="130" y="88"/>
                    <a:pt x="130" y="88"/>
                    <a:pt x="130" y="88"/>
                  </a:cubicBezTo>
                  <a:cubicBezTo>
                    <a:pt x="141" y="85"/>
                    <a:pt x="141" y="85"/>
                    <a:pt x="141" y="85"/>
                  </a:cubicBezTo>
                  <a:cubicBezTo>
                    <a:pt x="157" y="94"/>
                    <a:pt x="157" y="94"/>
                    <a:pt x="157" y="94"/>
                  </a:cubicBezTo>
                  <a:cubicBezTo>
                    <a:pt x="163" y="94"/>
                    <a:pt x="163" y="94"/>
                    <a:pt x="163" y="94"/>
                  </a:cubicBezTo>
                  <a:cubicBezTo>
                    <a:pt x="166" y="99"/>
                    <a:pt x="166" y="99"/>
                    <a:pt x="166" y="99"/>
                  </a:cubicBezTo>
                  <a:cubicBezTo>
                    <a:pt x="176" y="106"/>
                    <a:pt x="176" y="106"/>
                    <a:pt x="176" y="106"/>
                  </a:cubicBezTo>
                  <a:cubicBezTo>
                    <a:pt x="181" y="103"/>
                    <a:pt x="181" y="103"/>
                    <a:pt x="181" y="103"/>
                  </a:cubicBezTo>
                  <a:cubicBezTo>
                    <a:pt x="181" y="102"/>
                    <a:pt x="181" y="102"/>
                    <a:pt x="181" y="102"/>
                  </a:cubicBezTo>
                  <a:cubicBezTo>
                    <a:pt x="178" y="97"/>
                    <a:pt x="178" y="97"/>
                    <a:pt x="178" y="97"/>
                  </a:cubicBezTo>
                  <a:lnTo>
                    <a:pt x="178" y="95"/>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53" name="Freeform 56">
              <a:extLst>
                <a:ext uri="{FF2B5EF4-FFF2-40B4-BE49-F238E27FC236}">
                  <a16:creationId xmlns:a16="http://schemas.microsoft.com/office/drawing/2014/main" id="{EF28BBEC-0472-2080-7A79-F833E0D2E0CA}"/>
                </a:ext>
              </a:extLst>
            </p:cNvPr>
            <p:cNvSpPr>
              <a:spLocks/>
            </p:cNvSpPr>
            <p:nvPr/>
          </p:nvSpPr>
          <p:spPr bwMode="auto">
            <a:xfrm>
              <a:off x="3451225" y="2806700"/>
              <a:ext cx="1377950" cy="1139825"/>
            </a:xfrm>
            <a:custGeom>
              <a:avLst/>
              <a:gdLst>
                <a:gd name="T0" fmla="*/ 2147483646 w 362"/>
                <a:gd name="T1" fmla="*/ 1249778085 h 299"/>
                <a:gd name="T2" fmla="*/ 2147483646 w 362"/>
                <a:gd name="T3" fmla="*/ 944598519 h 299"/>
                <a:gd name="T4" fmla="*/ 2147483646 w 362"/>
                <a:gd name="T5" fmla="*/ 566759874 h 299"/>
                <a:gd name="T6" fmla="*/ 2147483646 w 362"/>
                <a:gd name="T7" fmla="*/ 377838645 h 299"/>
                <a:gd name="T8" fmla="*/ 2147483646 w 362"/>
                <a:gd name="T9" fmla="*/ 0 h 299"/>
                <a:gd name="T10" fmla="*/ 2147483646 w 362"/>
                <a:gd name="T11" fmla="*/ 741145474 h 299"/>
                <a:gd name="T12" fmla="*/ 2147483646 w 362"/>
                <a:gd name="T13" fmla="*/ 1060856857 h 299"/>
                <a:gd name="T14" fmla="*/ 2147483646 w 362"/>
                <a:gd name="T15" fmla="*/ 1685743993 h 299"/>
                <a:gd name="T16" fmla="*/ 2147483646 w 362"/>
                <a:gd name="T17" fmla="*/ 2019987191 h 299"/>
                <a:gd name="T18" fmla="*/ 2147483646 w 362"/>
                <a:gd name="T19" fmla="*/ 2147483646 h 299"/>
                <a:gd name="T20" fmla="*/ 2147483646 w 362"/>
                <a:gd name="T21" fmla="*/ 2147483646 h 299"/>
                <a:gd name="T22" fmla="*/ 2147483646 w 362"/>
                <a:gd name="T23" fmla="*/ 2147483646 h 299"/>
                <a:gd name="T24" fmla="*/ 1941577228 w 362"/>
                <a:gd name="T25" fmla="*/ 2147483646 h 299"/>
                <a:gd name="T26" fmla="*/ 1608322685 w 362"/>
                <a:gd name="T27" fmla="*/ 2147483646 h 299"/>
                <a:gd name="T28" fmla="*/ 1347513292 w 362"/>
                <a:gd name="T29" fmla="*/ 2147483646 h 299"/>
                <a:gd name="T30" fmla="*/ 1202619185 w 362"/>
                <a:gd name="T31" fmla="*/ 2147483646 h 299"/>
                <a:gd name="T32" fmla="*/ 898339657 w 362"/>
                <a:gd name="T33" fmla="*/ 2147483646 h 299"/>
                <a:gd name="T34" fmla="*/ 753449357 w 362"/>
                <a:gd name="T35" fmla="*/ 2147483646 h 299"/>
                <a:gd name="T36" fmla="*/ 478148650 w 362"/>
                <a:gd name="T37" fmla="*/ 2147483646 h 299"/>
                <a:gd name="T38" fmla="*/ 159381615 w 362"/>
                <a:gd name="T39" fmla="*/ 2147483646 h 299"/>
                <a:gd name="T40" fmla="*/ 130402793 w 362"/>
                <a:gd name="T41" fmla="*/ 2147483646 h 299"/>
                <a:gd name="T42" fmla="*/ 28978821 w 362"/>
                <a:gd name="T43" fmla="*/ 2147483646 h 299"/>
                <a:gd name="T44" fmla="*/ 1028746257 w 362"/>
                <a:gd name="T45" fmla="*/ 2147483646 h 299"/>
                <a:gd name="T46" fmla="*/ 1086703900 w 362"/>
                <a:gd name="T47" fmla="*/ 2147483646 h 299"/>
                <a:gd name="T48" fmla="*/ 1144661542 w 362"/>
                <a:gd name="T49" fmla="*/ 2147483646 h 299"/>
                <a:gd name="T50" fmla="*/ 1405470935 w 362"/>
                <a:gd name="T51" fmla="*/ 2147483646 h 299"/>
                <a:gd name="T52" fmla="*/ 1564852550 w 362"/>
                <a:gd name="T53" fmla="*/ 2147483646 h 299"/>
                <a:gd name="T54" fmla="*/ 1608322685 w 362"/>
                <a:gd name="T55" fmla="*/ 2147483646 h 299"/>
                <a:gd name="T56" fmla="*/ 2147483646 w 362"/>
                <a:gd name="T57" fmla="*/ 2147483646 h 299"/>
                <a:gd name="T58" fmla="*/ 2147483646 w 362"/>
                <a:gd name="T59" fmla="*/ 2147483646 h 299"/>
                <a:gd name="T60" fmla="*/ 2147483646 w 362"/>
                <a:gd name="T61" fmla="*/ 2147483646 h 299"/>
                <a:gd name="T62" fmla="*/ 2147483646 w 362"/>
                <a:gd name="T63" fmla="*/ 2147483646 h 299"/>
                <a:gd name="T64" fmla="*/ 2147483646 w 362"/>
                <a:gd name="T65" fmla="*/ 2147483646 h 299"/>
                <a:gd name="T66" fmla="*/ 2147483646 w 362"/>
                <a:gd name="T67" fmla="*/ 2147483646 h 299"/>
                <a:gd name="T68" fmla="*/ 2147483646 w 362"/>
                <a:gd name="T69" fmla="*/ 2147483646 h 299"/>
                <a:gd name="T70" fmla="*/ 2147483646 w 362"/>
                <a:gd name="T71" fmla="*/ 2147483646 h 299"/>
                <a:gd name="T72" fmla="*/ 2147483646 w 362"/>
                <a:gd name="T73" fmla="*/ 2147483646 h 299"/>
                <a:gd name="T74" fmla="*/ 2147483646 w 362"/>
                <a:gd name="T75" fmla="*/ 2147483646 h 299"/>
                <a:gd name="T76" fmla="*/ 2147483646 w 362"/>
                <a:gd name="T77" fmla="*/ 2147483646 h 299"/>
                <a:gd name="T78" fmla="*/ 2147483646 w 362"/>
                <a:gd name="T79" fmla="*/ 2147483646 h 299"/>
                <a:gd name="T80" fmla="*/ 2147483646 w 362"/>
                <a:gd name="T81" fmla="*/ 2147483646 h 299"/>
                <a:gd name="T82" fmla="*/ 2147483646 w 362"/>
                <a:gd name="T83" fmla="*/ 2147483646 h 299"/>
                <a:gd name="T84" fmla="*/ 2147483646 w 362"/>
                <a:gd name="T85" fmla="*/ 2147483646 h 299"/>
                <a:gd name="T86" fmla="*/ 2147483646 w 362"/>
                <a:gd name="T87" fmla="*/ 2147483646 h 299"/>
                <a:gd name="T88" fmla="*/ 2147483646 w 362"/>
                <a:gd name="T89" fmla="*/ 2147483646 h 299"/>
                <a:gd name="T90" fmla="*/ 2147483646 w 362"/>
                <a:gd name="T91" fmla="*/ 2147483646 h 29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62" h="299">
                  <a:moveTo>
                    <a:pt x="337" y="90"/>
                  </a:moveTo>
                  <a:cubicBezTo>
                    <a:pt x="345" y="86"/>
                    <a:pt x="345" y="86"/>
                    <a:pt x="345" y="86"/>
                  </a:cubicBezTo>
                  <a:cubicBezTo>
                    <a:pt x="359" y="81"/>
                    <a:pt x="359" y="81"/>
                    <a:pt x="359" y="81"/>
                  </a:cubicBezTo>
                  <a:cubicBezTo>
                    <a:pt x="340" y="65"/>
                    <a:pt x="340" y="65"/>
                    <a:pt x="340" y="65"/>
                  </a:cubicBezTo>
                  <a:cubicBezTo>
                    <a:pt x="327" y="57"/>
                    <a:pt x="327" y="57"/>
                    <a:pt x="327" y="57"/>
                  </a:cubicBezTo>
                  <a:cubicBezTo>
                    <a:pt x="320" y="39"/>
                    <a:pt x="320" y="39"/>
                    <a:pt x="320" y="39"/>
                  </a:cubicBezTo>
                  <a:cubicBezTo>
                    <a:pt x="320" y="39"/>
                    <a:pt x="317" y="34"/>
                    <a:pt x="316" y="33"/>
                  </a:cubicBezTo>
                  <a:cubicBezTo>
                    <a:pt x="315" y="32"/>
                    <a:pt x="308" y="26"/>
                    <a:pt x="307" y="26"/>
                  </a:cubicBezTo>
                  <a:cubicBezTo>
                    <a:pt x="307" y="25"/>
                    <a:pt x="298" y="11"/>
                    <a:pt x="298" y="11"/>
                  </a:cubicBezTo>
                  <a:cubicBezTo>
                    <a:pt x="295" y="0"/>
                    <a:pt x="295" y="0"/>
                    <a:pt x="295" y="0"/>
                  </a:cubicBezTo>
                  <a:cubicBezTo>
                    <a:pt x="219" y="45"/>
                    <a:pt x="219" y="45"/>
                    <a:pt x="219" y="45"/>
                  </a:cubicBezTo>
                  <a:cubicBezTo>
                    <a:pt x="217" y="51"/>
                    <a:pt x="217" y="51"/>
                    <a:pt x="217" y="51"/>
                  </a:cubicBezTo>
                  <a:cubicBezTo>
                    <a:pt x="214" y="52"/>
                    <a:pt x="214" y="52"/>
                    <a:pt x="214" y="52"/>
                  </a:cubicBezTo>
                  <a:cubicBezTo>
                    <a:pt x="209" y="73"/>
                    <a:pt x="209" y="73"/>
                    <a:pt x="209" y="73"/>
                  </a:cubicBezTo>
                  <a:cubicBezTo>
                    <a:pt x="156" y="113"/>
                    <a:pt x="156" y="113"/>
                    <a:pt x="156" y="113"/>
                  </a:cubicBezTo>
                  <a:cubicBezTo>
                    <a:pt x="153" y="116"/>
                    <a:pt x="153" y="116"/>
                    <a:pt x="153" y="116"/>
                  </a:cubicBezTo>
                  <a:cubicBezTo>
                    <a:pt x="153" y="116"/>
                    <a:pt x="153" y="123"/>
                    <a:pt x="153" y="124"/>
                  </a:cubicBezTo>
                  <a:cubicBezTo>
                    <a:pt x="153" y="125"/>
                    <a:pt x="164" y="139"/>
                    <a:pt x="164" y="139"/>
                  </a:cubicBezTo>
                  <a:cubicBezTo>
                    <a:pt x="165" y="175"/>
                    <a:pt x="165" y="175"/>
                    <a:pt x="165" y="175"/>
                  </a:cubicBezTo>
                  <a:cubicBezTo>
                    <a:pt x="170" y="179"/>
                    <a:pt x="170" y="179"/>
                    <a:pt x="170" y="179"/>
                  </a:cubicBezTo>
                  <a:cubicBezTo>
                    <a:pt x="167" y="181"/>
                    <a:pt x="167" y="181"/>
                    <a:pt x="167" y="181"/>
                  </a:cubicBezTo>
                  <a:cubicBezTo>
                    <a:pt x="163" y="179"/>
                    <a:pt x="163" y="179"/>
                    <a:pt x="163" y="179"/>
                  </a:cubicBezTo>
                  <a:cubicBezTo>
                    <a:pt x="160" y="180"/>
                    <a:pt x="160" y="180"/>
                    <a:pt x="160" y="180"/>
                  </a:cubicBezTo>
                  <a:cubicBezTo>
                    <a:pt x="149" y="189"/>
                    <a:pt x="149" y="189"/>
                    <a:pt x="149" y="189"/>
                  </a:cubicBezTo>
                  <a:cubicBezTo>
                    <a:pt x="142" y="187"/>
                    <a:pt x="142" y="187"/>
                    <a:pt x="142" y="187"/>
                  </a:cubicBezTo>
                  <a:cubicBezTo>
                    <a:pt x="134" y="195"/>
                    <a:pt x="134" y="195"/>
                    <a:pt x="134" y="195"/>
                  </a:cubicBezTo>
                  <a:cubicBezTo>
                    <a:pt x="118" y="196"/>
                    <a:pt x="118" y="196"/>
                    <a:pt x="118" y="196"/>
                  </a:cubicBezTo>
                  <a:cubicBezTo>
                    <a:pt x="111" y="203"/>
                    <a:pt x="111" y="203"/>
                    <a:pt x="111" y="203"/>
                  </a:cubicBezTo>
                  <a:cubicBezTo>
                    <a:pt x="98" y="209"/>
                    <a:pt x="98" y="209"/>
                    <a:pt x="98" y="209"/>
                  </a:cubicBezTo>
                  <a:cubicBezTo>
                    <a:pt x="98" y="209"/>
                    <a:pt x="94" y="209"/>
                    <a:pt x="93" y="208"/>
                  </a:cubicBezTo>
                  <a:cubicBezTo>
                    <a:pt x="93" y="208"/>
                    <a:pt x="87" y="206"/>
                    <a:pt x="87" y="206"/>
                  </a:cubicBezTo>
                  <a:cubicBezTo>
                    <a:pt x="83" y="208"/>
                    <a:pt x="83" y="208"/>
                    <a:pt x="83" y="208"/>
                  </a:cubicBezTo>
                  <a:cubicBezTo>
                    <a:pt x="72" y="207"/>
                    <a:pt x="72" y="207"/>
                    <a:pt x="72" y="207"/>
                  </a:cubicBezTo>
                  <a:cubicBezTo>
                    <a:pt x="62" y="187"/>
                    <a:pt x="62" y="187"/>
                    <a:pt x="62" y="187"/>
                  </a:cubicBezTo>
                  <a:cubicBezTo>
                    <a:pt x="56" y="183"/>
                    <a:pt x="56" y="183"/>
                    <a:pt x="56" y="183"/>
                  </a:cubicBezTo>
                  <a:cubicBezTo>
                    <a:pt x="52" y="186"/>
                    <a:pt x="52" y="186"/>
                    <a:pt x="52" y="186"/>
                  </a:cubicBezTo>
                  <a:cubicBezTo>
                    <a:pt x="47" y="186"/>
                    <a:pt x="47" y="186"/>
                    <a:pt x="47" y="186"/>
                  </a:cubicBezTo>
                  <a:cubicBezTo>
                    <a:pt x="33" y="179"/>
                    <a:pt x="33" y="179"/>
                    <a:pt x="33" y="179"/>
                  </a:cubicBezTo>
                  <a:cubicBezTo>
                    <a:pt x="23" y="184"/>
                    <a:pt x="23" y="184"/>
                    <a:pt x="23" y="184"/>
                  </a:cubicBezTo>
                  <a:cubicBezTo>
                    <a:pt x="11" y="183"/>
                    <a:pt x="11" y="183"/>
                    <a:pt x="11" y="183"/>
                  </a:cubicBezTo>
                  <a:cubicBezTo>
                    <a:pt x="10" y="186"/>
                    <a:pt x="10" y="186"/>
                    <a:pt x="10" y="186"/>
                  </a:cubicBezTo>
                  <a:cubicBezTo>
                    <a:pt x="9" y="196"/>
                    <a:pt x="9" y="196"/>
                    <a:pt x="9" y="196"/>
                  </a:cubicBezTo>
                  <a:cubicBezTo>
                    <a:pt x="0" y="207"/>
                    <a:pt x="0" y="207"/>
                    <a:pt x="0" y="207"/>
                  </a:cubicBezTo>
                  <a:cubicBezTo>
                    <a:pt x="2" y="209"/>
                    <a:pt x="2" y="209"/>
                    <a:pt x="2" y="209"/>
                  </a:cubicBezTo>
                  <a:cubicBezTo>
                    <a:pt x="71" y="218"/>
                    <a:pt x="71" y="218"/>
                    <a:pt x="71" y="218"/>
                  </a:cubicBezTo>
                  <a:cubicBezTo>
                    <a:pt x="71" y="222"/>
                    <a:pt x="71" y="222"/>
                    <a:pt x="71" y="222"/>
                  </a:cubicBezTo>
                  <a:cubicBezTo>
                    <a:pt x="69" y="230"/>
                    <a:pt x="69" y="230"/>
                    <a:pt x="69" y="230"/>
                  </a:cubicBezTo>
                  <a:cubicBezTo>
                    <a:pt x="75" y="238"/>
                    <a:pt x="75" y="238"/>
                    <a:pt x="75" y="238"/>
                  </a:cubicBezTo>
                  <a:cubicBezTo>
                    <a:pt x="74" y="249"/>
                    <a:pt x="74" y="249"/>
                    <a:pt x="74" y="249"/>
                  </a:cubicBezTo>
                  <a:cubicBezTo>
                    <a:pt x="79" y="248"/>
                    <a:pt x="79" y="248"/>
                    <a:pt x="79" y="248"/>
                  </a:cubicBezTo>
                  <a:cubicBezTo>
                    <a:pt x="96" y="252"/>
                    <a:pt x="96" y="252"/>
                    <a:pt x="96" y="252"/>
                  </a:cubicBezTo>
                  <a:cubicBezTo>
                    <a:pt x="97" y="243"/>
                    <a:pt x="97" y="243"/>
                    <a:pt x="97" y="243"/>
                  </a:cubicBezTo>
                  <a:cubicBezTo>
                    <a:pt x="104" y="243"/>
                    <a:pt x="104" y="243"/>
                    <a:pt x="104" y="243"/>
                  </a:cubicBezTo>
                  <a:cubicBezTo>
                    <a:pt x="108" y="238"/>
                    <a:pt x="108" y="238"/>
                    <a:pt x="108" y="238"/>
                  </a:cubicBezTo>
                  <a:cubicBezTo>
                    <a:pt x="107" y="226"/>
                    <a:pt x="107" y="226"/>
                    <a:pt x="107" y="226"/>
                  </a:cubicBezTo>
                  <a:cubicBezTo>
                    <a:pt x="111" y="219"/>
                    <a:pt x="111" y="219"/>
                    <a:pt x="111" y="219"/>
                  </a:cubicBezTo>
                  <a:cubicBezTo>
                    <a:pt x="137" y="209"/>
                    <a:pt x="137" y="209"/>
                    <a:pt x="137" y="209"/>
                  </a:cubicBezTo>
                  <a:cubicBezTo>
                    <a:pt x="168" y="197"/>
                    <a:pt x="168" y="197"/>
                    <a:pt x="168" y="197"/>
                  </a:cubicBezTo>
                  <a:cubicBezTo>
                    <a:pt x="185" y="243"/>
                    <a:pt x="185" y="243"/>
                    <a:pt x="185" y="243"/>
                  </a:cubicBezTo>
                  <a:cubicBezTo>
                    <a:pt x="186" y="255"/>
                    <a:pt x="186" y="255"/>
                    <a:pt x="186" y="255"/>
                  </a:cubicBezTo>
                  <a:cubicBezTo>
                    <a:pt x="201" y="268"/>
                    <a:pt x="201" y="268"/>
                    <a:pt x="201" y="268"/>
                  </a:cubicBezTo>
                  <a:cubicBezTo>
                    <a:pt x="204" y="277"/>
                    <a:pt x="204" y="277"/>
                    <a:pt x="204" y="277"/>
                  </a:cubicBezTo>
                  <a:cubicBezTo>
                    <a:pt x="210" y="285"/>
                    <a:pt x="210" y="285"/>
                    <a:pt x="210" y="285"/>
                  </a:cubicBezTo>
                  <a:cubicBezTo>
                    <a:pt x="214" y="292"/>
                    <a:pt x="214" y="292"/>
                    <a:pt x="214" y="292"/>
                  </a:cubicBezTo>
                  <a:cubicBezTo>
                    <a:pt x="214" y="294"/>
                    <a:pt x="214" y="294"/>
                    <a:pt x="214" y="294"/>
                  </a:cubicBezTo>
                  <a:cubicBezTo>
                    <a:pt x="217" y="299"/>
                    <a:pt x="217" y="299"/>
                    <a:pt x="217" y="299"/>
                  </a:cubicBezTo>
                  <a:cubicBezTo>
                    <a:pt x="217" y="299"/>
                    <a:pt x="221" y="299"/>
                    <a:pt x="221" y="299"/>
                  </a:cubicBezTo>
                  <a:cubicBezTo>
                    <a:pt x="221" y="299"/>
                    <a:pt x="225" y="299"/>
                    <a:pt x="225" y="299"/>
                  </a:cubicBezTo>
                  <a:cubicBezTo>
                    <a:pt x="237" y="292"/>
                    <a:pt x="237" y="292"/>
                    <a:pt x="237" y="292"/>
                  </a:cubicBezTo>
                  <a:cubicBezTo>
                    <a:pt x="263" y="299"/>
                    <a:pt x="263" y="299"/>
                    <a:pt x="263" y="299"/>
                  </a:cubicBezTo>
                  <a:cubicBezTo>
                    <a:pt x="265" y="296"/>
                    <a:pt x="265" y="296"/>
                    <a:pt x="265" y="296"/>
                  </a:cubicBezTo>
                  <a:cubicBezTo>
                    <a:pt x="265" y="296"/>
                    <a:pt x="262" y="278"/>
                    <a:pt x="262" y="277"/>
                  </a:cubicBezTo>
                  <a:cubicBezTo>
                    <a:pt x="263" y="275"/>
                    <a:pt x="265" y="270"/>
                    <a:pt x="265" y="269"/>
                  </a:cubicBezTo>
                  <a:cubicBezTo>
                    <a:pt x="265" y="269"/>
                    <a:pt x="265" y="256"/>
                    <a:pt x="265" y="253"/>
                  </a:cubicBezTo>
                  <a:cubicBezTo>
                    <a:pt x="265" y="250"/>
                    <a:pt x="261" y="241"/>
                    <a:pt x="260" y="238"/>
                  </a:cubicBezTo>
                  <a:cubicBezTo>
                    <a:pt x="260" y="235"/>
                    <a:pt x="258" y="230"/>
                    <a:pt x="257" y="229"/>
                  </a:cubicBezTo>
                  <a:cubicBezTo>
                    <a:pt x="256" y="227"/>
                    <a:pt x="253" y="223"/>
                    <a:pt x="253" y="222"/>
                  </a:cubicBezTo>
                  <a:cubicBezTo>
                    <a:pt x="253" y="221"/>
                    <a:pt x="251" y="220"/>
                    <a:pt x="253" y="220"/>
                  </a:cubicBezTo>
                  <a:cubicBezTo>
                    <a:pt x="255" y="219"/>
                    <a:pt x="259" y="218"/>
                    <a:pt x="262" y="218"/>
                  </a:cubicBezTo>
                  <a:cubicBezTo>
                    <a:pt x="264" y="219"/>
                    <a:pt x="267" y="219"/>
                    <a:pt x="269" y="218"/>
                  </a:cubicBezTo>
                  <a:cubicBezTo>
                    <a:pt x="270" y="218"/>
                    <a:pt x="276" y="211"/>
                    <a:pt x="277" y="210"/>
                  </a:cubicBezTo>
                  <a:cubicBezTo>
                    <a:pt x="278" y="210"/>
                    <a:pt x="283" y="206"/>
                    <a:pt x="285" y="206"/>
                  </a:cubicBezTo>
                  <a:cubicBezTo>
                    <a:pt x="288" y="206"/>
                    <a:pt x="293" y="205"/>
                    <a:pt x="295" y="204"/>
                  </a:cubicBezTo>
                  <a:cubicBezTo>
                    <a:pt x="297" y="203"/>
                    <a:pt x="301" y="201"/>
                    <a:pt x="303" y="199"/>
                  </a:cubicBezTo>
                  <a:cubicBezTo>
                    <a:pt x="305" y="197"/>
                    <a:pt x="304" y="195"/>
                    <a:pt x="310" y="195"/>
                  </a:cubicBezTo>
                  <a:cubicBezTo>
                    <a:pt x="315" y="194"/>
                    <a:pt x="316" y="194"/>
                    <a:pt x="320" y="193"/>
                  </a:cubicBezTo>
                  <a:cubicBezTo>
                    <a:pt x="323" y="191"/>
                    <a:pt x="326" y="186"/>
                    <a:pt x="328" y="184"/>
                  </a:cubicBezTo>
                  <a:cubicBezTo>
                    <a:pt x="329" y="181"/>
                    <a:pt x="330" y="177"/>
                    <a:pt x="333" y="175"/>
                  </a:cubicBezTo>
                  <a:cubicBezTo>
                    <a:pt x="335" y="173"/>
                    <a:pt x="340" y="167"/>
                    <a:pt x="342" y="165"/>
                  </a:cubicBezTo>
                  <a:cubicBezTo>
                    <a:pt x="344" y="163"/>
                    <a:pt x="349" y="158"/>
                    <a:pt x="351" y="157"/>
                  </a:cubicBezTo>
                  <a:cubicBezTo>
                    <a:pt x="353" y="156"/>
                    <a:pt x="362" y="155"/>
                    <a:pt x="362" y="155"/>
                  </a:cubicBezTo>
                  <a:cubicBezTo>
                    <a:pt x="362" y="149"/>
                    <a:pt x="362" y="149"/>
                    <a:pt x="362" y="149"/>
                  </a:cubicBezTo>
                  <a:lnTo>
                    <a:pt x="337" y="90"/>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54" name="Freeform 57">
              <a:extLst>
                <a:ext uri="{FF2B5EF4-FFF2-40B4-BE49-F238E27FC236}">
                  <a16:creationId xmlns:a16="http://schemas.microsoft.com/office/drawing/2014/main" id="{916076BE-765D-062B-03B0-BA3C9D9C87BB}"/>
                </a:ext>
              </a:extLst>
            </p:cNvPr>
            <p:cNvSpPr>
              <a:spLocks/>
            </p:cNvSpPr>
            <p:nvPr/>
          </p:nvSpPr>
          <p:spPr bwMode="auto">
            <a:xfrm>
              <a:off x="3027363" y="1543050"/>
              <a:ext cx="1755775" cy="1695450"/>
            </a:xfrm>
            <a:custGeom>
              <a:avLst/>
              <a:gdLst>
                <a:gd name="T0" fmla="*/ 2147483646 w 461"/>
                <a:gd name="T1" fmla="*/ 2147483646 h 445"/>
                <a:gd name="T2" fmla="*/ 2147483646 w 461"/>
                <a:gd name="T3" fmla="*/ 2147483646 h 445"/>
                <a:gd name="T4" fmla="*/ 2147483646 w 461"/>
                <a:gd name="T5" fmla="*/ 2147483646 h 445"/>
                <a:gd name="T6" fmla="*/ 2147483646 w 461"/>
                <a:gd name="T7" fmla="*/ 2147483646 h 445"/>
                <a:gd name="T8" fmla="*/ 2147483646 w 461"/>
                <a:gd name="T9" fmla="*/ 2061286200 h 445"/>
                <a:gd name="T10" fmla="*/ 2147483646 w 461"/>
                <a:gd name="T11" fmla="*/ 2003221800 h 445"/>
                <a:gd name="T12" fmla="*/ 2147483646 w 461"/>
                <a:gd name="T13" fmla="*/ 1974189600 h 445"/>
                <a:gd name="T14" fmla="*/ 2147483646 w 461"/>
                <a:gd name="T15" fmla="*/ 1843544700 h 445"/>
                <a:gd name="T16" fmla="*/ 2147483646 w 461"/>
                <a:gd name="T17" fmla="*/ 1858060800 h 445"/>
                <a:gd name="T18" fmla="*/ 2147483646 w 461"/>
                <a:gd name="T19" fmla="*/ 1901609100 h 445"/>
                <a:gd name="T20" fmla="*/ 2147483646 w 461"/>
                <a:gd name="T21" fmla="*/ 1785480300 h 445"/>
                <a:gd name="T22" fmla="*/ 2147483646 w 461"/>
                <a:gd name="T23" fmla="*/ 1741932000 h 445"/>
                <a:gd name="T24" fmla="*/ 2147483646 w 461"/>
                <a:gd name="T25" fmla="*/ 1727415900 h 445"/>
                <a:gd name="T26" fmla="*/ 2147483646 w 461"/>
                <a:gd name="T27" fmla="*/ 1611287100 h 445"/>
                <a:gd name="T28" fmla="*/ 2147483646 w 461"/>
                <a:gd name="T29" fmla="*/ 1712899800 h 445"/>
                <a:gd name="T30" fmla="*/ 2147483646 w 461"/>
                <a:gd name="T31" fmla="*/ 1712899800 h 445"/>
                <a:gd name="T32" fmla="*/ 2147483646 w 461"/>
                <a:gd name="T33" fmla="*/ 1451610000 h 445"/>
                <a:gd name="T34" fmla="*/ 2001773931 w 461"/>
                <a:gd name="T35" fmla="*/ 159677100 h 445"/>
                <a:gd name="T36" fmla="*/ 1595614804 w 461"/>
                <a:gd name="T37" fmla="*/ 0 h 445"/>
                <a:gd name="T38" fmla="*/ 130551964 w 461"/>
                <a:gd name="T39" fmla="*/ 609676200 h 445"/>
                <a:gd name="T40" fmla="*/ 101537877 w 461"/>
                <a:gd name="T41" fmla="*/ 2147483646 h 445"/>
                <a:gd name="T42" fmla="*/ 0 w 461"/>
                <a:gd name="T43" fmla="*/ 2147483646 h 445"/>
                <a:gd name="T44" fmla="*/ 174065477 w 461"/>
                <a:gd name="T45" fmla="*/ 2147483646 h 445"/>
                <a:gd name="T46" fmla="*/ 159562242 w 461"/>
                <a:gd name="T47" fmla="*/ 2147483646 h 445"/>
                <a:gd name="T48" fmla="*/ 145055199 w 461"/>
                <a:gd name="T49" fmla="*/ 2147483646 h 445"/>
                <a:gd name="T50" fmla="*/ 232089842 w 461"/>
                <a:gd name="T51" fmla="*/ 2147483646 h 445"/>
                <a:gd name="T52" fmla="*/ 420662362 w 461"/>
                <a:gd name="T53" fmla="*/ 2147483646 h 445"/>
                <a:gd name="T54" fmla="*/ 652752203 w 461"/>
                <a:gd name="T55" fmla="*/ 2147483646 h 445"/>
                <a:gd name="T56" fmla="*/ 797807402 w 461"/>
                <a:gd name="T57" fmla="*/ 2147483646 h 445"/>
                <a:gd name="T58" fmla="*/ 971876688 w 461"/>
                <a:gd name="T59" fmla="*/ 2147483646 h 445"/>
                <a:gd name="T60" fmla="*/ 1102424843 w 461"/>
                <a:gd name="T61" fmla="*/ 2147483646 h 445"/>
                <a:gd name="T62" fmla="*/ 1189459486 w 461"/>
                <a:gd name="T63" fmla="*/ 2147483646 h 445"/>
                <a:gd name="T64" fmla="*/ 1349021728 w 461"/>
                <a:gd name="T65" fmla="*/ 2147483646 h 445"/>
                <a:gd name="T66" fmla="*/ 1450559605 w 461"/>
                <a:gd name="T67" fmla="*/ 2147483646 h 445"/>
                <a:gd name="T68" fmla="*/ 1653639169 w 461"/>
                <a:gd name="T69" fmla="*/ 2147483646 h 445"/>
                <a:gd name="T70" fmla="*/ 1798694368 w 461"/>
                <a:gd name="T71" fmla="*/ 2147483646 h 445"/>
                <a:gd name="T72" fmla="*/ 2147483646 w 461"/>
                <a:gd name="T73" fmla="*/ 2147483646 h 445"/>
                <a:gd name="T74" fmla="*/ 2147483646 w 461"/>
                <a:gd name="T75" fmla="*/ 2147483646 h 445"/>
                <a:gd name="T76" fmla="*/ 2147483646 w 461"/>
                <a:gd name="T77" fmla="*/ 2147483646 h 445"/>
                <a:gd name="T78" fmla="*/ 2147483646 w 461"/>
                <a:gd name="T79" fmla="*/ 2147483646 h 445"/>
                <a:gd name="T80" fmla="*/ 2147483646 w 461"/>
                <a:gd name="T81" fmla="*/ 2147483646 h 445"/>
                <a:gd name="T82" fmla="*/ 2147483646 w 461"/>
                <a:gd name="T83" fmla="*/ 2147483646 h 445"/>
                <a:gd name="T84" fmla="*/ 2147483646 w 461"/>
                <a:gd name="T85" fmla="*/ 2147483646 h 445"/>
                <a:gd name="T86" fmla="*/ 2147483646 w 461"/>
                <a:gd name="T87" fmla="*/ 2147483646 h 445"/>
                <a:gd name="T88" fmla="*/ 2147483646 w 461"/>
                <a:gd name="T89" fmla="*/ 2147483646 h 445"/>
                <a:gd name="T90" fmla="*/ 2147483646 w 461"/>
                <a:gd name="T91" fmla="*/ 2147483646 h 445"/>
                <a:gd name="T92" fmla="*/ 2147483646 w 461"/>
                <a:gd name="T93" fmla="*/ 2147483646 h 445"/>
                <a:gd name="T94" fmla="*/ 2147483646 w 461"/>
                <a:gd name="T95" fmla="*/ 2147483646 h 445"/>
                <a:gd name="T96" fmla="*/ 2147483646 w 461"/>
                <a:gd name="T97" fmla="*/ 2147483646 h 445"/>
                <a:gd name="T98" fmla="*/ 2147483646 w 461"/>
                <a:gd name="T99" fmla="*/ 2147483646 h 445"/>
                <a:gd name="T100" fmla="*/ 2147483646 w 461"/>
                <a:gd name="T101" fmla="*/ 2147483646 h 445"/>
                <a:gd name="T102" fmla="*/ 2147483646 w 461"/>
                <a:gd name="T103" fmla="*/ 2147483646 h 445"/>
                <a:gd name="T104" fmla="*/ 2147483646 w 461"/>
                <a:gd name="T105" fmla="*/ 2147483646 h 445"/>
                <a:gd name="T106" fmla="*/ 2147483646 w 461"/>
                <a:gd name="T107" fmla="*/ 2147483646 h 445"/>
                <a:gd name="T108" fmla="*/ 2147483646 w 461"/>
                <a:gd name="T109" fmla="*/ 2147483646 h 445"/>
                <a:gd name="T110" fmla="*/ 2147483646 w 461"/>
                <a:gd name="T111" fmla="*/ 2147483646 h 4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61" h="445">
                  <a:moveTo>
                    <a:pt x="455" y="188"/>
                  </a:moveTo>
                  <a:cubicBezTo>
                    <a:pt x="455" y="188"/>
                    <a:pt x="454" y="181"/>
                    <a:pt x="454" y="180"/>
                  </a:cubicBezTo>
                  <a:cubicBezTo>
                    <a:pt x="454" y="178"/>
                    <a:pt x="453" y="171"/>
                    <a:pt x="452" y="169"/>
                  </a:cubicBezTo>
                  <a:cubicBezTo>
                    <a:pt x="452" y="167"/>
                    <a:pt x="450" y="162"/>
                    <a:pt x="449" y="160"/>
                  </a:cubicBezTo>
                  <a:cubicBezTo>
                    <a:pt x="449" y="159"/>
                    <a:pt x="449" y="156"/>
                    <a:pt x="449" y="156"/>
                  </a:cubicBezTo>
                  <a:cubicBezTo>
                    <a:pt x="452" y="158"/>
                    <a:pt x="452" y="158"/>
                    <a:pt x="452" y="158"/>
                  </a:cubicBezTo>
                  <a:cubicBezTo>
                    <a:pt x="452" y="158"/>
                    <a:pt x="453" y="153"/>
                    <a:pt x="453" y="151"/>
                  </a:cubicBezTo>
                  <a:cubicBezTo>
                    <a:pt x="453" y="150"/>
                    <a:pt x="453" y="148"/>
                    <a:pt x="454" y="148"/>
                  </a:cubicBezTo>
                  <a:cubicBezTo>
                    <a:pt x="455" y="147"/>
                    <a:pt x="457" y="147"/>
                    <a:pt x="457" y="147"/>
                  </a:cubicBezTo>
                  <a:cubicBezTo>
                    <a:pt x="459" y="142"/>
                    <a:pt x="459" y="142"/>
                    <a:pt x="459" y="142"/>
                  </a:cubicBezTo>
                  <a:cubicBezTo>
                    <a:pt x="459" y="138"/>
                    <a:pt x="459" y="138"/>
                    <a:pt x="459" y="138"/>
                  </a:cubicBezTo>
                  <a:cubicBezTo>
                    <a:pt x="456" y="138"/>
                    <a:pt x="456" y="138"/>
                    <a:pt x="456" y="138"/>
                  </a:cubicBezTo>
                  <a:cubicBezTo>
                    <a:pt x="456" y="132"/>
                    <a:pt x="456" y="132"/>
                    <a:pt x="456" y="132"/>
                  </a:cubicBezTo>
                  <a:cubicBezTo>
                    <a:pt x="448" y="136"/>
                    <a:pt x="448" y="136"/>
                    <a:pt x="448" y="136"/>
                  </a:cubicBezTo>
                  <a:cubicBezTo>
                    <a:pt x="437" y="136"/>
                    <a:pt x="437" y="136"/>
                    <a:pt x="437" y="136"/>
                  </a:cubicBezTo>
                  <a:cubicBezTo>
                    <a:pt x="421" y="127"/>
                    <a:pt x="421" y="127"/>
                    <a:pt x="421" y="127"/>
                  </a:cubicBezTo>
                  <a:cubicBezTo>
                    <a:pt x="412" y="132"/>
                    <a:pt x="412" y="132"/>
                    <a:pt x="412" y="132"/>
                  </a:cubicBezTo>
                  <a:cubicBezTo>
                    <a:pt x="410" y="128"/>
                    <a:pt x="410" y="128"/>
                    <a:pt x="410" y="128"/>
                  </a:cubicBezTo>
                  <a:cubicBezTo>
                    <a:pt x="404" y="128"/>
                    <a:pt x="404" y="128"/>
                    <a:pt x="404" y="128"/>
                  </a:cubicBezTo>
                  <a:cubicBezTo>
                    <a:pt x="404" y="131"/>
                    <a:pt x="404" y="131"/>
                    <a:pt x="404" y="131"/>
                  </a:cubicBezTo>
                  <a:cubicBezTo>
                    <a:pt x="395" y="131"/>
                    <a:pt x="395" y="131"/>
                    <a:pt x="395" y="131"/>
                  </a:cubicBezTo>
                  <a:cubicBezTo>
                    <a:pt x="369" y="123"/>
                    <a:pt x="369" y="123"/>
                    <a:pt x="369" y="123"/>
                  </a:cubicBezTo>
                  <a:cubicBezTo>
                    <a:pt x="366" y="115"/>
                    <a:pt x="366" y="115"/>
                    <a:pt x="366" y="115"/>
                  </a:cubicBezTo>
                  <a:cubicBezTo>
                    <a:pt x="362" y="120"/>
                    <a:pt x="362" y="120"/>
                    <a:pt x="362" y="120"/>
                  </a:cubicBezTo>
                  <a:cubicBezTo>
                    <a:pt x="356" y="117"/>
                    <a:pt x="356" y="117"/>
                    <a:pt x="356" y="117"/>
                  </a:cubicBezTo>
                  <a:cubicBezTo>
                    <a:pt x="351" y="119"/>
                    <a:pt x="351" y="119"/>
                    <a:pt x="351" y="119"/>
                  </a:cubicBezTo>
                  <a:cubicBezTo>
                    <a:pt x="345" y="111"/>
                    <a:pt x="345" y="111"/>
                    <a:pt x="345" y="111"/>
                  </a:cubicBezTo>
                  <a:cubicBezTo>
                    <a:pt x="342" y="111"/>
                    <a:pt x="342" y="111"/>
                    <a:pt x="342" y="111"/>
                  </a:cubicBezTo>
                  <a:cubicBezTo>
                    <a:pt x="342" y="116"/>
                    <a:pt x="342" y="116"/>
                    <a:pt x="342" y="116"/>
                  </a:cubicBezTo>
                  <a:cubicBezTo>
                    <a:pt x="334" y="118"/>
                    <a:pt x="334" y="118"/>
                    <a:pt x="334" y="118"/>
                  </a:cubicBezTo>
                  <a:cubicBezTo>
                    <a:pt x="297" y="116"/>
                    <a:pt x="297" y="116"/>
                    <a:pt x="297" y="116"/>
                  </a:cubicBezTo>
                  <a:cubicBezTo>
                    <a:pt x="288" y="118"/>
                    <a:pt x="288" y="118"/>
                    <a:pt x="288" y="118"/>
                  </a:cubicBezTo>
                  <a:cubicBezTo>
                    <a:pt x="274" y="106"/>
                    <a:pt x="274" y="106"/>
                    <a:pt x="274" y="106"/>
                  </a:cubicBezTo>
                  <a:cubicBezTo>
                    <a:pt x="270" y="100"/>
                    <a:pt x="270" y="100"/>
                    <a:pt x="270" y="100"/>
                  </a:cubicBezTo>
                  <a:cubicBezTo>
                    <a:pt x="151" y="23"/>
                    <a:pt x="151" y="23"/>
                    <a:pt x="151" y="23"/>
                  </a:cubicBezTo>
                  <a:cubicBezTo>
                    <a:pt x="138" y="11"/>
                    <a:pt x="138" y="11"/>
                    <a:pt x="138" y="11"/>
                  </a:cubicBezTo>
                  <a:cubicBezTo>
                    <a:pt x="131" y="11"/>
                    <a:pt x="131" y="11"/>
                    <a:pt x="131" y="11"/>
                  </a:cubicBezTo>
                  <a:cubicBezTo>
                    <a:pt x="110" y="0"/>
                    <a:pt x="110" y="0"/>
                    <a:pt x="110" y="0"/>
                  </a:cubicBezTo>
                  <a:cubicBezTo>
                    <a:pt x="8" y="0"/>
                    <a:pt x="8" y="0"/>
                    <a:pt x="8" y="0"/>
                  </a:cubicBezTo>
                  <a:cubicBezTo>
                    <a:pt x="9" y="42"/>
                    <a:pt x="9" y="42"/>
                    <a:pt x="9" y="42"/>
                  </a:cubicBezTo>
                  <a:cubicBezTo>
                    <a:pt x="8" y="124"/>
                    <a:pt x="8" y="124"/>
                    <a:pt x="8" y="124"/>
                  </a:cubicBezTo>
                  <a:cubicBezTo>
                    <a:pt x="7" y="153"/>
                    <a:pt x="7" y="153"/>
                    <a:pt x="7" y="153"/>
                  </a:cubicBezTo>
                  <a:cubicBezTo>
                    <a:pt x="0" y="166"/>
                    <a:pt x="0" y="166"/>
                    <a:pt x="0" y="166"/>
                  </a:cubicBezTo>
                  <a:cubicBezTo>
                    <a:pt x="0" y="172"/>
                    <a:pt x="0" y="172"/>
                    <a:pt x="0" y="172"/>
                  </a:cubicBezTo>
                  <a:cubicBezTo>
                    <a:pt x="12" y="175"/>
                    <a:pt x="12" y="175"/>
                    <a:pt x="12" y="175"/>
                  </a:cubicBezTo>
                  <a:cubicBezTo>
                    <a:pt x="12" y="178"/>
                    <a:pt x="12" y="178"/>
                    <a:pt x="12" y="178"/>
                  </a:cubicBezTo>
                  <a:cubicBezTo>
                    <a:pt x="12" y="178"/>
                    <a:pt x="12" y="187"/>
                    <a:pt x="12" y="188"/>
                  </a:cubicBezTo>
                  <a:cubicBezTo>
                    <a:pt x="12" y="189"/>
                    <a:pt x="11" y="193"/>
                    <a:pt x="11" y="193"/>
                  </a:cubicBezTo>
                  <a:cubicBezTo>
                    <a:pt x="10" y="199"/>
                    <a:pt x="10" y="199"/>
                    <a:pt x="10" y="199"/>
                  </a:cubicBezTo>
                  <a:cubicBezTo>
                    <a:pt x="10" y="203"/>
                    <a:pt x="10" y="203"/>
                    <a:pt x="10" y="203"/>
                  </a:cubicBezTo>
                  <a:cubicBezTo>
                    <a:pt x="13" y="205"/>
                    <a:pt x="13" y="205"/>
                    <a:pt x="13" y="205"/>
                  </a:cubicBezTo>
                  <a:cubicBezTo>
                    <a:pt x="16" y="208"/>
                    <a:pt x="16" y="208"/>
                    <a:pt x="16" y="208"/>
                  </a:cubicBezTo>
                  <a:cubicBezTo>
                    <a:pt x="29" y="211"/>
                    <a:pt x="29" y="211"/>
                    <a:pt x="29" y="211"/>
                  </a:cubicBezTo>
                  <a:cubicBezTo>
                    <a:pt x="29" y="215"/>
                    <a:pt x="29" y="215"/>
                    <a:pt x="29" y="215"/>
                  </a:cubicBezTo>
                  <a:cubicBezTo>
                    <a:pt x="34" y="221"/>
                    <a:pt x="34" y="221"/>
                    <a:pt x="34" y="221"/>
                  </a:cubicBezTo>
                  <a:cubicBezTo>
                    <a:pt x="45" y="225"/>
                    <a:pt x="45" y="225"/>
                    <a:pt x="45" y="225"/>
                  </a:cubicBezTo>
                  <a:cubicBezTo>
                    <a:pt x="52" y="238"/>
                    <a:pt x="52" y="238"/>
                    <a:pt x="52" y="238"/>
                  </a:cubicBezTo>
                  <a:cubicBezTo>
                    <a:pt x="55" y="256"/>
                    <a:pt x="55" y="256"/>
                    <a:pt x="55" y="256"/>
                  </a:cubicBezTo>
                  <a:cubicBezTo>
                    <a:pt x="66" y="268"/>
                    <a:pt x="66" y="268"/>
                    <a:pt x="66" y="268"/>
                  </a:cubicBezTo>
                  <a:cubicBezTo>
                    <a:pt x="66" y="268"/>
                    <a:pt x="67" y="282"/>
                    <a:pt x="67" y="283"/>
                  </a:cubicBezTo>
                  <a:cubicBezTo>
                    <a:pt x="67" y="284"/>
                    <a:pt x="71" y="288"/>
                    <a:pt x="71" y="288"/>
                  </a:cubicBezTo>
                  <a:cubicBezTo>
                    <a:pt x="76" y="285"/>
                    <a:pt x="76" y="285"/>
                    <a:pt x="76" y="285"/>
                  </a:cubicBezTo>
                  <a:cubicBezTo>
                    <a:pt x="80" y="283"/>
                    <a:pt x="80" y="283"/>
                    <a:pt x="80" y="283"/>
                  </a:cubicBezTo>
                  <a:cubicBezTo>
                    <a:pt x="80" y="283"/>
                    <a:pt x="82" y="285"/>
                    <a:pt x="82" y="285"/>
                  </a:cubicBezTo>
                  <a:cubicBezTo>
                    <a:pt x="82" y="285"/>
                    <a:pt x="87" y="278"/>
                    <a:pt x="87" y="278"/>
                  </a:cubicBezTo>
                  <a:cubicBezTo>
                    <a:pt x="93" y="280"/>
                    <a:pt x="93" y="280"/>
                    <a:pt x="93" y="280"/>
                  </a:cubicBezTo>
                  <a:cubicBezTo>
                    <a:pt x="95" y="275"/>
                    <a:pt x="95" y="275"/>
                    <a:pt x="95" y="275"/>
                  </a:cubicBezTo>
                  <a:cubicBezTo>
                    <a:pt x="100" y="271"/>
                    <a:pt x="100" y="271"/>
                    <a:pt x="100" y="271"/>
                  </a:cubicBezTo>
                  <a:cubicBezTo>
                    <a:pt x="103" y="278"/>
                    <a:pt x="103" y="278"/>
                    <a:pt x="103" y="278"/>
                  </a:cubicBezTo>
                  <a:cubicBezTo>
                    <a:pt x="114" y="307"/>
                    <a:pt x="114" y="307"/>
                    <a:pt x="114" y="307"/>
                  </a:cubicBezTo>
                  <a:cubicBezTo>
                    <a:pt x="121" y="318"/>
                    <a:pt x="121" y="318"/>
                    <a:pt x="121" y="318"/>
                  </a:cubicBezTo>
                  <a:cubicBezTo>
                    <a:pt x="124" y="335"/>
                    <a:pt x="124" y="335"/>
                    <a:pt x="124" y="335"/>
                  </a:cubicBezTo>
                  <a:cubicBezTo>
                    <a:pt x="134" y="342"/>
                    <a:pt x="134" y="342"/>
                    <a:pt x="134" y="342"/>
                  </a:cubicBezTo>
                  <a:cubicBezTo>
                    <a:pt x="152" y="345"/>
                    <a:pt x="152" y="345"/>
                    <a:pt x="152" y="345"/>
                  </a:cubicBezTo>
                  <a:cubicBezTo>
                    <a:pt x="154" y="352"/>
                    <a:pt x="154" y="352"/>
                    <a:pt x="154" y="352"/>
                  </a:cubicBezTo>
                  <a:cubicBezTo>
                    <a:pt x="154" y="352"/>
                    <a:pt x="162" y="356"/>
                    <a:pt x="162" y="356"/>
                  </a:cubicBezTo>
                  <a:cubicBezTo>
                    <a:pt x="162" y="356"/>
                    <a:pt x="164" y="361"/>
                    <a:pt x="164" y="361"/>
                  </a:cubicBezTo>
                  <a:cubicBezTo>
                    <a:pt x="172" y="366"/>
                    <a:pt x="172" y="366"/>
                    <a:pt x="172" y="366"/>
                  </a:cubicBezTo>
                  <a:cubicBezTo>
                    <a:pt x="174" y="373"/>
                    <a:pt x="174" y="373"/>
                    <a:pt x="174" y="373"/>
                  </a:cubicBezTo>
                  <a:cubicBezTo>
                    <a:pt x="189" y="385"/>
                    <a:pt x="189" y="385"/>
                    <a:pt x="189" y="385"/>
                  </a:cubicBezTo>
                  <a:cubicBezTo>
                    <a:pt x="201" y="408"/>
                    <a:pt x="201" y="408"/>
                    <a:pt x="201" y="408"/>
                  </a:cubicBezTo>
                  <a:cubicBezTo>
                    <a:pt x="215" y="434"/>
                    <a:pt x="215" y="434"/>
                    <a:pt x="215" y="434"/>
                  </a:cubicBezTo>
                  <a:cubicBezTo>
                    <a:pt x="231" y="430"/>
                    <a:pt x="231" y="430"/>
                    <a:pt x="231" y="430"/>
                  </a:cubicBezTo>
                  <a:cubicBezTo>
                    <a:pt x="252" y="424"/>
                    <a:pt x="252" y="424"/>
                    <a:pt x="252" y="424"/>
                  </a:cubicBezTo>
                  <a:cubicBezTo>
                    <a:pt x="257" y="420"/>
                    <a:pt x="257" y="420"/>
                    <a:pt x="257" y="420"/>
                  </a:cubicBezTo>
                  <a:cubicBezTo>
                    <a:pt x="266" y="427"/>
                    <a:pt x="266" y="427"/>
                    <a:pt x="266" y="427"/>
                  </a:cubicBezTo>
                  <a:cubicBezTo>
                    <a:pt x="267" y="445"/>
                    <a:pt x="267" y="445"/>
                    <a:pt x="267" y="445"/>
                  </a:cubicBezTo>
                  <a:cubicBezTo>
                    <a:pt x="320" y="405"/>
                    <a:pt x="320" y="405"/>
                    <a:pt x="320" y="405"/>
                  </a:cubicBezTo>
                  <a:cubicBezTo>
                    <a:pt x="325" y="384"/>
                    <a:pt x="325" y="384"/>
                    <a:pt x="325" y="384"/>
                  </a:cubicBezTo>
                  <a:cubicBezTo>
                    <a:pt x="328" y="383"/>
                    <a:pt x="328" y="383"/>
                    <a:pt x="328" y="383"/>
                  </a:cubicBezTo>
                  <a:cubicBezTo>
                    <a:pt x="330" y="377"/>
                    <a:pt x="330" y="377"/>
                    <a:pt x="330" y="377"/>
                  </a:cubicBezTo>
                  <a:cubicBezTo>
                    <a:pt x="406" y="332"/>
                    <a:pt x="406" y="332"/>
                    <a:pt x="406" y="332"/>
                  </a:cubicBezTo>
                  <a:cubicBezTo>
                    <a:pt x="410" y="328"/>
                    <a:pt x="410" y="328"/>
                    <a:pt x="410" y="328"/>
                  </a:cubicBezTo>
                  <a:cubicBezTo>
                    <a:pt x="403" y="319"/>
                    <a:pt x="403" y="319"/>
                    <a:pt x="403" y="319"/>
                  </a:cubicBezTo>
                  <a:cubicBezTo>
                    <a:pt x="403" y="296"/>
                    <a:pt x="403" y="296"/>
                    <a:pt x="403" y="296"/>
                  </a:cubicBezTo>
                  <a:cubicBezTo>
                    <a:pt x="401" y="288"/>
                    <a:pt x="401" y="288"/>
                    <a:pt x="401" y="288"/>
                  </a:cubicBezTo>
                  <a:cubicBezTo>
                    <a:pt x="401" y="288"/>
                    <a:pt x="397" y="281"/>
                    <a:pt x="397" y="280"/>
                  </a:cubicBezTo>
                  <a:cubicBezTo>
                    <a:pt x="397" y="280"/>
                    <a:pt x="397" y="276"/>
                    <a:pt x="398" y="275"/>
                  </a:cubicBezTo>
                  <a:cubicBezTo>
                    <a:pt x="398" y="275"/>
                    <a:pt x="401" y="273"/>
                    <a:pt x="401" y="273"/>
                  </a:cubicBezTo>
                  <a:cubicBezTo>
                    <a:pt x="399" y="267"/>
                    <a:pt x="399" y="267"/>
                    <a:pt x="399" y="267"/>
                  </a:cubicBezTo>
                  <a:cubicBezTo>
                    <a:pt x="399" y="267"/>
                    <a:pt x="400" y="265"/>
                    <a:pt x="400" y="265"/>
                  </a:cubicBezTo>
                  <a:cubicBezTo>
                    <a:pt x="401" y="265"/>
                    <a:pt x="406" y="264"/>
                    <a:pt x="406" y="264"/>
                  </a:cubicBezTo>
                  <a:cubicBezTo>
                    <a:pt x="407" y="264"/>
                    <a:pt x="413" y="263"/>
                    <a:pt x="413" y="263"/>
                  </a:cubicBezTo>
                  <a:cubicBezTo>
                    <a:pt x="413" y="263"/>
                    <a:pt x="416" y="254"/>
                    <a:pt x="416" y="254"/>
                  </a:cubicBezTo>
                  <a:cubicBezTo>
                    <a:pt x="416" y="254"/>
                    <a:pt x="421" y="245"/>
                    <a:pt x="421" y="245"/>
                  </a:cubicBezTo>
                  <a:cubicBezTo>
                    <a:pt x="421" y="245"/>
                    <a:pt x="422" y="230"/>
                    <a:pt x="422" y="230"/>
                  </a:cubicBezTo>
                  <a:cubicBezTo>
                    <a:pt x="422" y="229"/>
                    <a:pt x="423" y="223"/>
                    <a:pt x="424" y="222"/>
                  </a:cubicBezTo>
                  <a:cubicBezTo>
                    <a:pt x="424" y="221"/>
                    <a:pt x="430" y="214"/>
                    <a:pt x="431" y="214"/>
                  </a:cubicBezTo>
                  <a:cubicBezTo>
                    <a:pt x="431" y="214"/>
                    <a:pt x="435" y="211"/>
                    <a:pt x="436" y="211"/>
                  </a:cubicBezTo>
                  <a:cubicBezTo>
                    <a:pt x="437" y="210"/>
                    <a:pt x="446" y="207"/>
                    <a:pt x="446" y="207"/>
                  </a:cubicBezTo>
                  <a:cubicBezTo>
                    <a:pt x="447" y="207"/>
                    <a:pt x="453" y="203"/>
                    <a:pt x="453" y="203"/>
                  </a:cubicBezTo>
                  <a:cubicBezTo>
                    <a:pt x="454" y="203"/>
                    <a:pt x="461" y="197"/>
                    <a:pt x="461" y="197"/>
                  </a:cubicBezTo>
                  <a:cubicBezTo>
                    <a:pt x="461" y="197"/>
                    <a:pt x="455" y="188"/>
                    <a:pt x="455" y="188"/>
                  </a:cubicBez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55" name="Freeform 58">
              <a:extLst>
                <a:ext uri="{FF2B5EF4-FFF2-40B4-BE49-F238E27FC236}">
                  <a16:creationId xmlns:a16="http://schemas.microsoft.com/office/drawing/2014/main" id="{DBBB12B6-34B5-9952-A7EF-36E157E08571}"/>
                </a:ext>
              </a:extLst>
            </p:cNvPr>
            <p:cNvSpPr>
              <a:spLocks/>
            </p:cNvSpPr>
            <p:nvPr/>
          </p:nvSpPr>
          <p:spPr bwMode="auto">
            <a:xfrm>
              <a:off x="4968875" y="1630363"/>
              <a:ext cx="1181100" cy="1192213"/>
            </a:xfrm>
            <a:custGeom>
              <a:avLst/>
              <a:gdLst>
                <a:gd name="T0" fmla="*/ 2147483646 w 310"/>
                <a:gd name="T1" fmla="*/ 696400943 h 313"/>
                <a:gd name="T2" fmla="*/ 2147483646 w 310"/>
                <a:gd name="T3" fmla="*/ 667384078 h 313"/>
                <a:gd name="T4" fmla="*/ 2147483646 w 310"/>
                <a:gd name="T5" fmla="*/ 623858781 h 313"/>
                <a:gd name="T6" fmla="*/ 2147483646 w 310"/>
                <a:gd name="T7" fmla="*/ 652875646 h 313"/>
                <a:gd name="T8" fmla="*/ 2147483646 w 310"/>
                <a:gd name="T9" fmla="*/ 609350349 h 313"/>
                <a:gd name="T10" fmla="*/ 2147483646 w 310"/>
                <a:gd name="T11" fmla="*/ 681892510 h 313"/>
                <a:gd name="T12" fmla="*/ 2147483646 w 310"/>
                <a:gd name="T13" fmla="*/ 609350349 h 313"/>
                <a:gd name="T14" fmla="*/ 2147483646 w 310"/>
                <a:gd name="T15" fmla="*/ 652875646 h 313"/>
                <a:gd name="T16" fmla="*/ 2147483646 w 310"/>
                <a:gd name="T17" fmla="*/ 638367213 h 313"/>
                <a:gd name="T18" fmla="*/ 2147483646 w 310"/>
                <a:gd name="T19" fmla="*/ 681892510 h 313"/>
                <a:gd name="T20" fmla="*/ 2147483646 w 310"/>
                <a:gd name="T21" fmla="*/ 652875646 h 313"/>
                <a:gd name="T22" fmla="*/ 2147483646 w 310"/>
                <a:gd name="T23" fmla="*/ 667384078 h 313"/>
                <a:gd name="T24" fmla="*/ 2147483646 w 310"/>
                <a:gd name="T25" fmla="*/ 681892510 h 313"/>
                <a:gd name="T26" fmla="*/ 2147483646 w 310"/>
                <a:gd name="T27" fmla="*/ 696400943 h 313"/>
                <a:gd name="T28" fmla="*/ 2147483646 w 310"/>
                <a:gd name="T29" fmla="*/ 652875646 h 313"/>
                <a:gd name="T30" fmla="*/ 2147483646 w 310"/>
                <a:gd name="T31" fmla="*/ 681892510 h 313"/>
                <a:gd name="T32" fmla="*/ 2147483646 w 310"/>
                <a:gd name="T33" fmla="*/ 725417807 h 313"/>
                <a:gd name="T34" fmla="*/ 2147483646 w 310"/>
                <a:gd name="T35" fmla="*/ 667384078 h 313"/>
                <a:gd name="T36" fmla="*/ 2147483646 w 310"/>
                <a:gd name="T37" fmla="*/ 725417807 h 313"/>
                <a:gd name="T38" fmla="*/ 2147483646 w 310"/>
                <a:gd name="T39" fmla="*/ 667384078 h 313"/>
                <a:gd name="T40" fmla="*/ 2147483646 w 310"/>
                <a:gd name="T41" fmla="*/ 319185511 h 313"/>
                <a:gd name="T42" fmla="*/ 2147483646 w 310"/>
                <a:gd name="T43" fmla="*/ 304677079 h 313"/>
                <a:gd name="T44" fmla="*/ 2147483646 w 310"/>
                <a:gd name="T45" fmla="*/ 261151782 h 313"/>
                <a:gd name="T46" fmla="*/ 2147483646 w 310"/>
                <a:gd name="T47" fmla="*/ 174101188 h 313"/>
                <a:gd name="T48" fmla="*/ 2147483646 w 310"/>
                <a:gd name="T49" fmla="*/ 101559026 h 313"/>
                <a:gd name="T50" fmla="*/ 2147483646 w 310"/>
                <a:gd name="T51" fmla="*/ 43525297 h 313"/>
                <a:gd name="T52" fmla="*/ 2119350600 w 310"/>
                <a:gd name="T53" fmla="*/ 0 h 313"/>
                <a:gd name="T54" fmla="*/ 2032254000 w 310"/>
                <a:gd name="T55" fmla="*/ 87050594 h 313"/>
                <a:gd name="T56" fmla="*/ 1480642200 w 310"/>
                <a:gd name="T57" fmla="*/ 319185511 h 313"/>
                <a:gd name="T58" fmla="*/ 972578700 w 310"/>
                <a:gd name="T59" fmla="*/ 493286699 h 313"/>
                <a:gd name="T60" fmla="*/ 304838100 w 310"/>
                <a:gd name="T61" fmla="*/ 841485266 h 313"/>
                <a:gd name="T62" fmla="*/ 130644900 w 310"/>
                <a:gd name="T63" fmla="*/ 1218704506 h 313"/>
                <a:gd name="T64" fmla="*/ 0 w 310"/>
                <a:gd name="T65" fmla="*/ 1363788829 h 313"/>
                <a:gd name="T66" fmla="*/ 14516100 w 310"/>
                <a:gd name="T67" fmla="*/ 2060189772 h 313"/>
                <a:gd name="T68" fmla="*/ 479031300 w 310"/>
                <a:gd name="T69" fmla="*/ 2147483646 h 313"/>
                <a:gd name="T70" fmla="*/ 885482100 w 310"/>
                <a:gd name="T71" fmla="*/ 2147483646 h 313"/>
                <a:gd name="T72" fmla="*/ 1117739700 w 310"/>
                <a:gd name="T73" fmla="*/ 2147483646 h 313"/>
                <a:gd name="T74" fmla="*/ 1349997300 w 310"/>
                <a:gd name="T75" fmla="*/ 2147483646 h 313"/>
                <a:gd name="T76" fmla="*/ 1379029500 w 310"/>
                <a:gd name="T77" fmla="*/ 2147483646 h 313"/>
                <a:gd name="T78" fmla="*/ 1408061700 w 310"/>
                <a:gd name="T79" fmla="*/ 2147483646 h 313"/>
                <a:gd name="T80" fmla="*/ 1480642200 w 310"/>
                <a:gd name="T81" fmla="*/ 2147483646 h 313"/>
                <a:gd name="T82" fmla="*/ 1582254900 w 310"/>
                <a:gd name="T83" fmla="*/ 2147483646 h 313"/>
                <a:gd name="T84" fmla="*/ 1741932000 w 310"/>
                <a:gd name="T85" fmla="*/ 2147483646 h 313"/>
                <a:gd name="T86" fmla="*/ 1959673500 w 310"/>
                <a:gd name="T87" fmla="*/ 2147483646 h 313"/>
                <a:gd name="T88" fmla="*/ 2147483646 w 310"/>
                <a:gd name="T89" fmla="*/ 2147483646 h 313"/>
                <a:gd name="T90" fmla="*/ 2147483646 w 310"/>
                <a:gd name="T91" fmla="*/ 2147483646 h 313"/>
                <a:gd name="T92" fmla="*/ 2147483646 w 310"/>
                <a:gd name="T93" fmla="*/ 2147483646 h 313"/>
                <a:gd name="T94" fmla="*/ 2147483646 w 310"/>
                <a:gd name="T95" fmla="*/ 2147483646 h 313"/>
                <a:gd name="T96" fmla="*/ 2147483646 w 310"/>
                <a:gd name="T97" fmla="*/ 2147483646 h 313"/>
                <a:gd name="T98" fmla="*/ 2147483646 w 310"/>
                <a:gd name="T99" fmla="*/ 2147483646 h 313"/>
                <a:gd name="T100" fmla="*/ 2147483646 w 310"/>
                <a:gd name="T101" fmla="*/ 2147483646 h 313"/>
                <a:gd name="T102" fmla="*/ 2147483646 w 310"/>
                <a:gd name="T103" fmla="*/ 2147483646 h 313"/>
                <a:gd name="T104" fmla="*/ 2147483646 w 310"/>
                <a:gd name="T105" fmla="*/ 2147483646 h 313"/>
                <a:gd name="T106" fmla="*/ 2147483646 w 310"/>
                <a:gd name="T107" fmla="*/ 1262229803 h 313"/>
                <a:gd name="T108" fmla="*/ 2147483646 w 310"/>
                <a:gd name="T109" fmla="*/ 565828861 h 313"/>
                <a:gd name="T110" fmla="*/ 2147483646 w 310"/>
                <a:gd name="T111" fmla="*/ 696400943 h 31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0" h="313">
                  <a:moveTo>
                    <a:pt x="295" y="48"/>
                  </a:moveTo>
                  <a:cubicBezTo>
                    <a:pt x="295" y="48"/>
                    <a:pt x="291" y="47"/>
                    <a:pt x="290" y="46"/>
                  </a:cubicBezTo>
                  <a:cubicBezTo>
                    <a:pt x="290" y="46"/>
                    <a:pt x="288" y="43"/>
                    <a:pt x="287" y="43"/>
                  </a:cubicBezTo>
                  <a:cubicBezTo>
                    <a:pt x="287" y="43"/>
                    <a:pt x="283" y="45"/>
                    <a:pt x="283" y="45"/>
                  </a:cubicBezTo>
                  <a:cubicBezTo>
                    <a:pt x="283" y="45"/>
                    <a:pt x="279" y="42"/>
                    <a:pt x="278" y="42"/>
                  </a:cubicBezTo>
                  <a:cubicBezTo>
                    <a:pt x="278" y="41"/>
                    <a:pt x="272" y="47"/>
                    <a:pt x="272" y="47"/>
                  </a:cubicBezTo>
                  <a:cubicBezTo>
                    <a:pt x="267" y="42"/>
                    <a:pt x="267" y="42"/>
                    <a:pt x="267" y="42"/>
                  </a:cubicBezTo>
                  <a:cubicBezTo>
                    <a:pt x="258" y="45"/>
                    <a:pt x="258" y="45"/>
                    <a:pt x="258" y="45"/>
                  </a:cubicBezTo>
                  <a:cubicBezTo>
                    <a:pt x="254" y="44"/>
                    <a:pt x="254" y="44"/>
                    <a:pt x="254" y="44"/>
                  </a:cubicBezTo>
                  <a:cubicBezTo>
                    <a:pt x="251" y="47"/>
                    <a:pt x="251" y="47"/>
                    <a:pt x="251" y="47"/>
                  </a:cubicBezTo>
                  <a:cubicBezTo>
                    <a:pt x="251" y="47"/>
                    <a:pt x="249" y="45"/>
                    <a:pt x="249" y="45"/>
                  </a:cubicBezTo>
                  <a:cubicBezTo>
                    <a:pt x="249" y="45"/>
                    <a:pt x="246" y="46"/>
                    <a:pt x="246" y="46"/>
                  </a:cubicBezTo>
                  <a:cubicBezTo>
                    <a:pt x="245" y="46"/>
                    <a:pt x="241" y="47"/>
                    <a:pt x="241" y="47"/>
                  </a:cubicBezTo>
                  <a:cubicBezTo>
                    <a:pt x="240" y="47"/>
                    <a:pt x="238" y="48"/>
                    <a:pt x="237" y="48"/>
                  </a:cubicBezTo>
                  <a:cubicBezTo>
                    <a:pt x="237" y="48"/>
                    <a:pt x="233" y="46"/>
                    <a:pt x="233" y="45"/>
                  </a:cubicBezTo>
                  <a:cubicBezTo>
                    <a:pt x="233" y="45"/>
                    <a:pt x="230" y="47"/>
                    <a:pt x="229" y="47"/>
                  </a:cubicBezTo>
                  <a:cubicBezTo>
                    <a:pt x="229" y="47"/>
                    <a:pt x="224" y="49"/>
                    <a:pt x="223" y="50"/>
                  </a:cubicBezTo>
                  <a:cubicBezTo>
                    <a:pt x="223" y="50"/>
                    <a:pt x="213" y="46"/>
                    <a:pt x="213" y="46"/>
                  </a:cubicBezTo>
                  <a:cubicBezTo>
                    <a:pt x="207" y="50"/>
                    <a:pt x="207" y="50"/>
                    <a:pt x="207" y="50"/>
                  </a:cubicBezTo>
                  <a:cubicBezTo>
                    <a:pt x="197" y="46"/>
                    <a:pt x="197" y="46"/>
                    <a:pt x="197" y="46"/>
                  </a:cubicBezTo>
                  <a:cubicBezTo>
                    <a:pt x="176" y="22"/>
                    <a:pt x="176" y="22"/>
                    <a:pt x="176" y="22"/>
                  </a:cubicBezTo>
                  <a:cubicBezTo>
                    <a:pt x="176" y="22"/>
                    <a:pt x="172" y="21"/>
                    <a:pt x="171" y="21"/>
                  </a:cubicBezTo>
                  <a:cubicBezTo>
                    <a:pt x="170" y="20"/>
                    <a:pt x="165" y="19"/>
                    <a:pt x="164" y="18"/>
                  </a:cubicBezTo>
                  <a:cubicBezTo>
                    <a:pt x="164" y="18"/>
                    <a:pt x="163" y="12"/>
                    <a:pt x="162" y="12"/>
                  </a:cubicBezTo>
                  <a:cubicBezTo>
                    <a:pt x="162" y="11"/>
                    <a:pt x="159" y="7"/>
                    <a:pt x="159" y="7"/>
                  </a:cubicBezTo>
                  <a:cubicBezTo>
                    <a:pt x="159" y="7"/>
                    <a:pt x="151" y="3"/>
                    <a:pt x="151" y="3"/>
                  </a:cubicBezTo>
                  <a:cubicBezTo>
                    <a:pt x="146" y="0"/>
                    <a:pt x="146" y="0"/>
                    <a:pt x="146" y="0"/>
                  </a:cubicBezTo>
                  <a:cubicBezTo>
                    <a:pt x="140" y="6"/>
                    <a:pt x="140" y="6"/>
                    <a:pt x="140" y="6"/>
                  </a:cubicBezTo>
                  <a:cubicBezTo>
                    <a:pt x="102" y="22"/>
                    <a:pt x="102" y="22"/>
                    <a:pt x="102" y="22"/>
                  </a:cubicBezTo>
                  <a:cubicBezTo>
                    <a:pt x="67" y="34"/>
                    <a:pt x="67" y="34"/>
                    <a:pt x="67" y="34"/>
                  </a:cubicBezTo>
                  <a:cubicBezTo>
                    <a:pt x="21" y="58"/>
                    <a:pt x="21" y="58"/>
                    <a:pt x="21" y="58"/>
                  </a:cubicBezTo>
                  <a:cubicBezTo>
                    <a:pt x="9" y="84"/>
                    <a:pt x="9" y="84"/>
                    <a:pt x="9" y="84"/>
                  </a:cubicBezTo>
                  <a:cubicBezTo>
                    <a:pt x="0" y="94"/>
                    <a:pt x="0" y="94"/>
                    <a:pt x="0" y="94"/>
                  </a:cubicBezTo>
                  <a:cubicBezTo>
                    <a:pt x="1" y="142"/>
                    <a:pt x="1" y="142"/>
                    <a:pt x="1" y="142"/>
                  </a:cubicBezTo>
                  <a:cubicBezTo>
                    <a:pt x="33" y="157"/>
                    <a:pt x="33" y="157"/>
                    <a:pt x="33" y="157"/>
                  </a:cubicBezTo>
                  <a:cubicBezTo>
                    <a:pt x="61" y="191"/>
                    <a:pt x="61" y="191"/>
                    <a:pt x="61" y="191"/>
                  </a:cubicBezTo>
                  <a:cubicBezTo>
                    <a:pt x="77" y="200"/>
                    <a:pt x="77" y="200"/>
                    <a:pt x="77" y="200"/>
                  </a:cubicBezTo>
                  <a:cubicBezTo>
                    <a:pt x="93" y="210"/>
                    <a:pt x="93" y="210"/>
                    <a:pt x="93" y="210"/>
                  </a:cubicBezTo>
                  <a:cubicBezTo>
                    <a:pt x="93" y="210"/>
                    <a:pt x="95" y="222"/>
                    <a:pt x="95" y="222"/>
                  </a:cubicBezTo>
                  <a:cubicBezTo>
                    <a:pt x="95" y="223"/>
                    <a:pt x="96" y="236"/>
                    <a:pt x="97" y="236"/>
                  </a:cubicBezTo>
                  <a:cubicBezTo>
                    <a:pt x="97" y="237"/>
                    <a:pt x="102" y="254"/>
                    <a:pt x="102" y="254"/>
                  </a:cubicBezTo>
                  <a:cubicBezTo>
                    <a:pt x="102" y="254"/>
                    <a:pt x="109" y="264"/>
                    <a:pt x="109" y="264"/>
                  </a:cubicBezTo>
                  <a:cubicBezTo>
                    <a:pt x="120" y="280"/>
                    <a:pt x="120" y="280"/>
                    <a:pt x="120" y="280"/>
                  </a:cubicBezTo>
                  <a:cubicBezTo>
                    <a:pt x="135" y="287"/>
                    <a:pt x="135" y="287"/>
                    <a:pt x="135" y="287"/>
                  </a:cubicBezTo>
                  <a:cubicBezTo>
                    <a:pt x="149" y="300"/>
                    <a:pt x="149" y="300"/>
                    <a:pt x="149" y="300"/>
                  </a:cubicBezTo>
                  <a:cubicBezTo>
                    <a:pt x="149" y="300"/>
                    <a:pt x="156" y="301"/>
                    <a:pt x="156" y="301"/>
                  </a:cubicBezTo>
                  <a:cubicBezTo>
                    <a:pt x="156" y="302"/>
                    <a:pt x="164" y="307"/>
                    <a:pt x="164" y="307"/>
                  </a:cubicBezTo>
                  <a:cubicBezTo>
                    <a:pt x="167" y="313"/>
                    <a:pt x="167" y="313"/>
                    <a:pt x="167" y="313"/>
                  </a:cubicBezTo>
                  <a:cubicBezTo>
                    <a:pt x="169" y="312"/>
                    <a:pt x="169" y="312"/>
                    <a:pt x="169" y="312"/>
                  </a:cubicBezTo>
                  <a:cubicBezTo>
                    <a:pt x="173" y="303"/>
                    <a:pt x="173" y="303"/>
                    <a:pt x="173" y="303"/>
                  </a:cubicBezTo>
                  <a:cubicBezTo>
                    <a:pt x="178" y="292"/>
                    <a:pt x="178" y="292"/>
                    <a:pt x="178" y="292"/>
                  </a:cubicBezTo>
                  <a:cubicBezTo>
                    <a:pt x="178" y="206"/>
                    <a:pt x="178" y="206"/>
                    <a:pt x="178" y="206"/>
                  </a:cubicBezTo>
                  <a:cubicBezTo>
                    <a:pt x="225" y="157"/>
                    <a:pt x="225" y="157"/>
                    <a:pt x="225" y="157"/>
                  </a:cubicBezTo>
                  <a:cubicBezTo>
                    <a:pt x="274" y="87"/>
                    <a:pt x="274" y="87"/>
                    <a:pt x="274" y="87"/>
                  </a:cubicBezTo>
                  <a:cubicBezTo>
                    <a:pt x="310" y="39"/>
                    <a:pt x="310" y="39"/>
                    <a:pt x="310" y="39"/>
                  </a:cubicBezTo>
                  <a:lnTo>
                    <a:pt x="295" y="48"/>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56" name="Freeform 59">
              <a:extLst>
                <a:ext uri="{FF2B5EF4-FFF2-40B4-BE49-F238E27FC236}">
                  <a16:creationId xmlns:a16="http://schemas.microsoft.com/office/drawing/2014/main" id="{FC68E5E8-7940-EBA3-DB61-77527FD98AE8}"/>
                </a:ext>
              </a:extLst>
            </p:cNvPr>
            <p:cNvSpPr>
              <a:spLocks/>
            </p:cNvSpPr>
            <p:nvPr/>
          </p:nvSpPr>
          <p:spPr bwMode="auto">
            <a:xfrm>
              <a:off x="4538663" y="1987550"/>
              <a:ext cx="1108075" cy="1825625"/>
            </a:xfrm>
            <a:custGeom>
              <a:avLst/>
              <a:gdLst>
                <a:gd name="T0" fmla="*/ 2147483646 w 291"/>
                <a:gd name="T1" fmla="*/ 2147483646 h 479"/>
                <a:gd name="T2" fmla="*/ 2147483646 w 291"/>
                <a:gd name="T3" fmla="*/ 2147483646 h 479"/>
                <a:gd name="T4" fmla="*/ 2147483646 w 291"/>
                <a:gd name="T5" fmla="*/ 2147483646 h 479"/>
                <a:gd name="T6" fmla="*/ 2147483646 w 291"/>
                <a:gd name="T7" fmla="*/ 2147483646 h 479"/>
                <a:gd name="T8" fmla="*/ 2147483646 w 291"/>
                <a:gd name="T9" fmla="*/ 2062719948 h 479"/>
                <a:gd name="T10" fmla="*/ 2147483646 w 291"/>
                <a:gd name="T11" fmla="*/ 1685040441 h 479"/>
                <a:gd name="T12" fmla="*/ 2147483646 w 291"/>
                <a:gd name="T13" fmla="*/ 1409043292 h 479"/>
                <a:gd name="T14" fmla="*/ 1652939467 w 291"/>
                <a:gd name="T15" fmla="*/ 697259165 h 479"/>
                <a:gd name="T16" fmla="*/ 1377451460 w 291"/>
                <a:gd name="T17" fmla="*/ 246947225 h 479"/>
                <a:gd name="T18" fmla="*/ 1290454245 w 291"/>
                <a:gd name="T19" fmla="*/ 435786978 h 479"/>
                <a:gd name="T20" fmla="*/ 1188956859 w 291"/>
                <a:gd name="T21" fmla="*/ 290525922 h 479"/>
                <a:gd name="T22" fmla="*/ 898968682 w 291"/>
                <a:gd name="T23" fmla="*/ 305050885 h 479"/>
                <a:gd name="T24" fmla="*/ 869968341 w 291"/>
                <a:gd name="T25" fmla="*/ 435786978 h 479"/>
                <a:gd name="T26" fmla="*/ 811971467 w 291"/>
                <a:gd name="T27" fmla="*/ 493890638 h 479"/>
                <a:gd name="T28" fmla="*/ 753974593 w 291"/>
                <a:gd name="T29" fmla="*/ 566523072 h 479"/>
                <a:gd name="T30" fmla="*/ 797471296 w 291"/>
                <a:gd name="T31" fmla="*/ 755362825 h 479"/>
                <a:gd name="T32" fmla="*/ 840968000 w 291"/>
                <a:gd name="T33" fmla="*/ 1031359974 h 479"/>
                <a:gd name="T34" fmla="*/ 811971467 w 291"/>
                <a:gd name="T35" fmla="*/ 1249253463 h 479"/>
                <a:gd name="T36" fmla="*/ 565479993 w 291"/>
                <a:gd name="T37" fmla="*/ 1365464594 h 479"/>
                <a:gd name="T38" fmla="*/ 391485563 w 291"/>
                <a:gd name="T39" fmla="*/ 1525250612 h 479"/>
                <a:gd name="T40" fmla="*/ 347988859 w 291"/>
                <a:gd name="T41" fmla="*/ 1859355232 h 479"/>
                <a:gd name="T42" fmla="*/ 231991304 w 291"/>
                <a:gd name="T43" fmla="*/ 2120827419 h 479"/>
                <a:gd name="T44" fmla="*/ 43496704 w 291"/>
                <a:gd name="T45" fmla="*/ 2147483646 h 479"/>
                <a:gd name="T46" fmla="*/ 57996874 w 291"/>
                <a:gd name="T47" fmla="*/ 2147483646 h 479"/>
                <a:gd name="T48" fmla="*/ 0 w 291"/>
                <a:gd name="T49" fmla="*/ 2147483646 h 479"/>
                <a:gd name="T50" fmla="*/ 86997215 w 291"/>
                <a:gd name="T51" fmla="*/ 2147483646 h 479"/>
                <a:gd name="T52" fmla="*/ 188494600 w 291"/>
                <a:gd name="T53" fmla="*/ 2147483646 h 479"/>
                <a:gd name="T54" fmla="*/ 173994430 w 291"/>
                <a:gd name="T55" fmla="*/ 2147483646 h 479"/>
                <a:gd name="T56" fmla="*/ 434986074 w 291"/>
                <a:gd name="T57" fmla="*/ 2147483646 h 479"/>
                <a:gd name="T58" fmla="*/ 594480334 w 291"/>
                <a:gd name="T59" fmla="*/ 2147483646 h 479"/>
                <a:gd name="T60" fmla="*/ 1058462941 w 291"/>
                <a:gd name="T61" fmla="*/ 2147483646 h 479"/>
                <a:gd name="T62" fmla="*/ 739474422 w 291"/>
                <a:gd name="T63" fmla="*/ 2147483646 h 479"/>
                <a:gd name="T64" fmla="*/ 1101959645 w 291"/>
                <a:gd name="T65" fmla="*/ 2147483646 h 479"/>
                <a:gd name="T66" fmla="*/ 1290454245 w 291"/>
                <a:gd name="T67" fmla="*/ 2147483646 h 479"/>
                <a:gd name="T68" fmla="*/ 1580442422 w 291"/>
                <a:gd name="T69" fmla="*/ 2147483646 h 479"/>
                <a:gd name="T70" fmla="*/ 1609442763 w 291"/>
                <a:gd name="T71" fmla="*/ 2147483646 h 479"/>
                <a:gd name="T72" fmla="*/ 1913931111 w 291"/>
                <a:gd name="T73" fmla="*/ 2147483646 h 479"/>
                <a:gd name="T74" fmla="*/ 2058925200 w 291"/>
                <a:gd name="T75" fmla="*/ 2147483646 h 479"/>
                <a:gd name="T76" fmla="*/ 2147483646 w 291"/>
                <a:gd name="T77" fmla="*/ 2147483646 h 479"/>
                <a:gd name="T78" fmla="*/ 2147483646 w 291"/>
                <a:gd name="T79" fmla="*/ 2147483646 h 479"/>
                <a:gd name="T80" fmla="*/ 2147483646 w 291"/>
                <a:gd name="T81" fmla="*/ 2147483646 h 479"/>
                <a:gd name="T82" fmla="*/ 2147483646 w 291"/>
                <a:gd name="T83" fmla="*/ 2147483646 h 479"/>
                <a:gd name="T84" fmla="*/ 2147483646 w 291"/>
                <a:gd name="T85" fmla="*/ 2147483646 h 479"/>
                <a:gd name="T86" fmla="*/ 2147483646 w 291"/>
                <a:gd name="T87" fmla="*/ 2147483646 h 479"/>
                <a:gd name="T88" fmla="*/ 2147483646 w 291"/>
                <a:gd name="T89" fmla="*/ 2147483646 h 479"/>
                <a:gd name="T90" fmla="*/ 2147483646 w 291"/>
                <a:gd name="T91" fmla="*/ 2147483646 h 479"/>
                <a:gd name="T92" fmla="*/ 2147483646 w 291"/>
                <a:gd name="T93" fmla="*/ 2147483646 h 479"/>
                <a:gd name="T94" fmla="*/ 2147483646 w 291"/>
                <a:gd name="T95" fmla="*/ 2147483646 h 479"/>
                <a:gd name="T96" fmla="*/ 2147483646 w 291"/>
                <a:gd name="T97" fmla="*/ 2147483646 h 479"/>
                <a:gd name="T98" fmla="*/ 2147483646 w 291"/>
                <a:gd name="T99" fmla="*/ 2147483646 h 4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1" h="479">
                  <a:moveTo>
                    <a:pt x="282" y="218"/>
                  </a:moveTo>
                  <a:cubicBezTo>
                    <a:pt x="280" y="219"/>
                    <a:pt x="280" y="219"/>
                    <a:pt x="280" y="219"/>
                  </a:cubicBezTo>
                  <a:cubicBezTo>
                    <a:pt x="277" y="213"/>
                    <a:pt x="277" y="213"/>
                    <a:pt x="277" y="213"/>
                  </a:cubicBezTo>
                  <a:cubicBezTo>
                    <a:pt x="277" y="213"/>
                    <a:pt x="269" y="208"/>
                    <a:pt x="269" y="207"/>
                  </a:cubicBezTo>
                  <a:cubicBezTo>
                    <a:pt x="269" y="207"/>
                    <a:pt x="262" y="206"/>
                    <a:pt x="262" y="206"/>
                  </a:cubicBezTo>
                  <a:cubicBezTo>
                    <a:pt x="248" y="193"/>
                    <a:pt x="248" y="193"/>
                    <a:pt x="248" y="193"/>
                  </a:cubicBezTo>
                  <a:cubicBezTo>
                    <a:pt x="233" y="186"/>
                    <a:pt x="233" y="186"/>
                    <a:pt x="233" y="186"/>
                  </a:cubicBezTo>
                  <a:cubicBezTo>
                    <a:pt x="222" y="170"/>
                    <a:pt x="222" y="170"/>
                    <a:pt x="222" y="170"/>
                  </a:cubicBezTo>
                  <a:cubicBezTo>
                    <a:pt x="222" y="170"/>
                    <a:pt x="215" y="160"/>
                    <a:pt x="215" y="160"/>
                  </a:cubicBezTo>
                  <a:cubicBezTo>
                    <a:pt x="215" y="160"/>
                    <a:pt x="210" y="143"/>
                    <a:pt x="210" y="142"/>
                  </a:cubicBezTo>
                  <a:cubicBezTo>
                    <a:pt x="209" y="142"/>
                    <a:pt x="208" y="129"/>
                    <a:pt x="208" y="128"/>
                  </a:cubicBezTo>
                  <a:cubicBezTo>
                    <a:pt x="208" y="128"/>
                    <a:pt x="206" y="116"/>
                    <a:pt x="206" y="116"/>
                  </a:cubicBezTo>
                  <a:cubicBezTo>
                    <a:pt x="190" y="106"/>
                    <a:pt x="190" y="106"/>
                    <a:pt x="190" y="106"/>
                  </a:cubicBezTo>
                  <a:cubicBezTo>
                    <a:pt x="174" y="97"/>
                    <a:pt x="174" y="97"/>
                    <a:pt x="174" y="97"/>
                  </a:cubicBezTo>
                  <a:cubicBezTo>
                    <a:pt x="146" y="63"/>
                    <a:pt x="146" y="63"/>
                    <a:pt x="146" y="63"/>
                  </a:cubicBezTo>
                  <a:cubicBezTo>
                    <a:pt x="114" y="48"/>
                    <a:pt x="114" y="48"/>
                    <a:pt x="114" y="48"/>
                  </a:cubicBezTo>
                  <a:cubicBezTo>
                    <a:pt x="113" y="0"/>
                    <a:pt x="113" y="0"/>
                    <a:pt x="113" y="0"/>
                  </a:cubicBezTo>
                  <a:cubicBezTo>
                    <a:pt x="95" y="17"/>
                    <a:pt x="95" y="17"/>
                    <a:pt x="95" y="17"/>
                  </a:cubicBezTo>
                  <a:cubicBezTo>
                    <a:pt x="91" y="29"/>
                    <a:pt x="91" y="29"/>
                    <a:pt x="91" y="29"/>
                  </a:cubicBezTo>
                  <a:cubicBezTo>
                    <a:pt x="89" y="30"/>
                    <a:pt x="89" y="30"/>
                    <a:pt x="89" y="30"/>
                  </a:cubicBezTo>
                  <a:cubicBezTo>
                    <a:pt x="84" y="28"/>
                    <a:pt x="84" y="28"/>
                    <a:pt x="84" y="28"/>
                  </a:cubicBezTo>
                  <a:cubicBezTo>
                    <a:pt x="82" y="20"/>
                    <a:pt x="82" y="20"/>
                    <a:pt x="82" y="20"/>
                  </a:cubicBezTo>
                  <a:cubicBezTo>
                    <a:pt x="76" y="23"/>
                    <a:pt x="76" y="23"/>
                    <a:pt x="76" y="23"/>
                  </a:cubicBezTo>
                  <a:cubicBezTo>
                    <a:pt x="62" y="21"/>
                    <a:pt x="62" y="21"/>
                    <a:pt x="62" y="21"/>
                  </a:cubicBezTo>
                  <a:cubicBezTo>
                    <a:pt x="62" y="25"/>
                    <a:pt x="62" y="25"/>
                    <a:pt x="62" y="25"/>
                  </a:cubicBezTo>
                  <a:cubicBezTo>
                    <a:pt x="60" y="30"/>
                    <a:pt x="60" y="30"/>
                    <a:pt x="60" y="30"/>
                  </a:cubicBezTo>
                  <a:cubicBezTo>
                    <a:pt x="60" y="30"/>
                    <a:pt x="58" y="30"/>
                    <a:pt x="57" y="31"/>
                  </a:cubicBezTo>
                  <a:cubicBezTo>
                    <a:pt x="56" y="31"/>
                    <a:pt x="56" y="33"/>
                    <a:pt x="56" y="34"/>
                  </a:cubicBezTo>
                  <a:cubicBezTo>
                    <a:pt x="56" y="36"/>
                    <a:pt x="55" y="41"/>
                    <a:pt x="55" y="41"/>
                  </a:cubicBezTo>
                  <a:cubicBezTo>
                    <a:pt x="52" y="39"/>
                    <a:pt x="52" y="39"/>
                    <a:pt x="52" y="39"/>
                  </a:cubicBezTo>
                  <a:cubicBezTo>
                    <a:pt x="52" y="39"/>
                    <a:pt x="52" y="42"/>
                    <a:pt x="52" y="43"/>
                  </a:cubicBezTo>
                  <a:cubicBezTo>
                    <a:pt x="53" y="45"/>
                    <a:pt x="55" y="50"/>
                    <a:pt x="55" y="52"/>
                  </a:cubicBezTo>
                  <a:cubicBezTo>
                    <a:pt x="56" y="54"/>
                    <a:pt x="57" y="61"/>
                    <a:pt x="57" y="63"/>
                  </a:cubicBezTo>
                  <a:cubicBezTo>
                    <a:pt x="57" y="64"/>
                    <a:pt x="58" y="71"/>
                    <a:pt x="58" y="71"/>
                  </a:cubicBezTo>
                  <a:cubicBezTo>
                    <a:pt x="58" y="71"/>
                    <a:pt x="64" y="80"/>
                    <a:pt x="64" y="80"/>
                  </a:cubicBezTo>
                  <a:cubicBezTo>
                    <a:pt x="64" y="80"/>
                    <a:pt x="57" y="86"/>
                    <a:pt x="56" y="86"/>
                  </a:cubicBezTo>
                  <a:cubicBezTo>
                    <a:pt x="56" y="86"/>
                    <a:pt x="50" y="90"/>
                    <a:pt x="49" y="90"/>
                  </a:cubicBezTo>
                  <a:cubicBezTo>
                    <a:pt x="49" y="90"/>
                    <a:pt x="40" y="93"/>
                    <a:pt x="39" y="94"/>
                  </a:cubicBezTo>
                  <a:cubicBezTo>
                    <a:pt x="38" y="94"/>
                    <a:pt x="34" y="97"/>
                    <a:pt x="34" y="97"/>
                  </a:cubicBezTo>
                  <a:cubicBezTo>
                    <a:pt x="33" y="97"/>
                    <a:pt x="27" y="104"/>
                    <a:pt x="27" y="105"/>
                  </a:cubicBezTo>
                  <a:cubicBezTo>
                    <a:pt x="26" y="106"/>
                    <a:pt x="25" y="112"/>
                    <a:pt x="25" y="113"/>
                  </a:cubicBezTo>
                  <a:cubicBezTo>
                    <a:pt x="25" y="113"/>
                    <a:pt x="24" y="128"/>
                    <a:pt x="24" y="128"/>
                  </a:cubicBezTo>
                  <a:cubicBezTo>
                    <a:pt x="24" y="128"/>
                    <a:pt x="19" y="137"/>
                    <a:pt x="19" y="137"/>
                  </a:cubicBezTo>
                  <a:cubicBezTo>
                    <a:pt x="19" y="137"/>
                    <a:pt x="16" y="146"/>
                    <a:pt x="16" y="146"/>
                  </a:cubicBezTo>
                  <a:cubicBezTo>
                    <a:pt x="16" y="146"/>
                    <a:pt x="10" y="147"/>
                    <a:pt x="9" y="147"/>
                  </a:cubicBezTo>
                  <a:cubicBezTo>
                    <a:pt x="9" y="147"/>
                    <a:pt x="4" y="148"/>
                    <a:pt x="3" y="148"/>
                  </a:cubicBezTo>
                  <a:cubicBezTo>
                    <a:pt x="3" y="148"/>
                    <a:pt x="2" y="150"/>
                    <a:pt x="2" y="150"/>
                  </a:cubicBezTo>
                  <a:cubicBezTo>
                    <a:pt x="4" y="156"/>
                    <a:pt x="4" y="156"/>
                    <a:pt x="4" y="156"/>
                  </a:cubicBezTo>
                  <a:cubicBezTo>
                    <a:pt x="4" y="156"/>
                    <a:pt x="1" y="158"/>
                    <a:pt x="1" y="158"/>
                  </a:cubicBezTo>
                  <a:cubicBezTo>
                    <a:pt x="0" y="159"/>
                    <a:pt x="0" y="163"/>
                    <a:pt x="0" y="163"/>
                  </a:cubicBezTo>
                  <a:cubicBezTo>
                    <a:pt x="0" y="164"/>
                    <a:pt x="4" y="171"/>
                    <a:pt x="4" y="171"/>
                  </a:cubicBezTo>
                  <a:cubicBezTo>
                    <a:pt x="6" y="179"/>
                    <a:pt x="6" y="179"/>
                    <a:pt x="6" y="179"/>
                  </a:cubicBezTo>
                  <a:cubicBezTo>
                    <a:pt x="6" y="202"/>
                    <a:pt x="6" y="202"/>
                    <a:pt x="6" y="202"/>
                  </a:cubicBezTo>
                  <a:cubicBezTo>
                    <a:pt x="13" y="211"/>
                    <a:pt x="13" y="211"/>
                    <a:pt x="13" y="211"/>
                  </a:cubicBezTo>
                  <a:cubicBezTo>
                    <a:pt x="9" y="215"/>
                    <a:pt x="9" y="215"/>
                    <a:pt x="9" y="215"/>
                  </a:cubicBezTo>
                  <a:cubicBezTo>
                    <a:pt x="12" y="226"/>
                    <a:pt x="12" y="226"/>
                    <a:pt x="12" y="226"/>
                  </a:cubicBezTo>
                  <a:cubicBezTo>
                    <a:pt x="12" y="226"/>
                    <a:pt x="21" y="240"/>
                    <a:pt x="21" y="241"/>
                  </a:cubicBezTo>
                  <a:cubicBezTo>
                    <a:pt x="22" y="241"/>
                    <a:pt x="29" y="247"/>
                    <a:pt x="30" y="248"/>
                  </a:cubicBezTo>
                  <a:cubicBezTo>
                    <a:pt x="31" y="249"/>
                    <a:pt x="34" y="254"/>
                    <a:pt x="34" y="254"/>
                  </a:cubicBezTo>
                  <a:cubicBezTo>
                    <a:pt x="41" y="272"/>
                    <a:pt x="41" y="272"/>
                    <a:pt x="41" y="272"/>
                  </a:cubicBezTo>
                  <a:cubicBezTo>
                    <a:pt x="54" y="280"/>
                    <a:pt x="54" y="280"/>
                    <a:pt x="54" y="280"/>
                  </a:cubicBezTo>
                  <a:cubicBezTo>
                    <a:pt x="73" y="296"/>
                    <a:pt x="73" y="296"/>
                    <a:pt x="73" y="296"/>
                  </a:cubicBezTo>
                  <a:cubicBezTo>
                    <a:pt x="59" y="301"/>
                    <a:pt x="59" y="301"/>
                    <a:pt x="59" y="301"/>
                  </a:cubicBezTo>
                  <a:cubicBezTo>
                    <a:pt x="51" y="305"/>
                    <a:pt x="51" y="305"/>
                    <a:pt x="51" y="305"/>
                  </a:cubicBezTo>
                  <a:cubicBezTo>
                    <a:pt x="76" y="364"/>
                    <a:pt x="76" y="364"/>
                    <a:pt x="76" y="364"/>
                  </a:cubicBezTo>
                  <a:cubicBezTo>
                    <a:pt x="76" y="370"/>
                    <a:pt x="76" y="370"/>
                    <a:pt x="76" y="370"/>
                  </a:cubicBezTo>
                  <a:cubicBezTo>
                    <a:pt x="76" y="370"/>
                    <a:pt x="84" y="389"/>
                    <a:pt x="85" y="391"/>
                  </a:cubicBezTo>
                  <a:cubicBezTo>
                    <a:pt x="86" y="394"/>
                    <a:pt x="87" y="400"/>
                    <a:pt x="89" y="400"/>
                  </a:cubicBezTo>
                  <a:cubicBezTo>
                    <a:pt x="90" y="400"/>
                    <a:pt x="94" y="399"/>
                    <a:pt x="94" y="399"/>
                  </a:cubicBezTo>
                  <a:cubicBezTo>
                    <a:pt x="94" y="399"/>
                    <a:pt x="109" y="420"/>
                    <a:pt x="109" y="421"/>
                  </a:cubicBezTo>
                  <a:cubicBezTo>
                    <a:pt x="109" y="422"/>
                    <a:pt x="111" y="424"/>
                    <a:pt x="111" y="425"/>
                  </a:cubicBezTo>
                  <a:cubicBezTo>
                    <a:pt x="111" y="427"/>
                    <a:pt x="110" y="430"/>
                    <a:pt x="111" y="431"/>
                  </a:cubicBezTo>
                  <a:cubicBezTo>
                    <a:pt x="111" y="432"/>
                    <a:pt x="115" y="435"/>
                    <a:pt x="116" y="435"/>
                  </a:cubicBezTo>
                  <a:cubicBezTo>
                    <a:pt x="116" y="436"/>
                    <a:pt x="131" y="443"/>
                    <a:pt x="132" y="444"/>
                  </a:cubicBezTo>
                  <a:cubicBezTo>
                    <a:pt x="134" y="444"/>
                    <a:pt x="137" y="445"/>
                    <a:pt x="138" y="445"/>
                  </a:cubicBezTo>
                  <a:cubicBezTo>
                    <a:pt x="139" y="444"/>
                    <a:pt x="141" y="442"/>
                    <a:pt x="142" y="442"/>
                  </a:cubicBezTo>
                  <a:cubicBezTo>
                    <a:pt x="142" y="442"/>
                    <a:pt x="151" y="447"/>
                    <a:pt x="152" y="448"/>
                  </a:cubicBezTo>
                  <a:cubicBezTo>
                    <a:pt x="152" y="448"/>
                    <a:pt x="155" y="447"/>
                    <a:pt x="156" y="448"/>
                  </a:cubicBezTo>
                  <a:cubicBezTo>
                    <a:pt x="158" y="448"/>
                    <a:pt x="165" y="451"/>
                    <a:pt x="166" y="452"/>
                  </a:cubicBezTo>
                  <a:cubicBezTo>
                    <a:pt x="167" y="453"/>
                    <a:pt x="168" y="455"/>
                    <a:pt x="170" y="456"/>
                  </a:cubicBezTo>
                  <a:cubicBezTo>
                    <a:pt x="171" y="456"/>
                    <a:pt x="175" y="457"/>
                    <a:pt x="176" y="458"/>
                  </a:cubicBezTo>
                  <a:cubicBezTo>
                    <a:pt x="176" y="459"/>
                    <a:pt x="176" y="467"/>
                    <a:pt x="176" y="469"/>
                  </a:cubicBezTo>
                  <a:cubicBezTo>
                    <a:pt x="177" y="470"/>
                    <a:pt x="181" y="472"/>
                    <a:pt x="183" y="473"/>
                  </a:cubicBezTo>
                  <a:cubicBezTo>
                    <a:pt x="184" y="474"/>
                    <a:pt x="189" y="477"/>
                    <a:pt x="191" y="478"/>
                  </a:cubicBezTo>
                  <a:cubicBezTo>
                    <a:pt x="193" y="479"/>
                    <a:pt x="194" y="479"/>
                    <a:pt x="196" y="479"/>
                  </a:cubicBezTo>
                  <a:cubicBezTo>
                    <a:pt x="198" y="479"/>
                    <a:pt x="198" y="479"/>
                    <a:pt x="201" y="478"/>
                  </a:cubicBezTo>
                  <a:cubicBezTo>
                    <a:pt x="203" y="477"/>
                    <a:pt x="204" y="476"/>
                    <a:pt x="206" y="477"/>
                  </a:cubicBezTo>
                  <a:cubicBezTo>
                    <a:pt x="208" y="477"/>
                    <a:pt x="213" y="478"/>
                    <a:pt x="215" y="478"/>
                  </a:cubicBezTo>
                  <a:cubicBezTo>
                    <a:pt x="216" y="479"/>
                    <a:pt x="225" y="476"/>
                    <a:pt x="225" y="476"/>
                  </a:cubicBezTo>
                  <a:cubicBezTo>
                    <a:pt x="225" y="476"/>
                    <a:pt x="230" y="474"/>
                    <a:pt x="230" y="474"/>
                  </a:cubicBezTo>
                  <a:cubicBezTo>
                    <a:pt x="231" y="474"/>
                    <a:pt x="234" y="473"/>
                    <a:pt x="234" y="472"/>
                  </a:cubicBezTo>
                  <a:cubicBezTo>
                    <a:pt x="235" y="472"/>
                    <a:pt x="240" y="465"/>
                    <a:pt x="241" y="464"/>
                  </a:cubicBezTo>
                  <a:cubicBezTo>
                    <a:pt x="241" y="463"/>
                    <a:pt x="251" y="457"/>
                    <a:pt x="252" y="456"/>
                  </a:cubicBezTo>
                  <a:cubicBezTo>
                    <a:pt x="252" y="456"/>
                    <a:pt x="269" y="449"/>
                    <a:pt x="272" y="447"/>
                  </a:cubicBezTo>
                  <a:cubicBezTo>
                    <a:pt x="275" y="445"/>
                    <a:pt x="277" y="442"/>
                    <a:pt x="279" y="440"/>
                  </a:cubicBezTo>
                  <a:cubicBezTo>
                    <a:pt x="281" y="439"/>
                    <a:pt x="280" y="437"/>
                    <a:pt x="281" y="436"/>
                  </a:cubicBezTo>
                  <a:cubicBezTo>
                    <a:pt x="282" y="436"/>
                    <a:pt x="287" y="435"/>
                    <a:pt x="291" y="434"/>
                  </a:cubicBezTo>
                  <a:cubicBezTo>
                    <a:pt x="291" y="198"/>
                    <a:pt x="291" y="198"/>
                    <a:pt x="291" y="198"/>
                  </a:cubicBezTo>
                  <a:cubicBezTo>
                    <a:pt x="286" y="209"/>
                    <a:pt x="286" y="209"/>
                    <a:pt x="286" y="209"/>
                  </a:cubicBezTo>
                  <a:lnTo>
                    <a:pt x="282" y="218"/>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57" name="Freeform 33">
              <a:extLst>
                <a:ext uri="{FF2B5EF4-FFF2-40B4-BE49-F238E27FC236}">
                  <a16:creationId xmlns:a16="http://schemas.microsoft.com/office/drawing/2014/main" id="{FF5FF664-7624-DE1D-9001-FB8956193A45}"/>
                </a:ext>
              </a:extLst>
            </p:cNvPr>
            <p:cNvSpPr>
              <a:spLocks/>
            </p:cNvSpPr>
            <p:nvPr/>
          </p:nvSpPr>
          <p:spPr bwMode="auto">
            <a:xfrm>
              <a:off x="3005138" y="4476750"/>
              <a:ext cx="1020762" cy="1127125"/>
            </a:xfrm>
            <a:custGeom>
              <a:avLst/>
              <a:gdLst>
                <a:gd name="T0" fmla="*/ 2147483646 w 268"/>
                <a:gd name="T1" fmla="*/ 1406476839 h 296"/>
                <a:gd name="T2" fmla="*/ 1929438238 w 268"/>
                <a:gd name="T3" fmla="*/ 1029483989 h 296"/>
                <a:gd name="T4" fmla="*/ 1929438238 w 268"/>
                <a:gd name="T5" fmla="*/ 840987564 h 296"/>
                <a:gd name="T6" fmla="*/ 1871410966 w 268"/>
                <a:gd name="T7" fmla="*/ 797486632 h 296"/>
                <a:gd name="T8" fmla="*/ 1755352612 w 268"/>
                <a:gd name="T9" fmla="*/ 884484689 h 296"/>
                <a:gd name="T10" fmla="*/ 1755352612 w 268"/>
                <a:gd name="T11" fmla="*/ 739489196 h 296"/>
                <a:gd name="T12" fmla="*/ 1595774755 w 268"/>
                <a:gd name="T13" fmla="*/ 652487332 h 296"/>
                <a:gd name="T14" fmla="*/ 1436200708 w 268"/>
                <a:gd name="T15" fmla="*/ 666987642 h 296"/>
                <a:gd name="T16" fmla="*/ 1262115081 w 268"/>
                <a:gd name="T17" fmla="*/ 507491839 h 296"/>
                <a:gd name="T18" fmla="*/ 971974909 w 268"/>
                <a:gd name="T19" fmla="*/ 463990907 h 296"/>
                <a:gd name="T20" fmla="*/ 971974909 w 268"/>
                <a:gd name="T21" fmla="*/ 376992850 h 296"/>
                <a:gd name="T22" fmla="*/ 1030002181 w 268"/>
                <a:gd name="T23" fmla="*/ 231997357 h 296"/>
                <a:gd name="T24" fmla="*/ 1030002181 w 268"/>
                <a:gd name="T25" fmla="*/ 188496425 h 296"/>
                <a:gd name="T26" fmla="*/ 638311426 w 268"/>
                <a:gd name="T27" fmla="*/ 0 h 296"/>
                <a:gd name="T28" fmla="*/ 652819196 w 268"/>
                <a:gd name="T29" fmla="*/ 260994171 h 296"/>
                <a:gd name="T30" fmla="*/ 72535043 w 268"/>
                <a:gd name="T31" fmla="*/ 869984378 h 296"/>
                <a:gd name="T32" fmla="*/ 72535043 w 268"/>
                <a:gd name="T33" fmla="*/ 913485310 h 296"/>
                <a:gd name="T34" fmla="*/ 101550584 w 268"/>
                <a:gd name="T35" fmla="*/ 971482746 h 296"/>
                <a:gd name="T36" fmla="*/ 116058354 w 268"/>
                <a:gd name="T37" fmla="*/ 1043984300 h 296"/>
                <a:gd name="T38" fmla="*/ 101550584 w 268"/>
                <a:gd name="T39" fmla="*/ 1116482046 h 296"/>
                <a:gd name="T40" fmla="*/ 72535043 w 268"/>
                <a:gd name="T41" fmla="*/ 1188979792 h 296"/>
                <a:gd name="T42" fmla="*/ 72535043 w 268"/>
                <a:gd name="T43" fmla="*/ 1246981035 h 296"/>
                <a:gd name="T44" fmla="*/ 87042813 w 268"/>
                <a:gd name="T45" fmla="*/ 1319478782 h 296"/>
                <a:gd name="T46" fmla="*/ 29015541 w 268"/>
                <a:gd name="T47" fmla="*/ 1420977149 h 296"/>
                <a:gd name="T48" fmla="*/ 0 w 268"/>
                <a:gd name="T49" fmla="*/ 1493474896 h 296"/>
                <a:gd name="T50" fmla="*/ 14507770 w 268"/>
                <a:gd name="T51" fmla="*/ 1565972642 h 296"/>
                <a:gd name="T52" fmla="*/ 43519502 w 268"/>
                <a:gd name="T53" fmla="*/ 1623973885 h 296"/>
                <a:gd name="T54" fmla="*/ 43519502 w 268"/>
                <a:gd name="T55" fmla="*/ 1696471631 h 296"/>
                <a:gd name="T56" fmla="*/ 14507770 w 268"/>
                <a:gd name="T57" fmla="*/ 1725472253 h 296"/>
                <a:gd name="T58" fmla="*/ 29015541 w 268"/>
                <a:gd name="T59" fmla="*/ 1928468989 h 296"/>
                <a:gd name="T60" fmla="*/ 0 w 268"/>
                <a:gd name="T61" fmla="*/ 2116965413 h 296"/>
                <a:gd name="T62" fmla="*/ 2147483646 w 268"/>
                <a:gd name="T63" fmla="*/ 2147483646 h 296"/>
                <a:gd name="T64" fmla="*/ 2147483646 w 268"/>
                <a:gd name="T65" fmla="*/ 2147483646 h 296"/>
                <a:gd name="T66" fmla="*/ 2147483646 w 268"/>
                <a:gd name="T67" fmla="*/ 2147483646 h 296"/>
                <a:gd name="T68" fmla="*/ 2147483646 w 268"/>
                <a:gd name="T69" fmla="*/ 2147483646 h 296"/>
                <a:gd name="T70" fmla="*/ 2147483646 w 268"/>
                <a:gd name="T71" fmla="*/ 2147483646 h 296"/>
                <a:gd name="T72" fmla="*/ 2147483646 w 268"/>
                <a:gd name="T73" fmla="*/ 2147483646 h 296"/>
                <a:gd name="T74" fmla="*/ 2147483646 w 268"/>
                <a:gd name="T75" fmla="*/ 2147483646 h 296"/>
                <a:gd name="T76" fmla="*/ 2147483646 w 268"/>
                <a:gd name="T77" fmla="*/ 2147483646 h 296"/>
                <a:gd name="T78" fmla="*/ 2147483646 w 268"/>
                <a:gd name="T79" fmla="*/ 2147483646 h 296"/>
                <a:gd name="T80" fmla="*/ 2147483646 w 268"/>
                <a:gd name="T81" fmla="*/ 2147483646 h 296"/>
                <a:gd name="T82" fmla="*/ 2147483646 w 268"/>
                <a:gd name="T83" fmla="*/ 2147483646 h 296"/>
                <a:gd name="T84" fmla="*/ 2147483646 w 268"/>
                <a:gd name="T85" fmla="*/ 2147483646 h 296"/>
                <a:gd name="T86" fmla="*/ 2147483646 w 268"/>
                <a:gd name="T87" fmla="*/ 2147483646 h 296"/>
                <a:gd name="T88" fmla="*/ 2147483646 w 268"/>
                <a:gd name="T89" fmla="*/ 2147483646 h 296"/>
                <a:gd name="T90" fmla="*/ 2147483646 w 268"/>
                <a:gd name="T91" fmla="*/ 2147483646 h 296"/>
                <a:gd name="T92" fmla="*/ 2147483646 w 268"/>
                <a:gd name="T93" fmla="*/ 2147483646 h 296"/>
                <a:gd name="T94" fmla="*/ 2147483646 w 268"/>
                <a:gd name="T95" fmla="*/ 2147483646 h 296"/>
                <a:gd name="T96" fmla="*/ 2147483646 w 268"/>
                <a:gd name="T97" fmla="*/ 2147483646 h 296"/>
                <a:gd name="T98" fmla="*/ 2147483646 w 268"/>
                <a:gd name="T99" fmla="*/ 2147483646 h 296"/>
                <a:gd name="T100" fmla="*/ 2147483646 w 268"/>
                <a:gd name="T101" fmla="*/ 2147483646 h 296"/>
                <a:gd name="T102" fmla="*/ 2147483646 w 268"/>
                <a:gd name="T103" fmla="*/ 2147483646 h 296"/>
                <a:gd name="T104" fmla="*/ 2147483646 w 268"/>
                <a:gd name="T105" fmla="*/ 2044467667 h 296"/>
                <a:gd name="T106" fmla="*/ 2147483646 w 268"/>
                <a:gd name="T107" fmla="*/ 2015467046 h 296"/>
                <a:gd name="T108" fmla="*/ 2147483646 w 268"/>
                <a:gd name="T109" fmla="*/ 1942969299 h 296"/>
                <a:gd name="T110" fmla="*/ 2147483646 w 268"/>
                <a:gd name="T111" fmla="*/ 1913968678 h 296"/>
                <a:gd name="T112" fmla="*/ 2147483646 w 268"/>
                <a:gd name="T113" fmla="*/ 1768969378 h 296"/>
                <a:gd name="T114" fmla="*/ 2147483646 w 268"/>
                <a:gd name="T115" fmla="*/ 1768969378 h 296"/>
                <a:gd name="T116" fmla="*/ 2147483646 w 268"/>
                <a:gd name="T117" fmla="*/ 1667471010 h 296"/>
                <a:gd name="T118" fmla="*/ 2147483646 w 268"/>
                <a:gd name="T119" fmla="*/ 1522475517 h 296"/>
                <a:gd name="T120" fmla="*/ 2147483646 w 268"/>
                <a:gd name="T121" fmla="*/ 1464474274 h 296"/>
                <a:gd name="T122" fmla="*/ 2147483646 w 268"/>
                <a:gd name="T123" fmla="*/ 1406476839 h 296"/>
                <a:gd name="T124" fmla="*/ 2147483646 w 268"/>
                <a:gd name="T125" fmla="*/ 1406476839 h 2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8" h="296">
                  <a:moveTo>
                    <a:pt x="154" y="97"/>
                  </a:moveTo>
                  <a:cubicBezTo>
                    <a:pt x="133" y="71"/>
                    <a:pt x="133" y="71"/>
                    <a:pt x="133" y="71"/>
                  </a:cubicBezTo>
                  <a:cubicBezTo>
                    <a:pt x="133" y="58"/>
                    <a:pt x="133" y="58"/>
                    <a:pt x="133" y="58"/>
                  </a:cubicBezTo>
                  <a:cubicBezTo>
                    <a:pt x="129" y="55"/>
                    <a:pt x="129" y="55"/>
                    <a:pt x="129" y="55"/>
                  </a:cubicBezTo>
                  <a:cubicBezTo>
                    <a:pt x="121" y="61"/>
                    <a:pt x="121" y="61"/>
                    <a:pt x="121" y="61"/>
                  </a:cubicBezTo>
                  <a:cubicBezTo>
                    <a:pt x="121" y="51"/>
                    <a:pt x="121" y="51"/>
                    <a:pt x="121" y="51"/>
                  </a:cubicBezTo>
                  <a:cubicBezTo>
                    <a:pt x="110" y="45"/>
                    <a:pt x="110" y="45"/>
                    <a:pt x="110" y="45"/>
                  </a:cubicBezTo>
                  <a:cubicBezTo>
                    <a:pt x="99" y="46"/>
                    <a:pt x="99" y="46"/>
                    <a:pt x="99" y="46"/>
                  </a:cubicBezTo>
                  <a:cubicBezTo>
                    <a:pt x="87" y="35"/>
                    <a:pt x="87" y="35"/>
                    <a:pt x="87" y="35"/>
                  </a:cubicBezTo>
                  <a:cubicBezTo>
                    <a:pt x="67" y="32"/>
                    <a:pt x="67" y="32"/>
                    <a:pt x="67" y="32"/>
                  </a:cubicBezTo>
                  <a:cubicBezTo>
                    <a:pt x="67" y="26"/>
                    <a:pt x="67" y="26"/>
                    <a:pt x="67" y="26"/>
                  </a:cubicBezTo>
                  <a:cubicBezTo>
                    <a:pt x="71" y="16"/>
                    <a:pt x="71" y="16"/>
                    <a:pt x="71" y="16"/>
                  </a:cubicBezTo>
                  <a:cubicBezTo>
                    <a:pt x="71" y="13"/>
                    <a:pt x="71" y="13"/>
                    <a:pt x="71" y="13"/>
                  </a:cubicBezTo>
                  <a:cubicBezTo>
                    <a:pt x="44" y="0"/>
                    <a:pt x="44" y="0"/>
                    <a:pt x="44" y="0"/>
                  </a:cubicBezTo>
                  <a:cubicBezTo>
                    <a:pt x="45" y="18"/>
                    <a:pt x="45" y="18"/>
                    <a:pt x="45" y="18"/>
                  </a:cubicBezTo>
                  <a:cubicBezTo>
                    <a:pt x="5" y="60"/>
                    <a:pt x="5" y="60"/>
                    <a:pt x="5" y="60"/>
                  </a:cubicBezTo>
                  <a:cubicBezTo>
                    <a:pt x="5" y="60"/>
                    <a:pt x="4" y="62"/>
                    <a:pt x="5" y="63"/>
                  </a:cubicBezTo>
                  <a:cubicBezTo>
                    <a:pt x="5" y="64"/>
                    <a:pt x="6" y="66"/>
                    <a:pt x="7" y="67"/>
                  </a:cubicBezTo>
                  <a:cubicBezTo>
                    <a:pt x="7" y="68"/>
                    <a:pt x="8" y="71"/>
                    <a:pt x="8" y="72"/>
                  </a:cubicBezTo>
                  <a:cubicBezTo>
                    <a:pt x="8" y="73"/>
                    <a:pt x="8" y="75"/>
                    <a:pt x="7" y="77"/>
                  </a:cubicBezTo>
                  <a:cubicBezTo>
                    <a:pt x="6" y="79"/>
                    <a:pt x="5" y="81"/>
                    <a:pt x="5" y="82"/>
                  </a:cubicBezTo>
                  <a:cubicBezTo>
                    <a:pt x="4" y="84"/>
                    <a:pt x="4" y="85"/>
                    <a:pt x="5" y="86"/>
                  </a:cubicBezTo>
                  <a:cubicBezTo>
                    <a:pt x="5" y="88"/>
                    <a:pt x="6" y="90"/>
                    <a:pt x="6" y="91"/>
                  </a:cubicBezTo>
                  <a:cubicBezTo>
                    <a:pt x="6" y="91"/>
                    <a:pt x="3" y="98"/>
                    <a:pt x="2" y="98"/>
                  </a:cubicBezTo>
                  <a:cubicBezTo>
                    <a:pt x="2" y="99"/>
                    <a:pt x="0" y="102"/>
                    <a:pt x="0" y="103"/>
                  </a:cubicBezTo>
                  <a:cubicBezTo>
                    <a:pt x="0" y="104"/>
                    <a:pt x="0" y="107"/>
                    <a:pt x="1" y="108"/>
                  </a:cubicBezTo>
                  <a:cubicBezTo>
                    <a:pt x="2" y="110"/>
                    <a:pt x="3" y="110"/>
                    <a:pt x="3" y="112"/>
                  </a:cubicBezTo>
                  <a:cubicBezTo>
                    <a:pt x="3" y="113"/>
                    <a:pt x="3" y="115"/>
                    <a:pt x="3" y="117"/>
                  </a:cubicBezTo>
                  <a:cubicBezTo>
                    <a:pt x="2" y="118"/>
                    <a:pt x="1" y="118"/>
                    <a:pt x="1" y="119"/>
                  </a:cubicBezTo>
                  <a:cubicBezTo>
                    <a:pt x="1" y="121"/>
                    <a:pt x="2" y="133"/>
                    <a:pt x="2" y="133"/>
                  </a:cubicBezTo>
                  <a:cubicBezTo>
                    <a:pt x="0" y="146"/>
                    <a:pt x="0" y="146"/>
                    <a:pt x="0" y="146"/>
                  </a:cubicBezTo>
                  <a:cubicBezTo>
                    <a:pt x="191" y="255"/>
                    <a:pt x="191" y="255"/>
                    <a:pt x="191" y="255"/>
                  </a:cubicBezTo>
                  <a:cubicBezTo>
                    <a:pt x="230" y="277"/>
                    <a:pt x="230" y="277"/>
                    <a:pt x="230" y="277"/>
                  </a:cubicBezTo>
                  <a:cubicBezTo>
                    <a:pt x="233" y="296"/>
                    <a:pt x="233" y="296"/>
                    <a:pt x="233" y="296"/>
                  </a:cubicBezTo>
                  <a:cubicBezTo>
                    <a:pt x="240" y="296"/>
                    <a:pt x="258" y="296"/>
                    <a:pt x="258" y="296"/>
                  </a:cubicBezTo>
                  <a:cubicBezTo>
                    <a:pt x="257" y="284"/>
                    <a:pt x="257" y="284"/>
                    <a:pt x="257" y="284"/>
                  </a:cubicBezTo>
                  <a:cubicBezTo>
                    <a:pt x="260" y="281"/>
                    <a:pt x="260" y="281"/>
                    <a:pt x="260" y="281"/>
                  </a:cubicBezTo>
                  <a:cubicBezTo>
                    <a:pt x="262" y="262"/>
                    <a:pt x="262" y="262"/>
                    <a:pt x="262" y="262"/>
                  </a:cubicBezTo>
                  <a:cubicBezTo>
                    <a:pt x="263" y="255"/>
                    <a:pt x="263" y="255"/>
                    <a:pt x="263" y="255"/>
                  </a:cubicBezTo>
                  <a:cubicBezTo>
                    <a:pt x="267" y="252"/>
                    <a:pt x="267" y="252"/>
                    <a:pt x="267" y="252"/>
                  </a:cubicBezTo>
                  <a:cubicBezTo>
                    <a:pt x="268" y="242"/>
                    <a:pt x="268" y="242"/>
                    <a:pt x="268" y="242"/>
                  </a:cubicBezTo>
                  <a:cubicBezTo>
                    <a:pt x="267" y="231"/>
                    <a:pt x="267" y="231"/>
                    <a:pt x="267" y="231"/>
                  </a:cubicBezTo>
                  <a:cubicBezTo>
                    <a:pt x="262" y="228"/>
                    <a:pt x="262" y="228"/>
                    <a:pt x="262" y="228"/>
                  </a:cubicBezTo>
                  <a:cubicBezTo>
                    <a:pt x="253" y="212"/>
                    <a:pt x="253" y="212"/>
                    <a:pt x="253" y="212"/>
                  </a:cubicBezTo>
                  <a:cubicBezTo>
                    <a:pt x="227" y="183"/>
                    <a:pt x="227" y="183"/>
                    <a:pt x="227" y="183"/>
                  </a:cubicBezTo>
                  <a:cubicBezTo>
                    <a:pt x="221" y="177"/>
                    <a:pt x="221" y="177"/>
                    <a:pt x="221" y="177"/>
                  </a:cubicBezTo>
                  <a:cubicBezTo>
                    <a:pt x="222" y="172"/>
                    <a:pt x="222" y="172"/>
                    <a:pt x="222" y="172"/>
                  </a:cubicBezTo>
                  <a:cubicBezTo>
                    <a:pt x="230" y="172"/>
                    <a:pt x="230" y="172"/>
                    <a:pt x="230" y="172"/>
                  </a:cubicBezTo>
                  <a:cubicBezTo>
                    <a:pt x="230" y="172"/>
                    <a:pt x="232" y="163"/>
                    <a:pt x="232" y="163"/>
                  </a:cubicBezTo>
                  <a:cubicBezTo>
                    <a:pt x="232" y="163"/>
                    <a:pt x="235" y="160"/>
                    <a:pt x="235" y="160"/>
                  </a:cubicBezTo>
                  <a:cubicBezTo>
                    <a:pt x="236" y="155"/>
                    <a:pt x="236" y="155"/>
                    <a:pt x="236" y="155"/>
                  </a:cubicBezTo>
                  <a:cubicBezTo>
                    <a:pt x="219" y="152"/>
                    <a:pt x="219" y="152"/>
                    <a:pt x="219" y="152"/>
                  </a:cubicBezTo>
                  <a:cubicBezTo>
                    <a:pt x="205" y="141"/>
                    <a:pt x="205" y="141"/>
                    <a:pt x="205" y="141"/>
                  </a:cubicBezTo>
                  <a:cubicBezTo>
                    <a:pt x="198" y="139"/>
                    <a:pt x="198" y="139"/>
                    <a:pt x="198" y="139"/>
                  </a:cubicBezTo>
                  <a:cubicBezTo>
                    <a:pt x="190" y="134"/>
                    <a:pt x="190" y="134"/>
                    <a:pt x="190" y="134"/>
                  </a:cubicBezTo>
                  <a:cubicBezTo>
                    <a:pt x="177" y="132"/>
                    <a:pt x="177" y="132"/>
                    <a:pt x="177" y="132"/>
                  </a:cubicBezTo>
                  <a:cubicBezTo>
                    <a:pt x="169" y="122"/>
                    <a:pt x="169" y="122"/>
                    <a:pt x="169" y="122"/>
                  </a:cubicBezTo>
                  <a:cubicBezTo>
                    <a:pt x="164" y="122"/>
                    <a:pt x="164" y="122"/>
                    <a:pt x="164" y="122"/>
                  </a:cubicBezTo>
                  <a:cubicBezTo>
                    <a:pt x="158" y="115"/>
                    <a:pt x="158" y="115"/>
                    <a:pt x="158" y="115"/>
                  </a:cubicBezTo>
                  <a:cubicBezTo>
                    <a:pt x="158" y="105"/>
                    <a:pt x="158" y="105"/>
                    <a:pt x="158" y="105"/>
                  </a:cubicBezTo>
                  <a:cubicBezTo>
                    <a:pt x="159" y="101"/>
                    <a:pt x="159" y="101"/>
                    <a:pt x="159" y="101"/>
                  </a:cubicBezTo>
                  <a:cubicBezTo>
                    <a:pt x="158" y="97"/>
                    <a:pt x="158" y="97"/>
                    <a:pt x="158" y="97"/>
                  </a:cubicBezTo>
                  <a:lnTo>
                    <a:pt x="154" y="97"/>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58" name="Freeform 45">
              <a:extLst>
                <a:ext uri="{FF2B5EF4-FFF2-40B4-BE49-F238E27FC236}">
                  <a16:creationId xmlns:a16="http://schemas.microsoft.com/office/drawing/2014/main" id="{FF2F4015-3A1C-F0E8-288E-8D747F0CFF97}"/>
                </a:ext>
              </a:extLst>
            </p:cNvPr>
            <p:cNvSpPr>
              <a:spLocks/>
            </p:cNvSpPr>
            <p:nvPr/>
          </p:nvSpPr>
          <p:spPr bwMode="auto">
            <a:xfrm>
              <a:off x="3260972" y="4318157"/>
              <a:ext cx="460375" cy="298449"/>
            </a:xfrm>
            <a:custGeom>
              <a:avLst/>
              <a:gdLst>
                <a:gd name="T0" fmla="*/ 1418662684 w 121"/>
                <a:gd name="T1" fmla="*/ 688099433 h 78"/>
                <a:gd name="T2" fmla="*/ 1621326607 w 121"/>
                <a:gd name="T3" fmla="*/ 658820722 h 78"/>
                <a:gd name="T4" fmla="*/ 1708185292 w 121"/>
                <a:gd name="T5" fmla="*/ 746660679 h 78"/>
                <a:gd name="T6" fmla="*/ 1751612732 w 121"/>
                <a:gd name="T7" fmla="*/ 702742614 h 78"/>
                <a:gd name="T8" fmla="*/ 1534471727 w 121"/>
                <a:gd name="T9" fmla="*/ 541694403 h 78"/>
                <a:gd name="T10" fmla="*/ 1404185602 w 121"/>
                <a:gd name="T11" fmla="*/ 585616294 h 78"/>
                <a:gd name="T12" fmla="*/ 1215994956 w 121"/>
                <a:gd name="T13" fmla="*/ 570976939 h 78"/>
                <a:gd name="T14" fmla="*/ 1100185912 w 121"/>
                <a:gd name="T15" fmla="*/ 570976939 h 78"/>
                <a:gd name="T16" fmla="*/ 738281700 w 121"/>
                <a:gd name="T17" fmla="*/ 263527524 h 78"/>
                <a:gd name="T18" fmla="*/ 448759092 w 121"/>
                <a:gd name="T19" fmla="*/ 102483138 h 78"/>
                <a:gd name="T20" fmla="*/ 376381293 w 121"/>
                <a:gd name="T21" fmla="*/ 0 h 78"/>
                <a:gd name="T22" fmla="*/ 303999690 w 121"/>
                <a:gd name="T23" fmla="*/ 29282537 h 78"/>
                <a:gd name="T24" fmla="*/ 347427130 w 121"/>
                <a:gd name="T25" fmla="*/ 58561247 h 78"/>
                <a:gd name="T26" fmla="*/ 246095168 w 121"/>
                <a:gd name="T27" fmla="*/ 146405030 h 78"/>
                <a:gd name="T28" fmla="*/ 202667728 w 121"/>
                <a:gd name="T29" fmla="*/ 161044385 h 78"/>
                <a:gd name="T30" fmla="*/ 202667728 w 121"/>
                <a:gd name="T31" fmla="*/ 248888169 h 78"/>
                <a:gd name="T32" fmla="*/ 130286125 w 121"/>
                <a:gd name="T33" fmla="*/ 336728126 h 78"/>
                <a:gd name="T34" fmla="*/ 188190647 w 121"/>
                <a:gd name="T35" fmla="*/ 424571909 h 78"/>
                <a:gd name="T36" fmla="*/ 188190647 w 121"/>
                <a:gd name="T37" fmla="*/ 644177541 h 78"/>
                <a:gd name="T38" fmla="*/ 57904522 w 121"/>
                <a:gd name="T39" fmla="*/ 819865108 h 78"/>
                <a:gd name="T40" fmla="*/ 57904522 w 121"/>
                <a:gd name="T41" fmla="*/ 863786999 h 78"/>
                <a:gd name="T42" fmla="*/ 0 w 121"/>
                <a:gd name="T43" fmla="*/ 1010188203 h 78"/>
                <a:gd name="T44" fmla="*/ 0 w 121"/>
                <a:gd name="T45" fmla="*/ 1098031987 h 78"/>
                <a:gd name="T46" fmla="*/ 289522608 w 121"/>
                <a:gd name="T47" fmla="*/ 1141953878 h 78"/>
                <a:gd name="T48" fmla="*/ 390854570 w 121"/>
                <a:gd name="T49" fmla="*/ 1039470740 h 78"/>
                <a:gd name="T50" fmla="*/ 506663614 w 121"/>
                <a:gd name="T51" fmla="*/ 980909493 h 78"/>
                <a:gd name="T52" fmla="*/ 564568135 w 121"/>
                <a:gd name="T53" fmla="*/ 951626956 h 78"/>
                <a:gd name="T54" fmla="*/ 579045217 w 121"/>
                <a:gd name="T55" fmla="*/ 893065710 h 78"/>
                <a:gd name="T56" fmla="*/ 694854260 w 121"/>
                <a:gd name="T57" fmla="*/ 936987601 h 78"/>
                <a:gd name="T58" fmla="*/ 796186222 w 121"/>
                <a:gd name="T59" fmla="*/ 893065710 h 78"/>
                <a:gd name="T60" fmla="*/ 839617467 w 121"/>
                <a:gd name="T61" fmla="*/ 819865108 h 78"/>
                <a:gd name="T62" fmla="*/ 897521989 w 121"/>
                <a:gd name="T63" fmla="*/ 863786999 h 78"/>
                <a:gd name="T64" fmla="*/ 868567825 w 121"/>
                <a:gd name="T65" fmla="*/ 951626956 h 78"/>
                <a:gd name="T66" fmla="*/ 1042281390 w 121"/>
                <a:gd name="T67" fmla="*/ 995548848 h 78"/>
                <a:gd name="T68" fmla="*/ 1085708831 w 121"/>
                <a:gd name="T69" fmla="*/ 951626956 h 78"/>
                <a:gd name="T70" fmla="*/ 1158090434 w 121"/>
                <a:gd name="T71" fmla="*/ 936987601 h 78"/>
                <a:gd name="T72" fmla="*/ 1187044597 w 121"/>
                <a:gd name="T73" fmla="*/ 980909493 h 78"/>
                <a:gd name="T74" fmla="*/ 1230472037 w 121"/>
                <a:gd name="T75" fmla="*/ 1039470740 h 78"/>
                <a:gd name="T76" fmla="*/ 1331803999 w 121"/>
                <a:gd name="T77" fmla="*/ 966270138 h 78"/>
                <a:gd name="T78" fmla="*/ 1418662684 w 121"/>
                <a:gd name="T79" fmla="*/ 688099433 h 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1" h="78">
                  <a:moveTo>
                    <a:pt x="98" y="47"/>
                  </a:moveTo>
                  <a:cubicBezTo>
                    <a:pt x="112" y="45"/>
                    <a:pt x="112" y="45"/>
                    <a:pt x="112" y="45"/>
                  </a:cubicBezTo>
                  <a:cubicBezTo>
                    <a:pt x="118" y="51"/>
                    <a:pt x="118" y="51"/>
                    <a:pt x="118" y="51"/>
                  </a:cubicBezTo>
                  <a:cubicBezTo>
                    <a:pt x="121" y="48"/>
                    <a:pt x="121" y="48"/>
                    <a:pt x="121" y="48"/>
                  </a:cubicBezTo>
                  <a:cubicBezTo>
                    <a:pt x="106" y="37"/>
                    <a:pt x="106" y="37"/>
                    <a:pt x="106" y="37"/>
                  </a:cubicBezTo>
                  <a:cubicBezTo>
                    <a:pt x="106" y="37"/>
                    <a:pt x="97" y="40"/>
                    <a:pt x="97" y="40"/>
                  </a:cubicBezTo>
                  <a:cubicBezTo>
                    <a:pt x="96" y="40"/>
                    <a:pt x="84" y="39"/>
                    <a:pt x="84" y="39"/>
                  </a:cubicBezTo>
                  <a:cubicBezTo>
                    <a:pt x="76" y="39"/>
                    <a:pt x="76" y="39"/>
                    <a:pt x="76" y="39"/>
                  </a:cubicBezTo>
                  <a:cubicBezTo>
                    <a:pt x="51" y="18"/>
                    <a:pt x="51" y="18"/>
                    <a:pt x="51" y="18"/>
                  </a:cubicBezTo>
                  <a:cubicBezTo>
                    <a:pt x="31" y="7"/>
                    <a:pt x="31" y="7"/>
                    <a:pt x="31" y="7"/>
                  </a:cubicBezTo>
                  <a:cubicBezTo>
                    <a:pt x="26" y="0"/>
                    <a:pt x="26" y="0"/>
                    <a:pt x="26" y="0"/>
                  </a:cubicBezTo>
                  <a:cubicBezTo>
                    <a:pt x="21" y="2"/>
                    <a:pt x="21" y="2"/>
                    <a:pt x="21" y="2"/>
                  </a:cubicBezTo>
                  <a:cubicBezTo>
                    <a:pt x="24" y="4"/>
                    <a:pt x="24" y="4"/>
                    <a:pt x="24" y="4"/>
                  </a:cubicBezTo>
                  <a:cubicBezTo>
                    <a:pt x="17" y="10"/>
                    <a:pt x="17" y="10"/>
                    <a:pt x="17" y="10"/>
                  </a:cubicBezTo>
                  <a:cubicBezTo>
                    <a:pt x="14" y="11"/>
                    <a:pt x="14" y="11"/>
                    <a:pt x="14" y="11"/>
                  </a:cubicBezTo>
                  <a:cubicBezTo>
                    <a:pt x="14" y="17"/>
                    <a:pt x="14" y="17"/>
                    <a:pt x="14" y="17"/>
                  </a:cubicBezTo>
                  <a:cubicBezTo>
                    <a:pt x="9" y="23"/>
                    <a:pt x="9" y="23"/>
                    <a:pt x="9" y="23"/>
                  </a:cubicBezTo>
                  <a:cubicBezTo>
                    <a:pt x="13" y="29"/>
                    <a:pt x="13" y="29"/>
                    <a:pt x="13" y="29"/>
                  </a:cubicBezTo>
                  <a:cubicBezTo>
                    <a:pt x="13" y="44"/>
                    <a:pt x="13" y="44"/>
                    <a:pt x="13" y="44"/>
                  </a:cubicBezTo>
                  <a:cubicBezTo>
                    <a:pt x="4" y="56"/>
                    <a:pt x="4" y="56"/>
                    <a:pt x="4" y="56"/>
                  </a:cubicBezTo>
                  <a:cubicBezTo>
                    <a:pt x="4" y="59"/>
                    <a:pt x="4" y="59"/>
                    <a:pt x="4" y="59"/>
                  </a:cubicBezTo>
                  <a:cubicBezTo>
                    <a:pt x="0" y="69"/>
                    <a:pt x="0" y="69"/>
                    <a:pt x="0" y="69"/>
                  </a:cubicBezTo>
                  <a:cubicBezTo>
                    <a:pt x="0" y="75"/>
                    <a:pt x="0" y="75"/>
                    <a:pt x="0" y="75"/>
                  </a:cubicBezTo>
                  <a:cubicBezTo>
                    <a:pt x="20" y="78"/>
                    <a:pt x="20" y="78"/>
                    <a:pt x="20" y="78"/>
                  </a:cubicBezTo>
                  <a:cubicBezTo>
                    <a:pt x="27" y="71"/>
                    <a:pt x="27" y="71"/>
                    <a:pt x="27" y="71"/>
                  </a:cubicBezTo>
                  <a:cubicBezTo>
                    <a:pt x="35" y="67"/>
                    <a:pt x="35" y="67"/>
                    <a:pt x="35" y="67"/>
                  </a:cubicBezTo>
                  <a:cubicBezTo>
                    <a:pt x="39" y="65"/>
                    <a:pt x="39" y="65"/>
                    <a:pt x="39" y="65"/>
                  </a:cubicBezTo>
                  <a:cubicBezTo>
                    <a:pt x="40" y="61"/>
                    <a:pt x="40" y="61"/>
                    <a:pt x="40" y="61"/>
                  </a:cubicBezTo>
                  <a:cubicBezTo>
                    <a:pt x="48" y="64"/>
                    <a:pt x="48" y="64"/>
                    <a:pt x="48" y="64"/>
                  </a:cubicBezTo>
                  <a:cubicBezTo>
                    <a:pt x="55" y="61"/>
                    <a:pt x="55" y="61"/>
                    <a:pt x="55" y="61"/>
                  </a:cubicBezTo>
                  <a:cubicBezTo>
                    <a:pt x="58" y="56"/>
                    <a:pt x="58" y="56"/>
                    <a:pt x="58" y="56"/>
                  </a:cubicBezTo>
                  <a:cubicBezTo>
                    <a:pt x="62" y="59"/>
                    <a:pt x="62" y="59"/>
                    <a:pt x="62" y="59"/>
                  </a:cubicBezTo>
                  <a:cubicBezTo>
                    <a:pt x="60" y="65"/>
                    <a:pt x="60" y="65"/>
                    <a:pt x="60" y="65"/>
                  </a:cubicBezTo>
                  <a:cubicBezTo>
                    <a:pt x="72" y="68"/>
                    <a:pt x="72" y="68"/>
                    <a:pt x="72" y="68"/>
                  </a:cubicBezTo>
                  <a:cubicBezTo>
                    <a:pt x="75" y="65"/>
                    <a:pt x="75" y="65"/>
                    <a:pt x="75" y="65"/>
                  </a:cubicBezTo>
                  <a:cubicBezTo>
                    <a:pt x="80" y="64"/>
                    <a:pt x="80" y="64"/>
                    <a:pt x="80" y="64"/>
                  </a:cubicBezTo>
                  <a:cubicBezTo>
                    <a:pt x="82" y="67"/>
                    <a:pt x="82" y="67"/>
                    <a:pt x="82" y="67"/>
                  </a:cubicBezTo>
                  <a:cubicBezTo>
                    <a:pt x="85" y="71"/>
                    <a:pt x="85" y="71"/>
                    <a:pt x="85" y="71"/>
                  </a:cubicBezTo>
                  <a:cubicBezTo>
                    <a:pt x="92" y="66"/>
                    <a:pt x="92" y="66"/>
                    <a:pt x="92" y="66"/>
                  </a:cubicBezTo>
                  <a:lnTo>
                    <a:pt x="98" y="47"/>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59" name="Freeform 46">
              <a:extLst>
                <a:ext uri="{FF2B5EF4-FFF2-40B4-BE49-F238E27FC236}">
                  <a16:creationId xmlns:a16="http://schemas.microsoft.com/office/drawing/2014/main" id="{B8C2406D-4A60-5ABA-E9A8-F78082D11E5F}"/>
                </a:ext>
              </a:extLst>
            </p:cNvPr>
            <p:cNvSpPr>
              <a:spLocks/>
            </p:cNvSpPr>
            <p:nvPr/>
          </p:nvSpPr>
          <p:spPr bwMode="auto">
            <a:xfrm>
              <a:off x="3370263" y="4213225"/>
              <a:ext cx="377825" cy="282575"/>
            </a:xfrm>
            <a:custGeom>
              <a:avLst/>
              <a:gdLst>
                <a:gd name="T0" fmla="*/ 1077812600 w 99"/>
                <a:gd name="T1" fmla="*/ 204141345 h 74"/>
                <a:gd name="T2" fmla="*/ 1019551221 w 99"/>
                <a:gd name="T3" fmla="*/ 233303848 h 74"/>
                <a:gd name="T4" fmla="*/ 946726407 w 99"/>
                <a:gd name="T5" fmla="*/ 131233176 h 74"/>
                <a:gd name="T6" fmla="*/ 830207467 w 99"/>
                <a:gd name="T7" fmla="*/ 145816337 h 74"/>
                <a:gd name="T8" fmla="*/ 568035081 w 99"/>
                <a:gd name="T9" fmla="*/ 0 h 74"/>
                <a:gd name="T10" fmla="*/ 364124073 w 99"/>
                <a:gd name="T11" fmla="*/ 87487511 h 74"/>
                <a:gd name="T12" fmla="*/ 174780318 w 99"/>
                <a:gd name="T13" fmla="*/ 0 h 74"/>
                <a:gd name="T14" fmla="*/ 29130689 w 99"/>
                <a:gd name="T15" fmla="*/ 0 h 74"/>
                <a:gd name="T16" fmla="*/ 0 w 99"/>
                <a:gd name="T17" fmla="*/ 102070672 h 74"/>
                <a:gd name="T18" fmla="*/ 14563436 w 99"/>
                <a:gd name="T19" fmla="*/ 349957682 h 74"/>
                <a:gd name="T20" fmla="*/ 43694126 w 99"/>
                <a:gd name="T21" fmla="*/ 422865850 h 74"/>
                <a:gd name="T22" fmla="*/ 29130689 w 99"/>
                <a:gd name="T23" fmla="*/ 481190858 h 74"/>
                <a:gd name="T24" fmla="*/ 320429948 w 99"/>
                <a:gd name="T25" fmla="*/ 641590356 h 74"/>
                <a:gd name="T26" fmla="*/ 684554021 w 99"/>
                <a:gd name="T27" fmla="*/ 947802373 h 74"/>
                <a:gd name="T28" fmla="*/ 801076778 w 99"/>
                <a:gd name="T29" fmla="*/ 947802373 h 74"/>
                <a:gd name="T30" fmla="*/ 990420532 w 99"/>
                <a:gd name="T31" fmla="*/ 962381716 h 74"/>
                <a:gd name="T32" fmla="*/ 1121506725 w 99"/>
                <a:gd name="T33" fmla="*/ 918639869 h 74"/>
                <a:gd name="T34" fmla="*/ 1339981169 w 99"/>
                <a:gd name="T35" fmla="*/ 1079035549 h 74"/>
                <a:gd name="T36" fmla="*/ 1441936673 w 99"/>
                <a:gd name="T37" fmla="*/ 962381716 h 74"/>
                <a:gd name="T38" fmla="*/ 1296287044 w 99"/>
                <a:gd name="T39" fmla="*/ 831148540 h 74"/>
                <a:gd name="T40" fmla="*/ 1223462229 w 99"/>
                <a:gd name="T41" fmla="*/ 699915364 h 74"/>
                <a:gd name="T42" fmla="*/ 1092376036 w 99"/>
                <a:gd name="T43" fmla="*/ 612424034 h 74"/>
                <a:gd name="T44" fmla="*/ 1092376036 w 99"/>
                <a:gd name="T45" fmla="*/ 539519684 h 74"/>
                <a:gd name="T46" fmla="*/ 1179768104 w 99"/>
                <a:gd name="T47" fmla="*/ 452028354 h 74"/>
                <a:gd name="T48" fmla="*/ 1121506725 w 99"/>
                <a:gd name="T49" fmla="*/ 364540843 h 74"/>
                <a:gd name="T50" fmla="*/ 1077812600 w 99"/>
                <a:gd name="T51" fmla="*/ 204141345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74">
                  <a:moveTo>
                    <a:pt x="74" y="14"/>
                  </a:moveTo>
                  <a:cubicBezTo>
                    <a:pt x="70" y="16"/>
                    <a:pt x="70" y="16"/>
                    <a:pt x="70" y="16"/>
                  </a:cubicBezTo>
                  <a:cubicBezTo>
                    <a:pt x="65" y="9"/>
                    <a:pt x="65" y="9"/>
                    <a:pt x="65" y="9"/>
                  </a:cubicBezTo>
                  <a:cubicBezTo>
                    <a:pt x="57" y="10"/>
                    <a:pt x="57" y="10"/>
                    <a:pt x="57" y="10"/>
                  </a:cubicBezTo>
                  <a:cubicBezTo>
                    <a:pt x="39" y="0"/>
                    <a:pt x="39" y="0"/>
                    <a:pt x="39" y="0"/>
                  </a:cubicBezTo>
                  <a:cubicBezTo>
                    <a:pt x="25" y="6"/>
                    <a:pt x="25" y="6"/>
                    <a:pt x="25" y="6"/>
                  </a:cubicBezTo>
                  <a:cubicBezTo>
                    <a:pt x="12" y="0"/>
                    <a:pt x="12" y="0"/>
                    <a:pt x="12" y="0"/>
                  </a:cubicBezTo>
                  <a:cubicBezTo>
                    <a:pt x="2" y="0"/>
                    <a:pt x="2" y="0"/>
                    <a:pt x="2" y="0"/>
                  </a:cubicBezTo>
                  <a:cubicBezTo>
                    <a:pt x="0" y="7"/>
                    <a:pt x="0" y="7"/>
                    <a:pt x="0" y="7"/>
                  </a:cubicBezTo>
                  <a:cubicBezTo>
                    <a:pt x="1" y="24"/>
                    <a:pt x="1" y="24"/>
                    <a:pt x="1" y="24"/>
                  </a:cubicBezTo>
                  <a:cubicBezTo>
                    <a:pt x="3" y="29"/>
                    <a:pt x="3" y="29"/>
                    <a:pt x="3" y="29"/>
                  </a:cubicBezTo>
                  <a:cubicBezTo>
                    <a:pt x="2" y="33"/>
                    <a:pt x="2" y="33"/>
                    <a:pt x="2" y="33"/>
                  </a:cubicBezTo>
                  <a:cubicBezTo>
                    <a:pt x="22" y="44"/>
                    <a:pt x="22" y="44"/>
                    <a:pt x="22" y="44"/>
                  </a:cubicBezTo>
                  <a:cubicBezTo>
                    <a:pt x="47" y="65"/>
                    <a:pt x="47" y="65"/>
                    <a:pt x="47" y="65"/>
                  </a:cubicBezTo>
                  <a:cubicBezTo>
                    <a:pt x="55" y="65"/>
                    <a:pt x="55" y="65"/>
                    <a:pt x="55" y="65"/>
                  </a:cubicBezTo>
                  <a:cubicBezTo>
                    <a:pt x="55" y="65"/>
                    <a:pt x="67" y="66"/>
                    <a:pt x="68" y="66"/>
                  </a:cubicBezTo>
                  <a:cubicBezTo>
                    <a:pt x="68" y="66"/>
                    <a:pt x="77" y="63"/>
                    <a:pt x="77" y="63"/>
                  </a:cubicBezTo>
                  <a:cubicBezTo>
                    <a:pt x="92" y="74"/>
                    <a:pt x="92" y="74"/>
                    <a:pt x="92" y="74"/>
                  </a:cubicBezTo>
                  <a:cubicBezTo>
                    <a:pt x="99" y="66"/>
                    <a:pt x="99" y="66"/>
                    <a:pt x="99" y="66"/>
                  </a:cubicBezTo>
                  <a:cubicBezTo>
                    <a:pt x="89" y="57"/>
                    <a:pt x="89" y="57"/>
                    <a:pt x="89" y="57"/>
                  </a:cubicBezTo>
                  <a:cubicBezTo>
                    <a:pt x="89" y="57"/>
                    <a:pt x="84" y="48"/>
                    <a:pt x="84" y="48"/>
                  </a:cubicBezTo>
                  <a:cubicBezTo>
                    <a:pt x="84" y="47"/>
                    <a:pt x="75" y="42"/>
                    <a:pt x="75" y="42"/>
                  </a:cubicBezTo>
                  <a:cubicBezTo>
                    <a:pt x="75" y="37"/>
                    <a:pt x="75" y="37"/>
                    <a:pt x="75" y="37"/>
                  </a:cubicBezTo>
                  <a:cubicBezTo>
                    <a:pt x="81" y="31"/>
                    <a:pt x="81" y="31"/>
                    <a:pt x="81" y="31"/>
                  </a:cubicBezTo>
                  <a:cubicBezTo>
                    <a:pt x="77" y="25"/>
                    <a:pt x="77" y="25"/>
                    <a:pt x="77" y="25"/>
                  </a:cubicBezTo>
                  <a:lnTo>
                    <a:pt x="74" y="14"/>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60" name="Freeform 50">
              <a:extLst>
                <a:ext uri="{FF2B5EF4-FFF2-40B4-BE49-F238E27FC236}">
                  <a16:creationId xmlns:a16="http://schemas.microsoft.com/office/drawing/2014/main" id="{C822FE95-C6DA-3268-CA7B-FE5F9BB92174}"/>
                </a:ext>
              </a:extLst>
            </p:cNvPr>
            <p:cNvSpPr>
              <a:spLocks/>
            </p:cNvSpPr>
            <p:nvPr/>
          </p:nvSpPr>
          <p:spPr bwMode="auto">
            <a:xfrm>
              <a:off x="3606800" y="4719638"/>
              <a:ext cx="727075" cy="777875"/>
            </a:xfrm>
            <a:custGeom>
              <a:avLst/>
              <a:gdLst>
                <a:gd name="T0" fmla="*/ 1043337398 w 191"/>
                <a:gd name="T1" fmla="*/ 218098610 h 204"/>
                <a:gd name="T2" fmla="*/ 985373152 w 191"/>
                <a:gd name="T3" fmla="*/ 145397802 h 204"/>
                <a:gd name="T4" fmla="*/ 912920699 w 191"/>
                <a:gd name="T5" fmla="*/ 87240206 h 204"/>
                <a:gd name="T6" fmla="*/ 666575508 w 191"/>
                <a:gd name="T7" fmla="*/ 0 h 204"/>
                <a:gd name="T8" fmla="*/ 478194563 w 191"/>
                <a:gd name="T9" fmla="*/ 0 h 204"/>
                <a:gd name="T10" fmla="*/ 115924686 w 191"/>
                <a:gd name="T11" fmla="*/ 290795604 h 204"/>
                <a:gd name="T12" fmla="*/ 101436479 w 191"/>
                <a:gd name="T13" fmla="*/ 537973012 h 204"/>
                <a:gd name="T14" fmla="*/ 0 w 191"/>
                <a:gd name="T15" fmla="*/ 596134420 h 204"/>
                <a:gd name="T16" fmla="*/ 86944466 w 191"/>
                <a:gd name="T17" fmla="*/ 843311828 h 204"/>
                <a:gd name="T18" fmla="*/ 275325411 w 191"/>
                <a:gd name="T19" fmla="*/ 988709630 h 204"/>
                <a:gd name="T20" fmla="*/ 579631042 w 191"/>
                <a:gd name="T21" fmla="*/ 1090485422 h 204"/>
                <a:gd name="T22" fmla="*/ 883936673 w 191"/>
                <a:gd name="T23" fmla="*/ 1279505234 h 204"/>
                <a:gd name="T24" fmla="*/ 1115789851 w 191"/>
                <a:gd name="T25" fmla="*/ 1395824238 h 204"/>
                <a:gd name="T26" fmla="*/ 1043337398 w 191"/>
                <a:gd name="T27" fmla="*/ 1570300838 h 204"/>
                <a:gd name="T28" fmla="*/ 912920699 w 191"/>
                <a:gd name="T29" fmla="*/ 1643001646 h 204"/>
                <a:gd name="T30" fmla="*/ 1376623249 w 191"/>
                <a:gd name="T31" fmla="*/ 2147483646 h 204"/>
                <a:gd name="T32" fmla="*/ 1579496207 w 191"/>
                <a:gd name="T33" fmla="*/ 2147483646 h 204"/>
                <a:gd name="T34" fmla="*/ 1782365359 w 191"/>
                <a:gd name="T35" fmla="*/ 2147483646 h 204"/>
                <a:gd name="T36" fmla="*/ 2072182783 w 191"/>
                <a:gd name="T37" fmla="*/ 2147483646 h 204"/>
                <a:gd name="T38" fmla="*/ 2147483646 w 191"/>
                <a:gd name="T39" fmla="*/ 2147483646 h 204"/>
                <a:gd name="T40" fmla="*/ 2147483646 w 191"/>
                <a:gd name="T41" fmla="*/ 2147483646 h 204"/>
                <a:gd name="T42" fmla="*/ 2147483646 w 191"/>
                <a:gd name="T43" fmla="*/ 2147483646 h 204"/>
                <a:gd name="T44" fmla="*/ 2147483646 w 191"/>
                <a:gd name="T45" fmla="*/ 1832017645 h 204"/>
                <a:gd name="T46" fmla="*/ 2130143223 w 191"/>
                <a:gd name="T47" fmla="*/ 1686619843 h 204"/>
                <a:gd name="T48" fmla="*/ 1854817812 w 191"/>
                <a:gd name="T49" fmla="*/ 1453981834 h 204"/>
                <a:gd name="T50" fmla="*/ 1753385139 w 191"/>
                <a:gd name="T51" fmla="*/ 1279505234 h 204"/>
                <a:gd name="T52" fmla="*/ 1622968440 w 191"/>
                <a:gd name="T53" fmla="*/ 1090485422 h 204"/>
                <a:gd name="T54" fmla="*/ 1550512181 w 191"/>
                <a:gd name="T55" fmla="*/ 886930025 h 204"/>
                <a:gd name="T56" fmla="*/ 1536023974 w 191"/>
                <a:gd name="T57" fmla="*/ 756071621 h 204"/>
                <a:gd name="T58" fmla="*/ 1507039948 w 191"/>
                <a:gd name="T59" fmla="*/ 639752617 h 204"/>
                <a:gd name="T60" fmla="*/ 1405607275 w 191"/>
                <a:gd name="T61" fmla="*/ 392575210 h 204"/>
                <a:gd name="T62" fmla="*/ 1159262084 w 191"/>
                <a:gd name="T63" fmla="*/ 174476600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1" h="204">
                  <a:moveTo>
                    <a:pt x="74" y="10"/>
                  </a:moveTo>
                  <a:cubicBezTo>
                    <a:pt x="72" y="15"/>
                    <a:pt x="72" y="15"/>
                    <a:pt x="72" y="15"/>
                  </a:cubicBezTo>
                  <a:cubicBezTo>
                    <a:pt x="70" y="15"/>
                    <a:pt x="70" y="15"/>
                    <a:pt x="70" y="15"/>
                  </a:cubicBezTo>
                  <a:cubicBezTo>
                    <a:pt x="70" y="15"/>
                    <a:pt x="68" y="10"/>
                    <a:pt x="68" y="10"/>
                  </a:cubicBezTo>
                  <a:cubicBezTo>
                    <a:pt x="68" y="10"/>
                    <a:pt x="66" y="9"/>
                    <a:pt x="66" y="9"/>
                  </a:cubicBezTo>
                  <a:cubicBezTo>
                    <a:pt x="66" y="8"/>
                    <a:pt x="63" y="6"/>
                    <a:pt x="63" y="6"/>
                  </a:cubicBezTo>
                  <a:cubicBezTo>
                    <a:pt x="59" y="7"/>
                    <a:pt x="59" y="7"/>
                    <a:pt x="59" y="7"/>
                  </a:cubicBezTo>
                  <a:cubicBezTo>
                    <a:pt x="46" y="0"/>
                    <a:pt x="46" y="0"/>
                    <a:pt x="46" y="0"/>
                  </a:cubicBezTo>
                  <a:cubicBezTo>
                    <a:pt x="39" y="3"/>
                    <a:pt x="39" y="3"/>
                    <a:pt x="39" y="3"/>
                  </a:cubicBezTo>
                  <a:cubicBezTo>
                    <a:pt x="33" y="0"/>
                    <a:pt x="33" y="0"/>
                    <a:pt x="33" y="0"/>
                  </a:cubicBezTo>
                  <a:cubicBezTo>
                    <a:pt x="13" y="18"/>
                    <a:pt x="13" y="18"/>
                    <a:pt x="13" y="18"/>
                  </a:cubicBezTo>
                  <a:cubicBezTo>
                    <a:pt x="8" y="20"/>
                    <a:pt x="8" y="20"/>
                    <a:pt x="8" y="20"/>
                  </a:cubicBezTo>
                  <a:cubicBezTo>
                    <a:pt x="8" y="32"/>
                    <a:pt x="8" y="32"/>
                    <a:pt x="8" y="32"/>
                  </a:cubicBezTo>
                  <a:cubicBezTo>
                    <a:pt x="7" y="37"/>
                    <a:pt x="7" y="37"/>
                    <a:pt x="7" y="37"/>
                  </a:cubicBezTo>
                  <a:cubicBezTo>
                    <a:pt x="1" y="37"/>
                    <a:pt x="1" y="37"/>
                    <a:pt x="1" y="37"/>
                  </a:cubicBezTo>
                  <a:cubicBezTo>
                    <a:pt x="0" y="41"/>
                    <a:pt x="0" y="41"/>
                    <a:pt x="0" y="41"/>
                  </a:cubicBezTo>
                  <a:cubicBezTo>
                    <a:pt x="0" y="51"/>
                    <a:pt x="0" y="51"/>
                    <a:pt x="0" y="51"/>
                  </a:cubicBezTo>
                  <a:cubicBezTo>
                    <a:pt x="6" y="58"/>
                    <a:pt x="6" y="58"/>
                    <a:pt x="6" y="58"/>
                  </a:cubicBezTo>
                  <a:cubicBezTo>
                    <a:pt x="11" y="58"/>
                    <a:pt x="11" y="58"/>
                    <a:pt x="11" y="58"/>
                  </a:cubicBezTo>
                  <a:cubicBezTo>
                    <a:pt x="19" y="68"/>
                    <a:pt x="19" y="68"/>
                    <a:pt x="19" y="68"/>
                  </a:cubicBezTo>
                  <a:cubicBezTo>
                    <a:pt x="32" y="70"/>
                    <a:pt x="32" y="70"/>
                    <a:pt x="32" y="70"/>
                  </a:cubicBezTo>
                  <a:cubicBezTo>
                    <a:pt x="40" y="75"/>
                    <a:pt x="40" y="75"/>
                    <a:pt x="40" y="75"/>
                  </a:cubicBezTo>
                  <a:cubicBezTo>
                    <a:pt x="47" y="77"/>
                    <a:pt x="47" y="77"/>
                    <a:pt x="47" y="77"/>
                  </a:cubicBezTo>
                  <a:cubicBezTo>
                    <a:pt x="61" y="88"/>
                    <a:pt x="61" y="88"/>
                    <a:pt x="61" y="88"/>
                  </a:cubicBezTo>
                  <a:cubicBezTo>
                    <a:pt x="78" y="91"/>
                    <a:pt x="78" y="91"/>
                    <a:pt x="78" y="91"/>
                  </a:cubicBezTo>
                  <a:cubicBezTo>
                    <a:pt x="77" y="96"/>
                    <a:pt x="77" y="96"/>
                    <a:pt x="77" y="96"/>
                  </a:cubicBezTo>
                  <a:cubicBezTo>
                    <a:pt x="77" y="96"/>
                    <a:pt x="74" y="99"/>
                    <a:pt x="74" y="99"/>
                  </a:cubicBezTo>
                  <a:cubicBezTo>
                    <a:pt x="74" y="99"/>
                    <a:pt x="72" y="108"/>
                    <a:pt x="72" y="108"/>
                  </a:cubicBezTo>
                  <a:cubicBezTo>
                    <a:pt x="64" y="108"/>
                    <a:pt x="64" y="108"/>
                    <a:pt x="64" y="108"/>
                  </a:cubicBezTo>
                  <a:cubicBezTo>
                    <a:pt x="63" y="113"/>
                    <a:pt x="63" y="113"/>
                    <a:pt x="63" y="113"/>
                  </a:cubicBezTo>
                  <a:cubicBezTo>
                    <a:pt x="69" y="119"/>
                    <a:pt x="69" y="119"/>
                    <a:pt x="69" y="119"/>
                  </a:cubicBezTo>
                  <a:cubicBezTo>
                    <a:pt x="95" y="148"/>
                    <a:pt x="95" y="148"/>
                    <a:pt x="95" y="148"/>
                  </a:cubicBezTo>
                  <a:cubicBezTo>
                    <a:pt x="104" y="164"/>
                    <a:pt x="104" y="164"/>
                    <a:pt x="104" y="164"/>
                  </a:cubicBezTo>
                  <a:cubicBezTo>
                    <a:pt x="109" y="167"/>
                    <a:pt x="109" y="167"/>
                    <a:pt x="109" y="167"/>
                  </a:cubicBezTo>
                  <a:cubicBezTo>
                    <a:pt x="110" y="178"/>
                    <a:pt x="110" y="178"/>
                    <a:pt x="110" y="178"/>
                  </a:cubicBezTo>
                  <a:cubicBezTo>
                    <a:pt x="123" y="174"/>
                    <a:pt x="123" y="174"/>
                    <a:pt x="123" y="174"/>
                  </a:cubicBezTo>
                  <a:cubicBezTo>
                    <a:pt x="131" y="170"/>
                    <a:pt x="131" y="170"/>
                    <a:pt x="131" y="170"/>
                  </a:cubicBezTo>
                  <a:cubicBezTo>
                    <a:pt x="143" y="163"/>
                    <a:pt x="143" y="163"/>
                    <a:pt x="143" y="163"/>
                  </a:cubicBezTo>
                  <a:cubicBezTo>
                    <a:pt x="155" y="172"/>
                    <a:pt x="155" y="172"/>
                    <a:pt x="155" y="172"/>
                  </a:cubicBezTo>
                  <a:cubicBezTo>
                    <a:pt x="168" y="192"/>
                    <a:pt x="168" y="192"/>
                    <a:pt x="168" y="192"/>
                  </a:cubicBezTo>
                  <a:cubicBezTo>
                    <a:pt x="175" y="196"/>
                    <a:pt x="175" y="196"/>
                    <a:pt x="175" y="196"/>
                  </a:cubicBezTo>
                  <a:cubicBezTo>
                    <a:pt x="181" y="204"/>
                    <a:pt x="181" y="204"/>
                    <a:pt x="181" y="204"/>
                  </a:cubicBezTo>
                  <a:cubicBezTo>
                    <a:pt x="191" y="203"/>
                    <a:pt x="191" y="203"/>
                    <a:pt x="191" y="203"/>
                  </a:cubicBezTo>
                  <a:cubicBezTo>
                    <a:pt x="183" y="195"/>
                    <a:pt x="183" y="195"/>
                    <a:pt x="183" y="195"/>
                  </a:cubicBezTo>
                  <a:cubicBezTo>
                    <a:pt x="170" y="156"/>
                    <a:pt x="170" y="156"/>
                    <a:pt x="170" y="156"/>
                  </a:cubicBezTo>
                  <a:cubicBezTo>
                    <a:pt x="156" y="126"/>
                    <a:pt x="156" y="126"/>
                    <a:pt x="156" y="126"/>
                  </a:cubicBezTo>
                  <a:cubicBezTo>
                    <a:pt x="149" y="122"/>
                    <a:pt x="149" y="122"/>
                    <a:pt x="149" y="122"/>
                  </a:cubicBezTo>
                  <a:cubicBezTo>
                    <a:pt x="147" y="116"/>
                    <a:pt x="147" y="116"/>
                    <a:pt x="147" y="116"/>
                  </a:cubicBezTo>
                  <a:cubicBezTo>
                    <a:pt x="136" y="112"/>
                    <a:pt x="136" y="112"/>
                    <a:pt x="136" y="112"/>
                  </a:cubicBezTo>
                  <a:cubicBezTo>
                    <a:pt x="128" y="100"/>
                    <a:pt x="128" y="100"/>
                    <a:pt x="128" y="100"/>
                  </a:cubicBezTo>
                  <a:cubicBezTo>
                    <a:pt x="127" y="94"/>
                    <a:pt x="127" y="94"/>
                    <a:pt x="127" y="94"/>
                  </a:cubicBezTo>
                  <a:cubicBezTo>
                    <a:pt x="121" y="88"/>
                    <a:pt x="121" y="88"/>
                    <a:pt x="121" y="88"/>
                  </a:cubicBezTo>
                  <a:cubicBezTo>
                    <a:pt x="113" y="90"/>
                    <a:pt x="113" y="90"/>
                    <a:pt x="113" y="90"/>
                  </a:cubicBezTo>
                  <a:cubicBezTo>
                    <a:pt x="112" y="75"/>
                    <a:pt x="112" y="75"/>
                    <a:pt x="112" y="75"/>
                  </a:cubicBezTo>
                  <a:cubicBezTo>
                    <a:pt x="109" y="65"/>
                    <a:pt x="109" y="65"/>
                    <a:pt x="109" y="65"/>
                  </a:cubicBezTo>
                  <a:cubicBezTo>
                    <a:pt x="109" y="65"/>
                    <a:pt x="107" y="61"/>
                    <a:pt x="107" y="61"/>
                  </a:cubicBezTo>
                  <a:cubicBezTo>
                    <a:pt x="107" y="60"/>
                    <a:pt x="107" y="55"/>
                    <a:pt x="107" y="55"/>
                  </a:cubicBezTo>
                  <a:cubicBezTo>
                    <a:pt x="107" y="55"/>
                    <a:pt x="106" y="52"/>
                    <a:pt x="106" y="52"/>
                  </a:cubicBezTo>
                  <a:cubicBezTo>
                    <a:pt x="106" y="51"/>
                    <a:pt x="103" y="49"/>
                    <a:pt x="103" y="49"/>
                  </a:cubicBezTo>
                  <a:cubicBezTo>
                    <a:pt x="103" y="49"/>
                    <a:pt x="104" y="44"/>
                    <a:pt x="104" y="44"/>
                  </a:cubicBezTo>
                  <a:cubicBezTo>
                    <a:pt x="104" y="44"/>
                    <a:pt x="97" y="39"/>
                    <a:pt x="97" y="38"/>
                  </a:cubicBezTo>
                  <a:cubicBezTo>
                    <a:pt x="97" y="38"/>
                    <a:pt x="97" y="27"/>
                    <a:pt x="97" y="27"/>
                  </a:cubicBezTo>
                  <a:cubicBezTo>
                    <a:pt x="85" y="7"/>
                    <a:pt x="85" y="7"/>
                    <a:pt x="85" y="7"/>
                  </a:cubicBezTo>
                  <a:cubicBezTo>
                    <a:pt x="80" y="12"/>
                    <a:pt x="80" y="12"/>
                    <a:pt x="80" y="12"/>
                  </a:cubicBezTo>
                  <a:lnTo>
                    <a:pt x="74" y="10"/>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1" name="Freeform 51">
              <a:extLst>
                <a:ext uri="{FF2B5EF4-FFF2-40B4-BE49-F238E27FC236}">
                  <a16:creationId xmlns:a16="http://schemas.microsoft.com/office/drawing/2014/main" id="{CE662C4B-2B66-FCDF-DF15-361AA983A2A3}"/>
                </a:ext>
              </a:extLst>
            </p:cNvPr>
            <p:cNvSpPr>
              <a:spLocks/>
            </p:cNvSpPr>
            <p:nvPr/>
          </p:nvSpPr>
          <p:spPr bwMode="auto">
            <a:xfrm>
              <a:off x="3465513" y="4324350"/>
              <a:ext cx="517525" cy="536575"/>
            </a:xfrm>
            <a:custGeom>
              <a:avLst/>
              <a:gdLst>
                <a:gd name="T0" fmla="*/ 1723183205 w 136"/>
                <a:gd name="T1" fmla="*/ 0 h 141"/>
                <a:gd name="T2" fmla="*/ 1578378949 w 136"/>
                <a:gd name="T3" fmla="*/ 144818168 h 141"/>
                <a:gd name="T4" fmla="*/ 1288766631 w 136"/>
                <a:gd name="T5" fmla="*/ 289636335 h 141"/>
                <a:gd name="T6" fmla="*/ 912274804 w 136"/>
                <a:gd name="T7" fmla="*/ 144818168 h 141"/>
                <a:gd name="T8" fmla="*/ 724028891 w 136"/>
                <a:gd name="T9" fmla="*/ 115854534 h 141"/>
                <a:gd name="T10" fmla="*/ 854353863 w 136"/>
                <a:gd name="T11" fmla="*/ 275152616 h 141"/>
                <a:gd name="T12" fmla="*/ 1071558344 w 136"/>
                <a:gd name="T13" fmla="*/ 535825317 h 141"/>
                <a:gd name="T14" fmla="*/ 926754088 w 136"/>
                <a:gd name="T15" fmla="*/ 695127204 h 141"/>
                <a:gd name="T16" fmla="*/ 637145576 w 136"/>
                <a:gd name="T17" fmla="*/ 637199937 h 141"/>
                <a:gd name="T18" fmla="*/ 448895858 w 136"/>
                <a:gd name="T19" fmla="*/ 984763539 h 141"/>
                <a:gd name="T20" fmla="*/ 318570885 w 136"/>
                <a:gd name="T21" fmla="*/ 1057170720 h 141"/>
                <a:gd name="T22" fmla="*/ 188245913 w 136"/>
                <a:gd name="T23" fmla="*/ 1129581707 h 141"/>
                <a:gd name="T24" fmla="*/ 43441657 w 136"/>
                <a:gd name="T25" fmla="*/ 1216472607 h 141"/>
                <a:gd name="T26" fmla="*/ 115845688 w 136"/>
                <a:gd name="T27" fmla="*/ 1346807055 h 141"/>
                <a:gd name="T28" fmla="*/ 0 w 136"/>
                <a:gd name="T29" fmla="*/ 1462661590 h 141"/>
                <a:gd name="T30" fmla="*/ 173766629 w 136"/>
                <a:gd name="T31" fmla="*/ 1419218042 h 141"/>
                <a:gd name="T32" fmla="*/ 477858231 w 136"/>
                <a:gd name="T33" fmla="*/ 1984006993 h 141"/>
                <a:gd name="T34" fmla="*/ 550262262 w 136"/>
                <a:gd name="T35" fmla="*/ 2041934260 h 141"/>
                <a:gd name="T36" fmla="*/ 651624860 w 136"/>
                <a:gd name="T37" fmla="*/ 1969527079 h 141"/>
                <a:gd name="T38" fmla="*/ 724028891 w 136"/>
                <a:gd name="T39" fmla="*/ 1766781644 h 141"/>
                <a:gd name="T40" fmla="*/ 1100520718 w 136"/>
                <a:gd name="T41" fmla="*/ 1549552490 h 141"/>
                <a:gd name="T42" fmla="*/ 1390133035 w 136"/>
                <a:gd name="T43" fmla="*/ 1607479757 h 141"/>
                <a:gd name="T44" fmla="*/ 1491495634 w 136"/>
                <a:gd name="T45" fmla="*/ 1636443391 h 141"/>
                <a:gd name="T46" fmla="*/ 1549416575 w 136"/>
                <a:gd name="T47" fmla="*/ 1723334291 h 141"/>
                <a:gd name="T48" fmla="*/ 1607341322 w 136"/>
                <a:gd name="T49" fmla="*/ 1650927110 h 141"/>
                <a:gd name="T50" fmla="*/ 1766624862 w 136"/>
                <a:gd name="T51" fmla="*/ 1607479757 h 141"/>
                <a:gd name="T52" fmla="*/ 1636299890 w 136"/>
                <a:gd name="T53" fmla="*/ 1462661590 h 141"/>
                <a:gd name="T54" fmla="*/ 1867991266 w 136"/>
                <a:gd name="T55" fmla="*/ 1390254409 h 141"/>
                <a:gd name="T56" fmla="*/ 1810066519 w 136"/>
                <a:gd name="T57" fmla="*/ 1216472607 h 141"/>
                <a:gd name="T58" fmla="*/ 1650782979 w 136"/>
                <a:gd name="T59" fmla="*/ 984763539 h 141"/>
                <a:gd name="T60" fmla="*/ 1505974918 w 136"/>
                <a:gd name="T61" fmla="*/ 767534385 h 141"/>
                <a:gd name="T62" fmla="*/ 1448053977 w 136"/>
                <a:gd name="T63" fmla="*/ 622716218 h 141"/>
                <a:gd name="T64" fmla="*/ 1679741547 w 136"/>
                <a:gd name="T65" fmla="*/ 622716218 h 141"/>
                <a:gd name="T66" fmla="*/ 1867991266 w 136"/>
                <a:gd name="T67" fmla="*/ 709607118 h 141"/>
                <a:gd name="T68" fmla="*/ 1969353865 w 136"/>
                <a:gd name="T69" fmla="*/ 463418136 h 141"/>
                <a:gd name="T70" fmla="*/ 1925912208 w 136"/>
                <a:gd name="T71" fmla="*/ 304116249 h 141"/>
                <a:gd name="T72" fmla="*/ 1925912208 w 136"/>
                <a:gd name="T73" fmla="*/ 188261715 h 141"/>
                <a:gd name="T74" fmla="*/ 1882470550 w 136"/>
                <a:gd name="T75" fmla="*/ 57927267 h 1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6" h="141">
                  <a:moveTo>
                    <a:pt x="125" y="7"/>
                  </a:moveTo>
                  <a:cubicBezTo>
                    <a:pt x="119" y="0"/>
                    <a:pt x="119" y="0"/>
                    <a:pt x="119" y="0"/>
                  </a:cubicBezTo>
                  <a:cubicBezTo>
                    <a:pt x="111" y="2"/>
                    <a:pt x="111" y="2"/>
                    <a:pt x="111" y="2"/>
                  </a:cubicBezTo>
                  <a:cubicBezTo>
                    <a:pt x="109" y="10"/>
                    <a:pt x="109" y="10"/>
                    <a:pt x="109" y="10"/>
                  </a:cubicBezTo>
                  <a:cubicBezTo>
                    <a:pt x="96" y="14"/>
                    <a:pt x="96" y="14"/>
                    <a:pt x="96" y="14"/>
                  </a:cubicBezTo>
                  <a:cubicBezTo>
                    <a:pt x="89" y="20"/>
                    <a:pt x="89" y="20"/>
                    <a:pt x="89" y="20"/>
                  </a:cubicBezTo>
                  <a:cubicBezTo>
                    <a:pt x="75" y="12"/>
                    <a:pt x="75" y="12"/>
                    <a:pt x="75" y="12"/>
                  </a:cubicBezTo>
                  <a:cubicBezTo>
                    <a:pt x="63" y="10"/>
                    <a:pt x="63" y="10"/>
                    <a:pt x="63" y="10"/>
                  </a:cubicBezTo>
                  <a:cubicBezTo>
                    <a:pt x="56" y="2"/>
                    <a:pt x="56" y="2"/>
                    <a:pt x="56" y="2"/>
                  </a:cubicBezTo>
                  <a:cubicBezTo>
                    <a:pt x="50" y="8"/>
                    <a:pt x="50" y="8"/>
                    <a:pt x="50" y="8"/>
                  </a:cubicBezTo>
                  <a:cubicBezTo>
                    <a:pt x="50" y="13"/>
                    <a:pt x="50" y="13"/>
                    <a:pt x="50" y="13"/>
                  </a:cubicBezTo>
                  <a:cubicBezTo>
                    <a:pt x="50" y="13"/>
                    <a:pt x="59" y="18"/>
                    <a:pt x="59" y="19"/>
                  </a:cubicBezTo>
                  <a:cubicBezTo>
                    <a:pt x="59" y="19"/>
                    <a:pt x="64" y="28"/>
                    <a:pt x="64" y="28"/>
                  </a:cubicBezTo>
                  <a:cubicBezTo>
                    <a:pt x="74" y="37"/>
                    <a:pt x="74" y="37"/>
                    <a:pt x="74" y="37"/>
                  </a:cubicBezTo>
                  <a:cubicBezTo>
                    <a:pt x="67" y="45"/>
                    <a:pt x="67" y="45"/>
                    <a:pt x="67" y="45"/>
                  </a:cubicBezTo>
                  <a:cubicBezTo>
                    <a:pt x="64" y="48"/>
                    <a:pt x="64" y="48"/>
                    <a:pt x="64" y="48"/>
                  </a:cubicBezTo>
                  <a:cubicBezTo>
                    <a:pt x="58" y="42"/>
                    <a:pt x="58" y="42"/>
                    <a:pt x="58" y="42"/>
                  </a:cubicBezTo>
                  <a:cubicBezTo>
                    <a:pt x="44" y="44"/>
                    <a:pt x="44" y="44"/>
                    <a:pt x="44" y="44"/>
                  </a:cubicBezTo>
                  <a:cubicBezTo>
                    <a:pt x="38" y="63"/>
                    <a:pt x="38" y="63"/>
                    <a:pt x="38" y="63"/>
                  </a:cubicBezTo>
                  <a:cubicBezTo>
                    <a:pt x="31" y="68"/>
                    <a:pt x="31" y="68"/>
                    <a:pt x="31" y="68"/>
                  </a:cubicBezTo>
                  <a:cubicBezTo>
                    <a:pt x="25" y="74"/>
                    <a:pt x="25" y="74"/>
                    <a:pt x="25" y="74"/>
                  </a:cubicBezTo>
                  <a:cubicBezTo>
                    <a:pt x="22" y="73"/>
                    <a:pt x="22" y="73"/>
                    <a:pt x="22" y="73"/>
                  </a:cubicBezTo>
                  <a:cubicBezTo>
                    <a:pt x="13" y="72"/>
                    <a:pt x="13" y="72"/>
                    <a:pt x="13" y="72"/>
                  </a:cubicBezTo>
                  <a:cubicBezTo>
                    <a:pt x="13" y="78"/>
                    <a:pt x="13" y="78"/>
                    <a:pt x="13" y="78"/>
                  </a:cubicBezTo>
                  <a:cubicBezTo>
                    <a:pt x="9" y="78"/>
                    <a:pt x="9" y="78"/>
                    <a:pt x="9" y="78"/>
                  </a:cubicBezTo>
                  <a:cubicBezTo>
                    <a:pt x="3" y="84"/>
                    <a:pt x="3" y="84"/>
                    <a:pt x="3" y="84"/>
                  </a:cubicBezTo>
                  <a:cubicBezTo>
                    <a:pt x="9" y="91"/>
                    <a:pt x="9" y="91"/>
                    <a:pt x="9" y="91"/>
                  </a:cubicBezTo>
                  <a:cubicBezTo>
                    <a:pt x="8" y="93"/>
                    <a:pt x="8" y="93"/>
                    <a:pt x="8" y="93"/>
                  </a:cubicBezTo>
                  <a:cubicBezTo>
                    <a:pt x="0" y="91"/>
                    <a:pt x="0" y="91"/>
                    <a:pt x="0" y="91"/>
                  </a:cubicBezTo>
                  <a:cubicBezTo>
                    <a:pt x="0" y="101"/>
                    <a:pt x="0" y="101"/>
                    <a:pt x="0" y="101"/>
                  </a:cubicBezTo>
                  <a:cubicBezTo>
                    <a:pt x="8" y="95"/>
                    <a:pt x="8" y="95"/>
                    <a:pt x="8" y="95"/>
                  </a:cubicBezTo>
                  <a:cubicBezTo>
                    <a:pt x="12" y="98"/>
                    <a:pt x="12" y="98"/>
                    <a:pt x="12" y="98"/>
                  </a:cubicBezTo>
                  <a:cubicBezTo>
                    <a:pt x="12" y="111"/>
                    <a:pt x="12" y="111"/>
                    <a:pt x="12" y="111"/>
                  </a:cubicBezTo>
                  <a:cubicBezTo>
                    <a:pt x="33" y="137"/>
                    <a:pt x="33" y="137"/>
                    <a:pt x="33" y="137"/>
                  </a:cubicBezTo>
                  <a:cubicBezTo>
                    <a:pt x="37" y="137"/>
                    <a:pt x="37" y="137"/>
                    <a:pt x="37" y="137"/>
                  </a:cubicBezTo>
                  <a:cubicBezTo>
                    <a:pt x="38" y="141"/>
                    <a:pt x="38" y="141"/>
                    <a:pt x="38" y="141"/>
                  </a:cubicBezTo>
                  <a:cubicBezTo>
                    <a:pt x="44" y="141"/>
                    <a:pt x="44" y="141"/>
                    <a:pt x="44" y="141"/>
                  </a:cubicBezTo>
                  <a:cubicBezTo>
                    <a:pt x="45" y="136"/>
                    <a:pt x="45" y="136"/>
                    <a:pt x="45" y="136"/>
                  </a:cubicBezTo>
                  <a:cubicBezTo>
                    <a:pt x="45" y="124"/>
                    <a:pt x="45" y="124"/>
                    <a:pt x="45" y="124"/>
                  </a:cubicBezTo>
                  <a:cubicBezTo>
                    <a:pt x="50" y="122"/>
                    <a:pt x="50" y="122"/>
                    <a:pt x="50" y="122"/>
                  </a:cubicBezTo>
                  <a:cubicBezTo>
                    <a:pt x="70" y="104"/>
                    <a:pt x="70" y="104"/>
                    <a:pt x="70" y="104"/>
                  </a:cubicBezTo>
                  <a:cubicBezTo>
                    <a:pt x="76" y="107"/>
                    <a:pt x="76" y="107"/>
                    <a:pt x="76" y="107"/>
                  </a:cubicBezTo>
                  <a:cubicBezTo>
                    <a:pt x="83" y="104"/>
                    <a:pt x="83" y="104"/>
                    <a:pt x="83" y="104"/>
                  </a:cubicBezTo>
                  <a:cubicBezTo>
                    <a:pt x="96" y="111"/>
                    <a:pt x="96" y="111"/>
                    <a:pt x="96" y="111"/>
                  </a:cubicBezTo>
                  <a:cubicBezTo>
                    <a:pt x="100" y="110"/>
                    <a:pt x="100" y="110"/>
                    <a:pt x="100" y="110"/>
                  </a:cubicBezTo>
                  <a:cubicBezTo>
                    <a:pt x="100" y="110"/>
                    <a:pt x="103" y="112"/>
                    <a:pt x="103" y="113"/>
                  </a:cubicBezTo>
                  <a:cubicBezTo>
                    <a:pt x="103" y="113"/>
                    <a:pt x="105" y="114"/>
                    <a:pt x="105" y="114"/>
                  </a:cubicBezTo>
                  <a:cubicBezTo>
                    <a:pt x="105" y="114"/>
                    <a:pt x="107" y="119"/>
                    <a:pt x="107" y="119"/>
                  </a:cubicBezTo>
                  <a:cubicBezTo>
                    <a:pt x="109" y="119"/>
                    <a:pt x="109" y="119"/>
                    <a:pt x="109" y="119"/>
                  </a:cubicBezTo>
                  <a:cubicBezTo>
                    <a:pt x="111" y="114"/>
                    <a:pt x="111" y="114"/>
                    <a:pt x="111" y="114"/>
                  </a:cubicBezTo>
                  <a:cubicBezTo>
                    <a:pt x="117" y="116"/>
                    <a:pt x="117" y="116"/>
                    <a:pt x="117" y="116"/>
                  </a:cubicBezTo>
                  <a:cubicBezTo>
                    <a:pt x="122" y="111"/>
                    <a:pt x="122" y="111"/>
                    <a:pt x="122" y="111"/>
                  </a:cubicBezTo>
                  <a:cubicBezTo>
                    <a:pt x="121" y="111"/>
                    <a:pt x="121" y="111"/>
                    <a:pt x="121" y="111"/>
                  </a:cubicBezTo>
                  <a:cubicBezTo>
                    <a:pt x="113" y="101"/>
                    <a:pt x="113" y="101"/>
                    <a:pt x="113" y="101"/>
                  </a:cubicBezTo>
                  <a:cubicBezTo>
                    <a:pt x="124" y="100"/>
                    <a:pt x="124" y="100"/>
                    <a:pt x="124" y="100"/>
                  </a:cubicBezTo>
                  <a:cubicBezTo>
                    <a:pt x="129" y="96"/>
                    <a:pt x="129" y="96"/>
                    <a:pt x="129" y="96"/>
                  </a:cubicBezTo>
                  <a:cubicBezTo>
                    <a:pt x="129" y="91"/>
                    <a:pt x="129" y="91"/>
                    <a:pt x="129" y="91"/>
                  </a:cubicBezTo>
                  <a:cubicBezTo>
                    <a:pt x="129" y="91"/>
                    <a:pt x="125" y="85"/>
                    <a:pt x="125" y="84"/>
                  </a:cubicBezTo>
                  <a:cubicBezTo>
                    <a:pt x="125" y="84"/>
                    <a:pt x="118" y="78"/>
                    <a:pt x="117" y="77"/>
                  </a:cubicBezTo>
                  <a:cubicBezTo>
                    <a:pt x="116" y="76"/>
                    <a:pt x="114" y="68"/>
                    <a:pt x="114" y="68"/>
                  </a:cubicBezTo>
                  <a:cubicBezTo>
                    <a:pt x="114" y="68"/>
                    <a:pt x="109" y="59"/>
                    <a:pt x="108" y="59"/>
                  </a:cubicBezTo>
                  <a:cubicBezTo>
                    <a:pt x="108" y="58"/>
                    <a:pt x="105" y="53"/>
                    <a:pt x="104" y="53"/>
                  </a:cubicBezTo>
                  <a:cubicBezTo>
                    <a:pt x="104" y="53"/>
                    <a:pt x="100" y="53"/>
                    <a:pt x="100" y="53"/>
                  </a:cubicBezTo>
                  <a:cubicBezTo>
                    <a:pt x="100" y="43"/>
                    <a:pt x="100" y="43"/>
                    <a:pt x="100" y="43"/>
                  </a:cubicBezTo>
                  <a:cubicBezTo>
                    <a:pt x="112" y="43"/>
                    <a:pt x="112" y="43"/>
                    <a:pt x="112" y="43"/>
                  </a:cubicBezTo>
                  <a:cubicBezTo>
                    <a:pt x="116" y="43"/>
                    <a:pt x="116" y="43"/>
                    <a:pt x="116" y="43"/>
                  </a:cubicBezTo>
                  <a:cubicBezTo>
                    <a:pt x="120" y="43"/>
                    <a:pt x="120" y="43"/>
                    <a:pt x="120" y="43"/>
                  </a:cubicBezTo>
                  <a:cubicBezTo>
                    <a:pt x="129" y="49"/>
                    <a:pt x="129" y="49"/>
                    <a:pt x="129" y="49"/>
                  </a:cubicBezTo>
                  <a:cubicBezTo>
                    <a:pt x="130" y="43"/>
                    <a:pt x="130" y="43"/>
                    <a:pt x="130" y="43"/>
                  </a:cubicBezTo>
                  <a:cubicBezTo>
                    <a:pt x="136" y="32"/>
                    <a:pt x="136" y="32"/>
                    <a:pt x="136" y="32"/>
                  </a:cubicBezTo>
                  <a:cubicBezTo>
                    <a:pt x="136" y="32"/>
                    <a:pt x="136" y="28"/>
                    <a:pt x="136" y="28"/>
                  </a:cubicBezTo>
                  <a:cubicBezTo>
                    <a:pt x="136" y="28"/>
                    <a:pt x="133" y="21"/>
                    <a:pt x="133" y="21"/>
                  </a:cubicBezTo>
                  <a:cubicBezTo>
                    <a:pt x="133" y="21"/>
                    <a:pt x="131" y="18"/>
                    <a:pt x="131" y="18"/>
                  </a:cubicBezTo>
                  <a:cubicBezTo>
                    <a:pt x="131" y="18"/>
                    <a:pt x="132" y="13"/>
                    <a:pt x="133" y="13"/>
                  </a:cubicBezTo>
                  <a:cubicBezTo>
                    <a:pt x="133" y="12"/>
                    <a:pt x="135" y="5"/>
                    <a:pt x="135" y="5"/>
                  </a:cubicBezTo>
                  <a:cubicBezTo>
                    <a:pt x="130" y="4"/>
                    <a:pt x="130" y="4"/>
                    <a:pt x="130" y="4"/>
                  </a:cubicBezTo>
                  <a:lnTo>
                    <a:pt x="125" y="7"/>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62" name="Freeform 52">
              <a:extLst>
                <a:ext uri="{FF2B5EF4-FFF2-40B4-BE49-F238E27FC236}">
                  <a16:creationId xmlns:a16="http://schemas.microsoft.com/office/drawing/2014/main" id="{2EC2776C-398D-2A7F-4774-5EA4C81B8761}"/>
                </a:ext>
              </a:extLst>
            </p:cNvPr>
            <p:cNvSpPr>
              <a:spLocks/>
            </p:cNvSpPr>
            <p:nvPr/>
          </p:nvSpPr>
          <p:spPr bwMode="auto">
            <a:xfrm>
              <a:off x="3846513" y="3935413"/>
              <a:ext cx="784225" cy="1600200"/>
            </a:xfrm>
            <a:custGeom>
              <a:avLst/>
              <a:gdLst>
                <a:gd name="T0" fmla="*/ 1362305419 w 206"/>
                <a:gd name="T1" fmla="*/ 72580500 h 420"/>
                <a:gd name="T2" fmla="*/ 1275351617 w 206"/>
                <a:gd name="T3" fmla="*/ 101612700 h 420"/>
                <a:gd name="T4" fmla="*/ 1188394008 w 206"/>
                <a:gd name="T5" fmla="*/ 217741500 h 420"/>
                <a:gd name="T6" fmla="*/ 1043468466 w 206"/>
                <a:gd name="T7" fmla="*/ 479031300 h 420"/>
                <a:gd name="T8" fmla="*/ 753617383 w 206"/>
                <a:gd name="T9" fmla="*/ 551611800 h 420"/>
                <a:gd name="T10" fmla="*/ 753617383 w 206"/>
                <a:gd name="T11" fmla="*/ 725805000 h 420"/>
                <a:gd name="T12" fmla="*/ 623180970 w 206"/>
                <a:gd name="T13" fmla="*/ 856449900 h 420"/>
                <a:gd name="T14" fmla="*/ 565213038 w 206"/>
                <a:gd name="T15" fmla="*/ 1016127000 h 420"/>
                <a:gd name="T16" fmla="*/ 637673905 w 206"/>
                <a:gd name="T17" fmla="*/ 1204836300 h 420"/>
                <a:gd name="T18" fmla="*/ 608691842 w 206"/>
                <a:gd name="T19" fmla="*/ 1306449000 h 420"/>
                <a:gd name="T20" fmla="*/ 623180970 w 206"/>
                <a:gd name="T21" fmla="*/ 1451610000 h 420"/>
                <a:gd name="T22" fmla="*/ 507241298 w 206"/>
                <a:gd name="T23" fmla="*/ 1553222700 h 420"/>
                <a:gd name="T24" fmla="*/ 449269559 w 206"/>
                <a:gd name="T25" fmla="*/ 1741932000 h 420"/>
                <a:gd name="T26" fmla="*/ 521734233 w 206"/>
                <a:gd name="T27" fmla="*/ 1887093000 h 420"/>
                <a:gd name="T28" fmla="*/ 434780431 w 206"/>
                <a:gd name="T29" fmla="*/ 2104834500 h 420"/>
                <a:gd name="T30" fmla="*/ 289851083 w 206"/>
                <a:gd name="T31" fmla="*/ 2104834500 h 420"/>
                <a:gd name="T32" fmla="*/ 173911411 w 206"/>
                <a:gd name="T33" fmla="*/ 2104834500 h 420"/>
                <a:gd name="T34" fmla="*/ 0 w 206"/>
                <a:gd name="T35" fmla="*/ 2147483646 h 420"/>
                <a:gd name="T36" fmla="*/ 115939672 w 206"/>
                <a:gd name="T37" fmla="*/ 2147483646 h 420"/>
                <a:gd name="T38" fmla="*/ 246376085 w 206"/>
                <a:gd name="T39" fmla="*/ 2147483646 h 420"/>
                <a:gd name="T40" fmla="*/ 420287496 w 206"/>
                <a:gd name="T41" fmla="*/ 2147483646 h 420"/>
                <a:gd name="T42" fmla="*/ 347822822 w 206"/>
                <a:gd name="T43" fmla="*/ 2147483646 h 420"/>
                <a:gd name="T44" fmla="*/ 304344018 w 206"/>
                <a:gd name="T45" fmla="*/ 2147483646 h 420"/>
                <a:gd name="T46" fmla="*/ 492748363 w 206"/>
                <a:gd name="T47" fmla="*/ 2147483646 h 420"/>
                <a:gd name="T48" fmla="*/ 579705972 w 206"/>
                <a:gd name="T49" fmla="*/ 2147483646 h 420"/>
                <a:gd name="T50" fmla="*/ 637673905 w 206"/>
                <a:gd name="T51" fmla="*/ 2147483646 h 420"/>
                <a:gd name="T52" fmla="*/ 666659775 w 206"/>
                <a:gd name="T53" fmla="*/ 2147483646 h 420"/>
                <a:gd name="T54" fmla="*/ 724631514 w 206"/>
                <a:gd name="T55" fmla="*/ 2147483646 h 420"/>
                <a:gd name="T56" fmla="*/ 927528795 w 206"/>
                <a:gd name="T57" fmla="*/ 2147483646 h 420"/>
                <a:gd name="T58" fmla="*/ 1057961401 w 206"/>
                <a:gd name="T59" fmla="*/ 2147483646 h 420"/>
                <a:gd name="T60" fmla="*/ 1246365747 w 206"/>
                <a:gd name="T61" fmla="*/ 2147483646 h 420"/>
                <a:gd name="T62" fmla="*/ 1550709765 w 206"/>
                <a:gd name="T63" fmla="*/ 2147483646 h 420"/>
                <a:gd name="T64" fmla="*/ 1855053782 w 206"/>
                <a:gd name="T65" fmla="*/ 2147483646 h 420"/>
                <a:gd name="T66" fmla="*/ 2144908672 w 206"/>
                <a:gd name="T67" fmla="*/ 2147483646 h 420"/>
                <a:gd name="T68" fmla="*/ 2147483646 w 206"/>
                <a:gd name="T69" fmla="*/ 2147483646 h 420"/>
                <a:gd name="T70" fmla="*/ 2147483646 w 206"/>
                <a:gd name="T71" fmla="*/ 2147483646 h 420"/>
                <a:gd name="T72" fmla="*/ 2086936933 w 206"/>
                <a:gd name="T73" fmla="*/ 2147483646 h 420"/>
                <a:gd name="T74" fmla="*/ 2147483646 w 206"/>
                <a:gd name="T75" fmla="*/ 2147483646 h 420"/>
                <a:gd name="T76" fmla="*/ 2147483646 w 206"/>
                <a:gd name="T77" fmla="*/ 2147483646 h 420"/>
                <a:gd name="T78" fmla="*/ 2147483646 w 206"/>
                <a:gd name="T79" fmla="*/ 2147483646 h 420"/>
                <a:gd name="T80" fmla="*/ 2147483646 w 206"/>
                <a:gd name="T81" fmla="*/ 1320965100 h 420"/>
                <a:gd name="T82" fmla="*/ 1565202699 w 206"/>
                <a:gd name="T83" fmla="*/ 101612700 h 4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6" h="420">
                  <a:moveTo>
                    <a:pt x="98" y="0"/>
                  </a:moveTo>
                  <a:cubicBezTo>
                    <a:pt x="94" y="5"/>
                    <a:pt x="94" y="5"/>
                    <a:pt x="94" y="5"/>
                  </a:cubicBezTo>
                  <a:cubicBezTo>
                    <a:pt x="94" y="5"/>
                    <a:pt x="92" y="6"/>
                    <a:pt x="92" y="6"/>
                  </a:cubicBezTo>
                  <a:cubicBezTo>
                    <a:pt x="91" y="6"/>
                    <a:pt x="88" y="7"/>
                    <a:pt x="88" y="7"/>
                  </a:cubicBezTo>
                  <a:cubicBezTo>
                    <a:pt x="88" y="7"/>
                    <a:pt x="84" y="10"/>
                    <a:pt x="84" y="10"/>
                  </a:cubicBezTo>
                  <a:cubicBezTo>
                    <a:pt x="83" y="11"/>
                    <a:pt x="82" y="14"/>
                    <a:pt x="82" y="15"/>
                  </a:cubicBezTo>
                  <a:cubicBezTo>
                    <a:pt x="82" y="15"/>
                    <a:pt x="78" y="27"/>
                    <a:pt x="78" y="27"/>
                  </a:cubicBezTo>
                  <a:cubicBezTo>
                    <a:pt x="72" y="33"/>
                    <a:pt x="72" y="33"/>
                    <a:pt x="72" y="33"/>
                  </a:cubicBezTo>
                  <a:cubicBezTo>
                    <a:pt x="56" y="33"/>
                    <a:pt x="56" y="33"/>
                    <a:pt x="56" y="33"/>
                  </a:cubicBezTo>
                  <a:cubicBezTo>
                    <a:pt x="56" y="33"/>
                    <a:pt x="53" y="38"/>
                    <a:pt x="52" y="38"/>
                  </a:cubicBezTo>
                  <a:cubicBezTo>
                    <a:pt x="52" y="39"/>
                    <a:pt x="52" y="41"/>
                    <a:pt x="52" y="41"/>
                  </a:cubicBezTo>
                  <a:cubicBezTo>
                    <a:pt x="52" y="42"/>
                    <a:pt x="52" y="50"/>
                    <a:pt x="52" y="50"/>
                  </a:cubicBezTo>
                  <a:cubicBezTo>
                    <a:pt x="46" y="53"/>
                    <a:pt x="46" y="53"/>
                    <a:pt x="46" y="53"/>
                  </a:cubicBezTo>
                  <a:cubicBezTo>
                    <a:pt x="46" y="53"/>
                    <a:pt x="43" y="59"/>
                    <a:pt x="43" y="59"/>
                  </a:cubicBezTo>
                  <a:cubicBezTo>
                    <a:pt x="43" y="60"/>
                    <a:pt x="42" y="61"/>
                    <a:pt x="41" y="62"/>
                  </a:cubicBezTo>
                  <a:cubicBezTo>
                    <a:pt x="41" y="63"/>
                    <a:pt x="40" y="68"/>
                    <a:pt x="39" y="70"/>
                  </a:cubicBezTo>
                  <a:cubicBezTo>
                    <a:pt x="39" y="71"/>
                    <a:pt x="41" y="77"/>
                    <a:pt x="41" y="78"/>
                  </a:cubicBezTo>
                  <a:cubicBezTo>
                    <a:pt x="41" y="78"/>
                    <a:pt x="44" y="83"/>
                    <a:pt x="44" y="83"/>
                  </a:cubicBezTo>
                  <a:cubicBezTo>
                    <a:pt x="44" y="84"/>
                    <a:pt x="42" y="86"/>
                    <a:pt x="42" y="86"/>
                  </a:cubicBezTo>
                  <a:cubicBezTo>
                    <a:pt x="42" y="87"/>
                    <a:pt x="42" y="89"/>
                    <a:pt x="42" y="90"/>
                  </a:cubicBezTo>
                  <a:cubicBezTo>
                    <a:pt x="42" y="90"/>
                    <a:pt x="44" y="94"/>
                    <a:pt x="44" y="95"/>
                  </a:cubicBezTo>
                  <a:cubicBezTo>
                    <a:pt x="44" y="95"/>
                    <a:pt x="43" y="100"/>
                    <a:pt x="43" y="100"/>
                  </a:cubicBezTo>
                  <a:cubicBezTo>
                    <a:pt x="40" y="107"/>
                    <a:pt x="40" y="107"/>
                    <a:pt x="40" y="107"/>
                  </a:cubicBezTo>
                  <a:cubicBezTo>
                    <a:pt x="35" y="107"/>
                    <a:pt x="35" y="107"/>
                    <a:pt x="35" y="107"/>
                  </a:cubicBezTo>
                  <a:cubicBezTo>
                    <a:pt x="35" y="107"/>
                    <a:pt x="33" y="114"/>
                    <a:pt x="33" y="115"/>
                  </a:cubicBezTo>
                  <a:cubicBezTo>
                    <a:pt x="32" y="115"/>
                    <a:pt x="31" y="120"/>
                    <a:pt x="31" y="120"/>
                  </a:cubicBezTo>
                  <a:cubicBezTo>
                    <a:pt x="31" y="120"/>
                    <a:pt x="33" y="123"/>
                    <a:pt x="33" y="123"/>
                  </a:cubicBezTo>
                  <a:cubicBezTo>
                    <a:pt x="33" y="123"/>
                    <a:pt x="36" y="130"/>
                    <a:pt x="36" y="130"/>
                  </a:cubicBezTo>
                  <a:cubicBezTo>
                    <a:pt x="36" y="130"/>
                    <a:pt x="36" y="134"/>
                    <a:pt x="36" y="134"/>
                  </a:cubicBezTo>
                  <a:cubicBezTo>
                    <a:pt x="30" y="145"/>
                    <a:pt x="30" y="145"/>
                    <a:pt x="30" y="145"/>
                  </a:cubicBezTo>
                  <a:cubicBezTo>
                    <a:pt x="29" y="151"/>
                    <a:pt x="29" y="151"/>
                    <a:pt x="29" y="151"/>
                  </a:cubicBezTo>
                  <a:cubicBezTo>
                    <a:pt x="20" y="145"/>
                    <a:pt x="20" y="145"/>
                    <a:pt x="20" y="145"/>
                  </a:cubicBezTo>
                  <a:cubicBezTo>
                    <a:pt x="16" y="145"/>
                    <a:pt x="16" y="145"/>
                    <a:pt x="16" y="145"/>
                  </a:cubicBezTo>
                  <a:cubicBezTo>
                    <a:pt x="12" y="145"/>
                    <a:pt x="12" y="145"/>
                    <a:pt x="12" y="145"/>
                  </a:cubicBezTo>
                  <a:cubicBezTo>
                    <a:pt x="0" y="145"/>
                    <a:pt x="0" y="145"/>
                    <a:pt x="0" y="145"/>
                  </a:cubicBezTo>
                  <a:cubicBezTo>
                    <a:pt x="0" y="155"/>
                    <a:pt x="0" y="155"/>
                    <a:pt x="0" y="155"/>
                  </a:cubicBezTo>
                  <a:cubicBezTo>
                    <a:pt x="0" y="155"/>
                    <a:pt x="4" y="155"/>
                    <a:pt x="4" y="155"/>
                  </a:cubicBezTo>
                  <a:cubicBezTo>
                    <a:pt x="5" y="155"/>
                    <a:pt x="8" y="160"/>
                    <a:pt x="8" y="161"/>
                  </a:cubicBezTo>
                  <a:cubicBezTo>
                    <a:pt x="9" y="161"/>
                    <a:pt x="14" y="170"/>
                    <a:pt x="14" y="170"/>
                  </a:cubicBezTo>
                  <a:cubicBezTo>
                    <a:pt x="14" y="170"/>
                    <a:pt x="16" y="178"/>
                    <a:pt x="17" y="179"/>
                  </a:cubicBezTo>
                  <a:cubicBezTo>
                    <a:pt x="18" y="180"/>
                    <a:pt x="25" y="186"/>
                    <a:pt x="25" y="186"/>
                  </a:cubicBezTo>
                  <a:cubicBezTo>
                    <a:pt x="25" y="187"/>
                    <a:pt x="29" y="193"/>
                    <a:pt x="29" y="193"/>
                  </a:cubicBezTo>
                  <a:cubicBezTo>
                    <a:pt x="29" y="198"/>
                    <a:pt x="29" y="198"/>
                    <a:pt x="29" y="198"/>
                  </a:cubicBezTo>
                  <a:cubicBezTo>
                    <a:pt x="24" y="202"/>
                    <a:pt x="24" y="202"/>
                    <a:pt x="24" y="202"/>
                  </a:cubicBezTo>
                  <a:cubicBezTo>
                    <a:pt x="13" y="203"/>
                    <a:pt x="13" y="203"/>
                    <a:pt x="13" y="203"/>
                  </a:cubicBezTo>
                  <a:cubicBezTo>
                    <a:pt x="21" y="213"/>
                    <a:pt x="21" y="213"/>
                    <a:pt x="21" y="213"/>
                  </a:cubicBezTo>
                  <a:cubicBezTo>
                    <a:pt x="34" y="233"/>
                    <a:pt x="34" y="233"/>
                    <a:pt x="34" y="233"/>
                  </a:cubicBezTo>
                  <a:cubicBezTo>
                    <a:pt x="34" y="233"/>
                    <a:pt x="34" y="244"/>
                    <a:pt x="34" y="244"/>
                  </a:cubicBezTo>
                  <a:cubicBezTo>
                    <a:pt x="34" y="245"/>
                    <a:pt x="41" y="250"/>
                    <a:pt x="41" y="250"/>
                  </a:cubicBezTo>
                  <a:cubicBezTo>
                    <a:pt x="41" y="250"/>
                    <a:pt x="40" y="255"/>
                    <a:pt x="40" y="255"/>
                  </a:cubicBezTo>
                  <a:cubicBezTo>
                    <a:pt x="40" y="255"/>
                    <a:pt x="43" y="257"/>
                    <a:pt x="43" y="258"/>
                  </a:cubicBezTo>
                  <a:cubicBezTo>
                    <a:pt x="43" y="258"/>
                    <a:pt x="44" y="261"/>
                    <a:pt x="44" y="261"/>
                  </a:cubicBezTo>
                  <a:cubicBezTo>
                    <a:pt x="44" y="261"/>
                    <a:pt x="44" y="266"/>
                    <a:pt x="44" y="267"/>
                  </a:cubicBezTo>
                  <a:cubicBezTo>
                    <a:pt x="44" y="267"/>
                    <a:pt x="46" y="271"/>
                    <a:pt x="46" y="271"/>
                  </a:cubicBezTo>
                  <a:cubicBezTo>
                    <a:pt x="49" y="281"/>
                    <a:pt x="49" y="281"/>
                    <a:pt x="49" y="281"/>
                  </a:cubicBezTo>
                  <a:cubicBezTo>
                    <a:pt x="50" y="296"/>
                    <a:pt x="50" y="296"/>
                    <a:pt x="50" y="296"/>
                  </a:cubicBezTo>
                  <a:cubicBezTo>
                    <a:pt x="58" y="294"/>
                    <a:pt x="58" y="294"/>
                    <a:pt x="58" y="294"/>
                  </a:cubicBezTo>
                  <a:cubicBezTo>
                    <a:pt x="64" y="300"/>
                    <a:pt x="64" y="300"/>
                    <a:pt x="64" y="300"/>
                  </a:cubicBezTo>
                  <a:cubicBezTo>
                    <a:pt x="65" y="306"/>
                    <a:pt x="65" y="306"/>
                    <a:pt x="65" y="306"/>
                  </a:cubicBezTo>
                  <a:cubicBezTo>
                    <a:pt x="73" y="318"/>
                    <a:pt x="73" y="318"/>
                    <a:pt x="73" y="318"/>
                  </a:cubicBezTo>
                  <a:cubicBezTo>
                    <a:pt x="84" y="322"/>
                    <a:pt x="84" y="322"/>
                    <a:pt x="84" y="322"/>
                  </a:cubicBezTo>
                  <a:cubicBezTo>
                    <a:pt x="86" y="328"/>
                    <a:pt x="86" y="328"/>
                    <a:pt x="86" y="328"/>
                  </a:cubicBezTo>
                  <a:cubicBezTo>
                    <a:pt x="93" y="332"/>
                    <a:pt x="93" y="332"/>
                    <a:pt x="93" y="332"/>
                  </a:cubicBezTo>
                  <a:cubicBezTo>
                    <a:pt x="107" y="362"/>
                    <a:pt x="107" y="362"/>
                    <a:pt x="107" y="362"/>
                  </a:cubicBezTo>
                  <a:cubicBezTo>
                    <a:pt x="120" y="401"/>
                    <a:pt x="120" y="401"/>
                    <a:pt x="120" y="401"/>
                  </a:cubicBezTo>
                  <a:cubicBezTo>
                    <a:pt x="128" y="409"/>
                    <a:pt x="128" y="409"/>
                    <a:pt x="128" y="409"/>
                  </a:cubicBezTo>
                  <a:cubicBezTo>
                    <a:pt x="137" y="411"/>
                    <a:pt x="137" y="411"/>
                    <a:pt x="137" y="411"/>
                  </a:cubicBezTo>
                  <a:cubicBezTo>
                    <a:pt x="148" y="416"/>
                    <a:pt x="148" y="416"/>
                    <a:pt x="148" y="416"/>
                  </a:cubicBezTo>
                  <a:cubicBezTo>
                    <a:pt x="161" y="420"/>
                    <a:pt x="161" y="420"/>
                    <a:pt x="161" y="420"/>
                  </a:cubicBezTo>
                  <a:cubicBezTo>
                    <a:pt x="176" y="419"/>
                    <a:pt x="176" y="419"/>
                    <a:pt x="176" y="419"/>
                  </a:cubicBezTo>
                  <a:cubicBezTo>
                    <a:pt x="195" y="415"/>
                    <a:pt x="195" y="415"/>
                    <a:pt x="195" y="415"/>
                  </a:cubicBezTo>
                  <a:cubicBezTo>
                    <a:pt x="203" y="418"/>
                    <a:pt x="203" y="418"/>
                    <a:pt x="203" y="418"/>
                  </a:cubicBezTo>
                  <a:cubicBezTo>
                    <a:pt x="206" y="417"/>
                    <a:pt x="206" y="417"/>
                    <a:pt x="206" y="417"/>
                  </a:cubicBezTo>
                  <a:cubicBezTo>
                    <a:pt x="144" y="332"/>
                    <a:pt x="144" y="332"/>
                    <a:pt x="144" y="332"/>
                  </a:cubicBezTo>
                  <a:cubicBezTo>
                    <a:pt x="151" y="330"/>
                    <a:pt x="151" y="330"/>
                    <a:pt x="151" y="330"/>
                  </a:cubicBezTo>
                  <a:cubicBezTo>
                    <a:pt x="167" y="319"/>
                    <a:pt x="167" y="319"/>
                    <a:pt x="167" y="319"/>
                  </a:cubicBezTo>
                  <a:cubicBezTo>
                    <a:pt x="170" y="313"/>
                    <a:pt x="170" y="313"/>
                    <a:pt x="170" y="313"/>
                  </a:cubicBezTo>
                  <a:cubicBezTo>
                    <a:pt x="194" y="262"/>
                    <a:pt x="194" y="262"/>
                    <a:pt x="194" y="262"/>
                  </a:cubicBezTo>
                  <a:cubicBezTo>
                    <a:pt x="187" y="232"/>
                    <a:pt x="187" y="232"/>
                    <a:pt x="187" y="232"/>
                  </a:cubicBezTo>
                  <a:cubicBezTo>
                    <a:pt x="193" y="227"/>
                    <a:pt x="193" y="227"/>
                    <a:pt x="193" y="227"/>
                  </a:cubicBezTo>
                  <a:cubicBezTo>
                    <a:pt x="188" y="139"/>
                    <a:pt x="188" y="139"/>
                    <a:pt x="188" y="139"/>
                  </a:cubicBezTo>
                  <a:cubicBezTo>
                    <a:pt x="163" y="91"/>
                    <a:pt x="163" y="91"/>
                    <a:pt x="163" y="91"/>
                  </a:cubicBezTo>
                  <a:cubicBezTo>
                    <a:pt x="113" y="4"/>
                    <a:pt x="113" y="4"/>
                    <a:pt x="113" y="4"/>
                  </a:cubicBezTo>
                  <a:cubicBezTo>
                    <a:pt x="108" y="7"/>
                    <a:pt x="108" y="7"/>
                    <a:pt x="108" y="7"/>
                  </a:cubicBezTo>
                  <a:lnTo>
                    <a:pt x="98" y="0"/>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3" name="Freeform 53">
              <a:extLst>
                <a:ext uri="{FF2B5EF4-FFF2-40B4-BE49-F238E27FC236}">
                  <a16:creationId xmlns:a16="http://schemas.microsoft.com/office/drawing/2014/main" id="{D5A1974B-8458-B184-A7F7-04666144D9D6}"/>
                </a:ext>
              </a:extLst>
            </p:cNvPr>
            <p:cNvSpPr>
              <a:spLocks/>
            </p:cNvSpPr>
            <p:nvPr/>
          </p:nvSpPr>
          <p:spPr bwMode="auto">
            <a:xfrm>
              <a:off x="3663950" y="4014788"/>
              <a:ext cx="357187" cy="385763"/>
            </a:xfrm>
            <a:custGeom>
              <a:avLst/>
              <a:gdLst>
                <a:gd name="T0" fmla="*/ 1270628155 w 94"/>
                <a:gd name="T1" fmla="*/ 306349294 h 101"/>
                <a:gd name="T2" fmla="*/ 1212870257 w 94"/>
                <a:gd name="T3" fmla="*/ 408465725 h 101"/>
                <a:gd name="T4" fmla="*/ 1054043638 w 94"/>
                <a:gd name="T5" fmla="*/ 525172401 h 101"/>
                <a:gd name="T6" fmla="*/ 895213218 w 94"/>
                <a:gd name="T7" fmla="*/ 510582157 h 101"/>
                <a:gd name="T8" fmla="*/ 649753552 w 94"/>
                <a:gd name="T9" fmla="*/ 379289057 h 101"/>
                <a:gd name="T10" fmla="*/ 187705568 w 94"/>
                <a:gd name="T11" fmla="*/ 0 h 101"/>
                <a:gd name="T12" fmla="*/ 158826619 w 94"/>
                <a:gd name="T13" fmla="*/ 43763094 h 101"/>
                <a:gd name="T14" fmla="*/ 245463466 w 94"/>
                <a:gd name="T15" fmla="*/ 262586200 h 101"/>
                <a:gd name="T16" fmla="*/ 346535988 w 94"/>
                <a:gd name="T17" fmla="*/ 437642394 h 101"/>
                <a:gd name="T18" fmla="*/ 332096513 w 94"/>
                <a:gd name="T19" fmla="*/ 641875257 h 101"/>
                <a:gd name="T20" fmla="*/ 447608509 w 94"/>
                <a:gd name="T21" fmla="*/ 773168357 h 101"/>
                <a:gd name="T22" fmla="*/ 433169035 w 94"/>
                <a:gd name="T23" fmla="*/ 1050340983 h 101"/>
                <a:gd name="T24" fmla="*/ 476483658 w 94"/>
                <a:gd name="T25" fmla="*/ 1094107896 h 101"/>
                <a:gd name="T26" fmla="*/ 187705568 w 94"/>
                <a:gd name="T27" fmla="*/ 1181634083 h 101"/>
                <a:gd name="T28" fmla="*/ 129951470 w 94"/>
                <a:gd name="T29" fmla="*/ 1137870989 h 101"/>
                <a:gd name="T30" fmla="*/ 0 w 94"/>
                <a:gd name="T31" fmla="*/ 1123284564 h 101"/>
                <a:gd name="T32" fmla="*/ 57754098 w 94"/>
                <a:gd name="T33" fmla="*/ 1210810752 h 101"/>
                <a:gd name="T34" fmla="*/ 158826619 w 94"/>
                <a:gd name="T35" fmla="*/ 1327517427 h 101"/>
                <a:gd name="T36" fmla="*/ 332096513 w 94"/>
                <a:gd name="T37" fmla="*/ 1356694096 h 101"/>
                <a:gd name="T38" fmla="*/ 534241556 w 94"/>
                <a:gd name="T39" fmla="*/ 1473396952 h 101"/>
                <a:gd name="T40" fmla="*/ 635314077 w 94"/>
                <a:gd name="T41" fmla="*/ 1385866946 h 101"/>
                <a:gd name="T42" fmla="*/ 823019646 w 94"/>
                <a:gd name="T43" fmla="*/ 1327517427 h 101"/>
                <a:gd name="T44" fmla="*/ 851898595 w 94"/>
                <a:gd name="T45" fmla="*/ 1210810752 h 101"/>
                <a:gd name="T46" fmla="*/ 967410591 w 94"/>
                <a:gd name="T47" fmla="*/ 1181634083 h 101"/>
                <a:gd name="T48" fmla="*/ 1054043638 w 94"/>
                <a:gd name="T49" fmla="*/ 1283750514 h 101"/>
                <a:gd name="T50" fmla="*/ 1126237210 w 94"/>
                <a:gd name="T51" fmla="*/ 1239987421 h 101"/>
                <a:gd name="T52" fmla="*/ 1198434582 w 94"/>
                <a:gd name="T53" fmla="*/ 1254573845 h 101"/>
                <a:gd name="T54" fmla="*/ 1270628155 w 94"/>
                <a:gd name="T55" fmla="*/ 1254573845 h 101"/>
                <a:gd name="T56" fmla="*/ 1313942778 w 94"/>
                <a:gd name="T57" fmla="*/ 1152457414 h 101"/>
                <a:gd name="T58" fmla="*/ 1328382253 w 94"/>
                <a:gd name="T59" fmla="*/ 1079517651 h 101"/>
                <a:gd name="T60" fmla="*/ 1299507104 w 94"/>
                <a:gd name="T61" fmla="*/ 1006577889 h 101"/>
                <a:gd name="T62" fmla="*/ 1299507104 w 94"/>
                <a:gd name="T63" fmla="*/ 948224551 h 101"/>
                <a:gd name="T64" fmla="*/ 1328382253 w 94"/>
                <a:gd name="T65" fmla="*/ 904461458 h 101"/>
                <a:gd name="T66" fmla="*/ 1285067629 w 94"/>
                <a:gd name="T67" fmla="*/ 831521695 h 101"/>
                <a:gd name="T68" fmla="*/ 1256188680 w 94"/>
                <a:gd name="T69" fmla="*/ 714815020 h 101"/>
                <a:gd name="T70" fmla="*/ 1285067629 w 94"/>
                <a:gd name="T71" fmla="*/ 598112163 h 101"/>
                <a:gd name="T72" fmla="*/ 1313942778 w 94"/>
                <a:gd name="T73" fmla="*/ 554349070 h 101"/>
                <a:gd name="T74" fmla="*/ 1357261202 w 94"/>
                <a:gd name="T75" fmla="*/ 466819063 h 101"/>
                <a:gd name="T76" fmla="*/ 1270628155 w 94"/>
                <a:gd name="T77" fmla="*/ 408465725 h 101"/>
                <a:gd name="T78" fmla="*/ 1270628155 w 94"/>
                <a:gd name="T79" fmla="*/ 306349294 h 1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4" h="101">
                  <a:moveTo>
                    <a:pt x="88" y="21"/>
                  </a:moveTo>
                  <a:cubicBezTo>
                    <a:pt x="84" y="28"/>
                    <a:pt x="84" y="28"/>
                    <a:pt x="84" y="28"/>
                  </a:cubicBezTo>
                  <a:cubicBezTo>
                    <a:pt x="73" y="36"/>
                    <a:pt x="73" y="36"/>
                    <a:pt x="73" y="36"/>
                  </a:cubicBezTo>
                  <a:cubicBezTo>
                    <a:pt x="62" y="35"/>
                    <a:pt x="62" y="35"/>
                    <a:pt x="62" y="35"/>
                  </a:cubicBezTo>
                  <a:cubicBezTo>
                    <a:pt x="45" y="26"/>
                    <a:pt x="45" y="26"/>
                    <a:pt x="45" y="26"/>
                  </a:cubicBezTo>
                  <a:cubicBezTo>
                    <a:pt x="13" y="0"/>
                    <a:pt x="13" y="0"/>
                    <a:pt x="13" y="0"/>
                  </a:cubicBezTo>
                  <a:cubicBezTo>
                    <a:pt x="11" y="3"/>
                    <a:pt x="11" y="3"/>
                    <a:pt x="11" y="3"/>
                  </a:cubicBezTo>
                  <a:cubicBezTo>
                    <a:pt x="11" y="3"/>
                    <a:pt x="17" y="17"/>
                    <a:pt x="17" y="18"/>
                  </a:cubicBezTo>
                  <a:cubicBezTo>
                    <a:pt x="16" y="18"/>
                    <a:pt x="24" y="30"/>
                    <a:pt x="24" y="30"/>
                  </a:cubicBezTo>
                  <a:cubicBezTo>
                    <a:pt x="23" y="44"/>
                    <a:pt x="23" y="44"/>
                    <a:pt x="23" y="44"/>
                  </a:cubicBezTo>
                  <a:cubicBezTo>
                    <a:pt x="31" y="53"/>
                    <a:pt x="31" y="53"/>
                    <a:pt x="31" y="53"/>
                  </a:cubicBezTo>
                  <a:cubicBezTo>
                    <a:pt x="30" y="72"/>
                    <a:pt x="30" y="72"/>
                    <a:pt x="30" y="72"/>
                  </a:cubicBezTo>
                  <a:cubicBezTo>
                    <a:pt x="33" y="75"/>
                    <a:pt x="33" y="75"/>
                    <a:pt x="33" y="75"/>
                  </a:cubicBezTo>
                  <a:cubicBezTo>
                    <a:pt x="13" y="81"/>
                    <a:pt x="13" y="81"/>
                    <a:pt x="13" y="81"/>
                  </a:cubicBezTo>
                  <a:cubicBezTo>
                    <a:pt x="9" y="78"/>
                    <a:pt x="9" y="78"/>
                    <a:pt x="9" y="78"/>
                  </a:cubicBezTo>
                  <a:cubicBezTo>
                    <a:pt x="0" y="77"/>
                    <a:pt x="0" y="77"/>
                    <a:pt x="0" y="77"/>
                  </a:cubicBezTo>
                  <a:cubicBezTo>
                    <a:pt x="4" y="83"/>
                    <a:pt x="4" y="83"/>
                    <a:pt x="4" y="83"/>
                  </a:cubicBezTo>
                  <a:cubicBezTo>
                    <a:pt x="11" y="91"/>
                    <a:pt x="11" y="91"/>
                    <a:pt x="11" y="91"/>
                  </a:cubicBezTo>
                  <a:cubicBezTo>
                    <a:pt x="23" y="93"/>
                    <a:pt x="23" y="93"/>
                    <a:pt x="23" y="93"/>
                  </a:cubicBezTo>
                  <a:cubicBezTo>
                    <a:pt x="37" y="101"/>
                    <a:pt x="37" y="101"/>
                    <a:pt x="37" y="101"/>
                  </a:cubicBezTo>
                  <a:cubicBezTo>
                    <a:pt x="44" y="95"/>
                    <a:pt x="44" y="95"/>
                    <a:pt x="44" y="95"/>
                  </a:cubicBezTo>
                  <a:cubicBezTo>
                    <a:pt x="57" y="91"/>
                    <a:pt x="57" y="91"/>
                    <a:pt x="57" y="91"/>
                  </a:cubicBezTo>
                  <a:cubicBezTo>
                    <a:pt x="59" y="83"/>
                    <a:pt x="59" y="83"/>
                    <a:pt x="59" y="83"/>
                  </a:cubicBezTo>
                  <a:cubicBezTo>
                    <a:pt x="67" y="81"/>
                    <a:pt x="67" y="81"/>
                    <a:pt x="67" y="81"/>
                  </a:cubicBezTo>
                  <a:cubicBezTo>
                    <a:pt x="73" y="88"/>
                    <a:pt x="73" y="88"/>
                    <a:pt x="73" y="88"/>
                  </a:cubicBezTo>
                  <a:cubicBezTo>
                    <a:pt x="78" y="85"/>
                    <a:pt x="78" y="85"/>
                    <a:pt x="78" y="85"/>
                  </a:cubicBezTo>
                  <a:cubicBezTo>
                    <a:pt x="83" y="86"/>
                    <a:pt x="83" y="86"/>
                    <a:pt x="83" y="86"/>
                  </a:cubicBezTo>
                  <a:cubicBezTo>
                    <a:pt x="88" y="86"/>
                    <a:pt x="88" y="86"/>
                    <a:pt x="88" y="86"/>
                  </a:cubicBezTo>
                  <a:cubicBezTo>
                    <a:pt x="91" y="79"/>
                    <a:pt x="91" y="79"/>
                    <a:pt x="91" y="79"/>
                  </a:cubicBezTo>
                  <a:cubicBezTo>
                    <a:pt x="91" y="79"/>
                    <a:pt x="92" y="74"/>
                    <a:pt x="92" y="74"/>
                  </a:cubicBezTo>
                  <a:cubicBezTo>
                    <a:pt x="92" y="73"/>
                    <a:pt x="90" y="69"/>
                    <a:pt x="90" y="69"/>
                  </a:cubicBezTo>
                  <a:cubicBezTo>
                    <a:pt x="90" y="68"/>
                    <a:pt x="90" y="66"/>
                    <a:pt x="90" y="65"/>
                  </a:cubicBezTo>
                  <a:cubicBezTo>
                    <a:pt x="90" y="65"/>
                    <a:pt x="92" y="63"/>
                    <a:pt x="92" y="62"/>
                  </a:cubicBezTo>
                  <a:cubicBezTo>
                    <a:pt x="92" y="62"/>
                    <a:pt x="89" y="57"/>
                    <a:pt x="89" y="57"/>
                  </a:cubicBezTo>
                  <a:cubicBezTo>
                    <a:pt x="89" y="56"/>
                    <a:pt x="87" y="50"/>
                    <a:pt x="87" y="49"/>
                  </a:cubicBezTo>
                  <a:cubicBezTo>
                    <a:pt x="88" y="47"/>
                    <a:pt x="89" y="42"/>
                    <a:pt x="89" y="41"/>
                  </a:cubicBezTo>
                  <a:cubicBezTo>
                    <a:pt x="90" y="40"/>
                    <a:pt x="91" y="39"/>
                    <a:pt x="91" y="38"/>
                  </a:cubicBezTo>
                  <a:cubicBezTo>
                    <a:pt x="91" y="38"/>
                    <a:pt x="94" y="32"/>
                    <a:pt x="94" y="32"/>
                  </a:cubicBezTo>
                  <a:cubicBezTo>
                    <a:pt x="88" y="28"/>
                    <a:pt x="88" y="28"/>
                    <a:pt x="88" y="28"/>
                  </a:cubicBezTo>
                  <a:lnTo>
                    <a:pt x="88" y="21"/>
                  </a:lnTo>
                  <a:close/>
                </a:path>
              </a:pathLst>
            </a:custGeom>
            <a:solidFill>
              <a:srgbClr val="FDBE79"/>
            </a:solidFill>
            <a:ln w="7938" cap="flat">
              <a:solidFill>
                <a:schemeClr val="accent5"/>
              </a:solidFill>
              <a:prstDash val="solid"/>
              <a:miter lim="800000"/>
              <a:headEnd/>
              <a:tailEnd/>
            </a:ln>
          </p:spPr>
          <p:txBody>
            <a:bodyPr/>
            <a:lstStyle/>
            <a:p>
              <a:endParaRPr lang="ru-RU"/>
            </a:p>
          </p:txBody>
        </p:sp>
        <p:sp>
          <p:nvSpPr>
            <p:cNvPr id="64" name="Freeform 60">
              <a:extLst>
                <a:ext uri="{FF2B5EF4-FFF2-40B4-BE49-F238E27FC236}">
                  <a16:creationId xmlns:a16="http://schemas.microsoft.com/office/drawing/2014/main" id="{98223D06-DCA3-715D-0DE8-5C9CCA33F2E4}"/>
                </a:ext>
              </a:extLst>
            </p:cNvPr>
            <p:cNvSpPr>
              <a:spLocks/>
            </p:cNvSpPr>
            <p:nvPr/>
          </p:nvSpPr>
          <p:spPr bwMode="auto">
            <a:xfrm>
              <a:off x="4406900" y="3397250"/>
              <a:ext cx="1541462" cy="1589088"/>
            </a:xfrm>
            <a:custGeom>
              <a:avLst/>
              <a:gdLst>
                <a:gd name="T0" fmla="*/ 2147483646 w 405"/>
                <a:gd name="T1" fmla="*/ 1118188256 h 417"/>
                <a:gd name="T2" fmla="*/ 2147483646 w 405"/>
                <a:gd name="T3" fmla="*/ 1365060889 h 417"/>
                <a:gd name="T4" fmla="*/ 2147483646 w 405"/>
                <a:gd name="T5" fmla="*/ 1510277619 h 417"/>
                <a:gd name="T6" fmla="*/ 2147483646 w 405"/>
                <a:gd name="T7" fmla="*/ 1568365073 h 417"/>
                <a:gd name="T8" fmla="*/ 2147483646 w 405"/>
                <a:gd name="T9" fmla="*/ 1568365073 h 417"/>
                <a:gd name="T10" fmla="*/ 2147483646 w 405"/>
                <a:gd name="T11" fmla="*/ 1568365073 h 417"/>
                <a:gd name="T12" fmla="*/ 2147483646 w 405"/>
                <a:gd name="T13" fmla="*/ 1437667348 h 417"/>
                <a:gd name="T14" fmla="*/ 2147483646 w 405"/>
                <a:gd name="T15" fmla="*/ 1248885981 h 417"/>
                <a:gd name="T16" fmla="*/ 2147483646 w 405"/>
                <a:gd name="T17" fmla="*/ 1132707261 h 417"/>
                <a:gd name="T18" fmla="*/ 2147483646 w 405"/>
                <a:gd name="T19" fmla="*/ 1045577986 h 417"/>
                <a:gd name="T20" fmla="*/ 2147483646 w 405"/>
                <a:gd name="T21" fmla="*/ 1074619807 h 417"/>
                <a:gd name="T22" fmla="*/ 2114992434 w 405"/>
                <a:gd name="T23" fmla="*/ 885838439 h 417"/>
                <a:gd name="T24" fmla="*/ 2086016755 w 405"/>
                <a:gd name="T25" fmla="*/ 740617899 h 417"/>
                <a:gd name="T26" fmla="*/ 1796294214 w 405"/>
                <a:gd name="T27" fmla="*/ 435657812 h 417"/>
                <a:gd name="T28" fmla="*/ 1607973231 w 405"/>
                <a:gd name="T29" fmla="*/ 0 h 417"/>
                <a:gd name="T30" fmla="*/ 1318246884 w 405"/>
                <a:gd name="T31" fmla="*/ 145220541 h 417"/>
                <a:gd name="T32" fmla="*/ 1115439964 w 405"/>
                <a:gd name="T33" fmla="*/ 421134995 h 417"/>
                <a:gd name="T34" fmla="*/ 854689297 w 405"/>
                <a:gd name="T35" fmla="*/ 580878352 h 417"/>
                <a:gd name="T36" fmla="*/ 637392634 w 405"/>
                <a:gd name="T37" fmla="*/ 711572266 h 417"/>
                <a:gd name="T38" fmla="*/ 376641967 w 405"/>
                <a:gd name="T39" fmla="*/ 798705353 h 417"/>
                <a:gd name="T40" fmla="*/ 159349110 w 405"/>
                <a:gd name="T41" fmla="*/ 914880261 h 417"/>
                <a:gd name="T42" fmla="*/ 28971873 w 405"/>
                <a:gd name="T43" fmla="*/ 972967715 h 417"/>
                <a:gd name="T44" fmla="*/ 130377237 w 405"/>
                <a:gd name="T45" fmla="*/ 1205317532 h 417"/>
                <a:gd name="T46" fmla="*/ 202806920 w 405"/>
                <a:gd name="T47" fmla="*/ 1655498160 h 417"/>
                <a:gd name="T48" fmla="*/ 202806920 w 405"/>
                <a:gd name="T49" fmla="*/ 2047591333 h 417"/>
                <a:gd name="T50" fmla="*/ 492533267 w 405"/>
                <a:gd name="T51" fmla="*/ 2105678787 h 417"/>
                <a:gd name="T52" fmla="*/ 622906697 w 405"/>
                <a:gd name="T53" fmla="*/ 2120197793 h 417"/>
                <a:gd name="T54" fmla="*/ 854689297 w 405"/>
                <a:gd name="T55" fmla="*/ 2076633155 h 417"/>
                <a:gd name="T56" fmla="*/ 1057496217 w 405"/>
                <a:gd name="T57" fmla="*/ 2147483646 h 417"/>
                <a:gd name="T58" fmla="*/ 1187869648 w 405"/>
                <a:gd name="T59" fmla="*/ 2147483646 h 417"/>
                <a:gd name="T60" fmla="*/ 1303760947 w 405"/>
                <a:gd name="T61" fmla="*/ 2147483646 h 417"/>
                <a:gd name="T62" fmla="*/ 1550025678 w 405"/>
                <a:gd name="T63" fmla="*/ 2147483646 h 417"/>
                <a:gd name="T64" fmla="*/ 1912181708 w 405"/>
                <a:gd name="T65" fmla="*/ 2147483646 h 417"/>
                <a:gd name="T66" fmla="*/ 2086016755 w 405"/>
                <a:gd name="T67" fmla="*/ 2147483646 h 417"/>
                <a:gd name="T68" fmla="*/ 2147483646 w 405"/>
                <a:gd name="T69" fmla="*/ 2147483646 h 417"/>
                <a:gd name="T70" fmla="*/ 2147483646 w 405"/>
                <a:gd name="T71" fmla="*/ 2147483646 h 417"/>
                <a:gd name="T72" fmla="*/ 2147483646 w 405"/>
                <a:gd name="T73" fmla="*/ 2147483646 h 417"/>
                <a:gd name="T74" fmla="*/ 2147483646 w 405"/>
                <a:gd name="T75" fmla="*/ 2147483646 h 417"/>
                <a:gd name="T76" fmla="*/ 2147483646 w 405"/>
                <a:gd name="T77" fmla="*/ 2147483646 h 417"/>
                <a:gd name="T78" fmla="*/ 2147483646 w 405"/>
                <a:gd name="T79" fmla="*/ 2147483646 h 417"/>
                <a:gd name="T80" fmla="*/ 2147483646 w 405"/>
                <a:gd name="T81" fmla="*/ 2147483646 h 417"/>
                <a:gd name="T82" fmla="*/ 2147483646 w 405"/>
                <a:gd name="T83" fmla="*/ 2147483646 h 417"/>
                <a:gd name="T84" fmla="*/ 2147483646 w 405"/>
                <a:gd name="T85" fmla="*/ 2147483646 h 417"/>
                <a:gd name="T86" fmla="*/ 2147483646 w 405"/>
                <a:gd name="T87" fmla="*/ 2147483646 h 417"/>
                <a:gd name="T88" fmla="*/ 2147483646 w 405"/>
                <a:gd name="T89" fmla="*/ 2147483646 h 417"/>
                <a:gd name="T90" fmla="*/ 2147483646 w 405"/>
                <a:gd name="T91" fmla="*/ 2147483646 h 417"/>
                <a:gd name="T92" fmla="*/ 2147483646 w 405"/>
                <a:gd name="T93" fmla="*/ 2147483646 h 417"/>
                <a:gd name="T94" fmla="*/ 2147483646 w 405"/>
                <a:gd name="T95" fmla="*/ 2147483646 h 417"/>
                <a:gd name="T96" fmla="*/ 2147483646 w 405"/>
                <a:gd name="T97" fmla="*/ 2147483646 h 417"/>
                <a:gd name="T98" fmla="*/ 2147483646 w 405"/>
                <a:gd name="T99" fmla="*/ 929403077 h 417"/>
                <a:gd name="T100" fmla="*/ 2147483646 w 405"/>
                <a:gd name="T101" fmla="*/ 1016532353 h 41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05" h="417">
                  <a:moveTo>
                    <a:pt x="314" y="70"/>
                  </a:moveTo>
                  <a:cubicBezTo>
                    <a:pt x="312" y="72"/>
                    <a:pt x="310" y="75"/>
                    <a:pt x="307" y="77"/>
                  </a:cubicBezTo>
                  <a:cubicBezTo>
                    <a:pt x="304" y="79"/>
                    <a:pt x="287" y="86"/>
                    <a:pt x="287" y="86"/>
                  </a:cubicBezTo>
                  <a:cubicBezTo>
                    <a:pt x="286" y="87"/>
                    <a:pt x="276" y="93"/>
                    <a:pt x="276" y="94"/>
                  </a:cubicBezTo>
                  <a:cubicBezTo>
                    <a:pt x="275" y="95"/>
                    <a:pt x="270" y="102"/>
                    <a:pt x="269" y="102"/>
                  </a:cubicBezTo>
                  <a:cubicBezTo>
                    <a:pt x="269" y="103"/>
                    <a:pt x="266" y="104"/>
                    <a:pt x="265" y="104"/>
                  </a:cubicBezTo>
                  <a:cubicBezTo>
                    <a:pt x="265" y="104"/>
                    <a:pt x="260" y="106"/>
                    <a:pt x="260" y="106"/>
                  </a:cubicBezTo>
                  <a:cubicBezTo>
                    <a:pt x="260" y="106"/>
                    <a:pt x="251" y="109"/>
                    <a:pt x="250" y="108"/>
                  </a:cubicBezTo>
                  <a:cubicBezTo>
                    <a:pt x="248" y="108"/>
                    <a:pt x="243" y="107"/>
                    <a:pt x="241" y="107"/>
                  </a:cubicBezTo>
                  <a:cubicBezTo>
                    <a:pt x="239" y="106"/>
                    <a:pt x="238" y="107"/>
                    <a:pt x="236" y="108"/>
                  </a:cubicBezTo>
                  <a:cubicBezTo>
                    <a:pt x="233" y="109"/>
                    <a:pt x="233" y="109"/>
                    <a:pt x="231" y="109"/>
                  </a:cubicBezTo>
                  <a:cubicBezTo>
                    <a:pt x="229" y="109"/>
                    <a:pt x="228" y="109"/>
                    <a:pt x="226" y="108"/>
                  </a:cubicBezTo>
                  <a:cubicBezTo>
                    <a:pt x="224" y="107"/>
                    <a:pt x="219" y="104"/>
                    <a:pt x="218" y="103"/>
                  </a:cubicBezTo>
                  <a:cubicBezTo>
                    <a:pt x="216" y="102"/>
                    <a:pt x="212" y="100"/>
                    <a:pt x="211" y="99"/>
                  </a:cubicBezTo>
                  <a:cubicBezTo>
                    <a:pt x="211" y="97"/>
                    <a:pt x="211" y="89"/>
                    <a:pt x="211" y="88"/>
                  </a:cubicBezTo>
                  <a:cubicBezTo>
                    <a:pt x="210" y="87"/>
                    <a:pt x="206" y="86"/>
                    <a:pt x="205" y="86"/>
                  </a:cubicBezTo>
                  <a:cubicBezTo>
                    <a:pt x="203" y="85"/>
                    <a:pt x="202" y="83"/>
                    <a:pt x="201" y="82"/>
                  </a:cubicBezTo>
                  <a:cubicBezTo>
                    <a:pt x="200" y="81"/>
                    <a:pt x="193" y="78"/>
                    <a:pt x="191" y="78"/>
                  </a:cubicBezTo>
                  <a:cubicBezTo>
                    <a:pt x="190" y="77"/>
                    <a:pt x="187" y="78"/>
                    <a:pt x="187" y="78"/>
                  </a:cubicBezTo>
                  <a:cubicBezTo>
                    <a:pt x="186" y="77"/>
                    <a:pt x="177" y="72"/>
                    <a:pt x="177" y="72"/>
                  </a:cubicBezTo>
                  <a:cubicBezTo>
                    <a:pt x="176" y="72"/>
                    <a:pt x="174" y="74"/>
                    <a:pt x="173" y="75"/>
                  </a:cubicBezTo>
                  <a:cubicBezTo>
                    <a:pt x="172" y="75"/>
                    <a:pt x="169" y="74"/>
                    <a:pt x="167" y="74"/>
                  </a:cubicBezTo>
                  <a:cubicBezTo>
                    <a:pt x="166" y="73"/>
                    <a:pt x="151" y="66"/>
                    <a:pt x="151" y="65"/>
                  </a:cubicBezTo>
                  <a:cubicBezTo>
                    <a:pt x="150" y="65"/>
                    <a:pt x="146" y="62"/>
                    <a:pt x="146" y="61"/>
                  </a:cubicBezTo>
                  <a:cubicBezTo>
                    <a:pt x="145" y="60"/>
                    <a:pt x="146" y="57"/>
                    <a:pt x="146" y="55"/>
                  </a:cubicBezTo>
                  <a:cubicBezTo>
                    <a:pt x="146" y="54"/>
                    <a:pt x="144" y="52"/>
                    <a:pt x="144" y="51"/>
                  </a:cubicBezTo>
                  <a:cubicBezTo>
                    <a:pt x="144" y="50"/>
                    <a:pt x="129" y="29"/>
                    <a:pt x="129" y="29"/>
                  </a:cubicBezTo>
                  <a:cubicBezTo>
                    <a:pt x="129" y="29"/>
                    <a:pt x="125" y="30"/>
                    <a:pt x="124" y="30"/>
                  </a:cubicBezTo>
                  <a:cubicBezTo>
                    <a:pt x="122" y="30"/>
                    <a:pt x="121" y="24"/>
                    <a:pt x="120" y="21"/>
                  </a:cubicBezTo>
                  <a:cubicBezTo>
                    <a:pt x="119" y="19"/>
                    <a:pt x="111" y="0"/>
                    <a:pt x="111" y="0"/>
                  </a:cubicBezTo>
                  <a:cubicBezTo>
                    <a:pt x="111" y="0"/>
                    <a:pt x="102" y="1"/>
                    <a:pt x="100" y="2"/>
                  </a:cubicBezTo>
                  <a:cubicBezTo>
                    <a:pt x="98" y="3"/>
                    <a:pt x="93" y="8"/>
                    <a:pt x="91" y="10"/>
                  </a:cubicBezTo>
                  <a:cubicBezTo>
                    <a:pt x="89" y="12"/>
                    <a:pt x="84" y="18"/>
                    <a:pt x="82" y="20"/>
                  </a:cubicBezTo>
                  <a:cubicBezTo>
                    <a:pt x="79" y="22"/>
                    <a:pt x="78" y="26"/>
                    <a:pt x="77" y="29"/>
                  </a:cubicBezTo>
                  <a:cubicBezTo>
                    <a:pt x="75" y="31"/>
                    <a:pt x="72" y="36"/>
                    <a:pt x="69" y="38"/>
                  </a:cubicBezTo>
                  <a:cubicBezTo>
                    <a:pt x="65" y="39"/>
                    <a:pt x="64" y="39"/>
                    <a:pt x="59" y="40"/>
                  </a:cubicBezTo>
                  <a:cubicBezTo>
                    <a:pt x="53" y="40"/>
                    <a:pt x="54" y="42"/>
                    <a:pt x="52" y="44"/>
                  </a:cubicBezTo>
                  <a:cubicBezTo>
                    <a:pt x="50" y="46"/>
                    <a:pt x="46" y="48"/>
                    <a:pt x="44" y="49"/>
                  </a:cubicBezTo>
                  <a:cubicBezTo>
                    <a:pt x="42" y="50"/>
                    <a:pt x="37" y="51"/>
                    <a:pt x="34" y="51"/>
                  </a:cubicBezTo>
                  <a:cubicBezTo>
                    <a:pt x="32" y="51"/>
                    <a:pt x="27" y="55"/>
                    <a:pt x="26" y="55"/>
                  </a:cubicBezTo>
                  <a:cubicBezTo>
                    <a:pt x="25" y="56"/>
                    <a:pt x="19" y="63"/>
                    <a:pt x="18" y="63"/>
                  </a:cubicBezTo>
                  <a:cubicBezTo>
                    <a:pt x="16" y="64"/>
                    <a:pt x="13" y="64"/>
                    <a:pt x="11" y="63"/>
                  </a:cubicBezTo>
                  <a:cubicBezTo>
                    <a:pt x="8" y="63"/>
                    <a:pt x="4" y="64"/>
                    <a:pt x="2" y="65"/>
                  </a:cubicBezTo>
                  <a:cubicBezTo>
                    <a:pt x="0" y="65"/>
                    <a:pt x="2" y="66"/>
                    <a:pt x="2" y="67"/>
                  </a:cubicBezTo>
                  <a:cubicBezTo>
                    <a:pt x="2" y="68"/>
                    <a:pt x="5" y="72"/>
                    <a:pt x="6" y="74"/>
                  </a:cubicBezTo>
                  <a:cubicBezTo>
                    <a:pt x="7" y="75"/>
                    <a:pt x="9" y="80"/>
                    <a:pt x="9" y="83"/>
                  </a:cubicBezTo>
                  <a:cubicBezTo>
                    <a:pt x="10" y="86"/>
                    <a:pt x="14" y="95"/>
                    <a:pt x="14" y="98"/>
                  </a:cubicBezTo>
                  <a:cubicBezTo>
                    <a:pt x="14" y="101"/>
                    <a:pt x="14" y="114"/>
                    <a:pt x="14" y="114"/>
                  </a:cubicBezTo>
                  <a:cubicBezTo>
                    <a:pt x="14" y="115"/>
                    <a:pt x="12" y="120"/>
                    <a:pt x="11" y="122"/>
                  </a:cubicBezTo>
                  <a:cubicBezTo>
                    <a:pt x="11" y="123"/>
                    <a:pt x="14" y="141"/>
                    <a:pt x="14" y="141"/>
                  </a:cubicBezTo>
                  <a:cubicBezTo>
                    <a:pt x="14" y="141"/>
                    <a:pt x="21" y="142"/>
                    <a:pt x="23" y="142"/>
                  </a:cubicBezTo>
                  <a:cubicBezTo>
                    <a:pt x="25" y="142"/>
                    <a:pt x="34" y="144"/>
                    <a:pt x="34" y="145"/>
                  </a:cubicBezTo>
                  <a:cubicBezTo>
                    <a:pt x="35" y="145"/>
                    <a:pt x="37" y="149"/>
                    <a:pt x="37" y="149"/>
                  </a:cubicBezTo>
                  <a:cubicBezTo>
                    <a:pt x="37" y="149"/>
                    <a:pt x="42" y="147"/>
                    <a:pt x="43" y="146"/>
                  </a:cubicBezTo>
                  <a:cubicBezTo>
                    <a:pt x="44" y="145"/>
                    <a:pt x="49" y="144"/>
                    <a:pt x="51" y="143"/>
                  </a:cubicBezTo>
                  <a:cubicBezTo>
                    <a:pt x="53" y="142"/>
                    <a:pt x="59" y="143"/>
                    <a:pt x="59" y="143"/>
                  </a:cubicBezTo>
                  <a:cubicBezTo>
                    <a:pt x="70" y="154"/>
                    <a:pt x="70" y="154"/>
                    <a:pt x="70" y="154"/>
                  </a:cubicBezTo>
                  <a:cubicBezTo>
                    <a:pt x="70" y="154"/>
                    <a:pt x="72" y="152"/>
                    <a:pt x="73" y="150"/>
                  </a:cubicBezTo>
                  <a:cubicBezTo>
                    <a:pt x="74" y="149"/>
                    <a:pt x="76" y="150"/>
                    <a:pt x="78" y="150"/>
                  </a:cubicBezTo>
                  <a:cubicBezTo>
                    <a:pt x="80" y="150"/>
                    <a:pt x="82" y="152"/>
                    <a:pt x="82" y="154"/>
                  </a:cubicBezTo>
                  <a:cubicBezTo>
                    <a:pt x="83" y="155"/>
                    <a:pt x="85" y="154"/>
                    <a:pt x="86" y="154"/>
                  </a:cubicBezTo>
                  <a:cubicBezTo>
                    <a:pt x="87" y="154"/>
                    <a:pt x="89" y="152"/>
                    <a:pt x="90" y="151"/>
                  </a:cubicBezTo>
                  <a:cubicBezTo>
                    <a:pt x="91" y="150"/>
                    <a:pt x="95" y="152"/>
                    <a:pt x="98" y="153"/>
                  </a:cubicBezTo>
                  <a:cubicBezTo>
                    <a:pt x="100" y="154"/>
                    <a:pt x="106" y="157"/>
                    <a:pt x="107" y="158"/>
                  </a:cubicBezTo>
                  <a:cubicBezTo>
                    <a:pt x="108" y="158"/>
                    <a:pt x="123" y="169"/>
                    <a:pt x="125" y="171"/>
                  </a:cubicBezTo>
                  <a:cubicBezTo>
                    <a:pt x="127" y="173"/>
                    <a:pt x="131" y="179"/>
                    <a:pt x="132" y="182"/>
                  </a:cubicBezTo>
                  <a:cubicBezTo>
                    <a:pt x="133" y="186"/>
                    <a:pt x="137" y="205"/>
                    <a:pt x="138" y="207"/>
                  </a:cubicBezTo>
                  <a:cubicBezTo>
                    <a:pt x="139" y="208"/>
                    <a:pt x="143" y="211"/>
                    <a:pt x="144" y="211"/>
                  </a:cubicBezTo>
                  <a:cubicBezTo>
                    <a:pt x="145" y="211"/>
                    <a:pt x="148" y="212"/>
                    <a:pt x="148" y="214"/>
                  </a:cubicBezTo>
                  <a:cubicBezTo>
                    <a:pt x="148" y="216"/>
                    <a:pt x="149" y="218"/>
                    <a:pt x="150" y="218"/>
                  </a:cubicBezTo>
                  <a:cubicBezTo>
                    <a:pt x="150" y="219"/>
                    <a:pt x="154" y="219"/>
                    <a:pt x="154" y="219"/>
                  </a:cubicBezTo>
                  <a:cubicBezTo>
                    <a:pt x="154" y="220"/>
                    <a:pt x="155" y="221"/>
                    <a:pt x="156" y="222"/>
                  </a:cubicBezTo>
                  <a:cubicBezTo>
                    <a:pt x="157" y="223"/>
                    <a:pt x="163" y="226"/>
                    <a:pt x="163" y="227"/>
                  </a:cubicBezTo>
                  <a:cubicBezTo>
                    <a:pt x="164" y="228"/>
                    <a:pt x="166" y="237"/>
                    <a:pt x="166" y="238"/>
                  </a:cubicBezTo>
                  <a:cubicBezTo>
                    <a:pt x="167" y="240"/>
                    <a:pt x="170" y="251"/>
                    <a:pt x="170" y="253"/>
                  </a:cubicBezTo>
                  <a:cubicBezTo>
                    <a:pt x="170" y="255"/>
                    <a:pt x="173" y="261"/>
                    <a:pt x="174" y="263"/>
                  </a:cubicBezTo>
                  <a:cubicBezTo>
                    <a:pt x="174" y="264"/>
                    <a:pt x="175" y="270"/>
                    <a:pt x="175" y="271"/>
                  </a:cubicBezTo>
                  <a:cubicBezTo>
                    <a:pt x="174" y="273"/>
                    <a:pt x="175" y="277"/>
                    <a:pt x="176" y="279"/>
                  </a:cubicBezTo>
                  <a:cubicBezTo>
                    <a:pt x="177" y="282"/>
                    <a:pt x="186" y="294"/>
                    <a:pt x="187" y="295"/>
                  </a:cubicBezTo>
                  <a:cubicBezTo>
                    <a:pt x="187" y="297"/>
                    <a:pt x="191" y="306"/>
                    <a:pt x="192" y="308"/>
                  </a:cubicBezTo>
                  <a:cubicBezTo>
                    <a:pt x="192" y="309"/>
                    <a:pt x="193" y="315"/>
                    <a:pt x="193" y="319"/>
                  </a:cubicBezTo>
                  <a:cubicBezTo>
                    <a:pt x="193" y="324"/>
                    <a:pt x="195" y="335"/>
                    <a:pt x="195" y="337"/>
                  </a:cubicBezTo>
                  <a:cubicBezTo>
                    <a:pt x="195" y="338"/>
                    <a:pt x="197" y="344"/>
                    <a:pt x="197" y="344"/>
                  </a:cubicBezTo>
                  <a:cubicBezTo>
                    <a:pt x="198" y="345"/>
                    <a:pt x="206" y="356"/>
                    <a:pt x="206" y="356"/>
                  </a:cubicBezTo>
                  <a:cubicBezTo>
                    <a:pt x="206" y="357"/>
                    <a:pt x="207" y="362"/>
                    <a:pt x="207" y="362"/>
                  </a:cubicBezTo>
                  <a:cubicBezTo>
                    <a:pt x="207" y="362"/>
                    <a:pt x="206" y="369"/>
                    <a:pt x="206" y="369"/>
                  </a:cubicBezTo>
                  <a:cubicBezTo>
                    <a:pt x="206" y="370"/>
                    <a:pt x="208" y="373"/>
                    <a:pt x="208" y="373"/>
                  </a:cubicBezTo>
                  <a:cubicBezTo>
                    <a:pt x="208" y="373"/>
                    <a:pt x="208" y="380"/>
                    <a:pt x="208" y="382"/>
                  </a:cubicBezTo>
                  <a:cubicBezTo>
                    <a:pt x="207" y="384"/>
                    <a:pt x="209" y="393"/>
                    <a:pt x="209" y="393"/>
                  </a:cubicBezTo>
                  <a:cubicBezTo>
                    <a:pt x="214" y="417"/>
                    <a:pt x="214" y="417"/>
                    <a:pt x="214" y="417"/>
                  </a:cubicBezTo>
                  <a:cubicBezTo>
                    <a:pt x="253" y="399"/>
                    <a:pt x="253" y="399"/>
                    <a:pt x="253" y="399"/>
                  </a:cubicBezTo>
                  <a:cubicBezTo>
                    <a:pt x="260" y="401"/>
                    <a:pt x="260" y="401"/>
                    <a:pt x="260" y="401"/>
                  </a:cubicBezTo>
                  <a:cubicBezTo>
                    <a:pt x="318" y="372"/>
                    <a:pt x="318" y="372"/>
                    <a:pt x="318" y="372"/>
                  </a:cubicBezTo>
                  <a:cubicBezTo>
                    <a:pt x="325" y="372"/>
                    <a:pt x="325" y="372"/>
                    <a:pt x="325" y="372"/>
                  </a:cubicBezTo>
                  <a:cubicBezTo>
                    <a:pt x="328" y="370"/>
                    <a:pt x="328" y="370"/>
                    <a:pt x="328" y="370"/>
                  </a:cubicBezTo>
                  <a:cubicBezTo>
                    <a:pt x="358" y="369"/>
                    <a:pt x="358" y="369"/>
                    <a:pt x="358" y="369"/>
                  </a:cubicBezTo>
                  <a:cubicBezTo>
                    <a:pt x="404" y="365"/>
                    <a:pt x="404" y="365"/>
                    <a:pt x="404" y="365"/>
                  </a:cubicBezTo>
                  <a:cubicBezTo>
                    <a:pt x="405" y="357"/>
                    <a:pt x="405" y="357"/>
                    <a:pt x="405" y="357"/>
                  </a:cubicBezTo>
                  <a:cubicBezTo>
                    <a:pt x="326" y="252"/>
                    <a:pt x="326" y="252"/>
                    <a:pt x="326" y="252"/>
                  </a:cubicBezTo>
                  <a:cubicBezTo>
                    <a:pt x="326" y="64"/>
                    <a:pt x="326" y="64"/>
                    <a:pt x="326" y="64"/>
                  </a:cubicBezTo>
                  <a:cubicBezTo>
                    <a:pt x="322" y="65"/>
                    <a:pt x="317" y="66"/>
                    <a:pt x="316" y="66"/>
                  </a:cubicBezTo>
                  <a:cubicBezTo>
                    <a:pt x="315" y="67"/>
                    <a:pt x="316" y="69"/>
                    <a:pt x="314" y="70"/>
                  </a:cubicBez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5" name="Freeform 61">
              <a:extLst>
                <a:ext uri="{FF2B5EF4-FFF2-40B4-BE49-F238E27FC236}">
                  <a16:creationId xmlns:a16="http://schemas.microsoft.com/office/drawing/2014/main" id="{8BF4F45C-0DF9-D9EB-F3B4-846DEA06FE33}"/>
                </a:ext>
              </a:extLst>
            </p:cNvPr>
            <p:cNvSpPr>
              <a:spLocks/>
            </p:cNvSpPr>
            <p:nvPr/>
          </p:nvSpPr>
          <p:spPr bwMode="auto">
            <a:xfrm>
              <a:off x="3835400" y="5340350"/>
              <a:ext cx="874712" cy="774700"/>
            </a:xfrm>
            <a:custGeom>
              <a:avLst/>
              <a:gdLst>
                <a:gd name="T0" fmla="*/ 1663306702 w 230"/>
                <a:gd name="T1" fmla="*/ 480604035 h 203"/>
                <a:gd name="T2" fmla="*/ 1562060690 w 230"/>
                <a:gd name="T3" fmla="*/ 422348885 h 203"/>
                <a:gd name="T4" fmla="*/ 1374035641 w 230"/>
                <a:gd name="T5" fmla="*/ 131073134 h 203"/>
                <a:gd name="T6" fmla="*/ 1200473764 w 230"/>
                <a:gd name="T7" fmla="*/ 0 h 203"/>
                <a:gd name="T8" fmla="*/ 1026911888 w 230"/>
                <a:gd name="T9" fmla="*/ 101947467 h 203"/>
                <a:gd name="T10" fmla="*/ 911202703 w 230"/>
                <a:gd name="T11" fmla="*/ 160202617 h 203"/>
                <a:gd name="T12" fmla="*/ 723177654 w 230"/>
                <a:gd name="T13" fmla="*/ 218457767 h 203"/>
                <a:gd name="T14" fmla="*/ 708714481 w 230"/>
                <a:gd name="T15" fmla="*/ 364093735 h 203"/>
                <a:gd name="T16" fmla="*/ 650857987 w 230"/>
                <a:gd name="T17" fmla="*/ 407786052 h 203"/>
                <a:gd name="T18" fmla="*/ 636394814 w 230"/>
                <a:gd name="T19" fmla="*/ 509733519 h 203"/>
                <a:gd name="T20" fmla="*/ 607468469 w 230"/>
                <a:gd name="T21" fmla="*/ 786446436 h 203"/>
                <a:gd name="T22" fmla="*/ 564078950 w 230"/>
                <a:gd name="T23" fmla="*/ 830138753 h 203"/>
                <a:gd name="T24" fmla="*/ 578542123 w 230"/>
                <a:gd name="T25" fmla="*/ 1004904204 h 203"/>
                <a:gd name="T26" fmla="*/ 216951395 w 230"/>
                <a:gd name="T27" fmla="*/ 1004904204 h 203"/>
                <a:gd name="T28" fmla="*/ 260344716 w 230"/>
                <a:gd name="T29" fmla="*/ 1237924805 h 203"/>
                <a:gd name="T30" fmla="*/ 0 w 230"/>
                <a:gd name="T31" fmla="*/ 1485508239 h 203"/>
                <a:gd name="T32" fmla="*/ 0 w 230"/>
                <a:gd name="T33" fmla="*/ 1543763390 h 203"/>
                <a:gd name="T34" fmla="*/ 86782840 w 230"/>
                <a:gd name="T35" fmla="*/ 1543763390 h 203"/>
                <a:gd name="T36" fmla="*/ 72315864 w 230"/>
                <a:gd name="T37" fmla="*/ 1572892873 h 203"/>
                <a:gd name="T38" fmla="*/ 43389518 w 230"/>
                <a:gd name="T39" fmla="*/ 1616581373 h 203"/>
                <a:gd name="T40" fmla="*/ 28926346 w 230"/>
                <a:gd name="T41" fmla="*/ 1660273690 h 203"/>
                <a:gd name="T42" fmla="*/ 173561876 w 230"/>
                <a:gd name="T43" fmla="*/ 1631148023 h 203"/>
                <a:gd name="T44" fmla="*/ 318197407 w 230"/>
                <a:gd name="T45" fmla="*/ 1718528840 h 203"/>
                <a:gd name="T46" fmla="*/ 390517074 w 230"/>
                <a:gd name="T47" fmla="*/ 1995241758 h 203"/>
                <a:gd name="T48" fmla="*/ 1764552715 w 230"/>
                <a:gd name="T49" fmla="*/ 2147483646 h 203"/>
                <a:gd name="T50" fmla="*/ 2147483646 w 230"/>
                <a:gd name="T51" fmla="*/ 2147483646 h 203"/>
                <a:gd name="T52" fmla="*/ 2147483646 w 230"/>
                <a:gd name="T53" fmla="*/ 2147483646 h 203"/>
                <a:gd name="T54" fmla="*/ 2147483646 w 230"/>
                <a:gd name="T55" fmla="*/ 2068059742 h 203"/>
                <a:gd name="T56" fmla="*/ 2147483646 w 230"/>
                <a:gd name="T57" fmla="*/ 1951549441 h 203"/>
                <a:gd name="T58" fmla="*/ 2147483646 w 230"/>
                <a:gd name="T59" fmla="*/ 2038934075 h 203"/>
                <a:gd name="T60" fmla="*/ 2147483646 w 230"/>
                <a:gd name="T61" fmla="*/ 1791350640 h 203"/>
                <a:gd name="T62" fmla="*/ 2147483646 w 230"/>
                <a:gd name="T63" fmla="*/ 990337554 h 203"/>
                <a:gd name="T64" fmla="*/ 2147483646 w 230"/>
                <a:gd name="T65" fmla="*/ 771883603 h 203"/>
                <a:gd name="T66" fmla="*/ 2147483646 w 230"/>
                <a:gd name="T67" fmla="*/ 786446436 h 203"/>
                <a:gd name="T68" fmla="*/ 2147483646 w 230"/>
                <a:gd name="T69" fmla="*/ 699061803 h 203"/>
                <a:gd name="T70" fmla="*/ 2147483646 w 230"/>
                <a:gd name="T71" fmla="*/ 757316953 h 203"/>
                <a:gd name="T72" fmla="*/ 2147483646 w 230"/>
                <a:gd name="T73" fmla="*/ 713628453 h 203"/>
                <a:gd name="T74" fmla="*/ 2147483646 w 230"/>
                <a:gd name="T75" fmla="*/ 669936136 h 203"/>
                <a:gd name="T76" fmla="*/ 2147483646 w 230"/>
                <a:gd name="T77" fmla="*/ 728191286 h 203"/>
                <a:gd name="T78" fmla="*/ 2147483646 w 230"/>
                <a:gd name="T79" fmla="*/ 742754120 h 203"/>
                <a:gd name="T80" fmla="*/ 2147483646 w 230"/>
                <a:gd name="T81" fmla="*/ 684498969 h 203"/>
                <a:gd name="T82" fmla="*/ 2024893627 w 230"/>
                <a:gd name="T83" fmla="*/ 611680986 h 203"/>
                <a:gd name="T84" fmla="*/ 1894725072 w 230"/>
                <a:gd name="T85" fmla="*/ 582551502 h 203"/>
                <a:gd name="T86" fmla="*/ 1750089542 w 230"/>
                <a:gd name="T87" fmla="*/ 597118152 h 203"/>
                <a:gd name="T88" fmla="*/ 1663306702 w 230"/>
                <a:gd name="T89" fmla="*/ 480604035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0" h="203">
                  <a:moveTo>
                    <a:pt x="115" y="33"/>
                  </a:moveTo>
                  <a:cubicBezTo>
                    <a:pt x="108" y="29"/>
                    <a:pt x="108" y="29"/>
                    <a:pt x="108" y="29"/>
                  </a:cubicBezTo>
                  <a:cubicBezTo>
                    <a:pt x="95" y="9"/>
                    <a:pt x="95" y="9"/>
                    <a:pt x="95" y="9"/>
                  </a:cubicBezTo>
                  <a:cubicBezTo>
                    <a:pt x="83" y="0"/>
                    <a:pt x="83" y="0"/>
                    <a:pt x="83" y="0"/>
                  </a:cubicBezTo>
                  <a:cubicBezTo>
                    <a:pt x="71" y="7"/>
                    <a:pt x="71" y="7"/>
                    <a:pt x="71" y="7"/>
                  </a:cubicBezTo>
                  <a:cubicBezTo>
                    <a:pt x="63" y="11"/>
                    <a:pt x="63" y="11"/>
                    <a:pt x="63" y="11"/>
                  </a:cubicBezTo>
                  <a:cubicBezTo>
                    <a:pt x="50" y="15"/>
                    <a:pt x="50" y="15"/>
                    <a:pt x="50" y="15"/>
                  </a:cubicBezTo>
                  <a:cubicBezTo>
                    <a:pt x="49" y="25"/>
                    <a:pt x="49" y="25"/>
                    <a:pt x="49" y="25"/>
                  </a:cubicBezTo>
                  <a:cubicBezTo>
                    <a:pt x="45" y="28"/>
                    <a:pt x="45" y="28"/>
                    <a:pt x="45" y="28"/>
                  </a:cubicBezTo>
                  <a:cubicBezTo>
                    <a:pt x="44" y="35"/>
                    <a:pt x="44" y="35"/>
                    <a:pt x="44" y="35"/>
                  </a:cubicBezTo>
                  <a:cubicBezTo>
                    <a:pt x="42" y="54"/>
                    <a:pt x="42" y="54"/>
                    <a:pt x="42" y="54"/>
                  </a:cubicBezTo>
                  <a:cubicBezTo>
                    <a:pt x="39" y="57"/>
                    <a:pt x="39" y="57"/>
                    <a:pt x="39" y="57"/>
                  </a:cubicBezTo>
                  <a:cubicBezTo>
                    <a:pt x="40" y="69"/>
                    <a:pt x="40" y="69"/>
                    <a:pt x="40" y="69"/>
                  </a:cubicBezTo>
                  <a:cubicBezTo>
                    <a:pt x="40" y="69"/>
                    <a:pt x="22" y="69"/>
                    <a:pt x="15" y="69"/>
                  </a:cubicBezTo>
                  <a:cubicBezTo>
                    <a:pt x="18" y="85"/>
                    <a:pt x="18" y="85"/>
                    <a:pt x="18" y="85"/>
                  </a:cubicBezTo>
                  <a:cubicBezTo>
                    <a:pt x="0" y="102"/>
                    <a:pt x="0" y="102"/>
                    <a:pt x="0" y="102"/>
                  </a:cubicBezTo>
                  <a:cubicBezTo>
                    <a:pt x="0" y="106"/>
                    <a:pt x="0" y="106"/>
                    <a:pt x="0" y="106"/>
                  </a:cubicBezTo>
                  <a:cubicBezTo>
                    <a:pt x="6" y="106"/>
                    <a:pt x="6" y="106"/>
                    <a:pt x="6" y="106"/>
                  </a:cubicBezTo>
                  <a:cubicBezTo>
                    <a:pt x="5" y="108"/>
                    <a:pt x="5" y="108"/>
                    <a:pt x="5" y="108"/>
                  </a:cubicBezTo>
                  <a:cubicBezTo>
                    <a:pt x="3" y="111"/>
                    <a:pt x="3" y="111"/>
                    <a:pt x="3" y="111"/>
                  </a:cubicBezTo>
                  <a:cubicBezTo>
                    <a:pt x="2" y="114"/>
                    <a:pt x="2" y="114"/>
                    <a:pt x="2" y="114"/>
                  </a:cubicBezTo>
                  <a:cubicBezTo>
                    <a:pt x="12" y="112"/>
                    <a:pt x="12" y="112"/>
                    <a:pt x="12" y="112"/>
                  </a:cubicBezTo>
                  <a:cubicBezTo>
                    <a:pt x="22" y="118"/>
                    <a:pt x="22" y="118"/>
                    <a:pt x="22" y="118"/>
                  </a:cubicBezTo>
                  <a:cubicBezTo>
                    <a:pt x="27" y="137"/>
                    <a:pt x="27" y="137"/>
                    <a:pt x="27" y="137"/>
                  </a:cubicBezTo>
                  <a:cubicBezTo>
                    <a:pt x="122" y="203"/>
                    <a:pt x="122" y="203"/>
                    <a:pt x="122" y="203"/>
                  </a:cubicBezTo>
                  <a:cubicBezTo>
                    <a:pt x="190" y="177"/>
                    <a:pt x="190" y="177"/>
                    <a:pt x="190" y="177"/>
                  </a:cubicBezTo>
                  <a:cubicBezTo>
                    <a:pt x="202" y="149"/>
                    <a:pt x="202" y="149"/>
                    <a:pt x="202" y="149"/>
                  </a:cubicBezTo>
                  <a:cubicBezTo>
                    <a:pt x="189" y="142"/>
                    <a:pt x="189" y="142"/>
                    <a:pt x="189" y="142"/>
                  </a:cubicBezTo>
                  <a:cubicBezTo>
                    <a:pt x="194" y="134"/>
                    <a:pt x="194" y="134"/>
                    <a:pt x="194" y="134"/>
                  </a:cubicBezTo>
                  <a:cubicBezTo>
                    <a:pt x="206" y="140"/>
                    <a:pt x="206" y="140"/>
                    <a:pt x="206" y="140"/>
                  </a:cubicBezTo>
                  <a:cubicBezTo>
                    <a:pt x="211" y="123"/>
                    <a:pt x="211" y="123"/>
                    <a:pt x="211" y="123"/>
                  </a:cubicBezTo>
                  <a:cubicBezTo>
                    <a:pt x="230" y="68"/>
                    <a:pt x="230" y="68"/>
                    <a:pt x="230" y="68"/>
                  </a:cubicBezTo>
                  <a:cubicBezTo>
                    <a:pt x="230" y="53"/>
                    <a:pt x="230" y="53"/>
                    <a:pt x="230" y="53"/>
                  </a:cubicBezTo>
                  <a:cubicBezTo>
                    <a:pt x="223" y="54"/>
                    <a:pt x="223" y="54"/>
                    <a:pt x="223" y="54"/>
                  </a:cubicBezTo>
                  <a:cubicBezTo>
                    <a:pt x="217" y="48"/>
                    <a:pt x="217" y="48"/>
                    <a:pt x="217" y="48"/>
                  </a:cubicBezTo>
                  <a:cubicBezTo>
                    <a:pt x="211" y="52"/>
                    <a:pt x="211" y="52"/>
                    <a:pt x="211" y="52"/>
                  </a:cubicBezTo>
                  <a:cubicBezTo>
                    <a:pt x="206" y="49"/>
                    <a:pt x="206" y="49"/>
                    <a:pt x="206" y="49"/>
                  </a:cubicBezTo>
                  <a:cubicBezTo>
                    <a:pt x="198" y="46"/>
                    <a:pt x="198" y="46"/>
                    <a:pt x="198" y="46"/>
                  </a:cubicBezTo>
                  <a:cubicBezTo>
                    <a:pt x="179" y="50"/>
                    <a:pt x="179" y="50"/>
                    <a:pt x="179" y="50"/>
                  </a:cubicBezTo>
                  <a:cubicBezTo>
                    <a:pt x="164" y="51"/>
                    <a:pt x="164" y="51"/>
                    <a:pt x="164" y="51"/>
                  </a:cubicBezTo>
                  <a:cubicBezTo>
                    <a:pt x="151" y="47"/>
                    <a:pt x="151" y="47"/>
                    <a:pt x="151" y="47"/>
                  </a:cubicBezTo>
                  <a:cubicBezTo>
                    <a:pt x="140" y="42"/>
                    <a:pt x="140" y="42"/>
                    <a:pt x="140" y="42"/>
                  </a:cubicBezTo>
                  <a:cubicBezTo>
                    <a:pt x="131" y="40"/>
                    <a:pt x="131" y="40"/>
                    <a:pt x="131" y="40"/>
                  </a:cubicBezTo>
                  <a:cubicBezTo>
                    <a:pt x="121" y="41"/>
                    <a:pt x="121" y="41"/>
                    <a:pt x="121" y="41"/>
                  </a:cubicBezTo>
                  <a:lnTo>
                    <a:pt x="115" y="33"/>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6" name="Freeform 62">
              <a:extLst>
                <a:ext uri="{FF2B5EF4-FFF2-40B4-BE49-F238E27FC236}">
                  <a16:creationId xmlns:a16="http://schemas.microsoft.com/office/drawing/2014/main" id="{9EB42130-F42C-3ED2-C85E-99718DE7E500}"/>
                </a:ext>
              </a:extLst>
            </p:cNvPr>
            <p:cNvSpPr>
              <a:spLocks/>
            </p:cNvSpPr>
            <p:nvPr/>
          </p:nvSpPr>
          <p:spPr bwMode="auto">
            <a:xfrm>
              <a:off x="5635625" y="4997450"/>
              <a:ext cx="106362" cy="61913"/>
            </a:xfrm>
            <a:custGeom>
              <a:avLst/>
              <a:gdLst>
                <a:gd name="T0" fmla="*/ 303025338 w 28"/>
                <a:gd name="T1" fmla="*/ 179683135 h 16"/>
                <a:gd name="T2" fmla="*/ 288594294 w 28"/>
                <a:gd name="T3" fmla="*/ 194654472 h 16"/>
                <a:gd name="T4" fmla="*/ 274163250 w 28"/>
                <a:gd name="T5" fmla="*/ 194654472 h 16"/>
                <a:gd name="T6" fmla="*/ 216446670 w 28"/>
                <a:gd name="T7" fmla="*/ 194654472 h 16"/>
                <a:gd name="T8" fmla="*/ 202015626 w 28"/>
                <a:gd name="T9" fmla="*/ 194654472 h 16"/>
                <a:gd name="T10" fmla="*/ 187584582 w 28"/>
                <a:gd name="T11" fmla="*/ 179683135 h 16"/>
                <a:gd name="T12" fmla="*/ 173157336 w 28"/>
                <a:gd name="T13" fmla="*/ 164707928 h 16"/>
                <a:gd name="T14" fmla="*/ 144295248 w 28"/>
                <a:gd name="T15" fmla="*/ 164707928 h 16"/>
                <a:gd name="T16" fmla="*/ 129868002 w 28"/>
                <a:gd name="T17" fmla="*/ 179683135 h 16"/>
                <a:gd name="T18" fmla="*/ 115436958 w 28"/>
                <a:gd name="T19" fmla="*/ 194654472 h 16"/>
                <a:gd name="T20" fmla="*/ 101009712 w 28"/>
                <a:gd name="T21" fmla="*/ 194654472 h 16"/>
                <a:gd name="T22" fmla="*/ 72147624 w 28"/>
                <a:gd name="T23" fmla="*/ 209629679 h 16"/>
                <a:gd name="T24" fmla="*/ 57720378 w 28"/>
                <a:gd name="T25" fmla="*/ 224601016 h 16"/>
                <a:gd name="T26" fmla="*/ 43289334 w 28"/>
                <a:gd name="T27" fmla="*/ 239576223 h 16"/>
                <a:gd name="T28" fmla="*/ 14431044 w 28"/>
                <a:gd name="T29" fmla="*/ 239576223 h 16"/>
                <a:gd name="T30" fmla="*/ 14431044 w 28"/>
                <a:gd name="T31" fmla="*/ 224601016 h 16"/>
                <a:gd name="T32" fmla="*/ 0 w 28"/>
                <a:gd name="T33" fmla="*/ 224601016 h 16"/>
                <a:gd name="T34" fmla="*/ 14431044 w 28"/>
                <a:gd name="T35" fmla="*/ 164707928 h 16"/>
                <a:gd name="T36" fmla="*/ 43289334 w 28"/>
                <a:gd name="T37" fmla="*/ 119790046 h 16"/>
                <a:gd name="T38" fmla="*/ 86578668 w 28"/>
                <a:gd name="T39" fmla="*/ 104814839 h 16"/>
                <a:gd name="T40" fmla="*/ 158726292 w 28"/>
                <a:gd name="T41" fmla="*/ 44921751 h 16"/>
                <a:gd name="T42" fmla="*/ 187584582 w 28"/>
                <a:gd name="T43" fmla="*/ 29946544 h 16"/>
                <a:gd name="T44" fmla="*/ 187584582 w 28"/>
                <a:gd name="T45" fmla="*/ 14975207 h 16"/>
                <a:gd name="T46" fmla="*/ 202015626 w 28"/>
                <a:gd name="T47" fmla="*/ 0 h 16"/>
                <a:gd name="T48" fmla="*/ 274163250 w 28"/>
                <a:gd name="T49" fmla="*/ 0 h 16"/>
                <a:gd name="T50" fmla="*/ 303025338 w 28"/>
                <a:gd name="T51" fmla="*/ 14975207 h 16"/>
                <a:gd name="T52" fmla="*/ 317452584 w 28"/>
                <a:gd name="T53" fmla="*/ 29946544 h 16"/>
                <a:gd name="T54" fmla="*/ 346310873 w 28"/>
                <a:gd name="T55" fmla="*/ 74868295 h 16"/>
                <a:gd name="T56" fmla="*/ 375172962 w 28"/>
                <a:gd name="T57" fmla="*/ 89839633 h 16"/>
                <a:gd name="T58" fmla="*/ 389600207 w 28"/>
                <a:gd name="T59" fmla="*/ 104814839 h 16"/>
                <a:gd name="T60" fmla="*/ 404031252 w 28"/>
                <a:gd name="T61" fmla="*/ 119790046 h 16"/>
                <a:gd name="T62" fmla="*/ 389600207 w 28"/>
                <a:gd name="T63" fmla="*/ 134761384 h 16"/>
                <a:gd name="T64" fmla="*/ 375172962 w 28"/>
                <a:gd name="T65" fmla="*/ 134761384 h 16"/>
                <a:gd name="T66" fmla="*/ 317452584 w 28"/>
                <a:gd name="T67" fmla="*/ 164707928 h 16"/>
                <a:gd name="T68" fmla="*/ 303025338 w 28"/>
                <a:gd name="T69" fmla="*/ 179683135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8" h="16">
                  <a:moveTo>
                    <a:pt x="21" y="12"/>
                  </a:moveTo>
                  <a:cubicBezTo>
                    <a:pt x="21" y="12"/>
                    <a:pt x="21" y="12"/>
                    <a:pt x="20" y="13"/>
                  </a:cubicBezTo>
                  <a:cubicBezTo>
                    <a:pt x="20" y="13"/>
                    <a:pt x="19" y="13"/>
                    <a:pt x="19" y="13"/>
                  </a:cubicBezTo>
                  <a:cubicBezTo>
                    <a:pt x="17" y="13"/>
                    <a:pt x="16" y="13"/>
                    <a:pt x="15" y="13"/>
                  </a:cubicBezTo>
                  <a:cubicBezTo>
                    <a:pt x="15" y="13"/>
                    <a:pt x="14" y="13"/>
                    <a:pt x="14" y="13"/>
                  </a:cubicBezTo>
                  <a:cubicBezTo>
                    <a:pt x="14" y="13"/>
                    <a:pt x="14" y="12"/>
                    <a:pt x="13" y="12"/>
                  </a:cubicBezTo>
                  <a:cubicBezTo>
                    <a:pt x="13" y="11"/>
                    <a:pt x="13" y="11"/>
                    <a:pt x="12" y="11"/>
                  </a:cubicBezTo>
                  <a:cubicBezTo>
                    <a:pt x="11" y="11"/>
                    <a:pt x="11" y="11"/>
                    <a:pt x="10" y="11"/>
                  </a:cubicBezTo>
                  <a:cubicBezTo>
                    <a:pt x="9" y="11"/>
                    <a:pt x="9" y="11"/>
                    <a:pt x="9" y="12"/>
                  </a:cubicBezTo>
                  <a:cubicBezTo>
                    <a:pt x="8" y="12"/>
                    <a:pt x="8" y="12"/>
                    <a:pt x="8" y="13"/>
                  </a:cubicBezTo>
                  <a:cubicBezTo>
                    <a:pt x="8" y="13"/>
                    <a:pt x="8" y="13"/>
                    <a:pt x="7" y="13"/>
                  </a:cubicBezTo>
                  <a:cubicBezTo>
                    <a:pt x="7" y="13"/>
                    <a:pt x="5" y="13"/>
                    <a:pt x="5" y="14"/>
                  </a:cubicBezTo>
                  <a:cubicBezTo>
                    <a:pt x="4" y="14"/>
                    <a:pt x="4" y="15"/>
                    <a:pt x="4" y="15"/>
                  </a:cubicBezTo>
                  <a:cubicBezTo>
                    <a:pt x="4" y="16"/>
                    <a:pt x="3" y="16"/>
                    <a:pt x="3" y="16"/>
                  </a:cubicBezTo>
                  <a:cubicBezTo>
                    <a:pt x="2" y="16"/>
                    <a:pt x="2" y="16"/>
                    <a:pt x="1" y="16"/>
                  </a:cubicBezTo>
                  <a:cubicBezTo>
                    <a:pt x="1" y="16"/>
                    <a:pt x="1" y="16"/>
                    <a:pt x="1" y="15"/>
                  </a:cubicBezTo>
                  <a:cubicBezTo>
                    <a:pt x="0" y="15"/>
                    <a:pt x="0" y="15"/>
                    <a:pt x="0" y="15"/>
                  </a:cubicBezTo>
                  <a:cubicBezTo>
                    <a:pt x="1" y="13"/>
                    <a:pt x="1" y="12"/>
                    <a:pt x="1" y="11"/>
                  </a:cubicBezTo>
                  <a:cubicBezTo>
                    <a:pt x="2" y="10"/>
                    <a:pt x="3" y="9"/>
                    <a:pt x="3" y="8"/>
                  </a:cubicBezTo>
                  <a:cubicBezTo>
                    <a:pt x="4" y="8"/>
                    <a:pt x="5" y="7"/>
                    <a:pt x="6" y="7"/>
                  </a:cubicBezTo>
                  <a:cubicBezTo>
                    <a:pt x="7" y="6"/>
                    <a:pt x="9" y="4"/>
                    <a:pt x="11" y="3"/>
                  </a:cubicBezTo>
                  <a:cubicBezTo>
                    <a:pt x="12" y="3"/>
                    <a:pt x="12" y="2"/>
                    <a:pt x="13" y="2"/>
                  </a:cubicBezTo>
                  <a:cubicBezTo>
                    <a:pt x="13" y="1"/>
                    <a:pt x="13" y="1"/>
                    <a:pt x="13" y="1"/>
                  </a:cubicBezTo>
                  <a:cubicBezTo>
                    <a:pt x="14" y="1"/>
                    <a:pt x="14" y="1"/>
                    <a:pt x="14" y="0"/>
                  </a:cubicBezTo>
                  <a:cubicBezTo>
                    <a:pt x="16" y="0"/>
                    <a:pt x="17" y="0"/>
                    <a:pt x="19" y="0"/>
                  </a:cubicBezTo>
                  <a:cubicBezTo>
                    <a:pt x="20" y="0"/>
                    <a:pt x="20" y="1"/>
                    <a:pt x="21" y="1"/>
                  </a:cubicBezTo>
                  <a:cubicBezTo>
                    <a:pt x="22" y="1"/>
                    <a:pt x="22" y="2"/>
                    <a:pt x="22" y="2"/>
                  </a:cubicBezTo>
                  <a:cubicBezTo>
                    <a:pt x="23" y="3"/>
                    <a:pt x="24" y="4"/>
                    <a:pt x="24" y="5"/>
                  </a:cubicBezTo>
                  <a:cubicBezTo>
                    <a:pt x="25" y="5"/>
                    <a:pt x="25" y="6"/>
                    <a:pt x="26" y="6"/>
                  </a:cubicBezTo>
                  <a:cubicBezTo>
                    <a:pt x="26" y="7"/>
                    <a:pt x="27" y="7"/>
                    <a:pt x="27" y="7"/>
                  </a:cubicBezTo>
                  <a:cubicBezTo>
                    <a:pt x="28" y="7"/>
                    <a:pt x="28" y="8"/>
                    <a:pt x="28" y="8"/>
                  </a:cubicBezTo>
                  <a:cubicBezTo>
                    <a:pt x="28" y="9"/>
                    <a:pt x="27" y="9"/>
                    <a:pt x="27" y="9"/>
                  </a:cubicBezTo>
                  <a:cubicBezTo>
                    <a:pt x="26" y="9"/>
                    <a:pt x="26" y="9"/>
                    <a:pt x="26" y="9"/>
                  </a:cubicBezTo>
                  <a:cubicBezTo>
                    <a:pt x="24" y="9"/>
                    <a:pt x="24" y="11"/>
                    <a:pt x="22" y="11"/>
                  </a:cubicBezTo>
                  <a:cubicBezTo>
                    <a:pt x="22" y="12"/>
                    <a:pt x="22" y="12"/>
                    <a:pt x="21" y="12"/>
                  </a:cubicBezTo>
                  <a:close/>
                </a:path>
              </a:pathLst>
            </a:custGeom>
            <a:grpFill/>
            <a:ln w="7938" cap="flat">
              <a:solidFill>
                <a:schemeClr val="accent5"/>
              </a:solidFill>
              <a:prstDash val="solid"/>
              <a:miter lim="800000"/>
              <a:headEnd/>
              <a:tailEnd/>
            </a:ln>
          </p:spPr>
          <p:txBody>
            <a:bodyPr/>
            <a:lstStyle/>
            <a:p>
              <a:endParaRPr lang="ru-RU"/>
            </a:p>
          </p:txBody>
        </p:sp>
        <p:sp>
          <p:nvSpPr>
            <p:cNvPr id="67" name="Freeform 63">
              <a:extLst>
                <a:ext uri="{FF2B5EF4-FFF2-40B4-BE49-F238E27FC236}">
                  <a16:creationId xmlns:a16="http://schemas.microsoft.com/office/drawing/2014/main" id="{FBDAD54C-50FB-FC5F-5106-775F16FBDBF1}"/>
                </a:ext>
              </a:extLst>
            </p:cNvPr>
            <p:cNvSpPr>
              <a:spLocks/>
            </p:cNvSpPr>
            <p:nvPr/>
          </p:nvSpPr>
          <p:spPr bwMode="auto">
            <a:xfrm>
              <a:off x="5221288" y="4787900"/>
              <a:ext cx="722312" cy="434975"/>
            </a:xfrm>
            <a:custGeom>
              <a:avLst/>
              <a:gdLst>
                <a:gd name="T0" fmla="*/ 1604224539 w 190"/>
                <a:gd name="T1" fmla="*/ 101910064 h 114"/>
                <a:gd name="T2" fmla="*/ 664815965 w 190"/>
                <a:gd name="T3" fmla="*/ 524110535 h 114"/>
                <a:gd name="T4" fmla="*/ 0 w 190"/>
                <a:gd name="T5" fmla="*/ 757047279 h 114"/>
                <a:gd name="T6" fmla="*/ 86715456 w 190"/>
                <a:gd name="T7" fmla="*/ 1499534341 h 114"/>
                <a:gd name="T8" fmla="*/ 867150763 w 190"/>
                <a:gd name="T9" fmla="*/ 1659677637 h 114"/>
                <a:gd name="T10" fmla="*/ 1083935602 w 190"/>
                <a:gd name="T11" fmla="*/ 1659677637 h 114"/>
                <a:gd name="T12" fmla="*/ 1257366515 w 190"/>
                <a:gd name="T13" fmla="*/ 1528650957 h 114"/>
                <a:gd name="T14" fmla="*/ 1257366515 w 190"/>
                <a:gd name="T15" fmla="*/ 1426740893 h 114"/>
                <a:gd name="T16" fmla="*/ 1112839487 w 190"/>
                <a:gd name="T17" fmla="*/ 1339387230 h 114"/>
                <a:gd name="T18" fmla="*/ 1199554943 w 190"/>
                <a:gd name="T19" fmla="*/ 1368507661 h 114"/>
                <a:gd name="T20" fmla="*/ 1242912672 w 190"/>
                <a:gd name="T21" fmla="*/ 1281153998 h 114"/>
                <a:gd name="T22" fmla="*/ 1300724243 w 190"/>
                <a:gd name="T23" fmla="*/ 1266597598 h 114"/>
                <a:gd name="T24" fmla="*/ 1286270400 w 190"/>
                <a:gd name="T25" fmla="*/ 1383064062 h 114"/>
                <a:gd name="T26" fmla="*/ 1430797428 w 190"/>
                <a:gd name="T27" fmla="*/ 1339387230 h 114"/>
                <a:gd name="T28" fmla="*/ 1560866811 w 190"/>
                <a:gd name="T29" fmla="*/ 1324830830 h 114"/>
                <a:gd name="T30" fmla="*/ 1575320654 w 190"/>
                <a:gd name="T31" fmla="*/ 1193804150 h 114"/>
                <a:gd name="T32" fmla="*/ 1474151354 w 190"/>
                <a:gd name="T33" fmla="*/ 1106450486 h 114"/>
                <a:gd name="T34" fmla="*/ 1459701313 w 190"/>
                <a:gd name="T35" fmla="*/ 902630359 h 114"/>
                <a:gd name="T36" fmla="*/ 1445247469 w 190"/>
                <a:gd name="T37" fmla="*/ 800720295 h 114"/>
                <a:gd name="T38" fmla="*/ 1329628128 w 190"/>
                <a:gd name="T39" fmla="*/ 684253831 h 114"/>
                <a:gd name="T40" fmla="*/ 1387439699 w 190"/>
                <a:gd name="T41" fmla="*/ 655137215 h 114"/>
                <a:gd name="T42" fmla="*/ 1488605198 w 190"/>
                <a:gd name="T43" fmla="*/ 771603679 h 114"/>
                <a:gd name="T44" fmla="*/ 1604224539 w 190"/>
                <a:gd name="T45" fmla="*/ 844397127 h 114"/>
                <a:gd name="T46" fmla="*/ 1560866811 w 190"/>
                <a:gd name="T47" fmla="*/ 786163895 h 114"/>
                <a:gd name="T48" fmla="*/ 1575320654 w 190"/>
                <a:gd name="T49" fmla="*/ 655137215 h 114"/>
                <a:gd name="T50" fmla="*/ 1618678382 w 190"/>
                <a:gd name="T51" fmla="*/ 524110535 h 114"/>
                <a:gd name="T52" fmla="*/ 1633132225 w 190"/>
                <a:gd name="T53" fmla="*/ 582343767 h 114"/>
                <a:gd name="T54" fmla="*/ 1604224539 w 190"/>
                <a:gd name="T55" fmla="*/ 698810231 h 114"/>
                <a:gd name="T56" fmla="*/ 1662036110 w 190"/>
                <a:gd name="T57" fmla="*/ 815280511 h 114"/>
                <a:gd name="T58" fmla="*/ 1763201608 w 190"/>
                <a:gd name="T59" fmla="*/ 713370447 h 114"/>
                <a:gd name="T60" fmla="*/ 1907728636 w 190"/>
                <a:gd name="T61" fmla="*/ 640576999 h 114"/>
                <a:gd name="T62" fmla="*/ 1951086365 w 190"/>
                <a:gd name="T63" fmla="*/ 640576999 h 114"/>
                <a:gd name="T64" fmla="*/ 2008894134 w 190"/>
                <a:gd name="T65" fmla="*/ 596900167 h 114"/>
                <a:gd name="T66" fmla="*/ 2147483646 w 190"/>
                <a:gd name="T67" fmla="*/ 713370447 h 114"/>
                <a:gd name="T68" fmla="*/ 2147483646 w 190"/>
                <a:gd name="T69" fmla="*/ 640576999 h 114"/>
                <a:gd name="T70" fmla="*/ 2147483646 w 190"/>
                <a:gd name="T71" fmla="*/ 378523639 h 114"/>
                <a:gd name="T72" fmla="*/ 2147483646 w 190"/>
                <a:gd name="T73" fmla="*/ 291169976 h 114"/>
                <a:gd name="T74" fmla="*/ 2147483646 w 190"/>
                <a:gd name="T75" fmla="*/ 43676832 h 114"/>
                <a:gd name="T76" fmla="*/ 2081155748 w 190"/>
                <a:gd name="T77" fmla="*/ 58233232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0" h="114">
                  <a:moveTo>
                    <a:pt x="114" y="5"/>
                  </a:moveTo>
                  <a:cubicBezTo>
                    <a:pt x="111" y="7"/>
                    <a:pt x="111" y="7"/>
                    <a:pt x="111" y="7"/>
                  </a:cubicBezTo>
                  <a:cubicBezTo>
                    <a:pt x="104" y="7"/>
                    <a:pt x="104" y="7"/>
                    <a:pt x="104" y="7"/>
                  </a:cubicBezTo>
                  <a:cubicBezTo>
                    <a:pt x="46" y="36"/>
                    <a:pt x="46" y="36"/>
                    <a:pt x="46" y="36"/>
                  </a:cubicBezTo>
                  <a:cubicBezTo>
                    <a:pt x="39" y="34"/>
                    <a:pt x="39" y="34"/>
                    <a:pt x="39" y="34"/>
                  </a:cubicBezTo>
                  <a:cubicBezTo>
                    <a:pt x="0" y="52"/>
                    <a:pt x="0" y="52"/>
                    <a:pt x="0" y="52"/>
                  </a:cubicBezTo>
                  <a:cubicBezTo>
                    <a:pt x="6" y="81"/>
                    <a:pt x="6" y="81"/>
                    <a:pt x="6" y="81"/>
                  </a:cubicBezTo>
                  <a:cubicBezTo>
                    <a:pt x="6" y="103"/>
                    <a:pt x="6" y="103"/>
                    <a:pt x="6" y="103"/>
                  </a:cubicBezTo>
                  <a:cubicBezTo>
                    <a:pt x="33" y="103"/>
                    <a:pt x="33" y="103"/>
                    <a:pt x="33" y="103"/>
                  </a:cubicBezTo>
                  <a:cubicBezTo>
                    <a:pt x="60" y="114"/>
                    <a:pt x="60" y="114"/>
                    <a:pt x="60" y="114"/>
                  </a:cubicBezTo>
                  <a:cubicBezTo>
                    <a:pt x="74" y="114"/>
                    <a:pt x="74" y="114"/>
                    <a:pt x="74" y="114"/>
                  </a:cubicBezTo>
                  <a:cubicBezTo>
                    <a:pt x="75" y="114"/>
                    <a:pt x="75" y="114"/>
                    <a:pt x="75" y="114"/>
                  </a:cubicBezTo>
                  <a:cubicBezTo>
                    <a:pt x="77" y="113"/>
                    <a:pt x="81" y="110"/>
                    <a:pt x="83" y="108"/>
                  </a:cubicBezTo>
                  <a:cubicBezTo>
                    <a:pt x="85" y="107"/>
                    <a:pt x="87" y="106"/>
                    <a:pt x="87" y="105"/>
                  </a:cubicBezTo>
                  <a:cubicBezTo>
                    <a:pt x="88" y="104"/>
                    <a:pt x="88" y="102"/>
                    <a:pt x="88" y="101"/>
                  </a:cubicBezTo>
                  <a:cubicBezTo>
                    <a:pt x="88" y="100"/>
                    <a:pt x="87" y="99"/>
                    <a:pt x="87" y="98"/>
                  </a:cubicBezTo>
                  <a:cubicBezTo>
                    <a:pt x="87" y="97"/>
                    <a:pt x="83" y="96"/>
                    <a:pt x="81" y="95"/>
                  </a:cubicBezTo>
                  <a:cubicBezTo>
                    <a:pt x="80" y="94"/>
                    <a:pt x="79" y="93"/>
                    <a:pt x="77" y="92"/>
                  </a:cubicBezTo>
                  <a:cubicBezTo>
                    <a:pt x="76" y="91"/>
                    <a:pt x="78" y="91"/>
                    <a:pt x="79" y="91"/>
                  </a:cubicBezTo>
                  <a:cubicBezTo>
                    <a:pt x="80" y="91"/>
                    <a:pt x="82" y="93"/>
                    <a:pt x="83" y="94"/>
                  </a:cubicBezTo>
                  <a:cubicBezTo>
                    <a:pt x="85" y="94"/>
                    <a:pt x="85" y="93"/>
                    <a:pt x="85" y="92"/>
                  </a:cubicBezTo>
                  <a:cubicBezTo>
                    <a:pt x="86" y="91"/>
                    <a:pt x="86" y="90"/>
                    <a:pt x="86" y="88"/>
                  </a:cubicBezTo>
                  <a:cubicBezTo>
                    <a:pt x="86" y="86"/>
                    <a:pt x="87" y="87"/>
                    <a:pt x="89" y="85"/>
                  </a:cubicBezTo>
                  <a:cubicBezTo>
                    <a:pt x="91" y="84"/>
                    <a:pt x="91" y="86"/>
                    <a:pt x="90" y="87"/>
                  </a:cubicBezTo>
                  <a:cubicBezTo>
                    <a:pt x="90" y="88"/>
                    <a:pt x="89" y="88"/>
                    <a:pt x="88" y="90"/>
                  </a:cubicBezTo>
                  <a:cubicBezTo>
                    <a:pt x="88" y="91"/>
                    <a:pt x="89" y="95"/>
                    <a:pt x="89" y="95"/>
                  </a:cubicBezTo>
                  <a:cubicBezTo>
                    <a:pt x="90" y="95"/>
                    <a:pt x="92" y="93"/>
                    <a:pt x="93" y="92"/>
                  </a:cubicBezTo>
                  <a:cubicBezTo>
                    <a:pt x="94" y="92"/>
                    <a:pt x="98" y="92"/>
                    <a:pt x="99" y="92"/>
                  </a:cubicBezTo>
                  <a:cubicBezTo>
                    <a:pt x="101" y="92"/>
                    <a:pt x="103" y="93"/>
                    <a:pt x="103" y="93"/>
                  </a:cubicBezTo>
                  <a:cubicBezTo>
                    <a:pt x="104" y="93"/>
                    <a:pt x="106" y="93"/>
                    <a:pt x="108" y="91"/>
                  </a:cubicBezTo>
                  <a:cubicBezTo>
                    <a:pt x="110" y="88"/>
                    <a:pt x="111" y="87"/>
                    <a:pt x="111" y="85"/>
                  </a:cubicBezTo>
                  <a:cubicBezTo>
                    <a:pt x="112" y="84"/>
                    <a:pt x="110" y="83"/>
                    <a:pt x="109" y="82"/>
                  </a:cubicBezTo>
                  <a:cubicBezTo>
                    <a:pt x="107" y="81"/>
                    <a:pt x="106" y="80"/>
                    <a:pt x="105" y="79"/>
                  </a:cubicBezTo>
                  <a:cubicBezTo>
                    <a:pt x="104" y="78"/>
                    <a:pt x="103" y="77"/>
                    <a:pt x="102" y="76"/>
                  </a:cubicBezTo>
                  <a:cubicBezTo>
                    <a:pt x="101" y="75"/>
                    <a:pt x="102" y="70"/>
                    <a:pt x="102" y="69"/>
                  </a:cubicBezTo>
                  <a:cubicBezTo>
                    <a:pt x="102" y="68"/>
                    <a:pt x="101" y="63"/>
                    <a:pt x="101" y="62"/>
                  </a:cubicBezTo>
                  <a:cubicBezTo>
                    <a:pt x="101" y="62"/>
                    <a:pt x="101" y="61"/>
                    <a:pt x="100" y="60"/>
                  </a:cubicBezTo>
                  <a:cubicBezTo>
                    <a:pt x="100" y="59"/>
                    <a:pt x="100" y="57"/>
                    <a:pt x="100" y="55"/>
                  </a:cubicBezTo>
                  <a:cubicBezTo>
                    <a:pt x="99" y="54"/>
                    <a:pt x="98" y="53"/>
                    <a:pt x="97" y="51"/>
                  </a:cubicBezTo>
                  <a:cubicBezTo>
                    <a:pt x="96" y="50"/>
                    <a:pt x="94" y="49"/>
                    <a:pt x="92" y="47"/>
                  </a:cubicBezTo>
                  <a:cubicBezTo>
                    <a:pt x="90" y="46"/>
                    <a:pt x="91" y="45"/>
                    <a:pt x="91" y="44"/>
                  </a:cubicBezTo>
                  <a:cubicBezTo>
                    <a:pt x="92" y="43"/>
                    <a:pt x="95" y="45"/>
                    <a:pt x="96" y="45"/>
                  </a:cubicBezTo>
                  <a:cubicBezTo>
                    <a:pt x="97" y="46"/>
                    <a:pt x="100" y="49"/>
                    <a:pt x="101" y="50"/>
                  </a:cubicBezTo>
                  <a:cubicBezTo>
                    <a:pt x="102" y="51"/>
                    <a:pt x="103" y="53"/>
                    <a:pt x="103" y="53"/>
                  </a:cubicBezTo>
                  <a:cubicBezTo>
                    <a:pt x="103" y="54"/>
                    <a:pt x="105" y="57"/>
                    <a:pt x="106" y="57"/>
                  </a:cubicBezTo>
                  <a:cubicBezTo>
                    <a:pt x="106" y="58"/>
                    <a:pt x="110" y="58"/>
                    <a:pt x="111" y="58"/>
                  </a:cubicBezTo>
                  <a:cubicBezTo>
                    <a:pt x="112" y="58"/>
                    <a:pt x="110" y="57"/>
                    <a:pt x="109" y="56"/>
                  </a:cubicBezTo>
                  <a:cubicBezTo>
                    <a:pt x="109" y="55"/>
                    <a:pt x="109" y="55"/>
                    <a:pt x="108" y="54"/>
                  </a:cubicBezTo>
                  <a:cubicBezTo>
                    <a:pt x="108" y="53"/>
                    <a:pt x="108" y="52"/>
                    <a:pt x="108" y="51"/>
                  </a:cubicBezTo>
                  <a:cubicBezTo>
                    <a:pt x="108" y="49"/>
                    <a:pt x="108" y="46"/>
                    <a:pt x="109" y="45"/>
                  </a:cubicBezTo>
                  <a:cubicBezTo>
                    <a:pt x="109" y="43"/>
                    <a:pt x="109" y="42"/>
                    <a:pt x="110" y="41"/>
                  </a:cubicBezTo>
                  <a:cubicBezTo>
                    <a:pt x="111" y="39"/>
                    <a:pt x="111" y="38"/>
                    <a:pt x="112" y="36"/>
                  </a:cubicBezTo>
                  <a:cubicBezTo>
                    <a:pt x="113" y="35"/>
                    <a:pt x="114" y="36"/>
                    <a:pt x="114" y="37"/>
                  </a:cubicBezTo>
                  <a:cubicBezTo>
                    <a:pt x="114" y="37"/>
                    <a:pt x="113" y="38"/>
                    <a:pt x="113" y="40"/>
                  </a:cubicBezTo>
                  <a:cubicBezTo>
                    <a:pt x="113" y="41"/>
                    <a:pt x="113" y="43"/>
                    <a:pt x="112" y="44"/>
                  </a:cubicBezTo>
                  <a:cubicBezTo>
                    <a:pt x="112" y="45"/>
                    <a:pt x="111" y="47"/>
                    <a:pt x="111" y="48"/>
                  </a:cubicBezTo>
                  <a:cubicBezTo>
                    <a:pt x="111" y="49"/>
                    <a:pt x="111" y="52"/>
                    <a:pt x="112" y="52"/>
                  </a:cubicBezTo>
                  <a:cubicBezTo>
                    <a:pt x="112" y="53"/>
                    <a:pt x="114" y="55"/>
                    <a:pt x="115" y="56"/>
                  </a:cubicBezTo>
                  <a:cubicBezTo>
                    <a:pt x="116" y="57"/>
                    <a:pt x="117" y="55"/>
                    <a:pt x="118" y="54"/>
                  </a:cubicBezTo>
                  <a:cubicBezTo>
                    <a:pt x="119" y="54"/>
                    <a:pt x="121" y="51"/>
                    <a:pt x="122" y="49"/>
                  </a:cubicBezTo>
                  <a:cubicBezTo>
                    <a:pt x="122" y="48"/>
                    <a:pt x="123" y="47"/>
                    <a:pt x="124" y="47"/>
                  </a:cubicBezTo>
                  <a:cubicBezTo>
                    <a:pt x="125" y="47"/>
                    <a:pt x="130" y="45"/>
                    <a:pt x="132" y="44"/>
                  </a:cubicBezTo>
                  <a:cubicBezTo>
                    <a:pt x="133" y="43"/>
                    <a:pt x="133" y="44"/>
                    <a:pt x="134" y="46"/>
                  </a:cubicBezTo>
                  <a:cubicBezTo>
                    <a:pt x="135" y="47"/>
                    <a:pt x="135" y="45"/>
                    <a:pt x="135" y="44"/>
                  </a:cubicBezTo>
                  <a:cubicBezTo>
                    <a:pt x="135" y="43"/>
                    <a:pt x="135" y="43"/>
                    <a:pt x="136" y="42"/>
                  </a:cubicBezTo>
                  <a:cubicBezTo>
                    <a:pt x="136" y="41"/>
                    <a:pt x="138" y="41"/>
                    <a:pt x="139" y="41"/>
                  </a:cubicBezTo>
                  <a:cubicBezTo>
                    <a:pt x="141" y="41"/>
                    <a:pt x="144" y="43"/>
                    <a:pt x="145" y="44"/>
                  </a:cubicBezTo>
                  <a:cubicBezTo>
                    <a:pt x="146" y="45"/>
                    <a:pt x="150" y="49"/>
                    <a:pt x="150" y="49"/>
                  </a:cubicBezTo>
                  <a:cubicBezTo>
                    <a:pt x="151" y="49"/>
                    <a:pt x="152" y="48"/>
                    <a:pt x="153" y="47"/>
                  </a:cubicBezTo>
                  <a:cubicBezTo>
                    <a:pt x="153" y="46"/>
                    <a:pt x="155" y="45"/>
                    <a:pt x="155" y="44"/>
                  </a:cubicBezTo>
                  <a:cubicBezTo>
                    <a:pt x="156" y="43"/>
                    <a:pt x="165" y="34"/>
                    <a:pt x="166" y="33"/>
                  </a:cubicBezTo>
                  <a:cubicBezTo>
                    <a:pt x="167" y="32"/>
                    <a:pt x="172" y="27"/>
                    <a:pt x="172" y="26"/>
                  </a:cubicBezTo>
                  <a:cubicBezTo>
                    <a:pt x="172" y="25"/>
                    <a:pt x="173" y="24"/>
                    <a:pt x="174" y="23"/>
                  </a:cubicBezTo>
                  <a:cubicBezTo>
                    <a:pt x="174" y="22"/>
                    <a:pt x="176" y="20"/>
                    <a:pt x="177" y="20"/>
                  </a:cubicBezTo>
                  <a:cubicBezTo>
                    <a:pt x="177" y="19"/>
                    <a:pt x="177" y="19"/>
                    <a:pt x="177" y="18"/>
                  </a:cubicBezTo>
                  <a:cubicBezTo>
                    <a:pt x="177" y="17"/>
                    <a:pt x="190" y="3"/>
                    <a:pt x="190" y="3"/>
                  </a:cubicBezTo>
                  <a:cubicBezTo>
                    <a:pt x="190" y="0"/>
                    <a:pt x="190" y="0"/>
                    <a:pt x="190" y="0"/>
                  </a:cubicBezTo>
                  <a:cubicBezTo>
                    <a:pt x="144" y="4"/>
                    <a:pt x="144" y="4"/>
                    <a:pt x="144" y="4"/>
                  </a:cubicBezTo>
                  <a:lnTo>
                    <a:pt x="114" y="5"/>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8" name="Freeform 64">
              <a:extLst>
                <a:ext uri="{FF2B5EF4-FFF2-40B4-BE49-F238E27FC236}">
                  <a16:creationId xmlns:a16="http://schemas.microsoft.com/office/drawing/2014/main" id="{82AF1EE7-2021-4161-2C79-F846DB5D80C8}"/>
                </a:ext>
              </a:extLst>
            </p:cNvPr>
            <p:cNvSpPr>
              <a:spLocks/>
            </p:cNvSpPr>
            <p:nvPr/>
          </p:nvSpPr>
          <p:spPr bwMode="auto">
            <a:xfrm>
              <a:off x="4276725" y="3919538"/>
              <a:ext cx="1225550" cy="1627188"/>
            </a:xfrm>
            <a:custGeom>
              <a:avLst/>
              <a:gdLst>
                <a:gd name="T0" fmla="*/ 2147483646 w 322"/>
                <a:gd name="T1" fmla="*/ 2147483646 h 427"/>
                <a:gd name="T2" fmla="*/ 2147483646 w 322"/>
                <a:gd name="T3" fmla="*/ 2147483646 h 427"/>
                <a:gd name="T4" fmla="*/ 2147483646 w 322"/>
                <a:gd name="T5" fmla="*/ 2147483646 h 427"/>
                <a:gd name="T6" fmla="*/ 2147483646 w 322"/>
                <a:gd name="T7" fmla="*/ 2147483646 h 427"/>
                <a:gd name="T8" fmla="*/ 2147483646 w 322"/>
                <a:gd name="T9" fmla="*/ 2147483646 h 427"/>
                <a:gd name="T10" fmla="*/ 2147483646 w 322"/>
                <a:gd name="T11" fmla="*/ 2147483646 h 427"/>
                <a:gd name="T12" fmla="*/ 2147483646 w 322"/>
                <a:gd name="T13" fmla="*/ 2147483646 h 427"/>
                <a:gd name="T14" fmla="*/ 2147483646 w 322"/>
                <a:gd name="T15" fmla="*/ 2147483646 h 427"/>
                <a:gd name="T16" fmla="*/ 2147483646 w 322"/>
                <a:gd name="T17" fmla="*/ 1945918689 h 427"/>
                <a:gd name="T18" fmla="*/ 2147483646 w 322"/>
                <a:gd name="T19" fmla="*/ 1684524465 h 427"/>
                <a:gd name="T20" fmla="*/ 2147483646 w 322"/>
                <a:gd name="T21" fmla="*/ 1306959688 h 427"/>
                <a:gd name="T22" fmla="*/ 2147483646 w 322"/>
                <a:gd name="T23" fmla="*/ 1190785324 h 427"/>
                <a:gd name="T24" fmla="*/ 2147483646 w 322"/>
                <a:gd name="T25" fmla="*/ 1118175394 h 427"/>
                <a:gd name="T26" fmla="*/ 2147483646 w 322"/>
                <a:gd name="T27" fmla="*/ 1016523778 h 427"/>
                <a:gd name="T28" fmla="*/ 2147483646 w 322"/>
                <a:gd name="T29" fmla="*/ 493739141 h 427"/>
                <a:gd name="T30" fmla="*/ 1912158678 w 322"/>
                <a:gd name="T31" fmla="*/ 232348728 h 427"/>
                <a:gd name="T32" fmla="*/ 1738328493 w 322"/>
                <a:gd name="T33" fmla="*/ 246871476 h 427"/>
                <a:gd name="T34" fmla="*/ 1622437897 w 322"/>
                <a:gd name="T35" fmla="*/ 188784294 h 427"/>
                <a:gd name="T36" fmla="*/ 1506551107 w 322"/>
                <a:gd name="T37" fmla="*/ 246871476 h 427"/>
                <a:gd name="T38" fmla="*/ 1231316175 w 322"/>
                <a:gd name="T39" fmla="*/ 87128868 h 427"/>
                <a:gd name="T40" fmla="*/ 1028510486 w 322"/>
                <a:gd name="T41" fmla="*/ 174261546 h 427"/>
                <a:gd name="T42" fmla="*/ 825704797 w 322"/>
                <a:gd name="T43" fmla="*/ 72609930 h 427"/>
                <a:gd name="T44" fmla="*/ 666360461 w 322"/>
                <a:gd name="T45" fmla="*/ 101651616 h 427"/>
                <a:gd name="T46" fmla="*/ 115886790 w 322"/>
                <a:gd name="T47" fmla="*/ 101651616 h 427"/>
                <a:gd name="T48" fmla="*/ 0 w 322"/>
                <a:gd name="T49" fmla="*/ 101651616 h 427"/>
                <a:gd name="T50" fmla="*/ 724303856 w 322"/>
                <a:gd name="T51" fmla="*/ 1379569618 h 427"/>
                <a:gd name="T52" fmla="*/ 1158883125 w 322"/>
                <a:gd name="T53" fmla="*/ 2147483646 h 427"/>
                <a:gd name="T54" fmla="*/ 1173372780 w 322"/>
                <a:gd name="T55" fmla="*/ 2147483646 h 427"/>
                <a:gd name="T56" fmla="*/ 782247251 w 322"/>
                <a:gd name="T57" fmla="*/ 2147483646 h 427"/>
                <a:gd name="T58" fmla="*/ 449068924 w 322"/>
                <a:gd name="T59" fmla="*/ 2147483646 h 427"/>
                <a:gd name="T60" fmla="*/ 1303745418 w 322"/>
                <a:gd name="T61" fmla="*/ 2147483646 h 427"/>
                <a:gd name="T62" fmla="*/ 1463093561 w 322"/>
                <a:gd name="T63" fmla="*/ 2147483646 h 427"/>
                <a:gd name="T64" fmla="*/ 1651409595 w 322"/>
                <a:gd name="T65" fmla="*/ 2147483646 h 427"/>
                <a:gd name="T66" fmla="*/ 2147483646 w 322"/>
                <a:gd name="T67" fmla="*/ 2147483646 h 427"/>
                <a:gd name="T68" fmla="*/ 2147483646 w 322"/>
                <a:gd name="T69" fmla="*/ 2147483646 h 427"/>
                <a:gd name="T70" fmla="*/ 2147483646 w 322"/>
                <a:gd name="T71" fmla="*/ 2147483646 h 427"/>
                <a:gd name="T72" fmla="*/ 2147483646 w 322"/>
                <a:gd name="T73" fmla="*/ 2147483646 h 427"/>
                <a:gd name="T74" fmla="*/ 2147483646 w 322"/>
                <a:gd name="T75" fmla="*/ 2147483646 h 427"/>
                <a:gd name="T76" fmla="*/ 2147483646 w 322"/>
                <a:gd name="T77" fmla="*/ 2147483646 h 4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22" h="427">
                  <a:moveTo>
                    <a:pt x="308" y="342"/>
                  </a:moveTo>
                  <a:cubicBezTo>
                    <a:pt x="281" y="331"/>
                    <a:pt x="281" y="331"/>
                    <a:pt x="281" y="331"/>
                  </a:cubicBezTo>
                  <a:cubicBezTo>
                    <a:pt x="254" y="331"/>
                    <a:pt x="254" y="331"/>
                    <a:pt x="254" y="331"/>
                  </a:cubicBezTo>
                  <a:cubicBezTo>
                    <a:pt x="254" y="309"/>
                    <a:pt x="254" y="309"/>
                    <a:pt x="254" y="309"/>
                  </a:cubicBezTo>
                  <a:cubicBezTo>
                    <a:pt x="248" y="280"/>
                    <a:pt x="248" y="280"/>
                    <a:pt x="248" y="280"/>
                  </a:cubicBezTo>
                  <a:cubicBezTo>
                    <a:pt x="243" y="256"/>
                    <a:pt x="243" y="256"/>
                    <a:pt x="243" y="256"/>
                  </a:cubicBezTo>
                  <a:cubicBezTo>
                    <a:pt x="243" y="256"/>
                    <a:pt x="241" y="247"/>
                    <a:pt x="242" y="245"/>
                  </a:cubicBezTo>
                  <a:cubicBezTo>
                    <a:pt x="242" y="243"/>
                    <a:pt x="242" y="236"/>
                    <a:pt x="242" y="236"/>
                  </a:cubicBezTo>
                  <a:cubicBezTo>
                    <a:pt x="242" y="236"/>
                    <a:pt x="240" y="233"/>
                    <a:pt x="240" y="232"/>
                  </a:cubicBezTo>
                  <a:cubicBezTo>
                    <a:pt x="240" y="232"/>
                    <a:pt x="241" y="225"/>
                    <a:pt x="241" y="225"/>
                  </a:cubicBezTo>
                  <a:cubicBezTo>
                    <a:pt x="241" y="225"/>
                    <a:pt x="240" y="220"/>
                    <a:pt x="240" y="219"/>
                  </a:cubicBezTo>
                  <a:cubicBezTo>
                    <a:pt x="240" y="219"/>
                    <a:pt x="232" y="208"/>
                    <a:pt x="231" y="207"/>
                  </a:cubicBezTo>
                  <a:cubicBezTo>
                    <a:pt x="231" y="207"/>
                    <a:pt x="229" y="201"/>
                    <a:pt x="229" y="200"/>
                  </a:cubicBezTo>
                  <a:cubicBezTo>
                    <a:pt x="229" y="198"/>
                    <a:pt x="227" y="187"/>
                    <a:pt x="227" y="182"/>
                  </a:cubicBezTo>
                  <a:cubicBezTo>
                    <a:pt x="227" y="178"/>
                    <a:pt x="226" y="172"/>
                    <a:pt x="226" y="171"/>
                  </a:cubicBezTo>
                  <a:cubicBezTo>
                    <a:pt x="225" y="169"/>
                    <a:pt x="221" y="160"/>
                    <a:pt x="221" y="158"/>
                  </a:cubicBezTo>
                  <a:cubicBezTo>
                    <a:pt x="220" y="157"/>
                    <a:pt x="211" y="145"/>
                    <a:pt x="210" y="142"/>
                  </a:cubicBezTo>
                  <a:cubicBezTo>
                    <a:pt x="209" y="140"/>
                    <a:pt x="208" y="136"/>
                    <a:pt x="209" y="134"/>
                  </a:cubicBezTo>
                  <a:cubicBezTo>
                    <a:pt x="209" y="133"/>
                    <a:pt x="208" y="127"/>
                    <a:pt x="208" y="126"/>
                  </a:cubicBezTo>
                  <a:cubicBezTo>
                    <a:pt x="207" y="124"/>
                    <a:pt x="204" y="118"/>
                    <a:pt x="204" y="116"/>
                  </a:cubicBezTo>
                  <a:cubicBezTo>
                    <a:pt x="204" y="114"/>
                    <a:pt x="201" y="103"/>
                    <a:pt x="200" y="101"/>
                  </a:cubicBezTo>
                  <a:cubicBezTo>
                    <a:pt x="200" y="100"/>
                    <a:pt x="198" y="91"/>
                    <a:pt x="197" y="90"/>
                  </a:cubicBezTo>
                  <a:cubicBezTo>
                    <a:pt x="197" y="89"/>
                    <a:pt x="191" y="86"/>
                    <a:pt x="190" y="85"/>
                  </a:cubicBezTo>
                  <a:cubicBezTo>
                    <a:pt x="189" y="84"/>
                    <a:pt x="188" y="83"/>
                    <a:pt x="188" y="82"/>
                  </a:cubicBezTo>
                  <a:cubicBezTo>
                    <a:pt x="188" y="82"/>
                    <a:pt x="184" y="82"/>
                    <a:pt x="184" y="81"/>
                  </a:cubicBezTo>
                  <a:cubicBezTo>
                    <a:pt x="183" y="81"/>
                    <a:pt x="182" y="79"/>
                    <a:pt x="182" y="77"/>
                  </a:cubicBezTo>
                  <a:cubicBezTo>
                    <a:pt x="182" y="75"/>
                    <a:pt x="179" y="74"/>
                    <a:pt x="178" y="74"/>
                  </a:cubicBezTo>
                  <a:cubicBezTo>
                    <a:pt x="177" y="74"/>
                    <a:pt x="173" y="71"/>
                    <a:pt x="172" y="70"/>
                  </a:cubicBezTo>
                  <a:cubicBezTo>
                    <a:pt x="171" y="68"/>
                    <a:pt x="167" y="49"/>
                    <a:pt x="166" y="45"/>
                  </a:cubicBezTo>
                  <a:cubicBezTo>
                    <a:pt x="165" y="42"/>
                    <a:pt x="161" y="36"/>
                    <a:pt x="159" y="34"/>
                  </a:cubicBezTo>
                  <a:cubicBezTo>
                    <a:pt x="157" y="32"/>
                    <a:pt x="142" y="21"/>
                    <a:pt x="141" y="21"/>
                  </a:cubicBezTo>
                  <a:cubicBezTo>
                    <a:pt x="140" y="20"/>
                    <a:pt x="134" y="17"/>
                    <a:pt x="132" y="16"/>
                  </a:cubicBezTo>
                  <a:cubicBezTo>
                    <a:pt x="129" y="15"/>
                    <a:pt x="125" y="13"/>
                    <a:pt x="124" y="14"/>
                  </a:cubicBezTo>
                  <a:cubicBezTo>
                    <a:pt x="123" y="15"/>
                    <a:pt x="121" y="17"/>
                    <a:pt x="120" y="17"/>
                  </a:cubicBezTo>
                  <a:cubicBezTo>
                    <a:pt x="119" y="17"/>
                    <a:pt x="117" y="18"/>
                    <a:pt x="116" y="17"/>
                  </a:cubicBezTo>
                  <a:cubicBezTo>
                    <a:pt x="116" y="15"/>
                    <a:pt x="114" y="13"/>
                    <a:pt x="112" y="13"/>
                  </a:cubicBezTo>
                  <a:cubicBezTo>
                    <a:pt x="110" y="13"/>
                    <a:pt x="108" y="12"/>
                    <a:pt x="107" y="13"/>
                  </a:cubicBezTo>
                  <a:cubicBezTo>
                    <a:pt x="106" y="15"/>
                    <a:pt x="104" y="17"/>
                    <a:pt x="104" y="17"/>
                  </a:cubicBezTo>
                  <a:cubicBezTo>
                    <a:pt x="93" y="6"/>
                    <a:pt x="93" y="6"/>
                    <a:pt x="93" y="6"/>
                  </a:cubicBezTo>
                  <a:cubicBezTo>
                    <a:pt x="93" y="6"/>
                    <a:pt x="87" y="5"/>
                    <a:pt x="85" y="6"/>
                  </a:cubicBezTo>
                  <a:cubicBezTo>
                    <a:pt x="83" y="7"/>
                    <a:pt x="78" y="8"/>
                    <a:pt x="77" y="9"/>
                  </a:cubicBezTo>
                  <a:cubicBezTo>
                    <a:pt x="76" y="10"/>
                    <a:pt x="71" y="12"/>
                    <a:pt x="71" y="12"/>
                  </a:cubicBezTo>
                  <a:cubicBezTo>
                    <a:pt x="71" y="12"/>
                    <a:pt x="69" y="8"/>
                    <a:pt x="68" y="8"/>
                  </a:cubicBezTo>
                  <a:cubicBezTo>
                    <a:pt x="68" y="7"/>
                    <a:pt x="59" y="5"/>
                    <a:pt x="57" y="5"/>
                  </a:cubicBezTo>
                  <a:cubicBezTo>
                    <a:pt x="55" y="5"/>
                    <a:pt x="48" y="4"/>
                    <a:pt x="48" y="4"/>
                  </a:cubicBezTo>
                  <a:cubicBezTo>
                    <a:pt x="46" y="7"/>
                    <a:pt x="46" y="7"/>
                    <a:pt x="46" y="7"/>
                  </a:cubicBezTo>
                  <a:cubicBezTo>
                    <a:pt x="20" y="0"/>
                    <a:pt x="20" y="0"/>
                    <a:pt x="20" y="0"/>
                  </a:cubicBezTo>
                  <a:cubicBezTo>
                    <a:pt x="8" y="7"/>
                    <a:pt x="8" y="7"/>
                    <a:pt x="8" y="7"/>
                  </a:cubicBezTo>
                  <a:cubicBezTo>
                    <a:pt x="8" y="7"/>
                    <a:pt x="4" y="7"/>
                    <a:pt x="4" y="7"/>
                  </a:cubicBezTo>
                  <a:cubicBezTo>
                    <a:pt x="4" y="7"/>
                    <a:pt x="0" y="7"/>
                    <a:pt x="0" y="7"/>
                  </a:cubicBezTo>
                  <a:cubicBezTo>
                    <a:pt x="0" y="8"/>
                    <a:pt x="0" y="8"/>
                    <a:pt x="0" y="8"/>
                  </a:cubicBezTo>
                  <a:cubicBezTo>
                    <a:pt x="50" y="95"/>
                    <a:pt x="50" y="95"/>
                    <a:pt x="50" y="95"/>
                  </a:cubicBezTo>
                  <a:cubicBezTo>
                    <a:pt x="75" y="143"/>
                    <a:pt x="75" y="143"/>
                    <a:pt x="75" y="143"/>
                  </a:cubicBezTo>
                  <a:cubicBezTo>
                    <a:pt x="80" y="231"/>
                    <a:pt x="80" y="231"/>
                    <a:pt x="80" y="231"/>
                  </a:cubicBezTo>
                  <a:cubicBezTo>
                    <a:pt x="74" y="236"/>
                    <a:pt x="74" y="236"/>
                    <a:pt x="74" y="236"/>
                  </a:cubicBezTo>
                  <a:cubicBezTo>
                    <a:pt x="81" y="266"/>
                    <a:pt x="81" y="266"/>
                    <a:pt x="81" y="266"/>
                  </a:cubicBezTo>
                  <a:cubicBezTo>
                    <a:pt x="57" y="317"/>
                    <a:pt x="57" y="317"/>
                    <a:pt x="57" y="317"/>
                  </a:cubicBezTo>
                  <a:cubicBezTo>
                    <a:pt x="54" y="323"/>
                    <a:pt x="54" y="323"/>
                    <a:pt x="54" y="323"/>
                  </a:cubicBezTo>
                  <a:cubicBezTo>
                    <a:pt x="38" y="334"/>
                    <a:pt x="38" y="334"/>
                    <a:pt x="38" y="334"/>
                  </a:cubicBezTo>
                  <a:cubicBezTo>
                    <a:pt x="31" y="336"/>
                    <a:pt x="31" y="336"/>
                    <a:pt x="31" y="336"/>
                  </a:cubicBezTo>
                  <a:cubicBezTo>
                    <a:pt x="93" y="421"/>
                    <a:pt x="93" y="421"/>
                    <a:pt x="93" y="421"/>
                  </a:cubicBezTo>
                  <a:cubicBezTo>
                    <a:pt x="90" y="422"/>
                    <a:pt x="90" y="422"/>
                    <a:pt x="90" y="422"/>
                  </a:cubicBezTo>
                  <a:cubicBezTo>
                    <a:pt x="95" y="425"/>
                    <a:pt x="95" y="425"/>
                    <a:pt x="95" y="425"/>
                  </a:cubicBezTo>
                  <a:cubicBezTo>
                    <a:pt x="101" y="421"/>
                    <a:pt x="101" y="421"/>
                    <a:pt x="101" y="421"/>
                  </a:cubicBezTo>
                  <a:cubicBezTo>
                    <a:pt x="107" y="427"/>
                    <a:pt x="107" y="427"/>
                    <a:pt x="107" y="427"/>
                  </a:cubicBezTo>
                  <a:cubicBezTo>
                    <a:pt x="114" y="426"/>
                    <a:pt x="114" y="426"/>
                    <a:pt x="114" y="426"/>
                  </a:cubicBezTo>
                  <a:cubicBezTo>
                    <a:pt x="205" y="320"/>
                    <a:pt x="205" y="320"/>
                    <a:pt x="205" y="320"/>
                  </a:cubicBezTo>
                  <a:cubicBezTo>
                    <a:pt x="249" y="382"/>
                    <a:pt x="249" y="382"/>
                    <a:pt x="249" y="382"/>
                  </a:cubicBezTo>
                  <a:cubicBezTo>
                    <a:pt x="249" y="381"/>
                    <a:pt x="249" y="380"/>
                    <a:pt x="249" y="379"/>
                  </a:cubicBezTo>
                  <a:cubicBezTo>
                    <a:pt x="250" y="377"/>
                    <a:pt x="256" y="369"/>
                    <a:pt x="261" y="364"/>
                  </a:cubicBezTo>
                  <a:cubicBezTo>
                    <a:pt x="266" y="360"/>
                    <a:pt x="274" y="357"/>
                    <a:pt x="276" y="356"/>
                  </a:cubicBezTo>
                  <a:cubicBezTo>
                    <a:pt x="278" y="355"/>
                    <a:pt x="290" y="351"/>
                    <a:pt x="292" y="350"/>
                  </a:cubicBezTo>
                  <a:cubicBezTo>
                    <a:pt x="293" y="350"/>
                    <a:pt x="295" y="350"/>
                    <a:pt x="297" y="351"/>
                  </a:cubicBezTo>
                  <a:cubicBezTo>
                    <a:pt x="299" y="352"/>
                    <a:pt x="302" y="353"/>
                    <a:pt x="303" y="354"/>
                  </a:cubicBezTo>
                  <a:cubicBezTo>
                    <a:pt x="304" y="355"/>
                    <a:pt x="307" y="355"/>
                    <a:pt x="308" y="355"/>
                  </a:cubicBezTo>
                  <a:cubicBezTo>
                    <a:pt x="308" y="355"/>
                    <a:pt x="310" y="352"/>
                    <a:pt x="311" y="351"/>
                  </a:cubicBezTo>
                  <a:cubicBezTo>
                    <a:pt x="312" y="350"/>
                    <a:pt x="315" y="347"/>
                    <a:pt x="317" y="346"/>
                  </a:cubicBezTo>
                  <a:cubicBezTo>
                    <a:pt x="319" y="345"/>
                    <a:pt x="321" y="343"/>
                    <a:pt x="322" y="342"/>
                  </a:cubicBezTo>
                  <a:lnTo>
                    <a:pt x="308" y="342"/>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69" name="Freeform 65">
              <a:extLst>
                <a:ext uri="{FF2B5EF4-FFF2-40B4-BE49-F238E27FC236}">
                  <a16:creationId xmlns:a16="http://schemas.microsoft.com/office/drawing/2014/main" id="{3F4DA534-081A-C248-04F0-78D72F846BDA}"/>
                </a:ext>
              </a:extLst>
            </p:cNvPr>
            <p:cNvSpPr>
              <a:spLocks/>
            </p:cNvSpPr>
            <p:nvPr/>
          </p:nvSpPr>
          <p:spPr bwMode="auto">
            <a:xfrm>
              <a:off x="4638675" y="5138738"/>
              <a:ext cx="609600" cy="900113"/>
            </a:xfrm>
            <a:custGeom>
              <a:avLst/>
              <a:gdLst>
                <a:gd name="T0" fmla="*/ 2147483646 w 160"/>
                <a:gd name="T1" fmla="*/ 1367408952 h 236"/>
                <a:gd name="T2" fmla="*/ 2147483646 w 160"/>
                <a:gd name="T3" fmla="*/ 1381955694 h 236"/>
                <a:gd name="T4" fmla="*/ 2147483646 w 160"/>
                <a:gd name="T5" fmla="*/ 1381955694 h 236"/>
                <a:gd name="T6" fmla="*/ 2147483646 w 160"/>
                <a:gd name="T7" fmla="*/ 1338315469 h 236"/>
                <a:gd name="T8" fmla="*/ 2147483646 w 160"/>
                <a:gd name="T9" fmla="*/ 1309218173 h 236"/>
                <a:gd name="T10" fmla="*/ 2147483646 w 160"/>
                <a:gd name="T11" fmla="*/ 1163750758 h 236"/>
                <a:gd name="T12" fmla="*/ 2147483646 w 160"/>
                <a:gd name="T13" fmla="*/ 974643119 h 236"/>
                <a:gd name="T14" fmla="*/ 2147483646 w 160"/>
                <a:gd name="T15" fmla="*/ 901905598 h 236"/>
                <a:gd name="T16" fmla="*/ 1596771000 w 160"/>
                <a:gd name="T17" fmla="*/ 0 h 236"/>
                <a:gd name="T18" fmla="*/ 275805900 w 160"/>
                <a:gd name="T19" fmla="*/ 1541969850 h 236"/>
                <a:gd name="T20" fmla="*/ 275805900 w 160"/>
                <a:gd name="T21" fmla="*/ 1760174786 h 236"/>
                <a:gd name="T22" fmla="*/ 0 w 160"/>
                <a:gd name="T23" fmla="*/ 2147483646 h 236"/>
                <a:gd name="T24" fmla="*/ 464515200 w 160"/>
                <a:gd name="T25" fmla="*/ 2147483646 h 236"/>
                <a:gd name="T26" fmla="*/ 522579600 w 160"/>
                <a:gd name="T27" fmla="*/ 2147483646 h 236"/>
                <a:gd name="T28" fmla="*/ 522579600 w 160"/>
                <a:gd name="T29" fmla="*/ 2147483646 h 236"/>
                <a:gd name="T30" fmla="*/ 609676200 w 160"/>
                <a:gd name="T31" fmla="*/ 2147483646 h 236"/>
                <a:gd name="T32" fmla="*/ 609676200 w 160"/>
                <a:gd name="T33" fmla="*/ 2147483646 h 236"/>
                <a:gd name="T34" fmla="*/ 595160100 w 160"/>
                <a:gd name="T35" fmla="*/ 2147483646 h 236"/>
                <a:gd name="T36" fmla="*/ 754837200 w 160"/>
                <a:gd name="T37" fmla="*/ 2147483646 h 236"/>
                <a:gd name="T38" fmla="*/ 929030400 w 160"/>
                <a:gd name="T39" fmla="*/ 2147483646 h 236"/>
                <a:gd name="T40" fmla="*/ 943546500 w 160"/>
                <a:gd name="T41" fmla="*/ 2147483646 h 236"/>
                <a:gd name="T42" fmla="*/ 1001610900 w 160"/>
                <a:gd name="T43" fmla="*/ 2147483646 h 236"/>
                <a:gd name="T44" fmla="*/ 1030643100 w 160"/>
                <a:gd name="T45" fmla="*/ 2147483646 h 236"/>
                <a:gd name="T46" fmla="*/ 1103223600 w 160"/>
                <a:gd name="T47" fmla="*/ 2147483646 h 236"/>
                <a:gd name="T48" fmla="*/ 1146771900 w 160"/>
                <a:gd name="T49" fmla="*/ 2147483646 h 236"/>
                <a:gd name="T50" fmla="*/ 1219352400 w 160"/>
                <a:gd name="T51" fmla="*/ 2147483646 h 236"/>
                <a:gd name="T52" fmla="*/ 1262900700 w 160"/>
                <a:gd name="T53" fmla="*/ 2147483646 h 236"/>
                <a:gd name="T54" fmla="*/ 1320965100 w 160"/>
                <a:gd name="T55" fmla="*/ 2147483646 h 236"/>
                <a:gd name="T56" fmla="*/ 1320965100 w 160"/>
                <a:gd name="T57" fmla="*/ 2147483646 h 236"/>
                <a:gd name="T58" fmla="*/ 1408061700 w 160"/>
                <a:gd name="T59" fmla="*/ 2147483646 h 236"/>
                <a:gd name="T60" fmla="*/ 1480642200 w 160"/>
                <a:gd name="T61" fmla="*/ 2147483646 h 236"/>
                <a:gd name="T62" fmla="*/ 1509674400 w 160"/>
                <a:gd name="T63" fmla="*/ 2147483646 h 236"/>
                <a:gd name="T64" fmla="*/ 1538706600 w 160"/>
                <a:gd name="T65" fmla="*/ 2147483646 h 236"/>
                <a:gd name="T66" fmla="*/ 1553222700 w 160"/>
                <a:gd name="T67" fmla="*/ 2147483646 h 236"/>
                <a:gd name="T68" fmla="*/ 1567738800 w 160"/>
                <a:gd name="T69" fmla="*/ 2147483646 h 236"/>
                <a:gd name="T70" fmla="*/ 1582254900 w 160"/>
                <a:gd name="T71" fmla="*/ 2147483646 h 236"/>
                <a:gd name="T72" fmla="*/ 1640319300 w 160"/>
                <a:gd name="T73" fmla="*/ 2147483646 h 236"/>
                <a:gd name="T74" fmla="*/ 1712899800 w 160"/>
                <a:gd name="T75" fmla="*/ 2147483646 h 236"/>
                <a:gd name="T76" fmla="*/ 1756448100 w 160"/>
                <a:gd name="T77" fmla="*/ 2147483646 h 236"/>
                <a:gd name="T78" fmla="*/ 1756448100 w 160"/>
                <a:gd name="T79" fmla="*/ 2147483646 h 236"/>
                <a:gd name="T80" fmla="*/ 1770964200 w 160"/>
                <a:gd name="T81" fmla="*/ 2123847136 h 236"/>
                <a:gd name="T82" fmla="*/ 1785480300 w 160"/>
                <a:gd name="T83" fmla="*/ 2147483646 h 236"/>
                <a:gd name="T84" fmla="*/ 1799996400 w 160"/>
                <a:gd name="T85" fmla="*/ 2147483646 h 236"/>
                <a:gd name="T86" fmla="*/ 1872576900 w 160"/>
                <a:gd name="T87" fmla="*/ 2123847136 h 236"/>
                <a:gd name="T88" fmla="*/ 1988705700 w 160"/>
                <a:gd name="T89" fmla="*/ 2051109615 h 236"/>
                <a:gd name="T90" fmla="*/ 2061286200 w 160"/>
                <a:gd name="T91" fmla="*/ 2022016132 h 236"/>
                <a:gd name="T92" fmla="*/ 2104834500 w 160"/>
                <a:gd name="T93" fmla="*/ 1963829166 h 236"/>
                <a:gd name="T94" fmla="*/ 2104834500 w 160"/>
                <a:gd name="T95" fmla="*/ 1905642200 h 236"/>
                <a:gd name="T96" fmla="*/ 2104834500 w 160"/>
                <a:gd name="T97" fmla="*/ 1774721527 h 236"/>
                <a:gd name="T98" fmla="*/ 2147483646 w 160"/>
                <a:gd name="T99" fmla="*/ 1716534561 h 236"/>
                <a:gd name="T100" fmla="*/ 2147483646 w 160"/>
                <a:gd name="T101" fmla="*/ 1687437264 h 236"/>
                <a:gd name="T102" fmla="*/ 2147483646 w 160"/>
                <a:gd name="T103" fmla="*/ 1614703557 h 236"/>
                <a:gd name="T104" fmla="*/ 2147483646 w 160"/>
                <a:gd name="T105" fmla="*/ 1571063333 h 236"/>
                <a:gd name="T106" fmla="*/ 2147483646 w 160"/>
                <a:gd name="T107" fmla="*/ 1498329625 h 236"/>
                <a:gd name="T108" fmla="*/ 2147483646 w 160"/>
                <a:gd name="T109" fmla="*/ 1440142660 h 236"/>
                <a:gd name="T110" fmla="*/ 2147483646 w 160"/>
                <a:gd name="T111" fmla="*/ 1381955694 h 236"/>
                <a:gd name="T112" fmla="*/ 2147483646 w 160"/>
                <a:gd name="T113" fmla="*/ 1367408952 h 2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0" h="236">
                  <a:moveTo>
                    <a:pt x="159" y="94"/>
                  </a:moveTo>
                  <a:cubicBezTo>
                    <a:pt x="159" y="95"/>
                    <a:pt x="157" y="95"/>
                    <a:pt x="156" y="95"/>
                  </a:cubicBezTo>
                  <a:cubicBezTo>
                    <a:pt x="154" y="95"/>
                    <a:pt x="153" y="95"/>
                    <a:pt x="153" y="95"/>
                  </a:cubicBezTo>
                  <a:cubicBezTo>
                    <a:pt x="153" y="95"/>
                    <a:pt x="152" y="92"/>
                    <a:pt x="152" y="92"/>
                  </a:cubicBezTo>
                  <a:cubicBezTo>
                    <a:pt x="152" y="92"/>
                    <a:pt x="151" y="92"/>
                    <a:pt x="151" y="90"/>
                  </a:cubicBezTo>
                  <a:cubicBezTo>
                    <a:pt x="150" y="88"/>
                    <a:pt x="151" y="82"/>
                    <a:pt x="151" y="80"/>
                  </a:cubicBezTo>
                  <a:cubicBezTo>
                    <a:pt x="151" y="77"/>
                    <a:pt x="152" y="69"/>
                    <a:pt x="153" y="67"/>
                  </a:cubicBezTo>
                  <a:cubicBezTo>
                    <a:pt x="153" y="65"/>
                    <a:pt x="153" y="64"/>
                    <a:pt x="154" y="62"/>
                  </a:cubicBezTo>
                  <a:cubicBezTo>
                    <a:pt x="110" y="0"/>
                    <a:pt x="110" y="0"/>
                    <a:pt x="110" y="0"/>
                  </a:cubicBezTo>
                  <a:cubicBezTo>
                    <a:pt x="19" y="106"/>
                    <a:pt x="19" y="106"/>
                    <a:pt x="19" y="106"/>
                  </a:cubicBezTo>
                  <a:cubicBezTo>
                    <a:pt x="19" y="121"/>
                    <a:pt x="19" y="121"/>
                    <a:pt x="19" y="121"/>
                  </a:cubicBezTo>
                  <a:cubicBezTo>
                    <a:pt x="0" y="176"/>
                    <a:pt x="0" y="176"/>
                    <a:pt x="0" y="176"/>
                  </a:cubicBezTo>
                  <a:cubicBezTo>
                    <a:pt x="32" y="176"/>
                    <a:pt x="32" y="176"/>
                    <a:pt x="32" y="176"/>
                  </a:cubicBezTo>
                  <a:cubicBezTo>
                    <a:pt x="36" y="182"/>
                    <a:pt x="36" y="182"/>
                    <a:pt x="36" y="182"/>
                  </a:cubicBezTo>
                  <a:cubicBezTo>
                    <a:pt x="36" y="196"/>
                    <a:pt x="36" y="196"/>
                    <a:pt x="36" y="196"/>
                  </a:cubicBezTo>
                  <a:cubicBezTo>
                    <a:pt x="42" y="200"/>
                    <a:pt x="42" y="200"/>
                    <a:pt x="42" y="200"/>
                  </a:cubicBezTo>
                  <a:cubicBezTo>
                    <a:pt x="42" y="203"/>
                    <a:pt x="42" y="203"/>
                    <a:pt x="42" y="203"/>
                  </a:cubicBezTo>
                  <a:cubicBezTo>
                    <a:pt x="42" y="203"/>
                    <a:pt x="41" y="209"/>
                    <a:pt x="41" y="209"/>
                  </a:cubicBezTo>
                  <a:cubicBezTo>
                    <a:pt x="41" y="209"/>
                    <a:pt x="52" y="216"/>
                    <a:pt x="52" y="216"/>
                  </a:cubicBezTo>
                  <a:cubicBezTo>
                    <a:pt x="52" y="216"/>
                    <a:pt x="64" y="233"/>
                    <a:pt x="64" y="233"/>
                  </a:cubicBezTo>
                  <a:cubicBezTo>
                    <a:pt x="64" y="234"/>
                    <a:pt x="65" y="234"/>
                    <a:pt x="65" y="236"/>
                  </a:cubicBezTo>
                  <a:cubicBezTo>
                    <a:pt x="67" y="234"/>
                    <a:pt x="69" y="231"/>
                    <a:pt x="69" y="231"/>
                  </a:cubicBezTo>
                  <a:cubicBezTo>
                    <a:pt x="69" y="230"/>
                    <a:pt x="71" y="228"/>
                    <a:pt x="71" y="228"/>
                  </a:cubicBezTo>
                  <a:cubicBezTo>
                    <a:pt x="71" y="228"/>
                    <a:pt x="76" y="228"/>
                    <a:pt x="76" y="228"/>
                  </a:cubicBezTo>
                  <a:cubicBezTo>
                    <a:pt x="76" y="228"/>
                    <a:pt x="79" y="225"/>
                    <a:pt x="79" y="225"/>
                  </a:cubicBezTo>
                  <a:cubicBezTo>
                    <a:pt x="79" y="225"/>
                    <a:pt x="84" y="223"/>
                    <a:pt x="84" y="223"/>
                  </a:cubicBezTo>
                  <a:cubicBezTo>
                    <a:pt x="84" y="223"/>
                    <a:pt x="87" y="226"/>
                    <a:pt x="87" y="227"/>
                  </a:cubicBezTo>
                  <a:cubicBezTo>
                    <a:pt x="88" y="227"/>
                    <a:pt x="90" y="230"/>
                    <a:pt x="91" y="232"/>
                  </a:cubicBezTo>
                  <a:cubicBezTo>
                    <a:pt x="91" y="232"/>
                    <a:pt x="91" y="232"/>
                    <a:pt x="91" y="232"/>
                  </a:cubicBezTo>
                  <a:cubicBezTo>
                    <a:pt x="92" y="231"/>
                    <a:pt x="95" y="228"/>
                    <a:pt x="97" y="226"/>
                  </a:cubicBezTo>
                  <a:cubicBezTo>
                    <a:pt x="98" y="224"/>
                    <a:pt x="101" y="218"/>
                    <a:pt x="102" y="215"/>
                  </a:cubicBezTo>
                  <a:cubicBezTo>
                    <a:pt x="103" y="212"/>
                    <a:pt x="103" y="210"/>
                    <a:pt x="104" y="209"/>
                  </a:cubicBezTo>
                  <a:cubicBezTo>
                    <a:pt x="104" y="208"/>
                    <a:pt x="105" y="205"/>
                    <a:pt x="106" y="202"/>
                  </a:cubicBezTo>
                  <a:cubicBezTo>
                    <a:pt x="106" y="200"/>
                    <a:pt x="106" y="199"/>
                    <a:pt x="107" y="197"/>
                  </a:cubicBezTo>
                  <a:cubicBezTo>
                    <a:pt x="107" y="195"/>
                    <a:pt x="108" y="191"/>
                    <a:pt x="108" y="190"/>
                  </a:cubicBezTo>
                  <a:cubicBezTo>
                    <a:pt x="108" y="188"/>
                    <a:pt x="108" y="185"/>
                    <a:pt x="109" y="184"/>
                  </a:cubicBezTo>
                  <a:cubicBezTo>
                    <a:pt x="109" y="182"/>
                    <a:pt x="112" y="178"/>
                    <a:pt x="113" y="175"/>
                  </a:cubicBezTo>
                  <a:cubicBezTo>
                    <a:pt x="115" y="172"/>
                    <a:pt x="117" y="169"/>
                    <a:pt x="118" y="167"/>
                  </a:cubicBezTo>
                  <a:cubicBezTo>
                    <a:pt x="119" y="165"/>
                    <a:pt x="121" y="158"/>
                    <a:pt x="121" y="156"/>
                  </a:cubicBezTo>
                  <a:cubicBezTo>
                    <a:pt x="122" y="154"/>
                    <a:pt x="121" y="154"/>
                    <a:pt x="121" y="151"/>
                  </a:cubicBezTo>
                  <a:cubicBezTo>
                    <a:pt x="121" y="149"/>
                    <a:pt x="122" y="147"/>
                    <a:pt x="122" y="146"/>
                  </a:cubicBezTo>
                  <a:cubicBezTo>
                    <a:pt x="123" y="146"/>
                    <a:pt x="123" y="147"/>
                    <a:pt x="123" y="149"/>
                  </a:cubicBezTo>
                  <a:cubicBezTo>
                    <a:pt x="123" y="150"/>
                    <a:pt x="124" y="150"/>
                    <a:pt x="124" y="150"/>
                  </a:cubicBezTo>
                  <a:cubicBezTo>
                    <a:pt x="125" y="149"/>
                    <a:pt x="128" y="148"/>
                    <a:pt x="129" y="146"/>
                  </a:cubicBezTo>
                  <a:cubicBezTo>
                    <a:pt x="131" y="145"/>
                    <a:pt x="136" y="142"/>
                    <a:pt x="137" y="141"/>
                  </a:cubicBezTo>
                  <a:cubicBezTo>
                    <a:pt x="139" y="140"/>
                    <a:pt x="142" y="140"/>
                    <a:pt x="142" y="139"/>
                  </a:cubicBezTo>
                  <a:cubicBezTo>
                    <a:pt x="143" y="138"/>
                    <a:pt x="145" y="136"/>
                    <a:pt x="145" y="135"/>
                  </a:cubicBezTo>
                  <a:cubicBezTo>
                    <a:pt x="145" y="135"/>
                    <a:pt x="145" y="132"/>
                    <a:pt x="145" y="131"/>
                  </a:cubicBezTo>
                  <a:cubicBezTo>
                    <a:pt x="145" y="129"/>
                    <a:pt x="145" y="123"/>
                    <a:pt x="145" y="122"/>
                  </a:cubicBezTo>
                  <a:cubicBezTo>
                    <a:pt x="146" y="121"/>
                    <a:pt x="147" y="119"/>
                    <a:pt x="148" y="118"/>
                  </a:cubicBezTo>
                  <a:cubicBezTo>
                    <a:pt x="148" y="117"/>
                    <a:pt x="149" y="117"/>
                    <a:pt x="149" y="116"/>
                  </a:cubicBezTo>
                  <a:cubicBezTo>
                    <a:pt x="149" y="115"/>
                    <a:pt x="149" y="112"/>
                    <a:pt x="149" y="111"/>
                  </a:cubicBezTo>
                  <a:cubicBezTo>
                    <a:pt x="149" y="110"/>
                    <a:pt x="150" y="109"/>
                    <a:pt x="150" y="108"/>
                  </a:cubicBezTo>
                  <a:cubicBezTo>
                    <a:pt x="151" y="108"/>
                    <a:pt x="152" y="104"/>
                    <a:pt x="152" y="103"/>
                  </a:cubicBezTo>
                  <a:cubicBezTo>
                    <a:pt x="153" y="102"/>
                    <a:pt x="154" y="100"/>
                    <a:pt x="155" y="99"/>
                  </a:cubicBezTo>
                  <a:cubicBezTo>
                    <a:pt x="157" y="98"/>
                    <a:pt x="159" y="96"/>
                    <a:pt x="160" y="95"/>
                  </a:cubicBezTo>
                  <a:cubicBezTo>
                    <a:pt x="160" y="94"/>
                    <a:pt x="160" y="94"/>
                    <a:pt x="159" y="94"/>
                  </a:cubicBez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70" name="Freeform 66">
              <a:extLst>
                <a:ext uri="{FF2B5EF4-FFF2-40B4-BE49-F238E27FC236}">
                  <a16:creationId xmlns:a16="http://schemas.microsoft.com/office/drawing/2014/main" id="{636885BE-35D4-6360-6263-193258A5A3C4}"/>
                </a:ext>
              </a:extLst>
            </p:cNvPr>
            <p:cNvSpPr>
              <a:spLocks/>
            </p:cNvSpPr>
            <p:nvPr/>
          </p:nvSpPr>
          <p:spPr bwMode="auto">
            <a:xfrm>
              <a:off x="4298950" y="5810250"/>
              <a:ext cx="639762" cy="590550"/>
            </a:xfrm>
            <a:custGeom>
              <a:avLst/>
              <a:gdLst>
                <a:gd name="T0" fmla="*/ 1044122049 w 168"/>
                <a:gd name="T1" fmla="*/ 159677100 h 155"/>
                <a:gd name="T2" fmla="*/ 971611881 w 168"/>
                <a:gd name="T3" fmla="*/ 275805900 h 155"/>
                <a:gd name="T4" fmla="*/ 1160136033 w 168"/>
                <a:gd name="T5" fmla="*/ 377418600 h 155"/>
                <a:gd name="T6" fmla="*/ 986113153 w 168"/>
                <a:gd name="T7" fmla="*/ 783869400 h 155"/>
                <a:gd name="T8" fmla="*/ 0 w 168"/>
                <a:gd name="T9" fmla="*/ 1161288000 h 155"/>
                <a:gd name="T10" fmla="*/ 14501272 w 168"/>
                <a:gd name="T11" fmla="*/ 1161288000 h 155"/>
                <a:gd name="T12" fmla="*/ 1508174177 w 168"/>
                <a:gd name="T13" fmla="*/ 2147483646 h 155"/>
                <a:gd name="T14" fmla="*/ 1551677993 w 168"/>
                <a:gd name="T15" fmla="*/ 2147483646 h 155"/>
                <a:gd name="T16" fmla="*/ 1595185617 w 168"/>
                <a:gd name="T17" fmla="*/ 2147483646 h 155"/>
                <a:gd name="T18" fmla="*/ 1696698329 w 168"/>
                <a:gd name="T19" fmla="*/ 2061286200 h 155"/>
                <a:gd name="T20" fmla="*/ 1754703417 w 168"/>
                <a:gd name="T21" fmla="*/ 2032254000 h 155"/>
                <a:gd name="T22" fmla="*/ 1740202145 w 168"/>
                <a:gd name="T23" fmla="*/ 2090318400 h 155"/>
                <a:gd name="T24" fmla="*/ 1725700873 w 168"/>
                <a:gd name="T25" fmla="*/ 2147483646 h 155"/>
                <a:gd name="T26" fmla="*/ 1798207233 w 168"/>
                <a:gd name="T27" fmla="*/ 2147483646 h 155"/>
                <a:gd name="T28" fmla="*/ 1841714858 w 168"/>
                <a:gd name="T29" fmla="*/ 2147483646 h 155"/>
                <a:gd name="T30" fmla="*/ 1914221218 w 168"/>
                <a:gd name="T31" fmla="*/ 2147483646 h 155"/>
                <a:gd name="T32" fmla="*/ 1943223762 w 168"/>
                <a:gd name="T33" fmla="*/ 2119350600 h 155"/>
                <a:gd name="T34" fmla="*/ 1928722490 w 168"/>
                <a:gd name="T35" fmla="*/ 2075802300 h 155"/>
                <a:gd name="T36" fmla="*/ 1914221218 w 168"/>
                <a:gd name="T37" fmla="*/ 2003221800 h 155"/>
                <a:gd name="T38" fmla="*/ 1943223762 w 168"/>
                <a:gd name="T39" fmla="*/ 2017737900 h 155"/>
                <a:gd name="T40" fmla="*/ 1986731386 w 168"/>
                <a:gd name="T41" fmla="*/ 2046770100 h 155"/>
                <a:gd name="T42" fmla="*/ 2030235202 w 168"/>
                <a:gd name="T43" fmla="*/ 2017737900 h 155"/>
                <a:gd name="T44" fmla="*/ 2059237746 w 168"/>
                <a:gd name="T45" fmla="*/ 1945157400 h 155"/>
                <a:gd name="T46" fmla="*/ 2088240290 w 168"/>
                <a:gd name="T47" fmla="*/ 1858060800 h 155"/>
                <a:gd name="T48" fmla="*/ 2102745370 w 168"/>
                <a:gd name="T49" fmla="*/ 1785480300 h 155"/>
                <a:gd name="T50" fmla="*/ 2146249186 w 168"/>
                <a:gd name="T51" fmla="*/ 1770964200 h 155"/>
                <a:gd name="T52" fmla="*/ 2147483646 w 168"/>
                <a:gd name="T53" fmla="*/ 1741932000 h 155"/>
                <a:gd name="T54" fmla="*/ 2147483646 w 168"/>
                <a:gd name="T55" fmla="*/ 1683867600 h 155"/>
                <a:gd name="T56" fmla="*/ 2147483646 w 168"/>
                <a:gd name="T57" fmla="*/ 1379029500 h 155"/>
                <a:gd name="T58" fmla="*/ 2147483646 w 168"/>
                <a:gd name="T59" fmla="*/ 1248384600 h 155"/>
                <a:gd name="T60" fmla="*/ 2147483646 w 168"/>
                <a:gd name="T61" fmla="*/ 1132255800 h 155"/>
                <a:gd name="T62" fmla="*/ 2147483646 w 168"/>
                <a:gd name="T63" fmla="*/ 1030643100 h 155"/>
                <a:gd name="T64" fmla="*/ 2147483646 w 168"/>
                <a:gd name="T65" fmla="*/ 827417700 h 155"/>
                <a:gd name="T66" fmla="*/ 2044736474 w 168"/>
                <a:gd name="T67" fmla="*/ 580644000 h 155"/>
                <a:gd name="T68" fmla="*/ 1885218674 w 168"/>
                <a:gd name="T69" fmla="*/ 479031300 h 155"/>
                <a:gd name="T70" fmla="*/ 1899719946 w 168"/>
                <a:gd name="T71" fmla="*/ 391934700 h 155"/>
                <a:gd name="T72" fmla="*/ 1899719946 w 168"/>
                <a:gd name="T73" fmla="*/ 348386400 h 155"/>
                <a:gd name="T74" fmla="*/ 1812708505 w 168"/>
                <a:gd name="T75" fmla="*/ 290322000 h 155"/>
                <a:gd name="T76" fmla="*/ 1812708505 w 168"/>
                <a:gd name="T77" fmla="*/ 87096600 h 155"/>
                <a:gd name="T78" fmla="*/ 1754703417 w 168"/>
                <a:gd name="T79" fmla="*/ 0 h 155"/>
                <a:gd name="T80" fmla="*/ 1290651289 w 168"/>
                <a:gd name="T81" fmla="*/ 0 h 155"/>
                <a:gd name="T82" fmla="*/ 1218141121 w 168"/>
                <a:gd name="T83" fmla="*/ 246773700 h 155"/>
                <a:gd name="T84" fmla="*/ 1044122049 w 168"/>
                <a:gd name="T85" fmla="*/ 15967710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8" h="155">
                  <a:moveTo>
                    <a:pt x="72" y="11"/>
                  </a:moveTo>
                  <a:cubicBezTo>
                    <a:pt x="67" y="19"/>
                    <a:pt x="67" y="19"/>
                    <a:pt x="67" y="19"/>
                  </a:cubicBezTo>
                  <a:cubicBezTo>
                    <a:pt x="80" y="26"/>
                    <a:pt x="80" y="26"/>
                    <a:pt x="80" y="26"/>
                  </a:cubicBezTo>
                  <a:cubicBezTo>
                    <a:pt x="68" y="54"/>
                    <a:pt x="68" y="54"/>
                    <a:pt x="68" y="54"/>
                  </a:cubicBezTo>
                  <a:cubicBezTo>
                    <a:pt x="0" y="80"/>
                    <a:pt x="0" y="80"/>
                    <a:pt x="0" y="80"/>
                  </a:cubicBezTo>
                  <a:cubicBezTo>
                    <a:pt x="1" y="80"/>
                    <a:pt x="1" y="80"/>
                    <a:pt x="1" y="80"/>
                  </a:cubicBezTo>
                  <a:cubicBezTo>
                    <a:pt x="104" y="153"/>
                    <a:pt x="104" y="153"/>
                    <a:pt x="104" y="153"/>
                  </a:cubicBezTo>
                  <a:cubicBezTo>
                    <a:pt x="104" y="153"/>
                    <a:pt x="107" y="155"/>
                    <a:pt x="107" y="154"/>
                  </a:cubicBezTo>
                  <a:cubicBezTo>
                    <a:pt x="108" y="154"/>
                    <a:pt x="109" y="152"/>
                    <a:pt x="110" y="151"/>
                  </a:cubicBezTo>
                  <a:cubicBezTo>
                    <a:pt x="110" y="150"/>
                    <a:pt x="116" y="144"/>
                    <a:pt x="117" y="142"/>
                  </a:cubicBezTo>
                  <a:cubicBezTo>
                    <a:pt x="119" y="140"/>
                    <a:pt x="120" y="140"/>
                    <a:pt x="121" y="140"/>
                  </a:cubicBezTo>
                  <a:cubicBezTo>
                    <a:pt x="122" y="140"/>
                    <a:pt x="121" y="142"/>
                    <a:pt x="120" y="144"/>
                  </a:cubicBezTo>
                  <a:cubicBezTo>
                    <a:pt x="120" y="146"/>
                    <a:pt x="119" y="147"/>
                    <a:pt x="119" y="148"/>
                  </a:cubicBezTo>
                  <a:cubicBezTo>
                    <a:pt x="119" y="149"/>
                    <a:pt x="122" y="149"/>
                    <a:pt x="124" y="149"/>
                  </a:cubicBezTo>
                  <a:cubicBezTo>
                    <a:pt x="125" y="149"/>
                    <a:pt x="126" y="150"/>
                    <a:pt x="127" y="150"/>
                  </a:cubicBezTo>
                  <a:cubicBezTo>
                    <a:pt x="128" y="150"/>
                    <a:pt x="131" y="149"/>
                    <a:pt x="132" y="149"/>
                  </a:cubicBezTo>
                  <a:cubicBezTo>
                    <a:pt x="133" y="148"/>
                    <a:pt x="134" y="147"/>
                    <a:pt x="134" y="146"/>
                  </a:cubicBezTo>
                  <a:cubicBezTo>
                    <a:pt x="134" y="144"/>
                    <a:pt x="133" y="144"/>
                    <a:pt x="133" y="143"/>
                  </a:cubicBezTo>
                  <a:cubicBezTo>
                    <a:pt x="132" y="143"/>
                    <a:pt x="132" y="140"/>
                    <a:pt x="132" y="138"/>
                  </a:cubicBezTo>
                  <a:cubicBezTo>
                    <a:pt x="131" y="137"/>
                    <a:pt x="133" y="139"/>
                    <a:pt x="134" y="139"/>
                  </a:cubicBezTo>
                  <a:cubicBezTo>
                    <a:pt x="134" y="139"/>
                    <a:pt x="136" y="141"/>
                    <a:pt x="137" y="141"/>
                  </a:cubicBezTo>
                  <a:cubicBezTo>
                    <a:pt x="138" y="142"/>
                    <a:pt x="139" y="141"/>
                    <a:pt x="140" y="139"/>
                  </a:cubicBezTo>
                  <a:cubicBezTo>
                    <a:pt x="141" y="137"/>
                    <a:pt x="141" y="136"/>
                    <a:pt x="142" y="134"/>
                  </a:cubicBezTo>
                  <a:cubicBezTo>
                    <a:pt x="142" y="132"/>
                    <a:pt x="143" y="130"/>
                    <a:pt x="144" y="128"/>
                  </a:cubicBezTo>
                  <a:cubicBezTo>
                    <a:pt x="144" y="126"/>
                    <a:pt x="145" y="124"/>
                    <a:pt x="145" y="123"/>
                  </a:cubicBezTo>
                  <a:cubicBezTo>
                    <a:pt x="146" y="122"/>
                    <a:pt x="147" y="122"/>
                    <a:pt x="148" y="122"/>
                  </a:cubicBezTo>
                  <a:cubicBezTo>
                    <a:pt x="148" y="121"/>
                    <a:pt x="151" y="121"/>
                    <a:pt x="151" y="120"/>
                  </a:cubicBezTo>
                  <a:cubicBezTo>
                    <a:pt x="151" y="120"/>
                    <a:pt x="153" y="117"/>
                    <a:pt x="154" y="116"/>
                  </a:cubicBezTo>
                  <a:cubicBezTo>
                    <a:pt x="155" y="114"/>
                    <a:pt x="158" y="100"/>
                    <a:pt x="160" y="95"/>
                  </a:cubicBezTo>
                  <a:cubicBezTo>
                    <a:pt x="162" y="91"/>
                    <a:pt x="163" y="88"/>
                    <a:pt x="164" y="86"/>
                  </a:cubicBezTo>
                  <a:cubicBezTo>
                    <a:pt x="165" y="84"/>
                    <a:pt x="166" y="81"/>
                    <a:pt x="168" y="78"/>
                  </a:cubicBezTo>
                  <a:cubicBezTo>
                    <a:pt x="166" y="75"/>
                    <a:pt x="163" y="72"/>
                    <a:pt x="162" y="71"/>
                  </a:cubicBezTo>
                  <a:cubicBezTo>
                    <a:pt x="161" y="70"/>
                    <a:pt x="153" y="58"/>
                    <a:pt x="153" y="57"/>
                  </a:cubicBezTo>
                  <a:cubicBezTo>
                    <a:pt x="153" y="57"/>
                    <a:pt x="141" y="40"/>
                    <a:pt x="141" y="40"/>
                  </a:cubicBezTo>
                  <a:cubicBezTo>
                    <a:pt x="141" y="40"/>
                    <a:pt x="130" y="33"/>
                    <a:pt x="130" y="33"/>
                  </a:cubicBezTo>
                  <a:cubicBezTo>
                    <a:pt x="130" y="33"/>
                    <a:pt x="131" y="27"/>
                    <a:pt x="131" y="27"/>
                  </a:cubicBezTo>
                  <a:cubicBezTo>
                    <a:pt x="131" y="24"/>
                    <a:pt x="131" y="24"/>
                    <a:pt x="131" y="24"/>
                  </a:cubicBezTo>
                  <a:cubicBezTo>
                    <a:pt x="125" y="20"/>
                    <a:pt x="125" y="20"/>
                    <a:pt x="125" y="20"/>
                  </a:cubicBezTo>
                  <a:cubicBezTo>
                    <a:pt x="125" y="6"/>
                    <a:pt x="125" y="6"/>
                    <a:pt x="125" y="6"/>
                  </a:cubicBezTo>
                  <a:cubicBezTo>
                    <a:pt x="121" y="0"/>
                    <a:pt x="121" y="0"/>
                    <a:pt x="121" y="0"/>
                  </a:cubicBezTo>
                  <a:cubicBezTo>
                    <a:pt x="89" y="0"/>
                    <a:pt x="89" y="0"/>
                    <a:pt x="89" y="0"/>
                  </a:cubicBezTo>
                  <a:cubicBezTo>
                    <a:pt x="84" y="17"/>
                    <a:pt x="84" y="17"/>
                    <a:pt x="84" y="17"/>
                  </a:cubicBezTo>
                  <a:lnTo>
                    <a:pt x="72" y="11"/>
                  </a:lnTo>
                  <a:close/>
                </a:path>
              </a:pathLst>
            </a:custGeom>
            <a:solidFill>
              <a:srgbClr val="FCF3D2"/>
            </a:solidFill>
            <a:ln w="7938" cap="flat">
              <a:solidFill>
                <a:schemeClr val="accent5"/>
              </a:solidFill>
              <a:prstDash val="solid"/>
              <a:miter lim="800000"/>
              <a:headEnd/>
              <a:tailEnd/>
            </a:ln>
          </p:spPr>
          <p:txBody>
            <a:bodyPr/>
            <a:lstStyle/>
            <a:p>
              <a:endParaRPr lang="ru-RU"/>
            </a:p>
          </p:txBody>
        </p:sp>
        <p:sp>
          <p:nvSpPr>
            <p:cNvPr id="71" name="Freeform 67">
              <a:extLst>
                <a:ext uri="{FF2B5EF4-FFF2-40B4-BE49-F238E27FC236}">
                  <a16:creationId xmlns:a16="http://schemas.microsoft.com/office/drawing/2014/main" id="{99785432-CA3B-A9B1-3E5B-E37613A28073}"/>
                </a:ext>
              </a:extLst>
            </p:cNvPr>
            <p:cNvSpPr>
              <a:spLocks/>
            </p:cNvSpPr>
            <p:nvPr/>
          </p:nvSpPr>
          <p:spPr bwMode="auto">
            <a:xfrm>
              <a:off x="4886325" y="5988050"/>
              <a:ext cx="98425" cy="119063"/>
            </a:xfrm>
            <a:custGeom>
              <a:avLst/>
              <a:gdLst>
                <a:gd name="T0" fmla="*/ 272281406 w 26"/>
                <a:gd name="T1" fmla="*/ 0 h 31"/>
                <a:gd name="T2" fmla="*/ 200628006 w 26"/>
                <a:gd name="T3" fmla="*/ 29500739 h 31"/>
                <a:gd name="T4" fmla="*/ 157635209 w 26"/>
                <a:gd name="T5" fmla="*/ 73757608 h 31"/>
                <a:gd name="T6" fmla="*/ 85981809 w 26"/>
                <a:gd name="T7" fmla="*/ 73757608 h 31"/>
                <a:gd name="T8" fmla="*/ 57321206 w 26"/>
                <a:gd name="T9" fmla="*/ 118010637 h 31"/>
                <a:gd name="T10" fmla="*/ 0 w 26"/>
                <a:gd name="T11" fmla="*/ 191768245 h 31"/>
                <a:gd name="T12" fmla="*/ 114646197 w 26"/>
                <a:gd name="T13" fmla="*/ 354031910 h 31"/>
                <a:gd name="T14" fmla="*/ 200628006 w 26"/>
                <a:gd name="T15" fmla="*/ 457290257 h 31"/>
                <a:gd name="T16" fmla="*/ 214960200 w 26"/>
                <a:gd name="T17" fmla="*/ 398284939 h 31"/>
                <a:gd name="T18" fmla="*/ 214960200 w 26"/>
                <a:gd name="T19" fmla="*/ 324527331 h 31"/>
                <a:gd name="T20" fmla="*/ 200628006 w 26"/>
                <a:gd name="T21" fmla="*/ 265522012 h 31"/>
                <a:gd name="T22" fmla="*/ 214960200 w 26"/>
                <a:gd name="T23" fmla="*/ 221268984 h 31"/>
                <a:gd name="T24" fmla="*/ 243620803 w 26"/>
                <a:gd name="T25" fmla="*/ 206516694 h 31"/>
                <a:gd name="T26" fmla="*/ 243620803 w 26"/>
                <a:gd name="T27" fmla="*/ 280274302 h 31"/>
                <a:gd name="T28" fmla="*/ 272281406 w 26"/>
                <a:gd name="T29" fmla="*/ 309778882 h 31"/>
                <a:gd name="T30" fmla="*/ 300942009 w 26"/>
                <a:gd name="T31" fmla="*/ 265522012 h 31"/>
                <a:gd name="T32" fmla="*/ 343934806 w 26"/>
                <a:gd name="T33" fmla="*/ 206516694 h 31"/>
                <a:gd name="T34" fmla="*/ 372595409 w 26"/>
                <a:gd name="T35" fmla="*/ 132762926 h 31"/>
                <a:gd name="T36" fmla="*/ 315274203 w 26"/>
                <a:gd name="T37" fmla="*/ 59005318 h 31"/>
                <a:gd name="T38" fmla="*/ 272281406 w 26"/>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31">
                  <a:moveTo>
                    <a:pt x="19" y="0"/>
                  </a:moveTo>
                  <a:cubicBezTo>
                    <a:pt x="19" y="0"/>
                    <a:pt x="14" y="2"/>
                    <a:pt x="14" y="2"/>
                  </a:cubicBezTo>
                  <a:cubicBezTo>
                    <a:pt x="14" y="2"/>
                    <a:pt x="11" y="5"/>
                    <a:pt x="11" y="5"/>
                  </a:cubicBezTo>
                  <a:cubicBezTo>
                    <a:pt x="11" y="5"/>
                    <a:pt x="6" y="5"/>
                    <a:pt x="6" y="5"/>
                  </a:cubicBezTo>
                  <a:cubicBezTo>
                    <a:pt x="6" y="5"/>
                    <a:pt x="4" y="7"/>
                    <a:pt x="4" y="8"/>
                  </a:cubicBezTo>
                  <a:cubicBezTo>
                    <a:pt x="4" y="8"/>
                    <a:pt x="2" y="11"/>
                    <a:pt x="0" y="13"/>
                  </a:cubicBezTo>
                  <a:cubicBezTo>
                    <a:pt x="3" y="16"/>
                    <a:pt x="8" y="23"/>
                    <a:pt x="8" y="24"/>
                  </a:cubicBezTo>
                  <a:cubicBezTo>
                    <a:pt x="9" y="25"/>
                    <a:pt x="12" y="28"/>
                    <a:pt x="14" y="31"/>
                  </a:cubicBezTo>
                  <a:cubicBezTo>
                    <a:pt x="14" y="29"/>
                    <a:pt x="15" y="28"/>
                    <a:pt x="15" y="27"/>
                  </a:cubicBezTo>
                  <a:cubicBezTo>
                    <a:pt x="16" y="25"/>
                    <a:pt x="15" y="24"/>
                    <a:pt x="15" y="22"/>
                  </a:cubicBezTo>
                  <a:cubicBezTo>
                    <a:pt x="15" y="21"/>
                    <a:pt x="15" y="20"/>
                    <a:pt x="14" y="18"/>
                  </a:cubicBezTo>
                  <a:cubicBezTo>
                    <a:pt x="13" y="16"/>
                    <a:pt x="14" y="17"/>
                    <a:pt x="15" y="15"/>
                  </a:cubicBezTo>
                  <a:cubicBezTo>
                    <a:pt x="15" y="13"/>
                    <a:pt x="16" y="14"/>
                    <a:pt x="17" y="14"/>
                  </a:cubicBezTo>
                  <a:cubicBezTo>
                    <a:pt x="18" y="15"/>
                    <a:pt x="17" y="18"/>
                    <a:pt x="17" y="19"/>
                  </a:cubicBezTo>
                  <a:cubicBezTo>
                    <a:pt x="17" y="20"/>
                    <a:pt x="18" y="20"/>
                    <a:pt x="19" y="21"/>
                  </a:cubicBezTo>
                  <a:cubicBezTo>
                    <a:pt x="20" y="21"/>
                    <a:pt x="20" y="20"/>
                    <a:pt x="21" y="18"/>
                  </a:cubicBezTo>
                  <a:cubicBezTo>
                    <a:pt x="22" y="17"/>
                    <a:pt x="23" y="15"/>
                    <a:pt x="24" y="14"/>
                  </a:cubicBezTo>
                  <a:cubicBezTo>
                    <a:pt x="24" y="13"/>
                    <a:pt x="25" y="11"/>
                    <a:pt x="26" y="9"/>
                  </a:cubicBezTo>
                  <a:cubicBezTo>
                    <a:pt x="25" y="7"/>
                    <a:pt x="23" y="4"/>
                    <a:pt x="22" y="4"/>
                  </a:cubicBezTo>
                  <a:cubicBezTo>
                    <a:pt x="22" y="3"/>
                    <a:pt x="19" y="0"/>
                    <a:pt x="19" y="0"/>
                  </a:cubicBezTo>
                  <a:close/>
                </a:path>
              </a:pathLst>
            </a:custGeom>
            <a:grpFill/>
            <a:ln w="7938" cap="flat">
              <a:solidFill>
                <a:schemeClr val="accent5"/>
              </a:solidFill>
              <a:prstDash val="solid"/>
              <a:miter lim="800000"/>
              <a:headEnd/>
              <a:tailEnd/>
            </a:ln>
          </p:spPr>
          <p:txBody>
            <a:bodyPr/>
            <a:lstStyle/>
            <a:p>
              <a:endParaRPr lang="ru-RU"/>
            </a:p>
          </p:txBody>
        </p:sp>
      </p:grpSp>
      <p:sp>
        <p:nvSpPr>
          <p:cNvPr id="72" name="Rectangle 71">
            <a:extLst>
              <a:ext uri="{FF2B5EF4-FFF2-40B4-BE49-F238E27FC236}">
                <a16:creationId xmlns:a16="http://schemas.microsoft.com/office/drawing/2014/main" id="{5C57D959-BF6A-4AD5-2950-973AA7F0B735}"/>
              </a:ext>
            </a:extLst>
          </p:cNvPr>
          <p:cNvSpPr/>
          <p:nvPr/>
        </p:nvSpPr>
        <p:spPr bwMode="gray">
          <a:xfrm>
            <a:off x="9880600" y="3044826"/>
            <a:ext cx="720725" cy="250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700" i="1" dirty="0">
                <a:solidFill>
                  <a:schemeClr val="tx1"/>
                </a:solidFill>
              </a:rPr>
              <a:t>Estimate</a:t>
            </a:r>
          </a:p>
        </p:txBody>
      </p:sp>
      <p:sp>
        <p:nvSpPr>
          <p:cNvPr id="73" name="Rectangular Callout 72">
            <a:extLst>
              <a:ext uri="{FF2B5EF4-FFF2-40B4-BE49-F238E27FC236}">
                <a16:creationId xmlns:a16="http://schemas.microsoft.com/office/drawing/2014/main" id="{84590544-8FB9-838E-5B09-2454F4A527D1}"/>
              </a:ext>
            </a:extLst>
          </p:cNvPr>
          <p:cNvSpPr/>
          <p:nvPr/>
        </p:nvSpPr>
        <p:spPr bwMode="gray">
          <a:xfrm>
            <a:off x="5689601" y="4481513"/>
            <a:ext cx="1501775" cy="650875"/>
          </a:xfrm>
          <a:prstGeom prst="wedgeRectCallout">
            <a:avLst>
              <a:gd name="adj1" fmla="val 53508"/>
              <a:gd name="adj2" fmla="val -115155"/>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b="1" dirty="0">
                <a:solidFill>
                  <a:schemeClr val="tx1"/>
                </a:solidFill>
              </a:rPr>
              <a:t>Menengai, Kenya</a:t>
            </a:r>
          </a:p>
          <a:p>
            <a:pPr>
              <a:spcBef>
                <a:spcPts val="0"/>
              </a:spcBef>
            </a:pPr>
            <a:r>
              <a:rPr lang="en-US" sz="800" dirty="0">
                <a:solidFill>
                  <a:schemeClr val="tx1"/>
                </a:solidFill>
              </a:rPr>
              <a:t>5 SHR wells drilled</a:t>
            </a:r>
          </a:p>
          <a:p>
            <a:pPr>
              <a:spcBef>
                <a:spcPts val="0"/>
              </a:spcBef>
            </a:pPr>
            <a:r>
              <a:rPr lang="en-US" sz="800" dirty="0">
                <a:solidFill>
                  <a:schemeClr val="tx1"/>
                </a:solidFill>
              </a:rPr>
              <a:t>Deepest well: 2,196 meters</a:t>
            </a:r>
          </a:p>
          <a:p>
            <a:pPr>
              <a:spcBef>
                <a:spcPts val="0"/>
              </a:spcBef>
            </a:pPr>
            <a:r>
              <a:rPr lang="en-US" sz="800" dirty="0">
                <a:solidFill>
                  <a:schemeClr val="tx1"/>
                </a:solidFill>
              </a:rPr>
              <a:t>Hottest well = 400</a:t>
            </a:r>
            <a:r>
              <a:rPr lang="en-US" sz="800" dirty="0">
                <a:solidFill>
                  <a:schemeClr val="tx1"/>
                </a:solidFill>
                <a:latin typeface="Times New Roman" panose="02020603050405020304" pitchFamily="18" charset="0"/>
                <a:cs typeface="Times New Roman" panose="02020603050405020304" pitchFamily="18" charset="0"/>
              </a:rPr>
              <a:t>℃</a:t>
            </a:r>
            <a:endParaRPr lang="en-US" sz="800" dirty="0">
              <a:solidFill>
                <a:schemeClr val="tx1"/>
              </a:solidFill>
            </a:endParaRPr>
          </a:p>
        </p:txBody>
      </p:sp>
      <p:sp>
        <p:nvSpPr>
          <p:cNvPr id="74" name="Rectangle 73">
            <a:extLst>
              <a:ext uri="{FF2B5EF4-FFF2-40B4-BE49-F238E27FC236}">
                <a16:creationId xmlns:a16="http://schemas.microsoft.com/office/drawing/2014/main" id="{48824884-ED37-D32C-133E-024D2D4D7C99}"/>
              </a:ext>
            </a:extLst>
          </p:cNvPr>
          <p:cNvSpPr/>
          <p:nvPr/>
        </p:nvSpPr>
        <p:spPr bwMode="gray">
          <a:xfrm>
            <a:off x="7213600" y="2124634"/>
            <a:ext cx="652463" cy="3060700"/>
          </a:xfrm>
          <a:prstGeom prst="rect">
            <a:avLst/>
          </a:pr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Oval 74">
            <a:extLst>
              <a:ext uri="{FF2B5EF4-FFF2-40B4-BE49-F238E27FC236}">
                <a16:creationId xmlns:a16="http://schemas.microsoft.com/office/drawing/2014/main" id="{AADE3D3E-570C-FB86-84B2-275BB1404294}"/>
              </a:ext>
            </a:extLst>
          </p:cNvPr>
          <p:cNvSpPr/>
          <p:nvPr/>
        </p:nvSpPr>
        <p:spPr bwMode="gray">
          <a:xfrm>
            <a:off x="6970713" y="4038600"/>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Oval 75">
            <a:extLst>
              <a:ext uri="{FF2B5EF4-FFF2-40B4-BE49-F238E27FC236}">
                <a16:creationId xmlns:a16="http://schemas.microsoft.com/office/drawing/2014/main" id="{B0EFCE71-CF82-96AB-22BE-F29F27BA7358}"/>
              </a:ext>
            </a:extLst>
          </p:cNvPr>
          <p:cNvSpPr/>
          <p:nvPr/>
        </p:nvSpPr>
        <p:spPr bwMode="gray">
          <a:xfrm>
            <a:off x="7246938" y="3500438"/>
            <a:ext cx="87313"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7" name="Oval 76">
            <a:extLst>
              <a:ext uri="{FF2B5EF4-FFF2-40B4-BE49-F238E27FC236}">
                <a16:creationId xmlns:a16="http://schemas.microsoft.com/office/drawing/2014/main" id="{5E044E38-A997-3A64-3F28-8A8DFD8F069A}"/>
              </a:ext>
            </a:extLst>
          </p:cNvPr>
          <p:cNvSpPr/>
          <p:nvPr/>
        </p:nvSpPr>
        <p:spPr bwMode="gray">
          <a:xfrm>
            <a:off x="7281863" y="3244850"/>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Oval 77">
            <a:extLst>
              <a:ext uri="{FF2B5EF4-FFF2-40B4-BE49-F238E27FC236}">
                <a16:creationId xmlns:a16="http://schemas.microsoft.com/office/drawing/2014/main" id="{3AAF6094-A10E-59C2-E051-5C9126E7232A}"/>
              </a:ext>
            </a:extLst>
          </p:cNvPr>
          <p:cNvSpPr/>
          <p:nvPr/>
        </p:nvSpPr>
        <p:spPr bwMode="gray">
          <a:xfrm>
            <a:off x="7610475" y="3675063"/>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Oval 78">
            <a:extLst>
              <a:ext uri="{FF2B5EF4-FFF2-40B4-BE49-F238E27FC236}">
                <a16:creationId xmlns:a16="http://schemas.microsoft.com/office/drawing/2014/main" id="{6AC303AB-7619-335E-232F-DBCEC7EC78E4}"/>
              </a:ext>
            </a:extLst>
          </p:cNvPr>
          <p:cNvSpPr/>
          <p:nvPr/>
        </p:nvSpPr>
        <p:spPr bwMode="gray">
          <a:xfrm>
            <a:off x="7715250" y="3732213"/>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Oval 79">
            <a:extLst>
              <a:ext uri="{FF2B5EF4-FFF2-40B4-BE49-F238E27FC236}">
                <a16:creationId xmlns:a16="http://schemas.microsoft.com/office/drawing/2014/main" id="{F76D5329-D228-4689-7E5B-71CC87DB771C}"/>
              </a:ext>
            </a:extLst>
          </p:cNvPr>
          <p:cNvSpPr/>
          <p:nvPr/>
        </p:nvSpPr>
        <p:spPr bwMode="gray">
          <a:xfrm>
            <a:off x="7696200" y="3848100"/>
            <a:ext cx="87313"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Oval 80">
            <a:extLst>
              <a:ext uri="{FF2B5EF4-FFF2-40B4-BE49-F238E27FC236}">
                <a16:creationId xmlns:a16="http://schemas.microsoft.com/office/drawing/2014/main" id="{9A12C4DC-C82A-336A-90FB-A88F2766492E}"/>
              </a:ext>
            </a:extLst>
          </p:cNvPr>
          <p:cNvSpPr/>
          <p:nvPr/>
        </p:nvSpPr>
        <p:spPr bwMode="gray">
          <a:xfrm>
            <a:off x="7789863" y="3803650"/>
            <a:ext cx="87313"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Oval 81">
            <a:extLst>
              <a:ext uri="{FF2B5EF4-FFF2-40B4-BE49-F238E27FC236}">
                <a16:creationId xmlns:a16="http://schemas.microsoft.com/office/drawing/2014/main" id="{5E7F9422-17DC-3CAC-7769-9D7661B20EAB}"/>
              </a:ext>
            </a:extLst>
          </p:cNvPr>
          <p:cNvSpPr/>
          <p:nvPr/>
        </p:nvSpPr>
        <p:spPr bwMode="gray">
          <a:xfrm>
            <a:off x="7866063" y="3876675"/>
            <a:ext cx="87313"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3" name="Oval 82">
            <a:extLst>
              <a:ext uri="{FF2B5EF4-FFF2-40B4-BE49-F238E27FC236}">
                <a16:creationId xmlns:a16="http://schemas.microsoft.com/office/drawing/2014/main" id="{618E6979-4667-AEB5-8A20-7FE3A3144330}"/>
              </a:ext>
            </a:extLst>
          </p:cNvPr>
          <p:cNvSpPr/>
          <p:nvPr/>
        </p:nvSpPr>
        <p:spPr bwMode="gray">
          <a:xfrm flipV="1">
            <a:off x="7927975" y="3873500"/>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Oval 83">
            <a:extLst>
              <a:ext uri="{FF2B5EF4-FFF2-40B4-BE49-F238E27FC236}">
                <a16:creationId xmlns:a16="http://schemas.microsoft.com/office/drawing/2014/main" id="{360E6262-30B6-2D19-E0FB-117FAC5C86E1}"/>
              </a:ext>
            </a:extLst>
          </p:cNvPr>
          <p:cNvSpPr/>
          <p:nvPr/>
        </p:nvSpPr>
        <p:spPr bwMode="gray">
          <a:xfrm flipV="1">
            <a:off x="7959725" y="3827463"/>
            <a:ext cx="87313" cy="85725"/>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5" name="Oval 84">
            <a:extLst>
              <a:ext uri="{FF2B5EF4-FFF2-40B4-BE49-F238E27FC236}">
                <a16:creationId xmlns:a16="http://schemas.microsoft.com/office/drawing/2014/main" id="{7CD9B01F-8999-B29F-7F50-C130D0CA7C8A}"/>
              </a:ext>
            </a:extLst>
          </p:cNvPr>
          <p:cNvSpPr/>
          <p:nvPr/>
        </p:nvSpPr>
        <p:spPr bwMode="gray">
          <a:xfrm flipV="1">
            <a:off x="7959725" y="3781425"/>
            <a:ext cx="87313" cy="85725"/>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6" name="Oval 85">
            <a:extLst>
              <a:ext uri="{FF2B5EF4-FFF2-40B4-BE49-F238E27FC236}">
                <a16:creationId xmlns:a16="http://schemas.microsoft.com/office/drawing/2014/main" id="{7AE63CE8-52D1-5B55-1AD0-1CA8F0B402DE}"/>
              </a:ext>
            </a:extLst>
          </p:cNvPr>
          <p:cNvSpPr/>
          <p:nvPr/>
        </p:nvSpPr>
        <p:spPr bwMode="gray">
          <a:xfrm flipV="1">
            <a:off x="10825163" y="2578100"/>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Rectangle 86">
            <a:extLst>
              <a:ext uri="{FF2B5EF4-FFF2-40B4-BE49-F238E27FC236}">
                <a16:creationId xmlns:a16="http://schemas.microsoft.com/office/drawing/2014/main" id="{7299B072-62BD-91C8-BFEB-EA7543DBA510}"/>
              </a:ext>
            </a:extLst>
          </p:cNvPr>
          <p:cNvSpPr/>
          <p:nvPr/>
        </p:nvSpPr>
        <p:spPr bwMode="gray">
          <a:xfrm>
            <a:off x="10929938" y="2581274"/>
            <a:ext cx="1128713" cy="650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Existing Hydrothermal</a:t>
            </a:r>
          </a:p>
        </p:txBody>
      </p:sp>
      <p:sp>
        <p:nvSpPr>
          <p:cNvPr id="88" name="Oval 87">
            <a:extLst>
              <a:ext uri="{FF2B5EF4-FFF2-40B4-BE49-F238E27FC236}">
                <a16:creationId xmlns:a16="http://schemas.microsoft.com/office/drawing/2014/main" id="{F0666E30-A33A-7C33-D48A-2AF6C2C58977}"/>
              </a:ext>
            </a:extLst>
          </p:cNvPr>
          <p:cNvSpPr/>
          <p:nvPr/>
        </p:nvSpPr>
        <p:spPr bwMode="gray">
          <a:xfrm>
            <a:off x="7204075" y="3997325"/>
            <a:ext cx="87313" cy="84138"/>
          </a:xfrm>
          <a:prstGeom prst="ellipse">
            <a:avLst/>
          </a:prstGeom>
          <a:solidFill>
            <a:schemeClr val="accent6"/>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Oval 88">
            <a:extLst>
              <a:ext uri="{FF2B5EF4-FFF2-40B4-BE49-F238E27FC236}">
                <a16:creationId xmlns:a16="http://schemas.microsoft.com/office/drawing/2014/main" id="{4397EEF7-5E20-E784-546D-04967C2A1001}"/>
              </a:ext>
            </a:extLst>
          </p:cNvPr>
          <p:cNvSpPr/>
          <p:nvPr/>
        </p:nvSpPr>
        <p:spPr bwMode="gray">
          <a:xfrm>
            <a:off x="10825163" y="2760663"/>
            <a:ext cx="85725" cy="84138"/>
          </a:xfrm>
          <a:prstGeom prst="ellipse">
            <a:avLst/>
          </a:prstGeom>
          <a:solidFill>
            <a:schemeClr val="accent6"/>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926F6A32-349F-7100-50EC-EA1C6ECC2217}"/>
              </a:ext>
            </a:extLst>
          </p:cNvPr>
          <p:cNvSpPr/>
          <p:nvPr/>
        </p:nvSpPr>
        <p:spPr bwMode="gray">
          <a:xfrm>
            <a:off x="10929938" y="2760663"/>
            <a:ext cx="1128713" cy="635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Superhot Rock</a:t>
            </a:r>
          </a:p>
        </p:txBody>
      </p:sp>
      <p:sp>
        <p:nvSpPr>
          <p:cNvPr id="91" name="Rectangle 90">
            <a:extLst>
              <a:ext uri="{FF2B5EF4-FFF2-40B4-BE49-F238E27FC236}">
                <a16:creationId xmlns:a16="http://schemas.microsoft.com/office/drawing/2014/main" id="{4721FFD3-BBC5-4240-D63F-5C0031FC6E33}"/>
              </a:ext>
            </a:extLst>
          </p:cNvPr>
          <p:cNvSpPr/>
          <p:nvPr>
            <p:custDataLst>
              <p:tags r:id="rId2"/>
            </p:custDataLst>
          </p:nvPr>
        </p:nvSpPr>
        <p:spPr bwMode="gray">
          <a:xfrm>
            <a:off x="324000" y="5415143"/>
            <a:ext cx="5010150" cy="83078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dirty="0">
              <a:solidFill>
                <a:schemeClr val="tx1"/>
              </a:solidFill>
            </a:endParaRPr>
          </a:p>
        </p:txBody>
      </p:sp>
      <p:sp>
        <p:nvSpPr>
          <p:cNvPr id="92" name="Rectangle 91">
            <a:extLst>
              <a:ext uri="{FF2B5EF4-FFF2-40B4-BE49-F238E27FC236}">
                <a16:creationId xmlns:a16="http://schemas.microsoft.com/office/drawing/2014/main" id="{A0658A9A-4427-1A64-BCAD-D480E74560FC}"/>
              </a:ext>
            </a:extLst>
          </p:cNvPr>
          <p:cNvSpPr/>
          <p:nvPr/>
        </p:nvSpPr>
        <p:spPr bwMode="gray">
          <a:xfrm>
            <a:off x="324000" y="5174936"/>
            <a:ext cx="5761205" cy="2365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b="1" dirty="0">
                <a:solidFill>
                  <a:schemeClr val="tx1"/>
                </a:solidFill>
              </a:rPr>
              <a:t>Kenya’s current national electricity mix </a:t>
            </a:r>
          </a:p>
        </p:txBody>
      </p:sp>
      <p:sp>
        <p:nvSpPr>
          <p:cNvPr id="93" name="Rectangle 92">
            <a:extLst>
              <a:ext uri="{FF2B5EF4-FFF2-40B4-BE49-F238E27FC236}">
                <a16:creationId xmlns:a16="http://schemas.microsoft.com/office/drawing/2014/main" id="{638300E6-ED6A-D05F-B6A2-FEC160457D64}"/>
              </a:ext>
            </a:extLst>
          </p:cNvPr>
          <p:cNvSpPr/>
          <p:nvPr>
            <p:custDataLst>
              <p:tags r:id="rId3"/>
            </p:custDataLst>
          </p:nvPr>
        </p:nvSpPr>
        <p:spPr bwMode="gray">
          <a:xfrm>
            <a:off x="3194454" y="5499100"/>
            <a:ext cx="1867966" cy="6985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i="1" dirty="0">
                <a:solidFill>
                  <a:schemeClr val="tx1"/>
                </a:solidFill>
              </a:rPr>
              <a:t>Geothermal comprises </a:t>
            </a:r>
            <a:r>
              <a:rPr lang="en-US" sz="1200" b="1" i="1" dirty="0">
                <a:solidFill>
                  <a:schemeClr val="tx1"/>
                </a:solidFill>
              </a:rPr>
              <a:t>43%</a:t>
            </a:r>
            <a:r>
              <a:rPr lang="en-US" sz="1200" i="1" dirty="0">
                <a:solidFill>
                  <a:schemeClr val="tx1"/>
                </a:solidFill>
              </a:rPr>
              <a:t> </a:t>
            </a:r>
            <a:br>
              <a:rPr lang="en-US" sz="1200" i="1" dirty="0">
                <a:solidFill>
                  <a:schemeClr val="tx1"/>
                </a:solidFill>
              </a:rPr>
            </a:br>
            <a:r>
              <a:rPr lang="en-US" sz="1000" i="1" dirty="0">
                <a:solidFill>
                  <a:schemeClr val="tx1"/>
                </a:solidFill>
              </a:rPr>
              <a:t>of total Kenyan electricity generation, 2024.</a:t>
            </a:r>
          </a:p>
        </p:txBody>
      </p:sp>
      <p:sp>
        <p:nvSpPr>
          <p:cNvPr id="94" name="Rectangle 93">
            <a:extLst>
              <a:ext uri="{FF2B5EF4-FFF2-40B4-BE49-F238E27FC236}">
                <a16:creationId xmlns:a16="http://schemas.microsoft.com/office/drawing/2014/main" id="{0B05F3DD-CB85-4E15-F567-4083CA882110}"/>
              </a:ext>
            </a:extLst>
          </p:cNvPr>
          <p:cNvSpPr/>
          <p:nvPr/>
        </p:nvSpPr>
        <p:spPr bwMode="gray">
          <a:xfrm>
            <a:off x="324000" y="2110003"/>
            <a:ext cx="5010767" cy="30754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5" name="Straight Arrow Connector 94">
            <a:extLst>
              <a:ext uri="{FF2B5EF4-FFF2-40B4-BE49-F238E27FC236}">
                <a16:creationId xmlns:a16="http://schemas.microsoft.com/office/drawing/2014/main" id="{687044F7-E9DE-DE06-E975-0DACBA8DE412}"/>
              </a:ext>
            </a:extLst>
          </p:cNvPr>
          <p:cNvCxnSpPr>
            <a:cxnSpLocks/>
          </p:cNvCxnSpPr>
          <p:nvPr/>
        </p:nvCxnSpPr>
        <p:spPr bwMode="gray">
          <a:xfrm>
            <a:off x="521209" y="2144713"/>
            <a:ext cx="0" cy="292624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6" name="Oval 95">
            <a:extLst>
              <a:ext uri="{FF2B5EF4-FFF2-40B4-BE49-F238E27FC236}">
                <a16:creationId xmlns:a16="http://schemas.microsoft.com/office/drawing/2014/main" id="{6A59C3E2-3A3A-8FA4-F308-66664B01553F}"/>
              </a:ext>
            </a:extLst>
          </p:cNvPr>
          <p:cNvSpPr/>
          <p:nvPr/>
        </p:nvSpPr>
        <p:spPr bwMode="gray">
          <a:xfrm>
            <a:off x="461707" y="2414161"/>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Rectangle 96">
            <a:extLst>
              <a:ext uri="{FF2B5EF4-FFF2-40B4-BE49-F238E27FC236}">
                <a16:creationId xmlns:a16="http://schemas.microsoft.com/office/drawing/2014/main" id="{5311A2E3-83D4-1E13-5E35-35F740F1FE3A}"/>
              </a:ext>
            </a:extLst>
          </p:cNvPr>
          <p:cNvSpPr/>
          <p:nvPr/>
        </p:nvSpPr>
        <p:spPr bwMode="gray">
          <a:xfrm>
            <a:off x="369318" y="2175512"/>
            <a:ext cx="645842"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77</a:t>
            </a:r>
          </a:p>
        </p:txBody>
      </p:sp>
      <p:sp>
        <p:nvSpPr>
          <p:cNvPr id="98" name="Rectangle 97">
            <a:extLst>
              <a:ext uri="{FF2B5EF4-FFF2-40B4-BE49-F238E27FC236}">
                <a16:creationId xmlns:a16="http://schemas.microsoft.com/office/drawing/2014/main" id="{9B425A35-292E-2540-DA7C-A59FE1EA9E91}"/>
              </a:ext>
            </a:extLst>
          </p:cNvPr>
          <p:cNvSpPr/>
          <p:nvPr/>
        </p:nvSpPr>
        <p:spPr bwMode="gray">
          <a:xfrm>
            <a:off x="334795" y="4466119"/>
            <a:ext cx="70359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b="1" dirty="0">
                <a:solidFill>
                  <a:schemeClr val="accent5"/>
                </a:solidFill>
              </a:rPr>
              <a:t>2024-25</a:t>
            </a:r>
          </a:p>
        </p:txBody>
      </p:sp>
      <p:sp>
        <p:nvSpPr>
          <p:cNvPr id="99" name="Rectangle 98">
            <a:extLst>
              <a:ext uri="{FF2B5EF4-FFF2-40B4-BE49-F238E27FC236}">
                <a16:creationId xmlns:a16="http://schemas.microsoft.com/office/drawing/2014/main" id="{F74E2299-01CC-3E1F-CACF-E895EB9C2086}"/>
              </a:ext>
            </a:extLst>
          </p:cNvPr>
          <p:cNvSpPr/>
          <p:nvPr/>
        </p:nvSpPr>
        <p:spPr bwMode="gray">
          <a:xfrm>
            <a:off x="717764" y="2731291"/>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100" name="Rectangle 99">
            <a:extLst>
              <a:ext uri="{FF2B5EF4-FFF2-40B4-BE49-F238E27FC236}">
                <a16:creationId xmlns:a16="http://schemas.microsoft.com/office/drawing/2014/main" id="{D00246DA-0933-D188-F53E-95EABDD796F4}"/>
              </a:ext>
            </a:extLst>
          </p:cNvPr>
          <p:cNvSpPr/>
          <p:nvPr/>
        </p:nvSpPr>
        <p:spPr bwMode="gray">
          <a:xfrm>
            <a:off x="788868" y="3861326"/>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101" name="Rectangle 100">
            <a:extLst>
              <a:ext uri="{FF2B5EF4-FFF2-40B4-BE49-F238E27FC236}">
                <a16:creationId xmlns:a16="http://schemas.microsoft.com/office/drawing/2014/main" id="{2107A6A7-8017-2E92-1A24-8EDC0D4695F8}"/>
              </a:ext>
            </a:extLst>
          </p:cNvPr>
          <p:cNvSpPr/>
          <p:nvPr/>
        </p:nvSpPr>
        <p:spPr bwMode="gray">
          <a:xfrm>
            <a:off x="743794" y="4378168"/>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102" name="Rectangle 101">
            <a:extLst>
              <a:ext uri="{FF2B5EF4-FFF2-40B4-BE49-F238E27FC236}">
                <a16:creationId xmlns:a16="http://schemas.microsoft.com/office/drawing/2014/main" id="{736B0A07-41AB-6C39-BB60-37C79E8A051F}"/>
              </a:ext>
            </a:extLst>
          </p:cNvPr>
          <p:cNvSpPr/>
          <p:nvPr/>
        </p:nvSpPr>
        <p:spPr bwMode="gray">
          <a:xfrm>
            <a:off x="355305" y="2795672"/>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82</a:t>
            </a:r>
          </a:p>
        </p:txBody>
      </p:sp>
      <p:sp>
        <p:nvSpPr>
          <p:cNvPr id="103" name="Rectangle 102">
            <a:extLst>
              <a:ext uri="{FF2B5EF4-FFF2-40B4-BE49-F238E27FC236}">
                <a16:creationId xmlns:a16="http://schemas.microsoft.com/office/drawing/2014/main" id="{73C8269F-F643-4278-801C-E8AD8DF9B726}"/>
              </a:ext>
            </a:extLst>
          </p:cNvPr>
          <p:cNvSpPr/>
          <p:nvPr/>
        </p:nvSpPr>
        <p:spPr bwMode="gray">
          <a:xfrm>
            <a:off x="788870" y="3299093"/>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b="1" dirty="0">
              <a:solidFill>
                <a:schemeClr val="tx1"/>
              </a:solidFill>
            </a:endParaRPr>
          </a:p>
        </p:txBody>
      </p:sp>
      <p:sp>
        <p:nvSpPr>
          <p:cNvPr id="104" name="Oval 103">
            <a:extLst>
              <a:ext uri="{FF2B5EF4-FFF2-40B4-BE49-F238E27FC236}">
                <a16:creationId xmlns:a16="http://schemas.microsoft.com/office/drawing/2014/main" id="{0E2E14F7-05F8-0BF2-0F8E-E96DE57B33DF}"/>
              </a:ext>
            </a:extLst>
          </p:cNvPr>
          <p:cNvSpPr/>
          <p:nvPr/>
        </p:nvSpPr>
        <p:spPr bwMode="gray">
          <a:xfrm>
            <a:off x="454691" y="3020151"/>
            <a:ext cx="133036" cy="118229"/>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Oval 104">
            <a:extLst>
              <a:ext uri="{FF2B5EF4-FFF2-40B4-BE49-F238E27FC236}">
                <a16:creationId xmlns:a16="http://schemas.microsoft.com/office/drawing/2014/main" id="{5321A667-EBF1-9E44-F018-937953A39858}"/>
              </a:ext>
            </a:extLst>
          </p:cNvPr>
          <p:cNvSpPr/>
          <p:nvPr/>
        </p:nvSpPr>
        <p:spPr bwMode="gray">
          <a:xfrm>
            <a:off x="454691" y="4773880"/>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Rectangle 105">
            <a:extLst>
              <a:ext uri="{FF2B5EF4-FFF2-40B4-BE49-F238E27FC236}">
                <a16:creationId xmlns:a16="http://schemas.microsoft.com/office/drawing/2014/main" id="{263A6344-B903-BCA0-E571-821450892DEE}"/>
              </a:ext>
            </a:extLst>
          </p:cNvPr>
          <p:cNvSpPr/>
          <p:nvPr/>
        </p:nvSpPr>
        <p:spPr bwMode="gray">
          <a:xfrm>
            <a:off x="772356" y="2182175"/>
            <a:ext cx="4443404" cy="4667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tx1"/>
                </a:solidFill>
              </a:rPr>
              <a:t>United Nations permits Kenya Power (KenGen) to take charge of first integration amid 1970 oil crisis.</a:t>
            </a:r>
          </a:p>
        </p:txBody>
      </p:sp>
      <p:sp>
        <p:nvSpPr>
          <p:cNvPr id="107" name="Rectangle 106">
            <a:extLst>
              <a:ext uri="{FF2B5EF4-FFF2-40B4-BE49-F238E27FC236}">
                <a16:creationId xmlns:a16="http://schemas.microsoft.com/office/drawing/2014/main" id="{1C64179C-F653-4621-80EA-21FE48266886}"/>
              </a:ext>
            </a:extLst>
          </p:cNvPr>
          <p:cNvSpPr/>
          <p:nvPr/>
        </p:nvSpPr>
        <p:spPr bwMode="gray">
          <a:xfrm>
            <a:off x="768024" y="2805065"/>
            <a:ext cx="4447736" cy="4667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tx1"/>
                </a:solidFill>
              </a:rPr>
              <a:t>Kenyan Parliament signs the Geothermal Reources Act, establishing a formal investing, siting, and licensing framework.</a:t>
            </a:r>
          </a:p>
        </p:txBody>
      </p:sp>
      <p:sp>
        <p:nvSpPr>
          <p:cNvPr id="108" name="Rectangle 107">
            <a:extLst>
              <a:ext uri="{FF2B5EF4-FFF2-40B4-BE49-F238E27FC236}">
                <a16:creationId xmlns:a16="http://schemas.microsoft.com/office/drawing/2014/main" id="{EB484F98-D14A-DA76-36E7-43D423424D11}"/>
              </a:ext>
            </a:extLst>
          </p:cNvPr>
          <p:cNvSpPr/>
          <p:nvPr/>
        </p:nvSpPr>
        <p:spPr bwMode="gray">
          <a:xfrm>
            <a:off x="807827" y="4509600"/>
            <a:ext cx="4405448" cy="5090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tx1"/>
                </a:solidFill>
              </a:rPr>
              <a:t>Kenya Vision 2030: Government plans rapid industrialization to become middle income by 2030, where the country expects to double geothermal power integration to 1,600 MW.</a:t>
            </a:r>
          </a:p>
        </p:txBody>
      </p:sp>
      <p:sp>
        <p:nvSpPr>
          <p:cNvPr id="109" name="Rectangle 108">
            <a:extLst>
              <a:ext uri="{FF2B5EF4-FFF2-40B4-BE49-F238E27FC236}">
                <a16:creationId xmlns:a16="http://schemas.microsoft.com/office/drawing/2014/main" id="{0D7BBE4F-FCD9-8FCA-57A2-0BA1D4FB96FD}"/>
              </a:ext>
            </a:extLst>
          </p:cNvPr>
          <p:cNvSpPr/>
          <p:nvPr/>
        </p:nvSpPr>
        <p:spPr bwMode="gray">
          <a:xfrm>
            <a:off x="378720" y="3901932"/>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8</a:t>
            </a:r>
          </a:p>
        </p:txBody>
      </p:sp>
      <p:sp>
        <p:nvSpPr>
          <p:cNvPr id="110" name="TextBox 109">
            <a:extLst>
              <a:ext uri="{FF2B5EF4-FFF2-40B4-BE49-F238E27FC236}">
                <a16:creationId xmlns:a16="http://schemas.microsoft.com/office/drawing/2014/main" id="{7ED92209-378B-D05A-0241-4F14D1899EAE}"/>
              </a:ext>
            </a:extLst>
          </p:cNvPr>
          <p:cNvSpPr txBox="1"/>
          <p:nvPr/>
        </p:nvSpPr>
        <p:spPr bwMode="gray">
          <a:xfrm>
            <a:off x="788868" y="3891833"/>
            <a:ext cx="4426892" cy="461665"/>
          </a:xfrm>
          <a:prstGeom prst="rect">
            <a:avLst/>
          </a:prstGeom>
          <a:solidFill>
            <a:schemeClr val="bg1"/>
          </a:solidFill>
        </p:spPr>
        <p:txBody>
          <a:bodyPr wrap="square" lIns="0" tIns="0" rIns="0" bIns="0" rtlCol="0" anchor="t">
            <a:spAutoFit/>
          </a:bodyPr>
          <a:lstStyle/>
          <a:p>
            <a:pPr marL="0" indent="0">
              <a:buNone/>
              <a:defRPr/>
            </a:pPr>
            <a:r>
              <a:rPr lang="en-US" sz="1000" dirty="0"/>
              <a:t>At the Iceland Geothermal Conference, KenGen presents a case study and validates the </a:t>
            </a:r>
            <a:r>
              <a:rPr lang="en-US" sz="1000" b="1" dirty="0"/>
              <a:t>wellhead concept as a national fast-track strategy for early revenue production and clean firm power</a:t>
            </a:r>
            <a:r>
              <a:rPr lang="en-US" sz="1000" dirty="0"/>
              <a:t>.</a:t>
            </a:r>
            <a:endParaRPr lang="en-US" sz="1000" dirty="0">
              <a:cs typeface="Arial"/>
            </a:endParaRPr>
          </a:p>
        </p:txBody>
      </p:sp>
      <p:sp>
        <p:nvSpPr>
          <p:cNvPr id="111" name="Rectangle 110">
            <a:extLst>
              <a:ext uri="{FF2B5EF4-FFF2-40B4-BE49-F238E27FC236}">
                <a16:creationId xmlns:a16="http://schemas.microsoft.com/office/drawing/2014/main" id="{B623AF18-FF9B-09D7-7387-37861EA222FB}"/>
              </a:ext>
            </a:extLst>
          </p:cNvPr>
          <p:cNvSpPr/>
          <p:nvPr/>
        </p:nvSpPr>
        <p:spPr bwMode="gray">
          <a:xfrm>
            <a:off x="378720" y="3411640"/>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9</a:t>
            </a:r>
          </a:p>
        </p:txBody>
      </p:sp>
      <p:sp>
        <p:nvSpPr>
          <p:cNvPr id="112" name="TextBox 111">
            <a:extLst>
              <a:ext uri="{FF2B5EF4-FFF2-40B4-BE49-F238E27FC236}">
                <a16:creationId xmlns:a16="http://schemas.microsoft.com/office/drawing/2014/main" id="{3DEAB313-8A9B-AB52-7DA0-CF7066E40A72}"/>
              </a:ext>
            </a:extLst>
          </p:cNvPr>
          <p:cNvSpPr txBox="1"/>
          <p:nvPr/>
        </p:nvSpPr>
        <p:spPr bwMode="gray">
          <a:xfrm>
            <a:off x="768023" y="3427955"/>
            <a:ext cx="4445251" cy="307777"/>
          </a:xfrm>
          <a:prstGeom prst="rect">
            <a:avLst/>
          </a:prstGeom>
          <a:solidFill>
            <a:schemeClr val="bg1"/>
          </a:solidFill>
        </p:spPr>
        <p:txBody>
          <a:bodyPr wrap="square" lIns="0" tIns="0" rIns="0" bIns="0" rtlCol="0">
            <a:spAutoFit/>
          </a:bodyPr>
          <a:lstStyle/>
          <a:p>
            <a:pPr marL="0" indent="0">
              <a:buNone/>
              <a:defRPr/>
            </a:pPr>
            <a:r>
              <a:rPr lang="en-US" sz="1000" b="1" dirty="0"/>
              <a:t>GEG</a:t>
            </a:r>
            <a:r>
              <a:rPr lang="en-US" sz="1000" dirty="0"/>
              <a:t> brings modular deployment to Africa's geothermal industry by winning the tender for </a:t>
            </a:r>
            <a:r>
              <a:rPr lang="en-US" sz="1000" b="1" dirty="0"/>
              <a:t>Kenya's first 5.5 MW modular geothermal wellhead </a:t>
            </a:r>
            <a:r>
              <a:rPr lang="en-US" sz="1000" dirty="0"/>
              <a:t>facility.</a:t>
            </a:r>
            <a:endParaRPr lang="en-US" sz="1000" dirty="0">
              <a:cs typeface="Arial"/>
            </a:endParaRPr>
          </a:p>
        </p:txBody>
      </p:sp>
      <p:sp>
        <p:nvSpPr>
          <p:cNvPr id="113" name="Oval 112">
            <a:extLst>
              <a:ext uri="{FF2B5EF4-FFF2-40B4-BE49-F238E27FC236}">
                <a16:creationId xmlns:a16="http://schemas.microsoft.com/office/drawing/2014/main" id="{05D87C63-BCCE-FF22-B1EE-454A1C839979}"/>
              </a:ext>
            </a:extLst>
          </p:cNvPr>
          <p:cNvSpPr/>
          <p:nvPr/>
        </p:nvSpPr>
        <p:spPr bwMode="gray">
          <a:xfrm>
            <a:off x="443056" y="4103832"/>
            <a:ext cx="133036" cy="118229"/>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Oval 113">
            <a:extLst>
              <a:ext uri="{FF2B5EF4-FFF2-40B4-BE49-F238E27FC236}">
                <a16:creationId xmlns:a16="http://schemas.microsoft.com/office/drawing/2014/main" id="{20EF9E2D-E97E-590B-C947-789263C1C0E4}"/>
              </a:ext>
            </a:extLst>
          </p:cNvPr>
          <p:cNvSpPr/>
          <p:nvPr/>
        </p:nvSpPr>
        <p:spPr bwMode="gray">
          <a:xfrm>
            <a:off x="454691" y="3572468"/>
            <a:ext cx="133036" cy="118229"/>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21" name="Chart 120">
            <a:extLst>
              <a:ext uri="{FF2B5EF4-FFF2-40B4-BE49-F238E27FC236}">
                <a16:creationId xmlns:a16="http://schemas.microsoft.com/office/drawing/2014/main" id="{EF4F4990-2A64-556C-02F6-77C853030041}"/>
              </a:ext>
            </a:extLst>
          </p:cNvPr>
          <p:cNvGraphicFramePr/>
          <p:nvPr>
            <p:custDataLst>
              <p:tags r:id="rId4"/>
            </p:custDataLst>
            <p:extLst>
              <p:ext uri="{D42A27DB-BD31-4B8C-83A1-F6EECF244321}">
                <p14:modId xmlns:p14="http://schemas.microsoft.com/office/powerpoint/2010/main" val="1239423968"/>
              </p:ext>
            </p:extLst>
          </p:nvPr>
        </p:nvGraphicFramePr>
        <p:xfrm>
          <a:off x="6659563" y="3760788"/>
          <a:ext cx="4351337" cy="2403475"/>
        </p:xfrm>
        <a:graphic>
          <a:graphicData uri="http://schemas.openxmlformats.org/drawingml/2006/chart">
            <c:chart xmlns:c="http://schemas.openxmlformats.org/drawingml/2006/chart" xmlns:r="http://schemas.openxmlformats.org/officeDocument/2006/relationships" r:id="rId20"/>
          </a:graphicData>
        </a:graphic>
      </p:graphicFrame>
      <p:sp>
        <p:nvSpPr>
          <p:cNvPr id="122" name="Text Placeholder 10">
            <a:extLst>
              <a:ext uri="{FF2B5EF4-FFF2-40B4-BE49-F238E27FC236}">
                <a16:creationId xmlns:a16="http://schemas.microsoft.com/office/drawing/2014/main" id="{2153F870-3EC8-1572-F2AE-591BC379196C}"/>
              </a:ext>
            </a:extLst>
          </p:cNvPr>
          <p:cNvSpPr txBox="1">
            <a:spLocks/>
          </p:cNvSpPr>
          <p:nvPr>
            <p:custDataLst>
              <p:tags r:id="rId5"/>
            </p:custDataLst>
          </p:nvPr>
        </p:nvSpPr>
        <p:spPr bwMode="auto">
          <a:xfrm>
            <a:off x="6819900" y="5981700"/>
            <a:ext cx="1239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A2E9D2-527C-4055-8BDF-6D2687AC45D6}" type="datetime'''''''''''''''202''''1 Ene''rg''''y Deman''d'''''''''''''''''">
              <a:rPr lang="en-US" altLang="en-US" sz="1000" smtClean="0"/>
              <a:pPr marL="0" indent="0" algn="ctr">
                <a:spcBef>
                  <a:spcPct val="0"/>
                </a:spcBef>
                <a:spcAft>
                  <a:spcPct val="0"/>
                </a:spcAft>
                <a:buNone/>
              </a:pPr>
              <a:t>2021 Energy Demand</a:t>
            </a:fld>
            <a:endParaRPr lang="en-US" sz="1000" dirty="0"/>
          </a:p>
        </p:txBody>
      </p:sp>
      <p:sp>
        <p:nvSpPr>
          <p:cNvPr id="123" name="Text Placeholder 10">
            <a:extLst>
              <a:ext uri="{FF2B5EF4-FFF2-40B4-BE49-F238E27FC236}">
                <a16:creationId xmlns:a16="http://schemas.microsoft.com/office/drawing/2014/main" id="{0D6ECB62-68D4-D363-EECF-AF0662E4C144}"/>
              </a:ext>
            </a:extLst>
          </p:cNvPr>
          <p:cNvSpPr txBox="1">
            <a:spLocks/>
          </p:cNvSpPr>
          <p:nvPr>
            <p:custDataLst>
              <p:tags r:id="rId6"/>
            </p:custDataLst>
          </p:nvPr>
        </p:nvSpPr>
        <p:spPr bwMode="auto">
          <a:xfrm>
            <a:off x="8291513" y="5981700"/>
            <a:ext cx="10874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A0B507-5FE7-4A04-AC05-94D96879B50F}" type="datetime'2''050 E''n''''e''rgy ''De''mand P''''''''''rojec''t''io''n'">
              <a:rPr lang="en-US" altLang="en-US" sz="1000" smtClean="0"/>
              <a:pPr marL="0" indent="0" algn="ctr">
                <a:spcBef>
                  <a:spcPct val="0"/>
                </a:spcBef>
                <a:spcAft>
                  <a:spcPct val="0"/>
                </a:spcAft>
                <a:buNone/>
              </a:pPr>
              <a:t>2050 Energy Demand Projection</a:t>
            </a:fld>
            <a:endParaRPr lang="en-US" sz="1000" dirty="0"/>
          </a:p>
        </p:txBody>
      </p:sp>
      <p:sp>
        <p:nvSpPr>
          <p:cNvPr id="124" name="Text Placeholder 10">
            <a:extLst>
              <a:ext uri="{FF2B5EF4-FFF2-40B4-BE49-F238E27FC236}">
                <a16:creationId xmlns:a16="http://schemas.microsoft.com/office/drawing/2014/main" id="{8BA106C6-A9A5-0F2B-CDAF-F629876F6B57}"/>
              </a:ext>
            </a:extLst>
          </p:cNvPr>
          <p:cNvSpPr txBox="1">
            <a:spLocks/>
          </p:cNvSpPr>
          <p:nvPr>
            <p:custDataLst>
              <p:tags r:id="rId7"/>
            </p:custDataLst>
          </p:nvPr>
        </p:nvSpPr>
        <p:spPr bwMode="auto">
          <a:xfrm>
            <a:off x="9831388" y="5981700"/>
            <a:ext cx="872359"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1% Superhot Rock Potential</a:t>
            </a:r>
            <a:endParaRPr lang="en-US" sz="1000" dirty="0"/>
          </a:p>
        </p:txBody>
      </p:sp>
      <p:sp>
        <p:nvSpPr>
          <p:cNvPr id="125" name="Text Placeholder 10">
            <a:extLst>
              <a:ext uri="{FF2B5EF4-FFF2-40B4-BE49-F238E27FC236}">
                <a16:creationId xmlns:a16="http://schemas.microsoft.com/office/drawing/2014/main" id="{C50E49EE-B4E1-8886-AD5C-3AF3E7B5CFF9}"/>
              </a:ext>
            </a:extLst>
          </p:cNvPr>
          <p:cNvSpPr txBox="1">
            <a:spLocks/>
          </p:cNvSpPr>
          <p:nvPr>
            <p:custDataLst>
              <p:tags r:id="rId8"/>
            </p:custDataLst>
          </p:nvPr>
        </p:nvSpPr>
        <p:spPr bwMode="gray">
          <a:xfrm>
            <a:off x="9932988" y="3808413"/>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B4EF45-B155-4341-83FA-A895071761E2}" type="datetime'''''''''1,''''''''''''2''''7''2'''''',9''''93'''''">
              <a:rPr lang="en-US" altLang="en-US" sz="1000" smtClean="0">
                <a:effectLst/>
              </a:rPr>
              <a:pPr marL="0" indent="0" algn="ctr">
                <a:spcBef>
                  <a:spcPct val="0"/>
                </a:spcBef>
                <a:spcAft>
                  <a:spcPct val="0"/>
                </a:spcAft>
                <a:buNone/>
              </a:pPr>
              <a:t>1,272,993</a:t>
            </a:fld>
            <a:endParaRPr lang="en-US" sz="1000" dirty="0"/>
          </a:p>
        </p:txBody>
      </p:sp>
      <p:graphicFrame>
        <p:nvGraphicFramePr>
          <p:cNvPr id="129" name="Chart 128">
            <a:extLst>
              <a:ext uri="{FF2B5EF4-FFF2-40B4-BE49-F238E27FC236}">
                <a16:creationId xmlns:a16="http://schemas.microsoft.com/office/drawing/2014/main" id="{B2151C8B-1233-B9E9-4C85-0BC6CA412DF7}"/>
              </a:ext>
            </a:extLst>
          </p:cNvPr>
          <p:cNvGraphicFramePr/>
          <p:nvPr>
            <p:custDataLst>
              <p:tags r:id="rId9"/>
            </p:custDataLst>
            <p:extLst>
              <p:ext uri="{D42A27DB-BD31-4B8C-83A1-F6EECF244321}">
                <p14:modId xmlns:p14="http://schemas.microsoft.com/office/powerpoint/2010/main" val="863285713"/>
              </p:ext>
            </p:extLst>
          </p:nvPr>
        </p:nvGraphicFramePr>
        <p:xfrm>
          <a:off x="252413" y="5441950"/>
          <a:ext cx="2386012" cy="900113"/>
        </p:xfrm>
        <a:graphic>
          <a:graphicData uri="http://schemas.openxmlformats.org/drawingml/2006/chart">
            <c:chart xmlns:c="http://schemas.openxmlformats.org/drawingml/2006/chart" xmlns:r="http://schemas.openxmlformats.org/officeDocument/2006/relationships" r:id="rId21"/>
          </a:graphicData>
        </a:graphic>
      </p:graphicFrame>
      <p:sp>
        <p:nvSpPr>
          <p:cNvPr id="127" name="Text Placeholder 10">
            <a:extLst>
              <a:ext uri="{FF2B5EF4-FFF2-40B4-BE49-F238E27FC236}">
                <a16:creationId xmlns:a16="http://schemas.microsoft.com/office/drawing/2014/main" id="{9E68F982-B23B-2653-515A-5089D72B7789}"/>
              </a:ext>
            </a:extLst>
          </p:cNvPr>
          <p:cNvSpPr txBox="1">
            <a:spLocks/>
          </p:cNvSpPr>
          <p:nvPr>
            <p:custDataLst>
              <p:tags r:id="rId10"/>
            </p:custDataLst>
          </p:nvPr>
        </p:nvSpPr>
        <p:spPr bwMode="auto">
          <a:xfrm>
            <a:off x="2463801" y="5568950"/>
            <a:ext cx="3841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dirty="0"/>
              <a:t>939.73</a:t>
            </a:r>
          </a:p>
          <a:p>
            <a:pPr marL="0" indent="0">
              <a:spcBef>
                <a:spcPct val="0"/>
              </a:spcBef>
              <a:spcAft>
                <a:spcPct val="0"/>
              </a:spcAft>
              <a:buNone/>
            </a:pPr>
            <a:r>
              <a:rPr lang="en-US" sz="1000" dirty="0"/>
              <a:t>MWh</a:t>
            </a:r>
          </a:p>
        </p:txBody>
      </p:sp>
    </p:spTree>
    <p:extLst>
      <p:ext uri="{BB962C8B-B14F-4D97-AF65-F5344CB8AC3E}">
        <p14:creationId xmlns:p14="http://schemas.microsoft.com/office/powerpoint/2010/main" val="7779179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A499AE1-B561-B606-4C1C-63F69D30A50F}"/>
              </a:ext>
            </a:extLst>
          </p:cNvPr>
          <p:cNvGraphicFramePr>
            <a:graphicFrameLocks/>
          </p:cNvGraphicFramePr>
          <p:nvPr>
            <p:custDataLst>
              <p:tags r:id="rId1"/>
            </p:custDataLst>
            <p:extLst>
              <p:ext uri="{D42A27DB-BD31-4B8C-83A1-F6EECF244321}">
                <p14:modId xmlns:p14="http://schemas.microsoft.com/office/powerpoint/2010/main" val="28067074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7AB9079-D79F-7322-3916-EF5E97AF5DF9}"/>
              </a:ext>
            </a:extLst>
          </p:cNvPr>
          <p:cNvSpPr>
            <a:spLocks noGrp="1"/>
          </p:cNvSpPr>
          <p:nvPr>
            <p:ph type="title"/>
          </p:nvPr>
        </p:nvSpPr>
        <p:spPr/>
        <p:txBody>
          <a:bodyPr vert="horz" rIns="91440"/>
          <a:lstStyle/>
          <a:p>
            <a:r>
              <a:rPr lang="en-US" dirty="0"/>
              <a:t>Türkiye’s 1.7 GW of geothermal capacity equals 11% of global installed capacity but meets only 1.5% of its own power demand</a:t>
            </a:r>
          </a:p>
        </p:txBody>
      </p:sp>
      <p:sp>
        <p:nvSpPr>
          <p:cNvPr id="6" name="Footer Placeholder 5">
            <a:extLst>
              <a:ext uri="{FF2B5EF4-FFF2-40B4-BE49-F238E27FC236}">
                <a16:creationId xmlns:a16="http://schemas.microsoft.com/office/drawing/2014/main" id="{F9F902A1-5E5F-52E4-2203-43204924116C}"/>
              </a:ext>
            </a:extLst>
          </p:cNvPr>
          <p:cNvSpPr>
            <a:spLocks noGrp="1"/>
          </p:cNvSpPr>
          <p:nvPr>
            <p:ph type="ftr" sz="quarter" idx="3"/>
          </p:nvPr>
        </p:nvSpPr>
        <p:spPr>
          <a:xfrm>
            <a:off x="334962" y="6257805"/>
            <a:ext cx="9147241" cy="216706"/>
          </a:xfrm>
        </p:spPr>
        <p:txBody>
          <a:bodyPr/>
          <a:lstStyle/>
          <a:p>
            <a:r>
              <a:rPr lang="en-US" dirty="0">
                <a:solidFill>
                  <a:srgbClr val="000000"/>
                </a:solidFill>
              </a:rPr>
              <a:t>Sources: </a:t>
            </a:r>
            <a:r>
              <a:rPr lang="en-US" dirty="0">
                <a:solidFill>
                  <a:srgbClr val="000000"/>
                </a:solidFill>
                <a:hlinkClick r:id="rId36"/>
              </a:rPr>
              <a:t>Law No. 5346, Renewable Energy Law</a:t>
            </a:r>
            <a:r>
              <a:rPr lang="en-US" dirty="0">
                <a:solidFill>
                  <a:srgbClr val="000000"/>
                </a:solidFill>
              </a:rPr>
              <a:t> (2005); </a:t>
            </a:r>
            <a:r>
              <a:rPr lang="en-US" dirty="0">
                <a:solidFill>
                  <a:srgbClr val="000000"/>
                </a:solidFill>
                <a:hlinkClick r:id="rId36"/>
              </a:rPr>
              <a:t>Amendment to 5346</a:t>
            </a:r>
            <a:r>
              <a:rPr lang="en-US" dirty="0">
                <a:solidFill>
                  <a:srgbClr val="000000"/>
                </a:solidFill>
              </a:rPr>
              <a:t> (2010); </a:t>
            </a:r>
            <a:r>
              <a:rPr lang="en-US" dirty="0">
                <a:solidFill>
                  <a:srgbClr val="000000"/>
                </a:solidFill>
                <a:hlinkClick r:id="rId37"/>
              </a:rPr>
              <a:t>Türkiye – Geothermal Development Project, World Bank</a:t>
            </a:r>
            <a:r>
              <a:rPr lang="en-US" dirty="0">
                <a:solidFill>
                  <a:srgbClr val="000000"/>
                </a:solidFill>
              </a:rPr>
              <a:t> (World Bank, 2016); </a:t>
            </a:r>
            <a:r>
              <a:rPr lang="en-US" dirty="0">
                <a:solidFill>
                  <a:srgbClr val="000000"/>
                </a:solidFill>
                <a:hlinkClick r:id="rId38"/>
              </a:rPr>
              <a:t>Presidential Decree No. 3453</a:t>
            </a:r>
            <a:r>
              <a:rPr lang="en-US" dirty="0">
                <a:solidFill>
                  <a:srgbClr val="000000"/>
                </a:solidFill>
              </a:rPr>
              <a:t>, (2021); </a:t>
            </a:r>
            <a:r>
              <a:rPr lang="en-US" dirty="0">
                <a:solidFill>
                  <a:srgbClr val="000000"/>
                </a:solidFill>
                <a:hlinkClick r:id="rId39"/>
              </a:rPr>
              <a:t>The ‘YEKDEM 2040’ demand in the geothermal sector</a:t>
            </a:r>
            <a:r>
              <a:rPr lang="en-US" dirty="0">
                <a:solidFill>
                  <a:srgbClr val="000000"/>
                </a:solidFill>
              </a:rPr>
              <a:t> (Energy and Environment, 2025).</a:t>
            </a:r>
            <a:endParaRPr lang="en-US" dirty="0"/>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40"/>
              </a:rPr>
              <a:t>Gernot Wagner.</a:t>
            </a:r>
            <a:r>
              <a:rPr lang="en-US" dirty="0">
                <a:solidFill>
                  <a:srgbClr val="000000"/>
                </a:solidFill>
              </a:rPr>
              <a:t> </a:t>
            </a:r>
            <a:r>
              <a:rPr lang="en-US" dirty="0">
                <a:hlinkClick r:id="rId4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7" name="Text Placeholder 6">
            <a:extLst>
              <a:ext uri="{FF2B5EF4-FFF2-40B4-BE49-F238E27FC236}">
                <a16:creationId xmlns:a16="http://schemas.microsoft.com/office/drawing/2014/main" id="{ED62A305-27CA-2339-538A-FBE5748225B6}"/>
              </a:ext>
            </a:extLst>
          </p:cNvPr>
          <p:cNvSpPr>
            <a:spLocks noGrp="1"/>
          </p:cNvSpPr>
          <p:nvPr>
            <p:ph type="body" sz="quarter" idx="13"/>
          </p:nvPr>
        </p:nvSpPr>
        <p:spPr/>
        <p:txBody>
          <a:bodyPr/>
          <a:lstStyle/>
          <a:p>
            <a:r>
              <a:rPr lang="en-US" dirty="0"/>
              <a:t>High geothermal potential and a revised </a:t>
            </a:r>
            <a:r>
              <a:rPr lang="en-US" dirty="0" err="1"/>
              <a:t>FiT</a:t>
            </a:r>
            <a:r>
              <a:rPr lang="en-US" dirty="0"/>
              <a:t> fueled Türkiye’s 2011-2016 geothermal boom</a:t>
            </a:r>
          </a:p>
        </p:txBody>
      </p:sp>
      <p:sp>
        <p:nvSpPr>
          <p:cNvPr id="8" name="Text Placeholder 7">
            <a:extLst>
              <a:ext uri="{FF2B5EF4-FFF2-40B4-BE49-F238E27FC236}">
                <a16:creationId xmlns:a16="http://schemas.microsoft.com/office/drawing/2014/main" id="{3F1DD297-A9FE-CC59-392F-4521552727D9}"/>
              </a:ext>
            </a:extLst>
          </p:cNvPr>
          <p:cNvSpPr>
            <a:spLocks noGrp="1"/>
          </p:cNvSpPr>
          <p:nvPr>
            <p:ph type="body" sz="quarter" idx="16"/>
          </p:nvPr>
        </p:nvSpPr>
        <p:spPr/>
        <p:txBody>
          <a:bodyPr/>
          <a:lstStyle/>
          <a:p>
            <a:r>
              <a:rPr lang="en-US" dirty="0"/>
              <a:t>Installed geothermal capacity over time, </a:t>
            </a:r>
            <a:r>
              <a:rPr lang="en-US" i="1" dirty="0"/>
              <a:t>GW 2000-24</a:t>
            </a:r>
          </a:p>
        </p:txBody>
      </p:sp>
      <p:sp>
        <p:nvSpPr>
          <p:cNvPr id="9" name="Text Placeholder 1">
            <a:extLst>
              <a:ext uri="{FF2B5EF4-FFF2-40B4-BE49-F238E27FC236}">
                <a16:creationId xmlns:a16="http://schemas.microsoft.com/office/drawing/2014/main" id="{A804EE53-6881-167C-7331-7AA9A25AB0F9}"/>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Türkiye</a:t>
            </a:r>
          </a:p>
        </p:txBody>
      </p:sp>
      <p:sp>
        <p:nvSpPr>
          <p:cNvPr id="11" name="Rectangle 10">
            <a:extLst>
              <a:ext uri="{FF2B5EF4-FFF2-40B4-BE49-F238E27FC236}">
                <a16:creationId xmlns:a16="http://schemas.microsoft.com/office/drawing/2014/main" id="{D367CADA-F62F-56C2-E5CC-E07CD0DC5F02}"/>
              </a:ext>
            </a:extLst>
          </p:cNvPr>
          <p:cNvSpPr/>
          <p:nvPr/>
        </p:nvSpPr>
        <p:spPr bwMode="gray">
          <a:xfrm>
            <a:off x="324000" y="2113822"/>
            <a:ext cx="5479631" cy="413271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cxnSp>
        <p:nvCxnSpPr>
          <p:cNvPr id="12" name="Straight Arrow Connector 11">
            <a:extLst>
              <a:ext uri="{FF2B5EF4-FFF2-40B4-BE49-F238E27FC236}">
                <a16:creationId xmlns:a16="http://schemas.microsoft.com/office/drawing/2014/main" id="{D4296A49-8168-18AF-55A0-83F50C2EB625}"/>
              </a:ext>
            </a:extLst>
          </p:cNvPr>
          <p:cNvCxnSpPr>
            <a:cxnSpLocks/>
          </p:cNvCxnSpPr>
          <p:nvPr/>
        </p:nvCxnSpPr>
        <p:spPr bwMode="gray">
          <a:xfrm>
            <a:off x="533909" y="2172881"/>
            <a:ext cx="0" cy="401774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DD35AC5-BE37-5340-6864-F885D3CB4998}"/>
              </a:ext>
            </a:extLst>
          </p:cNvPr>
          <p:cNvSpPr/>
          <p:nvPr/>
        </p:nvSpPr>
        <p:spPr bwMode="gray">
          <a:xfrm>
            <a:off x="465131" y="2559142"/>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14" name="Rectangle 13">
            <a:extLst>
              <a:ext uri="{FF2B5EF4-FFF2-40B4-BE49-F238E27FC236}">
                <a16:creationId xmlns:a16="http://schemas.microsoft.com/office/drawing/2014/main" id="{074386FA-BCE5-BF9A-A69A-FC7F70CAE420}"/>
              </a:ext>
            </a:extLst>
          </p:cNvPr>
          <p:cNvSpPr/>
          <p:nvPr/>
        </p:nvSpPr>
        <p:spPr bwMode="gray">
          <a:xfrm>
            <a:off x="395280" y="2390867"/>
            <a:ext cx="645842" cy="12763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5</a:t>
            </a:r>
          </a:p>
        </p:txBody>
      </p:sp>
      <p:sp>
        <p:nvSpPr>
          <p:cNvPr id="15" name="Rectangle 14">
            <a:extLst>
              <a:ext uri="{FF2B5EF4-FFF2-40B4-BE49-F238E27FC236}">
                <a16:creationId xmlns:a16="http://schemas.microsoft.com/office/drawing/2014/main" id="{DE6FD81D-2CB7-19E8-FB47-828C48D4FF16}"/>
              </a:ext>
            </a:extLst>
          </p:cNvPr>
          <p:cNvSpPr/>
          <p:nvPr/>
        </p:nvSpPr>
        <p:spPr bwMode="gray">
          <a:xfrm>
            <a:off x="776387" y="2358641"/>
            <a:ext cx="4887044" cy="3445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First national renewable framework establishes feed-in tariffs. Policy introduces guaranteed offtake for renewables, attracting first private developers for geothermal exploration.</a:t>
            </a:r>
          </a:p>
        </p:txBody>
      </p:sp>
      <p:sp>
        <p:nvSpPr>
          <p:cNvPr id="16" name="Rectangle 15">
            <a:extLst>
              <a:ext uri="{FF2B5EF4-FFF2-40B4-BE49-F238E27FC236}">
                <a16:creationId xmlns:a16="http://schemas.microsoft.com/office/drawing/2014/main" id="{CDDDF4CE-37DD-C670-85CF-F001DF33CDC6}"/>
              </a:ext>
            </a:extLst>
          </p:cNvPr>
          <p:cNvSpPr/>
          <p:nvPr/>
        </p:nvSpPr>
        <p:spPr bwMode="gray">
          <a:xfrm>
            <a:off x="395280" y="3649619"/>
            <a:ext cx="703599"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1</a:t>
            </a:r>
          </a:p>
        </p:txBody>
      </p:sp>
      <p:sp>
        <p:nvSpPr>
          <p:cNvPr id="17" name="Rectangle 16">
            <a:extLst>
              <a:ext uri="{FF2B5EF4-FFF2-40B4-BE49-F238E27FC236}">
                <a16:creationId xmlns:a16="http://schemas.microsoft.com/office/drawing/2014/main" id="{E007363A-A6FE-F96D-BB54-3DD360C7C010}"/>
              </a:ext>
            </a:extLst>
          </p:cNvPr>
          <p:cNvSpPr/>
          <p:nvPr/>
        </p:nvSpPr>
        <p:spPr bwMode="gray">
          <a:xfrm>
            <a:off x="395280" y="5635625"/>
            <a:ext cx="70359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5+</a:t>
            </a:r>
          </a:p>
        </p:txBody>
      </p:sp>
      <p:sp>
        <p:nvSpPr>
          <p:cNvPr id="18" name="Rectangle 17">
            <a:extLst>
              <a:ext uri="{FF2B5EF4-FFF2-40B4-BE49-F238E27FC236}">
                <a16:creationId xmlns:a16="http://schemas.microsoft.com/office/drawing/2014/main" id="{C7C6A64C-03B2-3E14-7944-C881FD1718C8}"/>
              </a:ext>
            </a:extLst>
          </p:cNvPr>
          <p:cNvSpPr/>
          <p:nvPr/>
        </p:nvSpPr>
        <p:spPr bwMode="gray">
          <a:xfrm>
            <a:off x="754482" y="3265488"/>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19" name="Rectangle 18">
            <a:extLst>
              <a:ext uri="{FF2B5EF4-FFF2-40B4-BE49-F238E27FC236}">
                <a16:creationId xmlns:a16="http://schemas.microsoft.com/office/drawing/2014/main" id="{6198C0D2-1849-BEAE-36BA-6CA14E85EA95}"/>
              </a:ext>
            </a:extLst>
          </p:cNvPr>
          <p:cNvSpPr/>
          <p:nvPr/>
        </p:nvSpPr>
        <p:spPr bwMode="gray">
          <a:xfrm>
            <a:off x="704222" y="3949700"/>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0" name="Rectangle 19">
            <a:extLst>
              <a:ext uri="{FF2B5EF4-FFF2-40B4-BE49-F238E27FC236}">
                <a16:creationId xmlns:a16="http://schemas.microsoft.com/office/drawing/2014/main" id="{1F3BD95B-C6A3-ADC3-5DF5-86FF55DC6FFA}"/>
              </a:ext>
            </a:extLst>
          </p:cNvPr>
          <p:cNvSpPr/>
          <p:nvPr/>
        </p:nvSpPr>
        <p:spPr bwMode="gray">
          <a:xfrm>
            <a:off x="775326" y="5080000"/>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1" name="Rectangle 20">
            <a:extLst>
              <a:ext uri="{FF2B5EF4-FFF2-40B4-BE49-F238E27FC236}">
                <a16:creationId xmlns:a16="http://schemas.microsoft.com/office/drawing/2014/main" id="{96ECE45E-C25C-0357-6055-4C59FB741CFE}"/>
              </a:ext>
            </a:extLst>
          </p:cNvPr>
          <p:cNvSpPr/>
          <p:nvPr/>
        </p:nvSpPr>
        <p:spPr bwMode="gray">
          <a:xfrm>
            <a:off x="730252" y="5595938"/>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2" name="Rectangle 21">
            <a:extLst>
              <a:ext uri="{FF2B5EF4-FFF2-40B4-BE49-F238E27FC236}">
                <a16:creationId xmlns:a16="http://schemas.microsoft.com/office/drawing/2014/main" id="{959DA336-43FE-DF20-D73B-A0D38B37F68E}"/>
              </a:ext>
            </a:extLst>
          </p:cNvPr>
          <p:cNvSpPr/>
          <p:nvPr/>
        </p:nvSpPr>
        <p:spPr bwMode="gray">
          <a:xfrm>
            <a:off x="753615" y="5654675"/>
            <a:ext cx="4906258" cy="4750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900" dirty="0">
                <a:solidFill>
                  <a:schemeClr val="tx1"/>
                </a:solidFill>
              </a:rPr>
              <a:t>Industry proposes to link FITs to carbon pricing and baseload guarantees. Policy could restore long-term investor confidence and enable new deep-well exploration in Central and East Anatolia. Country aims for 4 GW geothermal power by 2030.</a:t>
            </a:r>
          </a:p>
        </p:txBody>
      </p:sp>
      <p:sp>
        <p:nvSpPr>
          <p:cNvPr id="23" name="Rectangle 22">
            <a:extLst>
              <a:ext uri="{FF2B5EF4-FFF2-40B4-BE49-F238E27FC236}">
                <a16:creationId xmlns:a16="http://schemas.microsoft.com/office/drawing/2014/main" id="{3376D5FE-E2F2-E353-1D20-A3A08F97E678}"/>
              </a:ext>
            </a:extLst>
          </p:cNvPr>
          <p:cNvSpPr/>
          <p:nvPr/>
        </p:nvSpPr>
        <p:spPr bwMode="gray">
          <a:xfrm>
            <a:off x="395280" y="2968445"/>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7</a:t>
            </a:r>
          </a:p>
        </p:txBody>
      </p:sp>
      <p:sp>
        <p:nvSpPr>
          <p:cNvPr id="24" name="Rectangle 23">
            <a:extLst>
              <a:ext uri="{FF2B5EF4-FFF2-40B4-BE49-F238E27FC236}">
                <a16:creationId xmlns:a16="http://schemas.microsoft.com/office/drawing/2014/main" id="{8B24D8DE-EC1B-97C0-1D2D-BD711EBC95DF}"/>
              </a:ext>
            </a:extLst>
          </p:cNvPr>
          <p:cNvSpPr/>
          <p:nvPr/>
        </p:nvSpPr>
        <p:spPr bwMode="gray">
          <a:xfrm>
            <a:off x="753615" y="2910148"/>
            <a:ext cx="4887043" cy="4584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Defines resource ownership by the state, licensing (exploration and operation), reinjection rules, and environmental obligations. It transfers authority to provincial administrations, which accelerate exploration.</a:t>
            </a:r>
          </a:p>
        </p:txBody>
      </p:sp>
      <p:sp>
        <p:nvSpPr>
          <p:cNvPr id="25" name="Rectangle 24">
            <a:extLst>
              <a:ext uri="{FF2B5EF4-FFF2-40B4-BE49-F238E27FC236}">
                <a16:creationId xmlns:a16="http://schemas.microsoft.com/office/drawing/2014/main" id="{ED2D3D78-04BE-344E-23EE-7CF60BBF3DE3}"/>
              </a:ext>
            </a:extLst>
          </p:cNvPr>
          <p:cNvSpPr/>
          <p:nvPr/>
        </p:nvSpPr>
        <p:spPr bwMode="gray">
          <a:xfrm>
            <a:off x="775328" y="4518025"/>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b="1" dirty="0">
              <a:solidFill>
                <a:schemeClr val="tx1"/>
              </a:solidFill>
            </a:endParaRPr>
          </a:p>
        </p:txBody>
      </p:sp>
      <p:sp>
        <p:nvSpPr>
          <p:cNvPr id="26" name="Oval 25">
            <a:extLst>
              <a:ext uri="{FF2B5EF4-FFF2-40B4-BE49-F238E27FC236}">
                <a16:creationId xmlns:a16="http://schemas.microsoft.com/office/drawing/2014/main" id="{AB92B55E-96E6-26B2-B3A7-1CE741464884}"/>
              </a:ext>
            </a:extLst>
          </p:cNvPr>
          <p:cNvSpPr/>
          <p:nvPr/>
        </p:nvSpPr>
        <p:spPr bwMode="gray">
          <a:xfrm>
            <a:off x="465131" y="315418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7" name="Oval 26">
            <a:extLst>
              <a:ext uri="{FF2B5EF4-FFF2-40B4-BE49-F238E27FC236}">
                <a16:creationId xmlns:a16="http://schemas.microsoft.com/office/drawing/2014/main" id="{83C6192D-3B15-0E69-5C47-ECE98873FBF0}"/>
              </a:ext>
            </a:extLst>
          </p:cNvPr>
          <p:cNvSpPr/>
          <p:nvPr/>
        </p:nvSpPr>
        <p:spPr bwMode="gray">
          <a:xfrm>
            <a:off x="465131" y="3859169"/>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8" name="Oval 27">
            <a:extLst>
              <a:ext uri="{FF2B5EF4-FFF2-40B4-BE49-F238E27FC236}">
                <a16:creationId xmlns:a16="http://schemas.microsoft.com/office/drawing/2014/main" id="{49C851C0-5601-26EC-D82B-968F1681C282}"/>
              </a:ext>
            </a:extLst>
          </p:cNvPr>
          <p:cNvSpPr/>
          <p:nvPr/>
        </p:nvSpPr>
        <p:spPr bwMode="gray">
          <a:xfrm>
            <a:off x="465131" y="4559121"/>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9" name="Oval 28">
            <a:extLst>
              <a:ext uri="{FF2B5EF4-FFF2-40B4-BE49-F238E27FC236}">
                <a16:creationId xmlns:a16="http://schemas.microsoft.com/office/drawing/2014/main" id="{DE2DF8EB-7BA7-0AB0-871F-3AB3F2EFE4AB}"/>
              </a:ext>
            </a:extLst>
          </p:cNvPr>
          <p:cNvSpPr/>
          <p:nvPr/>
        </p:nvSpPr>
        <p:spPr bwMode="gray">
          <a:xfrm>
            <a:off x="465131" y="590391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0" name="Rectangle 29">
            <a:extLst>
              <a:ext uri="{FF2B5EF4-FFF2-40B4-BE49-F238E27FC236}">
                <a16:creationId xmlns:a16="http://schemas.microsoft.com/office/drawing/2014/main" id="{0E6960BD-D7FA-6900-8532-7324EA04663A}"/>
              </a:ext>
            </a:extLst>
          </p:cNvPr>
          <p:cNvSpPr/>
          <p:nvPr/>
        </p:nvSpPr>
        <p:spPr bwMode="gray">
          <a:xfrm>
            <a:off x="395280" y="4365446"/>
            <a:ext cx="697566"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9</a:t>
            </a:r>
          </a:p>
        </p:txBody>
      </p:sp>
      <p:sp>
        <p:nvSpPr>
          <p:cNvPr id="31" name="Rectangle 30">
            <a:extLst>
              <a:ext uri="{FF2B5EF4-FFF2-40B4-BE49-F238E27FC236}">
                <a16:creationId xmlns:a16="http://schemas.microsoft.com/office/drawing/2014/main" id="{3E17A043-9406-91B1-BF3B-FBDAA4723F19}"/>
              </a:ext>
            </a:extLst>
          </p:cNvPr>
          <p:cNvSpPr/>
          <p:nvPr/>
        </p:nvSpPr>
        <p:spPr bwMode="gray">
          <a:xfrm>
            <a:off x="753616" y="5473420"/>
            <a:ext cx="4882732" cy="1506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Potential YEKDEM Extension and Carbon Market Integration</a:t>
            </a:r>
          </a:p>
        </p:txBody>
      </p:sp>
      <p:sp>
        <p:nvSpPr>
          <p:cNvPr id="32" name="Rectangle 31">
            <a:extLst>
              <a:ext uri="{FF2B5EF4-FFF2-40B4-BE49-F238E27FC236}">
                <a16:creationId xmlns:a16="http://schemas.microsoft.com/office/drawing/2014/main" id="{08D5616E-0801-1351-C0AE-ABFB02E214DA}"/>
              </a:ext>
            </a:extLst>
          </p:cNvPr>
          <p:cNvSpPr/>
          <p:nvPr/>
        </p:nvSpPr>
        <p:spPr bwMode="gray">
          <a:xfrm>
            <a:off x="760360" y="4719292"/>
            <a:ext cx="4906821" cy="12300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Presidential Decree No. 3453 </a:t>
            </a:r>
          </a:p>
        </p:txBody>
      </p:sp>
      <p:sp>
        <p:nvSpPr>
          <p:cNvPr id="33" name="Rectangle 32">
            <a:extLst>
              <a:ext uri="{FF2B5EF4-FFF2-40B4-BE49-F238E27FC236}">
                <a16:creationId xmlns:a16="http://schemas.microsoft.com/office/drawing/2014/main" id="{F14CAE7B-B333-E253-BDA8-1932029209DA}"/>
              </a:ext>
            </a:extLst>
          </p:cNvPr>
          <p:cNvSpPr/>
          <p:nvPr/>
        </p:nvSpPr>
        <p:spPr bwMode="gray">
          <a:xfrm>
            <a:off x="775325" y="4091378"/>
            <a:ext cx="4888101" cy="17332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National Energy Efficiency and Renewable Strategy 2019-2023</a:t>
            </a:r>
          </a:p>
        </p:txBody>
      </p:sp>
      <p:sp>
        <p:nvSpPr>
          <p:cNvPr id="34" name="Rectangle 33">
            <a:extLst>
              <a:ext uri="{FF2B5EF4-FFF2-40B4-BE49-F238E27FC236}">
                <a16:creationId xmlns:a16="http://schemas.microsoft.com/office/drawing/2014/main" id="{A5565E83-CB7D-8B05-137C-3DB406FC8A46}"/>
              </a:ext>
            </a:extLst>
          </p:cNvPr>
          <p:cNvSpPr/>
          <p:nvPr/>
        </p:nvSpPr>
        <p:spPr bwMode="gray">
          <a:xfrm>
            <a:off x="760360" y="3399214"/>
            <a:ext cx="4887043" cy="1747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Law No. 6094 (Amendment to 5346)</a:t>
            </a:r>
          </a:p>
        </p:txBody>
      </p:sp>
      <p:sp>
        <p:nvSpPr>
          <p:cNvPr id="35" name="Rectangle 34">
            <a:extLst>
              <a:ext uri="{FF2B5EF4-FFF2-40B4-BE49-F238E27FC236}">
                <a16:creationId xmlns:a16="http://schemas.microsoft.com/office/drawing/2014/main" id="{B19504AE-6FB6-ED9D-318B-D6CF866A75FE}"/>
              </a:ext>
            </a:extLst>
          </p:cNvPr>
          <p:cNvSpPr/>
          <p:nvPr/>
        </p:nvSpPr>
        <p:spPr bwMode="gray">
          <a:xfrm>
            <a:off x="737613" y="2733730"/>
            <a:ext cx="4922260" cy="14584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Geothermal Resources and Natural Mineral Waters Law No. 5686 </a:t>
            </a:r>
          </a:p>
        </p:txBody>
      </p:sp>
      <p:sp>
        <p:nvSpPr>
          <p:cNvPr id="36" name="Rectangle 35">
            <a:extLst>
              <a:ext uri="{FF2B5EF4-FFF2-40B4-BE49-F238E27FC236}">
                <a16:creationId xmlns:a16="http://schemas.microsoft.com/office/drawing/2014/main" id="{F277B7C2-923E-17E8-4126-623DBA74C1D4}"/>
              </a:ext>
            </a:extLst>
          </p:cNvPr>
          <p:cNvSpPr/>
          <p:nvPr/>
        </p:nvSpPr>
        <p:spPr bwMode="gray">
          <a:xfrm>
            <a:off x="775326" y="2172881"/>
            <a:ext cx="4891857" cy="1551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Renewable Energy Law No. 5346</a:t>
            </a:r>
          </a:p>
        </p:txBody>
      </p:sp>
      <p:sp>
        <p:nvSpPr>
          <p:cNvPr id="37" name="Rectangle 36">
            <a:extLst>
              <a:ext uri="{FF2B5EF4-FFF2-40B4-BE49-F238E27FC236}">
                <a16:creationId xmlns:a16="http://schemas.microsoft.com/office/drawing/2014/main" id="{2A9A8C9B-1BC4-A4FD-87DF-C93156975DD6}"/>
              </a:ext>
            </a:extLst>
          </p:cNvPr>
          <p:cNvSpPr/>
          <p:nvPr/>
        </p:nvSpPr>
        <p:spPr bwMode="gray">
          <a:xfrm>
            <a:off x="395280" y="4964568"/>
            <a:ext cx="442466" cy="2456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1-</a:t>
            </a:r>
            <a:br>
              <a:rPr lang="en-US" sz="800" dirty="0">
                <a:solidFill>
                  <a:schemeClr val="tx1"/>
                </a:solidFill>
              </a:rPr>
            </a:br>
            <a:r>
              <a:rPr lang="en-US" sz="800" dirty="0">
                <a:solidFill>
                  <a:schemeClr val="tx1"/>
                </a:solidFill>
              </a:rPr>
              <a:t>2024</a:t>
            </a:r>
          </a:p>
        </p:txBody>
      </p:sp>
      <p:sp>
        <p:nvSpPr>
          <p:cNvPr id="38" name="Oval 37">
            <a:extLst>
              <a:ext uri="{FF2B5EF4-FFF2-40B4-BE49-F238E27FC236}">
                <a16:creationId xmlns:a16="http://schemas.microsoft.com/office/drawing/2014/main" id="{3B006BDF-FED5-AED4-A051-F0D914816FA7}"/>
              </a:ext>
            </a:extLst>
          </p:cNvPr>
          <p:cNvSpPr/>
          <p:nvPr/>
        </p:nvSpPr>
        <p:spPr bwMode="gray">
          <a:xfrm>
            <a:off x="465131" y="522174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9" name="Rectangle 38">
            <a:extLst>
              <a:ext uri="{FF2B5EF4-FFF2-40B4-BE49-F238E27FC236}">
                <a16:creationId xmlns:a16="http://schemas.microsoft.com/office/drawing/2014/main" id="{9D0259DA-A12E-F61B-F866-E398205504FC}"/>
              </a:ext>
            </a:extLst>
          </p:cNvPr>
          <p:cNvSpPr/>
          <p:nvPr/>
        </p:nvSpPr>
        <p:spPr bwMode="gray">
          <a:xfrm>
            <a:off x="799197" y="5019675"/>
            <a:ext cx="4366309" cy="3462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endParaRPr lang="en-US" sz="800" dirty="0">
              <a:solidFill>
                <a:schemeClr val="tx1"/>
              </a:solidFill>
            </a:endParaRPr>
          </a:p>
        </p:txBody>
      </p:sp>
      <p:sp>
        <p:nvSpPr>
          <p:cNvPr id="40" name="Rectangle 39">
            <a:extLst>
              <a:ext uri="{FF2B5EF4-FFF2-40B4-BE49-F238E27FC236}">
                <a16:creationId xmlns:a16="http://schemas.microsoft.com/office/drawing/2014/main" id="{F2D0F210-F20E-9B49-5B06-5E33E85DE8C6}"/>
              </a:ext>
            </a:extLst>
          </p:cNvPr>
          <p:cNvSpPr/>
          <p:nvPr/>
        </p:nvSpPr>
        <p:spPr bwMode="gray">
          <a:xfrm>
            <a:off x="760360" y="4295279"/>
            <a:ext cx="4906821" cy="393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Recognizes geothermal as a baseload renewable resource supporting grid stability, resulting in prioritization of geothermal in planning.</a:t>
            </a:r>
          </a:p>
        </p:txBody>
      </p:sp>
      <p:sp>
        <p:nvSpPr>
          <p:cNvPr id="41" name="Rectangle 40">
            <a:extLst>
              <a:ext uri="{FF2B5EF4-FFF2-40B4-BE49-F238E27FC236}">
                <a16:creationId xmlns:a16="http://schemas.microsoft.com/office/drawing/2014/main" id="{2D953CB2-3D85-7285-9334-8E01A8931CB7}"/>
              </a:ext>
            </a:extLst>
          </p:cNvPr>
          <p:cNvSpPr/>
          <p:nvPr/>
        </p:nvSpPr>
        <p:spPr bwMode="gray">
          <a:xfrm>
            <a:off x="778354" y="3604520"/>
            <a:ext cx="4881522" cy="4562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900" dirty="0">
                <a:solidFill>
                  <a:schemeClr val="tx1"/>
                </a:solidFill>
              </a:rPr>
              <a:t>Revises feed-in-tariff scheme (geothermal tariff US10.5¢/kWh for 10 years), triggering surge of private financing and foreign interest (2011-2016 boom). Enables bankable PPAs under YEKDEM. Growth continues with the World Bank-Türkiye Development Project in 2016.</a:t>
            </a:r>
          </a:p>
        </p:txBody>
      </p:sp>
      <p:sp>
        <p:nvSpPr>
          <p:cNvPr id="44" name="Rectangle 43">
            <a:extLst>
              <a:ext uri="{FF2B5EF4-FFF2-40B4-BE49-F238E27FC236}">
                <a16:creationId xmlns:a16="http://schemas.microsoft.com/office/drawing/2014/main" id="{154176EB-8ED7-1BE5-507F-D9467BFA35DE}"/>
              </a:ext>
            </a:extLst>
          </p:cNvPr>
          <p:cNvSpPr/>
          <p:nvPr/>
        </p:nvSpPr>
        <p:spPr bwMode="gray">
          <a:xfrm>
            <a:off x="760360" y="4872874"/>
            <a:ext cx="4876003" cy="5699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Converts FITs from USD to TRY due to TRY devaluation. That limits new investments but keeps the industry stable. Between 2022 and 2025, continues RSM and concessional funding with no new FIT scheme beyond 2025. Industry is focused on efficiency upgrades and binary cycle retrofits.</a:t>
            </a:r>
          </a:p>
        </p:txBody>
      </p:sp>
      <p:graphicFrame>
        <p:nvGraphicFramePr>
          <p:cNvPr id="189" name="Chart 188">
            <a:extLst>
              <a:ext uri="{FF2B5EF4-FFF2-40B4-BE49-F238E27FC236}">
                <a16:creationId xmlns:a16="http://schemas.microsoft.com/office/drawing/2014/main" id="{8CD3310A-ECD0-B69C-83CC-E5177D413CD4}"/>
              </a:ext>
            </a:extLst>
          </p:cNvPr>
          <p:cNvGraphicFramePr/>
          <p:nvPr>
            <p:custDataLst>
              <p:tags r:id="rId2"/>
            </p:custDataLst>
            <p:extLst>
              <p:ext uri="{D42A27DB-BD31-4B8C-83A1-F6EECF244321}">
                <p14:modId xmlns:p14="http://schemas.microsoft.com/office/powerpoint/2010/main" val="1386553291"/>
              </p:ext>
            </p:extLst>
          </p:nvPr>
        </p:nvGraphicFramePr>
        <p:xfrm>
          <a:off x="5994400" y="4171950"/>
          <a:ext cx="6037263" cy="1658938"/>
        </p:xfrm>
        <a:graphic>
          <a:graphicData uri="http://schemas.openxmlformats.org/drawingml/2006/chart">
            <c:chart xmlns:c="http://schemas.openxmlformats.org/drawingml/2006/chart" xmlns:r="http://schemas.openxmlformats.org/officeDocument/2006/relationships" r:id="rId42"/>
          </a:graphicData>
        </a:graphic>
      </p:graphicFrame>
      <p:cxnSp>
        <p:nvCxnSpPr>
          <p:cNvPr id="46" name="Straight Connector 45">
            <a:extLst>
              <a:ext uri="{FF2B5EF4-FFF2-40B4-BE49-F238E27FC236}">
                <a16:creationId xmlns:a16="http://schemas.microsoft.com/office/drawing/2014/main" id="{D15B94AF-8B85-E49C-C7E4-7396A4C6C18A}"/>
              </a:ext>
            </a:extLst>
          </p:cNvPr>
          <p:cNvCxnSpPr/>
          <p:nvPr>
            <p:custDataLst>
              <p:tags r:id="rId3"/>
            </p:custDataLst>
          </p:nvPr>
        </p:nvCxnSpPr>
        <p:spPr bwMode="gray">
          <a:xfrm>
            <a:off x="11377613" y="4254500"/>
            <a:ext cx="407988" cy="0"/>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99652141-22AD-D7A3-D507-F023E878B523}"/>
              </a:ext>
            </a:extLst>
          </p:cNvPr>
          <p:cNvCxnSpPr/>
          <p:nvPr>
            <p:custDataLst>
              <p:tags r:id="rId4"/>
            </p:custDataLst>
          </p:nvPr>
        </p:nvCxnSpPr>
        <p:spPr bwMode="gray">
          <a:xfrm>
            <a:off x="11377613" y="4254500"/>
            <a:ext cx="0" cy="1489075"/>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BBBFBF18-D6AC-3372-DF76-387E38EE7069}"/>
              </a:ext>
            </a:extLst>
          </p:cNvPr>
          <p:cNvCxnSpPr/>
          <p:nvPr>
            <p:custDataLst>
              <p:tags r:id="rId5"/>
            </p:custDataLst>
          </p:nvPr>
        </p:nvCxnSpPr>
        <p:spPr bwMode="gray">
          <a:xfrm>
            <a:off x="11785600" y="4254500"/>
            <a:ext cx="0" cy="1489075"/>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60FD1069-7DB8-C8A7-6E1D-DFAE3959AAF4}"/>
              </a:ext>
            </a:extLst>
          </p:cNvPr>
          <p:cNvCxnSpPr>
            <a:cxnSpLocks/>
          </p:cNvCxnSpPr>
          <p:nvPr>
            <p:custDataLst>
              <p:tags r:id="rId6"/>
            </p:custDataLst>
          </p:nvPr>
        </p:nvCxnSpPr>
        <p:spPr bwMode="gray">
          <a:xfrm>
            <a:off x="6442075" y="5170488"/>
            <a:ext cx="735013" cy="0"/>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217FF8A-AB81-EEC9-1814-DAA89EE82C82}"/>
              </a:ext>
            </a:extLst>
          </p:cNvPr>
          <p:cNvCxnSpPr/>
          <p:nvPr>
            <p:custDataLst>
              <p:tags r:id="rId7"/>
            </p:custDataLst>
          </p:nvPr>
        </p:nvCxnSpPr>
        <p:spPr bwMode="gray">
          <a:xfrm flipV="1">
            <a:off x="7177088" y="5141913"/>
            <a:ext cx="733425" cy="28575"/>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CB07919-03C4-981C-FCCE-B341E93A1C28}"/>
              </a:ext>
            </a:extLst>
          </p:cNvPr>
          <p:cNvCxnSpPr/>
          <p:nvPr>
            <p:custDataLst>
              <p:tags r:id="rId8"/>
            </p:custDataLst>
          </p:nvPr>
        </p:nvCxnSpPr>
        <p:spPr bwMode="gray">
          <a:xfrm flipV="1">
            <a:off x="7910513" y="4943475"/>
            <a:ext cx="735013" cy="198438"/>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75ECC2F-0964-9314-F299-61EF533E06ED}"/>
              </a:ext>
            </a:extLst>
          </p:cNvPr>
          <p:cNvCxnSpPr/>
          <p:nvPr>
            <p:custDataLst>
              <p:tags r:id="rId9"/>
            </p:custDataLst>
          </p:nvPr>
        </p:nvCxnSpPr>
        <p:spPr bwMode="gray">
          <a:xfrm flipV="1">
            <a:off x="8645525" y="4573588"/>
            <a:ext cx="733425" cy="369888"/>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40A468A-17FB-E845-B783-844E722A8C6B}"/>
              </a:ext>
            </a:extLst>
          </p:cNvPr>
          <p:cNvCxnSpPr>
            <a:cxnSpLocks/>
          </p:cNvCxnSpPr>
          <p:nvPr>
            <p:custDataLst>
              <p:tags r:id="rId10"/>
            </p:custDataLst>
          </p:nvPr>
        </p:nvCxnSpPr>
        <p:spPr bwMode="gray">
          <a:xfrm flipV="1">
            <a:off x="9378950" y="4529138"/>
            <a:ext cx="733425" cy="44450"/>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0253058-54CD-BA91-2E5E-368801E6C357}"/>
              </a:ext>
            </a:extLst>
          </p:cNvPr>
          <p:cNvCxnSpPr>
            <a:cxnSpLocks/>
          </p:cNvCxnSpPr>
          <p:nvPr>
            <p:custDataLst>
              <p:tags r:id="rId11"/>
            </p:custDataLst>
          </p:nvPr>
        </p:nvCxnSpPr>
        <p:spPr bwMode="gray">
          <a:xfrm flipV="1">
            <a:off x="10112375" y="3683000"/>
            <a:ext cx="1468438" cy="846138"/>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 name="Text Placeholder 10">
            <a:extLst>
              <a:ext uri="{FF2B5EF4-FFF2-40B4-BE49-F238E27FC236}">
                <a16:creationId xmlns:a16="http://schemas.microsoft.com/office/drawing/2014/main" id="{A51B621F-4A30-4089-BE55-1A657D50F706}"/>
              </a:ext>
            </a:extLst>
          </p:cNvPr>
          <p:cNvSpPr txBox="1">
            <a:spLocks/>
          </p:cNvSpPr>
          <p:nvPr>
            <p:custDataLst>
              <p:tags r:id="rId12"/>
            </p:custDataLst>
          </p:nvPr>
        </p:nvSpPr>
        <p:spPr bwMode="auto">
          <a:xfrm>
            <a:off x="6296025"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1DBBC8-E995-4F8A-B82C-F78EB0E1AF61}" type="datetime'''20''''''''''0''''''''''''''0'''''''">
              <a:rPr lang="en-US" altLang="en-US" sz="1000" smtClean="0"/>
              <a:pPr marL="0" indent="0" algn="ctr">
                <a:spcBef>
                  <a:spcPct val="0"/>
                </a:spcBef>
                <a:spcAft>
                  <a:spcPct val="0"/>
                </a:spcAft>
                <a:buNone/>
              </a:pPr>
              <a:t>2000</a:t>
            </a:fld>
            <a:endParaRPr lang="en-US" sz="1000" dirty="0"/>
          </a:p>
        </p:txBody>
      </p:sp>
      <p:sp>
        <p:nvSpPr>
          <p:cNvPr id="56" name="Text Placeholder 10">
            <a:extLst>
              <a:ext uri="{FF2B5EF4-FFF2-40B4-BE49-F238E27FC236}">
                <a16:creationId xmlns:a16="http://schemas.microsoft.com/office/drawing/2014/main" id="{340569F3-BD52-235B-46AE-C7EE8CC4339B}"/>
              </a:ext>
            </a:extLst>
          </p:cNvPr>
          <p:cNvSpPr txBox="1">
            <a:spLocks/>
          </p:cNvSpPr>
          <p:nvPr>
            <p:custDataLst>
              <p:tags r:id="rId13"/>
            </p:custDataLst>
          </p:nvPr>
        </p:nvSpPr>
        <p:spPr bwMode="auto">
          <a:xfrm>
            <a:off x="11434763"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DF610-1038-4EE2-B90E-C679A5B8E24B}" type="datetime'2''''''''''''''''''''''0''''3''''0'''''''''">
              <a:rPr lang="en-US" altLang="en-US" sz="1000" smtClean="0"/>
              <a:pPr marL="0" indent="0" algn="ctr">
                <a:spcBef>
                  <a:spcPct val="0"/>
                </a:spcBef>
                <a:spcAft>
                  <a:spcPct val="0"/>
                </a:spcAft>
                <a:buNone/>
              </a:pPr>
              <a:t>2030</a:t>
            </a:fld>
            <a:endParaRPr lang="en-US" sz="1000" dirty="0"/>
          </a:p>
        </p:txBody>
      </p:sp>
      <p:sp>
        <p:nvSpPr>
          <p:cNvPr id="57" name="Text Placeholder 10">
            <a:extLst>
              <a:ext uri="{FF2B5EF4-FFF2-40B4-BE49-F238E27FC236}">
                <a16:creationId xmlns:a16="http://schemas.microsoft.com/office/drawing/2014/main" id="{D087A678-984A-0CA2-23F4-7B41167D0A61}"/>
              </a:ext>
            </a:extLst>
          </p:cNvPr>
          <p:cNvSpPr txBox="1">
            <a:spLocks/>
          </p:cNvSpPr>
          <p:nvPr>
            <p:custDataLst>
              <p:tags r:id="rId14"/>
            </p:custDataLst>
          </p:nvPr>
        </p:nvSpPr>
        <p:spPr bwMode="auto">
          <a:xfrm>
            <a:off x="10777538" y="5791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a:t>
            </a:r>
            <a:endParaRPr lang="en-US" sz="1000" dirty="0"/>
          </a:p>
        </p:txBody>
      </p:sp>
      <p:sp>
        <p:nvSpPr>
          <p:cNvPr id="58" name="Text Placeholder 10">
            <a:extLst>
              <a:ext uri="{FF2B5EF4-FFF2-40B4-BE49-F238E27FC236}">
                <a16:creationId xmlns:a16="http://schemas.microsoft.com/office/drawing/2014/main" id="{F21CFD97-8B72-CDF7-371C-6BA94A00F391}"/>
              </a:ext>
            </a:extLst>
          </p:cNvPr>
          <p:cNvSpPr txBox="1">
            <a:spLocks/>
          </p:cNvSpPr>
          <p:nvPr>
            <p:custDataLst>
              <p:tags r:id="rId15"/>
            </p:custDataLst>
          </p:nvPr>
        </p:nvSpPr>
        <p:spPr bwMode="auto">
          <a:xfrm>
            <a:off x="9966325"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305E18-017A-49AA-A3D8-DBAC4F2AD0C6}" type="datetime'''''''2''''''0''''''''''''''''''''''''2''''''''4'''''''''''">
              <a:rPr lang="en-US" altLang="en-US" sz="1000" smtClean="0"/>
              <a:pPr marL="0" indent="0" algn="ctr">
                <a:spcBef>
                  <a:spcPct val="0"/>
                </a:spcBef>
                <a:spcAft>
                  <a:spcPct val="0"/>
                </a:spcAft>
                <a:buNone/>
              </a:pPr>
              <a:t>2024</a:t>
            </a:fld>
            <a:endParaRPr lang="en-US" sz="1000" dirty="0"/>
          </a:p>
        </p:txBody>
      </p:sp>
      <p:sp>
        <p:nvSpPr>
          <p:cNvPr id="59" name="Text Placeholder 10">
            <a:extLst>
              <a:ext uri="{FF2B5EF4-FFF2-40B4-BE49-F238E27FC236}">
                <a16:creationId xmlns:a16="http://schemas.microsoft.com/office/drawing/2014/main" id="{770406D3-D5C6-5E9E-3D04-1C3A8CDA0BD0}"/>
              </a:ext>
            </a:extLst>
          </p:cNvPr>
          <p:cNvSpPr txBox="1">
            <a:spLocks/>
          </p:cNvSpPr>
          <p:nvPr>
            <p:custDataLst>
              <p:tags r:id="rId16"/>
            </p:custDataLst>
          </p:nvPr>
        </p:nvSpPr>
        <p:spPr bwMode="auto">
          <a:xfrm>
            <a:off x="9232900"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B6D6E0-79CE-4B4E-B4D1-7A4C348456A8}" type="datetime'''2''''''''0''2''''''''''0'''''''''''''''''''''''''">
              <a:rPr lang="en-US" altLang="en-US" sz="1000" smtClean="0"/>
              <a:pPr marL="0" indent="0" algn="ctr">
                <a:spcBef>
                  <a:spcPct val="0"/>
                </a:spcBef>
                <a:spcAft>
                  <a:spcPct val="0"/>
                </a:spcAft>
                <a:buNone/>
              </a:pPr>
              <a:t>2020</a:t>
            </a:fld>
            <a:endParaRPr lang="en-US" sz="1000" dirty="0"/>
          </a:p>
        </p:txBody>
      </p:sp>
      <p:sp>
        <p:nvSpPr>
          <p:cNvPr id="60" name="Text Placeholder 10">
            <a:extLst>
              <a:ext uri="{FF2B5EF4-FFF2-40B4-BE49-F238E27FC236}">
                <a16:creationId xmlns:a16="http://schemas.microsoft.com/office/drawing/2014/main" id="{70C49C82-2F16-21F1-C504-B9DEE29DA67B}"/>
              </a:ext>
            </a:extLst>
          </p:cNvPr>
          <p:cNvSpPr txBox="1">
            <a:spLocks/>
          </p:cNvSpPr>
          <p:nvPr>
            <p:custDataLst>
              <p:tags r:id="rId17"/>
            </p:custDataLst>
          </p:nvPr>
        </p:nvSpPr>
        <p:spPr bwMode="auto">
          <a:xfrm>
            <a:off x="8499475"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B709D9-8CD4-49FB-AAA0-1D3D98A9CAAD}" type="datetime'''''2''''''''''''''''''''''''''0''''''''''''''1''''''5'''''''">
              <a:rPr lang="en-US" altLang="en-US" sz="1000" smtClean="0"/>
              <a:pPr marL="0" indent="0" algn="ctr">
                <a:spcBef>
                  <a:spcPct val="0"/>
                </a:spcBef>
                <a:spcAft>
                  <a:spcPct val="0"/>
                </a:spcAft>
                <a:buNone/>
              </a:pPr>
              <a:t>2015</a:t>
            </a:fld>
            <a:endParaRPr lang="en-US" sz="1000" dirty="0"/>
          </a:p>
        </p:txBody>
      </p:sp>
      <p:sp>
        <p:nvSpPr>
          <p:cNvPr id="61" name="Text Placeholder 10">
            <a:extLst>
              <a:ext uri="{FF2B5EF4-FFF2-40B4-BE49-F238E27FC236}">
                <a16:creationId xmlns:a16="http://schemas.microsoft.com/office/drawing/2014/main" id="{5A5120E8-BB2A-3D78-BE40-EBB6A6758152}"/>
              </a:ext>
            </a:extLst>
          </p:cNvPr>
          <p:cNvSpPr txBox="1">
            <a:spLocks/>
          </p:cNvSpPr>
          <p:nvPr>
            <p:custDataLst>
              <p:tags r:id="rId18"/>
            </p:custDataLst>
          </p:nvPr>
        </p:nvSpPr>
        <p:spPr bwMode="auto">
          <a:xfrm>
            <a:off x="7764463"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221CEB-BA88-423C-9FB4-F63280C9EAA1}" type="datetime'20''''''''''''''''''''''''''''1''''0'''''''''''''''''">
              <a:rPr lang="en-US" altLang="en-US" sz="1000" smtClean="0"/>
              <a:pPr marL="0" indent="0" algn="ctr">
                <a:spcBef>
                  <a:spcPct val="0"/>
                </a:spcBef>
                <a:spcAft>
                  <a:spcPct val="0"/>
                </a:spcAft>
                <a:buNone/>
              </a:pPr>
              <a:t>2010</a:t>
            </a:fld>
            <a:endParaRPr lang="en-US" sz="1000" dirty="0"/>
          </a:p>
        </p:txBody>
      </p:sp>
      <p:sp>
        <p:nvSpPr>
          <p:cNvPr id="62" name="Text Placeholder 10">
            <a:extLst>
              <a:ext uri="{FF2B5EF4-FFF2-40B4-BE49-F238E27FC236}">
                <a16:creationId xmlns:a16="http://schemas.microsoft.com/office/drawing/2014/main" id="{DC714507-D2EC-E4EB-ECCC-0328992388CE}"/>
              </a:ext>
            </a:extLst>
          </p:cNvPr>
          <p:cNvSpPr txBox="1">
            <a:spLocks/>
          </p:cNvSpPr>
          <p:nvPr>
            <p:custDataLst>
              <p:tags r:id="rId19"/>
            </p:custDataLst>
          </p:nvPr>
        </p:nvSpPr>
        <p:spPr bwMode="auto">
          <a:xfrm>
            <a:off x="7031038" y="5791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6AD80B-4E36-47E9-B368-76F475398C5E}" type="datetime'''20''''''''''''''''0''''''''''''5'''''''''''''''''''">
              <a:rPr lang="en-US" altLang="en-US" sz="1000" smtClean="0"/>
              <a:pPr marL="0" indent="0" algn="ctr">
                <a:spcBef>
                  <a:spcPct val="0"/>
                </a:spcBef>
                <a:spcAft>
                  <a:spcPct val="0"/>
                </a:spcAft>
                <a:buNone/>
              </a:pPr>
              <a:t>2005</a:t>
            </a:fld>
            <a:endParaRPr lang="en-US" sz="1000" dirty="0"/>
          </a:p>
        </p:txBody>
      </p:sp>
      <p:sp>
        <p:nvSpPr>
          <p:cNvPr id="63" name="Text Placeholder 10">
            <a:extLst>
              <a:ext uri="{FF2B5EF4-FFF2-40B4-BE49-F238E27FC236}">
                <a16:creationId xmlns:a16="http://schemas.microsoft.com/office/drawing/2014/main" id="{328F7392-3B58-9809-B500-70E96A38AE79}"/>
              </a:ext>
            </a:extLst>
          </p:cNvPr>
          <p:cNvSpPr txBox="1">
            <a:spLocks/>
          </p:cNvSpPr>
          <p:nvPr>
            <p:custDataLst>
              <p:tags r:id="rId20"/>
            </p:custDataLst>
          </p:nvPr>
        </p:nvSpPr>
        <p:spPr bwMode="gray">
          <a:xfrm>
            <a:off x="6302375" y="5564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3C834A-FEBF-4083-8C68-BC98072B91C3}" type="datetime'0'''''''''''''''''''''',''02'''''''''''">
              <a:rPr lang="en-US" altLang="en-US" sz="1000" smtClean="0"/>
              <a:pPr marL="0" indent="0" algn="ctr">
                <a:spcBef>
                  <a:spcPct val="0"/>
                </a:spcBef>
                <a:spcAft>
                  <a:spcPct val="0"/>
                </a:spcAft>
                <a:buNone/>
              </a:pPr>
              <a:t>0,02</a:t>
            </a:fld>
            <a:endParaRPr lang="en-US" sz="1000" dirty="0"/>
          </a:p>
        </p:txBody>
      </p:sp>
      <p:sp>
        <p:nvSpPr>
          <p:cNvPr id="64" name="Text Placeholder 10">
            <a:extLst>
              <a:ext uri="{FF2B5EF4-FFF2-40B4-BE49-F238E27FC236}">
                <a16:creationId xmlns:a16="http://schemas.microsoft.com/office/drawing/2014/main" id="{14684DA7-9B2E-5A04-9658-AA9C2F16C583}"/>
              </a:ext>
            </a:extLst>
          </p:cNvPr>
          <p:cNvSpPr txBox="1">
            <a:spLocks/>
          </p:cNvSpPr>
          <p:nvPr>
            <p:custDataLst>
              <p:tags r:id="rId21"/>
            </p:custDataLst>
          </p:nvPr>
        </p:nvSpPr>
        <p:spPr bwMode="gray">
          <a:xfrm>
            <a:off x="7037388" y="5564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468C7BD-E2A8-4A40-A57B-4FAED22CA614}" type="datetime'0'''''',''''''''''''0''''''''''''''''''''''''''''''''''''2'">
              <a:rPr lang="en-US" altLang="en-US" sz="1000" smtClean="0"/>
              <a:pPr marL="0" indent="0" algn="ctr">
                <a:spcBef>
                  <a:spcPct val="0"/>
                </a:spcBef>
                <a:spcAft>
                  <a:spcPct val="0"/>
                </a:spcAft>
                <a:buNone/>
              </a:pPr>
              <a:t>0,02</a:t>
            </a:fld>
            <a:endParaRPr lang="en-US" sz="1000" dirty="0"/>
          </a:p>
        </p:txBody>
      </p:sp>
      <p:sp>
        <p:nvSpPr>
          <p:cNvPr id="65" name="Text Placeholder 10">
            <a:extLst>
              <a:ext uri="{FF2B5EF4-FFF2-40B4-BE49-F238E27FC236}">
                <a16:creationId xmlns:a16="http://schemas.microsoft.com/office/drawing/2014/main" id="{86075354-06B9-A05D-2705-7E942F5D1A58}"/>
              </a:ext>
            </a:extLst>
          </p:cNvPr>
          <p:cNvSpPr txBox="1">
            <a:spLocks/>
          </p:cNvSpPr>
          <p:nvPr>
            <p:custDataLst>
              <p:tags r:id="rId22"/>
            </p:custDataLst>
          </p:nvPr>
        </p:nvSpPr>
        <p:spPr bwMode="gray">
          <a:xfrm>
            <a:off x="7770813" y="5535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9A741A-CC1E-4F71-8B8A-86B23844E964}" type="datetime'''0'''',''''''''''''''''''0''''''''''''''''''''''''''''''''9'">
              <a:rPr lang="en-US" altLang="en-US" sz="1000" smtClean="0"/>
              <a:pPr marL="0" indent="0" algn="ctr">
                <a:spcBef>
                  <a:spcPct val="0"/>
                </a:spcBef>
                <a:spcAft>
                  <a:spcPct val="0"/>
                </a:spcAft>
                <a:buNone/>
              </a:pPr>
              <a:t>0,09</a:t>
            </a:fld>
            <a:endParaRPr lang="en-US" sz="1000" dirty="0"/>
          </a:p>
        </p:txBody>
      </p:sp>
      <p:sp>
        <p:nvSpPr>
          <p:cNvPr id="66" name="Text Placeholder 10">
            <a:extLst>
              <a:ext uri="{FF2B5EF4-FFF2-40B4-BE49-F238E27FC236}">
                <a16:creationId xmlns:a16="http://schemas.microsoft.com/office/drawing/2014/main" id="{DF08F6C6-D327-8154-AC37-F784FD9E220A}"/>
              </a:ext>
            </a:extLst>
          </p:cNvPr>
          <p:cNvSpPr txBox="1">
            <a:spLocks/>
          </p:cNvSpPr>
          <p:nvPr>
            <p:custDataLst>
              <p:tags r:id="rId23"/>
            </p:custDataLst>
          </p:nvPr>
        </p:nvSpPr>
        <p:spPr bwMode="gray">
          <a:xfrm>
            <a:off x="8505825" y="5337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7B0949-3E3F-44A0-8C47-AF04DADBF615}" type="datetime'''0'''''',''''''''''''''''''''6''''''''''''''''''''''2'''''''">
              <a:rPr lang="en-US" altLang="en-US" sz="1000" smtClean="0"/>
              <a:pPr marL="0" indent="0" algn="ctr">
                <a:spcBef>
                  <a:spcPct val="0"/>
                </a:spcBef>
                <a:spcAft>
                  <a:spcPct val="0"/>
                </a:spcAft>
                <a:buNone/>
              </a:pPr>
              <a:t>0,62</a:t>
            </a:fld>
            <a:endParaRPr lang="en-US" sz="1000" dirty="0"/>
          </a:p>
        </p:txBody>
      </p:sp>
      <p:sp>
        <p:nvSpPr>
          <p:cNvPr id="67" name="Text Placeholder 10">
            <a:extLst>
              <a:ext uri="{FF2B5EF4-FFF2-40B4-BE49-F238E27FC236}">
                <a16:creationId xmlns:a16="http://schemas.microsoft.com/office/drawing/2014/main" id="{DA8CB00C-E164-1B2E-4E6F-12D93DEC8468}"/>
              </a:ext>
            </a:extLst>
          </p:cNvPr>
          <p:cNvSpPr txBox="1">
            <a:spLocks/>
          </p:cNvSpPr>
          <p:nvPr>
            <p:custDataLst>
              <p:tags r:id="rId24"/>
            </p:custDataLst>
          </p:nvPr>
        </p:nvSpPr>
        <p:spPr bwMode="gray">
          <a:xfrm>
            <a:off x="9239250" y="4967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84EE7F-B55D-498C-814C-20118F1D038F}" type="datetime'''''''''1'''''''''''''',''''6''''''''''''''''1'''''''''''">
              <a:rPr lang="en-US" altLang="en-US" sz="1000" smtClean="0"/>
              <a:pPr marL="0" indent="0" algn="ctr">
                <a:spcBef>
                  <a:spcPct val="0"/>
                </a:spcBef>
                <a:spcAft>
                  <a:spcPct val="0"/>
                </a:spcAft>
                <a:buNone/>
              </a:pPr>
              <a:t>1,61</a:t>
            </a:fld>
            <a:endParaRPr lang="en-US" sz="1000" dirty="0"/>
          </a:p>
        </p:txBody>
      </p:sp>
      <p:sp>
        <p:nvSpPr>
          <p:cNvPr id="68" name="Text Placeholder 10">
            <a:extLst>
              <a:ext uri="{FF2B5EF4-FFF2-40B4-BE49-F238E27FC236}">
                <a16:creationId xmlns:a16="http://schemas.microsoft.com/office/drawing/2014/main" id="{28C21FF6-CD1C-4BFD-3AEE-B0A80045E664}"/>
              </a:ext>
            </a:extLst>
          </p:cNvPr>
          <p:cNvSpPr txBox="1">
            <a:spLocks/>
          </p:cNvSpPr>
          <p:nvPr>
            <p:custDataLst>
              <p:tags r:id="rId25"/>
            </p:custDataLst>
          </p:nvPr>
        </p:nvSpPr>
        <p:spPr bwMode="gray">
          <a:xfrm>
            <a:off x="9972675" y="4922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74AEC3-9D3A-4067-B2F1-B2F4A9F91CD9}" type="datetime'''''''''''''''1'''',7''''''''3'''''">
              <a:rPr lang="en-US" altLang="en-US" sz="1000" smtClean="0"/>
              <a:pPr marL="0" indent="0" algn="ctr">
                <a:spcBef>
                  <a:spcPct val="0"/>
                </a:spcBef>
                <a:spcAft>
                  <a:spcPct val="0"/>
                </a:spcAft>
                <a:buNone/>
              </a:pPr>
              <a:t>1,73</a:t>
            </a:fld>
            <a:endParaRPr lang="en-US" sz="1000" dirty="0"/>
          </a:p>
        </p:txBody>
      </p:sp>
      <p:sp>
        <p:nvSpPr>
          <p:cNvPr id="69" name="Text Placeholder 10">
            <a:extLst>
              <a:ext uri="{FF2B5EF4-FFF2-40B4-BE49-F238E27FC236}">
                <a16:creationId xmlns:a16="http://schemas.microsoft.com/office/drawing/2014/main" id="{05CE422F-0F47-A45F-CAF8-58FB31256490}"/>
              </a:ext>
            </a:extLst>
          </p:cNvPr>
          <p:cNvSpPr txBox="1">
            <a:spLocks/>
          </p:cNvSpPr>
          <p:nvPr>
            <p:custDataLst>
              <p:tags r:id="rId26"/>
            </p:custDataLst>
          </p:nvPr>
        </p:nvSpPr>
        <p:spPr bwMode="gray">
          <a:xfrm>
            <a:off x="11441113" y="4076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E092A4-0E56-4076-A76A-074675CFF4A3}" type="datetime'''''''''4'''''''''''''''''''''''''''''',''0''''0'">
              <a:rPr lang="en-US" altLang="en-US" sz="1000" smtClean="0"/>
              <a:pPr marL="0" indent="0" algn="ctr">
                <a:spcBef>
                  <a:spcPct val="0"/>
                </a:spcBef>
                <a:spcAft>
                  <a:spcPct val="0"/>
                </a:spcAft>
                <a:buNone/>
              </a:pPr>
              <a:t>4,00</a:t>
            </a:fld>
            <a:endParaRPr lang="en-US" sz="1000" dirty="0"/>
          </a:p>
        </p:txBody>
      </p:sp>
      <p:sp>
        <p:nvSpPr>
          <p:cNvPr id="70" name="Text Placeholder 10">
            <a:extLst>
              <a:ext uri="{FF2B5EF4-FFF2-40B4-BE49-F238E27FC236}">
                <a16:creationId xmlns:a16="http://schemas.microsoft.com/office/drawing/2014/main" id="{C14752F2-0CC2-235C-44A3-E281069D362A}"/>
              </a:ext>
            </a:extLst>
          </p:cNvPr>
          <p:cNvSpPr txBox="1">
            <a:spLocks/>
          </p:cNvSpPr>
          <p:nvPr>
            <p:custDataLst>
              <p:tags r:id="rId27"/>
            </p:custDataLst>
          </p:nvPr>
        </p:nvSpPr>
        <p:spPr bwMode="auto">
          <a:xfrm>
            <a:off x="6650038" y="5062538"/>
            <a:ext cx="319088"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A0B9DC-2C0F-4A02-A6E7-271E53A3C5F5}" type="datetime'''''''''''''''''''''''''''-''''''''''''''''''4''''%'''''''">
              <a:rPr lang="en-US" altLang="en-US" sz="1000" smtClean="0">
                <a:effectLst/>
              </a:rPr>
              <a:pPr marL="0" indent="0" algn="ctr">
                <a:spcBef>
                  <a:spcPct val="0"/>
                </a:spcBef>
                <a:spcAft>
                  <a:spcPct val="0"/>
                </a:spcAft>
                <a:buNone/>
              </a:pPr>
              <a:t>-4%</a:t>
            </a:fld>
            <a:endParaRPr lang="en-US" sz="1000" dirty="0"/>
          </a:p>
        </p:txBody>
      </p:sp>
      <p:sp>
        <p:nvSpPr>
          <p:cNvPr id="71" name="Text Placeholder 10">
            <a:extLst>
              <a:ext uri="{FF2B5EF4-FFF2-40B4-BE49-F238E27FC236}">
                <a16:creationId xmlns:a16="http://schemas.microsoft.com/office/drawing/2014/main" id="{243BB0DD-D510-1277-102E-A863853E7FFD}"/>
              </a:ext>
            </a:extLst>
          </p:cNvPr>
          <p:cNvSpPr txBox="1">
            <a:spLocks/>
          </p:cNvSpPr>
          <p:nvPr>
            <p:custDataLst>
              <p:tags r:id="rId28"/>
            </p:custDataLst>
          </p:nvPr>
        </p:nvSpPr>
        <p:spPr bwMode="auto">
          <a:xfrm>
            <a:off x="7312025" y="5048250"/>
            <a:ext cx="463550"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44080B-CEA8-4D70-9992-EB0DE8A56E0F}" type="datetime'''+4''''''''''''4''''%'''''''''''''''''''''''''''''''''">
              <a:rPr lang="en-US" altLang="en-US" sz="1000" smtClean="0">
                <a:effectLst/>
              </a:rPr>
              <a:pPr marL="0" indent="0" algn="ctr">
                <a:spcBef>
                  <a:spcPct val="0"/>
                </a:spcBef>
                <a:spcAft>
                  <a:spcPct val="0"/>
                </a:spcAft>
                <a:buNone/>
              </a:pPr>
              <a:t>+44%</a:t>
            </a:fld>
            <a:endParaRPr lang="en-US" sz="1000" dirty="0"/>
          </a:p>
        </p:txBody>
      </p:sp>
      <p:sp>
        <p:nvSpPr>
          <p:cNvPr id="72" name="Text Placeholder 10">
            <a:extLst>
              <a:ext uri="{FF2B5EF4-FFF2-40B4-BE49-F238E27FC236}">
                <a16:creationId xmlns:a16="http://schemas.microsoft.com/office/drawing/2014/main" id="{AE539EC6-102A-7E7C-DBA8-69C6BFD6C4C4}"/>
              </a:ext>
            </a:extLst>
          </p:cNvPr>
          <p:cNvSpPr txBox="1">
            <a:spLocks/>
          </p:cNvSpPr>
          <p:nvPr>
            <p:custDataLst>
              <p:tags r:id="rId29"/>
            </p:custDataLst>
          </p:nvPr>
        </p:nvSpPr>
        <p:spPr bwMode="auto">
          <a:xfrm>
            <a:off x="8045450" y="4933950"/>
            <a:ext cx="463550"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2926F2-623B-4AE2-B41D-9D7269EDDB56}" type="datetime'''''''''''''+''4''''''''6%'''''">
              <a:rPr lang="en-US" altLang="en-US" sz="1000" smtClean="0">
                <a:effectLst/>
              </a:rPr>
              <a:pPr marL="0" indent="0" algn="ctr">
                <a:spcBef>
                  <a:spcPct val="0"/>
                </a:spcBef>
                <a:spcAft>
                  <a:spcPct val="0"/>
                </a:spcAft>
                <a:buNone/>
              </a:pPr>
              <a:t>+46%</a:t>
            </a:fld>
            <a:endParaRPr lang="en-US" sz="1000" dirty="0"/>
          </a:p>
        </p:txBody>
      </p:sp>
      <p:sp>
        <p:nvSpPr>
          <p:cNvPr id="73" name="Text Placeholder 10">
            <a:extLst>
              <a:ext uri="{FF2B5EF4-FFF2-40B4-BE49-F238E27FC236}">
                <a16:creationId xmlns:a16="http://schemas.microsoft.com/office/drawing/2014/main" id="{0D8F5F2F-EA2A-F3A3-D3FC-637F9348C613}"/>
              </a:ext>
            </a:extLst>
          </p:cNvPr>
          <p:cNvSpPr txBox="1">
            <a:spLocks/>
          </p:cNvSpPr>
          <p:nvPr>
            <p:custDataLst>
              <p:tags r:id="rId30"/>
            </p:custDataLst>
          </p:nvPr>
        </p:nvSpPr>
        <p:spPr bwMode="auto">
          <a:xfrm>
            <a:off x="8780463" y="4649788"/>
            <a:ext cx="463550"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0E3234-F490-4573-98B9-26B5DE241B02}" type="datetime'''+''''2''''''''''''''''''''''''1''%'''''">
              <a:rPr lang="en-US" altLang="en-US" sz="1000" smtClean="0">
                <a:effectLst/>
              </a:rPr>
              <a:pPr marL="0" indent="0" algn="ctr">
                <a:spcBef>
                  <a:spcPct val="0"/>
                </a:spcBef>
                <a:spcAft>
                  <a:spcPct val="0"/>
                </a:spcAft>
                <a:buNone/>
              </a:pPr>
              <a:t>+21%</a:t>
            </a:fld>
            <a:endParaRPr lang="en-US" sz="1000" dirty="0"/>
          </a:p>
        </p:txBody>
      </p:sp>
      <p:sp>
        <p:nvSpPr>
          <p:cNvPr id="74" name="Text Placeholder 10">
            <a:extLst>
              <a:ext uri="{FF2B5EF4-FFF2-40B4-BE49-F238E27FC236}">
                <a16:creationId xmlns:a16="http://schemas.microsoft.com/office/drawing/2014/main" id="{F7B64BC7-4446-7D71-AA32-EA5D3902544F}"/>
              </a:ext>
            </a:extLst>
          </p:cNvPr>
          <p:cNvSpPr txBox="1">
            <a:spLocks/>
          </p:cNvSpPr>
          <p:nvPr>
            <p:custDataLst>
              <p:tags r:id="rId31"/>
            </p:custDataLst>
          </p:nvPr>
        </p:nvSpPr>
        <p:spPr bwMode="auto">
          <a:xfrm>
            <a:off x="9563100" y="4443413"/>
            <a:ext cx="365125"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852F9C-4C3F-42E1-A3A9-ECA45271E5C9}" type="datetime'''''''''''''''+''''''''''''''2''%'''''">
              <a:rPr lang="en-US" altLang="en-US" sz="1000" smtClean="0">
                <a:effectLst/>
              </a:rPr>
              <a:pPr marL="0" indent="0" algn="ctr">
                <a:spcBef>
                  <a:spcPct val="0"/>
                </a:spcBef>
                <a:spcAft>
                  <a:spcPct val="0"/>
                </a:spcAft>
                <a:buNone/>
              </a:pPr>
              <a:t>+2%</a:t>
            </a:fld>
            <a:endParaRPr lang="en-US" sz="1000" dirty="0"/>
          </a:p>
        </p:txBody>
      </p:sp>
      <p:sp>
        <p:nvSpPr>
          <p:cNvPr id="75" name="Text Placeholder 10">
            <a:extLst>
              <a:ext uri="{FF2B5EF4-FFF2-40B4-BE49-F238E27FC236}">
                <a16:creationId xmlns:a16="http://schemas.microsoft.com/office/drawing/2014/main" id="{58BFB049-1D5D-89F0-0398-F425223C154E}"/>
              </a:ext>
            </a:extLst>
          </p:cNvPr>
          <p:cNvSpPr txBox="1">
            <a:spLocks/>
          </p:cNvSpPr>
          <p:nvPr>
            <p:custDataLst>
              <p:tags r:id="rId32"/>
            </p:custDataLst>
          </p:nvPr>
        </p:nvSpPr>
        <p:spPr bwMode="auto">
          <a:xfrm>
            <a:off x="10614025" y="3997325"/>
            <a:ext cx="463550"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A14DE4-5D8E-4BA9-94AA-38CDB83DE2D4}" type="datetime'''''+''1''5''''''''''''''''''''''%'''''''''''''''''''">
              <a:rPr lang="en-US" altLang="en-US" sz="1000" smtClean="0">
                <a:effectLst/>
              </a:rPr>
              <a:pPr marL="0" indent="0" algn="ctr">
                <a:spcBef>
                  <a:spcPct val="0"/>
                </a:spcBef>
                <a:spcAft>
                  <a:spcPct val="0"/>
                </a:spcAft>
                <a:buNone/>
              </a:pPr>
              <a:t>+15%</a:t>
            </a:fld>
            <a:endParaRPr lang="en-US" sz="1000" dirty="0"/>
          </a:p>
        </p:txBody>
      </p:sp>
      <p:grpSp>
        <p:nvGrpSpPr>
          <p:cNvPr id="76" name="Group 75">
            <a:extLst>
              <a:ext uri="{FF2B5EF4-FFF2-40B4-BE49-F238E27FC236}">
                <a16:creationId xmlns:a16="http://schemas.microsoft.com/office/drawing/2014/main" id="{48E20541-7B2D-F3CA-0309-A030A5E9EEB7}"/>
              </a:ext>
            </a:extLst>
          </p:cNvPr>
          <p:cNvGrpSpPr/>
          <p:nvPr/>
        </p:nvGrpSpPr>
        <p:grpSpPr>
          <a:xfrm>
            <a:off x="6097677" y="2397940"/>
            <a:ext cx="4321086" cy="2023928"/>
            <a:chOff x="6491377" y="2057677"/>
            <a:chExt cx="4321086" cy="2023928"/>
          </a:xfrm>
        </p:grpSpPr>
        <p:grpSp>
          <p:nvGrpSpPr>
            <p:cNvPr id="77" name="Group 76">
              <a:extLst>
                <a:ext uri="{FF2B5EF4-FFF2-40B4-BE49-F238E27FC236}">
                  <a16:creationId xmlns:a16="http://schemas.microsoft.com/office/drawing/2014/main" id="{E62BD516-AFE8-6F90-A7D8-04EB66A7B028}"/>
                </a:ext>
              </a:extLst>
            </p:cNvPr>
            <p:cNvGrpSpPr/>
            <p:nvPr/>
          </p:nvGrpSpPr>
          <p:grpSpPr>
            <a:xfrm>
              <a:off x="6491377" y="2057677"/>
              <a:ext cx="3919593" cy="2023928"/>
              <a:chOff x="6491377" y="2057677"/>
              <a:chExt cx="3919593" cy="2023928"/>
            </a:xfrm>
          </p:grpSpPr>
          <p:pic>
            <p:nvPicPr>
              <p:cNvPr id="79" name="Picture 78">
                <a:extLst>
                  <a:ext uri="{FF2B5EF4-FFF2-40B4-BE49-F238E27FC236}">
                    <a16:creationId xmlns:a16="http://schemas.microsoft.com/office/drawing/2014/main" id="{96F238BD-FCCD-E1F0-F4CF-D6956120B21D}"/>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rot="21099983">
                <a:off x="6491377" y="2057677"/>
                <a:ext cx="3919593" cy="2023928"/>
              </a:xfrm>
              <a:prstGeom prst="rect">
                <a:avLst/>
              </a:prstGeom>
            </p:spPr>
          </p:pic>
          <p:grpSp>
            <p:nvGrpSpPr>
              <p:cNvPr id="80" name="Google Shape;3088;p54">
                <a:extLst>
                  <a:ext uri="{FF2B5EF4-FFF2-40B4-BE49-F238E27FC236}">
                    <a16:creationId xmlns:a16="http://schemas.microsoft.com/office/drawing/2014/main" id="{676B06D8-8C1A-6648-E081-15E6E9973776}"/>
                  </a:ext>
                </a:extLst>
              </p:cNvPr>
              <p:cNvGrpSpPr/>
              <p:nvPr/>
            </p:nvGrpSpPr>
            <p:grpSpPr>
              <a:xfrm rot="21441925">
                <a:off x="6514528" y="2349540"/>
                <a:ext cx="3842510" cy="1675240"/>
                <a:chOff x="2372953" y="1238301"/>
                <a:chExt cx="6313360" cy="2666045"/>
              </a:xfrm>
              <a:noFill/>
            </p:grpSpPr>
            <p:sp>
              <p:nvSpPr>
                <p:cNvPr id="81" name="Google Shape;3089;p54">
                  <a:extLst>
                    <a:ext uri="{FF2B5EF4-FFF2-40B4-BE49-F238E27FC236}">
                      <a16:creationId xmlns:a16="http://schemas.microsoft.com/office/drawing/2014/main" id="{C09A7AAE-8AE4-E269-471A-F3C5DEA4DF67}"/>
                    </a:ext>
                  </a:extLst>
                </p:cNvPr>
                <p:cNvSpPr/>
                <p:nvPr/>
              </p:nvSpPr>
              <p:spPr>
                <a:xfrm>
                  <a:off x="7852741" y="1464596"/>
                  <a:ext cx="386743" cy="432456"/>
                </a:xfrm>
                <a:custGeom>
                  <a:avLst/>
                  <a:gdLst/>
                  <a:ahLst/>
                  <a:cxnLst/>
                  <a:rect l="l" t="t" r="r" b="b"/>
                  <a:pathLst>
                    <a:path w="5440" h="6083" extrusionOk="0">
                      <a:moveTo>
                        <a:pt x="1773" y="0"/>
                      </a:moveTo>
                      <a:lnTo>
                        <a:pt x="1535" y="18"/>
                      </a:lnTo>
                      <a:lnTo>
                        <a:pt x="1446" y="53"/>
                      </a:lnTo>
                      <a:lnTo>
                        <a:pt x="1429" y="53"/>
                      </a:lnTo>
                      <a:lnTo>
                        <a:pt x="1420" y="62"/>
                      </a:lnTo>
                      <a:lnTo>
                        <a:pt x="1323" y="132"/>
                      </a:lnTo>
                      <a:lnTo>
                        <a:pt x="1279" y="238"/>
                      </a:lnTo>
                      <a:lnTo>
                        <a:pt x="1235" y="485"/>
                      </a:lnTo>
                      <a:lnTo>
                        <a:pt x="1191" y="582"/>
                      </a:lnTo>
                      <a:lnTo>
                        <a:pt x="1085" y="697"/>
                      </a:lnTo>
                      <a:lnTo>
                        <a:pt x="944" y="908"/>
                      </a:lnTo>
                      <a:lnTo>
                        <a:pt x="856" y="970"/>
                      </a:lnTo>
                      <a:lnTo>
                        <a:pt x="794" y="970"/>
                      </a:lnTo>
                      <a:lnTo>
                        <a:pt x="865" y="1331"/>
                      </a:lnTo>
                      <a:lnTo>
                        <a:pt x="891" y="1587"/>
                      </a:lnTo>
                      <a:lnTo>
                        <a:pt x="944" y="1737"/>
                      </a:lnTo>
                      <a:lnTo>
                        <a:pt x="988" y="1807"/>
                      </a:lnTo>
                      <a:lnTo>
                        <a:pt x="1067" y="2019"/>
                      </a:lnTo>
                      <a:lnTo>
                        <a:pt x="1200" y="2451"/>
                      </a:lnTo>
                      <a:lnTo>
                        <a:pt x="1076" y="2874"/>
                      </a:lnTo>
                      <a:lnTo>
                        <a:pt x="697" y="3068"/>
                      </a:lnTo>
                      <a:lnTo>
                        <a:pt x="292" y="3509"/>
                      </a:lnTo>
                      <a:lnTo>
                        <a:pt x="1" y="4090"/>
                      </a:lnTo>
                      <a:lnTo>
                        <a:pt x="89" y="4566"/>
                      </a:lnTo>
                      <a:lnTo>
                        <a:pt x="336" y="4928"/>
                      </a:lnTo>
                      <a:lnTo>
                        <a:pt x="503" y="5042"/>
                      </a:lnTo>
                      <a:lnTo>
                        <a:pt x="635" y="5210"/>
                      </a:lnTo>
                      <a:lnTo>
                        <a:pt x="732" y="5448"/>
                      </a:lnTo>
                      <a:lnTo>
                        <a:pt x="865" y="5651"/>
                      </a:lnTo>
                      <a:lnTo>
                        <a:pt x="1059" y="5836"/>
                      </a:lnTo>
                      <a:lnTo>
                        <a:pt x="1191" y="6083"/>
                      </a:lnTo>
                      <a:lnTo>
                        <a:pt x="1728" y="5986"/>
                      </a:lnTo>
                      <a:lnTo>
                        <a:pt x="2284" y="5924"/>
                      </a:lnTo>
                      <a:lnTo>
                        <a:pt x="2372" y="5492"/>
                      </a:lnTo>
                      <a:lnTo>
                        <a:pt x="2442" y="4751"/>
                      </a:lnTo>
                      <a:lnTo>
                        <a:pt x="2548" y="4284"/>
                      </a:lnTo>
                      <a:lnTo>
                        <a:pt x="3104" y="3993"/>
                      </a:lnTo>
                      <a:lnTo>
                        <a:pt x="3862" y="3667"/>
                      </a:lnTo>
                      <a:lnTo>
                        <a:pt x="4620" y="3341"/>
                      </a:lnTo>
                      <a:lnTo>
                        <a:pt x="5087" y="3077"/>
                      </a:lnTo>
                      <a:lnTo>
                        <a:pt x="5387" y="2971"/>
                      </a:lnTo>
                      <a:lnTo>
                        <a:pt x="5440" y="2812"/>
                      </a:lnTo>
                      <a:lnTo>
                        <a:pt x="5369" y="2671"/>
                      </a:lnTo>
                      <a:lnTo>
                        <a:pt x="5246" y="2557"/>
                      </a:lnTo>
                      <a:lnTo>
                        <a:pt x="5122" y="2477"/>
                      </a:lnTo>
                      <a:lnTo>
                        <a:pt x="4972" y="2442"/>
                      </a:lnTo>
                      <a:lnTo>
                        <a:pt x="4840" y="2451"/>
                      </a:lnTo>
                      <a:lnTo>
                        <a:pt x="4408" y="2565"/>
                      </a:lnTo>
                      <a:lnTo>
                        <a:pt x="4346" y="2521"/>
                      </a:lnTo>
                      <a:lnTo>
                        <a:pt x="4232" y="2248"/>
                      </a:lnTo>
                      <a:lnTo>
                        <a:pt x="4144" y="2142"/>
                      </a:lnTo>
                      <a:lnTo>
                        <a:pt x="4047" y="2125"/>
                      </a:lnTo>
                      <a:lnTo>
                        <a:pt x="3950" y="2142"/>
                      </a:lnTo>
                      <a:lnTo>
                        <a:pt x="3818" y="2098"/>
                      </a:lnTo>
                      <a:lnTo>
                        <a:pt x="4073" y="1966"/>
                      </a:lnTo>
                      <a:lnTo>
                        <a:pt x="4144" y="1913"/>
                      </a:lnTo>
                      <a:lnTo>
                        <a:pt x="4205" y="1825"/>
                      </a:lnTo>
                      <a:lnTo>
                        <a:pt x="4197" y="1790"/>
                      </a:lnTo>
                      <a:lnTo>
                        <a:pt x="4064" y="1772"/>
                      </a:lnTo>
                      <a:lnTo>
                        <a:pt x="3915" y="1701"/>
                      </a:lnTo>
                      <a:lnTo>
                        <a:pt x="3694" y="1508"/>
                      </a:lnTo>
                      <a:lnTo>
                        <a:pt x="3350" y="1270"/>
                      </a:lnTo>
                      <a:lnTo>
                        <a:pt x="3289" y="1199"/>
                      </a:lnTo>
                      <a:lnTo>
                        <a:pt x="3148" y="935"/>
                      </a:lnTo>
                      <a:lnTo>
                        <a:pt x="3112" y="891"/>
                      </a:lnTo>
                      <a:lnTo>
                        <a:pt x="3068" y="882"/>
                      </a:lnTo>
                      <a:lnTo>
                        <a:pt x="3051" y="855"/>
                      </a:lnTo>
                      <a:lnTo>
                        <a:pt x="3024" y="829"/>
                      </a:lnTo>
                      <a:lnTo>
                        <a:pt x="2998" y="802"/>
                      </a:lnTo>
                      <a:lnTo>
                        <a:pt x="2866" y="749"/>
                      </a:lnTo>
                      <a:lnTo>
                        <a:pt x="2830" y="732"/>
                      </a:lnTo>
                      <a:lnTo>
                        <a:pt x="2786" y="661"/>
                      </a:lnTo>
                      <a:lnTo>
                        <a:pt x="2760" y="582"/>
                      </a:lnTo>
                      <a:lnTo>
                        <a:pt x="2733" y="547"/>
                      </a:lnTo>
                      <a:lnTo>
                        <a:pt x="2672" y="582"/>
                      </a:lnTo>
                      <a:lnTo>
                        <a:pt x="2557" y="714"/>
                      </a:lnTo>
                      <a:lnTo>
                        <a:pt x="2469" y="688"/>
                      </a:lnTo>
                      <a:lnTo>
                        <a:pt x="2381" y="591"/>
                      </a:lnTo>
                      <a:lnTo>
                        <a:pt x="2257" y="520"/>
                      </a:lnTo>
                      <a:lnTo>
                        <a:pt x="2301" y="459"/>
                      </a:lnTo>
                      <a:lnTo>
                        <a:pt x="2390" y="379"/>
                      </a:lnTo>
                      <a:lnTo>
                        <a:pt x="2425" y="335"/>
                      </a:lnTo>
                      <a:lnTo>
                        <a:pt x="2442" y="282"/>
                      </a:lnTo>
                      <a:lnTo>
                        <a:pt x="2460" y="221"/>
                      </a:lnTo>
                      <a:lnTo>
                        <a:pt x="2469" y="159"/>
                      </a:lnTo>
                      <a:lnTo>
                        <a:pt x="2504" y="97"/>
                      </a:lnTo>
                      <a:lnTo>
                        <a:pt x="2416" y="53"/>
                      </a:lnTo>
                      <a:lnTo>
                        <a:pt x="1773"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3090;p54">
                  <a:extLst>
                    <a:ext uri="{FF2B5EF4-FFF2-40B4-BE49-F238E27FC236}">
                      <a16:creationId xmlns:a16="http://schemas.microsoft.com/office/drawing/2014/main" id="{01D9A47C-9C48-90E3-D5DC-93B3118BB9C0}"/>
                    </a:ext>
                  </a:extLst>
                </p:cNvPr>
                <p:cNvSpPr/>
                <p:nvPr/>
              </p:nvSpPr>
              <p:spPr>
                <a:xfrm>
                  <a:off x="7472952" y="1497158"/>
                  <a:ext cx="465087" cy="419304"/>
                </a:xfrm>
                <a:custGeom>
                  <a:avLst/>
                  <a:gdLst/>
                  <a:ahLst/>
                  <a:cxnLst/>
                  <a:rect l="l" t="t" r="r" b="b"/>
                  <a:pathLst>
                    <a:path w="6542" h="5898" extrusionOk="0">
                      <a:moveTo>
                        <a:pt x="1826" y="1"/>
                      </a:moveTo>
                      <a:lnTo>
                        <a:pt x="1755" y="115"/>
                      </a:lnTo>
                      <a:lnTo>
                        <a:pt x="1491" y="362"/>
                      </a:lnTo>
                      <a:lnTo>
                        <a:pt x="1438" y="388"/>
                      </a:lnTo>
                      <a:lnTo>
                        <a:pt x="1420" y="529"/>
                      </a:lnTo>
                      <a:lnTo>
                        <a:pt x="1376" y="662"/>
                      </a:lnTo>
                      <a:lnTo>
                        <a:pt x="1306" y="767"/>
                      </a:lnTo>
                      <a:lnTo>
                        <a:pt x="1217" y="838"/>
                      </a:lnTo>
                      <a:lnTo>
                        <a:pt x="1156" y="856"/>
                      </a:lnTo>
                      <a:lnTo>
                        <a:pt x="997" y="873"/>
                      </a:lnTo>
                      <a:lnTo>
                        <a:pt x="944" y="891"/>
                      </a:lnTo>
                      <a:lnTo>
                        <a:pt x="847" y="953"/>
                      </a:lnTo>
                      <a:lnTo>
                        <a:pt x="733" y="988"/>
                      </a:lnTo>
                      <a:lnTo>
                        <a:pt x="336" y="1314"/>
                      </a:lnTo>
                      <a:lnTo>
                        <a:pt x="345" y="1340"/>
                      </a:lnTo>
                      <a:lnTo>
                        <a:pt x="468" y="1658"/>
                      </a:lnTo>
                      <a:lnTo>
                        <a:pt x="503" y="1896"/>
                      </a:lnTo>
                      <a:lnTo>
                        <a:pt x="592" y="2107"/>
                      </a:lnTo>
                      <a:lnTo>
                        <a:pt x="680" y="2187"/>
                      </a:lnTo>
                      <a:lnTo>
                        <a:pt x="777" y="2257"/>
                      </a:lnTo>
                      <a:lnTo>
                        <a:pt x="830" y="2354"/>
                      </a:lnTo>
                      <a:lnTo>
                        <a:pt x="874" y="2469"/>
                      </a:lnTo>
                      <a:lnTo>
                        <a:pt x="1059" y="2557"/>
                      </a:lnTo>
                      <a:lnTo>
                        <a:pt x="1200" y="2707"/>
                      </a:lnTo>
                      <a:lnTo>
                        <a:pt x="1068" y="2998"/>
                      </a:lnTo>
                      <a:lnTo>
                        <a:pt x="821" y="3156"/>
                      </a:lnTo>
                      <a:lnTo>
                        <a:pt x="750" y="3289"/>
                      </a:lnTo>
                      <a:lnTo>
                        <a:pt x="706" y="3412"/>
                      </a:lnTo>
                      <a:lnTo>
                        <a:pt x="618" y="3500"/>
                      </a:lnTo>
                      <a:lnTo>
                        <a:pt x="503" y="3562"/>
                      </a:lnTo>
                      <a:lnTo>
                        <a:pt x="63" y="4073"/>
                      </a:lnTo>
                      <a:lnTo>
                        <a:pt x="1" y="4320"/>
                      </a:lnTo>
                      <a:lnTo>
                        <a:pt x="362" y="4531"/>
                      </a:lnTo>
                      <a:lnTo>
                        <a:pt x="935" y="4620"/>
                      </a:lnTo>
                      <a:lnTo>
                        <a:pt x="1103" y="4681"/>
                      </a:lnTo>
                      <a:lnTo>
                        <a:pt x="1138" y="4875"/>
                      </a:lnTo>
                      <a:lnTo>
                        <a:pt x="1015" y="5096"/>
                      </a:lnTo>
                      <a:lnTo>
                        <a:pt x="953" y="5616"/>
                      </a:lnTo>
                      <a:lnTo>
                        <a:pt x="1270" y="5898"/>
                      </a:lnTo>
                      <a:lnTo>
                        <a:pt x="1693" y="5739"/>
                      </a:lnTo>
                      <a:lnTo>
                        <a:pt x="2090" y="5475"/>
                      </a:lnTo>
                      <a:lnTo>
                        <a:pt x="2451" y="5369"/>
                      </a:lnTo>
                      <a:lnTo>
                        <a:pt x="2813" y="5483"/>
                      </a:lnTo>
                      <a:lnTo>
                        <a:pt x="3218" y="5695"/>
                      </a:lnTo>
                      <a:lnTo>
                        <a:pt x="3430" y="5378"/>
                      </a:lnTo>
                      <a:lnTo>
                        <a:pt x="3430" y="5104"/>
                      </a:lnTo>
                      <a:lnTo>
                        <a:pt x="3527" y="4866"/>
                      </a:lnTo>
                      <a:lnTo>
                        <a:pt x="3712" y="4673"/>
                      </a:lnTo>
                      <a:lnTo>
                        <a:pt x="3827" y="4426"/>
                      </a:lnTo>
                      <a:lnTo>
                        <a:pt x="3791" y="4161"/>
                      </a:lnTo>
                      <a:lnTo>
                        <a:pt x="3853" y="3923"/>
                      </a:lnTo>
                      <a:lnTo>
                        <a:pt x="3994" y="3800"/>
                      </a:lnTo>
                      <a:lnTo>
                        <a:pt x="4162" y="3712"/>
                      </a:lnTo>
                      <a:lnTo>
                        <a:pt x="4470" y="3685"/>
                      </a:lnTo>
                      <a:lnTo>
                        <a:pt x="4796" y="3720"/>
                      </a:lnTo>
                      <a:lnTo>
                        <a:pt x="5069" y="3659"/>
                      </a:lnTo>
                      <a:lnTo>
                        <a:pt x="5343" y="3632"/>
                      </a:lnTo>
                      <a:lnTo>
                        <a:pt x="5634" y="3051"/>
                      </a:lnTo>
                      <a:lnTo>
                        <a:pt x="6039" y="2610"/>
                      </a:lnTo>
                      <a:lnTo>
                        <a:pt x="6418" y="2416"/>
                      </a:lnTo>
                      <a:lnTo>
                        <a:pt x="6542" y="1993"/>
                      </a:lnTo>
                      <a:lnTo>
                        <a:pt x="6409" y="1561"/>
                      </a:lnTo>
                      <a:lnTo>
                        <a:pt x="6330" y="1349"/>
                      </a:lnTo>
                      <a:lnTo>
                        <a:pt x="6286" y="1279"/>
                      </a:lnTo>
                      <a:lnTo>
                        <a:pt x="6233" y="1129"/>
                      </a:lnTo>
                      <a:lnTo>
                        <a:pt x="6207" y="873"/>
                      </a:lnTo>
                      <a:lnTo>
                        <a:pt x="6136" y="512"/>
                      </a:lnTo>
                      <a:lnTo>
                        <a:pt x="6074" y="512"/>
                      </a:lnTo>
                      <a:lnTo>
                        <a:pt x="5263" y="194"/>
                      </a:lnTo>
                      <a:lnTo>
                        <a:pt x="5034" y="212"/>
                      </a:lnTo>
                      <a:lnTo>
                        <a:pt x="4920" y="203"/>
                      </a:lnTo>
                      <a:lnTo>
                        <a:pt x="4849" y="124"/>
                      </a:lnTo>
                      <a:lnTo>
                        <a:pt x="4779" y="89"/>
                      </a:lnTo>
                      <a:lnTo>
                        <a:pt x="4708" y="89"/>
                      </a:lnTo>
                      <a:lnTo>
                        <a:pt x="4567" y="124"/>
                      </a:lnTo>
                      <a:lnTo>
                        <a:pt x="4497" y="98"/>
                      </a:lnTo>
                      <a:lnTo>
                        <a:pt x="4435" y="89"/>
                      </a:lnTo>
                      <a:lnTo>
                        <a:pt x="4364" y="98"/>
                      </a:lnTo>
                      <a:lnTo>
                        <a:pt x="4303" y="124"/>
                      </a:lnTo>
                      <a:lnTo>
                        <a:pt x="4135" y="177"/>
                      </a:lnTo>
                      <a:lnTo>
                        <a:pt x="3800" y="53"/>
                      </a:lnTo>
                      <a:lnTo>
                        <a:pt x="3615" y="124"/>
                      </a:lnTo>
                      <a:lnTo>
                        <a:pt x="3553" y="177"/>
                      </a:lnTo>
                      <a:lnTo>
                        <a:pt x="3412" y="388"/>
                      </a:lnTo>
                      <a:lnTo>
                        <a:pt x="3218" y="547"/>
                      </a:lnTo>
                      <a:lnTo>
                        <a:pt x="3174" y="574"/>
                      </a:lnTo>
                      <a:lnTo>
                        <a:pt x="3121" y="547"/>
                      </a:lnTo>
                      <a:lnTo>
                        <a:pt x="2936" y="380"/>
                      </a:lnTo>
                      <a:lnTo>
                        <a:pt x="2875" y="353"/>
                      </a:lnTo>
                      <a:lnTo>
                        <a:pt x="2742" y="336"/>
                      </a:lnTo>
                      <a:lnTo>
                        <a:pt x="2689" y="318"/>
                      </a:lnTo>
                      <a:lnTo>
                        <a:pt x="2663" y="274"/>
                      </a:lnTo>
                      <a:lnTo>
                        <a:pt x="2663" y="230"/>
                      </a:lnTo>
                      <a:lnTo>
                        <a:pt x="2672" y="177"/>
                      </a:lnTo>
                      <a:lnTo>
                        <a:pt x="2663" y="159"/>
                      </a:lnTo>
                      <a:lnTo>
                        <a:pt x="2628" y="159"/>
                      </a:lnTo>
                      <a:lnTo>
                        <a:pt x="2513" y="212"/>
                      </a:lnTo>
                      <a:lnTo>
                        <a:pt x="2372" y="221"/>
                      </a:lnTo>
                      <a:lnTo>
                        <a:pt x="2319" y="212"/>
                      </a:lnTo>
                      <a:lnTo>
                        <a:pt x="182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3" name="Google Shape;3091;p54">
                  <a:extLst>
                    <a:ext uri="{FF2B5EF4-FFF2-40B4-BE49-F238E27FC236}">
                      <a16:creationId xmlns:a16="http://schemas.microsoft.com/office/drawing/2014/main" id="{8A07ED4B-1E58-9BF2-A5C7-EAB75EA58956}"/>
                    </a:ext>
                  </a:extLst>
                </p:cNvPr>
                <p:cNvSpPr/>
                <p:nvPr/>
              </p:nvSpPr>
              <p:spPr>
                <a:xfrm>
                  <a:off x="7655382" y="3102767"/>
                  <a:ext cx="569664" cy="272711"/>
                </a:xfrm>
                <a:custGeom>
                  <a:avLst/>
                  <a:gdLst/>
                  <a:ahLst/>
                  <a:cxnLst/>
                  <a:rect l="l" t="t" r="r" b="b"/>
                  <a:pathLst>
                    <a:path w="8013" h="3836" extrusionOk="0">
                      <a:moveTo>
                        <a:pt x="6594" y="1"/>
                      </a:moveTo>
                      <a:lnTo>
                        <a:pt x="6223" y="203"/>
                      </a:lnTo>
                      <a:lnTo>
                        <a:pt x="6170" y="538"/>
                      </a:lnTo>
                      <a:lnTo>
                        <a:pt x="5888" y="829"/>
                      </a:lnTo>
                      <a:lnTo>
                        <a:pt x="5104" y="750"/>
                      </a:lnTo>
                      <a:lnTo>
                        <a:pt x="4125" y="609"/>
                      </a:lnTo>
                      <a:lnTo>
                        <a:pt x="3182" y="362"/>
                      </a:lnTo>
                      <a:lnTo>
                        <a:pt x="2574" y="344"/>
                      </a:lnTo>
                      <a:lnTo>
                        <a:pt x="2204" y="706"/>
                      </a:lnTo>
                      <a:lnTo>
                        <a:pt x="1287" y="635"/>
                      </a:lnTo>
                      <a:lnTo>
                        <a:pt x="626" y="309"/>
                      </a:lnTo>
                      <a:lnTo>
                        <a:pt x="908" y="1041"/>
                      </a:lnTo>
                      <a:lnTo>
                        <a:pt x="1040" y="1552"/>
                      </a:lnTo>
                      <a:lnTo>
                        <a:pt x="979" y="1940"/>
                      </a:lnTo>
                      <a:lnTo>
                        <a:pt x="635" y="2107"/>
                      </a:lnTo>
                      <a:lnTo>
                        <a:pt x="194" y="2345"/>
                      </a:lnTo>
                      <a:lnTo>
                        <a:pt x="0" y="2566"/>
                      </a:lnTo>
                      <a:lnTo>
                        <a:pt x="79" y="2804"/>
                      </a:lnTo>
                      <a:lnTo>
                        <a:pt x="617" y="2971"/>
                      </a:lnTo>
                      <a:lnTo>
                        <a:pt x="908" y="3218"/>
                      </a:lnTo>
                      <a:lnTo>
                        <a:pt x="996" y="3579"/>
                      </a:lnTo>
                      <a:lnTo>
                        <a:pt x="1525" y="3456"/>
                      </a:lnTo>
                      <a:lnTo>
                        <a:pt x="1728" y="3333"/>
                      </a:lnTo>
                      <a:lnTo>
                        <a:pt x="2072" y="3006"/>
                      </a:lnTo>
                      <a:lnTo>
                        <a:pt x="2310" y="2689"/>
                      </a:lnTo>
                      <a:lnTo>
                        <a:pt x="2371" y="2654"/>
                      </a:lnTo>
                      <a:lnTo>
                        <a:pt x="2459" y="2583"/>
                      </a:lnTo>
                      <a:lnTo>
                        <a:pt x="2512" y="2645"/>
                      </a:lnTo>
                      <a:lnTo>
                        <a:pt x="2521" y="2716"/>
                      </a:lnTo>
                      <a:lnTo>
                        <a:pt x="2512" y="2777"/>
                      </a:lnTo>
                      <a:lnTo>
                        <a:pt x="2512" y="2795"/>
                      </a:lnTo>
                      <a:lnTo>
                        <a:pt x="2574" y="2813"/>
                      </a:lnTo>
                      <a:lnTo>
                        <a:pt x="2715" y="2874"/>
                      </a:lnTo>
                      <a:lnTo>
                        <a:pt x="2741" y="2865"/>
                      </a:lnTo>
                      <a:lnTo>
                        <a:pt x="2777" y="2830"/>
                      </a:lnTo>
                      <a:lnTo>
                        <a:pt x="2803" y="2813"/>
                      </a:lnTo>
                      <a:lnTo>
                        <a:pt x="2838" y="2813"/>
                      </a:lnTo>
                      <a:lnTo>
                        <a:pt x="2856" y="2848"/>
                      </a:lnTo>
                      <a:lnTo>
                        <a:pt x="2874" y="2910"/>
                      </a:lnTo>
                      <a:lnTo>
                        <a:pt x="2900" y="2936"/>
                      </a:lnTo>
                      <a:lnTo>
                        <a:pt x="3059" y="3068"/>
                      </a:lnTo>
                      <a:lnTo>
                        <a:pt x="3085" y="3077"/>
                      </a:lnTo>
                      <a:lnTo>
                        <a:pt x="3121" y="3156"/>
                      </a:lnTo>
                      <a:lnTo>
                        <a:pt x="3032" y="3483"/>
                      </a:lnTo>
                      <a:lnTo>
                        <a:pt x="3085" y="3553"/>
                      </a:lnTo>
                      <a:lnTo>
                        <a:pt x="3121" y="3588"/>
                      </a:lnTo>
                      <a:lnTo>
                        <a:pt x="3129" y="3668"/>
                      </a:lnTo>
                      <a:lnTo>
                        <a:pt x="3138" y="3835"/>
                      </a:lnTo>
                      <a:lnTo>
                        <a:pt x="3341" y="3809"/>
                      </a:lnTo>
                      <a:lnTo>
                        <a:pt x="3605" y="3721"/>
                      </a:lnTo>
                      <a:lnTo>
                        <a:pt x="4011" y="3659"/>
                      </a:lnTo>
                      <a:lnTo>
                        <a:pt x="4081" y="3624"/>
                      </a:lnTo>
                      <a:lnTo>
                        <a:pt x="4099" y="3588"/>
                      </a:lnTo>
                      <a:lnTo>
                        <a:pt x="4152" y="3430"/>
                      </a:lnTo>
                      <a:lnTo>
                        <a:pt x="4734" y="2583"/>
                      </a:lnTo>
                      <a:lnTo>
                        <a:pt x="4751" y="2539"/>
                      </a:lnTo>
                      <a:lnTo>
                        <a:pt x="4760" y="2495"/>
                      </a:lnTo>
                      <a:lnTo>
                        <a:pt x="4769" y="2451"/>
                      </a:lnTo>
                      <a:lnTo>
                        <a:pt x="4795" y="2407"/>
                      </a:lnTo>
                      <a:lnTo>
                        <a:pt x="4831" y="2389"/>
                      </a:lnTo>
                      <a:lnTo>
                        <a:pt x="5060" y="2292"/>
                      </a:lnTo>
                      <a:lnTo>
                        <a:pt x="5157" y="2292"/>
                      </a:lnTo>
                      <a:lnTo>
                        <a:pt x="5192" y="2328"/>
                      </a:lnTo>
                      <a:lnTo>
                        <a:pt x="5218" y="2425"/>
                      </a:lnTo>
                      <a:lnTo>
                        <a:pt x="5254" y="2460"/>
                      </a:lnTo>
                      <a:lnTo>
                        <a:pt x="5642" y="2583"/>
                      </a:lnTo>
                      <a:lnTo>
                        <a:pt x="5827" y="2610"/>
                      </a:lnTo>
                      <a:lnTo>
                        <a:pt x="6021" y="2548"/>
                      </a:lnTo>
                      <a:lnTo>
                        <a:pt x="6144" y="2451"/>
                      </a:lnTo>
                      <a:lnTo>
                        <a:pt x="6320" y="2381"/>
                      </a:lnTo>
                      <a:lnTo>
                        <a:pt x="6505" y="2328"/>
                      </a:lnTo>
                      <a:lnTo>
                        <a:pt x="6646" y="2319"/>
                      </a:lnTo>
                      <a:lnTo>
                        <a:pt x="6735" y="2337"/>
                      </a:lnTo>
                      <a:lnTo>
                        <a:pt x="7343" y="2672"/>
                      </a:lnTo>
                      <a:lnTo>
                        <a:pt x="7369" y="2680"/>
                      </a:lnTo>
                      <a:lnTo>
                        <a:pt x="7449" y="2680"/>
                      </a:lnTo>
                      <a:lnTo>
                        <a:pt x="7493" y="2636"/>
                      </a:lnTo>
                      <a:lnTo>
                        <a:pt x="7537" y="2610"/>
                      </a:lnTo>
                      <a:lnTo>
                        <a:pt x="7625" y="2601"/>
                      </a:lnTo>
                      <a:lnTo>
                        <a:pt x="7678" y="2610"/>
                      </a:lnTo>
                      <a:lnTo>
                        <a:pt x="7801" y="2707"/>
                      </a:lnTo>
                      <a:lnTo>
                        <a:pt x="7863" y="2583"/>
                      </a:lnTo>
                      <a:lnTo>
                        <a:pt x="7978" y="2275"/>
                      </a:lnTo>
                      <a:lnTo>
                        <a:pt x="8013" y="1764"/>
                      </a:lnTo>
                      <a:lnTo>
                        <a:pt x="7863" y="1385"/>
                      </a:lnTo>
                      <a:lnTo>
                        <a:pt x="7784" y="1067"/>
                      </a:lnTo>
                      <a:lnTo>
                        <a:pt x="7881" y="732"/>
                      </a:lnTo>
                      <a:lnTo>
                        <a:pt x="7916" y="195"/>
                      </a:lnTo>
                      <a:lnTo>
                        <a:pt x="7687" y="230"/>
                      </a:lnTo>
                      <a:lnTo>
                        <a:pt x="7466" y="230"/>
                      </a:lnTo>
                      <a:lnTo>
                        <a:pt x="7343" y="203"/>
                      </a:lnTo>
                      <a:lnTo>
                        <a:pt x="6990" y="53"/>
                      </a:lnTo>
                      <a:lnTo>
                        <a:pt x="6594"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4" name="Google Shape;3092;p54">
                  <a:extLst>
                    <a:ext uri="{FF2B5EF4-FFF2-40B4-BE49-F238E27FC236}">
                      <a16:creationId xmlns:a16="http://schemas.microsoft.com/office/drawing/2014/main" id="{CD81E940-D3C2-E95C-F9FA-39FDE8499F47}"/>
                    </a:ext>
                  </a:extLst>
                </p:cNvPr>
                <p:cNvSpPr/>
                <p:nvPr/>
              </p:nvSpPr>
              <p:spPr>
                <a:xfrm>
                  <a:off x="8208714" y="3041341"/>
                  <a:ext cx="475751" cy="392359"/>
                </a:xfrm>
                <a:custGeom>
                  <a:avLst/>
                  <a:gdLst/>
                  <a:ahLst/>
                  <a:cxnLst/>
                  <a:rect l="l" t="t" r="r" b="b"/>
                  <a:pathLst>
                    <a:path w="6692" h="5519" extrusionOk="0">
                      <a:moveTo>
                        <a:pt x="3518" y="1"/>
                      </a:moveTo>
                      <a:lnTo>
                        <a:pt x="3183" y="71"/>
                      </a:lnTo>
                      <a:lnTo>
                        <a:pt x="2989" y="406"/>
                      </a:lnTo>
                      <a:lnTo>
                        <a:pt x="2874" y="724"/>
                      </a:lnTo>
                      <a:lnTo>
                        <a:pt x="2619" y="873"/>
                      </a:lnTo>
                      <a:lnTo>
                        <a:pt x="2319" y="935"/>
                      </a:lnTo>
                      <a:lnTo>
                        <a:pt x="2019" y="935"/>
                      </a:lnTo>
                      <a:lnTo>
                        <a:pt x="1825" y="856"/>
                      </a:lnTo>
                      <a:lnTo>
                        <a:pt x="1631" y="829"/>
                      </a:lnTo>
                      <a:lnTo>
                        <a:pt x="1499" y="882"/>
                      </a:lnTo>
                      <a:lnTo>
                        <a:pt x="1376" y="953"/>
                      </a:lnTo>
                      <a:lnTo>
                        <a:pt x="750" y="1050"/>
                      </a:lnTo>
                      <a:lnTo>
                        <a:pt x="133" y="1059"/>
                      </a:lnTo>
                      <a:lnTo>
                        <a:pt x="98" y="1596"/>
                      </a:lnTo>
                      <a:lnTo>
                        <a:pt x="1" y="1931"/>
                      </a:lnTo>
                      <a:lnTo>
                        <a:pt x="80" y="2249"/>
                      </a:lnTo>
                      <a:lnTo>
                        <a:pt x="230" y="2628"/>
                      </a:lnTo>
                      <a:lnTo>
                        <a:pt x="195" y="3139"/>
                      </a:lnTo>
                      <a:lnTo>
                        <a:pt x="80" y="3447"/>
                      </a:lnTo>
                      <a:lnTo>
                        <a:pt x="18" y="3571"/>
                      </a:lnTo>
                      <a:lnTo>
                        <a:pt x="80" y="3624"/>
                      </a:lnTo>
                      <a:lnTo>
                        <a:pt x="265" y="3712"/>
                      </a:lnTo>
                      <a:lnTo>
                        <a:pt x="485" y="3897"/>
                      </a:lnTo>
                      <a:lnTo>
                        <a:pt x="556" y="3923"/>
                      </a:lnTo>
                      <a:lnTo>
                        <a:pt x="618" y="3915"/>
                      </a:lnTo>
                      <a:lnTo>
                        <a:pt x="732" y="3870"/>
                      </a:lnTo>
                      <a:lnTo>
                        <a:pt x="794" y="3862"/>
                      </a:lnTo>
                      <a:lnTo>
                        <a:pt x="856" y="3870"/>
                      </a:lnTo>
                      <a:lnTo>
                        <a:pt x="891" y="3897"/>
                      </a:lnTo>
                      <a:lnTo>
                        <a:pt x="970" y="3959"/>
                      </a:lnTo>
                      <a:lnTo>
                        <a:pt x="1094" y="4003"/>
                      </a:lnTo>
                      <a:lnTo>
                        <a:pt x="1199" y="4020"/>
                      </a:lnTo>
                      <a:lnTo>
                        <a:pt x="1675" y="3985"/>
                      </a:lnTo>
                      <a:lnTo>
                        <a:pt x="1799" y="3994"/>
                      </a:lnTo>
                      <a:lnTo>
                        <a:pt x="1913" y="4029"/>
                      </a:lnTo>
                      <a:lnTo>
                        <a:pt x="1958" y="4056"/>
                      </a:lnTo>
                      <a:lnTo>
                        <a:pt x="2054" y="4153"/>
                      </a:lnTo>
                      <a:lnTo>
                        <a:pt x="2090" y="4179"/>
                      </a:lnTo>
                      <a:lnTo>
                        <a:pt x="2151" y="4161"/>
                      </a:lnTo>
                      <a:lnTo>
                        <a:pt x="2231" y="4073"/>
                      </a:lnTo>
                      <a:lnTo>
                        <a:pt x="2478" y="4029"/>
                      </a:lnTo>
                      <a:lnTo>
                        <a:pt x="2619" y="3870"/>
                      </a:lnTo>
                      <a:lnTo>
                        <a:pt x="2760" y="3668"/>
                      </a:lnTo>
                      <a:lnTo>
                        <a:pt x="2927" y="3518"/>
                      </a:lnTo>
                      <a:lnTo>
                        <a:pt x="3139" y="3491"/>
                      </a:lnTo>
                      <a:lnTo>
                        <a:pt x="3297" y="3518"/>
                      </a:lnTo>
                      <a:lnTo>
                        <a:pt x="3386" y="3527"/>
                      </a:lnTo>
                      <a:lnTo>
                        <a:pt x="3826" y="3712"/>
                      </a:lnTo>
                      <a:lnTo>
                        <a:pt x="3932" y="3782"/>
                      </a:lnTo>
                      <a:lnTo>
                        <a:pt x="4011" y="3862"/>
                      </a:lnTo>
                      <a:lnTo>
                        <a:pt x="4064" y="3959"/>
                      </a:lnTo>
                      <a:lnTo>
                        <a:pt x="4100" y="4100"/>
                      </a:lnTo>
                      <a:lnTo>
                        <a:pt x="4126" y="4223"/>
                      </a:lnTo>
                      <a:lnTo>
                        <a:pt x="4135" y="4294"/>
                      </a:lnTo>
                      <a:lnTo>
                        <a:pt x="4126" y="4355"/>
                      </a:lnTo>
                      <a:lnTo>
                        <a:pt x="4091" y="4417"/>
                      </a:lnTo>
                      <a:lnTo>
                        <a:pt x="4038" y="4443"/>
                      </a:lnTo>
                      <a:lnTo>
                        <a:pt x="3985" y="4452"/>
                      </a:lnTo>
                      <a:lnTo>
                        <a:pt x="3932" y="4488"/>
                      </a:lnTo>
                      <a:lnTo>
                        <a:pt x="3853" y="4585"/>
                      </a:lnTo>
                      <a:lnTo>
                        <a:pt x="3809" y="4708"/>
                      </a:lnTo>
                      <a:lnTo>
                        <a:pt x="3809" y="4831"/>
                      </a:lnTo>
                      <a:lnTo>
                        <a:pt x="3844" y="4955"/>
                      </a:lnTo>
                      <a:lnTo>
                        <a:pt x="4029" y="5378"/>
                      </a:lnTo>
                      <a:lnTo>
                        <a:pt x="4064" y="5431"/>
                      </a:lnTo>
                      <a:lnTo>
                        <a:pt x="4100" y="5466"/>
                      </a:lnTo>
                      <a:lnTo>
                        <a:pt x="4293" y="5519"/>
                      </a:lnTo>
                      <a:lnTo>
                        <a:pt x="4355" y="5510"/>
                      </a:lnTo>
                      <a:lnTo>
                        <a:pt x="4399" y="5475"/>
                      </a:lnTo>
                      <a:lnTo>
                        <a:pt x="4443" y="5378"/>
                      </a:lnTo>
                      <a:lnTo>
                        <a:pt x="4514" y="5246"/>
                      </a:lnTo>
                      <a:lnTo>
                        <a:pt x="4531" y="5157"/>
                      </a:lnTo>
                      <a:lnTo>
                        <a:pt x="4567" y="5096"/>
                      </a:lnTo>
                      <a:lnTo>
                        <a:pt x="4963" y="4964"/>
                      </a:lnTo>
                      <a:lnTo>
                        <a:pt x="5078" y="4893"/>
                      </a:lnTo>
                      <a:lnTo>
                        <a:pt x="5193" y="4805"/>
                      </a:lnTo>
                      <a:lnTo>
                        <a:pt x="5307" y="4664"/>
                      </a:lnTo>
                      <a:lnTo>
                        <a:pt x="5475" y="4505"/>
                      </a:lnTo>
                      <a:lnTo>
                        <a:pt x="5660" y="4373"/>
                      </a:lnTo>
                      <a:lnTo>
                        <a:pt x="5801" y="4302"/>
                      </a:lnTo>
                      <a:lnTo>
                        <a:pt x="5889" y="4302"/>
                      </a:lnTo>
                      <a:lnTo>
                        <a:pt x="6374" y="4364"/>
                      </a:lnTo>
                      <a:lnTo>
                        <a:pt x="6471" y="4417"/>
                      </a:lnTo>
                      <a:lnTo>
                        <a:pt x="6524" y="4514"/>
                      </a:lnTo>
                      <a:lnTo>
                        <a:pt x="6559" y="4399"/>
                      </a:lnTo>
                      <a:lnTo>
                        <a:pt x="6524" y="4302"/>
                      </a:lnTo>
                      <a:lnTo>
                        <a:pt x="6488" y="4205"/>
                      </a:lnTo>
                      <a:lnTo>
                        <a:pt x="6471" y="4091"/>
                      </a:lnTo>
                      <a:lnTo>
                        <a:pt x="6506" y="3985"/>
                      </a:lnTo>
                      <a:lnTo>
                        <a:pt x="6559" y="3932"/>
                      </a:lnTo>
                      <a:lnTo>
                        <a:pt x="6621" y="3897"/>
                      </a:lnTo>
                      <a:lnTo>
                        <a:pt x="6673" y="3826"/>
                      </a:lnTo>
                      <a:lnTo>
                        <a:pt x="6691" y="3632"/>
                      </a:lnTo>
                      <a:lnTo>
                        <a:pt x="6585" y="3509"/>
                      </a:lnTo>
                      <a:lnTo>
                        <a:pt x="6321" y="3342"/>
                      </a:lnTo>
                      <a:lnTo>
                        <a:pt x="6286" y="3262"/>
                      </a:lnTo>
                      <a:lnTo>
                        <a:pt x="6250" y="3183"/>
                      </a:lnTo>
                      <a:lnTo>
                        <a:pt x="6215" y="3130"/>
                      </a:lnTo>
                      <a:lnTo>
                        <a:pt x="6039" y="3156"/>
                      </a:lnTo>
                      <a:lnTo>
                        <a:pt x="6004" y="3104"/>
                      </a:lnTo>
                      <a:lnTo>
                        <a:pt x="5933" y="2936"/>
                      </a:lnTo>
                      <a:lnTo>
                        <a:pt x="5863" y="2883"/>
                      </a:lnTo>
                      <a:lnTo>
                        <a:pt x="5686" y="2866"/>
                      </a:lnTo>
                      <a:lnTo>
                        <a:pt x="5625" y="2830"/>
                      </a:lnTo>
                      <a:lnTo>
                        <a:pt x="5598" y="2733"/>
                      </a:lnTo>
                      <a:lnTo>
                        <a:pt x="5660" y="2557"/>
                      </a:lnTo>
                      <a:lnTo>
                        <a:pt x="5642" y="2460"/>
                      </a:lnTo>
                      <a:lnTo>
                        <a:pt x="5616" y="2346"/>
                      </a:lnTo>
                      <a:lnTo>
                        <a:pt x="5625" y="2196"/>
                      </a:lnTo>
                      <a:lnTo>
                        <a:pt x="5660" y="2055"/>
                      </a:lnTo>
                      <a:lnTo>
                        <a:pt x="5695" y="1931"/>
                      </a:lnTo>
                      <a:lnTo>
                        <a:pt x="5677" y="1834"/>
                      </a:lnTo>
                      <a:lnTo>
                        <a:pt x="5580" y="1755"/>
                      </a:lnTo>
                      <a:lnTo>
                        <a:pt x="5483" y="1649"/>
                      </a:lnTo>
                      <a:lnTo>
                        <a:pt x="5501" y="1473"/>
                      </a:lnTo>
                      <a:lnTo>
                        <a:pt x="5545" y="1420"/>
                      </a:lnTo>
                      <a:lnTo>
                        <a:pt x="5704" y="1288"/>
                      </a:lnTo>
                      <a:lnTo>
                        <a:pt x="5748" y="1217"/>
                      </a:lnTo>
                      <a:lnTo>
                        <a:pt x="5739" y="1155"/>
                      </a:lnTo>
                      <a:lnTo>
                        <a:pt x="5572" y="953"/>
                      </a:lnTo>
                      <a:lnTo>
                        <a:pt x="5457" y="847"/>
                      </a:lnTo>
                      <a:lnTo>
                        <a:pt x="5325" y="785"/>
                      </a:lnTo>
                      <a:lnTo>
                        <a:pt x="5193" y="803"/>
                      </a:lnTo>
                      <a:lnTo>
                        <a:pt x="5140" y="838"/>
                      </a:lnTo>
                      <a:lnTo>
                        <a:pt x="5060" y="865"/>
                      </a:lnTo>
                      <a:lnTo>
                        <a:pt x="4999" y="856"/>
                      </a:lnTo>
                      <a:lnTo>
                        <a:pt x="4963" y="794"/>
                      </a:lnTo>
                      <a:lnTo>
                        <a:pt x="4963" y="759"/>
                      </a:lnTo>
                      <a:lnTo>
                        <a:pt x="4990" y="662"/>
                      </a:lnTo>
                      <a:lnTo>
                        <a:pt x="4981" y="635"/>
                      </a:lnTo>
                      <a:lnTo>
                        <a:pt x="4946" y="609"/>
                      </a:lnTo>
                      <a:lnTo>
                        <a:pt x="4919" y="609"/>
                      </a:lnTo>
                      <a:lnTo>
                        <a:pt x="4884" y="627"/>
                      </a:lnTo>
                      <a:lnTo>
                        <a:pt x="4849" y="609"/>
                      </a:lnTo>
                      <a:lnTo>
                        <a:pt x="4796" y="547"/>
                      </a:lnTo>
                      <a:lnTo>
                        <a:pt x="4769" y="468"/>
                      </a:lnTo>
                      <a:lnTo>
                        <a:pt x="4752" y="406"/>
                      </a:lnTo>
                      <a:lnTo>
                        <a:pt x="4725" y="353"/>
                      </a:lnTo>
                      <a:lnTo>
                        <a:pt x="4681" y="318"/>
                      </a:lnTo>
                      <a:lnTo>
                        <a:pt x="4514" y="230"/>
                      </a:lnTo>
                      <a:lnTo>
                        <a:pt x="4452" y="221"/>
                      </a:lnTo>
                      <a:lnTo>
                        <a:pt x="4152" y="256"/>
                      </a:lnTo>
                      <a:lnTo>
                        <a:pt x="3994" y="230"/>
                      </a:lnTo>
                      <a:lnTo>
                        <a:pt x="3914" y="98"/>
                      </a:lnTo>
                      <a:lnTo>
                        <a:pt x="3923" y="54"/>
                      </a:lnTo>
                      <a:lnTo>
                        <a:pt x="3518"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5" name="Google Shape;3093;p54">
                  <a:extLst>
                    <a:ext uri="{FF2B5EF4-FFF2-40B4-BE49-F238E27FC236}">
                      <a16:creationId xmlns:a16="http://schemas.microsoft.com/office/drawing/2014/main" id="{5BA7F915-3228-7218-971F-F03C25BC2129}"/>
                    </a:ext>
                  </a:extLst>
                </p:cNvPr>
                <p:cNvSpPr/>
                <p:nvPr/>
              </p:nvSpPr>
              <p:spPr>
                <a:xfrm>
                  <a:off x="8195561" y="2108859"/>
                  <a:ext cx="490751" cy="207448"/>
                </a:xfrm>
                <a:custGeom>
                  <a:avLst/>
                  <a:gdLst/>
                  <a:ahLst/>
                  <a:cxnLst/>
                  <a:rect l="l" t="t" r="r" b="b"/>
                  <a:pathLst>
                    <a:path w="6903" h="2918" extrusionOk="0">
                      <a:moveTo>
                        <a:pt x="1605" y="0"/>
                      </a:moveTo>
                      <a:lnTo>
                        <a:pt x="997" y="220"/>
                      </a:lnTo>
                      <a:lnTo>
                        <a:pt x="415" y="309"/>
                      </a:lnTo>
                      <a:lnTo>
                        <a:pt x="177" y="423"/>
                      </a:lnTo>
                      <a:lnTo>
                        <a:pt x="177" y="652"/>
                      </a:lnTo>
                      <a:lnTo>
                        <a:pt x="0" y="855"/>
                      </a:lnTo>
                      <a:lnTo>
                        <a:pt x="97" y="1199"/>
                      </a:lnTo>
                      <a:lnTo>
                        <a:pt x="80" y="1481"/>
                      </a:lnTo>
                      <a:lnTo>
                        <a:pt x="80" y="1631"/>
                      </a:lnTo>
                      <a:lnTo>
                        <a:pt x="142" y="1851"/>
                      </a:lnTo>
                      <a:lnTo>
                        <a:pt x="221" y="1922"/>
                      </a:lnTo>
                      <a:lnTo>
                        <a:pt x="380" y="1983"/>
                      </a:lnTo>
                      <a:lnTo>
                        <a:pt x="670" y="1772"/>
                      </a:lnTo>
                      <a:lnTo>
                        <a:pt x="988" y="1648"/>
                      </a:lnTo>
                      <a:lnTo>
                        <a:pt x="1138" y="1675"/>
                      </a:lnTo>
                      <a:lnTo>
                        <a:pt x="1199" y="1728"/>
                      </a:lnTo>
                      <a:lnTo>
                        <a:pt x="1349" y="1798"/>
                      </a:lnTo>
                      <a:lnTo>
                        <a:pt x="1446" y="1798"/>
                      </a:lnTo>
                      <a:lnTo>
                        <a:pt x="1596" y="1904"/>
                      </a:lnTo>
                      <a:lnTo>
                        <a:pt x="1702" y="2133"/>
                      </a:lnTo>
                      <a:lnTo>
                        <a:pt x="1843" y="2310"/>
                      </a:lnTo>
                      <a:lnTo>
                        <a:pt x="2257" y="2512"/>
                      </a:lnTo>
                      <a:lnTo>
                        <a:pt x="2548" y="2574"/>
                      </a:lnTo>
                      <a:lnTo>
                        <a:pt x="2583" y="2662"/>
                      </a:lnTo>
                      <a:lnTo>
                        <a:pt x="2610" y="2750"/>
                      </a:lnTo>
                      <a:lnTo>
                        <a:pt x="3033" y="2821"/>
                      </a:lnTo>
                      <a:lnTo>
                        <a:pt x="3500" y="2768"/>
                      </a:lnTo>
                      <a:lnTo>
                        <a:pt x="3844" y="2874"/>
                      </a:lnTo>
                      <a:lnTo>
                        <a:pt x="4196" y="2918"/>
                      </a:lnTo>
                      <a:lnTo>
                        <a:pt x="5025" y="2724"/>
                      </a:lnTo>
                      <a:lnTo>
                        <a:pt x="5210" y="2768"/>
                      </a:lnTo>
                      <a:lnTo>
                        <a:pt x="5281" y="2830"/>
                      </a:lnTo>
                      <a:lnTo>
                        <a:pt x="5289" y="2759"/>
                      </a:lnTo>
                      <a:lnTo>
                        <a:pt x="5272" y="2556"/>
                      </a:lnTo>
                      <a:lnTo>
                        <a:pt x="5289" y="2495"/>
                      </a:lnTo>
                      <a:lnTo>
                        <a:pt x="5783" y="2080"/>
                      </a:lnTo>
                      <a:lnTo>
                        <a:pt x="5898" y="2054"/>
                      </a:lnTo>
                      <a:lnTo>
                        <a:pt x="5968" y="2098"/>
                      </a:lnTo>
                      <a:lnTo>
                        <a:pt x="6092" y="2292"/>
                      </a:lnTo>
                      <a:lnTo>
                        <a:pt x="6162" y="2362"/>
                      </a:lnTo>
                      <a:lnTo>
                        <a:pt x="6435" y="2495"/>
                      </a:lnTo>
                      <a:lnTo>
                        <a:pt x="6524" y="2574"/>
                      </a:lnTo>
                      <a:lnTo>
                        <a:pt x="6903" y="2847"/>
                      </a:lnTo>
                      <a:lnTo>
                        <a:pt x="6850" y="2768"/>
                      </a:lnTo>
                      <a:lnTo>
                        <a:pt x="6797" y="2539"/>
                      </a:lnTo>
                      <a:lnTo>
                        <a:pt x="6753" y="2468"/>
                      </a:lnTo>
                      <a:lnTo>
                        <a:pt x="6682" y="2345"/>
                      </a:lnTo>
                      <a:lnTo>
                        <a:pt x="6391" y="1966"/>
                      </a:lnTo>
                      <a:lnTo>
                        <a:pt x="6365" y="1922"/>
                      </a:lnTo>
                      <a:lnTo>
                        <a:pt x="6347" y="1904"/>
                      </a:lnTo>
                      <a:lnTo>
                        <a:pt x="6321" y="1895"/>
                      </a:lnTo>
                      <a:lnTo>
                        <a:pt x="6277" y="1904"/>
                      </a:lnTo>
                      <a:lnTo>
                        <a:pt x="6250" y="1904"/>
                      </a:lnTo>
                      <a:lnTo>
                        <a:pt x="6162" y="1851"/>
                      </a:lnTo>
                      <a:lnTo>
                        <a:pt x="5995" y="1657"/>
                      </a:lnTo>
                      <a:lnTo>
                        <a:pt x="5933" y="1692"/>
                      </a:lnTo>
                      <a:lnTo>
                        <a:pt x="5915" y="1657"/>
                      </a:lnTo>
                      <a:lnTo>
                        <a:pt x="5915" y="1587"/>
                      </a:lnTo>
                      <a:lnTo>
                        <a:pt x="5898" y="1525"/>
                      </a:lnTo>
                      <a:lnTo>
                        <a:pt x="5827" y="1481"/>
                      </a:lnTo>
                      <a:lnTo>
                        <a:pt x="5792" y="1437"/>
                      </a:lnTo>
                      <a:lnTo>
                        <a:pt x="5774" y="1384"/>
                      </a:lnTo>
                      <a:lnTo>
                        <a:pt x="5757" y="1296"/>
                      </a:lnTo>
                      <a:lnTo>
                        <a:pt x="5704" y="1208"/>
                      </a:lnTo>
                      <a:lnTo>
                        <a:pt x="5580" y="1075"/>
                      </a:lnTo>
                      <a:lnTo>
                        <a:pt x="5316" y="837"/>
                      </a:lnTo>
                      <a:lnTo>
                        <a:pt x="4928" y="608"/>
                      </a:lnTo>
                      <a:lnTo>
                        <a:pt x="4672" y="458"/>
                      </a:lnTo>
                      <a:lnTo>
                        <a:pt x="4496" y="405"/>
                      </a:lnTo>
                      <a:lnTo>
                        <a:pt x="4346" y="405"/>
                      </a:lnTo>
                      <a:lnTo>
                        <a:pt x="4064" y="485"/>
                      </a:lnTo>
                      <a:lnTo>
                        <a:pt x="3932" y="502"/>
                      </a:lnTo>
                      <a:lnTo>
                        <a:pt x="3835" y="529"/>
                      </a:lnTo>
                      <a:lnTo>
                        <a:pt x="3791" y="538"/>
                      </a:lnTo>
                      <a:lnTo>
                        <a:pt x="3747" y="520"/>
                      </a:lnTo>
                      <a:lnTo>
                        <a:pt x="3685" y="467"/>
                      </a:lnTo>
                      <a:lnTo>
                        <a:pt x="3641" y="450"/>
                      </a:lnTo>
                      <a:lnTo>
                        <a:pt x="3544" y="476"/>
                      </a:lnTo>
                      <a:lnTo>
                        <a:pt x="3385" y="591"/>
                      </a:lnTo>
                      <a:lnTo>
                        <a:pt x="3306" y="617"/>
                      </a:lnTo>
                      <a:lnTo>
                        <a:pt x="2751" y="520"/>
                      </a:lnTo>
                      <a:lnTo>
                        <a:pt x="2248" y="238"/>
                      </a:lnTo>
                      <a:lnTo>
                        <a:pt x="1816" y="123"/>
                      </a:lnTo>
                      <a:lnTo>
                        <a:pt x="1605"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3094;p54">
                  <a:extLst>
                    <a:ext uri="{FF2B5EF4-FFF2-40B4-BE49-F238E27FC236}">
                      <a16:creationId xmlns:a16="http://schemas.microsoft.com/office/drawing/2014/main" id="{2E5D4933-A360-74AD-DD6D-D5595AA021DA}"/>
                    </a:ext>
                  </a:extLst>
                </p:cNvPr>
                <p:cNvSpPr/>
                <p:nvPr/>
              </p:nvSpPr>
              <p:spPr>
                <a:xfrm>
                  <a:off x="7850253" y="2160829"/>
                  <a:ext cx="720736" cy="421863"/>
                </a:xfrm>
                <a:custGeom>
                  <a:avLst/>
                  <a:gdLst/>
                  <a:ahLst/>
                  <a:cxnLst/>
                  <a:rect l="l" t="t" r="r" b="b"/>
                  <a:pathLst>
                    <a:path w="10138" h="5934" extrusionOk="0">
                      <a:moveTo>
                        <a:pt x="3676" y="1"/>
                      </a:moveTo>
                      <a:lnTo>
                        <a:pt x="2248" y="406"/>
                      </a:lnTo>
                      <a:lnTo>
                        <a:pt x="1349" y="230"/>
                      </a:lnTo>
                      <a:lnTo>
                        <a:pt x="1226" y="380"/>
                      </a:lnTo>
                      <a:lnTo>
                        <a:pt x="1076" y="468"/>
                      </a:lnTo>
                      <a:lnTo>
                        <a:pt x="952" y="459"/>
                      </a:lnTo>
                      <a:lnTo>
                        <a:pt x="891" y="477"/>
                      </a:lnTo>
                      <a:lnTo>
                        <a:pt x="776" y="521"/>
                      </a:lnTo>
                      <a:lnTo>
                        <a:pt x="679" y="662"/>
                      </a:lnTo>
                      <a:lnTo>
                        <a:pt x="512" y="723"/>
                      </a:lnTo>
                      <a:lnTo>
                        <a:pt x="159" y="662"/>
                      </a:lnTo>
                      <a:lnTo>
                        <a:pt x="0" y="732"/>
                      </a:lnTo>
                      <a:lnTo>
                        <a:pt x="380" y="1199"/>
                      </a:lnTo>
                      <a:lnTo>
                        <a:pt x="1032" y="1464"/>
                      </a:lnTo>
                      <a:lnTo>
                        <a:pt x="970" y="1508"/>
                      </a:lnTo>
                      <a:lnTo>
                        <a:pt x="926" y="1667"/>
                      </a:lnTo>
                      <a:lnTo>
                        <a:pt x="935" y="2486"/>
                      </a:lnTo>
                      <a:lnTo>
                        <a:pt x="891" y="2769"/>
                      </a:lnTo>
                      <a:lnTo>
                        <a:pt x="741" y="3007"/>
                      </a:lnTo>
                      <a:lnTo>
                        <a:pt x="864" y="3386"/>
                      </a:lnTo>
                      <a:lnTo>
                        <a:pt x="1058" y="3721"/>
                      </a:lnTo>
                      <a:lnTo>
                        <a:pt x="1208" y="3853"/>
                      </a:lnTo>
                      <a:lnTo>
                        <a:pt x="1349" y="4020"/>
                      </a:lnTo>
                      <a:lnTo>
                        <a:pt x="1429" y="4179"/>
                      </a:lnTo>
                      <a:lnTo>
                        <a:pt x="1552" y="4294"/>
                      </a:lnTo>
                      <a:lnTo>
                        <a:pt x="1711" y="4540"/>
                      </a:lnTo>
                      <a:lnTo>
                        <a:pt x="1693" y="4928"/>
                      </a:lnTo>
                      <a:lnTo>
                        <a:pt x="1719" y="5008"/>
                      </a:lnTo>
                      <a:lnTo>
                        <a:pt x="1719" y="5105"/>
                      </a:lnTo>
                      <a:lnTo>
                        <a:pt x="1667" y="5334"/>
                      </a:lnTo>
                      <a:lnTo>
                        <a:pt x="1631" y="5633"/>
                      </a:lnTo>
                      <a:lnTo>
                        <a:pt x="1649" y="5933"/>
                      </a:lnTo>
                      <a:lnTo>
                        <a:pt x="1852" y="5810"/>
                      </a:lnTo>
                      <a:lnTo>
                        <a:pt x="2072" y="5739"/>
                      </a:lnTo>
                      <a:lnTo>
                        <a:pt x="2239" y="5642"/>
                      </a:lnTo>
                      <a:lnTo>
                        <a:pt x="2389" y="5519"/>
                      </a:lnTo>
                      <a:lnTo>
                        <a:pt x="3244" y="5325"/>
                      </a:lnTo>
                      <a:lnTo>
                        <a:pt x="3791" y="5105"/>
                      </a:lnTo>
                      <a:lnTo>
                        <a:pt x="3897" y="4981"/>
                      </a:lnTo>
                      <a:lnTo>
                        <a:pt x="3914" y="4778"/>
                      </a:lnTo>
                      <a:lnTo>
                        <a:pt x="3941" y="4567"/>
                      </a:lnTo>
                      <a:lnTo>
                        <a:pt x="3905" y="4382"/>
                      </a:lnTo>
                      <a:lnTo>
                        <a:pt x="3729" y="4311"/>
                      </a:lnTo>
                      <a:lnTo>
                        <a:pt x="3553" y="4205"/>
                      </a:lnTo>
                      <a:lnTo>
                        <a:pt x="3588" y="4029"/>
                      </a:lnTo>
                      <a:lnTo>
                        <a:pt x="3703" y="3985"/>
                      </a:lnTo>
                      <a:lnTo>
                        <a:pt x="3976" y="3932"/>
                      </a:lnTo>
                      <a:lnTo>
                        <a:pt x="4135" y="3870"/>
                      </a:lnTo>
                      <a:lnTo>
                        <a:pt x="4302" y="3650"/>
                      </a:lnTo>
                      <a:lnTo>
                        <a:pt x="4505" y="3500"/>
                      </a:lnTo>
                      <a:lnTo>
                        <a:pt x="4866" y="3518"/>
                      </a:lnTo>
                      <a:lnTo>
                        <a:pt x="5184" y="3659"/>
                      </a:lnTo>
                      <a:lnTo>
                        <a:pt x="5448" y="3941"/>
                      </a:lnTo>
                      <a:lnTo>
                        <a:pt x="5660" y="4073"/>
                      </a:lnTo>
                      <a:lnTo>
                        <a:pt x="6065" y="4153"/>
                      </a:lnTo>
                      <a:lnTo>
                        <a:pt x="6224" y="4161"/>
                      </a:lnTo>
                      <a:lnTo>
                        <a:pt x="6338" y="4038"/>
                      </a:lnTo>
                      <a:lnTo>
                        <a:pt x="6471" y="3932"/>
                      </a:lnTo>
                      <a:lnTo>
                        <a:pt x="6647" y="3915"/>
                      </a:lnTo>
                      <a:lnTo>
                        <a:pt x="6823" y="3941"/>
                      </a:lnTo>
                      <a:lnTo>
                        <a:pt x="7052" y="4020"/>
                      </a:lnTo>
                      <a:lnTo>
                        <a:pt x="7326" y="4038"/>
                      </a:lnTo>
                      <a:lnTo>
                        <a:pt x="7405" y="4073"/>
                      </a:lnTo>
                      <a:lnTo>
                        <a:pt x="7581" y="4108"/>
                      </a:lnTo>
                      <a:lnTo>
                        <a:pt x="8234" y="3932"/>
                      </a:lnTo>
                      <a:lnTo>
                        <a:pt x="8110" y="3782"/>
                      </a:lnTo>
                      <a:lnTo>
                        <a:pt x="8084" y="3712"/>
                      </a:lnTo>
                      <a:lnTo>
                        <a:pt x="8137" y="3641"/>
                      </a:lnTo>
                      <a:lnTo>
                        <a:pt x="8234" y="3580"/>
                      </a:lnTo>
                      <a:lnTo>
                        <a:pt x="8304" y="3553"/>
                      </a:lnTo>
                      <a:lnTo>
                        <a:pt x="8375" y="3553"/>
                      </a:lnTo>
                      <a:lnTo>
                        <a:pt x="8480" y="3562"/>
                      </a:lnTo>
                      <a:lnTo>
                        <a:pt x="8586" y="3553"/>
                      </a:lnTo>
                      <a:lnTo>
                        <a:pt x="8833" y="3483"/>
                      </a:lnTo>
                      <a:lnTo>
                        <a:pt x="8948" y="3500"/>
                      </a:lnTo>
                      <a:lnTo>
                        <a:pt x="9265" y="3659"/>
                      </a:lnTo>
                      <a:lnTo>
                        <a:pt x="9388" y="3668"/>
                      </a:lnTo>
                      <a:lnTo>
                        <a:pt x="9485" y="3641"/>
                      </a:lnTo>
                      <a:lnTo>
                        <a:pt x="9723" y="3535"/>
                      </a:lnTo>
                      <a:lnTo>
                        <a:pt x="9811" y="3465"/>
                      </a:lnTo>
                      <a:lnTo>
                        <a:pt x="9891" y="3350"/>
                      </a:lnTo>
                      <a:lnTo>
                        <a:pt x="9900" y="3245"/>
                      </a:lnTo>
                      <a:lnTo>
                        <a:pt x="9882" y="3130"/>
                      </a:lnTo>
                      <a:lnTo>
                        <a:pt x="9900" y="2989"/>
                      </a:lnTo>
                      <a:lnTo>
                        <a:pt x="9953" y="2918"/>
                      </a:lnTo>
                      <a:lnTo>
                        <a:pt x="9953" y="2848"/>
                      </a:lnTo>
                      <a:lnTo>
                        <a:pt x="9935" y="2769"/>
                      </a:lnTo>
                      <a:lnTo>
                        <a:pt x="9926" y="2689"/>
                      </a:lnTo>
                      <a:lnTo>
                        <a:pt x="9935" y="2592"/>
                      </a:lnTo>
                      <a:lnTo>
                        <a:pt x="9961" y="2504"/>
                      </a:lnTo>
                      <a:lnTo>
                        <a:pt x="10111" y="2196"/>
                      </a:lnTo>
                      <a:lnTo>
                        <a:pt x="10138" y="2116"/>
                      </a:lnTo>
                      <a:lnTo>
                        <a:pt x="10138" y="2099"/>
                      </a:lnTo>
                      <a:lnTo>
                        <a:pt x="10067" y="2037"/>
                      </a:lnTo>
                      <a:lnTo>
                        <a:pt x="9882" y="1993"/>
                      </a:lnTo>
                      <a:lnTo>
                        <a:pt x="9053" y="2187"/>
                      </a:lnTo>
                      <a:lnTo>
                        <a:pt x="8701" y="2143"/>
                      </a:lnTo>
                      <a:lnTo>
                        <a:pt x="8357" y="2037"/>
                      </a:lnTo>
                      <a:lnTo>
                        <a:pt x="7890" y="2090"/>
                      </a:lnTo>
                      <a:lnTo>
                        <a:pt x="7467" y="2019"/>
                      </a:lnTo>
                      <a:lnTo>
                        <a:pt x="7440" y="1931"/>
                      </a:lnTo>
                      <a:lnTo>
                        <a:pt x="7405" y="1843"/>
                      </a:lnTo>
                      <a:lnTo>
                        <a:pt x="7114" y="1781"/>
                      </a:lnTo>
                      <a:lnTo>
                        <a:pt x="6700" y="1579"/>
                      </a:lnTo>
                      <a:lnTo>
                        <a:pt x="6559" y="1402"/>
                      </a:lnTo>
                      <a:lnTo>
                        <a:pt x="6453" y="1173"/>
                      </a:lnTo>
                      <a:lnTo>
                        <a:pt x="6303" y="1067"/>
                      </a:lnTo>
                      <a:lnTo>
                        <a:pt x="6206" y="1067"/>
                      </a:lnTo>
                      <a:lnTo>
                        <a:pt x="6056" y="997"/>
                      </a:lnTo>
                      <a:lnTo>
                        <a:pt x="5995" y="944"/>
                      </a:lnTo>
                      <a:lnTo>
                        <a:pt x="5845" y="917"/>
                      </a:lnTo>
                      <a:lnTo>
                        <a:pt x="5527" y="1041"/>
                      </a:lnTo>
                      <a:lnTo>
                        <a:pt x="5237" y="1252"/>
                      </a:lnTo>
                      <a:lnTo>
                        <a:pt x="5078" y="1191"/>
                      </a:lnTo>
                      <a:lnTo>
                        <a:pt x="4999" y="1120"/>
                      </a:lnTo>
                      <a:lnTo>
                        <a:pt x="4937" y="900"/>
                      </a:lnTo>
                      <a:lnTo>
                        <a:pt x="4937" y="750"/>
                      </a:lnTo>
                      <a:lnTo>
                        <a:pt x="4954" y="468"/>
                      </a:lnTo>
                      <a:lnTo>
                        <a:pt x="4857" y="124"/>
                      </a:lnTo>
                      <a:lnTo>
                        <a:pt x="4611" y="18"/>
                      </a:lnTo>
                      <a:lnTo>
                        <a:pt x="4399" y="62"/>
                      </a:lnTo>
                      <a:lnTo>
                        <a:pt x="4179" y="9"/>
                      </a:lnTo>
                      <a:lnTo>
                        <a:pt x="367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3095;p54">
                  <a:extLst>
                    <a:ext uri="{FF2B5EF4-FFF2-40B4-BE49-F238E27FC236}">
                      <a16:creationId xmlns:a16="http://schemas.microsoft.com/office/drawing/2014/main" id="{FC99167D-5813-4AB1-958D-6EDC09736216}"/>
                    </a:ext>
                  </a:extLst>
                </p:cNvPr>
                <p:cNvSpPr/>
                <p:nvPr/>
              </p:nvSpPr>
              <p:spPr>
                <a:xfrm>
                  <a:off x="7984338" y="2409662"/>
                  <a:ext cx="587295" cy="709432"/>
                </a:xfrm>
                <a:custGeom>
                  <a:avLst/>
                  <a:gdLst/>
                  <a:ahLst/>
                  <a:cxnLst/>
                  <a:rect l="l" t="t" r="r" b="b"/>
                  <a:pathLst>
                    <a:path w="8261" h="9979" extrusionOk="0">
                      <a:moveTo>
                        <a:pt x="2619" y="0"/>
                      </a:moveTo>
                      <a:lnTo>
                        <a:pt x="2416" y="150"/>
                      </a:lnTo>
                      <a:lnTo>
                        <a:pt x="2249" y="370"/>
                      </a:lnTo>
                      <a:lnTo>
                        <a:pt x="2090" y="432"/>
                      </a:lnTo>
                      <a:lnTo>
                        <a:pt x="1817" y="485"/>
                      </a:lnTo>
                      <a:lnTo>
                        <a:pt x="1702" y="529"/>
                      </a:lnTo>
                      <a:lnTo>
                        <a:pt x="1667" y="705"/>
                      </a:lnTo>
                      <a:lnTo>
                        <a:pt x="1843" y="811"/>
                      </a:lnTo>
                      <a:lnTo>
                        <a:pt x="2019" y="882"/>
                      </a:lnTo>
                      <a:lnTo>
                        <a:pt x="2055" y="1067"/>
                      </a:lnTo>
                      <a:lnTo>
                        <a:pt x="2028" y="1278"/>
                      </a:lnTo>
                      <a:lnTo>
                        <a:pt x="2011" y="1481"/>
                      </a:lnTo>
                      <a:lnTo>
                        <a:pt x="1905" y="1605"/>
                      </a:lnTo>
                      <a:lnTo>
                        <a:pt x="1358" y="1825"/>
                      </a:lnTo>
                      <a:lnTo>
                        <a:pt x="1367" y="2283"/>
                      </a:lnTo>
                      <a:lnTo>
                        <a:pt x="1508" y="2583"/>
                      </a:lnTo>
                      <a:lnTo>
                        <a:pt x="2046" y="2918"/>
                      </a:lnTo>
                      <a:lnTo>
                        <a:pt x="2240" y="3209"/>
                      </a:lnTo>
                      <a:lnTo>
                        <a:pt x="2108" y="3650"/>
                      </a:lnTo>
                      <a:lnTo>
                        <a:pt x="1773" y="3905"/>
                      </a:lnTo>
                      <a:lnTo>
                        <a:pt x="1517" y="4179"/>
                      </a:lnTo>
                      <a:lnTo>
                        <a:pt x="1094" y="4813"/>
                      </a:lnTo>
                      <a:lnTo>
                        <a:pt x="1015" y="4998"/>
                      </a:lnTo>
                      <a:lnTo>
                        <a:pt x="909" y="5166"/>
                      </a:lnTo>
                      <a:lnTo>
                        <a:pt x="618" y="5369"/>
                      </a:lnTo>
                      <a:lnTo>
                        <a:pt x="115" y="5651"/>
                      </a:lnTo>
                      <a:lnTo>
                        <a:pt x="45" y="5739"/>
                      </a:lnTo>
                      <a:lnTo>
                        <a:pt x="1" y="5986"/>
                      </a:lnTo>
                      <a:lnTo>
                        <a:pt x="27" y="6118"/>
                      </a:lnTo>
                      <a:lnTo>
                        <a:pt x="186" y="6488"/>
                      </a:lnTo>
                      <a:lnTo>
                        <a:pt x="212" y="6567"/>
                      </a:lnTo>
                      <a:lnTo>
                        <a:pt x="221" y="6717"/>
                      </a:lnTo>
                      <a:lnTo>
                        <a:pt x="168" y="6929"/>
                      </a:lnTo>
                      <a:lnTo>
                        <a:pt x="257" y="7220"/>
                      </a:lnTo>
                      <a:lnTo>
                        <a:pt x="503" y="7308"/>
                      </a:lnTo>
                      <a:lnTo>
                        <a:pt x="865" y="7281"/>
                      </a:lnTo>
                      <a:lnTo>
                        <a:pt x="1235" y="7352"/>
                      </a:lnTo>
                      <a:lnTo>
                        <a:pt x="1570" y="7484"/>
                      </a:lnTo>
                      <a:lnTo>
                        <a:pt x="1614" y="7898"/>
                      </a:lnTo>
                      <a:lnTo>
                        <a:pt x="1596" y="8136"/>
                      </a:lnTo>
                      <a:lnTo>
                        <a:pt x="1632" y="8383"/>
                      </a:lnTo>
                      <a:lnTo>
                        <a:pt x="1605" y="8630"/>
                      </a:lnTo>
                      <a:lnTo>
                        <a:pt x="1543" y="8868"/>
                      </a:lnTo>
                      <a:lnTo>
                        <a:pt x="1526" y="9212"/>
                      </a:lnTo>
                      <a:lnTo>
                        <a:pt x="1464" y="9353"/>
                      </a:lnTo>
                      <a:lnTo>
                        <a:pt x="1411" y="9512"/>
                      </a:lnTo>
                      <a:lnTo>
                        <a:pt x="1596" y="9952"/>
                      </a:lnTo>
                      <a:lnTo>
                        <a:pt x="1967" y="9750"/>
                      </a:lnTo>
                      <a:lnTo>
                        <a:pt x="2363" y="9802"/>
                      </a:lnTo>
                      <a:lnTo>
                        <a:pt x="2716" y="9952"/>
                      </a:lnTo>
                      <a:lnTo>
                        <a:pt x="2839" y="9979"/>
                      </a:lnTo>
                      <a:lnTo>
                        <a:pt x="3060" y="9979"/>
                      </a:lnTo>
                      <a:lnTo>
                        <a:pt x="3289" y="9944"/>
                      </a:lnTo>
                      <a:lnTo>
                        <a:pt x="3906" y="9935"/>
                      </a:lnTo>
                      <a:lnTo>
                        <a:pt x="4532" y="9838"/>
                      </a:lnTo>
                      <a:lnTo>
                        <a:pt x="4655" y="9767"/>
                      </a:lnTo>
                      <a:lnTo>
                        <a:pt x="4787" y="9714"/>
                      </a:lnTo>
                      <a:lnTo>
                        <a:pt x="4981" y="9741"/>
                      </a:lnTo>
                      <a:lnTo>
                        <a:pt x="5175" y="9820"/>
                      </a:lnTo>
                      <a:lnTo>
                        <a:pt x="5475" y="9820"/>
                      </a:lnTo>
                      <a:lnTo>
                        <a:pt x="5775" y="9758"/>
                      </a:lnTo>
                      <a:lnTo>
                        <a:pt x="6030" y="9609"/>
                      </a:lnTo>
                      <a:lnTo>
                        <a:pt x="6145" y="9291"/>
                      </a:lnTo>
                      <a:lnTo>
                        <a:pt x="6339" y="8956"/>
                      </a:lnTo>
                      <a:lnTo>
                        <a:pt x="6674" y="8886"/>
                      </a:lnTo>
                      <a:lnTo>
                        <a:pt x="7079" y="8939"/>
                      </a:lnTo>
                      <a:lnTo>
                        <a:pt x="7088" y="8921"/>
                      </a:lnTo>
                      <a:lnTo>
                        <a:pt x="7132" y="8859"/>
                      </a:lnTo>
                      <a:lnTo>
                        <a:pt x="7176" y="8798"/>
                      </a:lnTo>
                      <a:lnTo>
                        <a:pt x="7176" y="8718"/>
                      </a:lnTo>
                      <a:lnTo>
                        <a:pt x="7150" y="8639"/>
                      </a:lnTo>
                      <a:lnTo>
                        <a:pt x="7159" y="8560"/>
                      </a:lnTo>
                      <a:lnTo>
                        <a:pt x="7185" y="8489"/>
                      </a:lnTo>
                      <a:lnTo>
                        <a:pt x="7229" y="8410"/>
                      </a:lnTo>
                      <a:lnTo>
                        <a:pt x="7264" y="8330"/>
                      </a:lnTo>
                      <a:lnTo>
                        <a:pt x="7379" y="8198"/>
                      </a:lnTo>
                      <a:lnTo>
                        <a:pt x="7423" y="8110"/>
                      </a:lnTo>
                      <a:lnTo>
                        <a:pt x="7458" y="7987"/>
                      </a:lnTo>
                      <a:lnTo>
                        <a:pt x="7502" y="7916"/>
                      </a:lnTo>
                      <a:lnTo>
                        <a:pt x="7564" y="7863"/>
                      </a:lnTo>
                      <a:lnTo>
                        <a:pt x="7652" y="7819"/>
                      </a:lnTo>
                      <a:lnTo>
                        <a:pt x="7679" y="7784"/>
                      </a:lnTo>
                      <a:lnTo>
                        <a:pt x="7643" y="7669"/>
                      </a:lnTo>
                      <a:lnTo>
                        <a:pt x="7643" y="7625"/>
                      </a:lnTo>
                      <a:lnTo>
                        <a:pt x="7687" y="7590"/>
                      </a:lnTo>
                      <a:lnTo>
                        <a:pt x="7767" y="7555"/>
                      </a:lnTo>
                      <a:lnTo>
                        <a:pt x="7802" y="7511"/>
                      </a:lnTo>
                      <a:lnTo>
                        <a:pt x="7829" y="7422"/>
                      </a:lnTo>
                      <a:lnTo>
                        <a:pt x="7864" y="7308"/>
                      </a:lnTo>
                      <a:lnTo>
                        <a:pt x="7881" y="7193"/>
                      </a:lnTo>
                      <a:lnTo>
                        <a:pt x="7855" y="6902"/>
                      </a:lnTo>
                      <a:lnTo>
                        <a:pt x="7987" y="6761"/>
                      </a:lnTo>
                      <a:lnTo>
                        <a:pt x="8155" y="6629"/>
                      </a:lnTo>
                      <a:lnTo>
                        <a:pt x="8260" y="6479"/>
                      </a:lnTo>
                      <a:lnTo>
                        <a:pt x="8260" y="6382"/>
                      </a:lnTo>
                      <a:lnTo>
                        <a:pt x="8225" y="6285"/>
                      </a:lnTo>
                      <a:lnTo>
                        <a:pt x="8163" y="6206"/>
                      </a:lnTo>
                      <a:lnTo>
                        <a:pt x="8102" y="6153"/>
                      </a:lnTo>
                      <a:lnTo>
                        <a:pt x="8031" y="6127"/>
                      </a:lnTo>
                      <a:lnTo>
                        <a:pt x="7970" y="6135"/>
                      </a:lnTo>
                      <a:lnTo>
                        <a:pt x="7820" y="6224"/>
                      </a:lnTo>
                      <a:lnTo>
                        <a:pt x="7582" y="6180"/>
                      </a:lnTo>
                      <a:lnTo>
                        <a:pt x="7511" y="6153"/>
                      </a:lnTo>
                      <a:lnTo>
                        <a:pt x="7476" y="6118"/>
                      </a:lnTo>
                      <a:lnTo>
                        <a:pt x="7458" y="6074"/>
                      </a:lnTo>
                      <a:lnTo>
                        <a:pt x="7476" y="5977"/>
                      </a:lnTo>
                      <a:lnTo>
                        <a:pt x="7476" y="5915"/>
                      </a:lnTo>
                      <a:lnTo>
                        <a:pt x="7467" y="5765"/>
                      </a:lnTo>
                      <a:lnTo>
                        <a:pt x="7467" y="5695"/>
                      </a:lnTo>
                      <a:lnTo>
                        <a:pt x="7520" y="5457"/>
                      </a:lnTo>
                      <a:lnTo>
                        <a:pt x="7529" y="5360"/>
                      </a:lnTo>
                      <a:lnTo>
                        <a:pt x="7485" y="5060"/>
                      </a:lnTo>
                      <a:lnTo>
                        <a:pt x="7502" y="4822"/>
                      </a:lnTo>
                      <a:lnTo>
                        <a:pt x="7511" y="4699"/>
                      </a:lnTo>
                      <a:lnTo>
                        <a:pt x="7476" y="4602"/>
                      </a:lnTo>
                      <a:lnTo>
                        <a:pt x="7441" y="4558"/>
                      </a:lnTo>
                      <a:lnTo>
                        <a:pt x="7405" y="4540"/>
                      </a:lnTo>
                      <a:lnTo>
                        <a:pt x="7317" y="4513"/>
                      </a:lnTo>
                      <a:lnTo>
                        <a:pt x="7264" y="4478"/>
                      </a:lnTo>
                      <a:lnTo>
                        <a:pt x="7273" y="4443"/>
                      </a:lnTo>
                      <a:lnTo>
                        <a:pt x="7317" y="4408"/>
                      </a:lnTo>
                      <a:lnTo>
                        <a:pt x="7335" y="4364"/>
                      </a:lnTo>
                      <a:lnTo>
                        <a:pt x="7317" y="4249"/>
                      </a:lnTo>
                      <a:lnTo>
                        <a:pt x="7291" y="4179"/>
                      </a:lnTo>
                      <a:lnTo>
                        <a:pt x="7282" y="4108"/>
                      </a:lnTo>
                      <a:lnTo>
                        <a:pt x="7300" y="3985"/>
                      </a:lnTo>
                      <a:lnTo>
                        <a:pt x="7432" y="3561"/>
                      </a:lnTo>
                      <a:lnTo>
                        <a:pt x="7405" y="3385"/>
                      </a:lnTo>
                      <a:lnTo>
                        <a:pt x="7159" y="3262"/>
                      </a:lnTo>
                      <a:lnTo>
                        <a:pt x="7088" y="3191"/>
                      </a:lnTo>
                      <a:lnTo>
                        <a:pt x="7018" y="3103"/>
                      </a:lnTo>
                      <a:lnTo>
                        <a:pt x="6973" y="2971"/>
                      </a:lnTo>
                      <a:lnTo>
                        <a:pt x="6956" y="2927"/>
                      </a:lnTo>
                      <a:lnTo>
                        <a:pt x="6938" y="2874"/>
                      </a:lnTo>
                      <a:lnTo>
                        <a:pt x="6947" y="2830"/>
                      </a:lnTo>
                      <a:lnTo>
                        <a:pt x="6938" y="2777"/>
                      </a:lnTo>
                      <a:lnTo>
                        <a:pt x="6903" y="2733"/>
                      </a:lnTo>
                      <a:lnTo>
                        <a:pt x="6859" y="2706"/>
                      </a:lnTo>
                      <a:lnTo>
                        <a:pt x="6832" y="2662"/>
                      </a:lnTo>
                      <a:lnTo>
                        <a:pt x="6815" y="2565"/>
                      </a:lnTo>
                      <a:lnTo>
                        <a:pt x="6797" y="2530"/>
                      </a:lnTo>
                      <a:lnTo>
                        <a:pt x="6780" y="2486"/>
                      </a:lnTo>
                      <a:lnTo>
                        <a:pt x="6841" y="2371"/>
                      </a:lnTo>
                      <a:lnTo>
                        <a:pt x="6921" y="2310"/>
                      </a:lnTo>
                      <a:lnTo>
                        <a:pt x="6965" y="2239"/>
                      </a:lnTo>
                      <a:lnTo>
                        <a:pt x="6921" y="2010"/>
                      </a:lnTo>
                      <a:lnTo>
                        <a:pt x="6938" y="1913"/>
                      </a:lnTo>
                      <a:lnTo>
                        <a:pt x="7035" y="1728"/>
                      </a:lnTo>
                      <a:lnTo>
                        <a:pt x="7000" y="1587"/>
                      </a:lnTo>
                      <a:lnTo>
                        <a:pt x="6815" y="1455"/>
                      </a:lnTo>
                      <a:lnTo>
                        <a:pt x="6612" y="1349"/>
                      </a:lnTo>
                      <a:lnTo>
                        <a:pt x="6489" y="1252"/>
                      </a:lnTo>
                      <a:lnTo>
                        <a:pt x="6489" y="1199"/>
                      </a:lnTo>
                      <a:lnTo>
                        <a:pt x="6515" y="1093"/>
                      </a:lnTo>
                      <a:lnTo>
                        <a:pt x="6515" y="1040"/>
                      </a:lnTo>
                      <a:lnTo>
                        <a:pt x="6453" y="926"/>
                      </a:lnTo>
                      <a:lnTo>
                        <a:pt x="6445" y="873"/>
                      </a:lnTo>
                      <a:lnTo>
                        <a:pt x="6436" y="820"/>
                      </a:lnTo>
                      <a:lnTo>
                        <a:pt x="6453" y="776"/>
                      </a:lnTo>
                      <a:lnTo>
                        <a:pt x="6453" y="732"/>
                      </a:lnTo>
                      <a:lnTo>
                        <a:pt x="6400" y="617"/>
                      </a:lnTo>
                      <a:lnTo>
                        <a:pt x="6374" y="485"/>
                      </a:lnTo>
                      <a:lnTo>
                        <a:pt x="6348" y="432"/>
                      </a:lnTo>
                      <a:lnTo>
                        <a:pt x="5695" y="608"/>
                      </a:lnTo>
                      <a:lnTo>
                        <a:pt x="5519" y="573"/>
                      </a:lnTo>
                      <a:lnTo>
                        <a:pt x="5440" y="538"/>
                      </a:lnTo>
                      <a:lnTo>
                        <a:pt x="5166" y="520"/>
                      </a:lnTo>
                      <a:lnTo>
                        <a:pt x="4937" y="441"/>
                      </a:lnTo>
                      <a:lnTo>
                        <a:pt x="4761" y="415"/>
                      </a:lnTo>
                      <a:lnTo>
                        <a:pt x="4585" y="432"/>
                      </a:lnTo>
                      <a:lnTo>
                        <a:pt x="4452" y="538"/>
                      </a:lnTo>
                      <a:lnTo>
                        <a:pt x="4338" y="661"/>
                      </a:lnTo>
                      <a:lnTo>
                        <a:pt x="4179" y="653"/>
                      </a:lnTo>
                      <a:lnTo>
                        <a:pt x="3774" y="573"/>
                      </a:lnTo>
                      <a:lnTo>
                        <a:pt x="3562" y="441"/>
                      </a:lnTo>
                      <a:lnTo>
                        <a:pt x="3298" y="159"/>
                      </a:lnTo>
                      <a:lnTo>
                        <a:pt x="2980" y="18"/>
                      </a:lnTo>
                      <a:lnTo>
                        <a:pt x="2619"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8" name="Google Shape;3096;p54">
                  <a:extLst>
                    <a:ext uri="{FF2B5EF4-FFF2-40B4-BE49-F238E27FC236}">
                      <a16:creationId xmlns:a16="http://schemas.microsoft.com/office/drawing/2014/main" id="{5C31C075-6842-98F6-E86A-8E964BC1618E}"/>
                    </a:ext>
                  </a:extLst>
                </p:cNvPr>
                <p:cNvSpPr/>
                <p:nvPr/>
              </p:nvSpPr>
              <p:spPr>
                <a:xfrm>
                  <a:off x="2741438" y="1238941"/>
                  <a:ext cx="468784" cy="367975"/>
                </a:xfrm>
                <a:custGeom>
                  <a:avLst/>
                  <a:gdLst/>
                  <a:ahLst/>
                  <a:cxnLst/>
                  <a:rect l="l" t="t" r="r" b="b"/>
                  <a:pathLst>
                    <a:path w="6594" h="5176" extrusionOk="0">
                      <a:moveTo>
                        <a:pt x="2125" y="1"/>
                      </a:moveTo>
                      <a:lnTo>
                        <a:pt x="2019" y="10"/>
                      </a:lnTo>
                      <a:lnTo>
                        <a:pt x="1966" y="62"/>
                      </a:lnTo>
                      <a:lnTo>
                        <a:pt x="1860" y="204"/>
                      </a:lnTo>
                      <a:lnTo>
                        <a:pt x="1852" y="221"/>
                      </a:lnTo>
                      <a:lnTo>
                        <a:pt x="1843" y="248"/>
                      </a:lnTo>
                      <a:lnTo>
                        <a:pt x="1825" y="256"/>
                      </a:lnTo>
                      <a:lnTo>
                        <a:pt x="1711" y="221"/>
                      </a:lnTo>
                      <a:lnTo>
                        <a:pt x="1552" y="221"/>
                      </a:lnTo>
                      <a:lnTo>
                        <a:pt x="1481" y="168"/>
                      </a:lnTo>
                      <a:lnTo>
                        <a:pt x="1402" y="124"/>
                      </a:lnTo>
                      <a:lnTo>
                        <a:pt x="1323" y="98"/>
                      </a:lnTo>
                      <a:lnTo>
                        <a:pt x="1243" y="89"/>
                      </a:lnTo>
                      <a:lnTo>
                        <a:pt x="1235" y="89"/>
                      </a:lnTo>
                      <a:lnTo>
                        <a:pt x="1120" y="151"/>
                      </a:lnTo>
                      <a:lnTo>
                        <a:pt x="1023" y="345"/>
                      </a:lnTo>
                      <a:lnTo>
                        <a:pt x="926" y="406"/>
                      </a:lnTo>
                      <a:lnTo>
                        <a:pt x="864" y="433"/>
                      </a:lnTo>
                      <a:lnTo>
                        <a:pt x="820" y="494"/>
                      </a:lnTo>
                      <a:lnTo>
                        <a:pt x="785" y="574"/>
                      </a:lnTo>
                      <a:lnTo>
                        <a:pt x="732" y="635"/>
                      </a:lnTo>
                      <a:lnTo>
                        <a:pt x="697" y="644"/>
                      </a:lnTo>
                      <a:lnTo>
                        <a:pt x="609" y="627"/>
                      </a:lnTo>
                      <a:lnTo>
                        <a:pt x="556" y="653"/>
                      </a:lnTo>
                      <a:lnTo>
                        <a:pt x="512" y="706"/>
                      </a:lnTo>
                      <a:lnTo>
                        <a:pt x="468" y="697"/>
                      </a:lnTo>
                      <a:lnTo>
                        <a:pt x="424" y="688"/>
                      </a:lnTo>
                      <a:lnTo>
                        <a:pt x="371" y="688"/>
                      </a:lnTo>
                      <a:lnTo>
                        <a:pt x="318" y="715"/>
                      </a:lnTo>
                      <a:lnTo>
                        <a:pt x="265" y="768"/>
                      </a:lnTo>
                      <a:lnTo>
                        <a:pt x="379" y="1491"/>
                      </a:lnTo>
                      <a:lnTo>
                        <a:pt x="529" y="2081"/>
                      </a:lnTo>
                      <a:lnTo>
                        <a:pt x="582" y="2681"/>
                      </a:lnTo>
                      <a:lnTo>
                        <a:pt x="476" y="3280"/>
                      </a:lnTo>
                      <a:lnTo>
                        <a:pt x="291" y="3571"/>
                      </a:lnTo>
                      <a:lnTo>
                        <a:pt x="221" y="4012"/>
                      </a:lnTo>
                      <a:lnTo>
                        <a:pt x="0" y="4488"/>
                      </a:lnTo>
                      <a:lnTo>
                        <a:pt x="133" y="4770"/>
                      </a:lnTo>
                      <a:lnTo>
                        <a:pt x="829" y="4611"/>
                      </a:lnTo>
                      <a:lnTo>
                        <a:pt x="1587" y="4558"/>
                      </a:lnTo>
                      <a:lnTo>
                        <a:pt x="2134" y="4558"/>
                      </a:lnTo>
                      <a:lnTo>
                        <a:pt x="2389" y="4726"/>
                      </a:lnTo>
                      <a:lnTo>
                        <a:pt x="2592" y="5008"/>
                      </a:lnTo>
                      <a:lnTo>
                        <a:pt x="2856" y="5175"/>
                      </a:lnTo>
                      <a:lnTo>
                        <a:pt x="3147" y="5096"/>
                      </a:lnTo>
                      <a:lnTo>
                        <a:pt x="3421" y="4884"/>
                      </a:lnTo>
                      <a:lnTo>
                        <a:pt x="3588" y="4541"/>
                      </a:lnTo>
                      <a:lnTo>
                        <a:pt x="3808" y="4214"/>
                      </a:lnTo>
                      <a:lnTo>
                        <a:pt x="4258" y="4082"/>
                      </a:lnTo>
                      <a:lnTo>
                        <a:pt x="4760" y="3959"/>
                      </a:lnTo>
                      <a:lnTo>
                        <a:pt x="5563" y="3853"/>
                      </a:lnTo>
                      <a:lnTo>
                        <a:pt x="6382" y="3765"/>
                      </a:lnTo>
                      <a:lnTo>
                        <a:pt x="6594" y="3474"/>
                      </a:lnTo>
                      <a:lnTo>
                        <a:pt x="6479" y="3359"/>
                      </a:lnTo>
                      <a:lnTo>
                        <a:pt x="6382" y="3201"/>
                      </a:lnTo>
                      <a:lnTo>
                        <a:pt x="6312" y="3104"/>
                      </a:lnTo>
                      <a:lnTo>
                        <a:pt x="6180" y="3024"/>
                      </a:lnTo>
                      <a:lnTo>
                        <a:pt x="6109" y="2936"/>
                      </a:lnTo>
                      <a:lnTo>
                        <a:pt x="6039" y="2822"/>
                      </a:lnTo>
                      <a:lnTo>
                        <a:pt x="6012" y="2725"/>
                      </a:lnTo>
                      <a:lnTo>
                        <a:pt x="6012" y="2689"/>
                      </a:lnTo>
                      <a:lnTo>
                        <a:pt x="6030" y="2681"/>
                      </a:lnTo>
                      <a:lnTo>
                        <a:pt x="6056" y="2681"/>
                      </a:lnTo>
                      <a:lnTo>
                        <a:pt x="6074" y="2663"/>
                      </a:lnTo>
                      <a:lnTo>
                        <a:pt x="6065" y="2619"/>
                      </a:lnTo>
                      <a:lnTo>
                        <a:pt x="6056" y="2601"/>
                      </a:lnTo>
                      <a:lnTo>
                        <a:pt x="6039" y="2592"/>
                      </a:lnTo>
                      <a:lnTo>
                        <a:pt x="6021" y="2531"/>
                      </a:lnTo>
                      <a:lnTo>
                        <a:pt x="5977" y="2487"/>
                      </a:lnTo>
                      <a:lnTo>
                        <a:pt x="5898" y="2407"/>
                      </a:lnTo>
                      <a:lnTo>
                        <a:pt x="5845" y="2319"/>
                      </a:lnTo>
                      <a:lnTo>
                        <a:pt x="5757" y="2037"/>
                      </a:lnTo>
                      <a:lnTo>
                        <a:pt x="5677" y="1931"/>
                      </a:lnTo>
                      <a:lnTo>
                        <a:pt x="5598" y="1834"/>
                      </a:lnTo>
                      <a:lnTo>
                        <a:pt x="5527" y="1720"/>
                      </a:lnTo>
                      <a:lnTo>
                        <a:pt x="5501" y="1552"/>
                      </a:lnTo>
                      <a:lnTo>
                        <a:pt x="5510" y="1402"/>
                      </a:lnTo>
                      <a:lnTo>
                        <a:pt x="5554" y="1314"/>
                      </a:lnTo>
                      <a:lnTo>
                        <a:pt x="5616" y="1279"/>
                      </a:lnTo>
                      <a:lnTo>
                        <a:pt x="5686" y="1279"/>
                      </a:lnTo>
                      <a:lnTo>
                        <a:pt x="5774" y="1314"/>
                      </a:lnTo>
                      <a:lnTo>
                        <a:pt x="5818" y="1323"/>
                      </a:lnTo>
                      <a:lnTo>
                        <a:pt x="5862" y="1297"/>
                      </a:lnTo>
                      <a:lnTo>
                        <a:pt x="5871" y="1253"/>
                      </a:lnTo>
                      <a:lnTo>
                        <a:pt x="5854" y="1208"/>
                      </a:lnTo>
                      <a:lnTo>
                        <a:pt x="5818" y="1164"/>
                      </a:lnTo>
                      <a:lnTo>
                        <a:pt x="5801" y="1147"/>
                      </a:lnTo>
                      <a:lnTo>
                        <a:pt x="5801" y="1085"/>
                      </a:lnTo>
                      <a:lnTo>
                        <a:pt x="5730" y="785"/>
                      </a:lnTo>
                      <a:lnTo>
                        <a:pt x="5571" y="741"/>
                      </a:lnTo>
                      <a:lnTo>
                        <a:pt x="5501" y="724"/>
                      </a:lnTo>
                      <a:lnTo>
                        <a:pt x="5272" y="750"/>
                      </a:lnTo>
                      <a:lnTo>
                        <a:pt x="5210" y="732"/>
                      </a:lnTo>
                      <a:lnTo>
                        <a:pt x="5087" y="671"/>
                      </a:lnTo>
                      <a:lnTo>
                        <a:pt x="4972" y="635"/>
                      </a:lnTo>
                      <a:lnTo>
                        <a:pt x="4928" y="635"/>
                      </a:lnTo>
                      <a:lnTo>
                        <a:pt x="4840" y="653"/>
                      </a:lnTo>
                      <a:lnTo>
                        <a:pt x="4822" y="644"/>
                      </a:lnTo>
                      <a:lnTo>
                        <a:pt x="4787" y="644"/>
                      </a:lnTo>
                      <a:lnTo>
                        <a:pt x="4769" y="653"/>
                      </a:lnTo>
                      <a:lnTo>
                        <a:pt x="4752" y="715"/>
                      </a:lnTo>
                      <a:lnTo>
                        <a:pt x="4752" y="803"/>
                      </a:lnTo>
                      <a:lnTo>
                        <a:pt x="4743" y="856"/>
                      </a:lnTo>
                      <a:lnTo>
                        <a:pt x="4813" y="909"/>
                      </a:lnTo>
                      <a:lnTo>
                        <a:pt x="4796" y="944"/>
                      </a:lnTo>
                      <a:lnTo>
                        <a:pt x="4743" y="970"/>
                      </a:lnTo>
                      <a:lnTo>
                        <a:pt x="4681" y="970"/>
                      </a:lnTo>
                      <a:lnTo>
                        <a:pt x="4619" y="944"/>
                      </a:lnTo>
                      <a:lnTo>
                        <a:pt x="4373" y="812"/>
                      </a:lnTo>
                      <a:lnTo>
                        <a:pt x="4205" y="803"/>
                      </a:lnTo>
                      <a:lnTo>
                        <a:pt x="3844" y="900"/>
                      </a:lnTo>
                      <a:lnTo>
                        <a:pt x="3835" y="962"/>
                      </a:lnTo>
                      <a:lnTo>
                        <a:pt x="3817" y="997"/>
                      </a:lnTo>
                      <a:lnTo>
                        <a:pt x="3791" y="997"/>
                      </a:lnTo>
                      <a:lnTo>
                        <a:pt x="3756" y="970"/>
                      </a:lnTo>
                      <a:lnTo>
                        <a:pt x="3720" y="1015"/>
                      </a:lnTo>
                      <a:lnTo>
                        <a:pt x="3667" y="1050"/>
                      </a:lnTo>
                      <a:lnTo>
                        <a:pt x="3570" y="1085"/>
                      </a:lnTo>
                      <a:lnTo>
                        <a:pt x="3579" y="1103"/>
                      </a:lnTo>
                      <a:lnTo>
                        <a:pt x="3588" y="1111"/>
                      </a:lnTo>
                      <a:lnTo>
                        <a:pt x="3606" y="1111"/>
                      </a:lnTo>
                      <a:lnTo>
                        <a:pt x="3615" y="1120"/>
                      </a:lnTo>
                      <a:lnTo>
                        <a:pt x="3606" y="1138"/>
                      </a:lnTo>
                      <a:lnTo>
                        <a:pt x="3570" y="1156"/>
                      </a:lnTo>
                      <a:lnTo>
                        <a:pt x="3562" y="1164"/>
                      </a:lnTo>
                      <a:lnTo>
                        <a:pt x="3623" y="1191"/>
                      </a:lnTo>
                      <a:lnTo>
                        <a:pt x="3553" y="1226"/>
                      </a:lnTo>
                      <a:lnTo>
                        <a:pt x="3491" y="1182"/>
                      </a:lnTo>
                      <a:lnTo>
                        <a:pt x="3377" y="1032"/>
                      </a:lnTo>
                      <a:lnTo>
                        <a:pt x="3306" y="970"/>
                      </a:lnTo>
                      <a:lnTo>
                        <a:pt x="2971" y="777"/>
                      </a:lnTo>
                      <a:lnTo>
                        <a:pt x="2856" y="680"/>
                      </a:lnTo>
                      <a:lnTo>
                        <a:pt x="2759" y="556"/>
                      </a:lnTo>
                      <a:lnTo>
                        <a:pt x="2557" y="256"/>
                      </a:lnTo>
                      <a:lnTo>
                        <a:pt x="2433" y="124"/>
                      </a:lnTo>
                      <a:lnTo>
                        <a:pt x="2283" y="36"/>
                      </a:lnTo>
                      <a:lnTo>
                        <a:pt x="2125"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9" name="Google Shape;3097;p54">
                  <a:extLst>
                    <a:ext uri="{FF2B5EF4-FFF2-40B4-BE49-F238E27FC236}">
                      <a16:creationId xmlns:a16="http://schemas.microsoft.com/office/drawing/2014/main" id="{43E548A0-85D3-5F6F-2DEF-502CC1BA392C}"/>
                    </a:ext>
                  </a:extLst>
                </p:cNvPr>
                <p:cNvSpPr/>
                <p:nvPr/>
              </p:nvSpPr>
              <p:spPr>
                <a:xfrm>
                  <a:off x="2495165" y="1289702"/>
                  <a:ext cx="287711" cy="607983"/>
                </a:xfrm>
                <a:custGeom>
                  <a:avLst/>
                  <a:gdLst/>
                  <a:ahLst/>
                  <a:cxnLst/>
                  <a:rect l="l" t="t" r="r" b="b"/>
                  <a:pathLst>
                    <a:path w="4047" h="8552" extrusionOk="0">
                      <a:moveTo>
                        <a:pt x="3464" y="1"/>
                      </a:moveTo>
                      <a:lnTo>
                        <a:pt x="3412" y="18"/>
                      </a:lnTo>
                      <a:lnTo>
                        <a:pt x="3306" y="115"/>
                      </a:lnTo>
                      <a:lnTo>
                        <a:pt x="3262" y="151"/>
                      </a:lnTo>
                      <a:lnTo>
                        <a:pt x="3174" y="159"/>
                      </a:lnTo>
                      <a:lnTo>
                        <a:pt x="2733" y="89"/>
                      </a:lnTo>
                      <a:lnTo>
                        <a:pt x="2653" y="98"/>
                      </a:lnTo>
                      <a:lnTo>
                        <a:pt x="2574" y="151"/>
                      </a:lnTo>
                      <a:lnTo>
                        <a:pt x="2442" y="301"/>
                      </a:lnTo>
                      <a:lnTo>
                        <a:pt x="2407" y="327"/>
                      </a:lnTo>
                      <a:lnTo>
                        <a:pt x="2380" y="353"/>
                      </a:lnTo>
                      <a:lnTo>
                        <a:pt x="2363" y="397"/>
                      </a:lnTo>
                      <a:lnTo>
                        <a:pt x="2371" y="415"/>
                      </a:lnTo>
                      <a:lnTo>
                        <a:pt x="2424" y="450"/>
                      </a:lnTo>
                      <a:lnTo>
                        <a:pt x="2442" y="477"/>
                      </a:lnTo>
                      <a:lnTo>
                        <a:pt x="2433" y="512"/>
                      </a:lnTo>
                      <a:lnTo>
                        <a:pt x="2415" y="565"/>
                      </a:lnTo>
                      <a:lnTo>
                        <a:pt x="2407" y="600"/>
                      </a:lnTo>
                      <a:lnTo>
                        <a:pt x="2407" y="635"/>
                      </a:lnTo>
                      <a:lnTo>
                        <a:pt x="2407" y="680"/>
                      </a:lnTo>
                      <a:lnTo>
                        <a:pt x="2380" y="794"/>
                      </a:lnTo>
                      <a:lnTo>
                        <a:pt x="2345" y="909"/>
                      </a:lnTo>
                      <a:lnTo>
                        <a:pt x="2283" y="988"/>
                      </a:lnTo>
                      <a:lnTo>
                        <a:pt x="2063" y="1059"/>
                      </a:lnTo>
                      <a:lnTo>
                        <a:pt x="1587" y="1041"/>
                      </a:lnTo>
                      <a:lnTo>
                        <a:pt x="1393" y="1208"/>
                      </a:lnTo>
                      <a:lnTo>
                        <a:pt x="1322" y="1358"/>
                      </a:lnTo>
                      <a:lnTo>
                        <a:pt x="1314" y="1491"/>
                      </a:lnTo>
                      <a:lnTo>
                        <a:pt x="1340" y="1614"/>
                      </a:lnTo>
                      <a:lnTo>
                        <a:pt x="1393" y="1684"/>
                      </a:lnTo>
                      <a:lnTo>
                        <a:pt x="1508" y="1676"/>
                      </a:lnTo>
                      <a:lnTo>
                        <a:pt x="1596" y="1702"/>
                      </a:lnTo>
                      <a:lnTo>
                        <a:pt x="1719" y="1817"/>
                      </a:lnTo>
                      <a:lnTo>
                        <a:pt x="1895" y="1861"/>
                      </a:lnTo>
                      <a:lnTo>
                        <a:pt x="1975" y="1896"/>
                      </a:lnTo>
                      <a:lnTo>
                        <a:pt x="2054" y="1914"/>
                      </a:lnTo>
                      <a:lnTo>
                        <a:pt x="2036" y="2011"/>
                      </a:lnTo>
                      <a:lnTo>
                        <a:pt x="1992" y="2081"/>
                      </a:lnTo>
                      <a:lnTo>
                        <a:pt x="2257" y="2284"/>
                      </a:lnTo>
                      <a:lnTo>
                        <a:pt x="2468" y="2390"/>
                      </a:lnTo>
                      <a:lnTo>
                        <a:pt x="2512" y="2443"/>
                      </a:lnTo>
                      <a:lnTo>
                        <a:pt x="2601" y="2310"/>
                      </a:lnTo>
                      <a:lnTo>
                        <a:pt x="2601" y="2354"/>
                      </a:lnTo>
                      <a:lnTo>
                        <a:pt x="2609" y="2398"/>
                      </a:lnTo>
                      <a:lnTo>
                        <a:pt x="2618" y="2443"/>
                      </a:lnTo>
                      <a:lnTo>
                        <a:pt x="2636" y="2478"/>
                      </a:lnTo>
                      <a:lnTo>
                        <a:pt x="2618" y="2548"/>
                      </a:lnTo>
                      <a:lnTo>
                        <a:pt x="2636" y="2716"/>
                      </a:lnTo>
                      <a:lnTo>
                        <a:pt x="2601" y="2778"/>
                      </a:lnTo>
                      <a:lnTo>
                        <a:pt x="2653" y="2866"/>
                      </a:lnTo>
                      <a:lnTo>
                        <a:pt x="2680" y="2971"/>
                      </a:lnTo>
                      <a:lnTo>
                        <a:pt x="2698" y="3201"/>
                      </a:lnTo>
                      <a:lnTo>
                        <a:pt x="2777" y="3500"/>
                      </a:lnTo>
                      <a:lnTo>
                        <a:pt x="2794" y="3624"/>
                      </a:lnTo>
                      <a:lnTo>
                        <a:pt x="2794" y="3756"/>
                      </a:lnTo>
                      <a:lnTo>
                        <a:pt x="2777" y="3888"/>
                      </a:lnTo>
                      <a:lnTo>
                        <a:pt x="2733" y="3994"/>
                      </a:lnTo>
                      <a:lnTo>
                        <a:pt x="2671" y="4056"/>
                      </a:lnTo>
                      <a:lnTo>
                        <a:pt x="2583" y="4065"/>
                      </a:lnTo>
                      <a:lnTo>
                        <a:pt x="2486" y="4038"/>
                      </a:lnTo>
                      <a:lnTo>
                        <a:pt x="2398" y="3985"/>
                      </a:lnTo>
                      <a:lnTo>
                        <a:pt x="2345" y="3923"/>
                      </a:lnTo>
                      <a:lnTo>
                        <a:pt x="2116" y="4179"/>
                      </a:lnTo>
                      <a:lnTo>
                        <a:pt x="2063" y="4179"/>
                      </a:lnTo>
                      <a:lnTo>
                        <a:pt x="2045" y="4206"/>
                      </a:lnTo>
                      <a:lnTo>
                        <a:pt x="2028" y="4232"/>
                      </a:lnTo>
                      <a:lnTo>
                        <a:pt x="2010" y="4258"/>
                      </a:lnTo>
                      <a:lnTo>
                        <a:pt x="1878" y="4347"/>
                      </a:lnTo>
                      <a:lnTo>
                        <a:pt x="1754" y="4452"/>
                      </a:lnTo>
                      <a:lnTo>
                        <a:pt x="1675" y="4496"/>
                      </a:lnTo>
                      <a:lnTo>
                        <a:pt x="1384" y="4523"/>
                      </a:lnTo>
                      <a:lnTo>
                        <a:pt x="1331" y="4576"/>
                      </a:lnTo>
                      <a:lnTo>
                        <a:pt x="1402" y="4682"/>
                      </a:lnTo>
                      <a:lnTo>
                        <a:pt x="1349" y="4814"/>
                      </a:lnTo>
                      <a:lnTo>
                        <a:pt x="1331" y="4937"/>
                      </a:lnTo>
                      <a:lnTo>
                        <a:pt x="1349" y="5043"/>
                      </a:lnTo>
                      <a:lnTo>
                        <a:pt x="1402" y="5149"/>
                      </a:lnTo>
                      <a:lnTo>
                        <a:pt x="1314" y="5290"/>
                      </a:lnTo>
                      <a:lnTo>
                        <a:pt x="1314" y="5343"/>
                      </a:lnTo>
                      <a:lnTo>
                        <a:pt x="1384" y="5360"/>
                      </a:lnTo>
                      <a:lnTo>
                        <a:pt x="1419" y="5387"/>
                      </a:lnTo>
                      <a:lnTo>
                        <a:pt x="1340" y="5545"/>
                      </a:lnTo>
                      <a:lnTo>
                        <a:pt x="1349" y="5634"/>
                      </a:lnTo>
                      <a:lnTo>
                        <a:pt x="1419" y="5775"/>
                      </a:lnTo>
                      <a:lnTo>
                        <a:pt x="1455" y="5836"/>
                      </a:lnTo>
                      <a:lnTo>
                        <a:pt x="1578" y="5898"/>
                      </a:lnTo>
                      <a:lnTo>
                        <a:pt x="1578" y="5969"/>
                      </a:lnTo>
                      <a:lnTo>
                        <a:pt x="1552" y="6039"/>
                      </a:lnTo>
                      <a:lnTo>
                        <a:pt x="1508" y="6074"/>
                      </a:lnTo>
                      <a:lnTo>
                        <a:pt x="1437" y="6083"/>
                      </a:lnTo>
                      <a:lnTo>
                        <a:pt x="1402" y="6110"/>
                      </a:lnTo>
                      <a:lnTo>
                        <a:pt x="1384" y="6145"/>
                      </a:lnTo>
                      <a:lnTo>
                        <a:pt x="1402" y="6198"/>
                      </a:lnTo>
                      <a:lnTo>
                        <a:pt x="1446" y="6268"/>
                      </a:lnTo>
                      <a:lnTo>
                        <a:pt x="1499" y="6286"/>
                      </a:lnTo>
                      <a:lnTo>
                        <a:pt x="1508" y="6304"/>
                      </a:lnTo>
                      <a:lnTo>
                        <a:pt x="1463" y="6374"/>
                      </a:lnTo>
                      <a:lnTo>
                        <a:pt x="1393" y="6418"/>
                      </a:lnTo>
                      <a:lnTo>
                        <a:pt x="1261" y="6480"/>
                      </a:lnTo>
                      <a:lnTo>
                        <a:pt x="1208" y="6542"/>
                      </a:lnTo>
                      <a:lnTo>
                        <a:pt x="1225" y="6568"/>
                      </a:lnTo>
                      <a:lnTo>
                        <a:pt x="1252" y="6612"/>
                      </a:lnTo>
                      <a:lnTo>
                        <a:pt x="1252" y="6647"/>
                      </a:lnTo>
                      <a:lnTo>
                        <a:pt x="1190" y="6665"/>
                      </a:lnTo>
                      <a:lnTo>
                        <a:pt x="1155" y="6665"/>
                      </a:lnTo>
                      <a:lnTo>
                        <a:pt x="1120" y="6638"/>
                      </a:lnTo>
                      <a:lnTo>
                        <a:pt x="1093" y="6612"/>
                      </a:lnTo>
                      <a:lnTo>
                        <a:pt x="1076" y="6577"/>
                      </a:lnTo>
                      <a:lnTo>
                        <a:pt x="1049" y="6577"/>
                      </a:lnTo>
                      <a:lnTo>
                        <a:pt x="1014" y="6700"/>
                      </a:lnTo>
                      <a:lnTo>
                        <a:pt x="987" y="6753"/>
                      </a:lnTo>
                      <a:lnTo>
                        <a:pt x="952" y="6797"/>
                      </a:lnTo>
                      <a:lnTo>
                        <a:pt x="917" y="6797"/>
                      </a:lnTo>
                      <a:lnTo>
                        <a:pt x="917" y="6771"/>
                      </a:lnTo>
                      <a:lnTo>
                        <a:pt x="890" y="6709"/>
                      </a:lnTo>
                      <a:lnTo>
                        <a:pt x="890" y="6771"/>
                      </a:lnTo>
                      <a:lnTo>
                        <a:pt x="890" y="6806"/>
                      </a:lnTo>
                      <a:lnTo>
                        <a:pt x="864" y="6824"/>
                      </a:lnTo>
                      <a:lnTo>
                        <a:pt x="829" y="6832"/>
                      </a:lnTo>
                      <a:lnTo>
                        <a:pt x="820" y="6859"/>
                      </a:lnTo>
                      <a:lnTo>
                        <a:pt x="829" y="6868"/>
                      </a:lnTo>
                      <a:lnTo>
                        <a:pt x="838" y="6868"/>
                      </a:lnTo>
                      <a:lnTo>
                        <a:pt x="855" y="6876"/>
                      </a:lnTo>
                      <a:lnTo>
                        <a:pt x="811" y="6903"/>
                      </a:lnTo>
                      <a:lnTo>
                        <a:pt x="794" y="6921"/>
                      </a:lnTo>
                      <a:lnTo>
                        <a:pt x="794" y="6956"/>
                      </a:lnTo>
                      <a:lnTo>
                        <a:pt x="829" y="7026"/>
                      </a:lnTo>
                      <a:lnTo>
                        <a:pt x="573" y="7247"/>
                      </a:lnTo>
                      <a:lnTo>
                        <a:pt x="503" y="7353"/>
                      </a:lnTo>
                      <a:lnTo>
                        <a:pt x="467" y="7520"/>
                      </a:lnTo>
                      <a:lnTo>
                        <a:pt x="362" y="7643"/>
                      </a:lnTo>
                      <a:lnTo>
                        <a:pt x="221" y="7714"/>
                      </a:lnTo>
                      <a:lnTo>
                        <a:pt x="44" y="7696"/>
                      </a:lnTo>
                      <a:lnTo>
                        <a:pt x="35" y="7705"/>
                      </a:lnTo>
                      <a:lnTo>
                        <a:pt x="0" y="7714"/>
                      </a:lnTo>
                      <a:lnTo>
                        <a:pt x="62" y="7811"/>
                      </a:lnTo>
                      <a:lnTo>
                        <a:pt x="115" y="7943"/>
                      </a:lnTo>
                      <a:lnTo>
                        <a:pt x="124" y="8075"/>
                      </a:lnTo>
                      <a:lnTo>
                        <a:pt x="88" y="8172"/>
                      </a:lnTo>
                      <a:lnTo>
                        <a:pt x="132" y="8260"/>
                      </a:lnTo>
                      <a:lnTo>
                        <a:pt x="159" y="8375"/>
                      </a:lnTo>
                      <a:lnTo>
                        <a:pt x="203" y="8472"/>
                      </a:lnTo>
                      <a:lnTo>
                        <a:pt x="265" y="8507"/>
                      </a:lnTo>
                      <a:lnTo>
                        <a:pt x="388" y="8534"/>
                      </a:lnTo>
                      <a:lnTo>
                        <a:pt x="1243" y="8534"/>
                      </a:lnTo>
                      <a:lnTo>
                        <a:pt x="1490" y="8463"/>
                      </a:lnTo>
                      <a:lnTo>
                        <a:pt x="1569" y="8454"/>
                      </a:lnTo>
                      <a:lnTo>
                        <a:pt x="1693" y="8516"/>
                      </a:lnTo>
                      <a:lnTo>
                        <a:pt x="1772" y="8490"/>
                      </a:lnTo>
                      <a:lnTo>
                        <a:pt x="1842" y="8446"/>
                      </a:lnTo>
                      <a:lnTo>
                        <a:pt x="1904" y="8428"/>
                      </a:lnTo>
                      <a:lnTo>
                        <a:pt x="1984" y="8437"/>
                      </a:lnTo>
                      <a:lnTo>
                        <a:pt x="2054" y="8463"/>
                      </a:lnTo>
                      <a:lnTo>
                        <a:pt x="2186" y="8551"/>
                      </a:lnTo>
                      <a:lnTo>
                        <a:pt x="2539" y="8340"/>
                      </a:lnTo>
                      <a:lnTo>
                        <a:pt x="2671" y="8305"/>
                      </a:lnTo>
                      <a:lnTo>
                        <a:pt x="2988" y="8305"/>
                      </a:lnTo>
                      <a:lnTo>
                        <a:pt x="3050" y="8278"/>
                      </a:lnTo>
                      <a:lnTo>
                        <a:pt x="3156" y="8225"/>
                      </a:lnTo>
                      <a:lnTo>
                        <a:pt x="3464" y="8181"/>
                      </a:lnTo>
                      <a:lnTo>
                        <a:pt x="3464" y="8146"/>
                      </a:lnTo>
                      <a:lnTo>
                        <a:pt x="3500" y="7793"/>
                      </a:lnTo>
                      <a:lnTo>
                        <a:pt x="3491" y="7776"/>
                      </a:lnTo>
                      <a:lnTo>
                        <a:pt x="3376" y="7370"/>
                      </a:lnTo>
                      <a:lnTo>
                        <a:pt x="3200" y="6991"/>
                      </a:lnTo>
                      <a:lnTo>
                        <a:pt x="3165" y="6489"/>
                      </a:lnTo>
                      <a:lnTo>
                        <a:pt x="3244" y="6057"/>
                      </a:lnTo>
                      <a:lnTo>
                        <a:pt x="3394" y="5686"/>
                      </a:lnTo>
                      <a:lnTo>
                        <a:pt x="3614" y="5396"/>
                      </a:lnTo>
                      <a:lnTo>
                        <a:pt x="3685" y="5025"/>
                      </a:lnTo>
                      <a:lnTo>
                        <a:pt x="3650" y="4170"/>
                      </a:lnTo>
                      <a:lnTo>
                        <a:pt x="3597" y="4056"/>
                      </a:lnTo>
                      <a:lnTo>
                        <a:pt x="3464" y="3774"/>
                      </a:lnTo>
                      <a:lnTo>
                        <a:pt x="3685" y="3298"/>
                      </a:lnTo>
                      <a:lnTo>
                        <a:pt x="3755" y="2857"/>
                      </a:lnTo>
                      <a:lnTo>
                        <a:pt x="3940" y="2566"/>
                      </a:lnTo>
                      <a:lnTo>
                        <a:pt x="4046" y="1967"/>
                      </a:lnTo>
                      <a:lnTo>
                        <a:pt x="3993" y="1367"/>
                      </a:lnTo>
                      <a:lnTo>
                        <a:pt x="3843" y="777"/>
                      </a:lnTo>
                      <a:lnTo>
                        <a:pt x="3729" y="54"/>
                      </a:lnTo>
                      <a:lnTo>
                        <a:pt x="3685" y="89"/>
                      </a:lnTo>
                      <a:lnTo>
                        <a:pt x="3641" y="115"/>
                      </a:lnTo>
                      <a:lnTo>
                        <a:pt x="3597" y="98"/>
                      </a:lnTo>
                      <a:lnTo>
                        <a:pt x="3508" y="18"/>
                      </a:lnTo>
                      <a:lnTo>
                        <a:pt x="3464"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0" name="Google Shape;3098;p54">
                  <a:extLst>
                    <a:ext uri="{FF2B5EF4-FFF2-40B4-BE49-F238E27FC236}">
                      <a16:creationId xmlns:a16="http://schemas.microsoft.com/office/drawing/2014/main" id="{13435FF2-CC16-F48C-B3ED-ACE75B58CF6C}"/>
                    </a:ext>
                  </a:extLst>
                </p:cNvPr>
                <p:cNvSpPr/>
                <p:nvPr/>
              </p:nvSpPr>
              <p:spPr>
                <a:xfrm>
                  <a:off x="7810155" y="1675748"/>
                  <a:ext cx="520824" cy="513999"/>
                </a:xfrm>
                <a:custGeom>
                  <a:avLst/>
                  <a:gdLst/>
                  <a:ahLst/>
                  <a:cxnLst/>
                  <a:rect l="l" t="t" r="r" b="b"/>
                  <a:pathLst>
                    <a:path w="7326" h="7230" extrusionOk="0">
                      <a:moveTo>
                        <a:pt x="5986" y="1"/>
                      </a:moveTo>
                      <a:lnTo>
                        <a:pt x="5686" y="107"/>
                      </a:lnTo>
                      <a:lnTo>
                        <a:pt x="5219" y="371"/>
                      </a:lnTo>
                      <a:lnTo>
                        <a:pt x="4461" y="697"/>
                      </a:lnTo>
                      <a:lnTo>
                        <a:pt x="3703" y="1023"/>
                      </a:lnTo>
                      <a:lnTo>
                        <a:pt x="3147" y="1314"/>
                      </a:lnTo>
                      <a:lnTo>
                        <a:pt x="3041" y="1781"/>
                      </a:lnTo>
                      <a:lnTo>
                        <a:pt x="2971" y="2522"/>
                      </a:lnTo>
                      <a:lnTo>
                        <a:pt x="2883" y="2954"/>
                      </a:lnTo>
                      <a:lnTo>
                        <a:pt x="2327" y="3016"/>
                      </a:lnTo>
                      <a:lnTo>
                        <a:pt x="1790" y="3113"/>
                      </a:lnTo>
                      <a:lnTo>
                        <a:pt x="1763" y="3333"/>
                      </a:lnTo>
                      <a:lnTo>
                        <a:pt x="1684" y="3536"/>
                      </a:lnTo>
                      <a:lnTo>
                        <a:pt x="1799" y="4144"/>
                      </a:lnTo>
                      <a:lnTo>
                        <a:pt x="1613" y="4267"/>
                      </a:lnTo>
                      <a:lnTo>
                        <a:pt x="1420" y="4347"/>
                      </a:lnTo>
                      <a:lnTo>
                        <a:pt x="1261" y="4452"/>
                      </a:lnTo>
                      <a:lnTo>
                        <a:pt x="1111" y="4576"/>
                      </a:lnTo>
                      <a:lnTo>
                        <a:pt x="820" y="4743"/>
                      </a:lnTo>
                      <a:lnTo>
                        <a:pt x="141" y="4972"/>
                      </a:lnTo>
                      <a:lnTo>
                        <a:pt x="0" y="5299"/>
                      </a:lnTo>
                      <a:lnTo>
                        <a:pt x="159" y="5501"/>
                      </a:lnTo>
                      <a:lnTo>
                        <a:pt x="256" y="5660"/>
                      </a:lnTo>
                      <a:lnTo>
                        <a:pt x="371" y="5792"/>
                      </a:lnTo>
                      <a:lnTo>
                        <a:pt x="767" y="5854"/>
                      </a:lnTo>
                      <a:lnTo>
                        <a:pt x="926" y="5907"/>
                      </a:lnTo>
                      <a:lnTo>
                        <a:pt x="1058" y="6004"/>
                      </a:lnTo>
                      <a:lnTo>
                        <a:pt x="1137" y="6110"/>
                      </a:lnTo>
                      <a:lnTo>
                        <a:pt x="1199" y="6233"/>
                      </a:lnTo>
                      <a:lnTo>
                        <a:pt x="1278" y="6304"/>
                      </a:lnTo>
                      <a:lnTo>
                        <a:pt x="1367" y="6330"/>
                      </a:lnTo>
                      <a:lnTo>
                        <a:pt x="1552" y="6401"/>
                      </a:lnTo>
                      <a:lnTo>
                        <a:pt x="1666" y="6586"/>
                      </a:lnTo>
                      <a:lnTo>
                        <a:pt x="1781" y="6832"/>
                      </a:lnTo>
                      <a:lnTo>
                        <a:pt x="1913" y="7053"/>
                      </a:lnTo>
                      <a:lnTo>
                        <a:pt x="2812" y="7229"/>
                      </a:lnTo>
                      <a:lnTo>
                        <a:pt x="4240" y="6824"/>
                      </a:lnTo>
                      <a:lnTo>
                        <a:pt x="4743" y="6832"/>
                      </a:lnTo>
                      <a:lnTo>
                        <a:pt x="4963" y="6885"/>
                      </a:lnTo>
                      <a:lnTo>
                        <a:pt x="5175" y="6841"/>
                      </a:lnTo>
                      <a:lnTo>
                        <a:pt x="5421" y="6947"/>
                      </a:lnTo>
                      <a:lnTo>
                        <a:pt x="5598" y="6744"/>
                      </a:lnTo>
                      <a:lnTo>
                        <a:pt x="5598" y="6515"/>
                      </a:lnTo>
                      <a:lnTo>
                        <a:pt x="5836" y="6401"/>
                      </a:lnTo>
                      <a:lnTo>
                        <a:pt x="6418" y="6312"/>
                      </a:lnTo>
                      <a:lnTo>
                        <a:pt x="7026" y="6092"/>
                      </a:lnTo>
                      <a:lnTo>
                        <a:pt x="6964" y="5916"/>
                      </a:lnTo>
                      <a:lnTo>
                        <a:pt x="7035" y="5863"/>
                      </a:lnTo>
                      <a:lnTo>
                        <a:pt x="7246" y="5810"/>
                      </a:lnTo>
                      <a:lnTo>
                        <a:pt x="7290" y="5731"/>
                      </a:lnTo>
                      <a:lnTo>
                        <a:pt x="7255" y="5669"/>
                      </a:lnTo>
                      <a:lnTo>
                        <a:pt x="7114" y="5484"/>
                      </a:lnTo>
                      <a:lnTo>
                        <a:pt x="7061" y="5378"/>
                      </a:lnTo>
                      <a:lnTo>
                        <a:pt x="7149" y="5316"/>
                      </a:lnTo>
                      <a:lnTo>
                        <a:pt x="7140" y="5299"/>
                      </a:lnTo>
                      <a:lnTo>
                        <a:pt x="7079" y="5149"/>
                      </a:lnTo>
                      <a:lnTo>
                        <a:pt x="6867" y="4876"/>
                      </a:lnTo>
                      <a:lnTo>
                        <a:pt x="6744" y="4761"/>
                      </a:lnTo>
                      <a:lnTo>
                        <a:pt x="6700" y="4664"/>
                      </a:lnTo>
                      <a:lnTo>
                        <a:pt x="6726" y="4567"/>
                      </a:lnTo>
                      <a:lnTo>
                        <a:pt x="6770" y="4496"/>
                      </a:lnTo>
                      <a:lnTo>
                        <a:pt x="6841" y="4267"/>
                      </a:lnTo>
                      <a:lnTo>
                        <a:pt x="6841" y="4250"/>
                      </a:lnTo>
                      <a:lnTo>
                        <a:pt x="6841" y="4206"/>
                      </a:lnTo>
                      <a:lnTo>
                        <a:pt x="6656" y="4047"/>
                      </a:lnTo>
                      <a:lnTo>
                        <a:pt x="6559" y="3941"/>
                      </a:lnTo>
                      <a:lnTo>
                        <a:pt x="6532" y="3853"/>
                      </a:lnTo>
                      <a:lnTo>
                        <a:pt x="6691" y="3668"/>
                      </a:lnTo>
                      <a:lnTo>
                        <a:pt x="6797" y="3597"/>
                      </a:lnTo>
                      <a:lnTo>
                        <a:pt x="6902" y="3589"/>
                      </a:lnTo>
                      <a:lnTo>
                        <a:pt x="6894" y="3544"/>
                      </a:lnTo>
                      <a:lnTo>
                        <a:pt x="6885" y="3518"/>
                      </a:lnTo>
                      <a:lnTo>
                        <a:pt x="6867" y="3500"/>
                      </a:lnTo>
                      <a:lnTo>
                        <a:pt x="6902" y="3509"/>
                      </a:lnTo>
                      <a:lnTo>
                        <a:pt x="6920" y="3509"/>
                      </a:lnTo>
                      <a:lnTo>
                        <a:pt x="6938" y="3518"/>
                      </a:lnTo>
                      <a:lnTo>
                        <a:pt x="6964" y="3544"/>
                      </a:lnTo>
                      <a:lnTo>
                        <a:pt x="6964" y="3395"/>
                      </a:lnTo>
                      <a:lnTo>
                        <a:pt x="7026" y="3271"/>
                      </a:lnTo>
                      <a:lnTo>
                        <a:pt x="7220" y="3042"/>
                      </a:lnTo>
                      <a:lnTo>
                        <a:pt x="7184" y="2901"/>
                      </a:lnTo>
                      <a:lnTo>
                        <a:pt x="7211" y="2866"/>
                      </a:lnTo>
                      <a:lnTo>
                        <a:pt x="7308" y="2689"/>
                      </a:lnTo>
                      <a:lnTo>
                        <a:pt x="7326" y="2637"/>
                      </a:lnTo>
                      <a:lnTo>
                        <a:pt x="7299" y="2213"/>
                      </a:lnTo>
                      <a:lnTo>
                        <a:pt x="7281" y="2116"/>
                      </a:lnTo>
                      <a:lnTo>
                        <a:pt x="7237" y="2002"/>
                      </a:lnTo>
                      <a:lnTo>
                        <a:pt x="7052" y="1693"/>
                      </a:lnTo>
                      <a:lnTo>
                        <a:pt x="6999" y="1570"/>
                      </a:lnTo>
                      <a:lnTo>
                        <a:pt x="6973" y="1429"/>
                      </a:lnTo>
                      <a:lnTo>
                        <a:pt x="6964" y="1305"/>
                      </a:lnTo>
                      <a:lnTo>
                        <a:pt x="6946" y="1191"/>
                      </a:lnTo>
                      <a:lnTo>
                        <a:pt x="6894" y="1067"/>
                      </a:lnTo>
                      <a:lnTo>
                        <a:pt x="6744" y="882"/>
                      </a:lnTo>
                      <a:lnTo>
                        <a:pt x="6567" y="732"/>
                      </a:lnTo>
                      <a:lnTo>
                        <a:pt x="6365" y="636"/>
                      </a:lnTo>
                      <a:lnTo>
                        <a:pt x="6162" y="600"/>
                      </a:lnTo>
                      <a:lnTo>
                        <a:pt x="6074" y="521"/>
                      </a:lnTo>
                      <a:lnTo>
                        <a:pt x="6003" y="345"/>
                      </a:lnTo>
                      <a:lnTo>
                        <a:pt x="5968" y="151"/>
                      </a:lnTo>
                      <a:lnTo>
                        <a:pt x="598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1" name="Google Shape;3099;p54">
                  <a:extLst>
                    <a:ext uri="{FF2B5EF4-FFF2-40B4-BE49-F238E27FC236}">
                      <a16:creationId xmlns:a16="http://schemas.microsoft.com/office/drawing/2014/main" id="{B9B2A1AC-B2E4-B36E-A338-25AF783CC5D5}"/>
                    </a:ext>
                  </a:extLst>
                </p:cNvPr>
                <p:cNvSpPr/>
                <p:nvPr/>
              </p:nvSpPr>
              <p:spPr>
                <a:xfrm>
                  <a:off x="7100698" y="3103407"/>
                  <a:ext cx="628671" cy="349775"/>
                </a:xfrm>
                <a:custGeom>
                  <a:avLst/>
                  <a:gdLst/>
                  <a:ahLst/>
                  <a:cxnLst/>
                  <a:rect l="l" t="t" r="r" b="b"/>
                  <a:pathLst>
                    <a:path w="8843" h="4920" extrusionOk="0">
                      <a:moveTo>
                        <a:pt x="4990" y="0"/>
                      </a:moveTo>
                      <a:lnTo>
                        <a:pt x="4699" y="141"/>
                      </a:lnTo>
                      <a:lnTo>
                        <a:pt x="3077" y="97"/>
                      </a:lnTo>
                      <a:lnTo>
                        <a:pt x="2566" y="203"/>
                      </a:lnTo>
                      <a:lnTo>
                        <a:pt x="2504" y="335"/>
                      </a:lnTo>
                      <a:lnTo>
                        <a:pt x="2284" y="635"/>
                      </a:lnTo>
                      <a:lnTo>
                        <a:pt x="1914" y="662"/>
                      </a:lnTo>
                      <a:lnTo>
                        <a:pt x="1402" y="1058"/>
                      </a:lnTo>
                      <a:lnTo>
                        <a:pt x="1173" y="1146"/>
                      </a:lnTo>
                      <a:lnTo>
                        <a:pt x="662" y="1499"/>
                      </a:lnTo>
                      <a:lnTo>
                        <a:pt x="459" y="1693"/>
                      </a:lnTo>
                      <a:lnTo>
                        <a:pt x="1" y="2283"/>
                      </a:lnTo>
                      <a:lnTo>
                        <a:pt x="71" y="2971"/>
                      </a:lnTo>
                      <a:lnTo>
                        <a:pt x="204" y="3112"/>
                      </a:lnTo>
                      <a:lnTo>
                        <a:pt x="345" y="3235"/>
                      </a:lnTo>
                      <a:lnTo>
                        <a:pt x="583" y="3482"/>
                      </a:lnTo>
                      <a:lnTo>
                        <a:pt x="644" y="3606"/>
                      </a:lnTo>
                      <a:lnTo>
                        <a:pt x="591" y="4064"/>
                      </a:lnTo>
                      <a:lnTo>
                        <a:pt x="1015" y="4805"/>
                      </a:lnTo>
                      <a:lnTo>
                        <a:pt x="1217" y="4910"/>
                      </a:lnTo>
                      <a:lnTo>
                        <a:pt x="1217" y="4919"/>
                      </a:lnTo>
                      <a:lnTo>
                        <a:pt x="1834" y="4505"/>
                      </a:lnTo>
                      <a:lnTo>
                        <a:pt x="1923" y="4443"/>
                      </a:lnTo>
                      <a:lnTo>
                        <a:pt x="2019" y="4408"/>
                      </a:lnTo>
                      <a:lnTo>
                        <a:pt x="2125" y="4381"/>
                      </a:lnTo>
                      <a:lnTo>
                        <a:pt x="2231" y="4381"/>
                      </a:lnTo>
                      <a:lnTo>
                        <a:pt x="2443" y="4320"/>
                      </a:lnTo>
                      <a:lnTo>
                        <a:pt x="3060" y="3967"/>
                      </a:lnTo>
                      <a:lnTo>
                        <a:pt x="3289" y="3879"/>
                      </a:lnTo>
                      <a:lnTo>
                        <a:pt x="4162" y="3756"/>
                      </a:lnTo>
                      <a:lnTo>
                        <a:pt x="5272" y="3976"/>
                      </a:lnTo>
                      <a:lnTo>
                        <a:pt x="5475" y="4064"/>
                      </a:lnTo>
                      <a:lnTo>
                        <a:pt x="5581" y="4091"/>
                      </a:lnTo>
                      <a:lnTo>
                        <a:pt x="6868" y="4029"/>
                      </a:lnTo>
                      <a:lnTo>
                        <a:pt x="8798" y="3570"/>
                      </a:lnTo>
                      <a:lnTo>
                        <a:pt x="8710" y="3209"/>
                      </a:lnTo>
                      <a:lnTo>
                        <a:pt x="8419" y="2962"/>
                      </a:lnTo>
                      <a:lnTo>
                        <a:pt x="7881" y="2795"/>
                      </a:lnTo>
                      <a:lnTo>
                        <a:pt x="7802" y="2557"/>
                      </a:lnTo>
                      <a:lnTo>
                        <a:pt x="7996" y="2336"/>
                      </a:lnTo>
                      <a:lnTo>
                        <a:pt x="8437" y="2098"/>
                      </a:lnTo>
                      <a:lnTo>
                        <a:pt x="8781" y="1931"/>
                      </a:lnTo>
                      <a:lnTo>
                        <a:pt x="8842" y="1543"/>
                      </a:lnTo>
                      <a:lnTo>
                        <a:pt x="8710" y="1032"/>
                      </a:lnTo>
                      <a:lnTo>
                        <a:pt x="8428" y="300"/>
                      </a:lnTo>
                      <a:lnTo>
                        <a:pt x="7573" y="908"/>
                      </a:lnTo>
                      <a:lnTo>
                        <a:pt x="7062" y="1296"/>
                      </a:lnTo>
                      <a:lnTo>
                        <a:pt x="6348" y="1446"/>
                      </a:lnTo>
                      <a:lnTo>
                        <a:pt x="5854" y="1129"/>
                      </a:lnTo>
                      <a:lnTo>
                        <a:pt x="5528" y="450"/>
                      </a:lnTo>
                      <a:lnTo>
                        <a:pt x="5202" y="44"/>
                      </a:lnTo>
                      <a:lnTo>
                        <a:pt x="511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2" name="Google Shape;3100;p54">
                  <a:extLst>
                    <a:ext uri="{FF2B5EF4-FFF2-40B4-BE49-F238E27FC236}">
                      <a16:creationId xmlns:a16="http://schemas.microsoft.com/office/drawing/2014/main" id="{6E6866B0-FD7B-04FF-7228-D7223AF1E99A}"/>
                    </a:ext>
                  </a:extLst>
                </p:cNvPr>
                <p:cNvSpPr/>
                <p:nvPr/>
              </p:nvSpPr>
              <p:spPr>
                <a:xfrm>
                  <a:off x="6388824" y="2987451"/>
                  <a:ext cx="798440" cy="574143"/>
                </a:xfrm>
                <a:custGeom>
                  <a:avLst/>
                  <a:gdLst/>
                  <a:ahLst/>
                  <a:cxnLst/>
                  <a:rect l="l" t="t" r="r" b="b"/>
                  <a:pathLst>
                    <a:path w="11231" h="8076" extrusionOk="0">
                      <a:moveTo>
                        <a:pt x="6259" y="1"/>
                      </a:moveTo>
                      <a:lnTo>
                        <a:pt x="6074" y="133"/>
                      </a:lnTo>
                      <a:lnTo>
                        <a:pt x="5792" y="212"/>
                      </a:lnTo>
                      <a:lnTo>
                        <a:pt x="5712" y="256"/>
                      </a:lnTo>
                      <a:lnTo>
                        <a:pt x="5659" y="318"/>
                      </a:lnTo>
                      <a:lnTo>
                        <a:pt x="5633" y="406"/>
                      </a:lnTo>
                      <a:lnTo>
                        <a:pt x="5615" y="609"/>
                      </a:lnTo>
                      <a:lnTo>
                        <a:pt x="5562" y="688"/>
                      </a:lnTo>
                      <a:lnTo>
                        <a:pt x="5501" y="732"/>
                      </a:lnTo>
                      <a:lnTo>
                        <a:pt x="5280" y="803"/>
                      </a:lnTo>
                      <a:lnTo>
                        <a:pt x="5324" y="891"/>
                      </a:lnTo>
                      <a:lnTo>
                        <a:pt x="5324" y="970"/>
                      </a:lnTo>
                      <a:lnTo>
                        <a:pt x="5298" y="1041"/>
                      </a:lnTo>
                      <a:lnTo>
                        <a:pt x="5245" y="1129"/>
                      </a:lnTo>
                      <a:lnTo>
                        <a:pt x="5271" y="1155"/>
                      </a:lnTo>
                      <a:lnTo>
                        <a:pt x="5280" y="1199"/>
                      </a:lnTo>
                      <a:lnTo>
                        <a:pt x="5280" y="1252"/>
                      </a:lnTo>
                      <a:lnTo>
                        <a:pt x="5245" y="1296"/>
                      </a:lnTo>
                      <a:lnTo>
                        <a:pt x="5219" y="1288"/>
                      </a:lnTo>
                      <a:lnTo>
                        <a:pt x="5122" y="1261"/>
                      </a:lnTo>
                      <a:lnTo>
                        <a:pt x="5086" y="1252"/>
                      </a:lnTo>
                      <a:lnTo>
                        <a:pt x="5016" y="1279"/>
                      </a:lnTo>
                      <a:lnTo>
                        <a:pt x="4954" y="1332"/>
                      </a:lnTo>
                      <a:lnTo>
                        <a:pt x="4901" y="1402"/>
                      </a:lnTo>
                      <a:lnTo>
                        <a:pt x="4866" y="1490"/>
                      </a:lnTo>
                      <a:lnTo>
                        <a:pt x="4928" y="1473"/>
                      </a:lnTo>
                      <a:lnTo>
                        <a:pt x="5060" y="1385"/>
                      </a:lnTo>
                      <a:lnTo>
                        <a:pt x="5113" y="1376"/>
                      </a:lnTo>
                      <a:lnTo>
                        <a:pt x="5166" y="1420"/>
                      </a:lnTo>
                      <a:lnTo>
                        <a:pt x="5157" y="1570"/>
                      </a:lnTo>
                      <a:lnTo>
                        <a:pt x="5219" y="1649"/>
                      </a:lnTo>
                      <a:lnTo>
                        <a:pt x="5122" y="1675"/>
                      </a:lnTo>
                      <a:lnTo>
                        <a:pt x="5016" y="1684"/>
                      </a:lnTo>
                      <a:lnTo>
                        <a:pt x="4919" y="1702"/>
                      </a:lnTo>
                      <a:lnTo>
                        <a:pt x="4866" y="1772"/>
                      </a:lnTo>
                      <a:lnTo>
                        <a:pt x="4901" y="1808"/>
                      </a:lnTo>
                      <a:lnTo>
                        <a:pt x="5025" y="1931"/>
                      </a:lnTo>
                      <a:lnTo>
                        <a:pt x="4989" y="1958"/>
                      </a:lnTo>
                      <a:lnTo>
                        <a:pt x="4954" y="1975"/>
                      </a:lnTo>
                      <a:lnTo>
                        <a:pt x="4910" y="1975"/>
                      </a:lnTo>
                      <a:lnTo>
                        <a:pt x="4831" y="1922"/>
                      </a:lnTo>
                      <a:lnTo>
                        <a:pt x="4795" y="1949"/>
                      </a:lnTo>
                      <a:lnTo>
                        <a:pt x="4769" y="1993"/>
                      </a:lnTo>
                      <a:lnTo>
                        <a:pt x="4751" y="2019"/>
                      </a:lnTo>
                      <a:lnTo>
                        <a:pt x="4734" y="2028"/>
                      </a:lnTo>
                      <a:lnTo>
                        <a:pt x="4707" y="2037"/>
                      </a:lnTo>
                      <a:lnTo>
                        <a:pt x="4681" y="2055"/>
                      </a:lnTo>
                      <a:lnTo>
                        <a:pt x="4646" y="2055"/>
                      </a:lnTo>
                      <a:lnTo>
                        <a:pt x="4619" y="2046"/>
                      </a:lnTo>
                      <a:lnTo>
                        <a:pt x="4557" y="1984"/>
                      </a:lnTo>
                      <a:lnTo>
                        <a:pt x="4549" y="1975"/>
                      </a:lnTo>
                      <a:lnTo>
                        <a:pt x="4452" y="2028"/>
                      </a:lnTo>
                      <a:lnTo>
                        <a:pt x="4540" y="2125"/>
                      </a:lnTo>
                      <a:lnTo>
                        <a:pt x="4769" y="2301"/>
                      </a:lnTo>
                      <a:lnTo>
                        <a:pt x="3738" y="2460"/>
                      </a:lnTo>
                      <a:lnTo>
                        <a:pt x="3508" y="2698"/>
                      </a:lnTo>
                      <a:lnTo>
                        <a:pt x="3464" y="2716"/>
                      </a:lnTo>
                      <a:lnTo>
                        <a:pt x="3412" y="2821"/>
                      </a:lnTo>
                      <a:lnTo>
                        <a:pt x="3129" y="3121"/>
                      </a:lnTo>
                      <a:lnTo>
                        <a:pt x="3032" y="3183"/>
                      </a:lnTo>
                      <a:lnTo>
                        <a:pt x="2468" y="3280"/>
                      </a:lnTo>
                      <a:lnTo>
                        <a:pt x="2318" y="3218"/>
                      </a:lnTo>
                      <a:lnTo>
                        <a:pt x="2054" y="3315"/>
                      </a:lnTo>
                      <a:lnTo>
                        <a:pt x="2001" y="3324"/>
                      </a:lnTo>
                      <a:lnTo>
                        <a:pt x="1975" y="3447"/>
                      </a:lnTo>
                      <a:lnTo>
                        <a:pt x="1895" y="3483"/>
                      </a:lnTo>
                      <a:lnTo>
                        <a:pt x="1701" y="3456"/>
                      </a:lnTo>
                      <a:lnTo>
                        <a:pt x="1657" y="3491"/>
                      </a:lnTo>
                      <a:lnTo>
                        <a:pt x="1649" y="3562"/>
                      </a:lnTo>
                      <a:lnTo>
                        <a:pt x="1657" y="3632"/>
                      </a:lnTo>
                      <a:lnTo>
                        <a:pt x="1640" y="3659"/>
                      </a:lnTo>
                      <a:lnTo>
                        <a:pt x="1622" y="3668"/>
                      </a:lnTo>
                      <a:lnTo>
                        <a:pt x="1613" y="3676"/>
                      </a:lnTo>
                      <a:lnTo>
                        <a:pt x="1604" y="3694"/>
                      </a:lnTo>
                      <a:lnTo>
                        <a:pt x="1578" y="3703"/>
                      </a:lnTo>
                      <a:lnTo>
                        <a:pt x="1560" y="3685"/>
                      </a:lnTo>
                      <a:lnTo>
                        <a:pt x="1552" y="3632"/>
                      </a:lnTo>
                      <a:lnTo>
                        <a:pt x="1525" y="3624"/>
                      </a:lnTo>
                      <a:lnTo>
                        <a:pt x="1322" y="3571"/>
                      </a:lnTo>
                      <a:lnTo>
                        <a:pt x="1243" y="3527"/>
                      </a:lnTo>
                      <a:lnTo>
                        <a:pt x="1181" y="3456"/>
                      </a:lnTo>
                      <a:lnTo>
                        <a:pt x="1040" y="3553"/>
                      </a:lnTo>
                      <a:lnTo>
                        <a:pt x="987" y="3553"/>
                      </a:lnTo>
                      <a:lnTo>
                        <a:pt x="926" y="3500"/>
                      </a:lnTo>
                      <a:lnTo>
                        <a:pt x="846" y="3518"/>
                      </a:lnTo>
                      <a:lnTo>
                        <a:pt x="767" y="3500"/>
                      </a:lnTo>
                      <a:lnTo>
                        <a:pt x="688" y="3509"/>
                      </a:lnTo>
                      <a:lnTo>
                        <a:pt x="617" y="3562"/>
                      </a:lnTo>
                      <a:lnTo>
                        <a:pt x="414" y="3826"/>
                      </a:lnTo>
                      <a:lnTo>
                        <a:pt x="256" y="3976"/>
                      </a:lnTo>
                      <a:lnTo>
                        <a:pt x="212" y="4056"/>
                      </a:lnTo>
                      <a:lnTo>
                        <a:pt x="176" y="4205"/>
                      </a:lnTo>
                      <a:lnTo>
                        <a:pt x="150" y="4232"/>
                      </a:lnTo>
                      <a:lnTo>
                        <a:pt x="115" y="4249"/>
                      </a:lnTo>
                      <a:lnTo>
                        <a:pt x="79" y="4276"/>
                      </a:lnTo>
                      <a:lnTo>
                        <a:pt x="53" y="4329"/>
                      </a:lnTo>
                      <a:lnTo>
                        <a:pt x="0" y="4540"/>
                      </a:lnTo>
                      <a:lnTo>
                        <a:pt x="71" y="4584"/>
                      </a:lnTo>
                      <a:lnTo>
                        <a:pt x="124" y="4646"/>
                      </a:lnTo>
                      <a:lnTo>
                        <a:pt x="159" y="4734"/>
                      </a:lnTo>
                      <a:lnTo>
                        <a:pt x="159" y="4858"/>
                      </a:lnTo>
                      <a:lnTo>
                        <a:pt x="124" y="4858"/>
                      </a:lnTo>
                      <a:lnTo>
                        <a:pt x="97" y="4787"/>
                      </a:lnTo>
                      <a:lnTo>
                        <a:pt x="53" y="4778"/>
                      </a:lnTo>
                      <a:lnTo>
                        <a:pt x="18" y="4822"/>
                      </a:lnTo>
                      <a:lnTo>
                        <a:pt x="0" y="4919"/>
                      </a:lnTo>
                      <a:lnTo>
                        <a:pt x="18" y="5016"/>
                      </a:lnTo>
                      <a:lnTo>
                        <a:pt x="44" y="5087"/>
                      </a:lnTo>
                      <a:lnTo>
                        <a:pt x="124" y="5219"/>
                      </a:lnTo>
                      <a:lnTo>
                        <a:pt x="159" y="5281"/>
                      </a:lnTo>
                      <a:lnTo>
                        <a:pt x="168" y="5334"/>
                      </a:lnTo>
                      <a:lnTo>
                        <a:pt x="159" y="5475"/>
                      </a:lnTo>
                      <a:lnTo>
                        <a:pt x="132" y="5651"/>
                      </a:lnTo>
                      <a:lnTo>
                        <a:pt x="132" y="5722"/>
                      </a:lnTo>
                      <a:lnTo>
                        <a:pt x="194" y="5774"/>
                      </a:lnTo>
                      <a:lnTo>
                        <a:pt x="247" y="5748"/>
                      </a:lnTo>
                      <a:lnTo>
                        <a:pt x="291" y="5774"/>
                      </a:lnTo>
                      <a:lnTo>
                        <a:pt x="335" y="5827"/>
                      </a:lnTo>
                      <a:lnTo>
                        <a:pt x="379" y="5854"/>
                      </a:lnTo>
                      <a:lnTo>
                        <a:pt x="423" y="5845"/>
                      </a:lnTo>
                      <a:lnTo>
                        <a:pt x="529" y="5792"/>
                      </a:lnTo>
                      <a:lnTo>
                        <a:pt x="591" y="5774"/>
                      </a:lnTo>
                      <a:lnTo>
                        <a:pt x="644" y="5810"/>
                      </a:lnTo>
                      <a:lnTo>
                        <a:pt x="635" y="5871"/>
                      </a:lnTo>
                      <a:lnTo>
                        <a:pt x="573" y="6012"/>
                      </a:lnTo>
                      <a:lnTo>
                        <a:pt x="573" y="6101"/>
                      </a:lnTo>
                      <a:lnTo>
                        <a:pt x="582" y="6153"/>
                      </a:lnTo>
                      <a:lnTo>
                        <a:pt x="652" y="6233"/>
                      </a:lnTo>
                      <a:lnTo>
                        <a:pt x="776" y="6347"/>
                      </a:lnTo>
                      <a:lnTo>
                        <a:pt x="793" y="6391"/>
                      </a:lnTo>
                      <a:lnTo>
                        <a:pt x="802" y="6541"/>
                      </a:lnTo>
                      <a:lnTo>
                        <a:pt x="811" y="6603"/>
                      </a:lnTo>
                      <a:lnTo>
                        <a:pt x="829" y="6656"/>
                      </a:lnTo>
                      <a:lnTo>
                        <a:pt x="908" y="6744"/>
                      </a:lnTo>
                      <a:lnTo>
                        <a:pt x="926" y="6788"/>
                      </a:lnTo>
                      <a:lnTo>
                        <a:pt x="873" y="6815"/>
                      </a:lnTo>
                      <a:lnTo>
                        <a:pt x="838" y="6850"/>
                      </a:lnTo>
                      <a:lnTo>
                        <a:pt x="829" y="6920"/>
                      </a:lnTo>
                      <a:lnTo>
                        <a:pt x="838" y="7000"/>
                      </a:lnTo>
                      <a:lnTo>
                        <a:pt x="855" y="7053"/>
                      </a:lnTo>
                      <a:lnTo>
                        <a:pt x="864" y="7053"/>
                      </a:lnTo>
                      <a:lnTo>
                        <a:pt x="1314" y="6771"/>
                      </a:lnTo>
                      <a:lnTo>
                        <a:pt x="1622" y="6647"/>
                      </a:lnTo>
                      <a:lnTo>
                        <a:pt x="1781" y="6629"/>
                      </a:lnTo>
                      <a:lnTo>
                        <a:pt x="2080" y="6665"/>
                      </a:lnTo>
                      <a:lnTo>
                        <a:pt x="2962" y="6938"/>
                      </a:lnTo>
                      <a:lnTo>
                        <a:pt x="3191" y="7061"/>
                      </a:lnTo>
                      <a:lnTo>
                        <a:pt x="3685" y="7582"/>
                      </a:lnTo>
                      <a:lnTo>
                        <a:pt x="3817" y="7723"/>
                      </a:lnTo>
                      <a:lnTo>
                        <a:pt x="4099" y="7872"/>
                      </a:lnTo>
                      <a:lnTo>
                        <a:pt x="4425" y="7916"/>
                      </a:lnTo>
                      <a:lnTo>
                        <a:pt x="5183" y="7881"/>
                      </a:lnTo>
                      <a:lnTo>
                        <a:pt x="5289" y="7846"/>
                      </a:lnTo>
                      <a:lnTo>
                        <a:pt x="5527" y="7828"/>
                      </a:lnTo>
                      <a:lnTo>
                        <a:pt x="6241" y="8075"/>
                      </a:lnTo>
                      <a:lnTo>
                        <a:pt x="6488" y="8058"/>
                      </a:lnTo>
                      <a:lnTo>
                        <a:pt x="7431" y="7881"/>
                      </a:lnTo>
                      <a:lnTo>
                        <a:pt x="8930" y="7590"/>
                      </a:lnTo>
                      <a:lnTo>
                        <a:pt x="9926" y="7220"/>
                      </a:lnTo>
                      <a:lnTo>
                        <a:pt x="10384" y="6938"/>
                      </a:lnTo>
                      <a:lnTo>
                        <a:pt x="10552" y="6885"/>
                      </a:lnTo>
                      <a:lnTo>
                        <a:pt x="10728" y="6850"/>
                      </a:lnTo>
                      <a:lnTo>
                        <a:pt x="10895" y="6771"/>
                      </a:lnTo>
                      <a:lnTo>
                        <a:pt x="11230" y="6550"/>
                      </a:lnTo>
                      <a:lnTo>
                        <a:pt x="11230" y="6541"/>
                      </a:lnTo>
                      <a:lnTo>
                        <a:pt x="11028" y="6436"/>
                      </a:lnTo>
                      <a:lnTo>
                        <a:pt x="10604" y="5695"/>
                      </a:lnTo>
                      <a:lnTo>
                        <a:pt x="10657" y="5237"/>
                      </a:lnTo>
                      <a:lnTo>
                        <a:pt x="10596" y="5113"/>
                      </a:lnTo>
                      <a:lnTo>
                        <a:pt x="10358" y="4866"/>
                      </a:lnTo>
                      <a:lnTo>
                        <a:pt x="10217" y="4743"/>
                      </a:lnTo>
                      <a:lnTo>
                        <a:pt x="10084" y="4602"/>
                      </a:lnTo>
                      <a:lnTo>
                        <a:pt x="10014" y="3914"/>
                      </a:lnTo>
                      <a:lnTo>
                        <a:pt x="9802" y="3668"/>
                      </a:lnTo>
                      <a:lnTo>
                        <a:pt x="9644" y="3359"/>
                      </a:lnTo>
                      <a:lnTo>
                        <a:pt x="9476" y="2892"/>
                      </a:lnTo>
                      <a:lnTo>
                        <a:pt x="9467" y="2804"/>
                      </a:lnTo>
                      <a:lnTo>
                        <a:pt x="9423" y="2636"/>
                      </a:lnTo>
                      <a:lnTo>
                        <a:pt x="9353" y="2196"/>
                      </a:lnTo>
                      <a:lnTo>
                        <a:pt x="9379" y="1561"/>
                      </a:lnTo>
                      <a:lnTo>
                        <a:pt x="9317" y="1411"/>
                      </a:lnTo>
                      <a:lnTo>
                        <a:pt x="9229" y="1393"/>
                      </a:lnTo>
                      <a:lnTo>
                        <a:pt x="9150" y="1349"/>
                      </a:lnTo>
                      <a:lnTo>
                        <a:pt x="9035" y="1235"/>
                      </a:lnTo>
                      <a:lnTo>
                        <a:pt x="8903" y="1173"/>
                      </a:lnTo>
                      <a:lnTo>
                        <a:pt x="8850" y="1252"/>
                      </a:lnTo>
                      <a:lnTo>
                        <a:pt x="8806" y="1323"/>
                      </a:lnTo>
                      <a:lnTo>
                        <a:pt x="8586" y="1226"/>
                      </a:lnTo>
                      <a:lnTo>
                        <a:pt x="8410" y="1058"/>
                      </a:lnTo>
                      <a:lnTo>
                        <a:pt x="8260" y="1006"/>
                      </a:lnTo>
                      <a:lnTo>
                        <a:pt x="8110" y="935"/>
                      </a:lnTo>
                      <a:lnTo>
                        <a:pt x="7810" y="688"/>
                      </a:lnTo>
                      <a:lnTo>
                        <a:pt x="7528" y="388"/>
                      </a:lnTo>
                      <a:lnTo>
                        <a:pt x="7272" y="265"/>
                      </a:lnTo>
                      <a:lnTo>
                        <a:pt x="6999" y="256"/>
                      </a:lnTo>
                      <a:lnTo>
                        <a:pt x="6620" y="195"/>
                      </a:lnTo>
                      <a:lnTo>
                        <a:pt x="6259"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3" name="Google Shape;3101;p54">
                  <a:extLst>
                    <a:ext uri="{FF2B5EF4-FFF2-40B4-BE49-F238E27FC236}">
                      <a16:creationId xmlns:a16="http://schemas.microsoft.com/office/drawing/2014/main" id="{1B789F9A-1E88-AA37-F5F9-87FFD38E59D6}"/>
                    </a:ext>
                  </a:extLst>
                </p:cNvPr>
                <p:cNvSpPr/>
                <p:nvPr/>
              </p:nvSpPr>
              <p:spPr>
                <a:xfrm>
                  <a:off x="5999650" y="3411106"/>
                  <a:ext cx="283943" cy="166143"/>
                </a:xfrm>
                <a:custGeom>
                  <a:avLst/>
                  <a:gdLst/>
                  <a:ahLst/>
                  <a:cxnLst/>
                  <a:rect l="l" t="t" r="r" b="b"/>
                  <a:pathLst>
                    <a:path w="3994" h="2337" extrusionOk="0">
                      <a:moveTo>
                        <a:pt x="1137" y="1"/>
                      </a:moveTo>
                      <a:lnTo>
                        <a:pt x="996" y="124"/>
                      </a:lnTo>
                      <a:lnTo>
                        <a:pt x="943" y="512"/>
                      </a:lnTo>
                      <a:lnTo>
                        <a:pt x="635" y="723"/>
                      </a:lnTo>
                      <a:lnTo>
                        <a:pt x="247" y="900"/>
                      </a:lnTo>
                      <a:lnTo>
                        <a:pt x="0" y="1138"/>
                      </a:lnTo>
                      <a:lnTo>
                        <a:pt x="846" y="1437"/>
                      </a:lnTo>
                      <a:lnTo>
                        <a:pt x="1146" y="1455"/>
                      </a:lnTo>
                      <a:lnTo>
                        <a:pt x="1234" y="1481"/>
                      </a:lnTo>
                      <a:lnTo>
                        <a:pt x="1322" y="1517"/>
                      </a:lnTo>
                      <a:lnTo>
                        <a:pt x="1410" y="1570"/>
                      </a:lnTo>
                      <a:lnTo>
                        <a:pt x="1481" y="1631"/>
                      </a:lnTo>
                      <a:lnTo>
                        <a:pt x="1622" y="1764"/>
                      </a:lnTo>
                      <a:lnTo>
                        <a:pt x="1657" y="1843"/>
                      </a:lnTo>
                      <a:lnTo>
                        <a:pt x="1666" y="1957"/>
                      </a:lnTo>
                      <a:lnTo>
                        <a:pt x="1622" y="2143"/>
                      </a:lnTo>
                      <a:lnTo>
                        <a:pt x="1640" y="2213"/>
                      </a:lnTo>
                      <a:lnTo>
                        <a:pt x="1728" y="2292"/>
                      </a:lnTo>
                      <a:lnTo>
                        <a:pt x="1825" y="2337"/>
                      </a:lnTo>
                      <a:lnTo>
                        <a:pt x="1860" y="2328"/>
                      </a:lnTo>
                      <a:lnTo>
                        <a:pt x="1904" y="2275"/>
                      </a:lnTo>
                      <a:lnTo>
                        <a:pt x="1975" y="2204"/>
                      </a:lnTo>
                      <a:lnTo>
                        <a:pt x="2063" y="2160"/>
                      </a:lnTo>
                      <a:lnTo>
                        <a:pt x="2133" y="2169"/>
                      </a:lnTo>
                      <a:lnTo>
                        <a:pt x="2213" y="2187"/>
                      </a:lnTo>
                      <a:lnTo>
                        <a:pt x="2301" y="2204"/>
                      </a:lnTo>
                      <a:lnTo>
                        <a:pt x="2592" y="2125"/>
                      </a:lnTo>
                      <a:lnTo>
                        <a:pt x="2697" y="2116"/>
                      </a:lnTo>
                      <a:lnTo>
                        <a:pt x="3456" y="2257"/>
                      </a:lnTo>
                      <a:lnTo>
                        <a:pt x="3641" y="2257"/>
                      </a:lnTo>
                      <a:lnTo>
                        <a:pt x="3993" y="2028"/>
                      </a:lnTo>
                      <a:lnTo>
                        <a:pt x="3605" y="1675"/>
                      </a:lnTo>
                      <a:lnTo>
                        <a:pt x="3173" y="1437"/>
                      </a:lnTo>
                      <a:lnTo>
                        <a:pt x="2838" y="1261"/>
                      </a:lnTo>
                      <a:lnTo>
                        <a:pt x="2689" y="1349"/>
                      </a:lnTo>
                      <a:lnTo>
                        <a:pt x="2504" y="1111"/>
                      </a:lnTo>
                      <a:lnTo>
                        <a:pt x="2116" y="723"/>
                      </a:lnTo>
                      <a:lnTo>
                        <a:pt x="1763" y="477"/>
                      </a:lnTo>
                      <a:lnTo>
                        <a:pt x="1446" y="424"/>
                      </a:lnTo>
                      <a:lnTo>
                        <a:pt x="1305" y="89"/>
                      </a:lnTo>
                      <a:lnTo>
                        <a:pt x="1137"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4" name="Google Shape;3102;p54">
                  <a:extLst>
                    <a:ext uri="{FF2B5EF4-FFF2-40B4-BE49-F238E27FC236}">
                      <a16:creationId xmlns:a16="http://schemas.microsoft.com/office/drawing/2014/main" id="{8708A861-1C03-AB49-D824-935579ECA046}"/>
                    </a:ext>
                  </a:extLst>
                </p:cNvPr>
                <p:cNvSpPr/>
                <p:nvPr/>
              </p:nvSpPr>
              <p:spPr>
                <a:xfrm>
                  <a:off x="5930688" y="3198674"/>
                  <a:ext cx="523952" cy="356600"/>
                </a:xfrm>
                <a:custGeom>
                  <a:avLst/>
                  <a:gdLst/>
                  <a:ahLst/>
                  <a:cxnLst/>
                  <a:rect l="l" t="t" r="r" b="b"/>
                  <a:pathLst>
                    <a:path w="7370" h="5016" extrusionOk="0">
                      <a:moveTo>
                        <a:pt x="5959" y="0"/>
                      </a:moveTo>
                      <a:lnTo>
                        <a:pt x="5448" y="106"/>
                      </a:lnTo>
                      <a:lnTo>
                        <a:pt x="5430" y="274"/>
                      </a:lnTo>
                      <a:lnTo>
                        <a:pt x="5466" y="450"/>
                      </a:lnTo>
                      <a:lnTo>
                        <a:pt x="5404" y="714"/>
                      </a:lnTo>
                      <a:lnTo>
                        <a:pt x="5210" y="847"/>
                      </a:lnTo>
                      <a:lnTo>
                        <a:pt x="4919" y="838"/>
                      </a:lnTo>
                      <a:lnTo>
                        <a:pt x="4628" y="873"/>
                      </a:lnTo>
                      <a:lnTo>
                        <a:pt x="4002" y="1093"/>
                      </a:lnTo>
                      <a:lnTo>
                        <a:pt x="3429" y="1199"/>
                      </a:lnTo>
                      <a:lnTo>
                        <a:pt x="3165" y="1323"/>
                      </a:lnTo>
                      <a:lnTo>
                        <a:pt x="2742" y="1772"/>
                      </a:lnTo>
                      <a:lnTo>
                        <a:pt x="2389" y="1657"/>
                      </a:lnTo>
                      <a:lnTo>
                        <a:pt x="2257" y="1137"/>
                      </a:lnTo>
                      <a:lnTo>
                        <a:pt x="2037" y="988"/>
                      </a:lnTo>
                      <a:lnTo>
                        <a:pt x="1816" y="1287"/>
                      </a:lnTo>
                      <a:lnTo>
                        <a:pt x="1252" y="1552"/>
                      </a:lnTo>
                      <a:lnTo>
                        <a:pt x="1041" y="1790"/>
                      </a:lnTo>
                      <a:lnTo>
                        <a:pt x="864" y="2063"/>
                      </a:lnTo>
                      <a:lnTo>
                        <a:pt x="609" y="2565"/>
                      </a:lnTo>
                      <a:lnTo>
                        <a:pt x="283" y="2980"/>
                      </a:lnTo>
                      <a:lnTo>
                        <a:pt x="115" y="3138"/>
                      </a:lnTo>
                      <a:lnTo>
                        <a:pt x="0" y="3359"/>
                      </a:lnTo>
                      <a:lnTo>
                        <a:pt x="309" y="3658"/>
                      </a:lnTo>
                      <a:lnTo>
                        <a:pt x="679" y="3826"/>
                      </a:lnTo>
                      <a:lnTo>
                        <a:pt x="759" y="3897"/>
                      </a:lnTo>
                      <a:lnTo>
                        <a:pt x="794" y="4020"/>
                      </a:lnTo>
                      <a:lnTo>
                        <a:pt x="855" y="4064"/>
                      </a:lnTo>
                      <a:lnTo>
                        <a:pt x="926" y="4073"/>
                      </a:lnTo>
                      <a:lnTo>
                        <a:pt x="961" y="4126"/>
                      </a:lnTo>
                      <a:lnTo>
                        <a:pt x="970" y="4126"/>
                      </a:lnTo>
                      <a:lnTo>
                        <a:pt x="1217" y="3888"/>
                      </a:lnTo>
                      <a:lnTo>
                        <a:pt x="1605" y="3711"/>
                      </a:lnTo>
                      <a:lnTo>
                        <a:pt x="1913" y="3500"/>
                      </a:lnTo>
                      <a:lnTo>
                        <a:pt x="1966" y="3112"/>
                      </a:lnTo>
                      <a:lnTo>
                        <a:pt x="2107" y="2989"/>
                      </a:lnTo>
                      <a:lnTo>
                        <a:pt x="2275" y="3077"/>
                      </a:lnTo>
                      <a:lnTo>
                        <a:pt x="2416" y="3412"/>
                      </a:lnTo>
                      <a:lnTo>
                        <a:pt x="2733" y="3465"/>
                      </a:lnTo>
                      <a:lnTo>
                        <a:pt x="3086" y="3711"/>
                      </a:lnTo>
                      <a:lnTo>
                        <a:pt x="3474" y="4099"/>
                      </a:lnTo>
                      <a:lnTo>
                        <a:pt x="3659" y="4337"/>
                      </a:lnTo>
                      <a:lnTo>
                        <a:pt x="3808" y="4249"/>
                      </a:lnTo>
                      <a:lnTo>
                        <a:pt x="4143" y="4425"/>
                      </a:lnTo>
                      <a:lnTo>
                        <a:pt x="4575" y="4663"/>
                      </a:lnTo>
                      <a:lnTo>
                        <a:pt x="4963" y="5016"/>
                      </a:lnTo>
                      <a:lnTo>
                        <a:pt x="5298" y="4804"/>
                      </a:lnTo>
                      <a:lnTo>
                        <a:pt x="5580" y="4681"/>
                      </a:lnTo>
                      <a:lnTo>
                        <a:pt x="6347" y="4514"/>
                      </a:lnTo>
                      <a:lnTo>
                        <a:pt x="7088" y="4170"/>
                      </a:lnTo>
                      <a:lnTo>
                        <a:pt x="7220" y="4135"/>
                      </a:lnTo>
                      <a:lnTo>
                        <a:pt x="7308" y="4082"/>
                      </a:lnTo>
                      <a:lnTo>
                        <a:pt x="7299" y="4082"/>
                      </a:lnTo>
                      <a:lnTo>
                        <a:pt x="7282" y="4029"/>
                      </a:lnTo>
                      <a:lnTo>
                        <a:pt x="7273" y="3949"/>
                      </a:lnTo>
                      <a:lnTo>
                        <a:pt x="7282" y="3879"/>
                      </a:lnTo>
                      <a:lnTo>
                        <a:pt x="7317" y="3844"/>
                      </a:lnTo>
                      <a:lnTo>
                        <a:pt x="7370" y="3817"/>
                      </a:lnTo>
                      <a:lnTo>
                        <a:pt x="7352" y="3773"/>
                      </a:lnTo>
                      <a:lnTo>
                        <a:pt x="7273" y="3685"/>
                      </a:lnTo>
                      <a:lnTo>
                        <a:pt x="7255" y="3632"/>
                      </a:lnTo>
                      <a:lnTo>
                        <a:pt x="7246" y="3570"/>
                      </a:lnTo>
                      <a:lnTo>
                        <a:pt x="7237" y="3420"/>
                      </a:lnTo>
                      <a:lnTo>
                        <a:pt x="7220" y="3376"/>
                      </a:lnTo>
                      <a:lnTo>
                        <a:pt x="7096" y="3262"/>
                      </a:lnTo>
                      <a:lnTo>
                        <a:pt x="7026" y="3182"/>
                      </a:lnTo>
                      <a:lnTo>
                        <a:pt x="7017" y="3130"/>
                      </a:lnTo>
                      <a:lnTo>
                        <a:pt x="7017" y="3041"/>
                      </a:lnTo>
                      <a:lnTo>
                        <a:pt x="7079" y="2900"/>
                      </a:lnTo>
                      <a:lnTo>
                        <a:pt x="7088" y="2839"/>
                      </a:lnTo>
                      <a:lnTo>
                        <a:pt x="7035" y="2803"/>
                      </a:lnTo>
                      <a:lnTo>
                        <a:pt x="6973" y="2821"/>
                      </a:lnTo>
                      <a:lnTo>
                        <a:pt x="6867" y="2874"/>
                      </a:lnTo>
                      <a:lnTo>
                        <a:pt x="6823" y="2883"/>
                      </a:lnTo>
                      <a:lnTo>
                        <a:pt x="6779" y="2856"/>
                      </a:lnTo>
                      <a:lnTo>
                        <a:pt x="6735" y="2803"/>
                      </a:lnTo>
                      <a:lnTo>
                        <a:pt x="6691" y="2777"/>
                      </a:lnTo>
                      <a:lnTo>
                        <a:pt x="6638" y="2803"/>
                      </a:lnTo>
                      <a:lnTo>
                        <a:pt x="6576" y="2751"/>
                      </a:lnTo>
                      <a:lnTo>
                        <a:pt x="6576" y="2680"/>
                      </a:lnTo>
                      <a:lnTo>
                        <a:pt x="6603" y="2504"/>
                      </a:lnTo>
                      <a:lnTo>
                        <a:pt x="6612" y="2363"/>
                      </a:lnTo>
                      <a:lnTo>
                        <a:pt x="6603" y="2310"/>
                      </a:lnTo>
                      <a:lnTo>
                        <a:pt x="6568" y="2248"/>
                      </a:lnTo>
                      <a:lnTo>
                        <a:pt x="6488" y="2116"/>
                      </a:lnTo>
                      <a:lnTo>
                        <a:pt x="6462" y="2045"/>
                      </a:lnTo>
                      <a:lnTo>
                        <a:pt x="6444" y="1948"/>
                      </a:lnTo>
                      <a:lnTo>
                        <a:pt x="6462" y="1851"/>
                      </a:lnTo>
                      <a:lnTo>
                        <a:pt x="6497" y="1807"/>
                      </a:lnTo>
                      <a:lnTo>
                        <a:pt x="6541" y="1816"/>
                      </a:lnTo>
                      <a:lnTo>
                        <a:pt x="6568" y="1887"/>
                      </a:lnTo>
                      <a:lnTo>
                        <a:pt x="6603" y="1887"/>
                      </a:lnTo>
                      <a:lnTo>
                        <a:pt x="6603" y="1763"/>
                      </a:lnTo>
                      <a:lnTo>
                        <a:pt x="6568" y="1675"/>
                      </a:lnTo>
                      <a:lnTo>
                        <a:pt x="6515" y="1613"/>
                      </a:lnTo>
                      <a:lnTo>
                        <a:pt x="6444" y="1569"/>
                      </a:lnTo>
                      <a:lnTo>
                        <a:pt x="6497" y="1358"/>
                      </a:lnTo>
                      <a:lnTo>
                        <a:pt x="6523" y="1305"/>
                      </a:lnTo>
                      <a:lnTo>
                        <a:pt x="6559" y="1278"/>
                      </a:lnTo>
                      <a:lnTo>
                        <a:pt x="6594" y="1261"/>
                      </a:lnTo>
                      <a:lnTo>
                        <a:pt x="6620" y="1234"/>
                      </a:lnTo>
                      <a:lnTo>
                        <a:pt x="6656" y="1085"/>
                      </a:lnTo>
                      <a:lnTo>
                        <a:pt x="6700" y="1005"/>
                      </a:lnTo>
                      <a:lnTo>
                        <a:pt x="6858" y="855"/>
                      </a:lnTo>
                      <a:lnTo>
                        <a:pt x="7061" y="591"/>
                      </a:lnTo>
                      <a:lnTo>
                        <a:pt x="7132" y="538"/>
                      </a:lnTo>
                      <a:lnTo>
                        <a:pt x="7211" y="529"/>
                      </a:lnTo>
                      <a:lnTo>
                        <a:pt x="7290" y="547"/>
                      </a:lnTo>
                      <a:lnTo>
                        <a:pt x="7370" y="529"/>
                      </a:lnTo>
                      <a:lnTo>
                        <a:pt x="7008" y="212"/>
                      </a:lnTo>
                      <a:lnTo>
                        <a:pt x="6462" y="9"/>
                      </a:lnTo>
                      <a:lnTo>
                        <a:pt x="5959"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5" name="Google Shape;3103;p54">
                  <a:extLst>
                    <a:ext uri="{FF2B5EF4-FFF2-40B4-BE49-F238E27FC236}">
                      <a16:creationId xmlns:a16="http://schemas.microsoft.com/office/drawing/2014/main" id="{B7CCFD70-2863-28C4-3C6E-6E31352D2175}"/>
                    </a:ext>
                  </a:extLst>
                </p:cNvPr>
                <p:cNvSpPr/>
                <p:nvPr/>
              </p:nvSpPr>
              <p:spPr>
                <a:xfrm>
                  <a:off x="5712000" y="3412386"/>
                  <a:ext cx="290839" cy="491960"/>
                </a:xfrm>
                <a:custGeom>
                  <a:avLst/>
                  <a:gdLst/>
                  <a:ahLst/>
                  <a:cxnLst/>
                  <a:rect l="l" t="t" r="r" b="b"/>
                  <a:pathLst>
                    <a:path w="4091" h="6920" extrusionOk="0">
                      <a:moveTo>
                        <a:pt x="1067" y="0"/>
                      </a:moveTo>
                      <a:lnTo>
                        <a:pt x="979" y="62"/>
                      </a:lnTo>
                      <a:lnTo>
                        <a:pt x="599" y="503"/>
                      </a:lnTo>
                      <a:lnTo>
                        <a:pt x="591" y="741"/>
                      </a:lnTo>
                      <a:lnTo>
                        <a:pt x="670" y="855"/>
                      </a:lnTo>
                      <a:lnTo>
                        <a:pt x="758" y="749"/>
                      </a:lnTo>
                      <a:lnTo>
                        <a:pt x="917" y="608"/>
                      </a:lnTo>
                      <a:lnTo>
                        <a:pt x="1075" y="547"/>
                      </a:lnTo>
                      <a:lnTo>
                        <a:pt x="1252" y="591"/>
                      </a:lnTo>
                      <a:lnTo>
                        <a:pt x="1428" y="714"/>
                      </a:lnTo>
                      <a:lnTo>
                        <a:pt x="1587" y="882"/>
                      </a:lnTo>
                      <a:lnTo>
                        <a:pt x="1860" y="1270"/>
                      </a:lnTo>
                      <a:lnTo>
                        <a:pt x="1904" y="1367"/>
                      </a:lnTo>
                      <a:lnTo>
                        <a:pt x="1922" y="1463"/>
                      </a:lnTo>
                      <a:lnTo>
                        <a:pt x="1922" y="1825"/>
                      </a:lnTo>
                      <a:lnTo>
                        <a:pt x="1922" y="1860"/>
                      </a:lnTo>
                      <a:lnTo>
                        <a:pt x="1939" y="1922"/>
                      </a:lnTo>
                      <a:lnTo>
                        <a:pt x="1966" y="1975"/>
                      </a:lnTo>
                      <a:lnTo>
                        <a:pt x="1983" y="2028"/>
                      </a:lnTo>
                      <a:lnTo>
                        <a:pt x="1983" y="2107"/>
                      </a:lnTo>
                      <a:lnTo>
                        <a:pt x="1966" y="2195"/>
                      </a:lnTo>
                      <a:lnTo>
                        <a:pt x="1913" y="2310"/>
                      </a:lnTo>
                      <a:lnTo>
                        <a:pt x="1860" y="2415"/>
                      </a:lnTo>
                      <a:lnTo>
                        <a:pt x="1807" y="2460"/>
                      </a:lnTo>
                      <a:lnTo>
                        <a:pt x="1737" y="2477"/>
                      </a:lnTo>
                      <a:lnTo>
                        <a:pt x="1243" y="2795"/>
                      </a:lnTo>
                      <a:lnTo>
                        <a:pt x="1190" y="2795"/>
                      </a:lnTo>
                      <a:lnTo>
                        <a:pt x="1155" y="2856"/>
                      </a:lnTo>
                      <a:lnTo>
                        <a:pt x="934" y="3130"/>
                      </a:lnTo>
                      <a:lnTo>
                        <a:pt x="899" y="3156"/>
                      </a:lnTo>
                      <a:lnTo>
                        <a:pt x="714" y="3218"/>
                      </a:lnTo>
                      <a:lnTo>
                        <a:pt x="688" y="3253"/>
                      </a:lnTo>
                      <a:lnTo>
                        <a:pt x="661" y="3279"/>
                      </a:lnTo>
                      <a:lnTo>
                        <a:pt x="608" y="3315"/>
                      </a:lnTo>
                      <a:lnTo>
                        <a:pt x="582" y="3438"/>
                      </a:lnTo>
                      <a:lnTo>
                        <a:pt x="555" y="3491"/>
                      </a:lnTo>
                      <a:lnTo>
                        <a:pt x="520" y="3517"/>
                      </a:lnTo>
                      <a:lnTo>
                        <a:pt x="432" y="3561"/>
                      </a:lnTo>
                      <a:lnTo>
                        <a:pt x="397" y="3606"/>
                      </a:lnTo>
                      <a:lnTo>
                        <a:pt x="344" y="3747"/>
                      </a:lnTo>
                      <a:lnTo>
                        <a:pt x="317" y="3764"/>
                      </a:lnTo>
                      <a:lnTo>
                        <a:pt x="264" y="3773"/>
                      </a:lnTo>
                      <a:lnTo>
                        <a:pt x="212" y="3791"/>
                      </a:lnTo>
                      <a:lnTo>
                        <a:pt x="168" y="3817"/>
                      </a:lnTo>
                      <a:lnTo>
                        <a:pt x="132" y="3861"/>
                      </a:lnTo>
                      <a:lnTo>
                        <a:pt x="0" y="4055"/>
                      </a:lnTo>
                      <a:lnTo>
                        <a:pt x="0" y="4143"/>
                      </a:lnTo>
                      <a:lnTo>
                        <a:pt x="44" y="4275"/>
                      </a:lnTo>
                      <a:lnTo>
                        <a:pt x="106" y="4346"/>
                      </a:lnTo>
                      <a:lnTo>
                        <a:pt x="176" y="4417"/>
                      </a:lnTo>
                      <a:lnTo>
                        <a:pt x="247" y="4487"/>
                      </a:lnTo>
                      <a:lnTo>
                        <a:pt x="300" y="4663"/>
                      </a:lnTo>
                      <a:lnTo>
                        <a:pt x="353" y="4760"/>
                      </a:lnTo>
                      <a:lnTo>
                        <a:pt x="414" y="4848"/>
                      </a:lnTo>
                      <a:lnTo>
                        <a:pt x="741" y="5386"/>
                      </a:lnTo>
                      <a:lnTo>
                        <a:pt x="873" y="5783"/>
                      </a:lnTo>
                      <a:lnTo>
                        <a:pt x="873" y="5889"/>
                      </a:lnTo>
                      <a:lnTo>
                        <a:pt x="829" y="5924"/>
                      </a:lnTo>
                      <a:lnTo>
                        <a:pt x="626" y="6285"/>
                      </a:lnTo>
                      <a:lnTo>
                        <a:pt x="573" y="6365"/>
                      </a:lnTo>
                      <a:lnTo>
                        <a:pt x="617" y="6382"/>
                      </a:lnTo>
                      <a:lnTo>
                        <a:pt x="705" y="6356"/>
                      </a:lnTo>
                      <a:lnTo>
                        <a:pt x="802" y="6329"/>
                      </a:lnTo>
                      <a:lnTo>
                        <a:pt x="890" y="6312"/>
                      </a:lnTo>
                      <a:lnTo>
                        <a:pt x="952" y="6373"/>
                      </a:lnTo>
                      <a:lnTo>
                        <a:pt x="952" y="6453"/>
                      </a:lnTo>
                      <a:lnTo>
                        <a:pt x="934" y="6523"/>
                      </a:lnTo>
                      <a:lnTo>
                        <a:pt x="943" y="6594"/>
                      </a:lnTo>
                      <a:lnTo>
                        <a:pt x="996" y="6638"/>
                      </a:lnTo>
                      <a:lnTo>
                        <a:pt x="1075" y="6656"/>
                      </a:lnTo>
                      <a:lnTo>
                        <a:pt x="1217" y="6664"/>
                      </a:lnTo>
                      <a:lnTo>
                        <a:pt x="1358" y="6726"/>
                      </a:lnTo>
                      <a:lnTo>
                        <a:pt x="1622" y="6920"/>
                      </a:lnTo>
                      <a:lnTo>
                        <a:pt x="1701" y="6911"/>
                      </a:lnTo>
                      <a:lnTo>
                        <a:pt x="1710" y="6911"/>
                      </a:lnTo>
                      <a:lnTo>
                        <a:pt x="1763" y="6735"/>
                      </a:lnTo>
                      <a:lnTo>
                        <a:pt x="1789" y="6338"/>
                      </a:lnTo>
                      <a:lnTo>
                        <a:pt x="1895" y="6171"/>
                      </a:lnTo>
                      <a:lnTo>
                        <a:pt x="2045" y="6118"/>
                      </a:lnTo>
                      <a:lnTo>
                        <a:pt x="2160" y="6144"/>
                      </a:lnTo>
                      <a:lnTo>
                        <a:pt x="2230" y="6127"/>
                      </a:lnTo>
                      <a:lnTo>
                        <a:pt x="2265" y="5924"/>
                      </a:lnTo>
                      <a:lnTo>
                        <a:pt x="2362" y="5889"/>
                      </a:lnTo>
                      <a:lnTo>
                        <a:pt x="2548" y="5959"/>
                      </a:lnTo>
                      <a:lnTo>
                        <a:pt x="2645" y="5924"/>
                      </a:lnTo>
                      <a:lnTo>
                        <a:pt x="2636" y="5765"/>
                      </a:lnTo>
                      <a:lnTo>
                        <a:pt x="2645" y="4937"/>
                      </a:lnTo>
                      <a:lnTo>
                        <a:pt x="2653" y="4848"/>
                      </a:lnTo>
                      <a:lnTo>
                        <a:pt x="2680" y="4804"/>
                      </a:lnTo>
                      <a:lnTo>
                        <a:pt x="2715" y="4769"/>
                      </a:lnTo>
                      <a:lnTo>
                        <a:pt x="2724" y="4716"/>
                      </a:lnTo>
                      <a:lnTo>
                        <a:pt x="2662" y="4637"/>
                      </a:lnTo>
                      <a:lnTo>
                        <a:pt x="2715" y="4584"/>
                      </a:lnTo>
                      <a:lnTo>
                        <a:pt x="2768" y="4655"/>
                      </a:lnTo>
                      <a:lnTo>
                        <a:pt x="2830" y="4699"/>
                      </a:lnTo>
                      <a:lnTo>
                        <a:pt x="2891" y="4716"/>
                      </a:lnTo>
                      <a:lnTo>
                        <a:pt x="3024" y="4734"/>
                      </a:lnTo>
                      <a:lnTo>
                        <a:pt x="3050" y="4743"/>
                      </a:lnTo>
                      <a:lnTo>
                        <a:pt x="3076" y="4743"/>
                      </a:lnTo>
                      <a:lnTo>
                        <a:pt x="3112" y="4725"/>
                      </a:lnTo>
                      <a:lnTo>
                        <a:pt x="3138" y="4690"/>
                      </a:lnTo>
                      <a:lnTo>
                        <a:pt x="3138" y="4655"/>
                      </a:lnTo>
                      <a:lnTo>
                        <a:pt x="3156" y="4610"/>
                      </a:lnTo>
                      <a:lnTo>
                        <a:pt x="3209" y="4593"/>
                      </a:lnTo>
                      <a:lnTo>
                        <a:pt x="3297" y="4584"/>
                      </a:lnTo>
                      <a:lnTo>
                        <a:pt x="3649" y="4637"/>
                      </a:lnTo>
                      <a:lnTo>
                        <a:pt x="3738" y="4637"/>
                      </a:lnTo>
                      <a:lnTo>
                        <a:pt x="4064" y="4575"/>
                      </a:lnTo>
                      <a:lnTo>
                        <a:pt x="4090" y="4531"/>
                      </a:lnTo>
                      <a:lnTo>
                        <a:pt x="4090" y="4399"/>
                      </a:lnTo>
                      <a:lnTo>
                        <a:pt x="4073" y="4320"/>
                      </a:lnTo>
                      <a:lnTo>
                        <a:pt x="4037" y="4223"/>
                      </a:lnTo>
                      <a:lnTo>
                        <a:pt x="3993" y="4134"/>
                      </a:lnTo>
                      <a:lnTo>
                        <a:pt x="3940" y="4073"/>
                      </a:lnTo>
                      <a:lnTo>
                        <a:pt x="3861" y="4037"/>
                      </a:lnTo>
                      <a:lnTo>
                        <a:pt x="3711" y="4029"/>
                      </a:lnTo>
                      <a:lnTo>
                        <a:pt x="3658" y="3976"/>
                      </a:lnTo>
                      <a:lnTo>
                        <a:pt x="3685" y="3976"/>
                      </a:lnTo>
                      <a:lnTo>
                        <a:pt x="3711" y="3923"/>
                      </a:lnTo>
                      <a:lnTo>
                        <a:pt x="3738" y="3844"/>
                      </a:lnTo>
                      <a:lnTo>
                        <a:pt x="3738" y="3791"/>
                      </a:lnTo>
                      <a:lnTo>
                        <a:pt x="3738" y="3747"/>
                      </a:lnTo>
                      <a:lnTo>
                        <a:pt x="3720" y="3702"/>
                      </a:lnTo>
                      <a:lnTo>
                        <a:pt x="3702" y="3667"/>
                      </a:lnTo>
                      <a:lnTo>
                        <a:pt x="3676" y="3650"/>
                      </a:lnTo>
                      <a:lnTo>
                        <a:pt x="3605" y="3614"/>
                      </a:lnTo>
                      <a:lnTo>
                        <a:pt x="3570" y="3588"/>
                      </a:lnTo>
                      <a:lnTo>
                        <a:pt x="3544" y="3544"/>
                      </a:lnTo>
                      <a:lnTo>
                        <a:pt x="3455" y="3235"/>
                      </a:lnTo>
                      <a:lnTo>
                        <a:pt x="3447" y="3138"/>
                      </a:lnTo>
                      <a:lnTo>
                        <a:pt x="3464" y="3050"/>
                      </a:lnTo>
                      <a:lnTo>
                        <a:pt x="3605" y="2830"/>
                      </a:lnTo>
                      <a:lnTo>
                        <a:pt x="3623" y="2574"/>
                      </a:lnTo>
                      <a:lnTo>
                        <a:pt x="3623" y="2319"/>
                      </a:lnTo>
                      <a:lnTo>
                        <a:pt x="3685" y="2081"/>
                      </a:lnTo>
                      <a:lnTo>
                        <a:pt x="3738" y="1939"/>
                      </a:lnTo>
                      <a:lnTo>
                        <a:pt x="3755" y="1825"/>
                      </a:lnTo>
                      <a:lnTo>
                        <a:pt x="3764" y="1719"/>
                      </a:lnTo>
                      <a:lnTo>
                        <a:pt x="3782" y="1587"/>
                      </a:lnTo>
                      <a:lnTo>
                        <a:pt x="3835" y="1472"/>
                      </a:lnTo>
                      <a:lnTo>
                        <a:pt x="3914" y="1375"/>
                      </a:lnTo>
                      <a:lnTo>
                        <a:pt x="3967" y="1261"/>
                      </a:lnTo>
                      <a:lnTo>
                        <a:pt x="3949" y="1120"/>
                      </a:lnTo>
                      <a:lnTo>
                        <a:pt x="4037" y="1120"/>
                      </a:lnTo>
                      <a:lnTo>
                        <a:pt x="4002" y="1067"/>
                      </a:lnTo>
                      <a:lnTo>
                        <a:pt x="3931" y="1058"/>
                      </a:lnTo>
                      <a:lnTo>
                        <a:pt x="3870" y="1014"/>
                      </a:lnTo>
                      <a:lnTo>
                        <a:pt x="3835" y="891"/>
                      </a:lnTo>
                      <a:lnTo>
                        <a:pt x="3755" y="820"/>
                      </a:lnTo>
                      <a:lnTo>
                        <a:pt x="3385" y="652"/>
                      </a:lnTo>
                      <a:lnTo>
                        <a:pt x="3076" y="353"/>
                      </a:lnTo>
                      <a:lnTo>
                        <a:pt x="2847" y="379"/>
                      </a:lnTo>
                      <a:lnTo>
                        <a:pt x="2618" y="370"/>
                      </a:lnTo>
                      <a:lnTo>
                        <a:pt x="2433" y="265"/>
                      </a:lnTo>
                      <a:lnTo>
                        <a:pt x="2283" y="97"/>
                      </a:lnTo>
                      <a:lnTo>
                        <a:pt x="2072" y="35"/>
                      </a:lnTo>
                      <a:lnTo>
                        <a:pt x="1851" y="88"/>
                      </a:lnTo>
                      <a:lnTo>
                        <a:pt x="1657" y="88"/>
                      </a:lnTo>
                      <a:lnTo>
                        <a:pt x="1472" y="27"/>
                      </a:lnTo>
                      <a:lnTo>
                        <a:pt x="1269" y="62"/>
                      </a:lnTo>
                      <a:lnTo>
                        <a:pt x="1164" y="27"/>
                      </a:lnTo>
                      <a:lnTo>
                        <a:pt x="1067"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6" name="Google Shape;3104;p54">
                  <a:extLst>
                    <a:ext uri="{FF2B5EF4-FFF2-40B4-BE49-F238E27FC236}">
                      <a16:creationId xmlns:a16="http://schemas.microsoft.com/office/drawing/2014/main" id="{EAF266F2-5828-BFF2-79A7-BDE6854D0745}"/>
                    </a:ext>
                  </a:extLst>
                </p:cNvPr>
                <p:cNvSpPr/>
                <p:nvPr/>
              </p:nvSpPr>
              <p:spPr>
                <a:xfrm>
                  <a:off x="3192678" y="1485854"/>
                  <a:ext cx="572223" cy="291479"/>
                </a:xfrm>
                <a:custGeom>
                  <a:avLst/>
                  <a:gdLst/>
                  <a:ahLst/>
                  <a:cxnLst/>
                  <a:rect l="l" t="t" r="r" b="b"/>
                  <a:pathLst>
                    <a:path w="8049" h="4100" extrusionOk="0">
                      <a:moveTo>
                        <a:pt x="247" y="1"/>
                      </a:moveTo>
                      <a:lnTo>
                        <a:pt x="35" y="292"/>
                      </a:lnTo>
                      <a:lnTo>
                        <a:pt x="150" y="733"/>
                      </a:lnTo>
                      <a:lnTo>
                        <a:pt x="203" y="1138"/>
                      </a:lnTo>
                      <a:lnTo>
                        <a:pt x="62" y="1649"/>
                      </a:lnTo>
                      <a:lnTo>
                        <a:pt x="0" y="2020"/>
                      </a:lnTo>
                      <a:lnTo>
                        <a:pt x="62" y="2496"/>
                      </a:lnTo>
                      <a:lnTo>
                        <a:pt x="124" y="2831"/>
                      </a:lnTo>
                      <a:lnTo>
                        <a:pt x="150" y="2857"/>
                      </a:lnTo>
                      <a:lnTo>
                        <a:pt x="238" y="2848"/>
                      </a:lnTo>
                      <a:lnTo>
                        <a:pt x="406" y="2804"/>
                      </a:lnTo>
                      <a:lnTo>
                        <a:pt x="441" y="2822"/>
                      </a:lnTo>
                      <a:lnTo>
                        <a:pt x="494" y="2883"/>
                      </a:lnTo>
                      <a:lnTo>
                        <a:pt x="529" y="2892"/>
                      </a:lnTo>
                      <a:lnTo>
                        <a:pt x="688" y="2892"/>
                      </a:lnTo>
                      <a:lnTo>
                        <a:pt x="855" y="2919"/>
                      </a:lnTo>
                      <a:lnTo>
                        <a:pt x="1173" y="3042"/>
                      </a:lnTo>
                      <a:lnTo>
                        <a:pt x="1331" y="3069"/>
                      </a:lnTo>
                      <a:lnTo>
                        <a:pt x="1446" y="3130"/>
                      </a:lnTo>
                      <a:lnTo>
                        <a:pt x="1684" y="3377"/>
                      </a:lnTo>
                      <a:lnTo>
                        <a:pt x="1816" y="3395"/>
                      </a:lnTo>
                      <a:lnTo>
                        <a:pt x="1878" y="3342"/>
                      </a:lnTo>
                      <a:lnTo>
                        <a:pt x="1904" y="3254"/>
                      </a:lnTo>
                      <a:lnTo>
                        <a:pt x="1922" y="3165"/>
                      </a:lnTo>
                      <a:lnTo>
                        <a:pt x="1922" y="3104"/>
                      </a:lnTo>
                      <a:lnTo>
                        <a:pt x="1878" y="2998"/>
                      </a:lnTo>
                      <a:lnTo>
                        <a:pt x="1781" y="2901"/>
                      </a:lnTo>
                      <a:lnTo>
                        <a:pt x="1754" y="2804"/>
                      </a:lnTo>
                      <a:lnTo>
                        <a:pt x="1869" y="2839"/>
                      </a:lnTo>
                      <a:lnTo>
                        <a:pt x="1966" y="2919"/>
                      </a:lnTo>
                      <a:lnTo>
                        <a:pt x="2010" y="3051"/>
                      </a:lnTo>
                      <a:lnTo>
                        <a:pt x="1975" y="3183"/>
                      </a:lnTo>
                      <a:lnTo>
                        <a:pt x="2019" y="3192"/>
                      </a:lnTo>
                      <a:lnTo>
                        <a:pt x="2054" y="3218"/>
                      </a:lnTo>
                      <a:lnTo>
                        <a:pt x="2107" y="3271"/>
                      </a:lnTo>
                      <a:lnTo>
                        <a:pt x="2072" y="3465"/>
                      </a:lnTo>
                      <a:lnTo>
                        <a:pt x="2213" y="3527"/>
                      </a:lnTo>
                      <a:lnTo>
                        <a:pt x="2768" y="3456"/>
                      </a:lnTo>
                      <a:lnTo>
                        <a:pt x="2883" y="3456"/>
                      </a:lnTo>
                      <a:lnTo>
                        <a:pt x="2936" y="3500"/>
                      </a:lnTo>
                      <a:lnTo>
                        <a:pt x="2953" y="3545"/>
                      </a:lnTo>
                      <a:lnTo>
                        <a:pt x="3006" y="3562"/>
                      </a:lnTo>
                      <a:lnTo>
                        <a:pt x="3121" y="3571"/>
                      </a:lnTo>
                      <a:lnTo>
                        <a:pt x="3174" y="3553"/>
                      </a:lnTo>
                      <a:lnTo>
                        <a:pt x="3209" y="3527"/>
                      </a:lnTo>
                      <a:lnTo>
                        <a:pt x="3226" y="3500"/>
                      </a:lnTo>
                      <a:lnTo>
                        <a:pt x="3253" y="3483"/>
                      </a:lnTo>
                      <a:lnTo>
                        <a:pt x="3297" y="3465"/>
                      </a:lnTo>
                      <a:lnTo>
                        <a:pt x="3482" y="3430"/>
                      </a:lnTo>
                      <a:lnTo>
                        <a:pt x="3561" y="3368"/>
                      </a:lnTo>
                      <a:lnTo>
                        <a:pt x="3614" y="3359"/>
                      </a:lnTo>
                      <a:lnTo>
                        <a:pt x="3632" y="3342"/>
                      </a:lnTo>
                      <a:lnTo>
                        <a:pt x="3667" y="3289"/>
                      </a:lnTo>
                      <a:lnTo>
                        <a:pt x="3694" y="3271"/>
                      </a:lnTo>
                      <a:lnTo>
                        <a:pt x="3720" y="3280"/>
                      </a:lnTo>
                      <a:lnTo>
                        <a:pt x="3764" y="3315"/>
                      </a:lnTo>
                      <a:lnTo>
                        <a:pt x="3861" y="3324"/>
                      </a:lnTo>
                      <a:lnTo>
                        <a:pt x="3888" y="3315"/>
                      </a:lnTo>
                      <a:lnTo>
                        <a:pt x="3914" y="3280"/>
                      </a:lnTo>
                      <a:lnTo>
                        <a:pt x="3914" y="3245"/>
                      </a:lnTo>
                      <a:lnTo>
                        <a:pt x="3896" y="3227"/>
                      </a:lnTo>
                      <a:lnTo>
                        <a:pt x="3896" y="3201"/>
                      </a:lnTo>
                      <a:lnTo>
                        <a:pt x="3888" y="3174"/>
                      </a:lnTo>
                      <a:lnTo>
                        <a:pt x="3896" y="3139"/>
                      </a:lnTo>
                      <a:lnTo>
                        <a:pt x="3932" y="3086"/>
                      </a:lnTo>
                      <a:lnTo>
                        <a:pt x="3976" y="3060"/>
                      </a:lnTo>
                      <a:lnTo>
                        <a:pt x="4055" y="3033"/>
                      </a:lnTo>
                      <a:lnTo>
                        <a:pt x="4090" y="2998"/>
                      </a:lnTo>
                      <a:lnTo>
                        <a:pt x="4143" y="2927"/>
                      </a:lnTo>
                      <a:lnTo>
                        <a:pt x="4187" y="2831"/>
                      </a:lnTo>
                      <a:lnTo>
                        <a:pt x="4222" y="2716"/>
                      </a:lnTo>
                      <a:lnTo>
                        <a:pt x="4240" y="2601"/>
                      </a:lnTo>
                      <a:lnTo>
                        <a:pt x="4249" y="2593"/>
                      </a:lnTo>
                      <a:lnTo>
                        <a:pt x="4267" y="2566"/>
                      </a:lnTo>
                      <a:lnTo>
                        <a:pt x="4275" y="2531"/>
                      </a:lnTo>
                      <a:lnTo>
                        <a:pt x="4249" y="2513"/>
                      </a:lnTo>
                      <a:lnTo>
                        <a:pt x="4240" y="2504"/>
                      </a:lnTo>
                      <a:lnTo>
                        <a:pt x="4214" y="2460"/>
                      </a:lnTo>
                      <a:lnTo>
                        <a:pt x="4187" y="2407"/>
                      </a:lnTo>
                      <a:lnTo>
                        <a:pt x="4152" y="2363"/>
                      </a:lnTo>
                      <a:lnTo>
                        <a:pt x="4134" y="2319"/>
                      </a:lnTo>
                      <a:lnTo>
                        <a:pt x="4187" y="2302"/>
                      </a:lnTo>
                      <a:lnTo>
                        <a:pt x="4267" y="2258"/>
                      </a:lnTo>
                      <a:lnTo>
                        <a:pt x="4346" y="2152"/>
                      </a:lnTo>
                      <a:lnTo>
                        <a:pt x="4408" y="2037"/>
                      </a:lnTo>
                      <a:lnTo>
                        <a:pt x="4452" y="1878"/>
                      </a:lnTo>
                      <a:lnTo>
                        <a:pt x="4381" y="1817"/>
                      </a:lnTo>
                      <a:lnTo>
                        <a:pt x="4267" y="1773"/>
                      </a:lnTo>
                      <a:lnTo>
                        <a:pt x="4161" y="1755"/>
                      </a:lnTo>
                      <a:lnTo>
                        <a:pt x="4126" y="1764"/>
                      </a:lnTo>
                      <a:lnTo>
                        <a:pt x="4099" y="1826"/>
                      </a:lnTo>
                      <a:lnTo>
                        <a:pt x="4064" y="1834"/>
                      </a:lnTo>
                      <a:lnTo>
                        <a:pt x="4029" y="1834"/>
                      </a:lnTo>
                      <a:lnTo>
                        <a:pt x="4020" y="1817"/>
                      </a:lnTo>
                      <a:lnTo>
                        <a:pt x="4011" y="1808"/>
                      </a:lnTo>
                      <a:lnTo>
                        <a:pt x="3984" y="1790"/>
                      </a:lnTo>
                      <a:lnTo>
                        <a:pt x="3526" y="1693"/>
                      </a:lnTo>
                      <a:lnTo>
                        <a:pt x="2098" y="1006"/>
                      </a:lnTo>
                      <a:lnTo>
                        <a:pt x="1093" y="574"/>
                      </a:lnTo>
                      <a:lnTo>
                        <a:pt x="388" y="133"/>
                      </a:lnTo>
                      <a:lnTo>
                        <a:pt x="247" y="1"/>
                      </a:lnTo>
                      <a:close/>
                      <a:moveTo>
                        <a:pt x="5025" y="1852"/>
                      </a:moveTo>
                      <a:lnTo>
                        <a:pt x="4954" y="1861"/>
                      </a:lnTo>
                      <a:lnTo>
                        <a:pt x="4901" y="1923"/>
                      </a:lnTo>
                      <a:lnTo>
                        <a:pt x="4875" y="1923"/>
                      </a:lnTo>
                      <a:lnTo>
                        <a:pt x="4734" y="1896"/>
                      </a:lnTo>
                      <a:lnTo>
                        <a:pt x="4549" y="2028"/>
                      </a:lnTo>
                      <a:lnTo>
                        <a:pt x="4381" y="2222"/>
                      </a:lnTo>
                      <a:lnTo>
                        <a:pt x="4267" y="2390"/>
                      </a:lnTo>
                      <a:lnTo>
                        <a:pt x="4364" y="2460"/>
                      </a:lnTo>
                      <a:lnTo>
                        <a:pt x="4355" y="2540"/>
                      </a:lnTo>
                      <a:lnTo>
                        <a:pt x="4302" y="2628"/>
                      </a:lnTo>
                      <a:lnTo>
                        <a:pt x="4240" y="2866"/>
                      </a:lnTo>
                      <a:lnTo>
                        <a:pt x="4161" y="2989"/>
                      </a:lnTo>
                      <a:lnTo>
                        <a:pt x="4064" y="3095"/>
                      </a:lnTo>
                      <a:lnTo>
                        <a:pt x="3984" y="3148"/>
                      </a:lnTo>
                      <a:lnTo>
                        <a:pt x="4020" y="3227"/>
                      </a:lnTo>
                      <a:lnTo>
                        <a:pt x="4029" y="3307"/>
                      </a:lnTo>
                      <a:lnTo>
                        <a:pt x="4055" y="3368"/>
                      </a:lnTo>
                      <a:lnTo>
                        <a:pt x="4108" y="3395"/>
                      </a:lnTo>
                      <a:lnTo>
                        <a:pt x="4099" y="3421"/>
                      </a:lnTo>
                      <a:lnTo>
                        <a:pt x="4099" y="3430"/>
                      </a:lnTo>
                      <a:lnTo>
                        <a:pt x="4081" y="3439"/>
                      </a:lnTo>
                      <a:lnTo>
                        <a:pt x="4337" y="3580"/>
                      </a:lnTo>
                      <a:lnTo>
                        <a:pt x="4425" y="3659"/>
                      </a:lnTo>
                      <a:lnTo>
                        <a:pt x="4522" y="3783"/>
                      </a:lnTo>
                      <a:lnTo>
                        <a:pt x="4619" y="3862"/>
                      </a:lnTo>
                      <a:lnTo>
                        <a:pt x="4884" y="3985"/>
                      </a:lnTo>
                      <a:lnTo>
                        <a:pt x="4972" y="4073"/>
                      </a:lnTo>
                      <a:lnTo>
                        <a:pt x="5069" y="4056"/>
                      </a:lnTo>
                      <a:lnTo>
                        <a:pt x="5122" y="4100"/>
                      </a:lnTo>
                      <a:lnTo>
                        <a:pt x="5280" y="3888"/>
                      </a:lnTo>
                      <a:lnTo>
                        <a:pt x="5527" y="3677"/>
                      </a:lnTo>
                      <a:lnTo>
                        <a:pt x="5642" y="3624"/>
                      </a:lnTo>
                      <a:lnTo>
                        <a:pt x="5836" y="3430"/>
                      </a:lnTo>
                      <a:lnTo>
                        <a:pt x="6038" y="3280"/>
                      </a:lnTo>
                      <a:lnTo>
                        <a:pt x="6285" y="3298"/>
                      </a:lnTo>
                      <a:lnTo>
                        <a:pt x="6506" y="3492"/>
                      </a:lnTo>
                      <a:lnTo>
                        <a:pt x="6647" y="3791"/>
                      </a:lnTo>
                      <a:lnTo>
                        <a:pt x="6779" y="3906"/>
                      </a:lnTo>
                      <a:lnTo>
                        <a:pt x="6946" y="3888"/>
                      </a:lnTo>
                      <a:lnTo>
                        <a:pt x="7026" y="3747"/>
                      </a:lnTo>
                      <a:lnTo>
                        <a:pt x="7070" y="3597"/>
                      </a:lnTo>
                      <a:lnTo>
                        <a:pt x="7334" y="3403"/>
                      </a:lnTo>
                      <a:lnTo>
                        <a:pt x="7634" y="3289"/>
                      </a:lnTo>
                      <a:lnTo>
                        <a:pt x="7889" y="3148"/>
                      </a:lnTo>
                      <a:lnTo>
                        <a:pt x="8013" y="2839"/>
                      </a:lnTo>
                      <a:lnTo>
                        <a:pt x="8004" y="2645"/>
                      </a:lnTo>
                      <a:lnTo>
                        <a:pt x="7951" y="2460"/>
                      </a:lnTo>
                      <a:lnTo>
                        <a:pt x="8048" y="2416"/>
                      </a:lnTo>
                      <a:lnTo>
                        <a:pt x="6814" y="2231"/>
                      </a:lnTo>
                      <a:lnTo>
                        <a:pt x="5897" y="2011"/>
                      </a:lnTo>
                      <a:lnTo>
                        <a:pt x="5025" y="1852"/>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7" name="Google Shape;3105;p54">
                  <a:extLst>
                    <a:ext uri="{FF2B5EF4-FFF2-40B4-BE49-F238E27FC236}">
                      <a16:creationId xmlns:a16="http://schemas.microsoft.com/office/drawing/2014/main" id="{DED9EC32-4524-EDC3-8094-2D34541F151B}"/>
                    </a:ext>
                  </a:extLst>
                </p:cNvPr>
                <p:cNvSpPr/>
                <p:nvPr/>
              </p:nvSpPr>
              <p:spPr>
                <a:xfrm>
                  <a:off x="2720109" y="1506542"/>
                  <a:ext cx="486984" cy="407431"/>
                </a:xfrm>
                <a:custGeom>
                  <a:avLst/>
                  <a:gdLst/>
                  <a:ahLst/>
                  <a:cxnLst/>
                  <a:rect l="l" t="t" r="r" b="b"/>
                  <a:pathLst>
                    <a:path w="6850" h="5731" extrusionOk="0">
                      <a:moveTo>
                        <a:pt x="6682" y="1"/>
                      </a:moveTo>
                      <a:lnTo>
                        <a:pt x="5863" y="89"/>
                      </a:lnTo>
                      <a:lnTo>
                        <a:pt x="5060" y="195"/>
                      </a:lnTo>
                      <a:lnTo>
                        <a:pt x="4558" y="318"/>
                      </a:lnTo>
                      <a:lnTo>
                        <a:pt x="4108" y="450"/>
                      </a:lnTo>
                      <a:lnTo>
                        <a:pt x="3888" y="777"/>
                      </a:lnTo>
                      <a:lnTo>
                        <a:pt x="3721" y="1120"/>
                      </a:lnTo>
                      <a:lnTo>
                        <a:pt x="3447" y="1332"/>
                      </a:lnTo>
                      <a:lnTo>
                        <a:pt x="3156" y="1411"/>
                      </a:lnTo>
                      <a:lnTo>
                        <a:pt x="2892" y="1244"/>
                      </a:lnTo>
                      <a:lnTo>
                        <a:pt x="2689" y="962"/>
                      </a:lnTo>
                      <a:lnTo>
                        <a:pt x="2434" y="794"/>
                      </a:lnTo>
                      <a:lnTo>
                        <a:pt x="1887" y="794"/>
                      </a:lnTo>
                      <a:lnTo>
                        <a:pt x="1129" y="847"/>
                      </a:lnTo>
                      <a:lnTo>
                        <a:pt x="433" y="1006"/>
                      </a:lnTo>
                      <a:lnTo>
                        <a:pt x="486" y="1120"/>
                      </a:lnTo>
                      <a:lnTo>
                        <a:pt x="521" y="1975"/>
                      </a:lnTo>
                      <a:lnTo>
                        <a:pt x="450" y="2346"/>
                      </a:lnTo>
                      <a:lnTo>
                        <a:pt x="230" y="2636"/>
                      </a:lnTo>
                      <a:lnTo>
                        <a:pt x="80" y="3007"/>
                      </a:lnTo>
                      <a:lnTo>
                        <a:pt x="1" y="3439"/>
                      </a:lnTo>
                      <a:lnTo>
                        <a:pt x="36" y="3941"/>
                      </a:lnTo>
                      <a:lnTo>
                        <a:pt x="212" y="4320"/>
                      </a:lnTo>
                      <a:lnTo>
                        <a:pt x="327" y="4726"/>
                      </a:lnTo>
                      <a:lnTo>
                        <a:pt x="1006" y="4787"/>
                      </a:lnTo>
                      <a:lnTo>
                        <a:pt x="997" y="5272"/>
                      </a:lnTo>
                      <a:lnTo>
                        <a:pt x="1147" y="5731"/>
                      </a:lnTo>
                      <a:lnTo>
                        <a:pt x="1270" y="5713"/>
                      </a:lnTo>
                      <a:lnTo>
                        <a:pt x="1323" y="5678"/>
                      </a:lnTo>
                      <a:lnTo>
                        <a:pt x="1455" y="5484"/>
                      </a:lnTo>
                      <a:lnTo>
                        <a:pt x="1535" y="5413"/>
                      </a:lnTo>
                      <a:lnTo>
                        <a:pt x="1631" y="5404"/>
                      </a:lnTo>
                      <a:lnTo>
                        <a:pt x="1852" y="5404"/>
                      </a:lnTo>
                      <a:lnTo>
                        <a:pt x="1975" y="5325"/>
                      </a:lnTo>
                      <a:lnTo>
                        <a:pt x="2090" y="5307"/>
                      </a:lnTo>
                      <a:lnTo>
                        <a:pt x="2143" y="5290"/>
                      </a:lnTo>
                      <a:lnTo>
                        <a:pt x="2160" y="5272"/>
                      </a:lnTo>
                      <a:lnTo>
                        <a:pt x="2213" y="5193"/>
                      </a:lnTo>
                      <a:lnTo>
                        <a:pt x="2240" y="5166"/>
                      </a:lnTo>
                      <a:lnTo>
                        <a:pt x="2654" y="4858"/>
                      </a:lnTo>
                      <a:lnTo>
                        <a:pt x="2848" y="4505"/>
                      </a:lnTo>
                      <a:lnTo>
                        <a:pt x="3289" y="4073"/>
                      </a:lnTo>
                      <a:lnTo>
                        <a:pt x="3386" y="3888"/>
                      </a:lnTo>
                      <a:lnTo>
                        <a:pt x="3509" y="3395"/>
                      </a:lnTo>
                      <a:lnTo>
                        <a:pt x="3606" y="3192"/>
                      </a:lnTo>
                      <a:lnTo>
                        <a:pt x="3747" y="3104"/>
                      </a:lnTo>
                      <a:lnTo>
                        <a:pt x="4743" y="2963"/>
                      </a:lnTo>
                      <a:lnTo>
                        <a:pt x="4919" y="2971"/>
                      </a:lnTo>
                      <a:lnTo>
                        <a:pt x="5096" y="3024"/>
                      </a:lnTo>
                      <a:lnTo>
                        <a:pt x="5175" y="3068"/>
                      </a:lnTo>
                      <a:lnTo>
                        <a:pt x="5237" y="3130"/>
                      </a:lnTo>
                      <a:lnTo>
                        <a:pt x="5307" y="3174"/>
                      </a:lnTo>
                      <a:lnTo>
                        <a:pt x="5686" y="3218"/>
                      </a:lnTo>
                      <a:lnTo>
                        <a:pt x="5766" y="3192"/>
                      </a:lnTo>
                      <a:lnTo>
                        <a:pt x="5757" y="3139"/>
                      </a:lnTo>
                      <a:lnTo>
                        <a:pt x="5792" y="3060"/>
                      </a:lnTo>
                      <a:lnTo>
                        <a:pt x="5889" y="2892"/>
                      </a:lnTo>
                      <a:lnTo>
                        <a:pt x="5942" y="2848"/>
                      </a:lnTo>
                      <a:lnTo>
                        <a:pt x="6012" y="2786"/>
                      </a:lnTo>
                      <a:lnTo>
                        <a:pt x="6092" y="2751"/>
                      </a:lnTo>
                      <a:lnTo>
                        <a:pt x="6162" y="2733"/>
                      </a:lnTo>
                      <a:lnTo>
                        <a:pt x="6418" y="2628"/>
                      </a:lnTo>
                      <a:lnTo>
                        <a:pt x="6462" y="2628"/>
                      </a:lnTo>
                      <a:lnTo>
                        <a:pt x="6497" y="2601"/>
                      </a:lnTo>
                      <a:lnTo>
                        <a:pt x="6726" y="2513"/>
                      </a:lnTo>
                      <a:lnTo>
                        <a:pt x="6771" y="2540"/>
                      </a:lnTo>
                      <a:lnTo>
                        <a:pt x="6709" y="2205"/>
                      </a:lnTo>
                      <a:lnTo>
                        <a:pt x="6647" y="1729"/>
                      </a:lnTo>
                      <a:lnTo>
                        <a:pt x="6709" y="1358"/>
                      </a:lnTo>
                      <a:lnTo>
                        <a:pt x="6850" y="847"/>
                      </a:lnTo>
                      <a:lnTo>
                        <a:pt x="6797" y="442"/>
                      </a:lnTo>
                      <a:lnTo>
                        <a:pt x="6682"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8" name="Google Shape;3106;p54">
                  <a:extLst>
                    <a:ext uri="{FF2B5EF4-FFF2-40B4-BE49-F238E27FC236}">
                      <a16:creationId xmlns:a16="http://schemas.microsoft.com/office/drawing/2014/main" id="{2D1DC5A7-56AE-BB95-52CC-3CA9AE847EC9}"/>
                    </a:ext>
                  </a:extLst>
                </p:cNvPr>
                <p:cNvSpPr/>
                <p:nvPr/>
              </p:nvSpPr>
              <p:spPr>
                <a:xfrm>
                  <a:off x="2372953" y="1842466"/>
                  <a:ext cx="631088" cy="545919"/>
                </a:xfrm>
                <a:custGeom>
                  <a:avLst/>
                  <a:gdLst/>
                  <a:ahLst/>
                  <a:cxnLst/>
                  <a:rect l="l" t="t" r="r" b="b"/>
                  <a:pathLst>
                    <a:path w="8877" h="7679" extrusionOk="0">
                      <a:moveTo>
                        <a:pt x="1217" y="2945"/>
                      </a:moveTo>
                      <a:lnTo>
                        <a:pt x="1155" y="2954"/>
                      </a:lnTo>
                      <a:lnTo>
                        <a:pt x="758" y="3104"/>
                      </a:lnTo>
                      <a:lnTo>
                        <a:pt x="441" y="3165"/>
                      </a:lnTo>
                      <a:lnTo>
                        <a:pt x="256" y="3280"/>
                      </a:lnTo>
                      <a:lnTo>
                        <a:pt x="106" y="3438"/>
                      </a:lnTo>
                      <a:lnTo>
                        <a:pt x="0" y="3615"/>
                      </a:lnTo>
                      <a:lnTo>
                        <a:pt x="0" y="3650"/>
                      </a:lnTo>
                      <a:lnTo>
                        <a:pt x="194" y="3721"/>
                      </a:lnTo>
                      <a:lnTo>
                        <a:pt x="212" y="3747"/>
                      </a:lnTo>
                      <a:lnTo>
                        <a:pt x="265" y="3782"/>
                      </a:lnTo>
                      <a:lnTo>
                        <a:pt x="379" y="3818"/>
                      </a:lnTo>
                      <a:lnTo>
                        <a:pt x="476" y="3826"/>
                      </a:lnTo>
                      <a:lnTo>
                        <a:pt x="891" y="3765"/>
                      </a:lnTo>
                      <a:lnTo>
                        <a:pt x="1102" y="3676"/>
                      </a:lnTo>
                      <a:lnTo>
                        <a:pt x="1411" y="3624"/>
                      </a:lnTo>
                      <a:lnTo>
                        <a:pt x="1516" y="3588"/>
                      </a:lnTo>
                      <a:lnTo>
                        <a:pt x="1622" y="3527"/>
                      </a:lnTo>
                      <a:lnTo>
                        <a:pt x="1622" y="3403"/>
                      </a:lnTo>
                      <a:lnTo>
                        <a:pt x="1587" y="3403"/>
                      </a:lnTo>
                      <a:lnTo>
                        <a:pt x="1516" y="3465"/>
                      </a:lnTo>
                      <a:lnTo>
                        <a:pt x="1437" y="3491"/>
                      </a:lnTo>
                      <a:lnTo>
                        <a:pt x="1393" y="3465"/>
                      </a:lnTo>
                      <a:lnTo>
                        <a:pt x="1428" y="3368"/>
                      </a:lnTo>
                      <a:lnTo>
                        <a:pt x="1411" y="3324"/>
                      </a:lnTo>
                      <a:lnTo>
                        <a:pt x="1411" y="3245"/>
                      </a:lnTo>
                      <a:lnTo>
                        <a:pt x="1419" y="3165"/>
                      </a:lnTo>
                      <a:lnTo>
                        <a:pt x="1428" y="3112"/>
                      </a:lnTo>
                      <a:lnTo>
                        <a:pt x="1428" y="3077"/>
                      </a:lnTo>
                      <a:lnTo>
                        <a:pt x="1367" y="3059"/>
                      </a:lnTo>
                      <a:lnTo>
                        <a:pt x="1331" y="3024"/>
                      </a:lnTo>
                      <a:lnTo>
                        <a:pt x="1305" y="2980"/>
                      </a:lnTo>
                      <a:lnTo>
                        <a:pt x="1278" y="2954"/>
                      </a:lnTo>
                      <a:lnTo>
                        <a:pt x="1217" y="2945"/>
                      </a:lnTo>
                      <a:close/>
                      <a:moveTo>
                        <a:pt x="5210" y="1"/>
                      </a:moveTo>
                      <a:lnTo>
                        <a:pt x="5219" y="18"/>
                      </a:lnTo>
                      <a:lnTo>
                        <a:pt x="5183" y="371"/>
                      </a:lnTo>
                      <a:lnTo>
                        <a:pt x="5183" y="406"/>
                      </a:lnTo>
                      <a:lnTo>
                        <a:pt x="5227" y="397"/>
                      </a:lnTo>
                      <a:lnTo>
                        <a:pt x="5263" y="450"/>
                      </a:lnTo>
                      <a:lnTo>
                        <a:pt x="5404" y="759"/>
                      </a:lnTo>
                      <a:lnTo>
                        <a:pt x="5351" y="882"/>
                      </a:lnTo>
                      <a:lnTo>
                        <a:pt x="5219" y="997"/>
                      </a:lnTo>
                      <a:lnTo>
                        <a:pt x="5069" y="1041"/>
                      </a:lnTo>
                      <a:lnTo>
                        <a:pt x="4963" y="988"/>
                      </a:lnTo>
                      <a:lnTo>
                        <a:pt x="4893" y="1067"/>
                      </a:lnTo>
                      <a:lnTo>
                        <a:pt x="4796" y="1217"/>
                      </a:lnTo>
                      <a:lnTo>
                        <a:pt x="4734" y="1288"/>
                      </a:lnTo>
                      <a:lnTo>
                        <a:pt x="4672" y="1314"/>
                      </a:lnTo>
                      <a:lnTo>
                        <a:pt x="4452" y="1288"/>
                      </a:lnTo>
                      <a:lnTo>
                        <a:pt x="4320" y="1314"/>
                      </a:lnTo>
                      <a:lnTo>
                        <a:pt x="4179" y="1385"/>
                      </a:lnTo>
                      <a:lnTo>
                        <a:pt x="4046" y="1464"/>
                      </a:lnTo>
                      <a:lnTo>
                        <a:pt x="3844" y="1640"/>
                      </a:lnTo>
                      <a:lnTo>
                        <a:pt x="3570" y="1746"/>
                      </a:lnTo>
                      <a:lnTo>
                        <a:pt x="3350" y="1931"/>
                      </a:lnTo>
                      <a:lnTo>
                        <a:pt x="3121" y="2072"/>
                      </a:lnTo>
                      <a:lnTo>
                        <a:pt x="3050" y="2196"/>
                      </a:lnTo>
                      <a:lnTo>
                        <a:pt x="2962" y="2204"/>
                      </a:lnTo>
                      <a:lnTo>
                        <a:pt x="2724" y="2293"/>
                      </a:lnTo>
                      <a:lnTo>
                        <a:pt x="2671" y="2345"/>
                      </a:lnTo>
                      <a:lnTo>
                        <a:pt x="2636" y="2354"/>
                      </a:lnTo>
                      <a:lnTo>
                        <a:pt x="2574" y="2407"/>
                      </a:lnTo>
                      <a:lnTo>
                        <a:pt x="2539" y="2460"/>
                      </a:lnTo>
                      <a:lnTo>
                        <a:pt x="2557" y="2486"/>
                      </a:lnTo>
                      <a:lnTo>
                        <a:pt x="2618" y="2504"/>
                      </a:lnTo>
                      <a:lnTo>
                        <a:pt x="2636" y="2531"/>
                      </a:lnTo>
                      <a:lnTo>
                        <a:pt x="2618" y="2575"/>
                      </a:lnTo>
                      <a:lnTo>
                        <a:pt x="2574" y="2619"/>
                      </a:lnTo>
                      <a:lnTo>
                        <a:pt x="2715" y="2724"/>
                      </a:lnTo>
                      <a:lnTo>
                        <a:pt x="2803" y="2857"/>
                      </a:lnTo>
                      <a:lnTo>
                        <a:pt x="2821" y="3015"/>
                      </a:lnTo>
                      <a:lnTo>
                        <a:pt x="2768" y="3236"/>
                      </a:lnTo>
                      <a:lnTo>
                        <a:pt x="2557" y="3527"/>
                      </a:lnTo>
                      <a:lnTo>
                        <a:pt x="2530" y="3588"/>
                      </a:lnTo>
                      <a:lnTo>
                        <a:pt x="2495" y="3721"/>
                      </a:lnTo>
                      <a:lnTo>
                        <a:pt x="2442" y="3844"/>
                      </a:lnTo>
                      <a:lnTo>
                        <a:pt x="2371" y="3906"/>
                      </a:lnTo>
                      <a:lnTo>
                        <a:pt x="2336" y="3941"/>
                      </a:lnTo>
                      <a:lnTo>
                        <a:pt x="2301" y="4011"/>
                      </a:lnTo>
                      <a:lnTo>
                        <a:pt x="2292" y="4082"/>
                      </a:lnTo>
                      <a:lnTo>
                        <a:pt x="2336" y="4117"/>
                      </a:lnTo>
                      <a:lnTo>
                        <a:pt x="2389" y="4108"/>
                      </a:lnTo>
                      <a:lnTo>
                        <a:pt x="2627" y="4020"/>
                      </a:lnTo>
                      <a:lnTo>
                        <a:pt x="2689" y="3985"/>
                      </a:lnTo>
                      <a:lnTo>
                        <a:pt x="2830" y="3853"/>
                      </a:lnTo>
                      <a:lnTo>
                        <a:pt x="3015" y="3747"/>
                      </a:lnTo>
                      <a:lnTo>
                        <a:pt x="3085" y="3694"/>
                      </a:lnTo>
                      <a:lnTo>
                        <a:pt x="3306" y="3483"/>
                      </a:lnTo>
                      <a:lnTo>
                        <a:pt x="3235" y="3430"/>
                      </a:lnTo>
                      <a:lnTo>
                        <a:pt x="3182" y="3315"/>
                      </a:lnTo>
                      <a:lnTo>
                        <a:pt x="3165" y="3200"/>
                      </a:lnTo>
                      <a:lnTo>
                        <a:pt x="3227" y="3156"/>
                      </a:lnTo>
                      <a:lnTo>
                        <a:pt x="3323" y="3139"/>
                      </a:lnTo>
                      <a:lnTo>
                        <a:pt x="3438" y="3086"/>
                      </a:lnTo>
                      <a:lnTo>
                        <a:pt x="3544" y="3015"/>
                      </a:lnTo>
                      <a:lnTo>
                        <a:pt x="3623" y="2954"/>
                      </a:lnTo>
                      <a:lnTo>
                        <a:pt x="3747" y="2804"/>
                      </a:lnTo>
                      <a:lnTo>
                        <a:pt x="3764" y="2777"/>
                      </a:lnTo>
                      <a:lnTo>
                        <a:pt x="3773" y="2760"/>
                      </a:lnTo>
                      <a:lnTo>
                        <a:pt x="3870" y="2654"/>
                      </a:lnTo>
                      <a:lnTo>
                        <a:pt x="3932" y="2610"/>
                      </a:lnTo>
                      <a:lnTo>
                        <a:pt x="4064" y="2575"/>
                      </a:lnTo>
                      <a:lnTo>
                        <a:pt x="4099" y="2548"/>
                      </a:lnTo>
                      <a:lnTo>
                        <a:pt x="4355" y="2319"/>
                      </a:lnTo>
                      <a:lnTo>
                        <a:pt x="4425" y="2231"/>
                      </a:lnTo>
                      <a:lnTo>
                        <a:pt x="4452" y="2134"/>
                      </a:lnTo>
                      <a:lnTo>
                        <a:pt x="4461" y="2037"/>
                      </a:lnTo>
                      <a:lnTo>
                        <a:pt x="4487" y="1984"/>
                      </a:lnTo>
                      <a:lnTo>
                        <a:pt x="4637" y="1905"/>
                      </a:lnTo>
                      <a:lnTo>
                        <a:pt x="4690" y="1834"/>
                      </a:lnTo>
                      <a:lnTo>
                        <a:pt x="4734" y="1649"/>
                      </a:lnTo>
                      <a:lnTo>
                        <a:pt x="4787" y="1614"/>
                      </a:lnTo>
                      <a:lnTo>
                        <a:pt x="4848" y="1587"/>
                      </a:lnTo>
                      <a:lnTo>
                        <a:pt x="4998" y="1455"/>
                      </a:lnTo>
                      <a:lnTo>
                        <a:pt x="5086" y="1402"/>
                      </a:lnTo>
                      <a:lnTo>
                        <a:pt x="5369" y="1358"/>
                      </a:lnTo>
                      <a:lnTo>
                        <a:pt x="5448" y="1305"/>
                      </a:lnTo>
                      <a:lnTo>
                        <a:pt x="5518" y="1235"/>
                      </a:lnTo>
                      <a:lnTo>
                        <a:pt x="5792" y="1067"/>
                      </a:lnTo>
                      <a:lnTo>
                        <a:pt x="5968" y="1014"/>
                      </a:lnTo>
                      <a:lnTo>
                        <a:pt x="6030" y="1006"/>
                      </a:lnTo>
                      <a:lnTo>
                        <a:pt x="5880" y="547"/>
                      </a:lnTo>
                      <a:lnTo>
                        <a:pt x="5889" y="62"/>
                      </a:lnTo>
                      <a:lnTo>
                        <a:pt x="5210" y="1"/>
                      </a:lnTo>
                      <a:close/>
                      <a:moveTo>
                        <a:pt x="1578" y="5351"/>
                      </a:moveTo>
                      <a:lnTo>
                        <a:pt x="1499" y="5369"/>
                      </a:lnTo>
                      <a:lnTo>
                        <a:pt x="1464" y="5422"/>
                      </a:lnTo>
                      <a:lnTo>
                        <a:pt x="1481" y="5492"/>
                      </a:lnTo>
                      <a:lnTo>
                        <a:pt x="1552" y="5536"/>
                      </a:lnTo>
                      <a:lnTo>
                        <a:pt x="1684" y="5607"/>
                      </a:lnTo>
                      <a:lnTo>
                        <a:pt x="1834" y="5713"/>
                      </a:lnTo>
                      <a:lnTo>
                        <a:pt x="1913" y="5713"/>
                      </a:lnTo>
                      <a:lnTo>
                        <a:pt x="1940" y="5625"/>
                      </a:lnTo>
                      <a:lnTo>
                        <a:pt x="1948" y="5413"/>
                      </a:lnTo>
                      <a:lnTo>
                        <a:pt x="1922" y="5360"/>
                      </a:lnTo>
                      <a:lnTo>
                        <a:pt x="1843" y="5395"/>
                      </a:lnTo>
                      <a:lnTo>
                        <a:pt x="1816" y="5369"/>
                      </a:lnTo>
                      <a:lnTo>
                        <a:pt x="1799" y="5360"/>
                      </a:lnTo>
                      <a:lnTo>
                        <a:pt x="1772" y="5360"/>
                      </a:lnTo>
                      <a:lnTo>
                        <a:pt x="1746" y="5351"/>
                      </a:lnTo>
                      <a:close/>
                      <a:moveTo>
                        <a:pt x="7458" y="1570"/>
                      </a:moveTo>
                      <a:lnTo>
                        <a:pt x="7299" y="1667"/>
                      </a:lnTo>
                      <a:lnTo>
                        <a:pt x="7202" y="1693"/>
                      </a:lnTo>
                      <a:lnTo>
                        <a:pt x="7017" y="1693"/>
                      </a:lnTo>
                      <a:lnTo>
                        <a:pt x="6867" y="1658"/>
                      </a:lnTo>
                      <a:lnTo>
                        <a:pt x="6647" y="1667"/>
                      </a:lnTo>
                      <a:lnTo>
                        <a:pt x="6506" y="1781"/>
                      </a:lnTo>
                      <a:lnTo>
                        <a:pt x="6391" y="1931"/>
                      </a:lnTo>
                      <a:lnTo>
                        <a:pt x="6259" y="2037"/>
                      </a:lnTo>
                      <a:lnTo>
                        <a:pt x="6162" y="2055"/>
                      </a:lnTo>
                      <a:lnTo>
                        <a:pt x="5897" y="2037"/>
                      </a:lnTo>
                      <a:lnTo>
                        <a:pt x="5774" y="1966"/>
                      </a:lnTo>
                      <a:lnTo>
                        <a:pt x="5721" y="1949"/>
                      </a:lnTo>
                      <a:lnTo>
                        <a:pt x="5562" y="1984"/>
                      </a:lnTo>
                      <a:lnTo>
                        <a:pt x="5166" y="1958"/>
                      </a:lnTo>
                      <a:lnTo>
                        <a:pt x="4972" y="1966"/>
                      </a:lnTo>
                      <a:lnTo>
                        <a:pt x="4875" y="2046"/>
                      </a:lnTo>
                      <a:lnTo>
                        <a:pt x="4381" y="2654"/>
                      </a:lnTo>
                      <a:lnTo>
                        <a:pt x="4320" y="2698"/>
                      </a:lnTo>
                      <a:lnTo>
                        <a:pt x="4258" y="2733"/>
                      </a:lnTo>
                      <a:lnTo>
                        <a:pt x="4214" y="2751"/>
                      </a:lnTo>
                      <a:lnTo>
                        <a:pt x="4179" y="2777"/>
                      </a:lnTo>
                      <a:lnTo>
                        <a:pt x="3967" y="3051"/>
                      </a:lnTo>
                      <a:lnTo>
                        <a:pt x="3888" y="3121"/>
                      </a:lnTo>
                      <a:lnTo>
                        <a:pt x="3729" y="3165"/>
                      </a:lnTo>
                      <a:lnTo>
                        <a:pt x="3606" y="3227"/>
                      </a:lnTo>
                      <a:lnTo>
                        <a:pt x="3544" y="3236"/>
                      </a:lnTo>
                      <a:lnTo>
                        <a:pt x="3482" y="3236"/>
                      </a:lnTo>
                      <a:lnTo>
                        <a:pt x="3456" y="3245"/>
                      </a:lnTo>
                      <a:lnTo>
                        <a:pt x="3429" y="3280"/>
                      </a:lnTo>
                      <a:lnTo>
                        <a:pt x="3403" y="3368"/>
                      </a:lnTo>
                      <a:lnTo>
                        <a:pt x="3429" y="3456"/>
                      </a:lnTo>
                      <a:lnTo>
                        <a:pt x="3429" y="3571"/>
                      </a:lnTo>
                      <a:lnTo>
                        <a:pt x="3412" y="3685"/>
                      </a:lnTo>
                      <a:lnTo>
                        <a:pt x="3385" y="3765"/>
                      </a:lnTo>
                      <a:lnTo>
                        <a:pt x="3368" y="3782"/>
                      </a:lnTo>
                      <a:lnTo>
                        <a:pt x="3288" y="3782"/>
                      </a:lnTo>
                      <a:lnTo>
                        <a:pt x="3271" y="3791"/>
                      </a:lnTo>
                      <a:lnTo>
                        <a:pt x="3279" y="3818"/>
                      </a:lnTo>
                      <a:lnTo>
                        <a:pt x="3279" y="3844"/>
                      </a:lnTo>
                      <a:lnTo>
                        <a:pt x="3279" y="3870"/>
                      </a:lnTo>
                      <a:lnTo>
                        <a:pt x="3262" y="3906"/>
                      </a:lnTo>
                      <a:lnTo>
                        <a:pt x="3253" y="3985"/>
                      </a:lnTo>
                      <a:lnTo>
                        <a:pt x="3244" y="4029"/>
                      </a:lnTo>
                      <a:lnTo>
                        <a:pt x="3200" y="4100"/>
                      </a:lnTo>
                      <a:lnTo>
                        <a:pt x="3006" y="4302"/>
                      </a:lnTo>
                      <a:lnTo>
                        <a:pt x="2953" y="4329"/>
                      </a:lnTo>
                      <a:lnTo>
                        <a:pt x="2803" y="4399"/>
                      </a:lnTo>
                      <a:lnTo>
                        <a:pt x="2724" y="4443"/>
                      </a:lnTo>
                      <a:lnTo>
                        <a:pt x="2477" y="4364"/>
                      </a:lnTo>
                      <a:lnTo>
                        <a:pt x="2433" y="4408"/>
                      </a:lnTo>
                      <a:lnTo>
                        <a:pt x="2336" y="4576"/>
                      </a:lnTo>
                      <a:lnTo>
                        <a:pt x="2319" y="4629"/>
                      </a:lnTo>
                      <a:lnTo>
                        <a:pt x="2310" y="4681"/>
                      </a:lnTo>
                      <a:lnTo>
                        <a:pt x="2266" y="4761"/>
                      </a:lnTo>
                      <a:lnTo>
                        <a:pt x="2257" y="4814"/>
                      </a:lnTo>
                      <a:lnTo>
                        <a:pt x="2257" y="4875"/>
                      </a:lnTo>
                      <a:lnTo>
                        <a:pt x="2283" y="4990"/>
                      </a:lnTo>
                      <a:lnTo>
                        <a:pt x="2292" y="5025"/>
                      </a:lnTo>
                      <a:lnTo>
                        <a:pt x="2222" y="5334"/>
                      </a:lnTo>
                      <a:lnTo>
                        <a:pt x="2195" y="5395"/>
                      </a:lnTo>
                      <a:lnTo>
                        <a:pt x="2266" y="5413"/>
                      </a:lnTo>
                      <a:lnTo>
                        <a:pt x="2283" y="5466"/>
                      </a:lnTo>
                      <a:lnTo>
                        <a:pt x="2257" y="5625"/>
                      </a:lnTo>
                      <a:lnTo>
                        <a:pt x="2257" y="5766"/>
                      </a:lnTo>
                      <a:lnTo>
                        <a:pt x="2239" y="5810"/>
                      </a:lnTo>
                      <a:lnTo>
                        <a:pt x="2222" y="5819"/>
                      </a:lnTo>
                      <a:lnTo>
                        <a:pt x="2204" y="5836"/>
                      </a:lnTo>
                      <a:lnTo>
                        <a:pt x="2195" y="5889"/>
                      </a:lnTo>
                      <a:lnTo>
                        <a:pt x="2213" y="5968"/>
                      </a:lnTo>
                      <a:lnTo>
                        <a:pt x="2301" y="6136"/>
                      </a:lnTo>
                      <a:lnTo>
                        <a:pt x="2319" y="6206"/>
                      </a:lnTo>
                      <a:lnTo>
                        <a:pt x="2292" y="6533"/>
                      </a:lnTo>
                      <a:lnTo>
                        <a:pt x="2248" y="6674"/>
                      </a:lnTo>
                      <a:lnTo>
                        <a:pt x="2072" y="6841"/>
                      </a:lnTo>
                      <a:lnTo>
                        <a:pt x="2001" y="7141"/>
                      </a:lnTo>
                      <a:lnTo>
                        <a:pt x="1887" y="7458"/>
                      </a:lnTo>
                      <a:lnTo>
                        <a:pt x="1904" y="7590"/>
                      </a:lnTo>
                      <a:lnTo>
                        <a:pt x="2089" y="7678"/>
                      </a:lnTo>
                      <a:lnTo>
                        <a:pt x="2275" y="7678"/>
                      </a:lnTo>
                      <a:lnTo>
                        <a:pt x="2636" y="7590"/>
                      </a:lnTo>
                      <a:lnTo>
                        <a:pt x="2689" y="7626"/>
                      </a:lnTo>
                      <a:lnTo>
                        <a:pt x="2715" y="7643"/>
                      </a:lnTo>
                      <a:lnTo>
                        <a:pt x="2733" y="7608"/>
                      </a:lnTo>
                      <a:lnTo>
                        <a:pt x="2742" y="7599"/>
                      </a:lnTo>
                      <a:lnTo>
                        <a:pt x="2777" y="7546"/>
                      </a:lnTo>
                      <a:lnTo>
                        <a:pt x="2830" y="7537"/>
                      </a:lnTo>
                      <a:lnTo>
                        <a:pt x="2892" y="7511"/>
                      </a:lnTo>
                      <a:lnTo>
                        <a:pt x="2944" y="7502"/>
                      </a:lnTo>
                      <a:lnTo>
                        <a:pt x="3182" y="7546"/>
                      </a:lnTo>
                      <a:lnTo>
                        <a:pt x="3244" y="7546"/>
                      </a:lnTo>
                      <a:lnTo>
                        <a:pt x="3279" y="7520"/>
                      </a:lnTo>
                      <a:lnTo>
                        <a:pt x="3482" y="7405"/>
                      </a:lnTo>
                      <a:lnTo>
                        <a:pt x="3526" y="7405"/>
                      </a:lnTo>
                      <a:lnTo>
                        <a:pt x="3579" y="7352"/>
                      </a:lnTo>
                      <a:lnTo>
                        <a:pt x="3676" y="7308"/>
                      </a:lnTo>
                      <a:lnTo>
                        <a:pt x="4655" y="7123"/>
                      </a:lnTo>
                      <a:lnTo>
                        <a:pt x="4646" y="6638"/>
                      </a:lnTo>
                      <a:lnTo>
                        <a:pt x="4796" y="6171"/>
                      </a:lnTo>
                      <a:lnTo>
                        <a:pt x="4981" y="6127"/>
                      </a:lnTo>
                      <a:lnTo>
                        <a:pt x="5404" y="6180"/>
                      </a:lnTo>
                      <a:lnTo>
                        <a:pt x="5598" y="6118"/>
                      </a:lnTo>
                      <a:lnTo>
                        <a:pt x="5774" y="5968"/>
                      </a:lnTo>
                      <a:lnTo>
                        <a:pt x="6109" y="5827"/>
                      </a:lnTo>
                      <a:lnTo>
                        <a:pt x="6303" y="5669"/>
                      </a:lnTo>
                      <a:lnTo>
                        <a:pt x="6514" y="5669"/>
                      </a:lnTo>
                      <a:lnTo>
                        <a:pt x="6664" y="5686"/>
                      </a:lnTo>
                      <a:lnTo>
                        <a:pt x="6788" y="5616"/>
                      </a:lnTo>
                      <a:lnTo>
                        <a:pt x="7132" y="5677"/>
                      </a:lnTo>
                      <a:lnTo>
                        <a:pt x="7475" y="5792"/>
                      </a:lnTo>
                      <a:lnTo>
                        <a:pt x="7669" y="5713"/>
                      </a:lnTo>
                      <a:lnTo>
                        <a:pt x="7854" y="5581"/>
                      </a:lnTo>
                      <a:lnTo>
                        <a:pt x="8048" y="5492"/>
                      </a:lnTo>
                      <a:lnTo>
                        <a:pt x="8233" y="5360"/>
                      </a:lnTo>
                      <a:lnTo>
                        <a:pt x="8339" y="5131"/>
                      </a:lnTo>
                      <a:lnTo>
                        <a:pt x="8418" y="4884"/>
                      </a:lnTo>
                      <a:lnTo>
                        <a:pt x="8436" y="4637"/>
                      </a:lnTo>
                      <a:lnTo>
                        <a:pt x="8366" y="4576"/>
                      </a:lnTo>
                      <a:lnTo>
                        <a:pt x="8277" y="4443"/>
                      </a:lnTo>
                      <a:lnTo>
                        <a:pt x="8330" y="4338"/>
                      </a:lnTo>
                      <a:lnTo>
                        <a:pt x="8366" y="4294"/>
                      </a:lnTo>
                      <a:lnTo>
                        <a:pt x="8410" y="4152"/>
                      </a:lnTo>
                      <a:lnTo>
                        <a:pt x="8436" y="3994"/>
                      </a:lnTo>
                      <a:lnTo>
                        <a:pt x="8498" y="3800"/>
                      </a:lnTo>
                      <a:lnTo>
                        <a:pt x="8524" y="3685"/>
                      </a:lnTo>
                      <a:lnTo>
                        <a:pt x="8507" y="3641"/>
                      </a:lnTo>
                      <a:lnTo>
                        <a:pt x="8418" y="3632"/>
                      </a:lnTo>
                      <a:lnTo>
                        <a:pt x="8242" y="3553"/>
                      </a:lnTo>
                      <a:lnTo>
                        <a:pt x="8154" y="3368"/>
                      </a:lnTo>
                      <a:lnTo>
                        <a:pt x="8207" y="3324"/>
                      </a:lnTo>
                      <a:lnTo>
                        <a:pt x="8277" y="3297"/>
                      </a:lnTo>
                      <a:lnTo>
                        <a:pt x="8595" y="2954"/>
                      </a:lnTo>
                      <a:lnTo>
                        <a:pt x="8824" y="2821"/>
                      </a:lnTo>
                      <a:lnTo>
                        <a:pt x="8877" y="2557"/>
                      </a:lnTo>
                      <a:lnTo>
                        <a:pt x="8850" y="2504"/>
                      </a:lnTo>
                      <a:lnTo>
                        <a:pt x="8806" y="2531"/>
                      </a:lnTo>
                      <a:lnTo>
                        <a:pt x="8753" y="2539"/>
                      </a:lnTo>
                      <a:lnTo>
                        <a:pt x="8630" y="2539"/>
                      </a:lnTo>
                      <a:lnTo>
                        <a:pt x="8295" y="2460"/>
                      </a:lnTo>
                      <a:lnTo>
                        <a:pt x="8022" y="2337"/>
                      </a:lnTo>
                      <a:lnTo>
                        <a:pt x="7766" y="2169"/>
                      </a:lnTo>
                      <a:lnTo>
                        <a:pt x="7563" y="1949"/>
                      </a:lnTo>
                      <a:lnTo>
                        <a:pt x="7599" y="1931"/>
                      </a:lnTo>
                      <a:lnTo>
                        <a:pt x="7608" y="1922"/>
                      </a:lnTo>
                      <a:lnTo>
                        <a:pt x="7625" y="1949"/>
                      </a:lnTo>
                      <a:lnTo>
                        <a:pt x="7660" y="1949"/>
                      </a:lnTo>
                      <a:lnTo>
                        <a:pt x="7722" y="1905"/>
                      </a:lnTo>
                      <a:lnTo>
                        <a:pt x="7652" y="1720"/>
                      </a:lnTo>
                      <a:lnTo>
                        <a:pt x="7608" y="1631"/>
                      </a:lnTo>
                      <a:lnTo>
                        <a:pt x="7528" y="157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9" name="Google Shape;3107;p54">
                  <a:extLst>
                    <a:ext uri="{FF2B5EF4-FFF2-40B4-BE49-F238E27FC236}">
                      <a16:creationId xmlns:a16="http://schemas.microsoft.com/office/drawing/2014/main" id="{D4BC018A-D4A9-9121-5D0F-C718871B7D93}"/>
                    </a:ext>
                  </a:extLst>
                </p:cNvPr>
                <p:cNvSpPr/>
                <p:nvPr/>
              </p:nvSpPr>
              <p:spPr>
                <a:xfrm>
                  <a:off x="7217294" y="1590576"/>
                  <a:ext cx="340960" cy="331575"/>
                </a:xfrm>
                <a:custGeom>
                  <a:avLst/>
                  <a:gdLst/>
                  <a:ahLst/>
                  <a:cxnLst/>
                  <a:rect l="l" t="t" r="r" b="b"/>
                  <a:pathLst>
                    <a:path w="4796" h="4664" extrusionOk="0">
                      <a:moveTo>
                        <a:pt x="3932" y="0"/>
                      </a:moveTo>
                      <a:lnTo>
                        <a:pt x="3888" y="35"/>
                      </a:lnTo>
                      <a:lnTo>
                        <a:pt x="3800" y="62"/>
                      </a:lnTo>
                      <a:lnTo>
                        <a:pt x="3685" y="71"/>
                      </a:lnTo>
                      <a:lnTo>
                        <a:pt x="3562" y="97"/>
                      </a:lnTo>
                      <a:lnTo>
                        <a:pt x="3474" y="167"/>
                      </a:lnTo>
                      <a:lnTo>
                        <a:pt x="3288" y="361"/>
                      </a:lnTo>
                      <a:lnTo>
                        <a:pt x="3200" y="423"/>
                      </a:lnTo>
                      <a:lnTo>
                        <a:pt x="3094" y="485"/>
                      </a:lnTo>
                      <a:lnTo>
                        <a:pt x="2989" y="520"/>
                      </a:lnTo>
                      <a:lnTo>
                        <a:pt x="2892" y="529"/>
                      </a:lnTo>
                      <a:lnTo>
                        <a:pt x="2812" y="564"/>
                      </a:lnTo>
                      <a:lnTo>
                        <a:pt x="2645" y="688"/>
                      </a:lnTo>
                      <a:lnTo>
                        <a:pt x="2522" y="705"/>
                      </a:lnTo>
                      <a:lnTo>
                        <a:pt x="2328" y="635"/>
                      </a:lnTo>
                      <a:lnTo>
                        <a:pt x="2257" y="617"/>
                      </a:lnTo>
                      <a:lnTo>
                        <a:pt x="2204" y="643"/>
                      </a:lnTo>
                      <a:lnTo>
                        <a:pt x="1878" y="882"/>
                      </a:lnTo>
                      <a:lnTo>
                        <a:pt x="1605" y="1252"/>
                      </a:lnTo>
                      <a:lnTo>
                        <a:pt x="1543" y="1296"/>
                      </a:lnTo>
                      <a:lnTo>
                        <a:pt x="1473" y="1313"/>
                      </a:lnTo>
                      <a:lnTo>
                        <a:pt x="1331" y="1331"/>
                      </a:lnTo>
                      <a:lnTo>
                        <a:pt x="1270" y="1358"/>
                      </a:lnTo>
                      <a:lnTo>
                        <a:pt x="1093" y="1507"/>
                      </a:lnTo>
                      <a:lnTo>
                        <a:pt x="952" y="1596"/>
                      </a:lnTo>
                      <a:lnTo>
                        <a:pt x="820" y="1640"/>
                      </a:lnTo>
                      <a:lnTo>
                        <a:pt x="679" y="1622"/>
                      </a:lnTo>
                      <a:lnTo>
                        <a:pt x="521" y="1551"/>
                      </a:lnTo>
                      <a:lnTo>
                        <a:pt x="0" y="1895"/>
                      </a:lnTo>
                      <a:lnTo>
                        <a:pt x="168" y="2274"/>
                      </a:lnTo>
                      <a:lnTo>
                        <a:pt x="283" y="2689"/>
                      </a:lnTo>
                      <a:lnTo>
                        <a:pt x="335" y="3121"/>
                      </a:lnTo>
                      <a:lnTo>
                        <a:pt x="626" y="3861"/>
                      </a:lnTo>
                      <a:lnTo>
                        <a:pt x="573" y="4275"/>
                      </a:lnTo>
                      <a:lnTo>
                        <a:pt x="635" y="4663"/>
                      </a:lnTo>
                      <a:lnTo>
                        <a:pt x="1384" y="4284"/>
                      </a:lnTo>
                      <a:lnTo>
                        <a:pt x="1569" y="4231"/>
                      </a:lnTo>
                      <a:lnTo>
                        <a:pt x="1763" y="4214"/>
                      </a:lnTo>
                      <a:lnTo>
                        <a:pt x="2037" y="4134"/>
                      </a:lnTo>
                      <a:lnTo>
                        <a:pt x="2178" y="3782"/>
                      </a:lnTo>
                      <a:lnTo>
                        <a:pt x="2345" y="3711"/>
                      </a:lnTo>
                      <a:lnTo>
                        <a:pt x="2548" y="3711"/>
                      </a:lnTo>
                      <a:lnTo>
                        <a:pt x="2742" y="3641"/>
                      </a:lnTo>
                      <a:lnTo>
                        <a:pt x="3236" y="3217"/>
                      </a:lnTo>
                      <a:lnTo>
                        <a:pt x="3597" y="3006"/>
                      </a:lnTo>
                      <a:lnTo>
                        <a:pt x="3659" y="2759"/>
                      </a:lnTo>
                      <a:lnTo>
                        <a:pt x="4099" y="2248"/>
                      </a:lnTo>
                      <a:lnTo>
                        <a:pt x="4214" y="2186"/>
                      </a:lnTo>
                      <a:lnTo>
                        <a:pt x="4302" y="2098"/>
                      </a:lnTo>
                      <a:lnTo>
                        <a:pt x="4346" y="1975"/>
                      </a:lnTo>
                      <a:lnTo>
                        <a:pt x="4417" y="1842"/>
                      </a:lnTo>
                      <a:lnTo>
                        <a:pt x="4664" y="1684"/>
                      </a:lnTo>
                      <a:lnTo>
                        <a:pt x="4796" y="1393"/>
                      </a:lnTo>
                      <a:lnTo>
                        <a:pt x="4655" y="1243"/>
                      </a:lnTo>
                      <a:lnTo>
                        <a:pt x="4470" y="1155"/>
                      </a:lnTo>
                      <a:lnTo>
                        <a:pt x="4426" y="1040"/>
                      </a:lnTo>
                      <a:lnTo>
                        <a:pt x="4373" y="943"/>
                      </a:lnTo>
                      <a:lnTo>
                        <a:pt x="4276" y="873"/>
                      </a:lnTo>
                      <a:lnTo>
                        <a:pt x="4188" y="793"/>
                      </a:lnTo>
                      <a:lnTo>
                        <a:pt x="4099" y="582"/>
                      </a:lnTo>
                      <a:lnTo>
                        <a:pt x="4064" y="344"/>
                      </a:lnTo>
                      <a:lnTo>
                        <a:pt x="3941" y="26"/>
                      </a:lnTo>
                      <a:lnTo>
                        <a:pt x="3932"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3108;p54">
                  <a:extLst>
                    <a:ext uri="{FF2B5EF4-FFF2-40B4-BE49-F238E27FC236}">
                      <a16:creationId xmlns:a16="http://schemas.microsoft.com/office/drawing/2014/main" id="{A9796710-BF07-7B5B-B94F-B641AD5044E9}"/>
                    </a:ext>
                  </a:extLst>
                </p:cNvPr>
                <p:cNvSpPr/>
                <p:nvPr/>
              </p:nvSpPr>
              <p:spPr>
                <a:xfrm>
                  <a:off x="6809920" y="1673260"/>
                  <a:ext cx="452575" cy="262687"/>
                </a:xfrm>
                <a:custGeom>
                  <a:avLst/>
                  <a:gdLst/>
                  <a:ahLst/>
                  <a:cxnLst/>
                  <a:rect l="l" t="t" r="r" b="b"/>
                  <a:pathLst>
                    <a:path w="6366" h="3695" extrusionOk="0">
                      <a:moveTo>
                        <a:pt x="1455" y="1"/>
                      </a:moveTo>
                      <a:lnTo>
                        <a:pt x="1394" y="18"/>
                      </a:lnTo>
                      <a:lnTo>
                        <a:pt x="1367" y="45"/>
                      </a:lnTo>
                      <a:lnTo>
                        <a:pt x="1349" y="62"/>
                      </a:lnTo>
                      <a:lnTo>
                        <a:pt x="1323" y="89"/>
                      </a:lnTo>
                      <a:lnTo>
                        <a:pt x="1076" y="239"/>
                      </a:lnTo>
                      <a:lnTo>
                        <a:pt x="1023" y="256"/>
                      </a:lnTo>
                      <a:lnTo>
                        <a:pt x="926" y="274"/>
                      </a:lnTo>
                      <a:lnTo>
                        <a:pt x="803" y="362"/>
                      </a:lnTo>
                      <a:lnTo>
                        <a:pt x="724" y="388"/>
                      </a:lnTo>
                      <a:lnTo>
                        <a:pt x="618" y="371"/>
                      </a:lnTo>
                      <a:lnTo>
                        <a:pt x="477" y="247"/>
                      </a:lnTo>
                      <a:lnTo>
                        <a:pt x="389" y="221"/>
                      </a:lnTo>
                      <a:lnTo>
                        <a:pt x="239" y="203"/>
                      </a:lnTo>
                      <a:lnTo>
                        <a:pt x="177" y="221"/>
                      </a:lnTo>
                      <a:lnTo>
                        <a:pt x="142" y="247"/>
                      </a:lnTo>
                      <a:lnTo>
                        <a:pt x="10" y="997"/>
                      </a:lnTo>
                      <a:lnTo>
                        <a:pt x="1" y="1305"/>
                      </a:lnTo>
                      <a:lnTo>
                        <a:pt x="36" y="1861"/>
                      </a:lnTo>
                      <a:lnTo>
                        <a:pt x="124" y="2099"/>
                      </a:lnTo>
                      <a:lnTo>
                        <a:pt x="212" y="2169"/>
                      </a:lnTo>
                      <a:lnTo>
                        <a:pt x="309" y="2178"/>
                      </a:lnTo>
                      <a:lnTo>
                        <a:pt x="406" y="2099"/>
                      </a:lnTo>
                      <a:lnTo>
                        <a:pt x="486" y="1984"/>
                      </a:lnTo>
                      <a:lnTo>
                        <a:pt x="680" y="2099"/>
                      </a:lnTo>
                      <a:lnTo>
                        <a:pt x="750" y="2460"/>
                      </a:lnTo>
                      <a:lnTo>
                        <a:pt x="1059" y="2786"/>
                      </a:lnTo>
                      <a:lnTo>
                        <a:pt x="2143" y="3218"/>
                      </a:lnTo>
                      <a:lnTo>
                        <a:pt x="2416" y="3253"/>
                      </a:lnTo>
                      <a:lnTo>
                        <a:pt x="2513" y="3227"/>
                      </a:lnTo>
                      <a:lnTo>
                        <a:pt x="2584" y="3156"/>
                      </a:lnTo>
                      <a:lnTo>
                        <a:pt x="2636" y="2910"/>
                      </a:lnTo>
                      <a:lnTo>
                        <a:pt x="2786" y="2795"/>
                      </a:lnTo>
                      <a:lnTo>
                        <a:pt x="3104" y="3015"/>
                      </a:lnTo>
                      <a:lnTo>
                        <a:pt x="3324" y="3386"/>
                      </a:lnTo>
                      <a:lnTo>
                        <a:pt x="3421" y="3386"/>
                      </a:lnTo>
                      <a:lnTo>
                        <a:pt x="3491" y="3297"/>
                      </a:lnTo>
                      <a:lnTo>
                        <a:pt x="3456" y="3148"/>
                      </a:lnTo>
                      <a:lnTo>
                        <a:pt x="3518" y="3095"/>
                      </a:lnTo>
                      <a:lnTo>
                        <a:pt x="3553" y="3077"/>
                      </a:lnTo>
                      <a:lnTo>
                        <a:pt x="3694" y="3130"/>
                      </a:lnTo>
                      <a:lnTo>
                        <a:pt x="3976" y="3447"/>
                      </a:lnTo>
                      <a:lnTo>
                        <a:pt x="4170" y="3562"/>
                      </a:lnTo>
                      <a:lnTo>
                        <a:pt x="4567" y="3571"/>
                      </a:lnTo>
                      <a:lnTo>
                        <a:pt x="4946" y="3694"/>
                      </a:lnTo>
                      <a:lnTo>
                        <a:pt x="5149" y="3685"/>
                      </a:lnTo>
                      <a:lnTo>
                        <a:pt x="5378" y="3615"/>
                      </a:lnTo>
                      <a:lnTo>
                        <a:pt x="5607" y="3571"/>
                      </a:lnTo>
                      <a:lnTo>
                        <a:pt x="6083" y="3579"/>
                      </a:lnTo>
                      <a:lnTo>
                        <a:pt x="6268" y="3518"/>
                      </a:lnTo>
                      <a:lnTo>
                        <a:pt x="6365" y="3500"/>
                      </a:lnTo>
                      <a:lnTo>
                        <a:pt x="6303" y="3112"/>
                      </a:lnTo>
                      <a:lnTo>
                        <a:pt x="6356" y="2698"/>
                      </a:lnTo>
                      <a:lnTo>
                        <a:pt x="6065" y="1958"/>
                      </a:lnTo>
                      <a:lnTo>
                        <a:pt x="6013" y="1526"/>
                      </a:lnTo>
                      <a:lnTo>
                        <a:pt x="5898" y="1111"/>
                      </a:lnTo>
                      <a:lnTo>
                        <a:pt x="5730" y="732"/>
                      </a:lnTo>
                      <a:lnTo>
                        <a:pt x="5492" y="891"/>
                      </a:lnTo>
                      <a:lnTo>
                        <a:pt x="5272" y="953"/>
                      </a:lnTo>
                      <a:lnTo>
                        <a:pt x="5166" y="1023"/>
                      </a:lnTo>
                      <a:lnTo>
                        <a:pt x="4999" y="1085"/>
                      </a:lnTo>
                      <a:lnTo>
                        <a:pt x="4893" y="1111"/>
                      </a:lnTo>
                      <a:lnTo>
                        <a:pt x="4752" y="1173"/>
                      </a:lnTo>
                      <a:lnTo>
                        <a:pt x="4681" y="1182"/>
                      </a:lnTo>
                      <a:lnTo>
                        <a:pt x="4488" y="1147"/>
                      </a:lnTo>
                      <a:lnTo>
                        <a:pt x="4355" y="1058"/>
                      </a:lnTo>
                      <a:lnTo>
                        <a:pt x="4091" y="803"/>
                      </a:lnTo>
                      <a:lnTo>
                        <a:pt x="3976" y="820"/>
                      </a:lnTo>
                      <a:lnTo>
                        <a:pt x="3685" y="917"/>
                      </a:lnTo>
                      <a:lnTo>
                        <a:pt x="3606" y="970"/>
                      </a:lnTo>
                      <a:lnTo>
                        <a:pt x="3518" y="953"/>
                      </a:lnTo>
                      <a:lnTo>
                        <a:pt x="3439" y="917"/>
                      </a:lnTo>
                      <a:lnTo>
                        <a:pt x="3165" y="697"/>
                      </a:lnTo>
                      <a:lnTo>
                        <a:pt x="3121" y="679"/>
                      </a:lnTo>
                      <a:lnTo>
                        <a:pt x="3015" y="688"/>
                      </a:lnTo>
                      <a:lnTo>
                        <a:pt x="2971" y="679"/>
                      </a:lnTo>
                      <a:lnTo>
                        <a:pt x="2839" y="591"/>
                      </a:lnTo>
                      <a:lnTo>
                        <a:pt x="2751" y="600"/>
                      </a:lnTo>
                      <a:lnTo>
                        <a:pt x="2654" y="653"/>
                      </a:lnTo>
                      <a:lnTo>
                        <a:pt x="2566" y="679"/>
                      </a:lnTo>
                      <a:lnTo>
                        <a:pt x="2381" y="644"/>
                      </a:lnTo>
                      <a:lnTo>
                        <a:pt x="2204" y="538"/>
                      </a:lnTo>
                      <a:lnTo>
                        <a:pt x="1922" y="300"/>
                      </a:lnTo>
                      <a:lnTo>
                        <a:pt x="1808" y="142"/>
                      </a:lnTo>
                      <a:lnTo>
                        <a:pt x="1746" y="71"/>
                      </a:lnTo>
                      <a:lnTo>
                        <a:pt x="1455"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1" name="Google Shape;3109;p54">
                  <a:extLst>
                    <a:ext uri="{FF2B5EF4-FFF2-40B4-BE49-F238E27FC236}">
                      <a16:creationId xmlns:a16="http://schemas.microsoft.com/office/drawing/2014/main" id="{ACEE3495-DBB1-BC84-A04C-C8B640E5865C}"/>
                    </a:ext>
                  </a:extLst>
                </p:cNvPr>
                <p:cNvSpPr/>
                <p:nvPr/>
              </p:nvSpPr>
              <p:spPr>
                <a:xfrm>
                  <a:off x="6462123" y="1690820"/>
                  <a:ext cx="357880" cy="443120"/>
                </a:xfrm>
                <a:custGeom>
                  <a:avLst/>
                  <a:gdLst/>
                  <a:ahLst/>
                  <a:cxnLst/>
                  <a:rect l="l" t="t" r="r" b="b"/>
                  <a:pathLst>
                    <a:path w="5034" h="6233" extrusionOk="0">
                      <a:moveTo>
                        <a:pt x="5034" y="0"/>
                      </a:moveTo>
                      <a:lnTo>
                        <a:pt x="4954" y="71"/>
                      </a:lnTo>
                      <a:lnTo>
                        <a:pt x="4919" y="97"/>
                      </a:lnTo>
                      <a:lnTo>
                        <a:pt x="4540" y="186"/>
                      </a:lnTo>
                      <a:lnTo>
                        <a:pt x="4011" y="186"/>
                      </a:lnTo>
                      <a:lnTo>
                        <a:pt x="3923" y="221"/>
                      </a:lnTo>
                      <a:lnTo>
                        <a:pt x="3844" y="282"/>
                      </a:lnTo>
                      <a:lnTo>
                        <a:pt x="3773" y="335"/>
                      </a:lnTo>
                      <a:lnTo>
                        <a:pt x="3447" y="397"/>
                      </a:lnTo>
                      <a:lnTo>
                        <a:pt x="3341" y="441"/>
                      </a:lnTo>
                      <a:lnTo>
                        <a:pt x="3324" y="450"/>
                      </a:lnTo>
                      <a:lnTo>
                        <a:pt x="3306" y="485"/>
                      </a:lnTo>
                      <a:lnTo>
                        <a:pt x="3209" y="600"/>
                      </a:lnTo>
                      <a:lnTo>
                        <a:pt x="3156" y="617"/>
                      </a:lnTo>
                      <a:lnTo>
                        <a:pt x="3112" y="653"/>
                      </a:lnTo>
                      <a:lnTo>
                        <a:pt x="3068" y="697"/>
                      </a:lnTo>
                      <a:lnTo>
                        <a:pt x="3042" y="723"/>
                      </a:lnTo>
                      <a:lnTo>
                        <a:pt x="2989" y="741"/>
                      </a:lnTo>
                      <a:lnTo>
                        <a:pt x="2901" y="741"/>
                      </a:lnTo>
                      <a:lnTo>
                        <a:pt x="2857" y="767"/>
                      </a:lnTo>
                      <a:lnTo>
                        <a:pt x="2821" y="732"/>
                      </a:lnTo>
                      <a:lnTo>
                        <a:pt x="2751" y="626"/>
                      </a:lnTo>
                      <a:lnTo>
                        <a:pt x="2724" y="600"/>
                      </a:lnTo>
                      <a:lnTo>
                        <a:pt x="2663" y="600"/>
                      </a:lnTo>
                      <a:lnTo>
                        <a:pt x="2513" y="644"/>
                      </a:lnTo>
                      <a:lnTo>
                        <a:pt x="2451" y="679"/>
                      </a:lnTo>
                      <a:lnTo>
                        <a:pt x="2284" y="847"/>
                      </a:lnTo>
                      <a:lnTo>
                        <a:pt x="2213" y="900"/>
                      </a:lnTo>
                      <a:lnTo>
                        <a:pt x="1860" y="917"/>
                      </a:lnTo>
                      <a:lnTo>
                        <a:pt x="1808" y="961"/>
                      </a:lnTo>
                      <a:lnTo>
                        <a:pt x="1684" y="952"/>
                      </a:lnTo>
                      <a:lnTo>
                        <a:pt x="1517" y="900"/>
                      </a:lnTo>
                      <a:lnTo>
                        <a:pt x="1340" y="952"/>
                      </a:lnTo>
                      <a:lnTo>
                        <a:pt x="1243" y="952"/>
                      </a:lnTo>
                      <a:lnTo>
                        <a:pt x="1041" y="776"/>
                      </a:lnTo>
                      <a:lnTo>
                        <a:pt x="952" y="750"/>
                      </a:lnTo>
                      <a:lnTo>
                        <a:pt x="750" y="811"/>
                      </a:lnTo>
                      <a:lnTo>
                        <a:pt x="644" y="811"/>
                      </a:lnTo>
                      <a:lnTo>
                        <a:pt x="459" y="741"/>
                      </a:lnTo>
                      <a:lnTo>
                        <a:pt x="238" y="706"/>
                      </a:lnTo>
                      <a:lnTo>
                        <a:pt x="238" y="732"/>
                      </a:lnTo>
                      <a:lnTo>
                        <a:pt x="247" y="944"/>
                      </a:lnTo>
                      <a:lnTo>
                        <a:pt x="177" y="1129"/>
                      </a:lnTo>
                      <a:lnTo>
                        <a:pt x="80" y="1243"/>
                      </a:lnTo>
                      <a:lnTo>
                        <a:pt x="0" y="1393"/>
                      </a:lnTo>
                      <a:lnTo>
                        <a:pt x="0" y="1587"/>
                      </a:lnTo>
                      <a:lnTo>
                        <a:pt x="80" y="1763"/>
                      </a:lnTo>
                      <a:lnTo>
                        <a:pt x="106" y="1966"/>
                      </a:lnTo>
                      <a:lnTo>
                        <a:pt x="80" y="2178"/>
                      </a:lnTo>
                      <a:lnTo>
                        <a:pt x="97" y="2380"/>
                      </a:lnTo>
                      <a:lnTo>
                        <a:pt x="80" y="2592"/>
                      </a:lnTo>
                      <a:lnTo>
                        <a:pt x="18" y="2707"/>
                      </a:lnTo>
                      <a:lnTo>
                        <a:pt x="0" y="2865"/>
                      </a:lnTo>
                      <a:lnTo>
                        <a:pt x="441" y="3368"/>
                      </a:lnTo>
                      <a:lnTo>
                        <a:pt x="820" y="4822"/>
                      </a:lnTo>
                      <a:lnTo>
                        <a:pt x="811" y="5166"/>
                      </a:lnTo>
                      <a:lnTo>
                        <a:pt x="988" y="5422"/>
                      </a:lnTo>
                      <a:lnTo>
                        <a:pt x="1243" y="5554"/>
                      </a:lnTo>
                      <a:lnTo>
                        <a:pt x="1525" y="5774"/>
                      </a:lnTo>
                      <a:lnTo>
                        <a:pt x="1816" y="5942"/>
                      </a:lnTo>
                      <a:lnTo>
                        <a:pt x="2292" y="5827"/>
                      </a:lnTo>
                      <a:lnTo>
                        <a:pt x="2777" y="5986"/>
                      </a:lnTo>
                      <a:lnTo>
                        <a:pt x="3244" y="6215"/>
                      </a:lnTo>
                      <a:lnTo>
                        <a:pt x="3447" y="6233"/>
                      </a:lnTo>
                      <a:lnTo>
                        <a:pt x="3853" y="6197"/>
                      </a:lnTo>
                      <a:lnTo>
                        <a:pt x="4038" y="6118"/>
                      </a:lnTo>
                      <a:lnTo>
                        <a:pt x="4082" y="5915"/>
                      </a:lnTo>
                      <a:lnTo>
                        <a:pt x="3950" y="5748"/>
                      </a:lnTo>
                      <a:lnTo>
                        <a:pt x="3905" y="5536"/>
                      </a:lnTo>
                      <a:lnTo>
                        <a:pt x="3932" y="5316"/>
                      </a:lnTo>
                      <a:lnTo>
                        <a:pt x="3914" y="5113"/>
                      </a:lnTo>
                      <a:lnTo>
                        <a:pt x="3914" y="4910"/>
                      </a:lnTo>
                      <a:lnTo>
                        <a:pt x="4020" y="4787"/>
                      </a:lnTo>
                      <a:lnTo>
                        <a:pt x="4487" y="4531"/>
                      </a:lnTo>
                      <a:lnTo>
                        <a:pt x="4628" y="4417"/>
                      </a:lnTo>
                      <a:lnTo>
                        <a:pt x="4655" y="4188"/>
                      </a:lnTo>
                      <a:lnTo>
                        <a:pt x="4549" y="4161"/>
                      </a:lnTo>
                      <a:lnTo>
                        <a:pt x="4417" y="4029"/>
                      </a:lnTo>
                      <a:lnTo>
                        <a:pt x="4293" y="3923"/>
                      </a:lnTo>
                      <a:lnTo>
                        <a:pt x="3747" y="3791"/>
                      </a:lnTo>
                      <a:lnTo>
                        <a:pt x="3615" y="3632"/>
                      </a:lnTo>
                      <a:lnTo>
                        <a:pt x="3606" y="3412"/>
                      </a:lnTo>
                      <a:lnTo>
                        <a:pt x="3632" y="3139"/>
                      </a:lnTo>
                      <a:lnTo>
                        <a:pt x="3650" y="3094"/>
                      </a:lnTo>
                      <a:lnTo>
                        <a:pt x="3694" y="3024"/>
                      </a:lnTo>
                      <a:lnTo>
                        <a:pt x="3835" y="2874"/>
                      </a:lnTo>
                      <a:lnTo>
                        <a:pt x="3923" y="2715"/>
                      </a:lnTo>
                      <a:lnTo>
                        <a:pt x="3861" y="2530"/>
                      </a:lnTo>
                      <a:lnTo>
                        <a:pt x="3923" y="2372"/>
                      </a:lnTo>
                      <a:lnTo>
                        <a:pt x="4064" y="2275"/>
                      </a:lnTo>
                      <a:lnTo>
                        <a:pt x="4205" y="2160"/>
                      </a:lnTo>
                      <a:lnTo>
                        <a:pt x="4320" y="2125"/>
                      </a:lnTo>
                      <a:lnTo>
                        <a:pt x="4408" y="2081"/>
                      </a:lnTo>
                      <a:lnTo>
                        <a:pt x="4426" y="1993"/>
                      </a:lnTo>
                      <a:lnTo>
                        <a:pt x="4461" y="1922"/>
                      </a:lnTo>
                      <a:lnTo>
                        <a:pt x="5016" y="1852"/>
                      </a:lnTo>
                      <a:lnTo>
                        <a:pt x="4928" y="1614"/>
                      </a:lnTo>
                      <a:lnTo>
                        <a:pt x="4893" y="1058"/>
                      </a:lnTo>
                      <a:lnTo>
                        <a:pt x="4902" y="750"/>
                      </a:lnTo>
                      <a:lnTo>
                        <a:pt x="503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3110;p54">
                  <a:extLst>
                    <a:ext uri="{FF2B5EF4-FFF2-40B4-BE49-F238E27FC236}">
                      <a16:creationId xmlns:a16="http://schemas.microsoft.com/office/drawing/2014/main" id="{9C8EE73F-3117-2A66-6F9E-85B26A4161A2}"/>
                    </a:ext>
                  </a:extLst>
                </p:cNvPr>
                <p:cNvSpPr/>
                <p:nvPr/>
              </p:nvSpPr>
              <p:spPr>
                <a:xfrm>
                  <a:off x="6008395" y="1658259"/>
                  <a:ext cx="485135" cy="354752"/>
                </a:xfrm>
                <a:custGeom>
                  <a:avLst/>
                  <a:gdLst/>
                  <a:ahLst/>
                  <a:cxnLst/>
                  <a:rect l="l" t="t" r="r" b="b"/>
                  <a:pathLst>
                    <a:path w="6824" h="4990" extrusionOk="0">
                      <a:moveTo>
                        <a:pt x="2160" y="0"/>
                      </a:moveTo>
                      <a:lnTo>
                        <a:pt x="2151" y="44"/>
                      </a:lnTo>
                      <a:lnTo>
                        <a:pt x="1905" y="370"/>
                      </a:lnTo>
                      <a:lnTo>
                        <a:pt x="1649" y="652"/>
                      </a:lnTo>
                      <a:lnTo>
                        <a:pt x="1446" y="1031"/>
                      </a:lnTo>
                      <a:lnTo>
                        <a:pt x="1085" y="1243"/>
                      </a:lnTo>
                      <a:lnTo>
                        <a:pt x="900" y="1446"/>
                      </a:lnTo>
                      <a:lnTo>
                        <a:pt x="829" y="1499"/>
                      </a:lnTo>
                      <a:lnTo>
                        <a:pt x="653" y="1596"/>
                      </a:lnTo>
                      <a:lnTo>
                        <a:pt x="477" y="1657"/>
                      </a:lnTo>
                      <a:lnTo>
                        <a:pt x="274" y="1675"/>
                      </a:lnTo>
                      <a:lnTo>
                        <a:pt x="186" y="1719"/>
                      </a:lnTo>
                      <a:lnTo>
                        <a:pt x="89" y="1754"/>
                      </a:lnTo>
                      <a:lnTo>
                        <a:pt x="0" y="1913"/>
                      </a:lnTo>
                      <a:lnTo>
                        <a:pt x="53" y="2089"/>
                      </a:lnTo>
                      <a:lnTo>
                        <a:pt x="115" y="2142"/>
                      </a:lnTo>
                      <a:lnTo>
                        <a:pt x="327" y="2186"/>
                      </a:lnTo>
                      <a:lnTo>
                        <a:pt x="582" y="2345"/>
                      </a:lnTo>
                      <a:lnTo>
                        <a:pt x="970" y="2477"/>
                      </a:lnTo>
                      <a:lnTo>
                        <a:pt x="1208" y="2627"/>
                      </a:lnTo>
                      <a:lnTo>
                        <a:pt x="1517" y="2750"/>
                      </a:lnTo>
                      <a:lnTo>
                        <a:pt x="1843" y="2786"/>
                      </a:lnTo>
                      <a:lnTo>
                        <a:pt x="2160" y="2733"/>
                      </a:lnTo>
                      <a:lnTo>
                        <a:pt x="2469" y="2759"/>
                      </a:lnTo>
                      <a:lnTo>
                        <a:pt x="3535" y="3508"/>
                      </a:lnTo>
                      <a:lnTo>
                        <a:pt x="4161" y="3544"/>
                      </a:lnTo>
                      <a:lnTo>
                        <a:pt x="4311" y="3843"/>
                      </a:lnTo>
                      <a:lnTo>
                        <a:pt x="4399" y="4205"/>
                      </a:lnTo>
                      <a:lnTo>
                        <a:pt x="4655" y="4707"/>
                      </a:lnTo>
                      <a:lnTo>
                        <a:pt x="5007" y="4989"/>
                      </a:lnTo>
                      <a:lnTo>
                        <a:pt x="5175" y="4972"/>
                      </a:lnTo>
                      <a:lnTo>
                        <a:pt x="5307" y="4866"/>
                      </a:lnTo>
                      <a:lnTo>
                        <a:pt x="5448" y="4672"/>
                      </a:lnTo>
                      <a:lnTo>
                        <a:pt x="5616" y="4557"/>
                      </a:lnTo>
                      <a:lnTo>
                        <a:pt x="6003" y="4566"/>
                      </a:lnTo>
                      <a:lnTo>
                        <a:pt x="6100" y="4504"/>
                      </a:lnTo>
                      <a:lnTo>
                        <a:pt x="6118" y="4408"/>
                      </a:lnTo>
                      <a:lnTo>
                        <a:pt x="6065" y="4337"/>
                      </a:lnTo>
                      <a:lnTo>
                        <a:pt x="6083" y="4161"/>
                      </a:lnTo>
                      <a:lnTo>
                        <a:pt x="6127" y="4081"/>
                      </a:lnTo>
                      <a:lnTo>
                        <a:pt x="6321" y="4037"/>
                      </a:lnTo>
                      <a:lnTo>
                        <a:pt x="6532" y="4020"/>
                      </a:lnTo>
                      <a:lnTo>
                        <a:pt x="6691" y="3949"/>
                      </a:lnTo>
                      <a:lnTo>
                        <a:pt x="6823" y="3826"/>
                      </a:lnTo>
                      <a:lnTo>
                        <a:pt x="6382" y="3323"/>
                      </a:lnTo>
                      <a:lnTo>
                        <a:pt x="6400" y="3165"/>
                      </a:lnTo>
                      <a:lnTo>
                        <a:pt x="6462" y="3050"/>
                      </a:lnTo>
                      <a:lnTo>
                        <a:pt x="6479" y="2838"/>
                      </a:lnTo>
                      <a:lnTo>
                        <a:pt x="6462" y="2636"/>
                      </a:lnTo>
                      <a:lnTo>
                        <a:pt x="6488" y="2424"/>
                      </a:lnTo>
                      <a:lnTo>
                        <a:pt x="6462" y="2221"/>
                      </a:lnTo>
                      <a:lnTo>
                        <a:pt x="6382" y="2045"/>
                      </a:lnTo>
                      <a:lnTo>
                        <a:pt x="6382" y="1851"/>
                      </a:lnTo>
                      <a:lnTo>
                        <a:pt x="6462" y="1701"/>
                      </a:lnTo>
                      <a:lnTo>
                        <a:pt x="6559" y="1587"/>
                      </a:lnTo>
                      <a:lnTo>
                        <a:pt x="6629" y="1402"/>
                      </a:lnTo>
                      <a:lnTo>
                        <a:pt x="6620" y="1190"/>
                      </a:lnTo>
                      <a:lnTo>
                        <a:pt x="6620" y="1164"/>
                      </a:lnTo>
                      <a:lnTo>
                        <a:pt x="6568" y="1155"/>
                      </a:lnTo>
                      <a:lnTo>
                        <a:pt x="6003" y="970"/>
                      </a:lnTo>
                      <a:lnTo>
                        <a:pt x="5792" y="934"/>
                      </a:lnTo>
                      <a:lnTo>
                        <a:pt x="5607" y="1014"/>
                      </a:lnTo>
                      <a:lnTo>
                        <a:pt x="5527" y="873"/>
                      </a:lnTo>
                      <a:lnTo>
                        <a:pt x="5475" y="811"/>
                      </a:lnTo>
                      <a:lnTo>
                        <a:pt x="5413" y="758"/>
                      </a:lnTo>
                      <a:lnTo>
                        <a:pt x="5175" y="644"/>
                      </a:lnTo>
                      <a:lnTo>
                        <a:pt x="5096" y="538"/>
                      </a:lnTo>
                      <a:lnTo>
                        <a:pt x="5087" y="150"/>
                      </a:lnTo>
                      <a:lnTo>
                        <a:pt x="4972" y="176"/>
                      </a:lnTo>
                      <a:lnTo>
                        <a:pt x="4937" y="132"/>
                      </a:lnTo>
                      <a:lnTo>
                        <a:pt x="4858" y="203"/>
                      </a:lnTo>
                      <a:lnTo>
                        <a:pt x="4769" y="203"/>
                      </a:lnTo>
                      <a:lnTo>
                        <a:pt x="4690" y="141"/>
                      </a:lnTo>
                      <a:lnTo>
                        <a:pt x="4655" y="44"/>
                      </a:lnTo>
                      <a:lnTo>
                        <a:pt x="4567" y="97"/>
                      </a:lnTo>
                      <a:lnTo>
                        <a:pt x="4487" y="185"/>
                      </a:lnTo>
                      <a:lnTo>
                        <a:pt x="4426" y="282"/>
                      </a:lnTo>
                      <a:lnTo>
                        <a:pt x="4364" y="379"/>
                      </a:lnTo>
                      <a:lnTo>
                        <a:pt x="4302" y="547"/>
                      </a:lnTo>
                      <a:lnTo>
                        <a:pt x="4276" y="599"/>
                      </a:lnTo>
                      <a:lnTo>
                        <a:pt x="4240" y="626"/>
                      </a:lnTo>
                      <a:lnTo>
                        <a:pt x="4170" y="644"/>
                      </a:lnTo>
                      <a:lnTo>
                        <a:pt x="4144" y="679"/>
                      </a:lnTo>
                      <a:lnTo>
                        <a:pt x="4073" y="661"/>
                      </a:lnTo>
                      <a:lnTo>
                        <a:pt x="3888" y="679"/>
                      </a:lnTo>
                      <a:lnTo>
                        <a:pt x="3791" y="644"/>
                      </a:lnTo>
                      <a:lnTo>
                        <a:pt x="3685" y="520"/>
                      </a:lnTo>
                      <a:lnTo>
                        <a:pt x="3667" y="494"/>
                      </a:lnTo>
                      <a:lnTo>
                        <a:pt x="3474" y="432"/>
                      </a:lnTo>
                      <a:lnTo>
                        <a:pt x="3394" y="370"/>
                      </a:lnTo>
                      <a:lnTo>
                        <a:pt x="3288" y="238"/>
                      </a:lnTo>
                      <a:lnTo>
                        <a:pt x="3209" y="212"/>
                      </a:lnTo>
                      <a:lnTo>
                        <a:pt x="3095" y="203"/>
                      </a:lnTo>
                      <a:lnTo>
                        <a:pt x="2998" y="176"/>
                      </a:lnTo>
                      <a:lnTo>
                        <a:pt x="2945" y="141"/>
                      </a:lnTo>
                      <a:lnTo>
                        <a:pt x="2839" y="44"/>
                      </a:lnTo>
                      <a:lnTo>
                        <a:pt x="2671"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3" name="Google Shape;3111;p54">
                  <a:extLst>
                    <a:ext uri="{FF2B5EF4-FFF2-40B4-BE49-F238E27FC236}">
                      <a16:creationId xmlns:a16="http://schemas.microsoft.com/office/drawing/2014/main" id="{D5766B5E-4203-9D6A-3582-4237314E5BB3}"/>
                    </a:ext>
                  </a:extLst>
                </p:cNvPr>
                <p:cNvSpPr/>
                <p:nvPr/>
              </p:nvSpPr>
              <p:spPr>
                <a:xfrm>
                  <a:off x="5414894" y="1399402"/>
                  <a:ext cx="747111" cy="389871"/>
                </a:xfrm>
                <a:custGeom>
                  <a:avLst/>
                  <a:gdLst/>
                  <a:ahLst/>
                  <a:cxnLst/>
                  <a:rect l="l" t="t" r="r" b="b"/>
                  <a:pathLst>
                    <a:path w="10509" h="5484" extrusionOk="0">
                      <a:moveTo>
                        <a:pt x="4964" y="0"/>
                      </a:moveTo>
                      <a:lnTo>
                        <a:pt x="4858" y="18"/>
                      </a:lnTo>
                      <a:lnTo>
                        <a:pt x="4673" y="177"/>
                      </a:lnTo>
                      <a:lnTo>
                        <a:pt x="4558" y="212"/>
                      </a:lnTo>
                      <a:lnTo>
                        <a:pt x="4443" y="230"/>
                      </a:lnTo>
                      <a:lnTo>
                        <a:pt x="3959" y="441"/>
                      </a:lnTo>
                      <a:lnTo>
                        <a:pt x="3668" y="485"/>
                      </a:lnTo>
                      <a:lnTo>
                        <a:pt x="3491" y="600"/>
                      </a:lnTo>
                      <a:lnTo>
                        <a:pt x="3395" y="644"/>
                      </a:lnTo>
                      <a:lnTo>
                        <a:pt x="3201" y="662"/>
                      </a:lnTo>
                      <a:lnTo>
                        <a:pt x="2980" y="626"/>
                      </a:lnTo>
                      <a:lnTo>
                        <a:pt x="2839" y="582"/>
                      </a:lnTo>
                      <a:lnTo>
                        <a:pt x="2663" y="1005"/>
                      </a:lnTo>
                      <a:lnTo>
                        <a:pt x="2636" y="1314"/>
                      </a:lnTo>
                      <a:lnTo>
                        <a:pt x="2716" y="1614"/>
                      </a:lnTo>
                      <a:lnTo>
                        <a:pt x="2725" y="1799"/>
                      </a:lnTo>
                      <a:lnTo>
                        <a:pt x="2707" y="1975"/>
                      </a:lnTo>
                      <a:lnTo>
                        <a:pt x="2733" y="2116"/>
                      </a:lnTo>
                      <a:lnTo>
                        <a:pt x="2795" y="2248"/>
                      </a:lnTo>
                      <a:lnTo>
                        <a:pt x="2830" y="2425"/>
                      </a:lnTo>
                      <a:lnTo>
                        <a:pt x="2866" y="2795"/>
                      </a:lnTo>
                      <a:lnTo>
                        <a:pt x="2769" y="2865"/>
                      </a:lnTo>
                      <a:lnTo>
                        <a:pt x="2531" y="2804"/>
                      </a:lnTo>
                      <a:lnTo>
                        <a:pt x="2443" y="2839"/>
                      </a:lnTo>
                      <a:lnTo>
                        <a:pt x="2443" y="2848"/>
                      </a:lnTo>
                      <a:lnTo>
                        <a:pt x="2301" y="2945"/>
                      </a:lnTo>
                      <a:lnTo>
                        <a:pt x="2099" y="2980"/>
                      </a:lnTo>
                      <a:lnTo>
                        <a:pt x="1896" y="2953"/>
                      </a:lnTo>
                      <a:lnTo>
                        <a:pt x="1755" y="2874"/>
                      </a:lnTo>
                      <a:lnTo>
                        <a:pt x="1676" y="2786"/>
                      </a:lnTo>
                      <a:lnTo>
                        <a:pt x="1632" y="2768"/>
                      </a:lnTo>
                      <a:lnTo>
                        <a:pt x="1420" y="2742"/>
                      </a:lnTo>
                      <a:lnTo>
                        <a:pt x="1376" y="2707"/>
                      </a:lnTo>
                      <a:lnTo>
                        <a:pt x="1429" y="2627"/>
                      </a:lnTo>
                      <a:lnTo>
                        <a:pt x="1279" y="2557"/>
                      </a:lnTo>
                      <a:lnTo>
                        <a:pt x="1208" y="2504"/>
                      </a:lnTo>
                      <a:lnTo>
                        <a:pt x="1173" y="2442"/>
                      </a:lnTo>
                      <a:lnTo>
                        <a:pt x="1164" y="2336"/>
                      </a:lnTo>
                      <a:lnTo>
                        <a:pt x="1138" y="2222"/>
                      </a:lnTo>
                      <a:lnTo>
                        <a:pt x="1094" y="2134"/>
                      </a:lnTo>
                      <a:lnTo>
                        <a:pt x="1050" y="2081"/>
                      </a:lnTo>
                      <a:lnTo>
                        <a:pt x="997" y="2169"/>
                      </a:lnTo>
                      <a:lnTo>
                        <a:pt x="882" y="2239"/>
                      </a:lnTo>
                      <a:lnTo>
                        <a:pt x="635" y="2336"/>
                      </a:lnTo>
                      <a:lnTo>
                        <a:pt x="486" y="2486"/>
                      </a:lnTo>
                      <a:lnTo>
                        <a:pt x="424" y="2513"/>
                      </a:lnTo>
                      <a:lnTo>
                        <a:pt x="309" y="2513"/>
                      </a:lnTo>
                      <a:lnTo>
                        <a:pt x="265" y="2539"/>
                      </a:lnTo>
                      <a:lnTo>
                        <a:pt x="221" y="2592"/>
                      </a:lnTo>
                      <a:lnTo>
                        <a:pt x="256" y="2698"/>
                      </a:lnTo>
                      <a:lnTo>
                        <a:pt x="186" y="2777"/>
                      </a:lnTo>
                      <a:lnTo>
                        <a:pt x="80" y="2830"/>
                      </a:lnTo>
                      <a:lnTo>
                        <a:pt x="1" y="2883"/>
                      </a:lnTo>
                      <a:lnTo>
                        <a:pt x="239" y="3315"/>
                      </a:lnTo>
                      <a:lnTo>
                        <a:pt x="300" y="3544"/>
                      </a:lnTo>
                      <a:lnTo>
                        <a:pt x="336" y="3782"/>
                      </a:lnTo>
                      <a:lnTo>
                        <a:pt x="406" y="4011"/>
                      </a:lnTo>
                      <a:lnTo>
                        <a:pt x="759" y="3967"/>
                      </a:lnTo>
                      <a:lnTo>
                        <a:pt x="935" y="4011"/>
                      </a:lnTo>
                      <a:lnTo>
                        <a:pt x="2381" y="4417"/>
                      </a:lnTo>
                      <a:lnTo>
                        <a:pt x="2663" y="4364"/>
                      </a:lnTo>
                      <a:lnTo>
                        <a:pt x="2813" y="4452"/>
                      </a:lnTo>
                      <a:lnTo>
                        <a:pt x="3483" y="4972"/>
                      </a:lnTo>
                      <a:lnTo>
                        <a:pt x="3641" y="5245"/>
                      </a:lnTo>
                      <a:lnTo>
                        <a:pt x="3800" y="5289"/>
                      </a:lnTo>
                      <a:lnTo>
                        <a:pt x="4153" y="5263"/>
                      </a:lnTo>
                      <a:lnTo>
                        <a:pt x="4329" y="5298"/>
                      </a:lnTo>
                      <a:lnTo>
                        <a:pt x="4946" y="5307"/>
                      </a:lnTo>
                      <a:lnTo>
                        <a:pt x="5307" y="5483"/>
                      </a:lnTo>
                      <a:lnTo>
                        <a:pt x="5501" y="5439"/>
                      </a:lnTo>
                      <a:lnTo>
                        <a:pt x="5669" y="5289"/>
                      </a:lnTo>
                      <a:lnTo>
                        <a:pt x="5880" y="5157"/>
                      </a:lnTo>
                      <a:lnTo>
                        <a:pt x="6021" y="4902"/>
                      </a:lnTo>
                      <a:lnTo>
                        <a:pt x="6101" y="4619"/>
                      </a:lnTo>
                      <a:lnTo>
                        <a:pt x="6286" y="4505"/>
                      </a:lnTo>
                      <a:lnTo>
                        <a:pt x="6453" y="4567"/>
                      </a:lnTo>
                      <a:lnTo>
                        <a:pt x="6586" y="4708"/>
                      </a:lnTo>
                      <a:lnTo>
                        <a:pt x="6647" y="4849"/>
                      </a:lnTo>
                      <a:lnTo>
                        <a:pt x="6718" y="4981"/>
                      </a:lnTo>
                      <a:lnTo>
                        <a:pt x="7220" y="5342"/>
                      </a:lnTo>
                      <a:lnTo>
                        <a:pt x="7723" y="5219"/>
                      </a:lnTo>
                      <a:lnTo>
                        <a:pt x="7881" y="5148"/>
                      </a:lnTo>
                      <a:lnTo>
                        <a:pt x="7917" y="5104"/>
                      </a:lnTo>
                      <a:lnTo>
                        <a:pt x="7943" y="5122"/>
                      </a:lnTo>
                      <a:lnTo>
                        <a:pt x="8190" y="5131"/>
                      </a:lnTo>
                      <a:lnTo>
                        <a:pt x="8348" y="5245"/>
                      </a:lnTo>
                      <a:lnTo>
                        <a:pt x="8437" y="5395"/>
                      </a:lnTo>
                      <a:lnTo>
                        <a:pt x="8534" y="5360"/>
                      </a:lnTo>
                      <a:lnTo>
                        <a:pt x="8622" y="5316"/>
                      </a:lnTo>
                      <a:lnTo>
                        <a:pt x="8825" y="5298"/>
                      </a:lnTo>
                      <a:lnTo>
                        <a:pt x="9001" y="5237"/>
                      </a:lnTo>
                      <a:lnTo>
                        <a:pt x="9177" y="5140"/>
                      </a:lnTo>
                      <a:lnTo>
                        <a:pt x="9248" y="5087"/>
                      </a:lnTo>
                      <a:lnTo>
                        <a:pt x="9433" y="4884"/>
                      </a:lnTo>
                      <a:lnTo>
                        <a:pt x="9794" y="4672"/>
                      </a:lnTo>
                      <a:lnTo>
                        <a:pt x="9997" y="4293"/>
                      </a:lnTo>
                      <a:lnTo>
                        <a:pt x="10253" y="4011"/>
                      </a:lnTo>
                      <a:lnTo>
                        <a:pt x="10499" y="3685"/>
                      </a:lnTo>
                      <a:lnTo>
                        <a:pt x="10508" y="3641"/>
                      </a:lnTo>
                      <a:lnTo>
                        <a:pt x="10429" y="3650"/>
                      </a:lnTo>
                      <a:lnTo>
                        <a:pt x="10341" y="3606"/>
                      </a:lnTo>
                      <a:lnTo>
                        <a:pt x="10156" y="3500"/>
                      </a:lnTo>
                      <a:lnTo>
                        <a:pt x="10059" y="3474"/>
                      </a:lnTo>
                      <a:lnTo>
                        <a:pt x="9988" y="3429"/>
                      </a:lnTo>
                      <a:lnTo>
                        <a:pt x="9953" y="3324"/>
                      </a:lnTo>
                      <a:lnTo>
                        <a:pt x="9944" y="3050"/>
                      </a:lnTo>
                      <a:lnTo>
                        <a:pt x="9873" y="2856"/>
                      </a:lnTo>
                      <a:lnTo>
                        <a:pt x="9732" y="2733"/>
                      </a:lnTo>
                      <a:lnTo>
                        <a:pt x="9045" y="2389"/>
                      </a:lnTo>
                      <a:lnTo>
                        <a:pt x="8675" y="2292"/>
                      </a:lnTo>
                      <a:lnTo>
                        <a:pt x="8278" y="2292"/>
                      </a:lnTo>
                      <a:lnTo>
                        <a:pt x="8181" y="2275"/>
                      </a:lnTo>
                      <a:lnTo>
                        <a:pt x="8102" y="2239"/>
                      </a:lnTo>
                      <a:lnTo>
                        <a:pt x="8040" y="2239"/>
                      </a:lnTo>
                      <a:lnTo>
                        <a:pt x="7978" y="2292"/>
                      </a:lnTo>
                      <a:lnTo>
                        <a:pt x="7987" y="2301"/>
                      </a:lnTo>
                      <a:lnTo>
                        <a:pt x="7952" y="2433"/>
                      </a:lnTo>
                      <a:lnTo>
                        <a:pt x="7943" y="2442"/>
                      </a:lnTo>
                      <a:lnTo>
                        <a:pt x="7925" y="2477"/>
                      </a:lnTo>
                      <a:lnTo>
                        <a:pt x="7864" y="2592"/>
                      </a:lnTo>
                      <a:lnTo>
                        <a:pt x="7846" y="2654"/>
                      </a:lnTo>
                      <a:lnTo>
                        <a:pt x="7811" y="2715"/>
                      </a:lnTo>
                      <a:lnTo>
                        <a:pt x="7564" y="2927"/>
                      </a:lnTo>
                      <a:lnTo>
                        <a:pt x="7370" y="3042"/>
                      </a:lnTo>
                      <a:lnTo>
                        <a:pt x="7255" y="3068"/>
                      </a:lnTo>
                      <a:lnTo>
                        <a:pt x="7167" y="3033"/>
                      </a:lnTo>
                      <a:lnTo>
                        <a:pt x="7123" y="2998"/>
                      </a:lnTo>
                      <a:lnTo>
                        <a:pt x="7044" y="2989"/>
                      </a:lnTo>
                      <a:lnTo>
                        <a:pt x="6991" y="2971"/>
                      </a:lnTo>
                      <a:lnTo>
                        <a:pt x="6973" y="2945"/>
                      </a:lnTo>
                      <a:lnTo>
                        <a:pt x="6920" y="2874"/>
                      </a:lnTo>
                      <a:lnTo>
                        <a:pt x="6903" y="2839"/>
                      </a:lnTo>
                      <a:lnTo>
                        <a:pt x="6850" y="2812"/>
                      </a:lnTo>
                      <a:lnTo>
                        <a:pt x="6797" y="2804"/>
                      </a:lnTo>
                      <a:lnTo>
                        <a:pt x="6753" y="2768"/>
                      </a:lnTo>
                      <a:lnTo>
                        <a:pt x="6744" y="2698"/>
                      </a:lnTo>
                      <a:lnTo>
                        <a:pt x="6735" y="2636"/>
                      </a:lnTo>
                      <a:lnTo>
                        <a:pt x="6727" y="2583"/>
                      </a:lnTo>
                      <a:lnTo>
                        <a:pt x="6700" y="2557"/>
                      </a:lnTo>
                      <a:lnTo>
                        <a:pt x="6568" y="2522"/>
                      </a:lnTo>
                      <a:lnTo>
                        <a:pt x="6339" y="2398"/>
                      </a:lnTo>
                      <a:lnTo>
                        <a:pt x="6259" y="2336"/>
                      </a:lnTo>
                      <a:lnTo>
                        <a:pt x="6110" y="2046"/>
                      </a:lnTo>
                      <a:lnTo>
                        <a:pt x="5995" y="1957"/>
                      </a:lnTo>
                      <a:lnTo>
                        <a:pt x="5783" y="1702"/>
                      </a:lnTo>
                      <a:lnTo>
                        <a:pt x="5739" y="1596"/>
                      </a:lnTo>
                      <a:lnTo>
                        <a:pt x="5722" y="1499"/>
                      </a:lnTo>
                      <a:lnTo>
                        <a:pt x="5722" y="1296"/>
                      </a:lnTo>
                      <a:lnTo>
                        <a:pt x="5730" y="1270"/>
                      </a:lnTo>
                      <a:lnTo>
                        <a:pt x="5766" y="1164"/>
                      </a:lnTo>
                      <a:lnTo>
                        <a:pt x="5783" y="1102"/>
                      </a:lnTo>
                      <a:lnTo>
                        <a:pt x="5783" y="847"/>
                      </a:lnTo>
                      <a:lnTo>
                        <a:pt x="5722" y="670"/>
                      </a:lnTo>
                      <a:lnTo>
                        <a:pt x="5369" y="212"/>
                      </a:lnTo>
                      <a:lnTo>
                        <a:pt x="5334" y="212"/>
                      </a:lnTo>
                      <a:lnTo>
                        <a:pt x="5334" y="300"/>
                      </a:lnTo>
                      <a:lnTo>
                        <a:pt x="5061" y="36"/>
                      </a:lnTo>
                      <a:lnTo>
                        <a:pt x="5034" y="45"/>
                      </a:lnTo>
                      <a:lnTo>
                        <a:pt x="4990" y="89"/>
                      </a:lnTo>
                      <a:lnTo>
                        <a:pt x="4920" y="159"/>
                      </a:lnTo>
                      <a:lnTo>
                        <a:pt x="4858" y="274"/>
                      </a:lnTo>
                      <a:lnTo>
                        <a:pt x="4814" y="406"/>
                      </a:lnTo>
                      <a:lnTo>
                        <a:pt x="4805" y="556"/>
                      </a:lnTo>
                      <a:lnTo>
                        <a:pt x="4770" y="556"/>
                      </a:lnTo>
                      <a:lnTo>
                        <a:pt x="4752" y="450"/>
                      </a:lnTo>
                      <a:lnTo>
                        <a:pt x="4840" y="256"/>
                      </a:lnTo>
                      <a:lnTo>
                        <a:pt x="4831" y="168"/>
                      </a:lnTo>
                      <a:lnTo>
                        <a:pt x="4875" y="150"/>
                      </a:lnTo>
                      <a:lnTo>
                        <a:pt x="4911" y="115"/>
                      </a:lnTo>
                      <a:lnTo>
                        <a:pt x="4937" y="80"/>
                      </a:lnTo>
                      <a:lnTo>
                        <a:pt x="4964" y="36"/>
                      </a:lnTo>
                      <a:lnTo>
                        <a:pt x="496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3112;p54">
                  <a:extLst>
                    <a:ext uri="{FF2B5EF4-FFF2-40B4-BE49-F238E27FC236}">
                      <a16:creationId xmlns:a16="http://schemas.microsoft.com/office/drawing/2014/main" id="{7A6E7856-3663-78EA-1544-2C5645D9AC84}"/>
                    </a:ext>
                  </a:extLst>
                </p:cNvPr>
                <p:cNvSpPr/>
                <p:nvPr/>
              </p:nvSpPr>
              <p:spPr>
                <a:xfrm>
                  <a:off x="5168621" y="1238301"/>
                  <a:ext cx="450015" cy="396198"/>
                </a:xfrm>
                <a:custGeom>
                  <a:avLst/>
                  <a:gdLst/>
                  <a:ahLst/>
                  <a:cxnLst/>
                  <a:rect l="l" t="t" r="r" b="b"/>
                  <a:pathLst>
                    <a:path w="6330" h="5573" extrusionOk="0">
                      <a:moveTo>
                        <a:pt x="3747" y="1"/>
                      </a:moveTo>
                      <a:lnTo>
                        <a:pt x="3720" y="186"/>
                      </a:lnTo>
                      <a:lnTo>
                        <a:pt x="3606" y="398"/>
                      </a:lnTo>
                      <a:lnTo>
                        <a:pt x="3474" y="574"/>
                      </a:lnTo>
                      <a:lnTo>
                        <a:pt x="3306" y="671"/>
                      </a:lnTo>
                      <a:lnTo>
                        <a:pt x="3130" y="812"/>
                      </a:lnTo>
                      <a:lnTo>
                        <a:pt x="3050" y="856"/>
                      </a:lnTo>
                      <a:lnTo>
                        <a:pt x="2812" y="927"/>
                      </a:lnTo>
                      <a:lnTo>
                        <a:pt x="2566" y="953"/>
                      </a:lnTo>
                      <a:lnTo>
                        <a:pt x="1957" y="918"/>
                      </a:lnTo>
                      <a:lnTo>
                        <a:pt x="1790" y="865"/>
                      </a:lnTo>
                      <a:lnTo>
                        <a:pt x="1658" y="794"/>
                      </a:lnTo>
                      <a:lnTo>
                        <a:pt x="1587" y="777"/>
                      </a:lnTo>
                      <a:lnTo>
                        <a:pt x="1411" y="786"/>
                      </a:lnTo>
                      <a:lnTo>
                        <a:pt x="882" y="944"/>
                      </a:lnTo>
                      <a:lnTo>
                        <a:pt x="353" y="865"/>
                      </a:lnTo>
                      <a:lnTo>
                        <a:pt x="371" y="1217"/>
                      </a:lnTo>
                      <a:lnTo>
                        <a:pt x="239" y="1588"/>
                      </a:lnTo>
                      <a:lnTo>
                        <a:pt x="9" y="1861"/>
                      </a:lnTo>
                      <a:lnTo>
                        <a:pt x="1" y="2072"/>
                      </a:lnTo>
                      <a:lnTo>
                        <a:pt x="300" y="2187"/>
                      </a:lnTo>
                      <a:lnTo>
                        <a:pt x="468" y="2187"/>
                      </a:lnTo>
                      <a:lnTo>
                        <a:pt x="670" y="2205"/>
                      </a:lnTo>
                      <a:lnTo>
                        <a:pt x="944" y="2284"/>
                      </a:lnTo>
                      <a:lnTo>
                        <a:pt x="1508" y="2319"/>
                      </a:lnTo>
                      <a:lnTo>
                        <a:pt x="1816" y="2407"/>
                      </a:lnTo>
                      <a:lnTo>
                        <a:pt x="2072" y="2751"/>
                      </a:lnTo>
                      <a:lnTo>
                        <a:pt x="1913" y="3166"/>
                      </a:lnTo>
                      <a:lnTo>
                        <a:pt x="1764" y="3271"/>
                      </a:lnTo>
                      <a:lnTo>
                        <a:pt x="1631" y="3404"/>
                      </a:lnTo>
                      <a:lnTo>
                        <a:pt x="1534" y="3615"/>
                      </a:lnTo>
                      <a:lnTo>
                        <a:pt x="1499" y="3853"/>
                      </a:lnTo>
                      <a:lnTo>
                        <a:pt x="1526" y="3968"/>
                      </a:lnTo>
                      <a:lnTo>
                        <a:pt x="1570" y="4091"/>
                      </a:lnTo>
                      <a:lnTo>
                        <a:pt x="1534" y="4902"/>
                      </a:lnTo>
                      <a:lnTo>
                        <a:pt x="1658" y="5052"/>
                      </a:lnTo>
                      <a:lnTo>
                        <a:pt x="1834" y="5043"/>
                      </a:lnTo>
                      <a:lnTo>
                        <a:pt x="1931" y="5061"/>
                      </a:lnTo>
                      <a:lnTo>
                        <a:pt x="2010" y="5149"/>
                      </a:lnTo>
                      <a:lnTo>
                        <a:pt x="2169" y="5175"/>
                      </a:lnTo>
                      <a:lnTo>
                        <a:pt x="2319" y="5140"/>
                      </a:lnTo>
                      <a:lnTo>
                        <a:pt x="2460" y="5175"/>
                      </a:lnTo>
                      <a:lnTo>
                        <a:pt x="2574" y="5255"/>
                      </a:lnTo>
                      <a:lnTo>
                        <a:pt x="2627" y="5352"/>
                      </a:lnTo>
                      <a:lnTo>
                        <a:pt x="2707" y="5405"/>
                      </a:lnTo>
                      <a:lnTo>
                        <a:pt x="3236" y="5572"/>
                      </a:lnTo>
                      <a:lnTo>
                        <a:pt x="3333" y="5457"/>
                      </a:lnTo>
                      <a:lnTo>
                        <a:pt x="3412" y="5378"/>
                      </a:lnTo>
                      <a:lnTo>
                        <a:pt x="3430" y="5343"/>
                      </a:lnTo>
                      <a:lnTo>
                        <a:pt x="3447" y="5299"/>
                      </a:lnTo>
                      <a:lnTo>
                        <a:pt x="3456" y="5193"/>
                      </a:lnTo>
                      <a:lnTo>
                        <a:pt x="3465" y="5149"/>
                      </a:lnTo>
                      <a:lnTo>
                        <a:pt x="3544" y="5096"/>
                      </a:lnTo>
                      <a:lnTo>
                        <a:pt x="3650" y="5043"/>
                      </a:lnTo>
                      <a:lnTo>
                        <a:pt x="3720" y="4964"/>
                      </a:lnTo>
                      <a:lnTo>
                        <a:pt x="3685" y="4858"/>
                      </a:lnTo>
                      <a:lnTo>
                        <a:pt x="3729" y="4805"/>
                      </a:lnTo>
                      <a:lnTo>
                        <a:pt x="3773" y="4779"/>
                      </a:lnTo>
                      <a:lnTo>
                        <a:pt x="3888" y="4779"/>
                      </a:lnTo>
                      <a:lnTo>
                        <a:pt x="3950" y="4752"/>
                      </a:lnTo>
                      <a:lnTo>
                        <a:pt x="4099" y="4602"/>
                      </a:lnTo>
                      <a:lnTo>
                        <a:pt x="4346" y="4505"/>
                      </a:lnTo>
                      <a:lnTo>
                        <a:pt x="4461" y="4435"/>
                      </a:lnTo>
                      <a:lnTo>
                        <a:pt x="4514" y="4347"/>
                      </a:lnTo>
                      <a:lnTo>
                        <a:pt x="4558" y="4400"/>
                      </a:lnTo>
                      <a:lnTo>
                        <a:pt x="4602" y="4488"/>
                      </a:lnTo>
                      <a:lnTo>
                        <a:pt x="4628" y="4602"/>
                      </a:lnTo>
                      <a:lnTo>
                        <a:pt x="4637" y="4708"/>
                      </a:lnTo>
                      <a:lnTo>
                        <a:pt x="4672" y="4770"/>
                      </a:lnTo>
                      <a:lnTo>
                        <a:pt x="4743" y="4823"/>
                      </a:lnTo>
                      <a:lnTo>
                        <a:pt x="4893" y="4893"/>
                      </a:lnTo>
                      <a:lnTo>
                        <a:pt x="4840" y="4973"/>
                      </a:lnTo>
                      <a:lnTo>
                        <a:pt x="4884" y="5008"/>
                      </a:lnTo>
                      <a:lnTo>
                        <a:pt x="5096" y="5034"/>
                      </a:lnTo>
                      <a:lnTo>
                        <a:pt x="5140" y="5052"/>
                      </a:lnTo>
                      <a:lnTo>
                        <a:pt x="5219" y="5140"/>
                      </a:lnTo>
                      <a:lnTo>
                        <a:pt x="5360" y="5219"/>
                      </a:lnTo>
                      <a:lnTo>
                        <a:pt x="5563" y="5246"/>
                      </a:lnTo>
                      <a:lnTo>
                        <a:pt x="5765" y="5211"/>
                      </a:lnTo>
                      <a:lnTo>
                        <a:pt x="5907" y="5114"/>
                      </a:lnTo>
                      <a:lnTo>
                        <a:pt x="5907" y="5105"/>
                      </a:lnTo>
                      <a:lnTo>
                        <a:pt x="5995" y="5070"/>
                      </a:lnTo>
                      <a:lnTo>
                        <a:pt x="6233" y="5131"/>
                      </a:lnTo>
                      <a:lnTo>
                        <a:pt x="6330" y="5061"/>
                      </a:lnTo>
                      <a:lnTo>
                        <a:pt x="6294" y="4691"/>
                      </a:lnTo>
                      <a:lnTo>
                        <a:pt x="6259" y="4514"/>
                      </a:lnTo>
                      <a:lnTo>
                        <a:pt x="6197" y="4382"/>
                      </a:lnTo>
                      <a:lnTo>
                        <a:pt x="6171" y="4241"/>
                      </a:lnTo>
                      <a:lnTo>
                        <a:pt x="6189" y="4065"/>
                      </a:lnTo>
                      <a:lnTo>
                        <a:pt x="6180" y="3880"/>
                      </a:lnTo>
                      <a:lnTo>
                        <a:pt x="6100" y="3580"/>
                      </a:lnTo>
                      <a:lnTo>
                        <a:pt x="6127" y="3271"/>
                      </a:lnTo>
                      <a:lnTo>
                        <a:pt x="6303" y="2848"/>
                      </a:lnTo>
                      <a:lnTo>
                        <a:pt x="6241" y="2831"/>
                      </a:lnTo>
                      <a:lnTo>
                        <a:pt x="6074" y="2734"/>
                      </a:lnTo>
                      <a:lnTo>
                        <a:pt x="5924" y="2593"/>
                      </a:lnTo>
                      <a:lnTo>
                        <a:pt x="5845" y="2540"/>
                      </a:lnTo>
                      <a:lnTo>
                        <a:pt x="5642" y="2504"/>
                      </a:lnTo>
                      <a:lnTo>
                        <a:pt x="5369" y="2390"/>
                      </a:lnTo>
                      <a:lnTo>
                        <a:pt x="5298" y="2337"/>
                      </a:lnTo>
                      <a:lnTo>
                        <a:pt x="5166" y="2169"/>
                      </a:lnTo>
                      <a:lnTo>
                        <a:pt x="5025" y="2108"/>
                      </a:lnTo>
                      <a:lnTo>
                        <a:pt x="4972" y="2020"/>
                      </a:lnTo>
                      <a:lnTo>
                        <a:pt x="4919" y="1923"/>
                      </a:lnTo>
                      <a:lnTo>
                        <a:pt x="4893" y="1834"/>
                      </a:lnTo>
                      <a:lnTo>
                        <a:pt x="4955" y="1834"/>
                      </a:lnTo>
                      <a:lnTo>
                        <a:pt x="4955" y="1799"/>
                      </a:lnTo>
                      <a:lnTo>
                        <a:pt x="4708" y="1579"/>
                      </a:lnTo>
                      <a:lnTo>
                        <a:pt x="4567" y="1394"/>
                      </a:lnTo>
                      <a:lnTo>
                        <a:pt x="4443" y="1165"/>
                      </a:lnTo>
                      <a:lnTo>
                        <a:pt x="4417" y="1068"/>
                      </a:lnTo>
                      <a:lnTo>
                        <a:pt x="4417" y="953"/>
                      </a:lnTo>
                      <a:lnTo>
                        <a:pt x="4443" y="812"/>
                      </a:lnTo>
                      <a:lnTo>
                        <a:pt x="4487" y="671"/>
                      </a:lnTo>
                      <a:lnTo>
                        <a:pt x="4531" y="574"/>
                      </a:lnTo>
                      <a:lnTo>
                        <a:pt x="4628" y="495"/>
                      </a:lnTo>
                      <a:lnTo>
                        <a:pt x="4743" y="486"/>
                      </a:lnTo>
                      <a:lnTo>
                        <a:pt x="4990" y="512"/>
                      </a:lnTo>
                      <a:lnTo>
                        <a:pt x="4990" y="468"/>
                      </a:lnTo>
                      <a:lnTo>
                        <a:pt x="4893" y="380"/>
                      </a:lnTo>
                      <a:lnTo>
                        <a:pt x="4849" y="354"/>
                      </a:lnTo>
                      <a:lnTo>
                        <a:pt x="4778" y="345"/>
                      </a:lnTo>
                      <a:lnTo>
                        <a:pt x="4734" y="362"/>
                      </a:lnTo>
                      <a:lnTo>
                        <a:pt x="4655" y="442"/>
                      </a:lnTo>
                      <a:lnTo>
                        <a:pt x="4611" y="468"/>
                      </a:lnTo>
                      <a:lnTo>
                        <a:pt x="4470" y="486"/>
                      </a:lnTo>
                      <a:lnTo>
                        <a:pt x="4364" y="442"/>
                      </a:lnTo>
                      <a:lnTo>
                        <a:pt x="4196" y="301"/>
                      </a:lnTo>
                      <a:lnTo>
                        <a:pt x="4196" y="257"/>
                      </a:lnTo>
                      <a:lnTo>
                        <a:pt x="4214" y="213"/>
                      </a:lnTo>
                      <a:lnTo>
                        <a:pt x="4179" y="168"/>
                      </a:lnTo>
                      <a:lnTo>
                        <a:pt x="4135" y="116"/>
                      </a:lnTo>
                      <a:lnTo>
                        <a:pt x="4099" y="45"/>
                      </a:lnTo>
                      <a:lnTo>
                        <a:pt x="4064" y="45"/>
                      </a:lnTo>
                      <a:lnTo>
                        <a:pt x="4038" y="36"/>
                      </a:lnTo>
                      <a:lnTo>
                        <a:pt x="4011" y="45"/>
                      </a:lnTo>
                      <a:lnTo>
                        <a:pt x="4002" y="89"/>
                      </a:lnTo>
                      <a:lnTo>
                        <a:pt x="3941" y="54"/>
                      </a:lnTo>
                      <a:lnTo>
                        <a:pt x="3809" y="27"/>
                      </a:lnTo>
                      <a:lnTo>
                        <a:pt x="3747"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5" name="Google Shape;3113;p54">
                  <a:extLst>
                    <a:ext uri="{FF2B5EF4-FFF2-40B4-BE49-F238E27FC236}">
                      <a16:creationId xmlns:a16="http://schemas.microsoft.com/office/drawing/2014/main" id="{9FD4D1ED-66B5-A723-70CA-2004634397C2}"/>
                    </a:ext>
                  </a:extLst>
                </p:cNvPr>
                <p:cNvSpPr/>
                <p:nvPr/>
              </p:nvSpPr>
              <p:spPr>
                <a:xfrm>
                  <a:off x="4726197" y="1273422"/>
                  <a:ext cx="589783" cy="510231"/>
                </a:xfrm>
                <a:custGeom>
                  <a:avLst/>
                  <a:gdLst/>
                  <a:ahLst/>
                  <a:cxnLst/>
                  <a:rect l="l" t="t" r="r" b="b"/>
                  <a:pathLst>
                    <a:path w="8296" h="7177" extrusionOk="0">
                      <a:moveTo>
                        <a:pt x="2609" y="1"/>
                      </a:moveTo>
                      <a:lnTo>
                        <a:pt x="2433" y="9"/>
                      </a:lnTo>
                      <a:lnTo>
                        <a:pt x="1701" y="397"/>
                      </a:lnTo>
                      <a:lnTo>
                        <a:pt x="970" y="644"/>
                      </a:lnTo>
                      <a:lnTo>
                        <a:pt x="758" y="785"/>
                      </a:lnTo>
                      <a:lnTo>
                        <a:pt x="591" y="864"/>
                      </a:lnTo>
                      <a:lnTo>
                        <a:pt x="265" y="944"/>
                      </a:lnTo>
                      <a:lnTo>
                        <a:pt x="212" y="917"/>
                      </a:lnTo>
                      <a:lnTo>
                        <a:pt x="132" y="970"/>
                      </a:lnTo>
                      <a:lnTo>
                        <a:pt x="0" y="997"/>
                      </a:lnTo>
                      <a:lnTo>
                        <a:pt x="44" y="1376"/>
                      </a:lnTo>
                      <a:lnTo>
                        <a:pt x="177" y="1649"/>
                      </a:lnTo>
                      <a:lnTo>
                        <a:pt x="344" y="2107"/>
                      </a:lnTo>
                      <a:lnTo>
                        <a:pt x="44" y="2319"/>
                      </a:lnTo>
                      <a:lnTo>
                        <a:pt x="88" y="2760"/>
                      </a:lnTo>
                      <a:lnTo>
                        <a:pt x="247" y="2936"/>
                      </a:lnTo>
                      <a:lnTo>
                        <a:pt x="529" y="2892"/>
                      </a:lnTo>
                      <a:lnTo>
                        <a:pt x="864" y="2777"/>
                      </a:lnTo>
                      <a:lnTo>
                        <a:pt x="1208" y="3033"/>
                      </a:lnTo>
                      <a:lnTo>
                        <a:pt x="1340" y="3580"/>
                      </a:lnTo>
                      <a:lnTo>
                        <a:pt x="1463" y="3879"/>
                      </a:lnTo>
                      <a:lnTo>
                        <a:pt x="1014" y="3976"/>
                      </a:lnTo>
                      <a:lnTo>
                        <a:pt x="767" y="4214"/>
                      </a:lnTo>
                      <a:lnTo>
                        <a:pt x="556" y="4505"/>
                      </a:lnTo>
                      <a:lnTo>
                        <a:pt x="520" y="4717"/>
                      </a:lnTo>
                      <a:lnTo>
                        <a:pt x="608" y="5378"/>
                      </a:lnTo>
                      <a:lnTo>
                        <a:pt x="864" y="5413"/>
                      </a:lnTo>
                      <a:lnTo>
                        <a:pt x="1111" y="5528"/>
                      </a:lnTo>
                      <a:lnTo>
                        <a:pt x="1208" y="5669"/>
                      </a:lnTo>
                      <a:lnTo>
                        <a:pt x="1252" y="5748"/>
                      </a:lnTo>
                      <a:lnTo>
                        <a:pt x="1358" y="5889"/>
                      </a:lnTo>
                      <a:lnTo>
                        <a:pt x="1419" y="5942"/>
                      </a:lnTo>
                      <a:lnTo>
                        <a:pt x="2019" y="6012"/>
                      </a:lnTo>
                      <a:lnTo>
                        <a:pt x="2442" y="6286"/>
                      </a:lnTo>
                      <a:lnTo>
                        <a:pt x="2609" y="6497"/>
                      </a:lnTo>
                      <a:lnTo>
                        <a:pt x="2830" y="6568"/>
                      </a:lnTo>
                      <a:lnTo>
                        <a:pt x="3006" y="6497"/>
                      </a:lnTo>
                      <a:lnTo>
                        <a:pt x="3491" y="6215"/>
                      </a:lnTo>
                      <a:lnTo>
                        <a:pt x="3852" y="6145"/>
                      </a:lnTo>
                      <a:lnTo>
                        <a:pt x="4610" y="5739"/>
                      </a:lnTo>
                      <a:lnTo>
                        <a:pt x="4760" y="5677"/>
                      </a:lnTo>
                      <a:lnTo>
                        <a:pt x="4831" y="5722"/>
                      </a:lnTo>
                      <a:lnTo>
                        <a:pt x="4884" y="5968"/>
                      </a:lnTo>
                      <a:lnTo>
                        <a:pt x="4743" y="6162"/>
                      </a:lnTo>
                      <a:lnTo>
                        <a:pt x="4619" y="6295"/>
                      </a:lnTo>
                      <a:lnTo>
                        <a:pt x="4566" y="6480"/>
                      </a:lnTo>
                      <a:lnTo>
                        <a:pt x="4743" y="6779"/>
                      </a:lnTo>
                      <a:lnTo>
                        <a:pt x="5016" y="6876"/>
                      </a:lnTo>
                      <a:lnTo>
                        <a:pt x="5157" y="7017"/>
                      </a:lnTo>
                      <a:lnTo>
                        <a:pt x="5316" y="7123"/>
                      </a:lnTo>
                      <a:lnTo>
                        <a:pt x="5501" y="7167"/>
                      </a:lnTo>
                      <a:lnTo>
                        <a:pt x="5695" y="7176"/>
                      </a:lnTo>
                      <a:lnTo>
                        <a:pt x="6100" y="7088"/>
                      </a:lnTo>
                      <a:lnTo>
                        <a:pt x="6761" y="6815"/>
                      </a:lnTo>
                      <a:lnTo>
                        <a:pt x="6867" y="6506"/>
                      </a:lnTo>
                      <a:lnTo>
                        <a:pt x="6717" y="6347"/>
                      </a:lnTo>
                      <a:lnTo>
                        <a:pt x="6620" y="6303"/>
                      </a:lnTo>
                      <a:lnTo>
                        <a:pt x="6532" y="6074"/>
                      </a:lnTo>
                      <a:lnTo>
                        <a:pt x="6585" y="5951"/>
                      </a:lnTo>
                      <a:lnTo>
                        <a:pt x="6744" y="5757"/>
                      </a:lnTo>
                      <a:lnTo>
                        <a:pt x="6902" y="5351"/>
                      </a:lnTo>
                      <a:lnTo>
                        <a:pt x="7123" y="5157"/>
                      </a:lnTo>
                      <a:lnTo>
                        <a:pt x="7228" y="5034"/>
                      </a:lnTo>
                      <a:lnTo>
                        <a:pt x="7361" y="4690"/>
                      </a:lnTo>
                      <a:lnTo>
                        <a:pt x="7519" y="4461"/>
                      </a:lnTo>
                      <a:lnTo>
                        <a:pt x="7757" y="4408"/>
                      </a:lnTo>
                      <a:lnTo>
                        <a:pt x="7793" y="3597"/>
                      </a:lnTo>
                      <a:lnTo>
                        <a:pt x="7749" y="3474"/>
                      </a:lnTo>
                      <a:lnTo>
                        <a:pt x="7722" y="3359"/>
                      </a:lnTo>
                      <a:lnTo>
                        <a:pt x="7757" y="3121"/>
                      </a:lnTo>
                      <a:lnTo>
                        <a:pt x="7854" y="2910"/>
                      </a:lnTo>
                      <a:lnTo>
                        <a:pt x="7987" y="2777"/>
                      </a:lnTo>
                      <a:lnTo>
                        <a:pt x="8136" y="2672"/>
                      </a:lnTo>
                      <a:lnTo>
                        <a:pt x="8295" y="2257"/>
                      </a:lnTo>
                      <a:lnTo>
                        <a:pt x="8039" y="1913"/>
                      </a:lnTo>
                      <a:lnTo>
                        <a:pt x="7731" y="1825"/>
                      </a:lnTo>
                      <a:lnTo>
                        <a:pt x="7167" y="1790"/>
                      </a:lnTo>
                      <a:lnTo>
                        <a:pt x="6893" y="1711"/>
                      </a:lnTo>
                      <a:lnTo>
                        <a:pt x="6691" y="1693"/>
                      </a:lnTo>
                      <a:lnTo>
                        <a:pt x="6523" y="1693"/>
                      </a:lnTo>
                      <a:lnTo>
                        <a:pt x="6224" y="1578"/>
                      </a:lnTo>
                      <a:lnTo>
                        <a:pt x="6232" y="1367"/>
                      </a:lnTo>
                      <a:lnTo>
                        <a:pt x="6462" y="1094"/>
                      </a:lnTo>
                      <a:lnTo>
                        <a:pt x="6594" y="723"/>
                      </a:lnTo>
                      <a:lnTo>
                        <a:pt x="6576" y="371"/>
                      </a:lnTo>
                      <a:lnTo>
                        <a:pt x="5589" y="230"/>
                      </a:lnTo>
                      <a:lnTo>
                        <a:pt x="4981" y="283"/>
                      </a:lnTo>
                      <a:lnTo>
                        <a:pt x="4857" y="230"/>
                      </a:lnTo>
                      <a:lnTo>
                        <a:pt x="4769" y="265"/>
                      </a:lnTo>
                      <a:lnTo>
                        <a:pt x="3782" y="168"/>
                      </a:lnTo>
                      <a:lnTo>
                        <a:pt x="3544" y="80"/>
                      </a:lnTo>
                      <a:lnTo>
                        <a:pt x="3438" y="62"/>
                      </a:lnTo>
                      <a:lnTo>
                        <a:pt x="2944" y="62"/>
                      </a:lnTo>
                      <a:lnTo>
                        <a:pt x="2609"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6" name="Google Shape;3114;p54">
                  <a:extLst>
                    <a:ext uri="{FF2B5EF4-FFF2-40B4-BE49-F238E27FC236}">
                      <a16:creationId xmlns:a16="http://schemas.microsoft.com/office/drawing/2014/main" id="{52A1A932-C683-1297-7C54-1EA24A03250C}"/>
                    </a:ext>
                  </a:extLst>
                </p:cNvPr>
                <p:cNvSpPr/>
                <p:nvPr/>
              </p:nvSpPr>
              <p:spPr>
                <a:xfrm>
                  <a:off x="4506798" y="1344232"/>
                  <a:ext cx="243847" cy="235103"/>
                </a:xfrm>
                <a:custGeom>
                  <a:avLst/>
                  <a:gdLst/>
                  <a:ahLst/>
                  <a:cxnLst/>
                  <a:rect l="l" t="t" r="r" b="b"/>
                  <a:pathLst>
                    <a:path w="3430" h="3307" extrusionOk="0">
                      <a:moveTo>
                        <a:pt x="3086" y="1"/>
                      </a:moveTo>
                      <a:lnTo>
                        <a:pt x="2954" y="18"/>
                      </a:lnTo>
                      <a:lnTo>
                        <a:pt x="2883" y="10"/>
                      </a:lnTo>
                      <a:lnTo>
                        <a:pt x="2813" y="45"/>
                      </a:lnTo>
                      <a:lnTo>
                        <a:pt x="2531" y="151"/>
                      </a:lnTo>
                      <a:lnTo>
                        <a:pt x="2452" y="159"/>
                      </a:lnTo>
                      <a:lnTo>
                        <a:pt x="2346" y="106"/>
                      </a:lnTo>
                      <a:lnTo>
                        <a:pt x="2222" y="133"/>
                      </a:lnTo>
                      <a:lnTo>
                        <a:pt x="2117" y="212"/>
                      </a:lnTo>
                      <a:lnTo>
                        <a:pt x="2064" y="309"/>
                      </a:lnTo>
                      <a:lnTo>
                        <a:pt x="1993" y="274"/>
                      </a:lnTo>
                      <a:lnTo>
                        <a:pt x="1923" y="274"/>
                      </a:lnTo>
                      <a:lnTo>
                        <a:pt x="1861" y="309"/>
                      </a:lnTo>
                      <a:lnTo>
                        <a:pt x="1808" y="344"/>
                      </a:lnTo>
                      <a:lnTo>
                        <a:pt x="1491" y="521"/>
                      </a:lnTo>
                      <a:lnTo>
                        <a:pt x="1420" y="582"/>
                      </a:lnTo>
                      <a:lnTo>
                        <a:pt x="1314" y="697"/>
                      </a:lnTo>
                      <a:lnTo>
                        <a:pt x="1235" y="732"/>
                      </a:lnTo>
                      <a:lnTo>
                        <a:pt x="1217" y="724"/>
                      </a:lnTo>
                      <a:lnTo>
                        <a:pt x="1173" y="662"/>
                      </a:lnTo>
                      <a:lnTo>
                        <a:pt x="1156" y="653"/>
                      </a:lnTo>
                      <a:lnTo>
                        <a:pt x="1129" y="662"/>
                      </a:lnTo>
                      <a:lnTo>
                        <a:pt x="1112" y="688"/>
                      </a:lnTo>
                      <a:lnTo>
                        <a:pt x="1103" y="732"/>
                      </a:lnTo>
                      <a:lnTo>
                        <a:pt x="1059" y="759"/>
                      </a:lnTo>
                      <a:lnTo>
                        <a:pt x="1024" y="776"/>
                      </a:lnTo>
                      <a:lnTo>
                        <a:pt x="1015" y="812"/>
                      </a:lnTo>
                      <a:lnTo>
                        <a:pt x="759" y="829"/>
                      </a:lnTo>
                      <a:lnTo>
                        <a:pt x="600" y="873"/>
                      </a:lnTo>
                      <a:lnTo>
                        <a:pt x="530" y="1014"/>
                      </a:lnTo>
                      <a:lnTo>
                        <a:pt x="512" y="1041"/>
                      </a:lnTo>
                      <a:lnTo>
                        <a:pt x="204" y="1393"/>
                      </a:lnTo>
                      <a:lnTo>
                        <a:pt x="133" y="1543"/>
                      </a:lnTo>
                      <a:lnTo>
                        <a:pt x="1" y="1623"/>
                      </a:lnTo>
                      <a:lnTo>
                        <a:pt x="265" y="1887"/>
                      </a:lnTo>
                      <a:lnTo>
                        <a:pt x="539" y="2011"/>
                      </a:lnTo>
                      <a:lnTo>
                        <a:pt x="636" y="2337"/>
                      </a:lnTo>
                      <a:lnTo>
                        <a:pt x="803" y="2760"/>
                      </a:lnTo>
                      <a:lnTo>
                        <a:pt x="715" y="3289"/>
                      </a:lnTo>
                      <a:lnTo>
                        <a:pt x="1217" y="3306"/>
                      </a:lnTo>
                      <a:lnTo>
                        <a:pt x="1702" y="3183"/>
                      </a:lnTo>
                      <a:lnTo>
                        <a:pt x="2266" y="2707"/>
                      </a:lnTo>
                      <a:lnTo>
                        <a:pt x="2469" y="2257"/>
                      </a:lnTo>
                      <a:lnTo>
                        <a:pt x="2734" y="2187"/>
                      </a:lnTo>
                      <a:lnTo>
                        <a:pt x="3174" y="1764"/>
                      </a:lnTo>
                      <a:lnTo>
                        <a:pt x="3130" y="1323"/>
                      </a:lnTo>
                      <a:lnTo>
                        <a:pt x="3430" y="1111"/>
                      </a:lnTo>
                      <a:lnTo>
                        <a:pt x="3263" y="653"/>
                      </a:lnTo>
                      <a:lnTo>
                        <a:pt x="3130" y="380"/>
                      </a:lnTo>
                      <a:lnTo>
                        <a:pt x="308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7" name="Google Shape;3115;p54">
                  <a:extLst>
                    <a:ext uri="{FF2B5EF4-FFF2-40B4-BE49-F238E27FC236}">
                      <a16:creationId xmlns:a16="http://schemas.microsoft.com/office/drawing/2014/main" id="{FB0248C4-F3E9-826A-47C8-3FF77873FD7D}"/>
                    </a:ext>
                  </a:extLst>
                </p:cNvPr>
                <p:cNvSpPr/>
                <p:nvPr/>
              </p:nvSpPr>
              <p:spPr>
                <a:xfrm>
                  <a:off x="4247372" y="1459548"/>
                  <a:ext cx="316575" cy="254511"/>
                </a:xfrm>
                <a:custGeom>
                  <a:avLst/>
                  <a:gdLst/>
                  <a:ahLst/>
                  <a:cxnLst/>
                  <a:rect l="l" t="t" r="r" b="b"/>
                  <a:pathLst>
                    <a:path w="4453" h="3580" extrusionOk="0">
                      <a:moveTo>
                        <a:pt x="3650" y="1"/>
                      </a:moveTo>
                      <a:lnTo>
                        <a:pt x="3209" y="151"/>
                      </a:lnTo>
                      <a:lnTo>
                        <a:pt x="3165" y="177"/>
                      </a:lnTo>
                      <a:lnTo>
                        <a:pt x="2998" y="309"/>
                      </a:lnTo>
                      <a:lnTo>
                        <a:pt x="2434" y="591"/>
                      </a:lnTo>
                      <a:lnTo>
                        <a:pt x="1446" y="1252"/>
                      </a:lnTo>
                      <a:lnTo>
                        <a:pt x="750" y="1517"/>
                      </a:lnTo>
                      <a:lnTo>
                        <a:pt x="697" y="1534"/>
                      </a:lnTo>
                      <a:lnTo>
                        <a:pt x="679" y="1561"/>
                      </a:lnTo>
                      <a:lnTo>
                        <a:pt x="600" y="1676"/>
                      </a:lnTo>
                      <a:lnTo>
                        <a:pt x="574" y="1702"/>
                      </a:lnTo>
                      <a:lnTo>
                        <a:pt x="362" y="1711"/>
                      </a:lnTo>
                      <a:lnTo>
                        <a:pt x="265" y="1755"/>
                      </a:lnTo>
                      <a:lnTo>
                        <a:pt x="212" y="1834"/>
                      </a:lnTo>
                      <a:lnTo>
                        <a:pt x="230" y="1878"/>
                      </a:lnTo>
                      <a:lnTo>
                        <a:pt x="318" y="1940"/>
                      </a:lnTo>
                      <a:lnTo>
                        <a:pt x="336" y="1975"/>
                      </a:lnTo>
                      <a:lnTo>
                        <a:pt x="327" y="2046"/>
                      </a:lnTo>
                      <a:lnTo>
                        <a:pt x="283" y="2169"/>
                      </a:lnTo>
                      <a:lnTo>
                        <a:pt x="274" y="2231"/>
                      </a:lnTo>
                      <a:lnTo>
                        <a:pt x="265" y="2354"/>
                      </a:lnTo>
                      <a:lnTo>
                        <a:pt x="247" y="2460"/>
                      </a:lnTo>
                      <a:lnTo>
                        <a:pt x="212" y="2539"/>
                      </a:lnTo>
                      <a:lnTo>
                        <a:pt x="142" y="2628"/>
                      </a:lnTo>
                      <a:lnTo>
                        <a:pt x="1" y="2777"/>
                      </a:lnTo>
                      <a:lnTo>
                        <a:pt x="177" y="2945"/>
                      </a:lnTo>
                      <a:lnTo>
                        <a:pt x="970" y="3333"/>
                      </a:lnTo>
                      <a:lnTo>
                        <a:pt x="2099" y="3447"/>
                      </a:lnTo>
                      <a:lnTo>
                        <a:pt x="2434" y="3474"/>
                      </a:lnTo>
                      <a:lnTo>
                        <a:pt x="2724" y="3553"/>
                      </a:lnTo>
                      <a:lnTo>
                        <a:pt x="3721" y="3580"/>
                      </a:lnTo>
                      <a:lnTo>
                        <a:pt x="3721" y="3033"/>
                      </a:lnTo>
                      <a:lnTo>
                        <a:pt x="3870" y="2539"/>
                      </a:lnTo>
                      <a:lnTo>
                        <a:pt x="3950" y="2213"/>
                      </a:lnTo>
                      <a:lnTo>
                        <a:pt x="4117" y="2010"/>
                      </a:lnTo>
                      <a:lnTo>
                        <a:pt x="4364" y="1667"/>
                      </a:lnTo>
                      <a:lnTo>
                        <a:pt x="4452" y="1138"/>
                      </a:lnTo>
                      <a:lnTo>
                        <a:pt x="4285" y="715"/>
                      </a:lnTo>
                      <a:lnTo>
                        <a:pt x="4188" y="389"/>
                      </a:lnTo>
                      <a:lnTo>
                        <a:pt x="3914" y="265"/>
                      </a:lnTo>
                      <a:lnTo>
                        <a:pt x="3650"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8" name="Google Shape;3116;p54">
                  <a:extLst>
                    <a:ext uri="{FF2B5EF4-FFF2-40B4-BE49-F238E27FC236}">
                      <a16:creationId xmlns:a16="http://schemas.microsoft.com/office/drawing/2014/main" id="{17C83553-19C7-B2CF-1EA4-D75824DE6D0A}"/>
                    </a:ext>
                  </a:extLst>
                </p:cNvPr>
                <p:cNvSpPr/>
                <p:nvPr/>
              </p:nvSpPr>
              <p:spPr>
                <a:xfrm>
                  <a:off x="4090110" y="1656979"/>
                  <a:ext cx="306480" cy="208728"/>
                </a:xfrm>
                <a:custGeom>
                  <a:avLst/>
                  <a:gdLst/>
                  <a:ahLst/>
                  <a:cxnLst/>
                  <a:rect l="l" t="t" r="r" b="b"/>
                  <a:pathLst>
                    <a:path w="4311" h="2936" extrusionOk="0">
                      <a:moveTo>
                        <a:pt x="2213" y="0"/>
                      </a:moveTo>
                      <a:lnTo>
                        <a:pt x="2107" y="97"/>
                      </a:lnTo>
                      <a:lnTo>
                        <a:pt x="1948" y="203"/>
                      </a:lnTo>
                      <a:lnTo>
                        <a:pt x="1754" y="274"/>
                      </a:lnTo>
                      <a:lnTo>
                        <a:pt x="1728" y="291"/>
                      </a:lnTo>
                      <a:lnTo>
                        <a:pt x="1719" y="327"/>
                      </a:lnTo>
                      <a:lnTo>
                        <a:pt x="1710" y="344"/>
                      </a:lnTo>
                      <a:lnTo>
                        <a:pt x="1675" y="362"/>
                      </a:lnTo>
                      <a:lnTo>
                        <a:pt x="1648" y="353"/>
                      </a:lnTo>
                      <a:lnTo>
                        <a:pt x="1604" y="327"/>
                      </a:lnTo>
                      <a:lnTo>
                        <a:pt x="1578" y="318"/>
                      </a:lnTo>
                      <a:lnTo>
                        <a:pt x="1384" y="362"/>
                      </a:lnTo>
                      <a:lnTo>
                        <a:pt x="1340" y="353"/>
                      </a:lnTo>
                      <a:lnTo>
                        <a:pt x="1234" y="327"/>
                      </a:lnTo>
                      <a:lnTo>
                        <a:pt x="1181" y="318"/>
                      </a:lnTo>
                      <a:lnTo>
                        <a:pt x="1137" y="335"/>
                      </a:lnTo>
                      <a:lnTo>
                        <a:pt x="1023" y="397"/>
                      </a:lnTo>
                      <a:lnTo>
                        <a:pt x="397" y="415"/>
                      </a:lnTo>
                      <a:lnTo>
                        <a:pt x="388" y="476"/>
                      </a:lnTo>
                      <a:lnTo>
                        <a:pt x="414" y="653"/>
                      </a:lnTo>
                      <a:lnTo>
                        <a:pt x="423" y="785"/>
                      </a:lnTo>
                      <a:lnTo>
                        <a:pt x="159" y="1041"/>
                      </a:lnTo>
                      <a:lnTo>
                        <a:pt x="0" y="1402"/>
                      </a:lnTo>
                      <a:lnTo>
                        <a:pt x="27" y="1587"/>
                      </a:lnTo>
                      <a:lnTo>
                        <a:pt x="106" y="1755"/>
                      </a:lnTo>
                      <a:lnTo>
                        <a:pt x="124" y="1940"/>
                      </a:lnTo>
                      <a:lnTo>
                        <a:pt x="62" y="2107"/>
                      </a:lnTo>
                      <a:lnTo>
                        <a:pt x="106" y="2275"/>
                      </a:lnTo>
                      <a:lnTo>
                        <a:pt x="194" y="2416"/>
                      </a:lnTo>
                      <a:lnTo>
                        <a:pt x="97" y="2601"/>
                      </a:lnTo>
                      <a:lnTo>
                        <a:pt x="476" y="2733"/>
                      </a:lnTo>
                      <a:lnTo>
                        <a:pt x="1225" y="2715"/>
                      </a:lnTo>
                      <a:lnTo>
                        <a:pt x="1754" y="2936"/>
                      </a:lnTo>
                      <a:lnTo>
                        <a:pt x="2204" y="2883"/>
                      </a:lnTo>
                      <a:lnTo>
                        <a:pt x="2556" y="2610"/>
                      </a:lnTo>
                      <a:lnTo>
                        <a:pt x="2733" y="2169"/>
                      </a:lnTo>
                      <a:lnTo>
                        <a:pt x="2750" y="1843"/>
                      </a:lnTo>
                      <a:lnTo>
                        <a:pt x="2971" y="1675"/>
                      </a:lnTo>
                      <a:lnTo>
                        <a:pt x="3570" y="1569"/>
                      </a:lnTo>
                      <a:lnTo>
                        <a:pt x="4002" y="1472"/>
                      </a:lnTo>
                      <a:lnTo>
                        <a:pt x="4231" y="1199"/>
                      </a:lnTo>
                      <a:lnTo>
                        <a:pt x="4311" y="670"/>
                      </a:lnTo>
                      <a:lnTo>
                        <a:pt x="3182" y="556"/>
                      </a:lnTo>
                      <a:lnTo>
                        <a:pt x="2389" y="168"/>
                      </a:lnTo>
                      <a:lnTo>
                        <a:pt x="2213"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9" name="Google Shape;3117;p54">
                  <a:extLst>
                    <a:ext uri="{FF2B5EF4-FFF2-40B4-BE49-F238E27FC236}">
                      <a16:creationId xmlns:a16="http://schemas.microsoft.com/office/drawing/2014/main" id="{9F806776-10D1-5CB4-307F-0C8017696D3D}"/>
                    </a:ext>
                  </a:extLst>
                </p:cNvPr>
                <p:cNvSpPr/>
                <p:nvPr/>
              </p:nvSpPr>
              <p:spPr>
                <a:xfrm>
                  <a:off x="3778643" y="1648163"/>
                  <a:ext cx="341599" cy="365487"/>
                </a:xfrm>
                <a:custGeom>
                  <a:avLst/>
                  <a:gdLst/>
                  <a:ahLst/>
                  <a:cxnLst/>
                  <a:rect l="l" t="t" r="r" b="b"/>
                  <a:pathLst>
                    <a:path w="4805" h="5141" extrusionOk="0">
                      <a:moveTo>
                        <a:pt x="2336" y="1"/>
                      </a:moveTo>
                      <a:lnTo>
                        <a:pt x="2310" y="89"/>
                      </a:lnTo>
                      <a:lnTo>
                        <a:pt x="2160" y="468"/>
                      </a:lnTo>
                      <a:lnTo>
                        <a:pt x="2248" y="786"/>
                      </a:lnTo>
                      <a:lnTo>
                        <a:pt x="2583" y="847"/>
                      </a:lnTo>
                      <a:lnTo>
                        <a:pt x="2609" y="1050"/>
                      </a:lnTo>
                      <a:lnTo>
                        <a:pt x="2504" y="1235"/>
                      </a:lnTo>
                      <a:lnTo>
                        <a:pt x="2477" y="1447"/>
                      </a:lnTo>
                      <a:lnTo>
                        <a:pt x="2389" y="1455"/>
                      </a:lnTo>
                      <a:lnTo>
                        <a:pt x="2133" y="1464"/>
                      </a:lnTo>
                      <a:lnTo>
                        <a:pt x="1983" y="1394"/>
                      </a:lnTo>
                      <a:lnTo>
                        <a:pt x="1798" y="1358"/>
                      </a:lnTo>
                      <a:lnTo>
                        <a:pt x="1710" y="1411"/>
                      </a:lnTo>
                      <a:lnTo>
                        <a:pt x="1754" y="1544"/>
                      </a:lnTo>
                      <a:lnTo>
                        <a:pt x="1816" y="1561"/>
                      </a:lnTo>
                      <a:lnTo>
                        <a:pt x="1869" y="1596"/>
                      </a:lnTo>
                      <a:lnTo>
                        <a:pt x="1569" y="1923"/>
                      </a:lnTo>
                      <a:lnTo>
                        <a:pt x="1384" y="2839"/>
                      </a:lnTo>
                      <a:lnTo>
                        <a:pt x="1190" y="3218"/>
                      </a:lnTo>
                      <a:lnTo>
                        <a:pt x="926" y="3395"/>
                      </a:lnTo>
                      <a:lnTo>
                        <a:pt x="617" y="3465"/>
                      </a:lnTo>
                      <a:lnTo>
                        <a:pt x="476" y="3553"/>
                      </a:lnTo>
                      <a:lnTo>
                        <a:pt x="326" y="3615"/>
                      </a:lnTo>
                      <a:lnTo>
                        <a:pt x="0" y="3642"/>
                      </a:lnTo>
                      <a:lnTo>
                        <a:pt x="27" y="3774"/>
                      </a:lnTo>
                      <a:lnTo>
                        <a:pt x="71" y="3906"/>
                      </a:lnTo>
                      <a:lnTo>
                        <a:pt x="203" y="4179"/>
                      </a:lnTo>
                      <a:lnTo>
                        <a:pt x="361" y="4426"/>
                      </a:lnTo>
                      <a:lnTo>
                        <a:pt x="547" y="4585"/>
                      </a:lnTo>
                      <a:lnTo>
                        <a:pt x="723" y="4770"/>
                      </a:lnTo>
                      <a:lnTo>
                        <a:pt x="1128" y="4893"/>
                      </a:lnTo>
                      <a:lnTo>
                        <a:pt x="1772" y="4726"/>
                      </a:lnTo>
                      <a:lnTo>
                        <a:pt x="1975" y="4708"/>
                      </a:lnTo>
                      <a:lnTo>
                        <a:pt x="2142" y="4752"/>
                      </a:lnTo>
                      <a:lnTo>
                        <a:pt x="2318" y="4752"/>
                      </a:lnTo>
                      <a:lnTo>
                        <a:pt x="2468" y="4849"/>
                      </a:lnTo>
                      <a:lnTo>
                        <a:pt x="2574" y="5017"/>
                      </a:lnTo>
                      <a:lnTo>
                        <a:pt x="2653" y="5087"/>
                      </a:lnTo>
                      <a:lnTo>
                        <a:pt x="3006" y="5078"/>
                      </a:lnTo>
                      <a:lnTo>
                        <a:pt x="3244" y="5140"/>
                      </a:lnTo>
                      <a:lnTo>
                        <a:pt x="3332" y="4920"/>
                      </a:lnTo>
                      <a:lnTo>
                        <a:pt x="3226" y="4699"/>
                      </a:lnTo>
                      <a:lnTo>
                        <a:pt x="3129" y="4585"/>
                      </a:lnTo>
                      <a:lnTo>
                        <a:pt x="3103" y="4426"/>
                      </a:lnTo>
                      <a:lnTo>
                        <a:pt x="3156" y="4364"/>
                      </a:lnTo>
                      <a:lnTo>
                        <a:pt x="3235" y="4320"/>
                      </a:lnTo>
                      <a:lnTo>
                        <a:pt x="3359" y="3941"/>
                      </a:lnTo>
                      <a:lnTo>
                        <a:pt x="3552" y="3659"/>
                      </a:lnTo>
                      <a:lnTo>
                        <a:pt x="3870" y="3668"/>
                      </a:lnTo>
                      <a:lnTo>
                        <a:pt x="4170" y="3527"/>
                      </a:lnTo>
                      <a:lnTo>
                        <a:pt x="4231" y="3342"/>
                      </a:lnTo>
                      <a:lnTo>
                        <a:pt x="4196" y="3148"/>
                      </a:lnTo>
                      <a:lnTo>
                        <a:pt x="4187" y="2954"/>
                      </a:lnTo>
                      <a:lnTo>
                        <a:pt x="4478" y="2725"/>
                      </a:lnTo>
                      <a:lnTo>
                        <a:pt x="4575" y="2540"/>
                      </a:lnTo>
                      <a:lnTo>
                        <a:pt x="4487" y="2399"/>
                      </a:lnTo>
                      <a:lnTo>
                        <a:pt x="4443" y="2231"/>
                      </a:lnTo>
                      <a:lnTo>
                        <a:pt x="4505" y="2064"/>
                      </a:lnTo>
                      <a:lnTo>
                        <a:pt x="4487" y="1879"/>
                      </a:lnTo>
                      <a:lnTo>
                        <a:pt x="4408" y="1711"/>
                      </a:lnTo>
                      <a:lnTo>
                        <a:pt x="4381" y="1526"/>
                      </a:lnTo>
                      <a:lnTo>
                        <a:pt x="4540" y="1165"/>
                      </a:lnTo>
                      <a:lnTo>
                        <a:pt x="4804" y="909"/>
                      </a:lnTo>
                      <a:lnTo>
                        <a:pt x="4795" y="777"/>
                      </a:lnTo>
                      <a:lnTo>
                        <a:pt x="4769" y="600"/>
                      </a:lnTo>
                      <a:lnTo>
                        <a:pt x="4778" y="539"/>
                      </a:lnTo>
                      <a:lnTo>
                        <a:pt x="4214" y="556"/>
                      </a:lnTo>
                      <a:lnTo>
                        <a:pt x="3817" y="486"/>
                      </a:lnTo>
                      <a:lnTo>
                        <a:pt x="3738" y="433"/>
                      </a:lnTo>
                      <a:lnTo>
                        <a:pt x="3588" y="301"/>
                      </a:lnTo>
                      <a:lnTo>
                        <a:pt x="233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0" name="Google Shape;3118;p54">
                  <a:extLst>
                    <a:ext uri="{FF2B5EF4-FFF2-40B4-BE49-F238E27FC236}">
                      <a16:creationId xmlns:a16="http://schemas.microsoft.com/office/drawing/2014/main" id="{611F2F4E-C6EB-79BE-6548-000616EE03D7}"/>
                    </a:ext>
                  </a:extLst>
                </p:cNvPr>
                <p:cNvSpPr/>
                <p:nvPr/>
              </p:nvSpPr>
              <p:spPr>
                <a:xfrm>
                  <a:off x="3556755" y="1628115"/>
                  <a:ext cx="407431" cy="290910"/>
                </a:xfrm>
                <a:custGeom>
                  <a:avLst/>
                  <a:gdLst/>
                  <a:ahLst/>
                  <a:cxnLst/>
                  <a:rect l="l" t="t" r="r" b="b"/>
                  <a:pathLst>
                    <a:path w="5731" h="4092" extrusionOk="0">
                      <a:moveTo>
                        <a:pt x="4778" y="1"/>
                      </a:moveTo>
                      <a:lnTo>
                        <a:pt x="4725" y="27"/>
                      </a:lnTo>
                      <a:lnTo>
                        <a:pt x="4664" y="124"/>
                      </a:lnTo>
                      <a:lnTo>
                        <a:pt x="4620" y="177"/>
                      </a:lnTo>
                      <a:lnTo>
                        <a:pt x="4584" y="151"/>
                      </a:lnTo>
                      <a:lnTo>
                        <a:pt x="4549" y="195"/>
                      </a:lnTo>
                      <a:lnTo>
                        <a:pt x="4514" y="265"/>
                      </a:lnTo>
                      <a:lnTo>
                        <a:pt x="4470" y="301"/>
                      </a:lnTo>
                      <a:lnTo>
                        <a:pt x="4408" y="318"/>
                      </a:lnTo>
                      <a:lnTo>
                        <a:pt x="4302" y="398"/>
                      </a:lnTo>
                      <a:lnTo>
                        <a:pt x="4232" y="433"/>
                      </a:lnTo>
                      <a:lnTo>
                        <a:pt x="4100" y="442"/>
                      </a:lnTo>
                      <a:lnTo>
                        <a:pt x="2927" y="415"/>
                      </a:lnTo>
                      <a:lnTo>
                        <a:pt x="2830" y="459"/>
                      </a:lnTo>
                      <a:lnTo>
                        <a:pt x="2883" y="644"/>
                      </a:lnTo>
                      <a:lnTo>
                        <a:pt x="2892" y="838"/>
                      </a:lnTo>
                      <a:lnTo>
                        <a:pt x="2768" y="1147"/>
                      </a:lnTo>
                      <a:lnTo>
                        <a:pt x="2513" y="1288"/>
                      </a:lnTo>
                      <a:lnTo>
                        <a:pt x="2213" y="1402"/>
                      </a:lnTo>
                      <a:lnTo>
                        <a:pt x="1949" y="1596"/>
                      </a:lnTo>
                      <a:lnTo>
                        <a:pt x="1905" y="1746"/>
                      </a:lnTo>
                      <a:lnTo>
                        <a:pt x="1825" y="1887"/>
                      </a:lnTo>
                      <a:lnTo>
                        <a:pt x="1658" y="1905"/>
                      </a:lnTo>
                      <a:lnTo>
                        <a:pt x="1526" y="1790"/>
                      </a:lnTo>
                      <a:lnTo>
                        <a:pt x="1385" y="1491"/>
                      </a:lnTo>
                      <a:lnTo>
                        <a:pt x="1164" y="1297"/>
                      </a:lnTo>
                      <a:lnTo>
                        <a:pt x="917" y="1279"/>
                      </a:lnTo>
                      <a:lnTo>
                        <a:pt x="715" y="1429"/>
                      </a:lnTo>
                      <a:lnTo>
                        <a:pt x="521" y="1623"/>
                      </a:lnTo>
                      <a:lnTo>
                        <a:pt x="406" y="1676"/>
                      </a:lnTo>
                      <a:lnTo>
                        <a:pt x="159" y="1887"/>
                      </a:lnTo>
                      <a:lnTo>
                        <a:pt x="1" y="2099"/>
                      </a:lnTo>
                      <a:lnTo>
                        <a:pt x="53" y="2134"/>
                      </a:lnTo>
                      <a:lnTo>
                        <a:pt x="142" y="2240"/>
                      </a:lnTo>
                      <a:lnTo>
                        <a:pt x="195" y="2319"/>
                      </a:lnTo>
                      <a:lnTo>
                        <a:pt x="177" y="2319"/>
                      </a:lnTo>
                      <a:lnTo>
                        <a:pt x="168" y="2328"/>
                      </a:lnTo>
                      <a:lnTo>
                        <a:pt x="159" y="2337"/>
                      </a:lnTo>
                      <a:lnTo>
                        <a:pt x="159" y="2363"/>
                      </a:lnTo>
                      <a:lnTo>
                        <a:pt x="142" y="2355"/>
                      </a:lnTo>
                      <a:lnTo>
                        <a:pt x="98" y="2319"/>
                      </a:lnTo>
                      <a:lnTo>
                        <a:pt x="98" y="2381"/>
                      </a:lnTo>
                      <a:lnTo>
                        <a:pt x="80" y="2425"/>
                      </a:lnTo>
                      <a:lnTo>
                        <a:pt x="53" y="2451"/>
                      </a:lnTo>
                      <a:lnTo>
                        <a:pt x="9" y="2451"/>
                      </a:lnTo>
                      <a:lnTo>
                        <a:pt x="9" y="2496"/>
                      </a:lnTo>
                      <a:lnTo>
                        <a:pt x="133" y="2460"/>
                      </a:lnTo>
                      <a:lnTo>
                        <a:pt x="186" y="2443"/>
                      </a:lnTo>
                      <a:lnTo>
                        <a:pt x="230" y="2407"/>
                      </a:lnTo>
                      <a:lnTo>
                        <a:pt x="265" y="2443"/>
                      </a:lnTo>
                      <a:lnTo>
                        <a:pt x="291" y="2407"/>
                      </a:lnTo>
                      <a:lnTo>
                        <a:pt x="336" y="2434"/>
                      </a:lnTo>
                      <a:lnTo>
                        <a:pt x="371" y="2469"/>
                      </a:lnTo>
                      <a:lnTo>
                        <a:pt x="397" y="2513"/>
                      </a:lnTo>
                      <a:lnTo>
                        <a:pt x="424" y="2575"/>
                      </a:lnTo>
                      <a:lnTo>
                        <a:pt x="397" y="2584"/>
                      </a:lnTo>
                      <a:lnTo>
                        <a:pt x="380" y="2593"/>
                      </a:lnTo>
                      <a:lnTo>
                        <a:pt x="371" y="2601"/>
                      </a:lnTo>
                      <a:lnTo>
                        <a:pt x="353" y="2619"/>
                      </a:lnTo>
                      <a:lnTo>
                        <a:pt x="397" y="2637"/>
                      </a:lnTo>
                      <a:lnTo>
                        <a:pt x="424" y="2681"/>
                      </a:lnTo>
                      <a:lnTo>
                        <a:pt x="441" y="2734"/>
                      </a:lnTo>
                      <a:lnTo>
                        <a:pt x="485" y="2786"/>
                      </a:lnTo>
                      <a:lnTo>
                        <a:pt x="582" y="2822"/>
                      </a:lnTo>
                      <a:lnTo>
                        <a:pt x="653" y="2786"/>
                      </a:lnTo>
                      <a:lnTo>
                        <a:pt x="732" y="2734"/>
                      </a:lnTo>
                      <a:lnTo>
                        <a:pt x="812" y="2707"/>
                      </a:lnTo>
                      <a:lnTo>
                        <a:pt x="1913" y="2663"/>
                      </a:lnTo>
                      <a:lnTo>
                        <a:pt x="2010" y="2672"/>
                      </a:lnTo>
                      <a:lnTo>
                        <a:pt x="2169" y="2734"/>
                      </a:lnTo>
                      <a:lnTo>
                        <a:pt x="2248" y="2742"/>
                      </a:lnTo>
                      <a:lnTo>
                        <a:pt x="2275" y="2760"/>
                      </a:lnTo>
                      <a:lnTo>
                        <a:pt x="2372" y="2848"/>
                      </a:lnTo>
                      <a:lnTo>
                        <a:pt x="2425" y="2875"/>
                      </a:lnTo>
                      <a:lnTo>
                        <a:pt x="2478" y="2875"/>
                      </a:lnTo>
                      <a:lnTo>
                        <a:pt x="2513" y="2857"/>
                      </a:lnTo>
                      <a:lnTo>
                        <a:pt x="2548" y="2839"/>
                      </a:lnTo>
                      <a:lnTo>
                        <a:pt x="2583" y="2831"/>
                      </a:lnTo>
                      <a:lnTo>
                        <a:pt x="2954" y="2778"/>
                      </a:lnTo>
                      <a:lnTo>
                        <a:pt x="3139" y="2813"/>
                      </a:lnTo>
                      <a:lnTo>
                        <a:pt x="3183" y="2954"/>
                      </a:lnTo>
                      <a:lnTo>
                        <a:pt x="3112" y="3069"/>
                      </a:lnTo>
                      <a:lnTo>
                        <a:pt x="3015" y="3069"/>
                      </a:lnTo>
                      <a:lnTo>
                        <a:pt x="2848" y="2989"/>
                      </a:lnTo>
                      <a:lnTo>
                        <a:pt x="2319" y="3024"/>
                      </a:lnTo>
                      <a:lnTo>
                        <a:pt x="1420" y="3227"/>
                      </a:lnTo>
                      <a:lnTo>
                        <a:pt x="1376" y="3227"/>
                      </a:lnTo>
                      <a:lnTo>
                        <a:pt x="1340" y="3113"/>
                      </a:lnTo>
                      <a:lnTo>
                        <a:pt x="1270" y="3042"/>
                      </a:lnTo>
                      <a:lnTo>
                        <a:pt x="1199" y="2998"/>
                      </a:lnTo>
                      <a:lnTo>
                        <a:pt x="1155" y="2989"/>
                      </a:lnTo>
                      <a:lnTo>
                        <a:pt x="1102" y="3007"/>
                      </a:lnTo>
                      <a:lnTo>
                        <a:pt x="1050" y="3024"/>
                      </a:lnTo>
                      <a:lnTo>
                        <a:pt x="1006" y="3051"/>
                      </a:lnTo>
                      <a:lnTo>
                        <a:pt x="988" y="3104"/>
                      </a:lnTo>
                      <a:lnTo>
                        <a:pt x="970" y="3148"/>
                      </a:lnTo>
                      <a:lnTo>
                        <a:pt x="917" y="3174"/>
                      </a:lnTo>
                      <a:lnTo>
                        <a:pt x="856" y="3201"/>
                      </a:lnTo>
                      <a:lnTo>
                        <a:pt x="812" y="3227"/>
                      </a:lnTo>
                      <a:lnTo>
                        <a:pt x="820" y="3774"/>
                      </a:lnTo>
                      <a:lnTo>
                        <a:pt x="776" y="4003"/>
                      </a:lnTo>
                      <a:lnTo>
                        <a:pt x="1041" y="4091"/>
                      </a:lnTo>
                      <a:lnTo>
                        <a:pt x="1305" y="4073"/>
                      </a:lnTo>
                      <a:lnTo>
                        <a:pt x="2169" y="3756"/>
                      </a:lnTo>
                      <a:lnTo>
                        <a:pt x="2486" y="3694"/>
                      </a:lnTo>
                      <a:lnTo>
                        <a:pt x="3121" y="3924"/>
                      </a:lnTo>
                      <a:lnTo>
                        <a:pt x="3447" y="3897"/>
                      </a:lnTo>
                      <a:lnTo>
                        <a:pt x="3597" y="3835"/>
                      </a:lnTo>
                      <a:lnTo>
                        <a:pt x="3738" y="3747"/>
                      </a:lnTo>
                      <a:lnTo>
                        <a:pt x="4047" y="3677"/>
                      </a:lnTo>
                      <a:lnTo>
                        <a:pt x="4311" y="3500"/>
                      </a:lnTo>
                      <a:lnTo>
                        <a:pt x="4505" y="3121"/>
                      </a:lnTo>
                      <a:lnTo>
                        <a:pt x="4690" y="2205"/>
                      </a:lnTo>
                      <a:lnTo>
                        <a:pt x="4990" y="1878"/>
                      </a:lnTo>
                      <a:lnTo>
                        <a:pt x="4937" y="1843"/>
                      </a:lnTo>
                      <a:lnTo>
                        <a:pt x="4875" y="1826"/>
                      </a:lnTo>
                      <a:lnTo>
                        <a:pt x="4831" y="1693"/>
                      </a:lnTo>
                      <a:lnTo>
                        <a:pt x="4919" y="1640"/>
                      </a:lnTo>
                      <a:lnTo>
                        <a:pt x="5104" y="1676"/>
                      </a:lnTo>
                      <a:lnTo>
                        <a:pt x="5254" y="1746"/>
                      </a:lnTo>
                      <a:lnTo>
                        <a:pt x="5510" y="1737"/>
                      </a:lnTo>
                      <a:lnTo>
                        <a:pt x="5598" y="1729"/>
                      </a:lnTo>
                      <a:lnTo>
                        <a:pt x="5625" y="1517"/>
                      </a:lnTo>
                      <a:lnTo>
                        <a:pt x="5730" y="1332"/>
                      </a:lnTo>
                      <a:lnTo>
                        <a:pt x="5704" y="1129"/>
                      </a:lnTo>
                      <a:lnTo>
                        <a:pt x="5369" y="1068"/>
                      </a:lnTo>
                      <a:lnTo>
                        <a:pt x="5281" y="750"/>
                      </a:lnTo>
                      <a:lnTo>
                        <a:pt x="5431" y="371"/>
                      </a:lnTo>
                      <a:lnTo>
                        <a:pt x="5457" y="283"/>
                      </a:lnTo>
                      <a:lnTo>
                        <a:pt x="5184" y="212"/>
                      </a:lnTo>
                      <a:lnTo>
                        <a:pt x="5025" y="98"/>
                      </a:lnTo>
                      <a:lnTo>
                        <a:pt x="4840" y="54"/>
                      </a:lnTo>
                      <a:lnTo>
                        <a:pt x="4778"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1" name="Google Shape;3119;p54">
                  <a:extLst>
                    <a:ext uri="{FF2B5EF4-FFF2-40B4-BE49-F238E27FC236}">
                      <a16:creationId xmlns:a16="http://schemas.microsoft.com/office/drawing/2014/main" id="{9F904BD9-0A78-604F-21EC-CD0D1DA6D3A9}"/>
                    </a:ext>
                  </a:extLst>
                </p:cNvPr>
                <p:cNvSpPr/>
                <p:nvPr/>
              </p:nvSpPr>
              <p:spPr>
                <a:xfrm>
                  <a:off x="3398853" y="1850002"/>
                  <a:ext cx="216263" cy="107207"/>
                </a:xfrm>
                <a:custGeom>
                  <a:avLst/>
                  <a:gdLst/>
                  <a:ahLst/>
                  <a:cxnLst/>
                  <a:rect l="l" t="t" r="r" b="b"/>
                  <a:pathLst>
                    <a:path w="3042" h="1508" extrusionOk="0">
                      <a:moveTo>
                        <a:pt x="2865" y="0"/>
                      </a:moveTo>
                      <a:lnTo>
                        <a:pt x="2830" y="9"/>
                      </a:lnTo>
                      <a:lnTo>
                        <a:pt x="2733" y="89"/>
                      </a:lnTo>
                      <a:lnTo>
                        <a:pt x="2548" y="194"/>
                      </a:lnTo>
                      <a:lnTo>
                        <a:pt x="2354" y="256"/>
                      </a:lnTo>
                      <a:lnTo>
                        <a:pt x="988" y="388"/>
                      </a:lnTo>
                      <a:lnTo>
                        <a:pt x="908" y="424"/>
                      </a:lnTo>
                      <a:lnTo>
                        <a:pt x="714" y="617"/>
                      </a:lnTo>
                      <a:lnTo>
                        <a:pt x="573" y="714"/>
                      </a:lnTo>
                      <a:lnTo>
                        <a:pt x="247" y="838"/>
                      </a:lnTo>
                      <a:lnTo>
                        <a:pt x="88" y="944"/>
                      </a:lnTo>
                      <a:lnTo>
                        <a:pt x="0" y="1129"/>
                      </a:lnTo>
                      <a:lnTo>
                        <a:pt x="256" y="1190"/>
                      </a:lnTo>
                      <a:lnTo>
                        <a:pt x="661" y="1446"/>
                      </a:lnTo>
                      <a:lnTo>
                        <a:pt x="908" y="1508"/>
                      </a:lnTo>
                      <a:lnTo>
                        <a:pt x="952" y="1490"/>
                      </a:lnTo>
                      <a:lnTo>
                        <a:pt x="943" y="820"/>
                      </a:lnTo>
                      <a:lnTo>
                        <a:pt x="943" y="820"/>
                      </a:lnTo>
                      <a:lnTo>
                        <a:pt x="1270" y="908"/>
                      </a:lnTo>
                      <a:lnTo>
                        <a:pt x="1411" y="882"/>
                      </a:lnTo>
                      <a:lnTo>
                        <a:pt x="2116" y="1199"/>
                      </a:lnTo>
                      <a:lnTo>
                        <a:pt x="2407" y="1138"/>
                      </a:lnTo>
                      <a:lnTo>
                        <a:pt x="2706" y="829"/>
                      </a:lnTo>
                      <a:lnTo>
                        <a:pt x="2997" y="882"/>
                      </a:lnTo>
                      <a:lnTo>
                        <a:pt x="3041" y="653"/>
                      </a:lnTo>
                      <a:lnTo>
                        <a:pt x="3033" y="106"/>
                      </a:lnTo>
                      <a:lnTo>
                        <a:pt x="2980" y="133"/>
                      </a:lnTo>
                      <a:lnTo>
                        <a:pt x="2936" y="89"/>
                      </a:lnTo>
                      <a:lnTo>
                        <a:pt x="2900" y="36"/>
                      </a:lnTo>
                      <a:lnTo>
                        <a:pt x="2865"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2" name="Google Shape;3120;p54">
                  <a:extLst>
                    <a:ext uri="{FF2B5EF4-FFF2-40B4-BE49-F238E27FC236}">
                      <a16:creationId xmlns:a16="http://schemas.microsoft.com/office/drawing/2014/main" id="{3F785FDB-ED58-5AC9-9A9C-BF5BF468B421}"/>
                    </a:ext>
                  </a:extLst>
                </p:cNvPr>
                <p:cNvSpPr/>
                <p:nvPr/>
              </p:nvSpPr>
              <p:spPr>
                <a:xfrm>
                  <a:off x="3176326" y="1890740"/>
                  <a:ext cx="607343" cy="458191"/>
                </a:xfrm>
                <a:custGeom>
                  <a:avLst/>
                  <a:gdLst/>
                  <a:ahLst/>
                  <a:cxnLst/>
                  <a:rect l="l" t="t" r="r" b="b"/>
                  <a:pathLst>
                    <a:path w="8543" h="6445" extrusionOk="0">
                      <a:moveTo>
                        <a:pt x="7837" y="0"/>
                      </a:moveTo>
                      <a:lnTo>
                        <a:pt x="7520" y="62"/>
                      </a:lnTo>
                      <a:lnTo>
                        <a:pt x="6656" y="379"/>
                      </a:lnTo>
                      <a:lnTo>
                        <a:pt x="6392" y="397"/>
                      </a:lnTo>
                      <a:lnTo>
                        <a:pt x="6127" y="309"/>
                      </a:lnTo>
                      <a:lnTo>
                        <a:pt x="5836" y="256"/>
                      </a:lnTo>
                      <a:lnTo>
                        <a:pt x="5537" y="565"/>
                      </a:lnTo>
                      <a:lnTo>
                        <a:pt x="5246" y="626"/>
                      </a:lnTo>
                      <a:lnTo>
                        <a:pt x="4541" y="309"/>
                      </a:lnTo>
                      <a:lnTo>
                        <a:pt x="4400" y="335"/>
                      </a:lnTo>
                      <a:lnTo>
                        <a:pt x="4073" y="247"/>
                      </a:lnTo>
                      <a:lnTo>
                        <a:pt x="4073" y="247"/>
                      </a:lnTo>
                      <a:lnTo>
                        <a:pt x="4082" y="917"/>
                      </a:lnTo>
                      <a:lnTo>
                        <a:pt x="4188" y="829"/>
                      </a:lnTo>
                      <a:lnTo>
                        <a:pt x="4232" y="811"/>
                      </a:lnTo>
                      <a:lnTo>
                        <a:pt x="4479" y="811"/>
                      </a:lnTo>
                      <a:lnTo>
                        <a:pt x="4585" y="838"/>
                      </a:lnTo>
                      <a:lnTo>
                        <a:pt x="4690" y="908"/>
                      </a:lnTo>
                      <a:lnTo>
                        <a:pt x="4796" y="996"/>
                      </a:lnTo>
                      <a:lnTo>
                        <a:pt x="4884" y="1102"/>
                      </a:lnTo>
                      <a:lnTo>
                        <a:pt x="4814" y="1138"/>
                      </a:lnTo>
                      <a:lnTo>
                        <a:pt x="4726" y="1164"/>
                      </a:lnTo>
                      <a:lnTo>
                        <a:pt x="4655" y="1164"/>
                      </a:lnTo>
                      <a:lnTo>
                        <a:pt x="4594" y="1146"/>
                      </a:lnTo>
                      <a:lnTo>
                        <a:pt x="4558" y="1208"/>
                      </a:lnTo>
                      <a:lnTo>
                        <a:pt x="4523" y="1376"/>
                      </a:lnTo>
                      <a:lnTo>
                        <a:pt x="4479" y="1455"/>
                      </a:lnTo>
                      <a:lnTo>
                        <a:pt x="4417" y="1508"/>
                      </a:lnTo>
                      <a:lnTo>
                        <a:pt x="4338" y="1525"/>
                      </a:lnTo>
                      <a:lnTo>
                        <a:pt x="3976" y="1534"/>
                      </a:lnTo>
                      <a:lnTo>
                        <a:pt x="3897" y="1517"/>
                      </a:lnTo>
                      <a:lnTo>
                        <a:pt x="3809" y="1490"/>
                      </a:lnTo>
                      <a:lnTo>
                        <a:pt x="3703" y="1420"/>
                      </a:lnTo>
                      <a:lnTo>
                        <a:pt x="3642" y="1393"/>
                      </a:lnTo>
                      <a:lnTo>
                        <a:pt x="3509" y="1358"/>
                      </a:lnTo>
                      <a:lnTo>
                        <a:pt x="3368" y="1358"/>
                      </a:lnTo>
                      <a:lnTo>
                        <a:pt x="3210" y="1305"/>
                      </a:lnTo>
                      <a:lnTo>
                        <a:pt x="3121" y="1296"/>
                      </a:lnTo>
                      <a:lnTo>
                        <a:pt x="3051" y="1331"/>
                      </a:lnTo>
                      <a:lnTo>
                        <a:pt x="2980" y="1393"/>
                      </a:lnTo>
                      <a:lnTo>
                        <a:pt x="2716" y="1437"/>
                      </a:lnTo>
                      <a:lnTo>
                        <a:pt x="2681" y="1455"/>
                      </a:lnTo>
                      <a:lnTo>
                        <a:pt x="2628" y="1499"/>
                      </a:lnTo>
                      <a:lnTo>
                        <a:pt x="2593" y="1517"/>
                      </a:lnTo>
                      <a:lnTo>
                        <a:pt x="2557" y="1517"/>
                      </a:lnTo>
                      <a:lnTo>
                        <a:pt x="2540" y="1490"/>
                      </a:lnTo>
                      <a:lnTo>
                        <a:pt x="2522" y="1481"/>
                      </a:lnTo>
                      <a:lnTo>
                        <a:pt x="2496" y="1517"/>
                      </a:lnTo>
                      <a:lnTo>
                        <a:pt x="2284" y="1420"/>
                      </a:lnTo>
                      <a:lnTo>
                        <a:pt x="2072" y="1358"/>
                      </a:lnTo>
                      <a:lnTo>
                        <a:pt x="1852" y="1358"/>
                      </a:lnTo>
                      <a:lnTo>
                        <a:pt x="1667" y="1437"/>
                      </a:lnTo>
                      <a:lnTo>
                        <a:pt x="1685" y="1376"/>
                      </a:lnTo>
                      <a:lnTo>
                        <a:pt x="1711" y="1340"/>
                      </a:lnTo>
                      <a:lnTo>
                        <a:pt x="1746" y="1323"/>
                      </a:lnTo>
                      <a:lnTo>
                        <a:pt x="1799" y="1305"/>
                      </a:lnTo>
                      <a:lnTo>
                        <a:pt x="1394" y="1323"/>
                      </a:lnTo>
                      <a:lnTo>
                        <a:pt x="1156" y="1287"/>
                      </a:lnTo>
                      <a:lnTo>
                        <a:pt x="503" y="1314"/>
                      </a:lnTo>
                      <a:lnTo>
                        <a:pt x="486" y="1358"/>
                      </a:lnTo>
                      <a:lnTo>
                        <a:pt x="265" y="1693"/>
                      </a:lnTo>
                      <a:lnTo>
                        <a:pt x="124" y="1807"/>
                      </a:lnTo>
                      <a:lnTo>
                        <a:pt x="1" y="1931"/>
                      </a:lnTo>
                      <a:lnTo>
                        <a:pt x="36" y="2142"/>
                      </a:lnTo>
                      <a:lnTo>
                        <a:pt x="142" y="2169"/>
                      </a:lnTo>
                      <a:lnTo>
                        <a:pt x="230" y="2372"/>
                      </a:lnTo>
                      <a:lnTo>
                        <a:pt x="186" y="2477"/>
                      </a:lnTo>
                      <a:lnTo>
                        <a:pt x="124" y="2574"/>
                      </a:lnTo>
                      <a:lnTo>
                        <a:pt x="63" y="2812"/>
                      </a:lnTo>
                      <a:lnTo>
                        <a:pt x="89" y="2927"/>
                      </a:lnTo>
                      <a:lnTo>
                        <a:pt x="168" y="3156"/>
                      </a:lnTo>
                      <a:lnTo>
                        <a:pt x="345" y="3429"/>
                      </a:lnTo>
                      <a:lnTo>
                        <a:pt x="592" y="3606"/>
                      </a:lnTo>
                      <a:lnTo>
                        <a:pt x="680" y="3756"/>
                      </a:lnTo>
                      <a:lnTo>
                        <a:pt x="759" y="4179"/>
                      </a:lnTo>
                      <a:lnTo>
                        <a:pt x="847" y="4364"/>
                      </a:lnTo>
                      <a:lnTo>
                        <a:pt x="2072" y="5281"/>
                      </a:lnTo>
                      <a:lnTo>
                        <a:pt x="2443" y="5325"/>
                      </a:lnTo>
                      <a:lnTo>
                        <a:pt x="2540" y="5219"/>
                      </a:lnTo>
                      <a:lnTo>
                        <a:pt x="2663" y="5166"/>
                      </a:lnTo>
                      <a:lnTo>
                        <a:pt x="2734" y="5263"/>
                      </a:lnTo>
                      <a:lnTo>
                        <a:pt x="2716" y="5386"/>
                      </a:lnTo>
                      <a:lnTo>
                        <a:pt x="2725" y="5554"/>
                      </a:lnTo>
                      <a:lnTo>
                        <a:pt x="2813" y="5704"/>
                      </a:lnTo>
                      <a:lnTo>
                        <a:pt x="2839" y="5774"/>
                      </a:lnTo>
                      <a:lnTo>
                        <a:pt x="2892" y="5809"/>
                      </a:lnTo>
                      <a:lnTo>
                        <a:pt x="2980" y="5818"/>
                      </a:lnTo>
                      <a:lnTo>
                        <a:pt x="3042" y="5862"/>
                      </a:lnTo>
                      <a:lnTo>
                        <a:pt x="3157" y="6039"/>
                      </a:lnTo>
                      <a:lnTo>
                        <a:pt x="3342" y="6065"/>
                      </a:lnTo>
                      <a:lnTo>
                        <a:pt x="3553" y="6021"/>
                      </a:lnTo>
                      <a:lnTo>
                        <a:pt x="3774" y="6030"/>
                      </a:lnTo>
                      <a:lnTo>
                        <a:pt x="3915" y="6100"/>
                      </a:lnTo>
                      <a:lnTo>
                        <a:pt x="4029" y="6215"/>
                      </a:lnTo>
                      <a:lnTo>
                        <a:pt x="4197" y="6356"/>
                      </a:lnTo>
                      <a:lnTo>
                        <a:pt x="4408" y="6409"/>
                      </a:lnTo>
                      <a:lnTo>
                        <a:pt x="4735" y="6444"/>
                      </a:lnTo>
                      <a:lnTo>
                        <a:pt x="5061" y="6444"/>
                      </a:lnTo>
                      <a:lnTo>
                        <a:pt x="5316" y="6277"/>
                      </a:lnTo>
                      <a:lnTo>
                        <a:pt x="5352" y="5880"/>
                      </a:lnTo>
                      <a:lnTo>
                        <a:pt x="5449" y="5607"/>
                      </a:lnTo>
                      <a:lnTo>
                        <a:pt x="5660" y="5448"/>
                      </a:lnTo>
                      <a:lnTo>
                        <a:pt x="5792" y="4963"/>
                      </a:lnTo>
                      <a:lnTo>
                        <a:pt x="5889" y="4866"/>
                      </a:lnTo>
                      <a:lnTo>
                        <a:pt x="5933" y="4725"/>
                      </a:lnTo>
                      <a:lnTo>
                        <a:pt x="6030" y="4364"/>
                      </a:lnTo>
                      <a:lnTo>
                        <a:pt x="6268" y="4196"/>
                      </a:lnTo>
                      <a:lnTo>
                        <a:pt x="6753" y="4390"/>
                      </a:lnTo>
                      <a:lnTo>
                        <a:pt x="6894" y="4408"/>
                      </a:lnTo>
                      <a:lnTo>
                        <a:pt x="7044" y="4390"/>
                      </a:lnTo>
                      <a:lnTo>
                        <a:pt x="7176" y="4320"/>
                      </a:lnTo>
                      <a:lnTo>
                        <a:pt x="7317" y="4302"/>
                      </a:lnTo>
                      <a:lnTo>
                        <a:pt x="7582" y="4364"/>
                      </a:lnTo>
                      <a:lnTo>
                        <a:pt x="7811" y="4276"/>
                      </a:lnTo>
                      <a:lnTo>
                        <a:pt x="7749" y="3967"/>
                      </a:lnTo>
                      <a:lnTo>
                        <a:pt x="7626" y="3870"/>
                      </a:lnTo>
                      <a:lnTo>
                        <a:pt x="7388" y="3526"/>
                      </a:lnTo>
                      <a:lnTo>
                        <a:pt x="7379" y="3218"/>
                      </a:lnTo>
                      <a:lnTo>
                        <a:pt x="7511" y="2610"/>
                      </a:lnTo>
                      <a:lnTo>
                        <a:pt x="7952" y="2142"/>
                      </a:lnTo>
                      <a:lnTo>
                        <a:pt x="8040" y="1975"/>
                      </a:lnTo>
                      <a:lnTo>
                        <a:pt x="8014" y="1807"/>
                      </a:lnTo>
                      <a:lnTo>
                        <a:pt x="7908" y="1675"/>
                      </a:lnTo>
                      <a:lnTo>
                        <a:pt x="7890" y="1481"/>
                      </a:lnTo>
                      <a:lnTo>
                        <a:pt x="7952" y="1331"/>
                      </a:lnTo>
                      <a:lnTo>
                        <a:pt x="7996" y="1173"/>
                      </a:lnTo>
                      <a:lnTo>
                        <a:pt x="8023" y="970"/>
                      </a:lnTo>
                      <a:lnTo>
                        <a:pt x="8102" y="811"/>
                      </a:lnTo>
                      <a:lnTo>
                        <a:pt x="8199" y="714"/>
                      </a:lnTo>
                      <a:lnTo>
                        <a:pt x="8296" y="635"/>
                      </a:lnTo>
                      <a:lnTo>
                        <a:pt x="8543" y="494"/>
                      </a:lnTo>
                      <a:lnTo>
                        <a:pt x="8499" y="362"/>
                      </a:lnTo>
                      <a:lnTo>
                        <a:pt x="8472" y="230"/>
                      </a:lnTo>
                      <a:lnTo>
                        <a:pt x="7837"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3" name="Google Shape;3121;p54">
                  <a:extLst>
                    <a:ext uri="{FF2B5EF4-FFF2-40B4-BE49-F238E27FC236}">
                      <a16:creationId xmlns:a16="http://schemas.microsoft.com/office/drawing/2014/main" id="{BF029032-20B3-F4C9-98F2-B4BCE81779B1}"/>
                    </a:ext>
                  </a:extLst>
                </p:cNvPr>
                <p:cNvSpPr/>
                <p:nvPr/>
              </p:nvSpPr>
              <p:spPr>
                <a:xfrm>
                  <a:off x="2685060" y="1869411"/>
                  <a:ext cx="777752" cy="693223"/>
                </a:xfrm>
                <a:custGeom>
                  <a:avLst/>
                  <a:gdLst/>
                  <a:ahLst/>
                  <a:cxnLst/>
                  <a:rect l="l" t="t" r="r" b="b"/>
                  <a:pathLst>
                    <a:path w="10940" h="9751" extrusionOk="0">
                      <a:moveTo>
                        <a:pt x="4619" y="1"/>
                      </a:moveTo>
                      <a:lnTo>
                        <a:pt x="4496" y="45"/>
                      </a:lnTo>
                      <a:lnTo>
                        <a:pt x="4381" y="98"/>
                      </a:lnTo>
                      <a:lnTo>
                        <a:pt x="4372" y="36"/>
                      </a:lnTo>
                      <a:lnTo>
                        <a:pt x="4346" y="18"/>
                      </a:lnTo>
                      <a:lnTo>
                        <a:pt x="4311" y="36"/>
                      </a:lnTo>
                      <a:lnTo>
                        <a:pt x="4275" y="80"/>
                      </a:lnTo>
                      <a:lnTo>
                        <a:pt x="4249" y="151"/>
                      </a:lnTo>
                      <a:lnTo>
                        <a:pt x="4275" y="203"/>
                      </a:lnTo>
                      <a:lnTo>
                        <a:pt x="4311" y="247"/>
                      </a:lnTo>
                      <a:lnTo>
                        <a:pt x="4293" y="380"/>
                      </a:lnTo>
                      <a:lnTo>
                        <a:pt x="4372" y="441"/>
                      </a:lnTo>
                      <a:lnTo>
                        <a:pt x="4460" y="485"/>
                      </a:lnTo>
                      <a:lnTo>
                        <a:pt x="4513" y="485"/>
                      </a:lnTo>
                      <a:lnTo>
                        <a:pt x="4619" y="530"/>
                      </a:lnTo>
                      <a:lnTo>
                        <a:pt x="4707" y="494"/>
                      </a:lnTo>
                      <a:lnTo>
                        <a:pt x="4857" y="353"/>
                      </a:lnTo>
                      <a:lnTo>
                        <a:pt x="4945" y="327"/>
                      </a:lnTo>
                      <a:lnTo>
                        <a:pt x="5122" y="300"/>
                      </a:lnTo>
                      <a:lnTo>
                        <a:pt x="5210" y="230"/>
                      </a:lnTo>
                      <a:lnTo>
                        <a:pt x="5183" y="124"/>
                      </a:lnTo>
                      <a:lnTo>
                        <a:pt x="5069" y="62"/>
                      </a:lnTo>
                      <a:lnTo>
                        <a:pt x="4936" y="45"/>
                      </a:lnTo>
                      <a:lnTo>
                        <a:pt x="4857" y="62"/>
                      </a:lnTo>
                      <a:lnTo>
                        <a:pt x="4742" y="1"/>
                      </a:lnTo>
                      <a:close/>
                      <a:moveTo>
                        <a:pt x="4628" y="962"/>
                      </a:moveTo>
                      <a:lnTo>
                        <a:pt x="4593" y="1023"/>
                      </a:lnTo>
                      <a:lnTo>
                        <a:pt x="4549" y="1094"/>
                      </a:lnTo>
                      <a:lnTo>
                        <a:pt x="4496" y="1138"/>
                      </a:lnTo>
                      <a:lnTo>
                        <a:pt x="4513" y="1208"/>
                      </a:lnTo>
                      <a:lnTo>
                        <a:pt x="4575" y="1252"/>
                      </a:lnTo>
                      <a:lnTo>
                        <a:pt x="4663" y="1261"/>
                      </a:lnTo>
                      <a:lnTo>
                        <a:pt x="4742" y="1279"/>
                      </a:lnTo>
                      <a:lnTo>
                        <a:pt x="4804" y="1314"/>
                      </a:lnTo>
                      <a:lnTo>
                        <a:pt x="4857" y="1305"/>
                      </a:lnTo>
                      <a:lnTo>
                        <a:pt x="4857" y="1261"/>
                      </a:lnTo>
                      <a:lnTo>
                        <a:pt x="4839" y="1244"/>
                      </a:lnTo>
                      <a:lnTo>
                        <a:pt x="4804" y="1244"/>
                      </a:lnTo>
                      <a:lnTo>
                        <a:pt x="4760" y="1200"/>
                      </a:lnTo>
                      <a:lnTo>
                        <a:pt x="4760" y="1129"/>
                      </a:lnTo>
                      <a:lnTo>
                        <a:pt x="4787" y="1076"/>
                      </a:lnTo>
                      <a:lnTo>
                        <a:pt x="4778" y="1032"/>
                      </a:lnTo>
                      <a:lnTo>
                        <a:pt x="4628" y="962"/>
                      </a:lnTo>
                      <a:close/>
                      <a:moveTo>
                        <a:pt x="5333" y="776"/>
                      </a:moveTo>
                      <a:lnTo>
                        <a:pt x="5289" y="847"/>
                      </a:lnTo>
                      <a:lnTo>
                        <a:pt x="5254" y="838"/>
                      </a:lnTo>
                      <a:lnTo>
                        <a:pt x="5210" y="812"/>
                      </a:lnTo>
                      <a:lnTo>
                        <a:pt x="5157" y="838"/>
                      </a:lnTo>
                      <a:lnTo>
                        <a:pt x="5086" y="926"/>
                      </a:lnTo>
                      <a:lnTo>
                        <a:pt x="5042" y="962"/>
                      </a:lnTo>
                      <a:lnTo>
                        <a:pt x="4981" y="988"/>
                      </a:lnTo>
                      <a:lnTo>
                        <a:pt x="4981" y="1023"/>
                      </a:lnTo>
                      <a:lnTo>
                        <a:pt x="5025" y="1085"/>
                      </a:lnTo>
                      <a:lnTo>
                        <a:pt x="5174" y="1235"/>
                      </a:lnTo>
                      <a:lnTo>
                        <a:pt x="5210" y="1252"/>
                      </a:lnTo>
                      <a:lnTo>
                        <a:pt x="5254" y="1252"/>
                      </a:lnTo>
                      <a:lnTo>
                        <a:pt x="5289" y="1261"/>
                      </a:lnTo>
                      <a:lnTo>
                        <a:pt x="5307" y="1296"/>
                      </a:lnTo>
                      <a:lnTo>
                        <a:pt x="5307" y="1376"/>
                      </a:lnTo>
                      <a:lnTo>
                        <a:pt x="5315" y="1411"/>
                      </a:lnTo>
                      <a:lnTo>
                        <a:pt x="5342" y="1438"/>
                      </a:lnTo>
                      <a:lnTo>
                        <a:pt x="5368" y="1482"/>
                      </a:lnTo>
                      <a:lnTo>
                        <a:pt x="5395" y="1508"/>
                      </a:lnTo>
                      <a:lnTo>
                        <a:pt x="5430" y="1508"/>
                      </a:lnTo>
                      <a:lnTo>
                        <a:pt x="5457" y="1526"/>
                      </a:lnTo>
                      <a:lnTo>
                        <a:pt x="5465" y="1587"/>
                      </a:lnTo>
                      <a:lnTo>
                        <a:pt x="5483" y="1649"/>
                      </a:lnTo>
                      <a:lnTo>
                        <a:pt x="5527" y="1649"/>
                      </a:lnTo>
                      <a:lnTo>
                        <a:pt x="5589" y="1605"/>
                      </a:lnTo>
                      <a:lnTo>
                        <a:pt x="5827" y="1684"/>
                      </a:lnTo>
                      <a:lnTo>
                        <a:pt x="5906" y="1693"/>
                      </a:lnTo>
                      <a:lnTo>
                        <a:pt x="5836" y="1799"/>
                      </a:lnTo>
                      <a:lnTo>
                        <a:pt x="5580" y="1931"/>
                      </a:lnTo>
                      <a:lnTo>
                        <a:pt x="5474" y="2090"/>
                      </a:lnTo>
                      <a:lnTo>
                        <a:pt x="5351" y="2125"/>
                      </a:lnTo>
                      <a:lnTo>
                        <a:pt x="5210" y="2107"/>
                      </a:lnTo>
                      <a:lnTo>
                        <a:pt x="5113" y="2072"/>
                      </a:lnTo>
                      <a:lnTo>
                        <a:pt x="4998" y="2134"/>
                      </a:lnTo>
                      <a:lnTo>
                        <a:pt x="4892" y="2107"/>
                      </a:lnTo>
                      <a:lnTo>
                        <a:pt x="4787" y="2055"/>
                      </a:lnTo>
                      <a:lnTo>
                        <a:pt x="4654" y="2028"/>
                      </a:lnTo>
                      <a:lnTo>
                        <a:pt x="4575" y="2046"/>
                      </a:lnTo>
                      <a:lnTo>
                        <a:pt x="4460" y="2125"/>
                      </a:lnTo>
                      <a:lnTo>
                        <a:pt x="4487" y="2178"/>
                      </a:lnTo>
                      <a:lnTo>
                        <a:pt x="4434" y="2442"/>
                      </a:lnTo>
                      <a:lnTo>
                        <a:pt x="4205" y="2575"/>
                      </a:lnTo>
                      <a:lnTo>
                        <a:pt x="3887" y="2918"/>
                      </a:lnTo>
                      <a:lnTo>
                        <a:pt x="3817" y="2945"/>
                      </a:lnTo>
                      <a:lnTo>
                        <a:pt x="3764" y="2989"/>
                      </a:lnTo>
                      <a:lnTo>
                        <a:pt x="3852" y="3174"/>
                      </a:lnTo>
                      <a:lnTo>
                        <a:pt x="4028" y="3253"/>
                      </a:lnTo>
                      <a:lnTo>
                        <a:pt x="4117" y="3262"/>
                      </a:lnTo>
                      <a:lnTo>
                        <a:pt x="4134" y="3306"/>
                      </a:lnTo>
                      <a:lnTo>
                        <a:pt x="4108" y="3421"/>
                      </a:lnTo>
                      <a:lnTo>
                        <a:pt x="4046" y="3615"/>
                      </a:lnTo>
                      <a:lnTo>
                        <a:pt x="4020" y="3773"/>
                      </a:lnTo>
                      <a:lnTo>
                        <a:pt x="3976" y="3915"/>
                      </a:lnTo>
                      <a:lnTo>
                        <a:pt x="3940" y="3959"/>
                      </a:lnTo>
                      <a:lnTo>
                        <a:pt x="3887" y="4064"/>
                      </a:lnTo>
                      <a:lnTo>
                        <a:pt x="3976" y="4197"/>
                      </a:lnTo>
                      <a:lnTo>
                        <a:pt x="4046" y="4258"/>
                      </a:lnTo>
                      <a:lnTo>
                        <a:pt x="4028" y="4505"/>
                      </a:lnTo>
                      <a:lnTo>
                        <a:pt x="3949" y="4752"/>
                      </a:lnTo>
                      <a:lnTo>
                        <a:pt x="3843" y="4981"/>
                      </a:lnTo>
                      <a:lnTo>
                        <a:pt x="3658" y="5113"/>
                      </a:lnTo>
                      <a:lnTo>
                        <a:pt x="3464" y="5202"/>
                      </a:lnTo>
                      <a:lnTo>
                        <a:pt x="3279" y="5334"/>
                      </a:lnTo>
                      <a:lnTo>
                        <a:pt x="3085" y="5413"/>
                      </a:lnTo>
                      <a:lnTo>
                        <a:pt x="2742" y="5298"/>
                      </a:lnTo>
                      <a:lnTo>
                        <a:pt x="2398" y="5237"/>
                      </a:lnTo>
                      <a:lnTo>
                        <a:pt x="2274" y="5307"/>
                      </a:lnTo>
                      <a:lnTo>
                        <a:pt x="2124" y="5290"/>
                      </a:lnTo>
                      <a:lnTo>
                        <a:pt x="1913" y="5290"/>
                      </a:lnTo>
                      <a:lnTo>
                        <a:pt x="1719" y="5448"/>
                      </a:lnTo>
                      <a:lnTo>
                        <a:pt x="1384" y="5589"/>
                      </a:lnTo>
                      <a:lnTo>
                        <a:pt x="1208" y="5739"/>
                      </a:lnTo>
                      <a:lnTo>
                        <a:pt x="1014" y="5801"/>
                      </a:lnTo>
                      <a:lnTo>
                        <a:pt x="591" y="5748"/>
                      </a:lnTo>
                      <a:lnTo>
                        <a:pt x="406" y="5792"/>
                      </a:lnTo>
                      <a:lnTo>
                        <a:pt x="256" y="6259"/>
                      </a:lnTo>
                      <a:lnTo>
                        <a:pt x="265" y="6744"/>
                      </a:lnTo>
                      <a:lnTo>
                        <a:pt x="917" y="6630"/>
                      </a:lnTo>
                      <a:lnTo>
                        <a:pt x="1031" y="6709"/>
                      </a:lnTo>
                      <a:lnTo>
                        <a:pt x="1120" y="6674"/>
                      </a:lnTo>
                      <a:lnTo>
                        <a:pt x="1208" y="6594"/>
                      </a:lnTo>
                      <a:lnTo>
                        <a:pt x="1314" y="6550"/>
                      </a:lnTo>
                      <a:lnTo>
                        <a:pt x="1446" y="6559"/>
                      </a:lnTo>
                      <a:lnTo>
                        <a:pt x="1525" y="6603"/>
                      </a:lnTo>
                      <a:lnTo>
                        <a:pt x="1552" y="6691"/>
                      </a:lnTo>
                      <a:lnTo>
                        <a:pt x="1552" y="6815"/>
                      </a:lnTo>
                      <a:lnTo>
                        <a:pt x="1490" y="7044"/>
                      </a:lnTo>
                      <a:lnTo>
                        <a:pt x="1481" y="7106"/>
                      </a:lnTo>
                      <a:lnTo>
                        <a:pt x="1481" y="7132"/>
                      </a:lnTo>
                      <a:lnTo>
                        <a:pt x="1463" y="7141"/>
                      </a:lnTo>
                      <a:lnTo>
                        <a:pt x="1199" y="7229"/>
                      </a:lnTo>
                      <a:lnTo>
                        <a:pt x="1120" y="7282"/>
                      </a:lnTo>
                      <a:lnTo>
                        <a:pt x="1172" y="7370"/>
                      </a:lnTo>
                      <a:lnTo>
                        <a:pt x="1120" y="7414"/>
                      </a:lnTo>
                      <a:lnTo>
                        <a:pt x="1058" y="7441"/>
                      </a:lnTo>
                      <a:lnTo>
                        <a:pt x="890" y="7449"/>
                      </a:lnTo>
                      <a:lnTo>
                        <a:pt x="899" y="7502"/>
                      </a:lnTo>
                      <a:lnTo>
                        <a:pt x="890" y="7537"/>
                      </a:lnTo>
                      <a:lnTo>
                        <a:pt x="890" y="7582"/>
                      </a:lnTo>
                      <a:lnTo>
                        <a:pt x="890" y="7617"/>
                      </a:lnTo>
                      <a:lnTo>
                        <a:pt x="908" y="7626"/>
                      </a:lnTo>
                      <a:lnTo>
                        <a:pt x="952" y="7661"/>
                      </a:lnTo>
                      <a:lnTo>
                        <a:pt x="458" y="8031"/>
                      </a:lnTo>
                      <a:lnTo>
                        <a:pt x="379" y="8155"/>
                      </a:lnTo>
                      <a:lnTo>
                        <a:pt x="335" y="8190"/>
                      </a:lnTo>
                      <a:lnTo>
                        <a:pt x="282" y="8216"/>
                      </a:lnTo>
                      <a:lnTo>
                        <a:pt x="256" y="8269"/>
                      </a:lnTo>
                      <a:lnTo>
                        <a:pt x="282" y="8357"/>
                      </a:lnTo>
                      <a:lnTo>
                        <a:pt x="282" y="8357"/>
                      </a:lnTo>
                      <a:lnTo>
                        <a:pt x="247" y="8322"/>
                      </a:lnTo>
                      <a:lnTo>
                        <a:pt x="212" y="8287"/>
                      </a:lnTo>
                      <a:lnTo>
                        <a:pt x="168" y="8269"/>
                      </a:lnTo>
                      <a:lnTo>
                        <a:pt x="123" y="8269"/>
                      </a:lnTo>
                      <a:lnTo>
                        <a:pt x="123" y="8234"/>
                      </a:lnTo>
                      <a:lnTo>
                        <a:pt x="203" y="8216"/>
                      </a:lnTo>
                      <a:lnTo>
                        <a:pt x="212" y="8172"/>
                      </a:lnTo>
                      <a:lnTo>
                        <a:pt x="168" y="8146"/>
                      </a:lnTo>
                      <a:lnTo>
                        <a:pt x="106" y="8172"/>
                      </a:lnTo>
                      <a:lnTo>
                        <a:pt x="71" y="8234"/>
                      </a:lnTo>
                      <a:lnTo>
                        <a:pt x="44" y="8357"/>
                      </a:lnTo>
                      <a:lnTo>
                        <a:pt x="0" y="8401"/>
                      </a:lnTo>
                      <a:lnTo>
                        <a:pt x="88" y="8445"/>
                      </a:lnTo>
                      <a:lnTo>
                        <a:pt x="203" y="8454"/>
                      </a:lnTo>
                      <a:lnTo>
                        <a:pt x="423" y="8437"/>
                      </a:lnTo>
                      <a:lnTo>
                        <a:pt x="503" y="8481"/>
                      </a:lnTo>
                      <a:lnTo>
                        <a:pt x="538" y="8569"/>
                      </a:lnTo>
                      <a:lnTo>
                        <a:pt x="564" y="8692"/>
                      </a:lnTo>
                      <a:lnTo>
                        <a:pt x="599" y="8807"/>
                      </a:lnTo>
                      <a:lnTo>
                        <a:pt x="591" y="8869"/>
                      </a:lnTo>
                      <a:lnTo>
                        <a:pt x="661" y="8948"/>
                      </a:lnTo>
                      <a:lnTo>
                        <a:pt x="749" y="9018"/>
                      </a:lnTo>
                      <a:lnTo>
                        <a:pt x="785" y="9036"/>
                      </a:lnTo>
                      <a:lnTo>
                        <a:pt x="1781" y="8313"/>
                      </a:lnTo>
                      <a:lnTo>
                        <a:pt x="1869" y="8216"/>
                      </a:lnTo>
                      <a:lnTo>
                        <a:pt x="1948" y="8075"/>
                      </a:lnTo>
                      <a:lnTo>
                        <a:pt x="2045" y="7943"/>
                      </a:lnTo>
                      <a:lnTo>
                        <a:pt x="2169" y="7872"/>
                      </a:lnTo>
                      <a:lnTo>
                        <a:pt x="2318" y="7811"/>
                      </a:lnTo>
                      <a:lnTo>
                        <a:pt x="3156" y="7264"/>
                      </a:lnTo>
                      <a:lnTo>
                        <a:pt x="3420" y="7317"/>
                      </a:lnTo>
                      <a:lnTo>
                        <a:pt x="3623" y="7502"/>
                      </a:lnTo>
                      <a:lnTo>
                        <a:pt x="3755" y="7775"/>
                      </a:lnTo>
                      <a:lnTo>
                        <a:pt x="4117" y="7590"/>
                      </a:lnTo>
                      <a:lnTo>
                        <a:pt x="4328" y="7687"/>
                      </a:lnTo>
                      <a:lnTo>
                        <a:pt x="4531" y="7855"/>
                      </a:lnTo>
                      <a:lnTo>
                        <a:pt x="4848" y="7943"/>
                      </a:lnTo>
                      <a:lnTo>
                        <a:pt x="5183" y="7899"/>
                      </a:lnTo>
                      <a:lnTo>
                        <a:pt x="5368" y="7917"/>
                      </a:lnTo>
                      <a:lnTo>
                        <a:pt x="5553" y="8005"/>
                      </a:lnTo>
                      <a:lnTo>
                        <a:pt x="5624" y="8014"/>
                      </a:lnTo>
                      <a:lnTo>
                        <a:pt x="5774" y="7987"/>
                      </a:lnTo>
                      <a:lnTo>
                        <a:pt x="5853" y="7987"/>
                      </a:lnTo>
                      <a:lnTo>
                        <a:pt x="5968" y="8172"/>
                      </a:lnTo>
                      <a:lnTo>
                        <a:pt x="5827" y="8428"/>
                      </a:lnTo>
                      <a:lnTo>
                        <a:pt x="5774" y="8639"/>
                      </a:lnTo>
                      <a:lnTo>
                        <a:pt x="5950" y="8719"/>
                      </a:lnTo>
                      <a:lnTo>
                        <a:pt x="6303" y="8595"/>
                      </a:lnTo>
                      <a:lnTo>
                        <a:pt x="6373" y="8639"/>
                      </a:lnTo>
                      <a:lnTo>
                        <a:pt x="6409" y="8719"/>
                      </a:lnTo>
                      <a:lnTo>
                        <a:pt x="6788" y="9133"/>
                      </a:lnTo>
                      <a:lnTo>
                        <a:pt x="7026" y="9671"/>
                      </a:lnTo>
                      <a:lnTo>
                        <a:pt x="7246" y="9750"/>
                      </a:lnTo>
                      <a:lnTo>
                        <a:pt x="7440" y="9671"/>
                      </a:lnTo>
                      <a:lnTo>
                        <a:pt x="7634" y="9627"/>
                      </a:lnTo>
                      <a:lnTo>
                        <a:pt x="7810" y="9521"/>
                      </a:lnTo>
                      <a:lnTo>
                        <a:pt x="7933" y="9353"/>
                      </a:lnTo>
                      <a:lnTo>
                        <a:pt x="8127" y="9318"/>
                      </a:lnTo>
                      <a:lnTo>
                        <a:pt x="8330" y="9336"/>
                      </a:lnTo>
                      <a:lnTo>
                        <a:pt x="8506" y="9318"/>
                      </a:lnTo>
                      <a:lnTo>
                        <a:pt x="8674" y="9265"/>
                      </a:lnTo>
                      <a:lnTo>
                        <a:pt x="9106" y="9045"/>
                      </a:lnTo>
                      <a:lnTo>
                        <a:pt x="9511" y="9115"/>
                      </a:lnTo>
                      <a:lnTo>
                        <a:pt x="9538" y="9054"/>
                      </a:lnTo>
                      <a:lnTo>
                        <a:pt x="9529" y="8904"/>
                      </a:lnTo>
                      <a:lnTo>
                        <a:pt x="9503" y="8833"/>
                      </a:lnTo>
                      <a:lnTo>
                        <a:pt x="9538" y="8622"/>
                      </a:lnTo>
                      <a:lnTo>
                        <a:pt x="9723" y="8534"/>
                      </a:lnTo>
                      <a:lnTo>
                        <a:pt x="10058" y="8419"/>
                      </a:lnTo>
                      <a:lnTo>
                        <a:pt x="10217" y="8313"/>
                      </a:lnTo>
                      <a:lnTo>
                        <a:pt x="10349" y="8049"/>
                      </a:lnTo>
                      <a:lnTo>
                        <a:pt x="10393" y="7969"/>
                      </a:lnTo>
                      <a:lnTo>
                        <a:pt x="10499" y="7837"/>
                      </a:lnTo>
                      <a:lnTo>
                        <a:pt x="10604" y="7652"/>
                      </a:lnTo>
                      <a:lnTo>
                        <a:pt x="10666" y="7229"/>
                      </a:lnTo>
                      <a:lnTo>
                        <a:pt x="10728" y="7053"/>
                      </a:lnTo>
                      <a:lnTo>
                        <a:pt x="10781" y="7000"/>
                      </a:lnTo>
                      <a:lnTo>
                        <a:pt x="10816" y="6929"/>
                      </a:lnTo>
                      <a:lnTo>
                        <a:pt x="10816" y="6815"/>
                      </a:lnTo>
                      <a:lnTo>
                        <a:pt x="10842" y="6691"/>
                      </a:lnTo>
                      <a:lnTo>
                        <a:pt x="10939" y="6515"/>
                      </a:lnTo>
                      <a:lnTo>
                        <a:pt x="10825" y="6400"/>
                      </a:lnTo>
                      <a:lnTo>
                        <a:pt x="10684" y="6330"/>
                      </a:lnTo>
                      <a:lnTo>
                        <a:pt x="10463" y="6321"/>
                      </a:lnTo>
                      <a:lnTo>
                        <a:pt x="10252" y="6365"/>
                      </a:lnTo>
                      <a:lnTo>
                        <a:pt x="10067" y="6339"/>
                      </a:lnTo>
                      <a:lnTo>
                        <a:pt x="9952" y="6162"/>
                      </a:lnTo>
                      <a:lnTo>
                        <a:pt x="9890" y="6118"/>
                      </a:lnTo>
                      <a:lnTo>
                        <a:pt x="9802" y="6109"/>
                      </a:lnTo>
                      <a:lnTo>
                        <a:pt x="9749" y="6074"/>
                      </a:lnTo>
                      <a:lnTo>
                        <a:pt x="9723" y="6004"/>
                      </a:lnTo>
                      <a:lnTo>
                        <a:pt x="9635" y="5854"/>
                      </a:lnTo>
                      <a:lnTo>
                        <a:pt x="9626" y="5686"/>
                      </a:lnTo>
                      <a:lnTo>
                        <a:pt x="9644" y="5563"/>
                      </a:lnTo>
                      <a:lnTo>
                        <a:pt x="9573" y="5466"/>
                      </a:lnTo>
                      <a:lnTo>
                        <a:pt x="9450" y="5519"/>
                      </a:lnTo>
                      <a:lnTo>
                        <a:pt x="9353" y="5625"/>
                      </a:lnTo>
                      <a:lnTo>
                        <a:pt x="8982" y="5581"/>
                      </a:lnTo>
                      <a:lnTo>
                        <a:pt x="7757" y="4664"/>
                      </a:lnTo>
                      <a:lnTo>
                        <a:pt x="7669" y="4479"/>
                      </a:lnTo>
                      <a:lnTo>
                        <a:pt x="7590" y="4056"/>
                      </a:lnTo>
                      <a:lnTo>
                        <a:pt x="7502" y="3906"/>
                      </a:lnTo>
                      <a:lnTo>
                        <a:pt x="7255" y="3729"/>
                      </a:lnTo>
                      <a:lnTo>
                        <a:pt x="7078" y="3456"/>
                      </a:lnTo>
                      <a:lnTo>
                        <a:pt x="6999" y="3227"/>
                      </a:lnTo>
                      <a:lnTo>
                        <a:pt x="6973" y="3112"/>
                      </a:lnTo>
                      <a:lnTo>
                        <a:pt x="7034" y="2874"/>
                      </a:lnTo>
                      <a:lnTo>
                        <a:pt x="7096" y="2777"/>
                      </a:lnTo>
                      <a:lnTo>
                        <a:pt x="7140" y="2672"/>
                      </a:lnTo>
                      <a:lnTo>
                        <a:pt x="7052" y="2469"/>
                      </a:lnTo>
                      <a:lnTo>
                        <a:pt x="6946" y="2442"/>
                      </a:lnTo>
                      <a:lnTo>
                        <a:pt x="6911" y="2231"/>
                      </a:lnTo>
                      <a:lnTo>
                        <a:pt x="7034" y="2107"/>
                      </a:lnTo>
                      <a:lnTo>
                        <a:pt x="7175" y="1993"/>
                      </a:lnTo>
                      <a:lnTo>
                        <a:pt x="7396" y="1658"/>
                      </a:lnTo>
                      <a:lnTo>
                        <a:pt x="7413" y="1614"/>
                      </a:lnTo>
                      <a:lnTo>
                        <a:pt x="6964" y="1631"/>
                      </a:lnTo>
                      <a:lnTo>
                        <a:pt x="6576" y="1781"/>
                      </a:lnTo>
                      <a:lnTo>
                        <a:pt x="6188" y="1817"/>
                      </a:lnTo>
                      <a:lnTo>
                        <a:pt x="6021" y="1764"/>
                      </a:lnTo>
                      <a:lnTo>
                        <a:pt x="6003" y="1605"/>
                      </a:lnTo>
                      <a:lnTo>
                        <a:pt x="6126" y="1508"/>
                      </a:lnTo>
                      <a:lnTo>
                        <a:pt x="6523" y="1296"/>
                      </a:lnTo>
                      <a:lnTo>
                        <a:pt x="6611" y="1155"/>
                      </a:lnTo>
                      <a:lnTo>
                        <a:pt x="6514" y="1050"/>
                      </a:lnTo>
                      <a:lnTo>
                        <a:pt x="6312" y="979"/>
                      </a:lnTo>
                      <a:lnTo>
                        <a:pt x="5545" y="856"/>
                      </a:lnTo>
                      <a:lnTo>
                        <a:pt x="5501" y="873"/>
                      </a:lnTo>
                      <a:lnTo>
                        <a:pt x="5483" y="891"/>
                      </a:lnTo>
                      <a:lnTo>
                        <a:pt x="5474" y="909"/>
                      </a:lnTo>
                      <a:lnTo>
                        <a:pt x="5430" y="909"/>
                      </a:lnTo>
                      <a:lnTo>
                        <a:pt x="5421" y="891"/>
                      </a:lnTo>
                      <a:lnTo>
                        <a:pt x="5333" y="776"/>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4" name="Google Shape;3122;p54">
                  <a:extLst>
                    <a:ext uri="{FF2B5EF4-FFF2-40B4-BE49-F238E27FC236}">
                      <a16:creationId xmlns:a16="http://schemas.microsoft.com/office/drawing/2014/main" id="{21D5C518-4054-E117-7C3F-ECCF7C4DD551}"/>
                    </a:ext>
                  </a:extLst>
                </p:cNvPr>
                <p:cNvSpPr/>
                <p:nvPr/>
              </p:nvSpPr>
              <p:spPr>
                <a:xfrm>
                  <a:off x="2560928" y="2385845"/>
                  <a:ext cx="767728" cy="666208"/>
                </a:xfrm>
                <a:custGeom>
                  <a:avLst/>
                  <a:gdLst/>
                  <a:ahLst/>
                  <a:cxnLst/>
                  <a:rect l="l" t="t" r="r" b="b"/>
                  <a:pathLst>
                    <a:path w="10799" h="9371" extrusionOk="0">
                      <a:moveTo>
                        <a:pt x="4902" y="0"/>
                      </a:moveTo>
                      <a:lnTo>
                        <a:pt x="4064" y="547"/>
                      </a:lnTo>
                      <a:lnTo>
                        <a:pt x="3915" y="608"/>
                      </a:lnTo>
                      <a:lnTo>
                        <a:pt x="3791" y="679"/>
                      </a:lnTo>
                      <a:lnTo>
                        <a:pt x="3694" y="811"/>
                      </a:lnTo>
                      <a:lnTo>
                        <a:pt x="3615" y="952"/>
                      </a:lnTo>
                      <a:lnTo>
                        <a:pt x="3527" y="1049"/>
                      </a:lnTo>
                      <a:lnTo>
                        <a:pt x="2531" y="1772"/>
                      </a:lnTo>
                      <a:lnTo>
                        <a:pt x="2672" y="1843"/>
                      </a:lnTo>
                      <a:lnTo>
                        <a:pt x="2742" y="1895"/>
                      </a:lnTo>
                      <a:lnTo>
                        <a:pt x="2866" y="2063"/>
                      </a:lnTo>
                      <a:lnTo>
                        <a:pt x="2980" y="2239"/>
                      </a:lnTo>
                      <a:lnTo>
                        <a:pt x="3015" y="2354"/>
                      </a:lnTo>
                      <a:lnTo>
                        <a:pt x="2971" y="2407"/>
                      </a:lnTo>
                      <a:lnTo>
                        <a:pt x="2874" y="2433"/>
                      </a:lnTo>
                      <a:lnTo>
                        <a:pt x="2760" y="2504"/>
                      </a:lnTo>
                      <a:lnTo>
                        <a:pt x="2654" y="2583"/>
                      </a:lnTo>
                      <a:lnTo>
                        <a:pt x="2601" y="2654"/>
                      </a:lnTo>
                      <a:lnTo>
                        <a:pt x="2698" y="2654"/>
                      </a:lnTo>
                      <a:lnTo>
                        <a:pt x="2698" y="2698"/>
                      </a:lnTo>
                      <a:lnTo>
                        <a:pt x="2628" y="2795"/>
                      </a:lnTo>
                      <a:lnTo>
                        <a:pt x="2619" y="2944"/>
                      </a:lnTo>
                      <a:lnTo>
                        <a:pt x="2654" y="3085"/>
                      </a:lnTo>
                      <a:lnTo>
                        <a:pt x="2742" y="3138"/>
                      </a:lnTo>
                      <a:lnTo>
                        <a:pt x="2813" y="3165"/>
                      </a:lnTo>
                      <a:lnTo>
                        <a:pt x="2883" y="3279"/>
                      </a:lnTo>
                      <a:lnTo>
                        <a:pt x="2936" y="3306"/>
                      </a:lnTo>
                      <a:lnTo>
                        <a:pt x="2998" y="3288"/>
                      </a:lnTo>
                      <a:lnTo>
                        <a:pt x="3156" y="3191"/>
                      </a:lnTo>
                      <a:lnTo>
                        <a:pt x="3209" y="3138"/>
                      </a:lnTo>
                      <a:lnTo>
                        <a:pt x="3253" y="3200"/>
                      </a:lnTo>
                      <a:lnTo>
                        <a:pt x="3289" y="3191"/>
                      </a:lnTo>
                      <a:lnTo>
                        <a:pt x="3324" y="3165"/>
                      </a:lnTo>
                      <a:lnTo>
                        <a:pt x="3386" y="3138"/>
                      </a:lnTo>
                      <a:lnTo>
                        <a:pt x="3403" y="3165"/>
                      </a:lnTo>
                      <a:lnTo>
                        <a:pt x="3456" y="3244"/>
                      </a:lnTo>
                      <a:lnTo>
                        <a:pt x="3474" y="3262"/>
                      </a:lnTo>
                      <a:lnTo>
                        <a:pt x="3562" y="3262"/>
                      </a:lnTo>
                      <a:lnTo>
                        <a:pt x="3615" y="3253"/>
                      </a:lnTo>
                      <a:lnTo>
                        <a:pt x="3668" y="3218"/>
                      </a:lnTo>
                      <a:lnTo>
                        <a:pt x="3747" y="3138"/>
                      </a:lnTo>
                      <a:lnTo>
                        <a:pt x="3826" y="3200"/>
                      </a:lnTo>
                      <a:lnTo>
                        <a:pt x="3826" y="3271"/>
                      </a:lnTo>
                      <a:lnTo>
                        <a:pt x="3747" y="3429"/>
                      </a:lnTo>
                      <a:lnTo>
                        <a:pt x="3844" y="3456"/>
                      </a:lnTo>
                      <a:lnTo>
                        <a:pt x="3809" y="3553"/>
                      </a:lnTo>
                      <a:lnTo>
                        <a:pt x="3712" y="3614"/>
                      </a:lnTo>
                      <a:lnTo>
                        <a:pt x="3615" y="3553"/>
                      </a:lnTo>
                      <a:lnTo>
                        <a:pt x="3571" y="3606"/>
                      </a:lnTo>
                      <a:lnTo>
                        <a:pt x="3518" y="3650"/>
                      </a:lnTo>
                      <a:lnTo>
                        <a:pt x="3439" y="3685"/>
                      </a:lnTo>
                      <a:lnTo>
                        <a:pt x="3368" y="3711"/>
                      </a:lnTo>
                      <a:lnTo>
                        <a:pt x="3421" y="3861"/>
                      </a:lnTo>
                      <a:lnTo>
                        <a:pt x="3377" y="3941"/>
                      </a:lnTo>
                      <a:lnTo>
                        <a:pt x="3298" y="3923"/>
                      </a:lnTo>
                      <a:lnTo>
                        <a:pt x="3271" y="3799"/>
                      </a:lnTo>
                      <a:lnTo>
                        <a:pt x="3077" y="3879"/>
                      </a:lnTo>
                      <a:lnTo>
                        <a:pt x="3112" y="3923"/>
                      </a:lnTo>
                      <a:lnTo>
                        <a:pt x="3209" y="4090"/>
                      </a:lnTo>
                      <a:lnTo>
                        <a:pt x="3236" y="4037"/>
                      </a:lnTo>
                      <a:lnTo>
                        <a:pt x="3253" y="4099"/>
                      </a:lnTo>
                      <a:lnTo>
                        <a:pt x="3253" y="4152"/>
                      </a:lnTo>
                      <a:lnTo>
                        <a:pt x="3253" y="4196"/>
                      </a:lnTo>
                      <a:lnTo>
                        <a:pt x="3236" y="4240"/>
                      </a:lnTo>
                      <a:lnTo>
                        <a:pt x="3201" y="4205"/>
                      </a:lnTo>
                      <a:lnTo>
                        <a:pt x="3165" y="4214"/>
                      </a:lnTo>
                      <a:lnTo>
                        <a:pt x="3121" y="4249"/>
                      </a:lnTo>
                      <a:lnTo>
                        <a:pt x="3077" y="4284"/>
                      </a:lnTo>
                      <a:lnTo>
                        <a:pt x="3112" y="4364"/>
                      </a:lnTo>
                      <a:lnTo>
                        <a:pt x="3042" y="4372"/>
                      </a:lnTo>
                      <a:lnTo>
                        <a:pt x="2971" y="4346"/>
                      </a:lnTo>
                      <a:lnTo>
                        <a:pt x="2866" y="4302"/>
                      </a:lnTo>
                      <a:lnTo>
                        <a:pt x="2822" y="4302"/>
                      </a:lnTo>
                      <a:lnTo>
                        <a:pt x="2769" y="4293"/>
                      </a:lnTo>
                      <a:lnTo>
                        <a:pt x="2760" y="4284"/>
                      </a:lnTo>
                      <a:lnTo>
                        <a:pt x="2760" y="4275"/>
                      </a:lnTo>
                      <a:lnTo>
                        <a:pt x="2742" y="4249"/>
                      </a:lnTo>
                      <a:lnTo>
                        <a:pt x="2716" y="4240"/>
                      </a:lnTo>
                      <a:lnTo>
                        <a:pt x="2575" y="4337"/>
                      </a:lnTo>
                      <a:lnTo>
                        <a:pt x="2337" y="4390"/>
                      </a:lnTo>
                      <a:lnTo>
                        <a:pt x="2249" y="4452"/>
                      </a:lnTo>
                      <a:lnTo>
                        <a:pt x="2284" y="4558"/>
                      </a:lnTo>
                      <a:lnTo>
                        <a:pt x="2319" y="4637"/>
                      </a:lnTo>
                      <a:lnTo>
                        <a:pt x="2407" y="4769"/>
                      </a:lnTo>
                      <a:lnTo>
                        <a:pt x="2363" y="4769"/>
                      </a:lnTo>
                      <a:lnTo>
                        <a:pt x="2319" y="4787"/>
                      </a:lnTo>
                      <a:lnTo>
                        <a:pt x="2284" y="4813"/>
                      </a:lnTo>
                      <a:lnTo>
                        <a:pt x="2249" y="4857"/>
                      </a:lnTo>
                      <a:lnTo>
                        <a:pt x="2337" y="4910"/>
                      </a:lnTo>
                      <a:lnTo>
                        <a:pt x="2381" y="4937"/>
                      </a:lnTo>
                      <a:lnTo>
                        <a:pt x="2442" y="4937"/>
                      </a:lnTo>
                      <a:lnTo>
                        <a:pt x="2434" y="4963"/>
                      </a:lnTo>
                      <a:lnTo>
                        <a:pt x="2416" y="5034"/>
                      </a:lnTo>
                      <a:lnTo>
                        <a:pt x="2407" y="5060"/>
                      </a:lnTo>
                      <a:lnTo>
                        <a:pt x="2407" y="5060"/>
                      </a:lnTo>
                      <a:lnTo>
                        <a:pt x="2478" y="5051"/>
                      </a:lnTo>
                      <a:lnTo>
                        <a:pt x="2531" y="5060"/>
                      </a:lnTo>
                      <a:lnTo>
                        <a:pt x="2636" y="5095"/>
                      </a:lnTo>
                      <a:lnTo>
                        <a:pt x="2619" y="5122"/>
                      </a:lnTo>
                      <a:lnTo>
                        <a:pt x="2601" y="5183"/>
                      </a:lnTo>
                      <a:lnTo>
                        <a:pt x="2689" y="5183"/>
                      </a:lnTo>
                      <a:lnTo>
                        <a:pt x="2742" y="5139"/>
                      </a:lnTo>
                      <a:lnTo>
                        <a:pt x="2786" y="5113"/>
                      </a:lnTo>
                      <a:lnTo>
                        <a:pt x="2857" y="5183"/>
                      </a:lnTo>
                      <a:lnTo>
                        <a:pt x="2839" y="5254"/>
                      </a:lnTo>
                      <a:lnTo>
                        <a:pt x="2813" y="5395"/>
                      </a:lnTo>
                      <a:lnTo>
                        <a:pt x="2795" y="5466"/>
                      </a:lnTo>
                      <a:lnTo>
                        <a:pt x="2866" y="5501"/>
                      </a:lnTo>
                      <a:lnTo>
                        <a:pt x="2927" y="5545"/>
                      </a:lnTo>
                      <a:lnTo>
                        <a:pt x="2989" y="5607"/>
                      </a:lnTo>
                      <a:lnTo>
                        <a:pt x="3042" y="5668"/>
                      </a:lnTo>
                      <a:lnTo>
                        <a:pt x="3042" y="5712"/>
                      </a:lnTo>
                      <a:lnTo>
                        <a:pt x="2971" y="5712"/>
                      </a:lnTo>
                      <a:lnTo>
                        <a:pt x="2848" y="5633"/>
                      </a:lnTo>
                      <a:lnTo>
                        <a:pt x="2760" y="5571"/>
                      </a:lnTo>
                      <a:lnTo>
                        <a:pt x="2698" y="5510"/>
                      </a:lnTo>
                      <a:lnTo>
                        <a:pt x="2698" y="5510"/>
                      </a:lnTo>
                      <a:lnTo>
                        <a:pt x="2751" y="5607"/>
                      </a:lnTo>
                      <a:lnTo>
                        <a:pt x="2857" y="5686"/>
                      </a:lnTo>
                      <a:lnTo>
                        <a:pt x="2901" y="5712"/>
                      </a:lnTo>
                      <a:lnTo>
                        <a:pt x="3015" y="5748"/>
                      </a:lnTo>
                      <a:lnTo>
                        <a:pt x="3077" y="5792"/>
                      </a:lnTo>
                      <a:lnTo>
                        <a:pt x="3218" y="6021"/>
                      </a:lnTo>
                      <a:lnTo>
                        <a:pt x="3298" y="6074"/>
                      </a:lnTo>
                      <a:lnTo>
                        <a:pt x="3253" y="6144"/>
                      </a:lnTo>
                      <a:lnTo>
                        <a:pt x="3271" y="6153"/>
                      </a:lnTo>
                      <a:lnTo>
                        <a:pt x="3368" y="6100"/>
                      </a:lnTo>
                      <a:lnTo>
                        <a:pt x="3659" y="5986"/>
                      </a:lnTo>
                      <a:lnTo>
                        <a:pt x="3782" y="5977"/>
                      </a:lnTo>
                      <a:lnTo>
                        <a:pt x="3906" y="6038"/>
                      </a:lnTo>
                      <a:lnTo>
                        <a:pt x="3941" y="6012"/>
                      </a:lnTo>
                      <a:lnTo>
                        <a:pt x="4100" y="6030"/>
                      </a:lnTo>
                      <a:lnTo>
                        <a:pt x="4188" y="5994"/>
                      </a:lnTo>
                      <a:lnTo>
                        <a:pt x="4223" y="6038"/>
                      </a:lnTo>
                      <a:lnTo>
                        <a:pt x="4250" y="6003"/>
                      </a:lnTo>
                      <a:lnTo>
                        <a:pt x="4276" y="6003"/>
                      </a:lnTo>
                      <a:lnTo>
                        <a:pt x="4320" y="6038"/>
                      </a:lnTo>
                      <a:lnTo>
                        <a:pt x="4320" y="6074"/>
                      </a:lnTo>
                      <a:lnTo>
                        <a:pt x="4188" y="6153"/>
                      </a:lnTo>
                      <a:lnTo>
                        <a:pt x="4073" y="6268"/>
                      </a:lnTo>
                      <a:lnTo>
                        <a:pt x="3967" y="6338"/>
                      </a:lnTo>
                      <a:lnTo>
                        <a:pt x="3844" y="6277"/>
                      </a:lnTo>
                      <a:lnTo>
                        <a:pt x="3818" y="6303"/>
                      </a:lnTo>
                      <a:lnTo>
                        <a:pt x="3809" y="6277"/>
                      </a:lnTo>
                      <a:lnTo>
                        <a:pt x="3756" y="6303"/>
                      </a:lnTo>
                      <a:lnTo>
                        <a:pt x="3712" y="6294"/>
                      </a:lnTo>
                      <a:lnTo>
                        <a:pt x="3668" y="6277"/>
                      </a:lnTo>
                      <a:lnTo>
                        <a:pt x="3615" y="6277"/>
                      </a:lnTo>
                      <a:lnTo>
                        <a:pt x="3588" y="6294"/>
                      </a:lnTo>
                      <a:lnTo>
                        <a:pt x="3527" y="6347"/>
                      </a:lnTo>
                      <a:lnTo>
                        <a:pt x="3509" y="6356"/>
                      </a:lnTo>
                      <a:lnTo>
                        <a:pt x="3439" y="6373"/>
                      </a:lnTo>
                      <a:lnTo>
                        <a:pt x="3209" y="6479"/>
                      </a:lnTo>
                      <a:lnTo>
                        <a:pt x="2839" y="6523"/>
                      </a:lnTo>
                      <a:lnTo>
                        <a:pt x="2760" y="6541"/>
                      </a:lnTo>
                      <a:lnTo>
                        <a:pt x="2672" y="6585"/>
                      </a:lnTo>
                      <a:lnTo>
                        <a:pt x="2601" y="6594"/>
                      </a:lnTo>
                      <a:lnTo>
                        <a:pt x="2566" y="6523"/>
                      </a:lnTo>
                      <a:lnTo>
                        <a:pt x="2548" y="6532"/>
                      </a:lnTo>
                      <a:lnTo>
                        <a:pt x="2495" y="6550"/>
                      </a:lnTo>
                      <a:lnTo>
                        <a:pt x="2478" y="6567"/>
                      </a:lnTo>
                      <a:lnTo>
                        <a:pt x="2390" y="6321"/>
                      </a:lnTo>
                      <a:lnTo>
                        <a:pt x="2337" y="6215"/>
                      </a:lnTo>
                      <a:lnTo>
                        <a:pt x="2284" y="6153"/>
                      </a:lnTo>
                      <a:lnTo>
                        <a:pt x="2249" y="6153"/>
                      </a:lnTo>
                      <a:lnTo>
                        <a:pt x="2249" y="6197"/>
                      </a:lnTo>
                      <a:lnTo>
                        <a:pt x="2178" y="6171"/>
                      </a:lnTo>
                      <a:lnTo>
                        <a:pt x="2107" y="6232"/>
                      </a:lnTo>
                      <a:lnTo>
                        <a:pt x="2055" y="6338"/>
                      </a:lnTo>
                      <a:lnTo>
                        <a:pt x="2028" y="6435"/>
                      </a:lnTo>
                      <a:lnTo>
                        <a:pt x="2063" y="6682"/>
                      </a:lnTo>
                      <a:lnTo>
                        <a:pt x="2134" y="6744"/>
                      </a:lnTo>
                      <a:lnTo>
                        <a:pt x="2160" y="6788"/>
                      </a:lnTo>
                      <a:lnTo>
                        <a:pt x="2143" y="6867"/>
                      </a:lnTo>
                      <a:lnTo>
                        <a:pt x="2037" y="6902"/>
                      </a:lnTo>
                      <a:lnTo>
                        <a:pt x="1966" y="6770"/>
                      </a:lnTo>
                      <a:lnTo>
                        <a:pt x="1887" y="6506"/>
                      </a:lnTo>
                      <a:lnTo>
                        <a:pt x="1834" y="6409"/>
                      </a:lnTo>
                      <a:lnTo>
                        <a:pt x="1799" y="6321"/>
                      </a:lnTo>
                      <a:lnTo>
                        <a:pt x="1755" y="6259"/>
                      </a:lnTo>
                      <a:lnTo>
                        <a:pt x="1649" y="6241"/>
                      </a:lnTo>
                      <a:lnTo>
                        <a:pt x="1684" y="6153"/>
                      </a:lnTo>
                      <a:lnTo>
                        <a:pt x="1720" y="6083"/>
                      </a:lnTo>
                      <a:lnTo>
                        <a:pt x="1728" y="6030"/>
                      </a:lnTo>
                      <a:lnTo>
                        <a:pt x="1649" y="5994"/>
                      </a:lnTo>
                      <a:lnTo>
                        <a:pt x="1693" y="5959"/>
                      </a:lnTo>
                      <a:lnTo>
                        <a:pt x="1755" y="5950"/>
                      </a:lnTo>
                      <a:lnTo>
                        <a:pt x="1799" y="5959"/>
                      </a:lnTo>
                      <a:lnTo>
                        <a:pt x="1834" y="5994"/>
                      </a:lnTo>
                      <a:lnTo>
                        <a:pt x="1852" y="5986"/>
                      </a:lnTo>
                      <a:lnTo>
                        <a:pt x="1869" y="5977"/>
                      </a:lnTo>
                      <a:lnTo>
                        <a:pt x="1905" y="5950"/>
                      </a:lnTo>
                      <a:lnTo>
                        <a:pt x="1878" y="5889"/>
                      </a:lnTo>
                      <a:lnTo>
                        <a:pt x="1878" y="5836"/>
                      </a:lnTo>
                      <a:lnTo>
                        <a:pt x="1878" y="5774"/>
                      </a:lnTo>
                      <a:lnTo>
                        <a:pt x="1869" y="5712"/>
                      </a:lnTo>
                      <a:lnTo>
                        <a:pt x="1843" y="5642"/>
                      </a:lnTo>
                      <a:lnTo>
                        <a:pt x="1817" y="5615"/>
                      </a:lnTo>
                      <a:lnTo>
                        <a:pt x="1781" y="5589"/>
                      </a:lnTo>
                      <a:lnTo>
                        <a:pt x="1746" y="5554"/>
                      </a:lnTo>
                      <a:lnTo>
                        <a:pt x="1623" y="5395"/>
                      </a:lnTo>
                      <a:lnTo>
                        <a:pt x="1517" y="5228"/>
                      </a:lnTo>
                      <a:lnTo>
                        <a:pt x="1499" y="5131"/>
                      </a:lnTo>
                      <a:lnTo>
                        <a:pt x="1420" y="5025"/>
                      </a:lnTo>
                      <a:lnTo>
                        <a:pt x="1261" y="4857"/>
                      </a:lnTo>
                      <a:lnTo>
                        <a:pt x="1182" y="4787"/>
                      </a:lnTo>
                      <a:lnTo>
                        <a:pt x="1076" y="4734"/>
                      </a:lnTo>
                      <a:lnTo>
                        <a:pt x="962" y="4707"/>
                      </a:lnTo>
                      <a:lnTo>
                        <a:pt x="838" y="4699"/>
                      </a:lnTo>
                      <a:lnTo>
                        <a:pt x="785" y="4707"/>
                      </a:lnTo>
                      <a:lnTo>
                        <a:pt x="688" y="4760"/>
                      </a:lnTo>
                      <a:lnTo>
                        <a:pt x="618" y="4769"/>
                      </a:lnTo>
                      <a:lnTo>
                        <a:pt x="574" y="4796"/>
                      </a:lnTo>
                      <a:lnTo>
                        <a:pt x="547" y="4866"/>
                      </a:lnTo>
                      <a:lnTo>
                        <a:pt x="538" y="4954"/>
                      </a:lnTo>
                      <a:lnTo>
                        <a:pt x="538" y="5042"/>
                      </a:lnTo>
                      <a:lnTo>
                        <a:pt x="591" y="5263"/>
                      </a:lnTo>
                      <a:lnTo>
                        <a:pt x="583" y="5307"/>
                      </a:lnTo>
                      <a:lnTo>
                        <a:pt x="591" y="5342"/>
                      </a:lnTo>
                      <a:lnTo>
                        <a:pt x="644" y="5518"/>
                      </a:lnTo>
                      <a:lnTo>
                        <a:pt x="662" y="5589"/>
                      </a:lnTo>
                      <a:lnTo>
                        <a:pt x="662" y="5589"/>
                      </a:lnTo>
                      <a:lnTo>
                        <a:pt x="635" y="5554"/>
                      </a:lnTo>
                      <a:lnTo>
                        <a:pt x="776" y="5765"/>
                      </a:lnTo>
                      <a:lnTo>
                        <a:pt x="794" y="5836"/>
                      </a:lnTo>
                      <a:lnTo>
                        <a:pt x="759" y="5942"/>
                      </a:lnTo>
                      <a:lnTo>
                        <a:pt x="715" y="6003"/>
                      </a:lnTo>
                      <a:lnTo>
                        <a:pt x="715" y="6030"/>
                      </a:lnTo>
                      <a:lnTo>
                        <a:pt x="803" y="6038"/>
                      </a:lnTo>
                      <a:lnTo>
                        <a:pt x="838" y="6021"/>
                      </a:lnTo>
                      <a:lnTo>
                        <a:pt x="873" y="5942"/>
                      </a:lnTo>
                      <a:lnTo>
                        <a:pt x="917" y="5915"/>
                      </a:lnTo>
                      <a:lnTo>
                        <a:pt x="962" y="5924"/>
                      </a:lnTo>
                      <a:lnTo>
                        <a:pt x="1023" y="5977"/>
                      </a:lnTo>
                      <a:lnTo>
                        <a:pt x="1120" y="6012"/>
                      </a:lnTo>
                      <a:lnTo>
                        <a:pt x="1235" y="6118"/>
                      </a:lnTo>
                      <a:lnTo>
                        <a:pt x="1297" y="6153"/>
                      </a:lnTo>
                      <a:lnTo>
                        <a:pt x="1226" y="6312"/>
                      </a:lnTo>
                      <a:lnTo>
                        <a:pt x="1182" y="6312"/>
                      </a:lnTo>
                      <a:lnTo>
                        <a:pt x="1129" y="6250"/>
                      </a:lnTo>
                      <a:lnTo>
                        <a:pt x="1014" y="6197"/>
                      </a:lnTo>
                      <a:lnTo>
                        <a:pt x="1014" y="6241"/>
                      </a:lnTo>
                      <a:lnTo>
                        <a:pt x="1085" y="6303"/>
                      </a:lnTo>
                      <a:lnTo>
                        <a:pt x="1129" y="6426"/>
                      </a:lnTo>
                      <a:lnTo>
                        <a:pt x="1129" y="6550"/>
                      </a:lnTo>
                      <a:lnTo>
                        <a:pt x="1059" y="6603"/>
                      </a:lnTo>
                      <a:lnTo>
                        <a:pt x="1023" y="6620"/>
                      </a:lnTo>
                      <a:lnTo>
                        <a:pt x="909" y="6700"/>
                      </a:lnTo>
                      <a:lnTo>
                        <a:pt x="856" y="6726"/>
                      </a:lnTo>
                      <a:lnTo>
                        <a:pt x="794" y="6735"/>
                      </a:lnTo>
                      <a:lnTo>
                        <a:pt x="768" y="6735"/>
                      </a:lnTo>
                      <a:lnTo>
                        <a:pt x="697" y="6682"/>
                      </a:lnTo>
                      <a:lnTo>
                        <a:pt x="697" y="6726"/>
                      </a:lnTo>
                      <a:lnTo>
                        <a:pt x="732" y="6797"/>
                      </a:lnTo>
                      <a:lnTo>
                        <a:pt x="706" y="6832"/>
                      </a:lnTo>
                      <a:lnTo>
                        <a:pt x="635" y="6849"/>
                      </a:lnTo>
                      <a:lnTo>
                        <a:pt x="565" y="6841"/>
                      </a:lnTo>
                      <a:lnTo>
                        <a:pt x="538" y="6823"/>
                      </a:lnTo>
                      <a:lnTo>
                        <a:pt x="530" y="6797"/>
                      </a:lnTo>
                      <a:lnTo>
                        <a:pt x="521" y="6770"/>
                      </a:lnTo>
                      <a:lnTo>
                        <a:pt x="486" y="6761"/>
                      </a:lnTo>
                      <a:lnTo>
                        <a:pt x="450" y="6761"/>
                      </a:lnTo>
                      <a:lnTo>
                        <a:pt x="424" y="6753"/>
                      </a:lnTo>
                      <a:lnTo>
                        <a:pt x="397" y="6744"/>
                      </a:lnTo>
                      <a:lnTo>
                        <a:pt x="371" y="6726"/>
                      </a:lnTo>
                      <a:lnTo>
                        <a:pt x="415" y="6673"/>
                      </a:lnTo>
                      <a:lnTo>
                        <a:pt x="433" y="6620"/>
                      </a:lnTo>
                      <a:lnTo>
                        <a:pt x="424" y="6559"/>
                      </a:lnTo>
                      <a:lnTo>
                        <a:pt x="406" y="6479"/>
                      </a:lnTo>
                      <a:lnTo>
                        <a:pt x="380" y="6506"/>
                      </a:lnTo>
                      <a:lnTo>
                        <a:pt x="362" y="6523"/>
                      </a:lnTo>
                      <a:lnTo>
                        <a:pt x="353" y="6550"/>
                      </a:lnTo>
                      <a:lnTo>
                        <a:pt x="345" y="6603"/>
                      </a:lnTo>
                      <a:lnTo>
                        <a:pt x="283" y="6532"/>
                      </a:lnTo>
                      <a:lnTo>
                        <a:pt x="248" y="6594"/>
                      </a:lnTo>
                      <a:lnTo>
                        <a:pt x="256" y="6700"/>
                      </a:lnTo>
                      <a:lnTo>
                        <a:pt x="345" y="6761"/>
                      </a:lnTo>
                      <a:lnTo>
                        <a:pt x="345" y="6805"/>
                      </a:lnTo>
                      <a:lnTo>
                        <a:pt x="248" y="6832"/>
                      </a:lnTo>
                      <a:lnTo>
                        <a:pt x="203" y="6938"/>
                      </a:lnTo>
                      <a:lnTo>
                        <a:pt x="151" y="7026"/>
                      </a:lnTo>
                      <a:lnTo>
                        <a:pt x="27" y="6964"/>
                      </a:lnTo>
                      <a:lnTo>
                        <a:pt x="1" y="7061"/>
                      </a:lnTo>
                      <a:lnTo>
                        <a:pt x="10" y="7096"/>
                      </a:lnTo>
                      <a:lnTo>
                        <a:pt x="248" y="7176"/>
                      </a:lnTo>
                      <a:lnTo>
                        <a:pt x="292" y="7202"/>
                      </a:lnTo>
                      <a:lnTo>
                        <a:pt x="441" y="7325"/>
                      </a:lnTo>
                      <a:lnTo>
                        <a:pt x="556" y="7370"/>
                      </a:lnTo>
                      <a:lnTo>
                        <a:pt x="653" y="7325"/>
                      </a:lnTo>
                      <a:lnTo>
                        <a:pt x="697" y="7167"/>
                      </a:lnTo>
                      <a:lnTo>
                        <a:pt x="724" y="7167"/>
                      </a:lnTo>
                      <a:lnTo>
                        <a:pt x="750" y="7229"/>
                      </a:lnTo>
                      <a:lnTo>
                        <a:pt x="750" y="7281"/>
                      </a:lnTo>
                      <a:lnTo>
                        <a:pt x="732" y="7334"/>
                      </a:lnTo>
                      <a:lnTo>
                        <a:pt x="724" y="7396"/>
                      </a:lnTo>
                      <a:lnTo>
                        <a:pt x="829" y="7493"/>
                      </a:lnTo>
                      <a:lnTo>
                        <a:pt x="856" y="7528"/>
                      </a:lnTo>
                      <a:lnTo>
                        <a:pt x="882" y="7528"/>
                      </a:lnTo>
                      <a:lnTo>
                        <a:pt x="873" y="7502"/>
                      </a:lnTo>
                      <a:lnTo>
                        <a:pt x="856" y="7414"/>
                      </a:lnTo>
                      <a:lnTo>
                        <a:pt x="856" y="7414"/>
                      </a:lnTo>
                      <a:lnTo>
                        <a:pt x="970" y="7467"/>
                      </a:lnTo>
                      <a:lnTo>
                        <a:pt x="1085" y="7590"/>
                      </a:lnTo>
                      <a:lnTo>
                        <a:pt x="1200" y="7687"/>
                      </a:lnTo>
                      <a:lnTo>
                        <a:pt x="1323" y="7652"/>
                      </a:lnTo>
                      <a:lnTo>
                        <a:pt x="1305" y="7740"/>
                      </a:lnTo>
                      <a:lnTo>
                        <a:pt x="1314" y="7793"/>
                      </a:lnTo>
                      <a:lnTo>
                        <a:pt x="1349" y="7846"/>
                      </a:lnTo>
                      <a:lnTo>
                        <a:pt x="1438" y="7943"/>
                      </a:lnTo>
                      <a:lnTo>
                        <a:pt x="1499" y="7995"/>
                      </a:lnTo>
                      <a:lnTo>
                        <a:pt x="1552" y="7978"/>
                      </a:lnTo>
                      <a:lnTo>
                        <a:pt x="1552" y="7854"/>
                      </a:lnTo>
                      <a:lnTo>
                        <a:pt x="1596" y="7934"/>
                      </a:lnTo>
                      <a:lnTo>
                        <a:pt x="1649" y="8075"/>
                      </a:lnTo>
                      <a:lnTo>
                        <a:pt x="1676" y="8101"/>
                      </a:lnTo>
                      <a:lnTo>
                        <a:pt x="1737" y="8075"/>
                      </a:lnTo>
                      <a:lnTo>
                        <a:pt x="1755" y="8022"/>
                      </a:lnTo>
                      <a:lnTo>
                        <a:pt x="1755" y="7943"/>
                      </a:lnTo>
                      <a:lnTo>
                        <a:pt x="1746" y="7854"/>
                      </a:lnTo>
                      <a:lnTo>
                        <a:pt x="1773" y="7854"/>
                      </a:lnTo>
                      <a:lnTo>
                        <a:pt x="1781" y="7872"/>
                      </a:lnTo>
                      <a:lnTo>
                        <a:pt x="1781" y="7881"/>
                      </a:lnTo>
                      <a:lnTo>
                        <a:pt x="1808" y="7898"/>
                      </a:lnTo>
                      <a:lnTo>
                        <a:pt x="1869" y="7511"/>
                      </a:lnTo>
                      <a:lnTo>
                        <a:pt x="1914" y="7493"/>
                      </a:lnTo>
                      <a:lnTo>
                        <a:pt x="2204" y="7493"/>
                      </a:lnTo>
                      <a:lnTo>
                        <a:pt x="2293" y="7475"/>
                      </a:lnTo>
                      <a:lnTo>
                        <a:pt x="2372" y="7440"/>
                      </a:lnTo>
                      <a:lnTo>
                        <a:pt x="2442" y="7431"/>
                      </a:lnTo>
                      <a:lnTo>
                        <a:pt x="2504" y="7493"/>
                      </a:lnTo>
                      <a:lnTo>
                        <a:pt x="2495" y="7669"/>
                      </a:lnTo>
                      <a:lnTo>
                        <a:pt x="2513" y="7740"/>
                      </a:lnTo>
                      <a:lnTo>
                        <a:pt x="2601" y="7696"/>
                      </a:lnTo>
                      <a:lnTo>
                        <a:pt x="2645" y="7757"/>
                      </a:lnTo>
                      <a:lnTo>
                        <a:pt x="2742" y="7854"/>
                      </a:lnTo>
                      <a:lnTo>
                        <a:pt x="2795" y="7943"/>
                      </a:lnTo>
                      <a:lnTo>
                        <a:pt x="2822" y="8013"/>
                      </a:lnTo>
                      <a:lnTo>
                        <a:pt x="2848" y="8101"/>
                      </a:lnTo>
                      <a:lnTo>
                        <a:pt x="2848" y="8189"/>
                      </a:lnTo>
                      <a:lnTo>
                        <a:pt x="2822" y="8269"/>
                      </a:lnTo>
                      <a:lnTo>
                        <a:pt x="2927" y="8471"/>
                      </a:lnTo>
                      <a:lnTo>
                        <a:pt x="2971" y="8507"/>
                      </a:lnTo>
                      <a:lnTo>
                        <a:pt x="3007" y="8489"/>
                      </a:lnTo>
                      <a:lnTo>
                        <a:pt x="3024" y="8445"/>
                      </a:lnTo>
                      <a:lnTo>
                        <a:pt x="3042" y="8401"/>
                      </a:lnTo>
                      <a:lnTo>
                        <a:pt x="3060" y="8383"/>
                      </a:lnTo>
                      <a:lnTo>
                        <a:pt x="3095" y="8374"/>
                      </a:lnTo>
                      <a:lnTo>
                        <a:pt x="3174" y="8348"/>
                      </a:lnTo>
                      <a:lnTo>
                        <a:pt x="3324" y="8313"/>
                      </a:lnTo>
                      <a:lnTo>
                        <a:pt x="3439" y="8330"/>
                      </a:lnTo>
                      <a:lnTo>
                        <a:pt x="3685" y="8419"/>
                      </a:lnTo>
                      <a:lnTo>
                        <a:pt x="3818" y="8445"/>
                      </a:lnTo>
                      <a:lnTo>
                        <a:pt x="3853" y="8471"/>
                      </a:lnTo>
                      <a:lnTo>
                        <a:pt x="3870" y="8568"/>
                      </a:lnTo>
                      <a:lnTo>
                        <a:pt x="3879" y="8595"/>
                      </a:lnTo>
                      <a:lnTo>
                        <a:pt x="3906" y="8612"/>
                      </a:lnTo>
                      <a:lnTo>
                        <a:pt x="3941" y="8621"/>
                      </a:lnTo>
                      <a:lnTo>
                        <a:pt x="3985" y="8621"/>
                      </a:lnTo>
                      <a:lnTo>
                        <a:pt x="4029" y="8639"/>
                      </a:lnTo>
                      <a:lnTo>
                        <a:pt x="4056" y="8674"/>
                      </a:lnTo>
                      <a:lnTo>
                        <a:pt x="4073" y="8718"/>
                      </a:lnTo>
                      <a:lnTo>
                        <a:pt x="4100" y="8745"/>
                      </a:lnTo>
                      <a:lnTo>
                        <a:pt x="4214" y="8798"/>
                      </a:lnTo>
                      <a:lnTo>
                        <a:pt x="4382" y="8824"/>
                      </a:lnTo>
                      <a:lnTo>
                        <a:pt x="4549" y="8824"/>
                      </a:lnTo>
                      <a:lnTo>
                        <a:pt x="4664" y="8780"/>
                      </a:lnTo>
                      <a:lnTo>
                        <a:pt x="4787" y="9000"/>
                      </a:lnTo>
                      <a:lnTo>
                        <a:pt x="4831" y="9133"/>
                      </a:lnTo>
                      <a:lnTo>
                        <a:pt x="4761" y="9185"/>
                      </a:lnTo>
                      <a:lnTo>
                        <a:pt x="4787" y="9247"/>
                      </a:lnTo>
                      <a:lnTo>
                        <a:pt x="4787" y="9291"/>
                      </a:lnTo>
                      <a:lnTo>
                        <a:pt x="4778" y="9335"/>
                      </a:lnTo>
                      <a:lnTo>
                        <a:pt x="4770" y="9371"/>
                      </a:lnTo>
                      <a:lnTo>
                        <a:pt x="4778" y="9371"/>
                      </a:lnTo>
                      <a:lnTo>
                        <a:pt x="5087" y="9362"/>
                      </a:lnTo>
                      <a:lnTo>
                        <a:pt x="5457" y="9221"/>
                      </a:lnTo>
                      <a:lnTo>
                        <a:pt x="6021" y="8842"/>
                      </a:lnTo>
                      <a:lnTo>
                        <a:pt x="6259" y="8806"/>
                      </a:lnTo>
                      <a:lnTo>
                        <a:pt x="7405" y="8895"/>
                      </a:lnTo>
                      <a:lnTo>
                        <a:pt x="8481" y="8604"/>
                      </a:lnTo>
                      <a:lnTo>
                        <a:pt x="9371" y="8595"/>
                      </a:lnTo>
                      <a:lnTo>
                        <a:pt x="9538" y="8524"/>
                      </a:lnTo>
                      <a:lnTo>
                        <a:pt x="9697" y="8436"/>
                      </a:lnTo>
                      <a:lnTo>
                        <a:pt x="9882" y="8383"/>
                      </a:lnTo>
                      <a:lnTo>
                        <a:pt x="10067" y="8348"/>
                      </a:lnTo>
                      <a:lnTo>
                        <a:pt x="10799" y="8084"/>
                      </a:lnTo>
                      <a:lnTo>
                        <a:pt x="10596" y="7775"/>
                      </a:lnTo>
                      <a:lnTo>
                        <a:pt x="10402" y="7167"/>
                      </a:lnTo>
                      <a:lnTo>
                        <a:pt x="10270" y="6999"/>
                      </a:lnTo>
                      <a:lnTo>
                        <a:pt x="10067" y="6946"/>
                      </a:lnTo>
                      <a:lnTo>
                        <a:pt x="9962" y="6938"/>
                      </a:lnTo>
                      <a:lnTo>
                        <a:pt x="9794" y="6894"/>
                      </a:lnTo>
                      <a:lnTo>
                        <a:pt x="9706" y="6779"/>
                      </a:lnTo>
                      <a:lnTo>
                        <a:pt x="9583" y="6761"/>
                      </a:lnTo>
                      <a:lnTo>
                        <a:pt x="9406" y="6814"/>
                      </a:lnTo>
                      <a:lnTo>
                        <a:pt x="8948" y="6894"/>
                      </a:lnTo>
                      <a:lnTo>
                        <a:pt x="8824" y="6594"/>
                      </a:lnTo>
                      <a:lnTo>
                        <a:pt x="8639" y="6382"/>
                      </a:lnTo>
                      <a:lnTo>
                        <a:pt x="8498" y="6426"/>
                      </a:lnTo>
                      <a:lnTo>
                        <a:pt x="8357" y="6418"/>
                      </a:lnTo>
                      <a:lnTo>
                        <a:pt x="8128" y="6321"/>
                      </a:lnTo>
                      <a:lnTo>
                        <a:pt x="7908" y="6312"/>
                      </a:lnTo>
                      <a:lnTo>
                        <a:pt x="7837" y="6497"/>
                      </a:lnTo>
                      <a:lnTo>
                        <a:pt x="7723" y="6691"/>
                      </a:lnTo>
                      <a:lnTo>
                        <a:pt x="7493" y="6753"/>
                      </a:lnTo>
                      <a:lnTo>
                        <a:pt x="7299" y="6567"/>
                      </a:lnTo>
                      <a:lnTo>
                        <a:pt x="7255" y="6479"/>
                      </a:lnTo>
                      <a:lnTo>
                        <a:pt x="7203" y="6294"/>
                      </a:lnTo>
                      <a:lnTo>
                        <a:pt x="7167" y="6206"/>
                      </a:lnTo>
                      <a:lnTo>
                        <a:pt x="6806" y="6038"/>
                      </a:lnTo>
                      <a:lnTo>
                        <a:pt x="6480" y="5809"/>
                      </a:lnTo>
                      <a:lnTo>
                        <a:pt x="6400" y="5483"/>
                      </a:lnTo>
                      <a:lnTo>
                        <a:pt x="6259" y="5342"/>
                      </a:lnTo>
                      <a:lnTo>
                        <a:pt x="6162" y="5324"/>
                      </a:lnTo>
                      <a:lnTo>
                        <a:pt x="5642" y="5342"/>
                      </a:lnTo>
                      <a:lnTo>
                        <a:pt x="5316" y="5307"/>
                      </a:lnTo>
                      <a:lnTo>
                        <a:pt x="5043" y="5069"/>
                      </a:lnTo>
                      <a:lnTo>
                        <a:pt x="4919" y="4663"/>
                      </a:lnTo>
                      <a:lnTo>
                        <a:pt x="4814" y="4522"/>
                      </a:lnTo>
                      <a:lnTo>
                        <a:pt x="4743" y="4496"/>
                      </a:lnTo>
                      <a:lnTo>
                        <a:pt x="4620" y="4364"/>
                      </a:lnTo>
                      <a:lnTo>
                        <a:pt x="4637" y="4240"/>
                      </a:lnTo>
                      <a:lnTo>
                        <a:pt x="4770" y="4029"/>
                      </a:lnTo>
                      <a:lnTo>
                        <a:pt x="4902" y="3879"/>
                      </a:lnTo>
                      <a:lnTo>
                        <a:pt x="4990" y="3685"/>
                      </a:lnTo>
                      <a:lnTo>
                        <a:pt x="5016" y="3447"/>
                      </a:lnTo>
                      <a:lnTo>
                        <a:pt x="5069" y="3235"/>
                      </a:lnTo>
                      <a:lnTo>
                        <a:pt x="5325" y="3059"/>
                      </a:lnTo>
                      <a:lnTo>
                        <a:pt x="5625" y="2936"/>
                      </a:lnTo>
                      <a:lnTo>
                        <a:pt x="5924" y="2689"/>
                      </a:lnTo>
                      <a:lnTo>
                        <a:pt x="6048" y="2539"/>
                      </a:lnTo>
                      <a:lnTo>
                        <a:pt x="6083" y="2222"/>
                      </a:lnTo>
                      <a:lnTo>
                        <a:pt x="5916" y="1904"/>
                      </a:lnTo>
                      <a:lnTo>
                        <a:pt x="5836" y="1684"/>
                      </a:lnTo>
                      <a:lnTo>
                        <a:pt x="5686" y="970"/>
                      </a:lnTo>
                      <a:lnTo>
                        <a:pt x="5501" y="511"/>
                      </a:lnTo>
                      <a:lnTo>
                        <a:pt x="5369" y="238"/>
                      </a:lnTo>
                      <a:lnTo>
                        <a:pt x="5166" y="53"/>
                      </a:lnTo>
                      <a:lnTo>
                        <a:pt x="4902"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5" name="Google Shape;3123;p54">
                  <a:extLst>
                    <a:ext uri="{FF2B5EF4-FFF2-40B4-BE49-F238E27FC236}">
                      <a16:creationId xmlns:a16="http://schemas.microsoft.com/office/drawing/2014/main" id="{EF668767-F486-87E0-5078-8DB8145C830C}"/>
                    </a:ext>
                  </a:extLst>
                </p:cNvPr>
                <p:cNvSpPr/>
                <p:nvPr/>
              </p:nvSpPr>
              <p:spPr>
                <a:xfrm>
                  <a:off x="2817296" y="2960506"/>
                  <a:ext cx="624192" cy="321551"/>
                </a:xfrm>
                <a:custGeom>
                  <a:avLst/>
                  <a:gdLst/>
                  <a:ahLst/>
                  <a:cxnLst/>
                  <a:rect l="l" t="t" r="r" b="b"/>
                  <a:pathLst>
                    <a:path w="8780" h="4523" extrusionOk="0">
                      <a:moveTo>
                        <a:pt x="7193" y="1"/>
                      </a:moveTo>
                      <a:lnTo>
                        <a:pt x="6461" y="265"/>
                      </a:lnTo>
                      <a:lnTo>
                        <a:pt x="6276" y="300"/>
                      </a:lnTo>
                      <a:lnTo>
                        <a:pt x="6091" y="353"/>
                      </a:lnTo>
                      <a:lnTo>
                        <a:pt x="5932" y="441"/>
                      </a:lnTo>
                      <a:lnTo>
                        <a:pt x="5765" y="512"/>
                      </a:lnTo>
                      <a:lnTo>
                        <a:pt x="4875" y="521"/>
                      </a:lnTo>
                      <a:lnTo>
                        <a:pt x="3799" y="812"/>
                      </a:lnTo>
                      <a:lnTo>
                        <a:pt x="2653" y="723"/>
                      </a:lnTo>
                      <a:lnTo>
                        <a:pt x="2415" y="759"/>
                      </a:lnTo>
                      <a:lnTo>
                        <a:pt x="1851" y="1138"/>
                      </a:lnTo>
                      <a:lnTo>
                        <a:pt x="1481" y="1279"/>
                      </a:lnTo>
                      <a:lnTo>
                        <a:pt x="1172" y="1288"/>
                      </a:lnTo>
                      <a:lnTo>
                        <a:pt x="1164" y="1288"/>
                      </a:lnTo>
                      <a:lnTo>
                        <a:pt x="1155" y="1314"/>
                      </a:lnTo>
                      <a:lnTo>
                        <a:pt x="1137" y="1349"/>
                      </a:lnTo>
                      <a:lnTo>
                        <a:pt x="1075" y="1402"/>
                      </a:lnTo>
                      <a:lnTo>
                        <a:pt x="1058" y="1429"/>
                      </a:lnTo>
                      <a:lnTo>
                        <a:pt x="1049" y="1534"/>
                      </a:lnTo>
                      <a:lnTo>
                        <a:pt x="1075" y="1605"/>
                      </a:lnTo>
                      <a:lnTo>
                        <a:pt x="1120" y="1658"/>
                      </a:lnTo>
                      <a:lnTo>
                        <a:pt x="1155" y="1711"/>
                      </a:lnTo>
                      <a:lnTo>
                        <a:pt x="1164" y="1781"/>
                      </a:lnTo>
                      <a:lnTo>
                        <a:pt x="1155" y="1913"/>
                      </a:lnTo>
                      <a:lnTo>
                        <a:pt x="1137" y="2046"/>
                      </a:lnTo>
                      <a:lnTo>
                        <a:pt x="1111" y="2134"/>
                      </a:lnTo>
                      <a:lnTo>
                        <a:pt x="996" y="2266"/>
                      </a:lnTo>
                      <a:lnTo>
                        <a:pt x="934" y="2310"/>
                      </a:lnTo>
                      <a:lnTo>
                        <a:pt x="538" y="2460"/>
                      </a:lnTo>
                      <a:lnTo>
                        <a:pt x="441" y="2469"/>
                      </a:lnTo>
                      <a:lnTo>
                        <a:pt x="123" y="2451"/>
                      </a:lnTo>
                      <a:lnTo>
                        <a:pt x="44" y="2469"/>
                      </a:lnTo>
                      <a:lnTo>
                        <a:pt x="0" y="2592"/>
                      </a:lnTo>
                      <a:lnTo>
                        <a:pt x="176" y="2680"/>
                      </a:lnTo>
                      <a:lnTo>
                        <a:pt x="582" y="2795"/>
                      </a:lnTo>
                      <a:lnTo>
                        <a:pt x="846" y="2971"/>
                      </a:lnTo>
                      <a:lnTo>
                        <a:pt x="917" y="2998"/>
                      </a:lnTo>
                      <a:lnTo>
                        <a:pt x="934" y="3059"/>
                      </a:lnTo>
                      <a:lnTo>
                        <a:pt x="917" y="3192"/>
                      </a:lnTo>
                      <a:lnTo>
                        <a:pt x="882" y="3289"/>
                      </a:lnTo>
                      <a:lnTo>
                        <a:pt x="802" y="3236"/>
                      </a:lnTo>
                      <a:lnTo>
                        <a:pt x="785" y="3306"/>
                      </a:lnTo>
                      <a:lnTo>
                        <a:pt x="802" y="3333"/>
                      </a:lnTo>
                      <a:lnTo>
                        <a:pt x="820" y="3359"/>
                      </a:lnTo>
                      <a:lnTo>
                        <a:pt x="802" y="3403"/>
                      </a:lnTo>
                      <a:lnTo>
                        <a:pt x="837" y="3491"/>
                      </a:lnTo>
                      <a:lnTo>
                        <a:pt x="820" y="3571"/>
                      </a:lnTo>
                      <a:lnTo>
                        <a:pt x="793" y="3659"/>
                      </a:lnTo>
                      <a:lnTo>
                        <a:pt x="776" y="3756"/>
                      </a:lnTo>
                      <a:lnTo>
                        <a:pt x="776" y="3756"/>
                      </a:lnTo>
                      <a:lnTo>
                        <a:pt x="811" y="3712"/>
                      </a:lnTo>
                      <a:lnTo>
                        <a:pt x="846" y="3685"/>
                      </a:lnTo>
                      <a:lnTo>
                        <a:pt x="873" y="3685"/>
                      </a:lnTo>
                      <a:lnTo>
                        <a:pt x="899" y="3721"/>
                      </a:lnTo>
                      <a:lnTo>
                        <a:pt x="978" y="3703"/>
                      </a:lnTo>
                      <a:lnTo>
                        <a:pt x="961" y="3967"/>
                      </a:lnTo>
                      <a:lnTo>
                        <a:pt x="996" y="4082"/>
                      </a:lnTo>
                      <a:lnTo>
                        <a:pt x="996" y="4117"/>
                      </a:lnTo>
                      <a:lnTo>
                        <a:pt x="970" y="4126"/>
                      </a:lnTo>
                      <a:lnTo>
                        <a:pt x="899" y="4161"/>
                      </a:lnTo>
                      <a:lnTo>
                        <a:pt x="926" y="4223"/>
                      </a:lnTo>
                      <a:lnTo>
                        <a:pt x="917" y="4285"/>
                      </a:lnTo>
                      <a:lnTo>
                        <a:pt x="882" y="4346"/>
                      </a:lnTo>
                      <a:lnTo>
                        <a:pt x="837" y="4399"/>
                      </a:lnTo>
                      <a:lnTo>
                        <a:pt x="873" y="4417"/>
                      </a:lnTo>
                      <a:lnTo>
                        <a:pt x="882" y="4426"/>
                      </a:lnTo>
                      <a:lnTo>
                        <a:pt x="899" y="4426"/>
                      </a:lnTo>
                      <a:lnTo>
                        <a:pt x="934" y="4399"/>
                      </a:lnTo>
                      <a:lnTo>
                        <a:pt x="952" y="4417"/>
                      </a:lnTo>
                      <a:lnTo>
                        <a:pt x="961" y="4435"/>
                      </a:lnTo>
                      <a:lnTo>
                        <a:pt x="961" y="4479"/>
                      </a:lnTo>
                      <a:lnTo>
                        <a:pt x="996" y="4452"/>
                      </a:lnTo>
                      <a:lnTo>
                        <a:pt x="1023" y="4452"/>
                      </a:lnTo>
                      <a:lnTo>
                        <a:pt x="1058" y="4479"/>
                      </a:lnTo>
                      <a:lnTo>
                        <a:pt x="1093" y="4523"/>
                      </a:lnTo>
                      <a:lnTo>
                        <a:pt x="1146" y="4470"/>
                      </a:lnTo>
                      <a:lnTo>
                        <a:pt x="1208" y="4443"/>
                      </a:lnTo>
                      <a:lnTo>
                        <a:pt x="1481" y="4426"/>
                      </a:lnTo>
                      <a:lnTo>
                        <a:pt x="1507" y="4408"/>
                      </a:lnTo>
                      <a:lnTo>
                        <a:pt x="1446" y="4364"/>
                      </a:lnTo>
                      <a:lnTo>
                        <a:pt x="1446" y="4320"/>
                      </a:lnTo>
                      <a:lnTo>
                        <a:pt x="1560" y="4320"/>
                      </a:lnTo>
                      <a:lnTo>
                        <a:pt x="1604" y="4267"/>
                      </a:lnTo>
                      <a:lnTo>
                        <a:pt x="1622" y="4197"/>
                      </a:lnTo>
                      <a:lnTo>
                        <a:pt x="1666" y="4117"/>
                      </a:lnTo>
                      <a:lnTo>
                        <a:pt x="1745" y="4073"/>
                      </a:lnTo>
                      <a:lnTo>
                        <a:pt x="1825" y="4073"/>
                      </a:lnTo>
                      <a:lnTo>
                        <a:pt x="1878" y="3976"/>
                      </a:lnTo>
                      <a:lnTo>
                        <a:pt x="2124" y="3438"/>
                      </a:lnTo>
                      <a:lnTo>
                        <a:pt x="2186" y="3333"/>
                      </a:lnTo>
                      <a:lnTo>
                        <a:pt x="2327" y="3253"/>
                      </a:lnTo>
                      <a:lnTo>
                        <a:pt x="2486" y="3244"/>
                      </a:lnTo>
                      <a:lnTo>
                        <a:pt x="2644" y="3350"/>
                      </a:lnTo>
                      <a:lnTo>
                        <a:pt x="2821" y="3421"/>
                      </a:lnTo>
                      <a:lnTo>
                        <a:pt x="3200" y="3474"/>
                      </a:lnTo>
                      <a:lnTo>
                        <a:pt x="3526" y="3703"/>
                      </a:lnTo>
                      <a:lnTo>
                        <a:pt x="3738" y="3729"/>
                      </a:lnTo>
                      <a:lnTo>
                        <a:pt x="3949" y="3685"/>
                      </a:lnTo>
                      <a:lnTo>
                        <a:pt x="4161" y="3676"/>
                      </a:lnTo>
                      <a:lnTo>
                        <a:pt x="4355" y="3782"/>
                      </a:lnTo>
                      <a:lnTo>
                        <a:pt x="4681" y="3800"/>
                      </a:lnTo>
                      <a:lnTo>
                        <a:pt x="5245" y="3756"/>
                      </a:lnTo>
                      <a:lnTo>
                        <a:pt x="5430" y="3606"/>
                      </a:lnTo>
                      <a:lnTo>
                        <a:pt x="5589" y="3289"/>
                      </a:lnTo>
                      <a:lnTo>
                        <a:pt x="5844" y="3112"/>
                      </a:lnTo>
                      <a:lnTo>
                        <a:pt x="6179" y="3183"/>
                      </a:lnTo>
                      <a:lnTo>
                        <a:pt x="6470" y="3430"/>
                      </a:lnTo>
                      <a:lnTo>
                        <a:pt x="6805" y="3615"/>
                      </a:lnTo>
                      <a:lnTo>
                        <a:pt x="7413" y="3694"/>
                      </a:lnTo>
                      <a:lnTo>
                        <a:pt x="7387" y="3606"/>
                      </a:lnTo>
                      <a:lnTo>
                        <a:pt x="7352" y="3527"/>
                      </a:lnTo>
                      <a:lnTo>
                        <a:pt x="7308" y="3491"/>
                      </a:lnTo>
                      <a:lnTo>
                        <a:pt x="7255" y="3474"/>
                      </a:lnTo>
                      <a:lnTo>
                        <a:pt x="7202" y="3253"/>
                      </a:lnTo>
                      <a:lnTo>
                        <a:pt x="7290" y="3042"/>
                      </a:lnTo>
                      <a:lnTo>
                        <a:pt x="7616" y="2945"/>
                      </a:lnTo>
                      <a:lnTo>
                        <a:pt x="7978" y="2989"/>
                      </a:lnTo>
                      <a:lnTo>
                        <a:pt x="8224" y="2751"/>
                      </a:lnTo>
                      <a:lnTo>
                        <a:pt x="8436" y="2442"/>
                      </a:lnTo>
                      <a:lnTo>
                        <a:pt x="8621" y="2434"/>
                      </a:lnTo>
                      <a:lnTo>
                        <a:pt x="8762" y="2337"/>
                      </a:lnTo>
                      <a:lnTo>
                        <a:pt x="8780" y="2169"/>
                      </a:lnTo>
                      <a:lnTo>
                        <a:pt x="8727" y="2037"/>
                      </a:lnTo>
                      <a:lnTo>
                        <a:pt x="8436" y="1975"/>
                      </a:lnTo>
                      <a:lnTo>
                        <a:pt x="8339" y="1825"/>
                      </a:lnTo>
                      <a:lnTo>
                        <a:pt x="8268" y="1675"/>
                      </a:lnTo>
                      <a:lnTo>
                        <a:pt x="8163" y="1543"/>
                      </a:lnTo>
                      <a:lnTo>
                        <a:pt x="8180" y="1385"/>
                      </a:lnTo>
                      <a:lnTo>
                        <a:pt x="8277" y="1314"/>
                      </a:lnTo>
                      <a:lnTo>
                        <a:pt x="8321" y="1191"/>
                      </a:lnTo>
                      <a:lnTo>
                        <a:pt x="8242" y="838"/>
                      </a:lnTo>
                      <a:lnTo>
                        <a:pt x="8260" y="635"/>
                      </a:lnTo>
                      <a:lnTo>
                        <a:pt x="8198" y="459"/>
                      </a:lnTo>
                      <a:lnTo>
                        <a:pt x="7942" y="283"/>
                      </a:lnTo>
                      <a:lnTo>
                        <a:pt x="7881" y="150"/>
                      </a:lnTo>
                      <a:lnTo>
                        <a:pt x="7828" y="18"/>
                      </a:lnTo>
                      <a:lnTo>
                        <a:pt x="719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6" name="Google Shape;3124;p54">
                  <a:extLst>
                    <a:ext uri="{FF2B5EF4-FFF2-40B4-BE49-F238E27FC236}">
                      <a16:creationId xmlns:a16="http://schemas.microsoft.com/office/drawing/2014/main" id="{CD64854A-0CD1-D7E8-94B5-B85B1F1933AB}"/>
                    </a:ext>
                  </a:extLst>
                </p:cNvPr>
                <p:cNvSpPr/>
                <p:nvPr/>
              </p:nvSpPr>
              <p:spPr>
                <a:xfrm>
                  <a:off x="2889315" y="3181754"/>
                  <a:ext cx="811023" cy="529568"/>
                </a:xfrm>
                <a:custGeom>
                  <a:avLst/>
                  <a:gdLst/>
                  <a:ahLst/>
                  <a:cxnLst/>
                  <a:rect l="l" t="t" r="r" b="b"/>
                  <a:pathLst>
                    <a:path w="11408" h="7449" extrusionOk="0">
                      <a:moveTo>
                        <a:pt x="4831" y="0"/>
                      </a:moveTo>
                      <a:lnTo>
                        <a:pt x="4576" y="177"/>
                      </a:lnTo>
                      <a:lnTo>
                        <a:pt x="4417" y="494"/>
                      </a:lnTo>
                      <a:lnTo>
                        <a:pt x="4232" y="644"/>
                      </a:lnTo>
                      <a:lnTo>
                        <a:pt x="3668" y="688"/>
                      </a:lnTo>
                      <a:lnTo>
                        <a:pt x="3342" y="670"/>
                      </a:lnTo>
                      <a:lnTo>
                        <a:pt x="3148" y="564"/>
                      </a:lnTo>
                      <a:lnTo>
                        <a:pt x="2936" y="573"/>
                      </a:lnTo>
                      <a:lnTo>
                        <a:pt x="2725" y="617"/>
                      </a:lnTo>
                      <a:lnTo>
                        <a:pt x="2513" y="591"/>
                      </a:lnTo>
                      <a:lnTo>
                        <a:pt x="2187" y="362"/>
                      </a:lnTo>
                      <a:lnTo>
                        <a:pt x="1808" y="309"/>
                      </a:lnTo>
                      <a:lnTo>
                        <a:pt x="1631" y="238"/>
                      </a:lnTo>
                      <a:lnTo>
                        <a:pt x="1473" y="132"/>
                      </a:lnTo>
                      <a:lnTo>
                        <a:pt x="1314" y="141"/>
                      </a:lnTo>
                      <a:lnTo>
                        <a:pt x="1173" y="221"/>
                      </a:lnTo>
                      <a:lnTo>
                        <a:pt x="1111" y="326"/>
                      </a:lnTo>
                      <a:lnTo>
                        <a:pt x="865" y="864"/>
                      </a:lnTo>
                      <a:lnTo>
                        <a:pt x="812" y="961"/>
                      </a:lnTo>
                      <a:lnTo>
                        <a:pt x="829" y="961"/>
                      </a:lnTo>
                      <a:lnTo>
                        <a:pt x="917" y="996"/>
                      </a:lnTo>
                      <a:lnTo>
                        <a:pt x="970" y="1085"/>
                      </a:lnTo>
                      <a:lnTo>
                        <a:pt x="865" y="1146"/>
                      </a:lnTo>
                      <a:lnTo>
                        <a:pt x="776" y="1234"/>
                      </a:lnTo>
                      <a:lnTo>
                        <a:pt x="741" y="1358"/>
                      </a:lnTo>
                      <a:lnTo>
                        <a:pt x="776" y="1481"/>
                      </a:lnTo>
                      <a:lnTo>
                        <a:pt x="873" y="1561"/>
                      </a:lnTo>
                      <a:lnTo>
                        <a:pt x="1006" y="1587"/>
                      </a:lnTo>
                      <a:lnTo>
                        <a:pt x="1111" y="1525"/>
                      </a:lnTo>
                      <a:lnTo>
                        <a:pt x="1129" y="1367"/>
                      </a:lnTo>
                      <a:lnTo>
                        <a:pt x="1164" y="1367"/>
                      </a:lnTo>
                      <a:lnTo>
                        <a:pt x="1217" y="1464"/>
                      </a:lnTo>
                      <a:lnTo>
                        <a:pt x="1208" y="1534"/>
                      </a:lnTo>
                      <a:lnTo>
                        <a:pt x="1191" y="1605"/>
                      </a:lnTo>
                      <a:lnTo>
                        <a:pt x="1191" y="1649"/>
                      </a:lnTo>
                      <a:lnTo>
                        <a:pt x="1111" y="1754"/>
                      </a:lnTo>
                      <a:lnTo>
                        <a:pt x="1076" y="1807"/>
                      </a:lnTo>
                      <a:lnTo>
                        <a:pt x="1067" y="1860"/>
                      </a:lnTo>
                      <a:lnTo>
                        <a:pt x="1085" y="1895"/>
                      </a:lnTo>
                      <a:lnTo>
                        <a:pt x="1138" y="1869"/>
                      </a:lnTo>
                      <a:lnTo>
                        <a:pt x="1182" y="1825"/>
                      </a:lnTo>
                      <a:lnTo>
                        <a:pt x="1191" y="1807"/>
                      </a:lnTo>
                      <a:lnTo>
                        <a:pt x="1297" y="1807"/>
                      </a:lnTo>
                      <a:lnTo>
                        <a:pt x="1349" y="1860"/>
                      </a:lnTo>
                      <a:lnTo>
                        <a:pt x="1341" y="1931"/>
                      </a:lnTo>
                      <a:lnTo>
                        <a:pt x="1252" y="2001"/>
                      </a:lnTo>
                      <a:lnTo>
                        <a:pt x="1323" y="2028"/>
                      </a:lnTo>
                      <a:lnTo>
                        <a:pt x="1402" y="1992"/>
                      </a:lnTo>
                      <a:lnTo>
                        <a:pt x="1455" y="1913"/>
                      </a:lnTo>
                      <a:lnTo>
                        <a:pt x="1482" y="1825"/>
                      </a:lnTo>
                      <a:lnTo>
                        <a:pt x="1499" y="1781"/>
                      </a:lnTo>
                      <a:lnTo>
                        <a:pt x="1561" y="1763"/>
                      </a:lnTo>
                      <a:lnTo>
                        <a:pt x="1667" y="1763"/>
                      </a:lnTo>
                      <a:lnTo>
                        <a:pt x="1684" y="1754"/>
                      </a:lnTo>
                      <a:lnTo>
                        <a:pt x="1684" y="1728"/>
                      </a:lnTo>
                      <a:lnTo>
                        <a:pt x="1693" y="1710"/>
                      </a:lnTo>
                      <a:lnTo>
                        <a:pt x="1737" y="1719"/>
                      </a:lnTo>
                      <a:lnTo>
                        <a:pt x="1737" y="1728"/>
                      </a:lnTo>
                      <a:lnTo>
                        <a:pt x="1790" y="1763"/>
                      </a:lnTo>
                      <a:lnTo>
                        <a:pt x="1781" y="1807"/>
                      </a:lnTo>
                      <a:lnTo>
                        <a:pt x="1781" y="1887"/>
                      </a:lnTo>
                      <a:lnTo>
                        <a:pt x="1764" y="1922"/>
                      </a:lnTo>
                      <a:lnTo>
                        <a:pt x="1737" y="1957"/>
                      </a:lnTo>
                      <a:lnTo>
                        <a:pt x="1684" y="2001"/>
                      </a:lnTo>
                      <a:lnTo>
                        <a:pt x="1667" y="2019"/>
                      </a:lnTo>
                      <a:lnTo>
                        <a:pt x="1667" y="2133"/>
                      </a:lnTo>
                      <a:lnTo>
                        <a:pt x="1693" y="2178"/>
                      </a:lnTo>
                      <a:lnTo>
                        <a:pt x="1764" y="2204"/>
                      </a:lnTo>
                      <a:lnTo>
                        <a:pt x="1693" y="2283"/>
                      </a:lnTo>
                      <a:lnTo>
                        <a:pt x="1658" y="2310"/>
                      </a:lnTo>
                      <a:lnTo>
                        <a:pt x="1605" y="2327"/>
                      </a:lnTo>
                      <a:lnTo>
                        <a:pt x="1667" y="2213"/>
                      </a:lnTo>
                      <a:lnTo>
                        <a:pt x="1605" y="2195"/>
                      </a:lnTo>
                      <a:lnTo>
                        <a:pt x="1385" y="2239"/>
                      </a:lnTo>
                      <a:lnTo>
                        <a:pt x="1385" y="2283"/>
                      </a:lnTo>
                      <a:lnTo>
                        <a:pt x="1438" y="2327"/>
                      </a:lnTo>
                      <a:lnTo>
                        <a:pt x="1473" y="2424"/>
                      </a:lnTo>
                      <a:lnTo>
                        <a:pt x="1508" y="2610"/>
                      </a:lnTo>
                      <a:lnTo>
                        <a:pt x="1535" y="2583"/>
                      </a:lnTo>
                      <a:lnTo>
                        <a:pt x="1543" y="2574"/>
                      </a:lnTo>
                      <a:lnTo>
                        <a:pt x="1605" y="2565"/>
                      </a:lnTo>
                      <a:lnTo>
                        <a:pt x="1605" y="2610"/>
                      </a:lnTo>
                      <a:lnTo>
                        <a:pt x="1561" y="2636"/>
                      </a:lnTo>
                      <a:lnTo>
                        <a:pt x="1446" y="2636"/>
                      </a:lnTo>
                      <a:lnTo>
                        <a:pt x="1402" y="2662"/>
                      </a:lnTo>
                      <a:lnTo>
                        <a:pt x="1358" y="2698"/>
                      </a:lnTo>
                      <a:lnTo>
                        <a:pt x="1261" y="2742"/>
                      </a:lnTo>
                      <a:lnTo>
                        <a:pt x="1138" y="2830"/>
                      </a:lnTo>
                      <a:lnTo>
                        <a:pt x="1067" y="2848"/>
                      </a:lnTo>
                      <a:lnTo>
                        <a:pt x="1006" y="2803"/>
                      </a:lnTo>
                      <a:lnTo>
                        <a:pt x="935" y="2680"/>
                      </a:lnTo>
                      <a:lnTo>
                        <a:pt x="944" y="2671"/>
                      </a:lnTo>
                      <a:lnTo>
                        <a:pt x="953" y="2662"/>
                      </a:lnTo>
                      <a:lnTo>
                        <a:pt x="962" y="2662"/>
                      </a:lnTo>
                      <a:lnTo>
                        <a:pt x="970" y="2645"/>
                      </a:lnTo>
                      <a:lnTo>
                        <a:pt x="909" y="2671"/>
                      </a:lnTo>
                      <a:lnTo>
                        <a:pt x="873" y="2662"/>
                      </a:lnTo>
                      <a:lnTo>
                        <a:pt x="847" y="2636"/>
                      </a:lnTo>
                      <a:lnTo>
                        <a:pt x="812" y="2610"/>
                      </a:lnTo>
                      <a:lnTo>
                        <a:pt x="768" y="2601"/>
                      </a:lnTo>
                      <a:lnTo>
                        <a:pt x="732" y="2610"/>
                      </a:lnTo>
                      <a:lnTo>
                        <a:pt x="715" y="2583"/>
                      </a:lnTo>
                      <a:lnTo>
                        <a:pt x="715" y="2486"/>
                      </a:lnTo>
                      <a:lnTo>
                        <a:pt x="706" y="2495"/>
                      </a:lnTo>
                      <a:lnTo>
                        <a:pt x="706" y="2504"/>
                      </a:lnTo>
                      <a:lnTo>
                        <a:pt x="697" y="2513"/>
                      </a:lnTo>
                      <a:lnTo>
                        <a:pt x="679" y="2521"/>
                      </a:lnTo>
                      <a:lnTo>
                        <a:pt x="653" y="2486"/>
                      </a:lnTo>
                      <a:lnTo>
                        <a:pt x="618" y="2504"/>
                      </a:lnTo>
                      <a:lnTo>
                        <a:pt x="583" y="2548"/>
                      </a:lnTo>
                      <a:lnTo>
                        <a:pt x="556" y="2610"/>
                      </a:lnTo>
                      <a:lnTo>
                        <a:pt x="521" y="2610"/>
                      </a:lnTo>
                      <a:lnTo>
                        <a:pt x="530" y="2539"/>
                      </a:lnTo>
                      <a:lnTo>
                        <a:pt x="512" y="2486"/>
                      </a:lnTo>
                      <a:lnTo>
                        <a:pt x="477" y="2460"/>
                      </a:lnTo>
                      <a:lnTo>
                        <a:pt x="433" y="2442"/>
                      </a:lnTo>
                      <a:lnTo>
                        <a:pt x="441" y="2504"/>
                      </a:lnTo>
                      <a:lnTo>
                        <a:pt x="441" y="2557"/>
                      </a:lnTo>
                      <a:lnTo>
                        <a:pt x="424" y="2601"/>
                      </a:lnTo>
                      <a:lnTo>
                        <a:pt x="433" y="2645"/>
                      </a:lnTo>
                      <a:lnTo>
                        <a:pt x="345" y="2671"/>
                      </a:lnTo>
                      <a:lnTo>
                        <a:pt x="195" y="2618"/>
                      </a:lnTo>
                      <a:lnTo>
                        <a:pt x="142" y="2680"/>
                      </a:lnTo>
                      <a:lnTo>
                        <a:pt x="107" y="2645"/>
                      </a:lnTo>
                      <a:lnTo>
                        <a:pt x="115" y="2689"/>
                      </a:lnTo>
                      <a:lnTo>
                        <a:pt x="124" y="2706"/>
                      </a:lnTo>
                      <a:lnTo>
                        <a:pt x="142" y="2724"/>
                      </a:lnTo>
                      <a:lnTo>
                        <a:pt x="186" y="2689"/>
                      </a:lnTo>
                      <a:lnTo>
                        <a:pt x="230" y="2680"/>
                      </a:lnTo>
                      <a:lnTo>
                        <a:pt x="274" y="2698"/>
                      </a:lnTo>
                      <a:lnTo>
                        <a:pt x="300" y="2724"/>
                      </a:lnTo>
                      <a:lnTo>
                        <a:pt x="248" y="2795"/>
                      </a:lnTo>
                      <a:lnTo>
                        <a:pt x="159" y="2848"/>
                      </a:lnTo>
                      <a:lnTo>
                        <a:pt x="89" y="2883"/>
                      </a:lnTo>
                      <a:lnTo>
                        <a:pt x="45" y="2883"/>
                      </a:lnTo>
                      <a:lnTo>
                        <a:pt x="1" y="3006"/>
                      </a:lnTo>
                      <a:lnTo>
                        <a:pt x="18" y="3086"/>
                      </a:lnTo>
                      <a:lnTo>
                        <a:pt x="54" y="3165"/>
                      </a:lnTo>
                      <a:lnTo>
                        <a:pt x="80" y="3262"/>
                      </a:lnTo>
                      <a:lnTo>
                        <a:pt x="89" y="3368"/>
                      </a:lnTo>
                      <a:lnTo>
                        <a:pt x="107" y="3491"/>
                      </a:lnTo>
                      <a:lnTo>
                        <a:pt x="159" y="3579"/>
                      </a:lnTo>
                      <a:lnTo>
                        <a:pt x="239" y="3562"/>
                      </a:lnTo>
                      <a:lnTo>
                        <a:pt x="265" y="3597"/>
                      </a:lnTo>
                      <a:lnTo>
                        <a:pt x="300" y="3588"/>
                      </a:lnTo>
                      <a:lnTo>
                        <a:pt x="327" y="3588"/>
                      </a:lnTo>
                      <a:lnTo>
                        <a:pt x="362" y="3597"/>
                      </a:lnTo>
                      <a:lnTo>
                        <a:pt x="353" y="3579"/>
                      </a:lnTo>
                      <a:lnTo>
                        <a:pt x="336" y="3517"/>
                      </a:lnTo>
                      <a:lnTo>
                        <a:pt x="397" y="3500"/>
                      </a:lnTo>
                      <a:lnTo>
                        <a:pt x="450" y="3447"/>
                      </a:lnTo>
                      <a:lnTo>
                        <a:pt x="477" y="3385"/>
                      </a:lnTo>
                      <a:lnTo>
                        <a:pt x="459" y="3315"/>
                      </a:lnTo>
                      <a:lnTo>
                        <a:pt x="459" y="3279"/>
                      </a:lnTo>
                      <a:lnTo>
                        <a:pt x="521" y="3262"/>
                      </a:lnTo>
                      <a:lnTo>
                        <a:pt x="644" y="3235"/>
                      </a:lnTo>
                      <a:lnTo>
                        <a:pt x="679" y="3200"/>
                      </a:lnTo>
                      <a:lnTo>
                        <a:pt x="697" y="3244"/>
                      </a:lnTo>
                      <a:lnTo>
                        <a:pt x="706" y="3253"/>
                      </a:lnTo>
                      <a:lnTo>
                        <a:pt x="706" y="3262"/>
                      </a:lnTo>
                      <a:lnTo>
                        <a:pt x="679" y="3279"/>
                      </a:lnTo>
                      <a:lnTo>
                        <a:pt x="688" y="3306"/>
                      </a:lnTo>
                      <a:lnTo>
                        <a:pt x="697" y="3315"/>
                      </a:lnTo>
                      <a:lnTo>
                        <a:pt x="715" y="3315"/>
                      </a:lnTo>
                      <a:lnTo>
                        <a:pt x="706" y="3350"/>
                      </a:lnTo>
                      <a:lnTo>
                        <a:pt x="697" y="3359"/>
                      </a:lnTo>
                      <a:lnTo>
                        <a:pt x="697" y="3368"/>
                      </a:lnTo>
                      <a:lnTo>
                        <a:pt x="715" y="3403"/>
                      </a:lnTo>
                      <a:lnTo>
                        <a:pt x="768" y="3262"/>
                      </a:lnTo>
                      <a:lnTo>
                        <a:pt x="776" y="3200"/>
                      </a:lnTo>
                      <a:lnTo>
                        <a:pt x="812" y="3200"/>
                      </a:lnTo>
                      <a:lnTo>
                        <a:pt x="803" y="3227"/>
                      </a:lnTo>
                      <a:lnTo>
                        <a:pt x="829" y="3271"/>
                      </a:lnTo>
                      <a:lnTo>
                        <a:pt x="900" y="3209"/>
                      </a:lnTo>
                      <a:lnTo>
                        <a:pt x="970" y="3200"/>
                      </a:lnTo>
                      <a:lnTo>
                        <a:pt x="997" y="3235"/>
                      </a:lnTo>
                      <a:lnTo>
                        <a:pt x="1085" y="3359"/>
                      </a:lnTo>
                      <a:lnTo>
                        <a:pt x="1129" y="3403"/>
                      </a:lnTo>
                      <a:lnTo>
                        <a:pt x="1182" y="3420"/>
                      </a:lnTo>
                      <a:lnTo>
                        <a:pt x="1323" y="3403"/>
                      </a:lnTo>
                      <a:lnTo>
                        <a:pt x="1385" y="3412"/>
                      </a:lnTo>
                      <a:lnTo>
                        <a:pt x="1438" y="3438"/>
                      </a:lnTo>
                      <a:lnTo>
                        <a:pt x="1543" y="3517"/>
                      </a:lnTo>
                      <a:lnTo>
                        <a:pt x="1570" y="3385"/>
                      </a:lnTo>
                      <a:lnTo>
                        <a:pt x="1676" y="3376"/>
                      </a:lnTo>
                      <a:lnTo>
                        <a:pt x="1808" y="3429"/>
                      </a:lnTo>
                      <a:lnTo>
                        <a:pt x="1887" y="3482"/>
                      </a:lnTo>
                      <a:lnTo>
                        <a:pt x="1975" y="3385"/>
                      </a:lnTo>
                      <a:lnTo>
                        <a:pt x="2125" y="3332"/>
                      </a:lnTo>
                      <a:lnTo>
                        <a:pt x="2275" y="3332"/>
                      </a:lnTo>
                      <a:lnTo>
                        <a:pt x="2363" y="3403"/>
                      </a:lnTo>
                      <a:lnTo>
                        <a:pt x="2425" y="3385"/>
                      </a:lnTo>
                      <a:lnTo>
                        <a:pt x="2478" y="3376"/>
                      </a:lnTo>
                      <a:lnTo>
                        <a:pt x="2522" y="3385"/>
                      </a:lnTo>
                      <a:lnTo>
                        <a:pt x="2557" y="3403"/>
                      </a:lnTo>
                      <a:lnTo>
                        <a:pt x="2584" y="3341"/>
                      </a:lnTo>
                      <a:lnTo>
                        <a:pt x="2592" y="3315"/>
                      </a:lnTo>
                      <a:lnTo>
                        <a:pt x="2619" y="3315"/>
                      </a:lnTo>
                      <a:lnTo>
                        <a:pt x="2672" y="3341"/>
                      </a:lnTo>
                      <a:lnTo>
                        <a:pt x="3051" y="3209"/>
                      </a:lnTo>
                      <a:lnTo>
                        <a:pt x="3165" y="3200"/>
                      </a:lnTo>
                      <a:lnTo>
                        <a:pt x="3298" y="3235"/>
                      </a:lnTo>
                      <a:lnTo>
                        <a:pt x="3350" y="3244"/>
                      </a:lnTo>
                      <a:lnTo>
                        <a:pt x="3403" y="3227"/>
                      </a:lnTo>
                      <a:lnTo>
                        <a:pt x="3465" y="3174"/>
                      </a:lnTo>
                      <a:lnTo>
                        <a:pt x="3509" y="3165"/>
                      </a:lnTo>
                      <a:lnTo>
                        <a:pt x="4003" y="3244"/>
                      </a:lnTo>
                      <a:lnTo>
                        <a:pt x="4082" y="3279"/>
                      </a:lnTo>
                      <a:lnTo>
                        <a:pt x="4082" y="3244"/>
                      </a:lnTo>
                      <a:lnTo>
                        <a:pt x="4073" y="3182"/>
                      </a:lnTo>
                      <a:lnTo>
                        <a:pt x="4161" y="3156"/>
                      </a:lnTo>
                      <a:lnTo>
                        <a:pt x="4382" y="3165"/>
                      </a:lnTo>
                      <a:lnTo>
                        <a:pt x="4990" y="3068"/>
                      </a:lnTo>
                      <a:lnTo>
                        <a:pt x="5034" y="3086"/>
                      </a:lnTo>
                      <a:lnTo>
                        <a:pt x="5069" y="3112"/>
                      </a:lnTo>
                      <a:lnTo>
                        <a:pt x="5105" y="3147"/>
                      </a:lnTo>
                      <a:lnTo>
                        <a:pt x="5105" y="3191"/>
                      </a:lnTo>
                      <a:lnTo>
                        <a:pt x="4964" y="3218"/>
                      </a:lnTo>
                      <a:lnTo>
                        <a:pt x="4717" y="3315"/>
                      </a:lnTo>
                      <a:lnTo>
                        <a:pt x="4752" y="3403"/>
                      </a:lnTo>
                      <a:lnTo>
                        <a:pt x="4708" y="3429"/>
                      </a:lnTo>
                      <a:lnTo>
                        <a:pt x="4637" y="3420"/>
                      </a:lnTo>
                      <a:lnTo>
                        <a:pt x="4558" y="3359"/>
                      </a:lnTo>
                      <a:lnTo>
                        <a:pt x="4532" y="3420"/>
                      </a:lnTo>
                      <a:lnTo>
                        <a:pt x="4496" y="3482"/>
                      </a:lnTo>
                      <a:lnTo>
                        <a:pt x="4558" y="3482"/>
                      </a:lnTo>
                      <a:lnTo>
                        <a:pt x="4558" y="3517"/>
                      </a:lnTo>
                      <a:lnTo>
                        <a:pt x="4523" y="3562"/>
                      </a:lnTo>
                      <a:lnTo>
                        <a:pt x="4435" y="3720"/>
                      </a:lnTo>
                      <a:lnTo>
                        <a:pt x="4417" y="3694"/>
                      </a:lnTo>
                      <a:lnTo>
                        <a:pt x="4382" y="3676"/>
                      </a:lnTo>
                      <a:lnTo>
                        <a:pt x="4302" y="3676"/>
                      </a:lnTo>
                      <a:lnTo>
                        <a:pt x="4302" y="3720"/>
                      </a:lnTo>
                      <a:lnTo>
                        <a:pt x="4338" y="3738"/>
                      </a:lnTo>
                      <a:lnTo>
                        <a:pt x="4355" y="3755"/>
                      </a:lnTo>
                      <a:lnTo>
                        <a:pt x="4355" y="3773"/>
                      </a:lnTo>
                      <a:lnTo>
                        <a:pt x="4346" y="3791"/>
                      </a:lnTo>
                      <a:lnTo>
                        <a:pt x="4355" y="3826"/>
                      </a:lnTo>
                      <a:lnTo>
                        <a:pt x="4355" y="3835"/>
                      </a:lnTo>
                      <a:lnTo>
                        <a:pt x="4355" y="3844"/>
                      </a:lnTo>
                      <a:lnTo>
                        <a:pt x="4346" y="3879"/>
                      </a:lnTo>
                      <a:lnTo>
                        <a:pt x="4311" y="3800"/>
                      </a:lnTo>
                      <a:lnTo>
                        <a:pt x="4302" y="3755"/>
                      </a:lnTo>
                      <a:lnTo>
                        <a:pt x="4276" y="3755"/>
                      </a:lnTo>
                      <a:lnTo>
                        <a:pt x="4232" y="3782"/>
                      </a:lnTo>
                      <a:lnTo>
                        <a:pt x="4135" y="3729"/>
                      </a:lnTo>
                      <a:lnTo>
                        <a:pt x="4082" y="3755"/>
                      </a:lnTo>
                      <a:lnTo>
                        <a:pt x="4056" y="3755"/>
                      </a:lnTo>
                      <a:lnTo>
                        <a:pt x="4029" y="3738"/>
                      </a:lnTo>
                      <a:lnTo>
                        <a:pt x="4012" y="3729"/>
                      </a:lnTo>
                      <a:lnTo>
                        <a:pt x="3985" y="3729"/>
                      </a:lnTo>
                      <a:lnTo>
                        <a:pt x="3959" y="3755"/>
                      </a:lnTo>
                      <a:lnTo>
                        <a:pt x="3923" y="3729"/>
                      </a:lnTo>
                      <a:lnTo>
                        <a:pt x="3879" y="3720"/>
                      </a:lnTo>
                      <a:lnTo>
                        <a:pt x="3774" y="3720"/>
                      </a:lnTo>
                      <a:lnTo>
                        <a:pt x="3774" y="3755"/>
                      </a:lnTo>
                      <a:lnTo>
                        <a:pt x="3862" y="3755"/>
                      </a:lnTo>
                      <a:lnTo>
                        <a:pt x="3862" y="3791"/>
                      </a:lnTo>
                      <a:lnTo>
                        <a:pt x="3826" y="3791"/>
                      </a:lnTo>
                      <a:lnTo>
                        <a:pt x="3738" y="3800"/>
                      </a:lnTo>
                      <a:lnTo>
                        <a:pt x="3703" y="3791"/>
                      </a:lnTo>
                      <a:lnTo>
                        <a:pt x="3703" y="3791"/>
                      </a:lnTo>
                      <a:lnTo>
                        <a:pt x="3721" y="3817"/>
                      </a:lnTo>
                      <a:lnTo>
                        <a:pt x="3729" y="3844"/>
                      </a:lnTo>
                      <a:lnTo>
                        <a:pt x="3738" y="3861"/>
                      </a:lnTo>
                      <a:lnTo>
                        <a:pt x="3774" y="3879"/>
                      </a:lnTo>
                      <a:lnTo>
                        <a:pt x="3738" y="3923"/>
                      </a:lnTo>
                      <a:lnTo>
                        <a:pt x="3677" y="3879"/>
                      </a:lnTo>
                      <a:lnTo>
                        <a:pt x="3677" y="3879"/>
                      </a:lnTo>
                      <a:lnTo>
                        <a:pt x="3703" y="3932"/>
                      </a:lnTo>
                      <a:lnTo>
                        <a:pt x="3738" y="3985"/>
                      </a:lnTo>
                      <a:lnTo>
                        <a:pt x="3835" y="4082"/>
                      </a:lnTo>
                      <a:lnTo>
                        <a:pt x="3835" y="4117"/>
                      </a:lnTo>
                      <a:lnTo>
                        <a:pt x="3782" y="4135"/>
                      </a:lnTo>
                      <a:lnTo>
                        <a:pt x="3747" y="4161"/>
                      </a:lnTo>
                      <a:lnTo>
                        <a:pt x="3712" y="4179"/>
                      </a:lnTo>
                      <a:lnTo>
                        <a:pt x="3677" y="4161"/>
                      </a:lnTo>
                      <a:lnTo>
                        <a:pt x="3659" y="4170"/>
                      </a:lnTo>
                      <a:lnTo>
                        <a:pt x="3641" y="4179"/>
                      </a:lnTo>
                      <a:lnTo>
                        <a:pt x="3632" y="4187"/>
                      </a:lnTo>
                      <a:lnTo>
                        <a:pt x="3606" y="4196"/>
                      </a:lnTo>
                      <a:lnTo>
                        <a:pt x="3659" y="4240"/>
                      </a:lnTo>
                      <a:lnTo>
                        <a:pt x="3685" y="4302"/>
                      </a:lnTo>
                      <a:lnTo>
                        <a:pt x="3685" y="4328"/>
                      </a:lnTo>
                      <a:lnTo>
                        <a:pt x="3641" y="4320"/>
                      </a:lnTo>
                      <a:lnTo>
                        <a:pt x="3606" y="4355"/>
                      </a:lnTo>
                      <a:lnTo>
                        <a:pt x="3694" y="4355"/>
                      </a:lnTo>
                      <a:lnTo>
                        <a:pt x="3756" y="4373"/>
                      </a:lnTo>
                      <a:lnTo>
                        <a:pt x="3800" y="4408"/>
                      </a:lnTo>
                      <a:lnTo>
                        <a:pt x="3835" y="4478"/>
                      </a:lnTo>
                      <a:lnTo>
                        <a:pt x="3747" y="4540"/>
                      </a:lnTo>
                      <a:lnTo>
                        <a:pt x="3721" y="4575"/>
                      </a:lnTo>
                      <a:lnTo>
                        <a:pt x="3703" y="4637"/>
                      </a:lnTo>
                      <a:lnTo>
                        <a:pt x="3624" y="4558"/>
                      </a:lnTo>
                      <a:lnTo>
                        <a:pt x="3544" y="4531"/>
                      </a:lnTo>
                      <a:lnTo>
                        <a:pt x="3386" y="4558"/>
                      </a:lnTo>
                      <a:lnTo>
                        <a:pt x="3298" y="4549"/>
                      </a:lnTo>
                      <a:lnTo>
                        <a:pt x="3201" y="4522"/>
                      </a:lnTo>
                      <a:lnTo>
                        <a:pt x="3130" y="4487"/>
                      </a:lnTo>
                      <a:lnTo>
                        <a:pt x="3095" y="4452"/>
                      </a:lnTo>
                      <a:lnTo>
                        <a:pt x="3051" y="4469"/>
                      </a:lnTo>
                      <a:lnTo>
                        <a:pt x="2645" y="4487"/>
                      </a:lnTo>
                      <a:lnTo>
                        <a:pt x="2584" y="4522"/>
                      </a:lnTo>
                      <a:lnTo>
                        <a:pt x="2460" y="4637"/>
                      </a:lnTo>
                      <a:lnTo>
                        <a:pt x="2407" y="4619"/>
                      </a:lnTo>
                      <a:lnTo>
                        <a:pt x="2346" y="4628"/>
                      </a:lnTo>
                      <a:lnTo>
                        <a:pt x="2284" y="4628"/>
                      </a:lnTo>
                      <a:lnTo>
                        <a:pt x="2213" y="4593"/>
                      </a:lnTo>
                      <a:lnTo>
                        <a:pt x="2143" y="4619"/>
                      </a:lnTo>
                      <a:lnTo>
                        <a:pt x="1931" y="4487"/>
                      </a:lnTo>
                      <a:lnTo>
                        <a:pt x="1825" y="4514"/>
                      </a:lnTo>
                      <a:lnTo>
                        <a:pt x="1799" y="4584"/>
                      </a:lnTo>
                      <a:lnTo>
                        <a:pt x="1799" y="4663"/>
                      </a:lnTo>
                      <a:lnTo>
                        <a:pt x="1773" y="4725"/>
                      </a:lnTo>
                      <a:lnTo>
                        <a:pt x="1684" y="4752"/>
                      </a:lnTo>
                      <a:lnTo>
                        <a:pt x="1517" y="4743"/>
                      </a:lnTo>
                      <a:lnTo>
                        <a:pt x="1182" y="4796"/>
                      </a:lnTo>
                      <a:lnTo>
                        <a:pt x="1067" y="4778"/>
                      </a:lnTo>
                      <a:lnTo>
                        <a:pt x="1023" y="4796"/>
                      </a:lnTo>
                      <a:lnTo>
                        <a:pt x="970" y="4831"/>
                      </a:lnTo>
                      <a:lnTo>
                        <a:pt x="917" y="4901"/>
                      </a:lnTo>
                      <a:lnTo>
                        <a:pt x="900" y="4990"/>
                      </a:lnTo>
                      <a:lnTo>
                        <a:pt x="856" y="5051"/>
                      </a:lnTo>
                      <a:lnTo>
                        <a:pt x="803" y="5078"/>
                      </a:lnTo>
                      <a:lnTo>
                        <a:pt x="724" y="5078"/>
                      </a:lnTo>
                      <a:lnTo>
                        <a:pt x="644" y="5060"/>
                      </a:lnTo>
                      <a:lnTo>
                        <a:pt x="591" y="5034"/>
                      </a:lnTo>
                      <a:lnTo>
                        <a:pt x="591" y="5069"/>
                      </a:lnTo>
                      <a:lnTo>
                        <a:pt x="627" y="5087"/>
                      </a:lnTo>
                      <a:lnTo>
                        <a:pt x="644" y="5122"/>
                      </a:lnTo>
                      <a:lnTo>
                        <a:pt x="644" y="5157"/>
                      </a:lnTo>
                      <a:lnTo>
                        <a:pt x="618" y="5192"/>
                      </a:lnTo>
                      <a:lnTo>
                        <a:pt x="653" y="5192"/>
                      </a:lnTo>
                      <a:lnTo>
                        <a:pt x="653" y="5201"/>
                      </a:lnTo>
                      <a:lnTo>
                        <a:pt x="653" y="5228"/>
                      </a:lnTo>
                      <a:lnTo>
                        <a:pt x="715" y="5192"/>
                      </a:lnTo>
                      <a:lnTo>
                        <a:pt x="768" y="5192"/>
                      </a:lnTo>
                      <a:lnTo>
                        <a:pt x="803" y="5236"/>
                      </a:lnTo>
                      <a:lnTo>
                        <a:pt x="812" y="5307"/>
                      </a:lnTo>
                      <a:lnTo>
                        <a:pt x="865" y="5280"/>
                      </a:lnTo>
                      <a:lnTo>
                        <a:pt x="909" y="5289"/>
                      </a:lnTo>
                      <a:lnTo>
                        <a:pt x="1014" y="5307"/>
                      </a:lnTo>
                      <a:lnTo>
                        <a:pt x="1050" y="5316"/>
                      </a:lnTo>
                      <a:lnTo>
                        <a:pt x="1111" y="5377"/>
                      </a:lnTo>
                      <a:lnTo>
                        <a:pt x="1129" y="5386"/>
                      </a:lnTo>
                      <a:lnTo>
                        <a:pt x="1155" y="5369"/>
                      </a:lnTo>
                      <a:lnTo>
                        <a:pt x="1173" y="5342"/>
                      </a:lnTo>
                      <a:lnTo>
                        <a:pt x="1191" y="5307"/>
                      </a:lnTo>
                      <a:lnTo>
                        <a:pt x="1508" y="5192"/>
                      </a:lnTo>
                      <a:lnTo>
                        <a:pt x="1535" y="5254"/>
                      </a:lnTo>
                      <a:lnTo>
                        <a:pt x="1579" y="5254"/>
                      </a:lnTo>
                      <a:lnTo>
                        <a:pt x="1649" y="5236"/>
                      </a:lnTo>
                      <a:lnTo>
                        <a:pt x="1737" y="5228"/>
                      </a:lnTo>
                      <a:lnTo>
                        <a:pt x="1817" y="5236"/>
                      </a:lnTo>
                      <a:lnTo>
                        <a:pt x="1896" y="5272"/>
                      </a:lnTo>
                      <a:lnTo>
                        <a:pt x="2055" y="5351"/>
                      </a:lnTo>
                      <a:lnTo>
                        <a:pt x="2063" y="5219"/>
                      </a:lnTo>
                      <a:lnTo>
                        <a:pt x="2125" y="5042"/>
                      </a:lnTo>
                      <a:lnTo>
                        <a:pt x="2108" y="4990"/>
                      </a:lnTo>
                      <a:lnTo>
                        <a:pt x="2108" y="4945"/>
                      </a:lnTo>
                      <a:lnTo>
                        <a:pt x="2178" y="4910"/>
                      </a:lnTo>
                      <a:lnTo>
                        <a:pt x="2275" y="4778"/>
                      </a:lnTo>
                      <a:lnTo>
                        <a:pt x="2354" y="4752"/>
                      </a:lnTo>
                      <a:lnTo>
                        <a:pt x="2425" y="4760"/>
                      </a:lnTo>
                      <a:lnTo>
                        <a:pt x="2487" y="4778"/>
                      </a:lnTo>
                      <a:lnTo>
                        <a:pt x="2539" y="4778"/>
                      </a:lnTo>
                      <a:lnTo>
                        <a:pt x="2592" y="4752"/>
                      </a:lnTo>
                      <a:lnTo>
                        <a:pt x="2592" y="4796"/>
                      </a:lnTo>
                      <a:lnTo>
                        <a:pt x="2680" y="4752"/>
                      </a:lnTo>
                      <a:lnTo>
                        <a:pt x="2769" y="4769"/>
                      </a:lnTo>
                      <a:lnTo>
                        <a:pt x="2848" y="4822"/>
                      </a:lnTo>
                      <a:lnTo>
                        <a:pt x="2910" y="4866"/>
                      </a:lnTo>
                      <a:lnTo>
                        <a:pt x="2936" y="4866"/>
                      </a:lnTo>
                      <a:lnTo>
                        <a:pt x="2971" y="4796"/>
                      </a:lnTo>
                      <a:lnTo>
                        <a:pt x="3007" y="4813"/>
                      </a:lnTo>
                      <a:lnTo>
                        <a:pt x="3033" y="4849"/>
                      </a:lnTo>
                      <a:lnTo>
                        <a:pt x="3068" y="4866"/>
                      </a:lnTo>
                      <a:lnTo>
                        <a:pt x="3104" y="4840"/>
                      </a:lnTo>
                      <a:lnTo>
                        <a:pt x="3139" y="4796"/>
                      </a:lnTo>
                      <a:lnTo>
                        <a:pt x="3165" y="4787"/>
                      </a:lnTo>
                      <a:lnTo>
                        <a:pt x="3192" y="4866"/>
                      </a:lnTo>
                      <a:lnTo>
                        <a:pt x="3262" y="4831"/>
                      </a:lnTo>
                      <a:lnTo>
                        <a:pt x="3315" y="4778"/>
                      </a:lnTo>
                      <a:lnTo>
                        <a:pt x="3359" y="4760"/>
                      </a:lnTo>
                      <a:lnTo>
                        <a:pt x="3386" y="4831"/>
                      </a:lnTo>
                      <a:lnTo>
                        <a:pt x="3421" y="4831"/>
                      </a:lnTo>
                      <a:lnTo>
                        <a:pt x="3483" y="4796"/>
                      </a:lnTo>
                      <a:lnTo>
                        <a:pt x="3668" y="4743"/>
                      </a:lnTo>
                      <a:lnTo>
                        <a:pt x="3738" y="4672"/>
                      </a:lnTo>
                      <a:lnTo>
                        <a:pt x="3756" y="4734"/>
                      </a:lnTo>
                      <a:lnTo>
                        <a:pt x="3791" y="4734"/>
                      </a:lnTo>
                      <a:lnTo>
                        <a:pt x="3897" y="4672"/>
                      </a:lnTo>
                      <a:lnTo>
                        <a:pt x="3976" y="4540"/>
                      </a:lnTo>
                      <a:lnTo>
                        <a:pt x="4020" y="4514"/>
                      </a:lnTo>
                      <a:lnTo>
                        <a:pt x="4073" y="4505"/>
                      </a:lnTo>
                      <a:lnTo>
                        <a:pt x="4126" y="4522"/>
                      </a:lnTo>
                      <a:lnTo>
                        <a:pt x="4153" y="4575"/>
                      </a:lnTo>
                      <a:lnTo>
                        <a:pt x="4153" y="4690"/>
                      </a:lnTo>
                      <a:lnTo>
                        <a:pt x="4179" y="4796"/>
                      </a:lnTo>
                      <a:lnTo>
                        <a:pt x="4117" y="4734"/>
                      </a:lnTo>
                      <a:lnTo>
                        <a:pt x="4100" y="4707"/>
                      </a:lnTo>
                      <a:lnTo>
                        <a:pt x="4082" y="4672"/>
                      </a:lnTo>
                      <a:lnTo>
                        <a:pt x="4056" y="4716"/>
                      </a:lnTo>
                      <a:lnTo>
                        <a:pt x="4003" y="4760"/>
                      </a:lnTo>
                      <a:lnTo>
                        <a:pt x="3967" y="4796"/>
                      </a:lnTo>
                      <a:lnTo>
                        <a:pt x="3959" y="4831"/>
                      </a:lnTo>
                      <a:lnTo>
                        <a:pt x="3985" y="4866"/>
                      </a:lnTo>
                      <a:lnTo>
                        <a:pt x="4073" y="4875"/>
                      </a:lnTo>
                      <a:lnTo>
                        <a:pt x="4117" y="4910"/>
                      </a:lnTo>
                      <a:lnTo>
                        <a:pt x="4117" y="4998"/>
                      </a:lnTo>
                      <a:lnTo>
                        <a:pt x="4038" y="5051"/>
                      </a:lnTo>
                      <a:lnTo>
                        <a:pt x="3976" y="5042"/>
                      </a:lnTo>
                      <a:lnTo>
                        <a:pt x="3994" y="4945"/>
                      </a:lnTo>
                      <a:lnTo>
                        <a:pt x="3950" y="4972"/>
                      </a:lnTo>
                      <a:lnTo>
                        <a:pt x="3774" y="4990"/>
                      </a:lnTo>
                      <a:lnTo>
                        <a:pt x="3774" y="4998"/>
                      </a:lnTo>
                      <a:lnTo>
                        <a:pt x="3756" y="5025"/>
                      </a:lnTo>
                      <a:lnTo>
                        <a:pt x="3729" y="5051"/>
                      </a:lnTo>
                      <a:lnTo>
                        <a:pt x="3703" y="5069"/>
                      </a:lnTo>
                      <a:lnTo>
                        <a:pt x="3677" y="5078"/>
                      </a:lnTo>
                      <a:lnTo>
                        <a:pt x="3580" y="5069"/>
                      </a:lnTo>
                      <a:lnTo>
                        <a:pt x="3606" y="5104"/>
                      </a:lnTo>
                      <a:lnTo>
                        <a:pt x="3439" y="5148"/>
                      </a:lnTo>
                      <a:lnTo>
                        <a:pt x="3421" y="5166"/>
                      </a:lnTo>
                      <a:lnTo>
                        <a:pt x="3439" y="5219"/>
                      </a:lnTo>
                      <a:lnTo>
                        <a:pt x="3483" y="5245"/>
                      </a:lnTo>
                      <a:lnTo>
                        <a:pt x="3536" y="5245"/>
                      </a:lnTo>
                      <a:lnTo>
                        <a:pt x="3580" y="5228"/>
                      </a:lnTo>
                      <a:lnTo>
                        <a:pt x="3606" y="5245"/>
                      </a:lnTo>
                      <a:lnTo>
                        <a:pt x="3659" y="5272"/>
                      </a:lnTo>
                      <a:lnTo>
                        <a:pt x="3712" y="5272"/>
                      </a:lnTo>
                      <a:lnTo>
                        <a:pt x="3738" y="5245"/>
                      </a:lnTo>
                      <a:lnTo>
                        <a:pt x="3738" y="5175"/>
                      </a:lnTo>
                      <a:lnTo>
                        <a:pt x="3756" y="5157"/>
                      </a:lnTo>
                      <a:lnTo>
                        <a:pt x="3800" y="5192"/>
                      </a:lnTo>
                      <a:lnTo>
                        <a:pt x="3844" y="5236"/>
                      </a:lnTo>
                      <a:lnTo>
                        <a:pt x="3862" y="5307"/>
                      </a:lnTo>
                      <a:lnTo>
                        <a:pt x="3844" y="5377"/>
                      </a:lnTo>
                      <a:lnTo>
                        <a:pt x="3800" y="5430"/>
                      </a:lnTo>
                      <a:lnTo>
                        <a:pt x="3800" y="5466"/>
                      </a:lnTo>
                      <a:lnTo>
                        <a:pt x="3835" y="5430"/>
                      </a:lnTo>
                      <a:lnTo>
                        <a:pt x="3932" y="5351"/>
                      </a:lnTo>
                      <a:lnTo>
                        <a:pt x="3994" y="5430"/>
                      </a:lnTo>
                      <a:lnTo>
                        <a:pt x="3923" y="5501"/>
                      </a:lnTo>
                      <a:lnTo>
                        <a:pt x="3879" y="5571"/>
                      </a:lnTo>
                      <a:lnTo>
                        <a:pt x="3826" y="5624"/>
                      </a:lnTo>
                      <a:lnTo>
                        <a:pt x="3738" y="5668"/>
                      </a:lnTo>
                      <a:lnTo>
                        <a:pt x="3386" y="5668"/>
                      </a:lnTo>
                      <a:lnTo>
                        <a:pt x="3412" y="5704"/>
                      </a:lnTo>
                      <a:lnTo>
                        <a:pt x="3430" y="5721"/>
                      </a:lnTo>
                      <a:lnTo>
                        <a:pt x="3447" y="5739"/>
                      </a:lnTo>
                      <a:lnTo>
                        <a:pt x="3439" y="5756"/>
                      </a:lnTo>
                      <a:lnTo>
                        <a:pt x="3430" y="5801"/>
                      </a:lnTo>
                      <a:lnTo>
                        <a:pt x="3421" y="5818"/>
                      </a:lnTo>
                      <a:lnTo>
                        <a:pt x="3474" y="5880"/>
                      </a:lnTo>
                      <a:lnTo>
                        <a:pt x="3536" y="5915"/>
                      </a:lnTo>
                      <a:lnTo>
                        <a:pt x="3588" y="5906"/>
                      </a:lnTo>
                      <a:lnTo>
                        <a:pt x="3641" y="5818"/>
                      </a:lnTo>
                      <a:lnTo>
                        <a:pt x="3659" y="5871"/>
                      </a:lnTo>
                      <a:lnTo>
                        <a:pt x="3694" y="5889"/>
                      </a:lnTo>
                      <a:lnTo>
                        <a:pt x="3738" y="5889"/>
                      </a:lnTo>
                      <a:lnTo>
                        <a:pt x="3800" y="5862"/>
                      </a:lnTo>
                      <a:lnTo>
                        <a:pt x="3791" y="5845"/>
                      </a:lnTo>
                      <a:lnTo>
                        <a:pt x="3782" y="5801"/>
                      </a:lnTo>
                      <a:lnTo>
                        <a:pt x="3774" y="5783"/>
                      </a:lnTo>
                      <a:lnTo>
                        <a:pt x="3809" y="5774"/>
                      </a:lnTo>
                      <a:lnTo>
                        <a:pt x="3835" y="5756"/>
                      </a:lnTo>
                      <a:lnTo>
                        <a:pt x="3844" y="5739"/>
                      </a:lnTo>
                      <a:lnTo>
                        <a:pt x="3862" y="5704"/>
                      </a:lnTo>
                      <a:lnTo>
                        <a:pt x="3985" y="5748"/>
                      </a:lnTo>
                      <a:lnTo>
                        <a:pt x="4091" y="5659"/>
                      </a:lnTo>
                      <a:lnTo>
                        <a:pt x="4179" y="5518"/>
                      </a:lnTo>
                      <a:lnTo>
                        <a:pt x="4241" y="5386"/>
                      </a:lnTo>
                      <a:lnTo>
                        <a:pt x="4329" y="5263"/>
                      </a:lnTo>
                      <a:lnTo>
                        <a:pt x="4417" y="5192"/>
                      </a:lnTo>
                      <a:lnTo>
                        <a:pt x="4655" y="5104"/>
                      </a:lnTo>
                      <a:lnTo>
                        <a:pt x="4646" y="5078"/>
                      </a:lnTo>
                      <a:lnTo>
                        <a:pt x="4620" y="5069"/>
                      </a:lnTo>
                      <a:lnTo>
                        <a:pt x="4637" y="5051"/>
                      </a:lnTo>
                      <a:lnTo>
                        <a:pt x="4655" y="5034"/>
                      </a:lnTo>
                      <a:lnTo>
                        <a:pt x="4655" y="5016"/>
                      </a:lnTo>
                      <a:lnTo>
                        <a:pt x="4655" y="4990"/>
                      </a:lnTo>
                      <a:lnTo>
                        <a:pt x="4690" y="5016"/>
                      </a:lnTo>
                      <a:lnTo>
                        <a:pt x="4717" y="5034"/>
                      </a:lnTo>
                      <a:lnTo>
                        <a:pt x="4752" y="4945"/>
                      </a:lnTo>
                      <a:lnTo>
                        <a:pt x="4814" y="4928"/>
                      </a:lnTo>
                      <a:lnTo>
                        <a:pt x="4893" y="4945"/>
                      </a:lnTo>
                      <a:lnTo>
                        <a:pt x="4946" y="4990"/>
                      </a:lnTo>
                      <a:lnTo>
                        <a:pt x="4911" y="4857"/>
                      </a:lnTo>
                      <a:lnTo>
                        <a:pt x="4734" y="4716"/>
                      </a:lnTo>
                      <a:lnTo>
                        <a:pt x="4752" y="4593"/>
                      </a:lnTo>
                      <a:lnTo>
                        <a:pt x="4690" y="4531"/>
                      </a:lnTo>
                      <a:lnTo>
                        <a:pt x="4673" y="4452"/>
                      </a:lnTo>
                      <a:lnTo>
                        <a:pt x="4708" y="4355"/>
                      </a:lnTo>
                      <a:lnTo>
                        <a:pt x="4770" y="4258"/>
                      </a:lnTo>
                      <a:lnTo>
                        <a:pt x="4840" y="4223"/>
                      </a:lnTo>
                      <a:lnTo>
                        <a:pt x="4911" y="4258"/>
                      </a:lnTo>
                      <a:lnTo>
                        <a:pt x="4981" y="4320"/>
                      </a:lnTo>
                      <a:lnTo>
                        <a:pt x="5034" y="4355"/>
                      </a:lnTo>
                      <a:lnTo>
                        <a:pt x="5034" y="4399"/>
                      </a:lnTo>
                      <a:lnTo>
                        <a:pt x="4919" y="4417"/>
                      </a:lnTo>
                      <a:lnTo>
                        <a:pt x="4867" y="4443"/>
                      </a:lnTo>
                      <a:lnTo>
                        <a:pt x="4849" y="4496"/>
                      </a:lnTo>
                      <a:lnTo>
                        <a:pt x="4867" y="4549"/>
                      </a:lnTo>
                      <a:lnTo>
                        <a:pt x="4911" y="4558"/>
                      </a:lnTo>
                      <a:lnTo>
                        <a:pt x="5034" y="4558"/>
                      </a:lnTo>
                      <a:lnTo>
                        <a:pt x="5025" y="4522"/>
                      </a:lnTo>
                      <a:lnTo>
                        <a:pt x="5008" y="4434"/>
                      </a:lnTo>
                      <a:lnTo>
                        <a:pt x="5034" y="4434"/>
                      </a:lnTo>
                      <a:lnTo>
                        <a:pt x="5087" y="4469"/>
                      </a:lnTo>
                      <a:lnTo>
                        <a:pt x="5325" y="4593"/>
                      </a:lnTo>
                      <a:lnTo>
                        <a:pt x="5413" y="4584"/>
                      </a:lnTo>
                      <a:lnTo>
                        <a:pt x="5457" y="4522"/>
                      </a:lnTo>
                      <a:lnTo>
                        <a:pt x="5501" y="4443"/>
                      </a:lnTo>
                      <a:lnTo>
                        <a:pt x="5545" y="4355"/>
                      </a:lnTo>
                      <a:lnTo>
                        <a:pt x="5501" y="4311"/>
                      </a:lnTo>
                      <a:lnTo>
                        <a:pt x="5457" y="4311"/>
                      </a:lnTo>
                      <a:lnTo>
                        <a:pt x="5413" y="4320"/>
                      </a:lnTo>
                      <a:lnTo>
                        <a:pt x="5387" y="4320"/>
                      </a:lnTo>
                      <a:lnTo>
                        <a:pt x="5360" y="4284"/>
                      </a:lnTo>
                      <a:lnTo>
                        <a:pt x="5325" y="4240"/>
                      </a:lnTo>
                      <a:lnTo>
                        <a:pt x="5325" y="4214"/>
                      </a:lnTo>
                      <a:lnTo>
                        <a:pt x="5369" y="4196"/>
                      </a:lnTo>
                      <a:lnTo>
                        <a:pt x="5510" y="4179"/>
                      </a:lnTo>
                      <a:lnTo>
                        <a:pt x="5598" y="4152"/>
                      </a:lnTo>
                      <a:lnTo>
                        <a:pt x="5642" y="4099"/>
                      </a:lnTo>
                      <a:lnTo>
                        <a:pt x="5651" y="4046"/>
                      </a:lnTo>
                      <a:lnTo>
                        <a:pt x="5669" y="4038"/>
                      </a:lnTo>
                      <a:lnTo>
                        <a:pt x="5695" y="4073"/>
                      </a:lnTo>
                      <a:lnTo>
                        <a:pt x="5704" y="4135"/>
                      </a:lnTo>
                      <a:lnTo>
                        <a:pt x="5713" y="4152"/>
                      </a:lnTo>
                      <a:lnTo>
                        <a:pt x="5722" y="4161"/>
                      </a:lnTo>
                      <a:lnTo>
                        <a:pt x="5730" y="4179"/>
                      </a:lnTo>
                      <a:lnTo>
                        <a:pt x="5739" y="4214"/>
                      </a:lnTo>
                      <a:lnTo>
                        <a:pt x="5730" y="4231"/>
                      </a:lnTo>
                      <a:lnTo>
                        <a:pt x="5704" y="4240"/>
                      </a:lnTo>
                      <a:lnTo>
                        <a:pt x="5678" y="4240"/>
                      </a:lnTo>
                      <a:lnTo>
                        <a:pt x="5695" y="4364"/>
                      </a:lnTo>
                      <a:lnTo>
                        <a:pt x="5730" y="4417"/>
                      </a:lnTo>
                      <a:lnTo>
                        <a:pt x="5792" y="4434"/>
                      </a:lnTo>
                      <a:lnTo>
                        <a:pt x="5898" y="4434"/>
                      </a:lnTo>
                      <a:lnTo>
                        <a:pt x="5898" y="4478"/>
                      </a:lnTo>
                      <a:lnTo>
                        <a:pt x="5836" y="4514"/>
                      </a:lnTo>
                      <a:lnTo>
                        <a:pt x="5889" y="4531"/>
                      </a:lnTo>
                      <a:lnTo>
                        <a:pt x="5933" y="4540"/>
                      </a:lnTo>
                      <a:lnTo>
                        <a:pt x="5977" y="4549"/>
                      </a:lnTo>
                      <a:lnTo>
                        <a:pt x="6021" y="4593"/>
                      </a:lnTo>
                      <a:lnTo>
                        <a:pt x="6013" y="4452"/>
                      </a:lnTo>
                      <a:lnTo>
                        <a:pt x="6109" y="4390"/>
                      </a:lnTo>
                      <a:lnTo>
                        <a:pt x="6251" y="4408"/>
                      </a:lnTo>
                      <a:lnTo>
                        <a:pt x="6303" y="4478"/>
                      </a:lnTo>
                      <a:lnTo>
                        <a:pt x="6321" y="4522"/>
                      </a:lnTo>
                      <a:lnTo>
                        <a:pt x="6321" y="4531"/>
                      </a:lnTo>
                      <a:lnTo>
                        <a:pt x="6347" y="4558"/>
                      </a:lnTo>
                      <a:lnTo>
                        <a:pt x="6347" y="4514"/>
                      </a:lnTo>
                      <a:lnTo>
                        <a:pt x="6356" y="4487"/>
                      </a:lnTo>
                      <a:lnTo>
                        <a:pt x="6374" y="4434"/>
                      </a:lnTo>
                      <a:lnTo>
                        <a:pt x="6409" y="4434"/>
                      </a:lnTo>
                      <a:lnTo>
                        <a:pt x="6392" y="4469"/>
                      </a:lnTo>
                      <a:lnTo>
                        <a:pt x="6392" y="4487"/>
                      </a:lnTo>
                      <a:lnTo>
                        <a:pt x="6400" y="4496"/>
                      </a:lnTo>
                      <a:lnTo>
                        <a:pt x="6409" y="4514"/>
                      </a:lnTo>
                      <a:lnTo>
                        <a:pt x="6392" y="4522"/>
                      </a:lnTo>
                      <a:lnTo>
                        <a:pt x="6383" y="4522"/>
                      </a:lnTo>
                      <a:lnTo>
                        <a:pt x="6374" y="4531"/>
                      </a:lnTo>
                      <a:lnTo>
                        <a:pt x="6374" y="4558"/>
                      </a:lnTo>
                      <a:lnTo>
                        <a:pt x="6427" y="4611"/>
                      </a:lnTo>
                      <a:lnTo>
                        <a:pt x="6436" y="4716"/>
                      </a:lnTo>
                      <a:lnTo>
                        <a:pt x="6418" y="4831"/>
                      </a:lnTo>
                      <a:lnTo>
                        <a:pt x="6374" y="4910"/>
                      </a:lnTo>
                      <a:lnTo>
                        <a:pt x="6436" y="5069"/>
                      </a:lnTo>
                      <a:lnTo>
                        <a:pt x="6471" y="5104"/>
                      </a:lnTo>
                      <a:lnTo>
                        <a:pt x="6524" y="5016"/>
                      </a:lnTo>
                      <a:lnTo>
                        <a:pt x="6585" y="4998"/>
                      </a:lnTo>
                      <a:lnTo>
                        <a:pt x="6638" y="5042"/>
                      </a:lnTo>
                      <a:lnTo>
                        <a:pt x="6656" y="5148"/>
                      </a:lnTo>
                      <a:lnTo>
                        <a:pt x="6691" y="5148"/>
                      </a:lnTo>
                      <a:lnTo>
                        <a:pt x="6832" y="5078"/>
                      </a:lnTo>
                      <a:lnTo>
                        <a:pt x="7035" y="5113"/>
                      </a:lnTo>
                      <a:lnTo>
                        <a:pt x="7203" y="5236"/>
                      </a:lnTo>
                      <a:lnTo>
                        <a:pt x="7229" y="5386"/>
                      </a:lnTo>
                      <a:lnTo>
                        <a:pt x="7308" y="5360"/>
                      </a:lnTo>
                      <a:lnTo>
                        <a:pt x="7361" y="5386"/>
                      </a:lnTo>
                      <a:lnTo>
                        <a:pt x="7405" y="5421"/>
                      </a:lnTo>
                      <a:lnTo>
                        <a:pt x="7485" y="5466"/>
                      </a:lnTo>
                      <a:lnTo>
                        <a:pt x="7485" y="5510"/>
                      </a:lnTo>
                      <a:lnTo>
                        <a:pt x="7414" y="5518"/>
                      </a:lnTo>
                      <a:lnTo>
                        <a:pt x="7370" y="5563"/>
                      </a:lnTo>
                      <a:lnTo>
                        <a:pt x="7370" y="5615"/>
                      </a:lnTo>
                      <a:lnTo>
                        <a:pt x="7423" y="5668"/>
                      </a:lnTo>
                      <a:lnTo>
                        <a:pt x="7476" y="5677"/>
                      </a:lnTo>
                      <a:lnTo>
                        <a:pt x="7555" y="5677"/>
                      </a:lnTo>
                      <a:lnTo>
                        <a:pt x="7608" y="5642"/>
                      </a:lnTo>
                      <a:lnTo>
                        <a:pt x="7582" y="5589"/>
                      </a:lnTo>
                      <a:lnTo>
                        <a:pt x="7652" y="5536"/>
                      </a:lnTo>
                      <a:lnTo>
                        <a:pt x="7731" y="5439"/>
                      </a:lnTo>
                      <a:lnTo>
                        <a:pt x="7758" y="5342"/>
                      </a:lnTo>
                      <a:lnTo>
                        <a:pt x="7679" y="5272"/>
                      </a:lnTo>
                      <a:lnTo>
                        <a:pt x="7705" y="5351"/>
                      </a:lnTo>
                      <a:lnTo>
                        <a:pt x="7696" y="5404"/>
                      </a:lnTo>
                      <a:lnTo>
                        <a:pt x="7670" y="5448"/>
                      </a:lnTo>
                      <a:lnTo>
                        <a:pt x="7643" y="5510"/>
                      </a:lnTo>
                      <a:lnTo>
                        <a:pt x="7617" y="5510"/>
                      </a:lnTo>
                      <a:lnTo>
                        <a:pt x="7599" y="5483"/>
                      </a:lnTo>
                      <a:lnTo>
                        <a:pt x="7546" y="5430"/>
                      </a:lnTo>
                      <a:lnTo>
                        <a:pt x="7582" y="5386"/>
                      </a:lnTo>
                      <a:lnTo>
                        <a:pt x="7555" y="5369"/>
                      </a:lnTo>
                      <a:lnTo>
                        <a:pt x="7537" y="5351"/>
                      </a:lnTo>
                      <a:lnTo>
                        <a:pt x="7520" y="5307"/>
                      </a:lnTo>
                      <a:lnTo>
                        <a:pt x="7573" y="5289"/>
                      </a:lnTo>
                      <a:lnTo>
                        <a:pt x="7582" y="5245"/>
                      </a:lnTo>
                      <a:lnTo>
                        <a:pt x="7564" y="5192"/>
                      </a:lnTo>
                      <a:lnTo>
                        <a:pt x="7582" y="5148"/>
                      </a:lnTo>
                      <a:lnTo>
                        <a:pt x="7617" y="5122"/>
                      </a:lnTo>
                      <a:lnTo>
                        <a:pt x="7652" y="5113"/>
                      </a:lnTo>
                      <a:lnTo>
                        <a:pt x="7740" y="5104"/>
                      </a:lnTo>
                      <a:lnTo>
                        <a:pt x="7740" y="5069"/>
                      </a:lnTo>
                      <a:lnTo>
                        <a:pt x="7705" y="5069"/>
                      </a:lnTo>
                      <a:lnTo>
                        <a:pt x="7705" y="5034"/>
                      </a:lnTo>
                      <a:lnTo>
                        <a:pt x="7767" y="4972"/>
                      </a:lnTo>
                      <a:lnTo>
                        <a:pt x="7855" y="4866"/>
                      </a:lnTo>
                      <a:lnTo>
                        <a:pt x="7934" y="4804"/>
                      </a:lnTo>
                      <a:lnTo>
                        <a:pt x="7961" y="4893"/>
                      </a:lnTo>
                      <a:lnTo>
                        <a:pt x="8013" y="4945"/>
                      </a:lnTo>
                      <a:lnTo>
                        <a:pt x="8375" y="5095"/>
                      </a:lnTo>
                      <a:lnTo>
                        <a:pt x="8657" y="5307"/>
                      </a:lnTo>
                      <a:lnTo>
                        <a:pt x="8692" y="5333"/>
                      </a:lnTo>
                      <a:lnTo>
                        <a:pt x="8719" y="5377"/>
                      </a:lnTo>
                      <a:lnTo>
                        <a:pt x="8745" y="5430"/>
                      </a:lnTo>
                      <a:lnTo>
                        <a:pt x="8754" y="5483"/>
                      </a:lnTo>
                      <a:lnTo>
                        <a:pt x="8727" y="5527"/>
                      </a:lnTo>
                      <a:lnTo>
                        <a:pt x="8675" y="5545"/>
                      </a:lnTo>
                      <a:lnTo>
                        <a:pt x="8631" y="5527"/>
                      </a:lnTo>
                      <a:lnTo>
                        <a:pt x="8657" y="5466"/>
                      </a:lnTo>
                      <a:lnTo>
                        <a:pt x="8657" y="5430"/>
                      </a:lnTo>
                      <a:lnTo>
                        <a:pt x="8586" y="5457"/>
                      </a:lnTo>
                      <a:lnTo>
                        <a:pt x="8534" y="5545"/>
                      </a:lnTo>
                      <a:lnTo>
                        <a:pt x="8472" y="5598"/>
                      </a:lnTo>
                      <a:lnTo>
                        <a:pt x="8410" y="5545"/>
                      </a:lnTo>
                      <a:lnTo>
                        <a:pt x="8375" y="5598"/>
                      </a:lnTo>
                      <a:lnTo>
                        <a:pt x="8340" y="5704"/>
                      </a:lnTo>
                      <a:lnTo>
                        <a:pt x="8313" y="5739"/>
                      </a:lnTo>
                      <a:lnTo>
                        <a:pt x="8357" y="5827"/>
                      </a:lnTo>
                      <a:lnTo>
                        <a:pt x="8384" y="5906"/>
                      </a:lnTo>
                      <a:lnTo>
                        <a:pt x="8366" y="5959"/>
                      </a:lnTo>
                      <a:lnTo>
                        <a:pt x="8278" y="5986"/>
                      </a:lnTo>
                      <a:lnTo>
                        <a:pt x="8384" y="5994"/>
                      </a:lnTo>
                      <a:lnTo>
                        <a:pt x="8604" y="5915"/>
                      </a:lnTo>
                      <a:lnTo>
                        <a:pt x="8657" y="5986"/>
                      </a:lnTo>
                      <a:lnTo>
                        <a:pt x="8692" y="5986"/>
                      </a:lnTo>
                      <a:lnTo>
                        <a:pt x="8745" y="5959"/>
                      </a:lnTo>
                      <a:lnTo>
                        <a:pt x="8772" y="6056"/>
                      </a:lnTo>
                      <a:lnTo>
                        <a:pt x="8789" y="6259"/>
                      </a:lnTo>
                      <a:lnTo>
                        <a:pt x="8789" y="6294"/>
                      </a:lnTo>
                      <a:lnTo>
                        <a:pt x="8754" y="6312"/>
                      </a:lnTo>
                      <a:lnTo>
                        <a:pt x="8719" y="6329"/>
                      </a:lnTo>
                      <a:lnTo>
                        <a:pt x="8657" y="6374"/>
                      </a:lnTo>
                      <a:lnTo>
                        <a:pt x="8657" y="6409"/>
                      </a:lnTo>
                      <a:lnTo>
                        <a:pt x="8727" y="6453"/>
                      </a:lnTo>
                      <a:lnTo>
                        <a:pt x="8789" y="6523"/>
                      </a:lnTo>
                      <a:lnTo>
                        <a:pt x="8816" y="6629"/>
                      </a:lnTo>
                      <a:lnTo>
                        <a:pt x="8789" y="6735"/>
                      </a:lnTo>
                      <a:lnTo>
                        <a:pt x="8816" y="6735"/>
                      </a:lnTo>
                      <a:lnTo>
                        <a:pt x="8816" y="6744"/>
                      </a:lnTo>
                      <a:lnTo>
                        <a:pt x="8816" y="6770"/>
                      </a:lnTo>
                      <a:lnTo>
                        <a:pt x="8763" y="6779"/>
                      </a:lnTo>
                      <a:lnTo>
                        <a:pt x="8719" y="6797"/>
                      </a:lnTo>
                      <a:lnTo>
                        <a:pt x="8683" y="6832"/>
                      </a:lnTo>
                      <a:lnTo>
                        <a:pt x="8657" y="6885"/>
                      </a:lnTo>
                      <a:lnTo>
                        <a:pt x="8710" y="6885"/>
                      </a:lnTo>
                      <a:lnTo>
                        <a:pt x="8736" y="6894"/>
                      </a:lnTo>
                      <a:lnTo>
                        <a:pt x="8789" y="6929"/>
                      </a:lnTo>
                      <a:lnTo>
                        <a:pt x="8754" y="6964"/>
                      </a:lnTo>
                      <a:lnTo>
                        <a:pt x="8886" y="6964"/>
                      </a:lnTo>
                      <a:lnTo>
                        <a:pt x="8886" y="7008"/>
                      </a:lnTo>
                      <a:lnTo>
                        <a:pt x="8869" y="7035"/>
                      </a:lnTo>
                      <a:lnTo>
                        <a:pt x="8869" y="7052"/>
                      </a:lnTo>
                      <a:lnTo>
                        <a:pt x="8886" y="7132"/>
                      </a:lnTo>
                      <a:lnTo>
                        <a:pt x="8948" y="7088"/>
                      </a:lnTo>
                      <a:lnTo>
                        <a:pt x="9027" y="7184"/>
                      </a:lnTo>
                      <a:lnTo>
                        <a:pt x="9300" y="7273"/>
                      </a:lnTo>
                      <a:lnTo>
                        <a:pt x="9362" y="7343"/>
                      </a:lnTo>
                      <a:lnTo>
                        <a:pt x="9406" y="7431"/>
                      </a:lnTo>
                      <a:lnTo>
                        <a:pt x="9424" y="7449"/>
                      </a:lnTo>
                      <a:lnTo>
                        <a:pt x="9556" y="7387"/>
                      </a:lnTo>
                      <a:lnTo>
                        <a:pt x="9635" y="7264"/>
                      </a:lnTo>
                      <a:lnTo>
                        <a:pt x="9671" y="7114"/>
                      </a:lnTo>
                      <a:lnTo>
                        <a:pt x="9662" y="7043"/>
                      </a:lnTo>
                      <a:lnTo>
                        <a:pt x="9671" y="6973"/>
                      </a:lnTo>
                      <a:lnTo>
                        <a:pt x="9706" y="6894"/>
                      </a:lnTo>
                      <a:lnTo>
                        <a:pt x="9741" y="6788"/>
                      </a:lnTo>
                      <a:lnTo>
                        <a:pt x="9891" y="6470"/>
                      </a:lnTo>
                      <a:lnTo>
                        <a:pt x="10182" y="6356"/>
                      </a:lnTo>
                      <a:lnTo>
                        <a:pt x="10323" y="6418"/>
                      </a:lnTo>
                      <a:lnTo>
                        <a:pt x="10429" y="6365"/>
                      </a:lnTo>
                      <a:lnTo>
                        <a:pt x="10402" y="6206"/>
                      </a:lnTo>
                      <a:lnTo>
                        <a:pt x="10446" y="6047"/>
                      </a:lnTo>
                      <a:lnTo>
                        <a:pt x="10658" y="5853"/>
                      </a:lnTo>
                      <a:lnTo>
                        <a:pt x="10887" y="5686"/>
                      </a:lnTo>
                      <a:lnTo>
                        <a:pt x="10966" y="5369"/>
                      </a:lnTo>
                      <a:lnTo>
                        <a:pt x="10905" y="5007"/>
                      </a:lnTo>
                      <a:lnTo>
                        <a:pt x="11407" y="3861"/>
                      </a:lnTo>
                      <a:lnTo>
                        <a:pt x="11019" y="3315"/>
                      </a:lnTo>
                      <a:lnTo>
                        <a:pt x="10455" y="3385"/>
                      </a:lnTo>
                      <a:lnTo>
                        <a:pt x="10235" y="3667"/>
                      </a:lnTo>
                      <a:lnTo>
                        <a:pt x="10059" y="3597"/>
                      </a:lnTo>
                      <a:lnTo>
                        <a:pt x="10129" y="3262"/>
                      </a:lnTo>
                      <a:lnTo>
                        <a:pt x="10023" y="2962"/>
                      </a:lnTo>
                      <a:lnTo>
                        <a:pt x="9803" y="3147"/>
                      </a:lnTo>
                      <a:lnTo>
                        <a:pt x="9768" y="3517"/>
                      </a:lnTo>
                      <a:lnTo>
                        <a:pt x="9724" y="3667"/>
                      </a:lnTo>
                      <a:lnTo>
                        <a:pt x="9627" y="3800"/>
                      </a:lnTo>
                      <a:lnTo>
                        <a:pt x="9468" y="3879"/>
                      </a:lnTo>
                      <a:lnTo>
                        <a:pt x="9001" y="3623"/>
                      </a:lnTo>
                      <a:lnTo>
                        <a:pt x="8745" y="3606"/>
                      </a:lnTo>
                      <a:lnTo>
                        <a:pt x="8631" y="3491"/>
                      </a:lnTo>
                      <a:lnTo>
                        <a:pt x="8613" y="3403"/>
                      </a:lnTo>
                      <a:lnTo>
                        <a:pt x="8604" y="3209"/>
                      </a:lnTo>
                      <a:lnTo>
                        <a:pt x="8560" y="2989"/>
                      </a:lnTo>
                      <a:lnTo>
                        <a:pt x="8498" y="2768"/>
                      </a:lnTo>
                      <a:lnTo>
                        <a:pt x="8225" y="2495"/>
                      </a:lnTo>
                      <a:lnTo>
                        <a:pt x="7881" y="2336"/>
                      </a:lnTo>
                      <a:lnTo>
                        <a:pt x="7828" y="2275"/>
                      </a:lnTo>
                      <a:lnTo>
                        <a:pt x="7740" y="2116"/>
                      </a:lnTo>
                      <a:lnTo>
                        <a:pt x="7687" y="2054"/>
                      </a:lnTo>
                      <a:lnTo>
                        <a:pt x="7344" y="2010"/>
                      </a:lnTo>
                      <a:lnTo>
                        <a:pt x="7185" y="1781"/>
                      </a:lnTo>
                      <a:lnTo>
                        <a:pt x="7123" y="1508"/>
                      </a:lnTo>
                      <a:lnTo>
                        <a:pt x="6991" y="1270"/>
                      </a:lnTo>
                      <a:lnTo>
                        <a:pt x="6771" y="1181"/>
                      </a:lnTo>
                      <a:lnTo>
                        <a:pt x="6603" y="1181"/>
                      </a:lnTo>
                      <a:lnTo>
                        <a:pt x="6489" y="1137"/>
                      </a:lnTo>
                      <a:lnTo>
                        <a:pt x="6436" y="970"/>
                      </a:lnTo>
                      <a:lnTo>
                        <a:pt x="6436" y="802"/>
                      </a:lnTo>
                      <a:lnTo>
                        <a:pt x="6453" y="679"/>
                      </a:lnTo>
                      <a:lnTo>
                        <a:pt x="6400" y="582"/>
                      </a:lnTo>
                      <a:lnTo>
                        <a:pt x="5792" y="503"/>
                      </a:lnTo>
                      <a:lnTo>
                        <a:pt x="5457" y="318"/>
                      </a:lnTo>
                      <a:lnTo>
                        <a:pt x="5166" y="71"/>
                      </a:lnTo>
                      <a:lnTo>
                        <a:pt x="4831"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7" name="Google Shape;3125;p54">
                  <a:extLst>
                    <a:ext uri="{FF2B5EF4-FFF2-40B4-BE49-F238E27FC236}">
                      <a16:creationId xmlns:a16="http://schemas.microsoft.com/office/drawing/2014/main" id="{C367E800-4EB2-867A-AAB4-7F447698115D}"/>
                    </a:ext>
                  </a:extLst>
                </p:cNvPr>
                <p:cNvSpPr/>
                <p:nvPr/>
              </p:nvSpPr>
              <p:spPr>
                <a:xfrm>
                  <a:off x="3559244" y="3243748"/>
                  <a:ext cx="1118072" cy="549047"/>
                </a:xfrm>
                <a:custGeom>
                  <a:avLst/>
                  <a:gdLst/>
                  <a:ahLst/>
                  <a:cxnLst/>
                  <a:rect l="l" t="t" r="r" b="b"/>
                  <a:pathLst>
                    <a:path w="15727" h="7723" extrusionOk="0">
                      <a:moveTo>
                        <a:pt x="9353" y="1"/>
                      </a:moveTo>
                      <a:lnTo>
                        <a:pt x="9124" y="80"/>
                      </a:lnTo>
                      <a:lnTo>
                        <a:pt x="8904" y="239"/>
                      </a:lnTo>
                      <a:lnTo>
                        <a:pt x="8657" y="283"/>
                      </a:lnTo>
                      <a:lnTo>
                        <a:pt x="8181" y="451"/>
                      </a:lnTo>
                      <a:lnTo>
                        <a:pt x="7767" y="274"/>
                      </a:lnTo>
                      <a:lnTo>
                        <a:pt x="7441" y="565"/>
                      </a:lnTo>
                      <a:lnTo>
                        <a:pt x="7352" y="812"/>
                      </a:lnTo>
                      <a:lnTo>
                        <a:pt x="7070" y="1120"/>
                      </a:lnTo>
                      <a:lnTo>
                        <a:pt x="6903" y="1165"/>
                      </a:lnTo>
                      <a:lnTo>
                        <a:pt x="6542" y="1173"/>
                      </a:lnTo>
                      <a:lnTo>
                        <a:pt x="6118" y="1120"/>
                      </a:lnTo>
                      <a:lnTo>
                        <a:pt x="5475" y="1147"/>
                      </a:lnTo>
                      <a:lnTo>
                        <a:pt x="5369" y="1103"/>
                      </a:lnTo>
                      <a:lnTo>
                        <a:pt x="5078" y="759"/>
                      </a:lnTo>
                      <a:lnTo>
                        <a:pt x="4796" y="715"/>
                      </a:lnTo>
                      <a:lnTo>
                        <a:pt x="4109" y="1006"/>
                      </a:lnTo>
                      <a:lnTo>
                        <a:pt x="3827" y="1059"/>
                      </a:lnTo>
                      <a:lnTo>
                        <a:pt x="2998" y="1491"/>
                      </a:lnTo>
                      <a:lnTo>
                        <a:pt x="2742" y="1843"/>
                      </a:lnTo>
                      <a:lnTo>
                        <a:pt x="2672" y="2275"/>
                      </a:lnTo>
                      <a:lnTo>
                        <a:pt x="2487" y="2619"/>
                      </a:lnTo>
                      <a:lnTo>
                        <a:pt x="2354" y="2742"/>
                      </a:lnTo>
                      <a:lnTo>
                        <a:pt x="2249" y="2892"/>
                      </a:lnTo>
                      <a:lnTo>
                        <a:pt x="2125" y="2963"/>
                      </a:lnTo>
                      <a:lnTo>
                        <a:pt x="1984" y="2989"/>
                      </a:lnTo>
                      <a:lnTo>
                        <a:pt x="1482" y="4135"/>
                      </a:lnTo>
                      <a:lnTo>
                        <a:pt x="1543" y="4497"/>
                      </a:lnTo>
                      <a:lnTo>
                        <a:pt x="1464" y="4814"/>
                      </a:lnTo>
                      <a:lnTo>
                        <a:pt x="1235" y="4981"/>
                      </a:lnTo>
                      <a:lnTo>
                        <a:pt x="1023" y="5175"/>
                      </a:lnTo>
                      <a:lnTo>
                        <a:pt x="979" y="5334"/>
                      </a:lnTo>
                      <a:lnTo>
                        <a:pt x="1006" y="5493"/>
                      </a:lnTo>
                      <a:lnTo>
                        <a:pt x="900" y="5546"/>
                      </a:lnTo>
                      <a:lnTo>
                        <a:pt x="759" y="5484"/>
                      </a:lnTo>
                      <a:lnTo>
                        <a:pt x="468" y="5598"/>
                      </a:lnTo>
                      <a:lnTo>
                        <a:pt x="318" y="5916"/>
                      </a:lnTo>
                      <a:lnTo>
                        <a:pt x="283" y="6022"/>
                      </a:lnTo>
                      <a:lnTo>
                        <a:pt x="248" y="6101"/>
                      </a:lnTo>
                      <a:lnTo>
                        <a:pt x="239" y="6171"/>
                      </a:lnTo>
                      <a:lnTo>
                        <a:pt x="248" y="6242"/>
                      </a:lnTo>
                      <a:lnTo>
                        <a:pt x="212" y="6392"/>
                      </a:lnTo>
                      <a:lnTo>
                        <a:pt x="133" y="6515"/>
                      </a:lnTo>
                      <a:lnTo>
                        <a:pt x="1" y="6577"/>
                      </a:lnTo>
                      <a:lnTo>
                        <a:pt x="283" y="6841"/>
                      </a:lnTo>
                      <a:lnTo>
                        <a:pt x="318" y="6806"/>
                      </a:lnTo>
                      <a:lnTo>
                        <a:pt x="345" y="6841"/>
                      </a:lnTo>
                      <a:lnTo>
                        <a:pt x="371" y="6903"/>
                      </a:lnTo>
                      <a:lnTo>
                        <a:pt x="415" y="6930"/>
                      </a:lnTo>
                      <a:lnTo>
                        <a:pt x="450" y="6912"/>
                      </a:lnTo>
                      <a:lnTo>
                        <a:pt x="468" y="6877"/>
                      </a:lnTo>
                      <a:lnTo>
                        <a:pt x="486" y="6841"/>
                      </a:lnTo>
                      <a:lnTo>
                        <a:pt x="503" y="6806"/>
                      </a:lnTo>
                      <a:lnTo>
                        <a:pt x="530" y="6780"/>
                      </a:lnTo>
                      <a:lnTo>
                        <a:pt x="547" y="6762"/>
                      </a:lnTo>
                      <a:lnTo>
                        <a:pt x="565" y="6744"/>
                      </a:lnTo>
                      <a:lnTo>
                        <a:pt x="609" y="6727"/>
                      </a:lnTo>
                      <a:lnTo>
                        <a:pt x="636" y="6736"/>
                      </a:lnTo>
                      <a:lnTo>
                        <a:pt x="653" y="6762"/>
                      </a:lnTo>
                      <a:lnTo>
                        <a:pt x="671" y="6771"/>
                      </a:lnTo>
                      <a:lnTo>
                        <a:pt x="697" y="6727"/>
                      </a:lnTo>
                      <a:lnTo>
                        <a:pt x="715" y="6885"/>
                      </a:lnTo>
                      <a:lnTo>
                        <a:pt x="741" y="6938"/>
                      </a:lnTo>
                      <a:lnTo>
                        <a:pt x="794" y="6885"/>
                      </a:lnTo>
                      <a:lnTo>
                        <a:pt x="1085" y="7053"/>
                      </a:lnTo>
                      <a:lnTo>
                        <a:pt x="1209" y="7079"/>
                      </a:lnTo>
                      <a:lnTo>
                        <a:pt x="1588" y="7071"/>
                      </a:lnTo>
                      <a:lnTo>
                        <a:pt x="1685" y="7123"/>
                      </a:lnTo>
                      <a:lnTo>
                        <a:pt x="1632" y="7115"/>
                      </a:lnTo>
                      <a:lnTo>
                        <a:pt x="1588" y="7123"/>
                      </a:lnTo>
                      <a:lnTo>
                        <a:pt x="1543" y="7141"/>
                      </a:lnTo>
                      <a:lnTo>
                        <a:pt x="1499" y="7168"/>
                      </a:lnTo>
                      <a:lnTo>
                        <a:pt x="1499" y="7203"/>
                      </a:lnTo>
                      <a:lnTo>
                        <a:pt x="1737" y="7168"/>
                      </a:lnTo>
                      <a:lnTo>
                        <a:pt x="1773" y="7194"/>
                      </a:lnTo>
                      <a:lnTo>
                        <a:pt x="1773" y="7238"/>
                      </a:lnTo>
                      <a:lnTo>
                        <a:pt x="1746" y="7273"/>
                      </a:lnTo>
                      <a:lnTo>
                        <a:pt x="1685" y="7238"/>
                      </a:lnTo>
                      <a:lnTo>
                        <a:pt x="1685" y="7238"/>
                      </a:lnTo>
                      <a:lnTo>
                        <a:pt x="1729" y="7361"/>
                      </a:lnTo>
                      <a:lnTo>
                        <a:pt x="1887" y="7441"/>
                      </a:lnTo>
                      <a:lnTo>
                        <a:pt x="1914" y="7555"/>
                      </a:lnTo>
                      <a:lnTo>
                        <a:pt x="1984" y="7450"/>
                      </a:lnTo>
                      <a:lnTo>
                        <a:pt x="1993" y="7432"/>
                      </a:lnTo>
                      <a:lnTo>
                        <a:pt x="2037" y="7423"/>
                      </a:lnTo>
                      <a:lnTo>
                        <a:pt x="2055" y="7406"/>
                      </a:lnTo>
                      <a:lnTo>
                        <a:pt x="2055" y="7379"/>
                      </a:lnTo>
                      <a:lnTo>
                        <a:pt x="2072" y="7353"/>
                      </a:lnTo>
                      <a:lnTo>
                        <a:pt x="2125" y="7326"/>
                      </a:lnTo>
                      <a:lnTo>
                        <a:pt x="2187" y="7317"/>
                      </a:lnTo>
                      <a:lnTo>
                        <a:pt x="2240" y="7344"/>
                      </a:lnTo>
                      <a:lnTo>
                        <a:pt x="2293" y="7397"/>
                      </a:lnTo>
                      <a:lnTo>
                        <a:pt x="2310" y="7370"/>
                      </a:lnTo>
                      <a:lnTo>
                        <a:pt x="2328" y="7361"/>
                      </a:lnTo>
                      <a:lnTo>
                        <a:pt x="2390" y="7353"/>
                      </a:lnTo>
                      <a:lnTo>
                        <a:pt x="2372" y="7379"/>
                      </a:lnTo>
                      <a:lnTo>
                        <a:pt x="2363" y="7397"/>
                      </a:lnTo>
                      <a:lnTo>
                        <a:pt x="2354" y="7414"/>
                      </a:lnTo>
                      <a:lnTo>
                        <a:pt x="2328" y="7432"/>
                      </a:lnTo>
                      <a:lnTo>
                        <a:pt x="2328" y="7476"/>
                      </a:lnTo>
                      <a:lnTo>
                        <a:pt x="2407" y="7467"/>
                      </a:lnTo>
                      <a:lnTo>
                        <a:pt x="2478" y="7432"/>
                      </a:lnTo>
                      <a:lnTo>
                        <a:pt x="2548" y="7379"/>
                      </a:lnTo>
                      <a:lnTo>
                        <a:pt x="2610" y="7317"/>
                      </a:lnTo>
                      <a:lnTo>
                        <a:pt x="2513" y="7317"/>
                      </a:lnTo>
                      <a:lnTo>
                        <a:pt x="2513" y="7273"/>
                      </a:lnTo>
                      <a:lnTo>
                        <a:pt x="2628" y="7238"/>
                      </a:lnTo>
                      <a:lnTo>
                        <a:pt x="2672" y="7238"/>
                      </a:lnTo>
                      <a:lnTo>
                        <a:pt x="2681" y="7212"/>
                      </a:lnTo>
                      <a:lnTo>
                        <a:pt x="2672" y="7203"/>
                      </a:lnTo>
                      <a:lnTo>
                        <a:pt x="2645" y="7203"/>
                      </a:lnTo>
                      <a:lnTo>
                        <a:pt x="2707" y="7168"/>
                      </a:lnTo>
                      <a:lnTo>
                        <a:pt x="2883" y="7123"/>
                      </a:lnTo>
                      <a:lnTo>
                        <a:pt x="2954" y="7079"/>
                      </a:lnTo>
                      <a:lnTo>
                        <a:pt x="3024" y="7018"/>
                      </a:lnTo>
                      <a:lnTo>
                        <a:pt x="3042" y="7009"/>
                      </a:lnTo>
                      <a:lnTo>
                        <a:pt x="3086" y="7000"/>
                      </a:lnTo>
                      <a:lnTo>
                        <a:pt x="3148" y="7018"/>
                      </a:lnTo>
                      <a:lnTo>
                        <a:pt x="3201" y="7035"/>
                      </a:lnTo>
                      <a:lnTo>
                        <a:pt x="3254" y="7035"/>
                      </a:lnTo>
                      <a:lnTo>
                        <a:pt x="3306" y="7000"/>
                      </a:lnTo>
                      <a:lnTo>
                        <a:pt x="3377" y="7009"/>
                      </a:lnTo>
                      <a:lnTo>
                        <a:pt x="3685" y="6841"/>
                      </a:lnTo>
                      <a:lnTo>
                        <a:pt x="3685" y="6806"/>
                      </a:lnTo>
                      <a:lnTo>
                        <a:pt x="3589" y="6806"/>
                      </a:lnTo>
                      <a:lnTo>
                        <a:pt x="3650" y="6780"/>
                      </a:lnTo>
                      <a:lnTo>
                        <a:pt x="3694" y="6797"/>
                      </a:lnTo>
                      <a:lnTo>
                        <a:pt x="3738" y="6824"/>
                      </a:lnTo>
                      <a:lnTo>
                        <a:pt x="3765" y="6841"/>
                      </a:lnTo>
                      <a:lnTo>
                        <a:pt x="3941" y="6885"/>
                      </a:lnTo>
                      <a:lnTo>
                        <a:pt x="3941" y="6841"/>
                      </a:lnTo>
                      <a:lnTo>
                        <a:pt x="3941" y="6806"/>
                      </a:lnTo>
                      <a:lnTo>
                        <a:pt x="4012" y="6841"/>
                      </a:lnTo>
                      <a:lnTo>
                        <a:pt x="4012" y="6797"/>
                      </a:lnTo>
                      <a:lnTo>
                        <a:pt x="4038" y="6692"/>
                      </a:lnTo>
                      <a:lnTo>
                        <a:pt x="4065" y="6771"/>
                      </a:lnTo>
                      <a:lnTo>
                        <a:pt x="4073" y="6806"/>
                      </a:lnTo>
                      <a:lnTo>
                        <a:pt x="4100" y="6806"/>
                      </a:lnTo>
                      <a:lnTo>
                        <a:pt x="4109" y="6683"/>
                      </a:lnTo>
                      <a:lnTo>
                        <a:pt x="4126" y="6595"/>
                      </a:lnTo>
                      <a:lnTo>
                        <a:pt x="4162" y="6550"/>
                      </a:lnTo>
                      <a:lnTo>
                        <a:pt x="4514" y="6489"/>
                      </a:lnTo>
                      <a:lnTo>
                        <a:pt x="4611" y="6489"/>
                      </a:lnTo>
                      <a:lnTo>
                        <a:pt x="5105" y="6718"/>
                      </a:lnTo>
                      <a:lnTo>
                        <a:pt x="5210" y="6692"/>
                      </a:lnTo>
                      <a:lnTo>
                        <a:pt x="5263" y="6736"/>
                      </a:lnTo>
                      <a:lnTo>
                        <a:pt x="5290" y="6841"/>
                      </a:lnTo>
                      <a:lnTo>
                        <a:pt x="5281" y="7079"/>
                      </a:lnTo>
                      <a:lnTo>
                        <a:pt x="5281" y="7079"/>
                      </a:lnTo>
                      <a:lnTo>
                        <a:pt x="5413" y="6965"/>
                      </a:lnTo>
                      <a:lnTo>
                        <a:pt x="5475" y="6885"/>
                      </a:lnTo>
                      <a:lnTo>
                        <a:pt x="5528" y="6762"/>
                      </a:lnTo>
                      <a:lnTo>
                        <a:pt x="5581" y="6709"/>
                      </a:lnTo>
                      <a:lnTo>
                        <a:pt x="5642" y="6656"/>
                      </a:lnTo>
                      <a:lnTo>
                        <a:pt x="5695" y="6612"/>
                      </a:lnTo>
                      <a:lnTo>
                        <a:pt x="5660" y="6603"/>
                      </a:lnTo>
                      <a:lnTo>
                        <a:pt x="5651" y="6586"/>
                      </a:lnTo>
                      <a:lnTo>
                        <a:pt x="5625" y="6612"/>
                      </a:lnTo>
                      <a:lnTo>
                        <a:pt x="5598" y="6612"/>
                      </a:lnTo>
                      <a:lnTo>
                        <a:pt x="5651" y="6489"/>
                      </a:lnTo>
                      <a:lnTo>
                        <a:pt x="5775" y="6383"/>
                      </a:lnTo>
                      <a:lnTo>
                        <a:pt x="5845" y="6295"/>
                      </a:lnTo>
                      <a:lnTo>
                        <a:pt x="5722" y="6260"/>
                      </a:lnTo>
                      <a:lnTo>
                        <a:pt x="5757" y="6171"/>
                      </a:lnTo>
                      <a:lnTo>
                        <a:pt x="5686" y="6136"/>
                      </a:lnTo>
                      <a:lnTo>
                        <a:pt x="5642" y="6057"/>
                      </a:lnTo>
                      <a:lnTo>
                        <a:pt x="5634" y="5951"/>
                      </a:lnTo>
                      <a:lnTo>
                        <a:pt x="5695" y="5863"/>
                      </a:lnTo>
                      <a:lnTo>
                        <a:pt x="5686" y="5810"/>
                      </a:lnTo>
                      <a:lnTo>
                        <a:pt x="5792" y="5651"/>
                      </a:lnTo>
                      <a:lnTo>
                        <a:pt x="5845" y="5449"/>
                      </a:lnTo>
                      <a:lnTo>
                        <a:pt x="5916" y="5360"/>
                      </a:lnTo>
                      <a:lnTo>
                        <a:pt x="6074" y="5228"/>
                      </a:lnTo>
                      <a:lnTo>
                        <a:pt x="6066" y="5158"/>
                      </a:lnTo>
                      <a:lnTo>
                        <a:pt x="6127" y="4955"/>
                      </a:lnTo>
                      <a:lnTo>
                        <a:pt x="6136" y="4832"/>
                      </a:lnTo>
                      <a:lnTo>
                        <a:pt x="6136" y="4832"/>
                      </a:lnTo>
                      <a:lnTo>
                        <a:pt x="6101" y="4867"/>
                      </a:lnTo>
                      <a:lnTo>
                        <a:pt x="6083" y="4805"/>
                      </a:lnTo>
                      <a:lnTo>
                        <a:pt x="6048" y="4752"/>
                      </a:lnTo>
                      <a:lnTo>
                        <a:pt x="6021" y="4699"/>
                      </a:lnTo>
                      <a:lnTo>
                        <a:pt x="6013" y="4594"/>
                      </a:lnTo>
                      <a:lnTo>
                        <a:pt x="6021" y="4505"/>
                      </a:lnTo>
                      <a:lnTo>
                        <a:pt x="6039" y="4453"/>
                      </a:lnTo>
                      <a:lnTo>
                        <a:pt x="6066" y="4400"/>
                      </a:lnTo>
                      <a:lnTo>
                        <a:pt x="6101" y="4356"/>
                      </a:lnTo>
                      <a:lnTo>
                        <a:pt x="6101" y="4320"/>
                      </a:lnTo>
                      <a:lnTo>
                        <a:pt x="6057" y="4232"/>
                      </a:lnTo>
                      <a:lnTo>
                        <a:pt x="6048" y="4126"/>
                      </a:lnTo>
                      <a:lnTo>
                        <a:pt x="6074" y="3941"/>
                      </a:lnTo>
                      <a:lnTo>
                        <a:pt x="6074" y="3765"/>
                      </a:lnTo>
                      <a:lnTo>
                        <a:pt x="6092" y="3712"/>
                      </a:lnTo>
                      <a:lnTo>
                        <a:pt x="6154" y="3615"/>
                      </a:lnTo>
                      <a:lnTo>
                        <a:pt x="6224" y="3430"/>
                      </a:lnTo>
                      <a:lnTo>
                        <a:pt x="6348" y="3307"/>
                      </a:lnTo>
                      <a:lnTo>
                        <a:pt x="6612" y="3121"/>
                      </a:lnTo>
                      <a:lnTo>
                        <a:pt x="6806" y="3271"/>
                      </a:lnTo>
                      <a:lnTo>
                        <a:pt x="6903" y="3333"/>
                      </a:lnTo>
                      <a:lnTo>
                        <a:pt x="7026" y="3368"/>
                      </a:lnTo>
                      <a:lnTo>
                        <a:pt x="7793" y="3324"/>
                      </a:lnTo>
                      <a:lnTo>
                        <a:pt x="9653" y="3606"/>
                      </a:lnTo>
                      <a:lnTo>
                        <a:pt x="9812" y="3703"/>
                      </a:lnTo>
                      <a:lnTo>
                        <a:pt x="9821" y="3844"/>
                      </a:lnTo>
                      <a:lnTo>
                        <a:pt x="9962" y="3862"/>
                      </a:lnTo>
                      <a:lnTo>
                        <a:pt x="10834" y="4259"/>
                      </a:lnTo>
                      <a:lnTo>
                        <a:pt x="10905" y="4338"/>
                      </a:lnTo>
                      <a:lnTo>
                        <a:pt x="10984" y="4400"/>
                      </a:lnTo>
                      <a:lnTo>
                        <a:pt x="11328" y="4558"/>
                      </a:lnTo>
                      <a:lnTo>
                        <a:pt x="11425" y="4576"/>
                      </a:lnTo>
                      <a:lnTo>
                        <a:pt x="11487" y="4567"/>
                      </a:lnTo>
                      <a:lnTo>
                        <a:pt x="11548" y="4620"/>
                      </a:lnTo>
                      <a:lnTo>
                        <a:pt x="11637" y="4752"/>
                      </a:lnTo>
                      <a:lnTo>
                        <a:pt x="11813" y="4832"/>
                      </a:lnTo>
                      <a:lnTo>
                        <a:pt x="11857" y="4867"/>
                      </a:lnTo>
                      <a:lnTo>
                        <a:pt x="11936" y="4858"/>
                      </a:lnTo>
                      <a:lnTo>
                        <a:pt x="12068" y="4876"/>
                      </a:lnTo>
                      <a:lnTo>
                        <a:pt x="12192" y="4920"/>
                      </a:lnTo>
                      <a:lnTo>
                        <a:pt x="12245" y="4973"/>
                      </a:lnTo>
                      <a:lnTo>
                        <a:pt x="12280" y="5026"/>
                      </a:lnTo>
                      <a:lnTo>
                        <a:pt x="12377" y="5043"/>
                      </a:lnTo>
                      <a:lnTo>
                        <a:pt x="12562" y="5034"/>
                      </a:lnTo>
                      <a:lnTo>
                        <a:pt x="12589" y="5043"/>
                      </a:lnTo>
                      <a:lnTo>
                        <a:pt x="12615" y="5070"/>
                      </a:lnTo>
                      <a:lnTo>
                        <a:pt x="12650" y="5096"/>
                      </a:lnTo>
                      <a:lnTo>
                        <a:pt x="12703" y="5114"/>
                      </a:lnTo>
                      <a:lnTo>
                        <a:pt x="12756" y="5114"/>
                      </a:lnTo>
                      <a:lnTo>
                        <a:pt x="12791" y="5122"/>
                      </a:lnTo>
                      <a:lnTo>
                        <a:pt x="12827" y="5140"/>
                      </a:lnTo>
                      <a:lnTo>
                        <a:pt x="13109" y="5422"/>
                      </a:lnTo>
                      <a:lnTo>
                        <a:pt x="13179" y="5466"/>
                      </a:lnTo>
                      <a:lnTo>
                        <a:pt x="13241" y="5563"/>
                      </a:lnTo>
                      <a:lnTo>
                        <a:pt x="13320" y="5740"/>
                      </a:lnTo>
                      <a:lnTo>
                        <a:pt x="13338" y="5740"/>
                      </a:lnTo>
                      <a:lnTo>
                        <a:pt x="13400" y="5766"/>
                      </a:lnTo>
                      <a:lnTo>
                        <a:pt x="13408" y="5792"/>
                      </a:lnTo>
                      <a:lnTo>
                        <a:pt x="13461" y="5881"/>
                      </a:lnTo>
                      <a:lnTo>
                        <a:pt x="13514" y="5951"/>
                      </a:lnTo>
                      <a:lnTo>
                        <a:pt x="13532" y="5995"/>
                      </a:lnTo>
                      <a:lnTo>
                        <a:pt x="13541" y="6039"/>
                      </a:lnTo>
                      <a:lnTo>
                        <a:pt x="13602" y="6207"/>
                      </a:lnTo>
                      <a:lnTo>
                        <a:pt x="13876" y="6454"/>
                      </a:lnTo>
                      <a:lnTo>
                        <a:pt x="13990" y="6612"/>
                      </a:lnTo>
                      <a:lnTo>
                        <a:pt x="13999" y="6665"/>
                      </a:lnTo>
                      <a:lnTo>
                        <a:pt x="14017" y="6824"/>
                      </a:lnTo>
                      <a:lnTo>
                        <a:pt x="14043" y="6859"/>
                      </a:lnTo>
                      <a:lnTo>
                        <a:pt x="14122" y="6921"/>
                      </a:lnTo>
                      <a:lnTo>
                        <a:pt x="14149" y="6947"/>
                      </a:lnTo>
                      <a:lnTo>
                        <a:pt x="14184" y="6947"/>
                      </a:lnTo>
                      <a:lnTo>
                        <a:pt x="14404" y="7238"/>
                      </a:lnTo>
                      <a:lnTo>
                        <a:pt x="14475" y="7291"/>
                      </a:lnTo>
                      <a:lnTo>
                        <a:pt x="14572" y="7317"/>
                      </a:lnTo>
                      <a:lnTo>
                        <a:pt x="14651" y="7344"/>
                      </a:lnTo>
                      <a:lnTo>
                        <a:pt x="14686" y="7414"/>
                      </a:lnTo>
                      <a:lnTo>
                        <a:pt x="14739" y="7467"/>
                      </a:lnTo>
                      <a:lnTo>
                        <a:pt x="15092" y="7670"/>
                      </a:lnTo>
                      <a:lnTo>
                        <a:pt x="15171" y="7696"/>
                      </a:lnTo>
                      <a:lnTo>
                        <a:pt x="15339" y="7714"/>
                      </a:lnTo>
                      <a:lnTo>
                        <a:pt x="15356" y="7723"/>
                      </a:lnTo>
                      <a:lnTo>
                        <a:pt x="15374" y="7688"/>
                      </a:lnTo>
                      <a:lnTo>
                        <a:pt x="15445" y="7573"/>
                      </a:lnTo>
                      <a:lnTo>
                        <a:pt x="15480" y="7441"/>
                      </a:lnTo>
                      <a:lnTo>
                        <a:pt x="15497" y="7291"/>
                      </a:lnTo>
                      <a:lnTo>
                        <a:pt x="15559" y="7132"/>
                      </a:lnTo>
                      <a:lnTo>
                        <a:pt x="15639" y="6991"/>
                      </a:lnTo>
                      <a:lnTo>
                        <a:pt x="15709" y="6718"/>
                      </a:lnTo>
                      <a:lnTo>
                        <a:pt x="15691" y="6083"/>
                      </a:lnTo>
                      <a:lnTo>
                        <a:pt x="15727" y="5748"/>
                      </a:lnTo>
                      <a:lnTo>
                        <a:pt x="15639" y="5554"/>
                      </a:lnTo>
                      <a:lnTo>
                        <a:pt x="15453" y="5457"/>
                      </a:lnTo>
                      <a:lnTo>
                        <a:pt x="15295" y="5352"/>
                      </a:lnTo>
                      <a:lnTo>
                        <a:pt x="15171" y="5193"/>
                      </a:lnTo>
                      <a:lnTo>
                        <a:pt x="14986" y="4805"/>
                      </a:lnTo>
                      <a:lnTo>
                        <a:pt x="14828" y="4382"/>
                      </a:lnTo>
                      <a:lnTo>
                        <a:pt x="14854" y="3994"/>
                      </a:lnTo>
                      <a:lnTo>
                        <a:pt x="14783" y="3606"/>
                      </a:lnTo>
                      <a:lnTo>
                        <a:pt x="14686" y="3465"/>
                      </a:lnTo>
                      <a:lnTo>
                        <a:pt x="14537" y="3430"/>
                      </a:lnTo>
                      <a:lnTo>
                        <a:pt x="14325" y="3412"/>
                      </a:lnTo>
                      <a:lnTo>
                        <a:pt x="14122" y="3342"/>
                      </a:lnTo>
                      <a:lnTo>
                        <a:pt x="14052" y="3183"/>
                      </a:lnTo>
                      <a:lnTo>
                        <a:pt x="14105" y="3007"/>
                      </a:lnTo>
                      <a:lnTo>
                        <a:pt x="14228" y="2910"/>
                      </a:lnTo>
                      <a:lnTo>
                        <a:pt x="14210" y="2734"/>
                      </a:lnTo>
                      <a:lnTo>
                        <a:pt x="14061" y="2645"/>
                      </a:lnTo>
                      <a:lnTo>
                        <a:pt x="13884" y="2566"/>
                      </a:lnTo>
                      <a:lnTo>
                        <a:pt x="13567" y="2275"/>
                      </a:lnTo>
                      <a:lnTo>
                        <a:pt x="13426" y="2178"/>
                      </a:lnTo>
                      <a:lnTo>
                        <a:pt x="13303" y="2046"/>
                      </a:lnTo>
                      <a:lnTo>
                        <a:pt x="13091" y="1755"/>
                      </a:lnTo>
                      <a:lnTo>
                        <a:pt x="12862" y="1508"/>
                      </a:lnTo>
                      <a:lnTo>
                        <a:pt x="12536" y="1288"/>
                      </a:lnTo>
                      <a:lnTo>
                        <a:pt x="12236" y="1006"/>
                      </a:lnTo>
                      <a:lnTo>
                        <a:pt x="11848" y="759"/>
                      </a:lnTo>
                      <a:lnTo>
                        <a:pt x="10658" y="512"/>
                      </a:lnTo>
                      <a:lnTo>
                        <a:pt x="10200" y="503"/>
                      </a:lnTo>
                      <a:lnTo>
                        <a:pt x="9997" y="424"/>
                      </a:lnTo>
                      <a:lnTo>
                        <a:pt x="9812" y="283"/>
                      </a:lnTo>
                      <a:lnTo>
                        <a:pt x="9706" y="168"/>
                      </a:lnTo>
                      <a:lnTo>
                        <a:pt x="9609" y="36"/>
                      </a:lnTo>
                      <a:lnTo>
                        <a:pt x="935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8" name="Google Shape;3126;p54">
                  <a:extLst>
                    <a:ext uri="{FF2B5EF4-FFF2-40B4-BE49-F238E27FC236}">
                      <a16:creationId xmlns:a16="http://schemas.microsoft.com/office/drawing/2014/main" id="{3BB520E1-4E38-22AC-062A-693298EEDD76}"/>
                    </a:ext>
                  </a:extLst>
                </p:cNvPr>
                <p:cNvSpPr/>
                <p:nvPr/>
              </p:nvSpPr>
              <p:spPr>
                <a:xfrm>
                  <a:off x="4650978" y="3254413"/>
                  <a:ext cx="827872" cy="565967"/>
                </a:xfrm>
                <a:custGeom>
                  <a:avLst/>
                  <a:gdLst/>
                  <a:ahLst/>
                  <a:cxnLst/>
                  <a:rect l="l" t="t" r="r" b="b"/>
                  <a:pathLst>
                    <a:path w="11645" h="7961" extrusionOk="0">
                      <a:moveTo>
                        <a:pt x="9979" y="1"/>
                      </a:moveTo>
                      <a:lnTo>
                        <a:pt x="9653" y="142"/>
                      </a:lnTo>
                      <a:lnTo>
                        <a:pt x="9512" y="230"/>
                      </a:lnTo>
                      <a:lnTo>
                        <a:pt x="9353" y="283"/>
                      </a:lnTo>
                      <a:lnTo>
                        <a:pt x="9009" y="292"/>
                      </a:lnTo>
                      <a:lnTo>
                        <a:pt x="8948" y="477"/>
                      </a:lnTo>
                      <a:lnTo>
                        <a:pt x="8868" y="547"/>
                      </a:lnTo>
                      <a:lnTo>
                        <a:pt x="8621" y="627"/>
                      </a:lnTo>
                      <a:lnTo>
                        <a:pt x="8480" y="697"/>
                      </a:lnTo>
                      <a:lnTo>
                        <a:pt x="8269" y="900"/>
                      </a:lnTo>
                      <a:lnTo>
                        <a:pt x="8013" y="1032"/>
                      </a:lnTo>
                      <a:lnTo>
                        <a:pt x="7608" y="1173"/>
                      </a:lnTo>
                      <a:lnTo>
                        <a:pt x="7475" y="1253"/>
                      </a:lnTo>
                      <a:lnTo>
                        <a:pt x="7317" y="1438"/>
                      </a:lnTo>
                      <a:lnTo>
                        <a:pt x="6991" y="1570"/>
                      </a:lnTo>
                      <a:lnTo>
                        <a:pt x="6638" y="1596"/>
                      </a:lnTo>
                      <a:lnTo>
                        <a:pt x="6479" y="1667"/>
                      </a:lnTo>
                      <a:lnTo>
                        <a:pt x="6030" y="2011"/>
                      </a:lnTo>
                      <a:lnTo>
                        <a:pt x="5686" y="2072"/>
                      </a:lnTo>
                      <a:lnTo>
                        <a:pt x="5519" y="2160"/>
                      </a:lnTo>
                      <a:lnTo>
                        <a:pt x="5404" y="2178"/>
                      </a:lnTo>
                      <a:lnTo>
                        <a:pt x="5245" y="2125"/>
                      </a:lnTo>
                      <a:lnTo>
                        <a:pt x="4866" y="2160"/>
                      </a:lnTo>
                      <a:lnTo>
                        <a:pt x="4496" y="2302"/>
                      </a:lnTo>
                      <a:lnTo>
                        <a:pt x="3905" y="2363"/>
                      </a:lnTo>
                      <a:lnTo>
                        <a:pt x="3711" y="2416"/>
                      </a:lnTo>
                      <a:lnTo>
                        <a:pt x="3544" y="2513"/>
                      </a:lnTo>
                      <a:lnTo>
                        <a:pt x="3403" y="2654"/>
                      </a:lnTo>
                      <a:lnTo>
                        <a:pt x="3244" y="2760"/>
                      </a:lnTo>
                      <a:lnTo>
                        <a:pt x="3068" y="2822"/>
                      </a:lnTo>
                      <a:lnTo>
                        <a:pt x="2918" y="2998"/>
                      </a:lnTo>
                      <a:lnTo>
                        <a:pt x="2865" y="3254"/>
                      </a:lnTo>
                      <a:lnTo>
                        <a:pt x="2768" y="3421"/>
                      </a:lnTo>
                      <a:lnTo>
                        <a:pt x="2601" y="3377"/>
                      </a:lnTo>
                      <a:lnTo>
                        <a:pt x="2566" y="3306"/>
                      </a:lnTo>
                      <a:lnTo>
                        <a:pt x="2557" y="3271"/>
                      </a:lnTo>
                      <a:lnTo>
                        <a:pt x="2486" y="3236"/>
                      </a:lnTo>
                      <a:lnTo>
                        <a:pt x="2354" y="3289"/>
                      </a:lnTo>
                      <a:lnTo>
                        <a:pt x="2142" y="3421"/>
                      </a:lnTo>
                      <a:lnTo>
                        <a:pt x="2072" y="3447"/>
                      </a:lnTo>
                      <a:lnTo>
                        <a:pt x="1896" y="3483"/>
                      </a:lnTo>
                      <a:lnTo>
                        <a:pt x="1904" y="3668"/>
                      </a:lnTo>
                      <a:lnTo>
                        <a:pt x="2001" y="3782"/>
                      </a:lnTo>
                      <a:lnTo>
                        <a:pt x="2081" y="3915"/>
                      </a:lnTo>
                      <a:lnTo>
                        <a:pt x="2125" y="4091"/>
                      </a:lnTo>
                      <a:lnTo>
                        <a:pt x="2195" y="4241"/>
                      </a:lnTo>
                      <a:lnTo>
                        <a:pt x="2310" y="4294"/>
                      </a:lnTo>
                      <a:lnTo>
                        <a:pt x="2389" y="4408"/>
                      </a:lnTo>
                      <a:lnTo>
                        <a:pt x="2495" y="4488"/>
                      </a:lnTo>
                      <a:lnTo>
                        <a:pt x="2742" y="4549"/>
                      </a:lnTo>
                      <a:lnTo>
                        <a:pt x="2953" y="4717"/>
                      </a:lnTo>
                      <a:lnTo>
                        <a:pt x="3059" y="4884"/>
                      </a:lnTo>
                      <a:lnTo>
                        <a:pt x="2945" y="5043"/>
                      </a:lnTo>
                      <a:lnTo>
                        <a:pt x="2759" y="4972"/>
                      </a:lnTo>
                      <a:lnTo>
                        <a:pt x="2601" y="4884"/>
                      </a:lnTo>
                      <a:lnTo>
                        <a:pt x="2530" y="4902"/>
                      </a:lnTo>
                      <a:lnTo>
                        <a:pt x="2469" y="4928"/>
                      </a:lnTo>
                      <a:lnTo>
                        <a:pt x="2398" y="5114"/>
                      </a:lnTo>
                      <a:lnTo>
                        <a:pt x="2345" y="5325"/>
                      </a:lnTo>
                      <a:lnTo>
                        <a:pt x="2231" y="5431"/>
                      </a:lnTo>
                      <a:lnTo>
                        <a:pt x="2081" y="5457"/>
                      </a:lnTo>
                      <a:lnTo>
                        <a:pt x="1799" y="5440"/>
                      </a:lnTo>
                      <a:lnTo>
                        <a:pt x="1525" y="5510"/>
                      </a:lnTo>
                      <a:lnTo>
                        <a:pt x="1261" y="5625"/>
                      </a:lnTo>
                      <a:lnTo>
                        <a:pt x="979" y="5634"/>
                      </a:lnTo>
                      <a:lnTo>
                        <a:pt x="679" y="5554"/>
                      </a:lnTo>
                      <a:lnTo>
                        <a:pt x="371" y="5598"/>
                      </a:lnTo>
                      <a:lnTo>
                        <a:pt x="335" y="5933"/>
                      </a:lnTo>
                      <a:lnTo>
                        <a:pt x="353" y="6568"/>
                      </a:lnTo>
                      <a:lnTo>
                        <a:pt x="283" y="6841"/>
                      </a:lnTo>
                      <a:lnTo>
                        <a:pt x="203" y="6982"/>
                      </a:lnTo>
                      <a:lnTo>
                        <a:pt x="141" y="7141"/>
                      </a:lnTo>
                      <a:lnTo>
                        <a:pt x="124" y="7291"/>
                      </a:lnTo>
                      <a:lnTo>
                        <a:pt x="89" y="7423"/>
                      </a:lnTo>
                      <a:lnTo>
                        <a:pt x="18" y="7538"/>
                      </a:lnTo>
                      <a:lnTo>
                        <a:pt x="0" y="7573"/>
                      </a:lnTo>
                      <a:lnTo>
                        <a:pt x="283" y="7758"/>
                      </a:lnTo>
                      <a:lnTo>
                        <a:pt x="459" y="7846"/>
                      </a:lnTo>
                      <a:lnTo>
                        <a:pt x="882" y="7943"/>
                      </a:lnTo>
                      <a:lnTo>
                        <a:pt x="1076" y="7961"/>
                      </a:lnTo>
                      <a:lnTo>
                        <a:pt x="1323" y="7767"/>
                      </a:lnTo>
                      <a:lnTo>
                        <a:pt x="1367" y="7705"/>
                      </a:lnTo>
                      <a:lnTo>
                        <a:pt x="1420" y="7679"/>
                      </a:lnTo>
                      <a:lnTo>
                        <a:pt x="1719" y="7520"/>
                      </a:lnTo>
                      <a:lnTo>
                        <a:pt x="1807" y="7520"/>
                      </a:lnTo>
                      <a:lnTo>
                        <a:pt x="2116" y="7599"/>
                      </a:lnTo>
                      <a:lnTo>
                        <a:pt x="2257" y="7591"/>
                      </a:lnTo>
                      <a:lnTo>
                        <a:pt x="2319" y="7599"/>
                      </a:lnTo>
                      <a:lnTo>
                        <a:pt x="2363" y="7617"/>
                      </a:lnTo>
                      <a:lnTo>
                        <a:pt x="2380" y="7635"/>
                      </a:lnTo>
                      <a:lnTo>
                        <a:pt x="2398" y="7635"/>
                      </a:lnTo>
                      <a:lnTo>
                        <a:pt x="2451" y="7599"/>
                      </a:lnTo>
                      <a:lnTo>
                        <a:pt x="2513" y="7520"/>
                      </a:lnTo>
                      <a:lnTo>
                        <a:pt x="2557" y="7432"/>
                      </a:lnTo>
                      <a:lnTo>
                        <a:pt x="2610" y="7361"/>
                      </a:lnTo>
                      <a:lnTo>
                        <a:pt x="2715" y="7326"/>
                      </a:lnTo>
                      <a:lnTo>
                        <a:pt x="2768" y="7335"/>
                      </a:lnTo>
                      <a:lnTo>
                        <a:pt x="2865" y="7388"/>
                      </a:lnTo>
                      <a:lnTo>
                        <a:pt x="2918" y="7405"/>
                      </a:lnTo>
                      <a:lnTo>
                        <a:pt x="2980" y="7405"/>
                      </a:lnTo>
                      <a:lnTo>
                        <a:pt x="3112" y="7361"/>
                      </a:lnTo>
                      <a:lnTo>
                        <a:pt x="3315" y="7370"/>
                      </a:lnTo>
                      <a:lnTo>
                        <a:pt x="3421" y="7353"/>
                      </a:lnTo>
                      <a:lnTo>
                        <a:pt x="3509" y="7256"/>
                      </a:lnTo>
                      <a:lnTo>
                        <a:pt x="3606" y="7264"/>
                      </a:lnTo>
                      <a:lnTo>
                        <a:pt x="3782" y="7326"/>
                      </a:lnTo>
                      <a:lnTo>
                        <a:pt x="3853" y="7308"/>
                      </a:lnTo>
                      <a:lnTo>
                        <a:pt x="4020" y="7229"/>
                      </a:lnTo>
                      <a:lnTo>
                        <a:pt x="4117" y="7203"/>
                      </a:lnTo>
                      <a:lnTo>
                        <a:pt x="4205" y="7220"/>
                      </a:lnTo>
                      <a:lnTo>
                        <a:pt x="4408" y="7273"/>
                      </a:lnTo>
                      <a:lnTo>
                        <a:pt x="4514" y="7282"/>
                      </a:lnTo>
                      <a:lnTo>
                        <a:pt x="4514" y="7326"/>
                      </a:lnTo>
                      <a:lnTo>
                        <a:pt x="4452" y="7361"/>
                      </a:lnTo>
                      <a:lnTo>
                        <a:pt x="4549" y="7379"/>
                      </a:lnTo>
                      <a:lnTo>
                        <a:pt x="4655" y="7282"/>
                      </a:lnTo>
                      <a:lnTo>
                        <a:pt x="4760" y="7141"/>
                      </a:lnTo>
                      <a:lnTo>
                        <a:pt x="4866" y="7053"/>
                      </a:lnTo>
                      <a:lnTo>
                        <a:pt x="4928" y="7018"/>
                      </a:lnTo>
                      <a:lnTo>
                        <a:pt x="4990" y="7009"/>
                      </a:lnTo>
                      <a:lnTo>
                        <a:pt x="5034" y="7026"/>
                      </a:lnTo>
                      <a:lnTo>
                        <a:pt x="5051" y="7106"/>
                      </a:lnTo>
                      <a:lnTo>
                        <a:pt x="5166" y="7291"/>
                      </a:lnTo>
                      <a:lnTo>
                        <a:pt x="5184" y="7326"/>
                      </a:lnTo>
                      <a:lnTo>
                        <a:pt x="5210" y="7291"/>
                      </a:lnTo>
                      <a:lnTo>
                        <a:pt x="5236" y="7132"/>
                      </a:lnTo>
                      <a:lnTo>
                        <a:pt x="5263" y="7070"/>
                      </a:lnTo>
                      <a:lnTo>
                        <a:pt x="5404" y="6912"/>
                      </a:lnTo>
                      <a:lnTo>
                        <a:pt x="5439" y="6885"/>
                      </a:lnTo>
                      <a:lnTo>
                        <a:pt x="5598" y="6824"/>
                      </a:lnTo>
                      <a:lnTo>
                        <a:pt x="5642" y="6815"/>
                      </a:lnTo>
                      <a:lnTo>
                        <a:pt x="5695" y="6788"/>
                      </a:lnTo>
                      <a:lnTo>
                        <a:pt x="5765" y="6665"/>
                      </a:lnTo>
                      <a:lnTo>
                        <a:pt x="5818" y="6621"/>
                      </a:lnTo>
                      <a:lnTo>
                        <a:pt x="5801" y="6594"/>
                      </a:lnTo>
                      <a:lnTo>
                        <a:pt x="5792" y="6586"/>
                      </a:lnTo>
                      <a:lnTo>
                        <a:pt x="5757" y="6577"/>
                      </a:lnTo>
                      <a:lnTo>
                        <a:pt x="5827" y="6550"/>
                      </a:lnTo>
                      <a:lnTo>
                        <a:pt x="5880" y="6506"/>
                      </a:lnTo>
                      <a:lnTo>
                        <a:pt x="5959" y="6365"/>
                      </a:lnTo>
                      <a:lnTo>
                        <a:pt x="6030" y="6304"/>
                      </a:lnTo>
                      <a:lnTo>
                        <a:pt x="6083" y="6321"/>
                      </a:lnTo>
                      <a:lnTo>
                        <a:pt x="6144" y="6356"/>
                      </a:lnTo>
                      <a:lnTo>
                        <a:pt x="6215" y="6383"/>
                      </a:lnTo>
                      <a:lnTo>
                        <a:pt x="6312" y="6445"/>
                      </a:lnTo>
                      <a:lnTo>
                        <a:pt x="6382" y="6594"/>
                      </a:lnTo>
                      <a:lnTo>
                        <a:pt x="6400" y="6744"/>
                      </a:lnTo>
                      <a:lnTo>
                        <a:pt x="6356" y="6850"/>
                      </a:lnTo>
                      <a:lnTo>
                        <a:pt x="6356" y="6885"/>
                      </a:lnTo>
                      <a:lnTo>
                        <a:pt x="6435" y="6885"/>
                      </a:lnTo>
                      <a:lnTo>
                        <a:pt x="6462" y="6850"/>
                      </a:lnTo>
                      <a:lnTo>
                        <a:pt x="6471" y="6780"/>
                      </a:lnTo>
                      <a:lnTo>
                        <a:pt x="6488" y="6691"/>
                      </a:lnTo>
                      <a:lnTo>
                        <a:pt x="6523" y="6621"/>
                      </a:lnTo>
                      <a:lnTo>
                        <a:pt x="6612" y="6506"/>
                      </a:lnTo>
                      <a:lnTo>
                        <a:pt x="6620" y="6471"/>
                      </a:lnTo>
                      <a:lnTo>
                        <a:pt x="6603" y="6489"/>
                      </a:lnTo>
                      <a:lnTo>
                        <a:pt x="6576" y="6497"/>
                      </a:lnTo>
                      <a:lnTo>
                        <a:pt x="6629" y="6374"/>
                      </a:lnTo>
                      <a:lnTo>
                        <a:pt x="6753" y="6330"/>
                      </a:lnTo>
                      <a:lnTo>
                        <a:pt x="6894" y="6295"/>
                      </a:lnTo>
                      <a:lnTo>
                        <a:pt x="6991" y="6224"/>
                      </a:lnTo>
                      <a:lnTo>
                        <a:pt x="6999" y="6074"/>
                      </a:lnTo>
                      <a:lnTo>
                        <a:pt x="6973" y="5889"/>
                      </a:lnTo>
                      <a:lnTo>
                        <a:pt x="6991" y="5731"/>
                      </a:lnTo>
                      <a:lnTo>
                        <a:pt x="7149" y="5642"/>
                      </a:lnTo>
                      <a:lnTo>
                        <a:pt x="7317" y="5475"/>
                      </a:lnTo>
                      <a:lnTo>
                        <a:pt x="7405" y="5431"/>
                      </a:lnTo>
                      <a:lnTo>
                        <a:pt x="7449" y="5387"/>
                      </a:lnTo>
                      <a:lnTo>
                        <a:pt x="7475" y="5334"/>
                      </a:lnTo>
                      <a:lnTo>
                        <a:pt x="7511" y="5246"/>
                      </a:lnTo>
                      <a:lnTo>
                        <a:pt x="7907" y="4734"/>
                      </a:lnTo>
                      <a:lnTo>
                        <a:pt x="8057" y="4611"/>
                      </a:lnTo>
                      <a:lnTo>
                        <a:pt x="8551" y="4294"/>
                      </a:lnTo>
                      <a:lnTo>
                        <a:pt x="8965" y="3923"/>
                      </a:lnTo>
                      <a:lnTo>
                        <a:pt x="9106" y="3844"/>
                      </a:lnTo>
                      <a:lnTo>
                        <a:pt x="9133" y="3827"/>
                      </a:lnTo>
                      <a:lnTo>
                        <a:pt x="9177" y="3712"/>
                      </a:lnTo>
                      <a:lnTo>
                        <a:pt x="9203" y="3694"/>
                      </a:lnTo>
                      <a:lnTo>
                        <a:pt x="9344" y="3615"/>
                      </a:lnTo>
                      <a:lnTo>
                        <a:pt x="9397" y="3589"/>
                      </a:lnTo>
                      <a:lnTo>
                        <a:pt x="9538" y="3571"/>
                      </a:lnTo>
                      <a:lnTo>
                        <a:pt x="9847" y="3421"/>
                      </a:lnTo>
                      <a:lnTo>
                        <a:pt x="10041" y="3377"/>
                      </a:lnTo>
                      <a:lnTo>
                        <a:pt x="10182" y="3456"/>
                      </a:lnTo>
                      <a:lnTo>
                        <a:pt x="10208" y="3412"/>
                      </a:lnTo>
                      <a:lnTo>
                        <a:pt x="10587" y="3615"/>
                      </a:lnTo>
                      <a:lnTo>
                        <a:pt x="10772" y="3818"/>
                      </a:lnTo>
                      <a:lnTo>
                        <a:pt x="10843" y="3844"/>
                      </a:lnTo>
                      <a:lnTo>
                        <a:pt x="10816" y="3941"/>
                      </a:lnTo>
                      <a:lnTo>
                        <a:pt x="10807" y="3968"/>
                      </a:lnTo>
                      <a:lnTo>
                        <a:pt x="10869" y="3941"/>
                      </a:lnTo>
                      <a:lnTo>
                        <a:pt x="10940" y="3923"/>
                      </a:lnTo>
                      <a:lnTo>
                        <a:pt x="10957" y="3923"/>
                      </a:lnTo>
                      <a:lnTo>
                        <a:pt x="10957" y="3915"/>
                      </a:lnTo>
                      <a:lnTo>
                        <a:pt x="11204" y="3738"/>
                      </a:lnTo>
                      <a:lnTo>
                        <a:pt x="11398" y="3685"/>
                      </a:lnTo>
                      <a:lnTo>
                        <a:pt x="11574" y="3527"/>
                      </a:lnTo>
                      <a:lnTo>
                        <a:pt x="11601" y="3368"/>
                      </a:lnTo>
                      <a:lnTo>
                        <a:pt x="11583" y="3209"/>
                      </a:lnTo>
                      <a:lnTo>
                        <a:pt x="11513" y="2883"/>
                      </a:lnTo>
                      <a:lnTo>
                        <a:pt x="11513" y="2557"/>
                      </a:lnTo>
                      <a:lnTo>
                        <a:pt x="11645" y="2196"/>
                      </a:lnTo>
                      <a:lnTo>
                        <a:pt x="11469" y="2011"/>
                      </a:lnTo>
                      <a:lnTo>
                        <a:pt x="11187" y="2019"/>
                      </a:lnTo>
                      <a:lnTo>
                        <a:pt x="10966" y="1861"/>
                      </a:lnTo>
                      <a:lnTo>
                        <a:pt x="10860" y="1526"/>
                      </a:lnTo>
                      <a:lnTo>
                        <a:pt x="10852" y="926"/>
                      </a:lnTo>
                      <a:lnTo>
                        <a:pt x="10631" y="759"/>
                      </a:lnTo>
                      <a:lnTo>
                        <a:pt x="10455" y="433"/>
                      </a:lnTo>
                      <a:lnTo>
                        <a:pt x="10305" y="89"/>
                      </a:lnTo>
                      <a:lnTo>
                        <a:pt x="9979"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9" name="Google Shape;3127;p54">
                  <a:extLst>
                    <a:ext uri="{FF2B5EF4-FFF2-40B4-BE49-F238E27FC236}">
                      <a16:creationId xmlns:a16="http://schemas.microsoft.com/office/drawing/2014/main" id="{152E4E34-02EB-A035-6245-8FAE7C084CBB}"/>
                    </a:ext>
                  </a:extLst>
                </p:cNvPr>
                <p:cNvSpPr/>
                <p:nvPr/>
              </p:nvSpPr>
              <p:spPr>
                <a:xfrm>
                  <a:off x="5382972" y="2805732"/>
                  <a:ext cx="565328" cy="804056"/>
                </a:xfrm>
                <a:custGeom>
                  <a:avLst/>
                  <a:gdLst/>
                  <a:ahLst/>
                  <a:cxnLst/>
                  <a:rect l="l" t="t" r="r" b="b"/>
                  <a:pathLst>
                    <a:path w="7952" h="11310" extrusionOk="0">
                      <a:moveTo>
                        <a:pt x="7228" y="0"/>
                      </a:moveTo>
                      <a:lnTo>
                        <a:pt x="6849" y="106"/>
                      </a:lnTo>
                      <a:lnTo>
                        <a:pt x="6488" y="309"/>
                      </a:lnTo>
                      <a:lnTo>
                        <a:pt x="6285" y="476"/>
                      </a:lnTo>
                      <a:lnTo>
                        <a:pt x="6091" y="961"/>
                      </a:lnTo>
                      <a:lnTo>
                        <a:pt x="5959" y="1146"/>
                      </a:lnTo>
                      <a:lnTo>
                        <a:pt x="5765" y="1552"/>
                      </a:lnTo>
                      <a:lnTo>
                        <a:pt x="5510" y="1895"/>
                      </a:lnTo>
                      <a:lnTo>
                        <a:pt x="3791" y="3077"/>
                      </a:lnTo>
                      <a:lnTo>
                        <a:pt x="3896" y="4161"/>
                      </a:lnTo>
                      <a:lnTo>
                        <a:pt x="3650" y="4276"/>
                      </a:lnTo>
                      <a:lnTo>
                        <a:pt x="3077" y="4046"/>
                      </a:lnTo>
                      <a:lnTo>
                        <a:pt x="2654" y="3941"/>
                      </a:lnTo>
                      <a:lnTo>
                        <a:pt x="1860" y="3879"/>
                      </a:lnTo>
                      <a:lnTo>
                        <a:pt x="1252" y="4487"/>
                      </a:lnTo>
                      <a:lnTo>
                        <a:pt x="794" y="4566"/>
                      </a:lnTo>
                      <a:lnTo>
                        <a:pt x="556" y="4487"/>
                      </a:lnTo>
                      <a:lnTo>
                        <a:pt x="318" y="4469"/>
                      </a:lnTo>
                      <a:lnTo>
                        <a:pt x="177" y="4681"/>
                      </a:lnTo>
                      <a:lnTo>
                        <a:pt x="194" y="4981"/>
                      </a:lnTo>
                      <a:lnTo>
                        <a:pt x="318" y="5272"/>
                      </a:lnTo>
                      <a:lnTo>
                        <a:pt x="344" y="5430"/>
                      </a:lnTo>
                      <a:lnTo>
                        <a:pt x="273" y="5677"/>
                      </a:lnTo>
                      <a:lnTo>
                        <a:pt x="212" y="5748"/>
                      </a:lnTo>
                      <a:lnTo>
                        <a:pt x="132" y="5809"/>
                      </a:lnTo>
                      <a:lnTo>
                        <a:pt x="18" y="5994"/>
                      </a:lnTo>
                      <a:lnTo>
                        <a:pt x="0" y="6118"/>
                      </a:lnTo>
                      <a:lnTo>
                        <a:pt x="9" y="6400"/>
                      </a:lnTo>
                      <a:lnTo>
                        <a:pt x="159" y="6744"/>
                      </a:lnTo>
                      <a:lnTo>
                        <a:pt x="335" y="7070"/>
                      </a:lnTo>
                      <a:lnTo>
                        <a:pt x="556" y="7237"/>
                      </a:lnTo>
                      <a:lnTo>
                        <a:pt x="564" y="7837"/>
                      </a:lnTo>
                      <a:lnTo>
                        <a:pt x="670" y="8172"/>
                      </a:lnTo>
                      <a:lnTo>
                        <a:pt x="891" y="8330"/>
                      </a:lnTo>
                      <a:lnTo>
                        <a:pt x="1173" y="8322"/>
                      </a:lnTo>
                      <a:lnTo>
                        <a:pt x="1349" y="8507"/>
                      </a:lnTo>
                      <a:lnTo>
                        <a:pt x="1217" y="8868"/>
                      </a:lnTo>
                      <a:lnTo>
                        <a:pt x="1217" y="9194"/>
                      </a:lnTo>
                      <a:lnTo>
                        <a:pt x="1287" y="9520"/>
                      </a:lnTo>
                      <a:lnTo>
                        <a:pt x="1305" y="9679"/>
                      </a:lnTo>
                      <a:lnTo>
                        <a:pt x="1278" y="9838"/>
                      </a:lnTo>
                      <a:lnTo>
                        <a:pt x="1102" y="9996"/>
                      </a:lnTo>
                      <a:lnTo>
                        <a:pt x="908" y="10049"/>
                      </a:lnTo>
                      <a:lnTo>
                        <a:pt x="661" y="10226"/>
                      </a:lnTo>
                      <a:lnTo>
                        <a:pt x="661" y="10234"/>
                      </a:lnTo>
                      <a:lnTo>
                        <a:pt x="794" y="10234"/>
                      </a:lnTo>
                      <a:lnTo>
                        <a:pt x="891" y="10270"/>
                      </a:lnTo>
                      <a:lnTo>
                        <a:pt x="1040" y="10376"/>
                      </a:lnTo>
                      <a:lnTo>
                        <a:pt x="1164" y="10420"/>
                      </a:lnTo>
                      <a:lnTo>
                        <a:pt x="2336" y="11134"/>
                      </a:lnTo>
                      <a:lnTo>
                        <a:pt x="2407" y="11151"/>
                      </a:lnTo>
                      <a:lnTo>
                        <a:pt x="2460" y="11178"/>
                      </a:lnTo>
                      <a:lnTo>
                        <a:pt x="2530" y="11283"/>
                      </a:lnTo>
                      <a:lnTo>
                        <a:pt x="2574" y="11310"/>
                      </a:lnTo>
                      <a:lnTo>
                        <a:pt x="2583" y="11292"/>
                      </a:lnTo>
                      <a:lnTo>
                        <a:pt x="2706" y="11195"/>
                      </a:lnTo>
                      <a:lnTo>
                        <a:pt x="2803" y="11160"/>
                      </a:lnTo>
                      <a:lnTo>
                        <a:pt x="2847" y="11134"/>
                      </a:lnTo>
                      <a:lnTo>
                        <a:pt x="2865" y="11090"/>
                      </a:lnTo>
                      <a:lnTo>
                        <a:pt x="2892" y="11063"/>
                      </a:lnTo>
                      <a:lnTo>
                        <a:pt x="2997" y="11001"/>
                      </a:lnTo>
                      <a:lnTo>
                        <a:pt x="3041" y="10993"/>
                      </a:lnTo>
                      <a:lnTo>
                        <a:pt x="3235" y="11019"/>
                      </a:lnTo>
                      <a:lnTo>
                        <a:pt x="3438" y="11072"/>
                      </a:lnTo>
                      <a:lnTo>
                        <a:pt x="3279" y="11001"/>
                      </a:lnTo>
                      <a:lnTo>
                        <a:pt x="3235" y="10984"/>
                      </a:lnTo>
                      <a:lnTo>
                        <a:pt x="3191" y="10984"/>
                      </a:lnTo>
                      <a:lnTo>
                        <a:pt x="3200" y="10931"/>
                      </a:lnTo>
                      <a:lnTo>
                        <a:pt x="3244" y="10887"/>
                      </a:lnTo>
                      <a:lnTo>
                        <a:pt x="3306" y="10878"/>
                      </a:lnTo>
                      <a:lnTo>
                        <a:pt x="3350" y="10896"/>
                      </a:lnTo>
                      <a:lnTo>
                        <a:pt x="3500" y="11028"/>
                      </a:lnTo>
                      <a:lnTo>
                        <a:pt x="3553" y="11045"/>
                      </a:lnTo>
                      <a:lnTo>
                        <a:pt x="3702" y="11028"/>
                      </a:lnTo>
                      <a:lnTo>
                        <a:pt x="3747" y="11019"/>
                      </a:lnTo>
                      <a:lnTo>
                        <a:pt x="3817" y="10966"/>
                      </a:lnTo>
                      <a:lnTo>
                        <a:pt x="3861" y="10957"/>
                      </a:lnTo>
                      <a:lnTo>
                        <a:pt x="3896" y="10931"/>
                      </a:lnTo>
                      <a:lnTo>
                        <a:pt x="3905" y="10869"/>
                      </a:lnTo>
                      <a:lnTo>
                        <a:pt x="3905" y="10790"/>
                      </a:lnTo>
                      <a:lnTo>
                        <a:pt x="3932" y="10737"/>
                      </a:lnTo>
                      <a:lnTo>
                        <a:pt x="3958" y="10693"/>
                      </a:lnTo>
                      <a:lnTo>
                        <a:pt x="3993" y="10587"/>
                      </a:lnTo>
                      <a:lnTo>
                        <a:pt x="4020" y="10534"/>
                      </a:lnTo>
                      <a:lnTo>
                        <a:pt x="4196" y="10358"/>
                      </a:lnTo>
                      <a:lnTo>
                        <a:pt x="4126" y="10376"/>
                      </a:lnTo>
                      <a:lnTo>
                        <a:pt x="4064" y="10420"/>
                      </a:lnTo>
                      <a:lnTo>
                        <a:pt x="3861" y="10658"/>
                      </a:lnTo>
                      <a:lnTo>
                        <a:pt x="3791" y="10702"/>
                      </a:lnTo>
                      <a:lnTo>
                        <a:pt x="3782" y="10640"/>
                      </a:lnTo>
                      <a:lnTo>
                        <a:pt x="3861" y="10508"/>
                      </a:lnTo>
                      <a:lnTo>
                        <a:pt x="3985" y="10402"/>
                      </a:lnTo>
                      <a:lnTo>
                        <a:pt x="4258" y="10279"/>
                      </a:lnTo>
                      <a:lnTo>
                        <a:pt x="4196" y="10252"/>
                      </a:lnTo>
                      <a:lnTo>
                        <a:pt x="4152" y="10270"/>
                      </a:lnTo>
                      <a:lnTo>
                        <a:pt x="4108" y="10305"/>
                      </a:lnTo>
                      <a:lnTo>
                        <a:pt x="4055" y="10323"/>
                      </a:lnTo>
                      <a:lnTo>
                        <a:pt x="4020" y="10287"/>
                      </a:lnTo>
                      <a:lnTo>
                        <a:pt x="4002" y="10234"/>
                      </a:lnTo>
                      <a:lnTo>
                        <a:pt x="3976" y="10199"/>
                      </a:lnTo>
                      <a:lnTo>
                        <a:pt x="3914" y="10234"/>
                      </a:lnTo>
                      <a:lnTo>
                        <a:pt x="3940" y="10279"/>
                      </a:lnTo>
                      <a:lnTo>
                        <a:pt x="3940" y="10314"/>
                      </a:lnTo>
                      <a:lnTo>
                        <a:pt x="3932" y="10358"/>
                      </a:lnTo>
                      <a:lnTo>
                        <a:pt x="3914" y="10393"/>
                      </a:lnTo>
                      <a:lnTo>
                        <a:pt x="3905" y="10367"/>
                      </a:lnTo>
                      <a:lnTo>
                        <a:pt x="3888" y="10349"/>
                      </a:lnTo>
                      <a:lnTo>
                        <a:pt x="3870" y="10331"/>
                      </a:lnTo>
                      <a:lnTo>
                        <a:pt x="3844" y="10323"/>
                      </a:lnTo>
                      <a:lnTo>
                        <a:pt x="3835" y="10411"/>
                      </a:lnTo>
                      <a:lnTo>
                        <a:pt x="3729" y="10384"/>
                      </a:lnTo>
                      <a:lnTo>
                        <a:pt x="3658" y="10481"/>
                      </a:lnTo>
                      <a:lnTo>
                        <a:pt x="3632" y="10393"/>
                      </a:lnTo>
                      <a:lnTo>
                        <a:pt x="3676" y="10323"/>
                      </a:lnTo>
                      <a:lnTo>
                        <a:pt x="3738" y="10252"/>
                      </a:lnTo>
                      <a:lnTo>
                        <a:pt x="3782" y="10155"/>
                      </a:lnTo>
                      <a:lnTo>
                        <a:pt x="3826" y="10190"/>
                      </a:lnTo>
                      <a:lnTo>
                        <a:pt x="3835" y="10208"/>
                      </a:lnTo>
                      <a:lnTo>
                        <a:pt x="3835" y="10234"/>
                      </a:lnTo>
                      <a:lnTo>
                        <a:pt x="3817" y="10279"/>
                      </a:lnTo>
                      <a:lnTo>
                        <a:pt x="3870" y="10243"/>
                      </a:lnTo>
                      <a:lnTo>
                        <a:pt x="3923" y="10138"/>
                      </a:lnTo>
                      <a:lnTo>
                        <a:pt x="3976" y="10085"/>
                      </a:lnTo>
                      <a:lnTo>
                        <a:pt x="4143" y="10023"/>
                      </a:lnTo>
                      <a:lnTo>
                        <a:pt x="4531" y="9996"/>
                      </a:lnTo>
                      <a:lnTo>
                        <a:pt x="4707" y="9961"/>
                      </a:lnTo>
                      <a:lnTo>
                        <a:pt x="4778" y="9900"/>
                      </a:lnTo>
                      <a:lnTo>
                        <a:pt x="4937" y="9723"/>
                      </a:lnTo>
                      <a:lnTo>
                        <a:pt x="4981" y="9688"/>
                      </a:lnTo>
                      <a:lnTo>
                        <a:pt x="5051" y="9662"/>
                      </a:lnTo>
                      <a:lnTo>
                        <a:pt x="5122" y="9609"/>
                      </a:lnTo>
                      <a:lnTo>
                        <a:pt x="5298" y="9388"/>
                      </a:lnTo>
                      <a:lnTo>
                        <a:pt x="5219" y="9274"/>
                      </a:lnTo>
                      <a:lnTo>
                        <a:pt x="5227" y="9036"/>
                      </a:lnTo>
                      <a:lnTo>
                        <a:pt x="5607" y="8595"/>
                      </a:lnTo>
                      <a:lnTo>
                        <a:pt x="5695" y="8533"/>
                      </a:lnTo>
                      <a:lnTo>
                        <a:pt x="5792" y="8560"/>
                      </a:lnTo>
                      <a:lnTo>
                        <a:pt x="5897" y="8595"/>
                      </a:lnTo>
                      <a:lnTo>
                        <a:pt x="6021" y="8242"/>
                      </a:lnTo>
                      <a:lnTo>
                        <a:pt x="6100" y="7943"/>
                      </a:lnTo>
                      <a:lnTo>
                        <a:pt x="6038" y="7616"/>
                      </a:lnTo>
                      <a:lnTo>
                        <a:pt x="6003" y="7537"/>
                      </a:lnTo>
                      <a:lnTo>
                        <a:pt x="5871" y="7431"/>
                      </a:lnTo>
                      <a:lnTo>
                        <a:pt x="5571" y="7370"/>
                      </a:lnTo>
                      <a:lnTo>
                        <a:pt x="5474" y="7378"/>
                      </a:lnTo>
                      <a:lnTo>
                        <a:pt x="5333" y="6955"/>
                      </a:lnTo>
                      <a:lnTo>
                        <a:pt x="5333" y="6497"/>
                      </a:lnTo>
                      <a:lnTo>
                        <a:pt x="5642" y="5748"/>
                      </a:lnTo>
                      <a:lnTo>
                        <a:pt x="5906" y="5139"/>
                      </a:lnTo>
                      <a:lnTo>
                        <a:pt x="6118" y="4778"/>
                      </a:lnTo>
                      <a:lnTo>
                        <a:pt x="6550" y="4752"/>
                      </a:lnTo>
                      <a:lnTo>
                        <a:pt x="6911" y="4752"/>
                      </a:lnTo>
                      <a:lnTo>
                        <a:pt x="7035" y="4584"/>
                      </a:lnTo>
                      <a:lnTo>
                        <a:pt x="7123" y="4531"/>
                      </a:lnTo>
                      <a:lnTo>
                        <a:pt x="7281" y="4381"/>
                      </a:lnTo>
                      <a:lnTo>
                        <a:pt x="7290" y="4143"/>
                      </a:lnTo>
                      <a:lnTo>
                        <a:pt x="7149" y="3782"/>
                      </a:lnTo>
                      <a:lnTo>
                        <a:pt x="7114" y="3509"/>
                      </a:lnTo>
                      <a:lnTo>
                        <a:pt x="7123" y="3324"/>
                      </a:lnTo>
                      <a:lnTo>
                        <a:pt x="7184" y="2936"/>
                      </a:lnTo>
                      <a:lnTo>
                        <a:pt x="7317" y="2557"/>
                      </a:lnTo>
                      <a:lnTo>
                        <a:pt x="7546" y="1516"/>
                      </a:lnTo>
                      <a:lnTo>
                        <a:pt x="7696" y="1146"/>
                      </a:lnTo>
                      <a:lnTo>
                        <a:pt x="7951" y="899"/>
                      </a:lnTo>
                      <a:lnTo>
                        <a:pt x="7757" y="697"/>
                      </a:lnTo>
                      <a:lnTo>
                        <a:pt x="7643" y="388"/>
                      </a:lnTo>
                      <a:lnTo>
                        <a:pt x="7466" y="115"/>
                      </a:lnTo>
                      <a:lnTo>
                        <a:pt x="7228"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0" name="Google Shape;3128;p54">
                  <a:extLst>
                    <a:ext uri="{FF2B5EF4-FFF2-40B4-BE49-F238E27FC236}">
                      <a16:creationId xmlns:a16="http://schemas.microsoft.com/office/drawing/2014/main" id="{8D9AA0D3-954B-6E60-0A5E-375622D35066}"/>
                    </a:ext>
                  </a:extLst>
                </p:cNvPr>
                <p:cNvSpPr/>
                <p:nvPr/>
              </p:nvSpPr>
              <p:spPr>
                <a:xfrm>
                  <a:off x="3999179" y="1704613"/>
                  <a:ext cx="638055" cy="390511"/>
                </a:xfrm>
                <a:custGeom>
                  <a:avLst/>
                  <a:gdLst/>
                  <a:ahLst/>
                  <a:cxnLst/>
                  <a:rect l="l" t="t" r="r" b="b"/>
                  <a:pathLst>
                    <a:path w="8975" h="5493" extrusionOk="0">
                      <a:moveTo>
                        <a:pt x="5590" y="0"/>
                      </a:moveTo>
                      <a:lnTo>
                        <a:pt x="5510" y="529"/>
                      </a:lnTo>
                      <a:lnTo>
                        <a:pt x="5281" y="802"/>
                      </a:lnTo>
                      <a:lnTo>
                        <a:pt x="4849" y="899"/>
                      </a:lnTo>
                      <a:lnTo>
                        <a:pt x="4250" y="1005"/>
                      </a:lnTo>
                      <a:lnTo>
                        <a:pt x="4029" y="1173"/>
                      </a:lnTo>
                      <a:lnTo>
                        <a:pt x="4012" y="1499"/>
                      </a:lnTo>
                      <a:lnTo>
                        <a:pt x="3835" y="1940"/>
                      </a:lnTo>
                      <a:lnTo>
                        <a:pt x="3483" y="2213"/>
                      </a:lnTo>
                      <a:lnTo>
                        <a:pt x="3033" y="2266"/>
                      </a:lnTo>
                      <a:lnTo>
                        <a:pt x="2504" y="2045"/>
                      </a:lnTo>
                      <a:lnTo>
                        <a:pt x="1755" y="2063"/>
                      </a:lnTo>
                      <a:lnTo>
                        <a:pt x="1376" y="1931"/>
                      </a:lnTo>
                      <a:lnTo>
                        <a:pt x="1085" y="2160"/>
                      </a:lnTo>
                      <a:lnTo>
                        <a:pt x="1094" y="2354"/>
                      </a:lnTo>
                      <a:lnTo>
                        <a:pt x="1129" y="2548"/>
                      </a:lnTo>
                      <a:lnTo>
                        <a:pt x="1068" y="2733"/>
                      </a:lnTo>
                      <a:lnTo>
                        <a:pt x="768" y="2874"/>
                      </a:lnTo>
                      <a:lnTo>
                        <a:pt x="450" y="2865"/>
                      </a:lnTo>
                      <a:lnTo>
                        <a:pt x="257" y="3147"/>
                      </a:lnTo>
                      <a:lnTo>
                        <a:pt x="133" y="3526"/>
                      </a:lnTo>
                      <a:lnTo>
                        <a:pt x="54" y="3570"/>
                      </a:lnTo>
                      <a:lnTo>
                        <a:pt x="1" y="3632"/>
                      </a:lnTo>
                      <a:lnTo>
                        <a:pt x="27" y="3791"/>
                      </a:lnTo>
                      <a:lnTo>
                        <a:pt x="124" y="3905"/>
                      </a:lnTo>
                      <a:lnTo>
                        <a:pt x="230" y="4126"/>
                      </a:lnTo>
                      <a:lnTo>
                        <a:pt x="142" y="4346"/>
                      </a:lnTo>
                      <a:lnTo>
                        <a:pt x="212" y="4611"/>
                      </a:lnTo>
                      <a:lnTo>
                        <a:pt x="495" y="5122"/>
                      </a:lnTo>
                      <a:lnTo>
                        <a:pt x="671" y="5342"/>
                      </a:lnTo>
                      <a:lnTo>
                        <a:pt x="944" y="5439"/>
                      </a:lnTo>
                      <a:lnTo>
                        <a:pt x="1244" y="5492"/>
                      </a:lnTo>
                      <a:lnTo>
                        <a:pt x="1535" y="5104"/>
                      </a:lnTo>
                      <a:lnTo>
                        <a:pt x="1914" y="4893"/>
                      </a:lnTo>
                      <a:lnTo>
                        <a:pt x="2055" y="4584"/>
                      </a:lnTo>
                      <a:lnTo>
                        <a:pt x="2037" y="4214"/>
                      </a:lnTo>
                      <a:lnTo>
                        <a:pt x="2081" y="3985"/>
                      </a:lnTo>
                      <a:lnTo>
                        <a:pt x="2205" y="3861"/>
                      </a:lnTo>
                      <a:lnTo>
                        <a:pt x="2637" y="4002"/>
                      </a:lnTo>
                      <a:lnTo>
                        <a:pt x="3042" y="4258"/>
                      </a:lnTo>
                      <a:lnTo>
                        <a:pt x="3827" y="4170"/>
                      </a:lnTo>
                      <a:lnTo>
                        <a:pt x="3976" y="4337"/>
                      </a:lnTo>
                      <a:lnTo>
                        <a:pt x="4082" y="4390"/>
                      </a:lnTo>
                      <a:lnTo>
                        <a:pt x="4223" y="4408"/>
                      </a:lnTo>
                      <a:lnTo>
                        <a:pt x="4364" y="4461"/>
                      </a:lnTo>
                      <a:lnTo>
                        <a:pt x="4514" y="4487"/>
                      </a:lnTo>
                      <a:lnTo>
                        <a:pt x="4928" y="4311"/>
                      </a:lnTo>
                      <a:lnTo>
                        <a:pt x="5114" y="4293"/>
                      </a:lnTo>
                      <a:lnTo>
                        <a:pt x="5695" y="4302"/>
                      </a:lnTo>
                      <a:lnTo>
                        <a:pt x="6083" y="4214"/>
                      </a:lnTo>
                      <a:lnTo>
                        <a:pt x="6401" y="4064"/>
                      </a:lnTo>
                      <a:lnTo>
                        <a:pt x="6947" y="3932"/>
                      </a:lnTo>
                      <a:lnTo>
                        <a:pt x="7141" y="3800"/>
                      </a:lnTo>
                      <a:lnTo>
                        <a:pt x="7344" y="3738"/>
                      </a:lnTo>
                      <a:lnTo>
                        <a:pt x="7978" y="3835"/>
                      </a:lnTo>
                      <a:lnTo>
                        <a:pt x="8357" y="3632"/>
                      </a:lnTo>
                      <a:lnTo>
                        <a:pt x="8490" y="3403"/>
                      </a:lnTo>
                      <a:lnTo>
                        <a:pt x="8648" y="3218"/>
                      </a:lnTo>
                      <a:lnTo>
                        <a:pt x="8728" y="3077"/>
                      </a:lnTo>
                      <a:lnTo>
                        <a:pt x="8551" y="2592"/>
                      </a:lnTo>
                      <a:lnTo>
                        <a:pt x="8569" y="2257"/>
                      </a:lnTo>
                      <a:lnTo>
                        <a:pt x="8710" y="2134"/>
                      </a:lnTo>
                      <a:lnTo>
                        <a:pt x="8869" y="2063"/>
                      </a:lnTo>
                      <a:lnTo>
                        <a:pt x="8939" y="1728"/>
                      </a:lnTo>
                      <a:lnTo>
                        <a:pt x="8957" y="1631"/>
                      </a:lnTo>
                      <a:lnTo>
                        <a:pt x="8957" y="1552"/>
                      </a:lnTo>
                      <a:lnTo>
                        <a:pt x="8974" y="1393"/>
                      </a:lnTo>
                      <a:lnTo>
                        <a:pt x="8807" y="1067"/>
                      </a:lnTo>
                      <a:lnTo>
                        <a:pt x="8269" y="802"/>
                      </a:lnTo>
                      <a:lnTo>
                        <a:pt x="8049" y="670"/>
                      </a:lnTo>
                      <a:lnTo>
                        <a:pt x="7926" y="644"/>
                      </a:lnTo>
                      <a:lnTo>
                        <a:pt x="7811" y="573"/>
                      </a:lnTo>
                      <a:lnTo>
                        <a:pt x="7811" y="397"/>
                      </a:lnTo>
                      <a:lnTo>
                        <a:pt x="7837" y="230"/>
                      </a:lnTo>
                      <a:lnTo>
                        <a:pt x="7441" y="141"/>
                      </a:lnTo>
                      <a:lnTo>
                        <a:pt x="7212" y="133"/>
                      </a:lnTo>
                      <a:lnTo>
                        <a:pt x="6215" y="106"/>
                      </a:lnTo>
                      <a:lnTo>
                        <a:pt x="5925" y="27"/>
                      </a:lnTo>
                      <a:lnTo>
                        <a:pt x="5590"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1" name="Google Shape;3129;p54">
                  <a:extLst>
                    <a:ext uri="{FF2B5EF4-FFF2-40B4-BE49-F238E27FC236}">
                      <a16:creationId xmlns:a16="http://schemas.microsoft.com/office/drawing/2014/main" id="{95F4C786-2F09-53E2-FD51-2446E07C5437}"/>
                    </a:ext>
                  </a:extLst>
                </p:cNvPr>
                <p:cNvSpPr/>
                <p:nvPr/>
              </p:nvSpPr>
              <p:spPr>
                <a:xfrm>
                  <a:off x="4087550" y="1850002"/>
                  <a:ext cx="1014063" cy="884959"/>
                </a:xfrm>
                <a:custGeom>
                  <a:avLst/>
                  <a:gdLst/>
                  <a:ahLst/>
                  <a:cxnLst/>
                  <a:rect l="l" t="t" r="r" b="b"/>
                  <a:pathLst>
                    <a:path w="14264" h="12448" extrusionOk="0">
                      <a:moveTo>
                        <a:pt x="7996" y="0"/>
                      </a:moveTo>
                      <a:lnTo>
                        <a:pt x="7626" y="18"/>
                      </a:lnTo>
                      <a:lnTo>
                        <a:pt x="7467" y="89"/>
                      </a:lnTo>
                      <a:lnTo>
                        <a:pt x="7326" y="212"/>
                      </a:lnTo>
                      <a:lnTo>
                        <a:pt x="7308" y="547"/>
                      </a:lnTo>
                      <a:lnTo>
                        <a:pt x="7485" y="1032"/>
                      </a:lnTo>
                      <a:lnTo>
                        <a:pt x="7405" y="1173"/>
                      </a:lnTo>
                      <a:lnTo>
                        <a:pt x="7247" y="1358"/>
                      </a:lnTo>
                      <a:lnTo>
                        <a:pt x="7114" y="1587"/>
                      </a:lnTo>
                      <a:lnTo>
                        <a:pt x="6735" y="1790"/>
                      </a:lnTo>
                      <a:lnTo>
                        <a:pt x="6101" y="1693"/>
                      </a:lnTo>
                      <a:lnTo>
                        <a:pt x="5898" y="1755"/>
                      </a:lnTo>
                      <a:lnTo>
                        <a:pt x="5704" y="1887"/>
                      </a:lnTo>
                      <a:lnTo>
                        <a:pt x="5158" y="2019"/>
                      </a:lnTo>
                      <a:lnTo>
                        <a:pt x="4840" y="2169"/>
                      </a:lnTo>
                      <a:lnTo>
                        <a:pt x="4452" y="2257"/>
                      </a:lnTo>
                      <a:lnTo>
                        <a:pt x="3871" y="2248"/>
                      </a:lnTo>
                      <a:lnTo>
                        <a:pt x="3685" y="2266"/>
                      </a:lnTo>
                      <a:lnTo>
                        <a:pt x="3271" y="2442"/>
                      </a:lnTo>
                      <a:lnTo>
                        <a:pt x="3121" y="2416"/>
                      </a:lnTo>
                      <a:lnTo>
                        <a:pt x="2980" y="2363"/>
                      </a:lnTo>
                      <a:lnTo>
                        <a:pt x="2839" y="2345"/>
                      </a:lnTo>
                      <a:lnTo>
                        <a:pt x="2733" y="2292"/>
                      </a:lnTo>
                      <a:lnTo>
                        <a:pt x="2584" y="2125"/>
                      </a:lnTo>
                      <a:lnTo>
                        <a:pt x="1799" y="2213"/>
                      </a:lnTo>
                      <a:lnTo>
                        <a:pt x="1394" y="1957"/>
                      </a:lnTo>
                      <a:lnTo>
                        <a:pt x="962" y="1816"/>
                      </a:lnTo>
                      <a:lnTo>
                        <a:pt x="838" y="1940"/>
                      </a:lnTo>
                      <a:lnTo>
                        <a:pt x="794" y="2169"/>
                      </a:lnTo>
                      <a:lnTo>
                        <a:pt x="812" y="2539"/>
                      </a:lnTo>
                      <a:lnTo>
                        <a:pt x="671" y="2848"/>
                      </a:lnTo>
                      <a:lnTo>
                        <a:pt x="292" y="3059"/>
                      </a:lnTo>
                      <a:lnTo>
                        <a:pt x="1" y="3447"/>
                      </a:lnTo>
                      <a:lnTo>
                        <a:pt x="204" y="3703"/>
                      </a:lnTo>
                      <a:lnTo>
                        <a:pt x="248" y="4064"/>
                      </a:lnTo>
                      <a:lnTo>
                        <a:pt x="274" y="4188"/>
                      </a:lnTo>
                      <a:lnTo>
                        <a:pt x="389" y="4223"/>
                      </a:lnTo>
                      <a:lnTo>
                        <a:pt x="574" y="4214"/>
                      </a:lnTo>
                      <a:lnTo>
                        <a:pt x="1015" y="4020"/>
                      </a:lnTo>
                      <a:lnTo>
                        <a:pt x="1288" y="4046"/>
                      </a:lnTo>
                      <a:lnTo>
                        <a:pt x="1402" y="4117"/>
                      </a:lnTo>
                      <a:lnTo>
                        <a:pt x="1526" y="4161"/>
                      </a:lnTo>
                      <a:lnTo>
                        <a:pt x="1658" y="4073"/>
                      </a:lnTo>
                      <a:lnTo>
                        <a:pt x="1781" y="3958"/>
                      </a:lnTo>
                      <a:lnTo>
                        <a:pt x="2213" y="4020"/>
                      </a:lnTo>
                      <a:lnTo>
                        <a:pt x="2328" y="3976"/>
                      </a:lnTo>
                      <a:lnTo>
                        <a:pt x="2443" y="3967"/>
                      </a:lnTo>
                      <a:lnTo>
                        <a:pt x="2636" y="4170"/>
                      </a:lnTo>
                      <a:lnTo>
                        <a:pt x="2769" y="4126"/>
                      </a:lnTo>
                      <a:lnTo>
                        <a:pt x="2919" y="4179"/>
                      </a:lnTo>
                      <a:lnTo>
                        <a:pt x="3104" y="4135"/>
                      </a:lnTo>
                      <a:lnTo>
                        <a:pt x="3439" y="4126"/>
                      </a:lnTo>
                      <a:lnTo>
                        <a:pt x="3606" y="4064"/>
                      </a:lnTo>
                      <a:lnTo>
                        <a:pt x="3800" y="4196"/>
                      </a:lnTo>
                      <a:lnTo>
                        <a:pt x="4012" y="4170"/>
                      </a:lnTo>
                      <a:lnTo>
                        <a:pt x="4003" y="4346"/>
                      </a:lnTo>
                      <a:lnTo>
                        <a:pt x="4065" y="4452"/>
                      </a:lnTo>
                      <a:lnTo>
                        <a:pt x="4082" y="4602"/>
                      </a:lnTo>
                      <a:lnTo>
                        <a:pt x="4153" y="4796"/>
                      </a:lnTo>
                      <a:lnTo>
                        <a:pt x="4267" y="4972"/>
                      </a:lnTo>
                      <a:lnTo>
                        <a:pt x="4399" y="5051"/>
                      </a:lnTo>
                      <a:lnTo>
                        <a:pt x="4558" y="5060"/>
                      </a:lnTo>
                      <a:lnTo>
                        <a:pt x="4593" y="5148"/>
                      </a:lnTo>
                      <a:lnTo>
                        <a:pt x="4664" y="5245"/>
                      </a:lnTo>
                      <a:lnTo>
                        <a:pt x="4717" y="5289"/>
                      </a:lnTo>
                      <a:lnTo>
                        <a:pt x="4726" y="5448"/>
                      </a:lnTo>
                      <a:lnTo>
                        <a:pt x="4541" y="5668"/>
                      </a:lnTo>
                      <a:lnTo>
                        <a:pt x="4567" y="5968"/>
                      </a:lnTo>
                      <a:lnTo>
                        <a:pt x="4796" y="6603"/>
                      </a:lnTo>
                      <a:lnTo>
                        <a:pt x="5034" y="6806"/>
                      </a:lnTo>
                      <a:lnTo>
                        <a:pt x="5096" y="6929"/>
                      </a:lnTo>
                      <a:lnTo>
                        <a:pt x="5113" y="7114"/>
                      </a:lnTo>
                      <a:lnTo>
                        <a:pt x="5184" y="7229"/>
                      </a:lnTo>
                      <a:lnTo>
                        <a:pt x="5237" y="7352"/>
                      </a:lnTo>
                      <a:lnTo>
                        <a:pt x="5237" y="7537"/>
                      </a:lnTo>
                      <a:lnTo>
                        <a:pt x="5210" y="7714"/>
                      </a:lnTo>
                      <a:lnTo>
                        <a:pt x="5158" y="7899"/>
                      </a:lnTo>
                      <a:lnTo>
                        <a:pt x="5184" y="7978"/>
                      </a:lnTo>
                      <a:lnTo>
                        <a:pt x="5193" y="8013"/>
                      </a:lnTo>
                      <a:lnTo>
                        <a:pt x="5202" y="8242"/>
                      </a:lnTo>
                      <a:lnTo>
                        <a:pt x="5299" y="8392"/>
                      </a:lnTo>
                      <a:lnTo>
                        <a:pt x="5440" y="8498"/>
                      </a:lnTo>
                      <a:lnTo>
                        <a:pt x="5475" y="8674"/>
                      </a:lnTo>
                      <a:lnTo>
                        <a:pt x="5387" y="8824"/>
                      </a:lnTo>
                      <a:lnTo>
                        <a:pt x="5272" y="8930"/>
                      </a:lnTo>
                      <a:lnTo>
                        <a:pt x="5175" y="8948"/>
                      </a:lnTo>
                      <a:lnTo>
                        <a:pt x="5069" y="8974"/>
                      </a:lnTo>
                      <a:lnTo>
                        <a:pt x="5034" y="9036"/>
                      </a:lnTo>
                      <a:lnTo>
                        <a:pt x="4990" y="9097"/>
                      </a:lnTo>
                      <a:lnTo>
                        <a:pt x="4743" y="9212"/>
                      </a:lnTo>
                      <a:lnTo>
                        <a:pt x="4637" y="9300"/>
                      </a:lnTo>
                      <a:lnTo>
                        <a:pt x="4831" y="9388"/>
                      </a:lnTo>
                      <a:lnTo>
                        <a:pt x="5034" y="9503"/>
                      </a:lnTo>
                      <a:lnTo>
                        <a:pt x="5695" y="10058"/>
                      </a:lnTo>
                      <a:lnTo>
                        <a:pt x="5863" y="10120"/>
                      </a:lnTo>
                      <a:lnTo>
                        <a:pt x="6356" y="9970"/>
                      </a:lnTo>
                      <a:lnTo>
                        <a:pt x="6586" y="9944"/>
                      </a:lnTo>
                      <a:lnTo>
                        <a:pt x="6982" y="10076"/>
                      </a:lnTo>
                      <a:lnTo>
                        <a:pt x="7132" y="10164"/>
                      </a:lnTo>
                      <a:lnTo>
                        <a:pt x="7300" y="10323"/>
                      </a:lnTo>
                      <a:lnTo>
                        <a:pt x="7493" y="10340"/>
                      </a:lnTo>
                      <a:lnTo>
                        <a:pt x="7776" y="10111"/>
                      </a:lnTo>
                      <a:lnTo>
                        <a:pt x="8066" y="9970"/>
                      </a:lnTo>
                      <a:lnTo>
                        <a:pt x="8410" y="10120"/>
                      </a:lnTo>
                      <a:lnTo>
                        <a:pt x="8622" y="9997"/>
                      </a:lnTo>
                      <a:lnTo>
                        <a:pt x="8789" y="9776"/>
                      </a:lnTo>
                      <a:lnTo>
                        <a:pt x="9265" y="9380"/>
                      </a:lnTo>
                      <a:lnTo>
                        <a:pt x="9486" y="9459"/>
                      </a:lnTo>
                      <a:lnTo>
                        <a:pt x="9759" y="9662"/>
                      </a:lnTo>
                      <a:lnTo>
                        <a:pt x="9962" y="9697"/>
                      </a:lnTo>
                      <a:lnTo>
                        <a:pt x="10023" y="9582"/>
                      </a:lnTo>
                      <a:lnTo>
                        <a:pt x="10067" y="9274"/>
                      </a:lnTo>
                      <a:lnTo>
                        <a:pt x="10120" y="9115"/>
                      </a:lnTo>
                      <a:lnTo>
                        <a:pt x="10208" y="8992"/>
                      </a:lnTo>
                      <a:lnTo>
                        <a:pt x="10402" y="8992"/>
                      </a:lnTo>
                      <a:lnTo>
                        <a:pt x="10605" y="9142"/>
                      </a:lnTo>
                      <a:lnTo>
                        <a:pt x="10684" y="9194"/>
                      </a:lnTo>
                      <a:lnTo>
                        <a:pt x="10949" y="9274"/>
                      </a:lnTo>
                      <a:lnTo>
                        <a:pt x="11398" y="9609"/>
                      </a:lnTo>
                      <a:lnTo>
                        <a:pt x="11654" y="10191"/>
                      </a:lnTo>
                      <a:lnTo>
                        <a:pt x="11672" y="10508"/>
                      </a:lnTo>
                      <a:lnTo>
                        <a:pt x="11654" y="10834"/>
                      </a:lnTo>
                      <a:lnTo>
                        <a:pt x="11601" y="11178"/>
                      </a:lnTo>
                      <a:lnTo>
                        <a:pt x="11610" y="11522"/>
                      </a:lnTo>
                      <a:lnTo>
                        <a:pt x="11716" y="11768"/>
                      </a:lnTo>
                      <a:lnTo>
                        <a:pt x="11830" y="11989"/>
                      </a:lnTo>
                      <a:lnTo>
                        <a:pt x="11980" y="12209"/>
                      </a:lnTo>
                      <a:lnTo>
                        <a:pt x="12077" y="12447"/>
                      </a:lnTo>
                      <a:lnTo>
                        <a:pt x="12483" y="12333"/>
                      </a:lnTo>
                      <a:lnTo>
                        <a:pt x="12862" y="12121"/>
                      </a:lnTo>
                      <a:lnTo>
                        <a:pt x="13267" y="12006"/>
                      </a:lnTo>
                      <a:lnTo>
                        <a:pt x="13682" y="12015"/>
                      </a:lnTo>
                      <a:lnTo>
                        <a:pt x="13858" y="11927"/>
                      </a:lnTo>
                      <a:lnTo>
                        <a:pt x="14246" y="11557"/>
                      </a:lnTo>
                      <a:lnTo>
                        <a:pt x="14263" y="11213"/>
                      </a:lnTo>
                      <a:lnTo>
                        <a:pt x="14078" y="10711"/>
                      </a:lnTo>
                      <a:lnTo>
                        <a:pt x="14228" y="10314"/>
                      </a:lnTo>
                      <a:lnTo>
                        <a:pt x="14263" y="10111"/>
                      </a:lnTo>
                      <a:lnTo>
                        <a:pt x="13972" y="10005"/>
                      </a:lnTo>
                      <a:lnTo>
                        <a:pt x="13911" y="9944"/>
                      </a:lnTo>
                      <a:lnTo>
                        <a:pt x="13761" y="9873"/>
                      </a:lnTo>
                      <a:lnTo>
                        <a:pt x="13514" y="9856"/>
                      </a:lnTo>
                      <a:lnTo>
                        <a:pt x="13417" y="9785"/>
                      </a:lnTo>
                      <a:lnTo>
                        <a:pt x="13347" y="9670"/>
                      </a:lnTo>
                      <a:lnTo>
                        <a:pt x="13276" y="9618"/>
                      </a:lnTo>
                      <a:lnTo>
                        <a:pt x="13206" y="9591"/>
                      </a:lnTo>
                      <a:lnTo>
                        <a:pt x="12968" y="9388"/>
                      </a:lnTo>
                      <a:lnTo>
                        <a:pt x="12447" y="9062"/>
                      </a:lnTo>
                      <a:lnTo>
                        <a:pt x="12351" y="8727"/>
                      </a:lnTo>
                      <a:lnTo>
                        <a:pt x="11980" y="8004"/>
                      </a:lnTo>
                      <a:lnTo>
                        <a:pt x="11795" y="7149"/>
                      </a:lnTo>
                      <a:lnTo>
                        <a:pt x="11663" y="6920"/>
                      </a:lnTo>
                      <a:lnTo>
                        <a:pt x="11302" y="6471"/>
                      </a:lnTo>
                      <a:lnTo>
                        <a:pt x="11178" y="5959"/>
                      </a:lnTo>
                      <a:lnTo>
                        <a:pt x="11319" y="5448"/>
                      </a:lnTo>
                      <a:lnTo>
                        <a:pt x="11434" y="4937"/>
                      </a:lnTo>
                      <a:lnTo>
                        <a:pt x="11645" y="4426"/>
                      </a:lnTo>
                      <a:lnTo>
                        <a:pt x="11989" y="4276"/>
                      </a:lnTo>
                      <a:lnTo>
                        <a:pt x="12527" y="4214"/>
                      </a:lnTo>
                      <a:lnTo>
                        <a:pt x="12589" y="3861"/>
                      </a:lnTo>
                      <a:lnTo>
                        <a:pt x="12553" y="3500"/>
                      </a:lnTo>
                      <a:lnTo>
                        <a:pt x="12553" y="3094"/>
                      </a:lnTo>
                      <a:lnTo>
                        <a:pt x="12615" y="2742"/>
                      </a:lnTo>
                      <a:lnTo>
                        <a:pt x="12677" y="2248"/>
                      </a:lnTo>
                      <a:lnTo>
                        <a:pt x="12051" y="2045"/>
                      </a:lnTo>
                      <a:lnTo>
                        <a:pt x="11910" y="1957"/>
                      </a:lnTo>
                      <a:lnTo>
                        <a:pt x="11760" y="1904"/>
                      </a:lnTo>
                      <a:lnTo>
                        <a:pt x="11672" y="1896"/>
                      </a:lnTo>
                      <a:lnTo>
                        <a:pt x="11584" y="1931"/>
                      </a:lnTo>
                      <a:lnTo>
                        <a:pt x="11531" y="2107"/>
                      </a:lnTo>
                      <a:lnTo>
                        <a:pt x="11513" y="2257"/>
                      </a:lnTo>
                      <a:lnTo>
                        <a:pt x="11178" y="2301"/>
                      </a:lnTo>
                      <a:lnTo>
                        <a:pt x="10870" y="2063"/>
                      </a:lnTo>
                      <a:lnTo>
                        <a:pt x="10817" y="1852"/>
                      </a:lnTo>
                      <a:lnTo>
                        <a:pt x="10720" y="1693"/>
                      </a:lnTo>
                      <a:lnTo>
                        <a:pt x="10570" y="1614"/>
                      </a:lnTo>
                      <a:lnTo>
                        <a:pt x="10367" y="1428"/>
                      </a:lnTo>
                      <a:lnTo>
                        <a:pt x="10288" y="1393"/>
                      </a:lnTo>
                      <a:lnTo>
                        <a:pt x="10120" y="1261"/>
                      </a:lnTo>
                      <a:lnTo>
                        <a:pt x="9962" y="1085"/>
                      </a:lnTo>
                      <a:lnTo>
                        <a:pt x="9856" y="882"/>
                      </a:lnTo>
                      <a:lnTo>
                        <a:pt x="9724" y="697"/>
                      </a:lnTo>
                      <a:lnTo>
                        <a:pt x="8366" y="62"/>
                      </a:lnTo>
                      <a:lnTo>
                        <a:pt x="7996"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2" name="Google Shape;3130;p54">
                  <a:extLst>
                    <a:ext uri="{FF2B5EF4-FFF2-40B4-BE49-F238E27FC236}">
                      <a16:creationId xmlns:a16="http://schemas.microsoft.com/office/drawing/2014/main" id="{1852DF9C-8BE5-FC10-2A10-67FEE612FBB2}"/>
                    </a:ext>
                  </a:extLst>
                </p:cNvPr>
                <p:cNvSpPr/>
                <p:nvPr/>
              </p:nvSpPr>
              <p:spPr>
                <a:xfrm>
                  <a:off x="3691480" y="1925860"/>
                  <a:ext cx="355391" cy="399255"/>
                </a:xfrm>
                <a:custGeom>
                  <a:avLst/>
                  <a:gdLst/>
                  <a:ahLst/>
                  <a:cxnLst/>
                  <a:rect l="l" t="t" r="r" b="b"/>
                  <a:pathLst>
                    <a:path w="4999" h="5616" extrusionOk="0">
                      <a:moveTo>
                        <a:pt x="1297" y="0"/>
                      </a:moveTo>
                      <a:lnTo>
                        <a:pt x="1050" y="141"/>
                      </a:lnTo>
                      <a:lnTo>
                        <a:pt x="953" y="220"/>
                      </a:lnTo>
                      <a:lnTo>
                        <a:pt x="856" y="317"/>
                      </a:lnTo>
                      <a:lnTo>
                        <a:pt x="777" y="476"/>
                      </a:lnTo>
                      <a:lnTo>
                        <a:pt x="750" y="679"/>
                      </a:lnTo>
                      <a:lnTo>
                        <a:pt x="706" y="837"/>
                      </a:lnTo>
                      <a:lnTo>
                        <a:pt x="644" y="987"/>
                      </a:lnTo>
                      <a:lnTo>
                        <a:pt x="662" y="1181"/>
                      </a:lnTo>
                      <a:lnTo>
                        <a:pt x="768" y="1313"/>
                      </a:lnTo>
                      <a:lnTo>
                        <a:pt x="794" y="1481"/>
                      </a:lnTo>
                      <a:lnTo>
                        <a:pt x="706" y="1648"/>
                      </a:lnTo>
                      <a:lnTo>
                        <a:pt x="265" y="2116"/>
                      </a:lnTo>
                      <a:lnTo>
                        <a:pt x="133" y="2724"/>
                      </a:lnTo>
                      <a:lnTo>
                        <a:pt x="142" y="3032"/>
                      </a:lnTo>
                      <a:lnTo>
                        <a:pt x="380" y="3376"/>
                      </a:lnTo>
                      <a:lnTo>
                        <a:pt x="503" y="3473"/>
                      </a:lnTo>
                      <a:lnTo>
                        <a:pt x="565" y="3782"/>
                      </a:lnTo>
                      <a:lnTo>
                        <a:pt x="336" y="3870"/>
                      </a:lnTo>
                      <a:lnTo>
                        <a:pt x="71" y="3808"/>
                      </a:lnTo>
                      <a:lnTo>
                        <a:pt x="1" y="4328"/>
                      </a:lnTo>
                      <a:lnTo>
                        <a:pt x="18" y="4584"/>
                      </a:lnTo>
                      <a:lnTo>
                        <a:pt x="177" y="4910"/>
                      </a:lnTo>
                      <a:lnTo>
                        <a:pt x="256" y="4998"/>
                      </a:lnTo>
                      <a:lnTo>
                        <a:pt x="442" y="5122"/>
                      </a:lnTo>
                      <a:lnTo>
                        <a:pt x="600" y="5192"/>
                      </a:lnTo>
                      <a:lnTo>
                        <a:pt x="1111" y="5562"/>
                      </a:lnTo>
                      <a:lnTo>
                        <a:pt x="1314" y="5615"/>
                      </a:lnTo>
                      <a:lnTo>
                        <a:pt x="1684" y="5509"/>
                      </a:lnTo>
                      <a:lnTo>
                        <a:pt x="2028" y="5465"/>
                      </a:lnTo>
                      <a:lnTo>
                        <a:pt x="2205" y="5421"/>
                      </a:lnTo>
                      <a:lnTo>
                        <a:pt x="2460" y="5122"/>
                      </a:lnTo>
                      <a:lnTo>
                        <a:pt x="2663" y="4769"/>
                      </a:lnTo>
                      <a:lnTo>
                        <a:pt x="2707" y="4152"/>
                      </a:lnTo>
                      <a:lnTo>
                        <a:pt x="2830" y="4046"/>
                      </a:lnTo>
                      <a:lnTo>
                        <a:pt x="2971" y="3976"/>
                      </a:lnTo>
                      <a:lnTo>
                        <a:pt x="3051" y="3861"/>
                      </a:lnTo>
                      <a:lnTo>
                        <a:pt x="3121" y="3729"/>
                      </a:lnTo>
                      <a:lnTo>
                        <a:pt x="3359" y="3623"/>
                      </a:lnTo>
                      <a:lnTo>
                        <a:pt x="3606" y="3632"/>
                      </a:lnTo>
                      <a:lnTo>
                        <a:pt x="3844" y="3456"/>
                      </a:lnTo>
                      <a:lnTo>
                        <a:pt x="4003" y="3173"/>
                      </a:lnTo>
                      <a:lnTo>
                        <a:pt x="4064" y="2856"/>
                      </a:lnTo>
                      <a:lnTo>
                        <a:pt x="4144" y="2548"/>
                      </a:lnTo>
                      <a:lnTo>
                        <a:pt x="4523" y="2248"/>
                      </a:lnTo>
                      <a:lnTo>
                        <a:pt x="4999" y="2230"/>
                      </a:lnTo>
                      <a:lnTo>
                        <a:pt x="4823" y="2010"/>
                      </a:lnTo>
                      <a:lnTo>
                        <a:pt x="4540" y="1499"/>
                      </a:lnTo>
                      <a:lnTo>
                        <a:pt x="4470" y="1234"/>
                      </a:lnTo>
                      <a:lnTo>
                        <a:pt x="4232" y="1172"/>
                      </a:lnTo>
                      <a:lnTo>
                        <a:pt x="3879" y="1181"/>
                      </a:lnTo>
                      <a:lnTo>
                        <a:pt x="3800" y="1111"/>
                      </a:lnTo>
                      <a:lnTo>
                        <a:pt x="3694" y="943"/>
                      </a:lnTo>
                      <a:lnTo>
                        <a:pt x="3544" y="846"/>
                      </a:lnTo>
                      <a:lnTo>
                        <a:pt x="3368" y="846"/>
                      </a:lnTo>
                      <a:lnTo>
                        <a:pt x="3201" y="802"/>
                      </a:lnTo>
                      <a:lnTo>
                        <a:pt x="2998" y="820"/>
                      </a:lnTo>
                      <a:lnTo>
                        <a:pt x="2354" y="987"/>
                      </a:lnTo>
                      <a:lnTo>
                        <a:pt x="1949" y="864"/>
                      </a:lnTo>
                      <a:lnTo>
                        <a:pt x="1773" y="679"/>
                      </a:lnTo>
                      <a:lnTo>
                        <a:pt x="1587" y="520"/>
                      </a:lnTo>
                      <a:lnTo>
                        <a:pt x="1429" y="273"/>
                      </a:lnTo>
                      <a:lnTo>
                        <a:pt x="1297"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3" name="Google Shape;3131;p54">
                  <a:extLst>
                    <a:ext uri="{FF2B5EF4-FFF2-40B4-BE49-F238E27FC236}">
                      <a16:creationId xmlns:a16="http://schemas.microsoft.com/office/drawing/2014/main" id="{42F1470F-CA6F-251A-2483-475769FA0BB6}"/>
                    </a:ext>
                  </a:extLst>
                </p:cNvPr>
                <p:cNvSpPr/>
                <p:nvPr/>
              </p:nvSpPr>
              <p:spPr>
                <a:xfrm>
                  <a:off x="3848174" y="2084402"/>
                  <a:ext cx="628600" cy="462528"/>
                </a:xfrm>
                <a:custGeom>
                  <a:avLst/>
                  <a:gdLst/>
                  <a:ahLst/>
                  <a:cxnLst/>
                  <a:rect l="l" t="t" r="r" b="b"/>
                  <a:pathLst>
                    <a:path w="8842" h="6506" extrusionOk="0">
                      <a:moveTo>
                        <a:pt x="2795" y="0"/>
                      </a:moveTo>
                      <a:lnTo>
                        <a:pt x="2319" y="18"/>
                      </a:lnTo>
                      <a:lnTo>
                        <a:pt x="1940" y="318"/>
                      </a:lnTo>
                      <a:lnTo>
                        <a:pt x="1860" y="626"/>
                      </a:lnTo>
                      <a:lnTo>
                        <a:pt x="1799" y="943"/>
                      </a:lnTo>
                      <a:lnTo>
                        <a:pt x="1640" y="1226"/>
                      </a:lnTo>
                      <a:lnTo>
                        <a:pt x="1402" y="1402"/>
                      </a:lnTo>
                      <a:lnTo>
                        <a:pt x="1155" y="1393"/>
                      </a:lnTo>
                      <a:lnTo>
                        <a:pt x="917" y="1499"/>
                      </a:lnTo>
                      <a:lnTo>
                        <a:pt x="847" y="1631"/>
                      </a:lnTo>
                      <a:lnTo>
                        <a:pt x="767" y="1746"/>
                      </a:lnTo>
                      <a:lnTo>
                        <a:pt x="626" y="1816"/>
                      </a:lnTo>
                      <a:lnTo>
                        <a:pt x="503" y="1922"/>
                      </a:lnTo>
                      <a:lnTo>
                        <a:pt x="459" y="2539"/>
                      </a:lnTo>
                      <a:lnTo>
                        <a:pt x="256" y="2892"/>
                      </a:lnTo>
                      <a:lnTo>
                        <a:pt x="1" y="3191"/>
                      </a:lnTo>
                      <a:lnTo>
                        <a:pt x="177" y="3482"/>
                      </a:lnTo>
                      <a:lnTo>
                        <a:pt x="688" y="3976"/>
                      </a:lnTo>
                      <a:lnTo>
                        <a:pt x="812" y="4337"/>
                      </a:lnTo>
                      <a:lnTo>
                        <a:pt x="864" y="4796"/>
                      </a:lnTo>
                      <a:lnTo>
                        <a:pt x="1332" y="5413"/>
                      </a:lnTo>
                      <a:lnTo>
                        <a:pt x="1420" y="5792"/>
                      </a:lnTo>
                      <a:lnTo>
                        <a:pt x="1578" y="5836"/>
                      </a:lnTo>
                      <a:lnTo>
                        <a:pt x="1711" y="5959"/>
                      </a:lnTo>
                      <a:lnTo>
                        <a:pt x="1781" y="6153"/>
                      </a:lnTo>
                      <a:lnTo>
                        <a:pt x="1887" y="6285"/>
                      </a:lnTo>
                      <a:lnTo>
                        <a:pt x="1966" y="6329"/>
                      </a:lnTo>
                      <a:lnTo>
                        <a:pt x="2037" y="6391"/>
                      </a:lnTo>
                      <a:lnTo>
                        <a:pt x="2248" y="6506"/>
                      </a:lnTo>
                      <a:lnTo>
                        <a:pt x="2469" y="6470"/>
                      </a:lnTo>
                      <a:lnTo>
                        <a:pt x="2627" y="6391"/>
                      </a:lnTo>
                      <a:lnTo>
                        <a:pt x="2936" y="6180"/>
                      </a:lnTo>
                      <a:lnTo>
                        <a:pt x="3227" y="5897"/>
                      </a:lnTo>
                      <a:lnTo>
                        <a:pt x="3394" y="5765"/>
                      </a:lnTo>
                      <a:lnTo>
                        <a:pt x="3623" y="5871"/>
                      </a:lnTo>
                      <a:lnTo>
                        <a:pt x="3826" y="6100"/>
                      </a:lnTo>
                      <a:lnTo>
                        <a:pt x="4170" y="5950"/>
                      </a:lnTo>
                      <a:lnTo>
                        <a:pt x="4505" y="5695"/>
                      </a:lnTo>
                      <a:lnTo>
                        <a:pt x="4681" y="5651"/>
                      </a:lnTo>
                      <a:lnTo>
                        <a:pt x="4849" y="5536"/>
                      </a:lnTo>
                      <a:lnTo>
                        <a:pt x="5007" y="5395"/>
                      </a:lnTo>
                      <a:lnTo>
                        <a:pt x="5201" y="5342"/>
                      </a:lnTo>
                      <a:lnTo>
                        <a:pt x="5527" y="5686"/>
                      </a:lnTo>
                      <a:lnTo>
                        <a:pt x="5757" y="6215"/>
                      </a:lnTo>
                      <a:lnTo>
                        <a:pt x="6109" y="6479"/>
                      </a:lnTo>
                      <a:lnTo>
                        <a:pt x="6700" y="6418"/>
                      </a:lnTo>
                      <a:lnTo>
                        <a:pt x="7061" y="6426"/>
                      </a:lnTo>
                      <a:lnTo>
                        <a:pt x="7238" y="6470"/>
                      </a:lnTo>
                      <a:lnTo>
                        <a:pt x="7520" y="6506"/>
                      </a:lnTo>
                      <a:lnTo>
                        <a:pt x="7881" y="6444"/>
                      </a:lnTo>
                      <a:lnTo>
                        <a:pt x="7952" y="6347"/>
                      </a:lnTo>
                      <a:lnTo>
                        <a:pt x="7987" y="6180"/>
                      </a:lnTo>
                      <a:lnTo>
                        <a:pt x="8004" y="6003"/>
                      </a:lnTo>
                      <a:lnTo>
                        <a:pt x="8110" y="5915"/>
                      </a:lnTo>
                      <a:lnTo>
                        <a:pt x="8357" y="5800"/>
                      </a:lnTo>
                      <a:lnTo>
                        <a:pt x="8401" y="5739"/>
                      </a:lnTo>
                      <a:lnTo>
                        <a:pt x="8436" y="5677"/>
                      </a:lnTo>
                      <a:lnTo>
                        <a:pt x="8542" y="5651"/>
                      </a:lnTo>
                      <a:lnTo>
                        <a:pt x="8639" y="5633"/>
                      </a:lnTo>
                      <a:lnTo>
                        <a:pt x="8754" y="5527"/>
                      </a:lnTo>
                      <a:lnTo>
                        <a:pt x="8842" y="5377"/>
                      </a:lnTo>
                      <a:lnTo>
                        <a:pt x="8807" y="5201"/>
                      </a:lnTo>
                      <a:lnTo>
                        <a:pt x="8666" y="5095"/>
                      </a:lnTo>
                      <a:lnTo>
                        <a:pt x="8569" y="4945"/>
                      </a:lnTo>
                      <a:lnTo>
                        <a:pt x="8560" y="4716"/>
                      </a:lnTo>
                      <a:lnTo>
                        <a:pt x="8551" y="4681"/>
                      </a:lnTo>
                      <a:lnTo>
                        <a:pt x="8525" y="4602"/>
                      </a:lnTo>
                      <a:lnTo>
                        <a:pt x="8577" y="4417"/>
                      </a:lnTo>
                      <a:lnTo>
                        <a:pt x="8604" y="4240"/>
                      </a:lnTo>
                      <a:lnTo>
                        <a:pt x="8604" y="4055"/>
                      </a:lnTo>
                      <a:lnTo>
                        <a:pt x="8551" y="3932"/>
                      </a:lnTo>
                      <a:lnTo>
                        <a:pt x="8480" y="3817"/>
                      </a:lnTo>
                      <a:lnTo>
                        <a:pt x="8463" y="3632"/>
                      </a:lnTo>
                      <a:lnTo>
                        <a:pt x="8401" y="3509"/>
                      </a:lnTo>
                      <a:lnTo>
                        <a:pt x="8163" y="3306"/>
                      </a:lnTo>
                      <a:lnTo>
                        <a:pt x="7934" y="2671"/>
                      </a:lnTo>
                      <a:lnTo>
                        <a:pt x="7908" y="2371"/>
                      </a:lnTo>
                      <a:lnTo>
                        <a:pt x="8093" y="2151"/>
                      </a:lnTo>
                      <a:lnTo>
                        <a:pt x="8084" y="1992"/>
                      </a:lnTo>
                      <a:lnTo>
                        <a:pt x="8031" y="1948"/>
                      </a:lnTo>
                      <a:lnTo>
                        <a:pt x="7960" y="1851"/>
                      </a:lnTo>
                      <a:lnTo>
                        <a:pt x="7925" y="1763"/>
                      </a:lnTo>
                      <a:lnTo>
                        <a:pt x="7766" y="1754"/>
                      </a:lnTo>
                      <a:lnTo>
                        <a:pt x="7634" y="1675"/>
                      </a:lnTo>
                      <a:lnTo>
                        <a:pt x="7520" y="1499"/>
                      </a:lnTo>
                      <a:lnTo>
                        <a:pt x="7449" y="1305"/>
                      </a:lnTo>
                      <a:lnTo>
                        <a:pt x="7432" y="1155"/>
                      </a:lnTo>
                      <a:lnTo>
                        <a:pt x="7370" y="1049"/>
                      </a:lnTo>
                      <a:lnTo>
                        <a:pt x="7379" y="873"/>
                      </a:lnTo>
                      <a:lnTo>
                        <a:pt x="7167" y="899"/>
                      </a:lnTo>
                      <a:lnTo>
                        <a:pt x="6973" y="767"/>
                      </a:lnTo>
                      <a:lnTo>
                        <a:pt x="6806" y="829"/>
                      </a:lnTo>
                      <a:lnTo>
                        <a:pt x="6471" y="838"/>
                      </a:lnTo>
                      <a:lnTo>
                        <a:pt x="6286" y="882"/>
                      </a:lnTo>
                      <a:lnTo>
                        <a:pt x="6136" y="829"/>
                      </a:lnTo>
                      <a:lnTo>
                        <a:pt x="6003" y="873"/>
                      </a:lnTo>
                      <a:lnTo>
                        <a:pt x="5810" y="670"/>
                      </a:lnTo>
                      <a:lnTo>
                        <a:pt x="5695" y="679"/>
                      </a:lnTo>
                      <a:lnTo>
                        <a:pt x="5580" y="723"/>
                      </a:lnTo>
                      <a:lnTo>
                        <a:pt x="5148" y="661"/>
                      </a:lnTo>
                      <a:lnTo>
                        <a:pt x="5025" y="776"/>
                      </a:lnTo>
                      <a:lnTo>
                        <a:pt x="4893" y="864"/>
                      </a:lnTo>
                      <a:lnTo>
                        <a:pt x="4769" y="820"/>
                      </a:lnTo>
                      <a:lnTo>
                        <a:pt x="4655" y="749"/>
                      </a:lnTo>
                      <a:lnTo>
                        <a:pt x="4382" y="723"/>
                      </a:lnTo>
                      <a:lnTo>
                        <a:pt x="3941" y="917"/>
                      </a:lnTo>
                      <a:lnTo>
                        <a:pt x="3756" y="926"/>
                      </a:lnTo>
                      <a:lnTo>
                        <a:pt x="3641" y="891"/>
                      </a:lnTo>
                      <a:lnTo>
                        <a:pt x="3615" y="767"/>
                      </a:lnTo>
                      <a:lnTo>
                        <a:pt x="3571" y="406"/>
                      </a:lnTo>
                      <a:lnTo>
                        <a:pt x="3368" y="150"/>
                      </a:lnTo>
                      <a:lnTo>
                        <a:pt x="3068" y="97"/>
                      </a:lnTo>
                      <a:lnTo>
                        <a:pt x="2795"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4" name="Google Shape;3132;p54">
                  <a:extLst>
                    <a:ext uri="{FF2B5EF4-FFF2-40B4-BE49-F238E27FC236}">
                      <a16:creationId xmlns:a16="http://schemas.microsoft.com/office/drawing/2014/main" id="{56787CF1-2F26-504C-523C-166BD87B3BDD}"/>
                    </a:ext>
                  </a:extLst>
                </p:cNvPr>
                <p:cNvSpPr/>
                <p:nvPr/>
              </p:nvSpPr>
              <p:spPr>
                <a:xfrm>
                  <a:off x="4629650" y="1677028"/>
                  <a:ext cx="542151" cy="364776"/>
                </a:xfrm>
                <a:custGeom>
                  <a:avLst/>
                  <a:gdLst/>
                  <a:ahLst/>
                  <a:cxnLst/>
                  <a:rect l="l" t="t" r="r" b="b"/>
                  <a:pathLst>
                    <a:path w="7626" h="5131" extrusionOk="0">
                      <a:moveTo>
                        <a:pt x="6118" y="0"/>
                      </a:moveTo>
                      <a:lnTo>
                        <a:pt x="5968" y="62"/>
                      </a:lnTo>
                      <a:lnTo>
                        <a:pt x="5210" y="468"/>
                      </a:lnTo>
                      <a:lnTo>
                        <a:pt x="4849" y="538"/>
                      </a:lnTo>
                      <a:lnTo>
                        <a:pt x="4364" y="820"/>
                      </a:lnTo>
                      <a:lnTo>
                        <a:pt x="4188" y="891"/>
                      </a:lnTo>
                      <a:lnTo>
                        <a:pt x="3967" y="820"/>
                      </a:lnTo>
                      <a:lnTo>
                        <a:pt x="3800" y="609"/>
                      </a:lnTo>
                      <a:lnTo>
                        <a:pt x="3377" y="335"/>
                      </a:lnTo>
                      <a:lnTo>
                        <a:pt x="2777" y="265"/>
                      </a:lnTo>
                      <a:lnTo>
                        <a:pt x="2716" y="212"/>
                      </a:lnTo>
                      <a:lnTo>
                        <a:pt x="2610" y="71"/>
                      </a:lnTo>
                      <a:lnTo>
                        <a:pt x="2416" y="573"/>
                      </a:lnTo>
                      <a:lnTo>
                        <a:pt x="1966" y="820"/>
                      </a:lnTo>
                      <a:lnTo>
                        <a:pt x="1517" y="767"/>
                      </a:lnTo>
                      <a:lnTo>
                        <a:pt x="1341" y="873"/>
                      </a:lnTo>
                      <a:lnTo>
                        <a:pt x="1120" y="1270"/>
                      </a:lnTo>
                      <a:lnTo>
                        <a:pt x="574" y="1711"/>
                      </a:lnTo>
                      <a:lnTo>
                        <a:pt x="89" y="1940"/>
                      </a:lnTo>
                      <a:lnTo>
                        <a:pt x="89" y="2019"/>
                      </a:lnTo>
                      <a:lnTo>
                        <a:pt x="71" y="2116"/>
                      </a:lnTo>
                      <a:lnTo>
                        <a:pt x="1" y="2451"/>
                      </a:lnTo>
                      <a:lnTo>
                        <a:pt x="1" y="2451"/>
                      </a:lnTo>
                      <a:lnTo>
                        <a:pt x="371" y="2433"/>
                      </a:lnTo>
                      <a:lnTo>
                        <a:pt x="741" y="2495"/>
                      </a:lnTo>
                      <a:lnTo>
                        <a:pt x="2099" y="3130"/>
                      </a:lnTo>
                      <a:lnTo>
                        <a:pt x="2231" y="3315"/>
                      </a:lnTo>
                      <a:lnTo>
                        <a:pt x="2337" y="3518"/>
                      </a:lnTo>
                      <a:lnTo>
                        <a:pt x="2495" y="3694"/>
                      </a:lnTo>
                      <a:lnTo>
                        <a:pt x="2663" y="3826"/>
                      </a:lnTo>
                      <a:lnTo>
                        <a:pt x="2742" y="3861"/>
                      </a:lnTo>
                      <a:lnTo>
                        <a:pt x="2945" y="4047"/>
                      </a:lnTo>
                      <a:lnTo>
                        <a:pt x="3095" y="4126"/>
                      </a:lnTo>
                      <a:lnTo>
                        <a:pt x="3192" y="4285"/>
                      </a:lnTo>
                      <a:lnTo>
                        <a:pt x="3245" y="4496"/>
                      </a:lnTo>
                      <a:lnTo>
                        <a:pt x="3553" y="4734"/>
                      </a:lnTo>
                      <a:lnTo>
                        <a:pt x="3888" y="4690"/>
                      </a:lnTo>
                      <a:lnTo>
                        <a:pt x="3906" y="4540"/>
                      </a:lnTo>
                      <a:lnTo>
                        <a:pt x="3959" y="4364"/>
                      </a:lnTo>
                      <a:lnTo>
                        <a:pt x="4047" y="4329"/>
                      </a:lnTo>
                      <a:lnTo>
                        <a:pt x="4135" y="4337"/>
                      </a:lnTo>
                      <a:lnTo>
                        <a:pt x="4285" y="4390"/>
                      </a:lnTo>
                      <a:lnTo>
                        <a:pt x="4426" y="4478"/>
                      </a:lnTo>
                      <a:lnTo>
                        <a:pt x="5052" y="4681"/>
                      </a:lnTo>
                      <a:lnTo>
                        <a:pt x="6330" y="5087"/>
                      </a:lnTo>
                      <a:lnTo>
                        <a:pt x="6762" y="5131"/>
                      </a:lnTo>
                      <a:lnTo>
                        <a:pt x="7132" y="4919"/>
                      </a:lnTo>
                      <a:lnTo>
                        <a:pt x="7220" y="4902"/>
                      </a:lnTo>
                      <a:lnTo>
                        <a:pt x="7308" y="4858"/>
                      </a:lnTo>
                      <a:lnTo>
                        <a:pt x="7440" y="4628"/>
                      </a:lnTo>
                      <a:lnTo>
                        <a:pt x="7546" y="4373"/>
                      </a:lnTo>
                      <a:lnTo>
                        <a:pt x="7617" y="4329"/>
                      </a:lnTo>
                      <a:lnTo>
                        <a:pt x="7626" y="4170"/>
                      </a:lnTo>
                      <a:lnTo>
                        <a:pt x="7590" y="4020"/>
                      </a:lnTo>
                      <a:lnTo>
                        <a:pt x="7537" y="3861"/>
                      </a:lnTo>
                      <a:lnTo>
                        <a:pt x="7467" y="3712"/>
                      </a:lnTo>
                      <a:lnTo>
                        <a:pt x="7352" y="3518"/>
                      </a:lnTo>
                      <a:lnTo>
                        <a:pt x="7291" y="3288"/>
                      </a:lnTo>
                      <a:lnTo>
                        <a:pt x="7308" y="3068"/>
                      </a:lnTo>
                      <a:lnTo>
                        <a:pt x="7273" y="2857"/>
                      </a:lnTo>
                      <a:lnTo>
                        <a:pt x="7167" y="2627"/>
                      </a:lnTo>
                      <a:lnTo>
                        <a:pt x="7132" y="2363"/>
                      </a:lnTo>
                      <a:lnTo>
                        <a:pt x="7229" y="2125"/>
                      </a:lnTo>
                      <a:lnTo>
                        <a:pt x="7282" y="1878"/>
                      </a:lnTo>
                      <a:lnTo>
                        <a:pt x="7053" y="1499"/>
                      </a:lnTo>
                      <a:lnTo>
                        <a:pt x="6859" y="1490"/>
                      </a:lnTo>
                      <a:lnTo>
                        <a:pt x="6674" y="1446"/>
                      </a:lnTo>
                      <a:lnTo>
                        <a:pt x="6515" y="1340"/>
                      </a:lnTo>
                      <a:lnTo>
                        <a:pt x="6374" y="1199"/>
                      </a:lnTo>
                      <a:lnTo>
                        <a:pt x="6101" y="1102"/>
                      </a:lnTo>
                      <a:lnTo>
                        <a:pt x="5924" y="803"/>
                      </a:lnTo>
                      <a:lnTo>
                        <a:pt x="5977" y="618"/>
                      </a:lnTo>
                      <a:lnTo>
                        <a:pt x="6101" y="485"/>
                      </a:lnTo>
                      <a:lnTo>
                        <a:pt x="6242" y="291"/>
                      </a:lnTo>
                      <a:lnTo>
                        <a:pt x="6189" y="45"/>
                      </a:lnTo>
                      <a:lnTo>
                        <a:pt x="6118"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5" name="Google Shape;3133;p54">
                  <a:extLst>
                    <a:ext uri="{FF2B5EF4-FFF2-40B4-BE49-F238E27FC236}">
                      <a16:creationId xmlns:a16="http://schemas.microsoft.com/office/drawing/2014/main" id="{643194A1-4096-BD88-A979-415248391F2A}"/>
                    </a:ext>
                  </a:extLst>
                </p:cNvPr>
                <p:cNvSpPr/>
                <p:nvPr/>
              </p:nvSpPr>
              <p:spPr>
                <a:xfrm>
                  <a:off x="4511845" y="1469573"/>
                  <a:ext cx="318423" cy="345367"/>
                </a:xfrm>
                <a:custGeom>
                  <a:avLst/>
                  <a:gdLst/>
                  <a:ahLst/>
                  <a:cxnLst/>
                  <a:rect l="l" t="t" r="r" b="b"/>
                  <a:pathLst>
                    <a:path w="4479" h="4858" extrusionOk="0">
                      <a:moveTo>
                        <a:pt x="3103" y="1"/>
                      </a:moveTo>
                      <a:lnTo>
                        <a:pt x="2663" y="424"/>
                      </a:lnTo>
                      <a:lnTo>
                        <a:pt x="2398" y="494"/>
                      </a:lnTo>
                      <a:lnTo>
                        <a:pt x="2195" y="944"/>
                      </a:lnTo>
                      <a:lnTo>
                        <a:pt x="1631" y="1420"/>
                      </a:lnTo>
                      <a:lnTo>
                        <a:pt x="1146" y="1543"/>
                      </a:lnTo>
                      <a:lnTo>
                        <a:pt x="644" y="1526"/>
                      </a:lnTo>
                      <a:lnTo>
                        <a:pt x="397" y="1869"/>
                      </a:lnTo>
                      <a:lnTo>
                        <a:pt x="230" y="2072"/>
                      </a:lnTo>
                      <a:lnTo>
                        <a:pt x="150" y="2398"/>
                      </a:lnTo>
                      <a:lnTo>
                        <a:pt x="1" y="2892"/>
                      </a:lnTo>
                      <a:lnTo>
                        <a:pt x="1" y="3439"/>
                      </a:lnTo>
                      <a:lnTo>
                        <a:pt x="230" y="3447"/>
                      </a:lnTo>
                      <a:lnTo>
                        <a:pt x="626" y="3536"/>
                      </a:lnTo>
                      <a:lnTo>
                        <a:pt x="600" y="3703"/>
                      </a:lnTo>
                      <a:lnTo>
                        <a:pt x="600" y="3879"/>
                      </a:lnTo>
                      <a:lnTo>
                        <a:pt x="715" y="3950"/>
                      </a:lnTo>
                      <a:lnTo>
                        <a:pt x="838" y="3976"/>
                      </a:lnTo>
                      <a:lnTo>
                        <a:pt x="1058" y="4108"/>
                      </a:lnTo>
                      <a:lnTo>
                        <a:pt x="1596" y="4373"/>
                      </a:lnTo>
                      <a:lnTo>
                        <a:pt x="1763" y="4699"/>
                      </a:lnTo>
                      <a:lnTo>
                        <a:pt x="1746" y="4858"/>
                      </a:lnTo>
                      <a:lnTo>
                        <a:pt x="2231" y="4629"/>
                      </a:lnTo>
                      <a:lnTo>
                        <a:pt x="2777" y="4188"/>
                      </a:lnTo>
                      <a:lnTo>
                        <a:pt x="2998" y="3791"/>
                      </a:lnTo>
                      <a:lnTo>
                        <a:pt x="3174" y="3685"/>
                      </a:lnTo>
                      <a:lnTo>
                        <a:pt x="3623" y="3738"/>
                      </a:lnTo>
                      <a:lnTo>
                        <a:pt x="4073" y="3491"/>
                      </a:lnTo>
                      <a:lnTo>
                        <a:pt x="4267" y="2989"/>
                      </a:lnTo>
                      <a:lnTo>
                        <a:pt x="4223" y="2910"/>
                      </a:lnTo>
                      <a:lnTo>
                        <a:pt x="4126" y="2769"/>
                      </a:lnTo>
                      <a:lnTo>
                        <a:pt x="3879" y="2654"/>
                      </a:lnTo>
                      <a:lnTo>
                        <a:pt x="3623" y="2619"/>
                      </a:lnTo>
                      <a:lnTo>
                        <a:pt x="3535" y="1958"/>
                      </a:lnTo>
                      <a:lnTo>
                        <a:pt x="3571" y="1746"/>
                      </a:lnTo>
                      <a:lnTo>
                        <a:pt x="3782" y="1455"/>
                      </a:lnTo>
                      <a:lnTo>
                        <a:pt x="4029" y="1217"/>
                      </a:lnTo>
                      <a:lnTo>
                        <a:pt x="4478" y="1120"/>
                      </a:lnTo>
                      <a:lnTo>
                        <a:pt x="4355" y="821"/>
                      </a:lnTo>
                      <a:lnTo>
                        <a:pt x="4223" y="274"/>
                      </a:lnTo>
                      <a:lnTo>
                        <a:pt x="3879" y="18"/>
                      </a:lnTo>
                      <a:lnTo>
                        <a:pt x="3544" y="133"/>
                      </a:lnTo>
                      <a:lnTo>
                        <a:pt x="3262" y="177"/>
                      </a:lnTo>
                      <a:lnTo>
                        <a:pt x="310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6" name="Google Shape;3134;p54">
                  <a:extLst>
                    <a:ext uri="{FF2B5EF4-FFF2-40B4-BE49-F238E27FC236}">
                      <a16:creationId xmlns:a16="http://schemas.microsoft.com/office/drawing/2014/main" id="{644D9A60-89FB-0370-1712-E5177FE3FB61}"/>
                    </a:ext>
                  </a:extLst>
                </p:cNvPr>
                <p:cNvSpPr/>
                <p:nvPr/>
              </p:nvSpPr>
              <p:spPr>
                <a:xfrm>
                  <a:off x="5619861" y="1762271"/>
                  <a:ext cx="701327" cy="426839"/>
                </a:xfrm>
                <a:custGeom>
                  <a:avLst/>
                  <a:gdLst/>
                  <a:ahLst/>
                  <a:cxnLst/>
                  <a:rect l="l" t="t" r="r" b="b"/>
                  <a:pathLst>
                    <a:path w="9865" h="6004" extrusionOk="0">
                      <a:moveTo>
                        <a:pt x="5034" y="0"/>
                      </a:moveTo>
                      <a:lnTo>
                        <a:pt x="4998" y="44"/>
                      </a:lnTo>
                      <a:lnTo>
                        <a:pt x="4840" y="115"/>
                      </a:lnTo>
                      <a:lnTo>
                        <a:pt x="4337" y="238"/>
                      </a:lnTo>
                      <a:lnTo>
                        <a:pt x="4205" y="309"/>
                      </a:lnTo>
                      <a:lnTo>
                        <a:pt x="4205" y="353"/>
                      </a:lnTo>
                      <a:lnTo>
                        <a:pt x="4240" y="353"/>
                      </a:lnTo>
                      <a:lnTo>
                        <a:pt x="4240" y="397"/>
                      </a:lnTo>
                      <a:lnTo>
                        <a:pt x="4179" y="476"/>
                      </a:lnTo>
                      <a:lnTo>
                        <a:pt x="4231" y="582"/>
                      </a:lnTo>
                      <a:lnTo>
                        <a:pt x="4328" y="679"/>
                      </a:lnTo>
                      <a:lnTo>
                        <a:pt x="4399" y="732"/>
                      </a:lnTo>
                      <a:lnTo>
                        <a:pt x="4478" y="758"/>
                      </a:lnTo>
                      <a:lnTo>
                        <a:pt x="4566" y="1005"/>
                      </a:lnTo>
                      <a:lnTo>
                        <a:pt x="4408" y="1243"/>
                      </a:lnTo>
                      <a:lnTo>
                        <a:pt x="4328" y="1446"/>
                      </a:lnTo>
                      <a:lnTo>
                        <a:pt x="4328" y="1675"/>
                      </a:lnTo>
                      <a:lnTo>
                        <a:pt x="4117" y="1966"/>
                      </a:lnTo>
                      <a:lnTo>
                        <a:pt x="3747" y="2045"/>
                      </a:lnTo>
                      <a:lnTo>
                        <a:pt x="3720" y="2363"/>
                      </a:lnTo>
                      <a:lnTo>
                        <a:pt x="3685" y="2380"/>
                      </a:lnTo>
                      <a:lnTo>
                        <a:pt x="3641" y="2398"/>
                      </a:lnTo>
                      <a:lnTo>
                        <a:pt x="3579" y="2460"/>
                      </a:lnTo>
                      <a:lnTo>
                        <a:pt x="3191" y="2715"/>
                      </a:lnTo>
                      <a:lnTo>
                        <a:pt x="2909" y="2848"/>
                      </a:lnTo>
                      <a:lnTo>
                        <a:pt x="2830" y="2848"/>
                      </a:lnTo>
                      <a:lnTo>
                        <a:pt x="2751" y="2786"/>
                      </a:lnTo>
                      <a:lnTo>
                        <a:pt x="2654" y="2742"/>
                      </a:lnTo>
                      <a:lnTo>
                        <a:pt x="2557" y="2715"/>
                      </a:lnTo>
                      <a:lnTo>
                        <a:pt x="2424" y="2645"/>
                      </a:lnTo>
                      <a:lnTo>
                        <a:pt x="2301" y="2548"/>
                      </a:lnTo>
                      <a:lnTo>
                        <a:pt x="1931" y="2442"/>
                      </a:lnTo>
                      <a:lnTo>
                        <a:pt x="1543" y="2477"/>
                      </a:lnTo>
                      <a:lnTo>
                        <a:pt x="1428" y="2618"/>
                      </a:lnTo>
                      <a:lnTo>
                        <a:pt x="1217" y="3077"/>
                      </a:lnTo>
                      <a:lnTo>
                        <a:pt x="1084" y="3324"/>
                      </a:lnTo>
                      <a:lnTo>
                        <a:pt x="961" y="3500"/>
                      </a:lnTo>
                      <a:lnTo>
                        <a:pt x="820" y="3659"/>
                      </a:lnTo>
                      <a:lnTo>
                        <a:pt x="661" y="3738"/>
                      </a:lnTo>
                      <a:lnTo>
                        <a:pt x="573" y="3755"/>
                      </a:lnTo>
                      <a:lnTo>
                        <a:pt x="326" y="3861"/>
                      </a:lnTo>
                      <a:lnTo>
                        <a:pt x="185" y="4011"/>
                      </a:lnTo>
                      <a:lnTo>
                        <a:pt x="0" y="4399"/>
                      </a:lnTo>
                      <a:lnTo>
                        <a:pt x="326" y="4760"/>
                      </a:lnTo>
                      <a:lnTo>
                        <a:pt x="688" y="5016"/>
                      </a:lnTo>
                      <a:lnTo>
                        <a:pt x="1120" y="4981"/>
                      </a:lnTo>
                      <a:lnTo>
                        <a:pt x="1481" y="5060"/>
                      </a:lnTo>
                      <a:lnTo>
                        <a:pt x="1702" y="5034"/>
                      </a:lnTo>
                      <a:lnTo>
                        <a:pt x="1922" y="4990"/>
                      </a:lnTo>
                      <a:lnTo>
                        <a:pt x="2116" y="4910"/>
                      </a:lnTo>
                      <a:lnTo>
                        <a:pt x="2310" y="4849"/>
                      </a:lnTo>
                      <a:lnTo>
                        <a:pt x="2504" y="5042"/>
                      </a:lnTo>
                      <a:lnTo>
                        <a:pt x="2468" y="5386"/>
                      </a:lnTo>
                      <a:lnTo>
                        <a:pt x="2460" y="5615"/>
                      </a:lnTo>
                      <a:lnTo>
                        <a:pt x="2548" y="5792"/>
                      </a:lnTo>
                      <a:lnTo>
                        <a:pt x="2636" y="5871"/>
                      </a:lnTo>
                      <a:lnTo>
                        <a:pt x="2689" y="6003"/>
                      </a:lnTo>
                      <a:lnTo>
                        <a:pt x="3773" y="5792"/>
                      </a:lnTo>
                      <a:lnTo>
                        <a:pt x="4540" y="5748"/>
                      </a:lnTo>
                      <a:lnTo>
                        <a:pt x="5227" y="5483"/>
                      </a:lnTo>
                      <a:lnTo>
                        <a:pt x="5369" y="5333"/>
                      </a:lnTo>
                      <a:lnTo>
                        <a:pt x="5465" y="5104"/>
                      </a:lnTo>
                      <a:lnTo>
                        <a:pt x="5562" y="4734"/>
                      </a:lnTo>
                      <a:lnTo>
                        <a:pt x="5686" y="4381"/>
                      </a:lnTo>
                      <a:lnTo>
                        <a:pt x="5845" y="4284"/>
                      </a:lnTo>
                      <a:lnTo>
                        <a:pt x="6021" y="4232"/>
                      </a:lnTo>
                      <a:lnTo>
                        <a:pt x="6559" y="4302"/>
                      </a:lnTo>
                      <a:lnTo>
                        <a:pt x="6726" y="4232"/>
                      </a:lnTo>
                      <a:lnTo>
                        <a:pt x="7334" y="4064"/>
                      </a:lnTo>
                      <a:lnTo>
                        <a:pt x="7766" y="4011"/>
                      </a:lnTo>
                      <a:lnTo>
                        <a:pt x="8154" y="4029"/>
                      </a:lnTo>
                      <a:lnTo>
                        <a:pt x="8542" y="3976"/>
                      </a:lnTo>
                      <a:lnTo>
                        <a:pt x="8718" y="3879"/>
                      </a:lnTo>
                      <a:lnTo>
                        <a:pt x="8877" y="3747"/>
                      </a:lnTo>
                      <a:lnTo>
                        <a:pt x="8939" y="3729"/>
                      </a:lnTo>
                      <a:lnTo>
                        <a:pt x="9009" y="3729"/>
                      </a:lnTo>
                      <a:lnTo>
                        <a:pt x="9185" y="3685"/>
                      </a:lnTo>
                      <a:lnTo>
                        <a:pt x="9344" y="3623"/>
                      </a:lnTo>
                      <a:lnTo>
                        <a:pt x="9626" y="3227"/>
                      </a:lnTo>
                      <a:lnTo>
                        <a:pt x="9864" y="2742"/>
                      </a:lnTo>
                      <a:lnTo>
                        <a:pt x="9776" y="2380"/>
                      </a:lnTo>
                      <a:lnTo>
                        <a:pt x="9626" y="2081"/>
                      </a:lnTo>
                      <a:lnTo>
                        <a:pt x="9000" y="2045"/>
                      </a:lnTo>
                      <a:lnTo>
                        <a:pt x="7934" y="1296"/>
                      </a:lnTo>
                      <a:lnTo>
                        <a:pt x="7625" y="1270"/>
                      </a:lnTo>
                      <a:lnTo>
                        <a:pt x="7308" y="1323"/>
                      </a:lnTo>
                      <a:lnTo>
                        <a:pt x="6982" y="1287"/>
                      </a:lnTo>
                      <a:lnTo>
                        <a:pt x="6673" y="1164"/>
                      </a:lnTo>
                      <a:lnTo>
                        <a:pt x="6435" y="1014"/>
                      </a:lnTo>
                      <a:lnTo>
                        <a:pt x="6047" y="882"/>
                      </a:lnTo>
                      <a:lnTo>
                        <a:pt x="5792" y="723"/>
                      </a:lnTo>
                      <a:lnTo>
                        <a:pt x="5580" y="679"/>
                      </a:lnTo>
                      <a:lnTo>
                        <a:pt x="5518" y="626"/>
                      </a:lnTo>
                      <a:lnTo>
                        <a:pt x="5465" y="450"/>
                      </a:lnTo>
                      <a:lnTo>
                        <a:pt x="5554" y="291"/>
                      </a:lnTo>
                      <a:lnTo>
                        <a:pt x="5465" y="141"/>
                      </a:lnTo>
                      <a:lnTo>
                        <a:pt x="5307" y="27"/>
                      </a:lnTo>
                      <a:lnTo>
                        <a:pt x="5060" y="18"/>
                      </a:lnTo>
                      <a:lnTo>
                        <a:pt x="503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7" name="Google Shape;3135;p54">
                  <a:extLst>
                    <a:ext uri="{FF2B5EF4-FFF2-40B4-BE49-F238E27FC236}">
                      <a16:creationId xmlns:a16="http://schemas.microsoft.com/office/drawing/2014/main" id="{233F8725-2D00-79AB-CF87-A2BA110F37FD}"/>
                    </a:ext>
                  </a:extLst>
                </p:cNvPr>
                <p:cNvSpPr/>
                <p:nvPr/>
              </p:nvSpPr>
              <p:spPr>
                <a:xfrm>
                  <a:off x="5722593" y="1930197"/>
                  <a:ext cx="970199" cy="827943"/>
                </a:xfrm>
                <a:custGeom>
                  <a:avLst/>
                  <a:gdLst/>
                  <a:ahLst/>
                  <a:cxnLst/>
                  <a:rect l="l" t="t" r="r" b="b"/>
                  <a:pathLst>
                    <a:path w="13647" h="11646" extrusionOk="0">
                      <a:moveTo>
                        <a:pt x="10843" y="1"/>
                      </a:moveTo>
                      <a:lnTo>
                        <a:pt x="10711" y="124"/>
                      </a:lnTo>
                      <a:lnTo>
                        <a:pt x="10552" y="195"/>
                      </a:lnTo>
                      <a:lnTo>
                        <a:pt x="10341" y="212"/>
                      </a:lnTo>
                      <a:lnTo>
                        <a:pt x="10147" y="256"/>
                      </a:lnTo>
                      <a:lnTo>
                        <a:pt x="10103" y="336"/>
                      </a:lnTo>
                      <a:lnTo>
                        <a:pt x="10085" y="512"/>
                      </a:lnTo>
                      <a:lnTo>
                        <a:pt x="10138" y="583"/>
                      </a:lnTo>
                      <a:lnTo>
                        <a:pt x="10120" y="679"/>
                      </a:lnTo>
                      <a:lnTo>
                        <a:pt x="10023" y="741"/>
                      </a:lnTo>
                      <a:lnTo>
                        <a:pt x="9636" y="732"/>
                      </a:lnTo>
                      <a:lnTo>
                        <a:pt x="9468" y="847"/>
                      </a:lnTo>
                      <a:lnTo>
                        <a:pt x="9327" y="1041"/>
                      </a:lnTo>
                      <a:lnTo>
                        <a:pt x="9195" y="1147"/>
                      </a:lnTo>
                      <a:lnTo>
                        <a:pt x="9027" y="1164"/>
                      </a:lnTo>
                      <a:lnTo>
                        <a:pt x="8675" y="882"/>
                      </a:lnTo>
                      <a:lnTo>
                        <a:pt x="8419" y="380"/>
                      </a:lnTo>
                      <a:lnTo>
                        <a:pt x="8181" y="865"/>
                      </a:lnTo>
                      <a:lnTo>
                        <a:pt x="7899" y="1261"/>
                      </a:lnTo>
                      <a:lnTo>
                        <a:pt x="7740" y="1323"/>
                      </a:lnTo>
                      <a:lnTo>
                        <a:pt x="7564" y="1367"/>
                      </a:lnTo>
                      <a:lnTo>
                        <a:pt x="7494" y="1367"/>
                      </a:lnTo>
                      <a:lnTo>
                        <a:pt x="7432" y="1385"/>
                      </a:lnTo>
                      <a:lnTo>
                        <a:pt x="7273" y="1517"/>
                      </a:lnTo>
                      <a:lnTo>
                        <a:pt x="7097" y="1614"/>
                      </a:lnTo>
                      <a:lnTo>
                        <a:pt x="6709" y="1667"/>
                      </a:lnTo>
                      <a:lnTo>
                        <a:pt x="6321" y="1649"/>
                      </a:lnTo>
                      <a:lnTo>
                        <a:pt x="5889" y="1702"/>
                      </a:lnTo>
                      <a:lnTo>
                        <a:pt x="5281" y="1870"/>
                      </a:lnTo>
                      <a:lnTo>
                        <a:pt x="5114" y="1940"/>
                      </a:lnTo>
                      <a:lnTo>
                        <a:pt x="4576" y="1870"/>
                      </a:lnTo>
                      <a:lnTo>
                        <a:pt x="4400" y="1922"/>
                      </a:lnTo>
                      <a:lnTo>
                        <a:pt x="4241" y="2019"/>
                      </a:lnTo>
                      <a:lnTo>
                        <a:pt x="4117" y="2372"/>
                      </a:lnTo>
                      <a:lnTo>
                        <a:pt x="4020" y="2742"/>
                      </a:lnTo>
                      <a:lnTo>
                        <a:pt x="3924" y="2971"/>
                      </a:lnTo>
                      <a:lnTo>
                        <a:pt x="3782" y="3121"/>
                      </a:lnTo>
                      <a:lnTo>
                        <a:pt x="3095" y="3386"/>
                      </a:lnTo>
                      <a:lnTo>
                        <a:pt x="2328" y="3430"/>
                      </a:lnTo>
                      <a:lnTo>
                        <a:pt x="1244" y="3641"/>
                      </a:lnTo>
                      <a:lnTo>
                        <a:pt x="1376" y="4091"/>
                      </a:lnTo>
                      <a:lnTo>
                        <a:pt x="1596" y="4488"/>
                      </a:lnTo>
                      <a:lnTo>
                        <a:pt x="1764" y="4576"/>
                      </a:lnTo>
                      <a:lnTo>
                        <a:pt x="1808" y="4708"/>
                      </a:lnTo>
                      <a:lnTo>
                        <a:pt x="1826" y="4849"/>
                      </a:lnTo>
                      <a:lnTo>
                        <a:pt x="1685" y="5343"/>
                      </a:lnTo>
                      <a:lnTo>
                        <a:pt x="1350" y="5678"/>
                      </a:lnTo>
                      <a:lnTo>
                        <a:pt x="944" y="5986"/>
                      </a:lnTo>
                      <a:lnTo>
                        <a:pt x="785" y="6189"/>
                      </a:lnTo>
                      <a:lnTo>
                        <a:pt x="644" y="6400"/>
                      </a:lnTo>
                      <a:lnTo>
                        <a:pt x="530" y="6638"/>
                      </a:lnTo>
                      <a:lnTo>
                        <a:pt x="389" y="6832"/>
                      </a:lnTo>
                      <a:lnTo>
                        <a:pt x="168" y="6982"/>
                      </a:lnTo>
                      <a:lnTo>
                        <a:pt x="1" y="7194"/>
                      </a:lnTo>
                      <a:lnTo>
                        <a:pt x="239" y="7211"/>
                      </a:lnTo>
                      <a:lnTo>
                        <a:pt x="468" y="7326"/>
                      </a:lnTo>
                      <a:lnTo>
                        <a:pt x="512" y="7379"/>
                      </a:lnTo>
                      <a:lnTo>
                        <a:pt x="565" y="7511"/>
                      </a:lnTo>
                      <a:lnTo>
                        <a:pt x="609" y="7555"/>
                      </a:lnTo>
                      <a:lnTo>
                        <a:pt x="759" y="7617"/>
                      </a:lnTo>
                      <a:lnTo>
                        <a:pt x="909" y="7643"/>
                      </a:lnTo>
                      <a:lnTo>
                        <a:pt x="1350" y="7961"/>
                      </a:lnTo>
                      <a:lnTo>
                        <a:pt x="1808" y="8022"/>
                      </a:lnTo>
                      <a:lnTo>
                        <a:pt x="2161" y="7899"/>
                      </a:lnTo>
                      <a:lnTo>
                        <a:pt x="2927" y="8014"/>
                      </a:lnTo>
                      <a:lnTo>
                        <a:pt x="3157" y="8190"/>
                      </a:lnTo>
                      <a:lnTo>
                        <a:pt x="3395" y="8269"/>
                      </a:lnTo>
                      <a:lnTo>
                        <a:pt x="3809" y="8128"/>
                      </a:lnTo>
                      <a:lnTo>
                        <a:pt x="4241" y="8128"/>
                      </a:lnTo>
                      <a:lnTo>
                        <a:pt x="4638" y="8199"/>
                      </a:lnTo>
                      <a:lnTo>
                        <a:pt x="5008" y="8393"/>
                      </a:lnTo>
                      <a:lnTo>
                        <a:pt x="5175" y="8930"/>
                      </a:lnTo>
                      <a:lnTo>
                        <a:pt x="4981" y="9494"/>
                      </a:lnTo>
                      <a:lnTo>
                        <a:pt x="4876" y="9706"/>
                      </a:lnTo>
                      <a:lnTo>
                        <a:pt x="4787" y="9935"/>
                      </a:lnTo>
                      <a:lnTo>
                        <a:pt x="4664" y="10411"/>
                      </a:lnTo>
                      <a:lnTo>
                        <a:pt x="4479" y="10949"/>
                      </a:lnTo>
                      <a:lnTo>
                        <a:pt x="4452" y="11046"/>
                      </a:lnTo>
                      <a:lnTo>
                        <a:pt x="4426" y="11134"/>
                      </a:lnTo>
                      <a:lnTo>
                        <a:pt x="4311" y="11337"/>
                      </a:lnTo>
                      <a:lnTo>
                        <a:pt x="4303" y="11575"/>
                      </a:lnTo>
                      <a:lnTo>
                        <a:pt x="4303" y="11575"/>
                      </a:lnTo>
                      <a:lnTo>
                        <a:pt x="4911" y="11425"/>
                      </a:lnTo>
                      <a:lnTo>
                        <a:pt x="5510" y="11513"/>
                      </a:lnTo>
                      <a:lnTo>
                        <a:pt x="5625" y="11592"/>
                      </a:lnTo>
                      <a:lnTo>
                        <a:pt x="5748" y="11645"/>
                      </a:lnTo>
                      <a:lnTo>
                        <a:pt x="6788" y="11557"/>
                      </a:lnTo>
                      <a:lnTo>
                        <a:pt x="7062" y="11425"/>
                      </a:lnTo>
                      <a:lnTo>
                        <a:pt x="7300" y="11213"/>
                      </a:lnTo>
                      <a:lnTo>
                        <a:pt x="7538" y="10931"/>
                      </a:lnTo>
                      <a:lnTo>
                        <a:pt x="7635" y="10896"/>
                      </a:lnTo>
                      <a:lnTo>
                        <a:pt x="7837" y="10764"/>
                      </a:lnTo>
                      <a:lnTo>
                        <a:pt x="8164" y="10402"/>
                      </a:lnTo>
                      <a:lnTo>
                        <a:pt x="8243" y="10182"/>
                      </a:lnTo>
                      <a:lnTo>
                        <a:pt x="8216" y="10050"/>
                      </a:lnTo>
                      <a:lnTo>
                        <a:pt x="8164" y="9926"/>
                      </a:lnTo>
                      <a:lnTo>
                        <a:pt x="8075" y="9662"/>
                      </a:lnTo>
                      <a:lnTo>
                        <a:pt x="8031" y="9380"/>
                      </a:lnTo>
                      <a:lnTo>
                        <a:pt x="8128" y="9142"/>
                      </a:lnTo>
                      <a:lnTo>
                        <a:pt x="8340" y="9089"/>
                      </a:lnTo>
                      <a:lnTo>
                        <a:pt x="8728" y="9292"/>
                      </a:lnTo>
                      <a:lnTo>
                        <a:pt x="9116" y="9204"/>
                      </a:lnTo>
                      <a:lnTo>
                        <a:pt x="9283" y="9089"/>
                      </a:lnTo>
                      <a:lnTo>
                        <a:pt x="9459" y="9018"/>
                      </a:lnTo>
                      <a:lnTo>
                        <a:pt x="9627" y="8904"/>
                      </a:lnTo>
                      <a:lnTo>
                        <a:pt x="9794" y="8825"/>
                      </a:lnTo>
                      <a:lnTo>
                        <a:pt x="10156" y="8816"/>
                      </a:lnTo>
                      <a:lnTo>
                        <a:pt x="10314" y="8745"/>
                      </a:lnTo>
                      <a:lnTo>
                        <a:pt x="10482" y="8719"/>
                      </a:lnTo>
                      <a:lnTo>
                        <a:pt x="10799" y="8763"/>
                      </a:lnTo>
                      <a:lnTo>
                        <a:pt x="11099" y="8675"/>
                      </a:lnTo>
                      <a:lnTo>
                        <a:pt x="11425" y="8419"/>
                      </a:lnTo>
                      <a:lnTo>
                        <a:pt x="11786" y="8296"/>
                      </a:lnTo>
                      <a:lnTo>
                        <a:pt x="11892" y="8137"/>
                      </a:lnTo>
                      <a:lnTo>
                        <a:pt x="11936" y="7934"/>
                      </a:lnTo>
                      <a:lnTo>
                        <a:pt x="11910" y="7837"/>
                      </a:lnTo>
                      <a:lnTo>
                        <a:pt x="11883" y="7740"/>
                      </a:lnTo>
                      <a:lnTo>
                        <a:pt x="11892" y="7626"/>
                      </a:lnTo>
                      <a:lnTo>
                        <a:pt x="11910" y="7529"/>
                      </a:lnTo>
                      <a:lnTo>
                        <a:pt x="11883" y="7344"/>
                      </a:lnTo>
                      <a:lnTo>
                        <a:pt x="11822" y="7176"/>
                      </a:lnTo>
                      <a:lnTo>
                        <a:pt x="11822" y="6973"/>
                      </a:lnTo>
                      <a:lnTo>
                        <a:pt x="11813" y="6868"/>
                      </a:lnTo>
                      <a:lnTo>
                        <a:pt x="11786" y="6806"/>
                      </a:lnTo>
                      <a:lnTo>
                        <a:pt x="11848" y="6788"/>
                      </a:lnTo>
                      <a:lnTo>
                        <a:pt x="11892" y="6744"/>
                      </a:lnTo>
                      <a:lnTo>
                        <a:pt x="11927" y="6691"/>
                      </a:lnTo>
                      <a:lnTo>
                        <a:pt x="11980" y="6647"/>
                      </a:lnTo>
                      <a:lnTo>
                        <a:pt x="12148" y="6533"/>
                      </a:lnTo>
                      <a:lnTo>
                        <a:pt x="12183" y="6436"/>
                      </a:lnTo>
                      <a:lnTo>
                        <a:pt x="12077" y="6295"/>
                      </a:lnTo>
                      <a:lnTo>
                        <a:pt x="11927" y="6198"/>
                      </a:lnTo>
                      <a:lnTo>
                        <a:pt x="11760" y="6039"/>
                      </a:lnTo>
                      <a:lnTo>
                        <a:pt x="11707" y="5810"/>
                      </a:lnTo>
                      <a:lnTo>
                        <a:pt x="11813" y="5598"/>
                      </a:lnTo>
                      <a:lnTo>
                        <a:pt x="11866" y="4972"/>
                      </a:lnTo>
                      <a:lnTo>
                        <a:pt x="12086" y="4673"/>
                      </a:lnTo>
                      <a:lnTo>
                        <a:pt x="12210" y="4470"/>
                      </a:lnTo>
                      <a:lnTo>
                        <a:pt x="12386" y="4373"/>
                      </a:lnTo>
                      <a:lnTo>
                        <a:pt x="12474" y="4382"/>
                      </a:lnTo>
                      <a:lnTo>
                        <a:pt x="12571" y="4364"/>
                      </a:lnTo>
                      <a:lnTo>
                        <a:pt x="12615" y="4197"/>
                      </a:lnTo>
                      <a:lnTo>
                        <a:pt x="12518" y="4073"/>
                      </a:lnTo>
                      <a:lnTo>
                        <a:pt x="12183" y="4161"/>
                      </a:lnTo>
                      <a:lnTo>
                        <a:pt x="11857" y="4170"/>
                      </a:lnTo>
                      <a:lnTo>
                        <a:pt x="11822" y="3985"/>
                      </a:lnTo>
                      <a:lnTo>
                        <a:pt x="11998" y="3483"/>
                      </a:lnTo>
                      <a:lnTo>
                        <a:pt x="12201" y="3359"/>
                      </a:lnTo>
                      <a:lnTo>
                        <a:pt x="12421" y="3527"/>
                      </a:lnTo>
                      <a:lnTo>
                        <a:pt x="12641" y="3562"/>
                      </a:lnTo>
                      <a:lnTo>
                        <a:pt x="12862" y="3412"/>
                      </a:lnTo>
                      <a:lnTo>
                        <a:pt x="13109" y="3350"/>
                      </a:lnTo>
                      <a:lnTo>
                        <a:pt x="13320" y="3386"/>
                      </a:lnTo>
                      <a:lnTo>
                        <a:pt x="13532" y="3395"/>
                      </a:lnTo>
                      <a:lnTo>
                        <a:pt x="13629" y="3156"/>
                      </a:lnTo>
                      <a:lnTo>
                        <a:pt x="13646" y="2848"/>
                      </a:lnTo>
                      <a:lnTo>
                        <a:pt x="13179" y="2619"/>
                      </a:lnTo>
                      <a:lnTo>
                        <a:pt x="12694" y="2460"/>
                      </a:lnTo>
                      <a:lnTo>
                        <a:pt x="12218" y="2575"/>
                      </a:lnTo>
                      <a:lnTo>
                        <a:pt x="11927" y="2407"/>
                      </a:lnTo>
                      <a:lnTo>
                        <a:pt x="11645" y="2187"/>
                      </a:lnTo>
                      <a:lnTo>
                        <a:pt x="11390" y="2055"/>
                      </a:lnTo>
                      <a:lnTo>
                        <a:pt x="11213" y="1799"/>
                      </a:lnTo>
                      <a:lnTo>
                        <a:pt x="11222" y="1455"/>
                      </a:lnTo>
                      <a:lnTo>
                        <a:pt x="1084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8" name="Google Shape;3136;p54">
                  <a:extLst>
                    <a:ext uri="{FF2B5EF4-FFF2-40B4-BE49-F238E27FC236}">
                      <a16:creationId xmlns:a16="http://schemas.microsoft.com/office/drawing/2014/main" id="{BDDE876A-14C7-EC99-99B9-DAAA298D9555}"/>
                    </a:ext>
                  </a:extLst>
                </p:cNvPr>
                <p:cNvSpPr/>
                <p:nvPr/>
              </p:nvSpPr>
              <p:spPr>
                <a:xfrm>
                  <a:off x="5110323" y="1586808"/>
                  <a:ext cx="492671" cy="609192"/>
                </a:xfrm>
                <a:custGeom>
                  <a:avLst/>
                  <a:gdLst/>
                  <a:ahLst/>
                  <a:cxnLst/>
                  <a:rect l="l" t="t" r="r" b="b"/>
                  <a:pathLst>
                    <a:path w="6930" h="8569" extrusionOk="0">
                      <a:moveTo>
                        <a:pt x="2354" y="0"/>
                      </a:moveTo>
                      <a:lnTo>
                        <a:pt x="2116" y="53"/>
                      </a:lnTo>
                      <a:lnTo>
                        <a:pt x="1958" y="282"/>
                      </a:lnTo>
                      <a:lnTo>
                        <a:pt x="1825" y="626"/>
                      </a:lnTo>
                      <a:lnTo>
                        <a:pt x="1720" y="749"/>
                      </a:lnTo>
                      <a:lnTo>
                        <a:pt x="1499" y="943"/>
                      </a:lnTo>
                      <a:lnTo>
                        <a:pt x="1341" y="1349"/>
                      </a:lnTo>
                      <a:lnTo>
                        <a:pt x="1182" y="1543"/>
                      </a:lnTo>
                      <a:lnTo>
                        <a:pt x="1129" y="1666"/>
                      </a:lnTo>
                      <a:lnTo>
                        <a:pt x="1217" y="1895"/>
                      </a:lnTo>
                      <a:lnTo>
                        <a:pt x="1314" y="1939"/>
                      </a:lnTo>
                      <a:lnTo>
                        <a:pt x="1464" y="2098"/>
                      </a:lnTo>
                      <a:lnTo>
                        <a:pt x="1358" y="2407"/>
                      </a:lnTo>
                      <a:lnTo>
                        <a:pt x="697" y="2680"/>
                      </a:lnTo>
                      <a:lnTo>
                        <a:pt x="292" y="2768"/>
                      </a:lnTo>
                      <a:lnTo>
                        <a:pt x="521" y="3147"/>
                      </a:lnTo>
                      <a:lnTo>
                        <a:pt x="468" y="3394"/>
                      </a:lnTo>
                      <a:lnTo>
                        <a:pt x="371" y="3632"/>
                      </a:lnTo>
                      <a:lnTo>
                        <a:pt x="406" y="3896"/>
                      </a:lnTo>
                      <a:lnTo>
                        <a:pt x="512" y="4126"/>
                      </a:lnTo>
                      <a:lnTo>
                        <a:pt x="547" y="4337"/>
                      </a:lnTo>
                      <a:lnTo>
                        <a:pt x="530" y="4557"/>
                      </a:lnTo>
                      <a:lnTo>
                        <a:pt x="591" y="4787"/>
                      </a:lnTo>
                      <a:lnTo>
                        <a:pt x="706" y="4981"/>
                      </a:lnTo>
                      <a:lnTo>
                        <a:pt x="776" y="5130"/>
                      </a:lnTo>
                      <a:lnTo>
                        <a:pt x="829" y="5289"/>
                      </a:lnTo>
                      <a:lnTo>
                        <a:pt x="865" y="5439"/>
                      </a:lnTo>
                      <a:lnTo>
                        <a:pt x="856" y="5598"/>
                      </a:lnTo>
                      <a:lnTo>
                        <a:pt x="785" y="5642"/>
                      </a:lnTo>
                      <a:lnTo>
                        <a:pt x="679" y="5897"/>
                      </a:lnTo>
                      <a:lnTo>
                        <a:pt x="547" y="6127"/>
                      </a:lnTo>
                      <a:lnTo>
                        <a:pt x="459" y="6171"/>
                      </a:lnTo>
                      <a:lnTo>
                        <a:pt x="371" y="6188"/>
                      </a:lnTo>
                      <a:lnTo>
                        <a:pt x="1" y="6400"/>
                      </a:lnTo>
                      <a:lnTo>
                        <a:pt x="54" y="6691"/>
                      </a:lnTo>
                      <a:lnTo>
                        <a:pt x="248" y="7123"/>
                      </a:lnTo>
                      <a:lnTo>
                        <a:pt x="362" y="7237"/>
                      </a:lnTo>
                      <a:lnTo>
                        <a:pt x="477" y="7255"/>
                      </a:lnTo>
                      <a:lnTo>
                        <a:pt x="556" y="7352"/>
                      </a:lnTo>
                      <a:lnTo>
                        <a:pt x="574" y="7422"/>
                      </a:lnTo>
                      <a:lnTo>
                        <a:pt x="574" y="7493"/>
                      </a:lnTo>
                      <a:lnTo>
                        <a:pt x="635" y="7669"/>
                      </a:lnTo>
                      <a:lnTo>
                        <a:pt x="618" y="7863"/>
                      </a:lnTo>
                      <a:lnTo>
                        <a:pt x="530" y="8013"/>
                      </a:lnTo>
                      <a:lnTo>
                        <a:pt x="406" y="8260"/>
                      </a:lnTo>
                      <a:lnTo>
                        <a:pt x="415" y="8568"/>
                      </a:lnTo>
                      <a:lnTo>
                        <a:pt x="671" y="8445"/>
                      </a:lnTo>
                      <a:lnTo>
                        <a:pt x="1402" y="8357"/>
                      </a:lnTo>
                      <a:lnTo>
                        <a:pt x="1843" y="8154"/>
                      </a:lnTo>
                      <a:lnTo>
                        <a:pt x="2293" y="8004"/>
                      </a:lnTo>
                      <a:lnTo>
                        <a:pt x="3007" y="8136"/>
                      </a:lnTo>
                      <a:lnTo>
                        <a:pt x="3280" y="8031"/>
                      </a:lnTo>
                      <a:lnTo>
                        <a:pt x="3465" y="8048"/>
                      </a:lnTo>
                      <a:lnTo>
                        <a:pt x="3844" y="8022"/>
                      </a:lnTo>
                      <a:lnTo>
                        <a:pt x="4532" y="7687"/>
                      </a:lnTo>
                      <a:lnTo>
                        <a:pt x="4928" y="7801"/>
                      </a:lnTo>
                      <a:lnTo>
                        <a:pt x="5140" y="7775"/>
                      </a:lnTo>
                      <a:lnTo>
                        <a:pt x="5510" y="7555"/>
                      </a:lnTo>
                      <a:lnTo>
                        <a:pt x="5633" y="7387"/>
                      </a:lnTo>
                      <a:lnTo>
                        <a:pt x="5642" y="7272"/>
                      </a:lnTo>
                      <a:lnTo>
                        <a:pt x="5686" y="7140"/>
                      </a:lnTo>
                      <a:lnTo>
                        <a:pt x="5704" y="7034"/>
                      </a:lnTo>
                      <a:lnTo>
                        <a:pt x="5651" y="6964"/>
                      </a:lnTo>
                      <a:lnTo>
                        <a:pt x="5695" y="6691"/>
                      </a:lnTo>
                      <a:lnTo>
                        <a:pt x="6136" y="6664"/>
                      </a:lnTo>
                      <a:lnTo>
                        <a:pt x="6321" y="6594"/>
                      </a:lnTo>
                      <a:lnTo>
                        <a:pt x="6374" y="6179"/>
                      </a:lnTo>
                      <a:lnTo>
                        <a:pt x="6383" y="6021"/>
                      </a:lnTo>
                      <a:lnTo>
                        <a:pt x="6427" y="5871"/>
                      </a:lnTo>
                      <a:lnTo>
                        <a:pt x="6823" y="5263"/>
                      </a:lnTo>
                      <a:lnTo>
                        <a:pt x="6929" y="4822"/>
                      </a:lnTo>
                      <a:lnTo>
                        <a:pt x="6929" y="4593"/>
                      </a:lnTo>
                      <a:lnTo>
                        <a:pt x="6815" y="4319"/>
                      </a:lnTo>
                      <a:lnTo>
                        <a:pt x="6735" y="4284"/>
                      </a:lnTo>
                      <a:lnTo>
                        <a:pt x="6577" y="4249"/>
                      </a:lnTo>
                      <a:lnTo>
                        <a:pt x="6224" y="4046"/>
                      </a:lnTo>
                      <a:lnTo>
                        <a:pt x="5457" y="3914"/>
                      </a:lnTo>
                      <a:lnTo>
                        <a:pt x="5307" y="3817"/>
                      </a:lnTo>
                      <a:lnTo>
                        <a:pt x="5184" y="3597"/>
                      </a:lnTo>
                      <a:lnTo>
                        <a:pt x="4999" y="3191"/>
                      </a:lnTo>
                      <a:lnTo>
                        <a:pt x="4955" y="3024"/>
                      </a:lnTo>
                      <a:lnTo>
                        <a:pt x="5025" y="2627"/>
                      </a:lnTo>
                      <a:lnTo>
                        <a:pt x="5034" y="2010"/>
                      </a:lnTo>
                      <a:lnTo>
                        <a:pt x="5096" y="1825"/>
                      </a:lnTo>
                      <a:lnTo>
                        <a:pt x="5193" y="1701"/>
                      </a:lnTo>
                      <a:lnTo>
                        <a:pt x="5263" y="1552"/>
                      </a:lnTo>
                      <a:lnTo>
                        <a:pt x="5219" y="1375"/>
                      </a:lnTo>
                      <a:lnTo>
                        <a:pt x="5043" y="1331"/>
                      </a:lnTo>
                      <a:lnTo>
                        <a:pt x="4690" y="1375"/>
                      </a:lnTo>
                      <a:lnTo>
                        <a:pt x="4620" y="1146"/>
                      </a:lnTo>
                      <a:lnTo>
                        <a:pt x="4584" y="908"/>
                      </a:lnTo>
                      <a:lnTo>
                        <a:pt x="4523" y="679"/>
                      </a:lnTo>
                      <a:lnTo>
                        <a:pt x="4285" y="247"/>
                      </a:lnTo>
                      <a:lnTo>
                        <a:pt x="4276" y="291"/>
                      </a:lnTo>
                      <a:lnTo>
                        <a:pt x="4267" y="397"/>
                      </a:lnTo>
                      <a:lnTo>
                        <a:pt x="4250" y="441"/>
                      </a:lnTo>
                      <a:lnTo>
                        <a:pt x="4232" y="476"/>
                      </a:lnTo>
                      <a:lnTo>
                        <a:pt x="4153" y="555"/>
                      </a:lnTo>
                      <a:lnTo>
                        <a:pt x="4056" y="670"/>
                      </a:lnTo>
                      <a:lnTo>
                        <a:pt x="3527" y="503"/>
                      </a:lnTo>
                      <a:lnTo>
                        <a:pt x="3447" y="450"/>
                      </a:lnTo>
                      <a:lnTo>
                        <a:pt x="3394" y="353"/>
                      </a:lnTo>
                      <a:lnTo>
                        <a:pt x="3280" y="273"/>
                      </a:lnTo>
                      <a:lnTo>
                        <a:pt x="3139" y="238"/>
                      </a:lnTo>
                      <a:lnTo>
                        <a:pt x="2989" y="273"/>
                      </a:lnTo>
                      <a:lnTo>
                        <a:pt x="2830" y="247"/>
                      </a:lnTo>
                      <a:lnTo>
                        <a:pt x="2751" y="159"/>
                      </a:lnTo>
                      <a:lnTo>
                        <a:pt x="2654" y="141"/>
                      </a:lnTo>
                      <a:lnTo>
                        <a:pt x="2478" y="150"/>
                      </a:lnTo>
                      <a:lnTo>
                        <a:pt x="235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9" name="Google Shape;3137;p54">
                  <a:extLst>
                    <a:ext uri="{FF2B5EF4-FFF2-40B4-BE49-F238E27FC236}">
                      <a16:creationId xmlns:a16="http://schemas.microsoft.com/office/drawing/2014/main" id="{F04C87BF-CBF5-6ED1-CA0B-F39DBE12A19F}"/>
                    </a:ext>
                  </a:extLst>
                </p:cNvPr>
                <p:cNvSpPr/>
                <p:nvPr/>
              </p:nvSpPr>
              <p:spPr>
                <a:xfrm>
                  <a:off x="5462528" y="1684564"/>
                  <a:ext cx="482007" cy="390440"/>
                </a:xfrm>
                <a:custGeom>
                  <a:avLst/>
                  <a:gdLst/>
                  <a:ahLst/>
                  <a:cxnLst/>
                  <a:rect l="l" t="t" r="r" b="b"/>
                  <a:pathLst>
                    <a:path w="6780" h="5492" extrusionOk="0">
                      <a:moveTo>
                        <a:pt x="265" y="0"/>
                      </a:moveTo>
                      <a:lnTo>
                        <a:pt x="309" y="177"/>
                      </a:lnTo>
                      <a:lnTo>
                        <a:pt x="239" y="326"/>
                      </a:lnTo>
                      <a:lnTo>
                        <a:pt x="142" y="450"/>
                      </a:lnTo>
                      <a:lnTo>
                        <a:pt x="80" y="635"/>
                      </a:lnTo>
                      <a:lnTo>
                        <a:pt x="71" y="1252"/>
                      </a:lnTo>
                      <a:lnTo>
                        <a:pt x="1" y="1649"/>
                      </a:lnTo>
                      <a:lnTo>
                        <a:pt x="45" y="1816"/>
                      </a:lnTo>
                      <a:lnTo>
                        <a:pt x="230" y="2222"/>
                      </a:lnTo>
                      <a:lnTo>
                        <a:pt x="353" y="2442"/>
                      </a:lnTo>
                      <a:lnTo>
                        <a:pt x="503" y="2539"/>
                      </a:lnTo>
                      <a:lnTo>
                        <a:pt x="1270" y="2671"/>
                      </a:lnTo>
                      <a:lnTo>
                        <a:pt x="1623" y="2874"/>
                      </a:lnTo>
                      <a:lnTo>
                        <a:pt x="1781" y="2909"/>
                      </a:lnTo>
                      <a:lnTo>
                        <a:pt x="1861" y="2944"/>
                      </a:lnTo>
                      <a:lnTo>
                        <a:pt x="1975" y="3218"/>
                      </a:lnTo>
                      <a:lnTo>
                        <a:pt x="1975" y="3447"/>
                      </a:lnTo>
                      <a:lnTo>
                        <a:pt x="1869" y="3888"/>
                      </a:lnTo>
                      <a:lnTo>
                        <a:pt x="1473" y="4496"/>
                      </a:lnTo>
                      <a:lnTo>
                        <a:pt x="1429" y="4646"/>
                      </a:lnTo>
                      <a:lnTo>
                        <a:pt x="1420" y="4804"/>
                      </a:lnTo>
                      <a:lnTo>
                        <a:pt x="1367" y="5219"/>
                      </a:lnTo>
                      <a:lnTo>
                        <a:pt x="1411" y="5236"/>
                      </a:lnTo>
                      <a:lnTo>
                        <a:pt x="1446" y="5360"/>
                      </a:lnTo>
                      <a:lnTo>
                        <a:pt x="1535" y="5421"/>
                      </a:lnTo>
                      <a:lnTo>
                        <a:pt x="1746" y="5439"/>
                      </a:lnTo>
                      <a:lnTo>
                        <a:pt x="1984" y="5421"/>
                      </a:lnTo>
                      <a:lnTo>
                        <a:pt x="2213" y="5492"/>
                      </a:lnTo>
                      <a:lnTo>
                        <a:pt x="2398" y="5104"/>
                      </a:lnTo>
                      <a:lnTo>
                        <a:pt x="2539" y="4954"/>
                      </a:lnTo>
                      <a:lnTo>
                        <a:pt x="2786" y="4848"/>
                      </a:lnTo>
                      <a:lnTo>
                        <a:pt x="2874" y="4831"/>
                      </a:lnTo>
                      <a:lnTo>
                        <a:pt x="3033" y="4752"/>
                      </a:lnTo>
                      <a:lnTo>
                        <a:pt x="3174" y="4593"/>
                      </a:lnTo>
                      <a:lnTo>
                        <a:pt x="3297" y="4417"/>
                      </a:lnTo>
                      <a:lnTo>
                        <a:pt x="3430" y="4170"/>
                      </a:lnTo>
                      <a:lnTo>
                        <a:pt x="3641" y="3711"/>
                      </a:lnTo>
                      <a:lnTo>
                        <a:pt x="3756" y="3570"/>
                      </a:lnTo>
                      <a:lnTo>
                        <a:pt x="4144" y="3535"/>
                      </a:lnTo>
                      <a:lnTo>
                        <a:pt x="4514" y="3641"/>
                      </a:lnTo>
                      <a:lnTo>
                        <a:pt x="4637" y="3738"/>
                      </a:lnTo>
                      <a:lnTo>
                        <a:pt x="4770" y="3808"/>
                      </a:lnTo>
                      <a:lnTo>
                        <a:pt x="4867" y="3835"/>
                      </a:lnTo>
                      <a:lnTo>
                        <a:pt x="4964" y="3879"/>
                      </a:lnTo>
                      <a:lnTo>
                        <a:pt x="5043" y="3941"/>
                      </a:lnTo>
                      <a:lnTo>
                        <a:pt x="5122" y="3941"/>
                      </a:lnTo>
                      <a:lnTo>
                        <a:pt x="5404" y="3808"/>
                      </a:lnTo>
                      <a:lnTo>
                        <a:pt x="5792" y="3553"/>
                      </a:lnTo>
                      <a:lnTo>
                        <a:pt x="5854" y="3491"/>
                      </a:lnTo>
                      <a:lnTo>
                        <a:pt x="5898" y="3473"/>
                      </a:lnTo>
                      <a:lnTo>
                        <a:pt x="5933" y="3456"/>
                      </a:lnTo>
                      <a:lnTo>
                        <a:pt x="5960" y="3138"/>
                      </a:lnTo>
                      <a:lnTo>
                        <a:pt x="6330" y="3059"/>
                      </a:lnTo>
                      <a:lnTo>
                        <a:pt x="6541" y="2768"/>
                      </a:lnTo>
                      <a:lnTo>
                        <a:pt x="6541" y="2539"/>
                      </a:lnTo>
                      <a:lnTo>
                        <a:pt x="6621" y="2336"/>
                      </a:lnTo>
                      <a:lnTo>
                        <a:pt x="6779" y="2098"/>
                      </a:lnTo>
                      <a:lnTo>
                        <a:pt x="6691" y="1851"/>
                      </a:lnTo>
                      <a:lnTo>
                        <a:pt x="6612" y="1825"/>
                      </a:lnTo>
                      <a:lnTo>
                        <a:pt x="6541" y="1772"/>
                      </a:lnTo>
                      <a:lnTo>
                        <a:pt x="6444" y="1675"/>
                      </a:lnTo>
                      <a:lnTo>
                        <a:pt x="6392" y="1569"/>
                      </a:lnTo>
                      <a:lnTo>
                        <a:pt x="6453" y="1490"/>
                      </a:lnTo>
                      <a:lnTo>
                        <a:pt x="6453" y="1446"/>
                      </a:lnTo>
                      <a:lnTo>
                        <a:pt x="6418" y="1446"/>
                      </a:lnTo>
                      <a:lnTo>
                        <a:pt x="6418" y="1402"/>
                      </a:lnTo>
                      <a:lnTo>
                        <a:pt x="6550" y="1331"/>
                      </a:lnTo>
                      <a:lnTo>
                        <a:pt x="6048" y="970"/>
                      </a:lnTo>
                      <a:lnTo>
                        <a:pt x="5977" y="838"/>
                      </a:lnTo>
                      <a:lnTo>
                        <a:pt x="5916" y="697"/>
                      </a:lnTo>
                      <a:lnTo>
                        <a:pt x="5783" y="556"/>
                      </a:lnTo>
                      <a:lnTo>
                        <a:pt x="5616" y="494"/>
                      </a:lnTo>
                      <a:lnTo>
                        <a:pt x="5431" y="608"/>
                      </a:lnTo>
                      <a:lnTo>
                        <a:pt x="5351" y="891"/>
                      </a:lnTo>
                      <a:lnTo>
                        <a:pt x="5210" y="1146"/>
                      </a:lnTo>
                      <a:lnTo>
                        <a:pt x="4999" y="1278"/>
                      </a:lnTo>
                      <a:lnTo>
                        <a:pt x="4831" y="1428"/>
                      </a:lnTo>
                      <a:lnTo>
                        <a:pt x="4637" y="1472"/>
                      </a:lnTo>
                      <a:lnTo>
                        <a:pt x="4276" y="1296"/>
                      </a:lnTo>
                      <a:lnTo>
                        <a:pt x="3659" y="1287"/>
                      </a:lnTo>
                      <a:lnTo>
                        <a:pt x="3483" y="1252"/>
                      </a:lnTo>
                      <a:lnTo>
                        <a:pt x="3130" y="1278"/>
                      </a:lnTo>
                      <a:lnTo>
                        <a:pt x="2971" y="1234"/>
                      </a:lnTo>
                      <a:lnTo>
                        <a:pt x="2813" y="961"/>
                      </a:lnTo>
                      <a:lnTo>
                        <a:pt x="2143" y="441"/>
                      </a:lnTo>
                      <a:lnTo>
                        <a:pt x="1993" y="353"/>
                      </a:lnTo>
                      <a:lnTo>
                        <a:pt x="1711" y="406"/>
                      </a:lnTo>
                      <a:lnTo>
                        <a:pt x="265"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0" name="Google Shape;3138;p54">
                  <a:extLst>
                    <a:ext uri="{FF2B5EF4-FFF2-40B4-BE49-F238E27FC236}">
                      <a16:creationId xmlns:a16="http://schemas.microsoft.com/office/drawing/2014/main" id="{3BF2686E-2573-350E-35A2-6C5EF8D98FE5}"/>
                    </a:ext>
                  </a:extLst>
                </p:cNvPr>
                <p:cNvSpPr/>
                <p:nvPr/>
              </p:nvSpPr>
              <p:spPr>
                <a:xfrm>
                  <a:off x="3360604" y="2189054"/>
                  <a:ext cx="588504" cy="518975"/>
                </a:xfrm>
                <a:custGeom>
                  <a:avLst/>
                  <a:gdLst/>
                  <a:ahLst/>
                  <a:cxnLst/>
                  <a:rect l="l" t="t" r="r" b="b"/>
                  <a:pathLst>
                    <a:path w="8278" h="7300" extrusionOk="0">
                      <a:moveTo>
                        <a:pt x="3676" y="0"/>
                      </a:moveTo>
                      <a:lnTo>
                        <a:pt x="3438" y="168"/>
                      </a:lnTo>
                      <a:lnTo>
                        <a:pt x="3341" y="529"/>
                      </a:lnTo>
                      <a:lnTo>
                        <a:pt x="3297" y="670"/>
                      </a:lnTo>
                      <a:lnTo>
                        <a:pt x="3200" y="767"/>
                      </a:lnTo>
                      <a:lnTo>
                        <a:pt x="3068" y="1252"/>
                      </a:lnTo>
                      <a:lnTo>
                        <a:pt x="2857" y="1411"/>
                      </a:lnTo>
                      <a:lnTo>
                        <a:pt x="2760" y="1684"/>
                      </a:lnTo>
                      <a:lnTo>
                        <a:pt x="2724" y="2081"/>
                      </a:lnTo>
                      <a:lnTo>
                        <a:pt x="2469" y="2248"/>
                      </a:lnTo>
                      <a:lnTo>
                        <a:pt x="2143" y="2248"/>
                      </a:lnTo>
                      <a:lnTo>
                        <a:pt x="1816" y="2213"/>
                      </a:lnTo>
                      <a:lnTo>
                        <a:pt x="1605" y="2160"/>
                      </a:lnTo>
                      <a:lnTo>
                        <a:pt x="1437" y="2019"/>
                      </a:lnTo>
                      <a:lnTo>
                        <a:pt x="1340" y="2195"/>
                      </a:lnTo>
                      <a:lnTo>
                        <a:pt x="1314" y="2319"/>
                      </a:lnTo>
                      <a:lnTo>
                        <a:pt x="1314" y="2433"/>
                      </a:lnTo>
                      <a:lnTo>
                        <a:pt x="1279" y="2504"/>
                      </a:lnTo>
                      <a:lnTo>
                        <a:pt x="1226" y="2557"/>
                      </a:lnTo>
                      <a:lnTo>
                        <a:pt x="1164" y="2733"/>
                      </a:lnTo>
                      <a:lnTo>
                        <a:pt x="1102" y="3156"/>
                      </a:lnTo>
                      <a:lnTo>
                        <a:pt x="997" y="3341"/>
                      </a:lnTo>
                      <a:lnTo>
                        <a:pt x="891" y="3473"/>
                      </a:lnTo>
                      <a:lnTo>
                        <a:pt x="847" y="3553"/>
                      </a:lnTo>
                      <a:lnTo>
                        <a:pt x="715" y="3817"/>
                      </a:lnTo>
                      <a:lnTo>
                        <a:pt x="556" y="3923"/>
                      </a:lnTo>
                      <a:lnTo>
                        <a:pt x="221" y="4038"/>
                      </a:lnTo>
                      <a:lnTo>
                        <a:pt x="36" y="4126"/>
                      </a:lnTo>
                      <a:lnTo>
                        <a:pt x="1" y="4337"/>
                      </a:lnTo>
                      <a:lnTo>
                        <a:pt x="27" y="4408"/>
                      </a:lnTo>
                      <a:lnTo>
                        <a:pt x="36" y="4558"/>
                      </a:lnTo>
                      <a:lnTo>
                        <a:pt x="9" y="4619"/>
                      </a:lnTo>
                      <a:lnTo>
                        <a:pt x="239" y="4875"/>
                      </a:lnTo>
                      <a:lnTo>
                        <a:pt x="336" y="4954"/>
                      </a:lnTo>
                      <a:lnTo>
                        <a:pt x="1032" y="5104"/>
                      </a:lnTo>
                      <a:lnTo>
                        <a:pt x="1164" y="5201"/>
                      </a:lnTo>
                      <a:lnTo>
                        <a:pt x="1464" y="5660"/>
                      </a:lnTo>
                      <a:lnTo>
                        <a:pt x="1508" y="5757"/>
                      </a:lnTo>
                      <a:lnTo>
                        <a:pt x="1543" y="5862"/>
                      </a:lnTo>
                      <a:lnTo>
                        <a:pt x="1499" y="6233"/>
                      </a:lnTo>
                      <a:lnTo>
                        <a:pt x="1658" y="6506"/>
                      </a:lnTo>
                      <a:lnTo>
                        <a:pt x="1755" y="6788"/>
                      </a:lnTo>
                      <a:lnTo>
                        <a:pt x="1737" y="7158"/>
                      </a:lnTo>
                      <a:lnTo>
                        <a:pt x="1984" y="6938"/>
                      </a:lnTo>
                      <a:lnTo>
                        <a:pt x="2257" y="6947"/>
                      </a:lnTo>
                      <a:lnTo>
                        <a:pt x="2548" y="7123"/>
                      </a:lnTo>
                      <a:lnTo>
                        <a:pt x="2857" y="7167"/>
                      </a:lnTo>
                      <a:lnTo>
                        <a:pt x="3192" y="7149"/>
                      </a:lnTo>
                      <a:lnTo>
                        <a:pt x="3773" y="6982"/>
                      </a:lnTo>
                      <a:lnTo>
                        <a:pt x="4038" y="6964"/>
                      </a:lnTo>
                      <a:lnTo>
                        <a:pt x="4152" y="6691"/>
                      </a:lnTo>
                      <a:lnTo>
                        <a:pt x="4232" y="6356"/>
                      </a:lnTo>
                      <a:lnTo>
                        <a:pt x="4355" y="6285"/>
                      </a:lnTo>
                      <a:lnTo>
                        <a:pt x="4479" y="6250"/>
                      </a:lnTo>
                      <a:lnTo>
                        <a:pt x="4778" y="6241"/>
                      </a:lnTo>
                      <a:lnTo>
                        <a:pt x="5351" y="6374"/>
                      </a:lnTo>
                      <a:lnTo>
                        <a:pt x="5492" y="6435"/>
                      </a:lnTo>
                      <a:lnTo>
                        <a:pt x="5704" y="6682"/>
                      </a:lnTo>
                      <a:lnTo>
                        <a:pt x="5704" y="7299"/>
                      </a:lnTo>
                      <a:lnTo>
                        <a:pt x="6665" y="6717"/>
                      </a:lnTo>
                      <a:lnTo>
                        <a:pt x="6797" y="6550"/>
                      </a:lnTo>
                      <a:lnTo>
                        <a:pt x="6991" y="6233"/>
                      </a:lnTo>
                      <a:lnTo>
                        <a:pt x="7114" y="5836"/>
                      </a:lnTo>
                      <a:lnTo>
                        <a:pt x="7238" y="5580"/>
                      </a:lnTo>
                      <a:lnTo>
                        <a:pt x="7308" y="5316"/>
                      </a:lnTo>
                      <a:lnTo>
                        <a:pt x="7396" y="5069"/>
                      </a:lnTo>
                      <a:lnTo>
                        <a:pt x="7952" y="4822"/>
                      </a:lnTo>
                      <a:lnTo>
                        <a:pt x="8278" y="4320"/>
                      </a:lnTo>
                      <a:lnTo>
                        <a:pt x="8190" y="3941"/>
                      </a:lnTo>
                      <a:lnTo>
                        <a:pt x="7722" y="3324"/>
                      </a:lnTo>
                      <a:lnTo>
                        <a:pt x="7670" y="2865"/>
                      </a:lnTo>
                      <a:lnTo>
                        <a:pt x="7546" y="2504"/>
                      </a:lnTo>
                      <a:lnTo>
                        <a:pt x="7035" y="2010"/>
                      </a:lnTo>
                      <a:lnTo>
                        <a:pt x="6859" y="1719"/>
                      </a:lnTo>
                      <a:lnTo>
                        <a:pt x="6682" y="1763"/>
                      </a:lnTo>
                      <a:lnTo>
                        <a:pt x="6338" y="1807"/>
                      </a:lnTo>
                      <a:lnTo>
                        <a:pt x="5968" y="1913"/>
                      </a:lnTo>
                      <a:lnTo>
                        <a:pt x="5765" y="1860"/>
                      </a:lnTo>
                      <a:lnTo>
                        <a:pt x="5254" y="1490"/>
                      </a:lnTo>
                      <a:lnTo>
                        <a:pt x="5096" y="1420"/>
                      </a:lnTo>
                      <a:lnTo>
                        <a:pt x="4910" y="1296"/>
                      </a:lnTo>
                      <a:lnTo>
                        <a:pt x="4831" y="1208"/>
                      </a:lnTo>
                      <a:lnTo>
                        <a:pt x="4672" y="882"/>
                      </a:lnTo>
                      <a:lnTo>
                        <a:pt x="4655" y="626"/>
                      </a:lnTo>
                      <a:lnTo>
                        <a:pt x="4725" y="106"/>
                      </a:lnTo>
                      <a:lnTo>
                        <a:pt x="4584" y="124"/>
                      </a:lnTo>
                      <a:lnTo>
                        <a:pt x="4452" y="194"/>
                      </a:lnTo>
                      <a:lnTo>
                        <a:pt x="4302" y="212"/>
                      </a:lnTo>
                      <a:lnTo>
                        <a:pt x="4161" y="194"/>
                      </a:lnTo>
                      <a:lnTo>
                        <a:pt x="3676"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1" name="Google Shape;3139;p54">
                  <a:extLst>
                    <a:ext uri="{FF2B5EF4-FFF2-40B4-BE49-F238E27FC236}">
                      <a16:creationId xmlns:a16="http://schemas.microsoft.com/office/drawing/2014/main" id="{DE90916E-0626-4AD6-B450-FAB08FF63DA7}"/>
                    </a:ext>
                  </a:extLst>
                </p:cNvPr>
                <p:cNvSpPr/>
                <p:nvPr/>
              </p:nvSpPr>
              <p:spPr>
                <a:xfrm>
                  <a:off x="4216659" y="2489217"/>
                  <a:ext cx="1074847" cy="1066032"/>
                </a:xfrm>
                <a:custGeom>
                  <a:avLst/>
                  <a:gdLst/>
                  <a:ahLst/>
                  <a:cxnLst/>
                  <a:rect l="l" t="t" r="r" b="b"/>
                  <a:pathLst>
                    <a:path w="15119" h="14995" extrusionOk="0">
                      <a:moveTo>
                        <a:pt x="8392" y="1"/>
                      </a:moveTo>
                      <a:lnTo>
                        <a:pt x="8304" y="124"/>
                      </a:lnTo>
                      <a:lnTo>
                        <a:pt x="8251" y="283"/>
                      </a:lnTo>
                      <a:lnTo>
                        <a:pt x="8207" y="591"/>
                      </a:lnTo>
                      <a:lnTo>
                        <a:pt x="8146" y="706"/>
                      </a:lnTo>
                      <a:lnTo>
                        <a:pt x="7943" y="671"/>
                      </a:lnTo>
                      <a:lnTo>
                        <a:pt x="7670" y="468"/>
                      </a:lnTo>
                      <a:lnTo>
                        <a:pt x="7449" y="389"/>
                      </a:lnTo>
                      <a:lnTo>
                        <a:pt x="6973" y="785"/>
                      </a:lnTo>
                      <a:lnTo>
                        <a:pt x="6806" y="1006"/>
                      </a:lnTo>
                      <a:lnTo>
                        <a:pt x="6594" y="1129"/>
                      </a:lnTo>
                      <a:lnTo>
                        <a:pt x="6250" y="979"/>
                      </a:lnTo>
                      <a:lnTo>
                        <a:pt x="5960" y="1120"/>
                      </a:lnTo>
                      <a:lnTo>
                        <a:pt x="5677" y="1349"/>
                      </a:lnTo>
                      <a:lnTo>
                        <a:pt x="5484" y="1332"/>
                      </a:lnTo>
                      <a:lnTo>
                        <a:pt x="5316" y="1173"/>
                      </a:lnTo>
                      <a:lnTo>
                        <a:pt x="5166" y="1085"/>
                      </a:lnTo>
                      <a:lnTo>
                        <a:pt x="4770" y="953"/>
                      </a:lnTo>
                      <a:lnTo>
                        <a:pt x="4540" y="979"/>
                      </a:lnTo>
                      <a:lnTo>
                        <a:pt x="4047" y="1129"/>
                      </a:lnTo>
                      <a:lnTo>
                        <a:pt x="3879" y="1067"/>
                      </a:lnTo>
                      <a:lnTo>
                        <a:pt x="3218" y="512"/>
                      </a:lnTo>
                      <a:lnTo>
                        <a:pt x="3015" y="397"/>
                      </a:lnTo>
                      <a:lnTo>
                        <a:pt x="2821" y="309"/>
                      </a:lnTo>
                      <a:lnTo>
                        <a:pt x="2804" y="486"/>
                      </a:lnTo>
                      <a:lnTo>
                        <a:pt x="2769" y="653"/>
                      </a:lnTo>
                      <a:lnTo>
                        <a:pt x="2698" y="750"/>
                      </a:lnTo>
                      <a:lnTo>
                        <a:pt x="2337" y="812"/>
                      </a:lnTo>
                      <a:lnTo>
                        <a:pt x="2055" y="776"/>
                      </a:lnTo>
                      <a:lnTo>
                        <a:pt x="2002" y="1173"/>
                      </a:lnTo>
                      <a:lnTo>
                        <a:pt x="1975" y="1252"/>
                      </a:lnTo>
                      <a:lnTo>
                        <a:pt x="1949" y="1332"/>
                      </a:lnTo>
                      <a:lnTo>
                        <a:pt x="2090" y="1473"/>
                      </a:lnTo>
                      <a:lnTo>
                        <a:pt x="2178" y="1526"/>
                      </a:lnTo>
                      <a:lnTo>
                        <a:pt x="2134" y="1764"/>
                      </a:lnTo>
                      <a:lnTo>
                        <a:pt x="1781" y="2354"/>
                      </a:lnTo>
                      <a:lnTo>
                        <a:pt x="1640" y="2628"/>
                      </a:lnTo>
                      <a:lnTo>
                        <a:pt x="1570" y="2945"/>
                      </a:lnTo>
                      <a:lnTo>
                        <a:pt x="1579" y="3068"/>
                      </a:lnTo>
                      <a:lnTo>
                        <a:pt x="1596" y="3183"/>
                      </a:lnTo>
                      <a:lnTo>
                        <a:pt x="1579" y="3315"/>
                      </a:lnTo>
                      <a:lnTo>
                        <a:pt x="1173" y="3844"/>
                      </a:lnTo>
                      <a:lnTo>
                        <a:pt x="820" y="4223"/>
                      </a:lnTo>
                      <a:lnTo>
                        <a:pt x="1" y="4761"/>
                      </a:lnTo>
                      <a:lnTo>
                        <a:pt x="133" y="5193"/>
                      </a:lnTo>
                      <a:lnTo>
                        <a:pt x="494" y="5492"/>
                      </a:lnTo>
                      <a:lnTo>
                        <a:pt x="776" y="5854"/>
                      </a:lnTo>
                      <a:lnTo>
                        <a:pt x="1103" y="6127"/>
                      </a:lnTo>
                      <a:lnTo>
                        <a:pt x="1261" y="6189"/>
                      </a:lnTo>
                      <a:lnTo>
                        <a:pt x="1367" y="6347"/>
                      </a:lnTo>
                      <a:lnTo>
                        <a:pt x="1702" y="6638"/>
                      </a:lnTo>
                      <a:lnTo>
                        <a:pt x="1667" y="6832"/>
                      </a:lnTo>
                      <a:lnTo>
                        <a:pt x="1367" y="7026"/>
                      </a:lnTo>
                      <a:lnTo>
                        <a:pt x="1050" y="7150"/>
                      </a:lnTo>
                      <a:lnTo>
                        <a:pt x="900" y="7247"/>
                      </a:lnTo>
                      <a:lnTo>
                        <a:pt x="794" y="7626"/>
                      </a:lnTo>
                      <a:lnTo>
                        <a:pt x="900" y="8084"/>
                      </a:lnTo>
                      <a:lnTo>
                        <a:pt x="909" y="8551"/>
                      </a:lnTo>
                      <a:lnTo>
                        <a:pt x="724" y="8851"/>
                      </a:lnTo>
                      <a:lnTo>
                        <a:pt x="697" y="9133"/>
                      </a:lnTo>
                      <a:lnTo>
                        <a:pt x="547" y="9318"/>
                      </a:lnTo>
                      <a:lnTo>
                        <a:pt x="344" y="9380"/>
                      </a:lnTo>
                      <a:lnTo>
                        <a:pt x="353" y="9583"/>
                      </a:lnTo>
                      <a:lnTo>
                        <a:pt x="459" y="9759"/>
                      </a:lnTo>
                      <a:lnTo>
                        <a:pt x="530" y="9970"/>
                      </a:lnTo>
                      <a:lnTo>
                        <a:pt x="486" y="10323"/>
                      </a:lnTo>
                      <a:lnTo>
                        <a:pt x="362" y="10649"/>
                      </a:lnTo>
                      <a:lnTo>
                        <a:pt x="459" y="10781"/>
                      </a:lnTo>
                      <a:lnTo>
                        <a:pt x="565" y="10896"/>
                      </a:lnTo>
                      <a:lnTo>
                        <a:pt x="750" y="11037"/>
                      </a:lnTo>
                      <a:lnTo>
                        <a:pt x="953" y="11116"/>
                      </a:lnTo>
                      <a:lnTo>
                        <a:pt x="1411" y="11125"/>
                      </a:lnTo>
                      <a:lnTo>
                        <a:pt x="2601" y="11372"/>
                      </a:lnTo>
                      <a:lnTo>
                        <a:pt x="2989" y="11619"/>
                      </a:lnTo>
                      <a:lnTo>
                        <a:pt x="3289" y="11901"/>
                      </a:lnTo>
                      <a:lnTo>
                        <a:pt x="3615" y="12121"/>
                      </a:lnTo>
                      <a:lnTo>
                        <a:pt x="3844" y="12368"/>
                      </a:lnTo>
                      <a:lnTo>
                        <a:pt x="4056" y="12659"/>
                      </a:lnTo>
                      <a:lnTo>
                        <a:pt x="4179" y="12791"/>
                      </a:lnTo>
                      <a:lnTo>
                        <a:pt x="4320" y="12888"/>
                      </a:lnTo>
                      <a:lnTo>
                        <a:pt x="4637" y="13179"/>
                      </a:lnTo>
                      <a:lnTo>
                        <a:pt x="4814" y="13258"/>
                      </a:lnTo>
                      <a:lnTo>
                        <a:pt x="4963" y="13347"/>
                      </a:lnTo>
                      <a:lnTo>
                        <a:pt x="4981" y="13523"/>
                      </a:lnTo>
                      <a:lnTo>
                        <a:pt x="4858" y="13620"/>
                      </a:lnTo>
                      <a:lnTo>
                        <a:pt x="4805" y="13796"/>
                      </a:lnTo>
                      <a:lnTo>
                        <a:pt x="4875" y="13955"/>
                      </a:lnTo>
                      <a:lnTo>
                        <a:pt x="5078" y="14025"/>
                      </a:lnTo>
                      <a:lnTo>
                        <a:pt x="5290" y="14043"/>
                      </a:lnTo>
                      <a:lnTo>
                        <a:pt x="5439" y="14078"/>
                      </a:lnTo>
                      <a:lnTo>
                        <a:pt x="5536" y="14219"/>
                      </a:lnTo>
                      <a:lnTo>
                        <a:pt x="5607" y="14607"/>
                      </a:lnTo>
                      <a:lnTo>
                        <a:pt x="5581" y="14995"/>
                      </a:lnTo>
                      <a:lnTo>
                        <a:pt x="6101" y="14598"/>
                      </a:lnTo>
                      <a:lnTo>
                        <a:pt x="6762" y="13946"/>
                      </a:lnTo>
                      <a:lnTo>
                        <a:pt x="6903" y="13726"/>
                      </a:lnTo>
                      <a:lnTo>
                        <a:pt x="6920" y="13549"/>
                      </a:lnTo>
                      <a:lnTo>
                        <a:pt x="6850" y="13399"/>
                      </a:lnTo>
                      <a:lnTo>
                        <a:pt x="6568" y="13373"/>
                      </a:lnTo>
                      <a:lnTo>
                        <a:pt x="6286" y="13241"/>
                      </a:lnTo>
                      <a:lnTo>
                        <a:pt x="6259" y="13038"/>
                      </a:lnTo>
                      <a:lnTo>
                        <a:pt x="6374" y="12650"/>
                      </a:lnTo>
                      <a:lnTo>
                        <a:pt x="6815" y="12086"/>
                      </a:lnTo>
                      <a:lnTo>
                        <a:pt x="7370" y="11310"/>
                      </a:lnTo>
                      <a:lnTo>
                        <a:pt x="7916" y="10702"/>
                      </a:lnTo>
                      <a:lnTo>
                        <a:pt x="8163" y="10438"/>
                      </a:lnTo>
                      <a:lnTo>
                        <a:pt x="8595" y="10261"/>
                      </a:lnTo>
                      <a:lnTo>
                        <a:pt x="9300" y="10173"/>
                      </a:lnTo>
                      <a:lnTo>
                        <a:pt x="10014" y="10129"/>
                      </a:lnTo>
                      <a:lnTo>
                        <a:pt x="10482" y="9953"/>
                      </a:lnTo>
                      <a:lnTo>
                        <a:pt x="10711" y="9644"/>
                      </a:lnTo>
                      <a:lnTo>
                        <a:pt x="10852" y="9468"/>
                      </a:lnTo>
                      <a:lnTo>
                        <a:pt x="11063" y="9336"/>
                      </a:lnTo>
                      <a:lnTo>
                        <a:pt x="11522" y="9353"/>
                      </a:lnTo>
                      <a:lnTo>
                        <a:pt x="11707" y="9424"/>
                      </a:lnTo>
                      <a:lnTo>
                        <a:pt x="11742" y="9706"/>
                      </a:lnTo>
                      <a:lnTo>
                        <a:pt x="11725" y="9794"/>
                      </a:lnTo>
                      <a:lnTo>
                        <a:pt x="11830" y="10173"/>
                      </a:lnTo>
                      <a:lnTo>
                        <a:pt x="12359" y="10746"/>
                      </a:lnTo>
                      <a:lnTo>
                        <a:pt x="12729" y="11152"/>
                      </a:lnTo>
                      <a:lnTo>
                        <a:pt x="13003" y="11443"/>
                      </a:lnTo>
                      <a:lnTo>
                        <a:pt x="13320" y="11971"/>
                      </a:lnTo>
                      <a:lnTo>
                        <a:pt x="13426" y="12201"/>
                      </a:lnTo>
                      <a:lnTo>
                        <a:pt x="13584" y="12016"/>
                      </a:lnTo>
                      <a:lnTo>
                        <a:pt x="13717" y="11936"/>
                      </a:lnTo>
                      <a:lnTo>
                        <a:pt x="14122" y="11795"/>
                      </a:lnTo>
                      <a:lnTo>
                        <a:pt x="14378" y="11663"/>
                      </a:lnTo>
                      <a:lnTo>
                        <a:pt x="14589" y="11460"/>
                      </a:lnTo>
                      <a:lnTo>
                        <a:pt x="14730" y="11390"/>
                      </a:lnTo>
                      <a:lnTo>
                        <a:pt x="14977" y="11310"/>
                      </a:lnTo>
                      <a:lnTo>
                        <a:pt x="15057" y="11240"/>
                      </a:lnTo>
                      <a:lnTo>
                        <a:pt x="15118" y="11055"/>
                      </a:lnTo>
                      <a:lnTo>
                        <a:pt x="15004" y="10808"/>
                      </a:lnTo>
                      <a:lnTo>
                        <a:pt x="14836" y="10614"/>
                      </a:lnTo>
                      <a:lnTo>
                        <a:pt x="14722" y="10526"/>
                      </a:lnTo>
                      <a:lnTo>
                        <a:pt x="14545" y="10270"/>
                      </a:lnTo>
                      <a:lnTo>
                        <a:pt x="14545" y="10103"/>
                      </a:lnTo>
                      <a:lnTo>
                        <a:pt x="14563" y="9838"/>
                      </a:lnTo>
                      <a:lnTo>
                        <a:pt x="14642" y="9680"/>
                      </a:lnTo>
                      <a:lnTo>
                        <a:pt x="14748" y="9556"/>
                      </a:lnTo>
                      <a:lnTo>
                        <a:pt x="14854" y="9256"/>
                      </a:lnTo>
                      <a:lnTo>
                        <a:pt x="14801" y="8921"/>
                      </a:lnTo>
                      <a:lnTo>
                        <a:pt x="14651" y="8710"/>
                      </a:lnTo>
                      <a:lnTo>
                        <a:pt x="14466" y="8534"/>
                      </a:lnTo>
                      <a:lnTo>
                        <a:pt x="14307" y="8243"/>
                      </a:lnTo>
                      <a:lnTo>
                        <a:pt x="14131" y="7996"/>
                      </a:lnTo>
                      <a:lnTo>
                        <a:pt x="13919" y="7872"/>
                      </a:lnTo>
                      <a:lnTo>
                        <a:pt x="13699" y="7784"/>
                      </a:lnTo>
                      <a:lnTo>
                        <a:pt x="13540" y="7546"/>
                      </a:lnTo>
                      <a:lnTo>
                        <a:pt x="13479" y="7247"/>
                      </a:lnTo>
                      <a:lnTo>
                        <a:pt x="13135" y="7185"/>
                      </a:lnTo>
                      <a:lnTo>
                        <a:pt x="12782" y="7273"/>
                      </a:lnTo>
                      <a:lnTo>
                        <a:pt x="12421" y="7414"/>
                      </a:lnTo>
                      <a:lnTo>
                        <a:pt x="12059" y="7511"/>
                      </a:lnTo>
                      <a:lnTo>
                        <a:pt x="11689" y="7493"/>
                      </a:lnTo>
                      <a:lnTo>
                        <a:pt x="10966" y="7538"/>
                      </a:lnTo>
                      <a:lnTo>
                        <a:pt x="10420" y="7661"/>
                      </a:lnTo>
                      <a:lnTo>
                        <a:pt x="10217" y="7652"/>
                      </a:lnTo>
                      <a:lnTo>
                        <a:pt x="10023" y="7476"/>
                      </a:lnTo>
                      <a:lnTo>
                        <a:pt x="9715" y="7088"/>
                      </a:lnTo>
                      <a:lnTo>
                        <a:pt x="9644" y="6859"/>
                      </a:lnTo>
                      <a:lnTo>
                        <a:pt x="9609" y="6621"/>
                      </a:lnTo>
                      <a:lnTo>
                        <a:pt x="9556" y="6550"/>
                      </a:lnTo>
                      <a:lnTo>
                        <a:pt x="9494" y="6506"/>
                      </a:lnTo>
                      <a:lnTo>
                        <a:pt x="9327" y="6057"/>
                      </a:lnTo>
                      <a:lnTo>
                        <a:pt x="9362" y="5572"/>
                      </a:lnTo>
                      <a:lnTo>
                        <a:pt x="9433" y="5369"/>
                      </a:lnTo>
                      <a:lnTo>
                        <a:pt x="9459" y="5149"/>
                      </a:lnTo>
                      <a:lnTo>
                        <a:pt x="9574" y="4840"/>
                      </a:lnTo>
                      <a:lnTo>
                        <a:pt x="9741" y="4584"/>
                      </a:lnTo>
                      <a:lnTo>
                        <a:pt x="9803" y="4117"/>
                      </a:lnTo>
                      <a:lnTo>
                        <a:pt x="9909" y="3923"/>
                      </a:lnTo>
                      <a:lnTo>
                        <a:pt x="10173" y="3615"/>
                      </a:lnTo>
                      <a:lnTo>
                        <a:pt x="10261" y="3456"/>
                      </a:lnTo>
                      <a:lnTo>
                        <a:pt x="10164" y="3218"/>
                      </a:lnTo>
                      <a:lnTo>
                        <a:pt x="10014" y="2998"/>
                      </a:lnTo>
                      <a:lnTo>
                        <a:pt x="9900" y="2777"/>
                      </a:lnTo>
                      <a:lnTo>
                        <a:pt x="9794" y="2531"/>
                      </a:lnTo>
                      <a:lnTo>
                        <a:pt x="9785" y="2187"/>
                      </a:lnTo>
                      <a:lnTo>
                        <a:pt x="9838" y="1843"/>
                      </a:lnTo>
                      <a:lnTo>
                        <a:pt x="9856" y="1517"/>
                      </a:lnTo>
                      <a:lnTo>
                        <a:pt x="9838" y="1200"/>
                      </a:lnTo>
                      <a:lnTo>
                        <a:pt x="9582" y="618"/>
                      </a:lnTo>
                      <a:lnTo>
                        <a:pt x="9133" y="283"/>
                      </a:lnTo>
                      <a:lnTo>
                        <a:pt x="8868" y="203"/>
                      </a:lnTo>
                      <a:lnTo>
                        <a:pt x="8789" y="151"/>
                      </a:lnTo>
                      <a:lnTo>
                        <a:pt x="858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2" name="Google Shape;3140;p54">
                  <a:extLst>
                    <a:ext uri="{FF2B5EF4-FFF2-40B4-BE49-F238E27FC236}">
                      <a16:creationId xmlns:a16="http://schemas.microsoft.com/office/drawing/2014/main" id="{2A52A8F8-6F15-32BA-B701-8BB962F2B004}"/>
                    </a:ext>
                  </a:extLst>
                </p:cNvPr>
                <p:cNvSpPr/>
                <p:nvPr/>
              </p:nvSpPr>
              <p:spPr>
                <a:xfrm>
                  <a:off x="4613369" y="3152889"/>
                  <a:ext cx="557792" cy="502055"/>
                </a:xfrm>
                <a:custGeom>
                  <a:avLst/>
                  <a:gdLst/>
                  <a:ahLst/>
                  <a:cxnLst/>
                  <a:rect l="l" t="t" r="r" b="b"/>
                  <a:pathLst>
                    <a:path w="7846" h="7062" extrusionOk="0">
                      <a:moveTo>
                        <a:pt x="5483" y="1"/>
                      </a:moveTo>
                      <a:lnTo>
                        <a:pt x="5272" y="133"/>
                      </a:lnTo>
                      <a:lnTo>
                        <a:pt x="5131" y="309"/>
                      </a:lnTo>
                      <a:lnTo>
                        <a:pt x="4902" y="618"/>
                      </a:lnTo>
                      <a:lnTo>
                        <a:pt x="4434" y="794"/>
                      </a:lnTo>
                      <a:lnTo>
                        <a:pt x="3720" y="838"/>
                      </a:lnTo>
                      <a:lnTo>
                        <a:pt x="3015" y="926"/>
                      </a:lnTo>
                      <a:lnTo>
                        <a:pt x="2583" y="1103"/>
                      </a:lnTo>
                      <a:lnTo>
                        <a:pt x="2336" y="1367"/>
                      </a:lnTo>
                      <a:lnTo>
                        <a:pt x="1790" y="1975"/>
                      </a:lnTo>
                      <a:lnTo>
                        <a:pt x="1235" y="2751"/>
                      </a:lnTo>
                      <a:lnTo>
                        <a:pt x="794" y="3315"/>
                      </a:lnTo>
                      <a:lnTo>
                        <a:pt x="679" y="3703"/>
                      </a:lnTo>
                      <a:lnTo>
                        <a:pt x="706" y="3906"/>
                      </a:lnTo>
                      <a:lnTo>
                        <a:pt x="988" y="4038"/>
                      </a:lnTo>
                      <a:lnTo>
                        <a:pt x="1270" y="4064"/>
                      </a:lnTo>
                      <a:lnTo>
                        <a:pt x="1340" y="4214"/>
                      </a:lnTo>
                      <a:lnTo>
                        <a:pt x="1323" y="4391"/>
                      </a:lnTo>
                      <a:lnTo>
                        <a:pt x="1182" y="4611"/>
                      </a:lnTo>
                      <a:lnTo>
                        <a:pt x="521" y="5263"/>
                      </a:lnTo>
                      <a:lnTo>
                        <a:pt x="1" y="5660"/>
                      </a:lnTo>
                      <a:lnTo>
                        <a:pt x="159" y="6083"/>
                      </a:lnTo>
                      <a:lnTo>
                        <a:pt x="344" y="6471"/>
                      </a:lnTo>
                      <a:lnTo>
                        <a:pt x="468" y="6630"/>
                      </a:lnTo>
                      <a:lnTo>
                        <a:pt x="626" y="6735"/>
                      </a:lnTo>
                      <a:lnTo>
                        <a:pt x="812" y="6832"/>
                      </a:lnTo>
                      <a:lnTo>
                        <a:pt x="900" y="7026"/>
                      </a:lnTo>
                      <a:lnTo>
                        <a:pt x="1208" y="6982"/>
                      </a:lnTo>
                      <a:lnTo>
                        <a:pt x="1508" y="7062"/>
                      </a:lnTo>
                      <a:lnTo>
                        <a:pt x="1790" y="7053"/>
                      </a:lnTo>
                      <a:lnTo>
                        <a:pt x="2054" y="6938"/>
                      </a:lnTo>
                      <a:lnTo>
                        <a:pt x="2328" y="6868"/>
                      </a:lnTo>
                      <a:lnTo>
                        <a:pt x="2610" y="6885"/>
                      </a:lnTo>
                      <a:lnTo>
                        <a:pt x="2760" y="6859"/>
                      </a:lnTo>
                      <a:lnTo>
                        <a:pt x="2874" y="6753"/>
                      </a:lnTo>
                      <a:lnTo>
                        <a:pt x="2927" y="6542"/>
                      </a:lnTo>
                      <a:lnTo>
                        <a:pt x="2998" y="6356"/>
                      </a:lnTo>
                      <a:lnTo>
                        <a:pt x="3059" y="6330"/>
                      </a:lnTo>
                      <a:lnTo>
                        <a:pt x="3130" y="6312"/>
                      </a:lnTo>
                      <a:lnTo>
                        <a:pt x="3288" y="6400"/>
                      </a:lnTo>
                      <a:lnTo>
                        <a:pt x="3474" y="6471"/>
                      </a:lnTo>
                      <a:lnTo>
                        <a:pt x="3588" y="6312"/>
                      </a:lnTo>
                      <a:lnTo>
                        <a:pt x="3482" y="6145"/>
                      </a:lnTo>
                      <a:lnTo>
                        <a:pt x="3271" y="5977"/>
                      </a:lnTo>
                      <a:lnTo>
                        <a:pt x="3024" y="5916"/>
                      </a:lnTo>
                      <a:lnTo>
                        <a:pt x="2918" y="5836"/>
                      </a:lnTo>
                      <a:lnTo>
                        <a:pt x="2839" y="5722"/>
                      </a:lnTo>
                      <a:lnTo>
                        <a:pt x="2724" y="5669"/>
                      </a:lnTo>
                      <a:lnTo>
                        <a:pt x="2654" y="5519"/>
                      </a:lnTo>
                      <a:lnTo>
                        <a:pt x="2610" y="5343"/>
                      </a:lnTo>
                      <a:lnTo>
                        <a:pt x="2530" y="5210"/>
                      </a:lnTo>
                      <a:lnTo>
                        <a:pt x="2433" y="5096"/>
                      </a:lnTo>
                      <a:lnTo>
                        <a:pt x="2425" y="4911"/>
                      </a:lnTo>
                      <a:lnTo>
                        <a:pt x="2601" y="4875"/>
                      </a:lnTo>
                      <a:lnTo>
                        <a:pt x="2671" y="4849"/>
                      </a:lnTo>
                      <a:lnTo>
                        <a:pt x="2883" y="4717"/>
                      </a:lnTo>
                      <a:lnTo>
                        <a:pt x="3015" y="4664"/>
                      </a:lnTo>
                      <a:lnTo>
                        <a:pt x="3086" y="4699"/>
                      </a:lnTo>
                      <a:lnTo>
                        <a:pt x="3095" y="4734"/>
                      </a:lnTo>
                      <a:lnTo>
                        <a:pt x="3130" y="4805"/>
                      </a:lnTo>
                      <a:lnTo>
                        <a:pt x="3297" y="4849"/>
                      </a:lnTo>
                      <a:lnTo>
                        <a:pt x="3394" y="4682"/>
                      </a:lnTo>
                      <a:lnTo>
                        <a:pt x="3447" y="4426"/>
                      </a:lnTo>
                      <a:lnTo>
                        <a:pt x="3597" y="4250"/>
                      </a:lnTo>
                      <a:lnTo>
                        <a:pt x="3773" y="4188"/>
                      </a:lnTo>
                      <a:lnTo>
                        <a:pt x="3932" y="4082"/>
                      </a:lnTo>
                      <a:lnTo>
                        <a:pt x="4073" y="3941"/>
                      </a:lnTo>
                      <a:lnTo>
                        <a:pt x="4240" y="3844"/>
                      </a:lnTo>
                      <a:lnTo>
                        <a:pt x="4434" y="3791"/>
                      </a:lnTo>
                      <a:lnTo>
                        <a:pt x="5025" y="3730"/>
                      </a:lnTo>
                      <a:lnTo>
                        <a:pt x="5395" y="3588"/>
                      </a:lnTo>
                      <a:lnTo>
                        <a:pt x="5774" y="3553"/>
                      </a:lnTo>
                      <a:lnTo>
                        <a:pt x="5933" y="3606"/>
                      </a:lnTo>
                      <a:lnTo>
                        <a:pt x="6048" y="3588"/>
                      </a:lnTo>
                      <a:lnTo>
                        <a:pt x="6215" y="3500"/>
                      </a:lnTo>
                      <a:lnTo>
                        <a:pt x="6559" y="3439"/>
                      </a:lnTo>
                      <a:lnTo>
                        <a:pt x="7008" y="3095"/>
                      </a:lnTo>
                      <a:lnTo>
                        <a:pt x="7167" y="3024"/>
                      </a:lnTo>
                      <a:lnTo>
                        <a:pt x="7520" y="2998"/>
                      </a:lnTo>
                      <a:lnTo>
                        <a:pt x="7846" y="2866"/>
                      </a:lnTo>
                      <a:lnTo>
                        <a:pt x="7740" y="2636"/>
                      </a:lnTo>
                      <a:lnTo>
                        <a:pt x="7423" y="2108"/>
                      </a:lnTo>
                      <a:lnTo>
                        <a:pt x="7149" y="1817"/>
                      </a:lnTo>
                      <a:lnTo>
                        <a:pt x="6779" y="1411"/>
                      </a:lnTo>
                      <a:lnTo>
                        <a:pt x="6250" y="838"/>
                      </a:lnTo>
                      <a:lnTo>
                        <a:pt x="6145" y="459"/>
                      </a:lnTo>
                      <a:lnTo>
                        <a:pt x="6162" y="371"/>
                      </a:lnTo>
                      <a:lnTo>
                        <a:pt x="6127" y="89"/>
                      </a:lnTo>
                      <a:lnTo>
                        <a:pt x="5942" y="18"/>
                      </a:lnTo>
                      <a:lnTo>
                        <a:pt x="548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3" name="Google Shape;3141;p54">
                  <a:extLst>
                    <a:ext uri="{FF2B5EF4-FFF2-40B4-BE49-F238E27FC236}">
                      <a16:creationId xmlns:a16="http://schemas.microsoft.com/office/drawing/2014/main" id="{01995A4B-CF1E-8908-179F-782C8F2997BB}"/>
                    </a:ext>
                  </a:extLst>
                </p:cNvPr>
                <p:cNvSpPr/>
                <p:nvPr/>
              </p:nvSpPr>
              <p:spPr>
                <a:xfrm>
                  <a:off x="5174877" y="2835805"/>
                  <a:ext cx="362287" cy="439352"/>
                </a:xfrm>
                <a:custGeom>
                  <a:avLst/>
                  <a:gdLst/>
                  <a:ahLst/>
                  <a:cxnLst/>
                  <a:rect l="l" t="t" r="r" b="b"/>
                  <a:pathLst>
                    <a:path w="5096" h="6180" extrusionOk="0">
                      <a:moveTo>
                        <a:pt x="2460" y="0"/>
                      </a:moveTo>
                      <a:lnTo>
                        <a:pt x="2187" y="9"/>
                      </a:lnTo>
                      <a:lnTo>
                        <a:pt x="1799" y="124"/>
                      </a:lnTo>
                      <a:lnTo>
                        <a:pt x="1534" y="89"/>
                      </a:lnTo>
                      <a:lnTo>
                        <a:pt x="1" y="2372"/>
                      </a:lnTo>
                      <a:lnTo>
                        <a:pt x="62" y="2671"/>
                      </a:lnTo>
                      <a:lnTo>
                        <a:pt x="221" y="2909"/>
                      </a:lnTo>
                      <a:lnTo>
                        <a:pt x="441" y="2997"/>
                      </a:lnTo>
                      <a:lnTo>
                        <a:pt x="653" y="3121"/>
                      </a:lnTo>
                      <a:lnTo>
                        <a:pt x="829" y="3368"/>
                      </a:lnTo>
                      <a:lnTo>
                        <a:pt x="988" y="3659"/>
                      </a:lnTo>
                      <a:lnTo>
                        <a:pt x="1173" y="3835"/>
                      </a:lnTo>
                      <a:lnTo>
                        <a:pt x="1323" y="4046"/>
                      </a:lnTo>
                      <a:lnTo>
                        <a:pt x="1376" y="4381"/>
                      </a:lnTo>
                      <a:lnTo>
                        <a:pt x="1270" y="4681"/>
                      </a:lnTo>
                      <a:lnTo>
                        <a:pt x="1164" y="4805"/>
                      </a:lnTo>
                      <a:lnTo>
                        <a:pt x="1085" y="4963"/>
                      </a:lnTo>
                      <a:lnTo>
                        <a:pt x="1067" y="5228"/>
                      </a:lnTo>
                      <a:lnTo>
                        <a:pt x="1067" y="5395"/>
                      </a:lnTo>
                      <a:lnTo>
                        <a:pt x="1244" y="5651"/>
                      </a:lnTo>
                      <a:lnTo>
                        <a:pt x="1358" y="5739"/>
                      </a:lnTo>
                      <a:lnTo>
                        <a:pt x="1526" y="5933"/>
                      </a:lnTo>
                      <a:lnTo>
                        <a:pt x="1640" y="6180"/>
                      </a:lnTo>
                      <a:lnTo>
                        <a:pt x="1984" y="6171"/>
                      </a:lnTo>
                      <a:lnTo>
                        <a:pt x="2143" y="6118"/>
                      </a:lnTo>
                      <a:lnTo>
                        <a:pt x="2284" y="6030"/>
                      </a:lnTo>
                      <a:lnTo>
                        <a:pt x="2610" y="5889"/>
                      </a:lnTo>
                      <a:lnTo>
                        <a:pt x="2936" y="5977"/>
                      </a:lnTo>
                      <a:lnTo>
                        <a:pt x="2927" y="5695"/>
                      </a:lnTo>
                      <a:lnTo>
                        <a:pt x="2945" y="5571"/>
                      </a:lnTo>
                      <a:lnTo>
                        <a:pt x="3059" y="5386"/>
                      </a:lnTo>
                      <a:lnTo>
                        <a:pt x="3139" y="5325"/>
                      </a:lnTo>
                      <a:lnTo>
                        <a:pt x="3200" y="5254"/>
                      </a:lnTo>
                      <a:lnTo>
                        <a:pt x="3271" y="5007"/>
                      </a:lnTo>
                      <a:lnTo>
                        <a:pt x="3245" y="4849"/>
                      </a:lnTo>
                      <a:lnTo>
                        <a:pt x="3121" y="4558"/>
                      </a:lnTo>
                      <a:lnTo>
                        <a:pt x="3104" y="4258"/>
                      </a:lnTo>
                      <a:lnTo>
                        <a:pt x="3245" y="4046"/>
                      </a:lnTo>
                      <a:lnTo>
                        <a:pt x="3483" y="4064"/>
                      </a:lnTo>
                      <a:lnTo>
                        <a:pt x="3721" y="4143"/>
                      </a:lnTo>
                      <a:lnTo>
                        <a:pt x="4179" y="4064"/>
                      </a:lnTo>
                      <a:lnTo>
                        <a:pt x="4787" y="3456"/>
                      </a:lnTo>
                      <a:lnTo>
                        <a:pt x="4858" y="3094"/>
                      </a:lnTo>
                      <a:lnTo>
                        <a:pt x="4884" y="2795"/>
                      </a:lnTo>
                      <a:lnTo>
                        <a:pt x="5096" y="2654"/>
                      </a:lnTo>
                      <a:lnTo>
                        <a:pt x="5052" y="2442"/>
                      </a:lnTo>
                      <a:lnTo>
                        <a:pt x="4955" y="2239"/>
                      </a:lnTo>
                      <a:lnTo>
                        <a:pt x="4928" y="1984"/>
                      </a:lnTo>
                      <a:lnTo>
                        <a:pt x="4981" y="1737"/>
                      </a:lnTo>
                      <a:lnTo>
                        <a:pt x="4849" y="1340"/>
                      </a:lnTo>
                      <a:lnTo>
                        <a:pt x="4100" y="1331"/>
                      </a:lnTo>
                      <a:lnTo>
                        <a:pt x="3826" y="1041"/>
                      </a:lnTo>
                      <a:lnTo>
                        <a:pt x="3500" y="141"/>
                      </a:lnTo>
                      <a:lnTo>
                        <a:pt x="3015" y="327"/>
                      </a:lnTo>
                      <a:lnTo>
                        <a:pt x="2786" y="256"/>
                      </a:lnTo>
                      <a:lnTo>
                        <a:pt x="2583" y="62"/>
                      </a:lnTo>
                      <a:lnTo>
                        <a:pt x="2460"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4" name="Google Shape;3142;p54">
                  <a:extLst>
                    <a:ext uri="{FF2B5EF4-FFF2-40B4-BE49-F238E27FC236}">
                      <a16:creationId xmlns:a16="http://schemas.microsoft.com/office/drawing/2014/main" id="{31FDDF28-ADBD-2DC5-2890-DEFE92AC190C}"/>
                    </a:ext>
                  </a:extLst>
                </p:cNvPr>
                <p:cNvSpPr/>
                <p:nvPr/>
              </p:nvSpPr>
              <p:spPr>
                <a:xfrm>
                  <a:off x="5423710" y="2441584"/>
                  <a:ext cx="666848" cy="668127"/>
                </a:xfrm>
                <a:custGeom>
                  <a:avLst/>
                  <a:gdLst/>
                  <a:ahLst/>
                  <a:cxnLst/>
                  <a:rect l="l" t="t" r="r" b="b"/>
                  <a:pathLst>
                    <a:path w="9380" h="9398" extrusionOk="0">
                      <a:moveTo>
                        <a:pt x="4205" y="1"/>
                      </a:moveTo>
                      <a:lnTo>
                        <a:pt x="3808" y="538"/>
                      </a:lnTo>
                      <a:lnTo>
                        <a:pt x="2310" y="1517"/>
                      </a:lnTo>
                      <a:lnTo>
                        <a:pt x="2098" y="1587"/>
                      </a:lnTo>
                      <a:lnTo>
                        <a:pt x="1578" y="1922"/>
                      </a:lnTo>
                      <a:lnTo>
                        <a:pt x="529" y="1755"/>
                      </a:lnTo>
                      <a:lnTo>
                        <a:pt x="467" y="1870"/>
                      </a:lnTo>
                      <a:lnTo>
                        <a:pt x="414" y="1993"/>
                      </a:lnTo>
                      <a:lnTo>
                        <a:pt x="406" y="2134"/>
                      </a:lnTo>
                      <a:lnTo>
                        <a:pt x="406" y="2284"/>
                      </a:lnTo>
                      <a:lnTo>
                        <a:pt x="309" y="2601"/>
                      </a:lnTo>
                      <a:lnTo>
                        <a:pt x="176" y="2910"/>
                      </a:lnTo>
                      <a:lnTo>
                        <a:pt x="397" y="3333"/>
                      </a:lnTo>
                      <a:lnTo>
                        <a:pt x="723" y="3756"/>
                      </a:lnTo>
                      <a:lnTo>
                        <a:pt x="697" y="4038"/>
                      </a:lnTo>
                      <a:lnTo>
                        <a:pt x="749" y="4311"/>
                      </a:lnTo>
                      <a:lnTo>
                        <a:pt x="732" y="4585"/>
                      </a:lnTo>
                      <a:lnTo>
                        <a:pt x="318" y="5246"/>
                      </a:lnTo>
                      <a:lnTo>
                        <a:pt x="124" y="5440"/>
                      </a:lnTo>
                      <a:lnTo>
                        <a:pt x="0" y="5686"/>
                      </a:lnTo>
                      <a:lnTo>
                        <a:pt x="326" y="6586"/>
                      </a:lnTo>
                      <a:lnTo>
                        <a:pt x="600" y="6876"/>
                      </a:lnTo>
                      <a:lnTo>
                        <a:pt x="1349" y="6885"/>
                      </a:lnTo>
                      <a:lnTo>
                        <a:pt x="1481" y="7282"/>
                      </a:lnTo>
                      <a:lnTo>
                        <a:pt x="1428" y="7529"/>
                      </a:lnTo>
                      <a:lnTo>
                        <a:pt x="1455" y="7784"/>
                      </a:lnTo>
                      <a:lnTo>
                        <a:pt x="1552" y="7987"/>
                      </a:lnTo>
                      <a:lnTo>
                        <a:pt x="1596" y="8199"/>
                      </a:lnTo>
                      <a:lnTo>
                        <a:pt x="1384" y="8340"/>
                      </a:lnTo>
                      <a:lnTo>
                        <a:pt x="1358" y="8639"/>
                      </a:lnTo>
                      <a:lnTo>
                        <a:pt x="1287" y="9001"/>
                      </a:lnTo>
                      <a:lnTo>
                        <a:pt x="2081" y="9063"/>
                      </a:lnTo>
                      <a:lnTo>
                        <a:pt x="2504" y="9168"/>
                      </a:lnTo>
                      <a:lnTo>
                        <a:pt x="3077" y="9398"/>
                      </a:lnTo>
                      <a:lnTo>
                        <a:pt x="3323" y="9283"/>
                      </a:lnTo>
                      <a:lnTo>
                        <a:pt x="3218" y="8199"/>
                      </a:lnTo>
                      <a:lnTo>
                        <a:pt x="4937" y="7017"/>
                      </a:lnTo>
                      <a:lnTo>
                        <a:pt x="5192" y="6674"/>
                      </a:lnTo>
                      <a:lnTo>
                        <a:pt x="5386" y="6268"/>
                      </a:lnTo>
                      <a:lnTo>
                        <a:pt x="5518" y="6083"/>
                      </a:lnTo>
                      <a:lnTo>
                        <a:pt x="5712" y="5598"/>
                      </a:lnTo>
                      <a:lnTo>
                        <a:pt x="5915" y="5431"/>
                      </a:lnTo>
                      <a:lnTo>
                        <a:pt x="6276" y="5228"/>
                      </a:lnTo>
                      <a:lnTo>
                        <a:pt x="6655" y="5122"/>
                      </a:lnTo>
                      <a:lnTo>
                        <a:pt x="6893" y="5237"/>
                      </a:lnTo>
                      <a:lnTo>
                        <a:pt x="7070" y="5510"/>
                      </a:lnTo>
                      <a:lnTo>
                        <a:pt x="7184" y="5819"/>
                      </a:lnTo>
                      <a:lnTo>
                        <a:pt x="7378" y="6021"/>
                      </a:lnTo>
                      <a:lnTo>
                        <a:pt x="7546" y="5845"/>
                      </a:lnTo>
                      <a:lnTo>
                        <a:pt x="7696" y="5634"/>
                      </a:lnTo>
                      <a:lnTo>
                        <a:pt x="8048" y="5219"/>
                      </a:lnTo>
                      <a:lnTo>
                        <a:pt x="8198" y="4972"/>
                      </a:lnTo>
                      <a:lnTo>
                        <a:pt x="8260" y="4664"/>
                      </a:lnTo>
                      <a:lnTo>
                        <a:pt x="8348" y="4479"/>
                      </a:lnTo>
                      <a:lnTo>
                        <a:pt x="8507" y="4382"/>
                      </a:lnTo>
                      <a:lnTo>
                        <a:pt x="8515" y="4144"/>
                      </a:lnTo>
                      <a:lnTo>
                        <a:pt x="8630" y="3941"/>
                      </a:lnTo>
                      <a:lnTo>
                        <a:pt x="8656" y="3853"/>
                      </a:lnTo>
                      <a:lnTo>
                        <a:pt x="8683" y="3756"/>
                      </a:lnTo>
                      <a:lnTo>
                        <a:pt x="8868" y="3218"/>
                      </a:lnTo>
                      <a:lnTo>
                        <a:pt x="8991" y="2742"/>
                      </a:lnTo>
                      <a:lnTo>
                        <a:pt x="9080" y="2513"/>
                      </a:lnTo>
                      <a:lnTo>
                        <a:pt x="9185" y="2301"/>
                      </a:lnTo>
                      <a:lnTo>
                        <a:pt x="9379" y="1737"/>
                      </a:lnTo>
                      <a:lnTo>
                        <a:pt x="9212" y="1200"/>
                      </a:lnTo>
                      <a:lnTo>
                        <a:pt x="8842" y="1006"/>
                      </a:lnTo>
                      <a:lnTo>
                        <a:pt x="8445" y="935"/>
                      </a:lnTo>
                      <a:lnTo>
                        <a:pt x="8013" y="935"/>
                      </a:lnTo>
                      <a:lnTo>
                        <a:pt x="7599" y="1076"/>
                      </a:lnTo>
                      <a:lnTo>
                        <a:pt x="7361" y="997"/>
                      </a:lnTo>
                      <a:lnTo>
                        <a:pt x="7131" y="821"/>
                      </a:lnTo>
                      <a:lnTo>
                        <a:pt x="6365" y="706"/>
                      </a:lnTo>
                      <a:lnTo>
                        <a:pt x="6012" y="829"/>
                      </a:lnTo>
                      <a:lnTo>
                        <a:pt x="5554" y="768"/>
                      </a:lnTo>
                      <a:lnTo>
                        <a:pt x="5113" y="450"/>
                      </a:lnTo>
                      <a:lnTo>
                        <a:pt x="4963" y="424"/>
                      </a:lnTo>
                      <a:lnTo>
                        <a:pt x="4813" y="362"/>
                      </a:lnTo>
                      <a:lnTo>
                        <a:pt x="4769" y="318"/>
                      </a:lnTo>
                      <a:lnTo>
                        <a:pt x="4716" y="186"/>
                      </a:lnTo>
                      <a:lnTo>
                        <a:pt x="4672" y="133"/>
                      </a:lnTo>
                      <a:lnTo>
                        <a:pt x="4443" y="18"/>
                      </a:lnTo>
                      <a:lnTo>
                        <a:pt x="4205"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5" name="Google Shape;3143;p54">
                  <a:extLst>
                    <a:ext uri="{FF2B5EF4-FFF2-40B4-BE49-F238E27FC236}">
                      <a16:creationId xmlns:a16="http://schemas.microsoft.com/office/drawing/2014/main" id="{9E4A062C-B2CF-7F70-1A48-6A9BE74CCD93}"/>
                    </a:ext>
                  </a:extLst>
                </p:cNvPr>
                <p:cNvSpPr/>
                <p:nvPr/>
              </p:nvSpPr>
              <p:spPr>
                <a:xfrm>
                  <a:off x="3808076" y="2788812"/>
                  <a:ext cx="529568" cy="486984"/>
                </a:xfrm>
                <a:custGeom>
                  <a:avLst/>
                  <a:gdLst/>
                  <a:ahLst/>
                  <a:cxnLst/>
                  <a:rect l="l" t="t" r="r" b="b"/>
                  <a:pathLst>
                    <a:path w="7449" h="6850" extrusionOk="0">
                      <a:moveTo>
                        <a:pt x="5034" y="0"/>
                      </a:moveTo>
                      <a:lnTo>
                        <a:pt x="4937" y="80"/>
                      </a:lnTo>
                      <a:lnTo>
                        <a:pt x="4708" y="326"/>
                      </a:lnTo>
                      <a:lnTo>
                        <a:pt x="4135" y="802"/>
                      </a:lnTo>
                      <a:lnTo>
                        <a:pt x="3852" y="1129"/>
                      </a:lnTo>
                      <a:lnTo>
                        <a:pt x="3553" y="1411"/>
                      </a:lnTo>
                      <a:lnTo>
                        <a:pt x="3200" y="1543"/>
                      </a:lnTo>
                      <a:lnTo>
                        <a:pt x="3103" y="1543"/>
                      </a:lnTo>
                      <a:lnTo>
                        <a:pt x="3006" y="1569"/>
                      </a:lnTo>
                      <a:lnTo>
                        <a:pt x="2742" y="1781"/>
                      </a:lnTo>
                      <a:lnTo>
                        <a:pt x="2557" y="1834"/>
                      </a:lnTo>
                      <a:lnTo>
                        <a:pt x="2389" y="1904"/>
                      </a:lnTo>
                      <a:lnTo>
                        <a:pt x="2160" y="2160"/>
                      </a:lnTo>
                      <a:lnTo>
                        <a:pt x="1922" y="2380"/>
                      </a:lnTo>
                      <a:lnTo>
                        <a:pt x="1737" y="2486"/>
                      </a:lnTo>
                      <a:lnTo>
                        <a:pt x="1323" y="2900"/>
                      </a:lnTo>
                      <a:lnTo>
                        <a:pt x="1005" y="3086"/>
                      </a:lnTo>
                      <a:lnTo>
                        <a:pt x="908" y="3271"/>
                      </a:lnTo>
                      <a:lnTo>
                        <a:pt x="847" y="3879"/>
                      </a:lnTo>
                      <a:lnTo>
                        <a:pt x="697" y="4161"/>
                      </a:lnTo>
                      <a:lnTo>
                        <a:pt x="362" y="4346"/>
                      </a:lnTo>
                      <a:lnTo>
                        <a:pt x="0" y="4355"/>
                      </a:lnTo>
                      <a:lnTo>
                        <a:pt x="62" y="4549"/>
                      </a:lnTo>
                      <a:lnTo>
                        <a:pt x="159" y="4725"/>
                      </a:lnTo>
                      <a:lnTo>
                        <a:pt x="327" y="4787"/>
                      </a:lnTo>
                      <a:lnTo>
                        <a:pt x="503" y="4707"/>
                      </a:lnTo>
                      <a:lnTo>
                        <a:pt x="1014" y="4328"/>
                      </a:lnTo>
                      <a:lnTo>
                        <a:pt x="1146" y="4258"/>
                      </a:lnTo>
                      <a:lnTo>
                        <a:pt x="1279" y="4170"/>
                      </a:lnTo>
                      <a:lnTo>
                        <a:pt x="1490" y="3949"/>
                      </a:lnTo>
                      <a:lnTo>
                        <a:pt x="1719" y="4117"/>
                      </a:lnTo>
                      <a:lnTo>
                        <a:pt x="1931" y="4408"/>
                      </a:lnTo>
                      <a:lnTo>
                        <a:pt x="2107" y="4602"/>
                      </a:lnTo>
                      <a:lnTo>
                        <a:pt x="2310" y="4752"/>
                      </a:lnTo>
                      <a:lnTo>
                        <a:pt x="2636" y="4813"/>
                      </a:lnTo>
                      <a:lnTo>
                        <a:pt x="2927" y="4804"/>
                      </a:lnTo>
                      <a:lnTo>
                        <a:pt x="3209" y="4981"/>
                      </a:lnTo>
                      <a:lnTo>
                        <a:pt x="3359" y="5448"/>
                      </a:lnTo>
                      <a:lnTo>
                        <a:pt x="3482" y="5730"/>
                      </a:lnTo>
                      <a:lnTo>
                        <a:pt x="3764" y="6162"/>
                      </a:lnTo>
                      <a:lnTo>
                        <a:pt x="3808" y="6259"/>
                      </a:lnTo>
                      <a:lnTo>
                        <a:pt x="3897" y="6365"/>
                      </a:lnTo>
                      <a:lnTo>
                        <a:pt x="3967" y="6356"/>
                      </a:lnTo>
                      <a:lnTo>
                        <a:pt x="4108" y="6374"/>
                      </a:lnTo>
                      <a:lnTo>
                        <a:pt x="4196" y="6506"/>
                      </a:lnTo>
                      <a:lnTo>
                        <a:pt x="4267" y="6673"/>
                      </a:lnTo>
                      <a:lnTo>
                        <a:pt x="4681" y="6850"/>
                      </a:lnTo>
                      <a:lnTo>
                        <a:pt x="5157" y="6682"/>
                      </a:lnTo>
                      <a:lnTo>
                        <a:pt x="5404" y="6638"/>
                      </a:lnTo>
                      <a:lnTo>
                        <a:pt x="5624" y="6479"/>
                      </a:lnTo>
                      <a:lnTo>
                        <a:pt x="5853" y="6400"/>
                      </a:lnTo>
                      <a:lnTo>
                        <a:pt x="6109" y="6435"/>
                      </a:lnTo>
                      <a:lnTo>
                        <a:pt x="6233" y="6109"/>
                      </a:lnTo>
                      <a:lnTo>
                        <a:pt x="6277" y="5756"/>
                      </a:lnTo>
                      <a:lnTo>
                        <a:pt x="6206" y="5545"/>
                      </a:lnTo>
                      <a:lnTo>
                        <a:pt x="6100" y="5369"/>
                      </a:lnTo>
                      <a:lnTo>
                        <a:pt x="6091" y="5166"/>
                      </a:lnTo>
                      <a:lnTo>
                        <a:pt x="6294" y="5104"/>
                      </a:lnTo>
                      <a:lnTo>
                        <a:pt x="6444" y="4919"/>
                      </a:lnTo>
                      <a:lnTo>
                        <a:pt x="6471" y="4637"/>
                      </a:lnTo>
                      <a:lnTo>
                        <a:pt x="6656" y="4337"/>
                      </a:lnTo>
                      <a:lnTo>
                        <a:pt x="6647" y="3870"/>
                      </a:lnTo>
                      <a:lnTo>
                        <a:pt x="6541" y="3412"/>
                      </a:lnTo>
                      <a:lnTo>
                        <a:pt x="6647" y="3033"/>
                      </a:lnTo>
                      <a:lnTo>
                        <a:pt x="6797" y="2936"/>
                      </a:lnTo>
                      <a:lnTo>
                        <a:pt x="7114" y="2812"/>
                      </a:lnTo>
                      <a:lnTo>
                        <a:pt x="7414" y="2618"/>
                      </a:lnTo>
                      <a:lnTo>
                        <a:pt x="7449" y="2424"/>
                      </a:lnTo>
                      <a:lnTo>
                        <a:pt x="7114" y="2133"/>
                      </a:lnTo>
                      <a:lnTo>
                        <a:pt x="7008" y="1975"/>
                      </a:lnTo>
                      <a:lnTo>
                        <a:pt x="6850" y="1913"/>
                      </a:lnTo>
                      <a:lnTo>
                        <a:pt x="6523" y="1640"/>
                      </a:lnTo>
                      <a:lnTo>
                        <a:pt x="6241" y="1278"/>
                      </a:lnTo>
                      <a:lnTo>
                        <a:pt x="5880" y="979"/>
                      </a:lnTo>
                      <a:lnTo>
                        <a:pt x="5748" y="547"/>
                      </a:lnTo>
                      <a:lnTo>
                        <a:pt x="5633" y="512"/>
                      </a:lnTo>
                      <a:lnTo>
                        <a:pt x="5527" y="450"/>
                      </a:lnTo>
                      <a:lnTo>
                        <a:pt x="5325" y="150"/>
                      </a:lnTo>
                      <a:lnTo>
                        <a:pt x="5236" y="71"/>
                      </a:lnTo>
                      <a:lnTo>
                        <a:pt x="5139" y="18"/>
                      </a:lnTo>
                      <a:lnTo>
                        <a:pt x="503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6" name="Google Shape;3144;p54">
                  <a:extLst>
                    <a:ext uri="{FF2B5EF4-FFF2-40B4-BE49-F238E27FC236}">
                      <a16:creationId xmlns:a16="http://schemas.microsoft.com/office/drawing/2014/main" id="{8E4EF05C-3EDE-00E8-1751-8AB906FA492A}"/>
                    </a:ext>
                  </a:extLst>
                </p:cNvPr>
                <p:cNvSpPr/>
                <p:nvPr/>
              </p:nvSpPr>
              <p:spPr>
                <a:xfrm>
                  <a:off x="2889315" y="2409022"/>
                  <a:ext cx="596039" cy="552815"/>
                </a:xfrm>
                <a:custGeom>
                  <a:avLst/>
                  <a:gdLst/>
                  <a:ahLst/>
                  <a:cxnLst/>
                  <a:rect l="l" t="t" r="r" b="b"/>
                  <a:pathLst>
                    <a:path w="8384" h="7776" extrusionOk="0">
                      <a:moveTo>
                        <a:pt x="1244" y="0"/>
                      </a:moveTo>
                      <a:lnTo>
                        <a:pt x="882" y="185"/>
                      </a:lnTo>
                      <a:lnTo>
                        <a:pt x="1067" y="644"/>
                      </a:lnTo>
                      <a:lnTo>
                        <a:pt x="1217" y="1358"/>
                      </a:lnTo>
                      <a:lnTo>
                        <a:pt x="1297" y="1578"/>
                      </a:lnTo>
                      <a:lnTo>
                        <a:pt x="1464" y="1896"/>
                      </a:lnTo>
                      <a:lnTo>
                        <a:pt x="1429" y="2213"/>
                      </a:lnTo>
                      <a:lnTo>
                        <a:pt x="1305" y="2363"/>
                      </a:lnTo>
                      <a:lnTo>
                        <a:pt x="1006" y="2610"/>
                      </a:lnTo>
                      <a:lnTo>
                        <a:pt x="706" y="2733"/>
                      </a:lnTo>
                      <a:lnTo>
                        <a:pt x="450" y="2909"/>
                      </a:lnTo>
                      <a:lnTo>
                        <a:pt x="397" y="3121"/>
                      </a:lnTo>
                      <a:lnTo>
                        <a:pt x="371" y="3359"/>
                      </a:lnTo>
                      <a:lnTo>
                        <a:pt x="283" y="3553"/>
                      </a:lnTo>
                      <a:lnTo>
                        <a:pt x="151" y="3703"/>
                      </a:lnTo>
                      <a:lnTo>
                        <a:pt x="18" y="3914"/>
                      </a:lnTo>
                      <a:lnTo>
                        <a:pt x="1" y="4038"/>
                      </a:lnTo>
                      <a:lnTo>
                        <a:pt x="124" y="4170"/>
                      </a:lnTo>
                      <a:lnTo>
                        <a:pt x="195" y="4196"/>
                      </a:lnTo>
                      <a:lnTo>
                        <a:pt x="300" y="4337"/>
                      </a:lnTo>
                      <a:lnTo>
                        <a:pt x="424" y="4743"/>
                      </a:lnTo>
                      <a:lnTo>
                        <a:pt x="697" y="4981"/>
                      </a:lnTo>
                      <a:lnTo>
                        <a:pt x="1023" y="5016"/>
                      </a:lnTo>
                      <a:lnTo>
                        <a:pt x="1543" y="4998"/>
                      </a:lnTo>
                      <a:lnTo>
                        <a:pt x="1640" y="5016"/>
                      </a:lnTo>
                      <a:lnTo>
                        <a:pt x="1781" y="5157"/>
                      </a:lnTo>
                      <a:lnTo>
                        <a:pt x="1861" y="5483"/>
                      </a:lnTo>
                      <a:lnTo>
                        <a:pt x="2187" y="5712"/>
                      </a:lnTo>
                      <a:lnTo>
                        <a:pt x="2548" y="5880"/>
                      </a:lnTo>
                      <a:lnTo>
                        <a:pt x="2584" y="5968"/>
                      </a:lnTo>
                      <a:lnTo>
                        <a:pt x="2636" y="6153"/>
                      </a:lnTo>
                      <a:lnTo>
                        <a:pt x="2680" y="6241"/>
                      </a:lnTo>
                      <a:lnTo>
                        <a:pt x="2874" y="6427"/>
                      </a:lnTo>
                      <a:lnTo>
                        <a:pt x="3104" y="6365"/>
                      </a:lnTo>
                      <a:lnTo>
                        <a:pt x="3218" y="6171"/>
                      </a:lnTo>
                      <a:lnTo>
                        <a:pt x="3289" y="5986"/>
                      </a:lnTo>
                      <a:lnTo>
                        <a:pt x="3509" y="5995"/>
                      </a:lnTo>
                      <a:lnTo>
                        <a:pt x="3738" y="6092"/>
                      </a:lnTo>
                      <a:lnTo>
                        <a:pt x="3879" y="6100"/>
                      </a:lnTo>
                      <a:lnTo>
                        <a:pt x="4020" y="6056"/>
                      </a:lnTo>
                      <a:lnTo>
                        <a:pt x="4205" y="6268"/>
                      </a:lnTo>
                      <a:lnTo>
                        <a:pt x="4329" y="6568"/>
                      </a:lnTo>
                      <a:lnTo>
                        <a:pt x="4787" y="6488"/>
                      </a:lnTo>
                      <a:lnTo>
                        <a:pt x="4964" y="6435"/>
                      </a:lnTo>
                      <a:lnTo>
                        <a:pt x="5087" y="6453"/>
                      </a:lnTo>
                      <a:lnTo>
                        <a:pt x="5175" y="6568"/>
                      </a:lnTo>
                      <a:lnTo>
                        <a:pt x="5343" y="6612"/>
                      </a:lnTo>
                      <a:lnTo>
                        <a:pt x="5448" y="6620"/>
                      </a:lnTo>
                      <a:lnTo>
                        <a:pt x="5651" y="6673"/>
                      </a:lnTo>
                      <a:lnTo>
                        <a:pt x="5783" y="6841"/>
                      </a:lnTo>
                      <a:lnTo>
                        <a:pt x="5977" y="7449"/>
                      </a:lnTo>
                      <a:lnTo>
                        <a:pt x="6180" y="7758"/>
                      </a:lnTo>
                      <a:lnTo>
                        <a:pt x="6815" y="7775"/>
                      </a:lnTo>
                      <a:lnTo>
                        <a:pt x="7026" y="7775"/>
                      </a:lnTo>
                      <a:lnTo>
                        <a:pt x="7211" y="7678"/>
                      </a:lnTo>
                      <a:lnTo>
                        <a:pt x="7282" y="7537"/>
                      </a:lnTo>
                      <a:lnTo>
                        <a:pt x="7255" y="7379"/>
                      </a:lnTo>
                      <a:lnTo>
                        <a:pt x="7467" y="6982"/>
                      </a:lnTo>
                      <a:lnTo>
                        <a:pt x="7890" y="6885"/>
                      </a:lnTo>
                      <a:lnTo>
                        <a:pt x="7723" y="6691"/>
                      </a:lnTo>
                      <a:lnTo>
                        <a:pt x="7582" y="6691"/>
                      </a:lnTo>
                      <a:lnTo>
                        <a:pt x="7467" y="6594"/>
                      </a:lnTo>
                      <a:lnTo>
                        <a:pt x="7511" y="6515"/>
                      </a:lnTo>
                      <a:lnTo>
                        <a:pt x="7634" y="6391"/>
                      </a:lnTo>
                      <a:lnTo>
                        <a:pt x="7723" y="6241"/>
                      </a:lnTo>
                      <a:lnTo>
                        <a:pt x="7793" y="6065"/>
                      </a:lnTo>
                      <a:lnTo>
                        <a:pt x="7820" y="5783"/>
                      </a:lnTo>
                      <a:lnTo>
                        <a:pt x="7784" y="5492"/>
                      </a:lnTo>
                      <a:lnTo>
                        <a:pt x="7784" y="5351"/>
                      </a:lnTo>
                      <a:lnTo>
                        <a:pt x="7767" y="5228"/>
                      </a:lnTo>
                      <a:lnTo>
                        <a:pt x="7661" y="5095"/>
                      </a:lnTo>
                      <a:lnTo>
                        <a:pt x="7529" y="5051"/>
                      </a:lnTo>
                      <a:lnTo>
                        <a:pt x="7511" y="4840"/>
                      </a:lnTo>
                      <a:lnTo>
                        <a:pt x="7643" y="4787"/>
                      </a:lnTo>
                      <a:lnTo>
                        <a:pt x="7784" y="4637"/>
                      </a:lnTo>
                      <a:lnTo>
                        <a:pt x="7837" y="4522"/>
                      </a:lnTo>
                      <a:lnTo>
                        <a:pt x="8190" y="4240"/>
                      </a:lnTo>
                      <a:lnTo>
                        <a:pt x="8366" y="4064"/>
                      </a:lnTo>
                      <a:lnTo>
                        <a:pt x="8384" y="3694"/>
                      </a:lnTo>
                      <a:lnTo>
                        <a:pt x="8287" y="3412"/>
                      </a:lnTo>
                      <a:lnTo>
                        <a:pt x="8128" y="3139"/>
                      </a:lnTo>
                      <a:lnTo>
                        <a:pt x="8172" y="2768"/>
                      </a:lnTo>
                      <a:lnTo>
                        <a:pt x="8137" y="2663"/>
                      </a:lnTo>
                      <a:lnTo>
                        <a:pt x="8093" y="2566"/>
                      </a:lnTo>
                      <a:lnTo>
                        <a:pt x="7793" y="2107"/>
                      </a:lnTo>
                      <a:lnTo>
                        <a:pt x="7661" y="2010"/>
                      </a:lnTo>
                      <a:lnTo>
                        <a:pt x="6965" y="1860"/>
                      </a:lnTo>
                      <a:lnTo>
                        <a:pt x="6868" y="1781"/>
                      </a:lnTo>
                      <a:lnTo>
                        <a:pt x="6638" y="1525"/>
                      </a:lnTo>
                      <a:lnTo>
                        <a:pt x="6233" y="1455"/>
                      </a:lnTo>
                      <a:lnTo>
                        <a:pt x="5801" y="1675"/>
                      </a:lnTo>
                      <a:lnTo>
                        <a:pt x="5633" y="1728"/>
                      </a:lnTo>
                      <a:lnTo>
                        <a:pt x="5457" y="1746"/>
                      </a:lnTo>
                      <a:lnTo>
                        <a:pt x="5254" y="1728"/>
                      </a:lnTo>
                      <a:lnTo>
                        <a:pt x="5060" y="1763"/>
                      </a:lnTo>
                      <a:lnTo>
                        <a:pt x="4937" y="1931"/>
                      </a:lnTo>
                      <a:lnTo>
                        <a:pt x="4761" y="2037"/>
                      </a:lnTo>
                      <a:lnTo>
                        <a:pt x="4567" y="2081"/>
                      </a:lnTo>
                      <a:lnTo>
                        <a:pt x="4373" y="2160"/>
                      </a:lnTo>
                      <a:lnTo>
                        <a:pt x="4153" y="2081"/>
                      </a:lnTo>
                      <a:lnTo>
                        <a:pt x="3915" y="1543"/>
                      </a:lnTo>
                      <a:lnTo>
                        <a:pt x="3536" y="1129"/>
                      </a:lnTo>
                      <a:lnTo>
                        <a:pt x="3500" y="1049"/>
                      </a:lnTo>
                      <a:lnTo>
                        <a:pt x="3430" y="1005"/>
                      </a:lnTo>
                      <a:lnTo>
                        <a:pt x="3077" y="1129"/>
                      </a:lnTo>
                      <a:lnTo>
                        <a:pt x="2901" y="1049"/>
                      </a:lnTo>
                      <a:lnTo>
                        <a:pt x="2954" y="838"/>
                      </a:lnTo>
                      <a:lnTo>
                        <a:pt x="3095" y="582"/>
                      </a:lnTo>
                      <a:lnTo>
                        <a:pt x="2980" y="397"/>
                      </a:lnTo>
                      <a:lnTo>
                        <a:pt x="2901" y="397"/>
                      </a:lnTo>
                      <a:lnTo>
                        <a:pt x="2751" y="424"/>
                      </a:lnTo>
                      <a:lnTo>
                        <a:pt x="2680" y="415"/>
                      </a:lnTo>
                      <a:lnTo>
                        <a:pt x="2495" y="327"/>
                      </a:lnTo>
                      <a:lnTo>
                        <a:pt x="2310" y="309"/>
                      </a:lnTo>
                      <a:lnTo>
                        <a:pt x="1975" y="353"/>
                      </a:lnTo>
                      <a:lnTo>
                        <a:pt x="1658" y="265"/>
                      </a:lnTo>
                      <a:lnTo>
                        <a:pt x="1455" y="97"/>
                      </a:lnTo>
                      <a:lnTo>
                        <a:pt x="124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7" name="Google Shape;3145;p54">
                  <a:extLst>
                    <a:ext uri="{FF2B5EF4-FFF2-40B4-BE49-F238E27FC236}">
                      <a16:creationId xmlns:a16="http://schemas.microsoft.com/office/drawing/2014/main" id="{75DC3AA9-9A37-AA92-96B4-EEA854E54C02}"/>
                    </a:ext>
                  </a:extLst>
                </p:cNvPr>
                <p:cNvSpPr/>
                <p:nvPr/>
              </p:nvSpPr>
              <p:spPr>
                <a:xfrm>
                  <a:off x="3329251" y="2816396"/>
                  <a:ext cx="487623" cy="641112"/>
                </a:xfrm>
                <a:custGeom>
                  <a:avLst/>
                  <a:gdLst/>
                  <a:ahLst/>
                  <a:cxnLst/>
                  <a:rect l="l" t="t" r="r" b="b"/>
                  <a:pathLst>
                    <a:path w="6859" h="9018" extrusionOk="0">
                      <a:moveTo>
                        <a:pt x="5519" y="0"/>
                      </a:moveTo>
                      <a:lnTo>
                        <a:pt x="4946" y="124"/>
                      </a:lnTo>
                      <a:lnTo>
                        <a:pt x="4902" y="485"/>
                      </a:lnTo>
                      <a:lnTo>
                        <a:pt x="4937" y="829"/>
                      </a:lnTo>
                      <a:lnTo>
                        <a:pt x="4787" y="961"/>
                      </a:lnTo>
                      <a:lnTo>
                        <a:pt x="4620" y="1014"/>
                      </a:lnTo>
                      <a:lnTo>
                        <a:pt x="4267" y="1023"/>
                      </a:lnTo>
                      <a:lnTo>
                        <a:pt x="3941" y="987"/>
                      </a:lnTo>
                      <a:lnTo>
                        <a:pt x="3703" y="1173"/>
                      </a:lnTo>
                      <a:lnTo>
                        <a:pt x="3703" y="1243"/>
                      </a:lnTo>
                      <a:lnTo>
                        <a:pt x="3641" y="1358"/>
                      </a:lnTo>
                      <a:lnTo>
                        <a:pt x="3588" y="1375"/>
                      </a:lnTo>
                      <a:lnTo>
                        <a:pt x="3474" y="1296"/>
                      </a:lnTo>
                      <a:lnTo>
                        <a:pt x="3412" y="1322"/>
                      </a:lnTo>
                      <a:lnTo>
                        <a:pt x="3350" y="1358"/>
                      </a:lnTo>
                      <a:lnTo>
                        <a:pt x="3201" y="1402"/>
                      </a:lnTo>
                      <a:lnTo>
                        <a:pt x="3042" y="1402"/>
                      </a:lnTo>
                      <a:lnTo>
                        <a:pt x="2901" y="1234"/>
                      </a:lnTo>
                      <a:lnTo>
                        <a:pt x="2733" y="1208"/>
                      </a:lnTo>
                      <a:lnTo>
                        <a:pt x="2495" y="1366"/>
                      </a:lnTo>
                      <a:lnTo>
                        <a:pt x="2231" y="1366"/>
                      </a:lnTo>
                      <a:lnTo>
                        <a:pt x="1984" y="1208"/>
                      </a:lnTo>
                      <a:lnTo>
                        <a:pt x="1702" y="1155"/>
                      </a:lnTo>
                      <a:lnTo>
                        <a:pt x="1279" y="1252"/>
                      </a:lnTo>
                      <a:lnTo>
                        <a:pt x="1067" y="1649"/>
                      </a:lnTo>
                      <a:lnTo>
                        <a:pt x="1094" y="1807"/>
                      </a:lnTo>
                      <a:lnTo>
                        <a:pt x="1023" y="1948"/>
                      </a:lnTo>
                      <a:lnTo>
                        <a:pt x="838" y="2045"/>
                      </a:lnTo>
                      <a:lnTo>
                        <a:pt x="627" y="2045"/>
                      </a:lnTo>
                      <a:lnTo>
                        <a:pt x="680" y="2177"/>
                      </a:lnTo>
                      <a:lnTo>
                        <a:pt x="741" y="2310"/>
                      </a:lnTo>
                      <a:lnTo>
                        <a:pt x="997" y="2486"/>
                      </a:lnTo>
                      <a:lnTo>
                        <a:pt x="1059" y="2662"/>
                      </a:lnTo>
                      <a:lnTo>
                        <a:pt x="1041" y="2865"/>
                      </a:lnTo>
                      <a:lnTo>
                        <a:pt x="1120" y="3218"/>
                      </a:lnTo>
                      <a:lnTo>
                        <a:pt x="1076" y="3341"/>
                      </a:lnTo>
                      <a:lnTo>
                        <a:pt x="979" y="3412"/>
                      </a:lnTo>
                      <a:lnTo>
                        <a:pt x="962" y="3570"/>
                      </a:lnTo>
                      <a:lnTo>
                        <a:pt x="1067" y="3702"/>
                      </a:lnTo>
                      <a:lnTo>
                        <a:pt x="1138" y="3852"/>
                      </a:lnTo>
                      <a:lnTo>
                        <a:pt x="1235" y="4002"/>
                      </a:lnTo>
                      <a:lnTo>
                        <a:pt x="1526" y="4064"/>
                      </a:lnTo>
                      <a:lnTo>
                        <a:pt x="1579" y="4196"/>
                      </a:lnTo>
                      <a:lnTo>
                        <a:pt x="1561" y="4364"/>
                      </a:lnTo>
                      <a:lnTo>
                        <a:pt x="1420" y="4461"/>
                      </a:lnTo>
                      <a:lnTo>
                        <a:pt x="1235" y="4469"/>
                      </a:lnTo>
                      <a:lnTo>
                        <a:pt x="1023" y="4778"/>
                      </a:lnTo>
                      <a:lnTo>
                        <a:pt x="777" y="5016"/>
                      </a:lnTo>
                      <a:lnTo>
                        <a:pt x="415" y="4972"/>
                      </a:lnTo>
                      <a:lnTo>
                        <a:pt x="89" y="5069"/>
                      </a:lnTo>
                      <a:lnTo>
                        <a:pt x="1" y="5280"/>
                      </a:lnTo>
                      <a:lnTo>
                        <a:pt x="54" y="5501"/>
                      </a:lnTo>
                      <a:lnTo>
                        <a:pt x="107" y="5518"/>
                      </a:lnTo>
                      <a:lnTo>
                        <a:pt x="151" y="5554"/>
                      </a:lnTo>
                      <a:lnTo>
                        <a:pt x="186" y="5633"/>
                      </a:lnTo>
                      <a:lnTo>
                        <a:pt x="212" y="5721"/>
                      </a:lnTo>
                      <a:lnTo>
                        <a:pt x="265" y="5818"/>
                      </a:lnTo>
                      <a:lnTo>
                        <a:pt x="248" y="5941"/>
                      </a:lnTo>
                      <a:lnTo>
                        <a:pt x="248" y="6109"/>
                      </a:lnTo>
                      <a:lnTo>
                        <a:pt x="301" y="6276"/>
                      </a:lnTo>
                      <a:lnTo>
                        <a:pt x="415" y="6320"/>
                      </a:lnTo>
                      <a:lnTo>
                        <a:pt x="583" y="6320"/>
                      </a:lnTo>
                      <a:lnTo>
                        <a:pt x="803" y="6409"/>
                      </a:lnTo>
                      <a:lnTo>
                        <a:pt x="935" y="6647"/>
                      </a:lnTo>
                      <a:lnTo>
                        <a:pt x="997" y="6920"/>
                      </a:lnTo>
                      <a:lnTo>
                        <a:pt x="1156" y="7149"/>
                      </a:lnTo>
                      <a:lnTo>
                        <a:pt x="1499" y="7193"/>
                      </a:lnTo>
                      <a:lnTo>
                        <a:pt x="1552" y="7255"/>
                      </a:lnTo>
                      <a:lnTo>
                        <a:pt x="1640" y="7414"/>
                      </a:lnTo>
                      <a:lnTo>
                        <a:pt x="1693" y="7475"/>
                      </a:lnTo>
                      <a:lnTo>
                        <a:pt x="2037" y="7634"/>
                      </a:lnTo>
                      <a:lnTo>
                        <a:pt x="2310" y="7907"/>
                      </a:lnTo>
                      <a:lnTo>
                        <a:pt x="2372" y="8128"/>
                      </a:lnTo>
                      <a:lnTo>
                        <a:pt x="2416" y="8348"/>
                      </a:lnTo>
                      <a:lnTo>
                        <a:pt x="2425" y="8542"/>
                      </a:lnTo>
                      <a:lnTo>
                        <a:pt x="2443" y="8630"/>
                      </a:lnTo>
                      <a:lnTo>
                        <a:pt x="2557" y="8745"/>
                      </a:lnTo>
                      <a:lnTo>
                        <a:pt x="2813" y="8762"/>
                      </a:lnTo>
                      <a:lnTo>
                        <a:pt x="3280" y="9018"/>
                      </a:lnTo>
                      <a:lnTo>
                        <a:pt x="3439" y="8939"/>
                      </a:lnTo>
                      <a:lnTo>
                        <a:pt x="3536" y="8806"/>
                      </a:lnTo>
                      <a:lnTo>
                        <a:pt x="3580" y="8656"/>
                      </a:lnTo>
                      <a:lnTo>
                        <a:pt x="3615" y="8286"/>
                      </a:lnTo>
                      <a:lnTo>
                        <a:pt x="3835" y="8101"/>
                      </a:lnTo>
                      <a:lnTo>
                        <a:pt x="3879" y="7793"/>
                      </a:lnTo>
                      <a:lnTo>
                        <a:pt x="3950" y="7484"/>
                      </a:lnTo>
                      <a:lnTo>
                        <a:pt x="4073" y="7211"/>
                      </a:lnTo>
                      <a:lnTo>
                        <a:pt x="4532" y="6523"/>
                      </a:lnTo>
                      <a:lnTo>
                        <a:pt x="4734" y="6118"/>
                      </a:lnTo>
                      <a:lnTo>
                        <a:pt x="4752" y="6065"/>
                      </a:lnTo>
                      <a:lnTo>
                        <a:pt x="4734" y="5986"/>
                      </a:lnTo>
                      <a:lnTo>
                        <a:pt x="4708" y="5933"/>
                      </a:lnTo>
                      <a:lnTo>
                        <a:pt x="4673" y="5906"/>
                      </a:lnTo>
                      <a:lnTo>
                        <a:pt x="4646" y="5915"/>
                      </a:lnTo>
                      <a:lnTo>
                        <a:pt x="4611" y="5915"/>
                      </a:lnTo>
                      <a:lnTo>
                        <a:pt x="4558" y="5695"/>
                      </a:lnTo>
                      <a:lnTo>
                        <a:pt x="4567" y="5457"/>
                      </a:lnTo>
                      <a:lnTo>
                        <a:pt x="4523" y="5298"/>
                      </a:lnTo>
                      <a:lnTo>
                        <a:pt x="4523" y="5148"/>
                      </a:lnTo>
                      <a:lnTo>
                        <a:pt x="5113" y="4831"/>
                      </a:lnTo>
                      <a:lnTo>
                        <a:pt x="5158" y="4699"/>
                      </a:lnTo>
                      <a:lnTo>
                        <a:pt x="5219" y="4566"/>
                      </a:lnTo>
                      <a:lnTo>
                        <a:pt x="5360" y="4487"/>
                      </a:lnTo>
                      <a:lnTo>
                        <a:pt x="5431" y="4461"/>
                      </a:lnTo>
                      <a:lnTo>
                        <a:pt x="5616" y="4346"/>
                      </a:lnTo>
                      <a:lnTo>
                        <a:pt x="5951" y="4073"/>
                      </a:lnTo>
                      <a:lnTo>
                        <a:pt x="5739" y="3711"/>
                      </a:lnTo>
                      <a:lnTo>
                        <a:pt x="5686" y="3667"/>
                      </a:lnTo>
                      <a:lnTo>
                        <a:pt x="5616" y="3650"/>
                      </a:lnTo>
                      <a:lnTo>
                        <a:pt x="5492" y="3588"/>
                      </a:lnTo>
                      <a:lnTo>
                        <a:pt x="5431" y="3561"/>
                      </a:lnTo>
                      <a:lnTo>
                        <a:pt x="5219" y="3561"/>
                      </a:lnTo>
                      <a:lnTo>
                        <a:pt x="5105" y="3517"/>
                      </a:lnTo>
                      <a:lnTo>
                        <a:pt x="5113" y="2918"/>
                      </a:lnTo>
                      <a:lnTo>
                        <a:pt x="5184" y="2750"/>
                      </a:lnTo>
                      <a:lnTo>
                        <a:pt x="5334" y="2689"/>
                      </a:lnTo>
                      <a:lnTo>
                        <a:pt x="5475" y="2609"/>
                      </a:lnTo>
                      <a:lnTo>
                        <a:pt x="6727" y="1675"/>
                      </a:lnTo>
                      <a:lnTo>
                        <a:pt x="6859" y="1525"/>
                      </a:lnTo>
                      <a:lnTo>
                        <a:pt x="6779" y="1137"/>
                      </a:lnTo>
                      <a:lnTo>
                        <a:pt x="6656" y="987"/>
                      </a:lnTo>
                      <a:lnTo>
                        <a:pt x="6162" y="150"/>
                      </a:lnTo>
                      <a:lnTo>
                        <a:pt x="5519"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8" name="Google Shape;3146;p54">
                  <a:extLst>
                    <a:ext uri="{FF2B5EF4-FFF2-40B4-BE49-F238E27FC236}">
                      <a16:creationId xmlns:a16="http://schemas.microsoft.com/office/drawing/2014/main" id="{8A8875D1-FC1D-04CA-CC45-7D73D7C8513B}"/>
                    </a:ext>
                  </a:extLst>
                </p:cNvPr>
                <p:cNvSpPr/>
                <p:nvPr/>
              </p:nvSpPr>
              <p:spPr>
                <a:xfrm>
                  <a:off x="3601901" y="3069566"/>
                  <a:ext cx="509520" cy="386743"/>
                </a:xfrm>
                <a:custGeom>
                  <a:avLst/>
                  <a:gdLst/>
                  <a:ahLst/>
                  <a:cxnLst/>
                  <a:rect l="l" t="t" r="r" b="b"/>
                  <a:pathLst>
                    <a:path w="7167" h="5440" extrusionOk="0">
                      <a:moveTo>
                        <a:pt x="4390" y="0"/>
                      </a:moveTo>
                      <a:lnTo>
                        <a:pt x="4179" y="221"/>
                      </a:lnTo>
                      <a:lnTo>
                        <a:pt x="4046" y="309"/>
                      </a:lnTo>
                      <a:lnTo>
                        <a:pt x="3914" y="379"/>
                      </a:lnTo>
                      <a:lnTo>
                        <a:pt x="3403" y="758"/>
                      </a:lnTo>
                      <a:lnTo>
                        <a:pt x="3227" y="838"/>
                      </a:lnTo>
                      <a:lnTo>
                        <a:pt x="3059" y="776"/>
                      </a:lnTo>
                      <a:lnTo>
                        <a:pt x="2962" y="600"/>
                      </a:lnTo>
                      <a:lnTo>
                        <a:pt x="2900" y="406"/>
                      </a:lnTo>
                      <a:lnTo>
                        <a:pt x="2486" y="379"/>
                      </a:lnTo>
                      <a:lnTo>
                        <a:pt x="2116" y="512"/>
                      </a:lnTo>
                      <a:lnTo>
                        <a:pt x="1781" y="785"/>
                      </a:lnTo>
                      <a:lnTo>
                        <a:pt x="1596" y="900"/>
                      </a:lnTo>
                      <a:lnTo>
                        <a:pt x="1525" y="926"/>
                      </a:lnTo>
                      <a:lnTo>
                        <a:pt x="1384" y="1005"/>
                      </a:lnTo>
                      <a:lnTo>
                        <a:pt x="1323" y="1138"/>
                      </a:lnTo>
                      <a:lnTo>
                        <a:pt x="1278" y="1270"/>
                      </a:lnTo>
                      <a:lnTo>
                        <a:pt x="688" y="1587"/>
                      </a:lnTo>
                      <a:lnTo>
                        <a:pt x="688" y="1737"/>
                      </a:lnTo>
                      <a:lnTo>
                        <a:pt x="732" y="1896"/>
                      </a:lnTo>
                      <a:lnTo>
                        <a:pt x="723" y="2134"/>
                      </a:lnTo>
                      <a:lnTo>
                        <a:pt x="776" y="2354"/>
                      </a:lnTo>
                      <a:lnTo>
                        <a:pt x="811" y="2354"/>
                      </a:lnTo>
                      <a:lnTo>
                        <a:pt x="838" y="2345"/>
                      </a:lnTo>
                      <a:lnTo>
                        <a:pt x="873" y="2372"/>
                      </a:lnTo>
                      <a:lnTo>
                        <a:pt x="899" y="2425"/>
                      </a:lnTo>
                      <a:lnTo>
                        <a:pt x="917" y="2504"/>
                      </a:lnTo>
                      <a:lnTo>
                        <a:pt x="899" y="2557"/>
                      </a:lnTo>
                      <a:lnTo>
                        <a:pt x="697" y="2962"/>
                      </a:lnTo>
                      <a:lnTo>
                        <a:pt x="238" y="3650"/>
                      </a:lnTo>
                      <a:lnTo>
                        <a:pt x="115" y="3923"/>
                      </a:lnTo>
                      <a:lnTo>
                        <a:pt x="44" y="4232"/>
                      </a:lnTo>
                      <a:lnTo>
                        <a:pt x="0" y="4540"/>
                      </a:lnTo>
                      <a:lnTo>
                        <a:pt x="106" y="4840"/>
                      </a:lnTo>
                      <a:lnTo>
                        <a:pt x="36" y="5175"/>
                      </a:lnTo>
                      <a:lnTo>
                        <a:pt x="212" y="5245"/>
                      </a:lnTo>
                      <a:lnTo>
                        <a:pt x="432" y="4963"/>
                      </a:lnTo>
                      <a:lnTo>
                        <a:pt x="996" y="4893"/>
                      </a:lnTo>
                      <a:lnTo>
                        <a:pt x="1384" y="5439"/>
                      </a:lnTo>
                      <a:lnTo>
                        <a:pt x="1525" y="5413"/>
                      </a:lnTo>
                      <a:lnTo>
                        <a:pt x="1649" y="5342"/>
                      </a:lnTo>
                      <a:lnTo>
                        <a:pt x="1754" y="5192"/>
                      </a:lnTo>
                      <a:lnTo>
                        <a:pt x="1887" y="5069"/>
                      </a:lnTo>
                      <a:lnTo>
                        <a:pt x="2072" y="4725"/>
                      </a:lnTo>
                      <a:lnTo>
                        <a:pt x="2142" y="4293"/>
                      </a:lnTo>
                      <a:lnTo>
                        <a:pt x="2398" y="3941"/>
                      </a:lnTo>
                      <a:lnTo>
                        <a:pt x="3227" y="3509"/>
                      </a:lnTo>
                      <a:lnTo>
                        <a:pt x="3509" y="3456"/>
                      </a:lnTo>
                      <a:lnTo>
                        <a:pt x="4196" y="3165"/>
                      </a:lnTo>
                      <a:lnTo>
                        <a:pt x="4478" y="3209"/>
                      </a:lnTo>
                      <a:lnTo>
                        <a:pt x="4769" y="3553"/>
                      </a:lnTo>
                      <a:lnTo>
                        <a:pt x="4875" y="3597"/>
                      </a:lnTo>
                      <a:lnTo>
                        <a:pt x="5518" y="3570"/>
                      </a:lnTo>
                      <a:lnTo>
                        <a:pt x="5942" y="3623"/>
                      </a:lnTo>
                      <a:lnTo>
                        <a:pt x="6303" y="3615"/>
                      </a:lnTo>
                      <a:lnTo>
                        <a:pt x="6470" y="3570"/>
                      </a:lnTo>
                      <a:lnTo>
                        <a:pt x="6752" y="3262"/>
                      </a:lnTo>
                      <a:lnTo>
                        <a:pt x="6841" y="3015"/>
                      </a:lnTo>
                      <a:lnTo>
                        <a:pt x="7167" y="2724"/>
                      </a:lnTo>
                      <a:lnTo>
                        <a:pt x="7096" y="2557"/>
                      </a:lnTo>
                      <a:lnTo>
                        <a:pt x="7008" y="2425"/>
                      </a:lnTo>
                      <a:lnTo>
                        <a:pt x="6867" y="2407"/>
                      </a:lnTo>
                      <a:lnTo>
                        <a:pt x="6797" y="2416"/>
                      </a:lnTo>
                      <a:lnTo>
                        <a:pt x="6708" y="2310"/>
                      </a:lnTo>
                      <a:lnTo>
                        <a:pt x="6664" y="2213"/>
                      </a:lnTo>
                      <a:lnTo>
                        <a:pt x="6382" y="1781"/>
                      </a:lnTo>
                      <a:lnTo>
                        <a:pt x="6259" y="1499"/>
                      </a:lnTo>
                      <a:lnTo>
                        <a:pt x="6109" y="1032"/>
                      </a:lnTo>
                      <a:lnTo>
                        <a:pt x="5827" y="855"/>
                      </a:lnTo>
                      <a:lnTo>
                        <a:pt x="5536" y="864"/>
                      </a:lnTo>
                      <a:lnTo>
                        <a:pt x="5210" y="803"/>
                      </a:lnTo>
                      <a:lnTo>
                        <a:pt x="5007" y="653"/>
                      </a:lnTo>
                      <a:lnTo>
                        <a:pt x="4831" y="459"/>
                      </a:lnTo>
                      <a:lnTo>
                        <a:pt x="4619" y="168"/>
                      </a:lnTo>
                      <a:lnTo>
                        <a:pt x="4390"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9" name="Google Shape;3147;p54">
                  <a:extLst>
                    <a:ext uri="{FF2B5EF4-FFF2-40B4-BE49-F238E27FC236}">
                      <a16:creationId xmlns:a16="http://schemas.microsoft.com/office/drawing/2014/main" id="{B2D65334-B976-1EAA-AE25-10EF74A9196C}"/>
                    </a:ext>
                  </a:extLst>
                </p:cNvPr>
                <p:cNvSpPr/>
                <p:nvPr/>
              </p:nvSpPr>
              <p:spPr>
                <a:xfrm>
                  <a:off x="4879691" y="2583205"/>
                  <a:ext cx="404303" cy="450655"/>
                </a:xfrm>
                <a:custGeom>
                  <a:avLst/>
                  <a:gdLst/>
                  <a:ahLst/>
                  <a:cxnLst/>
                  <a:rect l="l" t="t" r="r" b="b"/>
                  <a:pathLst>
                    <a:path w="5687" h="6339" extrusionOk="0">
                      <a:moveTo>
                        <a:pt x="3086" y="1"/>
                      </a:moveTo>
                      <a:lnTo>
                        <a:pt x="2936" y="398"/>
                      </a:lnTo>
                      <a:lnTo>
                        <a:pt x="3121" y="900"/>
                      </a:lnTo>
                      <a:lnTo>
                        <a:pt x="3104" y="1244"/>
                      </a:lnTo>
                      <a:lnTo>
                        <a:pt x="2716" y="1614"/>
                      </a:lnTo>
                      <a:lnTo>
                        <a:pt x="2540" y="1702"/>
                      </a:lnTo>
                      <a:lnTo>
                        <a:pt x="2125" y="1693"/>
                      </a:lnTo>
                      <a:lnTo>
                        <a:pt x="1720" y="1808"/>
                      </a:lnTo>
                      <a:lnTo>
                        <a:pt x="1341" y="2020"/>
                      </a:lnTo>
                      <a:lnTo>
                        <a:pt x="935" y="2134"/>
                      </a:lnTo>
                      <a:lnTo>
                        <a:pt x="847" y="2293"/>
                      </a:lnTo>
                      <a:lnTo>
                        <a:pt x="583" y="2601"/>
                      </a:lnTo>
                      <a:lnTo>
                        <a:pt x="477" y="2795"/>
                      </a:lnTo>
                      <a:lnTo>
                        <a:pt x="415" y="3262"/>
                      </a:lnTo>
                      <a:lnTo>
                        <a:pt x="248" y="3518"/>
                      </a:lnTo>
                      <a:lnTo>
                        <a:pt x="133" y="3827"/>
                      </a:lnTo>
                      <a:lnTo>
                        <a:pt x="107" y="4047"/>
                      </a:lnTo>
                      <a:lnTo>
                        <a:pt x="36" y="4250"/>
                      </a:lnTo>
                      <a:lnTo>
                        <a:pt x="1" y="4735"/>
                      </a:lnTo>
                      <a:lnTo>
                        <a:pt x="168" y="5184"/>
                      </a:lnTo>
                      <a:lnTo>
                        <a:pt x="230" y="5228"/>
                      </a:lnTo>
                      <a:lnTo>
                        <a:pt x="283" y="5299"/>
                      </a:lnTo>
                      <a:lnTo>
                        <a:pt x="318" y="5537"/>
                      </a:lnTo>
                      <a:lnTo>
                        <a:pt x="389" y="5766"/>
                      </a:lnTo>
                      <a:lnTo>
                        <a:pt x="697" y="6154"/>
                      </a:lnTo>
                      <a:lnTo>
                        <a:pt x="891" y="6330"/>
                      </a:lnTo>
                      <a:lnTo>
                        <a:pt x="1094" y="6339"/>
                      </a:lnTo>
                      <a:lnTo>
                        <a:pt x="1640" y="6216"/>
                      </a:lnTo>
                      <a:lnTo>
                        <a:pt x="2363" y="6171"/>
                      </a:lnTo>
                      <a:lnTo>
                        <a:pt x="2733" y="6189"/>
                      </a:lnTo>
                      <a:lnTo>
                        <a:pt x="3095" y="6092"/>
                      </a:lnTo>
                      <a:lnTo>
                        <a:pt x="3456" y="5951"/>
                      </a:lnTo>
                      <a:lnTo>
                        <a:pt x="3809" y="5863"/>
                      </a:lnTo>
                      <a:lnTo>
                        <a:pt x="4153" y="5925"/>
                      </a:lnTo>
                      <a:lnTo>
                        <a:pt x="5686" y="3642"/>
                      </a:lnTo>
                      <a:lnTo>
                        <a:pt x="5510" y="3527"/>
                      </a:lnTo>
                      <a:lnTo>
                        <a:pt x="5352" y="3368"/>
                      </a:lnTo>
                      <a:lnTo>
                        <a:pt x="5166" y="3218"/>
                      </a:lnTo>
                      <a:lnTo>
                        <a:pt x="5078" y="3139"/>
                      </a:lnTo>
                      <a:lnTo>
                        <a:pt x="5078" y="2857"/>
                      </a:lnTo>
                      <a:lnTo>
                        <a:pt x="5219" y="2557"/>
                      </a:lnTo>
                      <a:lnTo>
                        <a:pt x="5175" y="2284"/>
                      </a:lnTo>
                      <a:lnTo>
                        <a:pt x="5078" y="2258"/>
                      </a:lnTo>
                      <a:lnTo>
                        <a:pt x="4884" y="2293"/>
                      </a:lnTo>
                      <a:lnTo>
                        <a:pt x="4646" y="2231"/>
                      </a:lnTo>
                      <a:lnTo>
                        <a:pt x="4435" y="2090"/>
                      </a:lnTo>
                      <a:lnTo>
                        <a:pt x="4364" y="1790"/>
                      </a:lnTo>
                      <a:lnTo>
                        <a:pt x="4532" y="1517"/>
                      </a:lnTo>
                      <a:lnTo>
                        <a:pt x="4602" y="1217"/>
                      </a:lnTo>
                      <a:lnTo>
                        <a:pt x="4452" y="689"/>
                      </a:lnTo>
                      <a:lnTo>
                        <a:pt x="4505" y="442"/>
                      </a:lnTo>
                      <a:lnTo>
                        <a:pt x="4505" y="442"/>
                      </a:lnTo>
                      <a:lnTo>
                        <a:pt x="4408" y="468"/>
                      </a:lnTo>
                      <a:lnTo>
                        <a:pt x="4206" y="442"/>
                      </a:lnTo>
                      <a:lnTo>
                        <a:pt x="4109" y="468"/>
                      </a:lnTo>
                      <a:lnTo>
                        <a:pt x="3871" y="609"/>
                      </a:lnTo>
                      <a:lnTo>
                        <a:pt x="3694" y="442"/>
                      </a:lnTo>
                      <a:lnTo>
                        <a:pt x="3624" y="204"/>
                      </a:lnTo>
                      <a:lnTo>
                        <a:pt x="3439" y="124"/>
                      </a:lnTo>
                      <a:lnTo>
                        <a:pt x="3342" y="133"/>
                      </a:lnTo>
                      <a:lnTo>
                        <a:pt x="3148" y="98"/>
                      </a:lnTo>
                      <a:lnTo>
                        <a:pt x="308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0" name="Google Shape;3148;p54">
                  <a:extLst>
                    <a:ext uri="{FF2B5EF4-FFF2-40B4-BE49-F238E27FC236}">
                      <a16:creationId xmlns:a16="http://schemas.microsoft.com/office/drawing/2014/main" id="{14D2C753-BEC4-8206-A589-1E94DCB580EC}"/>
                    </a:ext>
                  </a:extLst>
                </p:cNvPr>
                <p:cNvSpPr/>
                <p:nvPr/>
              </p:nvSpPr>
              <p:spPr>
                <a:xfrm>
                  <a:off x="5189949" y="2411510"/>
                  <a:ext cx="287071" cy="447527"/>
                </a:xfrm>
                <a:custGeom>
                  <a:avLst/>
                  <a:gdLst/>
                  <a:ahLst/>
                  <a:cxnLst/>
                  <a:rect l="l" t="t" r="r" b="b"/>
                  <a:pathLst>
                    <a:path w="4038" h="6295" extrusionOk="0">
                      <a:moveTo>
                        <a:pt x="1904" y="1"/>
                      </a:moveTo>
                      <a:lnTo>
                        <a:pt x="1807" y="62"/>
                      </a:lnTo>
                      <a:lnTo>
                        <a:pt x="1790" y="203"/>
                      </a:lnTo>
                      <a:lnTo>
                        <a:pt x="1825" y="415"/>
                      </a:lnTo>
                      <a:lnTo>
                        <a:pt x="1922" y="591"/>
                      </a:lnTo>
                      <a:lnTo>
                        <a:pt x="1984" y="900"/>
                      </a:lnTo>
                      <a:lnTo>
                        <a:pt x="1922" y="1288"/>
                      </a:lnTo>
                      <a:lnTo>
                        <a:pt x="2054" y="1534"/>
                      </a:lnTo>
                      <a:lnTo>
                        <a:pt x="2160" y="1764"/>
                      </a:lnTo>
                      <a:lnTo>
                        <a:pt x="1966" y="2010"/>
                      </a:lnTo>
                      <a:lnTo>
                        <a:pt x="1684" y="2143"/>
                      </a:lnTo>
                      <a:lnTo>
                        <a:pt x="1428" y="2293"/>
                      </a:lnTo>
                      <a:lnTo>
                        <a:pt x="873" y="2531"/>
                      </a:lnTo>
                      <a:lnTo>
                        <a:pt x="767" y="2848"/>
                      </a:lnTo>
                      <a:lnTo>
                        <a:pt x="820" y="3112"/>
                      </a:lnTo>
                      <a:lnTo>
                        <a:pt x="838" y="3253"/>
                      </a:lnTo>
                      <a:lnTo>
                        <a:pt x="653" y="3297"/>
                      </a:lnTo>
                      <a:lnTo>
                        <a:pt x="141" y="2857"/>
                      </a:lnTo>
                      <a:lnTo>
                        <a:pt x="88" y="3104"/>
                      </a:lnTo>
                      <a:lnTo>
                        <a:pt x="238" y="3632"/>
                      </a:lnTo>
                      <a:lnTo>
                        <a:pt x="168" y="3932"/>
                      </a:lnTo>
                      <a:lnTo>
                        <a:pt x="0" y="4205"/>
                      </a:lnTo>
                      <a:lnTo>
                        <a:pt x="71" y="4505"/>
                      </a:lnTo>
                      <a:lnTo>
                        <a:pt x="282" y="4646"/>
                      </a:lnTo>
                      <a:lnTo>
                        <a:pt x="520" y="4708"/>
                      </a:lnTo>
                      <a:lnTo>
                        <a:pt x="714" y="4673"/>
                      </a:lnTo>
                      <a:lnTo>
                        <a:pt x="811" y="4699"/>
                      </a:lnTo>
                      <a:lnTo>
                        <a:pt x="855" y="4972"/>
                      </a:lnTo>
                      <a:lnTo>
                        <a:pt x="714" y="5272"/>
                      </a:lnTo>
                      <a:lnTo>
                        <a:pt x="714" y="5554"/>
                      </a:lnTo>
                      <a:lnTo>
                        <a:pt x="802" y="5633"/>
                      </a:lnTo>
                      <a:lnTo>
                        <a:pt x="988" y="5783"/>
                      </a:lnTo>
                      <a:lnTo>
                        <a:pt x="1146" y="5942"/>
                      </a:lnTo>
                      <a:lnTo>
                        <a:pt x="1322" y="6057"/>
                      </a:lnTo>
                      <a:lnTo>
                        <a:pt x="1587" y="6092"/>
                      </a:lnTo>
                      <a:lnTo>
                        <a:pt x="1975" y="5977"/>
                      </a:lnTo>
                      <a:lnTo>
                        <a:pt x="2248" y="5968"/>
                      </a:lnTo>
                      <a:lnTo>
                        <a:pt x="2371" y="6030"/>
                      </a:lnTo>
                      <a:lnTo>
                        <a:pt x="2574" y="6224"/>
                      </a:lnTo>
                      <a:lnTo>
                        <a:pt x="2803" y="6295"/>
                      </a:lnTo>
                      <a:lnTo>
                        <a:pt x="3288" y="6109"/>
                      </a:lnTo>
                      <a:lnTo>
                        <a:pt x="3412" y="5863"/>
                      </a:lnTo>
                      <a:lnTo>
                        <a:pt x="3606" y="5669"/>
                      </a:lnTo>
                      <a:lnTo>
                        <a:pt x="4020" y="5008"/>
                      </a:lnTo>
                      <a:lnTo>
                        <a:pt x="4037" y="4734"/>
                      </a:lnTo>
                      <a:lnTo>
                        <a:pt x="3985" y="4461"/>
                      </a:lnTo>
                      <a:lnTo>
                        <a:pt x="4011" y="4179"/>
                      </a:lnTo>
                      <a:lnTo>
                        <a:pt x="3685" y="3756"/>
                      </a:lnTo>
                      <a:lnTo>
                        <a:pt x="3464" y="3333"/>
                      </a:lnTo>
                      <a:lnTo>
                        <a:pt x="3597" y="3024"/>
                      </a:lnTo>
                      <a:lnTo>
                        <a:pt x="3694" y="2707"/>
                      </a:lnTo>
                      <a:lnTo>
                        <a:pt x="3694" y="2557"/>
                      </a:lnTo>
                      <a:lnTo>
                        <a:pt x="3702" y="2416"/>
                      </a:lnTo>
                      <a:lnTo>
                        <a:pt x="3755" y="2293"/>
                      </a:lnTo>
                      <a:lnTo>
                        <a:pt x="3817" y="2178"/>
                      </a:lnTo>
                      <a:lnTo>
                        <a:pt x="3755" y="2028"/>
                      </a:lnTo>
                      <a:lnTo>
                        <a:pt x="3685" y="1887"/>
                      </a:lnTo>
                      <a:lnTo>
                        <a:pt x="3641" y="1755"/>
                      </a:lnTo>
                      <a:lnTo>
                        <a:pt x="3623" y="1623"/>
                      </a:lnTo>
                      <a:lnTo>
                        <a:pt x="3667" y="1482"/>
                      </a:lnTo>
                      <a:lnTo>
                        <a:pt x="3561" y="1305"/>
                      </a:lnTo>
                      <a:lnTo>
                        <a:pt x="3191" y="1067"/>
                      </a:lnTo>
                      <a:lnTo>
                        <a:pt x="3130" y="829"/>
                      </a:lnTo>
                      <a:lnTo>
                        <a:pt x="3041" y="653"/>
                      </a:lnTo>
                      <a:lnTo>
                        <a:pt x="2892" y="574"/>
                      </a:lnTo>
                      <a:lnTo>
                        <a:pt x="2777" y="424"/>
                      </a:lnTo>
                      <a:lnTo>
                        <a:pt x="2733" y="309"/>
                      </a:lnTo>
                      <a:lnTo>
                        <a:pt x="2715" y="186"/>
                      </a:lnTo>
                      <a:lnTo>
                        <a:pt x="2680" y="106"/>
                      </a:lnTo>
                      <a:lnTo>
                        <a:pt x="2548" y="45"/>
                      </a:lnTo>
                      <a:lnTo>
                        <a:pt x="2468" y="27"/>
                      </a:lnTo>
                      <a:lnTo>
                        <a:pt x="2204" y="71"/>
                      </a:lnTo>
                      <a:lnTo>
                        <a:pt x="1904"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1" name="Google Shape;3149;p54">
                  <a:extLst>
                    <a:ext uri="{FF2B5EF4-FFF2-40B4-BE49-F238E27FC236}">
                      <a16:creationId xmlns:a16="http://schemas.microsoft.com/office/drawing/2014/main" id="{AD5E2367-40D0-8F27-6038-1B496FC18199}"/>
                    </a:ext>
                  </a:extLst>
                </p:cNvPr>
                <p:cNvSpPr/>
                <p:nvPr/>
              </p:nvSpPr>
              <p:spPr>
                <a:xfrm>
                  <a:off x="5139827" y="2055538"/>
                  <a:ext cx="712560" cy="522743"/>
                </a:xfrm>
                <a:custGeom>
                  <a:avLst/>
                  <a:gdLst/>
                  <a:ahLst/>
                  <a:cxnLst/>
                  <a:rect l="l" t="t" r="r" b="b"/>
                  <a:pathLst>
                    <a:path w="10023" h="7353" extrusionOk="0">
                      <a:moveTo>
                        <a:pt x="5906" y="1"/>
                      </a:moveTo>
                      <a:lnTo>
                        <a:pt x="5721" y="71"/>
                      </a:lnTo>
                      <a:lnTo>
                        <a:pt x="5280" y="98"/>
                      </a:lnTo>
                      <a:lnTo>
                        <a:pt x="5236" y="371"/>
                      </a:lnTo>
                      <a:lnTo>
                        <a:pt x="5289" y="441"/>
                      </a:lnTo>
                      <a:lnTo>
                        <a:pt x="5271" y="547"/>
                      </a:lnTo>
                      <a:lnTo>
                        <a:pt x="5227" y="679"/>
                      </a:lnTo>
                      <a:lnTo>
                        <a:pt x="5218" y="794"/>
                      </a:lnTo>
                      <a:lnTo>
                        <a:pt x="5095" y="962"/>
                      </a:lnTo>
                      <a:lnTo>
                        <a:pt x="4725" y="1182"/>
                      </a:lnTo>
                      <a:lnTo>
                        <a:pt x="4513" y="1208"/>
                      </a:lnTo>
                      <a:lnTo>
                        <a:pt x="4117" y="1094"/>
                      </a:lnTo>
                      <a:lnTo>
                        <a:pt x="3429" y="1429"/>
                      </a:lnTo>
                      <a:lnTo>
                        <a:pt x="3050" y="1455"/>
                      </a:lnTo>
                      <a:lnTo>
                        <a:pt x="2865" y="1438"/>
                      </a:lnTo>
                      <a:lnTo>
                        <a:pt x="2592" y="1543"/>
                      </a:lnTo>
                      <a:lnTo>
                        <a:pt x="1878" y="1411"/>
                      </a:lnTo>
                      <a:lnTo>
                        <a:pt x="1428" y="1561"/>
                      </a:lnTo>
                      <a:lnTo>
                        <a:pt x="987" y="1764"/>
                      </a:lnTo>
                      <a:lnTo>
                        <a:pt x="256" y="1852"/>
                      </a:lnTo>
                      <a:lnTo>
                        <a:pt x="0" y="1975"/>
                      </a:lnTo>
                      <a:lnTo>
                        <a:pt x="35" y="2099"/>
                      </a:lnTo>
                      <a:lnTo>
                        <a:pt x="62" y="2222"/>
                      </a:lnTo>
                      <a:lnTo>
                        <a:pt x="44" y="2354"/>
                      </a:lnTo>
                      <a:lnTo>
                        <a:pt x="97" y="2469"/>
                      </a:lnTo>
                      <a:lnTo>
                        <a:pt x="185" y="2575"/>
                      </a:lnTo>
                      <a:lnTo>
                        <a:pt x="282" y="2654"/>
                      </a:lnTo>
                      <a:lnTo>
                        <a:pt x="529" y="2663"/>
                      </a:lnTo>
                      <a:lnTo>
                        <a:pt x="767" y="2883"/>
                      </a:lnTo>
                      <a:lnTo>
                        <a:pt x="1005" y="3148"/>
                      </a:lnTo>
                      <a:lnTo>
                        <a:pt x="1217" y="3227"/>
                      </a:lnTo>
                      <a:lnTo>
                        <a:pt x="1587" y="3227"/>
                      </a:lnTo>
                      <a:lnTo>
                        <a:pt x="1675" y="3350"/>
                      </a:lnTo>
                      <a:lnTo>
                        <a:pt x="1719" y="3491"/>
                      </a:lnTo>
                      <a:lnTo>
                        <a:pt x="1772" y="3615"/>
                      </a:lnTo>
                      <a:lnTo>
                        <a:pt x="2415" y="4408"/>
                      </a:lnTo>
                      <a:lnTo>
                        <a:pt x="2618" y="4540"/>
                      </a:lnTo>
                      <a:lnTo>
                        <a:pt x="2856" y="4576"/>
                      </a:lnTo>
                      <a:lnTo>
                        <a:pt x="3050" y="4752"/>
                      </a:lnTo>
                      <a:lnTo>
                        <a:pt x="3173" y="5034"/>
                      </a:lnTo>
                      <a:lnTo>
                        <a:pt x="3253" y="5052"/>
                      </a:lnTo>
                      <a:lnTo>
                        <a:pt x="3385" y="5113"/>
                      </a:lnTo>
                      <a:lnTo>
                        <a:pt x="3420" y="5193"/>
                      </a:lnTo>
                      <a:lnTo>
                        <a:pt x="3438" y="5316"/>
                      </a:lnTo>
                      <a:lnTo>
                        <a:pt x="3482" y="5431"/>
                      </a:lnTo>
                      <a:lnTo>
                        <a:pt x="3597" y="5581"/>
                      </a:lnTo>
                      <a:lnTo>
                        <a:pt x="3746" y="5660"/>
                      </a:lnTo>
                      <a:lnTo>
                        <a:pt x="3835" y="5836"/>
                      </a:lnTo>
                      <a:lnTo>
                        <a:pt x="3896" y="6074"/>
                      </a:lnTo>
                      <a:lnTo>
                        <a:pt x="4266" y="6312"/>
                      </a:lnTo>
                      <a:lnTo>
                        <a:pt x="4372" y="6489"/>
                      </a:lnTo>
                      <a:lnTo>
                        <a:pt x="4328" y="6630"/>
                      </a:lnTo>
                      <a:lnTo>
                        <a:pt x="4346" y="6762"/>
                      </a:lnTo>
                      <a:lnTo>
                        <a:pt x="4390" y="6894"/>
                      </a:lnTo>
                      <a:lnTo>
                        <a:pt x="4460" y="7035"/>
                      </a:lnTo>
                      <a:lnTo>
                        <a:pt x="4522" y="7185"/>
                      </a:lnTo>
                      <a:lnTo>
                        <a:pt x="5571" y="7352"/>
                      </a:lnTo>
                      <a:lnTo>
                        <a:pt x="6091" y="7017"/>
                      </a:lnTo>
                      <a:lnTo>
                        <a:pt x="6303" y="6947"/>
                      </a:lnTo>
                      <a:lnTo>
                        <a:pt x="7801" y="5968"/>
                      </a:lnTo>
                      <a:lnTo>
                        <a:pt x="8198" y="5431"/>
                      </a:lnTo>
                      <a:lnTo>
                        <a:pt x="8365" y="5219"/>
                      </a:lnTo>
                      <a:lnTo>
                        <a:pt x="8586" y="5069"/>
                      </a:lnTo>
                      <a:lnTo>
                        <a:pt x="8727" y="4875"/>
                      </a:lnTo>
                      <a:lnTo>
                        <a:pt x="8841" y="4637"/>
                      </a:lnTo>
                      <a:lnTo>
                        <a:pt x="8982" y="4426"/>
                      </a:lnTo>
                      <a:lnTo>
                        <a:pt x="9141" y="4223"/>
                      </a:lnTo>
                      <a:lnTo>
                        <a:pt x="9547" y="3915"/>
                      </a:lnTo>
                      <a:lnTo>
                        <a:pt x="9882" y="3580"/>
                      </a:lnTo>
                      <a:lnTo>
                        <a:pt x="10023" y="3086"/>
                      </a:lnTo>
                      <a:lnTo>
                        <a:pt x="10005" y="2945"/>
                      </a:lnTo>
                      <a:lnTo>
                        <a:pt x="9961" y="2813"/>
                      </a:lnTo>
                      <a:lnTo>
                        <a:pt x="9793" y="2725"/>
                      </a:lnTo>
                      <a:lnTo>
                        <a:pt x="9573" y="2328"/>
                      </a:lnTo>
                      <a:lnTo>
                        <a:pt x="9441" y="1878"/>
                      </a:lnTo>
                      <a:lnTo>
                        <a:pt x="9388" y="1746"/>
                      </a:lnTo>
                      <a:lnTo>
                        <a:pt x="9300" y="1667"/>
                      </a:lnTo>
                      <a:lnTo>
                        <a:pt x="9212" y="1490"/>
                      </a:lnTo>
                      <a:lnTo>
                        <a:pt x="9220" y="1261"/>
                      </a:lnTo>
                      <a:lnTo>
                        <a:pt x="9256" y="917"/>
                      </a:lnTo>
                      <a:lnTo>
                        <a:pt x="9062" y="724"/>
                      </a:lnTo>
                      <a:lnTo>
                        <a:pt x="8868" y="785"/>
                      </a:lnTo>
                      <a:lnTo>
                        <a:pt x="8674" y="865"/>
                      </a:lnTo>
                      <a:lnTo>
                        <a:pt x="8454" y="909"/>
                      </a:lnTo>
                      <a:lnTo>
                        <a:pt x="8233" y="935"/>
                      </a:lnTo>
                      <a:lnTo>
                        <a:pt x="7872" y="856"/>
                      </a:lnTo>
                      <a:lnTo>
                        <a:pt x="7440" y="891"/>
                      </a:lnTo>
                      <a:lnTo>
                        <a:pt x="7078" y="635"/>
                      </a:lnTo>
                      <a:lnTo>
                        <a:pt x="6752" y="274"/>
                      </a:lnTo>
                      <a:lnTo>
                        <a:pt x="6523" y="203"/>
                      </a:lnTo>
                      <a:lnTo>
                        <a:pt x="6285" y="221"/>
                      </a:lnTo>
                      <a:lnTo>
                        <a:pt x="6074" y="203"/>
                      </a:lnTo>
                      <a:lnTo>
                        <a:pt x="5985" y="142"/>
                      </a:lnTo>
                      <a:lnTo>
                        <a:pt x="5950" y="18"/>
                      </a:lnTo>
                      <a:lnTo>
                        <a:pt x="590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2" name="Google Shape;3150;p54">
                  <a:extLst>
                    <a:ext uri="{FF2B5EF4-FFF2-40B4-BE49-F238E27FC236}">
                      <a16:creationId xmlns:a16="http://schemas.microsoft.com/office/drawing/2014/main" id="{61C85053-42F1-38C4-22A4-103B43CB3A79}"/>
                    </a:ext>
                  </a:extLst>
                </p:cNvPr>
                <p:cNvSpPr/>
                <p:nvPr/>
              </p:nvSpPr>
              <p:spPr>
                <a:xfrm>
                  <a:off x="4965574" y="2231000"/>
                  <a:ext cx="399895" cy="414967"/>
                </a:xfrm>
                <a:custGeom>
                  <a:avLst/>
                  <a:gdLst/>
                  <a:ahLst/>
                  <a:cxnLst/>
                  <a:rect l="l" t="t" r="r" b="b"/>
                  <a:pathLst>
                    <a:path w="5625" h="5837" extrusionOk="0">
                      <a:moveTo>
                        <a:pt x="2548" y="1"/>
                      </a:moveTo>
                      <a:lnTo>
                        <a:pt x="1799" y="724"/>
                      </a:lnTo>
                      <a:lnTo>
                        <a:pt x="1587" y="1341"/>
                      </a:lnTo>
                      <a:lnTo>
                        <a:pt x="1270" y="1843"/>
                      </a:lnTo>
                      <a:lnTo>
                        <a:pt x="521" y="2460"/>
                      </a:lnTo>
                      <a:lnTo>
                        <a:pt x="1" y="3368"/>
                      </a:lnTo>
                      <a:lnTo>
                        <a:pt x="97" y="3703"/>
                      </a:lnTo>
                      <a:lnTo>
                        <a:pt x="618" y="4029"/>
                      </a:lnTo>
                      <a:lnTo>
                        <a:pt x="856" y="4232"/>
                      </a:lnTo>
                      <a:lnTo>
                        <a:pt x="926" y="4259"/>
                      </a:lnTo>
                      <a:lnTo>
                        <a:pt x="997" y="4311"/>
                      </a:lnTo>
                      <a:lnTo>
                        <a:pt x="1067" y="4426"/>
                      </a:lnTo>
                      <a:lnTo>
                        <a:pt x="1164" y="4497"/>
                      </a:lnTo>
                      <a:lnTo>
                        <a:pt x="1411" y="4514"/>
                      </a:lnTo>
                      <a:lnTo>
                        <a:pt x="1561" y="4585"/>
                      </a:lnTo>
                      <a:lnTo>
                        <a:pt x="1622" y="4646"/>
                      </a:lnTo>
                      <a:lnTo>
                        <a:pt x="1913" y="4752"/>
                      </a:lnTo>
                      <a:lnTo>
                        <a:pt x="1878" y="4955"/>
                      </a:lnTo>
                      <a:lnTo>
                        <a:pt x="1940" y="5052"/>
                      </a:lnTo>
                      <a:lnTo>
                        <a:pt x="2134" y="5087"/>
                      </a:lnTo>
                      <a:lnTo>
                        <a:pt x="2231" y="5078"/>
                      </a:lnTo>
                      <a:lnTo>
                        <a:pt x="2416" y="5158"/>
                      </a:lnTo>
                      <a:lnTo>
                        <a:pt x="2486" y="5396"/>
                      </a:lnTo>
                      <a:lnTo>
                        <a:pt x="2663" y="5563"/>
                      </a:lnTo>
                      <a:lnTo>
                        <a:pt x="2901" y="5422"/>
                      </a:lnTo>
                      <a:lnTo>
                        <a:pt x="2998" y="5396"/>
                      </a:lnTo>
                      <a:lnTo>
                        <a:pt x="3200" y="5422"/>
                      </a:lnTo>
                      <a:lnTo>
                        <a:pt x="3297" y="5396"/>
                      </a:lnTo>
                      <a:lnTo>
                        <a:pt x="3809" y="5836"/>
                      </a:lnTo>
                      <a:lnTo>
                        <a:pt x="3994" y="5792"/>
                      </a:lnTo>
                      <a:lnTo>
                        <a:pt x="3976" y="5651"/>
                      </a:lnTo>
                      <a:lnTo>
                        <a:pt x="3923" y="5387"/>
                      </a:lnTo>
                      <a:lnTo>
                        <a:pt x="4029" y="5070"/>
                      </a:lnTo>
                      <a:lnTo>
                        <a:pt x="4584" y="4832"/>
                      </a:lnTo>
                      <a:lnTo>
                        <a:pt x="4840" y="4682"/>
                      </a:lnTo>
                      <a:lnTo>
                        <a:pt x="5122" y="4549"/>
                      </a:lnTo>
                      <a:lnTo>
                        <a:pt x="5316" y="4303"/>
                      </a:lnTo>
                      <a:lnTo>
                        <a:pt x="5210" y="4073"/>
                      </a:lnTo>
                      <a:lnTo>
                        <a:pt x="5078" y="3827"/>
                      </a:lnTo>
                      <a:lnTo>
                        <a:pt x="5140" y="3439"/>
                      </a:lnTo>
                      <a:lnTo>
                        <a:pt x="5078" y="3130"/>
                      </a:lnTo>
                      <a:lnTo>
                        <a:pt x="4981" y="2954"/>
                      </a:lnTo>
                      <a:lnTo>
                        <a:pt x="4946" y="2742"/>
                      </a:lnTo>
                      <a:lnTo>
                        <a:pt x="4963" y="2601"/>
                      </a:lnTo>
                      <a:lnTo>
                        <a:pt x="5060" y="2540"/>
                      </a:lnTo>
                      <a:lnTo>
                        <a:pt x="5360" y="2610"/>
                      </a:lnTo>
                      <a:lnTo>
                        <a:pt x="5624" y="2566"/>
                      </a:lnTo>
                      <a:lnTo>
                        <a:pt x="5501" y="2284"/>
                      </a:lnTo>
                      <a:lnTo>
                        <a:pt x="5307" y="2108"/>
                      </a:lnTo>
                      <a:lnTo>
                        <a:pt x="5069" y="2072"/>
                      </a:lnTo>
                      <a:lnTo>
                        <a:pt x="4866" y="1940"/>
                      </a:lnTo>
                      <a:lnTo>
                        <a:pt x="4223" y="1147"/>
                      </a:lnTo>
                      <a:lnTo>
                        <a:pt x="4170" y="1023"/>
                      </a:lnTo>
                      <a:lnTo>
                        <a:pt x="4126" y="882"/>
                      </a:lnTo>
                      <a:lnTo>
                        <a:pt x="4038" y="759"/>
                      </a:lnTo>
                      <a:lnTo>
                        <a:pt x="3668" y="759"/>
                      </a:lnTo>
                      <a:lnTo>
                        <a:pt x="3456" y="680"/>
                      </a:lnTo>
                      <a:lnTo>
                        <a:pt x="3218" y="415"/>
                      </a:lnTo>
                      <a:lnTo>
                        <a:pt x="2980" y="195"/>
                      </a:lnTo>
                      <a:lnTo>
                        <a:pt x="2733" y="186"/>
                      </a:lnTo>
                      <a:lnTo>
                        <a:pt x="2636" y="107"/>
                      </a:lnTo>
                      <a:lnTo>
                        <a:pt x="2548"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3" name="Google Shape;3151;p54">
                  <a:extLst>
                    <a:ext uri="{FF2B5EF4-FFF2-40B4-BE49-F238E27FC236}">
                      <a16:creationId xmlns:a16="http://schemas.microsoft.com/office/drawing/2014/main" id="{D455B86A-8A53-C1E8-EADF-BDFB555ADF91}"/>
                    </a:ext>
                  </a:extLst>
                </p:cNvPr>
                <p:cNvSpPr/>
                <p:nvPr/>
              </p:nvSpPr>
              <p:spPr>
                <a:xfrm>
                  <a:off x="3420111" y="2632758"/>
                  <a:ext cx="346007" cy="283304"/>
                </a:xfrm>
                <a:custGeom>
                  <a:avLst/>
                  <a:gdLst/>
                  <a:ahLst/>
                  <a:cxnLst/>
                  <a:rect l="l" t="t" r="r" b="b"/>
                  <a:pathLst>
                    <a:path w="4867" h="3985" extrusionOk="0">
                      <a:moveTo>
                        <a:pt x="3941" y="0"/>
                      </a:moveTo>
                      <a:lnTo>
                        <a:pt x="3642" y="9"/>
                      </a:lnTo>
                      <a:lnTo>
                        <a:pt x="3518" y="44"/>
                      </a:lnTo>
                      <a:lnTo>
                        <a:pt x="3395" y="115"/>
                      </a:lnTo>
                      <a:lnTo>
                        <a:pt x="3315" y="450"/>
                      </a:lnTo>
                      <a:lnTo>
                        <a:pt x="3201" y="723"/>
                      </a:lnTo>
                      <a:lnTo>
                        <a:pt x="2936" y="741"/>
                      </a:lnTo>
                      <a:lnTo>
                        <a:pt x="2355" y="908"/>
                      </a:lnTo>
                      <a:lnTo>
                        <a:pt x="2020" y="926"/>
                      </a:lnTo>
                      <a:lnTo>
                        <a:pt x="1711" y="882"/>
                      </a:lnTo>
                      <a:lnTo>
                        <a:pt x="1420" y="706"/>
                      </a:lnTo>
                      <a:lnTo>
                        <a:pt x="1147" y="697"/>
                      </a:lnTo>
                      <a:lnTo>
                        <a:pt x="900" y="917"/>
                      </a:lnTo>
                      <a:lnTo>
                        <a:pt x="724" y="1093"/>
                      </a:lnTo>
                      <a:lnTo>
                        <a:pt x="371" y="1375"/>
                      </a:lnTo>
                      <a:lnTo>
                        <a:pt x="318" y="1490"/>
                      </a:lnTo>
                      <a:lnTo>
                        <a:pt x="177" y="1640"/>
                      </a:lnTo>
                      <a:lnTo>
                        <a:pt x="45" y="1693"/>
                      </a:lnTo>
                      <a:lnTo>
                        <a:pt x="63" y="1904"/>
                      </a:lnTo>
                      <a:lnTo>
                        <a:pt x="195" y="1948"/>
                      </a:lnTo>
                      <a:lnTo>
                        <a:pt x="301" y="2081"/>
                      </a:lnTo>
                      <a:lnTo>
                        <a:pt x="318" y="2204"/>
                      </a:lnTo>
                      <a:lnTo>
                        <a:pt x="318" y="2345"/>
                      </a:lnTo>
                      <a:lnTo>
                        <a:pt x="354" y="2636"/>
                      </a:lnTo>
                      <a:lnTo>
                        <a:pt x="327" y="2918"/>
                      </a:lnTo>
                      <a:lnTo>
                        <a:pt x="257" y="3094"/>
                      </a:lnTo>
                      <a:lnTo>
                        <a:pt x="168" y="3244"/>
                      </a:lnTo>
                      <a:lnTo>
                        <a:pt x="45" y="3368"/>
                      </a:lnTo>
                      <a:lnTo>
                        <a:pt x="1" y="3447"/>
                      </a:lnTo>
                      <a:lnTo>
                        <a:pt x="116" y="3544"/>
                      </a:lnTo>
                      <a:lnTo>
                        <a:pt x="257" y="3544"/>
                      </a:lnTo>
                      <a:lnTo>
                        <a:pt x="424" y="3738"/>
                      </a:lnTo>
                      <a:lnTo>
                        <a:pt x="706" y="3791"/>
                      </a:lnTo>
                      <a:lnTo>
                        <a:pt x="953" y="3949"/>
                      </a:lnTo>
                      <a:lnTo>
                        <a:pt x="1217" y="3949"/>
                      </a:lnTo>
                      <a:lnTo>
                        <a:pt x="1455" y="3791"/>
                      </a:lnTo>
                      <a:lnTo>
                        <a:pt x="1623" y="3817"/>
                      </a:lnTo>
                      <a:lnTo>
                        <a:pt x="1764" y="3985"/>
                      </a:lnTo>
                      <a:lnTo>
                        <a:pt x="1923" y="3985"/>
                      </a:lnTo>
                      <a:lnTo>
                        <a:pt x="2072" y="3941"/>
                      </a:lnTo>
                      <a:lnTo>
                        <a:pt x="2134" y="3905"/>
                      </a:lnTo>
                      <a:lnTo>
                        <a:pt x="2196" y="3879"/>
                      </a:lnTo>
                      <a:lnTo>
                        <a:pt x="2310" y="3958"/>
                      </a:lnTo>
                      <a:lnTo>
                        <a:pt x="2363" y="3941"/>
                      </a:lnTo>
                      <a:lnTo>
                        <a:pt x="2425" y="3826"/>
                      </a:lnTo>
                      <a:lnTo>
                        <a:pt x="2425" y="3756"/>
                      </a:lnTo>
                      <a:lnTo>
                        <a:pt x="2663" y="3570"/>
                      </a:lnTo>
                      <a:lnTo>
                        <a:pt x="2989" y="3606"/>
                      </a:lnTo>
                      <a:lnTo>
                        <a:pt x="3342" y="3597"/>
                      </a:lnTo>
                      <a:lnTo>
                        <a:pt x="3509" y="3544"/>
                      </a:lnTo>
                      <a:lnTo>
                        <a:pt x="3659" y="3412"/>
                      </a:lnTo>
                      <a:lnTo>
                        <a:pt x="3624" y="3068"/>
                      </a:lnTo>
                      <a:lnTo>
                        <a:pt x="3668" y="2707"/>
                      </a:lnTo>
                      <a:lnTo>
                        <a:pt x="4241" y="2583"/>
                      </a:lnTo>
                      <a:lnTo>
                        <a:pt x="4232" y="2416"/>
                      </a:lnTo>
                      <a:lnTo>
                        <a:pt x="4338" y="2283"/>
                      </a:lnTo>
                      <a:lnTo>
                        <a:pt x="4426" y="2037"/>
                      </a:lnTo>
                      <a:lnTo>
                        <a:pt x="4497" y="1807"/>
                      </a:lnTo>
                      <a:lnTo>
                        <a:pt x="4779" y="1525"/>
                      </a:lnTo>
                      <a:lnTo>
                        <a:pt x="4849" y="1305"/>
                      </a:lnTo>
                      <a:lnTo>
                        <a:pt x="4867" y="1058"/>
                      </a:lnTo>
                      <a:lnTo>
                        <a:pt x="4867" y="441"/>
                      </a:lnTo>
                      <a:lnTo>
                        <a:pt x="4655" y="194"/>
                      </a:lnTo>
                      <a:lnTo>
                        <a:pt x="4514" y="133"/>
                      </a:lnTo>
                      <a:lnTo>
                        <a:pt x="3941"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4" name="Google Shape;3152;p54">
                  <a:extLst>
                    <a:ext uri="{FF2B5EF4-FFF2-40B4-BE49-F238E27FC236}">
                      <a16:creationId xmlns:a16="http://schemas.microsoft.com/office/drawing/2014/main" id="{B61D486F-1F66-C3F0-DCC3-B59AF2C9D14B}"/>
                    </a:ext>
                  </a:extLst>
                </p:cNvPr>
                <p:cNvSpPr/>
                <p:nvPr/>
              </p:nvSpPr>
              <p:spPr>
                <a:xfrm>
                  <a:off x="6554902" y="2125140"/>
                  <a:ext cx="770216" cy="448736"/>
                </a:xfrm>
                <a:custGeom>
                  <a:avLst/>
                  <a:gdLst/>
                  <a:ahLst/>
                  <a:cxnLst/>
                  <a:rect l="l" t="t" r="r" b="b"/>
                  <a:pathLst>
                    <a:path w="10834" h="6312" extrusionOk="0">
                      <a:moveTo>
                        <a:pt x="8224" y="0"/>
                      </a:moveTo>
                      <a:lnTo>
                        <a:pt x="8013" y="88"/>
                      </a:lnTo>
                      <a:lnTo>
                        <a:pt x="7819" y="256"/>
                      </a:lnTo>
                      <a:lnTo>
                        <a:pt x="7590" y="282"/>
                      </a:lnTo>
                      <a:lnTo>
                        <a:pt x="7325" y="256"/>
                      </a:lnTo>
                      <a:lnTo>
                        <a:pt x="7070" y="353"/>
                      </a:lnTo>
                      <a:lnTo>
                        <a:pt x="6902" y="617"/>
                      </a:lnTo>
                      <a:lnTo>
                        <a:pt x="6699" y="838"/>
                      </a:lnTo>
                      <a:lnTo>
                        <a:pt x="6179" y="961"/>
                      </a:lnTo>
                      <a:lnTo>
                        <a:pt x="5924" y="1084"/>
                      </a:lnTo>
                      <a:lnTo>
                        <a:pt x="5659" y="1111"/>
                      </a:lnTo>
                      <a:lnTo>
                        <a:pt x="5386" y="1093"/>
                      </a:lnTo>
                      <a:lnTo>
                        <a:pt x="5113" y="1120"/>
                      </a:lnTo>
                      <a:lnTo>
                        <a:pt x="4831" y="1084"/>
                      </a:lnTo>
                      <a:lnTo>
                        <a:pt x="4557" y="943"/>
                      </a:lnTo>
                      <a:lnTo>
                        <a:pt x="4275" y="864"/>
                      </a:lnTo>
                      <a:lnTo>
                        <a:pt x="4196" y="785"/>
                      </a:lnTo>
                      <a:lnTo>
                        <a:pt x="4125" y="679"/>
                      </a:lnTo>
                      <a:lnTo>
                        <a:pt x="3958" y="573"/>
                      </a:lnTo>
                      <a:lnTo>
                        <a:pt x="3773" y="503"/>
                      </a:lnTo>
                      <a:lnTo>
                        <a:pt x="3270" y="203"/>
                      </a:lnTo>
                      <a:lnTo>
                        <a:pt x="3129" y="168"/>
                      </a:lnTo>
                      <a:lnTo>
                        <a:pt x="2988" y="141"/>
                      </a:lnTo>
                      <a:lnTo>
                        <a:pt x="2856" y="88"/>
                      </a:lnTo>
                      <a:lnTo>
                        <a:pt x="2733" y="9"/>
                      </a:lnTo>
                      <a:lnTo>
                        <a:pt x="2548" y="88"/>
                      </a:lnTo>
                      <a:lnTo>
                        <a:pt x="2142" y="124"/>
                      </a:lnTo>
                      <a:lnTo>
                        <a:pt x="1939" y="106"/>
                      </a:lnTo>
                      <a:lnTo>
                        <a:pt x="1922" y="414"/>
                      </a:lnTo>
                      <a:lnTo>
                        <a:pt x="1825" y="653"/>
                      </a:lnTo>
                      <a:lnTo>
                        <a:pt x="1613" y="644"/>
                      </a:lnTo>
                      <a:lnTo>
                        <a:pt x="1402" y="608"/>
                      </a:lnTo>
                      <a:lnTo>
                        <a:pt x="1155" y="670"/>
                      </a:lnTo>
                      <a:lnTo>
                        <a:pt x="934" y="820"/>
                      </a:lnTo>
                      <a:lnTo>
                        <a:pt x="714" y="785"/>
                      </a:lnTo>
                      <a:lnTo>
                        <a:pt x="494" y="617"/>
                      </a:lnTo>
                      <a:lnTo>
                        <a:pt x="291" y="741"/>
                      </a:lnTo>
                      <a:lnTo>
                        <a:pt x="115" y="1243"/>
                      </a:lnTo>
                      <a:lnTo>
                        <a:pt x="150" y="1428"/>
                      </a:lnTo>
                      <a:lnTo>
                        <a:pt x="476" y="1419"/>
                      </a:lnTo>
                      <a:lnTo>
                        <a:pt x="811" y="1331"/>
                      </a:lnTo>
                      <a:lnTo>
                        <a:pt x="908" y="1455"/>
                      </a:lnTo>
                      <a:lnTo>
                        <a:pt x="864" y="1622"/>
                      </a:lnTo>
                      <a:lnTo>
                        <a:pt x="767" y="1640"/>
                      </a:lnTo>
                      <a:lnTo>
                        <a:pt x="679" y="1631"/>
                      </a:lnTo>
                      <a:lnTo>
                        <a:pt x="503" y="1728"/>
                      </a:lnTo>
                      <a:lnTo>
                        <a:pt x="379" y="1931"/>
                      </a:lnTo>
                      <a:lnTo>
                        <a:pt x="159" y="2230"/>
                      </a:lnTo>
                      <a:lnTo>
                        <a:pt x="106" y="2856"/>
                      </a:lnTo>
                      <a:lnTo>
                        <a:pt x="0" y="3068"/>
                      </a:lnTo>
                      <a:lnTo>
                        <a:pt x="53" y="3297"/>
                      </a:lnTo>
                      <a:lnTo>
                        <a:pt x="220" y="3456"/>
                      </a:lnTo>
                      <a:lnTo>
                        <a:pt x="370" y="3553"/>
                      </a:lnTo>
                      <a:lnTo>
                        <a:pt x="476" y="3694"/>
                      </a:lnTo>
                      <a:lnTo>
                        <a:pt x="441" y="3791"/>
                      </a:lnTo>
                      <a:lnTo>
                        <a:pt x="273" y="3905"/>
                      </a:lnTo>
                      <a:lnTo>
                        <a:pt x="220" y="3949"/>
                      </a:lnTo>
                      <a:lnTo>
                        <a:pt x="185" y="4002"/>
                      </a:lnTo>
                      <a:lnTo>
                        <a:pt x="141" y="4046"/>
                      </a:lnTo>
                      <a:lnTo>
                        <a:pt x="79" y="4064"/>
                      </a:lnTo>
                      <a:lnTo>
                        <a:pt x="106" y="4126"/>
                      </a:lnTo>
                      <a:lnTo>
                        <a:pt x="115" y="4231"/>
                      </a:lnTo>
                      <a:lnTo>
                        <a:pt x="115" y="4434"/>
                      </a:lnTo>
                      <a:lnTo>
                        <a:pt x="176" y="4602"/>
                      </a:lnTo>
                      <a:lnTo>
                        <a:pt x="203" y="4787"/>
                      </a:lnTo>
                      <a:lnTo>
                        <a:pt x="185" y="4884"/>
                      </a:lnTo>
                      <a:lnTo>
                        <a:pt x="176" y="4998"/>
                      </a:lnTo>
                      <a:lnTo>
                        <a:pt x="203" y="5095"/>
                      </a:lnTo>
                      <a:lnTo>
                        <a:pt x="229" y="5192"/>
                      </a:lnTo>
                      <a:lnTo>
                        <a:pt x="185" y="5395"/>
                      </a:lnTo>
                      <a:lnTo>
                        <a:pt x="79" y="5554"/>
                      </a:lnTo>
                      <a:lnTo>
                        <a:pt x="450" y="5739"/>
                      </a:lnTo>
                      <a:lnTo>
                        <a:pt x="890" y="5756"/>
                      </a:lnTo>
                      <a:lnTo>
                        <a:pt x="1102" y="5845"/>
                      </a:lnTo>
                      <a:lnTo>
                        <a:pt x="1296" y="5959"/>
                      </a:lnTo>
                      <a:lnTo>
                        <a:pt x="1596" y="6312"/>
                      </a:lnTo>
                      <a:lnTo>
                        <a:pt x="1719" y="6250"/>
                      </a:lnTo>
                      <a:lnTo>
                        <a:pt x="1860" y="6224"/>
                      </a:lnTo>
                      <a:lnTo>
                        <a:pt x="1825" y="5853"/>
                      </a:lnTo>
                      <a:lnTo>
                        <a:pt x="1790" y="5818"/>
                      </a:lnTo>
                      <a:lnTo>
                        <a:pt x="1745" y="5792"/>
                      </a:lnTo>
                      <a:lnTo>
                        <a:pt x="1728" y="5651"/>
                      </a:lnTo>
                      <a:lnTo>
                        <a:pt x="1745" y="5510"/>
                      </a:lnTo>
                      <a:lnTo>
                        <a:pt x="1781" y="5474"/>
                      </a:lnTo>
                      <a:lnTo>
                        <a:pt x="1807" y="5474"/>
                      </a:lnTo>
                      <a:lnTo>
                        <a:pt x="1913" y="5421"/>
                      </a:lnTo>
                      <a:lnTo>
                        <a:pt x="1975" y="5078"/>
                      </a:lnTo>
                      <a:lnTo>
                        <a:pt x="2089" y="5016"/>
                      </a:lnTo>
                      <a:lnTo>
                        <a:pt x="2213" y="4989"/>
                      </a:lnTo>
                      <a:lnTo>
                        <a:pt x="2336" y="4910"/>
                      </a:lnTo>
                      <a:lnTo>
                        <a:pt x="2274" y="4796"/>
                      </a:lnTo>
                      <a:lnTo>
                        <a:pt x="2213" y="4610"/>
                      </a:lnTo>
                      <a:lnTo>
                        <a:pt x="2283" y="4425"/>
                      </a:lnTo>
                      <a:lnTo>
                        <a:pt x="2556" y="4320"/>
                      </a:lnTo>
                      <a:lnTo>
                        <a:pt x="2618" y="4293"/>
                      </a:lnTo>
                      <a:lnTo>
                        <a:pt x="2671" y="4187"/>
                      </a:lnTo>
                      <a:lnTo>
                        <a:pt x="2742" y="4099"/>
                      </a:lnTo>
                      <a:lnTo>
                        <a:pt x="2874" y="4099"/>
                      </a:lnTo>
                      <a:lnTo>
                        <a:pt x="2988" y="4046"/>
                      </a:lnTo>
                      <a:lnTo>
                        <a:pt x="3068" y="3879"/>
                      </a:lnTo>
                      <a:lnTo>
                        <a:pt x="3200" y="3782"/>
                      </a:lnTo>
                      <a:lnTo>
                        <a:pt x="3658" y="3606"/>
                      </a:lnTo>
                      <a:lnTo>
                        <a:pt x="3896" y="3553"/>
                      </a:lnTo>
                      <a:lnTo>
                        <a:pt x="4143" y="3606"/>
                      </a:lnTo>
                      <a:lnTo>
                        <a:pt x="4337" y="3553"/>
                      </a:lnTo>
                      <a:lnTo>
                        <a:pt x="4522" y="3456"/>
                      </a:lnTo>
                      <a:lnTo>
                        <a:pt x="4875" y="3473"/>
                      </a:lnTo>
                      <a:lnTo>
                        <a:pt x="5236" y="3561"/>
                      </a:lnTo>
                      <a:lnTo>
                        <a:pt x="5598" y="3561"/>
                      </a:lnTo>
                      <a:lnTo>
                        <a:pt x="6303" y="3456"/>
                      </a:lnTo>
                      <a:lnTo>
                        <a:pt x="6638" y="3350"/>
                      </a:lnTo>
                      <a:lnTo>
                        <a:pt x="6840" y="3077"/>
                      </a:lnTo>
                      <a:lnTo>
                        <a:pt x="7017" y="3024"/>
                      </a:lnTo>
                      <a:lnTo>
                        <a:pt x="7264" y="3174"/>
                      </a:lnTo>
                      <a:lnTo>
                        <a:pt x="7625" y="3262"/>
                      </a:lnTo>
                      <a:lnTo>
                        <a:pt x="8057" y="3112"/>
                      </a:lnTo>
                      <a:lnTo>
                        <a:pt x="8154" y="3094"/>
                      </a:lnTo>
                      <a:lnTo>
                        <a:pt x="8330" y="3015"/>
                      </a:lnTo>
                      <a:lnTo>
                        <a:pt x="8480" y="2971"/>
                      </a:lnTo>
                      <a:lnTo>
                        <a:pt x="8498" y="2953"/>
                      </a:lnTo>
                      <a:lnTo>
                        <a:pt x="8542" y="2962"/>
                      </a:lnTo>
                      <a:lnTo>
                        <a:pt x="8718" y="3015"/>
                      </a:lnTo>
                      <a:lnTo>
                        <a:pt x="8806" y="3068"/>
                      </a:lnTo>
                      <a:lnTo>
                        <a:pt x="9503" y="3085"/>
                      </a:lnTo>
                      <a:lnTo>
                        <a:pt x="9873" y="3147"/>
                      </a:lnTo>
                      <a:lnTo>
                        <a:pt x="10252" y="3165"/>
                      </a:lnTo>
                      <a:lnTo>
                        <a:pt x="10552" y="3262"/>
                      </a:lnTo>
                      <a:lnTo>
                        <a:pt x="10569" y="2892"/>
                      </a:lnTo>
                      <a:lnTo>
                        <a:pt x="10728" y="2574"/>
                      </a:lnTo>
                      <a:lnTo>
                        <a:pt x="10834" y="2327"/>
                      </a:lnTo>
                      <a:lnTo>
                        <a:pt x="10684" y="2151"/>
                      </a:lnTo>
                      <a:lnTo>
                        <a:pt x="10490" y="2072"/>
                      </a:lnTo>
                      <a:lnTo>
                        <a:pt x="10314" y="1939"/>
                      </a:lnTo>
                      <a:lnTo>
                        <a:pt x="10225" y="1834"/>
                      </a:lnTo>
                      <a:lnTo>
                        <a:pt x="10164" y="1710"/>
                      </a:lnTo>
                      <a:lnTo>
                        <a:pt x="10146" y="1543"/>
                      </a:lnTo>
                      <a:lnTo>
                        <a:pt x="10155" y="1375"/>
                      </a:lnTo>
                      <a:lnTo>
                        <a:pt x="9846" y="961"/>
                      </a:lnTo>
                      <a:lnTo>
                        <a:pt x="9053" y="952"/>
                      </a:lnTo>
                      <a:lnTo>
                        <a:pt x="8806" y="820"/>
                      </a:lnTo>
                      <a:lnTo>
                        <a:pt x="8841" y="476"/>
                      </a:lnTo>
                      <a:lnTo>
                        <a:pt x="8982" y="159"/>
                      </a:lnTo>
                      <a:lnTo>
                        <a:pt x="822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5" name="Google Shape;3153;p54">
                  <a:extLst>
                    <a:ext uri="{FF2B5EF4-FFF2-40B4-BE49-F238E27FC236}">
                      <a16:creationId xmlns:a16="http://schemas.microsoft.com/office/drawing/2014/main" id="{9FAD8589-3C02-8025-FD5E-65B7BDC6DA1D}"/>
                    </a:ext>
                  </a:extLst>
                </p:cNvPr>
                <p:cNvSpPr/>
                <p:nvPr/>
              </p:nvSpPr>
              <p:spPr>
                <a:xfrm>
                  <a:off x="6677683" y="2335083"/>
                  <a:ext cx="606064" cy="349135"/>
                </a:xfrm>
                <a:custGeom>
                  <a:avLst/>
                  <a:gdLst/>
                  <a:ahLst/>
                  <a:cxnLst/>
                  <a:rect l="l" t="t" r="r" b="b"/>
                  <a:pathLst>
                    <a:path w="8525" h="4911" extrusionOk="0">
                      <a:moveTo>
                        <a:pt x="6771" y="0"/>
                      </a:moveTo>
                      <a:lnTo>
                        <a:pt x="6753" y="18"/>
                      </a:lnTo>
                      <a:lnTo>
                        <a:pt x="6603" y="62"/>
                      </a:lnTo>
                      <a:lnTo>
                        <a:pt x="6427" y="141"/>
                      </a:lnTo>
                      <a:lnTo>
                        <a:pt x="6330" y="159"/>
                      </a:lnTo>
                      <a:lnTo>
                        <a:pt x="5898" y="309"/>
                      </a:lnTo>
                      <a:lnTo>
                        <a:pt x="5537" y="221"/>
                      </a:lnTo>
                      <a:lnTo>
                        <a:pt x="5290" y="71"/>
                      </a:lnTo>
                      <a:lnTo>
                        <a:pt x="5113" y="124"/>
                      </a:lnTo>
                      <a:lnTo>
                        <a:pt x="4911" y="397"/>
                      </a:lnTo>
                      <a:lnTo>
                        <a:pt x="4576" y="503"/>
                      </a:lnTo>
                      <a:lnTo>
                        <a:pt x="3871" y="608"/>
                      </a:lnTo>
                      <a:lnTo>
                        <a:pt x="3509" y="608"/>
                      </a:lnTo>
                      <a:lnTo>
                        <a:pt x="3148" y="520"/>
                      </a:lnTo>
                      <a:lnTo>
                        <a:pt x="2795" y="503"/>
                      </a:lnTo>
                      <a:lnTo>
                        <a:pt x="2610" y="600"/>
                      </a:lnTo>
                      <a:lnTo>
                        <a:pt x="2416" y="653"/>
                      </a:lnTo>
                      <a:lnTo>
                        <a:pt x="2169" y="600"/>
                      </a:lnTo>
                      <a:lnTo>
                        <a:pt x="1931" y="653"/>
                      </a:lnTo>
                      <a:lnTo>
                        <a:pt x="1473" y="829"/>
                      </a:lnTo>
                      <a:lnTo>
                        <a:pt x="1341" y="926"/>
                      </a:lnTo>
                      <a:lnTo>
                        <a:pt x="1261" y="1093"/>
                      </a:lnTo>
                      <a:lnTo>
                        <a:pt x="1147" y="1146"/>
                      </a:lnTo>
                      <a:lnTo>
                        <a:pt x="1015" y="1146"/>
                      </a:lnTo>
                      <a:lnTo>
                        <a:pt x="944" y="1234"/>
                      </a:lnTo>
                      <a:lnTo>
                        <a:pt x="891" y="1340"/>
                      </a:lnTo>
                      <a:lnTo>
                        <a:pt x="829" y="1367"/>
                      </a:lnTo>
                      <a:lnTo>
                        <a:pt x="556" y="1472"/>
                      </a:lnTo>
                      <a:lnTo>
                        <a:pt x="486" y="1657"/>
                      </a:lnTo>
                      <a:lnTo>
                        <a:pt x="547" y="1843"/>
                      </a:lnTo>
                      <a:lnTo>
                        <a:pt x="609" y="1957"/>
                      </a:lnTo>
                      <a:lnTo>
                        <a:pt x="486" y="2036"/>
                      </a:lnTo>
                      <a:lnTo>
                        <a:pt x="362" y="2063"/>
                      </a:lnTo>
                      <a:lnTo>
                        <a:pt x="248" y="2125"/>
                      </a:lnTo>
                      <a:lnTo>
                        <a:pt x="186" y="2468"/>
                      </a:lnTo>
                      <a:lnTo>
                        <a:pt x="80" y="2521"/>
                      </a:lnTo>
                      <a:lnTo>
                        <a:pt x="54" y="2521"/>
                      </a:lnTo>
                      <a:lnTo>
                        <a:pt x="18" y="2557"/>
                      </a:lnTo>
                      <a:lnTo>
                        <a:pt x="1" y="2698"/>
                      </a:lnTo>
                      <a:lnTo>
                        <a:pt x="18" y="2839"/>
                      </a:lnTo>
                      <a:lnTo>
                        <a:pt x="63" y="2865"/>
                      </a:lnTo>
                      <a:lnTo>
                        <a:pt x="98" y="2900"/>
                      </a:lnTo>
                      <a:lnTo>
                        <a:pt x="133" y="3271"/>
                      </a:lnTo>
                      <a:lnTo>
                        <a:pt x="318" y="3544"/>
                      </a:lnTo>
                      <a:lnTo>
                        <a:pt x="318" y="3711"/>
                      </a:lnTo>
                      <a:lnTo>
                        <a:pt x="248" y="3870"/>
                      </a:lnTo>
                      <a:lnTo>
                        <a:pt x="248" y="4037"/>
                      </a:lnTo>
                      <a:lnTo>
                        <a:pt x="450" y="4231"/>
                      </a:lnTo>
                      <a:lnTo>
                        <a:pt x="583" y="4231"/>
                      </a:lnTo>
                      <a:lnTo>
                        <a:pt x="944" y="4134"/>
                      </a:lnTo>
                      <a:lnTo>
                        <a:pt x="1305" y="4108"/>
                      </a:lnTo>
                      <a:lnTo>
                        <a:pt x="1508" y="4196"/>
                      </a:lnTo>
                      <a:lnTo>
                        <a:pt x="1552" y="4187"/>
                      </a:lnTo>
                      <a:lnTo>
                        <a:pt x="1640" y="4170"/>
                      </a:lnTo>
                      <a:lnTo>
                        <a:pt x="1693" y="4170"/>
                      </a:lnTo>
                      <a:lnTo>
                        <a:pt x="1834" y="4258"/>
                      </a:lnTo>
                      <a:lnTo>
                        <a:pt x="1984" y="4275"/>
                      </a:lnTo>
                      <a:lnTo>
                        <a:pt x="2169" y="4328"/>
                      </a:lnTo>
                      <a:lnTo>
                        <a:pt x="2363" y="4346"/>
                      </a:lnTo>
                      <a:lnTo>
                        <a:pt x="2575" y="4443"/>
                      </a:lnTo>
                      <a:lnTo>
                        <a:pt x="2778" y="4584"/>
                      </a:lnTo>
                      <a:lnTo>
                        <a:pt x="2980" y="4646"/>
                      </a:lnTo>
                      <a:lnTo>
                        <a:pt x="3068" y="4716"/>
                      </a:lnTo>
                      <a:lnTo>
                        <a:pt x="3174" y="4848"/>
                      </a:lnTo>
                      <a:lnTo>
                        <a:pt x="3209" y="4840"/>
                      </a:lnTo>
                      <a:lnTo>
                        <a:pt x="3298" y="4813"/>
                      </a:lnTo>
                      <a:lnTo>
                        <a:pt x="3403" y="4875"/>
                      </a:lnTo>
                      <a:lnTo>
                        <a:pt x="3518" y="4910"/>
                      </a:lnTo>
                      <a:lnTo>
                        <a:pt x="3668" y="4813"/>
                      </a:lnTo>
                      <a:lnTo>
                        <a:pt x="3782" y="4655"/>
                      </a:lnTo>
                      <a:lnTo>
                        <a:pt x="3941" y="4619"/>
                      </a:lnTo>
                      <a:lnTo>
                        <a:pt x="4109" y="4637"/>
                      </a:lnTo>
                      <a:lnTo>
                        <a:pt x="4558" y="4602"/>
                      </a:lnTo>
                      <a:lnTo>
                        <a:pt x="4990" y="4434"/>
                      </a:lnTo>
                      <a:lnTo>
                        <a:pt x="5272" y="4117"/>
                      </a:lnTo>
                      <a:lnTo>
                        <a:pt x="5396" y="3861"/>
                      </a:lnTo>
                      <a:lnTo>
                        <a:pt x="5466" y="3588"/>
                      </a:lnTo>
                      <a:lnTo>
                        <a:pt x="5440" y="3376"/>
                      </a:lnTo>
                      <a:lnTo>
                        <a:pt x="5396" y="3147"/>
                      </a:lnTo>
                      <a:lnTo>
                        <a:pt x="5457" y="3050"/>
                      </a:lnTo>
                      <a:lnTo>
                        <a:pt x="5545" y="2988"/>
                      </a:lnTo>
                      <a:lnTo>
                        <a:pt x="5775" y="2936"/>
                      </a:lnTo>
                      <a:lnTo>
                        <a:pt x="6021" y="2918"/>
                      </a:lnTo>
                      <a:lnTo>
                        <a:pt x="6101" y="2733"/>
                      </a:lnTo>
                      <a:lnTo>
                        <a:pt x="6136" y="2530"/>
                      </a:lnTo>
                      <a:lnTo>
                        <a:pt x="6039" y="2081"/>
                      </a:lnTo>
                      <a:lnTo>
                        <a:pt x="6065" y="1922"/>
                      </a:lnTo>
                      <a:lnTo>
                        <a:pt x="6118" y="1772"/>
                      </a:lnTo>
                      <a:lnTo>
                        <a:pt x="6145" y="1472"/>
                      </a:lnTo>
                      <a:lnTo>
                        <a:pt x="6215" y="1358"/>
                      </a:lnTo>
                      <a:lnTo>
                        <a:pt x="6445" y="1287"/>
                      </a:lnTo>
                      <a:lnTo>
                        <a:pt x="6771" y="1305"/>
                      </a:lnTo>
                      <a:lnTo>
                        <a:pt x="6832" y="1278"/>
                      </a:lnTo>
                      <a:lnTo>
                        <a:pt x="6876" y="1173"/>
                      </a:lnTo>
                      <a:lnTo>
                        <a:pt x="6921" y="1058"/>
                      </a:lnTo>
                      <a:lnTo>
                        <a:pt x="7123" y="970"/>
                      </a:lnTo>
                      <a:lnTo>
                        <a:pt x="7352" y="979"/>
                      </a:lnTo>
                      <a:lnTo>
                        <a:pt x="7573" y="820"/>
                      </a:lnTo>
                      <a:lnTo>
                        <a:pt x="7696" y="556"/>
                      </a:lnTo>
                      <a:lnTo>
                        <a:pt x="7776" y="494"/>
                      </a:lnTo>
                      <a:lnTo>
                        <a:pt x="7996" y="529"/>
                      </a:lnTo>
                      <a:lnTo>
                        <a:pt x="8111" y="538"/>
                      </a:lnTo>
                      <a:lnTo>
                        <a:pt x="8349" y="423"/>
                      </a:lnTo>
                      <a:lnTo>
                        <a:pt x="8525" y="212"/>
                      </a:lnTo>
                      <a:lnTo>
                        <a:pt x="8146" y="194"/>
                      </a:lnTo>
                      <a:lnTo>
                        <a:pt x="7776" y="132"/>
                      </a:lnTo>
                      <a:lnTo>
                        <a:pt x="7079" y="115"/>
                      </a:lnTo>
                      <a:lnTo>
                        <a:pt x="6991" y="62"/>
                      </a:lnTo>
                      <a:lnTo>
                        <a:pt x="6815" y="9"/>
                      </a:lnTo>
                      <a:lnTo>
                        <a:pt x="6771"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6" name="Google Shape;3154;p54">
                  <a:extLst>
                    <a:ext uri="{FF2B5EF4-FFF2-40B4-BE49-F238E27FC236}">
                      <a16:creationId xmlns:a16="http://schemas.microsoft.com/office/drawing/2014/main" id="{F36D2E5E-154C-5CBE-6F27-22D382152BC2}"/>
                    </a:ext>
                  </a:extLst>
                </p:cNvPr>
                <p:cNvSpPr/>
                <p:nvPr/>
              </p:nvSpPr>
              <p:spPr>
                <a:xfrm>
                  <a:off x="3692120" y="2464192"/>
                  <a:ext cx="679360" cy="641752"/>
                </a:xfrm>
                <a:custGeom>
                  <a:avLst/>
                  <a:gdLst/>
                  <a:ahLst/>
                  <a:cxnLst/>
                  <a:rect l="l" t="t" r="r" b="b"/>
                  <a:pathLst>
                    <a:path w="9556" h="9027" extrusionOk="0">
                      <a:moveTo>
                        <a:pt x="7396" y="0"/>
                      </a:moveTo>
                      <a:lnTo>
                        <a:pt x="7202" y="53"/>
                      </a:lnTo>
                      <a:lnTo>
                        <a:pt x="7044" y="194"/>
                      </a:lnTo>
                      <a:lnTo>
                        <a:pt x="6876" y="309"/>
                      </a:lnTo>
                      <a:lnTo>
                        <a:pt x="6700" y="353"/>
                      </a:lnTo>
                      <a:lnTo>
                        <a:pt x="6365" y="608"/>
                      </a:lnTo>
                      <a:lnTo>
                        <a:pt x="6021" y="758"/>
                      </a:lnTo>
                      <a:lnTo>
                        <a:pt x="5818" y="529"/>
                      </a:lnTo>
                      <a:lnTo>
                        <a:pt x="5589" y="423"/>
                      </a:lnTo>
                      <a:lnTo>
                        <a:pt x="5422" y="555"/>
                      </a:lnTo>
                      <a:lnTo>
                        <a:pt x="5131" y="838"/>
                      </a:lnTo>
                      <a:lnTo>
                        <a:pt x="4822" y="1049"/>
                      </a:lnTo>
                      <a:lnTo>
                        <a:pt x="4664" y="1128"/>
                      </a:lnTo>
                      <a:lnTo>
                        <a:pt x="4443" y="1164"/>
                      </a:lnTo>
                      <a:lnTo>
                        <a:pt x="4232" y="1049"/>
                      </a:lnTo>
                      <a:lnTo>
                        <a:pt x="4161" y="987"/>
                      </a:lnTo>
                      <a:lnTo>
                        <a:pt x="4082" y="943"/>
                      </a:lnTo>
                      <a:lnTo>
                        <a:pt x="3976" y="811"/>
                      </a:lnTo>
                      <a:lnTo>
                        <a:pt x="3906" y="617"/>
                      </a:lnTo>
                      <a:lnTo>
                        <a:pt x="3773" y="494"/>
                      </a:lnTo>
                      <a:lnTo>
                        <a:pt x="3615" y="450"/>
                      </a:lnTo>
                      <a:lnTo>
                        <a:pt x="3289" y="952"/>
                      </a:lnTo>
                      <a:lnTo>
                        <a:pt x="2733" y="1199"/>
                      </a:lnTo>
                      <a:lnTo>
                        <a:pt x="2645" y="1446"/>
                      </a:lnTo>
                      <a:lnTo>
                        <a:pt x="2575" y="1710"/>
                      </a:lnTo>
                      <a:lnTo>
                        <a:pt x="2451" y="1966"/>
                      </a:lnTo>
                      <a:lnTo>
                        <a:pt x="2328" y="2363"/>
                      </a:lnTo>
                      <a:lnTo>
                        <a:pt x="2134" y="2680"/>
                      </a:lnTo>
                      <a:lnTo>
                        <a:pt x="2002" y="2847"/>
                      </a:lnTo>
                      <a:lnTo>
                        <a:pt x="1041" y="3429"/>
                      </a:lnTo>
                      <a:lnTo>
                        <a:pt x="1023" y="3676"/>
                      </a:lnTo>
                      <a:lnTo>
                        <a:pt x="953" y="3896"/>
                      </a:lnTo>
                      <a:lnTo>
                        <a:pt x="671" y="4178"/>
                      </a:lnTo>
                      <a:lnTo>
                        <a:pt x="600" y="4408"/>
                      </a:lnTo>
                      <a:lnTo>
                        <a:pt x="512" y="4654"/>
                      </a:lnTo>
                      <a:lnTo>
                        <a:pt x="406" y="4787"/>
                      </a:lnTo>
                      <a:lnTo>
                        <a:pt x="415" y="4954"/>
                      </a:lnTo>
                      <a:lnTo>
                        <a:pt x="1058" y="5104"/>
                      </a:lnTo>
                      <a:lnTo>
                        <a:pt x="1552" y="5941"/>
                      </a:lnTo>
                      <a:lnTo>
                        <a:pt x="1675" y="6091"/>
                      </a:lnTo>
                      <a:lnTo>
                        <a:pt x="1755" y="6479"/>
                      </a:lnTo>
                      <a:lnTo>
                        <a:pt x="1623" y="6629"/>
                      </a:lnTo>
                      <a:lnTo>
                        <a:pt x="371" y="7563"/>
                      </a:lnTo>
                      <a:lnTo>
                        <a:pt x="230" y="7643"/>
                      </a:lnTo>
                      <a:lnTo>
                        <a:pt x="80" y="7704"/>
                      </a:lnTo>
                      <a:lnTo>
                        <a:pt x="9" y="7872"/>
                      </a:lnTo>
                      <a:lnTo>
                        <a:pt x="1" y="8471"/>
                      </a:lnTo>
                      <a:lnTo>
                        <a:pt x="115" y="8515"/>
                      </a:lnTo>
                      <a:lnTo>
                        <a:pt x="327" y="8515"/>
                      </a:lnTo>
                      <a:lnTo>
                        <a:pt x="388" y="8542"/>
                      </a:lnTo>
                      <a:lnTo>
                        <a:pt x="512" y="8604"/>
                      </a:lnTo>
                      <a:lnTo>
                        <a:pt x="582" y="8621"/>
                      </a:lnTo>
                      <a:lnTo>
                        <a:pt x="635" y="8665"/>
                      </a:lnTo>
                      <a:lnTo>
                        <a:pt x="847" y="9027"/>
                      </a:lnTo>
                      <a:lnTo>
                        <a:pt x="1217" y="8894"/>
                      </a:lnTo>
                      <a:lnTo>
                        <a:pt x="1631" y="8921"/>
                      </a:lnTo>
                      <a:lnTo>
                        <a:pt x="1993" y="8912"/>
                      </a:lnTo>
                      <a:lnTo>
                        <a:pt x="2328" y="8727"/>
                      </a:lnTo>
                      <a:lnTo>
                        <a:pt x="2478" y="8445"/>
                      </a:lnTo>
                      <a:lnTo>
                        <a:pt x="2539" y="7837"/>
                      </a:lnTo>
                      <a:lnTo>
                        <a:pt x="2636" y="7652"/>
                      </a:lnTo>
                      <a:lnTo>
                        <a:pt x="2954" y="7466"/>
                      </a:lnTo>
                      <a:lnTo>
                        <a:pt x="3368" y="7052"/>
                      </a:lnTo>
                      <a:lnTo>
                        <a:pt x="3553" y="6946"/>
                      </a:lnTo>
                      <a:lnTo>
                        <a:pt x="3791" y="6726"/>
                      </a:lnTo>
                      <a:lnTo>
                        <a:pt x="4020" y="6470"/>
                      </a:lnTo>
                      <a:lnTo>
                        <a:pt x="4188" y="6400"/>
                      </a:lnTo>
                      <a:lnTo>
                        <a:pt x="4373" y="6347"/>
                      </a:lnTo>
                      <a:lnTo>
                        <a:pt x="4637" y="6135"/>
                      </a:lnTo>
                      <a:lnTo>
                        <a:pt x="4734" y="6109"/>
                      </a:lnTo>
                      <a:lnTo>
                        <a:pt x="4831" y="6109"/>
                      </a:lnTo>
                      <a:lnTo>
                        <a:pt x="5184" y="5977"/>
                      </a:lnTo>
                      <a:lnTo>
                        <a:pt x="5483" y="5695"/>
                      </a:lnTo>
                      <a:lnTo>
                        <a:pt x="5766" y="5368"/>
                      </a:lnTo>
                      <a:lnTo>
                        <a:pt x="6339" y="4892"/>
                      </a:lnTo>
                      <a:lnTo>
                        <a:pt x="6568" y="4646"/>
                      </a:lnTo>
                      <a:lnTo>
                        <a:pt x="6665" y="4566"/>
                      </a:lnTo>
                      <a:lnTo>
                        <a:pt x="6770" y="4584"/>
                      </a:lnTo>
                      <a:lnTo>
                        <a:pt x="6867" y="4637"/>
                      </a:lnTo>
                      <a:lnTo>
                        <a:pt x="6956" y="4716"/>
                      </a:lnTo>
                      <a:lnTo>
                        <a:pt x="7158" y="5016"/>
                      </a:lnTo>
                      <a:lnTo>
                        <a:pt x="7264" y="5078"/>
                      </a:lnTo>
                      <a:lnTo>
                        <a:pt x="7379" y="5113"/>
                      </a:lnTo>
                      <a:lnTo>
                        <a:pt x="8198" y="4575"/>
                      </a:lnTo>
                      <a:lnTo>
                        <a:pt x="8551" y="4196"/>
                      </a:lnTo>
                      <a:lnTo>
                        <a:pt x="8957" y="3667"/>
                      </a:lnTo>
                      <a:lnTo>
                        <a:pt x="8974" y="3535"/>
                      </a:lnTo>
                      <a:lnTo>
                        <a:pt x="8957" y="3420"/>
                      </a:lnTo>
                      <a:lnTo>
                        <a:pt x="8948" y="3297"/>
                      </a:lnTo>
                      <a:lnTo>
                        <a:pt x="9018" y="2980"/>
                      </a:lnTo>
                      <a:lnTo>
                        <a:pt x="9159" y="2706"/>
                      </a:lnTo>
                      <a:lnTo>
                        <a:pt x="9512" y="2116"/>
                      </a:lnTo>
                      <a:lnTo>
                        <a:pt x="9556" y="1878"/>
                      </a:lnTo>
                      <a:lnTo>
                        <a:pt x="9468" y="1825"/>
                      </a:lnTo>
                      <a:lnTo>
                        <a:pt x="9327" y="1684"/>
                      </a:lnTo>
                      <a:lnTo>
                        <a:pt x="9353" y="1604"/>
                      </a:lnTo>
                      <a:lnTo>
                        <a:pt x="9380" y="1525"/>
                      </a:lnTo>
                      <a:lnTo>
                        <a:pt x="9433" y="1128"/>
                      </a:lnTo>
                      <a:lnTo>
                        <a:pt x="9256" y="1084"/>
                      </a:lnTo>
                      <a:lnTo>
                        <a:pt x="8895" y="1076"/>
                      </a:lnTo>
                      <a:lnTo>
                        <a:pt x="8304" y="1137"/>
                      </a:lnTo>
                      <a:lnTo>
                        <a:pt x="7952" y="873"/>
                      </a:lnTo>
                      <a:lnTo>
                        <a:pt x="7722" y="344"/>
                      </a:lnTo>
                      <a:lnTo>
                        <a:pt x="7396"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7" name="Google Shape;3155;p54">
                  <a:extLst>
                    <a:ext uri="{FF2B5EF4-FFF2-40B4-BE49-F238E27FC236}">
                      <a16:creationId xmlns:a16="http://schemas.microsoft.com/office/drawing/2014/main" id="{EA683230-0AEF-C15B-D4F8-42D5520F8B15}"/>
                    </a:ext>
                  </a:extLst>
                </p:cNvPr>
                <p:cNvSpPr/>
                <p:nvPr/>
              </p:nvSpPr>
              <p:spPr>
                <a:xfrm>
                  <a:off x="4882250" y="2009824"/>
                  <a:ext cx="273280" cy="460679"/>
                </a:xfrm>
                <a:custGeom>
                  <a:avLst/>
                  <a:gdLst/>
                  <a:ahLst/>
                  <a:cxnLst/>
                  <a:rect l="l" t="t" r="r" b="b"/>
                  <a:pathLst>
                    <a:path w="3844" h="6480" extrusionOk="0">
                      <a:moveTo>
                        <a:pt x="1499" y="0"/>
                      </a:moveTo>
                      <a:lnTo>
                        <a:pt x="1437" y="494"/>
                      </a:lnTo>
                      <a:lnTo>
                        <a:pt x="1375" y="846"/>
                      </a:lnTo>
                      <a:lnTo>
                        <a:pt x="1375" y="1252"/>
                      </a:lnTo>
                      <a:lnTo>
                        <a:pt x="1411" y="1613"/>
                      </a:lnTo>
                      <a:lnTo>
                        <a:pt x="1349" y="1966"/>
                      </a:lnTo>
                      <a:lnTo>
                        <a:pt x="811" y="2028"/>
                      </a:lnTo>
                      <a:lnTo>
                        <a:pt x="467" y="2178"/>
                      </a:lnTo>
                      <a:lnTo>
                        <a:pt x="256" y="2689"/>
                      </a:lnTo>
                      <a:lnTo>
                        <a:pt x="141" y="3200"/>
                      </a:lnTo>
                      <a:lnTo>
                        <a:pt x="0" y="3711"/>
                      </a:lnTo>
                      <a:lnTo>
                        <a:pt x="124" y="4223"/>
                      </a:lnTo>
                      <a:lnTo>
                        <a:pt x="485" y="4672"/>
                      </a:lnTo>
                      <a:lnTo>
                        <a:pt x="617" y="4901"/>
                      </a:lnTo>
                      <a:lnTo>
                        <a:pt x="802" y="5756"/>
                      </a:lnTo>
                      <a:lnTo>
                        <a:pt x="1173" y="6479"/>
                      </a:lnTo>
                      <a:lnTo>
                        <a:pt x="1693" y="5571"/>
                      </a:lnTo>
                      <a:lnTo>
                        <a:pt x="2442" y="4954"/>
                      </a:lnTo>
                      <a:lnTo>
                        <a:pt x="2759" y="4452"/>
                      </a:lnTo>
                      <a:lnTo>
                        <a:pt x="2971" y="3835"/>
                      </a:lnTo>
                      <a:lnTo>
                        <a:pt x="3720" y="3112"/>
                      </a:lnTo>
                      <a:lnTo>
                        <a:pt x="3667" y="2997"/>
                      </a:lnTo>
                      <a:lnTo>
                        <a:pt x="3685" y="2865"/>
                      </a:lnTo>
                      <a:lnTo>
                        <a:pt x="3658" y="2742"/>
                      </a:lnTo>
                      <a:lnTo>
                        <a:pt x="3623" y="2618"/>
                      </a:lnTo>
                      <a:lnTo>
                        <a:pt x="3614" y="2310"/>
                      </a:lnTo>
                      <a:lnTo>
                        <a:pt x="3738" y="2063"/>
                      </a:lnTo>
                      <a:lnTo>
                        <a:pt x="3826" y="1913"/>
                      </a:lnTo>
                      <a:lnTo>
                        <a:pt x="3843" y="1719"/>
                      </a:lnTo>
                      <a:lnTo>
                        <a:pt x="3782" y="1543"/>
                      </a:lnTo>
                      <a:lnTo>
                        <a:pt x="3782" y="1472"/>
                      </a:lnTo>
                      <a:lnTo>
                        <a:pt x="3764" y="1402"/>
                      </a:lnTo>
                      <a:lnTo>
                        <a:pt x="3685" y="1305"/>
                      </a:lnTo>
                      <a:lnTo>
                        <a:pt x="3570" y="1287"/>
                      </a:lnTo>
                      <a:lnTo>
                        <a:pt x="3456" y="1173"/>
                      </a:lnTo>
                      <a:lnTo>
                        <a:pt x="3262" y="741"/>
                      </a:lnTo>
                      <a:lnTo>
                        <a:pt x="3209" y="450"/>
                      </a:lnTo>
                      <a:lnTo>
                        <a:pt x="2777" y="406"/>
                      </a:lnTo>
                      <a:lnTo>
                        <a:pt x="1499"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8" name="Google Shape;3156;p54">
                  <a:extLst>
                    <a:ext uri="{FF2B5EF4-FFF2-40B4-BE49-F238E27FC236}">
                      <a16:creationId xmlns:a16="http://schemas.microsoft.com/office/drawing/2014/main" id="{E9549CB5-0946-88F1-18D7-FDB176E19F22}"/>
                    </a:ext>
                  </a:extLst>
                </p:cNvPr>
                <p:cNvSpPr/>
                <p:nvPr/>
              </p:nvSpPr>
              <p:spPr>
                <a:xfrm>
                  <a:off x="5854261" y="2742387"/>
                  <a:ext cx="515136" cy="582319"/>
                </a:xfrm>
                <a:custGeom>
                  <a:avLst/>
                  <a:gdLst/>
                  <a:ahLst/>
                  <a:cxnLst/>
                  <a:rect l="l" t="t" r="r" b="b"/>
                  <a:pathLst>
                    <a:path w="7246" h="8191" extrusionOk="0">
                      <a:moveTo>
                        <a:pt x="3059" y="1"/>
                      </a:moveTo>
                      <a:lnTo>
                        <a:pt x="2451" y="151"/>
                      </a:lnTo>
                      <a:lnTo>
                        <a:pt x="2292" y="248"/>
                      </a:lnTo>
                      <a:lnTo>
                        <a:pt x="2204" y="433"/>
                      </a:lnTo>
                      <a:lnTo>
                        <a:pt x="2142" y="741"/>
                      </a:lnTo>
                      <a:lnTo>
                        <a:pt x="1992" y="988"/>
                      </a:lnTo>
                      <a:lnTo>
                        <a:pt x="1640" y="1403"/>
                      </a:lnTo>
                      <a:lnTo>
                        <a:pt x="1490" y="1614"/>
                      </a:lnTo>
                      <a:lnTo>
                        <a:pt x="1322" y="1790"/>
                      </a:lnTo>
                      <a:lnTo>
                        <a:pt x="1067" y="2037"/>
                      </a:lnTo>
                      <a:lnTo>
                        <a:pt x="917" y="2407"/>
                      </a:lnTo>
                      <a:lnTo>
                        <a:pt x="688" y="3448"/>
                      </a:lnTo>
                      <a:lnTo>
                        <a:pt x="555" y="3827"/>
                      </a:lnTo>
                      <a:lnTo>
                        <a:pt x="494" y="4215"/>
                      </a:lnTo>
                      <a:lnTo>
                        <a:pt x="485" y="4400"/>
                      </a:lnTo>
                      <a:lnTo>
                        <a:pt x="520" y="4673"/>
                      </a:lnTo>
                      <a:lnTo>
                        <a:pt x="661" y="5034"/>
                      </a:lnTo>
                      <a:lnTo>
                        <a:pt x="652" y="5272"/>
                      </a:lnTo>
                      <a:lnTo>
                        <a:pt x="494" y="5422"/>
                      </a:lnTo>
                      <a:lnTo>
                        <a:pt x="406" y="5475"/>
                      </a:lnTo>
                      <a:lnTo>
                        <a:pt x="282" y="5643"/>
                      </a:lnTo>
                      <a:lnTo>
                        <a:pt x="273" y="6101"/>
                      </a:lnTo>
                      <a:lnTo>
                        <a:pt x="176" y="6268"/>
                      </a:lnTo>
                      <a:lnTo>
                        <a:pt x="44" y="6418"/>
                      </a:lnTo>
                      <a:lnTo>
                        <a:pt x="0" y="6595"/>
                      </a:lnTo>
                      <a:lnTo>
                        <a:pt x="62" y="6753"/>
                      </a:lnTo>
                      <a:lnTo>
                        <a:pt x="123" y="6824"/>
                      </a:lnTo>
                      <a:lnTo>
                        <a:pt x="176" y="6894"/>
                      </a:lnTo>
                      <a:lnTo>
                        <a:pt x="194" y="7282"/>
                      </a:lnTo>
                      <a:lnTo>
                        <a:pt x="388" y="7511"/>
                      </a:lnTo>
                      <a:lnTo>
                        <a:pt x="432" y="7511"/>
                      </a:lnTo>
                      <a:lnTo>
                        <a:pt x="458" y="7450"/>
                      </a:lnTo>
                      <a:lnTo>
                        <a:pt x="511" y="7423"/>
                      </a:lnTo>
                      <a:lnTo>
                        <a:pt x="564" y="7414"/>
                      </a:lnTo>
                      <a:lnTo>
                        <a:pt x="626" y="7388"/>
                      </a:lnTo>
                      <a:lnTo>
                        <a:pt x="705" y="7467"/>
                      </a:lnTo>
                      <a:lnTo>
                        <a:pt x="855" y="7441"/>
                      </a:lnTo>
                      <a:lnTo>
                        <a:pt x="1031" y="7379"/>
                      </a:lnTo>
                      <a:lnTo>
                        <a:pt x="1164" y="7353"/>
                      </a:lnTo>
                      <a:lnTo>
                        <a:pt x="1534" y="7273"/>
                      </a:lnTo>
                      <a:lnTo>
                        <a:pt x="1710" y="7317"/>
                      </a:lnTo>
                      <a:lnTo>
                        <a:pt x="1878" y="7432"/>
                      </a:lnTo>
                      <a:lnTo>
                        <a:pt x="2124" y="7670"/>
                      </a:lnTo>
                      <a:lnTo>
                        <a:pt x="2327" y="7970"/>
                      </a:lnTo>
                      <a:lnTo>
                        <a:pt x="2891" y="7705"/>
                      </a:lnTo>
                      <a:lnTo>
                        <a:pt x="3112" y="7406"/>
                      </a:lnTo>
                      <a:lnTo>
                        <a:pt x="3332" y="7555"/>
                      </a:lnTo>
                      <a:lnTo>
                        <a:pt x="3464" y="8075"/>
                      </a:lnTo>
                      <a:lnTo>
                        <a:pt x="3817" y="8190"/>
                      </a:lnTo>
                      <a:lnTo>
                        <a:pt x="4240" y="7741"/>
                      </a:lnTo>
                      <a:lnTo>
                        <a:pt x="4504" y="7617"/>
                      </a:lnTo>
                      <a:lnTo>
                        <a:pt x="5077" y="7511"/>
                      </a:lnTo>
                      <a:lnTo>
                        <a:pt x="5703" y="7291"/>
                      </a:lnTo>
                      <a:lnTo>
                        <a:pt x="5994" y="7256"/>
                      </a:lnTo>
                      <a:lnTo>
                        <a:pt x="6285" y="7265"/>
                      </a:lnTo>
                      <a:lnTo>
                        <a:pt x="6479" y="7132"/>
                      </a:lnTo>
                      <a:lnTo>
                        <a:pt x="6541" y="6868"/>
                      </a:lnTo>
                      <a:lnTo>
                        <a:pt x="6505" y="6692"/>
                      </a:lnTo>
                      <a:lnTo>
                        <a:pt x="6523" y="6524"/>
                      </a:lnTo>
                      <a:lnTo>
                        <a:pt x="6021" y="6207"/>
                      </a:lnTo>
                      <a:lnTo>
                        <a:pt x="5739" y="6110"/>
                      </a:lnTo>
                      <a:lnTo>
                        <a:pt x="5580" y="5836"/>
                      </a:lnTo>
                      <a:lnTo>
                        <a:pt x="5580" y="5493"/>
                      </a:lnTo>
                      <a:lnTo>
                        <a:pt x="5765" y="5264"/>
                      </a:lnTo>
                      <a:lnTo>
                        <a:pt x="6021" y="5034"/>
                      </a:lnTo>
                      <a:lnTo>
                        <a:pt x="6241" y="4752"/>
                      </a:lnTo>
                      <a:lnTo>
                        <a:pt x="6435" y="4408"/>
                      </a:lnTo>
                      <a:lnTo>
                        <a:pt x="6673" y="3545"/>
                      </a:lnTo>
                      <a:lnTo>
                        <a:pt x="6779" y="3359"/>
                      </a:lnTo>
                      <a:lnTo>
                        <a:pt x="6849" y="3289"/>
                      </a:lnTo>
                      <a:lnTo>
                        <a:pt x="6937" y="3148"/>
                      </a:lnTo>
                      <a:lnTo>
                        <a:pt x="6964" y="2972"/>
                      </a:lnTo>
                      <a:lnTo>
                        <a:pt x="7219" y="2302"/>
                      </a:lnTo>
                      <a:lnTo>
                        <a:pt x="7246" y="2055"/>
                      </a:lnTo>
                      <a:lnTo>
                        <a:pt x="7026" y="1658"/>
                      </a:lnTo>
                      <a:lnTo>
                        <a:pt x="6655" y="1491"/>
                      </a:lnTo>
                      <a:lnTo>
                        <a:pt x="6347" y="1394"/>
                      </a:lnTo>
                      <a:lnTo>
                        <a:pt x="5756" y="1041"/>
                      </a:lnTo>
                      <a:lnTo>
                        <a:pt x="5060" y="891"/>
                      </a:lnTo>
                      <a:lnTo>
                        <a:pt x="4972" y="900"/>
                      </a:lnTo>
                      <a:lnTo>
                        <a:pt x="4804" y="944"/>
                      </a:lnTo>
                      <a:lnTo>
                        <a:pt x="4716" y="935"/>
                      </a:lnTo>
                      <a:lnTo>
                        <a:pt x="4672" y="592"/>
                      </a:lnTo>
                      <a:lnTo>
                        <a:pt x="4936" y="133"/>
                      </a:lnTo>
                      <a:lnTo>
                        <a:pt x="3896" y="221"/>
                      </a:lnTo>
                      <a:lnTo>
                        <a:pt x="3773" y="168"/>
                      </a:lnTo>
                      <a:lnTo>
                        <a:pt x="3658" y="89"/>
                      </a:lnTo>
                      <a:lnTo>
                        <a:pt x="3059"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9" name="Google Shape;3157;p54">
                  <a:extLst>
                    <a:ext uri="{FF2B5EF4-FFF2-40B4-BE49-F238E27FC236}">
                      <a16:creationId xmlns:a16="http://schemas.microsoft.com/office/drawing/2014/main" id="{55C85C2B-9D8A-F9E3-D07B-FB58D4FB61AA}"/>
                    </a:ext>
                  </a:extLst>
                </p:cNvPr>
                <p:cNvSpPr/>
                <p:nvPr/>
              </p:nvSpPr>
              <p:spPr>
                <a:xfrm>
                  <a:off x="7484896" y="2374541"/>
                  <a:ext cx="487623" cy="406151"/>
                </a:xfrm>
                <a:custGeom>
                  <a:avLst/>
                  <a:gdLst/>
                  <a:ahLst/>
                  <a:cxnLst/>
                  <a:rect l="l" t="t" r="r" b="b"/>
                  <a:pathLst>
                    <a:path w="6859" h="5713" extrusionOk="0">
                      <a:moveTo>
                        <a:pt x="5880" y="1"/>
                      </a:moveTo>
                      <a:lnTo>
                        <a:pt x="5783" y="36"/>
                      </a:lnTo>
                      <a:lnTo>
                        <a:pt x="5607" y="62"/>
                      </a:lnTo>
                      <a:lnTo>
                        <a:pt x="5439" y="71"/>
                      </a:lnTo>
                      <a:lnTo>
                        <a:pt x="4796" y="388"/>
                      </a:lnTo>
                      <a:lnTo>
                        <a:pt x="4708" y="662"/>
                      </a:lnTo>
                      <a:lnTo>
                        <a:pt x="4734" y="935"/>
                      </a:lnTo>
                      <a:lnTo>
                        <a:pt x="4602" y="1155"/>
                      </a:lnTo>
                      <a:lnTo>
                        <a:pt x="4276" y="1358"/>
                      </a:lnTo>
                      <a:lnTo>
                        <a:pt x="4187" y="1455"/>
                      </a:lnTo>
                      <a:lnTo>
                        <a:pt x="4046" y="1587"/>
                      </a:lnTo>
                      <a:lnTo>
                        <a:pt x="3482" y="1684"/>
                      </a:lnTo>
                      <a:lnTo>
                        <a:pt x="3288" y="1799"/>
                      </a:lnTo>
                      <a:lnTo>
                        <a:pt x="3112" y="1931"/>
                      </a:lnTo>
                      <a:lnTo>
                        <a:pt x="2707" y="1922"/>
                      </a:lnTo>
                      <a:lnTo>
                        <a:pt x="2310" y="1755"/>
                      </a:lnTo>
                      <a:lnTo>
                        <a:pt x="2204" y="1667"/>
                      </a:lnTo>
                      <a:lnTo>
                        <a:pt x="1931" y="1279"/>
                      </a:lnTo>
                      <a:lnTo>
                        <a:pt x="1481" y="829"/>
                      </a:lnTo>
                      <a:lnTo>
                        <a:pt x="1305" y="715"/>
                      </a:lnTo>
                      <a:lnTo>
                        <a:pt x="935" y="626"/>
                      </a:lnTo>
                      <a:lnTo>
                        <a:pt x="194" y="759"/>
                      </a:lnTo>
                      <a:lnTo>
                        <a:pt x="62" y="988"/>
                      </a:lnTo>
                      <a:lnTo>
                        <a:pt x="36" y="1120"/>
                      </a:lnTo>
                      <a:lnTo>
                        <a:pt x="106" y="1296"/>
                      </a:lnTo>
                      <a:lnTo>
                        <a:pt x="133" y="1349"/>
                      </a:lnTo>
                      <a:lnTo>
                        <a:pt x="177" y="1464"/>
                      </a:lnTo>
                      <a:lnTo>
                        <a:pt x="177" y="1552"/>
                      </a:lnTo>
                      <a:lnTo>
                        <a:pt x="168" y="1737"/>
                      </a:lnTo>
                      <a:lnTo>
                        <a:pt x="274" y="1922"/>
                      </a:lnTo>
                      <a:lnTo>
                        <a:pt x="362" y="2019"/>
                      </a:lnTo>
                      <a:lnTo>
                        <a:pt x="494" y="2248"/>
                      </a:lnTo>
                      <a:lnTo>
                        <a:pt x="520" y="2513"/>
                      </a:lnTo>
                      <a:lnTo>
                        <a:pt x="468" y="2751"/>
                      </a:lnTo>
                      <a:lnTo>
                        <a:pt x="141" y="3148"/>
                      </a:lnTo>
                      <a:lnTo>
                        <a:pt x="0" y="3615"/>
                      </a:lnTo>
                      <a:lnTo>
                        <a:pt x="106" y="3958"/>
                      </a:lnTo>
                      <a:lnTo>
                        <a:pt x="203" y="4091"/>
                      </a:lnTo>
                      <a:lnTo>
                        <a:pt x="256" y="4117"/>
                      </a:lnTo>
                      <a:lnTo>
                        <a:pt x="353" y="4196"/>
                      </a:lnTo>
                      <a:lnTo>
                        <a:pt x="415" y="4338"/>
                      </a:lnTo>
                      <a:lnTo>
                        <a:pt x="441" y="4496"/>
                      </a:lnTo>
                      <a:lnTo>
                        <a:pt x="679" y="4805"/>
                      </a:lnTo>
                      <a:lnTo>
                        <a:pt x="996" y="5034"/>
                      </a:lnTo>
                      <a:lnTo>
                        <a:pt x="1049" y="5272"/>
                      </a:lnTo>
                      <a:lnTo>
                        <a:pt x="996" y="5510"/>
                      </a:lnTo>
                      <a:lnTo>
                        <a:pt x="1049" y="5669"/>
                      </a:lnTo>
                      <a:lnTo>
                        <a:pt x="1190" y="5713"/>
                      </a:lnTo>
                      <a:lnTo>
                        <a:pt x="1446" y="5633"/>
                      </a:lnTo>
                      <a:lnTo>
                        <a:pt x="1702" y="5598"/>
                      </a:lnTo>
                      <a:lnTo>
                        <a:pt x="1755" y="5519"/>
                      </a:lnTo>
                      <a:lnTo>
                        <a:pt x="2469" y="5245"/>
                      </a:lnTo>
                      <a:lnTo>
                        <a:pt x="3262" y="5307"/>
                      </a:lnTo>
                      <a:lnTo>
                        <a:pt x="3588" y="5122"/>
                      </a:lnTo>
                      <a:lnTo>
                        <a:pt x="3861" y="4814"/>
                      </a:lnTo>
                      <a:lnTo>
                        <a:pt x="4055" y="4655"/>
                      </a:lnTo>
                      <a:lnTo>
                        <a:pt x="4020" y="4399"/>
                      </a:lnTo>
                      <a:lnTo>
                        <a:pt x="3879" y="4161"/>
                      </a:lnTo>
                      <a:lnTo>
                        <a:pt x="3958" y="3950"/>
                      </a:lnTo>
                      <a:lnTo>
                        <a:pt x="4373" y="3958"/>
                      </a:lnTo>
                      <a:lnTo>
                        <a:pt x="4470" y="3870"/>
                      </a:lnTo>
                      <a:lnTo>
                        <a:pt x="4522" y="3597"/>
                      </a:lnTo>
                      <a:lnTo>
                        <a:pt x="4619" y="3527"/>
                      </a:lnTo>
                      <a:lnTo>
                        <a:pt x="4813" y="3509"/>
                      </a:lnTo>
                      <a:lnTo>
                        <a:pt x="5007" y="3430"/>
                      </a:lnTo>
                      <a:lnTo>
                        <a:pt x="5148" y="3324"/>
                      </a:lnTo>
                      <a:lnTo>
                        <a:pt x="5316" y="3271"/>
                      </a:lnTo>
                      <a:lnTo>
                        <a:pt x="6074" y="3350"/>
                      </a:lnTo>
                      <a:lnTo>
                        <a:pt x="6453" y="3200"/>
                      </a:lnTo>
                      <a:lnTo>
                        <a:pt x="6788" y="2927"/>
                      </a:lnTo>
                      <a:lnTo>
                        <a:pt x="6770" y="2627"/>
                      </a:lnTo>
                      <a:lnTo>
                        <a:pt x="6806" y="2328"/>
                      </a:lnTo>
                      <a:lnTo>
                        <a:pt x="6858" y="2099"/>
                      </a:lnTo>
                      <a:lnTo>
                        <a:pt x="6858" y="2002"/>
                      </a:lnTo>
                      <a:lnTo>
                        <a:pt x="6832" y="1922"/>
                      </a:lnTo>
                      <a:lnTo>
                        <a:pt x="6850" y="1534"/>
                      </a:lnTo>
                      <a:lnTo>
                        <a:pt x="6691" y="1288"/>
                      </a:lnTo>
                      <a:lnTo>
                        <a:pt x="6568" y="1173"/>
                      </a:lnTo>
                      <a:lnTo>
                        <a:pt x="6488" y="1014"/>
                      </a:lnTo>
                      <a:lnTo>
                        <a:pt x="6347" y="847"/>
                      </a:lnTo>
                      <a:lnTo>
                        <a:pt x="6197" y="715"/>
                      </a:lnTo>
                      <a:lnTo>
                        <a:pt x="6003" y="380"/>
                      </a:lnTo>
                      <a:lnTo>
                        <a:pt x="5880"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0" name="Google Shape;3158;p54">
                  <a:extLst>
                    <a:ext uri="{FF2B5EF4-FFF2-40B4-BE49-F238E27FC236}">
                      <a16:creationId xmlns:a16="http://schemas.microsoft.com/office/drawing/2014/main" id="{59554C27-B7BB-99B5-2E0C-9B288B00C0BD}"/>
                    </a:ext>
                  </a:extLst>
                </p:cNvPr>
                <p:cNvSpPr/>
                <p:nvPr/>
              </p:nvSpPr>
              <p:spPr>
                <a:xfrm>
                  <a:off x="7180965" y="1755375"/>
                  <a:ext cx="765240" cy="756495"/>
                </a:xfrm>
                <a:custGeom>
                  <a:avLst/>
                  <a:gdLst/>
                  <a:ahLst/>
                  <a:cxnLst/>
                  <a:rect l="l" t="t" r="r" b="b"/>
                  <a:pathLst>
                    <a:path w="10764" h="10641" extrusionOk="0">
                      <a:moveTo>
                        <a:pt x="9450" y="0"/>
                      </a:moveTo>
                      <a:lnTo>
                        <a:pt x="9176" y="27"/>
                      </a:lnTo>
                      <a:lnTo>
                        <a:pt x="8903" y="88"/>
                      </a:lnTo>
                      <a:lnTo>
                        <a:pt x="8577" y="53"/>
                      </a:lnTo>
                      <a:lnTo>
                        <a:pt x="8269" y="80"/>
                      </a:lnTo>
                      <a:lnTo>
                        <a:pt x="8101" y="168"/>
                      </a:lnTo>
                      <a:lnTo>
                        <a:pt x="7960" y="291"/>
                      </a:lnTo>
                      <a:lnTo>
                        <a:pt x="7898" y="529"/>
                      </a:lnTo>
                      <a:lnTo>
                        <a:pt x="7934" y="794"/>
                      </a:lnTo>
                      <a:lnTo>
                        <a:pt x="7819" y="1041"/>
                      </a:lnTo>
                      <a:lnTo>
                        <a:pt x="7634" y="1234"/>
                      </a:lnTo>
                      <a:lnTo>
                        <a:pt x="7537" y="1472"/>
                      </a:lnTo>
                      <a:lnTo>
                        <a:pt x="7537" y="1746"/>
                      </a:lnTo>
                      <a:lnTo>
                        <a:pt x="7325" y="2063"/>
                      </a:lnTo>
                      <a:lnTo>
                        <a:pt x="6920" y="1851"/>
                      </a:lnTo>
                      <a:lnTo>
                        <a:pt x="6558" y="1737"/>
                      </a:lnTo>
                      <a:lnTo>
                        <a:pt x="6197" y="1843"/>
                      </a:lnTo>
                      <a:lnTo>
                        <a:pt x="5800" y="2107"/>
                      </a:lnTo>
                      <a:lnTo>
                        <a:pt x="5377" y="2266"/>
                      </a:lnTo>
                      <a:lnTo>
                        <a:pt x="5060" y="1984"/>
                      </a:lnTo>
                      <a:lnTo>
                        <a:pt x="5122" y="1464"/>
                      </a:lnTo>
                      <a:lnTo>
                        <a:pt x="5245" y="1243"/>
                      </a:lnTo>
                      <a:lnTo>
                        <a:pt x="5210" y="1049"/>
                      </a:lnTo>
                      <a:lnTo>
                        <a:pt x="5042" y="988"/>
                      </a:lnTo>
                      <a:lnTo>
                        <a:pt x="4469" y="899"/>
                      </a:lnTo>
                      <a:lnTo>
                        <a:pt x="4108" y="688"/>
                      </a:lnTo>
                      <a:lnTo>
                        <a:pt x="3747" y="899"/>
                      </a:lnTo>
                      <a:lnTo>
                        <a:pt x="3253" y="1323"/>
                      </a:lnTo>
                      <a:lnTo>
                        <a:pt x="3059" y="1393"/>
                      </a:lnTo>
                      <a:lnTo>
                        <a:pt x="2856" y="1393"/>
                      </a:lnTo>
                      <a:lnTo>
                        <a:pt x="2689" y="1464"/>
                      </a:lnTo>
                      <a:lnTo>
                        <a:pt x="2548" y="1816"/>
                      </a:lnTo>
                      <a:lnTo>
                        <a:pt x="2274" y="1896"/>
                      </a:lnTo>
                      <a:lnTo>
                        <a:pt x="2080" y="1913"/>
                      </a:lnTo>
                      <a:lnTo>
                        <a:pt x="1895" y="1966"/>
                      </a:lnTo>
                      <a:lnTo>
                        <a:pt x="1146" y="2345"/>
                      </a:lnTo>
                      <a:lnTo>
                        <a:pt x="1296" y="2715"/>
                      </a:lnTo>
                      <a:lnTo>
                        <a:pt x="1428" y="3544"/>
                      </a:lnTo>
                      <a:lnTo>
                        <a:pt x="1543" y="3923"/>
                      </a:lnTo>
                      <a:lnTo>
                        <a:pt x="1825" y="4073"/>
                      </a:lnTo>
                      <a:lnTo>
                        <a:pt x="2133" y="4143"/>
                      </a:lnTo>
                      <a:lnTo>
                        <a:pt x="2266" y="4205"/>
                      </a:lnTo>
                      <a:lnTo>
                        <a:pt x="2574" y="4232"/>
                      </a:lnTo>
                      <a:lnTo>
                        <a:pt x="2583" y="4355"/>
                      </a:lnTo>
                      <a:lnTo>
                        <a:pt x="2477" y="4575"/>
                      </a:lnTo>
                      <a:lnTo>
                        <a:pt x="2345" y="4734"/>
                      </a:lnTo>
                      <a:lnTo>
                        <a:pt x="1763" y="4946"/>
                      </a:lnTo>
                      <a:lnTo>
                        <a:pt x="1508" y="5069"/>
                      </a:lnTo>
                      <a:lnTo>
                        <a:pt x="1314" y="5254"/>
                      </a:lnTo>
                      <a:lnTo>
                        <a:pt x="1102" y="5422"/>
                      </a:lnTo>
                      <a:lnTo>
                        <a:pt x="935" y="5448"/>
                      </a:lnTo>
                      <a:lnTo>
                        <a:pt x="176" y="5360"/>
                      </a:lnTo>
                      <a:lnTo>
                        <a:pt x="35" y="5677"/>
                      </a:lnTo>
                      <a:lnTo>
                        <a:pt x="0" y="6021"/>
                      </a:lnTo>
                      <a:lnTo>
                        <a:pt x="247" y="6153"/>
                      </a:lnTo>
                      <a:lnTo>
                        <a:pt x="1040" y="6162"/>
                      </a:lnTo>
                      <a:lnTo>
                        <a:pt x="1349" y="6576"/>
                      </a:lnTo>
                      <a:lnTo>
                        <a:pt x="1340" y="6744"/>
                      </a:lnTo>
                      <a:lnTo>
                        <a:pt x="1358" y="6911"/>
                      </a:lnTo>
                      <a:lnTo>
                        <a:pt x="1419" y="7035"/>
                      </a:lnTo>
                      <a:lnTo>
                        <a:pt x="1508" y="7140"/>
                      </a:lnTo>
                      <a:lnTo>
                        <a:pt x="1684" y="7273"/>
                      </a:lnTo>
                      <a:lnTo>
                        <a:pt x="1878" y="7352"/>
                      </a:lnTo>
                      <a:lnTo>
                        <a:pt x="2028" y="7528"/>
                      </a:lnTo>
                      <a:lnTo>
                        <a:pt x="1922" y="7775"/>
                      </a:lnTo>
                      <a:lnTo>
                        <a:pt x="1763" y="8093"/>
                      </a:lnTo>
                      <a:lnTo>
                        <a:pt x="1746" y="8463"/>
                      </a:lnTo>
                      <a:lnTo>
                        <a:pt x="2160" y="8524"/>
                      </a:lnTo>
                      <a:lnTo>
                        <a:pt x="2574" y="8348"/>
                      </a:lnTo>
                      <a:lnTo>
                        <a:pt x="2706" y="8242"/>
                      </a:lnTo>
                      <a:lnTo>
                        <a:pt x="2839" y="8172"/>
                      </a:lnTo>
                      <a:lnTo>
                        <a:pt x="2988" y="8260"/>
                      </a:lnTo>
                      <a:lnTo>
                        <a:pt x="3438" y="8674"/>
                      </a:lnTo>
                      <a:lnTo>
                        <a:pt x="3782" y="8842"/>
                      </a:lnTo>
                      <a:lnTo>
                        <a:pt x="4064" y="8877"/>
                      </a:lnTo>
                      <a:lnTo>
                        <a:pt x="4267" y="9124"/>
                      </a:lnTo>
                      <a:lnTo>
                        <a:pt x="4469" y="9468"/>
                      </a:lnTo>
                      <a:lnTo>
                        <a:pt x="5210" y="9335"/>
                      </a:lnTo>
                      <a:lnTo>
                        <a:pt x="5580" y="9424"/>
                      </a:lnTo>
                      <a:lnTo>
                        <a:pt x="5756" y="9538"/>
                      </a:lnTo>
                      <a:lnTo>
                        <a:pt x="6206" y="9988"/>
                      </a:lnTo>
                      <a:lnTo>
                        <a:pt x="6479" y="10376"/>
                      </a:lnTo>
                      <a:lnTo>
                        <a:pt x="6585" y="10464"/>
                      </a:lnTo>
                      <a:lnTo>
                        <a:pt x="6982" y="10631"/>
                      </a:lnTo>
                      <a:lnTo>
                        <a:pt x="7387" y="10640"/>
                      </a:lnTo>
                      <a:lnTo>
                        <a:pt x="7563" y="10508"/>
                      </a:lnTo>
                      <a:lnTo>
                        <a:pt x="7757" y="10393"/>
                      </a:lnTo>
                      <a:lnTo>
                        <a:pt x="8321" y="10296"/>
                      </a:lnTo>
                      <a:lnTo>
                        <a:pt x="8462" y="10164"/>
                      </a:lnTo>
                      <a:lnTo>
                        <a:pt x="8551" y="10067"/>
                      </a:lnTo>
                      <a:lnTo>
                        <a:pt x="8877" y="9864"/>
                      </a:lnTo>
                      <a:lnTo>
                        <a:pt x="9009" y="9644"/>
                      </a:lnTo>
                      <a:lnTo>
                        <a:pt x="8983" y="9371"/>
                      </a:lnTo>
                      <a:lnTo>
                        <a:pt x="9071" y="9097"/>
                      </a:lnTo>
                      <a:lnTo>
                        <a:pt x="9714" y="8780"/>
                      </a:lnTo>
                      <a:lnTo>
                        <a:pt x="9882" y="8771"/>
                      </a:lnTo>
                      <a:lnTo>
                        <a:pt x="10058" y="8745"/>
                      </a:lnTo>
                      <a:lnTo>
                        <a:pt x="10155" y="8710"/>
                      </a:lnTo>
                      <a:lnTo>
                        <a:pt x="10305" y="8472"/>
                      </a:lnTo>
                      <a:lnTo>
                        <a:pt x="10349" y="8189"/>
                      </a:lnTo>
                      <a:lnTo>
                        <a:pt x="10340" y="7370"/>
                      </a:lnTo>
                      <a:lnTo>
                        <a:pt x="10384" y="7211"/>
                      </a:lnTo>
                      <a:lnTo>
                        <a:pt x="10446" y="7167"/>
                      </a:lnTo>
                      <a:lnTo>
                        <a:pt x="9794" y="6902"/>
                      </a:lnTo>
                      <a:lnTo>
                        <a:pt x="9414" y="6435"/>
                      </a:lnTo>
                      <a:lnTo>
                        <a:pt x="9573" y="6365"/>
                      </a:lnTo>
                      <a:lnTo>
                        <a:pt x="9926" y="6426"/>
                      </a:lnTo>
                      <a:lnTo>
                        <a:pt x="10093" y="6365"/>
                      </a:lnTo>
                      <a:lnTo>
                        <a:pt x="10190" y="6224"/>
                      </a:lnTo>
                      <a:lnTo>
                        <a:pt x="10305" y="6180"/>
                      </a:lnTo>
                      <a:lnTo>
                        <a:pt x="10366" y="6162"/>
                      </a:lnTo>
                      <a:lnTo>
                        <a:pt x="10490" y="6171"/>
                      </a:lnTo>
                      <a:lnTo>
                        <a:pt x="10640" y="6083"/>
                      </a:lnTo>
                      <a:lnTo>
                        <a:pt x="10763" y="5933"/>
                      </a:lnTo>
                      <a:lnTo>
                        <a:pt x="10631" y="5712"/>
                      </a:lnTo>
                      <a:lnTo>
                        <a:pt x="10516" y="5466"/>
                      </a:lnTo>
                      <a:lnTo>
                        <a:pt x="10402" y="5281"/>
                      </a:lnTo>
                      <a:lnTo>
                        <a:pt x="10217" y="5210"/>
                      </a:lnTo>
                      <a:lnTo>
                        <a:pt x="10128" y="5184"/>
                      </a:lnTo>
                      <a:lnTo>
                        <a:pt x="10049" y="5113"/>
                      </a:lnTo>
                      <a:lnTo>
                        <a:pt x="9987" y="4990"/>
                      </a:lnTo>
                      <a:lnTo>
                        <a:pt x="9908" y="4884"/>
                      </a:lnTo>
                      <a:lnTo>
                        <a:pt x="9776" y="4787"/>
                      </a:lnTo>
                      <a:lnTo>
                        <a:pt x="9617" y="4734"/>
                      </a:lnTo>
                      <a:lnTo>
                        <a:pt x="9221" y="4672"/>
                      </a:lnTo>
                      <a:lnTo>
                        <a:pt x="9106" y="4540"/>
                      </a:lnTo>
                      <a:lnTo>
                        <a:pt x="9009" y="4381"/>
                      </a:lnTo>
                      <a:lnTo>
                        <a:pt x="8850" y="4179"/>
                      </a:lnTo>
                      <a:lnTo>
                        <a:pt x="8991" y="3852"/>
                      </a:lnTo>
                      <a:lnTo>
                        <a:pt x="9670" y="3623"/>
                      </a:lnTo>
                      <a:lnTo>
                        <a:pt x="9961" y="3456"/>
                      </a:lnTo>
                      <a:lnTo>
                        <a:pt x="10111" y="3332"/>
                      </a:lnTo>
                      <a:lnTo>
                        <a:pt x="10270" y="3227"/>
                      </a:lnTo>
                      <a:lnTo>
                        <a:pt x="10463" y="3147"/>
                      </a:lnTo>
                      <a:lnTo>
                        <a:pt x="10649" y="3024"/>
                      </a:lnTo>
                      <a:lnTo>
                        <a:pt x="10534" y="2416"/>
                      </a:lnTo>
                      <a:lnTo>
                        <a:pt x="10613" y="2213"/>
                      </a:lnTo>
                      <a:lnTo>
                        <a:pt x="10640" y="1993"/>
                      </a:lnTo>
                      <a:lnTo>
                        <a:pt x="10508" y="1746"/>
                      </a:lnTo>
                      <a:lnTo>
                        <a:pt x="10314" y="1561"/>
                      </a:lnTo>
                      <a:lnTo>
                        <a:pt x="10181" y="1358"/>
                      </a:lnTo>
                      <a:lnTo>
                        <a:pt x="10084" y="1120"/>
                      </a:lnTo>
                      <a:lnTo>
                        <a:pt x="9952" y="952"/>
                      </a:lnTo>
                      <a:lnTo>
                        <a:pt x="9785" y="838"/>
                      </a:lnTo>
                      <a:lnTo>
                        <a:pt x="9538" y="476"/>
                      </a:lnTo>
                      <a:lnTo>
                        <a:pt x="9450"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1" name="Google Shape;3159;p54">
                  <a:extLst>
                    <a:ext uri="{FF2B5EF4-FFF2-40B4-BE49-F238E27FC236}">
                      <a16:creationId xmlns:a16="http://schemas.microsoft.com/office/drawing/2014/main" id="{2D6DC345-4F97-D0EE-C21C-0F4A5B2E8773}"/>
                    </a:ext>
                  </a:extLst>
                </p:cNvPr>
                <p:cNvSpPr/>
                <p:nvPr/>
              </p:nvSpPr>
              <p:spPr>
                <a:xfrm>
                  <a:off x="6186346" y="2519930"/>
                  <a:ext cx="633647" cy="560351"/>
                </a:xfrm>
                <a:custGeom>
                  <a:avLst/>
                  <a:gdLst/>
                  <a:ahLst/>
                  <a:cxnLst/>
                  <a:rect l="l" t="t" r="r" b="b"/>
                  <a:pathLst>
                    <a:path w="8913" h="7882" extrusionOk="0">
                      <a:moveTo>
                        <a:pt x="5263" y="1"/>
                      </a:moveTo>
                      <a:lnTo>
                        <a:pt x="4902" y="124"/>
                      </a:lnTo>
                      <a:lnTo>
                        <a:pt x="4576" y="380"/>
                      </a:lnTo>
                      <a:lnTo>
                        <a:pt x="4276" y="468"/>
                      </a:lnTo>
                      <a:lnTo>
                        <a:pt x="3959" y="424"/>
                      </a:lnTo>
                      <a:lnTo>
                        <a:pt x="3791" y="450"/>
                      </a:lnTo>
                      <a:lnTo>
                        <a:pt x="3633" y="521"/>
                      </a:lnTo>
                      <a:lnTo>
                        <a:pt x="3271" y="530"/>
                      </a:lnTo>
                      <a:lnTo>
                        <a:pt x="3104" y="609"/>
                      </a:lnTo>
                      <a:lnTo>
                        <a:pt x="2936" y="723"/>
                      </a:lnTo>
                      <a:lnTo>
                        <a:pt x="2760" y="794"/>
                      </a:lnTo>
                      <a:lnTo>
                        <a:pt x="2593" y="909"/>
                      </a:lnTo>
                      <a:lnTo>
                        <a:pt x="2205" y="997"/>
                      </a:lnTo>
                      <a:lnTo>
                        <a:pt x="1817" y="794"/>
                      </a:lnTo>
                      <a:lnTo>
                        <a:pt x="1605" y="847"/>
                      </a:lnTo>
                      <a:lnTo>
                        <a:pt x="1508" y="1085"/>
                      </a:lnTo>
                      <a:lnTo>
                        <a:pt x="1552" y="1367"/>
                      </a:lnTo>
                      <a:lnTo>
                        <a:pt x="1641" y="1631"/>
                      </a:lnTo>
                      <a:lnTo>
                        <a:pt x="1693" y="1755"/>
                      </a:lnTo>
                      <a:lnTo>
                        <a:pt x="1720" y="1887"/>
                      </a:lnTo>
                      <a:lnTo>
                        <a:pt x="1641" y="2107"/>
                      </a:lnTo>
                      <a:lnTo>
                        <a:pt x="1314" y="2469"/>
                      </a:lnTo>
                      <a:lnTo>
                        <a:pt x="1112" y="2601"/>
                      </a:lnTo>
                      <a:lnTo>
                        <a:pt x="1015" y="2636"/>
                      </a:lnTo>
                      <a:lnTo>
                        <a:pt x="777" y="2918"/>
                      </a:lnTo>
                      <a:lnTo>
                        <a:pt x="539" y="3130"/>
                      </a:lnTo>
                      <a:lnTo>
                        <a:pt x="265" y="3262"/>
                      </a:lnTo>
                      <a:lnTo>
                        <a:pt x="1" y="3721"/>
                      </a:lnTo>
                      <a:lnTo>
                        <a:pt x="45" y="4064"/>
                      </a:lnTo>
                      <a:lnTo>
                        <a:pt x="133" y="4073"/>
                      </a:lnTo>
                      <a:lnTo>
                        <a:pt x="301" y="4029"/>
                      </a:lnTo>
                      <a:lnTo>
                        <a:pt x="389" y="4020"/>
                      </a:lnTo>
                      <a:lnTo>
                        <a:pt x="1085" y="4170"/>
                      </a:lnTo>
                      <a:lnTo>
                        <a:pt x="1676" y="4523"/>
                      </a:lnTo>
                      <a:lnTo>
                        <a:pt x="1984" y="4620"/>
                      </a:lnTo>
                      <a:lnTo>
                        <a:pt x="2355" y="4787"/>
                      </a:lnTo>
                      <a:lnTo>
                        <a:pt x="2575" y="5184"/>
                      </a:lnTo>
                      <a:lnTo>
                        <a:pt x="2548" y="5431"/>
                      </a:lnTo>
                      <a:lnTo>
                        <a:pt x="2293" y="6101"/>
                      </a:lnTo>
                      <a:lnTo>
                        <a:pt x="2266" y="6277"/>
                      </a:lnTo>
                      <a:lnTo>
                        <a:pt x="2178" y="6418"/>
                      </a:lnTo>
                      <a:lnTo>
                        <a:pt x="2108" y="6488"/>
                      </a:lnTo>
                      <a:lnTo>
                        <a:pt x="2002" y="6674"/>
                      </a:lnTo>
                      <a:lnTo>
                        <a:pt x="1764" y="7537"/>
                      </a:lnTo>
                      <a:lnTo>
                        <a:pt x="1570" y="7881"/>
                      </a:lnTo>
                      <a:lnTo>
                        <a:pt x="2231" y="7758"/>
                      </a:lnTo>
                      <a:lnTo>
                        <a:pt x="2645" y="7582"/>
                      </a:lnTo>
                      <a:lnTo>
                        <a:pt x="3069" y="7529"/>
                      </a:lnTo>
                      <a:lnTo>
                        <a:pt x="3262" y="7590"/>
                      </a:lnTo>
                      <a:lnTo>
                        <a:pt x="3465" y="7617"/>
                      </a:lnTo>
                      <a:lnTo>
                        <a:pt x="3633" y="7564"/>
                      </a:lnTo>
                      <a:lnTo>
                        <a:pt x="3791" y="7485"/>
                      </a:lnTo>
                      <a:lnTo>
                        <a:pt x="4179" y="7388"/>
                      </a:lnTo>
                      <a:lnTo>
                        <a:pt x="4461" y="7132"/>
                      </a:lnTo>
                      <a:lnTo>
                        <a:pt x="4470" y="6823"/>
                      </a:lnTo>
                      <a:lnTo>
                        <a:pt x="4593" y="6585"/>
                      </a:lnTo>
                      <a:lnTo>
                        <a:pt x="4955" y="6392"/>
                      </a:lnTo>
                      <a:lnTo>
                        <a:pt x="5246" y="5951"/>
                      </a:lnTo>
                      <a:lnTo>
                        <a:pt x="5590" y="5563"/>
                      </a:lnTo>
                      <a:lnTo>
                        <a:pt x="5916" y="5563"/>
                      </a:lnTo>
                      <a:lnTo>
                        <a:pt x="6189" y="5484"/>
                      </a:lnTo>
                      <a:lnTo>
                        <a:pt x="6453" y="5536"/>
                      </a:lnTo>
                      <a:lnTo>
                        <a:pt x="6480" y="5730"/>
                      </a:lnTo>
                      <a:lnTo>
                        <a:pt x="6295" y="5898"/>
                      </a:lnTo>
                      <a:lnTo>
                        <a:pt x="6207" y="5960"/>
                      </a:lnTo>
                      <a:lnTo>
                        <a:pt x="6242" y="6083"/>
                      </a:lnTo>
                      <a:lnTo>
                        <a:pt x="6312" y="6118"/>
                      </a:lnTo>
                      <a:lnTo>
                        <a:pt x="6383" y="6180"/>
                      </a:lnTo>
                      <a:lnTo>
                        <a:pt x="6665" y="6250"/>
                      </a:lnTo>
                      <a:lnTo>
                        <a:pt x="6991" y="6250"/>
                      </a:lnTo>
                      <a:lnTo>
                        <a:pt x="7317" y="6295"/>
                      </a:lnTo>
                      <a:lnTo>
                        <a:pt x="7652" y="6224"/>
                      </a:lnTo>
                      <a:lnTo>
                        <a:pt x="7784" y="6224"/>
                      </a:lnTo>
                      <a:lnTo>
                        <a:pt x="7908" y="6198"/>
                      </a:lnTo>
                      <a:lnTo>
                        <a:pt x="8102" y="6101"/>
                      </a:lnTo>
                      <a:lnTo>
                        <a:pt x="8296" y="6057"/>
                      </a:lnTo>
                      <a:lnTo>
                        <a:pt x="8551" y="5933"/>
                      </a:lnTo>
                      <a:lnTo>
                        <a:pt x="8763" y="5686"/>
                      </a:lnTo>
                      <a:lnTo>
                        <a:pt x="8913" y="5149"/>
                      </a:lnTo>
                      <a:lnTo>
                        <a:pt x="8895" y="5008"/>
                      </a:lnTo>
                      <a:lnTo>
                        <a:pt x="8842" y="4884"/>
                      </a:lnTo>
                      <a:lnTo>
                        <a:pt x="8763" y="4796"/>
                      </a:lnTo>
                      <a:lnTo>
                        <a:pt x="8569" y="4770"/>
                      </a:lnTo>
                      <a:lnTo>
                        <a:pt x="8190" y="4902"/>
                      </a:lnTo>
                      <a:lnTo>
                        <a:pt x="8031" y="4875"/>
                      </a:lnTo>
                      <a:lnTo>
                        <a:pt x="7890" y="4743"/>
                      </a:lnTo>
                      <a:lnTo>
                        <a:pt x="7811" y="4699"/>
                      </a:lnTo>
                      <a:lnTo>
                        <a:pt x="7696" y="4681"/>
                      </a:lnTo>
                      <a:lnTo>
                        <a:pt x="7688" y="4646"/>
                      </a:lnTo>
                      <a:lnTo>
                        <a:pt x="7582" y="4470"/>
                      </a:lnTo>
                      <a:lnTo>
                        <a:pt x="7546" y="4435"/>
                      </a:lnTo>
                      <a:lnTo>
                        <a:pt x="7423" y="4355"/>
                      </a:lnTo>
                      <a:lnTo>
                        <a:pt x="7458" y="4311"/>
                      </a:lnTo>
                      <a:lnTo>
                        <a:pt x="7344" y="4223"/>
                      </a:lnTo>
                      <a:lnTo>
                        <a:pt x="7203" y="4249"/>
                      </a:lnTo>
                      <a:lnTo>
                        <a:pt x="6921" y="4355"/>
                      </a:lnTo>
                      <a:lnTo>
                        <a:pt x="6780" y="4346"/>
                      </a:lnTo>
                      <a:lnTo>
                        <a:pt x="6409" y="4152"/>
                      </a:lnTo>
                      <a:lnTo>
                        <a:pt x="6374" y="4152"/>
                      </a:lnTo>
                      <a:lnTo>
                        <a:pt x="6348" y="4170"/>
                      </a:lnTo>
                      <a:lnTo>
                        <a:pt x="6312" y="4170"/>
                      </a:lnTo>
                      <a:lnTo>
                        <a:pt x="6242" y="4100"/>
                      </a:lnTo>
                      <a:lnTo>
                        <a:pt x="6215" y="4082"/>
                      </a:lnTo>
                      <a:lnTo>
                        <a:pt x="6092" y="4047"/>
                      </a:lnTo>
                      <a:lnTo>
                        <a:pt x="5819" y="4011"/>
                      </a:lnTo>
                      <a:lnTo>
                        <a:pt x="5766" y="3994"/>
                      </a:lnTo>
                      <a:lnTo>
                        <a:pt x="5704" y="3959"/>
                      </a:lnTo>
                      <a:lnTo>
                        <a:pt x="5642" y="3906"/>
                      </a:lnTo>
                      <a:lnTo>
                        <a:pt x="5563" y="3800"/>
                      </a:lnTo>
                      <a:lnTo>
                        <a:pt x="5510" y="3773"/>
                      </a:lnTo>
                      <a:lnTo>
                        <a:pt x="5457" y="3826"/>
                      </a:lnTo>
                      <a:lnTo>
                        <a:pt x="5378" y="3765"/>
                      </a:lnTo>
                      <a:lnTo>
                        <a:pt x="5316" y="3659"/>
                      </a:lnTo>
                      <a:lnTo>
                        <a:pt x="5281" y="3535"/>
                      </a:lnTo>
                      <a:lnTo>
                        <a:pt x="5263" y="3438"/>
                      </a:lnTo>
                      <a:lnTo>
                        <a:pt x="5246" y="3386"/>
                      </a:lnTo>
                      <a:lnTo>
                        <a:pt x="5219" y="3350"/>
                      </a:lnTo>
                      <a:lnTo>
                        <a:pt x="5211" y="3306"/>
                      </a:lnTo>
                      <a:lnTo>
                        <a:pt x="5272" y="3183"/>
                      </a:lnTo>
                      <a:lnTo>
                        <a:pt x="5307" y="3077"/>
                      </a:lnTo>
                      <a:lnTo>
                        <a:pt x="5334" y="3015"/>
                      </a:lnTo>
                      <a:lnTo>
                        <a:pt x="5387" y="2918"/>
                      </a:lnTo>
                      <a:lnTo>
                        <a:pt x="5457" y="2848"/>
                      </a:lnTo>
                      <a:lnTo>
                        <a:pt x="5546" y="2786"/>
                      </a:lnTo>
                      <a:lnTo>
                        <a:pt x="5660" y="2769"/>
                      </a:lnTo>
                      <a:lnTo>
                        <a:pt x="5722" y="2733"/>
                      </a:lnTo>
                      <a:lnTo>
                        <a:pt x="5784" y="2645"/>
                      </a:lnTo>
                      <a:lnTo>
                        <a:pt x="5801" y="2531"/>
                      </a:lnTo>
                      <a:lnTo>
                        <a:pt x="5775" y="2442"/>
                      </a:lnTo>
                      <a:lnTo>
                        <a:pt x="5828" y="2372"/>
                      </a:lnTo>
                      <a:lnTo>
                        <a:pt x="5951" y="2345"/>
                      </a:lnTo>
                      <a:lnTo>
                        <a:pt x="6453" y="2398"/>
                      </a:lnTo>
                      <a:lnTo>
                        <a:pt x="6515" y="2372"/>
                      </a:lnTo>
                      <a:lnTo>
                        <a:pt x="6524" y="2319"/>
                      </a:lnTo>
                      <a:lnTo>
                        <a:pt x="6515" y="2240"/>
                      </a:lnTo>
                      <a:lnTo>
                        <a:pt x="6533" y="2204"/>
                      </a:lnTo>
                      <a:lnTo>
                        <a:pt x="6480" y="2019"/>
                      </a:lnTo>
                      <a:lnTo>
                        <a:pt x="6480" y="1887"/>
                      </a:lnTo>
                      <a:lnTo>
                        <a:pt x="6462" y="1517"/>
                      </a:lnTo>
                      <a:lnTo>
                        <a:pt x="6401" y="1349"/>
                      </a:lnTo>
                      <a:lnTo>
                        <a:pt x="6321" y="1191"/>
                      </a:lnTo>
                      <a:lnTo>
                        <a:pt x="6321" y="944"/>
                      </a:lnTo>
                      <a:lnTo>
                        <a:pt x="6445" y="776"/>
                      </a:lnTo>
                      <a:lnTo>
                        <a:pt x="6780" y="759"/>
                      </a:lnTo>
                      <a:lnTo>
                        <a:pt x="6480" y="406"/>
                      </a:lnTo>
                      <a:lnTo>
                        <a:pt x="6286" y="292"/>
                      </a:lnTo>
                      <a:lnTo>
                        <a:pt x="6074" y="203"/>
                      </a:lnTo>
                      <a:lnTo>
                        <a:pt x="5634" y="186"/>
                      </a:lnTo>
                      <a:lnTo>
                        <a:pt x="526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2" name="Google Shape;3160;p54">
                  <a:extLst>
                    <a:ext uri="{FF2B5EF4-FFF2-40B4-BE49-F238E27FC236}">
                      <a16:creationId xmlns:a16="http://schemas.microsoft.com/office/drawing/2014/main" id="{80DAFE14-DBB6-21FE-290A-01255FC2F70D}"/>
                    </a:ext>
                  </a:extLst>
                </p:cNvPr>
                <p:cNvSpPr/>
                <p:nvPr/>
              </p:nvSpPr>
              <p:spPr>
                <a:xfrm>
                  <a:off x="6556751" y="2486089"/>
                  <a:ext cx="673104" cy="382335"/>
                </a:xfrm>
                <a:custGeom>
                  <a:avLst/>
                  <a:gdLst/>
                  <a:ahLst/>
                  <a:cxnLst/>
                  <a:rect l="l" t="t" r="r" b="b"/>
                  <a:pathLst>
                    <a:path w="9468" h="5378" extrusionOk="0">
                      <a:moveTo>
                        <a:pt x="9327" y="1"/>
                      </a:moveTo>
                      <a:lnTo>
                        <a:pt x="8948" y="177"/>
                      </a:lnTo>
                      <a:lnTo>
                        <a:pt x="8789" y="221"/>
                      </a:lnTo>
                      <a:lnTo>
                        <a:pt x="7722" y="794"/>
                      </a:lnTo>
                      <a:lnTo>
                        <a:pt x="7476" y="812"/>
                      </a:lnTo>
                      <a:lnTo>
                        <a:pt x="7246" y="864"/>
                      </a:lnTo>
                      <a:lnTo>
                        <a:pt x="7158" y="926"/>
                      </a:lnTo>
                      <a:lnTo>
                        <a:pt x="7097" y="1023"/>
                      </a:lnTo>
                      <a:lnTo>
                        <a:pt x="7141" y="1252"/>
                      </a:lnTo>
                      <a:lnTo>
                        <a:pt x="7167" y="1464"/>
                      </a:lnTo>
                      <a:lnTo>
                        <a:pt x="7097" y="1737"/>
                      </a:lnTo>
                      <a:lnTo>
                        <a:pt x="6973" y="1993"/>
                      </a:lnTo>
                      <a:lnTo>
                        <a:pt x="6691" y="2310"/>
                      </a:lnTo>
                      <a:lnTo>
                        <a:pt x="6259" y="2478"/>
                      </a:lnTo>
                      <a:lnTo>
                        <a:pt x="5810" y="2513"/>
                      </a:lnTo>
                      <a:lnTo>
                        <a:pt x="5642" y="2495"/>
                      </a:lnTo>
                      <a:lnTo>
                        <a:pt x="5483" y="2531"/>
                      </a:lnTo>
                      <a:lnTo>
                        <a:pt x="5369" y="2689"/>
                      </a:lnTo>
                      <a:lnTo>
                        <a:pt x="5219" y="2786"/>
                      </a:lnTo>
                      <a:lnTo>
                        <a:pt x="5104" y="2751"/>
                      </a:lnTo>
                      <a:lnTo>
                        <a:pt x="4999" y="2689"/>
                      </a:lnTo>
                      <a:lnTo>
                        <a:pt x="4910" y="2716"/>
                      </a:lnTo>
                      <a:lnTo>
                        <a:pt x="4875" y="2724"/>
                      </a:lnTo>
                      <a:lnTo>
                        <a:pt x="4769" y="2592"/>
                      </a:lnTo>
                      <a:lnTo>
                        <a:pt x="4681" y="2522"/>
                      </a:lnTo>
                      <a:lnTo>
                        <a:pt x="4479" y="2460"/>
                      </a:lnTo>
                      <a:lnTo>
                        <a:pt x="4276" y="2319"/>
                      </a:lnTo>
                      <a:lnTo>
                        <a:pt x="4064" y="2222"/>
                      </a:lnTo>
                      <a:lnTo>
                        <a:pt x="3870" y="2204"/>
                      </a:lnTo>
                      <a:lnTo>
                        <a:pt x="3685" y="2151"/>
                      </a:lnTo>
                      <a:lnTo>
                        <a:pt x="3535" y="2134"/>
                      </a:lnTo>
                      <a:lnTo>
                        <a:pt x="3394" y="2046"/>
                      </a:lnTo>
                      <a:lnTo>
                        <a:pt x="3341" y="2046"/>
                      </a:lnTo>
                      <a:lnTo>
                        <a:pt x="3253" y="2063"/>
                      </a:lnTo>
                      <a:lnTo>
                        <a:pt x="3209" y="2072"/>
                      </a:lnTo>
                      <a:lnTo>
                        <a:pt x="3006" y="1984"/>
                      </a:lnTo>
                      <a:lnTo>
                        <a:pt x="2645" y="2010"/>
                      </a:lnTo>
                      <a:lnTo>
                        <a:pt x="2284" y="2107"/>
                      </a:lnTo>
                      <a:lnTo>
                        <a:pt x="2151" y="2107"/>
                      </a:lnTo>
                      <a:lnTo>
                        <a:pt x="1949" y="1913"/>
                      </a:lnTo>
                      <a:lnTo>
                        <a:pt x="1949" y="1746"/>
                      </a:lnTo>
                      <a:lnTo>
                        <a:pt x="2019" y="1587"/>
                      </a:lnTo>
                      <a:lnTo>
                        <a:pt x="2019" y="1420"/>
                      </a:lnTo>
                      <a:lnTo>
                        <a:pt x="1834" y="1147"/>
                      </a:lnTo>
                      <a:lnTo>
                        <a:pt x="1693" y="1173"/>
                      </a:lnTo>
                      <a:lnTo>
                        <a:pt x="1570" y="1235"/>
                      </a:lnTo>
                      <a:lnTo>
                        <a:pt x="1235" y="1252"/>
                      </a:lnTo>
                      <a:lnTo>
                        <a:pt x="1111" y="1420"/>
                      </a:lnTo>
                      <a:lnTo>
                        <a:pt x="1111" y="1667"/>
                      </a:lnTo>
                      <a:lnTo>
                        <a:pt x="1191" y="1825"/>
                      </a:lnTo>
                      <a:lnTo>
                        <a:pt x="1252" y="1993"/>
                      </a:lnTo>
                      <a:lnTo>
                        <a:pt x="1270" y="2363"/>
                      </a:lnTo>
                      <a:lnTo>
                        <a:pt x="1270" y="2495"/>
                      </a:lnTo>
                      <a:lnTo>
                        <a:pt x="1323" y="2680"/>
                      </a:lnTo>
                      <a:lnTo>
                        <a:pt x="1305" y="2716"/>
                      </a:lnTo>
                      <a:lnTo>
                        <a:pt x="1314" y="2795"/>
                      </a:lnTo>
                      <a:lnTo>
                        <a:pt x="1305" y="2848"/>
                      </a:lnTo>
                      <a:lnTo>
                        <a:pt x="1243" y="2874"/>
                      </a:lnTo>
                      <a:lnTo>
                        <a:pt x="741" y="2821"/>
                      </a:lnTo>
                      <a:lnTo>
                        <a:pt x="618" y="2848"/>
                      </a:lnTo>
                      <a:lnTo>
                        <a:pt x="565" y="2918"/>
                      </a:lnTo>
                      <a:lnTo>
                        <a:pt x="591" y="3007"/>
                      </a:lnTo>
                      <a:lnTo>
                        <a:pt x="574" y="3121"/>
                      </a:lnTo>
                      <a:lnTo>
                        <a:pt x="512" y="3209"/>
                      </a:lnTo>
                      <a:lnTo>
                        <a:pt x="450" y="3245"/>
                      </a:lnTo>
                      <a:lnTo>
                        <a:pt x="336" y="3262"/>
                      </a:lnTo>
                      <a:lnTo>
                        <a:pt x="247" y="3324"/>
                      </a:lnTo>
                      <a:lnTo>
                        <a:pt x="177" y="3394"/>
                      </a:lnTo>
                      <a:lnTo>
                        <a:pt x="124" y="3491"/>
                      </a:lnTo>
                      <a:lnTo>
                        <a:pt x="97" y="3553"/>
                      </a:lnTo>
                      <a:lnTo>
                        <a:pt x="62" y="3659"/>
                      </a:lnTo>
                      <a:lnTo>
                        <a:pt x="1" y="3782"/>
                      </a:lnTo>
                      <a:lnTo>
                        <a:pt x="9" y="3826"/>
                      </a:lnTo>
                      <a:lnTo>
                        <a:pt x="36" y="3862"/>
                      </a:lnTo>
                      <a:lnTo>
                        <a:pt x="53" y="3914"/>
                      </a:lnTo>
                      <a:lnTo>
                        <a:pt x="71" y="4011"/>
                      </a:lnTo>
                      <a:lnTo>
                        <a:pt x="106" y="4135"/>
                      </a:lnTo>
                      <a:lnTo>
                        <a:pt x="168" y="4241"/>
                      </a:lnTo>
                      <a:lnTo>
                        <a:pt x="247" y="4302"/>
                      </a:lnTo>
                      <a:lnTo>
                        <a:pt x="300" y="4249"/>
                      </a:lnTo>
                      <a:lnTo>
                        <a:pt x="353" y="4276"/>
                      </a:lnTo>
                      <a:lnTo>
                        <a:pt x="432" y="4382"/>
                      </a:lnTo>
                      <a:lnTo>
                        <a:pt x="494" y="4435"/>
                      </a:lnTo>
                      <a:lnTo>
                        <a:pt x="556" y="4470"/>
                      </a:lnTo>
                      <a:lnTo>
                        <a:pt x="609" y="4487"/>
                      </a:lnTo>
                      <a:lnTo>
                        <a:pt x="882" y="4523"/>
                      </a:lnTo>
                      <a:lnTo>
                        <a:pt x="1005" y="4558"/>
                      </a:lnTo>
                      <a:lnTo>
                        <a:pt x="1032" y="4576"/>
                      </a:lnTo>
                      <a:lnTo>
                        <a:pt x="1102" y="4646"/>
                      </a:lnTo>
                      <a:lnTo>
                        <a:pt x="1138" y="4646"/>
                      </a:lnTo>
                      <a:lnTo>
                        <a:pt x="1164" y="4628"/>
                      </a:lnTo>
                      <a:lnTo>
                        <a:pt x="1199" y="4628"/>
                      </a:lnTo>
                      <a:lnTo>
                        <a:pt x="1570" y="4822"/>
                      </a:lnTo>
                      <a:lnTo>
                        <a:pt x="1711" y="4831"/>
                      </a:lnTo>
                      <a:lnTo>
                        <a:pt x="1993" y="4725"/>
                      </a:lnTo>
                      <a:lnTo>
                        <a:pt x="2134" y="4699"/>
                      </a:lnTo>
                      <a:lnTo>
                        <a:pt x="2248" y="4787"/>
                      </a:lnTo>
                      <a:lnTo>
                        <a:pt x="2213" y="4831"/>
                      </a:lnTo>
                      <a:lnTo>
                        <a:pt x="2336" y="4911"/>
                      </a:lnTo>
                      <a:lnTo>
                        <a:pt x="2372" y="4946"/>
                      </a:lnTo>
                      <a:lnTo>
                        <a:pt x="2478" y="5122"/>
                      </a:lnTo>
                      <a:lnTo>
                        <a:pt x="2486" y="5157"/>
                      </a:lnTo>
                      <a:lnTo>
                        <a:pt x="2601" y="5175"/>
                      </a:lnTo>
                      <a:lnTo>
                        <a:pt x="2680" y="5219"/>
                      </a:lnTo>
                      <a:lnTo>
                        <a:pt x="2821" y="5351"/>
                      </a:lnTo>
                      <a:lnTo>
                        <a:pt x="2980" y="5378"/>
                      </a:lnTo>
                      <a:lnTo>
                        <a:pt x="3359" y="5246"/>
                      </a:lnTo>
                      <a:lnTo>
                        <a:pt x="3553" y="5272"/>
                      </a:lnTo>
                      <a:lnTo>
                        <a:pt x="4188" y="5166"/>
                      </a:lnTo>
                      <a:lnTo>
                        <a:pt x="4567" y="5263"/>
                      </a:lnTo>
                      <a:lnTo>
                        <a:pt x="4963" y="5298"/>
                      </a:lnTo>
                      <a:lnTo>
                        <a:pt x="5157" y="5210"/>
                      </a:lnTo>
                      <a:lnTo>
                        <a:pt x="5519" y="5157"/>
                      </a:lnTo>
                      <a:lnTo>
                        <a:pt x="5651" y="5078"/>
                      </a:lnTo>
                      <a:lnTo>
                        <a:pt x="5995" y="5052"/>
                      </a:lnTo>
                      <a:lnTo>
                        <a:pt x="6356" y="5069"/>
                      </a:lnTo>
                      <a:lnTo>
                        <a:pt x="6515" y="5016"/>
                      </a:lnTo>
                      <a:lnTo>
                        <a:pt x="6656" y="4928"/>
                      </a:lnTo>
                      <a:lnTo>
                        <a:pt x="6770" y="4743"/>
                      </a:lnTo>
                      <a:lnTo>
                        <a:pt x="6876" y="4558"/>
                      </a:lnTo>
                      <a:lnTo>
                        <a:pt x="6947" y="4364"/>
                      </a:lnTo>
                      <a:lnTo>
                        <a:pt x="7158" y="4329"/>
                      </a:lnTo>
                      <a:lnTo>
                        <a:pt x="7264" y="4373"/>
                      </a:lnTo>
                      <a:lnTo>
                        <a:pt x="7423" y="4505"/>
                      </a:lnTo>
                      <a:lnTo>
                        <a:pt x="7502" y="4532"/>
                      </a:lnTo>
                      <a:lnTo>
                        <a:pt x="9053" y="4479"/>
                      </a:lnTo>
                      <a:lnTo>
                        <a:pt x="9036" y="4205"/>
                      </a:lnTo>
                      <a:lnTo>
                        <a:pt x="8983" y="3950"/>
                      </a:lnTo>
                      <a:lnTo>
                        <a:pt x="8736" y="3580"/>
                      </a:lnTo>
                      <a:lnTo>
                        <a:pt x="8956" y="2945"/>
                      </a:lnTo>
                      <a:lnTo>
                        <a:pt x="9098" y="2971"/>
                      </a:lnTo>
                      <a:lnTo>
                        <a:pt x="9247" y="3024"/>
                      </a:lnTo>
                      <a:lnTo>
                        <a:pt x="9336" y="2865"/>
                      </a:lnTo>
                      <a:lnTo>
                        <a:pt x="9397" y="2636"/>
                      </a:lnTo>
                      <a:lnTo>
                        <a:pt x="9424" y="2416"/>
                      </a:lnTo>
                      <a:lnTo>
                        <a:pt x="9344" y="2222"/>
                      </a:lnTo>
                      <a:lnTo>
                        <a:pt x="9062" y="1878"/>
                      </a:lnTo>
                      <a:lnTo>
                        <a:pt x="8948" y="1420"/>
                      </a:lnTo>
                      <a:lnTo>
                        <a:pt x="9045" y="997"/>
                      </a:lnTo>
                      <a:lnTo>
                        <a:pt x="9274" y="671"/>
                      </a:lnTo>
                      <a:lnTo>
                        <a:pt x="9468" y="292"/>
                      </a:lnTo>
                      <a:lnTo>
                        <a:pt x="9327"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3" name="Google Shape;3161;p54">
                  <a:extLst>
                    <a:ext uri="{FF2B5EF4-FFF2-40B4-BE49-F238E27FC236}">
                      <a16:creationId xmlns:a16="http://schemas.microsoft.com/office/drawing/2014/main" id="{14FBB54C-DB54-EB06-50E9-B30919332234}"/>
                    </a:ext>
                  </a:extLst>
                </p:cNvPr>
                <p:cNvSpPr/>
                <p:nvPr/>
              </p:nvSpPr>
              <p:spPr>
                <a:xfrm>
                  <a:off x="7605828" y="2539339"/>
                  <a:ext cx="537744" cy="489543"/>
                </a:xfrm>
                <a:custGeom>
                  <a:avLst/>
                  <a:gdLst/>
                  <a:ahLst/>
                  <a:cxnLst/>
                  <a:rect l="l" t="t" r="r" b="b"/>
                  <a:pathLst>
                    <a:path w="7564" h="6886" extrusionOk="0">
                      <a:moveTo>
                        <a:pt x="6682" y="1"/>
                      </a:moveTo>
                      <a:lnTo>
                        <a:pt x="5827" y="195"/>
                      </a:lnTo>
                      <a:lnTo>
                        <a:pt x="5677" y="318"/>
                      </a:lnTo>
                      <a:lnTo>
                        <a:pt x="5510" y="415"/>
                      </a:lnTo>
                      <a:lnTo>
                        <a:pt x="5290" y="486"/>
                      </a:lnTo>
                      <a:lnTo>
                        <a:pt x="5087" y="609"/>
                      </a:lnTo>
                      <a:lnTo>
                        <a:pt x="4752" y="882"/>
                      </a:lnTo>
                      <a:lnTo>
                        <a:pt x="4373" y="1032"/>
                      </a:lnTo>
                      <a:lnTo>
                        <a:pt x="3615" y="953"/>
                      </a:lnTo>
                      <a:lnTo>
                        <a:pt x="3447" y="1006"/>
                      </a:lnTo>
                      <a:lnTo>
                        <a:pt x="3306" y="1112"/>
                      </a:lnTo>
                      <a:lnTo>
                        <a:pt x="3112" y="1191"/>
                      </a:lnTo>
                      <a:lnTo>
                        <a:pt x="2918" y="1209"/>
                      </a:lnTo>
                      <a:lnTo>
                        <a:pt x="2821" y="1279"/>
                      </a:lnTo>
                      <a:lnTo>
                        <a:pt x="2769" y="1552"/>
                      </a:lnTo>
                      <a:lnTo>
                        <a:pt x="2672" y="1640"/>
                      </a:lnTo>
                      <a:lnTo>
                        <a:pt x="2257" y="1632"/>
                      </a:lnTo>
                      <a:lnTo>
                        <a:pt x="2178" y="1843"/>
                      </a:lnTo>
                      <a:lnTo>
                        <a:pt x="2319" y="2081"/>
                      </a:lnTo>
                      <a:lnTo>
                        <a:pt x="2354" y="2337"/>
                      </a:lnTo>
                      <a:lnTo>
                        <a:pt x="2160" y="2496"/>
                      </a:lnTo>
                      <a:lnTo>
                        <a:pt x="1887" y="2804"/>
                      </a:lnTo>
                      <a:lnTo>
                        <a:pt x="1561" y="2989"/>
                      </a:lnTo>
                      <a:lnTo>
                        <a:pt x="768" y="2927"/>
                      </a:lnTo>
                      <a:lnTo>
                        <a:pt x="54" y="3201"/>
                      </a:lnTo>
                      <a:lnTo>
                        <a:pt x="1" y="3280"/>
                      </a:lnTo>
                      <a:lnTo>
                        <a:pt x="397" y="3430"/>
                      </a:lnTo>
                      <a:lnTo>
                        <a:pt x="556" y="4232"/>
                      </a:lnTo>
                      <a:lnTo>
                        <a:pt x="662" y="4558"/>
                      </a:lnTo>
                      <a:lnTo>
                        <a:pt x="688" y="4770"/>
                      </a:lnTo>
                      <a:lnTo>
                        <a:pt x="688" y="4981"/>
                      </a:lnTo>
                      <a:lnTo>
                        <a:pt x="662" y="5114"/>
                      </a:lnTo>
                      <a:lnTo>
                        <a:pt x="679" y="5246"/>
                      </a:lnTo>
                      <a:lnTo>
                        <a:pt x="1155" y="5431"/>
                      </a:lnTo>
                      <a:lnTo>
                        <a:pt x="1658" y="5475"/>
                      </a:lnTo>
                      <a:lnTo>
                        <a:pt x="2055" y="5369"/>
                      </a:lnTo>
                      <a:lnTo>
                        <a:pt x="2460" y="5211"/>
                      </a:lnTo>
                      <a:lnTo>
                        <a:pt x="2769" y="5360"/>
                      </a:lnTo>
                      <a:lnTo>
                        <a:pt x="3042" y="5634"/>
                      </a:lnTo>
                      <a:lnTo>
                        <a:pt x="3342" y="5863"/>
                      </a:lnTo>
                      <a:lnTo>
                        <a:pt x="3676" y="6004"/>
                      </a:lnTo>
                      <a:lnTo>
                        <a:pt x="4003" y="6092"/>
                      </a:lnTo>
                      <a:lnTo>
                        <a:pt x="4205" y="6171"/>
                      </a:lnTo>
                      <a:lnTo>
                        <a:pt x="4496" y="6392"/>
                      </a:lnTo>
                      <a:lnTo>
                        <a:pt x="4963" y="6656"/>
                      </a:lnTo>
                      <a:lnTo>
                        <a:pt x="5281" y="6885"/>
                      </a:lnTo>
                      <a:lnTo>
                        <a:pt x="5457" y="6868"/>
                      </a:lnTo>
                      <a:lnTo>
                        <a:pt x="5598" y="6656"/>
                      </a:lnTo>
                      <a:lnTo>
                        <a:pt x="5616" y="6383"/>
                      </a:lnTo>
                      <a:lnTo>
                        <a:pt x="5589" y="6207"/>
                      </a:lnTo>
                      <a:lnTo>
                        <a:pt x="5589" y="6022"/>
                      </a:lnTo>
                      <a:lnTo>
                        <a:pt x="5633" y="5942"/>
                      </a:lnTo>
                      <a:lnTo>
                        <a:pt x="5695" y="5881"/>
                      </a:lnTo>
                      <a:lnTo>
                        <a:pt x="5827" y="5484"/>
                      </a:lnTo>
                      <a:lnTo>
                        <a:pt x="5581" y="5396"/>
                      </a:lnTo>
                      <a:lnTo>
                        <a:pt x="5492" y="5105"/>
                      </a:lnTo>
                      <a:lnTo>
                        <a:pt x="5545" y="4893"/>
                      </a:lnTo>
                      <a:lnTo>
                        <a:pt x="5536" y="4743"/>
                      </a:lnTo>
                      <a:lnTo>
                        <a:pt x="5510" y="4664"/>
                      </a:lnTo>
                      <a:lnTo>
                        <a:pt x="5351" y="4294"/>
                      </a:lnTo>
                      <a:lnTo>
                        <a:pt x="5325" y="4162"/>
                      </a:lnTo>
                      <a:lnTo>
                        <a:pt x="5369" y="3915"/>
                      </a:lnTo>
                      <a:lnTo>
                        <a:pt x="5439" y="3827"/>
                      </a:lnTo>
                      <a:lnTo>
                        <a:pt x="5942" y="3545"/>
                      </a:lnTo>
                      <a:lnTo>
                        <a:pt x="6233" y="3342"/>
                      </a:lnTo>
                      <a:lnTo>
                        <a:pt x="6339" y="3174"/>
                      </a:lnTo>
                      <a:lnTo>
                        <a:pt x="6418" y="2989"/>
                      </a:lnTo>
                      <a:lnTo>
                        <a:pt x="6841" y="2355"/>
                      </a:lnTo>
                      <a:lnTo>
                        <a:pt x="7097" y="2081"/>
                      </a:lnTo>
                      <a:lnTo>
                        <a:pt x="7432" y="1826"/>
                      </a:lnTo>
                      <a:lnTo>
                        <a:pt x="7564" y="1385"/>
                      </a:lnTo>
                      <a:lnTo>
                        <a:pt x="7370" y="1094"/>
                      </a:lnTo>
                      <a:lnTo>
                        <a:pt x="6832" y="759"/>
                      </a:lnTo>
                      <a:lnTo>
                        <a:pt x="6691" y="459"/>
                      </a:lnTo>
                      <a:lnTo>
                        <a:pt x="6682"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4" name="Google Shape;3162;p54">
                  <a:extLst>
                    <a:ext uri="{FF2B5EF4-FFF2-40B4-BE49-F238E27FC236}">
                      <a16:creationId xmlns:a16="http://schemas.microsoft.com/office/drawing/2014/main" id="{DD034823-DDC3-0EA5-8E42-FCCEFF05B96C}"/>
                    </a:ext>
                  </a:extLst>
                </p:cNvPr>
                <p:cNvSpPr/>
                <p:nvPr/>
              </p:nvSpPr>
              <p:spPr>
                <a:xfrm>
                  <a:off x="7105746" y="2336292"/>
                  <a:ext cx="416175" cy="468215"/>
                </a:xfrm>
                <a:custGeom>
                  <a:avLst/>
                  <a:gdLst/>
                  <a:ahLst/>
                  <a:cxnLst/>
                  <a:rect l="l" t="t" r="r" b="b"/>
                  <a:pathLst>
                    <a:path w="5854" h="6586" extrusionOk="0">
                      <a:moveTo>
                        <a:pt x="3897" y="1"/>
                      </a:moveTo>
                      <a:lnTo>
                        <a:pt x="3764" y="71"/>
                      </a:lnTo>
                      <a:lnTo>
                        <a:pt x="3632" y="177"/>
                      </a:lnTo>
                      <a:lnTo>
                        <a:pt x="3218" y="353"/>
                      </a:lnTo>
                      <a:lnTo>
                        <a:pt x="2804" y="292"/>
                      </a:lnTo>
                      <a:lnTo>
                        <a:pt x="2504" y="195"/>
                      </a:lnTo>
                      <a:lnTo>
                        <a:pt x="2328" y="406"/>
                      </a:lnTo>
                      <a:lnTo>
                        <a:pt x="2090" y="521"/>
                      </a:lnTo>
                      <a:lnTo>
                        <a:pt x="1975" y="512"/>
                      </a:lnTo>
                      <a:lnTo>
                        <a:pt x="1755" y="477"/>
                      </a:lnTo>
                      <a:lnTo>
                        <a:pt x="1675" y="539"/>
                      </a:lnTo>
                      <a:lnTo>
                        <a:pt x="1552" y="803"/>
                      </a:lnTo>
                      <a:lnTo>
                        <a:pt x="1331" y="962"/>
                      </a:lnTo>
                      <a:lnTo>
                        <a:pt x="1102" y="953"/>
                      </a:lnTo>
                      <a:lnTo>
                        <a:pt x="900" y="1041"/>
                      </a:lnTo>
                      <a:lnTo>
                        <a:pt x="855" y="1156"/>
                      </a:lnTo>
                      <a:lnTo>
                        <a:pt x="811" y="1261"/>
                      </a:lnTo>
                      <a:lnTo>
                        <a:pt x="750" y="1288"/>
                      </a:lnTo>
                      <a:lnTo>
                        <a:pt x="424" y="1270"/>
                      </a:lnTo>
                      <a:lnTo>
                        <a:pt x="194" y="1341"/>
                      </a:lnTo>
                      <a:lnTo>
                        <a:pt x="124" y="1455"/>
                      </a:lnTo>
                      <a:lnTo>
                        <a:pt x="97" y="1755"/>
                      </a:lnTo>
                      <a:lnTo>
                        <a:pt x="44" y="1905"/>
                      </a:lnTo>
                      <a:lnTo>
                        <a:pt x="18" y="2064"/>
                      </a:lnTo>
                      <a:lnTo>
                        <a:pt x="115" y="2513"/>
                      </a:lnTo>
                      <a:lnTo>
                        <a:pt x="80" y="2716"/>
                      </a:lnTo>
                      <a:lnTo>
                        <a:pt x="0" y="2901"/>
                      </a:lnTo>
                      <a:lnTo>
                        <a:pt x="0" y="2901"/>
                      </a:lnTo>
                      <a:lnTo>
                        <a:pt x="1067" y="2328"/>
                      </a:lnTo>
                      <a:lnTo>
                        <a:pt x="1226" y="2284"/>
                      </a:lnTo>
                      <a:lnTo>
                        <a:pt x="1605" y="2108"/>
                      </a:lnTo>
                      <a:lnTo>
                        <a:pt x="1746" y="2399"/>
                      </a:lnTo>
                      <a:lnTo>
                        <a:pt x="1552" y="2778"/>
                      </a:lnTo>
                      <a:lnTo>
                        <a:pt x="1323" y="3104"/>
                      </a:lnTo>
                      <a:lnTo>
                        <a:pt x="1226" y="3527"/>
                      </a:lnTo>
                      <a:lnTo>
                        <a:pt x="1340" y="3985"/>
                      </a:lnTo>
                      <a:lnTo>
                        <a:pt x="1622" y="4329"/>
                      </a:lnTo>
                      <a:lnTo>
                        <a:pt x="1702" y="4523"/>
                      </a:lnTo>
                      <a:lnTo>
                        <a:pt x="1675" y="4743"/>
                      </a:lnTo>
                      <a:lnTo>
                        <a:pt x="1614" y="4972"/>
                      </a:lnTo>
                      <a:lnTo>
                        <a:pt x="1525" y="5131"/>
                      </a:lnTo>
                      <a:lnTo>
                        <a:pt x="1376" y="5078"/>
                      </a:lnTo>
                      <a:lnTo>
                        <a:pt x="1234" y="5052"/>
                      </a:lnTo>
                      <a:lnTo>
                        <a:pt x="1014" y="5687"/>
                      </a:lnTo>
                      <a:lnTo>
                        <a:pt x="1261" y="6057"/>
                      </a:lnTo>
                      <a:lnTo>
                        <a:pt x="1314" y="6312"/>
                      </a:lnTo>
                      <a:lnTo>
                        <a:pt x="1331" y="6586"/>
                      </a:lnTo>
                      <a:lnTo>
                        <a:pt x="1869" y="6568"/>
                      </a:lnTo>
                      <a:lnTo>
                        <a:pt x="2063" y="6480"/>
                      </a:lnTo>
                      <a:lnTo>
                        <a:pt x="2178" y="6286"/>
                      </a:lnTo>
                      <a:lnTo>
                        <a:pt x="2186" y="6110"/>
                      </a:lnTo>
                      <a:lnTo>
                        <a:pt x="2213" y="5942"/>
                      </a:lnTo>
                      <a:lnTo>
                        <a:pt x="2469" y="5810"/>
                      </a:lnTo>
                      <a:lnTo>
                        <a:pt x="2927" y="5748"/>
                      </a:lnTo>
                      <a:lnTo>
                        <a:pt x="3086" y="5766"/>
                      </a:lnTo>
                      <a:lnTo>
                        <a:pt x="3315" y="5828"/>
                      </a:lnTo>
                      <a:lnTo>
                        <a:pt x="4108" y="5854"/>
                      </a:lnTo>
                      <a:lnTo>
                        <a:pt x="4408" y="5775"/>
                      </a:lnTo>
                      <a:lnTo>
                        <a:pt x="4981" y="5413"/>
                      </a:lnTo>
                      <a:lnTo>
                        <a:pt x="5545" y="5193"/>
                      </a:lnTo>
                      <a:lnTo>
                        <a:pt x="5774" y="5034"/>
                      </a:lnTo>
                      <a:lnTo>
                        <a:pt x="5748" y="4876"/>
                      </a:lnTo>
                      <a:lnTo>
                        <a:pt x="5686" y="4734"/>
                      </a:lnTo>
                      <a:lnTo>
                        <a:pt x="5589" y="4655"/>
                      </a:lnTo>
                      <a:lnTo>
                        <a:pt x="5536" y="4629"/>
                      </a:lnTo>
                      <a:lnTo>
                        <a:pt x="5439" y="4496"/>
                      </a:lnTo>
                      <a:lnTo>
                        <a:pt x="5333" y="4153"/>
                      </a:lnTo>
                      <a:lnTo>
                        <a:pt x="5474" y="3686"/>
                      </a:lnTo>
                      <a:lnTo>
                        <a:pt x="5801" y="3289"/>
                      </a:lnTo>
                      <a:lnTo>
                        <a:pt x="5853" y="3051"/>
                      </a:lnTo>
                      <a:lnTo>
                        <a:pt x="5827" y="2786"/>
                      </a:lnTo>
                      <a:lnTo>
                        <a:pt x="5695" y="2557"/>
                      </a:lnTo>
                      <a:lnTo>
                        <a:pt x="5607" y="2460"/>
                      </a:lnTo>
                      <a:lnTo>
                        <a:pt x="5501" y="2275"/>
                      </a:lnTo>
                      <a:lnTo>
                        <a:pt x="5510" y="2090"/>
                      </a:lnTo>
                      <a:lnTo>
                        <a:pt x="5510" y="2002"/>
                      </a:lnTo>
                      <a:lnTo>
                        <a:pt x="5466" y="1887"/>
                      </a:lnTo>
                      <a:lnTo>
                        <a:pt x="5439" y="1834"/>
                      </a:lnTo>
                      <a:lnTo>
                        <a:pt x="5369" y="1658"/>
                      </a:lnTo>
                      <a:lnTo>
                        <a:pt x="5395" y="1526"/>
                      </a:lnTo>
                      <a:lnTo>
                        <a:pt x="5527" y="1297"/>
                      </a:lnTo>
                      <a:lnTo>
                        <a:pt x="5325" y="953"/>
                      </a:lnTo>
                      <a:lnTo>
                        <a:pt x="5122" y="706"/>
                      </a:lnTo>
                      <a:lnTo>
                        <a:pt x="4840" y="671"/>
                      </a:lnTo>
                      <a:lnTo>
                        <a:pt x="4496" y="503"/>
                      </a:lnTo>
                      <a:lnTo>
                        <a:pt x="4046" y="89"/>
                      </a:lnTo>
                      <a:lnTo>
                        <a:pt x="3897"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5" name="Google Shape;3163;p54">
                  <a:extLst>
                    <a:ext uri="{FF2B5EF4-FFF2-40B4-BE49-F238E27FC236}">
                      <a16:creationId xmlns:a16="http://schemas.microsoft.com/office/drawing/2014/main" id="{977CEA71-EA46-8351-473A-D39474CC0BAB}"/>
                    </a:ext>
                  </a:extLst>
                </p:cNvPr>
                <p:cNvSpPr/>
                <p:nvPr/>
              </p:nvSpPr>
              <p:spPr>
                <a:xfrm>
                  <a:off x="5762122" y="3143504"/>
                  <a:ext cx="257639" cy="295887"/>
                </a:xfrm>
                <a:custGeom>
                  <a:avLst/>
                  <a:gdLst/>
                  <a:ahLst/>
                  <a:cxnLst/>
                  <a:rect l="l" t="t" r="r" b="b"/>
                  <a:pathLst>
                    <a:path w="3624" h="4162" extrusionOk="0">
                      <a:moveTo>
                        <a:pt x="1217" y="1"/>
                      </a:moveTo>
                      <a:lnTo>
                        <a:pt x="785" y="27"/>
                      </a:lnTo>
                      <a:lnTo>
                        <a:pt x="573" y="388"/>
                      </a:lnTo>
                      <a:lnTo>
                        <a:pt x="309" y="997"/>
                      </a:lnTo>
                      <a:lnTo>
                        <a:pt x="0" y="1746"/>
                      </a:lnTo>
                      <a:lnTo>
                        <a:pt x="0" y="2204"/>
                      </a:lnTo>
                      <a:lnTo>
                        <a:pt x="141" y="2627"/>
                      </a:lnTo>
                      <a:lnTo>
                        <a:pt x="238" y="2619"/>
                      </a:lnTo>
                      <a:lnTo>
                        <a:pt x="538" y="2680"/>
                      </a:lnTo>
                      <a:lnTo>
                        <a:pt x="670" y="2786"/>
                      </a:lnTo>
                      <a:lnTo>
                        <a:pt x="705" y="2865"/>
                      </a:lnTo>
                      <a:lnTo>
                        <a:pt x="767" y="3192"/>
                      </a:lnTo>
                      <a:lnTo>
                        <a:pt x="688" y="3491"/>
                      </a:lnTo>
                      <a:lnTo>
                        <a:pt x="564" y="3844"/>
                      </a:lnTo>
                      <a:lnTo>
                        <a:pt x="767" y="3809"/>
                      </a:lnTo>
                      <a:lnTo>
                        <a:pt x="952" y="3870"/>
                      </a:lnTo>
                      <a:lnTo>
                        <a:pt x="1146" y="3870"/>
                      </a:lnTo>
                      <a:lnTo>
                        <a:pt x="1367" y="3817"/>
                      </a:lnTo>
                      <a:lnTo>
                        <a:pt x="1578" y="3879"/>
                      </a:lnTo>
                      <a:lnTo>
                        <a:pt x="1728" y="4047"/>
                      </a:lnTo>
                      <a:lnTo>
                        <a:pt x="1913" y="4152"/>
                      </a:lnTo>
                      <a:lnTo>
                        <a:pt x="2142" y="4161"/>
                      </a:lnTo>
                      <a:lnTo>
                        <a:pt x="2371" y="4135"/>
                      </a:lnTo>
                      <a:lnTo>
                        <a:pt x="2486" y="3914"/>
                      </a:lnTo>
                      <a:lnTo>
                        <a:pt x="2654" y="3756"/>
                      </a:lnTo>
                      <a:lnTo>
                        <a:pt x="2980" y="3341"/>
                      </a:lnTo>
                      <a:lnTo>
                        <a:pt x="3235" y="2839"/>
                      </a:lnTo>
                      <a:lnTo>
                        <a:pt x="3412" y="2566"/>
                      </a:lnTo>
                      <a:lnTo>
                        <a:pt x="3623" y="2328"/>
                      </a:lnTo>
                      <a:lnTo>
                        <a:pt x="3420" y="2028"/>
                      </a:lnTo>
                      <a:lnTo>
                        <a:pt x="3174" y="1790"/>
                      </a:lnTo>
                      <a:lnTo>
                        <a:pt x="3006" y="1675"/>
                      </a:lnTo>
                      <a:lnTo>
                        <a:pt x="2830" y="1631"/>
                      </a:lnTo>
                      <a:lnTo>
                        <a:pt x="2460" y="1711"/>
                      </a:lnTo>
                      <a:lnTo>
                        <a:pt x="2327" y="1737"/>
                      </a:lnTo>
                      <a:lnTo>
                        <a:pt x="2151" y="1799"/>
                      </a:lnTo>
                      <a:lnTo>
                        <a:pt x="2001" y="1825"/>
                      </a:lnTo>
                      <a:lnTo>
                        <a:pt x="1922" y="1746"/>
                      </a:lnTo>
                      <a:lnTo>
                        <a:pt x="1860" y="1772"/>
                      </a:lnTo>
                      <a:lnTo>
                        <a:pt x="1807" y="1781"/>
                      </a:lnTo>
                      <a:lnTo>
                        <a:pt x="1754" y="1808"/>
                      </a:lnTo>
                      <a:lnTo>
                        <a:pt x="1728" y="1869"/>
                      </a:lnTo>
                      <a:lnTo>
                        <a:pt x="1684" y="1869"/>
                      </a:lnTo>
                      <a:lnTo>
                        <a:pt x="1490" y="1640"/>
                      </a:lnTo>
                      <a:lnTo>
                        <a:pt x="1472" y="1252"/>
                      </a:lnTo>
                      <a:lnTo>
                        <a:pt x="1419" y="1182"/>
                      </a:lnTo>
                      <a:lnTo>
                        <a:pt x="1358" y="1111"/>
                      </a:lnTo>
                      <a:lnTo>
                        <a:pt x="1296" y="953"/>
                      </a:lnTo>
                      <a:lnTo>
                        <a:pt x="1340" y="776"/>
                      </a:lnTo>
                      <a:lnTo>
                        <a:pt x="1472" y="626"/>
                      </a:lnTo>
                      <a:lnTo>
                        <a:pt x="1569" y="459"/>
                      </a:lnTo>
                      <a:lnTo>
                        <a:pt x="1578"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6" name="Google Shape;3164;p54">
                  <a:extLst>
                    <a:ext uri="{FF2B5EF4-FFF2-40B4-BE49-F238E27FC236}">
                      <a16:creationId xmlns:a16="http://schemas.microsoft.com/office/drawing/2014/main" id="{94DB2AF9-4D54-AAB6-D955-A7E324F42728}"/>
                    </a:ext>
                  </a:extLst>
                </p:cNvPr>
                <p:cNvSpPr/>
                <p:nvPr/>
              </p:nvSpPr>
              <p:spPr>
                <a:xfrm>
                  <a:off x="6250900" y="2909744"/>
                  <a:ext cx="604855" cy="340960"/>
                </a:xfrm>
                <a:custGeom>
                  <a:avLst/>
                  <a:gdLst/>
                  <a:ahLst/>
                  <a:cxnLst/>
                  <a:rect l="l" t="t" r="r" b="b"/>
                  <a:pathLst>
                    <a:path w="8508" h="4796" extrusionOk="0">
                      <a:moveTo>
                        <a:pt x="5281" y="1"/>
                      </a:moveTo>
                      <a:lnTo>
                        <a:pt x="5008" y="80"/>
                      </a:lnTo>
                      <a:lnTo>
                        <a:pt x="4682" y="80"/>
                      </a:lnTo>
                      <a:lnTo>
                        <a:pt x="4338" y="468"/>
                      </a:lnTo>
                      <a:lnTo>
                        <a:pt x="4047" y="909"/>
                      </a:lnTo>
                      <a:lnTo>
                        <a:pt x="3685" y="1102"/>
                      </a:lnTo>
                      <a:lnTo>
                        <a:pt x="3562" y="1340"/>
                      </a:lnTo>
                      <a:lnTo>
                        <a:pt x="3553" y="1649"/>
                      </a:lnTo>
                      <a:lnTo>
                        <a:pt x="3271" y="1905"/>
                      </a:lnTo>
                      <a:lnTo>
                        <a:pt x="2883" y="2002"/>
                      </a:lnTo>
                      <a:lnTo>
                        <a:pt x="2725" y="2081"/>
                      </a:lnTo>
                      <a:lnTo>
                        <a:pt x="2557" y="2134"/>
                      </a:lnTo>
                      <a:lnTo>
                        <a:pt x="2354" y="2107"/>
                      </a:lnTo>
                      <a:lnTo>
                        <a:pt x="2161" y="2046"/>
                      </a:lnTo>
                      <a:lnTo>
                        <a:pt x="1737" y="2099"/>
                      </a:lnTo>
                      <a:lnTo>
                        <a:pt x="1323" y="2275"/>
                      </a:lnTo>
                      <a:lnTo>
                        <a:pt x="662" y="2398"/>
                      </a:lnTo>
                      <a:lnTo>
                        <a:pt x="442" y="2680"/>
                      </a:lnTo>
                      <a:lnTo>
                        <a:pt x="186" y="2910"/>
                      </a:lnTo>
                      <a:lnTo>
                        <a:pt x="1" y="3139"/>
                      </a:lnTo>
                      <a:lnTo>
                        <a:pt x="1" y="3482"/>
                      </a:lnTo>
                      <a:lnTo>
                        <a:pt x="160" y="3756"/>
                      </a:lnTo>
                      <a:lnTo>
                        <a:pt x="442" y="3853"/>
                      </a:lnTo>
                      <a:lnTo>
                        <a:pt x="944" y="4170"/>
                      </a:lnTo>
                      <a:lnTo>
                        <a:pt x="1455" y="4064"/>
                      </a:lnTo>
                      <a:lnTo>
                        <a:pt x="1958" y="4073"/>
                      </a:lnTo>
                      <a:lnTo>
                        <a:pt x="2504" y="4276"/>
                      </a:lnTo>
                      <a:lnTo>
                        <a:pt x="2866" y="4593"/>
                      </a:lnTo>
                      <a:lnTo>
                        <a:pt x="2927" y="4646"/>
                      </a:lnTo>
                      <a:lnTo>
                        <a:pt x="2980" y="4646"/>
                      </a:lnTo>
                      <a:lnTo>
                        <a:pt x="3121" y="4549"/>
                      </a:lnTo>
                      <a:lnTo>
                        <a:pt x="3183" y="4620"/>
                      </a:lnTo>
                      <a:lnTo>
                        <a:pt x="3262" y="4664"/>
                      </a:lnTo>
                      <a:lnTo>
                        <a:pt x="3465" y="4717"/>
                      </a:lnTo>
                      <a:lnTo>
                        <a:pt x="3492" y="4725"/>
                      </a:lnTo>
                      <a:lnTo>
                        <a:pt x="3500" y="4778"/>
                      </a:lnTo>
                      <a:lnTo>
                        <a:pt x="3518" y="4796"/>
                      </a:lnTo>
                      <a:lnTo>
                        <a:pt x="3544" y="4787"/>
                      </a:lnTo>
                      <a:lnTo>
                        <a:pt x="3553" y="4769"/>
                      </a:lnTo>
                      <a:lnTo>
                        <a:pt x="3562" y="4761"/>
                      </a:lnTo>
                      <a:lnTo>
                        <a:pt x="3580" y="4752"/>
                      </a:lnTo>
                      <a:lnTo>
                        <a:pt x="3597" y="4725"/>
                      </a:lnTo>
                      <a:lnTo>
                        <a:pt x="3589" y="4655"/>
                      </a:lnTo>
                      <a:lnTo>
                        <a:pt x="3597" y="4584"/>
                      </a:lnTo>
                      <a:lnTo>
                        <a:pt x="3641" y="4549"/>
                      </a:lnTo>
                      <a:lnTo>
                        <a:pt x="3835" y="4576"/>
                      </a:lnTo>
                      <a:lnTo>
                        <a:pt x="3915" y="4540"/>
                      </a:lnTo>
                      <a:lnTo>
                        <a:pt x="3941" y="4417"/>
                      </a:lnTo>
                      <a:lnTo>
                        <a:pt x="3994" y="4408"/>
                      </a:lnTo>
                      <a:lnTo>
                        <a:pt x="4258" y="4311"/>
                      </a:lnTo>
                      <a:lnTo>
                        <a:pt x="4408" y="4373"/>
                      </a:lnTo>
                      <a:lnTo>
                        <a:pt x="4972" y="4276"/>
                      </a:lnTo>
                      <a:lnTo>
                        <a:pt x="5069" y="4214"/>
                      </a:lnTo>
                      <a:lnTo>
                        <a:pt x="5352" y="3914"/>
                      </a:lnTo>
                      <a:lnTo>
                        <a:pt x="5404" y="3809"/>
                      </a:lnTo>
                      <a:lnTo>
                        <a:pt x="5448" y="3791"/>
                      </a:lnTo>
                      <a:lnTo>
                        <a:pt x="5678" y="3553"/>
                      </a:lnTo>
                      <a:lnTo>
                        <a:pt x="6709" y="3394"/>
                      </a:lnTo>
                      <a:lnTo>
                        <a:pt x="6480" y="3218"/>
                      </a:lnTo>
                      <a:lnTo>
                        <a:pt x="6392" y="3121"/>
                      </a:lnTo>
                      <a:lnTo>
                        <a:pt x="6489" y="3068"/>
                      </a:lnTo>
                      <a:lnTo>
                        <a:pt x="6497" y="3077"/>
                      </a:lnTo>
                      <a:lnTo>
                        <a:pt x="6559" y="3139"/>
                      </a:lnTo>
                      <a:lnTo>
                        <a:pt x="6586" y="3148"/>
                      </a:lnTo>
                      <a:lnTo>
                        <a:pt x="6621" y="3148"/>
                      </a:lnTo>
                      <a:lnTo>
                        <a:pt x="6647" y="3130"/>
                      </a:lnTo>
                      <a:lnTo>
                        <a:pt x="6674" y="3121"/>
                      </a:lnTo>
                      <a:lnTo>
                        <a:pt x="6691" y="3112"/>
                      </a:lnTo>
                      <a:lnTo>
                        <a:pt x="6709" y="3086"/>
                      </a:lnTo>
                      <a:lnTo>
                        <a:pt x="6735" y="3042"/>
                      </a:lnTo>
                      <a:lnTo>
                        <a:pt x="6771" y="3015"/>
                      </a:lnTo>
                      <a:lnTo>
                        <a:pt x="6850" y="3068"/>
                      </a:lnTo>
                      <a:lnTo>
                        <a:pt x="6894" y="3068"/>
                      </a:lnTo>
                      <a:lnTo>
                        <a:pt x="6929" y="3051"/>
                      </a:lnTo>
                      <a:lnTo>
                        <a:pt x="6965" y="3024"/>
                      </a:lnTo>
                      <a:lnTo>
                        <a:pt x="6841" y="2901"/>
                      </a:lnTo>
                      <a:lnTo>
                        <a:pt x="6806" y="2865"/>
                      </a:lnTo>
                      <a:lnTo>
                        <a:pt x="6859" y="2795"/>
                      </a:lnTo>
                      <a:lnTo>
                        <a:pt x="6956" y="2777"/>
                      </a:lnTo>
                      <a:lnTo>
                        <a:pt x="7062" y="2768"/>
                      </a:lnTo>
                      <a:lnTo>
                        <a:pt x="7159" y="2742"/>
                      </a:lnTo>
                      <a:lnTo>
                        <a:pt x="7097" y="2663"/>
                      </a:lnTo>
                      <a:lnTo>
                        <a:pt x="7106" y="2513"/>
                      </a:lnTo>
                      <a:lnTo>
                        <a:pt x="7053" y="2469"/>
                      </a:lnTo>
                      <a:lnTo>
                        <a:pt x="7000" y="2478"/>
                      </a:lnTo>
                      <a:lnTo>
                        <a:pt x="6868" y="2566"/>
                      </a:lnTo>
                      <a:lnTo>
                        <a:pt x="6806" y="2583"/>
                      </a:lnTo>
                      <a:lnTo>
                        <a:pt x="6841" y="2495"/>
                      </a:lnTo>
                      <a:lnTo>
                        <a:pt x="6894" y="2425"/>
                      </a:lnTo>
                      <a:lnTo>
                        <a:pt x="6956" y="2372"/>
                      </a:lnTo>
                      <a:lnTo>
                        <a:pt x="7026" y="2345"/>
                      </a:lnTo>
                      <a:lnTo>
                        <a:pt x="7062" y="2354"/>
                      </a:lnTo>
                      <a:lnTo>
                        <a:pt x="7159" y="2381"/>
                      </a:lnTo>
                      <a:lnTo>
                        <a:pt x="7185" y="2389"/>
                      </a:lnTo>
                      <a:lnTo>
                        <a:pt x="7220" y="2345"/>
                      </a:lnTo>
                      <a:lnTo>
                        <a:pt x="7220" y="2292"/>
                      </a:lnTo>
                      <a:lnTo>
                        <a:pt x="7211" y="2248"/>
                      </a:lnTo>
                      <a:lnTo>
                        <a:pt x="7185" y="2222"/>
                      </a:lnTo>
                      <a:lnTo>
                        <a:pt x="7238" y="2134"/>
                      </a:lnTo>
                      <a:lnTo>
                        <a:pt x="7264" y="2063"/>
                      </a:lnTo>
                      <a:lnTo>
                        <a:pt x="7264" y="1984"/>
                      </a:lnTo>
                      <a:lnTo>
                        <a:pt x="7220" y="1896"/>
                      </a:lnTo>
                      <a:lnTo>
                        <a:pt x="7441" y="1825"/>
                      </a:lnTo>
                      <a:lnTo>
                        <a:pt x="7502" y="1781"/>
                      </a:lnTo>
                      <a:lnTo>
                        <a:pt x="7555" y="1702"/>
                      </a:lnTo>
                      <a:lnTo>
                        <a:pt x="7573" y="1499"/>
                      </a:lnTo>
                      <a:lnTo>
                        <a:pt x="7599" y="1411"/>
                      </a:lnTo>
                      <a:lnTo>
                        <a:pt x="7652" y="1349"/>
                      </a:lnTo>
                      <a:lnTo>
                        <a:pt x="7732" y="1305"/>
                      </a:lnTo>
                      <a:lnTo>
                        <a:pt x="8014" y="1226"/>
                      </a:lnTo>
                      <a:lnTo>
                        <a:pt x="8199" y="1094"/>
                      </a:lnTo>
                      <a:lnTo>
                        <a:pt x="8357" y="970"/>
                      </a:lnTo>
                      <a:lnTo>
                        <a:pt x="8410" y="900"/>
                      </a:lnTo>
                      <a:lnTo>
                        <a:pt x="8357" y="812"/>
                      </a:lnTo>
                      <a:lnTo>
                        <a:pt x="8472" y="574"/>
                      </a:lnTo>
                      <a:lnTo>
                        <a:pt x="8507" y="441"/>
                      </a:lnTo>
                      <a:lnTo>
                        <a:pt x="8490" y="283"/>
                      </a:lnTo>
                      <a:lnTo>
                        <a:pt x="8349" y="133"/>
                      </a:lnTo>
                      <a:lnTo>
                        <a:pt x="7970" y="291"/>
                      </a:lnTo>
                      <a:lnTo>
                        <a:pt x="7855" y="203"/>
                      </a:lnTo>
                      <a:lnTo>
                        <a:pt x="7643" y="450"/>
                      </a:lnTo>
                      <a:lnTo>
                        <a:pt x="7388" y="574"/>
                      </a:lnTo>
                      <a:lnTo>
                        <a:pt x="7194" y="618"/>
                      </a:lnTo>
                      <a:lnTo>
                        <a:pt x="7000" y="715"/>
                      </a:lnTo>
                      <a:lnTo>
                        <a:pt x="6876" y="741"/>
                      </a:lnTo>
                      <a:lnTo>
                        <a:pt x="6744" y="741"/>
                      </a:lnTo>
                      <a:lnTo>
                        <a:pt x="6409" y="812"/>
                      </a:lnTo>
                      <a:lnTo>
                        <a:pt x="6083" y="767"/>
                      </a:lnTo>
                      <a:lnTo>
                        <a:pt x="5757" y="767"/>
                      </a:lnTo>
                      <a:lnTo>
                        <a:pt x="5475" y="697"/>
                      </a:lnTo>
                      <a:lnTo>
                        <a:pt x="5404" y="635"/>
                      </a:lnTo>
                      <a:lnTo>
                        <a:pt x="5334" y="600"/>
                      </a:lnTo>
                      <a:lnTo>
                        <a:pt x="5299" y="477"/>
                      </a:lnTo>
                      <a:lnTo>
                        <a:pt x="5387" y="415"/>
                      </a:lnTo>
                      <a:lnTo>
                        <a:pt x="5572" y="247"/>
                      </a:lnTo>
                      <a:lnTo>
                        <a:pt x="5545" y="53"/>
                      </a:lnTo>
                      <a:lnTo>
                        <a:pt x="5281"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7" name="Google Shape;3165;p54">
                  <a:extLst>
                    <a:ext uri="{FF2B5EF4-FFF2-40B4-BE49-F238E27FC236}">
                      <a16:creationId xmlns:a16="http://schemas.microsoft.com/office/drawing/2014/main" id="{05C59FD3-33F3-3253-E30D-C59696531DD1}"/>
                    </a:ext>
                  </a:extLst>
                </p:cNvPr>
                <p:cNvSpPr/>
                <p:nvPr/>
              </p:nvSpPr>
              <p:spPr>
                <a:xfrm>
                  <a:off x="6809280" y="2694184"/>
                  <a:ext cx="762112" cy="571584"/>
                </a:xfrm>
                <a:custGeom>
                  <a:avLst/>
                  <a:gdLst/>
                  <a:ahLst/>
                  <a:cxnLst/>
                  <a:rect l="l" t="t" r="r" b="b"/>
                  <a:pathLst>
                    <a:path w="10720" h="8040" extrusionOk="0">
                      <a:moveTo>
                        <a:pt x="9944" y="0"/>
                      </a:moveTo>
                      <a:lnTo>
                        <a:pt x="9715" y="159"/>
                      </a:lnTo>
                      <a:lnTo>
                        <a:pt x="9151" y="379"/>
                      </a:lnTo>
                      <a:lnTo>
                        <a:pt x="8578" y="741"/>
                      </a:lnTo>
                      <a:lnTo>
                        <a:pt x="8278" y="820"/>
                      </a:lnTo>
                      <a:lnTo>
                        <a:pt x="7485" y="794"/>
                      </a:lnTo>
                      <a:lnTo>
                        <a:pt x="7256" y="732"/>
                      </a:lnTo>
                      <a:lnTo>
                        <a:pt x="7097" y="714"/>
                      </a:lnTo>
                      <a:lnTo>
                        <a:pt x="6639" y="776"/>
                      </a:lnTo>
                      <a:lnTo>
                        <a:pt x="6383" y="908"/>
                      </a:lnTo>
                      <a:lnTo>
                        <a:pt x="6356" y="1076"/>
                      </a:lnTo>
                      <a:lnTo>
                        <a:pt x="6348" y="1252"/>
                      </a:lnTo>
                      <a:lnTo>
                        <a:pt x="6233" y="1446"/>
                      </a:lnTo>
                      <a:lnTo>
                        <a:pt x="6039" y="1534"/>
                      </a:lnTo>
                      <a:lnTo>
                        <a:pt x="5501" y="1552"/>
                      </a:lnTo>
                      <a:lnTo>
                        <a:pt x="3950" y="1605"/>
                      </a:lnTo>
                      <a:lnTo>
                        <a:pt x="3871" y="1578"/>
                      </a:lnTo>
                      <a:lnTo>
                        <a:pt x="3712" y="1446"/>
                      </a:lnTo>
                      <a:lnTo>
                        <a:pt x="3606" y="1402"/>
                      </a:lnTo>
                      <a:lnTo>
                        <a:pt x="3395" y="1437"/>
                      </a:lnTo>
                      <a:lnTo>
                        <a:pt x="3324" y="1631"/>
                      </a:lnTo>
                      <a:lnTo>
                        <a:pt x="3218" y="1816"/>
                      </a:lnTo>
                      <a:lnTo>
                        <a:pt x="3104" y="2001"/>
                      </a:lnTo>
                      <a:lnTo>
                        <a:pt x="2963" y="2089"/>
                      </a:lnTo>
                      <a:lnTo>
                        <a:pt x="2804" y="2142"/>
                      </a:lnTo>
                      <a:lnTo>
                        <a:pt x="2443" y="2125"/>
                      </a:lnTo>
                      <a:lnTo>
                        <a:pt x="2099" y="2151"/>
                      </a:lnTo>
                      <a:lnTo>
                        <a:pt x="1967" y="2230"/>
                      </a:lnTo>
                      <a:lnTo>
                        <a:pt x="1605" y="2283"/>
                      </a:lnTo>
                      <a:lnTo>
                        <a:pt x="1411" y="2371"/>
                      </a:lnTo>
                      <a:lnTo>
                        <a:pt x="1015" y="2336"/>
                      </a:lnTo>
                      <a:lnTo>
                        <a:pt x="636" y="2239"/>
                      </a:lnTo>
                      <a:lnTo>
                        <a:pt x="1" y="2345"/>
                      </a:lnTo>
                      <a:lnTo>
                        <a:pt x="80" y="2433"/>
                      </a:lnTo>
                      <a:lnTo>
                        <a:pt x="133" y="2557"/>
                      </a:lnTo>
                      <a:lnTo>
                        <a:pt x="151" y="2698"/>
                      </a:lnTo>
                      <a:lnTo>
                        <a:pt x="1" y="3235"/>
                      </a:lnTo>
                      <a:lnTo>
                        <a:pt x="116" y="3323"/>
                      </a:lnTo>
                      <a:lnTo>
                        <a:pt x="495" y="3165"/>
                      </a:lnTo>
                      <a:lnTo>
                        <a:pt x="636" y="3315"/>
                      </a:lnTo>
                      <a:lnTo>
                        <a:pt x="653" y="3473"/>
                      </a:lnTo>
                      <a:lnTo>
                        <a:pt x="618" y="3606"/>
                      </a:lnTo>
                      <a:lnTo>
                        <a:pt x="503" y="3844"/>
                      </a:lnTo>
                      <a:lnTo>
                        <a:pt x="556" y="3932"/>
                      </a:lnTo>
                      <a:lnTo>
                        <a:pt x="503" y="4002"/>
                      </a:lnTo>
                      <a:lnTo>
                        <a:pt x="345" y="4126"/>
                      </a:lnTo>
                      <a:lnTo>
                        <a:pt x="706" y="4320"/>
                      </a:lnTo>
                      <a:lnTo>
                        <a:pt x="1085" y="4381"/>
                      </a:lnTo>
                      <a:lnTo>
                        <a:pt x="1358" y="4390"/>
                      </a:lnTo>
                      <a:lnTo>
                        <a:pt x="1614" y="4513"/>
                      </a:lnTo>
                      <a:lnTo>
                        <a:pt x="1896" y="4813"/>
                      </a:lnTo>
                      <a:lnTo>
                        <a:pt x="2196" y="5060"/>
                      </a:lnTo>
                      <a:lnTo>
                        <a:pt x="2346" y="5131"/>
                      </a:lnTo>
                      <a:lnTo>
                        <a:pt x="2496" y="5183"/>
                      </a:lnTo>
                      <a:lnTo>
                        <a:pt x="2672" y="5351"/>
                      </a:lnTo>
                      <a:lnTo>
                        <a:pt x="2892" y="5448"/>
                      </a:lnTo>
                      <a:lnTo>
                        <a:pt x="2936" y="5377"/>
                      </a:lnTo>
                      <a:lnTo>
                        <a:pt x="2989" y="5298"/>
                      </a:lnTo>
                      <a:lnTo>
                        <a:pt x="3121" y="5360"/>
                      </a:lnTo>
                      <a:lnTo>
                        <a:pt x="3236" y="5474"/>
                      </a:lnTo>
                      <a:lnTo>
                        <a:pt x="3315" y="5518"/>
                      </a:lnTo>
                      <a:lnTo>
                        <a:pt x="3403" y="5536"/>
                      </a:lnTo>
                      <a:lnTo>
                        <a:pt x="3465" y="5686"/>
                      </a:lnTo>
                      <a:lnTo>
                        <a:pt x="3439" y="6321"/>
                      </a:lnTo>
                      <a:lnTo>
                        <a:pt x="3509" y="6761"/>
                      </a:lnTo>
                      <a:lnTo>
                        <a:pt x="3553" y="6929"/>
                      </a:lnTo>
                      <a:lnTo>
                        <a:pt x="3562" y="7017"/>
                      </a:lnTo>
                      <a:lnTo>
                        <a:pt x="3730" y="7484"/>
                      </a:lnTo>
                      <a:lnTo>
                        <a:pt x="3888" y="7793"/>
                      </a:lnTo>
                      <a:lnTo>
                        <a:pt x="4100" y="8039"/>
                      </a:lnTo>
                      <a:lnTo>
                        <a:pt x="4558" y="7449"/>
                      </a:lnTo>
                      <a:lnTo>
                        <a:pt x="4761" y="7255"/>
                      </a:lnTo>
                      <a:lnTo>
                        <a:pt x="5272" y="6902"/>
                      </a:lnTo>
                      <a:lnTo>
                        <a:pt x="5501" y="6814"/>
                      </a:lnTo>
                      <a:lnTo>
                        <a:pt x="6013" y="6418"/>
                      </a:lnTo>
                      <a:lnTo>
                        <a:pt x="6383" y="6391"/>
                      </a:lnTo>
                      <a:lnTo>
                        <a:pt x="6603" y="6091"/>
                      </a:lnTo>
                      <a:lnTo>
                        <a:pt x="6665" y="5959"/>
                      </a:lnTo>
                      <a:lnTo>
                        <a:pt x="7176" y="5853"/>
                      </a:lnTo>
                      <a:lnTo>
                        <a:pt x="8798" y="5897"/>
                      </a:lnTo>
                      <a:lnTo>
                        <a:pt x="9089" y="5756"/>
                      </a:lnTo>
                      <a:lnTo>
                        <a:pt x="8992" y="5580"/>
                      </a:lnTo>
                      <a:lnTo>
                        <a:pt x="8957" y="5351"/>
                      </a:lnTo>
                      <a:lnTo>
                        <a:pt x="8904" y="5183"/>
                      </a:lnTo>
                      <a:lnTo>
                        <a:pt x="8948" y="5051"/>
                      </a:lnTo>
                      <a:lnTo>
                        <a:pt x="9177" y="4893"/>
                      </a:lnTo>
                      <a:lnTo>
                        <a:pt x="9362" y="4672"/>
                      </a:lnTo>
                      <a:lnTo>
                        <a:pt x="9583" y="3958"/>
                      </a:lnTo>
                      <a:lnTo>
                        <a:pt x="9662" y="3835"/>
                      </a:lnTo>
                      <a:lnTo>
                        <a:pt x="9741" y="3694"/>
                      </a:lnTo>
                      <a:lnTo>
                        <a:pt x="9768" y="3368"/>
                      </a:lnTo>
                      <a:lnTo>
                        <a:pt x="9715" y="2724"/>
                      </a:lnTo>
                      <a:lnTo>
                        <a:pt x="9768" y="2380"/>
                      </a:lnTo>
                      <a:lnTo>
                        <a:pt x="9856" y="2054"/>
                      </a:lnTo>
                      <a:lnTo>
                        <a:pt x="9900" y="1851"/>
                      </a:lnTo>
                      <a:lnTo>
                        <a:pt x="10006" y="1701"/>
                      </a:lnTo>
                      <a:lnTo>
                        <a:pt x="10244" y="1578"/>
                      </a:lnTo>
                      <a:lnTo>
                        <a:pt x="10394" y="1534"/>
                      </a:lnTo>
                      <a:lnTo>
                        <a:pt x="10544" y="1516"/>
                      </a:lnTo>
                      <a:lnTo>
                        <a:pt x="10720" y="1419"/>
                      </a:lnTo>
                      <a:lnTo>
                        <a:pt x="10693" y="1217"/>
                      </a:lnTo>
                      <a:lnTo>
                        <a:pt x="10552" y="1173"/>
                      </a:lnTo>
                      <a:lnTo>
                        <a:pt x="10499" y="1014"/>
                      </a:lnTo>
                      <a:lnTo>
                        <a:pt x="10552" y="776"/>
                      </a:lnTo>
                      <a:lnTo>
                        <a:pt x="10499" y="538"/>
                      </a:lnTo>
                      <a:lnTo>
                        <a:pt x="10182" y="309"/>
                      </a:lnTo>
                      <a:lnTo>
                        <a:pt x="9944"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8" name="Google Shape;3166;p54">
                  <a:extLst>
                    <a:ext uri="{FF2B5EF4-FFF2-40B4-BE49-F238E27FC236}">
                      <a16:creationId xmlns:a16="http://schemas.microsoft.com/office/drawing/2014/main" id="{ECE0A40B-6A13-BAB9-C745-7F68C87317A3}"/>
                    </a:ext>
                  </a:extLst>
                </p:cNvPr>
                <p:cNvSpPr/>
                <p:nvPr/>
              </p:nvSpPr>
              <p:spPr>
                <a:xfrm>
                  <a:off x="7442239" y="2772531"/>
                  <a:ext cx="257639" cy="433735"/>
                </a:xfrm>
                <a:custGeom>
                  <a:avLst/>
                  <a:gdLst/>
                  <a:ahLst/>
                  <a:cxnLst/>
                  <a:rect l="l" t="t" r="r" b="b"/>
                  <a:pathLst>
                    <a:path w="3624" h="6101" extrusionOk="0">
                      <a:moveTo>
                        <a:pt x="2302" y="0"/>
                      </a:moveTo>
                      <a:lnTo>
                        <a:pt x="2046" y="35"/>
                      </a:lnTo>
                      <a:lnTo>
                        <a:pt x="1790" y="115"/>
                      </a:lnTo>
                      <a:lnTo>
                        <a:pt x="1817" y="317"/>
                      </a:lnTo>
                      <a:lnTo>
                        <a:pt x="1641" y="414"/>
                      </a:lnTo>
                      <a:lnTo>
                        <a:pt x="1491" y="432"/>
                      </a:lnTo>
                      <a:lnTo>
                        <a:pt x="1341" y="476"/>
                      </a:lnTo>
                      <a:lnTo>
                        <a:pt x="1103" y="599"/>
                      </a:lnTo>
                      <a:lnTo>
                        <a:pt x="997" y="749"/>
                      </a:lnTo>
                      <a:lnTo>
                        <a:pt x="953" y="952"/>
                      </a:lnTo>
                      <a:lnTo>
                        <a:pt x="865" y="1278"/>
                      </a:lnTo>
                      <a:lnTo>
                        <a:pt x="812" y="1622"/>
                      </a:lnTo>
                      <a:lnTo>
                        <a:pt x="865" y="2266"/>
                      </a:lnTo>
                      <a:lnTo>
                        <a:pt x="838" y="2592"/>
                      </a:lnTo>
                      <a:lnTo>
                        <a:pt x="759" y="2733"/>
                      </a:lnTo>
                      <a:lnTo>
                        <a:pt x="680" y="2856"/>
                      </a:lnTo>
                      <a:lnTo>
                        <a:pt x="459" y="3570"/>
                      </a:lnTo>
                      <a:lnTo>
                        <a:pt x="274" y="3791"/>
                      </a:lnTo>
                      <a:lnTo>
                        <a:pt x="45" y="3949"/>
                      </a:lnTo>
                      <a:lnTo>
                        <a:pt x="1" y="4081"/>
                      </a:lnTo>
                      <a:lnTo>
                        <a:pt x="54" y="4249"/>
                      </a:lnTo>
                      <a:lnTo>
                        <a:pt x="89" y="4478"/>
                      </a:lnTo>
                      <a:lnTo>
                        <a:pt x="186" y="4654"/>
                      </a:lnTo>
                      <a:lnTo>
                        <a:pt x="310" y="4654"/>
                      </a:lnTo>
                      <a:lnTo>
                        <a:pt x="398" y="4698"/>
                      </a:lnTo>
                      <a:lnTo>
                        <a:pt x="724" y="5104"/>
                      </a:lnTo>
                      <a:lnTo>
                        <a:pt x="1050" y="5783"/>
                      </a:lnTo>
                      <a:lnTo>
                        <a:pt x="1544" y="6100"/>
                      </a:lnTo>
                      <a:lnTo>
                        <a:pt x="2258" y="5950"/>
                      </a:lnTo>
                      <a:lnTo>
                        <a:pt x="2769" y="5562"/>
                      </a:lnTo>
                      <a:lnTo>
                        <a:pt x="3624" y="4954"/>
                      </a:lnTo>
                      <a:lnTo>
                        <a:pt x="3139" y="4408"/>
                      </a:lnTo>
                      <a:lnTo>
                        <a:pt x="2293" y="4064"/>
                      </a:lnTo>
                      <a:lnTo>
                        <a:pt x="1790" y="3605"/>
                      </a:lnTo>
                      <a:lnTo>
                        <a:pt x="1755" y="3209"/>
                      </a:lnTo>
                      <a:lnTo>
                        <a:pt x="1905" y="2944"/>
                      </a:lnTo>
                      <a:lnTo>
                        <a:pt x="2443" y="2803"/>
                      </a:lnTo>
                      <a:lnTo>
                        <a:pt x="2672" y="2530"/>
                      </a:lnTo>
                      <a:lnTo>
                        <a:pt x="2769" y="2213"/>
                      </a:lnTo>
                      <a:lnTo>
                        <a:pt x="2980" y="1966"/>
                      </a:lnTo>
                      <a:lnTo>
                        <a:pt x="2963" y="1834"/>
                      </a:lnTo>
                      <a:lnTo>
                        <a:pt x="2989" y="1701"/>
                      </a:lnTo>
                      <a:lnTo>
                        <a:pt x="2989" y="1490"/>
                      </a:lnTo>
                      <a:lnTo>
                        <a:pt x="2963" y="1278"/>
                      </a:lnTo>
                      <a:lnTo>
                        <a:pt x="2857" y="952"/>
                      </a:lnTo>
                      <a:lnTo>
                        <a:pt x="2698" y="150"/>
                      </a:lnTo>
                      <a:lnTo>
                        <a:pt x="2302"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3167;p54">
                  <a:extLst>
                    <a:ext uri="{FF2B5EF4-FFF2-40B4-BE49-F238E27FC236}">
                      <a16:creationId xmlns:a16="http://schemas.microsoft.com/office/drawing/2014/main" id="{908A3C06-9CDA-2D4E-9E77-36016E4AB44A}"/>
                    </a:ext>
                  </a:extLst>
                </p:cNvPr>
                <p:cNvSpPr/>
                <p:nvPr/>
              </p:nvSpPr>
              <p:spPr>
                <a:xfrm>
                  <a:off x="7567011" y="2909744"/>
                  <a:ext cx="533336" cy="252023"/>
                </a:xfrm>
                <a:custGeom>
                  <a:avLst/>
                  <a:gdLst/>
                  <a:ahLst/>
                  <a:cxnLst/>
                  <a:rect l="l" t="t" r="r" b="b"/>
                  <a:pathLst>
                    <a:path w="7502" h="3545" extrusionOk="0">
                      <a:moveTo>
                        <a:pt x="3006" y="1"/>
                      </a:moveTo>
                      <a:lnTo>
                        <a:pt x="2601" y="159"/>
                      </a:lnTo>
                      <a:lnTo>
                        <a:pt x="2204" y="265"/>
                      </a:lnTo>
                      <a:lnTo>
                        <a:pt x="1701" y="221"/>
                      </a:lnTo>
                      <a:lnTo>
                        <a:pt x="1225" y="36"/>
                      </a:lnTo>
                      <a:lnTo>
                        <a:pt x="1014" y="283"/>
                      </a:lnTo>
                      <a:lnTo>
                        <a:pt x="917" y="600"/>
                      </a:lnTo>
                      <a:lnTo>
                        <a:pt x="688" y="873"/>
                      </a:lnTo>
                      <a:lnTo>
                        <a:pt x="150" y="1014"/>
                      </a:lnTo>
                      <a:lnTo>
                        <a:pt x="0" y="1279"/>
                      </a:lnTo>
                      <a:lnTo>
                        <a:pt x="35" y="1675"/>
                      </a:lnTo>
                      <a:lnTo>
                        <a:pt x="538" y="2134"/>
                      </a:lnTo>
                      <a:lnTo>
                        <a:pt x="1384" y="2478"/>
                      </a:lnTo>
                      <a:lnTo>
                        <a:pt x="1869" y="3024"/>
                      </a:lnTo>
                      <a:lnTo>
                        <a:pt x="2530" y="3350"/>
                      </a:lnTo>
                      <a:lnTo>
                        <a:pt x="3447" y="3421"/>
                      </a:lnTo>
                      <a:lnTo>
                        <a:pt x="3817" y="3059"/>
                      </a:lnTo>
                      <a:lnTo>
                        <a:pt x="4425" y="3077"/>
                      </a:lnTo>
                      <a:lnTo>
                        <a:pt x="5368" y="3324"/>
                      </a:lnTo>
                      <a:lnTo>
                        <a:pt x="6347" y="3465"/>
                      </a:lnTo>
                      <a:lnTo>
                        <a:pt x="7131" y="3544"/>
                      </a:lnTo>
                      <a:lnTo>
                        <a:pt x="7413" y="3253"/>
                      </a:lnTo>
                      <a:lnTo>
                        <a:pt x="7466" y="2918"/>
                      </a:lnTo>
                      <a:lnTo>
                        <a:pt x="7281" y="2478"/>
                      </a:lnTo>
                      <a:lnTo>
                        <a:pt x="7334" y="2319"/>
                      </a:lnTo>
                      <a:lnTo>
                        <a:pt x="7396" y="2178"/>
                      </a:lnTo>
                      <a:lnTo>
                        <a:pt x="7413" y="1834"/>
                      </a:lnTo>
                      <a:lnTo>
                        <a:pt x="7475" y="1596"/>
                      </a:lnTo>
                      <a:lnTo>
                        <a:pt x="7502" y="1349"/>
                      </a:lnTo>
                      <a:lnTo>
                        <a:pt x="7466" y="1102"/>
                      </a:lnTo>
                      <a:lnTo>
                        <a:pt x="7484" y="864"/>
                      </a:lnTo>
                      <a:lnTo>
                        <a:pt x="7440" y="450"/>
                      </a:lnTo>
                      <a:lnTo>
                        <a:pt x="7105" y="318"/>
                      </a:lnTo>
                      <a:lnTo>
                        <a:pt x="6735" y="247"/>
                      </a:lnTo>
                      <a:lnTo>
                        <a:pt x="6373" y="274"/>
                      </a:lnTo>
                      <a:lnTo>
                        <a:pt x="6241" y="671"/>
                      </a:lnTo>
                      <a:lnTo>
                        <a:pt x="6179" y="732"/>
                      </a:lnTo>
                      <a:lnTo>
                        <a:pt x="6135" y="812"/>
                      </a:lnTo>
                      <a:lnTo>
                        <a:pt x="6135" y="997"/>
                      </a:lnTo>
                      <a:lnTo>
                        <a:pt x="6162" y="1173"/>
                      </a:lnTo>
                      <a:lnTo>
                        <a:pt x="6144" y="1446"/>
                      </a:lnTo>
                      <a:lnTo>
                        <a:pt x="6003" y="1658"/>
                      </a:lnTo>
                      <a:lnTo>
                        <a:pt x="5827" y="1675"/>
                      </a:lnTo>
                      <a:lnTo>
                        <a:pt x="5509" y="1446"/>
                      </a:lnTo>
                      <a:lnTo>
                        <a:pt x="5042" y="1182"/>
                      </a:lnTo>
                      <a:lnTo>
                        <a:pt x="4751" y="961"/>
                      </a:lnTo>
                      <a:lnTo>
                        <a:pt x="4549" y="882"/>
                      </a:lnTo>
                      <a:lnTo>
                        <a:pt x="4222" y="794"/>
                      </a:lnTo>
                      <a:lnTo>
                        <a:pt x="3888" y="653"/>
                      </a:lnTo>
                      <a:lnTo>
                        <a:pt x="3588" y="424"/>
                      </a:lnTo>
                      <a:lnTo>
                        <a:pt x="3315" y="150"/>
                      </a:lnTo>
                      <a:lnTo>
                        <a:pt x="3006"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0" name="Google Shape;3168;p54">
                  <a:extLst>
                    <a:ext uri="{FF2B5EF4-FFF2-40B4-BE49-F238E27FC236}">
                      <a16:creationId xmlns:a16="http://schemas.microsoft.com/office/drawing/2014/main" id="{42F8F2A2-4035-3533-0B9F-F20EDB99F03D}"/>
                    </a:ext>
                  </a:extLst>
                </p:cNvPr>
                <p:cNvSpPr/>
                <p:nvPr/>
              </p:nvSpPr>
              <p:spPr>
                <a:xfrm>
                  <a:off x="7038704" y="1892019"/>
                  <a:ext cx="325888" cy="258208"/>
                </a:xfrm>
                <a:custGeom>
                  <a:avLst/>
                  <a:gdLst/>
                  <a:ahLst/>
                  <a:cxnLst/>
                  <a:rect l="l" t="t" r="r" b="b"/>
                  <a:pathLst>
                    <a:path w="4584" h="3632" extrusionOk="0">
                      <a:moveTo>
                        <a:pt x="335" y="0"/>
                      </a:moveTo>
                      <a:lnTo>
                        <a:pt x="300" y="18"/>
                      </a:lnTo>
                      <a:lnTo>
                        <a:pt x="238" y="71"/>
                      </a:lnTo>
                      <a:lnTo>
                        <a:pt x="273" y="220"/>
                      </a:lnTo>
                      <a:lnTo>
                        <a:pt x="203" y="309"/>
                      </a:lnTo>
                      <a:lnTo>
                        <a:pt x="106" y="309"/>
                      </a:lnTo>
                      <a:lnTo>
                        <a:pt x="265" y="1208"/>
                      </a:lnTo>
                      <a:lnTo>
                        <a:pt x="229" y="2098"/>
                      </a:lnTo>
                      <a:lnTo>
                        <a:pt x="80" y="2451"/>
                      </a:lnTo>
                      <a:lnTo>
                        <a:pt x="27" y="2645"/>
                      </a:lnTo>
                      <a:lnTo>
                        <a:pt x="0" y="2847"/>
                      </a:lnTo>
                      <a:lnTo>
                        <a:pt x="97" y="3253"/>
                      </a:lnTo>
                      <a:lnTo>
                        <a:pt x="265" y="3632"/>
                      </a:lnTo>
                      <a:lnTo>
                        <a:pt x="520" y="3535"/>
                      </a:lnTo>
                      <a:lnTo>
                        <a:pt x="785" y="3561"/>
                      </a:lnTo>
                      <a:lnTo>
                        <a:pt x="1014" y="3535"/>
                      </a:lnTo>
                      <a:lnTo>
                        <a:pt x="1208" y="3367"/>
                      </a:lnTo>
                      <a:lnTo>
                        <a:pt x="1419" y="3279"/>
                      </a:lnTo>
                      <a:lnTo>
                        <a:pt x="2177" y="3438"/>
                      </a:lnTo>
                      <a:lnTo>
                        <a:pt x="2936" y="3526"/>
                      </a:lnTo>
                      <a:lnTo>
                        <a:pt x="3103" y="3500"/>
                      </a:lnTo>
                      <a:lnTo>
                        <a:pt x="3315" y="3332"/>
                      </a:lnTo>
                      <a:lnTo>
                        <a:pt x="3509" y="3147"/>
                      </a:lnTo>
                      <a:lnTo>
                        <a:pt x="3764" y="3024"/>
                      </a:lnTo>
                      <a:lnTo>
                        <a:pt x="4346" y="2812"/>
                      </a:lnTo>
                      <a:lnTo>
                        <a:pt x="4478" y="2653"/>
                      </a:lnTo>
                      <a:lnTo>
                        <a:pt x="4584" y="2433"/>
                      </a:lnTo>
                      <a:lnTo>
                        <a:pt x="4575" y="2310"/>
                      </a:lnTo>
                      <a:lnTo>
                        <a:pt x="4267" y="2283"/>
                      </a:lnTo>
                      <a:lnTo>
                        <a:pt x="4134" y="2221"/>
                      </a:lnTo>
                      <a:lnTo>
                        <a:pt x="3826" y="2151"/>
                      </a:lnTo>
                      <a:lnTo>
                        <a:pt x="3544" y="2001"/>
                      </a:lnTo>
                      <a:lnTo>
                        <a:pt x="3429" y="1622"/>
                      </a:lnTo>
                      <a:lnTo>
                        <a:pt x="3297" y="793"/>
                      </a:lnTo>
                      <a:lnTo>
                        <a:pt x="3147" y="423"/>
                      </a:lnTo>
                      <a:lnTo>
                        <a:pt x="3050" y="441"/>
                      </a:lnTo>
                      <a:lnTo>
                        <a:pt x="2865" y="502"/>
                      </a:lnTo>
                      <a:lnTo>
                        <a:pt x="2389" y="494"/>
                      </a:lnTo>
                      <a:lnTo>
                        <a:pt x="2160" y="538"/>
                      </a:lnTo>
                      <a:lnTo>
                        <a:pt x="1931" y="608"/>
                      </a:lnTo>
                      <a:lnTo>
                        <a:pt x="1728" y="617"/>
                      </a:lnTo>
                      <a:lnTo>
                        <a:pt x="1349" y="494"/>
                      </a:lnTo>
                      <a:lnTo>
                        <a:pt x="952" y="485"/>
                      </a:lnTo>
                      <a:lnTo>
                        <a:pt x="758" y="370"/>
                      </a:lnTo>
                      <a:lnTo>
                        <a:pt x="476" y="53"/>
                      </a:lnTo>
                      <a:lnTo>
                        <a:pt x="335" y="0"/>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1" name="Google Shape;3169;p54">
                  <a:extLst>
                    <a:ext uri="{FF2B5EF4-FFF2-40B4-BE49-F238E27FC236}">
                      <a16:creationId xmlns:a16="http://schemas.microsoft.com/office/drawing/2014/main" id="{A068AF6F-4A72-D5E1-1A0D-E61C9D2B6E80}"/>
                    </a:ext>
                  </a:extLst>
                </p:cNvPr>
                <p:cNvSpPr/>
                <p:nvPr/>
              </p:nvSpPr>
              <p:spPr>
                <a:xfrm>
                  <a:off x="6718421" y="1814241"/>
                  <a:ext cx="339111" cy="390511"/>
                </a:xfrm>
                <a:custGeom>
                  <a:avLst/>
                  <a:gdLst/>
                  <a:ahLst/>
                  <a:cxnLst/>
                  <a:rect l="l" t="t" r="r" b="b"/>
                  <a:pathLst>
                    <a:path w="4770" h="5493" extrusionOk="0">
                      <a:moveTo>
                        <a:pt x="1773" y="1"/>
                      </a:moveTo>
                      <a:lnTo>
                        <a:pt x="1693" y="116"/>
                      </a:lnTo>
                      <a:lnTo>
                        <a:pt x="1596" y="195"/>
                      </a:lnTo>
                      <a:lnTo>
                        <a:pt x="1499" y="186"/>
                      </a:lnTo>
                      <a:lnTo>
                        <a:pt x="1411" y="116"/>
                      </a:lnTo>
                      <a:lnTo>
                        <a:pt x="856" y="186"/>
                      </a:lnTo>
                      <a:lnTo>
                        <a:pt x="821" y="257"/>
                      </a:lnTo>
                      <a:lnTo>
                        <a:pt x="803" y="345"/>
                      </a:lnTo>
                      <a:lnTo>
                        <a:pt x="715" y="389"/>
                      </a:lnTo>
                      <a:lnTo>
                        <a:pt x="600" y="424"/>
                      </a:lnTo>
                      <a:lnTo>
                        <a:pt x="459" y="539"/>
                      </a:lnTo>
                      <a:lnTo>
                        <a:pt x="318" y="636"/>
                      </a:lnTo>
                      <a:lnTo>
                        <a:pt x="256" y="794"/>
                      </a:lnTo>
                      <a:lnTo>
                        <a:pt x="318" y="979"/>
                      </a:lnTo>
                      <a:lnTo>
                        <a:pt x="230" y="1138"/>
                      </a:lnTo>
                      <a:lnTo>
                        <a:pt x="89" y="1288"/>
                      </a:lnTo>
                      <a:lnTo>
                        <a:pt x="45" y="1358"/>
                      </a:lnTo>
                      <a:lnTo>
                        <a:pt x="27" y="1403"/>
                      </a:lnTo>
                      <a:lnTo>
                        <a:pt x="1" y="1676"/>
                      </a:lnTo>
                      <a:lnTo>
                        <a:pt x="10" y="1896"/>
                      </a:lnTo>
                      <a:lnTo>
                        <a:pt x="142" y="2055"/>
                      </a:lnTo>
                      <a:lnTo>
                        <a:pt x="688" y="2187"/>
                      </a:lnTo>
                      <a:lnTo>
                        <a:pt x="812" y="2293"/>
                      </a:lnTo>
                      <a:lnTo>
                        <a:pt x="944" y="2425"/>
                      </a:lnTo>
                      <a:lnTo>
                        <a:pt x="1050" y="2452"/>
                      </a:lnTo>
                      <a:lnTo>
                        <a:pt x="1023" y="2681"/>
                      </a:lnTo>
                      <a:lnTo>
                        <a:pt x="882" y="2795"/>
                      </a:lnTo>
                      <a:lnTo>
                        <a:pt x="415" y="3051"/>
                      </a:lnTo>
                      <a:lnTo>
                        <a:pt x="309" y="3174"/>
                      </a:lnTo>
                      <a:lnTo>
                        <a:pt x="309" y="3377"/>
                      </a:lnTo>
                      <a:lnTo>
                        <a:pt x="327" y="3580"/>
                      </a:lnTo>
                      <a:lnTo>
                        <a:pt x="300" y="3800"/>
                      </a:lnTo>
                      <a:lnTo>
                        <a:pt x="345" y="4012"/>
                      </a:lnTo>
                      <a:lnTo>
                        <a:pt x="477" y="4179"/>
                      </a:lnTo>
                      <a:lnTo>
                        <a:pt x="433" y="4382"/>
                      </a:lnTo>
                      <a:lnTo>
                        <a:pt x="556" y="4461"/>
                      </a:lnTo>
                      <a:lnTo>
                        <a:pt x="688" y="4514"/>
                      </a:lnTo>
                      <a:lnTo>
                        <a:pt x="829" y="4541"/>
                      </a:lnTo>
                      <a:lnTo>
                        <a:pt x="970" y="4576"/>
                      </a:lnTo>
                      <a:lnTo>
                        <a:pt x="1473" y="4876"/>
                      </a:lnTo>
                      <a:lnTo>
                        <a:pt x="1658" y="4946"/>
                      </a:lnTo>
                      <a:lnTo>
                        <a:pt x="1825" y="5052"/>
                      </a:lnTo>
                      <a:lnTo>
                        <a:pt x="1896" y="5158"/>
                      </a:lnTo>
                      <a:lnTo>
                        <a:pt x="1975" y="5237"/>
                      </a:lnTo>
                      <a:lnTo>
                        <a:pt x="2257" y="5316"/>
                      </a:lnTo>
                      <a:lnTo>
                        <a:pt x="2531" y="5457"/>
                      </a:lnTo>
                      <a:lnTo>
                        <a:pt x="2813" y="5493"/>
                      </a:lnTo>
                      <a:lnTo>
                        <a:pt x="3086" y="5466"/>
                      </a:lnTo>
                      <a:lnTo>
                        <a:pt x="3359" y="5484"/>
                      </a:lnTo>
                      <a:lnTo>
                        <a:pt x="3624" y="5457"/>
                      </a:lnTo>
                      <a:lnTo>
                        <a:pt x="3879" y="5334"/>
                      </a:lnTo>
                      <a:lnTo>
                        <a:pt x="4399" y="5211"/>
                      </a:lnTo>
                      <a:lnTo>
                        <a:pt x="4602" y="4990"/>
                      </a:lnTo>
                      <a:lnTo>
                        <a:pt x="4770" y="4726"/>
                      </a:lnTo>
                      <a:lnTo>
                        <a:pt x="4602" y="4347"/>
                      </a:lnTo>
                      <a:lnTo>
                        <a:pt x="4505" y="3941"/>
                      </a:lnTo>
                      <a:lnTo>
                        <a:pt x="4532" y="3739"/>
                      </a:lnTo>
                      <a:lnTo>
                        <a:pt x="4585" y="3545"/>
                      </a:lnTo>
                      <a:lnTo>
                        <a:pt x="4734" y="3192"/>
                      </a:lnTo>
                      <a:lnTo>
                        <a:pt x="4770" y="2302"/>
                      </a:lnTo>
                      <a:lnTo>
                        <a:pt x="4611" y="1403"/>
                      </a:lnTo>
                      <a:lnTo>
                        <a:pt x="4391" y="1032"/>
                      </a:lnTo>
                      <a:lnTo>
                        <a:pt x="4073" y="812"/>
                      </a:lnTo>
                      <a:lnTo>
                        <a:pt x="3923" y="927"/>
                      </a:lnTo>
                      <a:lnTo>
                        <a:pt x="3871" y="1173"/>
                      </a:lnTo>
                      <a:lnTo>
                        <a:pt x="3800" y="1244"/>
                      </a:lnTo>
                      <a:lnTo>
                        <a:pt x="3703" y="1270"/>
                      </a:lnTo>
                      <a:lnTo>
                        <a:pt x="3430" y="1235"/>
                      </a:lnTo>
                      <a:lnTo>
                        <a:pt x="2346" y="803"/>
                      </a:lnTo>
                      <a:lnTo>
                        <a:pt x="2037" y="477"/>
                      </a:lnTo>
                      <a:lnTo>
                        <a:pt x="1967" y="116"/>
                      </a:lnTo>
                      <a:lnTo>
                        <a:pt x="1773" y="1"/>
                      </a:lnTo>
                      <a:close/>
                    </a:path>
                  </a:pathLst>
                </a:custGeom>
                <a:grpFill/>
                <a:ln w="952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sp>
          <p:nvSpPr>
            <p:cNvPr id="78" name="Rectangle 77">
              <a:extLst>
                <a:ext uri="{FF2B5EF4-FFF2-40B4-BE49-F238E27FC236}">
                  <a16:creationId xmlns:a16="http://schemas.microsoft.com/office/drawing/2014/main" id="{3667F0A1-DB6E-D981-576B-2FB6FBDF4182}"/>
                </a:ext>
              </a:extLst>
            </p:cNvPr>
            <p:cNvSpPr/>
            <p:nvPr/>
          </p:nvSpPr>
          <p:spPr bwMode="gray">
            <a:xfrm>
              <a:off x="10140950" y="3677103"/>
              <a:ext cx="671513" cy="2599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62" name="Group 161">
            <a:extLst>
              <a:ext uri="{FF2B5EF4-FFF2-40B4-BE49-F238E27FC236}">
                <a16:creationId xmlns:a16="http://schemas.microsoft.com/office/drawing/2014/main" id="{3944891F-CDD7-9399-DEFC-715B9A82F6E1}"/>
              </a:ext>
            </a:extLst>
          </p:cNvPr>
          <p:cNvGrpSpPr/>
          <p:nvPr/>
        </p:nvGrpSpPr>
        <p:grpSpPr>
          <a:xfrm>
            <a:off x="9771062" y="2263098"/>
            <a:ext cx="2178051" cy="728663"/>
            <a:chOff x="8612187" y="1969297"/>
            <a:chExt cx="2178051" cy="728663"/>
          </a:xfrm>
        </p:grpSpPr>
        <p:sp>
          <p:nvSpPr>
            <p:cNvPr id="163" name="Rectangle 162">
              <a:extLst>
                <a:ext uri="{FF2B5EF4-FFF2-40B4-BE49-F238E27FC236}">
                  <a16:creationId xmlns:a16="http://schemas.microsoft.com/office/drawing/2014/main" id="{62A96E16-EDCB-4ECD-9557-4988CEE94BF3}"/>
                </a:ext>
              </a:extLst>
            </p:cNvPr>
            <p:cNvSpPr/>
            <p:nvPr/>
          </p:nvSpPr>
          <p:spPr bwMode="gray">
            <a:xfrm>
              <a:off x="8629649" y="1975647"/>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4" name="Rectangle 163">
              <a:extLst>
                <a:ext uri="{FF2B5EF4-FFF2-40B4-BE49-F238E27FC236}">
                  <a16:creationId xmlns:a16="http://schemas.microsoft.com/office/drawing/2014/main" id="{CE33D750-08BD-5362-2268-2EEF5B0B3685}"/>
                </a:ext>
              </a:extLst>
            </p:cNvPr>
            <p:cNvSpPr/>
            <p:nvPr/>
          </p:nvSpPr>
          <p:spPr bwMode="gray">
            <a:xfrm>
              <a:off x="8804275" y="1969297"/>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165" name="Rectangle 164">
              <a:extLst>
                <a:ext uri="{FF2B5EF4-FFF2-40B4-BE49-F238E27FC236}">
                  <a16:creationId xmlns:a16="http://schemas.microsoft.com/office/drawing/2014/main" id="{B7A8D02A-87EA-8BEF-02F7-D5AB0A543549}"/>
                </a:ext>
              </a:extLst>
            </p:cNvPr>
            <p:cNvSpPr/>
            <p:nvPr/>
          </p:nvSpPr>
          <p:spPr bwMode="gray">
            <a:xfrm>
              <a:off x="8629649" y="2101059"/>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6" name="Rectangle 165">
              <a:extLst>
                <a:ext uri="{FF2B5EF4-FFF2-40B4-BE49-F238E27FC236}">
                  <a16:creationId xmlns:a16="http://schemas.microsoft.com/office/drawing/2014/main" id="{D9C0D7AE-A661-6AAF-7D59-AC85A6BF90EA}"/>
                </a:ext>
              </a:extLst>
            </p:cNvPr>
            <p:cNvSpPr/>
            <p:nvPr/>
          </p:nvSpPr>
          <p:spPr bwMode="gray">
            <a:xfrm>
              <a:off x="8804275" y="2096297"/>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167" name="Rectangle 166">
              <a:extLst>
                <a:ext uri="{FF2B5EF4-FFF2-40B4-BE49-F238E27FC236}">
                  <a16:creationId xmlns:a16="http://schemas.microsoft.com/office/drawing/2014/main" id="{7F49773D-9C51-2D2D-3F48-BC581C09FF7E}"/>
                </a:ext>
              </a:extLst>
            </p:cNvPr>
            <p:cNvSpPr/>
            <p:nvPr/>
          </p:nvSpPr>
          <p:spPr bwMode="gray">
            <a:xfrm>
              <a:off x="8629649" y="2226472"/>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8" name="Rectangle 167">
              <a:extLst>
                <a:ext uri="{FF2B5EF4-FFF2-40B4-BE49-F238E27FC236}">
                  <a16:creationId xmlns:a16="http://schemas.microsoft.com/office/drawing/2014/main" id="{607DC1EB-7D0D-F8B7-576A-537EA9A1E6AF}"/>
                </a:ext>
              </a:extLst>
            </p:cNvPr>
            <p:cNvSpPr/>
            <p:nvPr/>
          </p:nvSpPr>
          <p:spPr bwMode="gray">
            <a:xfrm>
              <a:off x="8804275" y="2221709"/>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169" name="Rectangle 168">
              <a:extLst>
                <a:ext uri="{FF2B5EF4-FFF2-40B4-BE49-F238E27FC236}">
                  <a16:creationId xmlns:a16="http://schemas.microsoft.com/office/drawing/2014/main" id="{E1826699-0523-E92A-0812-33E78ACA69AC}"/>
                </a:ext>
              </a:extLst>
            </p:cNvPr>
            <p:cNvSpPr/>
            <p:nvPr/>
          </p:nvSpPr>
          <p:spPr bwMode="gray">
            <a:xfrm>
              <a:off x="8629649" y="2358234"/>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0" name="Rectangle 169">
              <a:extLst>
                <a:ext uri="{FF2B5EF4-FFF2-40B4-BE49-F238E27FC236}">
                  <a16:creationId xmlns:a16="http://schemas.microsoft.com/office/drawing/2014/main" id="{FC8910C1-B41D-853F-D214-2AE060F3BBBB}"/>
                </a:ext>
              </a:extLst>
            </p:cNvPr>
            <p:cNvSpPr/>
            <p:nvPr/>
          </p:nvSpPr>
          <p:spPr bwMode="gray">
            <a:xfrm>
              <a:off x="8804275" y="2351884"/>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171" name="Rectangle 170">
              <a:extLst>
                <a:ext uri="{FF2B5EF4-FFF2-40B4-BE49-F238E27FC236}">
                  <a16:creationId xmlns:a16="http://schemas.microsoft.com/office/drawing/2014/main" id="{CE2E6072-C16E-4CB6-127B-1B0D477DF650}"/>
                </a:ext>
              </a:extLst>
            </p:cNvPr>
            <p:cNvSpPr/>
            <p:nvPr/>
          </p:nvSpPr>
          <p:spPr bwMode="gray">
            <a:xfrm>
              <a:off x="8612187" y="2447135"/>
              <a:ext cx="720725" cy="250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700" i="1" dirty="0">
                  <a:solidFill>
                    <a:schemeClr val="tx1"/>
                  </a:solidFill>
                </a:rPr>
                <a:t>Estimate</a:t>
              </a:r>
            </a:p>
          </p:txBody>
        </p:sp>
        <p:sp>
          <p:nvSpPr>
            <p:cNvPr id="172" name="Oval 171">
              <a:extLst>
                <a:ext uri="{FF2B5EF4-FFF2-40B4-BE49-F238E27FC236}">
                  <a16:creationId xmlns:a16="http://schemas.microsoft.com/office/drawing/2014/main" id="{17DC9CD0-DD60-B1B5-5A37-1684B64A3CB8}"/>
                </a:ext>
              </a:extLst>
            </p:cNvPr>
            <p:cNvSpPr/>
            <p:nvPr/>
          </p:nvSpPr>
          <p:spPr bwMode="gray">
            <a:xfrm flipV="1">
              <a:off x="9556750" y="1980409"/>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3" name="Rectangle 172">
              <a:extLst>
                <a:ext uri="{FF2B5EF4-FFF2-40B4-BE49-F238E27FC236}">
                  <a16:creationId xmlns:a16="http://schemas.microsoft.com/office/drawing/2014/main" id="{A10FABED-DB09-0510-B02A-857A78513958}"/>
                </a:ext>
              </a:extLst>
            </p:cNvPr>
            <p:cNvSpPr/>
            <p:nvPr/>
          </p:nvSpPr>
          <p:spPr bwMode="gray">
            <a:xfrm>
              <a:off x="9661525" y="1983583"/>
              <a:ext cx="1128713" cy="650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Existing Hydrothermal</a:t>
              </a:r>
            </a:p>
          </p:txBody>
        </p:sp>
        <p:sp>
          <p:nvSpPr>
            <p:cNvPr id="174" name="Oval 173">
              <a:extLst>
                <a:ext uri="{FF2B5EF4-FFF2-40B4-BE49-F238E27FC236}">
                  <a16:creationId xmlns:a16="http://schemas.microsoft.com/office/drawing/2014/main" id="{98D3B85A-A9B2-EBF8-8407-B8A05BC1FB34}"/>
                </a:ext>
              </a:extLst>
            </p:cNvPr>
            <p:cNvSpPr/>
            <p:nvPr/>
          </p:nvSpPr>
          <p:spPr bwMode="gray">
            <a:xfrm>
              <a:off x="9556750" y="2162972"/>
              <a:ext cx="85725" cy="84138"/>
            </a:xfrm>
            <a:prstGeom prst="ellipse">
              <a:avLst/>
            </a:prstGeom>
            <a:solidFill>
              <a:schemeClr val="accent6"/>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5" name="Rectangle 174">
              <a:extLst>
                <a:ext uri="{FF2B5EF4-FFF2-40B4-BE49-F238E27FC236}">
                  <a16:creationId xmlns:a16="http://schemas.microsoft.com/office/drawing/2014/main" id="{05CAB67D-A689-35DA-8B72-0BE582D7BEE9}"/>
                </a:ext>
              </a:extLst>
            </p:cNvPr>
            <p:cNvSpPr/>
            <p:nvPr/>
          </p:nvSpPr>
          <p:spPr bwMode="gray">
            <a:xfrm>
              <a:off x="9661525" y="2162972"/>
              <a:ext cx="1128713" cy="635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Superhot Rock</a:t>
              </a:r>
            </a:p>
          </p:txBody>
        </p:sp>
      </p:grpSp>
      <p:sp>
        <p:nvSpPr>
          <p:cNvPr id="176" name="Oval 175">
            <a:extLst>
              <a:ext uri="{FF2B5EF4-FFF2-40B4-BE49-F238E27FC236}">
                <a16:creationId xmlns:a16="http://schemas.microsoft.com/office/drawing/2014/main" id="{CA05E2D6-8383-4742-C916-BAF81B340D36}"/>
              </a:ext>
            </a:extLst>
          </p:cNvPr>
          <p:cNvSpPr/>
          <p:nvPr/>
        </p:nvSpPr>
        <p:spPr bwMode="gray">
          <a:xfrm flipH="1">
            <a:off x="6388371" y="3654425"/>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7" name="Oval 176">
            <a:extLst>
              <a:ext uri="{FF2B5EF4-FFF2-40B4-BE49-F238E27FC236}">
                <a16:creationId xmlns:a16="http://schemas.microsoft.com/office/drawing/2014/main" id="{67B9498A-967E-61D8-4142-C3EB6739C811}"/>
              </a:ext>
            </a:extLst>
          </p:cNvPr>
          <p:cNvSpPr/>
          <p:nvPr/>
        </p:nvSpPr>
        <p:spPr bwMode="gray">
          <a:xfrm flipH="1">
            <a:off x="6576378" y="3706813"/>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8" name="Oval 177">
            <a:extLst>
              <a:ext uri="{FF2B5EF4-FFF2-40B4-BE49-F238E27FC236}">
                <a16:creationId xmlns:a16="http://schemas.microsoft.com/office/drawing/2014/main" id="{EBBBCD58-731B-1C11-D650-61E87D79D816}"/>
              </a:ext>
            </a:extLst>
          </p:cNvPr>
          <p:cNvSpPr/>
          <p:nvPr/>
        </p:nvSpPr>
        <p:spPr bwMode="gray">
          <a:xfrm flipV="1">
            <a:off x="6634114" y="3689350"/>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9" name="Oval 178">
            <a:extLst>
              <a:ext uri="{FF2B5EF4-FFF2-40B4-BE49-F238E27FC236}">
                <a16:creationId xmlns:a16="http://schemas.microsoft.com/office/drawing/2014/main" id="{EE5F1696-FBC8-7963-A6DF-60B38C52F265}"/>
              </a:ext>
            </a:extLst>
          </p:cNvPr>
          <p:cNvSpPr/>
          <p:nvPr/>
        </p:nvSpPr>
        <p:spPr bwMode="gray">
          <a:xfrm flipV="1">
            <a:off x="6239828" y="3233738"/>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0" name="Oval 179">
            <a:extLst>
              <a:ext uri="{FF2B5EF4-FFF2-40B4-BE49-F238E27FC236}">
                <a16:creationId xmlns:a16="http://schemas.microsoft.com/office/drawing/2014/main" id="{5192501A-70B8-1083-FC5E-820478DEE887}"/>
              </a:ext>
            </a:extLst>
          </p:cNvPr>
          <p:cNvSpPr/>
          <p:nvPr/>
        </p:nvSpPr>
        <p:spPr bwMode="gray">
          <a:xfrm flipV="1">
            <a:off x="6588076" y="3579813"/>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1" name="Oval 180">
            <a:extLst>
              <a:ext uri="{FF2B5EF4-FFF2-40B4-BE49-F238E27FC236}">
                <a16:creationId xmlns:a16="http://schemas.microsoft.com/office/drawing/2014/main" id="{B8FBD6DC-8700-9A1F-AF61-3048DB72AAB7}"/>
              </a:ext>
            </a:extLst>
          </p:cNvPr>
          <p:cNvSpPr/>
          <p:nvPr/>
        </p:nvSpPr>
        <p:spPr bwMode="gray">
          <a:xfrm flipV="1">
            <a:off x="6634114" y="3562350"/>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2" name="Oval 181">
            <a:extLst>
              <a:ext uri="{FF2B5EF4-FFF2-40B4-BE49-F238E27FC236}">
                <a16:creationId xmlns:a16="http://schemas.microsoft.com/office/drawing/2014/main" id="{18551B74-AAA6-9F1A-0BDC-743BA209A40D}"/>
              </a:ext>
            </a:extLst>
          </p:cNvPr>
          <p:cNvSpPr/>
          <p:nvPr/>
        </p:nvSpPr>
        <p:spPr bwMode="gray">
          <a:xfrm flipV="1">
            <a:off x="6679833" y="3676650"/>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3" name="Oval 182">
            <a:extLst>
              <a:ext uri="{FF2B5EF4-FFF2-40B4-BE49-F238E27FC236}">
                <a16:creationId xmlns:a16="http://schemas.microsoft.com/office/drawing/2014/main" id="{8A046AC8-5E10-1BA4-C996-500BA7B22A44}"/>
              </a:ext>
            </a:extLst>
          </p:cNvPr>
          <p:cNvSpPr/>
          <p:nvPr/>
        </p:nvSpPr>
        <p:spPr bwMode="gray">
          <a:xfrm flipV="1">
            <a:off x="6668990" y="3654425"/>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4" name="Oval 183">
            <a:extLst>
              <a:ext uri="{FF2B5EF4-FFF2-40B4-BE49-F238E27FC236}">
                <a16:creationId xmlns:a16="http://schemas.microsoft.com/office/drawing/2014/main" id="{54AAD825-BA00-81DF-7956-408A3820B0EE}"/>
              </a:ext>
            </a:extLst>
          </p:cNvPr>
          <p:cNvSpPr/>
          <p:nvPr/>
        </p:nvSpPr>
        <p:spPr bwMode="gray">
          <a:xfrm flipV="1">
            <a:off x="6717873" y="3668713"/>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5" name="Oval 184">
            <a:extLst>
              <a:ext uri="{FF2B5EF4-FFF2-40B4-BE49-F238E27FC236}">
                <a16:creationId xmlns:a16="http://schemas.microsoft.com/office/drawing/2014/main" id="{C3844B1A-F996-3B96-6737-8E097AB2F4CE}"/>
              </a:ext>
            </a:extLst>
          </p:cNvPr>
          <p:cNvSpPr/>
          <p:nvPr/>
        </p:nvSpPr>
        <p:spPr bwMode="gray">
          <a:xfrm flipV="1">
            <a:off x="6718666" y="3643313"/>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6" name="Oval 185">
            <a:extLst>
              <a:ext uri="{FF2B5EF4-FFF2-40B4-BE49-F238E27FC236}">
                <a16:creationId xmlns:a16="http://schemas.microsoft.com/office/drawing/2014/main" id="{E24977EC-BC7C-30C9-AAA7-E791F42477AF}"/>
              </a:ext>
            </a:extLst>
          </p:cNvPr>
          <p:cNvSpPr/>
          <p:nvPr/>
        </p:nvSpPr>
        <p:spPr bwMode="gray">
          <a:xfrm flipV="1">
            <a:off x="7136156" y="3265488"/>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7961869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FA9E3AD-3840-3C2B-3FBF-2AEFB0BDD449}"/>
              </a:ext>
            </a:extLst>
          </p:cNvPr>
          <p:cNvGraphicFramePr>
            <a:graphicFrameLocks/>
          </p:cNvGraphicFramePr>
          <p:nvPr>
            <p:custDataLst>
              <p:tags r:id="rId1"/>
            </p:custDataLst>
            <p:extLst>
              <p:ext uri="{D42A27DB-BD31-4B8C-83A1-F6EECF244321}">
                <p14:modId xmlns:p14="http://schemas.microsoft.com/office/powerpoint/2010/main" val="332371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74B1AD-F994-A684-36DD-67264EA316DD}"/>
              </a:ext>
            </a:extLst>
          </p:cNvPr>
          <p:cNvSpPr>
            <a:spLocks noGrp="1"/>
          </p:cNvSpPr>
          <p:nvPr>
            <p:ph type="title"/>
          </p:nvPr>
        </p:nvSpPr>
        <p:spPr/>
        <p:txBody>
          <a:bodyPr vert="horz" rIns="91440"/>
          <a:lstStyle/>
          <a:p>
            <a:r>
              <a:rPr lang="en-US" dirty="0"/>
              <a:t>Italy can achieve second ramp-up in geothermal power with FER2 support</a:t>
            </a:r>
          </a:p>
        </p:txBody>
      </p:sp>
      <p:sp>
        <p:nvSpPr>
          <p:cNvPr id="6" name="Footer Placeholder 5">
            <a:extLst>
              <a:ext uri="{FF2B5EF4-FFF2-40B4-BE49-F238E27FC236}">
                <a16:creationId xmlns:a16="http://schemas.microsoft.com/office/drawing/2014/main" id="{851E6351-8BEB-B7BF-9AA9-95A032B89A81}"/>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6"/>
              </a:rPr>
              <a:t>Italy looks to end decade-long drought of new geothermal power stations</a:t>
            </a:r>
            <a:r>
              <a:rPr lang="en-US" dirty="0">
                <a:solidFill>
                  <a:srgbClr val="000000"/>
                </a:solidFill>
              </a:rPr>
              <a:t> (</a:t>
            </a:r>
            <a:r>
              <a:rPr lang="en-US" dirty="0" err="1">
                <a:solidFill>
                  <a:schemeClr val="tx1"/>
                </a:solidFill>
              </a:rPr>
              <a:t>ThinkGeoEnergy</a:t>
            </a:r>
            <a:r>
              <a:rPr lang="en-US" dirty="0">
                <a:solidFill>
                  <a:schemeClr val="tx1"/>
                </a:solidFill>
              </a:rPr>
              <a:t>, </a:t>
            </a:r>
            <a:r>
              <a:rPr lang="en-US" dirty="0">
                <a:solidFill>
                  <a:srgbClr val="000000"/>
                </a:solidFill>
              </a:rPr>
              <a:t>2024); </a:t>
            </a:r>
            <a:r>
              <a:rPr lang="en-US" dirty="0">
                <a:solidFill>
                  <a:srgbClr val="000000"/>
                </a:solidFill>
                <a:hlinkClick r:id="rId37"/>
              </a:rPr>
              <a:t>Decreto FER1</a:t>
            </a:r>
            <a:r>
              <a:rPr lang="en-US" dirty="0">
                <a:solidFill>
                  <a:srgbClr val="000000"/>
                </a:solidFill>
              </a:rPr>
              <a:t> (EC, 2019).</a:t>
            </a:r>
            <a:br>
              <a:rPr lang="en-US" dirty="0">
                <a:solidFill>
                  <a:srgbClr val="000000"/>
                </a:solidFill>
              </a:rPr>
            </a:br>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38"/>
              </a:rPr>
              <a:t>Gernot Wagner.</a:t>
            </a:r>
            <a:r>
              <a:rPr lang="en-US" dirty="0">
                <a:solidFill>
                  <a:srgbClr val="000000"/>
                </a:solidFill>
              </a:rPr>
              <a:t> </a:t>
            </a:r>
            <a:r>
              <a:rPr lang="en-US" dirty="0">
                <a:hlinkClick r:id="rId3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7" name="Text Placeholder 6">
            <a:extLst>
              <a:ext uri="{FF2B5EF4-FFF2-40B4-BE49-F238E27FC236}">
                <a16:creationId xmlns:a16="http://schemas.microsoft.com/office/drawing/2014/main" id="{6F8B2BDC-C226-9E6D-3DD7-F40BF2208859}"/>
              </a:ext>
            </a:extLst>
          </p:cNvPr>
          <p:cNvSpPr>
            <a:spLocks noGrp="1"/>
          </p:cNvSpPr>
          <p:nvPr>
            <p:ph type="body" sz="quarter" idx="13"/>
          </p:nvPr>
        </p:nvSpPr>
        <p:spPr/>
        <p:txBody>
          <a:bodyPr/>
          <a:lstStyle/>
          <a:p>
            <a:r>
              <a:rPr lang="en-US" dirty="0"/>
              <a:t>Gap between FER1 and FER2 decrees resulted in stagnant installed capacity </a:t>
            </a:r>
          </a:p>
        </p:txBody>
      </p:sp>
      <p:sp>
        <p:nvSpPr>
          <p:cNvPr id="8" name="Text Placeholder 7">
            <a:extLst>
              <a:ext uri="{FF2B5EF4-FFF2-40B4-BE49-F238E27FC236}">
                <a16:creationId xmlns:a16="http://schemas.microsoft.com/office/drawing/2014/main" id="{5AFBE9FF-E913-76DA-6A92-385F82F0F417}"/>
              </a:ext>
            </a:extLst>
          </p:cNvPr>
          <p:cNvSpPr>
            <a:spLocks noGrp="1"/>
          </p:cNvSpPr>
          <p:nvPr>
            <p:ph type="body" sz="quarter" idx="16"/>
          </p:nvPr>
        </p:nvSpPr>
        <p:spPr/>
        <p:txBody>
          <a:bodyPr/>
          <a:lstStyle/>
          <a:p>
            <a:r>
              <a:rPr lang="en-US" dirty="0"/>
              <a:t>Installed geothermal capacity over time, </a:t>
            </a:r>
            <a:r>
              <a:rPr lang="en-US" i="1" dirty="0"/>
              <a:t>GW 2000-24</a:t>
            </a:r>
          </a:p>
        </p:txBody>
      </p:sp>
      <p:sp>
        <p:nvSpPr>
          <p:cNvPr id="9" name="Text Placeholder 1">
            <a:extLst>
              <a:ext uri="{FF2B5EF4-FFF2-40B4-BE49-F238E27FC236}">
                <a16:creationId xmlns:a16="http://schemas.microsoft.com/office/drawing/2014/main" id="{D84D76C1-6317-531E-7921-10D44DD94F1D}"/>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Italy</a:t>
            </a:r>
          </a:p>
        </p:txBody>
      </p:sp>
      <p:sp>
        <p:nvSpPr>
          <p:cNvPr id="11" name="Rectangle 10">
            <a:extLst>
              <a:ext uri="{FF2B5EF4-FFF2-40B4-BE49-F238E27FC236}">
                <a16:creationId xmlns:a16="http://schemas.microsoft.com/office/drawing/2014/main" id="{39FACDCC-362B-2F8C-80BB-7474279FF308}"/>
              </a:ext>
            </a:extLst>
          </p:cNvPr>
          <p:cNvSpPr/>
          <p:nvPr/>
        </p:nvSpPr>
        <p:spPr bwMode="gray">
          <a:xfrm>
            <a:off x="324000" y="2134140"/>
            <a:ext cx="5479631" cy="413957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cxnSp>
        <p:nvCxnSpPr>
          <p:cNvPr id="12" name="Straight Arrow Connector 11">
            <a:extLst>
              <a:ext uri="{FF2B5EF4-FFF2-40B4-BE49-F238E27FC236}">
                <a16:creationId xmlns:a16="http://schemas.microsoft.com/office/drawing/2014/main" id="{06EA9C89-7AC2-D591-BB6D-43203BFE8668}"/>
              </a:ext>
            </a:extLst>
          </p:cNvPr>
          <p:cNvCxnSpPr>
            <a:cxnSpLocks/>
          </p:cNvCxnSpPr>
          <p:nvPr/>
        </p:nvCxnSpPr>
        <p:spPr bwMode="gray">
          <a:xfrm>
            <a:off x="533909" y="2234312"/>
            <a:ext cx="0" cy="397536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C69C5BF0-0FA7-EEFA-FBF9-9F7144184C60}"/>
              </a:ext>
            </a:extLst>
          </p:cNvPr>
          <p:cNvSpPr/>
          <p:nvPr/>
        </p:nvSpPr>
        <p:spPr bwMode="gray">
          <a:xfrm>
            <a:off x="465131" y="2569112"/>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14" name="Rectangle 13">
            <a:extLst>
              <a:ext uri="{FF2B5EF4-FFF2-40B4-BE49-F238E27FC236}">
                <a16:creationId xmlns:a16="http://schemas.microsoft.com/office/drawing/2014/main" id="{587CBF99-58F6-5AD1-F166-5023489EA186}"/>
              </a:ext>
            </a:extLst>
          </p:cNvPr>
          <p:cNvSpPr/>
          <p:nvPr/>
        </p:nvSpPr>
        <p:spPr bwMode="gray">
          <a:xfrm>
            <a:off x="395280" y="2400837"/>
            <a:ext cx="645842" cy="12763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99</a:t>
            </a:r>
          </a:p>
        </p:txBody>
      </p:sp>
      <p:sp>
        <p:nvSpPr>
          <p:cNvPr id="15" name="Rectangle 14">
            <a:extLst>
              <a:ext uri="{FF2B5EF4-FFF2-40B4-BE49-F238E27FC236}">
                <a16:creationId xmlns:a16="http://schemas.microsoft.com/office/drawing/2014/main" id="{3180A644-D2AD-0DAC-6DF8-1CAC9C491987}"/>
              </a:ext>
            </a:extLst>
          </p:cNvPr>
          <p:cNvSpPr/>
          <p:nvPr/>
        </p:nvSpPr>
        <p:spPr bwMode="gray">
          <a:xfrm>
            <a:off x="777732" y="2425099"/>
            <a:ext cx="4887044" cy="2303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Liberalizes electricity generation and supply, opening both to competition.</a:t>
            </a:r>
          </a:p>
        </p:txBody>
      </p:sp>
      <p:sp>
        <p:nvSpPr>
          <p:cNvPr id="16" name="Rectangle 15">
            <a:extLst>
              <a:ext uri="{FF2B5EF4-FFF2-40B4-BE49-F238E27FC236}">
                <a16:creationId xmlns:a16="http://schemas.microsoft.com/office/drawing/2014/main" id="{64530E6A-09E8-D869-4F7A-2E9B89E00716}"/>
              </a:ext>
            </a:extLst>
          </p:cNvPr>
          <p:cNvSpPr/>
          <p:nvPr/>
        </p:nvSpPr>
        <p:spPr bwMode="gray">
          <a:xfrm>
            <a:off x="395280" y="3653833"/>
            <a:ext cx="703599"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1</a:t>
            </a:r>
          </a:p>
        </p:txBody>
      </p:sp>
      <p:sp>
        <p:nvSpPr>
          <p:cNvPr id="17" name="Rectangle 16">
            <a:extLst>
              <a:ext uri="{FF2B5EF4-FFF2-40B4-BE49-F238E27FC236}">
                <a16:creationId xmlns:a16="http://schemas.microsoft.com/office/drawing/2014/main" id="{CE26F646-AD2E-665E-ED78-94DF03A5814B}"/>
              </a:ext>
            </a:extLst>
          </p:cNvPr>
          <p:cNvSpPr/>
          <p:nvPr/>
        </p:nvSpPr>
        <p:spPr bwMode="gray">
          <a:xfrm>
            <a:off x="406462" y="5713195"/>
            <a:ext cx="377437" cy="24604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4-2025</a:t>
            </a:r>
          </a:p>
        </p:txBody>
      </p:sp>
      <p:sp>
        <p:nvSpPr>
          <p:cNvPr id="18" name="Rectangle 17">
            <a:extLst>
              <a:ext uri="{FF2B5EF4-FFF2-40B4-BE49-F238E27FC236}">
                <a16:creationId xmlns:a16="http://schemas.microsoft.com/office/drawing/2014/main" id="{87895886-B6B8-0DE4-610D-21EAC584C63E}"/>
              </a:ext>
            </a:extLst>
          </p:cNvPr>
          <p:cNvSpPr/>
          <p:nvPr/>
        </p:nvSpPr>
        <p:spPr bwMode="gray">
          <a:xfrm>
            <a:off x="754482" y="3284538"/>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19" name="Rectangle 18">
            <a:extLst>
              <a:ext uri="{FF2B5EF4-FFF2-40B4-BE49-F238E27FC236}">
                <a16:creationId xmlns:a16="http://schemas.microsoft.com/office/drawing/2014/main" id="{A57AD08A-A64F-1FFB-5171-4CA85D81770F}"/>
              </a:ext>
            </a:extLst>
          </p:cNvPr>
          <p:cNvSpPr/>
          <p:nvPr/>
        </p:nvSpPr>
        <p:spPr bwMode="gray">
          <a:xfrm>
            <a:off x="704222" y="3968750"/>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0" name="Rectangle 19">
            <a:extLst>
              <a:ext uri="{FF2B5EF4-FFF2-40B4-BE49-F238E27FC236}">
                <a16:creationId xmlns:a16="http://schemas.microsoft.com/office/drawing/2014/main" id="{8D48E158-0D7E-49FF-8492-E4388C5B6F94}"/>
              </a:ext>
            </a:extLst>
          </p:cNvPr>
          <p:cNvSpPr/>
          <p:nvPr/>
        </p:nvSpPr>
        <p:spPr bwMode="gray">
          <a:xfrm>
            <a:off x="775326" y="5099050"/>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1" name="Rectangle 20">
            <a:extLst>
              <a:ext uri="{FF2B5EF4-FFF2-40B4-BE49-F238E27FC236}">
                <a16:creationId xmlns:a16="http://schemas.microsoft.com/office/drawing/2014/main" id="{C14819EC-D9E1-6421-005C-96072B38F0CC}"/>
              </a:ext>
            </a:extLst>
          </p:cNvPr>
          <p:cNvSpPr/>
          <p:nvPr/>
        </p:nvSpPr>
        <p:spPr bwMode="gray">
          <a:xfrm>
            <a:off x="730252" y="5614988"/>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dirty="0">
              <a:solidFill>
                <a:schemeClr val="tx1"/>
              </a:solidFill>
            </a:endParaRPr>
          </a:p>
        </p:txBody>
      </p:sp>
      <p:sp>
        <p:nvSpPr>
          <p:cNvPr id="22" name="Rectangle 21">
            <a:extLst>
              <a:ext uri="{FF2B5EF4-FFF2-40B4-BE49-F238E27FC236}">
                <a16:creationId xmlns:a16="http://schemas.microsoft.com/office/drawing/2014/main" id="{75035550-C6E7-03CD-3AD4-66833BD0C3DF}"/>
              </a:ext>
            </a:extLst>
          </p:cNvPr>
          <p:cNvSpPr/>
          <p:nvPr/>
        </p:nvSpPr>
        <p:spPr bwMode="gray">
          <a:xfrm>
            <a:off x="773856" y="5673725"/>
            <a:ext cx="4862506" cy="4578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900" dirty="0">
                <a:solidFill>
                  <a:schemeClr val="tx1"/>
                </a:solidFill>
              </a:rPr>
              <a:t>Provides for innovative, high-cost RES with a €35.3B budget, enabling restart of geothermal pipeline.</a:t>
            </a:r>
          </a:p>
        </p:txBody>
      </p:sp>
      <p:sp>
        <p:nvSpPr>
          <p:cNvPr id="23" name="Rectangle 22">
            <a:extLst>
              <a:ext uri="{FF2B5EF4-FFF2-40B4-BE49-F238E27FC236}">
                <a16:creationId xmlns:a16="http://schemas.microsoft.com/office/drawing/2014/main" id="{F644F99F-628B-BCBF-0C5C-830A6A8EF70C}"/>
              </a:ext>
            </a:extLst>
          </p:cNvPr>
          <p:cNvSpPr/>
          <p:nvPr/>
        </p:nvSpPr>
        <p:spPr bwMode="gray">
          <a:xfrm>
            <a:off x="395280" y="2987002"/>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0</a:t>
            </a:r>
          </a:p>
        </p:txBody>
      </p:sp>
      <p:sp>
        <p:nvSpPr>
          <p:cNvPr id="24" name="Rectangle 23">
            <a:extLst>
              <a:ext uri="{FF2B5EF4-FFF2-40B4-BE49-F238E27FC236}">
                <a16:creationId xmlns:a16="http://schemas.microsoft.com/office/drawing/2014/main" id="{BE7014FA-6F02-5A19-DDD0-6F7EF1F837BE}"/>
              </a:ext>
            </a:extLst>
          </p:cNvPr>
          <p:cNvSpPr/>
          <p:nvPr/>
        </p:nvSpPr>
        <p:spPr bwMode="gray">
          <a:xfrm>
            <a:off x="753615" y="2867821"/>
            <a:ext cx="4887043" cy="4584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Updates rules for exploration and exploitation of geothermal energy, which includes classifying resources by temperature, clarifying licensing procedures, and opening the market to new developers.</a:t>
            </a:r>
          </a:p>
        </p:txBody>
      </p:sp>
      <p:sp>
        <p:nvSpPr>
          <p:cNvPr id="25" name="Rectangle 24">
            <a:extLst>
              <a:ext uri="{FF2B5EF4-FFF2-40B4-BE49-F238E27FC236}">
                <a16:creationId xmlns:a16="http://schemas.microsoft.com/office/drawing/2014/main" id="{7F6557B5-7ECC-C062-EDFC-A8345F5B8421}"/>
              </a:ext>
            </a:extLst>
          </p:cNvPr>
          <p:cNvSpPr/>
          <p:nvPr/>
        </p:nvSpPr>
        <p:spPr bwMode="gray">
          <a:xfrm>
            <a:off x="775328" y="4537075"/>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800" b="1" dirty="0">
              <a:solidFill>
                <a:schemeClr val="tx1"/>
              </a:solidFill>
            </a:endParaRPr>
          </a:p>
        </p:txBody>
      </p:sp>
      <p:sp>
        <p:nvSpPr>
          <p:cNvPr id="26" name="Oval 25">
            <a:extLst>
              <a:ext uri="{FF2B5EF4-FFF2-40B4-BE49-F238E27FC236}">
                <a16:creationId xmlns:a16="http://schemas.microsoft.com/office/drawing/2014/main" id="{58BA0321-3DC5-5A73-5D05-3113D2F0DB3C}"/>
              </a:ext>
            </a:extLst>
          </p:cNvPr>
          <p:cNvSpPr/>
          <p:nvPr/>
        </p:nvSpPr>
        <p:spPr bwMode="gray">
          <a:xfrm>
            <a:off x="465131" y="3171152"/>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7" name="Oval 26">
            <a:extLst>
              <a:ext uri="{FF2B5EF4-FFF2-40B4-BE49-F238E27FC236}">
                <a16:creationId xmlns:a16="http://schemas.microsoft.com/office/drawing/2014/main" id="{21DEC59E-0F5A-53D9-8BED-B5EAE2597E7D}"/>
              </a:ext>
            </a:extLst>
          </p:cNvPr>
          <p:cNvSpPr/>
          <p:nvPr/>
        </p:nvSpPr>
        <p:spPr bwMode="gray">
          <a:xfrm>
            <a:off x="465131" y="386338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8" name="Oval 27">
            <a:extLst>
              <a:ext uri="{FF2B5EF4-FFF2-40B4-BE49-F238E27FC236}">
                <a16:creationId xmlns:a16="http://schemas.microsoft.com/office/drawing/2014/main" id="{CBC93E5B-786F-7FFD-1FB7-249CA00EBC94}"/>
              </a:ext>
            </a:extLst>
          </p:cNvPr>
          <p:cNvSpPr/>
          <p:nvPr/>
        </p:nvSpPr>
        <p:spPr bwMode="gray">
          <a:xfrm>
            <a:off x="465131" y="4480086"/>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29" name="Oval 28">
            <a:extLst>
              <a:ext uri="{FF2B5EF4-FFF2-40B4-BE49-F238E27FC236}">
                <a16:creationId xmlns:a16="http://schemas.microsoft.com/office/drawing/2014/main" id="{69E3591F-8425-0B69-FA96-21A39A9CA6A3}"/>
              </a:ext>
            </a:extLst>
          </p:cNvPr>
          <p:cNvSpPr/>
          <p:nvPr/>
        </p:nvSpPr>
        <p:spPr bwMode="gray">
          <a:xfrm>
            <a:off x="465131" y="5969457"/>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0" name="Rectangle 29">
            <a:extLst>
              <a:ext uri="{FF2B5EF4-FFF2-40B4-BE49-F238E27FC236}">
                <a16:creationId xmlns:a16="http://schemas.microsoft.com/office/drawing/2014/main" id="{66E8E965-AD0B-982C-2300-E72C36BD7A0E}"/>
              </a:ext>
            </a:extLst>
          </p:cNvPr>
          <p:cNvSpPr/>
          <p:nvPr/>
        </p:nvSpPr>
        <p:spPr bwMode="gray">
          <a:xfrm>
            <a:off x="395280" y="4301908"/>
            <a:ext cx="697566"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6</a:t>
            </a:r>
          </a:p>
        </p:txBody>
      </p:sp>
      <p:sp>
        <p:nvSpPr>
          <p:cNvPr id="31" name="Rectangle 30">
            <a:extLst>
              <a:ext uri="{FF2B5EF4-FFF2-40B4-BE49-F238E27FC236}">
                <a16:creationId xmlns:a16="http://schemas.microsoft.com/office/drawing/2014/main" id="{75B36C93-1B34-3913-18E1-21172D1E88C7}"/>
              </a:ext>
            </a:extLst>
          </p:cNvPr>
          <p:cNvSpPr/>
          <p:nvPr/>
        </p:nvSpPr>
        <p:spPr bwMode="gray">
          <a:xfrm>
            <a:off x="737613" y="5449902"/>
            <a:ext cx="4922260" cy="190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FER2 (RES2) Decree </a:t>
            </a:r>
          </a:p>
        </p:txBody>
      </p:sp>
      <p:sp>
        <p:nvSpPr>
          <p:cNvPr id="32" name="Rectangle 31">
            <a:extLst>
              <a:ext uri="{FF2B5EF4-FFF2-40B4-BE49-F238E27FC236}">
                <a16:creationId xmlns:a16="http://schemas.microsoft.com/office/drawing/2014/main" id="{492B17CB-8DDF-D91A-A8CB-B16E9E27A1C7}"/>
              </a:ext>
            </a:extLst>
          </p:cNvPr>
          <p:cNvSpPr/>
          <p:nvPr/>
        </p:nvSpPr>
        <p:spPr bwMode="gray">
          <a:xfrm>
            <a:off x="772717" y="4690400"/>
            <a:ext cx="4906821" cy="12300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FER1 (RES1) Decree</a:t>
            </a:r>
          </a:p>
        </p:txBody>
      </p:sp>
      <p:sp>
        <p:nvSpPr>
          <p:cNvPr id="33" name="Rectangle 32">
            <a:extLst>
              <a:ext uri="{FF2B5EF4-FFF2-40B4-BE49-F238E27FC236}">
                <a16:creationId xmlns:a16="http://schemas.microsoft.com/office/drawing/2014/main" id="{10B2EEC0-1785-E11D-825B-8AC337586FAB}"/>
              </a:ext>
            </a:extLst>
          </p:cNvPr>
          <p:cNvSpPr/>
          <p:nvPr/>
        </p:nvSpPr>
        <p:spPr bwMode="gray">
          <a:xfrm>
            <a:off x="775325" y="4057112"/>
            <a:ext cx="4888101" cy="17332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RES-E excl. PV Decree</a:t>
            </a:r>
          </a:p>
        </p:txBody>
      </p:sp>
      <p:sp>
        <p:nvSpPr>
          <p:cNvPr id="34" name="Rectangle 33">
            <a:extLst>
              <a:ext uri="{FF2B5EF4-FFF2-40B4-BE49-F238E27FC236}">
                <a16:creationId xmlns:a16="http://schemas.microsoft.com/office/drawing/2014/main" id="{FD09FB36-389E-F812-D042-7BFCAA5F3CFC}"/>
              </a:ext>
            </a:extLst>
          </p:cNvPr>
          <p:cNvSpPr/>
          <p:nvPr/>
        </p:nvSpPr>
        <p:spPr bwMode="gray">
          <a:xfrm>
            <a:off x="760360" y="3359574"/>
            <a:ext cx="4887043" cy="1747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Legislative Decree 28/2011</a:t>
            </a:r>
          </a:p>
        </p:txBody>
      </p:sp>
      <p:sp>
        <p:nvSpPr>
          <p:cNvPr id="35" name="Rectangle 34">
            <a:extLst>
              <a:ext uri="{FF2B5EF4-FFF2-40B4-BE49-F238E27FC236}">
                <a16:creationId xmlns:a16="http://schemas.microsoft.com/office/drawing/2014/main" id="{C5F4D4B6-848D-53B0-3E9F-3E0A9368B3AE}"/>
              </a:ext>
            </a:extLst>
          </p:cNvPr>
          <p:cNvSpPr/>
          <p:nvPr/>
        </p:nvSpPr>
        <p:spPr bwMode="gray">
          <a:xfrm>
            <a:off x="737613" y="2688716"/>
            <a:ext cx="4922260" cy="14584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Legislative Decree 22/2010</a:t>
            </a:r>
          </a:p>
        </p:txBody>
      </p:sp>
      <p:sp>
        <p:nvSpPr>
          <p:cNvPr id="36" name="Rectangle 35">
            <a:extLst>
              <a:ext uri="{FF2B5EF4-FFF2-40B4-BE49-F238E27FC236}">
                <a16:creationId xmlns:a16="http://schemas.microsoft.com/office/drawing/2014/main" id="{27873FAC-B14E-E54B-008F-4CD24B9D1C0F}"/>
              </a:ext>
            </a:extLst>
          </p:cNvPr>
          <p:cNvSpPr/>
          <p:nvPr/>
        </p:nvSpPr>
        <p:spPr bwMode="gray">
          <a:xfrm>
            <a:off x="775326" y="2236652"/>
            <a:ext cx="4891857" cy="1551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Bersani Decree</a:t>
            </a:r>
          </a:p>
        </p:txBody>
      </p:sp>
      <p:sp>
        <p:nvSpPr>
          <p:cNvPr id="37" name="Rectangle 36">
            <a:extLst>
              <a:ext uri="{FF2B5EF4-FFF2-40B4-BE49-F238E27FC236}">
                <a16:creationId xmlns:a16="http://schemas.microsoft.com/office/drawing/2014/main" id="{266E5F06-1848-A9C0-E85D-515E36DD9B8B}"/>
              </a:ext>
            </a:extLst>
          </p:cNvPr>
          <p:cNvSpPr/>
          <p:nvPr/>
        </p:nvSpPr>
        <p:spPr bwMode="gray">
          <a:xfrm>
            <a:off x="395280" y="4961475"/>
            <a:ext cx="442466" cy="13641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9</a:t>
            </a:r>
          </a:p>
        </p:txBody>
      </p:sp>
      <p:sp>
        <p:nvSpPr>
          <p:cNvPr id="38" name="Oval 37">
            <a:extLst>
              <a:ext uri="{FF2B5EF4-FFF2-40B4-BE49-F238E27FC236}">
                <a16:creationId xmlns:a16="http://schemas.microsoft.com/office/drawing/2014/main" id="{A18791FF-A2A1-DD33-421C-735C9C946AAE}"/>
              </a:ext>
            </a:extLst>
          </p:cNvPr>
          <p:cNvSpPr/>
          <p:nvPr/>
        </p:nvSpPr>
        <p:spPr bwMode="gray">
          <a:xfrm>
            <a:off x="465131" y="518765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9" name="Rectangle 38">
            <a:extLst>
              <a:ext uri="{FF2B5EF4-FFF2-40B4-BE49-F238E27FC236}">
                <a16:creationId xmlns:a16="http://schemas.microsoft.com/office/drawing/2014/main" id="{908BD7E9-326B-C019-F98D-7FF93D4D0777}"/>
              </a:ext>
            </a:extLst>
          </p:cNvPr>
          <p:cNvSpPr/>
          <p:nvPr/>
        </p:nvSpPr>
        <p:spPr bwMode="gray">
          <a:xfrm>
            <a:off x="799197" y="5038725"/>
            <a:ext cx="4366309" cy="3462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endParaRPr lang="en-US" sz="800" dirty="0">
              <a:solidFill>
                <a:schemeClr val="tx1"/>
              </a:solidFill>
            </a:endParaRPr>
          </a:p>
        </p:txBody>
      </p:sp>
      <p:sp>
        <p:nvSpPr>
          <p:cNvPr id="40" name="Rectangle 39">
            <a:extLst>
              <a:ext uri="{FF2B5EF4-FFF2-40B4-BE49-F238E27FC236}">
                <a16:creationId xmlns:a16="http://schemas.microsoft.com/office/drawing/2014/main" id="{D581B2B1-377F-A771-C8A9-A55DEBE2D285}"/>
              </a:ext>
            </a:extLst>
          </p:cNvPr>
          <p:cNvSpPr/>
          <p:nvPr/>
        </p:nvSpPr>
        <p:spPr bwMode="gray">
          <a:xfrm>
            <a:off x="760360" y="4263700"/>
            <a:ext cx="4906821" cy="393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Creates core incentives, including bonuses for low-impact/fully reinjected geothermal.</a:t>
            </a:r>
          </a:p>
        </p:txBody>
      </p:sp>
      <p:sp>
        <p:nvSpPr>
          <p:cNvPr id="41" name="Rectangle 40">
            <a:extLst>
              <a:ext uri="{FF2B5EF4-FFF2-40B4-BE49-F238E27FC236}">
                <a16:creationId xmlns:a16="http://schemas.microsoft.com/office/drawing/2014/main" id="{E2485ED4-7298-5540-DEDB-117ABA4FFC04}"/>
              </a:ext>
            </a:extLst>
          </p:cNvPr>
          <p:cNvSpPr/>
          <p:nvPr/>
        </p:nvSpPr>
        <p:spPr bwMode="gray">
          <a:xfrm>
            <a:off x="778354" y="3567567"/>
            <a:ext cx="4881522" cy="4562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900" dirty="0">
                <a:solidFill>
                  <a:schemeClr val="tx1"/>
                </a:solidFill>
              </a:rPr>
              <a:t>Implements EU RES rules and Autorizzazione Unica streamlined permitting.</a:t>
            </a:r>
          </a:p>
        </p:txBody>
      </p:sp>
      <p:sp>
        <p:nvSpPr>
          <p:cNvPr id="44" name="Rectangle 43">
            <a:extLst>
              <a:ext uri="{FF2B5EF4-FFF2-40B4-BE49-F238E27FC236}">
                <a16:creationId xmlns:a16="http://schemas.microsoft.com/office/drawing/2014/main" id="{EDAACB3B-A9FE-93EC-13E9-9FE395064A20}"/>
              </a:ext>
            </a:extLst>
          </p:cNvPr>
          <p:cNvSpPr/>
          <p:nvPr/>
        </p:nvSpPr>
        <p:spPr bwMode="gray">
          <a:xfrm>
            <a:off x="760360" y="4846669"/>
            <a:ext cx="4876003" cy="5699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900" dirty="0">
                <a:solidFill>
                  <a:schemeClr val="tx1"/>
                </a:solidFill>
              </a:rPr>
              <a:t>To boost renewable adoption, provides incentives to specific technologies (PV, onshore </a:t>
            </a:r>
            <a:br>
              <a:rPr lang="en-US" sz="900" dirty="0">
                <a:solidFill>
                  <a:schemeClr val="tx1"/>
                </a:solidFill>
              </a:rPr>
            </a:br>
            <a:r>
              <a:rPr lang="en-US" sz="900" dirty="0">
                <a:solidFill>
                  <a:schemeClr val="tx1"/>
                </a:solidFill>
              </a:rPr>
              <a:t>wind, hydro, and residual gas) with a total budget of about €5.8B. Criticized for excluding geothermal, which stalled new developments until the FER2 scheme was introduced.</a:t>
            </a:r>
          </a:p>
        </p:txBody>
      </p:sp>
      <p:graphicFrame>
        <p:nvGraphicFramePr>
          <p:cNvPr id="157" name="Chart 156">
            <a:extLst>
              <a:ext uri="{FF2B5EF4-FFF2-40B4-BE49-F238E27FC236}">
                <a16:creationId xmlns:a16="http://schemas.microsoft.com/office/drawing/2014/main" id="{31652967-5553-069E-27F6-8C7238D07325}"/>
              </a:ext>
            </a:extLst>
          </p:cNvPr>
          <p:cNvGraphicFramePr/>
          <p:nvPr>
            <p:custDataLst>
              <p:tags r:id="rId2"/>
            </p:custDataLst>
            <p:extLst>
              <p:ext uri="{D42A27DB-BD31-4B8C-83A1-F6EECF244321}">
                <p14:modId xmlns:p14="http://schemas.microsoft.com/office/powerpoint/2010/main" val="1481644145"/>
              </p:ext>
            </p:extLst>
          </p:nvPr>
        </p:nvGraphicFramePr>
        <p:xfrm>
          <a:off x="8455025" y="2940050"/>
          <a:ext cx="3571875" cy="3049588"/>
        </p:xfrm>
        <a:graphic>
          <a:graphicData uri="http://schemas.openxmlformats.org/drawingml/2006/chart">
            <c:chart xmlns:c="http://schemas.openxmlformats.org/drawingml/2006/chart" xmlns:r="http://schemas.openxmlformats.org/officeDocument/2006/relationships" r:id="rId40"/>
          </a:graphicData>
        </a:graphic>
      </p:graphicFrame>
      <p:cxnSp>
        <p:nvCxnSpPr>
          <p:cNvPr id="46" name="Straight Connector 45">
            <a:extLst>
              <a:ext uri="{FF2B5EF4-FFF2-40B4-BE49-F238E27FC236}">
                <a16:creationId xmlns:a16="http://schemas.microsoft.com/office/drawing/2014/main" id="{901998F0-72B3-AA5F-ECF7-D83173AF49D7}"/>
              </a:ext>
            </a:extLst>
          </p:cNvPr>
          <p:cNvCxnSpPr/>
          <p:nvPr>
            <p:custDataLst>
              <p:tags r:id="rId3"/>
            </p:custDataLst>
          </p:nvPr>
        </p:nvCxnSpPr>
        <p:spPr bwMode="gray">
          <a:xfrm>
            <a:off x="11645900" y="3022600"/>
            <a:ext cx="171450" cy="0"/>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E1FDF37E-9A21-7E0E-1F79-59EC80FE4DE6}"/>
              </a:ext>
            </a:extLst>
          </p:cNvPr>
          <p:cNvCxnSpPr/>
          <p:nvPr>
            <p:custDataLst>
              <p:tags r:id="rId4"/>
            </p:custDataLst>
          </p:nvPr>
        </p:nvCxnSpPr>
        <p:spPr bwMode="gray">
          <a:xfrm>
            <a:off x="11645900" y="3022600"/>
            <a:ext cx="0" cy="2879725"/>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9944279-04FF-16E4-DDD2-743A7B773E3B}"/>
              </a:ext>
            </a:extLst>
          </p:cNvPr>
          <p:cNvCxnSpPr/>
          <p:nvPr>
            <p:custDataLst>
              <p:tags r:id="rId5"/>
            </p:custDataLst>
          </p:nvPr>
        </p:nvCxnSpPr>
        <p:spPr bwMode="gray">
          <a:xfrm>
            <a:off x="11817350" y="3022600"/>
            <a:ext cx="0" cy="2879725"/>
          </a:xfrm>
          <a:prstGeom prst="line">
            <a:avLst/>
          </a:prstGeom>
          <a:ln w="952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31B647C-363F-1016-B933-5517350616BB}"/>
              </a:ext>
            </a:extLst>
          </p:cNvPr>
          <p:cNvCxnSpPr/>
          <p:nvPr>
            <p:custDataLst>
              <p:tags r:id="rId6"/>
            </p:custDataLst>
          </p:nvPr>
        </p:nvCxnSpPr>
        <p:spPr bwMode="gray">
          <a:xfrm flipV="1">
            <a:off x="8750300" y="3468688"/>
            <a:ext cx="425450" cy="233363"/>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E1B0677C-9A7F-891C-8C73-8A4365732FE3}"/>
              </a:ext>
            </a:extLst>
          </p:cNvPr>
          <p:cNvCxnSpPr/>
          <p:nvPr>
            <p:custDataLst>
              <p:tags r:id="rId7"/>
            </p:custDataLst>
          </p:nvPr>
        </p:nvCxnSpPr>
        <p:spPr bwMode="gray">
          <a:xfrm flipV="1">
            <a:off x="9175750" y="3303588"/>
            <a:ext cx="427038" cy="165100"/>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21DDBC5-B0E0-056B-CD18-93362F342E2E}"/>
              </a:ext>
            </a:extLst>
          </p:cNvPr>
          <p:cNvCxnSpPr/>
          <p:nvPr>
            <p:custDataLst>
              <p:tags r:id="rId8"/>
            </p:custDataLst>
          </p:nvPr>
        </p:nvCxnSpPr>
        <p:spPr bwMode="gray">
          <a:xfrm flipV="1">
            <a:off x="9602788" y="3189288"/>
            <a:ext cx="425450" cy="114300"/>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568D391D-4389-3CE6-43F6-B700E6FEC512}"/>
              </a:ext>
            </a:extLst>
          </p:cNvPr>
          <p:cNvCxnSpPr/>
          <p:nvPr>
            <p:custDataLst>
              <p:tags r:id="rId9"/>
            </p:custDataLst>
          </p:nvPr>
        </p:nvCxnSpPr>
        <p:spPr bwMode="gray">
          <a:xfrm flipV="1">
            <a:off x="10028238" y="3178175"/>
            <a:ext cx="425450" cy="11113"/>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56B98F0-F79B-2EAA-9F49-4661FAF103EC}"/>
              </a:ext>
            </a:extLst>
          </p:cNvPr>
          <p:cNvCxnSpPr>
            <a:cxnSpLocks/>
          </p:cNvCxnSpPr>
          <p:nvPr>
            <p:custDataLst>
              <p:tags r:id="rId10"/>
            </p:custDataLst>
          </p:nvPr>
        </p:nvCxnSpPr>
        <p:spPr bwMode="gray">
          <a:xfrm>
            <a:off x="10453688" y="3178175"/>
            <a:ext cx="425450" cy="0"/>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0A5F995-39F7-7D91-351A-AE8505EC2B46}"/>
              </a:ext>
            </a:extLst>
          </p:cNvPr>
          <p:cNvCxnSpPr>
            <a:cxnSpLocks/>
          </p:cNvCxnSpPr>
          <p:nvPr>
            <p:custDataLst>
              <p:tags r:id="rId11"/>
            </p:custDataLst>
          </p:nvPr>
        </p:nvCxnSpPr>
        <p:spPr bwMode="gray">
          <a:xfrm flipV="1">
            <a:off x="10879138" y="2519363"/>
            <a:ext cx="852488" cy="658813"/>
          </a:xfrm>
          <a:prstGeom prst="line">
            <a:avLst/>
          </a:prstGeom>
          <a:ln w="28575" cap="flat" cmpd="sng" algn="ctr">
            <a:solidFill>
              <a:schemeClr val="folHlink"/>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 name="Text Placeholder 10">
            <a:extLst>
              <a:ext uri="{FF2B5EF4-FFF2-40B4-BE49-F238E27FC236}">
                <a16:creationId xmlns:a16="http://schemas.microsoft.com/office/drawing/2014/main" id="{F7691D1F-E04C-857E-ECAC-25C19CF30F31}"/>
              </a:ext>
            </a:extLst>
          </p:cNvPr>
          <p:cNvSpPr txBox="1">
            <a:spLocks/>
          </p:cNvSpPr>
          <p:nvPr>
            <p:custDataLst>
              <p:tags r:id="rId12"/>
            </p:custDataLst>
          </p:nvPr>
        </p:nvSpPr>
        <p:spPr bwMode="auto">
          <a:xfrm>
            <a:off x="8604250"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C29139-5905-4900-8077-6ABF63CC1287}" type="datetime'''''''''''2''''''''''0''''''''''''''''''0''0'''''''''''''''">
              <a:rPr lang="en-US" altLang="en-US" sz="1000" smtClean="0"/>
              <a:pPr marL="0" indent="0" algn="ctr">
                <a:spcBef>
                  <a:spcPct val="0"/>
                </a:spcBef>
                <a:spcAft>
                  <a:spcPct val="0"/>
                </a:spcAft>
                <a:buNone/>
              </a:pPr>
              <a:t>2000</a:t>
            </a:fld>
            <a:endParaRPr lang="en-US" sz="1000" dirty="0"/>
          </a:p>
        </p:txBody>
      </p:sp>
      <p:sp>
        <p:nvSpPr>
          <p:cNvPr id="56" name="Text Placeholder 10">
            <a:extLst>
              <a:ext uri="{FF2B5EF4-FFF2-40B4-BE49-F238E27FC236}">
                <a16:creationId xmlns:a16="http://schemas.microsoft.com/office/drawing/2014/main" id="{21108830-B0E5-DDED-A281-1272E66B5208}"/>
              </a:ext>
            </a:extLst>
          </p:cNvPr>
          <p:cNvSpPr txBox="1">
            <a:spLocks/>
          </p:cNvSpPr>
          <p:nvPr>
            <p:custDataLst>
              <p:tags r:id="rId13"/>
            </p:custDataLst>
          </p:nvPr>
        </p:nvSpPr>
        <p:spPr bwMode="auto">
          <a:xfrm>
            <a:off x="11585575"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0A0AF1-AABB-4AD5-A9A5-FB9E47B88E72}" type="datetime'2''''0''''''''''''''''''''''''''''''''3''''''0'''''''''''''">
              <a:rPr lang="en-US" altLang="en-US" sz="1000" smtClean="0"/>
              <a:pPr marL="0" indent="0" algn="ctr">
                <a:spcBef>
                  <a:spcPct val="0"/>
                </a:spcBef>
                <a:spcAft>
                  <a:spcPct val="0"/>
                </a:spcAft>
                <a:buNone/>
              </a:pPr>
              <a:t>2030</a:t>
            </a:fld>
            <a:endParaRPr lang="en-US" sz="1000" dirty="0"/>
          </a:p>
        </p:txBody>
      </p:sp>
      <p:sp>
        <p:nvSpPr>
          <p:cNvPr id="57" name="Text Placeholder 10">
            <a:extLst>
              <a:ext uri="{FF2B5EF4-FFF2-40B4-BE49-F238E27FC236}">
                <a16:creationId xmlns:a16="http://schemas.microsoft.com/office/drawing/2014/main" id="{6955C70E-342F-ED70-00D4-8AACDBF0D4A3}"/>
              </a:ext>
            </a:extLst>
          </p:cNvPr>
          <p:cNvSpPr txBox="1">
            <a:spLocks/>
          </p:cNvSpPr>
          <p:nvPr>
            <p:custDataLst>
              <p:tags r:id="rId14"/>
            </p:custDataLst>
          </p:nvPr>
        </p:nvSpPr>
        <p:spPr bwMode="auto">
          <a:xfrm>
            <a:off x="11236325" y="5949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a:t>
            </a:r>
            <a:endParaRPr lang="en-US" sz="1000" dirty="0"/>
          </a:p>
        </p:txBody>
      </p:sp>
      <p:sp>
        <p:nvSpPr>
          <p:cNvPr id="58" name="Text Placeholder 10">
            <a:extLst>
              <a:ext uri="{FF2B5EF4-FFF2-40B4-BE49-F238E27FC236}">
                <a16:creationId xmlns:a16="http://schemas.microsoft.com/office/drawing/2014/main" id="{4BC2DEC0-A587-AB9E-4D60-FB931EC85B96}"/>
              </a:ext>
            </a:extLst>
          </p:cNvPr>
          <p:cNvSpPr txBox="1">
            <a:spLocks/>
          </p:cNvSpPr>
          <p:nvPr>
            <p:custDataLst>
              <p:tags r:id="rId15"/>
            </p:custDataLst>
          </p:nvPr>
        </p:nvSpPr>
        <p:spPr bwMode="auto">
          <a:xfrm>
            <a:off x="10733088"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982183-9F6E-4FD9-8387-ED548B26D2F5}" type="datetime'''''20''''''''''''''''''''2''''''''''''''''4'''''''''">
              <a:rPr lang="en-US" altLang="en-US" sz="1000" smtClean="0"/>
              <a:pPr marL="0" indent="0" algn="ctr">
                <a:spcBef>
                  <a:spcPct val="0"/>
                </a:spcBef>
                <a:spcAft>
                  <a:spcPct val="0"/>
                </a:spcAft>
                <a:buNone/>
              </a:pPr>
              <a:t>2024</a:t>
            </a:fld>
            <a:endParaRPr lang="en-US" sz="1000" dirty="0"/>
          </a:p>
        </p:txBody>
      </p:sp>
      <p:sp>
        <p:nvSpPr>
          <p:cNvPr id="59" name="Text Placeholder 10">
            <a:extLst>
              <a:ext uri="{FF2B5EF4-FFF2-40B4-BE49-F238E27FC236}">
                <a16:creationId xmlns:a16="http://schemas.microsoft.com/office/drawing/2014/main" id="{85978C2A-E29E-9556-26B8-B4A845BDE43F}"/>
              </a:ext>
            </a:extLst>
          </p:cNvPr>
          <p:cNvSpPr txBox="1">
            <a:spLocks/>
          </p:cNvSpPr>
          <p:nvPr>
            <p:custDataLst>
              <p:tags r:id="rId16"/>
            </p:custDataLst>
          </p:nvPr>
        </p:nvSpPr>
        <p:spPr bwMode="auto">
          <a:xfrm>
            <a:off x="10307638"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19C8B9-4D77-48D6-8BE7-EBA1F6CA6C36}" type="datetime'2''''''0''''''''''''''''2''''''0'''''''''''''''''''''''''''">
              <a:rPr lang="en-US" altLang="en-US" sz="1000" smtClean="0"/>
              <a:pPr marL="0" indent="0" algn="ctr">
                <a:spcBef>
                  <a:spcPct val="0"/>
                </a:spcBef>
                <a:spcAft>
                  <a:spcPct val="0"/>
                </a:spcAft>
                <a:buNone/>
              </a:pPr>
              <a:t>2020</a:t>
            </a:fld>
            <a:endParaRPr lang="en-US" sz="1000" dirty="0"/>
          </a:p>
        </p:txBody>
      </p:sp>
      <p:sp>
        <p:nvSpPr>
          <p:cNvPr id="60" name="Text Placeholder 10">
            <a:extLst>
              <a:ext uri="{FF2B5EF4-FFF2-40B4-BE49-F238E27FC236}">
                <a16:creationId xmlns:a16="http://schemas.microsoft.com/office/drawing/2014/main" id="{C9241071-001A-1BB0-52E2-6D2046EC09AD}"/>
              </a:ext>
            </a:extLst>
          </p:cNvPr>
          <p:cNvSpPr txBox="1">
            <a:spLocks/>
          </p:cNvSpPr>
          <p:nvPr>
            <p:custDataLst>
              <p:tags r:id="rId17"/>
            </p:custDataLst>
          </p:nvPr>
        </p:nvSpPr>
        <p:spPr bwMode="auto">
          <a:xfrm>
            <a:off x="9882188"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35FDFD-173C-48E7-BF36-019E1866E57C}" type="datetime'''''''''''''''''''''''''''''2''''''0''''''''''''''''''1''5'">
              <a:rPr lang="en-US" altLang="en-US" sz="1000" smtClean="0"/>
              <a:pPr marL="0" indent="0" algn="ctr">
                <a:spcBef>
                  <a:spcPct val="0"/>
                </a:spcBef>
                <a:spcAft>
                  <a:spcPct val="0"/>
                </a:spcAft>
                <a:buNone/>
              </a:pPr>
              <a:t>2015</a:t>
            </a:fld>
            <a:endParaRPr lang="en-US" sz="1000" dirty="0"/>
          </a:p>
        </p:txBody>
      </p:sp>
      <p:sp>
        <p:nvSpPr>
          <p:cNvPr id="61" name="Text Placeholder 10">
            <a:extLst>
              <a:ext uri="{FF2B5EF4-FFF2-40B4-BE49-F238E27FC236}">
                <a16:creationId xmlns:a16="http://schemas.microsoft.com/office/drawing/2014/main" id="{B0A6A0E6-197D-E783-3125-AB3DBF3CB21A}"/>
              </a:ext>
            </a:extLst>
          </p:cNvPr>
          <p:cNvSpPr txBox="1">
            <a:spLocks/>
          </p:cNvSpPr>
          <p:nvPr>
            <p:custDataLst>
              <p:tags r:id="rId18"/>
            </p:custDataLst>
          </p:nvPr>
        </p:nvSpPr>
        <p:spPr bwMode="auto">
          <a:xfrm>
            <a:off x="9456738"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BFF3F-B60B-4DED-8869-CB5CC19C65FB}" type="datetime'''''''''''''''''''''2''''0''''1''''0'''''''''''''''''''''">
              <a:rPr lang="en-US" altLang="en-US" sz="1000" smtClean="0"/>
              <a:pPr marL="0" indent="0" algn="ctr">
                <a:spcBef>
                  <a:spcPct val="0"/>
                </a:spcBef>
                <a:spcAft>
                  <a:spcPct val="0"/>
                </a:spcAft>
                <a:buNone/>
              </a:pPr>
              <a:t>2010</a:t>
            </a:fld>
            <a:endParaRPr lang="en-US" sz="1000" dirty="0"/>
          </a:p>
        </p:txBody>
      </p:sp>
      <p:sp>
        <p:nvSpPr>
          <p:cNvPr id="62" name="Text Placeholder 10">
            <a:extLst>
              <a:ext uri="{FF2B5EF4-FFF2-40B4-BE49-F238E27FC236}">
                <a16:creationId xmlns:a16="http://schemas.microsoft.com/office/drawing/2014/main" id="{967894D3-93AA-893A-97F9-BC0F230F446F}"/>
              </a:ext>
            </a:extLst>
          </p:cNvPr>
          <p:cNvSpPr txBox="1">
            <a:spLocks/>
          </p:cNvSpPr>
          <p:nvPr>
            <p:custDataLst>
              <p:tags r:id="rId19"/>
            </p:custDataLst>
          </p:nvPr>
        </p:nvSpPr>
        <p:spPr bwMode="auto">
          <a:xfrm>
            <a:off x="9029700" y="5949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025988-975A-4344-B5FC-9D56F459BEE0}" type="datetime'''2''''''''0''0''''''''''''''''''''5'''''''''''''''">
              <a:rPr lang="en-US" altLang="en-US" sz="1000" smtClean="0"/>
              <a:pPr marL="0" indent="0" algn="ctr">
                <a:spcBef>
                  <a:spcPct val="0"/>
                </a:spcBef>
                <a:spcAft>
                  <a:spcPct val="0"/>
                </a:spcAft>
                <a:buNone/>
              </a:pPr>
              <a:t>2005</a:t>
            </a:fld>
            <a:endParaRPr lang="en-US" sz="1000" dirty="0"/>
          </a:p>
        </p:txBody>
      </p:sp>
      <p:sp>
        <p:nvSpPr>
          <p:cNvPr id="63" name="Text Placeholder 10">
            <a:extLst>
              <a:ext uri="{FF2B5EF4-FFF2-40B4-BE49-F238E27FC236}">
                <a16:creationId xmlns:a16="http://schemas.microsoft.com/office/drawing/2014/main" id="{6D4A14FB-7091-EA63-B2C3-C61B33CD5141}"/>
              </a:ext>
            </a:extLst>
          </p:cNvPr>
          <p:cNvSpPr txBox="1">
            <a:spLocks/>
          </p:cNvSpPr>
          <p:nvPr>
            <p:custDataLst>
              <p:tags r:id="rId20"/>
            </p:custDataLst>
          </p:nvPr>
        </p:nvSpPr>
        <p:spPr bwMode="gray">
          <a:xfrm>
            <a:off x="8610600" y="4027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C41345-1FAA-4325-ABB5-9DCFC353C79A}" type="datetime'''''''''''''0,''''''''''''''''''''5''''''''9'''''">
              <a:rPr lang="en-US" altLang="en-US" sz="1000" smtClean="0"/>
              <a:pPr marL="0" indent="0" algn="ctr">
                <a:spcBef>
                  <a:spcPct val="0"/>
                </a:spcBef>
                <a:spcAft>
                  <a:spcPct val="0"/>
                </a:spcAft>
                <a:buNone/>
              </a:pPr>
              <a:t>0,59</a:t>
            </a:fld>
            <a:endParaRPr lang="en-US" sz="1000" dirty="0"/>
          </a:p>
        </p:txBody>
      </p:sp>
      <p:sp>
        <p:nvSpPr>
          <p:cNvPr id="64" name="Text Placeholder 10">
            <a:extLst>
              <a:ext uri="{FF2B5EF4-FFF2-40B4-BE49-F238E27FC236}">
                <a16:creationId xmlns:a16="http://schemas.microsoft.com/office/drawing/2014/main" id="{783B00EA-BE34-F22E-8548-003E34EEB9FD}"/>
              </a:ext>
            </a:extLst>
          </p:cNvPr>
          <p:cNvSpPr txBox="1">
            <a:spLocks/>
          </p:cNvSpPr>
          <p:nvPr>
            <p:custDataLst>
              <p:tags r:id="rId21"/>
            </p:custDataLst>
          </p:nvPr>
        </p:nvSpPr>
        <p:spPr bwMode="gray">
          <a:xfrm>
            <a:off x="9036050" y="3794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39CE30-FE19-4A87-A34B-23DED79532C5}" type="datetime'''''''0'''''''''''''',''6''''''''''''''''''''''''''''7'">
              <a:rPr lang="en-US" altLang="en-US" sz="1000" smtClean="0"/>
              <a:pPr marL="0" indent="0" algn="ctr">
                <a:spcBef>
                  <a:spcPct val="0"/>
                </a:spcBef>
                <a:spcAft>
                  <a:spcPct val="0"/>
                </a:spcAft>
                <a:buNone/>
              </a:pPr>
              <a:t>0,67</a:t>
            </a:fld>
            <a:endParaRPr lang="en-US" sz="1000" dirty="0"/>
          </a:p>
        </p:txBody>
      </p:sp>
      <p:sp>
        <p:nvSpPr>
          <p:cNvPr id="65" name="Text Placeholder 10">
            <a:extLst>
              <a:ext uri="{FF2B5EF4-FFF2-40B4-BE49-F238E27FC236}">
                <a16:creationId xmlns:a16="http://schemas.microsoft.com/office/drawing/2014/main" id="{4393F929-3412-5E8E-2082-9EFD0CC62403}"/>
              </a:ext>
            </a:extLst>
          </p:cNvPr>
          <p:cNvSpPr txBox="1">
            <a:spLocks/>
          </p:cNvSpPr>
          <p:nvPr>
            <p:custDataLst>
              <p:tags r:id="rId22"/>
            </p:custDataLst>
          </p:nvPr>
        </p:nvSpPr>
        <p:spPr bwMode="gray">
          <a:xfrm>
            <a:off x="9463088" y="3629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FDB95F-759A-48C0-B8FB-D929033823BB}" type="datetime'''''0'''',''7''''''''''''''''''3'''''''">
              <a:rPr lang="en-US" altLang="en-US" sz="1000" smtClean="0"/>
              <a:pPr marL="0" indent="0" algn="ctr">
                <a:spcBef>
                  <a:spcPct val="0"/>
                </a:spcBef>
                <a:spcAft>
                  <a:spcPct val="0"/>
                </a:spcAft>
                <a:buNone/>
              </a:pPr>
              <a:t>0,73</a:t>
            </a:fld>
            <a:endParaRPr lang="en-US" sz="1000" dirty="0"/>
          </a:p>
        </p:txBody>
      </p:sp>
      <p:sp>
        <p:nvSpPr>
          <p:cNvPr id="66" name="Text Placeholder 10">
            <a:extLst>
              <a:ext uri="{FF2B5EF4-FFF2-40B4-BE49-F238E27FC236}">
                <a16:creationId xmlns:a16="http://schemas.microsoft.com/office/drawing/2014/main" id="{0DFFF4B8-EA22-562C-CDB1-8C1E2130C5C1}"/>
              </a:ext>
            </a:extLst>
          </p:cNvPr>
          <p:cNvSpPr txBox="1">
            <a:spLocks/>
          </p:cNvSpPr>
          <p:nvPr>
            <p:custDataLst>
              <p:tags r:id="rId23"/>
            </p:custDataLst>
          </p:nvPr>
        </p:nvSpPr>
        <p:spPr bwMode="gray">
          <a:xfrm>
            <a:off x="9888538" y="3514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CEAB2D-D775-485A-B28E-00757C5D941A}" type="datetime'''''''''''''0,''7''''''''''''''7'''''''''''''">
              <a:rPr lang="en-US" altLang="en-US" sz="1000" smtClean="0"/>
              <a:pPr marL="0" indent="0" algn="ctr">
                <a:spcBef>
                  <a:spcPct val="0"/>
                </a:spcBef>
                <a:spcAft>
                  <a:spcPct val="0"/>
                </a:spcAft>
                <a:buNone/>
              </a:pPr>
              <a:t>0,77</a:t>
            </a:fld>
            <a:endParaRPr lang="en-US" sz="1000" dirty="0"/>
          </a:p>
        </p:txBody>
      </p:sp>
      <p:sp>
        <p:nvSpPr>
          <p:cNvPr id="67" name="Text Placeholder 10">
            <a:extLst>
              <a:ext uri="{FF2B5EF4-FFF2-40B4-BE49-F238E27FC236}">
                <a16:creationId xmlns:a16="http://schemas.microsoft.com/office/drawing/2014/main" id="{B43DBF51-C415-2F45-6A29-934328D798EF}"/>
              </a:ext>
            </a:extLst>
          </p:cNvPr>
          <p:cNvSpPr txBox="1">
            <a:spLocks/>
          </p:cNvSpPr>
          <p:nvPr>
            <p:custDataLst>
              <p:tags r:id="rId24"/>
            </p:custDataLst>
          </p:nvPr>
        </p:nvSpPr>
        <p:spPr bwMode="gray">
          <a:xfrm>
            <a:off x="10313988" y="3503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157E74-FC5C-43C7-AD00-F46F61276333}" type="datetime'''''0'''''''',''''''''77'''''''''''''">
              <a:rPr lang="en-US" altLang="en-US" sz="1000" smtClean="0"/>
              <a:pPr marL="0" indent="0" algn="ctr">
                <a:spcBef>
                  <a:spcPct val="0"/>
                </a:spcBef>
                <a:spcAft>
                  <a:spcPct val="0"/>
                </a:spcAft>
                <a:buNone/>
              </a:pPr>
              <a:t>0,77</a:t>
            </a:fld>
            <a:endParaRPr lang="en-US" sz="1000" dirty="0"/>
          </a:p>
        </p:txBody>
      </p:sp>
      <p:sp>
        <p:nvSpPr>
          <p:cNvPr id="68" name="Text Placeholder 10">
            <a:extLst>
              <a:ext uri="{FF2B5EF4-FFF2-40B4-BE49-F238E27FC236}">
                <a16:creationId xmlns:a16="http://schemas.microsoft.com/office/drawing/2014/main" id="{B8FEFC97-0B8C-721C-DD74-77946E37076B}"/>
              </a:ext>
            </a:extLst>
          </p:cNvPr>
          <p:cNvSpPr txBox="1">
            <a:spLocks/>
          </p:cNvSpPr>
          <p:nvPr>
            <p:custDataLst>
              <p:tags r:id="rId25"/>
            </p:custDataLst>
          </p:nvPr>
        </p:nvSpPr>
        <p:spPr bwMode="gray">
          <a:xfrm>
            <a:off x="10739438" y="3503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2BE11B-35EC-4739-AFA2-757604CB7290}" type="datetime'''''0'',''7''''''''''''''''''''7'''''''''''''''''''''''''''">
              <a:rPr lang="en-US" altLang="en-US" sz="1000" smtClean="0"/>
              <a:pPr marL="0" indent="0" algn="ctr">
                <a:spcBef>
                  <a:spcPct val="0"/>
                </a:spcBef>
                <a:spcAft>
                  <a:spcPct val="0"/>
                </a:spcAft>
                <a:buNone/>
              </a:pPr>
              <a:t>0,77</a:t>
            </a:fld>
            <a:endParaRPr lang="en-US" sz="1000" dirty="0"/>
          </a:p>
        </p:txBody>
      </p:sp>
      <p:sp>
        <p:nvSpPr>
          <p:cNvPr id="69" name="Text Placeholder 10">
            <a:extLst>
              <a:ext uri="{FF2B5EF4-FFF2-40B4-BE49-F238E27FC236}">
                <a16:creationId xmlns:a16="http://schemas.microsoft.com/office/drawing/2014/main" id="{DD3A2D69-0E27-F273-72E6-915F785A3748}"/>
              </a:ext>
            </a:extLst>
          </p:cNvPr>
          <p:cNvSpPr txBox="1">
            <a:spLocks/>
          </p:cNvSpPr>
          <p:nvPr>
            <p:custDataLst>
              <p:tags r:id="rId26"/>
            </p:custDataLst>
          </p:nvPr>
        </p:nvSpPr>
        <p:spPr bwMode="gray">
          <a:xfrm>
            <a:off x="11591925" y="2844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7CF941-01F8-4C0D-A36C-724118E8C1DE}" type="datetime'''''''1,''0''''''''''''''''''''''0'''''''''''''''''">
              <a:rPr lang="en-US" altLang="en-US" sz="1000" smtClean="0"/>
              <a:pPr marL="0" indent="0" algn="ctr">
                <a:spcBef>
                  <a:spcPct val="0"/>
                </a:spcBef>
                <a:spcAft>
                  <a:spcPct val="0"/>
                </a:spcAft>
                <a:buNone/>
              </a:pPr>
              <a:t>1,00</a:t>
            </a:fld>
            <a:endParaRPr lang="en-US" sz="1000" dirty="0"/>
          </a:p>
        </p:txBody>
      </p:sp>
      <p:sp>
        <p:nvSpPr>
          <p:cNvPr id="70" name="Text Placeholder 10">
            <a:extLst>
              <a:ext uri="{FF2B5EF4-FFF2-40B4-BE49-F238E27FC236}">
                <a16:creationId xmlns:a16="http://schemas.microsoft.com/office/drawing/2014/main" id="{40A4DCD2-4A70-B6C8-8745-A053A2DE98D3}"/>
              </a:ext>
            </a:extLst>
          </p:cNvPr>
          <p:cNvSpPr txBox="1">
            <a:spLocks/>
          </p:cNvSpPr>
          <p:nvPr>
            <p:custDataLst>
              <p:tags r:id="rId27"/>
            </p:custDataLst>
          </p:nvPr>
        </p:nvSpPr>
        <p:spPr bwMode="auto">
          <a:xfrm>
            <a:off x="8780463" y="3476625"/>
            <a:ext cx="365125"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6FF4FD-B67B-42BB-BD91-1A5C95DBC604}" type="datetime'''''''''''''''''''''''''+''3''''''''''%'''''''">
              <a:rPr lang="en-US" altLang="en-US" sz="1000" smtClean="0">
                <a:effectLst/>
              </a:rPr>
              <a:pPr marL="0" indent="0" algn="ctr">
                <a:spcBef>
                  <a:spcPct val="0"/>
                </a:spcBef>
                <a:spcAft>
                  <a:spcPct val="0"/>
                </a:spcAft>
                <a:buNone/>
              </a:pPr>
              <a:t>+3%</a:t>
            </a:fld>
            <a:endParaRPr lang="en-US" sz="1000" dirty="0"/>
          </a:p>
        </p:txBody>
      </p:sp>
      <p:sp>
        <p:nvSpPr>
          <p:cNvPr id="71" name="Text Placeholder 10">
            <a:extLst>
              <a:ext uri="{FF2B5EF4-FFF2-40B4-BE49-F238E27FC236}">
                <a16:creationId xmlns:a16="http://schemas.microsoft.com/office/drawing/2014/main" id="{F76AE1E1-2704-8AEE-8AA6-4A3A0C6B553E}"/>
              </a:ext>
            </a:extLst>
          </p:cNvPr>
          <p:cNvSpPr txBox="1">
            <a:spLocks/>
          </p:cNvSpPr>
          <p:nvPr>
            <p:custDataLst>
              <p:tags r:id="rId28"/>
            </p:custDataLst>
          </p:nvPr>
        </p:nvSpPr>
        <p:spPr bwMode="auto">
          <a:xfrm>
            <a:off x="9205913" y="3278188"/>
            <a:ext cx="365125"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C642DB-F5DC-4523-B898-5264CBDDFAB1}" type="datetime'''''''''+''2''''%'''''''''''''''''''''''''''''''">
              <a:rPr lang="en-US" altLang="en-US" sz="1000" smtClean="0">
                <a:effectLst/>
              </a:rPr>
              <a:pPr marL="0" indent="0" algn="ctr">
                <a:spcBef>
                  <a:spcPct val="0"/>
                </a:spcBef>
                <a:spcAft>
                  <a:spcPct val="0"/>
                </a:spcAft>
                <a:buNone/>
              </a:pPr>
              <a:t>+2%</a:t>
            </a:fld>
            <a:endParaRPr lang="en-US" sz="1000" dirty="0"/>
          </a:p>
        </p:txBody>
      </p:sp>
      <p:sp>
        <p:nvSpPr>
          <p:cNvPr id="72" name="Text Placeholder 10">
            <a:extLst>
              <a:ext uri="{FF2B5EF4-FFF2-40B4-BE49-F238E27FC236}">
                <a16:creationId xmlns:a16="http://schemas.microsoft.com/office/drawing/2014/main" id="{76934B65-93D0-CF23-8CA6-F7036899A869}"/>
              </a:ext>
            </a:extLst>
          </p:cNvPr>
          <p:cNvSpPr txBox="1">
            <a:spLocks/>
          </p:cNvSpPr>
          <p:nvPr>
            <p:custDataLst>
              <p:tags r:id="rId29"/>
            </p:custDataLst>
          </p:nvPr>
        </p:nvSpPr>
        <p:spPr bwMode="auto">
          <a:xfrm>
            <a:off x="9632950" y="2922588"/>
            <a:ext cx="365125"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27B05C-51F5-46AC-924D-49DE5DF270D1}" type="datetime'''+''''''''''''''''''''''''''''''1''%'''''''''''''''''">
              <a:rPr lang="en-US" altLang="en-US" sz="1000" smtClean="0">
                <a:effectLst/>
              </a:rPr>
              <a:pPr marL="0" indent="0" algn="ctr">
                <a:spcBef>
                  <a:spcPct val="0"/>
                </a:spcBef>
                <a:spcAft>
                  <a:spcPct val="0"/>
                </a:spcAft>
                <a:buNone/>
              </a:pPr>
              <a:t>+1%</a:t>
            </a:fld>
            <a:endParaRPr lang="en-US" sz="1000" dirty="0"/>
          </a:p>
        </p:txBody>
      </p:sp>
      <p:sp>
        <p:nvSpPr>
          <p:cNvPr id="73" name="Text Placeholder 10">
            <a:extLst>
              <a:ext uri="{FF2B5EF4-FFF2-40B4-BE49-F238E27FC236}">
                <a16:creationId xmlns:a16="http://schemas.microsoft.com/office/drawing/2014/main" id="{C7587B8F-C30C-A19B-F3EA-3C6B6D942663}"/>
              </a:ext>
            </a:extLst>
          </p:cNvPr>
          <p:cNvSpPr txBox="1">
            <a:spLocks/>
          </p:cNvSpPr>
          <p:nvPr>
            <p:custDataLst>
              <p:tags r:id="rId30"/>
            </p:custDataLst>
          </p:nvPr>
        </p:nvSpPr>
        <p:spPr bwMode="auto">
          <a:xfrm>
            <a:off x="10112375" y="3074988"/>
            <a:ext cx="258763"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1E2726-208D-4C7A-B36F-8CE8957C5605}" type="datetime'''''''''''''''''''''''''''''0''''''''''''''''''''''%'''">
              <a:rPr lang="en-US" altLang="en-US" sz="1000" smtClean="0">
                <a:effectLst/>
              </a:rPr>
              <a:pPr marL="0" indent="0" algn="ctr">
                <a:spcBef>
                  <a:spcPct val="0"/>
                </a:spcBef>
                <a:spcAft>
                  <a:spcPct val="0"/>
                </a:spcAft>
                <a:buNone/>
              </a:pPr>
              <a:t>0%</a:t>
            </a:fld>
            <a:endParaRPr lang="en-US" sz="1000" dirty="0"/>
          </a:p>
        </p:txBody>
      </p:sp>
      <p:sp>
        <p:nvSpPr>
          <p:cNvPr id="74" name="Text Placeholder 10">
            <a:extLst>
              <a:ext uri="{FF2B5EF4-FFF2-40B4-BE49-F238E27FC236}">
                <a16:creationId xmlns:a16="http://schemas.microsoft.com/office/drawing/2014/main" id="{13A5B15F-4E61-C240-9F0E-52064B867072}"/>
              </a:ext>
            </a:extLst>
          </p:cNvPr>
          <p:cNvSpPr txBox="1">
            <a:spLocks/>
          </p:cNvSpPr>
          <p:nvPr>
            <p:custDataLst>
              <p:tags r:id="rId31"/>
            </p:custDataLst>
          </p:nvPr>
        </p:nvSpPr>
        <p:spPr bwMode="auto">
          <a:xfrm>
            <a:off x="10537825" y="3070225"/>
            <a:ext cx="258763"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9AA6C6-3A4B-4C65-AC28-DA9D44AA0793}" type="datetime'''''''''''''''''''0''''''''%'''''''''''''''''''''''''''">
              <a:rPr lang="en-US" altLang="en-US" sz="1000" smtClean="0">
                <a:effectLst/>
              </a:rPr>
              <a:pPr marL="0" indent="0" algn="ctr">
                <a:spcBef>
                  <a:spcPct val="0"/>
                </a:spcBef>
                <a:spcAft>
                  <a:spcPct val="0"/>
                </a:spcAft>
                <a:buNone/>
              </a:pPr>
              <a:t>0%</a:t>
            </a:fld>
            <a:endParaRPr lang="en-US" sz="1000" dirty="0"/>
          </a:p>
        </p:txBody>
      </p:sp>
      <p:sp>
        <p:nvSpPr>
          <p:cNvPr id="75" name="Text Placeholder 10">
            <a:extLst>
              <a:ext uri="{FF2B5EF4-FFF2-40B4-BE49-F238E27FC236}">
                <a16:creationId xmlns:a16="http://schemas.microsoft.com/office/drawing/2014/main" id="{637D1CA9-CDA5-135C-58EA-8009A97A66B0}"/>
              </a:ext>
            </a:extLst>
          </p:cNvPr>
          <p:cNvSpPr txBox="1">
            <a:spLocks/>
          </p:cNvSpPr>
          <p:nvPr>
            <p:custDataLst>
              <p:tags r:id="rId32"/>
            </p:custDataLst>
          </p:nvPr>
        </p:nvSpPr>
        <p:spPr bwMode="auto">
          <a:xfrm>
            <a:off x="11122025" y="2740025"/>
            <a:ext cx="365125" cy="215900"/>
          </a:xfrm>
          <a:prstGeom prst="ellipse">
            <a:avLst/>
          </a:prstGeom>
          <a:solidFill>
            <a:schemeClr val="bg1"/>
          </a:solidFill>
          <a:ln w="9525" cmpd="sng">
            <a:solidFill>
              <a:schemeClr val="folHlink"/>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509697-1A2F-4916-AEA6-D5ADEE8D2FDB}" type="datetime'''''''''''+''4''''''%'''''''''''''''''">
              <a:rPr lang="en-US" altLang="en-US" sz="1000" smtClean="0">
                <a:effectLst/>
              </a:rPr>
              <a:pPr marL="0" indent="0" algn="ctr">
                <a:spcBef>
                  <a:spcPct val="0"/>
                </a:spcBef>
                <a:spcAft>
                  <a:spcPct val="0"/>
                </a:spcAft>
                <a:buNone/>
              </a:pPr>
              <a:t>+4%</a:t>
            </a:fld>
            <a:endParaRPr lang="en-US" sz="1000" dirty="0"/>
          </a:p>
        </p:txBody>
      </p:sp>
      <p:grpSp>
        <p:nvGrpSpPr>
          <p:cNvPr id="76" name="Group 75">
            <a:extLst>
              <a:ext uri="{FF2B5EF4-FFF2-40B4-BE49-F238E27FC236}">
                <a16:creationId xmlns:a16="http://schemas.microsoft.com/office/drawing/2014/main" id="{46B5AA01-0C46-E3F6-B636-33E473648F93}"/>
              </a:ext>
            </a:extLst>
          </p:cNvPr>
          <p:cNvGrpSpPr/>
          <p:nvPr/>
        </p:nvGrpSpPr>
        <p:grpSpPr>
          <a:xfrm>
            <a:off x="6081963" y="2600325"/>
            <a:ext cx="2537644" cy="3125490"/>
            <a:chOff x="6178012" y="2219538"/>
            <a:chExt cx="3328475" cy="3510160"/>
          </a:xfrm>
        </p:grpSpPr>
        <p:pic>
          <p:nvPicPr>
            <p:cNvPr id="77" name="Picture 76">
              <a:extLst>
                <a:ext uri="{FF2B5EF4-FFF2-40B4-BE49-F238E27FC236}">
                  <a16:creationId xmlns:a16="http://schemas.microsoft.com/office/drawing/2014/main" id="{0EA4822D-4257-B5F0-76B3-2FCC241112E1}"/>
                </a:ext>
              </a:extLst>
            </p:cNvPr>
            <p:cNvPicPr>
              <a:picLocks noChangeAspect="1"/>
            </p:cNvPicPr>
            <p:nvPr/>
          </p:nvPicPr>
          <p:blipFill>
            <a:blip r:embed="rId41" cstate="screen">
              <a:extLst>
                <a:ext uri="{28A0092B-C50C-407E-A947-70E740481C1C}">
                  <a14:useLocalDpi xmlns:a14="http://schemas.microsoft.com/office/drawing/2010/main"/>
                </a:ext>
              </a:extLst>
            </a:blip>
            <a:srcRect/>
            <a:stretch>
              <a:fillRect/>
            </a:stretch>
          </p:blipFill>
          <p:spPr>
            <a:xfrm>
              <a:off x="6178012" y="2231940"/>
              <a:ext cx="3120620" cy="3497758"/>
            </a:xfrm>
            <a:prstGeom prst="rect">
              <a:avLst/>
            </a:prstGeom>
          </p:spPr>
        </p:pic>
        <p:sp>
          <p:nvSpPr>
            <p:cNvPr id="78" name="Rectangle 77">
              <a:extLst>
                <a:ext uri="{FF2B5EF4-FFF2-40B4-BE49-F238E27FC236}">
                  <a16:creationId xmlns:a16="http://schemas.microsoft.com/office/drawing/2014/main" id="{065FA55D-5024-091F-3F8D-0CF2D530C053}"/>
                </a:ext>
              </a:extLst>
            </p:cNvPr>
            <p:cNvSpPr/>
            <p:nvPr/>
          </p:nvSpPr>
          <p:spPr bwMode="gray">
            <a:xfrm>
              <a:off x="8448081" y="2219538"/>
              <a:ext cx="1058406" cy="137842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79" name="Group 78">
              <a:extLst>
                <a:ext uri="{FF2B5EF4-FFF2-40B4-BE49-F238E27FC236}">
                  <a16:creationId xmlns:a16="http://schemas.microsoft.com/office/drawing/2014/main" id="{6450F969-D0FC-7624-2864-2750862DEBB0}"/>
                </a:ext>
              </a:extLst>
            </p:cNvPr>
            <p:cNvGrpSpPr/>
            <p:nvPr/>
          </p:nvGrpSpPr>
          <p:grpSpPr>
            <a:xfrm>
              <a:off x="6331408" y="2261037"/>
              <a:ext cx="2903081" cy="3381585"/>
              <a:chOff x="6331408" y="2261037"/>
              <a:chExt cx="2903081" cy="3381585"/>
            </a:xfrm>
          </p:grpSpPr>
          <p:sp>
            <p:nvSpPr>
              <p:cNvPr id="80" name="Freeform 5">
                <a:extLst>
                  <a:ext uri="{FF2B5EF4-FFF2-40B4-BE49-F238E27FC236}">
                    <a16:creationId xmlns:a16="http://schemas.microsoft.com/office/drawing/2014/main" id="{695F0BC0-D31D-4F79-AB1D-27A5CD62AA73}"/>
                  </a:ext>
                </a:extLst>
              </p:cNvPr>
              <p:cNvSpPr>
                <a:spLocks/>
              </p:cNvSpPr>
              <p:nvPr/>
            </p:nvSpPr>
            <p:spPr bwMode="auto">
              <a:xfrm>
                <a:off x="7736868" y="5077242"/>
                <a:ext cx="825386" cy="548004"/>
              </a:xfrm>
              <a:custGeom>
                <a:avLst/>
                <a:gdLst/>
                <a:ahLst/>
                <a:cxnLst>
                  <a:cxn ang="0">
                    <a:pos x="506" y="287"/>
                  </a:cxn>
                  <a:cxn ang="0">
                    <a:pos x="506" y="281"/>
                  </a:cxn>
                  <a:cxn ang="0">
                    <a:pos x="508" y="270"/>
                  </a:cxn>
                  <a:cxn ang="0">
                    <a:pos x="494" y="257"/>
                  </a:cxn>
                  <a:cxn ang="0">
                    <a:pos x="488" y="239"/>
                  </a:cxn>
                  <a:cxn ang="0">
                    <a:pos x="489" y="227"/>
                  </a:cxn>
                  <a:cxn ang="0">
                    <a:pos x="468" y="218"/>
                  </a:cxn>
                  <a:cxn ang="0">
                    <a:pos x="468" y="192"/>
                  </a:cxn>
                  <a:cxn ang="0">
                    <a:pos x="471" y="171"/>
                  </a:cxn>
                  <a:cxn ang="0">
                    <a:pos x="481" y="131"/>
                  </a:cxn>
                  <a:cxn ang="0">
                    <a:pos x="495" y="99"/>
                  </a:cxn>
                  <a:cxn ang="0">
                    <a:pos x="518" y="62"/>
                  </a:cxn>
                  <a:cxn ang="0">
                    <a:pos x="531" y="23"/>
                  </a:cxn>
                  <a:cxn ang="0">
                    <a:pos x="531" y="2"/>
                  </a:cxn>
                  <a:cxn ang="0">
                    <a:pos x="506" y="13"/>
                  </a:cxn>
                  <a:cxn ang="0">
                    <a:pos x="479" y="25"/>
                  </a:cxn>
                  <a:cxn ang="0">
                    <a:pos x="474" y="22"/>
                  </a:cxn>
                  <a:cxn ang="0">
                    <a:pos x="439" y="42"/>
                  </a:cxn>
                  <a:cxn ang="0">
                    <a:pos x="400" y="44"/>
                  </a:cxn>
                  <a:cxn ang="0">
                    <a:pos x="365" y="66"/>
                  </a:cxn>
                  <a:cxn ang="0">
                    <a:pos x="317" y="77"/>
                  </a:cxn>
                  <a:cxn ang="0">
                    <a:pos x="277" y="80"/>
                  </a:cxn>
                  <a:cxn ang="0">
                    <a:pos x="255" y="80"/>
                  </a:cxn>
                  <a:cxn ang="0">
                    <a:pos x="212" y="88"/>
                  </a:cxn>
                  <a:cxn ang="0">
                    <a:pos x="187" y="62"/>
                  </a:cxn>
                  <a:cxn ang="0">
                    <a:pos x="164" y="67"/>
                  </a:cxn>
                  <a:cxn ang="0">
                    <a:pos x="150" y="41"/>
                  </a:cxn>
                  <a:cxn ang="0">
                    <a:pos x="113" y="50"/>
                  </a:cxn>
                  <a:cxn ang="0">
                    <a:pos x="106" y="67"/>
                  </a:cxn>
                  <a:cxn ang="0">
                    <a:pos x="82" y="87"/>
                  </a:cxn>
                  <a:cxn ang="0">
                    <a:pos x="54" y="62"/>
                  </a:cxn>
                  <a:cxn ang="0">
                    <a:pos x="47" y="64"/>
                  </a:cxn>
                  <a:cxn ang="0">
                    <a:pos x="34" y="75"/>
                  </a:cxn>
                  <a:cxn ang="0">
                    <a:pos x="14" y="90"/>
                  </a:cxn>
                  <a:cxn ang="0">
                    <a:pos x="10" y="103"/>
                  </a:cxn>
                  <a:cxn ang="0">
                    <a:pos x="6" y="114"/>
                  </a:cxn>
                  <a:cxn ang="0">
                    <a:pos x="3" y="137"/>
                  </a:cxn>
                  <a:cxn ang="0">
                    <a:pos x="9" y="163"/>
                  </a:cxn>
                  <a:cxn ang="0">
                    <a:pos x="33" y="182"/>
                  </a:cxn>
                  <a:cxn ang="0">
                    <a:pos x="82" y="186"/>
                  </a:cxn>
                  <a:cxn ang="0">
                    <a:pos x="106" y="203"/>
                  </a:cxn>
                  <a:cxn ang="0">
                    <a:pos x="142" y="213"/>
                  </a:cxn>
                  <a:cxn ang="0">
                    <a:pos x="172" y="236"/>
                  </a:cxn>
                  <a:cxn ang="0">
                    <a:pos x="201" y="245"/>
                  </a:cxn>
                  <a:cxn ang="0">
                    <a:pos x="228" y="266"/>
                  </a:cxn>
                  <a:cxn ang="0">
                    <a:pos x="254" y="282"/>
                  </a:cxn>
                  <a:cxn ang="0">
                    <a:pos x="302" y="282"/>
                  </a:cxn>
                  <a:cxn ang="0">
                    <a:pos x="342" y="298"/>
                  </a:cxn>
                  <a:cxn ang="0">
                    <a:pos x="365" y="333"/>
                  </a:cxn>
                  <a:cxn ang="0">
                    <a:pos x="392" y="346"/>
                  </a:cxn>
                  <a:cxn ang="0">
                    <a:pos x="424" y="359"/>
                  </a:cxn>
                  <a:cxn ang="0">
                    <a:pos x="453" y="360"/>
                  </a:cxn>
                  <a:cxn ang="0">
                    <a:pos x="479" y="363"/>
                  </a:cxn>
                  <a:cxn ang="0">
                    <a:pos x="477" y="333"/>
                  </a:cxn>
                  <a:cxn ang="0">
                    <a:pos x="491" y="300"/>
                  </a:cxn>
                </a:cxnLst>
                <a:rect l="0" t="0" r="r" b="b"/>
                <a:pathLst>
                  <a:path w="546" h="368">
                    <a:moveTo>
                      <a:pt x="491" y="300"/>
                    </a:moveTo>
                    <a:cubicBezTo>
                      <a:pt x="493" y="299"/>
                      <a:pt x="495" y="297"/>
                      <a:pt x="497" y="297"/>
                    </a:cubicBezTo>
                    <a:cubicBezTo>
                      <a:pt x="498" y="296"/>
                      <a:pt x="500" y="296"/>
                      <a:pt x="501" y="296"/>
                    </a:cubicBezTo>
                    <a:cubicBezTo>
                      <a:pt x="501" y="295"/>
                      <a:pt x="502" y="293"/>
                      <a:pt x="502" y="291"/>
                    </a:cubicBezTo>
                    <a:cubicBezTo>
                      <a:pt x="502" y="291"/>
                      <a:pt x="502" y="289"/>
                      <a:pt x="502" y="288"/>
                    </a:cubicBezTo>
                    <a:cubicBezTo>
                      <a:pt x="503" y="287"/>
                      <a:pt x="505" y="287"/>
                      <a:pt x="506" y="287"/>
                    </a:cubicBezTo>
                    <a:cubicBezTo>
                      <a:pt x="506" y="286"/>
                      <a:pt x="507" y="285"/>
                      <a:pt x="508" y="285"/>
                    </a:cubicBezTo>
                    <a:cubicBezTo>
                      <a:pt x="509" y="285"/>
                      <a:pt x="511" y="287"/>
                      <a:pt x="512" y="287"/>
                    </a:cubicBezTo>
                    <a:cubicBezTo>
                      <a:pt x="513" y="287"/>
                      <a:pt x="514" y="285"/>
                      <a:pt x="514" y="284"/>
                    </a:cubicBezTo>
                    <a:cubicBezTo>
                      <a:pt x="514" y="283"/>
                      <a:pt x="512" y="282"/>
                      <a:pt x="512" y="282"/>
                    </a:cubicBezTo>
                    <a:cubicBezTo>
                      <a:pt x="511" y="281"/>
                      <a:pt x="511" y="279"/>
                      <a:pt x="510" y="279"/>
                    </a:cubicBezTo>
                    <a:cubicBezTo>
                      <a:pt x="509" y="279"/>
                      <a:pt x="507" y="281"/>
                      <a:pt x="506" y="281"/>
                    </a:cubicBezTo>
                    <a:cubicBezTo>
                      <a:pt x="505" y="281"/>
                      <a:pt x="503" y="280"/>
                      <a:pt x="503" y="279"/>
                    </a:cubicBezTo>
                    <a:cubicBezTo>
                      <a:pt x="503" y="278"/>
                      <a:pt x="502" y="276"/>
                      <a:pt x="503" y="276"/>
                    </a:cubicBezTo>
                    <a:cubicBezTo>
                      <a:pt x="503" y="276"/>
                      <a:pt x="504" y="276"/>
                      <a:pt x="505" y="276"/>
                    </a:cubicBezTo>
                    <a:cubicBezTo>
                      <a:pt x="506" y="277"/>
                      <a:pt x="507" y="278"/>
                      <a:pt x="508" y="278"/>
                    </a:cubicBezTo>
                    <a:cubicBezTo>
                      <a:pt x="509" y="277"/>
                      <a:pt x="510" y="276"/>
                      <a:pt x="510" y="275"/>
                    </a:cubicBezTo>
                    <a:cubicBezTo>
                      <a:pt x="510" y="273"/>
                      <a:pt x="508" y="271"/>
                      <a:pt x="508" y="270"/>
                    </a:cubicBezTo>
                    <a:cubicBezTo>
                      <a:pt x="507" y="269"/>
                      <a:pt x="507" y="268"/>
                      <a:pt x="507" y="267"/>
                    </a:cubicBezTo>
                    <a:cubicBezTo>
                      <a:pt x="506" y="266"/>
                      <a:pt x="504" y="264"/>
                      <a:pt x="503" y="264"/>
                    </a:cubicBezTo>
                    <a:cubicBezTo>
                      <a:pt x="503" y="264"/>
                      <a:pt x="501" y="266"/>
                      <a:pt x="500" y="266"/>
                    </a:cubicBezTo>
                    <a:cubicBezTo>
                      <a:pt x="498" y="265"/>
                      <a:pt x="494" y="264"/>
                      <a:pt x="493" y="262"/>
                    </a:cubicBezTo>
                    <a:cubicBezTo>
                      <a:pt x="493" y="262"/>
                      <a:pt x="492" y="260"/>
                      <a:pt x="492" y="259"/>
                    </a:cubicBezTo>
                    <a:cubicBezTo>
                      <a:pt x="493" y="259"/>
                      <a:pt x="494" y="258"/>
                      <a:pt x="494" y="257"/>
                    </a:cubicBezTo>
                    <a:cubicBezTo>
                      <a:pt x="494" y="257"/>
                      <a:pt x="494" y="255"/>
                      <a:pt x="493" y="255"/>
                    </a:cubicBezTo>
                    <a:cubicBezTo>
                      <a:pt x="493" y="254"/>
                      <a:pt x="491" y="256"/>
                      <a:pt x="490" y="255"/>
                    </a:cubicBezTo>
                    <a:cubicBezTo>
                      <a:pt x="489" y="255"/>
                      <a:pt x="488" y="254"/>
                      <a:pt x="488" y="253"/>
                    </a:cubicBezTo>
                    <a:cubicBezTo>
                      <a:pt x="487" y="252"/>
                      <a:pt x="485" y="250"/>
                      <a:pt x="485" y="248"/>
                    </a:cubicBezTo>
                    <a:cubicBezTo>
                      <a:pt x="485" y="247"/>
                      <a:pt x="484" y="243"/>
                      <a:pt x="485" y="241"/>
                    </a:cubicBezTo>
                    <a:cubicBezTo>
                      <a:pt x="485" y="241"/>
                      <a:pt x="487" y="239"/>
                      <a:pt x="488" y="239"/>
                    </a:cubicBezTo>
                    <a:cubicBezTo>
                      <a:pt x="489" y="240"/>
                      <a:pt x="487" y="242"/>
                      <a:pt x="488" y="243"/>
                    </a:cubicBezTo>
                    <a:cubicBezTo>
                      <a:pt x="488" y="243"/>
                      <a:pt x="490" y="244"/>
                      <a:pt x="491" y="244"/>
                    </a:cubicBezTo>
                    <a:cubicBezTo>
                      <a:pt x="493" y="244"/>
                      <a:pt x="495" y="242"/>
                      <a:pt x="496" y="241"/>
                    </a:cubicBezTo>
                    <a:cubicBezTo>
                      <a:pt x="496" y="240"/>
                      <a:pt x="498" y="238"/>
                      <a:pt x="497" y="236"/>
                    </a:cubicBezTo>
                    <a:cubicBezTo>
                      <a:pt x="497" y="235"/>
                      <a:pt x="494" y="233"/>
                      <a:pt x="492" y="231"/>
                    </a:cubicBezTo>
                    <a:cubicBezTo>
                      <a:pt x="492" y="230"/>
                      <a:pt x="490" y="228"/>
                      <a:pt x="489" y="227"/>
                    </a:cubicBezTo>
                    <a:cubicBezTo>
                      <a:pt x="489" y="227"/>
                      <a:pt x="487" y="225"/>
                      <a:pt x="486" y="225"/>
                    </a:cubicBezTo>
                    <a:cubicBezTo>
                      <a:pt x="485" y="226"/>
                      <a:pt x="486" y="228"/>
                      <a:pt x="485" y="228"/>
                    </a:cubicBezTo>
                    <a:cubicBezTo>
                      <a:pt x="485" y="229"/>
                      <a:pt x="483" y="228"/>
                      <a:pt x="482" y="228"/>
                    </a:cubicBezTo>
                    <a:cubicBezTo>
                      <a:pt x="480" y="227"/>
                      <a:pt x="476" y="225"/>
                      <a:pt x="475" y="224"/>
                    </a:cubicBezTo>
                    <a:cubicBezTo>
                      <a:pt x="473" y="224"/>
                      <a:pt x="470" y="223"/>
                      <a:pt x="469" y="222"/>
                    </a:cubicBezTo>
                    <a:cubicBezTo>
                      <a:pt x="468" y="221"/>
                      <a:pt x="468" y="219"/>
                      <a:pt x="468" y="218"/>
                    </a:cubicBezTo>
                    <a:cubicBezTo>
                      <a:pt x="468" y="216"/>
                      <a:pt x="467" y="213"/>
                      <a:pt x="467" y="211"/>
                    </a:cubicBezTo>
                    <a:cubicBezTo>
                      <a:pt x="466" y="209"/>
                      <a:pt x="467" y="206"/>
                      <a:pt x="467" y="204"/>
                    </a:cubicBezTo>
                    <a:cubicBezTo>
                      <a:pt x="467" y="203"/>
                      <a:pt x="467" y="202"/>
                      <a:pt x="467" y="201"/>
                    </a:cubicBezTo>
                    <a:cubicBezTo>
                      <a:pt x="468" y="200"/>
                      <a:pt x="470" y="199"/>
                      <a:pt x="471" y="198"/>
                    </a:cubicBezTo>
                    <a:cubicBezTo>
                      <a:pt x="471" y="198"/>
                      <a:pt x="472" y="195"/>
                      <a:pt x="471" y="194"/>
                    </a:cubicBezTo>
                    <a:cubicBezTo>
                      <a:pt x="471" y="193"/>
                      <a:pt x="469" y="193"/>
                      <a:pt x="468" y="192"/>
                    </a:cubicBezTo>
                    <a:cubicBezTo>
                      <a:pt x="467" y="191"/>
                      <a:pt x="466" y="189"/>
                      <a:pt x="465" y="188"/>
                    </a:cubicBezTo>
                    <a:cubicBezTo>
                      <a:pt x="465" y="187"/>
                      <a:pt x="464" y="186"/>
                      <a:pt x="464" y="185"/>
                    </a:cubicBezTo>
                    <a:cubicBezTo>
                      <a:pt x="464" y="184"/>
                      <a:pt x="465" y="184"/>
                      <a:pt x="466" y="183"/>
                    </a:cubicBezTo>
                    <a:cubicBezTo>
                      <a:pt x="466" y="182"/>
                      <a:pt x="465" y="179"/>
                      <a:pt x="465" y="177"/>
                    </a:cubicBezTo>
                    <a:cubicBezTo>
                      <a:pt x="466" y="176"/>
                      <a:pt x="468" y="176"/>
                      <a:pt x="469" y="175"/>
                    </a:cubicBezTo>
                    <a:cubicBezTo>
                      <a:pt x="470" y="174"/>
                      <a:pt x="471" y="172"/>
                      <a:pt x="471" y="171"/>
                    </a:cubicBezTo>
                    <a:cubicBezTo>
                      <a:pt x="472" y="170"/>
                      <a:pt x="473" y="168"/>
                      <a:pt x="474" y="167"/>
                    </a:cubicBezTo>
                    <a:cubicBezTo>
                      <a:pt x="475" y="166"/>
                      <a:pt x="478" y="165"/>
                      <a:pt x="478" y="164"/>
                    </a:cubicBezTo>
                    <a:cubicBezTo>
                      <a:pt x="479" y="161"/>
                      <a:pt x="479" y="155"/>
                      <a:pt x="479" y="153"/>
                    </a:cubicBezTo>
                    <a:cubicBezTo>
                      <a:pt x="479" y="150"/>
                      <a:pt x="478" y="145"/>
                      <a:pt x="479" y="142"/>
                    </a:cubicBezTo>
                    <a:cubicBezTo>
                      <a:pt x="479" y="141"/>
                      <a:pt x="480" y="139"/>
                      <a:pt x="481" y="137"/>
                    </a:cubicBezTo>
                    <a:cubicBezTo>
                      <a:pt x="481" y="136"/>
                      <a:pt x="481" y="133"/>
                      <a:pt x="481" y="131"/>
                    </a:cubicBezTo>
                    <a:cubicBezTo>
                      <a:pt x="480" y="130"/>
                      <a:pt x="479" y="127"/>
                      <a:pt x="479" y="126"/>
                    </a:cubicBezTo>
                    <a:cubicBezTo>
                      <a:pt x="480" y="124"/>
                      <a:pt x="482" y="121"/>
                      <a:pt x="483" y="119"/>
                    </a:cubicBezTo>
                    <a:cubicBezTo>
                      <a:pt x="483" y="117"/>
                      <a:pt x="486" y="114"/>
                      <a:pt x="487" y="112"/>
                    </a:cubicBezTo>
                    <a:cubicBezTo>
                      <a:pt x="488" y="111"/>
                      <a:pt x="489" y="108"/>
                      <a:pt x="490" y="107"/>
                    </a:cubicBezTo>
                    <a:cubicBezTo>
                      <a:pt x="491" y="106"/>
                      <a:pt x="493" y="105"/>
                      <a:pt x="494" y="104"/>
                    </a:cubicBezTo>
                    <a:cubicBezTo>
                      <a:pt x="495" y="103"/>
                      <a:pt x="494" y="100"/>
                      <a:pt x="495" y="99"/>
                    </a:cubicBezTo>
                    <a:cubicBezTo>
                      <a:pt x="495" y="98"/>
                      <a:pt x="497" y="95"/>
                      <a:pt x="498" y="94"/>
                    </a:cubicBezTo>
                    <a:cubicBezTo>
                      <a:pt x="499" y="92"/>
                      <a:pt x="500" y="88"/>
                      <a:pt x="501" y="86"/>
                    </a:cubicBezTo>
                    <a:cubicBezTo>
                      <a:pt x="502" y="84"/>
                      <a:pt x="504" y="81"/>
                      <a:pt x="505" y="80"/>
                    </a:cubicBezTo>
                    <a:cubicBezTo>
                      <a:pt x="507" y="78"/>
                      <a:pt x="510" y="74"/>
                      <a:pt x="512" y="72"/>
                    </a:cubicBezTo>
                    <a:cubicBezTo>
                      <a:pt x="512" y="72"/>
                      <a:pt x="512" y="70"/>
                      <a:pt x="513" y="69"/>
                    </a:cubicBezTo>
                    <a:cubicBezTo>
                      <a:pt x="514" y="67"/>
                      <a:pt x="517" y="64"/>
                      <a:pt x="518" y="62"/>
                    </a:cubicBezTo>
                    <a:cubicBezTo>
                      <a:pt x="520" y="60"/>
                      <a:pt x="521" y="55"/>
                      <a:pt x="522" y="53"/>
                    </a:cubicBezTo>
                    <a:cubicBezTo>
                      <a:pt x="523" y="52"/>
                      <a:pt x="525" y="51"/>
                      <a:pt x="525" y="50"/>
                    </a:cubicBezTo>
                    <a:cubicBezTo>
                      <a:pt x="527" y="48"/>
                      <a:pt x="527" y="42"/>
                      <a:pt x="528" y="40"/>
                    </a:cubicBezTo>
                    <a:cubicBezTo>
                      <a:pt x="528" y="38"/>
                      <a:pt x="528" y="35"/>
                      <a:pt x="529" y="34"/>
                    </a:cubicBezTo>
                    <a:cubicBezTo>
                      <a:pt x="530" y="32"/>
                      <a:pt x="533" y="30"/>
                      <a:pt x="533" y="29"/>
                    </a:cubicBezTo>
                    <a:cubicBezTo>
                      <a:pt x="533" y="27"/>
                      <a:pt x="531" y="25"/>
                      <a:pt x="531" y="23"/>
                    </a:cubicBezTo>
                    <a:cubicBezTo>
                      <a:pt x="531" y="22"/>
                      <a:pt x="533" y="18"/>
                      <a:pt x="534" y="17"/>
                    </a:cubicBezTo>
                    <a:cubicBezTo>
                      <a:pt x="535" y="15"/>
                      <a:pt x="538" y="13"/>
                      <a:pt x="540" y="12"/>
                    </a:cubicBezTo>
                    <a:cubicBezTo>
                      <a:pt x="541" y="11"/>
                      <a:pt x="545" y="9"/>
                      <a:pt x="546" y="8"/>
                    </a:cubicBezTo>
                    <a:cubicBezTo>
                      <a:pt x="546" y="7"/>
                      <a:pt x="546" y="6"/>
                      <a:pt x="545" y="5"/>
                    </a:cubicBezTo>
                    <a:cubicBezTo>
                      <a:pt x="544" y="3"/>
                      <a:pt x="538" y="4"/>
                      <a:pt x="536" y="3"/>
                    </a:cubicBezTo>
                    <a:cubicBezTo>
                      <a:pt x="534" y="3"/>
                      <a:pt x="532" y="3"/>
                      <a:pt x="531" y="2"/>
                    </a:cubicBezTo>
                    <a:cubicBezTo>
                      <a:pt x="530" y="2"/>
                      <a:pt x="529" y="0"/>
                      <a:pt x="528" y="0"/>
                    </a:cubicBezTo>
                    <a:cubicBezTo>
                      <a:pt x="527" y="0"/>
                      <a:pt x="525" y="2"/>
                      <a:pt x="524" y="3"/>
                    </a:cubicBezTo>
                    <a:cubicBezTo>
                      <a:pt x="523" y="3"/>
                      <a:pt x="522" y="2"/>
                      <a:pt x="521" y="3"/>
                    </a:cubicBezTo>
                    <a:cubicBezTo>
                      <a:pt x="520" y="4"/>
                      <a:pt x="519" y="7"/>
                      <a:pt x="519" y="8"/>
                    </a:cubicBezTo>
                    <a:cubicBezTo>
                      <a:pt x="517" y="9"/>
                      <a:pt x="514" y="13"/>
                      <a:pt x="512" y="13"/>
                    </a:cubicBezTo>
                    <a:cubicBezTo>
                      <a:pt x="510" y="14"/>
                      <a:pt x="507" y="12"/>
                      <a:pt x="506" y="13"/>
                    </a:cubicBezTo>
                    <a:cubicBezTo>
                      <a:pt x="505" y="13"/>
                      <a:pt x="504" y="13"/>
                      <a:pt x="503" y="13"/>
                    </a:cubicBezTo>
                    <a:cubicBezTo>
                      <a:pt x="502" y="14"/>
                      <a:pt x="502" y="17"/>
                      <a:pt x="501" y="18"/>
                    </a:cubicBezTo>
                    <a:cubicBezTo>
                      <a:pt x="500" y="20"/>
                      <a:pt x="497" y="23"/>
                      <a:pt x="495" y="24"/>
                    </a:cubicBezTo>
                    <a:cubicBezTo>
                      <a:pt x="493" y="25"/>
                      <a:pt x="489" y="27"/>
                      <a:pt x="487" y="28"/>
                    </a:cubicBezTo>
                    <a:cubicBezTo>
                      <a:pt x="485" y="28"/>
                      <a:pt x="482" y="28"/>
                      <a:pt x="480" y="27"/>
                    </a:cubicBezTo>
                    <a:cubicBezTo>
                      <a:pt x="480" y="27"/>
                      <a:pt x="479" y="25"/>
                      <a:pt x="479" y="25"/>
                    </a:cubicBezTo>
                    <a:cubicBezTo>
                      <a:pt x="479" y="23"/>
                      <a:pt x="480" y="20"/>
                      <a:pt x="480" y="19"/>
                    </a:cubicBezTo>
                    <a:cubicBezTo>
                      <a:pt x="479" y="17"/>
                      <a:pt x="479" y="14"/>
                      <a:pt x="478" y="13"/>
                    </a:cubicBezTo>
                    <a:cubicBezTo>
                      <a:pt x="477" y="12"/>
                      <a:pt x="474" y="11"/>
                      <a:pt x="473" y="11"/>
                    </a:cubicBezTo>
                    <a:cubicBezTo>
                      <a:pt x="472" y="12"/>
                      <a:pt x="471" y="12"/>
                      <a:pt x="470" y="13"/>
                    </a:cubicBezTo>
                    <a:cubicBezTo>
                      <a:pt x="470" y="14"/>
                      <a:pt x="472" y="15"/>
                      <a:pt x="472" y="16"/>
                    </a:cubicBezTo>
                    <a:cubicBezTo>
                      <a:pt x="473" y="17"/>
                      <a:pt x="474" y="20"/>
                      <a:pt x="474" y="22"/>
                    </a:cubicBezTo>
                    <a:cubicBezTo>
                      <a:pt x="474" y="24"/>
                      <a:pt x="473" y="30"/>
                      <a:pt x="472" y="33"/>
                    </a:cubicBezTo>
                    <a:cubicBezTo>
                      <a:pt x="471" y="36"/>
                      <a:pt x="468" y="40"/>
                      <a:pt x="466" y="41"/>
                    </a:cubicBezTo>
                    <a:cubicBezTo>
                      <a:pt x="463" y="43"/>
                      <a:pt x="459" y="47"/>
                      <a:pt x="456" y="47"/>
                    </a:cubicBezTo>
                    <a:cubicBezTo>
                      <a:pt x="455" y="48"/>
                      <a:pt x="452" y="48"/>
                      <a:pt x="450" y="47"/>
                    </a:cubicBezTo>
                    <a:cubicBezTo>
                      <a:pt x="449" y="47"/>
                      <a:pt x="447" y="44"/>
                      <a:pt x="446" y="43"/>
                    </a:cubicBezTo>
                    <a:cubicBezTo>
                      <a:pt x="444" y="42"/>
                      <a:pt x="441" y="42"/>
                      <a:pt x="439" y="42"/>
                    </a:cubicBezTo>
                    <a:cubicBezTo>
                      <a:pt x="437" y="42"/>
                      <a:pt x="433" y="42"/>
                      <a:pt x="431" y="41"/>
                    </a:cubicBezTo>
                    <a:cubicBezTo>
                      <a:pt x="430" y="40"/>
                      <a:pt x="428" y="36"/>
                      <a:pt x="426" y="35"/>
                    </a:cubicBezTo>
                    <a:cubicBezTo>
                      <a:pt x="425" y="35"/>
                      <a:pt x="422" y="35"/>
                      <a:pt x="421" y="35"/>
                    </a:cubicBezTo>
                    <a:cubicBezTo>
                      <a:pt x="419" y="36"/>
                      <a:pt x="417" y="39"/>
                      <a:pt x="415" y="40"/>
                    </a:cubicBezTo>
                    <a:cubicBezTo>
                      <a:pt x="414" y="42"/>
                      <a:pt x="410" y="44"/>
                      <a:pt x="408" y="44"/>
                    </a:cubicBezTo>
                    <a:cubicBezTo>
                      <a:pt x="406" y="45"/>
                      <a:pt x="402" y="44"/>
                      <a:pt x="400" y="44"/>
                    </a:cubicBezTo>
                    <a:cubicBezTo>
                      <a:pt x="398" y="44"/>
                      <a:pt x="394" y="43"/>
                      <a:pt x="392" y="44"/>
                    </a:cubicBezTo>
                    <a:cubicBezTo>
                      <a:pt x="390" y="45"/>
                      <a:pt x="388" y="50"/>
                      <a:pt x="387" y="52"/>
                    </a:cubicBezTo>
                    <a:cubicBezTo>
                      <a:pt x="386" y="54"/>
                      <a:pt x="384" y="58"/>
                      <a:pt x="382" y="59"/>
                    </a:cubicBezTo>
                    <a:cubicBezTo>
                      <a:pt x="380" y="61"/>
                      <a:pt x="376" y="63"/>
                      <a:pt x="374" y="64"/>
                    </a:cubicBezTo>
                    <a:cubicBezTo>
                      <a:pt x="373" y="65"/>
                      <a:pt x="370" y="66"/>
                      <a:pt x="369" y="66"/>
                    </a:cubicBezTo>
                    <a:cubicBezTo>
                      <a:pt x="368" y="66"/>
                      <a:pt x="366" y="66"/>
                      <a:pt x="365" y="66"/>
                    </a:cubicBezTo>
                    <a:cubicBezTo>
                      <a:pt x="364" y="67"/>
                      <a:pt x="362" y="68"/>
                      <a:pt x="362" y="69"/>
                    </a:cubicBezTo>
                    <a:cubicBezTo>
                      <a:pt x="359" y="70"/>
                      <a:pt x="354" y="72"/>
                      <a:pt x="351" y="72"/>
                    </a:cubicBezTo>
                    <a:cubicBezTo>
                      <a:pt x="349" y="73"/>
                      <a:pt x="344" y="71"/>
                      <a:pt x="341" y="72"/>
                    </a:cubicBezTo>
                    <a:cubicBezTo>
                      <a:pt x="340" y="72"/>
                      <a:pt x="337" y="73"/>
                      <a:pt x="335" y="73"/>
                    </a:cubicBezTo>
                    <a:cubicBezTo>
                      <a:pt x="333" y="74"/>
                      <a:pt x="329" y="77"/>
                      <a:pt x="327" y="77"/>
                    </a:cubicBezTo>
                    <a:cubicBezTo>
                      <a:pt x="324" y="78"/>
                      <a:pt x="319" y="77"/>
                      <a:pt x="317" y="77"/>
                    </a:cubicBezTo>
                    <a:cubicBezTo>
                      <a:pt x="315" y="78"/>
                      <a:pt x="311" y="80"/>
                      <a:pt x="308" y="80"/>
                    </a:cubicBezTo>
                    <a:cubicBezTo>
                      <a:pt x="307" y="80"/>
                      <a:pt x="303" y="80"/>
                      <a:pt x="301" y="79"/>
                    </a:cubicBezTo>
                    <a:cubicBezTo>
                      <a:pt x="299" y="79"/>
                      <a:pt x="295" y="77"/>
                      <a:pt x="293" y="77"/>
                    </a:cubicBezTo>
                    <a:cubicBezTo>
                      <a:pt x="292" y="77"/>
                      <a:pt x="290" y="77"/>
                      <a:pt x="289" y="78"/>
                    </a:cubicBezTo>
                    <a:cubicBezTo>
                      <a:pt x="288" y="78"/>
                      <a:pt x="287" y="80"/>
                      <a:pt x="285" y="80"/>
                    </a:cubicBezTo>
                    <a:cubicBezTo>
                      <a:pt x="283" y="81"/>
                      <a:pt x="279" y="80"/>
                      <a:pt x="277" y="80"/>
                    </a:cubicBezTo>
                    <a:cubicBezTo>
                      <a:pt x="276" y="79"/>
                      <a:pt x="275" y="77"/>
                      <a:pt x="274" y="77"/>
                    </a:cubicBezTo>
                    <a:cubicBezTo>
                      <a:pt x="273" y="76"/>
                      <a:pt x="271" y="76"/>
                      <a:pt x="270" y="76"/>
                    </a:cubicBezTo>
                    <a:cubicBezTo>
                      <a:pt x="269" y="76"/>
                      <a:pt x="267" y="78"/>
                      <a:pt x="266" y="78"/>
                    </a:cubicBezTo>
                    <a:cubicBezTo>
                      <a:pt x="265" y="78"/>
                      <a:pt x="264" y="79"/>
                      <a:pt x="263" y="79"/>
                    </a:cubicBezTo>
                    <a:cubicBezTo>
                      <a:pt x="263" y="79"/>
                      <a:pt x="261" y="77"/>
                      <a:pt x="260" y="77"/>
                    </a:cubicBezTo>
                    <a:cubicBezTo>
                      <a:pt x="259" y="77"/>
                      <a:pt x="257" y="79"/>
                      <a:pt x="255" y="80"/>
                    </a:cubicBezTo>
                    <a:cubicBezTo>
                      <a:pt x="254" y="80"/>
                      <a:pt x="251" y="82"/>
                      <a:pt x="249" y="83"/>
                    </a:cubicBezTo>
                    <a:cubicBezTo>
                      <a:pt x="248" y="83"/>
                      <a:pt x="247" y="86"/>
                      <a:pt x="246" y="86"/>
                    </a:cubicBezTo>
                    <a:cubicBezTo>
                      <a:pt x="245" y="87"/>
                      <a:pt x="243" y="89"/>
                      <a:pt x="242" y="89"/>
                    </a:cubicBezTo>
                    <a:cubicBezTo>
                      <a:pt x="240" y="90"/>
                      <a:pt x="236" y="92"/>
                      <a:pt x="234" y="93"/>
                    </a:cubicBezTo>
                    <a:cubicBezTo>
                      <a:pt x="231" y="93"/>
                      <a:pt x="225" y="93"/>
                      <a:pt x="222" y="92"/>
                    </a:cubicBezTo>
                    <a:cubicBezTo>
                      <a:pt x="220" y="92"/>
                      <a:pt x="215" y="89"/>
                      <a:pt x="212" y="88"/>
                    </a:cubicBezTo>
                    <a:cubicBezTo>
                      <a:pt x="211" y="87"/>
                      <a:pt x="207" y="86"/>
                      <a:pt x="205" y="85"/>
                    </a:cubicBezTo>
                    <a:cubicBezTo>
                      <a:pt x="203" y="83"/>
                      <a:pt x="201" y="80"/>
                      <a:pt x="199" y="79"/>
                    </a:cubicBezTo>
                    <a:cubicBezTo>
                      <a:pt x="197" y="78"/>
                      <a:pt x="194" y="78"/>
                      <a:pt x="192" y="78"/>
                    </a:cubicBezTo>
                    <a:cubicBezTo>
                      <a:pt x="191" y="77"/>
                      <a:pt x="189" y="75"/>
                      <a:pt x="188" y="74"/>
                    </a:cubicBezTo>
                    <a:cubicBezTo>
                      <a:pt x="188" y="72"/>
                      <a:pt x="188" y="69"/>
                      <a:pt x="188" y="67"/>
                    </a:cubicBezTo>
                    <a:cubicBezTo>
                      <a:pt x="188" y="66"/>
                      <a:pt x="188" y="63"/>
                      <a:pt x="187" y="62"/>
                    </a:cubicBezTo>
                    <a:cubicBezTo>
                      <a:pt x="186" y="62"/>
                      <a:pt x="185" y="62"/>
                      <a:pt x="184" y="62"/>
                    </a:cubicBezTo>
                    <a:cubicBezTo>
                      <a:pt x="183" y="62"/>
                      <a:pt x="182" y="61"/>
                      <a:pt x="181" y="61"/>
                    </a:cubicBezTo>
                    <a:cubicBezTo>
                      <a:pt x="180" y="62"/>
                      <a:pt x="180" y="64"/>
                      <a:pt x="180" y="65"/>
                    </a:cubicBezTo>
                    <a:cubicBezTo>
                      <a:pt x="179" y="65"/>
                      <a:pt x="177" y="67"/>
                      <a:pt x="176" y="67"/>
                    </a:cubicBezTo>
                    <a:cubicBezTo>
                      <a:pt x="174" y="68"/>
                      <a:pt x="171" y="66"/>
                      <a:pt x="169" y="66"/>
                    </a:cubicBezTo>
                    <a:cubicBezTo>
                      <a:pt x="168" y="66"/>
                      <a:pt x="165" y="67"/>
                      <a:pt x="164" y="67"/>
                    </a:cubicBezTo>
                    <a:cubicBezTo>
                      <a:pt x="163" y="67"/>
                      <a:pt x="161" y="66"/>
                      <a:pt x="161" y="65"/>
                    </a:cubicBezTo>
                    <a:cubicBezTo>
                      <a:pt x="159" y="64"/>
                      <a:pt x="159" y="60"/>
                      <a:pt x="158" y="59"/>
                    </a:cubicBezTo>
                    <a:cubicBezTo>
                      <a:pt x="158" y="57"/>
                      <a:pt x="158" y="52"/>
                      <a:pt x="157" y="50"/>
                    </a:cubicBezTo>
                    <a:cubicBezTo>
                      <a:pt x="156" y="49"/>
                      <a:pt x="154" y="49"/>
                      <a:pt x="153" y="48"/>
                    </a:cubicBezTo>
                    <a:cubicBezTo>
                      <a:pt x="152" y="47"/>
                      <a:pt x="151" y="46"/>
                      <a:pt x="150" y="45"/>
                    </a:cubicBezTo>
                    <a:cubicBezTo>
                      <a:pt x="150" y="44"/>
                      <a:pt x="150" y="42"/>
                      <a:pt x="150" y="41"/>
                    </a:cubicBezTo>
                    <a:cubicBezTo>
                      <a:pt x="148" y="40"/>
                      <a:pt x="145" y="40"/>
                      <a:pt x="143" y="41"/>
                    </a:cubicBezTo>
                    <a:cubicBezTo>
                      <a:pt x="142" y="42"/>
                      <a:pt x="141" y="44"/>
                      <a:pt x="140" y="45"/>
                    </a:cubicBezTo>
                    <a:cubicBezTo>
                      <a:pt x="139" y="46"/>
                      <a:pt x="136" y="49"/>
                      <a:pt x="135" y="50"/>
                    </a:cubicBezTo>
                    <a:cubicBezTo>
                      <a:pt x="133" y="51"/>
                      <a:pt x="128" y="51"/>
                      <a:pt x="125" y="51"/>
                    </a:cubicBezTo>
                    <a:cubicBezTo>
                      <a:pt x="123" y="51"/>
                      <a:pt x="120" y="50"/>
                      <a:pt x="118" y="50"/>
                    </a:cubicBezTo>
                    <a:cubicBezTo>
                      <a:pt x="117" y="49"/>
                      <a:pt x="114" y="50"/>
                      <a:pt x="113" y="50"/>
                    </a:cubicBezTo>
                    <a:cubicBezTo>
                      <a:pt x="112" y="50"/>
                      <a:pt x="110" y="51"/>
                      <a:pt x="109" y="52"/>
                    </a:cubicBezTo>
                    <a:cubicBezTo>
                      <a:pt x="108" y="53"/>
                      <a:pt x="106" y="55"/>
                      <a:pt x="106" y="56"/>
                    </a:cubicBezTo>
                    <a:cubicBezTo>
                      <a:pt x="106" y="57"/>
                      <a:pt x="107" y="59"/>
                      <a:pt x="106" y="60"/>
                    </a:cubicBezTo>
                    <a:cubicBezTo>
                      <a:pt x="106" y="60"/>
                      <a:pt x="105" y="60"/>
                      <a:pt x="104" y="61"/>
                    </a:cubicBezTo>
                    <a:cubicBezTo>
                      <a:pt x="104" y="61"/>
                      <a:pt x="104" y="63"/>
                      <a:pt x="104" y="63"/>
                    </a:cubicBezTo>
                    <a:cubicBezTo>
                      <a:pt x="105" y="64"/>
                      <a:pt x="106" y="66"/>
                      <a:pt x="106" y="67"/>
                    </a:cubicBezTo>
                    <a:cubicBezTo>
                      <a:pt x="107" y="69"/>
                      <a:pt x="106" y="72"/>
                      <a:pt x="106" y="74"/>
                    </a:cubicBezTo>
                    <a:cubicBezTo>
                      <a:pt x="105" y="75"/>
                      <a:pt x="102" y="76"/>
                      <a:pt x="100" y="77"/>
                    </a:cubicBezTo>
                    <a:cubicBezTo>
                      <a:pt x="99" y="78"/>
                      <a:pt x="95" y="80"/>
                      <a:pt x="93" y="81"/>
                    </a:cubicBezTo>
                    <a:cubicBezTo>
                      <a:pt x="92" y="82"/>
                      <a:pt x="91" y="84"/>
                      <a:pt x="90" y="85"/>
                    </a:cubicBezTo>
                    <a:cubicBezTo>
                      <a:pt x="90" y="85"/>
                      <a:pt x="87" y="85"/>
                      <a:pt x="86" y="85"/>
                    </a:cubicBezTo>
                    <a:cubicBezTo>
                      <a:pt x="85" y="85"/>
                      <a:pt x="83" y="87"/>
                      <a:pt x="82" y="87"/>
                    </a:cubicBezTo>
                    <a:cubicBezTo>
                      <a:pt x="80" y="88"/>
                      <a:pt x="77" y="88"/>
                      <a:pt x="75" y="88"/>
                    </a:cubicBezTo>
                    <a:cubicBezTo>
                      <a:pt x="74" y="87"/>
                      <a:pt x="71" y="83"/>
                      <a:pt x="70" y="82"/>
                    </a:cubicBezTo>
                    <a:cubicBezTo>
                      <a:pt x="69" y="82"/>
                      <a:pt x="66" y="80"/>
                      <a:pt x="65" y="80"/>
                    </a:cubicBezTo>
                    <a:cubicBezTo>
                      <a:pt x="63" y="78"/>
                      <a:pt x="60" y="76"/>
                      <a:pt x="59" y="74"/>
                    </a:cubicBezTo>
                    <a:cubicBezTo>
                      <a:pt x="58" y="72"/>
                      <a:pt x="58" y="68"/>
                      <a:pt x="57" y="66"/>
                    </a:cubicBezTo>
                    <a:cubicBezTo>
                      <a:pt x="57" y="65"/>
                      <a:pt x="55" y="63"/>
                      <a:pt x="54" y="62"/>
                    </a:cubicBezTo>
                    <a:cubicBezTo>
                      <a:pt x="54" y="61"/>
                      <a:pt x="56" y="59"/>
                      <a:pt x="55" y="58"/>
                    </a:cubicBezTo>
                    <a:cubicBezTo>
                      <a:pt x="55" y="57"/>
                      <a:pt x="52" y="57"/>
                      <a:pt x="51" y="56"/>
                    </a:cubicBezTo>
                    <a:cubicBezTo>
                      <a:pt x="51" y="56"/>
                      <a:pt x="50" y="54"/>
                      <a:pt x="49" y="54"/>
                    </a:cubicBezTo>
                    <a:cubicBezTo>
                      <a:pt x="48" y="54"/>
                      <a:pt x="46" y="55"/>
                      <a:pt x="46" y="56"/>
                    </a:cubicBezTo>
                    <a:cubicBezTo>
                      <a:pt x="45" y="57"/>
                      <a:pt x="44" y="60"/>
                      <a:pt x="45" y="61"/>
                    </a:cubicBezTo>
                    <a:cubicBezTo>
                      <a:pt x="45" y="62"/>
                      <a:pt x="47" y="63"/>
                      <a:pt x="47" y="64"/>
                    </a:cubicBezTo>
                    <a:cubicBezTo>
                      <a:pt x="47" y="65"/>
                      <a:pt x="45" y="67"/>
                      <a:pt x="45" y="68"/>
                    </a:cubicBezTo>
                    <a:cubicBezTo>
                      <a:pt x="45" y="69"/>
                      <a:pt x="46" y="70"/>
                      <a:pt x="46" y="71"/>
                    </a:cubicBezTo>
                    <a:cubicBezTo>
                      <a:pt x="45" y="72"/>
                      <a:pt x="43" y="74"/>
                      <a:pt x="42" y="74"/>
                    </a:cubicBezTo>
                    <a:cubicBezTo>
                      <a:pt x="41" y="74"/>
                      <a:pt x="40" y="72"/>
                      <a:pt x="39" y="72"/>
                    </a:cubicBezTo>
                    <a:cubicBezTo>
                      <a:pt x="38" y="71"/>
                      <a:pt x="37" y="72"/>
                      <a:pt x="36" y="72"/>
                    </a:cubicBezTo>
                    <a:cubicBezTo>
                      <a:pt x="35" y="73"/>
                      <a:pt x="35" y="75"/>
                      <a:pt x="34" y="75"/>
                    </a:cubicBezTo>
                    <a:cubicBezTo>
                      <a:pt x="34" y="77"/>
                      <a:pt x="33" y="79"/>
                      <a:pt x="32" y="80"/>
                    </a:cubicBezTo>
                    <a:cubicBezTo>
                      <a:pt x="31" y="81"/>
                      <a:pt x="29" y="82"/>
                      <a:pt x="28" y="82"/>
                    </a:cubicBezTo>
                    <a:cubicBezTo>
                      <a:pt x="27" y="83"/>
                      <a:pt x="25" y="81"/>
                      <a:pt x="24" y="81"/>
                    </a:cubicBezTo>
                    <a:cubicBezTo>
                      <a:pt x="23" y="82"/>
                      <a:pt x="20" y="83"/>
                      <a:pt x="19" y="84"/>
                    </a:cubicBezTo>
                    <a:cubicBezTo>
                      <a:pt x="18" y="84"/>
                      <a:pt x="17" y="87"/>
                      <a:pt x="16" y="88"/>
                    </a:cubicBezTo>
                    <a:cubicBezTo>
                      <a:pt x="16" y="88"/>
                      <a:pt x="14" y="89"/>
                      <a:pt x="14" y="90"/>
                    </a:cubicBezTo>
                    <a:cubicBezTo>
                      <a:pt x="13" y="90"/>
                      <a:pt x="10" y="91"/>
                      <a:pt x="9" y="92"/>
                    </a:cubicBezTo>
                    <a:cubicBezTo>
                      <a:pt x="8" y="92"/>
                      <a:pt x="5" y="93"/>
                      <a:pt x="5" y="94"/>
                    </a:cubicBezTo>
                    <a:cubicBezTo>
                      <a:pt x="5" y="95"/>
                      <a:pt x="8" y="95"/>
                      <a:pt x="8" y="96"/>
                    </a:cubicBezTo>
                    <a:cubicBezTo>
                      <a:pt x="8" y="96"/>
                      <a:pt x="7" y="98"/>
                      <a:pt x="7" y="99"/>
                    </a:cubicBezTo>
                    <a:cubicBezTo>
                      <a:pt x="8" y="99"/>
                      <a:pt x="10" y="99"/>
                      <a:pt x="10" y="100"/>
                    </a:cubicBezTo>
                    <a:cubicBezTo>
                      <a:pt x="11" y="101"/>
                      <a:pt x="10" y="102"/>
                      <a:pt x="10" y="103"/>
                    </a:cubicBezTo>
                    <a:cubicBezTo>
                      <a:pt x="10" y="103"/>
                      <a:pt x="8" y="103"/>
                      <a:pt x="8" y="104"/>
                    </a:cubicBezTo>
                    <a:cubicBezTo>
                      <a:pt x="8" y="105"/>
                      <a:pt x="8" y="106"/>
                      <a:pt x="8" y="107"/>
                    </a:cubicBezTo>
                    <a:cubicBezTo>
                      <a:pt x="7" y="107"/>
                      <a:pt x="6" y="108"/>
                      <a:pt x="6" y="108"/>
                    </a:cubicBezTo>
                    <a:cubicBezTo>
                      <a:pt x="6" y="109"/>
                      <a:pt x="8" y="109"/>
                      <a:pt x="8" y="110"/>
                    </a:cubicBezTo>
                    <a:cubicBezTo>
                      <a:pt x="9" y="111"/>
                      <a:pt x="9" y="112"/>
                      <a:pt x="8" y="113"/>
                    </a:cubicBezTo>
                    <a:cubicBezTo>
                      <a:pt x="8" y="113"/>
                      <a:pt x="7" y="114"/>
                      <a:pt x="6" y="114"/>
                    </a:cubicBezTo>
                    <a:cubicBezTo>
                      <a:pt x="5" y="114"/>
                      <a:pt x="4" y="116"/>
                      <a:pt x="4" y="116"/>
                    </a:cubicBezTo>
                    <a:cubicBezTo>
                      <a:pt x="4" y="117"/>
                      <a:pt x="4" y="119"/>
                      <a:pt x="5" y="120"/>
                    </a:cubicBezTo>
                    <a:cubicBezTo>
                      <a:pt x="5" y="121"/>
                      <a:pt x="7" y="122"/>
                      <a:pt x="7" y="123"/>
                    </a:cubicBezTo>
                    <a:cubicBezTo>
                      <a:pt x="8" y="124"/>
                      <a:pt x="7" y="127"/>
                      <a:pt x="7" y="128"/>
                    </a:cubicBezTo>
                    <a:cubicBezTo>
                      <a:pt x="7" y="130"/>
                      <a:pt x="7" y="133"/>
                      <a:pt x="7" y="135"/>
                    </a:cubicBezTo>
                    <a:cubicBezTo>
                      <a:pt x="6" y="135"/>
                      <a:pt x="4" y="136"/>
                      <a:pt x="3" y="137"/>
                    </a:cubicBezTo>
                    <a:cubicBezTo>
                      <a:pt x="3" y="137"/>
                      <a:pt x="1" y="138"/>
                      <a:pt x="0" y="139"/>
                    </a:cubicBezTo>
                    <a:cubicBezTo>
                      <a:pt x="0" y="140"/>
                      <a:pt x="0" y="141"/>
                      <a:pt x="0" y="142"/>
                    </a:cubicBezTo>
                    <a:cubicBezTo>
                      <a:pt x="1" y="143"/>
                      <a:pt x="3" y="144"/>
                      <a:pt x="3" y="145"/>
                    </a:cubicBezTo>
                    <a:cubicBezTo>
                      <a:pt x="4" y="146"/>
                      <a:pt x="5" y="149"/>
                      <a:pt x="6" y="151"/>
                    </a:cubicBezTo>
                    <a:cubicBezTo>
                      <a:pt x="7" y="153"/>
                      <a:pt x="8" y="156"/>
                      <a:pt x="8" y="158"/>
                    </a:cubicBezTo>
                    <a:cubicBezTo>
                      <a:pt x="8" y="159"/>
                      <a:pt x="8" y="162"/>
                      <a:pt x="9" y="163"/>
                    </a:cubicBezTo>
                    <a:cubicBezTo>
                      <a:pt x="9" y="164"/>
                      <a:pt x="13" y="166"/>
                      <a:pt x="14" y="168"/>
                    </a:cubicBezTo>
                    <a:cubicBezTo>
                      <a:pt x="15" y="168"/>
                      <a:pt x="16" y="170"/>
                      <a:pt x="16" y="170"/>
                    </a:cubicBezTo>
                    <a:cubicBezTo>
                      <a:pt x="18" y="171"/>
                      <a:pt x="21" y="170"/>
                      <a:pt x="22" y="170"/>
                    </a:cubicBezTo>
                    <a:cubicBezTo>
                      <a:pt x="24" y="170"/>
                      <a:pt x="26" y="172"/>
                      <a:pt x="28" y="173"/>
                    </a:cubicBezTo>
                    <a:cubicBezTo>
                      <a:pt x="29" y="173"/>
                      <a:pt x="30" y="174"/>
                      <a:pt x="31" y="175"/>
                    </a:cubicBezTo>
                    <a:cubicBezTo>
                      <a:pt x="32" y="177"/>
                      <a:pt x="32" y="180"/>
                      <a:pt x="33" y="182"/>
                    </a:cubicBezTo>
                    <a:cubicBezTo>
                      <a:pt x="34" y="184"/>
                      <a:pt x="37" y="188"/>
                      <a:pt x="39" y="190"/>
                    </a:cubicBezTo>
                    <a:cubicBezTo>
                      <a:pt x="41" y="191"/>
                      <a:pt x="44" y="191"/>
                      <a:pt x="46" y="191"/>
                    </a:cubicBezTo>
                    <a:cubicBezTo>
                      <a:pt x="49" y="191"/>
                      <a:pt x="54" y="188"/>
                      <a:pt x="57" y="187"/>
                    </a:cubicBezTo>
                    <a:cubicBezTo>
                      <a:pt x="58" y="187"/>
                      <a:pt x="62" y="187"/>
                      <a:pt x="64" y="187"/>
                    </a:cubicBezTo>
                    <a:cubicBezTo>
                      <a:pt x="66" y="187"/>
                      <a:pt x="70" y="186"/>
                      <a:pt x="73" y="186"/>
                    </a:cubicBezTo>
                    <a:cubicBezTo>
                      <a:pt x="75" y="186"/>
                      <a:pt x="80" y="186"/>
                      <a:pt x="82" y="186"/>
                    </a:cubicBezTo>
                    <a:cubicBezTo>
                      <a:pt x="83" y="186"/>
                      <a:pt x="86" y="186"/>
                      <a:pt x="87" y="186"/>
                    </a:cubicBezTo>
                    <a:cubicBezTo>
                      <a:pt x="89" y="186"/>
                      <a:pt x="92" y="188"/>
                      <a:pt x="93" y="189"/>
                    </a:cubicBezTo>
                    <a:cubicBezTo>
                      <a:pt x="94" y="190"/>
                      <a:pt x="94" y="192"/>
                      <a:pt x="94" y="193"/>
                    </a:cubicBezTo>
                    <a:cubicBezTo>
                      <a:pt x="95" y="194"/>
                      <a:pt x="100" y="194"/>
                      <a:pt x="101" y="195"/>
                    </a:cubicBezTo>
                    <a:cubicBezTo>
                      <a:pt x="102" y="196"/>
                      <a:pt x="102" y="199"/>
                      <a:pt x="102" y="200"/>
                    </a:cubicBezTo>
                    <a:cubicBezTo>
                      <a:pt x="103" y="201"/>
                      <a:pt x="105" y="202"/>
                      <a:pt x="106" y="203"/>
                    </a:cubicBezTo>
                    <a:cubicBezTo>
                      <a:pt x="109" y="203"/>
                      <a:pt x="113" y="199"/>
                      <a:pt x="115" y="199"/>
                    </a:cubicBezTo>
                    <a:cubicBezTo>
                      <a:pt x="117" y="199"/>
                      <a:pt x="122" y="200"/>
                      <a:pt x="124" y="200"/>
                    </a:cubicBezTo>
                    <a:cubicBezTo>
                      <a:pt x="125" y="201"/>
                      <a:pt x="126" y="202"/>
                      <a:pt x="127" y="202"/>
                    </a:cubicBezTo>
                    <a:cubicBezTo>
                      <a:pt x="129" y="203"/>
                      <a:pt x="133" y="202"/>
                      <a:pt x="134" y="203"/>
                    </a:cubicBezTo>
                    <a:cubicBezTo>
                      <a:pt x="136" y="204"/>
                      <a:pt x="136" y="207"/>
                      <a:pt x="137" y="208"/>
                    </a:cubicBezTo>
                    <a:cubicBezTo>
                      <a:pt x="138" y="209"/>
                      <a:pt x="141" y="211"/>
                      <a:pt x="142" y="213"/>
                    </a:cubicBezTo>
                    <a:cubicBezTo>
                      <a:pt x="143" y="214"/>
                      <a:pt x="146" y="215"/>
                      <a:pt x="147" y="217"/>
                    </a:cubicBezTo>
                    <a:cubicBezTo>
                      <a:pt x="148" y="218"/>
                      <a:pt x="149" y="221"/>
                      <a:pt x="151" y="222"/>
                    </a:cubicBezTo>
                    <a:cubicBezTo>
                      <a:pt x="151" y="223"/>
                      <a:pt x="153" y="222"/>
                      <a:pt x="154" y="223"/>
                    </a:cubicBezTo>
                    <a:cubicBezTo>
                      <a:pt x="155" y="224"/>
                      <a:pt x="158" y="227"/>
                      <a:pt x="159" y="228"/>
                    </a:cubicBezTo>
                    <a:cubicBezTo>
                      <a:pt x="160" y="229"/>
                      <a:pt x="162" y="230"/>
                      <a:pt x="163" y="231"/>
                    </a:cubicBezTo>
                    <a:cubicBezTo>
                      <a:pt x="166" y="232"/>
                      <a:pt x="170" y="234"/>
                      <a:pt x="172" y="236"/>
                    </a:cubicBezTo>
                    <a:cubicBezTo>
                      <a:pt x="173" y="236"/>
                      <a:pt x="175" y="238"/>
                      <a:pt x="176" y="239"/>
                    </a:cubicBezTo>
                    <a:cubicBezTo>
                      <a:pt x="178" y="239"/>
                      <a:pt x="180" y="239"/>
                      <a:pt x="181" y="239"/>
                    </a:cubicBezTo>
                    <a:cubicBezTo>
                      <a:pt x="182" y="240"/>
                      <a:pt x="184" y="241"/>
                      <a:pt x="185" y="242"/>
                    </a:cubicBezTo>
                    <a:cubicBezTo>
                      <a:pt x="186" y="242"/>
                      <a:pt x="189" y="242"/>
                      <a:pt x="190" y="242"/>
                    </a:cubicBezTo>
                    <a:cubicBezTo>
                      <a:pt x="192" y="243"/>
                      <a:pt x="194" y="244"/>
                      <a:pt x="196" y="244"/>
                    </a:cubicBezTo>
                    <a:cubicBezTo>
                      <a:pt x="197" y="244"/>
                      <a:pt x="200" y="244"/>
                      <a:pt x="201" y="245"/>
                    </a:cubicBezTo>
                    <a:cubicBezTo>
                      <a:pt x="203" y="246"/>
                      <a:pt x="207" y="250"/>
                      <a:pt x="209" y="252"/>
                    </a:cubicBezTo>
                    <a:cubicBezTo>
                      <a:pt x="210" y="252"/>
                      <a:pt x="211" y="255"/>
                      <a:pt x="212" y="255"/>
                    </a:cubicBezTo>
                    <a:cubicBezTo>
                      <a:pt x="212" y="256"/>
                      <a:pt x="213" y="255"/>
                      <a:pt x="214" y="256"/>
                    </a:cubicBezTo>
                    <a:cubicBezTo>
                      <a:pt x="215" y="256"/>
                      <a:pt x="215" y="259"/>
                      <a:pt x="215" y="260"/>
                    </a:cubicBezTo>
                    <a:cubicBezTo>
                      <a:pt x="216" y="261"/>
                      <a:pt x="219" y="264"/>
                      <a:pt x="221" y="264"/>
                    </a:cubicBezTo>
                    <a:cubicBezTo>
                      <a:pt x="223" y="265"/>
                      <a:pt x="227" y="265"/>
                      <a:pt x="228" y="266"/>
                    </a:cubicBezTo>
                    <a:cubicBezTo>
                      <a:pt x="230" y="267"/>
                      <a:pt x="231" y="270"/>
                      <a:pt x="233" y="271"/>
                    </a:cubicBezTo>
                    <a:cubicBezTo>
                      <a:pt x="234" y="271"/>
                      <a:pt x="236" y="271"/>
                      <a:pt x="237" y="271"/>
                    </a:cubicBezTo>
                    <a:cubicBezTo>
                      <a:pt x="239" y="271"/>
                      <a:pt x="243" y="271"/>
                      <a:pt x="245" y="272"/>
                    </a:cubicBezTo>
                    <a:cubicBezTo>
                      <a:pt x="246" y="273"/>
                      <a:pt x="247" y="275"/>
                      <a:pt x="248" y="275"/>
                    </a:cubicBezTo>
                    <a:cubicBezTo>
                      <a:pt x="249" y="276"/>
                      <a:pt x="252" y="276"/>
                      <a:pt x="253" y="277"/>
                    </a:cubicBezTo>
                    <a:cubicBezTo>
                      <a:pt x="254" y="278"/>
                      <a:pt x="253" y="281"/>
                      <a:pt x="254" y="282"/>
                    </a:cubicBezTo>
                    <a:cubicBezTo>
                      <a:pt x="255" y="283"/>
                      <a:pt x="259" y="284"/>
                      <a:pt x="260" y="284"/>
                    </a:cubicBezTo>
                    <a:cubicBezTo>
                      <a:pt x="262" y="283"/>
                      <a:pt x="265" y="281"/>
                      <a:pt x="267" y="281"/>
                    </a:cubicBezTo>
                    <a:cubicBezTo>
                      <a:pt x="269" y="281"/>
                      <a:pt x="272" y="282"/>
                      <a:pt x="274" y="281"/>
                    </a:cubicBezTo>
                    <a:cubicBezTo>
                      <a:pt x="276" y="281"/>
                      <a:pt x="281" y="279"/>
                      <a:pt x="283" y="279"/>
                    </a:cubicBezTo>
                    <a:cubicBezTo>
                      <a:pt x="285" y="278"/>
                      <a:pt x="291" y="279"/>
                      <a:pt x="293" y="280"/>
                    </a:cubicBezTo>
                    <a:cubicBezTo>
                      <a:pt x="295" y="280"/>
                      <a:pt x="299" y="282"/>
                      <a:pt x="302" y="282"/>
                    </a:cubicBezTo>
                    <a:cubicBezTo>
                      <a:pt x="303" y="282"/>
                      <a:pt x="307" y="281"/>
                      <a:pt x="309" y="281"/>
                    </a:cubicBezTo>
                    <a:cubicBezTo>
                      <a:pt x="310" y="281"/>
                      <a:pt x="314" y="283"/>
                      <a:pt x="315" y="283"/>
                    </a:cubicBezTo>
                    <a:cubicBezTo>
                      <a:pt x="317" y="284"/>
                      <a:pt x="321" y="284"/>
                      <a:pt x="323" y="285"/>
                    </a:cubicBezTo>
                    <a:cubicBezTo>
                      <a:pt x="324" y="286"/>
                      <a:pt x="327" y="288"/>
                      <a:pt x="329" y="289"/>
                    </a:cubicBezTo>
                    <a:cubicBezTo>
                      <a:pt x="330" y="290"/>
                      <a:pt x="333" y="291"/>
                      <a:pt x="334" y="291"/>
                    </a:cubicBezTo>
                    <a:cubicBezTo>
                      <a:pt x="336" y="293"/>
                      <a:pt x="340" y="297"/>
                      <a:pt x="342" y="298"/>
                    </a:cubicBezTo>
                    <a:cubicBezTo>
                      <a:pt x="343" y="300"/>
                      <a:pt x="348" y="302"/>
                      <a:pt x="349" y="304"/>
                    </a:cubicBezTo>
                    <a:cubicBezTo>
                      <a:pt x="350" y="305"/>
                      <a:pt x="350" y="308"/>
                      <a:pt x="350" y="309"/>
                    </a:cubicBezTo>
                    <a:cubicBezTo>
                      <a:pt x="351" y="311"/>
                      <a:pt x="352" y="313"/>
                      <a:pt x="353" y="315"/>
                    </a:cubicBezTo>
                    <a:cubicBezTo>
                      <a:pt x="354" y="316"/>
                      <a:pt x="356" y="317"/>
                      <a:pt x="357" y="318"/>
                    </a:cubicBezTo>
                    <a:cubicBezTo>
                      <a:pt x="359" y="320"/>
                      <a:pt x="360" y="325"/>
                      <a:pt x="361" y="328"/>
                    </a:cubicBezTo>
                    <a:cubicBezTo>
                      <a:pt x="362" y="329"/>
                      <a:pt x="364" y="331"/>
                      <a:pt x="365" y="333"/>
                    </a:cubicBezTo>
                    <a:cubicBezTo>
                      <a:pt x="365" y="334"/>
                      <a:pt x="364" y="336"/>
                      <a:pt x="364" y="337"/>
                    </a:cubicBezTo>
                    <a:cubicBezTo>
                      <a:pt x="365" y="338"/>
                      <a:pt x="368" y="339"/>
                      <a:pt x="370" y="340"/>
                    </a:cubicBezTo>
                    <a:cubicBezTo>
                      <a:pt x="370" y="340"/>
                      <a:pt x="371" y="342"/>
                      <a:pt x="372" y="342"/>
                    </a:cubicBezTo>
                    <a:cubicBezTo>
                      <a:pt x="373" y="343"/>
                      <a:pt x="377" y="343"/>
                      <a:pt x="378" y="343"/>
                    </a:cubicBezTo>
                    <a:cubicBezTo>
                      <a:pt x="380" y="343"/>
                      <a:pt x="383" y="344"/>
                      <a:pt x="384" y="345"/>
                    </a:cubicBezTo>
                    <a:cubicBezTo>
                      <a:pt x="386" y="345"/>
                      <a:pt x="390" y="345"/>
                      <a:pt x="392" y="346"/>
                    </a:cubicBezTo>
                    <a:cubicBezTo>
                      <a:pt x="394" y="346"/>
                      <a:pt x="398" y="347"/>
                      <a:pt x="399" y="348"/>
                    </a:cubicBezTo>
                    <a:cubicBezTo>
                      <a:pt x="400" y="349"/>
                      <a:pt x="401" y="353"/>
                      <a:pt x="402" y="354"/>
                    </a:cubicBezTo>
                    <a:cubicBezTo>
                      <a:pt x="403" y="355"/>
                      <a:pt x="404" y="356"/>
                      <a:pt x="405" y="356"/>
                    </a:cubicBezTo>
                    <a:cubicBezTo>
                      <a:pt x="407" y="356"/>
                      <a:pt x="410" y="355"/>
                      <a:pt x="412" y="356"/>
                    </a:cubicBezTo>
                    <a:cubicBezTo>
                      <a:pt x="414" y="356"/>
                      <a:pt x="416" y="357"/>
                      <a:pt x="418" y="358"/>
                    </a:cubicBezTo>
                    <a:cubicBezTo>
                      <a:pt x="419" y="358"/>
                      <a:pt x="422" y="359"/>
                      <a:pt x="424" y="359"/>
                    </a:cubicBezTo>
                    <a:cubicBezTo>
                      <a:pt x="425" y="359"/>
                      <a:pt x="427" y="356"/>
                      <a:pt x="428" y="356"/>
                    </a:cubicBezTo>
                    <a:cubicBezTo>
                      <a:pt x="429" y="355"/>
                      <a:pt x="432" y="354"/>
                      <a:pt x="433" y="354"/>
                    </a:cubicBezTo>
                    <a:cubicBezTo>
                      <a:pt x="434" y="353"/>
                      <a:pt x="436" y="352"/>
                      <a:pt x="437" y="352"/>
                    </a:cubicBezTo>
                    <a:cubicBezTo>
                      <a:pt x="439" y="352"/>
                      <a:pt x="443" y="352"/>
                      <a:pt x="444" y="353"/>
                    </a:cubicBezTo>
                    <a:cubicBezTo>
                      <a:pt x="446" y="353"/>
                      <a:pt x="447" y="356"/>
                      <a:pt x="448" y="357"/>
                    </a:cubicBezTo>
                    <a:cubicBezTo>
                      <a:pt x="449" y="358"/>
                      <a:pt x="451" y="360"/>
                      <a:pt x="453" y="360"/>
                    </a:cubicBezTo>
                    <a:cubicBezTo>
                      <a:pt x="454" y="360"/>
                      <a:pt x="457" y="357"/>
                      <a:pt x="458" y="357"/>
                    </a:cubicBezTo>
                    <a:cubicBezTo>
                      <a:pt x="460" y="356"/>
                      <a:pt x="463" y="357"/>
                      <a:pt x="465" y="357"/>
                    </a:cubicBezTo>
                    <a:cubicBezTo>
                      <a:pt x="466" y="358"/>
                      <a:pt x="468" y="362"/>
                      <a:pt x="469" y="363"/>
                    </a:cubicBezTo>
                    <a:cubicBezTo>
                      <a:pt x="470" y="364"/>
                      <a:pt x="472" y="366"/>
                      <a:pt x="473" y="366"/>
                    </a:cubicBezTo>
                    <a:cubicBezTo>
                      <a:pt x="474" y="367"/>
                      <a:pt x="476" y="368"/>
                      <a:pt x="477" y="367"/>
                    </a:cubicBezTo>
                    <a:cubicBezTo>
                      <a:pt x="479" y="367"/>
                      <a:pt x="478" y="364"/>
                      <a:pt x="479" y="363"/>
                    </a:cubicBezTo>
                    <a:cubicBezTo>
                      <a:pt x="480" y="362"/>
                      <a:pt x="483" y="364"/>
                      <a:pt x="484" y="363"/>
                    </a:cubicBezTo>
                    <a:cubicBezTo>
                      <a:pt x="485" y="362"/>
                      <a:pt x="484" y="358"/>
                      <a:pt x="483" y="357"/>
                    </a:cubicBezTo>
                    <a:cubicBezTo>
                      <a:pt x="483" y="355"/>
                      <a:pt x="481" y="353"/>
                      <a:pt x="481" y="352"/>
                    </a:cubicBezTo>
                    <a:cubicBezTo>
                      <a:pt x="481" y="351"/>
                      <a:pt x="481" y="348"/>
                      <a:pt x="481" y="347"/>
                    </a:cubicBezTo>
                    <a:cubicBezTo>
                      <a:pt x="481" y="346"/>
                      <a:pt x="479" y="344"/>
                      <a:pt x="479" y="343"/>
                    </a:cubicBezTo>
                    <a:cubicBezTo>
                      <a:pt x="478" y="341"/>
                      <a:pt x="477" y="336"/>
                      <a:pt x="477" y="333"/>
                    </a:cubicBezTo>
                    <a:cubicBezTo>
                      <a:pt x="476" y="331"/>
                      <a:pt x="476" y="328"/>
                      <a:pt x="476" y="326"/>
                    </a:cubicBezTo>
                    <a:cubicBezTo>
                      <a:pt x="477" y="324"/>
                      <a:pt x="479" y="321"/>
                      <a:pt x="480" y="319"/>
                    </a:cubicBezTo>
                    <a:cubicBezTo>
                      <a:pt x="480" y="318"/>
                      <a:pt x="480" y="314"/>
                      <a:pt x="481" y="312"/>
                    </a:cubicBezTo>
                    <a:cubicBezTo>
                      <a:pt x="482" y="311"/>
                      <a:pt x="486" y="308"/>
                      <a:pt x="487" y="307"/>
                    </a:cubicBezTo>
                    <a:cubicBezTo>
                      <a:pt x="488" y="306"/>
                      <a:pt x="489" y="303"/>
                      <a:pt x="489" y="302"/>
                    </a:cubicBezTo>
                    <a:cubicBezTo>
                      <a:pt x="490" y="302"/>
                      <a:pt x="491" y="301"/>
                      <a:pt x="491" y="300"/>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FFA6B1DF-781F-F188-3FEA-D318A483CBF6}"/>
                  </a:ext>
                </a:extLst>
              </p:cNvPr>
              <p:cNvSpPr>
                <a:spLocks/>
              </p:cNvSpPr>
              <p:nvPr/>
            </p:nvSpPr>
            <p:spPr bwMode="auto">
              <a:xfrm>
                <a:off x="7616244" y="5590494"/>
                <a:ext cx="35238" cy="52128"/>
              </a:xfrm>
              <a:custGeom>
                <a:avLst/>
                <a:gdLst/>
                <a:ahLst/>
                <a:cxnLst>
                  <a:cxn ang="0">
                    <a:pos x="22" y="29"/>
                  </a:cxn>
                  <a:cxn ang="0">
                    <a:pos x="17" y="34"/>
                  </a:cxn>
                  <a:cxn ang="0">
                    <a:pos x="13" y="34"/>
                  </a:cxn>
                  <a:cxn ang="0">
                    <a:pos x="9" y="32"/>
                  </a:cxn>
                  <a:cxn ang="0">
                    <a:pos x="8" y="29"/>
                  </a:cxn>
                  <a:cxn ang="0">
                    <a:pos x="6" y="28"/>
                  </a:cxn>
                  <a:cxn ang="0">
                    <a:pos x="6" y="23"/>
                  </a:cxn>
                  <a:cxn ang="0">
                    <a:pos x="2" y="21"/>
                  </a:cxn>
                  <a:cxn ang="0">
                    <a:pos x="1" y="16"/>
                  </a:cxn>
                  <a:cxn ang="0">
                    <a:pos x="0" y="11"/>
                  </a:cxn>
                  <a:cxn ang="0">
                    <a:pos x="1" y="8"/>
                  </a:cxn>
                  <a:cxn ang="0">
                    <a:pos x="0" y="5"/>
                  </a:cxn>
                  <a:cxn ang="0">
                    <a:pos x="1" y="1"/>
                  </a:cxn>
                  <a:cxn ang="0">
                    <a:pos x="5" y="1"/>
                  </a:cxn>
                  <a:cxn ang="0">
                    <a:pos x="7" y="4"/>
                  </a:cxn>
                  <a:cxn ang="0">
                    <a:pos x="6" y="5"/>
                  </a:cxn>
                  <a:cxn ang="0">
                    <a:pos x="7" y="10"/>
                  </a:cxn>
                  <a:cxn ang="0">
                    <a:pos x="12" y="13"/>
                  </a:cxn>
                  <a:cxn ang="0">
                    <a:pos x="14" y="13"/>
                  </a:cxn>
                  <a:cxn ang="0">
                    <a:pos x="17" y="16"/>
                  </a:cxn>
                  <a:cxn ang="0">
                    <a:pos x="21" y="19"/>
                  </a:cxn>
                  <a:cxn ang="0">
                    <a:pos x="23" y="23"/>
                  </a:cxn>
                  <a:cxn ang="0">
                    <a:pos x="23" y="26"/>
                  </a:cxn>
                  <a:cxn ang="0">
                    <a:pos x="22" y="29"/>
                  </a:cxn>
                </a:cxnLst>
                <a:rect l="0" t="0" r="r" b="b"/>
                <a:pathLst>
                  <a:path w="23" h="35">
                    <a:moveTo>
                      <a:pt x="22" y="29"/>
                    </a:moveTo>
                    <a:cubicBezTo>
                      <a:pt x="21" y="30"/>
                      <a:pt x="19" y="33"/>
                      <a:pt x="17" y="34"/>
                    </a:cubicBezTo>
                    <a:cubicBezTo>
                      <a:pt x="16" y="34"/>
                      <a:pt x="14" y="35"/>
                      <a:pt x="13" y="34"/>
                    </a:cubicBezTo>
                    <a:cubicBezTo>
                      <a:pt x="12" y="34"/>
                      <a:pt x="9" y="33"/>
                      <a:pt x="9" y="32"/>
                    </a:cubicBezTo>
                    <a:cubicBezTo>
                      <a:pt x="8" y="31"/>
                      <a:pt x="8" y="29"/>
                      <a:pt x="8" y="29"/>
                    </a:cubicBezTo>
                    <a:cubicBezTo>
                      <a:pt x="8" y="28"/>
                      <a:pt x="6" y="28"/>
                      <a:pt x="6" y="28"/>
                    </a:cubicBezTo>
                    <a:cubicBezTo>
                      <a:pt x="5" y="27"/>
                      <a:pt x="6" y="24"/>
                      <a:pt x="6" y="23"/>
                    </a:cubicBezTo>
                    <a:cubicBezTo>
                      <a:pt x="5" y="22"/>
                      <a:pt x="3" y="22"/>
                      <a:pt x="2" y="21"/>
                    </a:cubicBezTo>
                    <a:cubicBezTo>
                      <a:pt x="2" y="20"/>
                      <a:pt x="1" y="17"/>
                      <a:pt x="1" y="16"/>
                    </a:cubicBezTo>
                    <a:cubicBezTo>
                      <a:pt x="0" y="15"/>
                      <a:pt x="0" y="12"/>
                      <a:pt x="0" y="11"/>
                    </a:cubicBezTo>
                    <a:cubicBezTo>
                      <a:pt x="1" y="10"/>
                      <a:pt x="1" y="9"/>
                      <a:pt x="1" y="8"/>
                    </a:cubicBezTo>
                    <a:cubicBezTo>
                      <a:pt x="1" y="7"/>
                      <a:pt x="0" y="6"/>
                      <a:pt x="0" y="5"/>
                    </a:cubicBezTo>
                    <a:cubicBezTo>
                      <a:pt x="0" y="4"/>
                      <a:pt x="0" y="2"/>
                      <a:pt x="1" y="1"/>
                    </a:cubicBezTo>
                    <a:cubicBezTo>
                      <a:pt x="2" y="0"/>
                      <a:pt x="4" y="1"/>
                      <a:pt x="5" y="1"/>
                    </a:cubicBezTo>
                    <a:cubicBezTo>
                      <a:pt x="6" y="2"/>
                      <a:pt x="7" y="3"/>
                      <a:pt x="7" y="4"/>
                    </a:cubicBezTo>
                    <a:cubicBezTo>
                      <a:pt x="7" y="4"/>
                      <a:pt x="6" y="5"/>
                      <a:pt x="6" y="5"/>
                    </a:cubicBezTo>
                    <a:cubicBezTo>
                      <a:pt x="6" y="6"/>
                      <a:pt x="6" y="9"/>
                      <a:pt x="7" y="10"/>
                    </a:cubicBezTo>
                    <a:cubicBezTo>
                      <a:pt x="7" y="11"/>
                      <a:pt x="10" y="13"/>
                      <a:pt x="12" y="13"/>
                    </a:cubicBezTo>
                    <a:cubicBezTo>
                      <a:pt x="12" y="14"/>
                      <a:pt x="14" y="13"/>
                      <a:pt x="14" y="13"/>
                    </a:cubicBezTo>
                    <a:cubicBezTo>
                      <a:pt x="15" y="14"/>
                      <a:pt x="16" y="16"/>
                      <a:pt x="17" y="16"/>
                    </a:cubicBezTo>
                    <a:cubicBezTo>
                      <a:pt x="18" y="17"/>
                      <a:pt x="20" y="18"/>
                      <a:pt x="21" y="19"/>
                    </a:cubicBezTo>
                    <a:cubicBezTo>
                      <a:pt x="21" y="20"/>
                      <a:pt x="23" y="22"/>
                      <a:pt x="23" y="23"/>
                    </a:cubicBezTo>
                    <a:cubicBezTo>
                      <a:pt x="23" y="23"/>
                      <a:pt x="23" y="25"/>
                      <a:pt x="23" y="26"/>
                    </a:cubicBezTo>
                    <a:cubicBezTo>
                      <a:pt x="22" y="26"/>
                      <a:pt x="22" y="28"/>
                      <a:pt x="22" y="29"/>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78C04831-90D3-A22B-E4DC-80A09E7EA82C}"/>
                  </a:ext>
                </a:extLst>
              </p:cNvPr>
              <p:cNvSpPr>
                <a:spLocks/>
              </p:cNvSpPr>
              <p:nvPr/>
            </p:nvSpPr>
            <p:spPr bwMode="auto">
              <a:xfrm>
                <a:off x="7631153" y="5228277"/>
                <a:ext cx="24396" cy="21386"/>
              </a:xfrm>
              <a:custGeom>
                <a:avLst/>
                <a:gdLst/>
                <a:ahLst/>
                <a:cxnLst>
                  <a:cxn ang="0">
                    <a:pos x="16" y="10"/>
                  </a:cxn>
                  <a:cxn ang="0">
                    <a:pos x="12" y="9"/>
                  </a:cxn>
                  <a:cxn ang="0">
                    <a:pos x="11" y="5"/>
                  </a:cxn>
                  <a:cxn ang="0">
                    <a:pos x="9" y="4"/>
                  </a:cxn>
                  <a:cxn ang="0">
                    <a:pos x="9" y="1"/>
                  </a:cxn>
                  <a:cxn ang="0">
                    <a:pos x="5" y="0"/>
                  </a:cxn>
                  <a:cxn ang="0">
                    <a:pos x="1" y="1"/>
                  </a:cxn>
                  <a:cxn ang="0">
                    <a:pos x="2" y="4"/>
                  </a:cxn>
                  <a:cxn ang="0">
                    <a:pos x="1" y="7"/>
                  </a:cxn>
                  <a:cxn ang="0">
                    <a:pos x="5" y="9"/>
                  </a:cxn>
                  <a:cxn ang="0">
                    <a:pos x="8" y="9"/>
                  </a:cxn>
                  <a:cxn ang="0">
                    <a:pos x="9" y="12"/>
                  </a:cxn>
                  <a:cxn ang="0">
                    <a:pos x="13" y="14"/>
                  </a:cxn>
                  <a:cxn ang="0">
                    <a:pos x="16" y="12"/>
                  </a:cxn>
                  <a:cxn ang="0">
                    <a:pos x="16" y="10"/>
                  </a:cxn>
                </a:cxnLst>
                <a:rect l="0" t="0" r="r" b="b"/>
                <a:pathLst>
                  <a:path w="16" h="14">
                    <a:moveTo>
                      <a:pt x="16" y="10"/>
                    </a:moveTo>
                    <a:cubicBezTo>
                      <a:pt x="15" y="9"/>
                      <a:pt x="13" y="10"/>
                      <a:pt x="12" y="9"/>
                    </a:cubicBezTo>
                    <a:cubicBezTo>
                      <a:pt x="11" y="8"/>
                      <a:pt x="12" y="6"/>
                      <a:pt x="11" y="5"/>
                    </a:cubicBezTo>
                    <a:cubicBezTo>
                      <a:pt x="11" y="5"/>
                      <a:pt x="9" y="4"/>
                      <a:pt x="9" y="4"/>
                    </a:cubicBezTo>
                    <a:cubicBezTo>
                      <a:pt x="9" y="3"/>
                      <a:pt x="10" y="1"/>
                      <a:pt x="9" y="1"/>
                    </a:cubicBezTo>
                    <a:cubicBezTo>
                      <a:pt x="8" y="0"/>
                      <a:pt x="6" y="0"/>
                      <a:pt x="5" y="0"/>
                    </a:cubicBezTo>
                    <a:cubicBezTo>
                      <a:pt x="4" y="0"/>
                      <a:pt x="1" y="0"/>
                      <a:pt x="1" y="1"/>
                    </a:cubicBezTo>
                    <a:cubicBezTo>
                      <a:pt x="0" y="2"/>
                      <a:pt x="2" y="3"/>
                      <a:pt x="2" y="4"/>
                    </a:cubicBezTo>
                    <a:cubicBezTo>
                      <a:pt x="2" y="5"/>
                      <a:pt x="1" y="6"/>
                      <a:pt x="1" y="7"/>
                    </a:cubicBezTo>
                    <a:cubicBezTo>
                      <a:pt x="1" y="8"/>
                      <a:pt x="4" y="8"/>
                      <a:pt x="5" y="9"/>
                    </a:cubicBezTo>
                    <a:cubicBezTo>
                      <a:pt x="5" y="9"/>
                      <a:pt x="7" y="9"/>
                      <a:pt x="8" y="9"/>
                    </a:cubicBezTo>
                    <a:cubicBezTo>
                      <a:pt x="8" y="9"/>
                      <a:pt x="8" y="11"/>
                      <a:pt x="9" y="12"/>
                    </a:cubicBezTo>
                    <a:cubicBezTo>
                      <a:pt x="10" y="13"/>
                      <a:pt x="12" y="14"/>
                      <a:pt x="13" y="14"/>
                    </a:cubicBezTo>
                    <a:cubicBezTo>
                      <a:pt x="14" y="14"/>
                      <a:pt x="16" y="13"/>
                      <a:pt x="16" y="12"/>
                    </a:cubicBezTo>
                    <a:cubicBezTo>
                      <a:pt x="16" y="12"/>
                      <a:pt x="16" y="11"/>
                      <a:pt x="16" y="10"/>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589A951C-9BD4-EAD4-A3E9-8BB662396940}"/>
                  </a:ext>
                </a:extLst>
              </p:cNvPr>
              <p:cNvSpPr>
                <a:spLocks/>
              </p:cNvSpPr>
              <p:nvPr/>
            </p:nvSpPr>
            <p:spPr bwMode="auto">
              <a:xfrm>
                <a:off x="7692142" y="5237633"/>
                <a:ext cx="27106" cy="17376"/>
              </a:xfrm>
              <a:custGeom>
                <a:avLst/>
                <a:gdLst/>
                <a:ahLst/>
                <a:cxnLst>
                  <a:cxn ang="0">
                    <a:pos x="11" y="3"/>
                  </a:cxn>
                  <a:cxn ang="0">
                    <a:pos x="7" y="3"/>
                  </a:cxn>
                  <a:cxn ang="0">
                    <a:pos x="6" y="0"/>
                  </a:cxn>
                  <a:cxn ang="0">
                    <a:pos x="4" y="2"/>
                  </a:cxn>
                  <a:cxn ang="0">
                    <a:pos x="3" y="3"/>
                  </a:cxn>
                  <a:cxn ang="0">
                    <a:pos x="0" y="4"/>
                  </a:cxn>
                  <a:cxn ang="0">
                    <a:pos x="2" y="6"/>
                  </a:cxn>
                  <a:cxn ang="0">
                    <a:pos x="2" y="9"/>
                  </a:cxn>
                  <a:cxn ang="0">
                    <a:pos x="6" y="9"/>
                  </a:cxn>
                  <a:cxn ang="0">
                    <a:pos x="9" y="7"/>
                  </a:cxn>
                  <a:cxn ang="0">
                    <a:pos x="12" y="10"/>
                  </a:cxn>
                  <a:cxn ang="0">
                    <a:pos x="13" y="11"/>
                  </a:cxn>
                  <a:cxn ang="0">
                    <a:pos x="18" y="9"/>
                  </a:cxn>
                  <a:cxn ang="0">
                    <a:pos x="16" y="5"/>
                  </a:cxn>
                  <a:cxn ang="0">
                    <a:pos x="13" y="5"/>
                  </a:cxn>
                  <a:cxn ang="0">
                    <a:pos x="11" y="3"/>
                  </a:cxn>
                </a:cxnLst>
                <a:rect l="0" t="0" r="r" b="b"/>
                <a:pathLst>
                  <a:path w="18" h="12">
                    <a:moveTo>
                      <a:pt x="11" y="3"/>
                    </a:moveTo>
                    <a:cubicBezTo>
                      <a:pt x="10" y="3"/>
                      <a:pt x="8" y="4"/>
                      <a:pt x="7" y="3"/>
                    </a:cubicBezTo>
                    <a:cubicBezTo>
                      <a:pt x="7" y="3"/>
                      <a:pt x="7" y="1"/>
                      <a:pt x="6" y="0"/>
                    </a:cubicBezTo>
                    <a:cubicBezTo>
                      <a:pt x="6" y="0"/>
                      <a:pt x="4" y="1"/>
                      <a:pt x="4" y="2"/>
                    </a:cubicBezTo>
                    <a:cubicBezTo>
                      <a:pt x="4" y="2"/>
                      <a:pt x="3" y="3"/>
                      <a:pt x="3" y="3"/>
                    </a:cubicBezTo>
                    <a:cubicBezTo>
                      <a:pt x="3" y="4"/>
                      <a:pt x="1" y="3"/>
                      <a:pt x="0" y="4"/>
                    </a:cubicBezTo>
                    <a:cubicBezTo>
                      <a:pt x="0" y="4"/>
                      <a:pt x="2" y="6"/>
                      <a:pt x="2" y="6"/>
                    </a:cubicBezTo>
                    <a:cubicBezTo>
                      <a:pt x="2" y="7"/>
                      <a:pt x="1" y="8"/>
                      <a:pt x="2" y="9"/>
                    </a:cubicBezTo>
                    <a:cubicBezTo>
                      <a:pt x="3" y="10"/>
                      <a:pt x="5" y="9"/>
                      <a:pt x="6" y="9"/>
                    </a:cubicBezTo>
                    <a:cubicBezTo>
                      <a:pt x="7" y="9"/>
                      <a:pt x="9" y="7"/>
                      <a:pt x="9" y="7"/>
                    </a:cubicBezTo>
                    <a:cubicBezTo>
                      <a:pt x="10" y="8"/>
                      <a:pt x="12" y="9"/>
                      <a:pt x="12" y="10"/>
                    </a:cubicBezTo>
                    <a:cubicBezTo>
                      <a:pt x="12" y="10"/>
                      <a:pt x="13" y="11"/>
                      <a:pt x="13" y="11"/>
                    </a:cubicBezTo>
                    <a:cubicBezTo>
                      <a:pt x="14" y="12"/>
                      <a:pt x="17" y="11"/>
                      <a:pt x="18" y="9"/>
                    </a:cubicBezTo>
                    <a:cubicBezTo>
                      <a:pt x="18" y="8"/>
                      <a:pt x="17" y="6"/>
                      <a:pt x="16" y="5"/>
                    </a:cubicBezTo>
                    <a:cubicBezTo>
                      <a:pt x="15" y="5"/>
                      <a:pt x="13" y="5"/>
                      <a:pt x="13" y="5"/>
                    </a:cubicBezTo>
                    <a:cubicBezTo>
                      <a:pt x="12" y="4"/>
                      <a:pt x="12" y="3"/>
                      <a:pt x="11" y="3"/>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B60C7A79-E1AE-E969-0D6D-0E637053AFD5}"/>
                  </a:ext>
                </a:extLst>
              </p:cNvPr>
              <p:cNvSpPr>
                <a:spLocks/>
              </p:cNvSpPr>
              <p:nvPr/>
            </p:nvSpPr>
            <p:spPr bwMode="auto">
              <a:xfrm>
                <a:off x="7702985" y="5214911"/>
                <a:ext cx="10843" cy="13366"/>
              </a:xfrm>
              <a:custGeom>
                <a:avLst/>
                <a:gdLst/>
                <a:ahLst/>
                <a:cxnLst>
                  <a:cxn ang="0">
                    <a:pos x="6" y="7"/>
                  </a:cxn>
                  <a:cxn ang="0">
                    <a:pos x="4" y="9"/>
                  </a:cxn>
                  <a:cxn ang="0">
                    <a:pos x="1" y="8"/>
                  </a:cxn>
                  <a:cxn ang="0">
                    <a:pos x="0" y="6"/>
                  </a:cxn>
                  <a:cxn ang="0">
                    <a:pos x="0" y="2"/>
                  </a:cxn>
                  <a:cxn ang="0">
                    <a:pos x="3" y="0"/>
                  </a:cxn>
                  <a:cxn ang="0">
                    <a:pos x="4" y="2"/>
                  </a:cxn>
                  <a:cxn ang="0">
                    <a:pos x="4" y="4"/>
                  </a:cxn>
                  <a:cxn ang="0">
                    <a:pos x="7" y="4"/>
                  </a:cxn>
                  <a:cxn ang="0">
                    <a:pos x="6" y="7"/>
                  </a:cxn>
                </a:cxnLst>
                <a:rect l="0" t="0" r="r" b="b"/>
                <a:pathLst>
                  <a:path w="7" h="9">
                    <a:moveTo>
                      <a:pt x="6" y="7"/>
                    </a:moveTo>
                    <a:cubicBezTo>
                      <a:pt x="6" y="8"/>
                      <a:pt x="5" y="9"/>
                      <a:pt x="4" y="9"/>
                    </a:cubicBezTo>
                    <a:cubicBezTo>
                      <a:pt x="4" y="9"/>
                      <a:pt x="2" y="9"/>
                      <a:pt x="1" y="8"/>
                    </a:cubicBezTo>
                    <a:cubicBezTo>
                      <a:pt x="0" y="8"/>
                      <a:pt x="0" y="6"/>
                      <a:pt x="0" y="6"/>
                    </a:cubicBezTo>
                    <a:cubicBezTo>
                      <a:pt x="0" y="5"/>
                      <a:pt x="0" y="2"/>
                      <a:pt x="0" y="2"/>
                    </a:cubicBezTo>
                    <a:cubicBezTo>
                      <a:pt x="1" y="1"/>
                      <a:pt x="2" y="0"/>
                      <a:pt x="3" y="0"/>
                    </a:cubicBezTo>
                    <a:cubicBezTo>
                      <a:pt x="3" y="0"/>
                      <a:pt x="4" y="1"/>
                      <a:pt x="4" y="2"/>
                    </a:cubicBezTo>
                    <a:cubicBezTo>
                      <a:pt x="4" y="2"/>
                      <a:pt x="3" y="4"/>
                      <a:pt x="4" y="4"/>
                    </a:cubicBezTo>
                    <a:cubicBezTo>
                      <a:pt x="4" y="5"/>
                      <a:pt x="6" y="4"/>
                      <a:pt x="7" y="4"/>
                    </a:cubicBezTo>
                    <a:cubicBezTo>
                      <a:pt x="7" y="5"/>
                      <a:pt x="7" y="6"/>
                      <a:pt x="6" y="7"/>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D34ABDE-748B-1E9F-D5D8-4CC451ED27B4}"/>
                  </a:ext>
                </a:extLst>
              </p:cNvPr>
              <p:cNvSpPr>
                <a:spLocks/>
              </p:cNvSpPr>
              <p:nvPr/>
            </p:nvSpPr>
            <p:spPr bwMode="auto">
              <a:xfrm>
                <a:off x="8430788" y="4920860"/>
                <a:ext cx="14908" cy="14703"/>
              </a:xfrm>
              <a:custGeom>
                <a:avLst/>
                <a:gdLst/>
                <a:ahLst/>
                <a:cxnLst>
                  <a:cxn ang="0">
                    <a:pos x="8" y="6"/>
                  </a:cxn>
                  <a:cxn ang="0">
                    <a:pos x="10" y="4"/>
                  </a:cxn>
                  <a:cxn ang="0">
                    <a:pos x="9" y="1"/>
                  </a:cxn>
                  <a:cxn ang="0">
                    <a:pos x="7" y="0"/>
                  </a:cxn>
                  <a:cxn ang="0">
                    <a:pos x="4" y="0"/>
                  </a:cxn>
                  <a:cxn ang="0">
                    <a:pos x="3" y="3"/>
                  </a:cxn>
                  <a:cxn ang="0">
                    <a:pos x="1" y="4"/>
                  </a:cxn>
                  <a:cxn ang="0">
                    <a:pos x="1" y="7"/>
                  </a:cxn>
                  <a:cxn ang="0">
                    <a:pos x="3" y="8"/>
                  </a:cxn>
                  <a:cxn ang="0">
                    <a:pos x="4" y="10"/>
                  </a:cxn>
                  <a:cxn ang="0">
                    <a:pos x="6" y="8"/>
                  </a:cxn>
                  <a:cxn ang="0">
                    <a:pos x="8" y="6"/>
                  </a:cxn>
                </a:cxnLst>
                <a:rect l="0" t="0" r="r" b="b"/>
                <a:pathLst>
                  <a:path w="10" h="10">
                    <a:moveTo>
                      <a:pt x="8" y="6"/>
                    </a:moveTo>
                    <a:cubicBezTo>
                      <a:pt x="8" y="5"/>
                      <a:pt x="9" y="4"/>
                      <a:pt x="10" y="4"/>
                    </a:cubicBezTo>
                    <a:cubicBezTo>
                      <a:pt x="10" y="3"/>
                      <a:pt x="9" y="1"/>
                      <a:pt x="9" y="1"/>
                    </a:cubicBezTo>
                    <a:cubicBezTo>
                      <a:pt x="8" y="0"/>
                      <a:pt x="7" y="0"/>
                      <a:pt x="7" y="0"/>
                    </a:cubicBezTo>
                    <a:cubicBezTo>
                      <a:pt x="6" y="0"/>
                      <a:pt x="5" y="0"/>
                      <a:pt x="4" y="0"/>
                    </a:cubicBezTo>
                    <a:cubicBezTo>
                      <a:pt x="4" y="1"/>
                      <a:pt x="4" y="2"/>
                      <a:pt x="3" y="3"/>
                    </a:cubicBezTo>
                    <a:cubicBezTo>
                      <a:pt x="3" y="3"/>
                      <a:pt x="2" y="4"/>
                      <a:pt x="1" y="4"/>
                    </a:cubicBezTo>
                    <a:cubicBezTo>
                      <a:pt x="1" y="5"/>
                      <a:pt x="0" y="6"/>
                      <a:pt x="1" y="7"/>
                    </a:cubicBezTo>
                    <a:cubicBezTo>
                      <a:pt x="1" y="8"/>
                      <a:pt x="2" y="8"/>
                      <a:pt x="3" y="8"/>
                    </a:cubicBezTo>
                    <a:cubicBezTo>
                      <a:pt x="3" y="8"/>
                      <a:pt x="4" y="10"/>
                      <a:pt x="4" y="10"/>
                    </a:cubicBezTo>
                    <a:cubicBezTo>
                      <a:pt x="5" y="10"/>
                      <a:pt x="6" y="9"/>
                      <a:pt x="6" y="8"/>
                    </a:cubicBezTo>
                    <a:cubicBezTo>
                      <a:pt x="6" y="8"/>
                      <a:pt x="7" y="6"/>
                      <a:pt x="8" y="6"/>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11">
                <a:extLst>
                  <a:ext uri="{FF2B5EF4-FFF2-40B4-BE49-F238E27FC236}">
                    <a16:creationId xmlns:a16="http://schemas.microsoft.com/office/drawing/2014/main" id="{10AC38CA-F277-FCD3-F4CC-8C01A9816FB3}"/>
                  </a:ext>
                </a:extLst>
              </p:cNvPr>
              <p:cNvSpPr>
                <a:spLocks/>
              </p:cNvSpPr>
              <p:nvPr/>
            </p:nvSpPr>
            <p:spPr bwMode="auto">
              <a:xfrm>
                <a:off x="8398261" y="4976997"/>
                <a:ext cx="10843" cy="10693"/>
              </a:xfrm>
              <a:custGeom>
                <a:avLst/>
                <a:gdLst/>
                <a:ahLst/>
                <a:cxnLst>
                  <a:cxn ang="0">
                    <a:pos x="7" y="3"/>
                  </a:cxn>
                  <a:cxn ang="0">
                    <a:pos x="5" y="1"/>
                  </a:cxn>
                  <a:cxn ang="0">
                    <a:pos x="3" y="1"/>
                  </a:cxn>
                  <a:cxn ang="0">
                    <a:pos x="1" y="1"/>
                  </a:cxn>
                  <a:cxn ang="0">
                    <a:pos x="0" y="3"/>
                  </a:cxn>
                  <a:cxn ang="0">
                    <a:pos x="0" y="6"/>
                  </a:cxn>
                  <a:cxn ang="0">
                    <a:pos x="2" y="7"/>
                  </a:cxn>
                  <a:cxn ang="0">
                    <a:pos x="5" y="7"/>
                  </a:cxn>
                  <a:cxn ang="0">
                    <a:pos x="6" y="5"/>
                  </a:cxn>
                  <a:cxn ang="0">
                    <a:pos x="7" y="3"/>
                  </a:cxn>
                </a:cxnLst>
                <a:rect l="0" t="0" r="r" b="b"/>
                <a:pathLst>
                  <a:path w="7" h="7">
                    <a:moveTo>
                      <a:pt x="7" y="3"/>
                    </a:moveTo>
                    <a:cubicBezTo>
                      <a:pt x="7" y="2"/>
                      <a:pt x="6" y="1"/>
                      <a:pt x="5" y="1"/>
                    </a:cubicBezTo>
                    <a:cubicBezTo>
                      <a:pt x="4" y="0"/>
                      <a:pt x="3" y="1"/>
                      <a:pt x="3" y="1"/>
                    </a:cubicBezTo>
                    <a:cubicBezTo>
                      <a:pt x="2" y="1"/>
                      <a:pt x="1" y="0"/>
                      <a:pt x="1" y="1"/>
                    </a:cubicBezTo>
                    <a:cubicBezTo>
                      <a:pt x="0" y="1"/>
                      <a:pt x="0" y="3"/>
                      <a:pt x="0" y="3"/>
                    </a:cubicBezTo>
                    <a:cubicBezTo>
                      <a:pt x="0" y="4"/>
                      <a:pt x="0" y="5"/>
                      <a:pt x="0" y="6"/>
                    </a:cubicBezTo>
                    <a:cubicBezTo>
                      <a:pt x="0" y="6"/>
                      <a:pt x="1" y="7"/>
                      <a:pt x="2" y="7"/>
                    </a:cubicBezTo>
                    <a:cubicBezTo>
                      <a:pt x="3" y="7"/>
                      <a:pt x="5" y="7"/>
                      <a:pt x="5" y="7"/>
                    </a:cubicBezTo>
                    <a:cubicBezTo>
                      <a:pt x="6" y="6"/>
                      <a:pt x="6" y="5"/>
                      <a:pt x="6" y="5"/>
                    </a:cubicBezTo>
                    <a:cubicBezTo>
                      <a:pt x="6" y="4"/>
                      <a:pt x="7" y="4"/>
                      <a:pt x="7" y="3"/>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2">
                <a:extLst>
                  <a:ext uri="{FF2B5EF4-FFF2-40B4-BE49-F238E27FC236}">
                    <a16:creationId xmlns:a16="http://schemas.microsoft.com/office/drawing/2014/main" id="{56C43D30-6B7D-AD2C-3963-744A4A2D0848}"/>
                  </a:ext>
                </a:extLst>
              </p:cNvPr>
              <p:cNvSpPr>
                <a:spLocks/>
              </p:cNvSpPr>
              <p:nvPr/>
            </p:nvSpPr>
            <p:spPr bwMode="auto">
              <a:xfrm>
                <a:off x="8337271" y="5002393"/>
                <a:ext cx="18974" cy="16039"/>
              </a:xfrm>
              <a:custGeom>
                <a:avLst/>
                <a:gdLst/>
                <a:ahLst/>
                <a:cxnLst>
                  <a:cxn ang="0">
                    <a:pos x="12" y="6"/>
                  </a:cxn>
                  <a:cxn ang="0">
                    <a:pos x="13" y="2"/>
                  </a:cxn>
                  <a:cxn ang="0">
                    <a:pos x="11" y="0"/>
                  </a:cxn>
                  <a:cxn ang="0">
                    <a:pos x="7" y="1"/>
                  </a:cxn>
                  <a:cxn ang="0">
                    <a:pos x="4" y="0"/>
                  </a:cxn>
                  <a:cxn ang="0">
                    <a:pos x="1" y="1"/>
                  </a:cxn>
                  <a:cxn ang="0">
                    <a:pos x="1" y="5"/>
                  </a:cxn>
                  <a:cxn ang="0">
                    <a:pos x="4" y="7"/>
                  </a:cxn>
                  <a:cxn ang="0">
                    <a:pos x="7" y="10"/>
                  </a:cxn>
                  <a:cxn ang="0">
                    <a:pos x="10" y="11"/>
                  </a:cxn>
                  <a:cxn ang="0">
                    <a:pos x="12" y="9"/>
                  </a:cxn>
                  <a:cxn ang="0">
                    <a:pos x="12" y="6"/>
                  </a:cxn>
                </a:cxnLst>
                <a:rect l="0" t="0" r="r" b="b"/>
                <a:pathLst>
                  <a:path w="13" h="11">
                    <a:moveTo>
                      <a:pt x="12" y="6"/>
                    </a:moveTo>
                    <a:cubicBezTo>
                      <a:pt x="12" y="5"/>
                      <a:pt x="13" y="3"/>
                      <a:pt x="13" y="2"/>
                    </a:cubicBezTo>
                    <a:cubicBezTo>
                      <a:pt x="12" y="2"/>
                      <a:pt x="12" y="0"/>
                      <a:pt x="11" y="0"/>
                    </a:cubicBezTo>
                    <a:cubicBezTo>
                      <a:pt x="10" y="0"/>
                      <a:pt x="8" y="1"/>
                      <a:pt x="7" y="1"/>
                    </a:cubicBezTo>
                    <a:cubicBezTo>
                      <a:pt x="7" y="1"/>
                      <a:pt x="5" y="0"/>
                      <a:pt x="4" y="0"/>
                    </a:cubicBezTo>
                    <a:cubicBezTo>
                      <a:pt x="3" y="0"/>
                      <a:pt x="2" y="0"/>
                      <a:pt x="1" y="1"/>
                    </a:cubicBezTo>
                    <a:cubicBezTo>
                      <a:pt x="1" y="2"/>
                      <a:pt x="0" y="4"/>
                      <a:pt x="1" y="5"/>
                    </a:cubicBezTo>
                    <a:cubicBezTo>
                      <a:pt x="1" y="6"/>
                      <a:pt x="4" y="6"/>
                      <a:pt x="4" y="7"/>
                    </a:cubicBezTo>
                    <a:cubicBezTo>
                      <a:pt x="5" y="7"/>
                      <a:pt x="6" y="9"/>
                      <a:pt x="7" y="10"/>
                    </a:cubicBezTo>
                    <a:cubicBezTo>
                      <a:pt x="7" y="10"/>
                      <a:pt x="9" y="11"/>
                      <a:pt x="10" y="11"/>
                    </a:cubicBezTo>
                    <a:cubicBezTo>
                      <a:pt x="10" y="11"/>
                      <a:pt x="12" y="10"/>
                      <a:pt x="12" y="9"/>
                    </a:cubicBezTo>
                    <a:cubicBezTo>
                      <a:pt x="13" y="8"/>
                      <a:pt x="12" y="7"/>
                      <a:pt x="12" y="6"/>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3">
                <a:extLst>
                  <a:ext uri="{FF2B5EF4-FFF2-40B4-BE49-F238E27FC236}">
                    <a16:creationId xmlns:a16="http://schemas.microsoft.com/office/drawing/2014/main" id="{132F589A-E9E8-1299-263E-F2EEA627BC59}"/>
                  </a:ext>
                </a:extLst>
              </p:cNvPr>
              <p:cNvSpPr>
                <a:spLocks/>
              </p:cNvSpPr>
              <p:nvPr/>
            </p:nvSpPr>
            <p:spPr bwMode="auto">
              <a:xfrm>
                <a:off x="8364378" y="5017095"/>
                <a:ext cx="20329" cy="28069"/>
              </a:xfrm>
              <a:custGeom>
                <a:avLst/>
                <a:gdLst/>
                <a:ahLst/>
                <a:cxnLst>
                  <a:cxn ang="0">
                    <a:pos x="11" y="0"/>
                  </a:cxn>
                  <a:cxn ang="0">
                    <a:pos x="8" y="2"/>
                  </a:cxn>
                  <a:cxn ang="0">
                    <a:pos x="3" y="1"/>
                  </a:cxn>
                  <a:cxn ang="0">
                    <a:pos x="0" y="5"/>
                  </a:cxn>
                  <a:cxn ang="0">
                    <a:pos x="0" y="10"/>
                  </a:cxn>
                  <a:cxn ang="0">
                    <a:pos x="4" y="13"/>
                  </a:cxn>
                  <a:cxn ang="0">
                    <a:pos x="8" y="18"/>
                  </a:cxn>
                  <a:cxn ang="0">
                    <a:pos x="11" y="18"/>
                  </a:cxn>
                  <a:cxn ang="0">
                    <a:pos x="11" y="15"/>
                  </a:cxn>
                  <a:cxn ang="0">
                    <a:pos x="10" y="11"/>
                  </a:cxn>
                  <a:cxn ang="0">
                    <a:pos x="13" y="8"/>
                  </a:cxn>
                  <a:cxn ang="0">
                    <a:pos x="11" y="4"/>
                  </a:cxn>
                  <a:cxn ang="0">
                    <a:pos x="13" y="1"/>
                  </a:cxn>
                  <a:cxn ang="0">
                    <a:pos x="11" y="0"/>
                  </a:cxn>
                </a:cxnLst>
                <a:rect l="0" t="0" r="r" b="b"/>
                <a:pathLst>
                  <a:path w="14" h="19">
                    <a:moveTo>
                      <a:pt x="11" y="0"/>
                    </a:moveTo>
                    <a:cubicBezTo>
                      <a:pt x="10" y="0"/>
                      <a:pt x="9" y="2"/>
                      <a:pt x="8" y="2"/>
                    </a:cubicBezTo>
                    <a:cubicBezTo>
                      <a:pt x="7" y="2"/>
                      <a:pt x="4" y="1"/>
                      <a:pt x="3" y="1"/>
                    </a:cubicBezTo>
                    <a:cubicBezTo>
                      <a:pt x="2" y="2"/>
                      <a:pt x="1" y="4"/>
                      <a:pt x="0" y="5"/>
                    </a:cubicBezTo>
                    <a:cubicBezTo>
                      <a:pt x="0" y="6"/>
                      <a:pt x="0" y="9"/>
                      <a:pt x="0" y="10"/>
                    </a:cubicBezTo>
                    <a:cubicBezTo>
                      <a:pt x="1" y="11"/>
                      <a:pt x="3" y="12"/>
                      <a:pt x="4" y="13"/>
                    </a:cubicBezTo>
                    <a:cubicBezTo>
                      <a:pt x="5" y="14"/>
                      <a:pt x="7" y="18"/>
                      <a:pt x="8" y="18"/>
                    </a:cubicBezTo>
                    <a:cubicBezTo>
                      <a:pt x="9" y="19"/>
                      <a:pt x="10" y="19"/>
                      <a:pt x="11" y="18"/>
                    </a:cubicBezTo>
                    <a:cubicBezTo>
                      <a:pt x="11" y="17"/>
                      <a:pt x="11" y="15"/>
                      <a:pt x="11" y="15"/>
                    </a:cubicBezTo>
                    <a:cubicBezTo>
                      <a:pt x="11" y="14"/>
                      <a:pt x="10" y="12"/>
                      <a:pt x="10" y="11"/>
                    </a:cubicBezTo>
                    <a:cubicBezTo>
                      <a:pt x="10" y="10"/>
                      <a:pt x="13" y="9"/>
                      <a:pt x="13" y="8"/>
                    </a:cubicBezTo>
                    <a:cubicBezTo>
                      <a:pt x="14" y="7"/>
                      <a:pt x="11" y="5"/>
                      <a:pt x="11" y="4"/>
                    </a:cubicBezTo>
                    <a:cubicBezTo>
                      <a:pt x="11" y="3"/>
                      <a:pt x="13" y="2"/>
                      <a:pt x="13" y="1"/>
                    </a:cubicBezTo>
                    <a:cubicBezTo>
                      <a:pt x="12" y="0"/>
                      <a:pt x="11" y="0"/>
                      <a:pt x="11" y="0"/>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4">
                <a:extLst>
                  <a:ext uri="{FF2B5EF4-FFF2-40B4-BE49-F238E27FC236}">
                    <a16:creationId xmlns:a16="http://schemas.microsoft.com/office/drawing/2014/main" id="{378DCBB6-50C9-EBA5-C795-E7E073DCC6D7}"/>
                  </a:ext>
                </a:extLst>
              </p:cNvPr>
              <p:cNvSpPr>
                <a:spLocks/>
              </p:cNvSpPr>
              <p:nvPr/>
            </p:nvSpPr>
            <p:spPr bwMode="auto">
              <a:xfrm>
                <a:off x="8376576" y="5047837"/>
                <a:ext cx="20329" cy="22723"/>
              </a:xfrm>
              <a:custGeom>
                <a:avLst/>
                <a:gdLst/>
                <a:ahLst/>
                <a:cxnLst>
                  <a:cxn ang="0">
                    <a:pos x="11" y="6"/>
                  </a:cxn>
                  <a:cxn ang="0">
                    <a:pos x="6" y="6"/>
                  </a:cxn>
                  <a:cxn ang="0">
                    <a:pos x="5" y="2"/>
                  </a:cxn>
                  <a:cxn ang="0">
                    <a:pos x="2" y="0"/>
                  </a:cxn>
                  <a:cxn ang="0">
                    <a:pos x="0" y="3"/>
                  </a:cxn>
                  <a:cxn ang="0">
                    <a:pos x="1" y="8"/>
                  </a:cxn>
                  <a:cxn ang="0">
                    <a:pos x="4" y="11"/>
                  </a:cxn>
                  <a:cxn ang="0">
                    <a:pos x="7" y="13"/>
                  </a:cxn>
                  <a:cxn ang="0">
                    <a:pos x="13" y="13"/>
                  </a:cxn>
                  <a:cxn ang="0">
                    <a:pos x="13" y="11"/>
                  </a:cxn>
                  <a:cxn ang="0">
                    <a:pos x="11" y="9"/>
                  </a:cxn>
                  <a:cxn ang="0">
                    <a:pos x="11" y="6"/>
                  </a:cxn>
                </a:cxnLst>
                <a:rect l="0" t="0" r="r" b="b"/>
                <a:pathLst>
                  <a:path w="14" h="15">
                    <a:moveTo>
                      <a:pt x="11" y="6"/>
                    </a:moveTo>
                    <a:cubicBezTo>
                      <a:pt x="11" y="5"/>
                      <a:pt x="7" y="7"/>
                      <a:pt x="6" y="6"/>
                    </a:cubicBezTo>
                    <a:cubicBezTo>
                      <a:pt x="5" y="6"/>
                      <a:pt x="6" y="3"/>
                      <a:pt x="5" y="2"/>
                    </a:cubicBezTo>
                    <a:cubicBezTo>
                      <a:pt x="4" y="1"/>
                      <a:pt x="3" y="0"/>
                      <a:pt x="2" y="0"/>
                    </a:cubicBezTo>
                    <a:cubicBezTo>
                      <a:pt x="1" y="0"/>
                      <a:pt x="1" y="2"/>
                      <a:pt x="0" y="3"/>
                    </a:cubicBezTo>
                    <a:cubicBezTo>
                      <a:pt x="0" y="4"/>
                      <a:pt x="0" y="7"/>
                      <a:pt x="1" y="8"/>
                    </a:cubicBezTo>
                    <a:cubicBezTo>
                      <a:pt x="1" y="9"/>
                      <a:pt x="3" y="10"/>
                      <a:pt x="4" y="11"/>
                    </a:cubicBezTo>
                    <a:cubicBezTo>
                      <a:pt x="5" y="12"/>
                      <a:pt x="6" y="13"/>
                      <a:pt x="7" y="13"/>
                    </a:cubicBezTo>
                    <a:cubicBezTo>
                      <a:pt x="9" y="14"/>
                      <a:pt x="12" y="15"/>
                      <a:pt x="13" y="13"/>
                    </a:cubicBezTo>
                    <a:cubicBezTo>
                      <a:pt x="14" y="13"/>
                      <a:pt x="13" y="12"/>
                      <a:pt x="13" y="11"/>
                    </a:cubicBezTo>
                    <a:cubicBezTo>
                      <a:pt x="13" y="10"/>
                      <a:pt x="11" y="9"/>
                      <a:pt x="11" y="9"/>
                    </a:cubicBezTo>
                    <a:cubicBezTo>
                      <a:pt x="11" y="8"/>
                      <a:pt x="12" y="6"/>
                      <a:pt x="11" y="6"/>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15">
                <a:extLst>
                  <a:ext uri="{FF2B5EF4-FFF2-40B4-BE49-F238E27FC236}">
                    <a16:creationId xmlns:a16="http://schemas.microsoft.com/office/drawing/2014/main" id="{33087BD3-5951-5943-B10D-83A776453849}"/>
                  </a:ext>
                </a:extLst>
              </p:cNvPr>
              <p:cNvSpPr>
                <a:spLocks/>
              </p:cNvSpPr>
              <p:nvPr/>
            </p:nvSpPr>
            <p:spPr bwMode="auto">
              <a:xfrm>
                <a:off x="8273572" y="5003729"/>
                <a:ext cx="17619" cy="14703"/>
              </a:xfrm>
              <a:custGeom>
                <a:avLst/>
                <a:gdLst/>
                <a:ahLst/>
                <a:cxnLst>
                  <a:cxn ang="0">
                    <a:pos x="12" y="4"/>
                  </a:cxn>
                  <a:cxn ang="0">
                    <a:pos x="8" y="4"/>
                  </a:cxn>
                  <a:cxn ang="0">
                    <a:pos x="5" y="1"/>
                  </a:cxn>
                  <a:cxn ang="0">
                    <a:pos x="2" y="1"/>
                  </a:cxn>
                  <a:cxn ang="0">
                    <a:pos x="0" y="3"/>
                  </a:cxn>
                  <a:cxn ang="0">
                    <a:pos x="2" y="7"/>
                  </a:cxn>
                  <a:cxn ang="0">
                    <a:pos x="7" y="9"/>
                  </a:cxn>
                  <a:cxn ang="0">
                    <a:pos x="7" y="8"/>
                  </a:cxn>
                  <a:cxn ang="0">
                    <a:pos x="11" y="7"/>
                  </a:cxn>
                  <a:cxn ang="0">
                    <a:pos x="12" y="4"/>
                  </a:cxn>
                </a:cxnLst>
                <a:rect l="0" t="0" r="r" b="b"/>
                <a:pathLst>
                  <a:path w="12" h="10">
                    <a:moveTo>
                      <a:pt x="12" y="4"/>
                    </a:moveTo>
                    <a:cubicBezTo>
                      <a:pt x="11" y="3"/>
                      <a:pt x="9" y="5"/>
                      <a:pt x="8" y="4"/>
                    </a:cubicBezTo>
                    <a:cubicBezTo>
                      <a:pt x="7" y="4"/>
                      <a:pt x="6" y="1"/>
                      <a:pt x="5" y="1"/>
                    </a:cubicBezTo>
                    <a:cubicBezTo>
                      <a:pt x="4" y="0"/>
                      <a:pt x="2" y="0"/>
                      <a:pt x="2" y="1"/>
                    </a:cubicBezTo>
                    <a:cubicBezTo>
                      <a:pt x="1" y="1"/>
                      <a:pt x="0" y="3"/>
                      <a:pt x="0" y="3"/>
                    </a:cubicBezTo>
                    <a:cubicBezTo>
                      <a:pt x="0" y="5"/>
                      <a:pt x="1" y="7"/>
                      <a:pt x="2" y="7"/>
                    </a:cubicBezTo>
                    <a:cubicBezTo>
                      <a:pt x="3" y="9"/>
                      <a:pt x="6" y="10"/>
                      <a:pt x="7" y="9"/>
                    </a:cubicBezTo>
                    <a:cubicBezTo>
                      <a:pt x="7" y="9"/>
                      <a:pt x="7" y="8"/>
                      <a:pt x="7" y="8"/>
                    </a:cubicBezTo>
                    <a:cubicBezTo>
                      <a:pt x="8" y="7"/>
                      <a:pt x="10" y="8"/>
                      <a:pt x="11" y="7"/>
                    </a:cubicBezTo>
                    <a:cubicBezTo>
                      <a:pt x="11" y="7"/>
                      <a:pt x="12" y="5"/>
                      <a:pt x="12" y="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6">
                <a:extLst>
                  <a:ext uri="{FF2B5EF4-FFF2-40B4-BE49-F238E27FC236}">
                    <a16:creationId xmlns:a16="http://schemas.microsoft.com/office/drawing/2014/main" id="{336B942D-0D08-D0DF-CAAF-7703BDB09949}"/>
                  </a:ext>
                </a:extLst>
              </p:cNvPr>
              <p:cNvSpPr>
                <a:spLocks/>
              </p:cNvSpPr>
              <p:nvPr/>
            </p:nvSpPr>
            <p:spPr bwMode="auto">
              <a:xfrm>
                <a:off x="8216649" y="5014422"/>
                <a:ext cx="12197" cy="14703"/>
              </a:xfrm>
              <a:custGeom>
                <a:avLst/>
                <a:gdLst/>
                <a:ahLst/>
                <a:cxnLst>
                  <a:cxn ang="0">
                    <a:pos x="8" y="5"/>
                  </a:cxn>
                  <a:cxn ang="0">
                    <a:pos x="7" y="9"/>
                  </a:cxn>
                  <a:cxn ang="0">
                    <a:pos x="2" y="8"/>
                  </a:cxn>
                  <a:cxn ang="0">
                    <a:pos x="0" y="3"/>
                  </a:cxn>
                  <a:cxn ang="0">
                    <a:pos x="2" y="0"/>
                  </a:cxn>
                  <a:cxn ang="0">
                    <a:pos x="6" y="0"/>
                  </a:cxn>
                  <a:cxn ang="0">
                    <a:pos x="8" y="3"/>
                  </a:cxn>
                  <a:cxn ang="0">
                    <a:pos x="8" y="5"/>
                  </a:cxn>
                </a:cxnLst>
                <a:rect l="0" t="0" r="r" b="b"/>
                <a:pathLst>
                  <a:path w="8" h="10">
                    <a:moveTo>
                      <a:pt x="8" y="5"/>
                    </a:moveTo>
                    <a:cubicBezTo>
                      <a:pt x="8" y="6"/>
                      <a:pt x="8" y="9"/>
                      <a:pt x="7" y="9"/>
                    </a:cubicBezTo>
                    <a:cubicBezTo>
                      <a:pt x="6" y="10"/>
                      <a:pt x="3" y="9"/>
                      <a:pt x="2" y="8"/>
                    </a:cubicBezTo>
                    <a:cubicBezTo>
                      <a:pt x="1" y="7"/>
                      <a:pt x="0" y="4"/>
                      <a:pt x="0" y="3"/>
                    </a:cubicBezTo>
                    <a:cubicBezTo>
                      <a:pt x="0" y="2"/>
                      <a:pt x="1" y="1"/>
                      <a:pt x="2" y="0"/>
                    </a:cubicBezTo>
                    <a:cubicBezTo>
                      <a:pt x="3" y="0"/>
                      <a:pt x="5" y="0"/>
                      <a:pt x="6" y="0"/>
                    </a:cubicBezTo>
                    <a:cubicBezTo>
                      <a:pt x="6" y="1"/>
                      <a:pt x="8" y="2"/>
                      <a:pt x="8" y="3"/>
                    </a:cubicBezTo>
                    <a:cubicBezTo>
                      <a:pt x="8" y="3"/>
                      <a:pt x="8" y="5"/>
                      <a:pt x="8" y="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17">
                <a:extLst>
                  <a:ext uri="{FF2B5EF4-FFF2-40B4-BE49-F238E27FC236}">
                    <a16:creationId xmlns:a16="http://schemas.microsoft.com/office/drawing/2014/main" id="{A47F7CE3-9DBF-1F9A-04B3-D75FA23D11B3}"/>
                  </a:ext>
                </a:extLst>
              </p:cNvPr>
              <p:cNvSpPr>
                <a:spLocks/>
              </p:cNvSpPr>
              <p:nvPr/>
            </p:nvSpPr>
            <p:spPr bwMode="auto">
              <a:xfrm>
                <a:off x="6377488" y="2615235"/>
                <a:ext cx="242601" cy="189796"/>
              </a:xfrm>
              <a:custGeom>
                <a:avLst/>
                <a:gdLst/>
                <a:ahLst/>
                <a:cxnLst>
                  <a:cxn ang="0">
                    <a:pos x="159" y="91"/>
                  </a:cxn>
                  <a:cxn ang="0">
                    <a:pos x="145" y="94"/>
                  </a:cxn>
                  <a:cxn ang="0">
                    <a:pos x="134" y="105"/>
                  </a:cxn>
                  <a:cxn ang="0">
                    <a:pos x="120" y="102"/>
                  </a:cxn>
                  <a:cxn ang="0">
                    <a:pos x="104" y="100"/>
                  </a:cxn>
                  <a:cxn ang="0">
                    <a:pos x="93" y="105"/>
                  </a:cxn>
                  <a:cxn ang="0">
                    <a:pos x="82" y="115"/>
                  </a:cxn>
                  <a:cxn ang="0">
                    <a:pos x="67" y="121"/>
                  </a:cxn>
                  <a:cxn ang="0">
                    <a:pos x="60" y="127"/>
                  </a:cxn>
                  <a:cxn ang="0">
                    <a:pos x="51" y="124"/>
                  </a:cxn>
                  <a:cxn ang="0">
                    <a:pos x="46" y="119"/>
                  </a:cxn>
                  <a:cxn ang="0">
                    <a:pos x="42" y="112"/>
                  </a:cxn>
                  <a:cxn ang="0">
                    <a:pos x="37" y="111"/>
                  </a:cxn>
                  <a:cxn ang="0">
                    <a:pos x="37" y="106"/>
                  </a:cxn>
                  <a:cxn ang="0">
                    <a:pos x="30" y="104"/>
                  </a:cxn>
                  <a:cxn ang="0">
                    <a:pos x="29" y="92"/>
                  </a:cxn>
                  <a:cxn ang="0">
                    <a:pos x="30" y="83"/>
                  </a:cxn>
                  <a:cxn ang="0">
                    <a:pos x="26" y="73"/>
                  </a:cxn>
                  <a:cxn ang="0">
                    <a:pos x="20" y="75"/>
                  </a:cxn>
                  <a:cxn ang="0">
                    <a:pos x="11" y="70"/>
                  </a:cxn>
                  <a:cxn ang="0">
                    <a:pos x="5" y="63"/>
                  </a:cxn>
                  <a:cxn ang="0">
                    <a:pos x="12" y="63"/>
                  </a:cxn>
                  <a:cxn ang="0">
                    <a:pos x="11" y="57"/>
                  </a:cxn>
                  <a:cxn ang="0">
                    <a:pos x="7" y="54"/>
                  </a:cxn>
                  <a:cxn ang="0">
                    <a:pos x="0" y="47"/>
                  </a:cxn>
                  <a:cxn ang="0">
                    <a:pos x="0" y="38"/>
                  </a:cxn>
                  <a:cxn ang="0">
                    <a:pos x="5" y="31"/>
                  </a:cxn>
                  <a:cxn ang="0">
                    <a:pos x="15" y="32"/>
                  </a:cxn>
                  <a:cxn ang="0">
                    <a:pos x="26" y="27"/>
                  </a:cxn>
                  <a:cxn ang="0">
                    <a:pos x="32" y="22"/>
                  </a:cxn>
                  <a:cxn ang="0">
                    <a:pos x="36" y="13"/>
                  </a:cxn>
                  <a:cxn ang="0">
                    <a:pos x="44" y="19"/>
                  </a:cxn>
                  <a:cxn ang="0">
                    <a:pos x="49" y="28"/>
                  </a:cxn>
                  <a:cxn ang="0">
                    <a:pos x="56" y="26"/>
                  </a:cxn>
                  <a:cxn ang="0">
                    <a:pos x="62" y="27"/>
                  </a:cxn>
                  <a:cxn ang="0">
                    <a:pos x="73" y="17"/>
                  </a:cxn>
                  <a:cxn ang="0">
                    <a:pos x="82" y="15"/>
                  </a:cxn>
                  <a:cxn ang="0">
                    <a:pos x="89" y="22"/>
                  </a:cxn>
                  <a:cxn ang="0">
                    <a:pos x="95" y="13"/>
                  </a:cxn>
                  <a:cxn ang="0">
                    <a:pos x="110" y="7"/>
                  </a:cxn>
                  <a:cxn ang="0">
                    <a:pos x="118" y="0"/>
                  </a:cxn>
                  <a:cxn ang="0">
                    <a:pos x="123" y="6"/>
                  </a:cxn>
                  <a:cxn ang="0">
                    <a:pos x="136" y="7"/>
                  </a:cxn>
                  <a:cxn ang="0">
                    <a:pos x="141" y="18"/>
                  </a:cxn>
                  <a:cxn ang="0">
                    <a:pos x="144" y="24"/>
                  </a:cxn>
                  <a:cxn ang="0">
                    <a:pos x="148" y="37"/>
                  </a:cxn>
                  <a:cxn ang="0">
                    <a:pos x="147" y="49"/>
                  </a:cxn>
                  <a:cxn ang="0">
                    <a:pos x="151" y="63"/>
                  </a:cxn>
                  <a:cxn ang="0">
                    <a:pos x="158" y="75"/>
                  </a:cxn>
                  <a:cxn ang="0">
                    <a:pos x="155" y="81"/>
                  </a:cxn>
                </a:cxnLst>
                <a:rect l="0" t="0" r="r" b="b"/>
                <a:pathLst>
                  <a:path w="160" h="127">
                    <a:moveTo>
                      <a:pt x="159" y="85"/>
                    </a:moveTo>
                    <a:cubicBezTo>
                      <a:pt x="159" y="86"/>
                      <a:pt x="160" y="90"/>
                      <a:pt x="159" y="91"/>
                    </a:cubicBezTo>
                    <a:cubicBezTo>
                      <a:pt x="158" y="92"/>
                      <a:pt x="154" y="94"/>
                      <a:pt x="152" y="94"/>
                    </a:cubicBezTo>
                    <a:cubicBezTo>
                      <a:pt x="150" y="95"/>
                      <a:pt x="147" y="93"/>
                      <a:pt x="145" y="94"/>
                    </a:cubicBezTo>
                    <a:cubicBezTo>
                      <a:pt x="143" y="95"/>
                      <a:pt x="141" y="100"/>
                      <a:pt x="140" y="101"/>
                    </a:cubicBezTo>
                    <a:cubicBezTo>
                      <a:pt x="139" y="102"/>
                      <a:pt x="136" y="104"/>
                      <a:pt x="134" y="105"/>
                    </a:cubicBezTo>
                    <a:cubicBezTo>
                      <a:pt x="132" y="105"/>
                      <a:pt x="128" y="104"/>
                      <a:pt x="127" y="104"/>
                    </a:cubicBezTo>
                    <a:cubicBezTo>
                      <a:pt x="125" y="104"/>
                      <a:pt x="122" y="102"/>
                      <a:pt x="120" y="102"/>
                    </a:cubicBezTo>
                    <a:cubicBezTo>
                      <a:pt x="118" y="102"/>
                      <a:pt x="113" y="103"/>
                      <a:pt x="110" y="102"/>
                    </a:cubicBezTo>
                    <a:cubicBezTo>
                      <a:pt x="108" y="102"/>
                      <a:pt x="105" y="100"/>
                      <a:pt x="104" y="100"/>
                    </a:cubicBezTo>
                    <a:cubicBezTo>
                      <a:pt x="102" y="100"/>
                      <a:pt x="98" y="100"/>
                      <a:pt x="97" y="101"/>
                    </a:cubicBezTo>
                    <a:cubicBezTo>
                      <a:pt x="96" y="101"/>
                      <a:pt x="94" y="104"/>
                      <a:pt x="93" y="105"/>
                    </a:cubicBezTo>
                    <a:cubicBezTo>
                      <a:pt x="92" y="106"/>
                      <a:pt x="90" y="109"/>
                      <a:pt x="89" y="110"/>
                    </a:cubicBezTo>
                    <a:cubicBezTo>
                      <a:pt x="87" y="112"/>
                      <a:pt x="84" y="114"/>
                      <a:pt x="82" y="115"/>
                    </a:cubicBezTo>
                    <a:cubicBezTo>
                      <a:pt x="80" y="116"/>
                      <a:pt x="77" y="115"/>
                      <a:pt x="75" y="115"/>
                    </a:cubicBezTo>
                    <a:cubicBezTo>
                      <a:pt x="73" y="116"/>
                      <a:pt x="69" y="119"/>
                      <a:pt x="67" y="121"/>
                    </a:cubicBezTo>
                    <a:cubicBezTo>
                      <a:pt x="66" y="121"/>
                      <a:pt x="65" y="123"/>
                      <a:pt x="65" y="124"/>
                    </a:cubicBezTo>
                    <a:cubicBezTo>
                      <a:pt x="64" y="125"/>
                      <a:pt x="61" y="127"/>
                      <a:pt x="60" y="127"/>
                    </a:cubicBezTo>
                    <a:cubicBezTo>
                      <a:pt x="58" y="127"/>
                      <a:pt x="56" y="125"/>
                      <a:pt x="55" y="124"/>
                    </a:cubicBezTo>
                    <a:cubicBezTo>
                      <a:pt x="54" y="124"/>
                      <a:pt x="52" y="124"/>
                      <a:pt x="51" y="124"/>
                    </a:cubicBezTo>
                    <a:cubicBezTo>
                      <a:pt x="51" y="124"/>
                      <a:pt x="51" y="123"/>
                      <a:pt x="50" y="123"/>
                    </a:cubicBezTo>
                    <a:cubicBezTo>
                      <a:pt x="49" y="122"/>
                      <a:pt x="46" y="121"/>
                      <a:pt x="46" y="119"/>
                    </a:cubicBezTo>
                    <a:cubicBezTo>
                      <a:pt x="45" y="118"/>
                      <a:pt x="45" y="115"/>
                      <a:pt x="44" y="113"/>
                    </a:cubicBezTo>
                    <a:cubicBezTo>
                      <a:pt x="44" y="113"/>
                      <a:pt x="43" y="112"/>
                      <a:pt x="42" y="112"/>
                    </a:cubicBezTo>
                    <a:cubicBezTo>
                      <a:pt x="41" y="112"/>
                      <a:pt x="39" y="113"/>
                      <a:pt x="38" y="113"/>
                    </a:cubicBezTo>
                    <a:cubicBezTo>
                      <a:pt x="38" y="113"/>
                      <a:pt x="37" y="111"/>
                      <a:pt x="37" y="111"/>
                    </a:cubicBezTo>
                    <a:cubicBezTo>
                      <a:pt x="37" y="110"/>
                      <a:pt x="38" y="109"/>
                      <a:pt x="38" y="108"/>
                    </a:cubicBezTo>
                    <a:cubicBezTo>
                      <a:pt x="38" y="108"/>
                      <a:pt x="38" y="107"/>
                      <a:pt x="37" y="106"/>
                    </a:cubicBezTo>
                    <a:cubicBezTo>
                      <a:pt x="36" y="106"/>
                      <a:pt x="33" y="107"/>
                      <a:pt x="32" y="106"/>
                    </a:cubicBezTo>
                    <a:cubicBezTo>
                      <a:pt x="31" y="106"/>
                      <a:pt x="30" y="105"/>
                      <a:pt x="30" y="104"/>
                    </a:cubicBezTo>
                    <a:cubicBezTo>
                      <a:pt x="29" y="103"/>
                      <a:pt x="28" y="99"/>
                      <a:pt x="28" y="98"/>
                    </a:cubicBezTo>
                    <a:cubicBezTo>
                      <a:pt x="28" y="96"/>
                      <a:pt x="29" y="94"/>
                      <a:pt x="29" y="92"/>
                    </a:cubicBezTo>
                    <a:cubicBezTo>
                      <a:pt x="29" y="91"/>
                      <a:pt x="26" y="87"/>
                      <a:pt x="26" y="86"/>
                    </a:cubicBezTo>
                    <a:cubicBezTo>
                      <a:pt x="27" y="85"/>
                      <a:pt x="30" y="84"/>
                      <a:pt x="30" y="83"/>
                    </a:cubicBezTo>
                    <a:cubicBezTo>
                      <a:pt x="31" y="81"/>
                      <a:pt x="29" y="78"/>
                      <a:pt x="29" y="76"/>
                    </a:cubicBezTo>
                    <a:cubicBezTo>
                      <a:pt x="28" y="75"/>
                      <a:pt x="27" y="73"/>
                      <a:pt x="26" y="73"/>
                    </a:cubicBezTo>
                    <a:cubicBezTo>
                      <a:pt x="25" y="72"/>
                      <a:pt x="24" y="72"/>
                      <a:pt x="23" y="73"/>
                    </a:cubicBezTo>
                    <a:cubicBezTo>
                      <a:pt x="22" y="73"/>
                      <a:pt x="21" y="75"/>
                      <a:pt x="20" y="75"/>
                    </a:cubicBezTo>
                    <a:cubicBezTo>
                      <a:pt x="18" y="75"/>
                      <a:pt x="16" y="74"/>
                      <a:pt x="15" y="73"/>
                    </a:cubicBezTo>
                    <a:cubicBezTo>
                      <a:pt x="14" y="72"/>
                      <a:pt x="12" y="71"/>
                      <a:pt x="11" y="70"/>
                    </a:cubicBezTo>
                    <a:cubicBezTo>
                      <a:pt x="10" y="69"/>
                      <a:pt x="9" y="67"/>
                      <a:pt x="8" y="67"/>
                    </a:cubicBezTo>
                    <a:cubicBezTo>
                      <a:pt x="7" y="66"/>
                      <a:pt x="5" y="64"/>
                      <a:pt x="5" y="63"/>
                    </a:cubicBezTo>
                    <a:cubicBezTo>
                      <a:pt x="5" y="62"/>
                      <a:pt x="8" y="63"/>
                      <a:pt x="8" y="63"/>
                    </a:cubicBezTo>
                    <a:cubicBezTo>
                      <a:pt x="9" y="63"/>
                      <a:pt x="11" y="64"/>
                      <a:pt x="12" y="63"/>
                    </a:cubicBezTo>
                    <a:cubicBezTo>
                      <a:pt x="12" y="63"/>
                      <a:pt x="12" y="62"/>
                      <a:pt x="12" y="61"/>
                    </a:cubicBezTo>
                    <a:cubicBezTo>
                      <a:pt x="12" y="60"/>
                      <a:pt x="11" y="58"/>
                      <a:pt x="11" y="57"/>
                    </a:cubicBezTo>
                    <a:cubicBezTo>
                      <a:pt x="11" y="56"/>
                      <a:pt x="10" y="54"/>
                      <a:pt x="9" y="53"/>
                    </a:cubicBezTo>
                    <a:cubicBezTo>
                      <a:pt x="9" y="53"/>
                      <a:pt x="7" y="54"/>
                      <a:pt x="7" y="54"/>
                    </a:cubicBezTo>
                    <a:cubicBezTo>
                      <a:pt x="5" y="54"/>
                      <a:pt x="3" y="52"/>
                      <a:pt x="2" y="51"/>
                    </a:cubicBezTo>
                    <a:cubicBezTo>
                      <a:pt x="1" y="50"/>
                      <a:pt x="0" y="48"/>
                      <a:pt x="0" y="47"/>
                    </a:cubicBezTo>
                    <a:cubicBezTo>
                      <a:pt x="0" y="46"/>
                      <a:pt x="2" y="44"/>
                      <a:pt x="2" y="43"/>
                    </a:cubicBezTo>
                    <a:cubicBezTo>
                      <a:pt x="2" y="42"/>
                      <a:pt x="0" y="39"/>
                      <a:pt x="0" y="38"/>
                    </a:cubicBezTo>
                    <a:cubicBezTo>
                      <a:pt x="0" y="37"/>
                      <a:pt x="2" y="34"/>
                      <a:pt x="3" y="33"/>
                    </a:cubicBezTo>
                    <a:cubicBezTo>
                      <a:pt x="3" y="33"/>
                      <a:pt x="4" y="31"/>
                      <a:pt x="5" y="31"/>
                    </a:cubicBezTo>
                    <a:cubicBezTo>
                      <a:pt x="6" y="31"/>
                      <a:pt x="9" y="31"/>
                      <a:pt x="10" y="31"/>
                    </a:cubicBezTo>
                    <a:cubicBezTo>
                      <a:pt x="11" y="32"/>
                      <a:pt x="14" y="32"/>
                      <a:pt x="15" y="32"/>
                    </a:cubicBezTo>
                    <a:cubicBezTo>
                      <a:pt x="17" y="31"/>
                      <a:pt x="21" y="31"/>
                      <a:pt x="23" y="30"/>
                    </a:cubicBezTo>
                    <a:cubicBezTo>
                      <a:pt x="24" y="30"/>
                      <a:pt x="25" y="28"/>
                      <a:pt x="26" y="27"/>
                    </a:cubicBezTo>
                    <a:cubicBezTo>
                      <a:pt x="27" y="27"/>
                      <a:pt x="29" y="27"/>
                      <a:pt x="30" y="26"/>
                    </a:cubicBezTo>
                    <a:cubicBezTo>
                      <a:pt x="31" y="25"/>
                      <a:pt x="32" y="23"/>
                      <a:pt x="32" y="22"/>
                    </a:cubicBezTo>
                    <a:cubicBezTo>
                      <a:pt x="33" y="21"/>
                      <a:pt x="31" y="17"/>
                      <a:pt x="31" y="16"/>
                    </a:cubicBezTo>
                    <a:cubicBezTo>
                      <a:pt x="32" y="15"/>
                      <a:pt x="34" y="14"/>
                      <a:pt x="36" y="13"/>
                    </a:cubicBezTo>
                    <a:cubicBezTo>
                      <a:pt x="37" y="13"/>
                      <a:pt x="38" y="14"/>
                      <a:pt x="39" y="14"/>
                    </a:cubicBezTo>
                    <a:cubicBezTo>
                      <a:pt x="40" y="15"/>
                      <a:pt x="43" y="18"/>
                      <a:pt x="44" y="19"/>
                    </a:cubicBezTo>
                    <a:cubicBezTo>
                      <a:pt x="45" y="21"/>
                      <a:pt x="44" y="24"/>
                      <a:pt x="45" y="25"/>
                    </a:cubicBezTo>
                    <a:cubicBezTo>
                      <a:pt x="45" y="27"/>
                      <a:pt x="48" y="28"/>
                      <a:pt x="49" y="28"/>
                    </a:cubicBezTo>
                    <a:cubicBezTo>
                      <a:pt x="50" y="28"/>
                      <a:pt x="52" y="25"/>
                      <a:pt x="53" y="25"/>
                    </a:cubicBezTo>
                    <a:cubicBezTo>
                      <a:pt x="54" y="24"/>
                      <a:pt x="56" y="25"/>
                      <a:pt x="56" y="26"/>
                    </a:cubicBezTo>
                    <a:cubicBezTo>
                      <a:pt x="57" y="26"/>
                      <a:pt x="58" y="28"/>
                      <a:pt x="59" y="28"/>
                    </a:cubicBezTo>
                    <a:cubicBezTo>
                      <a:pt x="60" y="29"/>
                      <a:pt x="62" y="27"/>
                      <a:pt x="62" y="27"/>
                    </a:cubicBezTo>
                    <a:cubicBezTo>
                      <a:pt x="63" y="26"/>
                      <a:pt x="64" y="23"/>
                      <a:pt x="65" y="22"/>
                    </a:cubicBezTo>
                    <a:cubicBezTo>
                      <a:pt x="67" y="20"/>
                      <a:pt x="71" y="19"/>
                      <a:pt x="73" y="17"/>
                    </a:cubicBezTo>
                    <a:cubicBezTo>
                      <a:pt x="74" y="17"/>
                      <a:pt x="76" y="14"/>
                      <a:pt x="78" y="14"/>
                    </a:cubicBezTo>
                    <a:cubicBezTo>
                      <a:pt x="79" y="14"/>
                      <a:pt x="81" y="14"/>
                      <a:pt x="82" y="15"/>
                    </a:cubicBezTo>
                    <a:cubicBezTo>
                      <a:pt x="83" y="15"/>
                      <a:pt x="84" y="18"/>
                      <a:pt x="85" y="19"/>
                    </a:cubicBezTo>
                    <a:cubicBezTo>
                      <a:pt x="86" y="20"/>
                      <a:pt x="88" y="22"/>
                      <a:pt x="89" y="22"/>
                    </a:cubicBezTo>
                    <a:cubicBezTo>
                      <a:pt x="91" y="21"/>
                      <a:pt x="93" y="18"/>
                      <a:pt x="94" y="17"/>
                    </a:cubicBezTo>
                    <a:cubicBezTo>
                      <a:pt x="94" y="16"/>
                      <a:pt x="95" y="14"/>
                      <a:pt x="95" y="13"/>
                    </a:cubicBezTo>
                    <a:cubicBezTo>
                      <a:pt x="96" y="12"/>
                      <a:pt x="98" y="11"/>
                      <a:pt x="99" y="11"/>
                    </a:cubicBezTo>
                    <a:cubicBezTo>
                      <a:pt x="102" y="9"/>
                      <a:pt x="108" y="9"/>
                      <a:pt x="110" y="7"/>
                    </a:cubicBezTo>
                    <a:cubicBezTo>
                      <a:pt x="111" y="6"/>
                      <a:pt x="112" y="5"/>
                      <a:pt x="113" y="4"/>
                    </a:cubicBezTo>
                    <a:cubicBezTo>
                      <a:pt x="114" y="3"/>
                      <a:pt x="116" y="0"/>
                      <a:pt x="118" y="0"/>
                    </a:cubicBezTo>
                    <a:cubicBezTo>
                      <a:pt x="119" y="1"/>
                      <a:pt x="118" y="5"/>
                      <a:pt x="120" y="6"/>
                    </a:cubicBezTo>
                    <a:cubicBezTo>
                      <a:pt x="120" y="6"/>
                      <a:pt x="122" y="6"/>
                      <a:pt x="123" y="6"/>
                    </a:cubicBezTo>
                    <a:cubicBezTo>
                      <a:pt x="125" y="6"/>
                      <a:pt x="128" y="5"/>
                      <a:pt x="130" y="6"/>
                    </a:cubicBezTo>
                    <a:cubicBezTo>
                      <a:pt x="132" y="6"/>
                      <a:pt x="135" y="6"/>
                      <a:pt x="136" y="7"/>
                    </a:cubicBezTo>
                    <a:cubicBezTo>
                      <a:pt x="137" y="8"/>
                      <a:pt x="137" y="11"/>
                      <a:pt x="138" y="12"/>
                    </a:cubicBezTo>
                    <a:cubicBezTo>
                      <a:pt x="138" y="14"/>
                      <a:pt x="140" y="17"/>
                      <a:pt x="141" y="18"/>
                    </a:cubicBezTo>
                    <a:cubicBezTo>
                      <a:pt x="142" y="19"/>
                      <a:pt x="143" y="19"/>
                      <a:pt x="144" y="19"/>
                    </a:cubicBezTo>
                    <a:cubicBezTo>
                      <a:pt x="144" y="21"/>
                      <a:pt x="144" y="23"/>
                      <a:pt x="144" y="24"/>
                    </a:cubicBezTo>
                    <a:cubicBezTo>
                      <a:pt x="144" y="26"/>
                      <a:pt x="144" y="29"/>
                      <a:pt x="144" y="30"/>
                    </a:cubicBezTo>
                    <a:cubicBezTo>
                      <a:pt x="145" y="32"/>
                      <a:pt x="147" y="35"/>
                      <a:pt x="148" y="37"/>
                    </a:cubicBezTo>
                    <a:cubicBezTo>
                      <a:pt x="149" y="38"/>
                      <a:pt x="152" y="40"/>
                      <a:pt x="152" y="42"/>
                    </a:cubicBezTo>
                    <a:cubicBezTo>
                      <a:pt x="152" y="44"/>
                      <a:pt x="148" y="47"/>
                      <a:pt x="147" y="49"/>
                    </a:cubicBezTo>
                    <a:cubicBezTo>
                      <a:pt x="146" y="51"/>
                      <a:pt x="145" y="55"/>
                      <a:pt x="145" y="57"/>
                    </a:cubicBezTo>
                    <a:cubicBezTo>
                      <a:pt x="146" y="59"/>
                      <a:pt x="149" y="62"/>
                      <a:pt x="151" y="63"/>
                    </a:cubicBezTo>
                    <a:cubicBezTo>
                      <a:pt x="152" y="65"/>
                      <a:pt x="157" y="68"/>
                      <a:pt x="158" y="70"/>
                    </a:cubicBezTo>
                    <a:cubicBezTo>
                      <a:pt x="158" y="71"/>
                      <a:pt x="159" y="73"/>
                      <a:pt x="158" y="75"/>
                    </a:cubicBezTo>
                    <a:cubicBezTo>
                      <a:pt x="158" y="76"/>
                      <a:pt x="155" y="77"/>
                      <a:pt x="154" y="78"/>
                    </a:cubicBezTo>
                    <a:cubicBezTo>
                      <a:pt x="154" y="79"/>
                      <a:pt x="155" y="80"/>
                      <a:pt x="155" y="81"/>
                    </a:cubicBezTo>
                    <a:cubicBezTo>
                      <a:pt x="156" y="82"/>
                      <a:pt x="158" y="84"/>
                      <a:pt x="159" y="8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8">
                <a:extLst>
                  <a:ext uri="{FF2B5EF4-FFF2-40B4-BE49-F238E27FC236}">
                    <a16:creationId xmlns:a16="http://schemas.microsoft.com/office/drawing/2014/main" id="{FD189D21-FC0A-5745-7721-DF12ECAECF81}"/>
                  </a:ext>
                </a:extLst>
              </p:cNvPr>
              <p:cNvSpPr>
                <a:spLocks/>
              </p:cNvSpPr>
              <p:nvPr/>
            </p:nvSpPr>
            <p:spPr bwMode="auto">
              <a:xfrm>
                <a:off x="7623021" y="2400043"/>
                <a:ext cx="365935" cy="339495"/>
              </a:xfrm>
              <a:custGeom>
                <a:avLst/>
                <a:gdLst/>
                <a:ahLst/>
                <a:cxnLst>
                  <a:cxn ang="0">
                    <a:pos x="240" y="218"/>
                  </a:cxn>
                  <a:cxn ang="0">
                    <a:pos x="233" y="225"/>
                  </a:cxn>
                  <a:cxn ang="0">
                    <a:pos x="219" y="226"/>
                  </a:cxn>
                  <a:cxn ang="0">
                    <a:pos x="214" y="219"/>
                  </a:cxn>
                  <a:cxn ang="0">
                    <a:pos x="213" y="205"/>
                  </a:cxn>
                  <a:cxn ang="0">
                    <a:pos x="193" y="184"/>
                  </a:cxn>
                  <a:cxn ang="0">
                    <a:pos x="186" y="188"/>
                  </a:cxn>
                  <a:cxn ang="0">
                    <a:pos x="182" y="203"/>
                  </a:cxn>
                  <a:cxn ang="0">
                    <a:pos x="166" y="199"/>
                  </a:cxn>
                  <a:cxn ang="0">
                    <a:pos x="154" y="193"/>
                  </a:cxn>
                  <a:cxn ang="0">
                    <a:pos x="139" y="190"/>
                  </a:cxn>
                  <a:cxn ang="0">
                    <a:pos x="128" y="192"/>
                  </a:cxn>
                  <a:cxn ang="0">
                    <a:pos x="122" y="198"/>
                  </a:cxn>
                  <a:cxn ang="0">
                    <a:pos x="125" y="206"/>
                  </a:cxn>
                  <a:cxn ang="0">
                    <a:pos x="123" y="213"/>
                  </a:cxn>
                  <a:cxn ang="0">
                    <a:pos x="114" y="221"/>
                  </a:cxn>
                  <a:cxn ang="0">
                    <a:pos x="107" y="216"/>
                  </a:cxn>
                  <a:cxn ang="0">
                    <a:pos x="99" y="190"/>
                  </a:cxn>
                  <a:cxn ang="0">
                    <a:pos x="79" y="176"/>
                  </a:cxn>
                  <a:cxn ang="0">
                    <a:pos x="58" y="183"/>
                  </a:cxn>
                  <a:cxn ang="0">
                    <a:pos x="42" y="188"/>
                  </a:cxn>
                  <a:cxn ang="0">
                    <a:pos x="31" y="179"/>
                  </a:cxn>
                  <a:cxn ang="0">
                    <a:pos x="25" y="159"/>
                  </a:cxn>
                  <a:cxn ang="0">
                    <a:pos x="8" y="138"/>
                  </a:cxn>
                  <a:cxn ang="0">
                    <a:pos x="20" y="118"/>
                  </a:cxn>
                  <a:cxn ang="0">
                    <a:pos x="1" y="90"/>
                  </a:cxn>
                  <a:cxn ang="0">
                    <a:pos x="16" y="68"/>
                  </a:cxn>
                  <a:cxn ang="0">
                    <a:pos x="27" y="44"/>
                  </a:cxn>
                  <a:cxn ang="0">
                    <a:pos x="46" y="21"/>
                  </a:cxn>
                  <a:cxn ang="0">
                    <a:pos x="56" y="3"/>
                  </a:cxn>
                  <a:cxn ang="0">
                    <a:pos x="73" y="6"/>
                  </a:cxn>
                  <a:cxn ang="0">
                    <a:pos x="91" y="11"/>
                  </a:cxn>
                  <a:cxn ang="0">
                    <a:pos x="110" y="10"/>
                  </a:cxn>
                  <a:cxn ang="0">
                    <a:pos x="123" y="13"/>
                  </a:cxn>
                  <a:cxn ang="0">
                    <a:pos x="136" y="19"/>
                  </a:cxn>
                  <a:cxn ang="0">
                    <a:pos x="155" y="13"/>
                  </a:cxn>
                  <a:cxn ang="0">
                    <a:pos x="170" y="15"/>
                  </a:cxn>
                  <a:cxn ang="0">
                    <a:pos x="185" y="18"/>
                  </a:cxn>
                  <a:cxn ang="0">
                    <a:pos x="197" y="20"/>
                  </a:cxn>
                  <a:cxn ang="0">
                    <a:pos x="202" y="28"/>
                  </a:cxn>
                  <a:cxn ang="0">
                    <a:pos x="190" y="43"/>
                  </a:cxn>
                  <a:cxn ang="0">
                    <a:pos x="180" y="52"/>
                  </a:cxn>
                  <a:cxn ang="0">
                    <a:pos x="170" y="59"/>
                  </a:cxn>
                  <a:cxn ang="0">
                    <a:pos x="161" y="72"/>
                  </a:cxn>
                  <a:cxn ang="0">
                    <a:pos x="161" y="79"/>
                  </a:cxn>
                  <a:cxn ang="0">
                    <a:pos x="165" y="91"/>
                  </a:cxn>
                  <a:cxn ang="0">
                    <a:pos x="177" y="85"/>
                  </a:cxn>
                  <a:cxn ang="0">
                    <a:pos x="193" y="95"/>
                  </a:cxn>
                  <a:cxn ang="0">
                    <a:pos x="199" y="103"/>
                  </a:cxn>
                  <a:cxn ang="0">
                    <a:pos x="187" y="118"/>
                  </a:cxn>
                  <a:cxn ang="0">
                    <a:pos x="180" y="127"/>
                  </a:cxn>
                  <a:cxn ang="0">
                    <a:pos x="179" y="139"/>
                  </a:cxn>
                  <a:cxn ang="0">
                    <a:pos x="192" y="138"/>
                  </a:cxn>
                  <a:cxn ang="0">
                    <a:pos x="198" y="151"/>
                  </a:cxn>
                  <a:cxn ang="0">
                    <a:pos x="190" y="165"/>
                  </a:cxn>
                  <a:cxn ang="0">
                    <a:pos x="206" y="174"/>
                  </a:cxn>
                  <a:cxn ang="0">
                    <a:pos x="218" y="185"/>
                  </a:cxn>
                  <a:cxn ang="0">
                    <a:pos x="228" y="196"/>
                  </a:cxn>
                  <a:cxn ang="0">
                    <a:pos x="242" y="209"/>
                  </a:cxn>
                </a:cxnLst>
                <a:rect l="0" t="0" r="r" b="b"/>
                <a:pathLst>
                  <a:path w="243" h="228">
                    <a:moveTo>
                      <a:pt x="242" y="209"/>
                    </a:moveTo>
                    <a:cubicBezTo>
                      <a:pt x="243" y="210"/>
                      <a:pt x="243" y="214"/>
                      <a:pt x="242" y="215"/>
                    </a:cubicBezTo>
                    <a:cubicBezTo>
                      <a:pt x="242" y="216"/>
                      <a:pt x="241" y="217"/>
                      <a:pt x="240" y="218"/>
                    </a:cubicBezTo>
                    <a:cubicBezTo>
                      <a:pt x="239" y="218"/>
                      <a:pt x="237" y="217"/>
                      <a:pt x="236" y="218"/>
                    </a:cubicBezTo>
                    <a:cubicBezTo>
                      <a:pt x="235" y="218"/>
                      <a:pt x="234" y="220"/>
                      <a:pt x="234" y="221"/>
                    </a:cubicBezTo>
                    <a:cubicBezTo>
                      <a:pt x="233" y="222"/>
                      <a:pt x="234" y="224"/>
                      <a:pt x="233" y="225"/>
                    </a:cubicBezTo>
                    <a:cubicBezTo>
                      <a:pt x="233" y="226"/>
                      <a:pt x="230" y="226"/>
                      <a:pt x="228" y="226"/>
                    </a:cubicBezTo>
                    <a:cubicBezTo>
                      <a:pt x="228" y="226"/>
                      <a:pt x="226" y="228"/>
                      <a:pt x="225" y="228"/>
                    </a:cubicBezTo>
                    <a:cubicBezTo>
                      <a:pt x="224" y="228"/>
                      <a:pt x="221" y="226"/>
                      <a:pt x="219" y="226"/>
                    </a:cubicBezTo>
                    <a:cubicBezTo>
                      <a:pt x="218" y="226"/>
                      <a:pt x="216" y="226"/>
                      <a:pt x="214" y="226"/>
                    </a:cubicBezTo>
                    <a:cubicBezTo>
                      <a:pt x="214" y="226"/>
                      <a:pt x="213" y="224"/>
                      <a:pt x="213" y="224"/>
                    </a:cubicBezTo>
                    <a:cubicBezTo>
                      <a:pt x="213" y="224"/>
                      <a:pt x="212" y="222"/>
                      <a:pt x="214" y="219"/>
                    </a:cubicBezTo>
                    <a:cubicBezTo>
                      <a:pt x="215" y="217"/>
                      <a:pt x="217" y="216"/>
                      <a:pt x="217" y="215"/>
                    </a:cubicBezTo>
                    <a:cubicBezTo>
                      <a:pt x="218" y="214"/>
                      <a:pt x="218" y="212"/>
                      <a:pt x="218" y="210"/>
                    </a:cubicBezTo>
                    <a:cubicBezTo>
                      <a:pt x="217" y="209"/>
                      <a:pt x="214" y="207"/>
                      <a:pt x="213" y="205"/>
                    </a:cubicBezTo>
                    <a:cubicBezTo>
                      <a:pt x="211" y="204"/>
                      <a:pt x="208" y="200"/>
                      <a:pt x="207" y="198"/>
                    </a:cubicBezTo>
                    <a:cubicBezTo>
                      <a:pt x="206" y="197"/>
                      <a:pt x="203" y="194"/>
                      <a:pt x="202" y="192"/>
                    </a:cubicBezTo>
                    <a:cubicBezTo>
                      <a:pt x="200" y="190"/>
                      <a:pt x="196" y="186"/>
                      <a:pt x="193" y="184"/>
                    </a:cubicBezTo>
                    <a:cubicBezTo>
                      <a:pt x="192" y="184"/>
                      <a:pt x="191" y="182"/>
                      <a:pt x="190" y="182"/>
                    </a:cubicBezTo>
                    <a:cubicBezTo>
                      <a:pt x="189" y="181"/>
                      <a:pt x="187" y="182"/>
                      <a:pt x="186" y="183"/>
                    </a:cubicBezTo>
                    <a:cubicBezTo>
                      <a:pt x="185" y="184"/>
                      <a:pt x="185" y="187"/>
                      <a:pt x="186" y="188"/>
                    </a:cubicBezTo>
                    <a:cubicBezTo>
                      <a:pt x="186" y="189"/>
                      <a:pt x="187" y="192"/>
                      <a:pt x="187" y="193"/>
                    </a:cubicBezTo>
                    <a:cubicBezTo>
                      <a:pt x="188" y="194"/>
                      <a:pt x="188" y="197"/>
                      <a:pt x="187" y="199"/>
                    </a:cubicBezTo>
                    <a:cubicBezTo>
                      <a:pt x="187" y="200"/>
                      <a:pt x="183" y="203"/>
                      <a:pt x="182" y="203"/>
                    </a:cubicBezTo>
                    <a:cubicBezTo>
                      <a:pt x="180" y="204"/>
                      <a:pt x="177" y="204"/>
                      <a:pt x="175" y="203"/>
                    </a:cubicBezTo>
                    <a:cubicBezTo>
                      <a:pt x="174" y="203"/>
                      <a:pt x="173" y="200"/>
                      <a:pt x="171" y="199"/>
                    </a:cubicBezTo>
                    <a:cubicBezTo>
                      <a:pt x="170" y="198"/>
                      <a:pt x="167" y="199"/>
                      <a:pt x="166" y="199"/>
                    </a:cubicBezTo>
                    <a:cubicBezTo>
                      <a:pt x="165" y="198"/>
                      <a:pt x="165" y="196"/>
                      <a:pt x="164" y="195"/>
                    </a:cubicBezTo>
                    <a:cubicBezTo>
                      <a:pt x="162" y="195"/>
                      <a:pt x="159" y="196"/>
                      <a:pt x="158" y="195"/>
                    </a:cubicBezTo>
                    <a:cubicBezTo>
                      <a:pt x="157" y="195"/>
                      <a:pt x="155" y="193"/>
                      <a:pt x="154" y="193"/>
                    </a:cubicBezTo>
                    <a:cubicBezTo>
                      <a:pt x="153" y="192"/>
                      <a:pt x="150" y="193"/>
                      <a:pt x="149" y="193"/>
                    </a:cubicBezTo>
                    <a:cubicBezTo>
                      <a:pt x="147" y="193"/>
                      <a:pt x="144" y="193"/>
                      <a:pt x="143" y="192"/>
                    </a:cubicBezTo>
                    <a:cubicBezTo>
                      <a:pt x="142" y="192"/>
                      <a:pt x="140" y="190"/>
                      <a:pt x="139" y="190"/>
                    </a:cubicBezTo>
                    <a:cubicBezTo>
                      <a:pt x="138" y="189"/>
                      <a:pt x="135" y="188"/>
                      <a:pt x="134" y="189"/>
                    </a:cubicBezTo>
                    <a:cubicBezTo>
                      <a:pt x="133" y="189"/>
                      <a:pt x="133" y="192"/>
                      <a:pt x="132" y="192"/>
                    </a:cubicBezTo>
                    <a:cubicBezTo>
                      <a:pt x="131" y="193"/>
                      <a:pt x="128" y="192"/>
                      <a:pt x="128" y="192"/>
                    </a:cubicBezTo>
                    <a:cubicBezTo>
                      <a:pt x="127" y="193"/>
                      <a:pt x="127" y="195"/>
                      <a:pt x="126" y="196"/>
                    </a:cubicBezTo>
                    <a:cubicBezTo>
                      <a:pt x="126" y="196"/>
                      <a:pt x="125" y="198"/>
                      <a:pt x="125" y="198"/>
                    </a:cubicBezTo>
                    <a:cubicBezTo>
                      <a:pt x="124" y="198"/>
                      <a:pt x="122" y="198"/>
                      <a:pt x="122" y="198"/>
                    </a:cubicBezTo>
                    <a:cubicBezTo>
                      <a:pt x="121" y="199"/>
                      <a:pt x="119" y="201"/>
                      <a:pt x="118" y="203"/>
                    </a:cubicBezTo>
                    <a:cubicBezTo>
                      <a:pt x="118" y="203"/>
                      <a:pt x="118" y="205"/>
                      <a:pt x="119" y="205"/>
                    </a:cubicBezTo>
                    <a:cubicBezTo>
                      <a:pt x="120" y="206"/>
                      <a:pt x="123" y="205"/>
                      <a:pt x="125" y="206"/>
                    </a:cubicBezTo>
                    <a:cubicBezTo>
                      <a:pt x="125" y="206"/>
                      <a:pt x="127" y="207"/>
                      <a:pt x="128" y="208"/>
                    </a:cubicBezTo>
                    <a:cubicBezTo>
                      <a:pt x="128" y="209"/>
                      <a:pt x="128" y="211"/>
                      <a:pt x="127" y="212"/>
                    </a:cubicBezTo>
                    <a:cubicBezTo>
                      <a:pt x="127" y="212"/>
                      <a:pt x="124" y="212"/>
                      <a:pt x="123" y="213"/>
                    </a:cubicBezTo>
                    <a:cubicBezTo>
                      <a:pt x="123" y="214"/>
                      <a:pt x="123" y="216"/>
                      <a:pt x="123" y="217"/>
                    </a:cubicBezTo>
                    <a:cubicBezTo>
                      <a:pt x="122" y="219"/>
                      <a:pt x="121" y="221"/>
                      <a:pt x="119" y="222"/>
                    </a:cubicBezTo>
                    <a:cubicBezTo>
                      <a:pt x="118" y="222"/>
                      <a:pt x="115" y="221"/>
                      <a:pt x="114" y="221"/>
                    </a:cubicBezTo>
                    <a:cubicBezTo>
                      <a:pt x="113" y="221"/>
                      <a:pt x="110" y="222"/>
                      <a:pt x="109" y="221"/>
                    </a:cubicBezTo>
                    <a:cubicBezTo>
                      <a:pt x="109" y="221"/>
                      <a:pt x="108" y="221"/>
                      <a:pt x="107" y="220"/>
                    </a:cubicBezTo>
                    <a:cubicBezTo>
                      <a:pt x="107" y="218"/>
                      <a:pt x="107" y="217"/>
                      <a:pt x="107" y="216"/>
                    </a:cubicBezTo>
                    <a:cubicBezTo>
                      <a:pt x="106" y="214"/>
                      <a:pt x="101" y="212"/>
                      <a:pt x="100" y="210"/>
                    </a:cubicBezTo>
                    <a:cubicBezTo>
                      <a:pt x="99" y="207"/>
                      <a:pt x="100" y="201"/>
                      <a:pt x="100" y="199"/>
                    </a:cubicBezTo>
                    <a:cubicBezTo>
                      <a:pt x="100" y="197"/>
                      <a:pt x="100" y="192"/>
                      <a:pt x="99" y="190"/>
                    </a:cubicBezTo>
                    <a:cubicBezTo>
                      <a:pt x="99" y="188"/>
                      <a:pt x="97" y="182"/>
                      <a:pt x="95" y="181"/>
                    </a:cubicBezTo>
                    <a:cubicBezTo>
                      <a:pt x="93" y="179"/>
                      <a:pt x="87" y="181"/>
                      <a:pt x="85" y="180"/>
                    </a:cubicBezTo>
                    <a:cubicBezTo>
                      <a:pt x="83" y="179"/>
                      <a:pt x="81" y="177"/>
                      <a:pt x="79" y="176"/>
                    </a:cubicBezTo>
                    <a:cubicBezTo>
                      <a:pt x="77" y="176"/>
                      <a:pt x="71" y="177"/>
                      <a:pt x="68" y="178"/>
                    </a:cubicBezTo>
                    <a:cubicBezTo>
                      <a:pt x="67" y="178"/>
                      <a:pt x="65" y="181"/>
                      <a:pt x="64" y="182"/>
                    </a:cubicBezTo>
                    <a:cubicBezTo>
                      <a:pt x="62" y="182"/>
                      <a:pt x="59" y="182"/>
                      <a:pt x="58" y="183"/>
                    </a:cubicBezTo>
                    <a:cubicBezTo>
                      <a:pt x="56" y="183"/>
                      <a:pt x="55" y="187"/>
                      <a:pt x="54" y="188"/>
                    </a:cubicBezTo>
                    <a:cubicBezTo>
                      <a:pt x="52" y="189"/>
                      <a:pt x="48" y="192"/>
                      <a:pt x="46" y="191"/>
                    </a:cubicBezTo>
                    <a:cubicBezTo>
                      <a:pt x="44" y="191"/>
                      <a:pt x="43" y="189"/>
                      <a:pt x="42" y="188"/>
                    </a:cubicBezTo>
                    <a:cubicBezTo>
                      <a:pt x="42" y="186"/>
                      <a:pt x="44" y="181"/>
                      <a:pt x="42" y="179"/>
                    </a:cubicBezTo>
                    <a:cubicBezTo>
                      <a:pt x="42" y="178"/>
                      <a:pt x="39" y="178"/>
                      <a:pt x="38" y="178"/>
                    </a:cubicBezTo>
                    <a:cubicBezTo>
                      <a:pt x="36" y="178"/>
                      <a:pt x="32" y="180"/>
                      <a:pt x="31" y="179"/>
                    </a:cubicBezTo>
                    <a:cubicBezTo>
                      <a:pt x="29" y="178"/>
                      <a:pt x="29" y="174"/>
                      <a:pt x="29" y="172"/>
                    </a:cubicBezTo>
                    <a:cubicBezTo>
                      <a:pt x="29" y="170"/>
                      <a:pt x="30" y="166"/>
                      <a:pt x="29" y="164"/>
                    </a:cubicBezTo>
                    <a:cubicBezTo>
                      <a:pt x="29" y="163"/>
                      <a:pt x="26" y="160"/>
                      <a:pt x="25" y="159"/>
                    </a:cubicBezTo>
                    <a:cubicBezTo>
                      <a:pt x="24" y="158"/>
                      <a:pt x="21" y="157"/>
                      <a:pt x="19" y="156"/>
                    </a:cubicBezTo>
                    <a:cubicBezTo>
                      <a:pt x="17" y="155"/>
                      <a:pt x="14" y="151"/>
                      <a:pt x="12" y="149"/>
                    </a:cubicBezTo>
                    <a:cubicBezTo>
                      <a:pt x="11" y="146"/>
                      <a:pt x="8" y="141"/>
                      <a:pt x="8" y="138"/>
                    </a:cubicBezTo>
                    <a:cubicBezTo>
                      <a:pt x="8" y="135"/>
                      <a:pt x="10" y="131"/>
                      <a:pt x="11" y="129"/>
                    </a:cubicBezTo>
                    <a:cubicBezTo>
                      <a:pt x="12" y="128"/>
                      <a:pt x="17" y="127"/>
                      <a:pt x="18" y="126"/>
                    </a:cubicBezTo>
                    <a:cubicBezTo>
                      <a:pt x="19" y="124"/>
                      <a:pt x="20" y="120"/>
                      <a:pt x="20" y="118"/>
                    </a:cubicBezTo>
                    <a:cubicBezTo>
                      <a:pt x="20" y="116"/>
                      <a:pt x="18" y="111"/>
                      <a:pt x="17" y="109"/>
                    </a:cubicBezTo>
                    <a:cubicBezTo>
                      <a:pt x="15" y="107"/>
                      <a:pt x="10" y="105"/>
                      <a:pt x="9" y="104"/>
                    </a:cubicBezTo>
                    <a:cubicBezTo>
                      <a:pt x="6" y="101"/>
                      <a:pt x="1" y="94"/>
                      <a:pt x="1" y="90"/>
                    </a:cubicBezTo>
                    <a:cubicBezTo>
                      <a:pt x="0" y="87"/>
                      <a:pt x="0" y="80"/>
                      <a:pt x="2" y="77"/>
                    </a:cubicBezTo>
                    <a:cubicBezTo>
                      <a:pt x="3" y="74"/>
                      <a:pt x="7" y="70"/>
                      <a:pt x="9" y="69"/>
                    </a:cubicBezTo>
                    <a:cubicBezTo>
                      <a:pt x="10" y="68"/>
                      <a:pt x="15" y="69"/>
                      <a:pt x="16" y="68"/>
                    </a:cubicBezTo>
                    <a:cubicBezTo>
                      <a:pt x="17" y="66"/>
                      <a:pt x="17" y="61"/>
                      <a:pt x="17" y="59"/>
                    </a:cubicBezTo>
                    <a:cubicBezTo>
                      <a:pt x="17" y="57"/>
                      <a:pt x="15" y="51"/>
                      <a:pt x="16" y="49"/>
                    </a:cubicBezTo>
                    <a:cubicBezTo>
                      <a:pt x="18" y="46"/>
                      <a:pt x="24" y="45"/>
                      <a:pt x="27" y="44"/>
                    </a:cubicBezTo>
                    <a:cubicBezTo>
                      <a:pt x="30" y="43"/>
                      <a:pt x="36" y="42"/>
                      <a:pt x="38" y="40"/>
                    </a:cubicBezTo>
                    <a:cubicBezTo>
                      <a:pt x="40" y="38"/>
                      <a:pt x="43" y="35"/>
                      <a:pt x="44" y="33"/>
                    </a:cubicBezTo>
                    <a:cubicBezTo>
                      <a:pt x="45" y="30"/>
                      <a:pt x="44" y="23"/>
                      <a:pt x="46" y="21"/>
                    </a:cubicBezTo>
                    <a:cubicBezTo>
                      <a:pt x="47" y="19"/>
                      <a:pt x="53" y="19"/>
                      <a:pt x="54" y="17"/>
                    </a:cubicBezTo>
                    <a:cubicBezTo>
                      <a:pt x="55" y="16"/>
                      <a:pt x="55" y="13"/>
                      <a:pt x="55" y="11"/>
                    </a:cubicBezTo>
                    <a:cubicBezTo>
                      <a:pt x="55" y="9"/>
                      <a:pt x="56" y="6"/>
                      <a:pt x="56" y="3"/>
                    </a:cubicBezTo>
                    <a:cubicBezTo>
                      <a:pt x="58" y="3"/>
                      <a:pt x="61" y="0"/>
                      <a:pt x="62" y="0"/>
                    </a:cubicBezTo>
                    <a:cubicBezTo>
                      <a:pt x="64" y="0"/>
                      <a:pt x="68" y="2"/>
                      <a:pt x="70" y="3"/>
                    </a:cubicBezTo>
                    <a:cubicBezTo>
                      <a:pt x="71" y="3"/>
                      <a:pt x="72" y="6"/>
                      <a:pt x="73" y="6"/>
                    </a:cubicBezTo>
                    <a:cubicBezTo>
                      <a:pt x="73" y="7"/>
                      <a:pt x="75" y="10"/>
                      <a:pt x="76" y="10"/>
                    </a:cubicBezTo>
                    <a:cubicBezTo>
                      <a:pt x="78" y="11"/>
                      <a:pt x="83" y="11"/>
                      <a:pt x="85" y="11"/>
                    </a:cubicBezTo>
                    <a:cubicBezTo>
                      <a:pt x="86" y="11"/>
                      <a:pt x="90" y="11"/>
                      <a:pt x="91" y="11"/>
                    </a:cubicBezTo>
                    <a:cubicBezTo>
                      <a:pt x="93" y="11"/>
                      <a:pt x="95" y="10"/>
                      <a:pt x="97" y="10"/>
                    </a:cubicBezTo>
                    <a:cubicBezTo>
                      <a:pt x="98" y="9"/>
                      <a:pt x="102" y="10"/>
                      <a:pt x="104" y="10"/>
                    </a:cubicBezTo>
                    <a:cubicBezTo>
                      <a:pt x="105" y="10"/>
                      <a:pt x="108" y="10"/>
                      <a:pt x="110" y="10"/>
                    </a:cubicBezTo>
                    <a:cubicBezTo>
                      <a:pt x="111" y="10"/>
                      <a:pt x="114" y="8"/>
                      <a:pt x="116" y="8"/>
                    </a:cubicBezTo>
                    <a:cubicBezTo>
                      <a:pt x="117" y="8"/>
                      <a:pt x="120" y="8"/>
                      <a:pt x="121" y="9"/>
                    </a:cubicBezTo>
                    <a:cubicBezTo>
                      <a:pt x="122" y="9"/>
                      <a:pt x="122" y="12"/>
                      <a:pt x="123" y="13"/>
                    </a:cubicBezTo>
                    <a:cubicBezTo>
                      <a:pt x="124" y="14"/>
                      <a:pt x="128" y="12"/>
                      <a:pt x="130" y="13"/>
                    </a:cubicBezTo>
                    <a:cubicBezTo>
                      <a:pt x="131" y="14"/>
                      <a:pt x="132" y="16"/>
                      <a:pt x="133" y="17"/>
                    </a:cubicBezTo>
                    <a:cubicBezTo>
                      <a:pt x="134" y="17"/>
                      <a:pt x="135" y="19"/>
                      <a:pt x="136" y="19"/>
                    </a:cubicBezTo>
                    <a:cubicBezTo>
                      <a:pt x="138" y="20"/>
                      <a:pt x="141" y="19"/>
                      <a:pt x="142" y="19"/>
                    </a:cubicBezTo>
                    <a:cubicBezTo>
                      <a:pt x="145" y="18"/>
                      <a:pt x="149" y="17"/>
                      <a:pt x="151" y="16"/>
                    </a:cubicBezTo>
                    <a:cubicBezTo>
                      <a:pt x="152" y="16"/>
                      <a:pt x="154" y="13"/>
                      <a:pt x="155" y="13"/>
                    </a:cubicBezTo>
                    <a:cubicBezTo>
                      <a:pt x="156" y="12"/>
                      <a:pt x="159" y="13"/>
                      <a:pt x="160" y="14"/>
                    </a:cubicBezTo>
                    <a:cubicBezTo>
                      <a:pt x="161" y="14"/>
                      <a:pt x="164" y="16"/>
                      <a:pt x="166" y="17"/>
                    </a:cubicBezTo>
                    <a:cubicBezTo>
                      <a:pt x="167" y="17"/>
                      <a:pt x="169" y="15"/>
                      <a:pt x="170" y="15"/>
                    </a:cubicBezTo>
                    <a:cubicBezTo>
                      <a:pt x="171" y="15"/>
                      <a:pt x="173" y="16"/>
                      <a:pt x="174" y="17"/>
                    </a:cubicBezTo>
                    <a:cubicBezTo>
                      <a:pt x="175" y="17"/>
                      <a:pt x="177" y="19"/>
                      <a:pt x="178" y="19"/>
                    </a:cubicBezTo>
                    <a:cubicBezTo>
                      <a:pt x="180" y="19"/>
                      <a:pt x="183" y="19"/>
                      <a:pt x="185" y="18"/>
                    </a:cubicBezTo>
                    <a:cubicBezTo>
                      <a:pt x="185" y="18"/>
                      <a:pt x="186" y="17"/>
                      <a:pt x="187" y="16"/>
                    </a:cubicBezTo>
                    <a:cubicBezTo>
                      <a:pt x="188" y="16"/>
                      <a:pt x="189" y="18"/>
                      <a:pt x="190" y="18"/>
                    </a:cubicBezTo>
                    <a:cubicBezTo>
                      <a:pt x="192" y="18"/>
                      <a:pt x="195" y="19"/>
                      <a:pt x="197" y="20"/>
                    </a:cubicBezTo>
                    <a:cubicBezTo>
                      <a:pt x="198" y="20"/>
                      <a:pt x="199" y="22"/>
                      <a:pt x="200" y="23"/>
                    </a:cubicBezTo>
                    <a:cubicBezTo>
                      <a:pt x="201" y="23"/>
                      <a:pt x="202" y="24"/>
                      <a:pt x="202" y="24"/>
                    </a:cubicBezTo>
                    <a:cubicBezTo>
                      <a:pt x="203" y="25"/>
                      <a:pt x="203" y="27"/>
                      <a:pt x="202" y="28"/>
                    </a:cubicBezTo>
                    <a:cubicBezTo>
                      <a:pt x="202" y="31"/>
                      <a:pt x="201" y="37"/>
                      <a:pt x="199" y="38"/>
                    </a:cubicBezTo>
                    <a:cubicBezTo>
                      <a:pt x="198" y="39"/>
                      <a:pt x="196" y="39"/>
                      <a:pt x="195" y="39"/>
                    </a:cubicBezTo>
                    <a:cubicBezTo>
                      <a:pt x="193" y="40"/>
                      <a:pt x="191" y="42"/>
                      <a:pt x="190" y="43"/>
                    </a:cubicBezTo>
                    <a:cubicBezTo>
                      <a:pt x="189" y="44"/>
                      <a:pt x="189" y="46"/>
                      <a:pt x="188" y="47"/>
                    </a:cubicBezTo>
                    <a:cubicBezTo>
                      <a:pt x="187" y="47"/>
                      <a:pt x="185" y="48"/>
                      <a:pt x="185" y="48"/>
                    </a:cubicBezTo>
                    <a:cubicBezTo>
                      <a:pt x="183" y="49"/>
                      <a:pt x="181" y="51"/>
                      <a:pt x="180" y="52"/>
                    </a:cubicBezTo>
                    <a:cubicBezTo>
                      <a:pt x="179" y="53"/>
                      <a:pt x="178" y="55"/>
                      <a:pt x="177" y="56"/>
                    </a:cubicBezTo>
                    <a:cubicBezTo>
                      <a:pt x="176" y="56"/>
                      <a:pt x="174" y="56"/>
                      <a:pt x="173" y="57"/>
                    </a:cubicBezTo>
                    <a:cubicBezTo>
                      <a:pt x="172" y="57"/>
                      <a:pt x="170" y="58"/>
                      <a:pt x="170" y="59"/>
                    </a:cubicBezTo>
                    <a:cubicBezTo>
                      <a:pt x="169" y="61"/>
                      <a:pt x="169" y="64"/>
                      <a:pt x="168" y="66"/>
                    </a:cubicBezTo>
                    <a:cubicBezTo>
                      <a:pt x="168" y="67"/>
                      <a:pt x="167" y="69"/>
                      <a:pt x="166" y="69"/>
                    </a:cubicBezTo>
                    <a:cubicBezTo>
                      <a:pt x="165" y="70"/>
                      <a:pt x="162" y="71"/>
                      <a:pt x="161" y="72"/>
                    </a:cubicBezTo>
                    <a:cubicBezTo>
                      <a:pt x="160" y="72"/>
                      <a:pt x="159" y="71"/>
                      <a:pt x="158" y="71"/>
                    </a:cubicBezTo>
                    <a:cubicBezTo>
                      <a:pt x="157" y="72"/>
                      <a:pt x="156" y="75"/>
                      <a:pt x="157" y="76"/>
                    </a:cubicBezTo>
                    <a:cubicBezTo>
                      <a:pt x="157" y="77"/>
                      <a:pt x="160" y="78"/>
                      <a:pt x="161" y="79"/>
                    </a:cubicBezTo>
                    <a:cubicBezTo>
                      <a:pt x="162" y="80"/>
                      <a:pt x="164" y="82"/>
                      <a:pt x="164" y="83"/>
                    </a:cubicBezTo>
                    <a:cubicBezTo>
                      <a:pt x="164" y="84"/>
                      <a:pt x="162" y="86"/>
                      <a:pt x="162" y="87"/>
                    </a:cubicBezTo>
                    <a:cubicBezTo>
                      <a:pt x="162" y="88"/>
                      <a:pt x="164" y="90"/>
                      <a:pt x="165" y="91"/>
                    </a:cubicBezTo>
                    <a:cubicBezTo>
                      <a:pt x="165" y="92"/>
                      <a:pt x="168" y="92"/>
                      <a:pt x="168" y="91"/>
                    </a:cubicBezTo>
                    <a:cubicBezTo>
                      <a:pt x="170" y="91"/>
                      <a:pt x="169" y="86"/>
                      <a:pt x="171" y="85"/>
                    </a:cubicBezTo>
                    <a:cubicBezTo>
                      <a:pt x="172" y="84"/>
                      <a:pt x="175" y="85"/>
                      <a:pt x="177" y="85"/>
                    </a:cubicBezTo>
                    <a:cubicBezTo>
                      <a:pt x="178" y="86"/>
                      <a:pt x="180" y="89"/>
                      <a:pt x="181" y="90"/>
                    </a:cubicBezTo>
                    <a:cubicBezTo>
                      <a:pt x="183" y="91"/>
                      <a:pt x="187" y="90"/>
                      <a:pt x="189" y="91"/>
                    </a:cubicBezTo>
                    <a:cubicBezTo>
                      <a:pt x="190" y="92"/>
                      <a:pt x="192" y="94"/>
                      <a:pt x="193" y="95"/>
                    </a:cubicBezTo>
                    <a:cubicBezTo>
                      <a:pt x="193" y="96"/>
                      <a:pt x="195" y="97"/>
                      <a:pt x="196" y="97"/>
                    </a:cubicBezTo>
                    <a:cubicBezTo>
                      <a:pt x="197" y="98"/>
                      <a:pt x="199" y="97"/>
                      <a:pt x="200" y="98"/>
                    </a:cubicBezTo>
                    <a:cubicBezTo>
                      <a:pt x="201" y="99"/>
                      <a:pt x="200" y="102"/>
                      <a:pt x="199" y="103"/>
                    </a:cubicBezTo>
                    <a:cubicBezTo>
                      <a:pt x="199" y="105"/>
                      <a:pt x="198" y="109"/>
                      <a:pt x="197" y="111"/>
                    </a:cubicBezTo>
                    <a:cubicBezTo>
                      <a:pt x="196" y="113"/>
                      <a:pt x="193" y="116"/>
                      <a:pt x="192" y="117"/>
                    </a:cubicBezTo>
                    <a:cubicBezTo>
                      <a:pt x="191" y="118"/>
                      <a:pt x="188" y="118"/>
                      <a:pt x="187" y="118"/>
                    </a:cubicBezTo>
                    <a:cubicBezTo>
                      <a:pt x="186" y="119"/>
                      <a:pt x="182" y="119"/>
                      <a:pt x="182" y="121"/>
                    </a:cubicBezTo>
                    <a:cubicBezTo>
                      <a:pt x="181" y="122"/>
                      <a:pt x="183" y="124"/>
                      <a:pt x="182" y="125"/>
                    </a:cubicBezTo>
                    <a:cubicBezTo>
                      <a:pt x="182" y="126"/>
                      <a:pt x="180" y="127"/>
                      <a:pt x="180" y="127"/>
                    </a:cubicBezTo>
                    <a:cubicBezTo>
                      <a:pt x="179" y="128"/>
                      <a:pt x="181" y="131"/>
                      <a:pt x="180" y="132"/>
                    </a:cubicBezTo>
                    <a:cubicBezTo>
                      <a:pt x="180" y="133"/>
                      <a:pt x="178" y="134"/>
                      <a:pt x="178" y="134"/>
                    </a:cubicBezTo>
                    <a:cubicBezTo>
                      <a:pt x="177" y="135"/>
                      <a:pt x="178" y="138"/>
                      <a:pt x="179" y="139"/>
                    </a:cubicBezTo>
                    <a:cubicBezTo>
                      <a:pt x="180" y="140"/>
                      <a:pt x="184" y="141"/>
                      <a:pt x="185" y="140"/>
                    </a:cubicBezTo>
                    <a:cubicBezTo>
                      <a:pt x="186" y="140"/>
                      <a:pt x="186" y="138"/>
                      <a:pt x="187" y="138"/>
                    </a:cubicBezTo>
                    <a:cubicBezTo>
                      <a:pt x="188" y="137"/>
                      <a:pt x="191" y="137"/>
                      <a:pt x="192" y="138"/>
                    </a:cubicBezTo>
                    <a:cubicBezTo>
                      <a:pt x="193" y="138"/>
                      <a:pt x="196" y="138"/>
                      <a:pt x="196" y="139"/>
                    </a:cubicBezTo>
                    <a:cubicBezTo>
                      <a:pt x="197" y="140"/>
                      <a:pt x="198" y="142"/>
                      <a:pt x="198" y="143"/>
                    </a:cubicBezTo>
                    <a:cubicBezTo>
                      <a:pt x="199" y="145"/>
                      <a:pt x="199" y="149"/>
                      <a:pt x="198" y="151"/>
                    </a:cubicBezTo>
                    <a:cubicBezTo>
                      <a:pt x="197" y="152"/>
                      <a:pt x="195" y="153"/>
                      <a:pt x="194" y="154"/>
                    </a:cubicBezTo>
                    <a:cubicBezTo>
                      <a:pt x="193" y="156"/>
                      <a:pt x="192" y="159"/>
                      <a:pt x="192" y="161"/>
                    </a:cubicBezTo>
                    <a:cubicBezTo>
                      <a:pt x="191" y="162"/>
                      <a:pt x="190" y="164"/>
                      <a:pt x="190" y="165"/>
                    </a:cubicBezTo>
                    <a:cubicBezTo>
                      <a:pt x="190" y="166"/>
                      <a:pt x="191" y="168"/>
                      <a:pt x="192" y="169"/>
                    </a:cubicBezTo>
                    <a:cubicBezTo>
                      <a:pt x="194" y="170"/>
                      <a:pt x="199" y="169"/>
                      <a:pt x="201" y="170"/>
                    </a:cubicBezTo>
                    <a:cubicBezTo>
                      <a:pt x="202" y="170"/>
                      <a:pt x="205" y="172"/>
                      <a:pt x="206" y="174"/>
                    </a:cubicBezTo>
                    <a:cubicBezTo>
                      <a:pt x="207" y="175"/>
                      <a:pt x="207" y="178"/>
                      <a:pt x="208" y="179"/>
                    </a:cubicBezTo>
                    <a:cubicBezTo>
                      <a:pt x="209" y="180"/>
                      <a:pt x="212" y="181"/>
                      <a:pt x="213" y="181"/>
                    </a:cubicBezTo>
                    <a:cubicBezTo>
                      <a:pt x="214" y="182"/>
                      <a:pt x="217" y="184"/>
                      <a:pt x="218" y="185"/>
                    </a:cubicBezTo>
                    <a:cubicBezTo>
                      <a:pt x="218" y="186"/>
                      <a:pt x="219" y="188"/>
                      <a:pt x="219" y="189"/>
                    </a:cubicBezTo>
                    <a:cubicBezTo>
                      <a:pt x="220" y="191"/>
                      <a:pt x="222" y="194"/>
                      <a:pt x="224" y="195"/>
                    </a:cubicBezTo>
                    <a:cubicBezTo>
                      <a:pt x="225" y="195"/>
                      <a:pt x="227" y="195"/>
                      <a:pt x="228" y="196"/>
                    </a:cubicBezTo>
                    <a:cubicBezTo>
                      <a:pt x="229" y="197"/>
                      <a:pt x="229" y="201"/>
                      <a:pt x="229" y="202"/>
                    </a:cubicBezTo>
                    <a:cubicBezTo>
                      <a:pt x="230" y="203"/>
                      <a:pt x="233" y="206"/>
                      <a:pt x="234" y="207"/>
                    </a:cubicBezTo>
                    <a:cubicBezTo>
                      <a:pt x="236" y="208"/>
                      <a:pt x="240" y="207"/>
                      <a:pt x="242" y="209"/>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9">
                <a:extLst>
                  <a:ext uri="{FF2B5EF4-FFF2-40B4-BE49-F238E27FC236}">
                    <a16:creationId xmlns:a16="http://schemas.microsoft.com/office/drawing/2014/main" id="{B5608266-F167-E9AD-50A1-5DAE31C9929B}"/>
                  </a:ext>
                </a:extLst>
              </p:cNvPr>
              <p:cNvSpPr>
                <a:spLocks/>
              </p:cNvSpPr>
              <p:nvPr/>
            </p:nvSpPr>
            <p:spPr bwMode="auto">
              <a:xfrm>
                <a:off x="7182544" y="2261037"/>
                <a:ext cx="454030" cy="462462"/>
              </a:xfrm>
              <a:custGeom>
                <a:avLst/>
                <a:gdLst/>
                <a:ahLst/>
                <a:cxnLst>
                  <a:cxn ang="0">
                    <a:pos x="281" y="98"/>
                  </a:cxn>
                  <a:cxn ang="0">
                    <a:pos x="245" y="96"/>
                  </a:cxn>
                  <a:cxn ang="0">
                    <a:pos x="225" y="118"/>
                  </a:cxn>
                  <a:cxn ang="0">
                    <a:pos x="221" y="136"/>
                  </a:cxn>
                  <a:cxn ang="0">
                    <a:pos x="211" y="168"/>
                  </a:cxn>
                  <a:cxn ang="0">
                    <a:pos x="227" y="202"/>
                  </a:cxn>
                  <a:cxn ang="0">
                    <a:pos x="197" y="219"/>
                  </a:cxn>
                  <a:cxn ang="0">
                    <a:pos x="179" y="251"/>
                  </a:cxn>
                  <a:cxn ang="0">
                    <a:pos x="157" y="236"/>
                  </a:cxn>
                  <a:cxn ang="0">
                    <a:pos x="155" y="255"/>
                  </a:cxn>
                  <a:cxn ang="0">
                    <a:pos x="129" y="269"/>
                  </a:cxn>
                  <a:cxn ang="0">
                    <a:pos x="117" y="304"/>
                  </a:cxn>
                  <a:cxn ang="0">
                    <a:pos x="89" y="301"/>
                  </a:cxn>
                  <a:cxn ang="0">
                    <a:pos x="76" y="294"/>
                  </a:cxn>
                  <a:cxn ang="0">
                    <a:pos x="58" y="283"/>
                  </a:cxn>
                  <a:cxn ang="0">
                    <a:pos x="37" y="288"/>
                  </a:cxn>
                  <a:cxn ang="0">
                    <a:pos x="14" y="268"/>
                  </a:cxn>
                  <a:cxn ang="0">
                    <a:pos x="8" y="237"/>
                  </a:cxn>
                  <a:cxn ang="0">
                    <a:pos x="24" y="182"/>
                  </a:cxn>
                  <a:cxn ang="0">
                    <a:pos x="17" y="160"/>
                  </a:cxn>
                  <a:cxn ang="0">
                    <a:pos x="31" y="150"/>
                  </a:cxn>
                  <a:cxn ang="0">
                    <a:pos x="14" y="134"/>
                  </a:cxn>
                  <a:cxn ang="0">
                    <a:pos x="16" y="125"/>
                  </a:cxn>
                  <a:cxn ang="0">
                    <a:pos x="20" y="109"/>
                  </a:cxn>
                  <a:cxn ang="0">
                    <a:pos x="5" y="106"/>
                  </a:cxn>
                  <a:cxn ang="0">
                    <a:pos x="5" y="90"/>
                  </a:cxn>
                  <a:cxn ang="0">
                    <a:pos x="8" y="74"/>
                  </a:cxn>
                  <a:cxn ang="0">
                    <a:pos x="14" y="57"/>
                  </a:cxn>
                  <a:cxn ang="0">
                    <a:pos x="32" y="53"/>
                  </a:cxn>
                  <a:cxn ang="0">
                    <a:pos x="47" y="58"/>
                  </a:cxn>
                  <a:cxn ang="0">
                    <a:pos x="54" y="65"/>
                  </a:cxn>
                  <a:cxn ang="0">
                    <a:pos x="75" y="73"/>
                  </a:cxn>
                  <a:cxn ang="0">
                    <a:pos x="99" y="69"/>
                  </a:cxn>
                  <a:cxn ang="0">
                    <a:pos x="105" y="49"/>
                  </a:cxn>
                  <a:cxn ang="0">
                    <a:pos x="118" y="30"/>
                  </a:cxn>
                  <a:cxn ang="0">
                    <a:pos x="140" y="25"/>
                  </a:cxn>
                  <a:cxn ang="0">
                    <a:pos x="155" y="26"/>
                  </a:cxn>
                  <a:cxn ang="0">
                    <a:pos x="168" y="22"/>
                  </a:cxn>
                  <a:cxn ang="0">
                    <a:pos x="191" y="23"/>
                  </a:cxn>
                  <a:cxn ang="0">
                    <a:pos x="216" y="23"/>
                  </a:cxn>
                  <a:cxn ang="0">
                    <a:pos x="240" y="9"/>
                  </a:cxn>
                  <a:cxn ang="0">
                    <a:pos x="261" y="1"/>
                  </a:cxn>
                  <a:cxn ang="0">
                    <a:pos x="272" y="10"/>
                  </a:cxn>
                  <a:cxn ang="0">
                    <a:pos x="259" y="16"/>
                  </a:cxn>
                  <a:cxn ang="0">
                    <a:pos x="259" y="29"/>
                  </a:cxn>
                  <a:cxn ang="0">
                    <a:pos x="263" y="40"/>
                  </a:cxn>
                  <a:cxn ang="0">
                    <a:pos x="278" y="43"/>
                  </a:cxn>
                  <a:cxn ang="0">
                    <a:pos x="280" y="57"/>
                  </a:cxn>
                  <a:cxn ang="0">
                    <a:pos x="294" y="70"/>
                  </a:cxn>
                </a:cxnLst>
                <a:rect l="0" t="0" r="r" b="b"/>
                <a:pathLst>
                  <a:path w="300" h="311">
                    <a:moveTo>
                      <a:pt x="300" y="78"/>
                    </a:moveTo>
                    <a:cubicBezTo>
                      <a:pt x="298" y="80"/>
                      <a:pt x="294" y="82"/>
                      <a:pt x="294" y="84"/>
                    </a:cubicBezTo>
                    <a:cubicBezTo>
                      <a:pt x="292" y="87"/>
                      <a:pt x="293" y="95"/>
                      <a:pt x="290" y="97"/>
                    </a:cubicBezTo>
                    <a:cubicBezTo>
                      <a:pt x="289" y="99"/>
                      <a:pt x="283" y="97"/>
                      <a:pt x="281" y="98"/>
                    </a:cubicBezTo>
                    <a:cubicBezTo>
                      <a:pt x="279" y="99"/>
                      <a:pt x="275" y="102"/>
                      <a:pt x="273" y="103"/>
                    </a:cubicBezTo>
                    <a:cubicBezTo>
                      <a:pt x="271" y="103"/>
                      <a:pt x="266" y="102"/>
                      <a:pt x="264" y="101"/>
                    </a:cubicBezTo>
                    <a:cubicBezTo>
                      <a:pt x="261" y="100"/>
                      <a:pt x="258" y="95"/>
                      <a:pt x="255" y="94"/>
                    </a:cubicBezTo>
                    <a:cubicBezTo>
                      <a:pt x="253" y="93"/>
                      <a:pt x="247" y="95"/>
                      <a:pt x="245" y="96"/>
                    </a:cubicBezTo>
                    <a:cubicBezTo>
                      <a:pt x="244" y="98"/>
                      <a:pt x="243" y="102"/>
                      <a:pt x="242" y="104"/>
                    </a:cubicBezTo>
                    <a:cubicBezTo>
                      <a:pt x="241" y="107"/>
                      <a:pt x="243" y="114"/>
                      <a:pt x="241" y="116"/>
                    </a:cubicBezTo>
                    <a:cubicBezTo>
                      <a:pt x="240" y="118"/>
                      <a:pt x="235" y="119"/>
                      <a:pt x="233" y="119"/>
                    </a:cubicBezTo>
                    <a:cubicBezTo>
                      <a:pt x="231" y="120"/>
                      <a:pt x="227" y="118"/>
                      <a:pt x="225" y="118"/>
                    </a:cubicBezTo>
                    <a:cubicBezTo>
                      <a:pt x="222" y="118"/>
                      <a:pt x="215" y="119"/>
                      <a:pt x="213" y="121"/>
                    </a:cubicBezTo>
                    <a:cubicBezTo>
                      <a:pt x="212" y="122"/>
                      <a:pt x="211" y="125"/>
                      <a:pt x="212" y="126"/>
                    </a:cubicBezTo>
                    <a:cubicBezTo>
                      <a:pt x="212" y="128"/>
                      <a:pt x="217" y="129"/>
                      <a:pt x="218" y="130"/>
                    </a:cubicBezTo>
                    <a:cubicBezTo>
                      <a:pt x="219" y="131"/>
                      <a:pt x="221" y="134"/>
                      <a:pt x="221" y="136"/>
                    </a:cubicBezTo>
                    <a:cubicBezTo>
                      <a:pt x="221" y="139"/>
                      <a:pt x="218" y="143"/>
                      <a:pt x="216" y="145"/>
                    </a:cubicBezTo>
                    <a:cubicBezTo>
                      <a:pt x="215" y="147"/>
                      <a:pt x="210" y="149"/>
                      <a:pt x="209" y="151"/>
                    </a:cubicBezTo>
                    <a:cubicBezTo>
                      <a:pt x="208" y="153"/>
                      <a:pt x="206" y="159"/>
                      <a:pt x="207" y="161"/>
                    </a:cubicBezTo>
                    <a:cubicBezTo>
                      <a:pt x="207" y="163"/>
                      <a:pt x="210" y="167"/>
                      <a:pt x="211" y="168"/>
                    </a:cubicBezTo>
                    <a:cubicBezTo>
                      <a:pt x="213" y="170"/>
                      <a:pt x="219" y="172"/>
                      <a:pt x="222" y="174"/>
                    </a:cubicBezTo>
                    <a:cubicBezTo>
                      <a:pt x="224" y="176"/>
                      <a:pt x="229" y="179"/>
                      <a:pt x="231" y="182"/>
                    </a:cubicBezTo>
                    <a:cubicBezTo>
                      <a:pt x="232" y="184"/>
                      <a:pt x="232" y="190"/>
                      <a:pt x="231" y="192"/>
                    </a:cubicBezTo>
                    <a:cubicBezTo>
                      <a:pt x="231" y="195"/>
                      <a:pt x="228" y="200"/>
                      <a:pt x="227" y="202"/>
                    </a:cubicBezTo>
                    <a:cubicBezTo>
                      <a:pt x="226" y="205"/>
                      <a:pt x="224" y="212"/>
                      <a:pt x="221" y="213"/>
                    </a:cubicBezTo>
                    <a:cubicBezTo>
                      <a:pt x="219" y="214"/>
                      <a:pt x="216" y="213"/>
                      <a:pt x="215" y="213"/>
                    </a:cubicBezTo>
                    <a:cubicBezTo>
                      <a:pt x="211" y="213"/>
                      <a:pt x="205" y="213"/>
                      <a:pt x="202" y="214"/>
                    </a:cubicBezTo>
                    <a:cubicBezTo>
                      <a:pt x="200" y="215"/>
                      <a:pt x="198" y="217"/>
                      <a:pt x="197" y="219"/>
                    </a:cubicBezTo>
                    <a:cubicBezTo>
                      <a:pt x="196" y="221"/>
                      <a:pt x="197" y="225"/>
                      <a:pt x="197" y="227"/>
                    </a:cubicBezTo>
                    <a:cubicBezTo>
                      <a:pt x="196" y="229"/>
                      <a:pt x="196" y="233"/>
                      <a:pt x="196" y="235"/>
                    </a:cubicBezTo>
                    <a:cubicBezTo>
                      <a:pt x="194" y="238"/>
                      <a:pt x="190" y="243"/>
                      <a:pt x="188" y="245"/>
                    </a:cubicBezTo>
                    <a:cubicBezTo>
                      <a:pt x="186" y="247"/>
                      <a:pt x="182" y="251"/>
                      <a:pt x="179" y="251"/>
                    </a:cubicBezTo>
                    <a:cubicBezTo>
                      <a:pt x="178" y="250"/>
                      <a:pt x="175" y="248"/>
                      <a:pt x="174" y="246"/>
                    </a:cubicBezTo>
                    <a:cubicBezTo>
                      <a:pt x="173" y="245"/>
                      <a:pt x="173" y="241"/>
                      <a:pt x="172" y="239"/>
                    </a:cubicBezTo>
                    <a:cubicBezTo>
                      <a:pt x="171" y="238"/>
                      <a:pt x="168" y="236"/>
                      <a:pt x="166" y="235"/>
                    </a:cubicBezTo>
                    <a:cubicBezTo>
                      <a:pt x="164" y="235"/>
                      <a:pt x="159" y="235"/>
                      <a:pt x="157" y="236"/>
                    </a:cubicBezTo>
                    <a:cubicBezTo>
                      <a:pt x="154" y="237"/>
                      <a:pt x="149" y="240"/>
                      <a:pt x="148" y="243"/>
                    </a:cubicBezTo>
                    <a:cubicBezTo>
                      <a:pt x="148" y="245"/>
                      <a:pt x="148" y="248"/>
                      <a:pt x="149" y="249"/>
                    </a:cubicBezTo>
                    <a:cubicBezTo>
                      <a:pt x="150" y="250"/>
                      <a:pt x="154" y="248"/>
                      <a:pt x="155" y="249"/>
                    </a:cubicBezTo>
                    <a:cubicBezTo>
                      <a:pt x="156" y="251"/>
                      <a:pt x="155" y="254"/>
                      <a:pt x="155" y="255"/>
                    </a:cubicBezTo>
                    <a:cubicBezTo>
                      <a:pt x="154" y="257"/>
                      <a:pt x="151" y="259"/>
                      <a:pt x="149" y="259"/>
                    </a:cubicBezTo>
                    <a:cubicBezTo>
                      <a:pt x="148" y="259"/>
                      <a:pt x="146" y="258"/>
                      <a:pt x="145" y="258"/>
                    </a:cubicBezTo>
                    <a:cubicBezTo>
                      <a:pt x="143" y="258"/>
                      <a:pt x="139" y="259"/>
                      <a:pt x="137" y="260"/>
                    </a:cubicBezTo>
                    <a:cubicBezTo>
                      <a:pt x="135" y="262"/>
                      <a:pt x="130" y="266"/>
                      <a:pt x="129" y="269"/>
                    </a:cubicBezTo>
                    <a:cubicBezTo>
                      <a:pt x="128" y="271"/>
                      <a:pt x="129" y="276"/>
                      <a:pt x="128" y="279"/>
                    </a:cubicBezTo>
                    <a:cubicBezTo>
                      <a:pt x="128" y="282"/>
                      <a:pt x="128" y="289"/>
                      <a:pt x="126" y="292"/>
                    </a:cubicBezTo>
                    <a:cubicBezTo>
                      <a:pt x="125" y="293"/>
                      <a:pt x="122" y="294"/>
                      <a:pt x="121" y="295"/>
                    </a:cubicBezTo>
                    <a:cubicBezTo>
                      <a:pt x="119" y="297"/>
                      <a:pt x="118" y="302"/>
                      <a:pt x="117" y="304"/>
                    </a:cubicBezTo>
                    <a:cubicBezTo>
                      <a:pt x="115" y="306"/>
                      <a:pt x="111" y="310"/>
                      <a:pt x="108" y="310"/>
                    </a:cubicBezTo>
                    <a:cubicBezTo>
                      <a:pt x="106" y="311"/>
                      <a:pt x="102" y="309"/>
                      <a:pt x="100" y="308"/>
                    </a:cubicBezTo>
                    <a:cubicBezTo>
                      <a:pt x="98" y="307"/>
                      <a:pt x="97" y="303"/>
                      <a:pt x="95" y="302"/>
                    </a:cubicBezTo>
                    <a:cubicBezTo>
                      <a:pt x="94" y="301"/>
                      <a:pt x="90" y="300"/>
                      <a:pt x="89" y="301"/>
                    </a:cubicBezTo>
                    <a:cubicBezTo>
                      <a:pt x="87" y="302"/>
                      <a:pt x="87" y="307"/>
                      <a:pt x="85" y="308"/>
                    </a:cubicBezTo>
                    <a:cubicBezTo>
                      <a:pt x="83" y="309"/>
                      <a:pt x="79" y="309"/>
                      <a:pt x="77" y="308"/>
                    </a:cubicBezTo>
                    <a:cubicBezTo>
                      <a:pt x="75" y="307"/>
                      <a:pt x="73" y="302"/>
                      <a:pt x="73" y="300"/>
                    </a:cubicBezTo>
                    <a:cubicBezTo>
                      <a:pt x="73" y="298"/>
                      <a:pt x="75" y="296"/>
                      <a:pt x="76" y="294"/>
                    </a:cubicBezTo>
                    <a:cubicBezTo>
                      <a:pt x="76" y="292"/>
                      <a:pt x="77" y="287"/>
                      <a:pt x="75" y="285"/>
                    </a:cubicBezTo>
                    <a:cubicBezTo>
                      <a:pt x="74" y="283"/>
                      <a:pt x="67" y="283"/>
                      <a:pt x="65" y="283"/>
                    </a:cubicBezTo>
                    <a:cubicBezTo>
                      <a:pt x="63" y="283"/>
                      <a:pt x="61" y="284"/>
                      <a:pt x="59" y="284"/>
                    </a:cubicBezTo>
                    <a:cubicBezTo>
                      <a:pt x="58" y="284"/>
                      <a:pt x="58" y="284"/>
                      <a:pt x="58" y="283"/>
                    </a:cubicBezTo>
                    <a:cubicBezTo>
                      <a:pt x="57" y="282"/>
                      <a:pt x="54" y="279"/>
                      <a:pt x="52" y="278"/>
                    </a:cubicBezTo>
                    <a:cubicBezTo>
                      <a:pt x="50" y="277"/>
                      <a:pt x="46" y="277"/>
                      <a:pt x="44" y="277"/>
                    </a:cubicBezTo>
                    <a:cubicBezTo>
                      <a:pt x="43" y="278"/>
                      <a:pt x="40" y="279"/>
                      <a:pt x="39" y="281"/>
                    </a:cubicBezTo>
                    <a:cubicBezTo>
                      <a:pt x="38" y="282"/>
                      <a:pt x="38" y="286"/>
                      <a:pt x="37" y="288"/>
                    </a:cubicBezTo>
                    <a:cubicBezTo>
                      <a:pt x="36" y="289"/>
                      <a:pt x="32" y="292"/>
                      <a:pt x="30" y="292"/>
                    </a:cubicBezTo>
                    <a:cubicBezTo>
                      <a:pt x="27" y="291"/>
                      <a:pt x="21" y="286"/>
                      <a:pt x="19" y="283"/>
                    </a:cubicBezTo>
                    <a:cubicBezTo>
                      <a:pt x="18" y="282"/>
                      <a:pt x="16" y="278"/>
                      <a:pt x="16" y="276"/>
                    </a:cubicBezTo>
                    <a:cubicBezTo>
                      <a:pt x="15" y="274"/>
                      <a:pt x="15" y="270"/>
                      <a:pt x="14" y="268"/>
                    </a:cubicBezTo>
                    <a:cubicBezTo>
                      <a:pt x="14" y="265"/>
                      <a:pt x="13" y="260"/>
                      <a:pt x="12" y="258"/>
                    </a:cubicBezTo>
                    <a:cubicBezTo>
                      <a:pt x="11" y="257"/>
                      <a:pt x="8" y="255"/>
                      <a:pt x="7" y="254"/>
                    </a:cubicBezTo>
                    <a:cubicBezTo>
                      <a:pt x="6" y="252"/>
                      <a:pt x="5" y="250"/>
                      <a:pt x="5" y="248"/>
                    </a:cubicBezTo>
                    <a:cubicBezTo>
                      <a:pt x="4" y="245"/>
                      <a:pt x="6" y="240"/>
                      <a:pt x="8" y="237"/>
                    </a:cubicBezTo>
                    <a:cubicBezTo>
                      <a:pt x="9" y="235"/>
                      <a:pt x="12" y="231"/>
                      <a:pt x="14" y="229"/>
                    </a:cubicBezTo>
                    <a:cubicBezTo>
                      <a:pt x="15" y="225"/>
                      <a:pt x="18" y="218"/>
                      <a:pt x="20" y="214"/>
                    </a:cubicBezTo>
                    <a:cubicBezTo>
                      <a:pt x="21" y="211"/>
                      <a:pt x="24" y="204"/>
                      <a:pt x="25" y="201"/>
                    </a:cubicBezTo>
                    <a:cubicBezTo>
                      <a:pt x="25" y="196"/>
                      <a:pt x="24" y="187"/>
                      <a:pt x="24" y="182"/>
                    </a:cubicBezTo>
                    <a:cubicBezTo>
                      <a:pt x="24" y="180"/>
                      <a:pt x="26" y="174"/>
                      <a:pt x="25" y="172"/>
                    </a:cubicBezTo>
                    <a:cubicBezTo>
                      <a:pt x="23" y="170"/>
                      <a:pt x="18" y="172"/>
                      <a:pt x="16" y="171"/>
                    </a:cubicBezTo>
                    <a:cubicBezTo>
                      <a:pt x="15" y="170"/>
                      <a:pt x="13" y="167"/>
                      <a:pt x="13" y="166"/>
                    </a:cubicBezTo>
                    <a:cubicBezTo>
                      <a:pt x="13" y="164"/>
                      <a:pt x="15" y="161"/>
                      <a:pt x="17" y="160"/>
                    </a:cubicBezTo>
                    <a:cubicBezTo>
                      <a:pt x="19" y="158"/>
                      <a:pt x="25" y="158"/>
                      <a:pt x="27" y="158"/>
                    </a:cubicBezTo>
                    <a:cubicBezTo>
                      <a:pt x="29" y="158"/>
                      <a:pt x="31" y="161"/>
                      <a:pt x="33" y="161"/>
                    </a:cubicBezTo>
                    <a:cubicBezTo>
                      <a:pt x="34" y="160"/>
                      <a:pt x="34" y="157"/>
                      <a:pt x="34" y="155"/>
                    </a:cubicBezTo>
                    <a:cubicBezTo>
                      <a:pt x="34" y="154"/>
                      <a:pt x="31" y="152"/>
                      <a:pt x="31" y="150"/>
                    </a:cubicBezTo>
                    <a:cubicBezTo>
                      <a:pt x="31" y="149"/>
                      <a:pt x="32" y="146"/>
                      <a:pt x="32" y="144"/>
                    </a:cubicBezTo>
                    <a:cubicBezTo>
                      <a:pt x="32" y="142"/>
                      <a:pt x="31" y="139"/>
                      <a:pt x="30" y="137"/>
                    </a:cubicBezTo>
                    <a:cubicBezTo>
                      <a:pt x="29" y="135"/>
                      <a:pt x="25" y="132"/>
                      <a:pt x="23" y="132"/>
                    </a:cubicBezTo>
                    <a:cubicBezTo>
                      <a:pt x="21" y="131"/>
                      <a:pt x="16" y="135"/>
                      <a:pt x="14" y="134"/>
                    </a:cubicBezTo>
                    <a:cubicBezTo>
                      <a:pt x="13" y="133"/>
                      <a:pt x="12" y="130"/>
                      <a:pt x="12" y="129"/>
                    </a:cubicBezTo>
                    <a:cubicBezTo>
                      <a:pt x="12" y="128"/>
                      <a:pt x="12" y="128"/>
                      <a:pt x="12" y="127"/>
                    </a:cubicBezTo>
                    <a:cubicBezTo>
                      <a:pt x="13" y="127"/>
                      <a:pt x="14" y="128"/>
                      <a:pt x="14" y="127"/>
                    </a:cubicBezTo>
                    <a:cubicBezTo>
                      <a:pt x="15" y="127"/>
                      <a:pt x="16" y="126"/>
                      <a:pt x="16" y="125"/>
                    </a:cubicBezTo>
                    <a:cubicBezTo>
                      <a:pt x="16" y="124"/>
                      <a:pt x="15" y="123"/>
                      <a:pt x="15" y="122"/>
                    </a:cubicBezTo>
                    <a:cubicBezTo>
                      <a:pt x="15" y="120"/>
                      <a:pt x="16" y="118"/>
                      <a:pt x="17" y="116"/>
                    </a:cubicBezTo>
                    <a:cubicBezTo>
                      <a:pt x="18" y="115"/>
                      <a:pt x="19" y="114"/>
                      <a:pt x="20" y="113"/>
                    </a:cubicBezTo>
                    <a:cubicBezTo>
                      <a:pt x="20" y="112"/>
                      <a:pt x="20" y="110"/>
                      <a:pt x="20" y="109"/>
                    </a:cubicBezTo>
                    <a:cubicBezTo>
                      <a:pt x="19" y="108"/>
                      <a:pt x="18" y="107"/>
                      <a:pt x="17" y="107"/>
                    </a:cubicBezTo>
                    <a:cubicBezTo>
                      <a:pt x="16" y="106"/>
                      <a:pt x="15" y="105"/>
                      <a:pt x="15" y="105"/>
                    </a:cubicBezTo>
                    <a:cubicBezTo>
                      <a:pt x="13" y="105"/>
                      <a:pt x="10" y="106"/>
                      <a:pt x="8" y="106"/>
                    </a:cubicBezTo>
                    <a:cubicBezTo>
                      <a:pt x="7" y="106"/>
                      <a:pt x="5" y="106"/>
                      <a:pt x="5" y="106"/>
                    </a:cubicBezTo>
                    <a:cubicBezTo>
                      <a:pt x="4" y="105"/>
                      <a:pt x="3" y="103"/>
                      <a:pt x="2" y="102"/>
                    </a:cubicBezTo>
                    <a:cubicBezTo>
                      <a:pt x="1" y="101"/>
                      <a:pt x="0" y="99"/>
                      <a:pt x="0" y="98"/>
                    </a:cubicBezTo>
                    <a:cubicBezTo>
                      <a:pt x="0" y="96"/>
                      <a:pt x="1" y="93"/>
                      <a:pt x="2" y="92"/>
                    </a:cubicBezTo>
                    <a:cubicBezTo>
                      <a:pt x="3" y="92"/>
                      <a:pt x="5" y="91"/>
                      <a:pt x="5" y="90"/>
                    </a:cubicBezTo>
                    <a:cubicBezTo>
                      <a:pt x="6" y="89"/>
                      <a:pt x="5" y="86"/>
                      <a:pt x="5" y="84"/>
                    </a:cubicBezTo>
                    <a:cubicBezTo>
                      <a:pt x="6" y="83"/>
                      <a:pt x="7" y="82"/>
                      <a:pt x="7" y="81"/>
                    </a:cubicBezTo>
                    <a:cubicBezTo>
                      <a:pt x="8" y="80"/>
                      <a:pt x="10" y="79"/>
                      <a:pt x="10" y="78"/>
                    </a:cubicBezTo>
                    <a:cubicBezTo>
                      <a:pt x="10" y="77"/>
                      <a:pt x="8" y="75"/>
                      <a:pt x="8" y="74"/>
                    </a:cubicBezTo>
                    <a:cubicBezTo>
                      <a:pt x="8" y="74"/>
                      <a:pt x="8" y="72"/>
                      <a:pt x="8" y="71"/>
                    </a:cubicBezTo>
                    <a:cubicBezTo>
                      <a:pt x="9" y="70"/>
                      <a:pt x="11" y="69"/>
                      <a:pt x="12" y="68"/>
                    </a:cubicBezTo>
                    <a:cubicBezTo>
                      <a:pt x="13" y="66"/>
                      <a:pt x="14" y="63"/>
                      <a:pt x="14" y="61"/>
                    </a:cubicBezTo>
                    <a:cubicBezTo>
                      <a:pt x="14" y="60"/>
                      <a:pt x="13" y="58"/>
                      <a:pt x="14" y="57"/>
                    </a:cubicBezTo>
                    <a:cubicBezTo>
                      <a:pt x="15" y="56"/>
                      <a:pt x="18" y="55"/>
                      <a:pt x="20" y="55"/>
                    </a:cubicBezTo>
                    <a:cubicBezTo>
                      <a:pt x="21" y="55"/>
                      <a:pt x="24" y="56"/>
                      <a:pt x="25" y="56"/>
                    </a:cubicBezTo>
                    <a:cubicBezTo>
                      <a:pt x="26" y="57"/>
                      <a:pt x="28" y="57"/>
                      <a:pt x="29" y="56"/>
                    </a:cubicBezTo>
                    <a:cubicBezTo>
                      <a:pt x="30" y="56"/>
                      <a:pt x="31" y="54"/>
                      <a:pt x="32" y="53"/>
                    </a:cubicBezTo>
                    <a:cubicBezTo>
                      <a:pt x="33" y="52"/>
                      <a:pt x="36" y="51"/>
                      <a:pt x="37" y="51"/>
                    </a:cubicBezTo>
                    <a:cubicBezTo>
                      <a:pt x="38" y="50"/>
                      <a:pt x="41" y="51"/>
                      <a:pt x="42" y="51"/>
                    </a:cubicBezTo>
                    <a:cubicBezTo>
                      <a:pt x="43" y="52"/>
                      <a:pt x="44" y="53"/>
                      <a:pt x="44" y="54"/>
                    </a:cubicBezTo>
                    <a:cubicBezTo>
                      <a:pt x="45" y="55"/>
                      <a:pt x="46" y="57"/>
                      <a:pt x="47" y="58"/>
                    </a:cubicBezTo>
                    <a:cubicBezTo>
                      <a:pt x="48" y="58"/>
                      <a:pt x="50" y="56"/>
                      <a:pt x="51" y="56"/>
                    </a:cubicBezTo>
                    <a:cubicBezTo>
                      <a:pt x="52" y="56"/>
                      <a:pt x="54" y="57"/>
                      <a:pt x="54" y="58"/>
                    </a:cubicBezTo>
                    <a:cubicBezTo>
                      <a:pt x="55" y="58"/>
                      <a:pt x="57" y="61"/>
                      <a:pt x="57" y="62"/>
                    </a:cubicBezTo>
                    <a:cubicBezTo>
                      <a:pt x="57" y="63"/>
                      <a:pt x="54" y="64"/>
                      <a:pt x="54" y="65"/>
                    </a:cubicBezTo>
                    <a:cubicBezTo>
                      <a:pt x="53" y="66"/>
                      <a:pt x="53" y="68"/>
                      <a:pt x="53" y="69"/>
                    </a:cubicBezTo>
                    <a:cubicBezTo>
                      <a:pt x="54" y="70"/>
                      <a:pt x="58" y="71"/>
                      <a:pt x="59" y="72"/>
                    </a:cubicBezTo>
                    <a:cubicBezTo>
                      <a:pt x="61" y="72"/>
                      <a:pt x="64" y="71"/>
                      <a:pt x="65" y="71"/>
                    </a:cubicBezTo>
                    <a:cubicBezTo>
                      <a:pt x="68" y="72"/>
                      <a:pt x="73" y="73"/>
                      <a:pt x="75" y="73"/>
                    </a:cubicBezTo>
                    <a:cubicBezTo>
                      <a:pt x="76" y="74"/>
                      <a:pt x="78" y="74"/>
                      <a:pt x="79" y="74"/>
                    </a:cubicBezTo>
                    <a:cubicBezTo>
                      <a:pt x="81" y="74"/>
                      <a:pt x="85" y="74"/>
                      <a:pt x="86" y="74"/>
                    </a:cubicBezTo>
                    <a:cubicBezTo>
                      <a:pt x="88" y="74"/>
                      <a:pt x="92" y="75"/>
                      <a:pt x="93" y="74"/>
                    </a:cubicBezTo>
                    <a:cubicBezTo>
                      <a:pt x="95" y="73"/>
                      <a:pt x="98" y="70"/>
                      <a:pt x="99" y="69"/>
                    </a:cubicBezTo>
                    <a:cubicBezTo>
                      <a:pt x="100" y="68"/>
                      <a:pt x="101" y="65"/>
                      <a:pt x="102" y="64"/>
                    </a:cubicBezTo>
                    <a:cubicBezTo>
                      <a:pt x="102" y="63"/>
                      <a:pt x="104" y="62"/>
                      <a:pt x="104" y="61"/>
                    </a:cubicBezTo>
                    <a:cubicBezTo>
                      <a:pt x="105" y="60"/>
                      <a:pt x="105" y="56"/>
                      <a:pt x="105" y="54"/>
                    </a:cubicBezTo>
                    <a:cubicBezTo>
                      <a:pt x="106" y="53"/>
                      <a:pt x="105" y="50"/>
                      <a:pt x="105" y="49"/>
                    </a:cubicBezTo>
                    <a:cubicBezTo>
                      <a:pt x="106" y="47"/>
                      <a:pt x="107" y="44"/>
                      <a:pt x="108" y="43"/>
                    </a:cubicBezTo>
                    <a:cubicBezTo>
                      <a:pt x="108" y="42"/>
                      <a:pt x="109" y="39"/>
                      <a:pt x="110" y="37"/>
                    </a:cubicBezTo>
                    <a:cubicBezTo>
                      <a:pt x="111" y="36"/>
                      <a:pt x="114" y="36"/>
                      <a:pt x="116" y="35"/>
                    </a:cubicBezTo>
                    <a:cubicBezTo>
                      <a:pt x="117" y="34"/>
                      <a:pt x="117" y="31"/>
                      <a:pt x="118" y="30"/>
                    </a:cubicBezTo>
                    <a:cubicBezTo>
                      <a:pt x="119" y="30"/>
                      <a:pt x="121" y="31"/>
                      <a:pt x="122" y="31"/>
                    </a:cubicBezTo>
                    <a:cubicBezTo>
                      <a:pt x="124" y="31"/>
                      <a:pt x="127" y="29"/>
                      <a:pt x="128" y="28"/>
                    </a:cubicBezTo>
                    <a:cubicBezTo>
                      <a:pt x="130" y="27"/>
                      <a:pt x="132" y="25"/>
                      <a:pt x="133" y="25"/>
                    </a:cubicBezTo>
                    <a:cubicBezTo>
                      <a:pt x="135" y="24"/>
                      <a:pt x="138" y="25"/>
                      <a:pt x="140" y="25"/>
                    </a:cubicBezTo>
                    <a:cubicBezTo>
                      <a:pt x="141" y="25"/>
                      <a:pt x="144" y="24"/>
                      <a:pt x="145" y="24"/>
                    </a:cubicBezTo>
                    <a:cubicBezTo>
                      <a:pt x="146" y="25"/>
                      <a:pt x="148" y="26"/>
                      <a:pt x="148" y="27"/>
                    </a:cubicBezTo>
                    <a:cubicBezTo>
                      <a:pt x="149" y="27"/>
                      <a:pt x="150" y="28"/>
                      <a:pt x="151" y="28"/>
                    </a:cubicBezTo>
                    <a:cubicBezTo>
                      <a:pt x="152" y="29"/>
                      <a:pt x="153" y="26"/>
                      <a:pt x="155" y="26"/>
                    </a:cubicBezTo>
                    <a:cubicBezTo>
                      <a:pt x="156" y="26"/>
                      <a:pt x="158" y="26"/>
                      <a:pt x="159" y="25"/>
                    </a:cubicBezTo>
                    <a:cubicBezTo>
                      <a:pt x="160" y="25"/>
                      <a:pt x="161" y="21"/>
                      <a:pt x="163" y="20"/>
                    </a:cubicBezTo>
                    <a:cubicBezTo>
                      <a:pt x="163" y="20"/>
                      <a:pt x="165" y="19"/>
                      <a:pt x="166" y="19"/>
                    </a:cubicBezTo>
                    <a:cubicBezTo>
                      <a:pt x="167" y="20"/>
                      <a:pt x="168" y="22"/>
                      <a:pt x="168" y="22"/>
                    </a:cubicBezTo>
                    <a:cubicBezTo>
                      <a:pt x="170" y="23"/>
                      <a:pt x="173" y="24"/>
                      <a:pt x="174" y="24"/>
                    </a:cubicBezTo>
                    <a:cubicBezTo>
                      <a:pt x="176" y="24"/>
                      <a:pt x="178" y="22"/>
                      <a:pt x="179" y="22"/>
                    </a:cubicBezTo>
                    <a:cubicBezTo>
                      <a:pt x="181" y="22"/>
                      <a:pt x="184" y="21"/>
                      <a:pt x="186" y="21"/>
                    </a:cubicBezTo>
                    <a:cubicBezTo>
                      <a:pt x="187" y="22"/>
                      <a:pt x="190" y="23"/>
                      <a:pt x="191" y="23"/>
                    </a:cubicBezTo>
                    <a:cubicBezTo>
                      <a:pt x="193" y="24"/>
                      <a:pt x="196" y="26"/>
                      <a:pt x="198" y="26"/>
                    </a:cubicBezTo>
                    <a:cubicBezTo>
                      <a:pt x="199" y="26"/>
                      <a:pt x="201" y="25"/>
                      <a:pt x="202" y="25"/>
                    </a:cubicBezTo>
                    <a:cubicBezTo>
                      <a:pt x="204" y="25"/>
                      <a:pt x="206" y="25"/>
                      <a:pt x="207" y="25"/>
                    </a:cubicBezTo>
                    <a:cubicBezTo>
                      <a:pt x="210" y="25"/>
                      <a:pt x="214" y="24"/>
                      <a:pt x="216" y="23"/>
                    </a:cubicBezTo>
                    <a:cubicBezTo>
                      <a:pt x="218" y="22"/>
                      <a:pt x="220" y="19"/>
                      <a:pt x="221" y="18"/>
                    </a:cubicBezTo>
                    <a:cubicBezTo>
                      <a:pt x="223" y="17"/>
                      <a:pt x="226" y="16"/>
                      <a:pt x="227" y="15"/>
                    </a:cubicBezTo>
                    <a:cubicBezTo>
                      <a:pt x="229" y="13"/>
                      <a:pt x="231" y="11"/>
                      <a:pt x="233" y="10"/>
                    </a:cubicBezTo>
                    <a:cubicBezTo>
                      <a:pt x="235" y="9"/>
                      <a:pt x="238" y="9"/>
                      <a:pt x="240" y="9"/>
                    </a:cubicBezTo>
                    <a:cubicBezTo>
                      <a:pt x="241" y="9"/>
                      <a:pt x="244" y="9"/>
                      <a:pt x="246" y="9"/>
                    </a:cubicBezTo>
                    <a:cubicBezTo>
                      <a:pt x="247" y="8"/>
                      <a:pt x="249" y="5"/>
                      <a:pt x="250" y="5"/>
                    </a:cubicBezTo>
                    <a:cubicBezTo>
                      <a:pt x="252" y="4"/>
                      <a:pt x="256" y="5"/>
                      <a:pt x="257" y="5"/>
                    </a:cubicBezTo>
                    <a:cubicBezTo>
                      <a:pt x="258" y="4"/>
                      <a:pt x="260" y="2"/>
                      <a:pt x="261" y="1"/>
                    </a:cubicBezTo>
                    <a:cubicBezTo>
                      <a:pt x="262" y="1"/>
                      <a:pt x="266" y="0"/>
                      <a:pt x="268" y="0"/>
                    </a:cubicBezTo>
                    <a:cubicBezTo>
                      <a:pt x="269" y="1"/>
                      <a:pt x="272" y="2"/>
                      <a:pt x="273" y="3"/>
                    </a:cubicBezTo>
                    <a:cubicBezTo>
                      <a:pt x="274" y="4"/>
                      <a:pt x="275" y="7"/>
                      <a:pt x="275" y="8"/>
                    </a:cubicBezTo>
                    <a:cubicBezTo>
                      <a:pt x="274" y="9"/>
                      <a:pt x="273" y="10"/>
                      <a:pt x="272" y="10"/>
                    </a:cubicBezTo>
                    <a:cubicBezTo>
                      <a:pt x="272" y="11"/>
                      <a:pt x="272" y="14"/>
                      <a:pt x="272" y="15"/>
                    </a:cubicBezTo>
                    <a:cubicBezTo>
                      <a:pt x="271" y="16"/>
                      <a:pt x="268" y="17"/>
                      <a:pt x="266" y="17"/>
                    </a:cubicBezTo>
                    <a:cubicBezTo>
                      <a:pt x="265" y="17"/>
                      <a:pt x="264" y="15"/>
                      <a:pt x="263" y="15"/>
                    </a:cubicBezTo>
                    <a:cubicBezTo>
                      <a:pt x="262" y="15"/>
                      <a:pt x="260" y="16"/>
                      <a:pt x="259" y="16"/>
                    </a:cubicBezTo>
                    <a:cubicBezTo>
                      <a:pt x="258" y="17"/>
                      <a:pt x="257" y="19"/>
                      <a:pt x="257" y="20"/>
                    </a:cubicBezTo>
                    <a:cubicBezTo>
                      <a:pt x="256" y="21"/>
                      <a:pt x="255" y="22"/>
                      <a:pt x="255" y="23"/>
                    </a:cubicBezTo>
                    <a:cubicBezTo>
                      <a:pt x="255" y="24"/>
                      <a:pt x="255" y="26"/>
                      <a:pt x="255" y="27"/>
                    </a:cubicBezTo>
                    <a:cubicBezTo>
                      <a:pt x="256" y="28"/>
                      <a:pt x="259" y="28"/>
                      <a:pt x="259" y="29"/>
                    </a:cubicBezTo>
                    <a:cubicBezTo>
                      <a:pt x="260" y="30"/>
                      <a:pt x="260" y="32"/>
                      <a:pt x="260" y="33"/>
                    </a:cubicBezTo>
                    <a:cubicBezTo>
                      <a:pt x="260" y="34"/>
                      <a:pt x="259" y="36"/>
                      <a:pt x="259" y="37"/>
                    </a:cubicBezTo>
                    <a:cubicBezTo>
                      <a:pt x="259" y="38"/>
                      <a:pt x="259" y="39"/>
                      <a:pt x="260" y="40"/>
                    </a:cubicBezTo>
                    <a:cubicBezTo>
                      <a:pt x="261" y="40"/>
                      <a:pt x="263" y="40"/>
                      <a:pt x="263" y="40"/>
                    </a:cubicBezTo>
                    <a:cubicBezTo>
                      <a:pt x="264" y="41"/>
                      <a:pt x="265" y="42"/>
                      <a:pt x="266" y="43"/>
                    </a:cubicBezTo>
                    <a:cubicBezTo>
                      <a:pt x="267" y="43"/>
                      <a:pt x="268" y="45"/>
                      <a:pt x="269" y="45"/>
                    </a:cubicBezTo>
                    <a:cubicBezTo>
                      <a:pt x="270" y="45"/>
                      <a:pt x="272" y="43"/>
                      <a:pt x="273" y="43"/>
                    </a:cubicBezTo>
                    <a:cubicBezTo>
                      <a:pt x="274" y="42"/>
                      <a:pt x="277" y="43"/>
                      <a:pt x="278" y="43"/>
                    </a:cubicBezTo>
                    <a:cubicBezTo>
                      <a:pt x="278" y="44"/>
                      <a:pt x="278" y="46"/>
                      <a:pt x="279" y="46"/>
                    </a:cubicBezTo>
                    <a:cubicBezTo>
                      <a:pt x="280" y="47"/>
                      <a:pt x="282" y="46"/>
                      <a:pt x="282" y="47"/>
                    </a:cubicBezTo>
                    <a:cubicBezTo>
                      <a:pt x="283" y="48"/>
                      <a:pt x="282" y="51"/>
                      <a:pt x="282" y="52"/>
                    </a:cubicBezTo>
                    <a:cubicBezTo>
                      <a:pt x="282" y="54"/>
                      <a:pt x="280" y="56"/>
                      <a:pt x="280" y="57"/>
                    </a:cubicBezTo>
                    <a:cubicBezTo>
                      <a:pt x="279" y="58"/>
                      <a:pt x="279" y="61"/>
                      <a:pt x="279" y="62"/>
                    </a:cubicBezTo>
                    <a:cubicBezTo>
                      <a:pt x="280" y="64"/>
                      <a:pt x="281" y="66"/>
                      <a:pt x="283" y="67"/>
                    </a:cubicBezTo>
                    <a:cubicBezTo>
                      <a:pt x="283" y="67"/>
                      <a:pt x="286" y="67"/>
                      <a:pt x="287" y="67"/>
                    </a:cubicBezTo>
                    <a:cubicBezTo>
                      <a:pt x="289" y="67"/>
                      <a:pt x="292" y="68"/>
                      <a:pt x="294" y="70"/>
                    </a:cubicBezTo>
                    <a:cubicBezTo>
                      <a:pt x="295" y="71"/>
                      <a:pt x="296" y="74"/>
                      <a:pt x="297" y="76"/>
                    </a:cubicBezTo>
                    <a:cubicBezTo>
                      <a:pt x="298" y="76"/>
                      <a:pt x="299" y="77"/>
                      <a:pt x="300" y="7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0">
                <a:extLst>
                  <a:ext uri="{FF2B5EF4-FFF2-40B4-BE49-F238E27FC236}">
                    <a16:creationId xmlns:a16="http://schemas.microsoft.com/office/drawing/2014/main" id="{FBD0228B-667C-C859-822B-142A029DAABC}"/>
                  </a:ext>
                </a:extLst>
              </p:cNvPr>
              <p:cNvSpPr>
                <a:spLocks/>
              </p:cNvSpPr>
              <p:nvPr/>
            </p:nvSpPr>
            <p:spPr bwMode="auto">
              <a:xfrm>
                <a:off x="6754265" y="2420092"/>
                <a:ext cx="635642" cy="653595"/>
              </a:xfrm>
              <a:custGeom>
                <a:avLst/>
                <a:gdLst/>
                <a:ahLst/>
                <a:cxnLst>
                  <a:cxn ang="0">
                    <a:pos x="328" y="213"/>
                  </a:cxn>
                  <a:cxn ang="0">
                    <a:pos x="332" y="274"/>
                  </a:cxn>
                  <a:cxn ang="0">
                    <a:pos x="358" y="299"/>
                  </a:cxn>
                  <a:cxn ang="0">
                    <a:pos x="401" y="337"/>
                  </a:cxn>
                  <a:cxn ang="0">
                    <a:pos x="412" y="364"/>
                  </a:cxn>
                  <a:cxn ang="0">
                    <a:pos x="337" y="368"/>
                  </a:cxn>
                  <a:cxn ang="0">
                    <a:pos x="271" y="365"/>
                  </a:cxn>
                  <a:cxn ang="0">
                    <a:pos x="235" y="343"/>
                  </a:cxn>
                  <a:cxn ang="0">
                    <a:pos x="191" y="351"/>
                  </a:cxn>
                  <a:cxn ang="0">
                    <a:pos x="140" y="344"/>
                  </a:cxn>
                  <a:cxn ang="0">
                    <a:pos x="134" y="398"/>
                  </a:cxn>
                  <a:cxn ang="0">
                    <a:pos x="119" y="433"/>
                  </a:cxn>
                  <a:cxn ang="0">
                    <a:pos x="103" y="415"/>
                  </a:cxn>
                  <a:cxn ang="0">
                    <a:pos x="80" y="391"/>
                  </a:cxn>
                  <a:cxn ang="0">
                    <a:pos x="65" y="369"/>
                  </a:cxn>
                  <a:cxn ang="0">
                    <a:pos x="49" y="352"/>
                  </a:cxn>
                  <a:cxn ang="0">
                    <a:pos x="15" y="350"/>
                  </a:cxn>
                  <a:cxn ang="0">
                    <a:pos x="7" y="317"/>
                  </a:cxn>
                  <a:cxn ang="0">
                    <a:pos x="15" y="293"/>
                  </a:cxn>
                  <a:cxn ang="0">
                    <a:pos x="35" y="292"/>
                  </a:cxn>
                  <a:cxn ang="0">
                    <a:pos x="44" y="264"/>
                  </a:cxn>
                  <a:cxn ang="0">
                    <a:pos x="18" y="219"/>
                  </a:cxn>
                  <a:cxn ang="0">
                    <a:pos x="6" y="183"/>
                  </a:cxn>
                  <a:cxn ang="0">
                    <a:pos x="27" y="128"/>
                  </a:cxn>
                  <a:cxn ang="0">
                    <a:pos x="39" y="110"/>
                  </a:cxn>
                  <a:cxn ang="0">
                    <a:pos x="59" y="116"/>
                  </a:cxn>
                  <a:cxn ang="0">
                    <a:pos x="51" y="136"/>
                  </a:cxn>
                  <a:cxn ang="0">
                    <a:pos x="71" y="157"/>
                  </a:cxn>
                  <a:cxn ang="0">
                    <a:pos x="83" y="172"/>
                  </a:cxn>
                  <a:cxn ang="0">
                    <a:pos x="92" y="154"/>
                  </a:cxn>
                  <a:cxn ang="0">
                    <a:pos x="84" y="132"/>
                  </a:cxn>
                  <a:cxn ang="0">
                    <a:pos x="96" y="105"/>
                  </a:cxn>
                  <a:cxn ang="0">
                    <a:pos x="120" y="79"/>
                  </a:cxn>
                  <a:cxn ang="0">
                    <a:pos x="125" y="51"/>
                  </a:cxn>
                  <a:cxn ang="0">
                    <a:pos x="123" y="27"/>
                  </a:cxn>
                  <a:cxn ang="0">
                    <a:pos x="145" y="34"/>
                  </a:cxn>
                  <a:cxn ang="0">
                    <a:pos x="153" y="40"/>
                  </a:cxn>
                  <a:cxn ang="0">
                    <a:pos x="163" y="70"/>
                  </a:cxn>
                  <a:cxn ang="0">
                    <a:pos x="188" y="67"/>
                  </a:cxn>
                  <a:cxn ang="0">
                    <a:pos x="205" y="56"/>
                  </a:cxn>
                  <a:cxn ang="0">
                    <a:pos x="226" y="57"/>
                  </a:cxn>
                  <a:cxn ang="0">
                    <a:pos x="241" y="77"/>
                  </a:cxn>
                  <a:cxn ang="0">
                    <a:pos x="259" y="76"/>
                  </a:cxn>
                  <a:cxn ang="0">
                    <a:pos x="245" y="54"/>
                  </a:cxn>
                  <a:cxn ang="0">
                    <a:pos x="250" y="40"/>
                  </a:cxn>
                  <a:cxn ang="0">
                    <a:pos x="241" y="16"/>
                  </a:cxn>
                  <a:cxn ang="0">
                    <a:pos x="265" y="1"/>
                  </a:cxn>
                  <a:cxn ang="0">
                    <a:pos x="281" y="15"/>
                  </a:cxn>
                  <a:cxn ang="0">
                    <a:pos x="296" y="20"/>
                  </a:cxn>
                  <a:cxn ang="0">
                    <a:pos x="316" y="37"/>
                  </a:cxn>
                  <a:cxn ang="0">
                    <a:pos x="301" y="53"/>
                  </a:cxn>
                  <a:cxn ang="0">
                    <a:pos x="309" y="94"/>
                  </a:cxn>
                  <a:cxn ang="0">
                    <a:pos x="291" y="147"/>
                  </a:cxn>
                  <a:cxn ang="0">
                    <a:pos x="314" y="185"/>
                  </a:cxn>
                  <a:cxn ang="0">
                    <a:pos x="342" y="176"/>
                  </a:cxn>
                </a:cxnLst>
                <a:rect l="0" t="0" r="r" b="b"/>
                <a:pathLst>
                  <a:path w="421" h="439">
                    <a:moveTo>
                      <a:pt x="343" y="177"/>
                    </a:moveTo>
                    <a:cubicBezTo>
                      <a:pt x="343" y="180"/>
                      <a:pt x="343" y="184"/>
                      <a:pt x="343" y="186"/>
                    </a:cubicBezTo>
                    <a:cubicBezTo>
                      <a:pt x="342" y="189"/>
                      <a:pt x="342" y="194"/>
                      <a:pt x="342" y="197"/>
                    </a:cubicBezTo>
                    <a:cubicBezTo>
                      <a:pt x="341" y="199"/>
                      <a:pt x="338" y="203"/>
                      <a:pt x="337" y="205"/>
                    </a:cubicBezTo>
                    <a:cubicBezTo>
                      <a:pt x="335" y="207"/>
                      <a:pt x="330" y="210"/>
                      <a:pt x="328" y="213"/>
                    </a:cubicBezTo>
                    <a:cubicBezTo>
                      <a:pt x="326" y="215"/>
                      <a:pt x="322" y="219"/>
                      <a:pt x="321" y="222"/>
                    </a:cubicBezTo>
                    <a:cubicBezTo>
                      <a:pt x="319" y="226"/>
                      <a:pt x="318" y="234"/>
                      <a:pt x="318" y="238"/>
                    </a:cubicBezTo>
                    <a:cubicBezTo>
                      <a:pt x="319" y="242"/>
                      <a:pt x="320" y="249"/>
                      <a:pt x="321" y="253"/>
                    </a:cubicBezTo>
                    <a:cubicBezTo>
                      <a:pt x="322" y="255"/>
                      <a:pt x="327" y="259"/>
                      <a:pt x="328" y="262"/>
                    </a:cubicBezTo>
                    <a:cubicBezTo>
                      <a:pt x="329" y="265"/>
                      <a:pt x="331" y="271"/>
                      <a:pt x="332" y="274"/>
                    </a:cubicBezTo>
                    <a:cubicBezTo>
                      <a:pt x="332" y="276"/>
                      <a:pt x="333" y="281"/>
                      <a:pt x="334" y="284"/>
                    </a:cubicBezTo>
                    <a:cubicBezTo>
                      <a:pt x="335" y="286"/>
                      <a:pt x="337" y="290"/>
                      <a:pt x="339" y="292"/>
                    </a:cubicBezTo>
                    <a:cubicBezTo>
                      <a:pt x="340" y="293"/>
                      <a:pt x="343" y="295"/>
                      <a:pt x="345" y="295"/>
                    </a:cubicBezTo>
                    <a:cubicBezTo>
                      <a:pt x="347" y="296"/>
                      <a:pt x="351" y="295"/>
                      <a:pt x="353" y="296"/>
                    </a:cubicBezTo>
                    <a:cubicBezTo>
                      <a:pt x="354" y="296"/>
                      <a:pt x="357" y="298"/>
                      <a:pt x="358" y="299"/>
                    </a:cubicBezTo>
                    <a:cubicBezTo>
                      <a:pt x="360" y="301"/>
                      <a:pt x="364" y="306"/>
                      <a:pt x="365" y="308"/>
                    </a:cubicBezTo>
                    <a:cubicBezTo>
                      <a:pt x="367" y="310"/>
                      <a:pt x="370" y="316"/>
                      <a:pt x="372" y="318"/>
                    </a:cubicBezTo>
                    <a:cubicBezTo>
                      <a:pt x="374" y="321"/>
                      <a:pt x="381" y="323"/>
                      <a:pt x="384" y="324"/>
                    </a:cubicBezTo>
                    <a:cubicBezTo>
                      <a:pt x="386" y="326"/>
                      <a:pt x="393" y="327"/>
                      <a:pt x="395" y="329"/>
                    </a:cubicBezTo>
                    <a:cubicBezTo>
                      <a:pt x="397" y="331"/>
                      <a:pt x="400" y="335"/>
                      <a:pt x="401" y="337"/>
                    </a:cubicBezTo>
                    <a:cubicBezTo>
                      <a:pt x="402" y="339"/>
                      <a:pt x="402" y="343"/>
                      <a:pt x="403" y="344"/>
                    </a:cubicBezTo>
                    <a:cubicBezTo>
                      <a:pt x="404" y="345"/>
                      <a:pt x="407" y="347"/>
                      <a:pt x="408" y="348"/>
                    </a:cubicBezTo>
                    <a:cubicBezTo>
                      <a:pt x="409" y="349"/>
                      <a:pt x="411" y="353"/>
                      <a:pt x="413" y="354"/>
                    </a:cubicBezTo>
                    <a:cubicBezTo>
                      <a:pt x="414" y="356"/>
                      <a:pt x="418" y="358"/>
                      <a:pt x="421" y="359"/>
                    </a:cubicBezTo>
                    <a:cubicBezTo>
                      <a:pt x="418" y="361"/>
                      <a:pt x="414" y="363"/>
                      <a:pt x="412" y="364"/>
                    </a:cubicBezTo>
                    <a:cubicBezTo>
                      <a:pt x="408" y="365"/>
                      <a:pt x="400" y="365"/>
                      <a:pt x="396" y="366"/>
                    </a:cubicBezTo>
                    <a:cubicBezTo>
                      <a:pt x="392" y="366"/>
                      <a:pt x="383" y="368"/>
                      <a:pt x="378" y="369"/>
                    </a:cubicBezTo>
                    <a:cubicBezTo>
                      <a:pt x="375" y="370"/>
                      <a:pt x="369" y="375"/>
                      <a:pt x="366" y="375"/>
                    </a:cubicBezTo>
                    <a:cubicBezTo>
                      <a:pt x="362" y="375"/>
                      <a:pt x="355" y="370"/>
                      <a:pt x="351" y="369"/>
                    </a:cubicBezTo>
                    <a:cubicBezTo>
                      <a:pt x="347" y="368"/>
                      <a:pt x="340" y="367"/>
                      <a:pt x="337" y="368"/>
                    </a:cubicBezTo>
                    <a:cubicBezTo>
                      <a:pt x="333" y="369"/>
                      <a:pt x="327" y="375"/>
                      <a:pt x="323" y="376"/>
                    </a:cubicBezTo>
                    <a:cubicBezTo>
                      <a:pt x="319" y="377"/>
                      <a:pt x="309" y="377"/>
                      <a:pt x="304" y="375"/>
                    </a:cubicBezTo>
                    <a:cubicBezTo>
                      <a:pt x="302" y="374"/>
                      <a:pt x="299" y="370"/>
                      <a:pt x="297" y="368"/>
                    </a:cubicBezTo>
                    <a:cubicBezTo>
                      <a:pt x="295" y="367"/>
                      <a:pt x="289" y="364"/>
                      <a:pt x="286" y="363"/>
                    </a:cubicBezTo>
                    <a:cubicBezTo>
                      <a:pt x="283" y="363"/>
                      <a:pt x="275" y="366"/>
                      <a:pt x="271" y="365"/>
                    </a:cubicBezTo>
                    <a:cubicBezTo>
                      <a:pt x="269" y="364"/>
                      <a:pt x="265" y="358"/>
                      <a:pt x="262" y="356"/>
                    </a:cubicBezTo>
                    <a:cubicBezTo>
                      <a:pt x="260" y="355"/>
                      <a:pt x="255" y="353"/>
                      <a:pt x="252" y="354"/>
                    </a:cubicBezTo>
                    <a:cubicBezTo>
                      <a:pt x="248" y="354"/>
                      <a:pt x="243" y="362"/>
                      <a:pt x="240" y="361"/>
                    </a:cubicBezTo>
                    <a:cubicBezTo>
                      <a:pt x="237" y="361"/>
                      <a:pt x="233" y="356"/>
                      <a:pt x="233" y="354"/>
                    </a:cubicBezTo>
                    <a:cubicBezTo>
                      <a:pt x="232" y="351"/>
                      <a:pt x="236" y="345"/>
                      <a:pt x="235" y="343"/>
                    </a:cubicBezTo>
                    <a:cubicBezTo>
                      <a:pt x="234" y="340"/>
                      <a:pt x="229" y="337"/>
                      <a:pt x="226" y="336"/>
                    </a:cubicBezTo>
                    <a:cubicBezTo>
                      <a:pt x="225" y="335"/>
                      <a:pt x="220" y="336"/>
                      <a:pt x="218" y="336"/>
                    </a:cubicBezTo>
                    <a:cubicBezTo>
                      <a:pt x="216" y="336"/>
                      <a:pt x="211" y="334"/>
                      <a:pt x="209" y="335"/>
                    </a:cubicBezTo>
                    <a:cubicBezTo>
                      <a:pt x="206" y="336"/>
                      <a:pt x="202" y="340"/>
                      <a:pt x="200" y="341"/>
                    </a:cubicBezTo>
                    <a:cubicBezTo>
                      <a:pt x="197" y="344"/>
                      <a:pt x="194" y="350"/>
                      <a:pt x="191" y="351"/>
                    </a:cubicBezTo>
                    <a:cubicBezTo>
                      <a:pt x="186" y="353"/>
                      <a:pt x="177" y="350"/>
                      <a:pt x="173" y="348"/>
                    </a:cubicBezTo>
                    <a:cubicBezTo>
                      <a:pt x="171" y="346"/>
                      <a:pt x="170" y="340"/>
                      <a:pt x="168" y="339"/>
                    </a:cubicBezTo>
                    <a:cubicBezTo>
                      <a:pt x="166" y="337"/>
                      <a:pt x="161" y="337"/>
                      <a:pt x="159" y="338"/>
                    </a:cubicBezTo>
                    <a:cubicBezTo>
                      <a:pt x="156" y="339"/>
                      <a:pt x="152" y="346"/>
                      <a:pt x="149" y="347"/>
                    </a:cubicBezTo>
                    <a:cubicBezTo>
                      <a:pt x="146" y="347"/>
                      <a:pt x="142" y="343"/>
                      <a:pt x="140" y="344"/>
                    </a:cubicBezTo>
                    <a:cubicBezTo>
                      <a:pt x="137" y="345"/>
                      <a:pt x="133" y="351"/>
                      <a:pt x="131" y="353"/>
                    </a:cubicBezTo>
                    <a:cubicBezTo>
                      <a:pt x="129" y="356"/>
                      <a:pt x="126" y="363"/>
                      <a:pt x="125" y="366"/>
                    </a:cubicBezTo>
                    <a:cubicBezTo>
                      <a:pt x="124" y="370"/>
                      <a:pt x="123" y="377"/>
                      <a:pt x="123" y="380"/>
                    </a:cubicBezTo>
                    <a:cubicBezTo>
                      <a:pt x="124" y="382"/>
                      <a:pt x="126" y="387"/>
                      <a:pt x="128" y="389"/>
                    </a:cubicBezTo>
                    <a:cubicBezTo>
                      <a:pt x="129" y="391"/>
                      <a:pt x="134" y="395"/>
                      <a:pt x="134" y="398"/>
                    </a:cubicBezTo>
                    <a:cubicBezTo>
                      <a:pt x="135" y="400"/>
                      <a:pt x="133" y="404"/>
                      <a:pt x="132" y="406"/>
                    </a:cubicBezTo>
                    <a:cubicBezTo>
                      <a:pt x="131" y="408"/>
                      <a:pt x="127" y="408"/>
                      <a:pt x="127" y="410"/>
                    </a:cubicBezTo>
                    <a:cubicBezTo>
                      <a:pt x="126" y="411"/>
                      <a:pt x="127" y="416"/>
                      <a:pt x="127" y="417"/>
                    </a:cubicBezTo>
                    <a:cubicBezTo>
                      <a:pt x="126" y="419"/>
                      <a:pt x="123" y="420"/>
                      <a:pt x="122" y="422"/>
                    </a:cubicBezTo>
                    <a:cubicBezTo>
                      <a:pt x="121" y="424"/>
                      <a:pt x="120" y="430"/>
                      <a:pt x="119" y="433"/>
                    </a:cubicBezTo>
                    <a:cubicBezTo>
                      <a:pt x="119" y="434"/>
                      <a:pt x="117" y="437"/>
                      <a:pt x="116" y="439"/>
                    </a:cubicBezTo>
                    <a:cubicBezTo>
                      <a:pt x="115" y="437"/>
                      <a:pt x="115" y="435"/>
                      <a:pt x="114" y="435"/>
                    </a:cubicBezTo>
                    <a:cubicBezTo>
                      <a:pt x="113" y="433"/>
                      <a:pt x="109" y="433"/>
                      <a:pt x="109" y="431"/>
                    </a:cubicBezTo>
                    <a:cubicBezTo>
                      <a:pt x="107" y="430"/>
                      <a:pt x="108" y="425"/>
                      <a:pt x="108" y="423"/>
                    </a:cubicBezTo>
                    <a:cubicBezTo>
                      <a:pt x="107" y="421"/>
                      <a:pt x="104" y="417"/>
                      <a:pt x="103" y="415"/>
                    </a:cubicBezTo>
                    <a:cubicBezTo>
                      <a:pt x="102" y="413"/>
                      <a:pt x="103" y="409"/>
                      <a:pt x="101" y="407"/>
                    </a:cubicBezTo>
                    <a:cubicBezTo>
                      <a:pt x="101" y="407"/>
                      <a:pt x="98" y="406"/>
                      <a:pt x="97" y="406"/>
                    </a:cubicBezTo>
                    <a:cubicBezTo>
                      <a:pt x="95" y="405"/>
                      <a:pt x="90" y="407"/>
                      <a:pt x="88" y="406"/>
                    </a:cubicBezTo>
                    <a:cubicBezTo>
                      <a:pt x="86" y="406"/>
                      <a:pt x="83" y="403"/>
                      <a:pt x="82" y="401"/>
                    </a:cubicBezTo>
                    <a:cubicBezTo>
                      <a:pt x="81" y="399"/>
                      <a:pt x="80" y="394"/>
                      <a:pt x="80" y="391"/>
                    </a:cubicBezTo>
                    <a:cubicBezTo>
                      <a:pt x="80" y="390"/>
                      <a:pt x="81" y="387"/>
                      <a:pt x="81" y="386"/>
                    </a:cubicBezTo>
                    <a:cubicBezTo>
                      <a:pt x="81" y="384"/>
                      <a:pt x="79" y="381"/>
                      <a:pt x="78" y="380"/>
                    </a:cubicBezTo>
                    <a:cubicBezTo>
                      <a:pt x="77" y="379"/>
                      <a:pt x="73" y="377"/>
                      <a:pt x="72" y="376"/>
                    </a:cubicBezTo>
                    <a:cubicBezTo>
                      <a:pt x="71" y="375"/>
                      <a:pt x="71" y="371"/>
                      <a:pt x="69" y="371"/>
                    </a:cubicBezTo>
                    <a:cubicBezTo>
                      <a:pt x="69" y="370"/>
                      <a:pt x="66" y="369"/>
                      <a:pt x="65" y="369"/>
                    </a:cubicBezTo>
                    <a:cubicBezTo>
                      <a:pt x="64" y="369"/>
                      <a:pt x="61" y="371"/>
                      <a:pt x="60" y="371"/>
                    </a:cubicBezTo>
                    <a:cubicBezTo>
                      <a:pt x="59" y="370"/>
                      <a:pt x="57" y="368"/>
                      <a:pt x="56" y="367"/>
                    </a:cubicBezTo>
                    <a:cubicBezTo>
                      <a:pt x="56" y="366"/>
                      <a:pt x="55" y="363"/>
                      <a:pt x="54" y="361"/>
                    </a:cubicBezTo>
                    <a:cubicBezTo>
                      <a:pt x="54" y="360"/>
                      <a:pt x="53" y="356"/>
                      <a:pt x="52" y="355"/>
                    </a:cubicBezTo>
                    <a:cubicBezTo>
                      <a:pt x="52" y="354"/>
                      <a:pt x="50" y="353"/>
                      <a:pt x="49" y="352"/>
                    </a:cubicBezTo>
                    <a:cubicBezTo>
                      <a:pt x="48" y="352"/>
                      <a:pt x="44" y="351"/>
                      <a:pt x="43" y="352"/>
                    </a:cubicBezTo>
                    <a:cubicBezTo>
                      <a:pt x="41" y="352"/>
                      <a:pt x="40" y="355"/>
                      <a:pt x="39" y="356"/>
                    </a:cubicBezTo>
                    <a:cubicBezTo>
                      <a:pt x="38" y="357"/>
                      <a:pt x="35" y="360"/>
                      <a:pt x="33" y="360"/>
                    </a:cubicBezTo>
                    <a:cubicBezTo>
                      <a:pt x="30" y="360"/>
                      <a:pt x="25" y="358"/>
                      <a:pt x="23" y="356"/>
                    </a:cubicBezTo>
                    <a:cubicBezTo>
                      <a:pt x="21" y="355"/>
                      <a:pt x="17" y="352"/>
                      <a:pt x="15" y="350"/>
                    </a:cubicBezTo>
                    <a:cubicBezTo>
                      <a:pt x="14" y="348"/>
                      <a:pt x="13" y="344"/>
                      <a:pt x="12" y="343"/>
                    </a:cubicBezTo>
                    <a:cubicBezTo>
                      <a:pt x="11" y="342"/>
                      <a:pt x="10" y="339"/>
                      <a:pt x="9" y="338"/>
                    </a:cubicBezTo>
                    <a:cubicBezTo>
                      <a:pt x="8" y="337"/>
                      <a:pt x="6" y="336"/>
                      <a:pt x="5" y="335"/>
                    </a:cubicBezTo>
                    <a:cubicBezTo>
                      <a:pt x="4" y="332"/>
                      <a:pt x="5" y="327"/>
                      <a:pt x="5" y="324"/>
                    </a:cubicBezTo>
                    <a:cubicBezTo>
                      <a:pt x="5" y="322"/>
                      <a:pt x="7" y="319"/>
                      <a:pt x="7" y="317"/>
                    </a:cubicBezTo>
                    <a:cubicBezTo>
                      <a:pt x="7" y="315"/>
                      <a:pt x="6" y="311"/>
                      <a:pt x="5" y="309"/>
                    </a:cubicBezTo>
                    <a:cubicBezTo>
                      <a:pt x="4" y="308"/>
                      <a:pt x="1" y="305"/>
                      <a:pt x="0" y="304"/>
                    </a:cubicBezTo>
                    <a:cubicBezTo>
                      <a:pt x="0" y="302"/>
                      <a:pt x="1" y="299"/>
                      <a:pt x="2" y="297"/>
                    </a:cubicBezTo>
                    <a:cubicBezTo>
                      <a:pt x="3" y="296"/>
                      <a:pt x="7" y="297"/>
                      <a:pt x="9" y="296"/>
                    </a:cubicBezTo>
                    <a:cubicBezTo>
                      <a:pt x="11" y="295"/>
                      <a:pt x="14" y="293"/>
                      <a:pt x="15" y="293"/>
                    </a:cubicBezTo>
                    <a:cubicBezTo>
                      <a:pt x="17" y="293"/>
                      <a:pt x="21" y="293"/>
                      <a:pt x="23" y="294"/>
                    </a:cubicBezTo>
                    <a:cubicBezTo>
                      <a:pt x="24" y="295"/>
                      <a:pt x="24" y="297"/>
                      <a:pt x="25" y="298"/>
                    </a:cubicBezTo>
                    <a:cubicBezTo>
                      <a:pt x="26" y="300"/>
                      <a:pt x="29" y="302"/>
                      <a:pt x="30" y="302"/>
                    </a:cubicBezTo>
                    <a:cubicBezTo>
                      <a:pt x="32" y="302"/>
                      <a:pt x="34" y="298"/>
                      <a:pt x="35" y="297"/>
                    </a:cubicBezTo>
                    <a:cubicBezTo>
                      <a:pt x="35" y="295"/>
                      <a:pt x="35" y="293"/>
                      <a:pt x="35" y="292"/>
                    </a:cubicBezTo>
                    <a:cubicBezTo>
                      <a:pt x="35" y="290"/>
                      <a:pt x="34" y="287"/>
                      <a:pt x="35" y="286"/>
                    </a:cubicBezTo>
                    <a:cubicBezTo>
                      <a:pt x="36" y="285"/>
                      <a:pt x="39" y="285"/>
                      <a:pt x="40" y="285"/>
                    </a:cubicBezTo>
                    <a:cubicBezTo>
                      <a:pt x="41" y="284"/>
                      <a:pt x="44" y="283"/>
                      <a:pt x="46" y="282"/>
                    </a:cubicBezTo>
                    <a:cubicBezTo>
                      <a:pt x="47" y="280"/>
                      <a:pt x="48" y="277"/>
                      <a:pt x="48" y="275"/>
                    </a:cubicBezTo>
                    <a:cubicBezTo>
                      <a:pt x="48" y="272"/>
                      <a:pt x="45" y="266"/>
                      <a:pt x="44" y="264"/>
                    </a:cubicBezTo>
                    <a:cubicBezTo>
                      <a:pt x="42" y="262"/>
                      <a:pt x="38" y="259"/>
                      <a:pt x="37" y="257"/>
                    </a:cubicBezTo>
                    <a:cubicBezTo>
                      <a:pt x="35" y="255"/>
                      <a:pt x="32" y="250"/>
                      <a:pt x="31" y="247"/>
                    </a:cubicBezTo>
                    <a:cubicBezTo>
                      <a:pt x="30" y="244"/>
                      <a:pt x="29" y="238"/>
                      <a:pt x="28" y="234"/>
                    </a:cubicBezTo>
                    <a:cubicBezTo>
                      <a:pt x="27" y="232"/>
                      <a:pt x="26" y="227"/>
                      <a:pt x="24" y="225"/>
                    </a:cubicBezTo>
                    <a:cubicBezTo>
                      <a:pt x="23" y="223"/>
                      <a:pt x="19" y="221"/>
                      <a:pt x="18" y="219"/>
                    </a:cubicBezTo>
                    <a:cubicBezTo>
                      <a:pt x="17" y="217"/>
                      <a:pt x="17" y="213"/>
                      <a:pt x="16" y="211"/>
                    </a:cubicBezTo>
                    <a:cubicBezTo>
                      <a:pt x="15" y="210"/>
                      <a:pt x="13" y="207"/>
                      <a:pt x="11" y="206"/>
                    </a:cubicBezTo>
                    <a:cubicBezTo>
                      <a:pt x="10" y="205"/>
                      <a:pt x="5" y="203"/>
                      <a:pt x="4" y="201"/>
                    </a:cubicBezTo>
                    <a:cubicBezTo>
                      <a:pt x="3" y="200"/>
                      <a:pt x="2" y="197"/>
                      <a:pt x="2" y="196"/>
                    </a:cubicBezTo>
                    <a:cubicBezTo>
                      <a:pt x="2" y="193"/>
                      <a:pt x="5" y="186"/>
                      <a:pt x="6" y="183"/>
                    </a:cubicBezTo>
                    <a:cubicBezTo>
                      <a:pt x="7" y="179"/>
                      <a:pt x="7" y="171"/>
                      <a:pt x="9" y="168"/>
                    </a:cubicBezTo>
                    <a:cubicBezTo>
                      <a:pt x="10" y="166"/>
                      <a:pt x="13" y="162"/>
                      <a:pt x="14" y="160"/>
                    </a:cubicBezTo>
                    <a:cubicBezTo>
                      <a:pt x="16" y="158"/>
                      <a:pt x="18" y="152"/>
                      <a:pt x="19" y="150"/>
                    </a:cubicBezTo>
                    <a:cubicBezTo>
                      <a:pt x="20" y="147"/>
                      <a:pt x="25" y="143"/>
                      <a:pt x="26" y="140"/>
                    </a:cubicBezTo>
                    <a:cubicBezTo>
                      <a:pt x="27" y="138"/>
                      <a:pt x="27" y="131"/>
                      <a:pt x="27" y="128"/>
                    </a:cubicBezTo>
                    <a:cubicBezTo>
                      <a:pt x="27" y="125"/>
                      <a:pt x="24" y="120"/>
                      <a:pt x="25" y="117"/>
                    </a:cubicBezTo>
                    <a:cubicBezTo>
                      <a:pt x="25" y="116"/>
                      <a:pt x="25" y="113"/>
                      <a:pt x="26" y="112"/>
                    </a:cubicBezTo>
                    <a:cubicBezTo>
                      <a:pt x="27" y="111"/>
                      <a:pt x="29" y="109"/>
                      <a:pt x="30" y="107"/>
                    </a:cubicBezTo>
                    <a:cubicBezTo>
                      <a:pt x="31" y="108"/>
                      <a:pt x="32" y="109"/>
                      <a:pt x="33" y="109"/>
                    </a:cubicBezTo>
                    <a:cubicBezTo>
                      <a:pt x="35" y="110"/>
                      <a:pt x="38" y="110"/>
                      <a:pt x="39" y="110"/>
                    </a:cubicBezTo>
                    <a:cubicBezTo>
                      <a:pt x="40" y="110"/>
                      <a:pt x="40" y="108"/>
                      <a:pt x="41" y="108"/>
                    </a:cubicBezTo>
                    <a:cubicBezTo>
                      <a:pt x="42" y="108"/>
                      <a:pt x="43" y="108"/>
                      <a:pt x="44" y="109"/>
                    </a:cubicBezTo>
                    <a:cubicBezTo>
                      <a:pt x="45" y="110"/>
                      <a:pt x="46" y="113"/>
                      <a:pt x="48" y="114"/>
                    </a:cubicBezTo>
                    <a:cubicBezTo>
                      <a:pt x="49" y="115"/>
                      <a:pt x="52" y="114"/>
                      <a:pt x="54" y="115"/>
                    </a:cubicBezTo>
                    <a:cubicBezTo>
                      <a:pt x="55" y="115"/>
                      <a:pt x="58" y="115"/>
                      <a:pt x="59" y="116"/>
                    </a:cubicBezTo>
                    <a:cubicBezTo>
                      <a:pt x="60" y="117"/>
                      <a:pt x="60" y="122"/>
                      <a:pt x="59" y="124"/>
                    </a:cubicBezTo>
                    <a:cubicBezTo>
                      <a:pt x="59" y="125"/>
                      <a:pt x="58" y="128"/>
                      <a:pt x="57" y="129"/>
                    </a:cubicBezTo>
                    <a:cubicBezTo>
                      <a:pt x="56" y="130"/>
                      <a:pt x="53" y="130"/>
                      <a:pt x="52" y="131"/>
                    </a:cubicBezTo>
                    <a:cubicBezTo>
                      <a:pt x="51" y="132"/>
                      <a:pt x="48" y="133"/>
                      <a:pt x="48" y="134"/>
                    </a:cubicBezTo>
                    <a:cubicBezTo>
                      <a:pt x="48" y="135"/>
                      <a:pt x="50" y="136"/>
                      <a:pt x="51" y="136"/>
                    </a:cubicBezTo>
                    <a:cubicBezTo>
                      <a:pt x="53" y="137"/>
                      <a:pt x="55" y="136"/>
                      <a:pt x="56" y="137"/>
                    </a:cubicBezTo>
                    <a:cubicBezTo>
                      <a:pt x="58" y="138"/>
                      <a:pt x="59" y="142"/>
                      <a:pt x="61" y="143"/>
                    </a:cubicBezTo>
                    <a:cubicBezTo>
                      <a:pt x="62" y="144"/>
                      <a:pt x="65" y="144"/>
                      <a:pt x="66" y="145"/>
                    </a:cubicBezTo>
                    <a:cubicBezTo>
                      <a:pt x="67" y="146"/>
                      <a:pt x="67" y="150"/>
                      <a:pt x="68" y="152"/>
                    </a:cubicBezTo>
                    <a:cubicBezTo>
                      <a:pt x="68" y="153"/>
                      <a:pt x="70" y="155"/>
                      <a:pt x="71" y="157"/>
                    </a:cubicBezTo>
                    <a:cubicBezTo>
                      <a:pt x="71" y="158"/>
                      <a:pt x="73" y="161"/>
                      <a:pt x="72" y="163"/>
                    </a:cubicBezTo>
                    <a:cubicBezTo>
                      <a:pt x="72" y="164"/>
                      <a:pt x="70" y="165"/>
                      <a:pt x="70" y="166"/>
                    </a:cubicBezTo>
                    <a:cubicBezTo>
                      <a:pt x="70" y="166"/>
                      <a:pt x="70" y="169"/>
                      <a:pt x="70" y="169"/>
                    </a:cubicBezTo>
                    <a:cubicBezTo>
                      <a:pt x="72" y="171"/>
                      <a:pt x="76" y="169"/>
                      <a:pt x="78" y="170"/>
                    </a:cubicBezTo>
                    <a:cubicBezTo>
                      <a:pt x="80" y="170"/>
                      <a:pt x="82" y="172"/>
                      <a:pt x="83" y="172"/>
                    </a:cubicBezTo>
                    <a:cubicBezTo>
                      <a:pt x="85" y="173"/>
                      <a:pt x="87" y="172"/>
                      <a:pt x="88" y="172"/>
                    </a:cubicBezTo>
                    <a:cubicBezTo>
                      <a:pt x="89" y="171"/>
                      <a:pt x="90" y="167"/>
                      <a:pt x="90" y="166"/>
                    </a:cubicBezTo>
                    <a:cubicBezTo>
                      <a:pt x="90" y="165"/>
                      <a:pt x="90" y="163"/>
                      <a:pt x="90" y="162"/>
                    </a:cubicBezTo>
                    <a:cubicBezTo>
                      <a:pt x="91" y="161"/>
                      <a:pt x="95" y="161"/>
                      <a:pt x="95" y="160"/>
                    </a:cubicBezTo>
                    <a:cubicBezTo>
                      <a:pt x="95" y="158"/>
                      <a:pt x="93" y="155"/>
                      <a:pt x="92" y="154"/>
                    </a:cubicBezTo>
                    <a:cubicBezTo>
                      <a:pt x="91" y="153"/>
                      <a:pt x="89" y="153"/>
                      <a:pt x="88" y="153"/>
                    </a:cubicBezTo>
                    <a:cubicBezTo>
                      <a:pt x="87" y="152"/>
                      <a:pt x="86" y="148"/>
                      <a:pt x="86" y="146"/>
                    </a:cubicBezTo>
                    <a:cubicBezTo>
                      <a:pt x="85" y="145"/>
                      <a:pt x="84" y="143"/>
                      <a:pt x="84" y="141"/>
                    </a:cubicBezTo>
                    <a:cubicBezTo>
                      <a:pt x="84" y="140"/>
                      <a:pt x="86" y="138"/>
                      <a:pt x="86" y="137"/>
                    </a:cubicBezTo>
                    <a:cubicBezTo>
                      <a:pt x="86" y="136"/>
                      <a:pt x="84" y="133"/>
                      <a:pt x="84" y="132"/>
                    </a:cubicBezTo>
                    <a:cubicBezTo>
                      <a:pt x="84" y="130"/>
                      <a:pt x="85" y="128"/>
                      <a:pt x="85" y="126"/>
                    </a:cubicBezTo>
                    <a:cubicBezTo>
                      <a:pt x="86" y="124"/>
                      <a:pt x="87" y="120"/>
                      <a:pt x="89" y="119"/>
                    </a:cubicBezTo>
                    <a:cubicBezTo>
                      <a:pt x="90" y="118"/>
                      <a:pt x="93" y="119"/>
                      <a:pt x="94" y="118"/>
                    </a:cubicBezTo>
                    <a:cubicBezTo>
                      <a:pt x="96" y="117"/>
                      <a:pt x="94" y="112"/>
                      <a:pt x="94" y="110"/>
                    </a:cubicBezTo>
                    <a:cubicBezTo>
                      <a:pt x="94" y="109"/>
                      <a:pt x="95" y="106"/>
                      <a:pt x="96" y="105"/>
                    </a:cubicBezTo>
                    <a:cubicBezTo>
                      <a:pt x="97" y="104"/>
                      <a:pt x="101" y="103"/>
                      <a:pt x="102" y="102"/>
                    </a:cubicBezTo>
                    <a:cubicBezTo>
                      <a:pt x="102" y="101"/>
                      <a:pt x="103" y="100"/>
                      <a:pt x="103" y="99"/>
                    </a:cubicBezTo>
                    <a:cubicBezTo>
                      <a:pt x="105" y="98"/>
                      <a:pt x="108" y="98"/>
                      <a:pt x="109" y="96"/>
                    </a:cubicBezTo>
                    <a:cubicBezTo>
                      <a:pt x="110" y="95"/>
                      <a:pt x="112" y="91"/>
                      <a:pt x="113" y="89"/>
                    </a:cubicBezTo>
                    <a:cubicBezTo>
                      <a:pt x="114" y="87"/>
                      <a:pt x="118" y="82"/>
                      <a:pt x="120" y="79"/>
                    </a:cubicBezTo>
                    <a:cubicBezTo>
                      <a:pt x="121" y="77"/>
                      <a:pt x="122" y="72"/>
                      <a:pt x="123" y="70"/>
                    </a:cubicBezTo>
                    <a:cubicBezTo>
                      <a:pt x="124" y="68"/>
                      <a:pt x="126" y="66"/>
                      <a:pt x="126" y="65"/>
                    </a:cubicBezTo>
                    <a:cubicBezTo>
                      <a:pt x="126" y="63"/>
                      <a:pt x="126" y="61"/>
                      <a:pt x="125" y="59"/>
                    </a:cubicBezTo>
                    <a:cubicBezTo>
                      <a:pt x="125" y="58"/>
                      <a:pt x="123" y="56"/>
                      <a:pt x="123" y="55"/>
                    </a:cubicBezTo>
                    <a:cubicBezTo>
                      <a:pt x="123" y="54"/>
                      <a:pt x="125" y="52"/>
                      <a:pt x="125" y="51"/>
                    </a:cubicBezTo>
                    <a:cubicBezTo>
                      <a:pt x="125" y="49"/>
                      <a:pt x="125" y="46"/>
                      <a:pt x="124" y="44"/>
                    </a:cubicBezTo>
                    <a:cubicBezTo>
                      <a:pt x="123" y="43"/>
                      <a:pt x="120" y="43"/>
                      <a:pt x="120" y="42"/>
                    </a:cubicBezTo>
                    <a:cubicBezTo>
                      <a:pt x="119" y="41"/>
                      <a:pt x="118" y="39"/>
                      <a:pt x="119" y="38"/>
                    </a:cubicBezTo>
                    <a:cubicBezTo>
                      <a:pt x="119" y="37"/>
                      <a:pt x="121" y="36"/>
                      <a:pt x="121" y="35"/>
                    </a:cubicBezTo>
                    <a:cubicBezTo>
                      <a:pt x="122" y="33"/>
                      <a:pt x="122" y="29"/>
                      <a:pt x="123" y="27"/>
                    </a:cubicBezTo>
                    <a:cubicBezTo>
                      <a:pt x="124" y="26"/>
                      <a:pt x="128" y="26"/>
                      <a:pt x="129" y="25"/>
                    </a:cubicBezTo>
                    <a:cubicBezTo>
                      <a:pt x="130" y="25"/>
                      <a:pt x="133" y="25"/>
                      <a:pt x="134" y="25"/>
                    </a:cubicBezTo>
                    <a:cubicBezTo>
                      <a:pt x="135" y="26"/>
                      <a:pt x="137" y="27"/>
                      <a:pt x="138" y="28"/>
                    </a:cubicBezTo>
                    <a:cubicBezTo>
                      <a:pt x="138" y="29"/>
                      <a:pt x="138" y="32"/>
                      <a:pt x="139" y="33"/>
                    </a:cubicBezTo>
                    <a:cubicBezTo>
                      <a:pt x="140" y="34"/>
                      <a:pt x="144" y="34"/>
                      <a:pt x="145" y="34"/>
                    </a:cubicBezTo>
                    <a:cubicBezTo>
                      <a:pt x="146" y="33"/>
                      <a:pt x="147" y="31"/>
                      <a:pt x="147" y="30"/>
                    </a:cubicBezTo>
                    <a:cubicBezTo>
                      <a:pt x="147" y="29"/>
                      <a:pt x="147" y="27"/>
                      <a:pt x="148" y="26"/>
                    </a:cubicBezTo>
                    <a:cubicBezTo>
                      <a:pt x="148" y="26"/>
                      <a:pt x="151" y="25"/>
                      <a:pt x="151" y="25"/>
                    </a:cubicBezTo>
                    <a:cubicBezTo>
                      <a:pt x="153" y="26"/>
                      <a:pt x="153" y="29"/>
                      <a:pt x="153" y="30"/>
                    </a:cubicBezTo>
                    <a:cubicBezTo>
                      <a:pt x="153" y="32"/>
                      <a:pt x="153" y="37"/>
                      <a:pt x="153" y="40"/>
                    </a:cubicBezTo>
                    <a:cubicBezTo>
                      <a:pt x="153" y="42"/>
                      <a:pt x="151" y="46"/>
                      <a:pt x="151" y="49"/>
                    </a:cubicBezTo>
                    <a:cubicBezTo>
                      <a:pt x="151" y="50"/>
                      <a:pt x="152" y="53"/>
                      <a:pt x="153" y="54"/>
                    </a:cubicBezTo>
                    <a:cubicBezTo>
                      <a:pt x="153" y="56"/>
                      <a:pt x="157" y="57"/>
                      <a:pt x="158" y="58"/>
                    </a:cubicBezTo>
                    <a:cubicBezTo>
                      <a:pt x="159" y="60"/>
                      <a:pt x="158" y="64"/>
                      <a:pt x="159" y="65"/>
                    </a:cubicBezTo>
                    <a:cubicBezTo>
                      <a:pt x="160" y="67"/>
                      <a:pt x="162" y="69"/>
                      <a:pt x="163" y="70"/>
                    </a:cubicBezTo>
                    <a:cubicBezTo>
                      <a:pt x="165" y="70"/>
                      <a:pt x="169" y="69"/>
                      <a:pt x="171" y="69"/>
                    </a:cubicBezTo>
                    <a:cubicBezTo>
                      <a:pt x="173" y="70"/>
                      <a:pt x="175" y="71"/>
                      <a:pt x="177" y="71"/>
                    </a:cubicBezTo>
                    <a:cubicBezTo>
                      <a:pt x="178" y="71"/>
                      <a:pt x="179" y="69"/>
                      <a:pt x="180" y="69"/>
                    </a:cubicBezTo>
                    <a:cubicBezTo>
                      <a:pt x="182" y="69"/>
                      <a:pt x="184" y="72"/>
                      <a:pt x="185" y="71"/>
                    </a:cubicBezTo>
                    <a:cubicBezTo>
                      <a:pt x="186" y="71"/>
                      <a:pt x="188" y="68"/>
                      <a:pt x="188" y="67"/>
                    </a:cubicBezTo>
                    <a:cubicBezTo>
                      <a:pt x="189" y="65"/>
                      <a:pt x="189" y="61"/>
                      <a:pt x="190" y="60"/>
                    </a:cubicBezTo>
                    <a:cubicBezTo>
                      <a:pt x="191" y="59"/>
                      <a:pt x="194" y="60"/>
                      <a:pt x="195" y="60"/>
                    </a:cubicBezTo>
                    <a:cubicBezTo>
                      <a:pt x="196" y="60"/>
                      <a:pt x="198" y="62"/>
                      <a:pt x="199" y="62"/>
                    </a:cubicBezTo>
                    <a:cubicBezTo>
                      <a:pt x="200" y="62"/>
                      <a:pt x="203" y="59"/>
                      <a:pt x="204" y="59"/>
                    </a:cubicBezTo>
                    <a:cubicBezTo>
                      <a:pt x="204" y="58"/>
                      <a:pt x="205" y="57"/>
                      <a:pt x="205" y="56"/>
                    </a:cubicBezTo>
                    <a:cubicBezTo>
                      <a:pt x="206" y="56"/>
                      <a:pt x="209" y="56"/>
                      <a:pt x="210" y="55"/>
                    </a:cubicBezTo>
                    <a:cubicBezTo>
                      <a:pt x="211" y="54"/>
                      <a:pt x="213" y="52"/>
                      <a:pt x="214" y="52"/>
                    </a:cubicBezTo>
                    <a:cubicBezTo>
                      <a:pt x="215" y="52"/>
                      <a:pt x="217" y="52"/>
                      <a:pt x="218" y="52"/>
                    </a:cubicBezTo>
                    <a:cubicBezTo>
                      <a:pt x="219" y="53"/>
                      <a:pt x="219" y="57"/>
                      <a:pt x="220" y="57"/>
                    </a:cubicBezTo>
                    <a:cubicBezTo>
                      <a:pt x="222" y="58"/>
                      <a:pt x="225" y="56"/>
                      <a:pt x="226" y="57"/>
                    </a:cubicBezTo>
                    <a:cubicBezTo>
                      <a:pt x="227" y="57"/>
                      <a:pt x="229" y="59"/>
                      <a:pt x="230" y="60"/>
                    </a:cubicBezTo>
                    <a:cubicBezTo>
                      <a:pt x="230" y="62"/>
                      <a:pt x="230" y="65"/>
                      <a:pt x="231" y="67"/>
                    </a:cubicBezTo>
                    <a:cubicBezTo>
                      <a:pt x="231" y="68"/>
                      <a:pt x="233" y="71"/>
                      <a:pt x="234" y="72"/>
                    </a:cubicBezTo>
                    <a:cubicBezTo>
                      <a:pt x="235" y="73"/>
                      <a:pt x="239" y="72"/>
                      <a:pt x="240" y="74"/>
                    </a:cubicBezTo>
                    <a:cubicBezTo>
                      <a:pt x="241" y="74"/>
                      <a:pt x="241" y="76"/>
                      <a:pt x="241" y="77"/>
                    </a:cubicBezTo>
                    <a:cubicBezTo>
                      <a:pt x="242" y="78"/>
                      <a:pt x="241" y="79"/>
                      <a:pt x="241" y="80"/>
                    </a:cubicBezTo>
                    <a:cubicBezTo>
                      <a:pt x="242" y="81"/>
                      <a:pt x="243" y="84"/>
                      <a:pt x="244" y="84"/>
                    </a:cubicBezTo>
                    <a:cubicBezTo>
                      <a:pt x="246" y="85"/>
                      <a:pt x="250" y="86"/>
                      <a:pt x="251" y="86"/>
                    </a:cubicBezTo>
                    <a:cubicBezTo>
                      <a:pt x="253" y="85"/>
                      <a:pt x="256" y="84"/>
                      <a:pt x="257" y="82"/>
                    </a:cubicBezTo>
                    <a:cubicBezTo>
                      <a:pt x="258" y="81"/>
                      <a:pt x="259" y="78"/>
                      <a:pt x="259" y="76"/>
                    </a:cubicBezTo>
                    <a:cubicBezTo>
                      <a:pt x="259" y="74"/>
                      <a:pt x="257" y="70"/>
                      <a:pt x="256" y="69"/>
                    </a:cubicBezTo>
                    <a:cubicBezTo>
                      <a:pt x="255" y="68"/>
                      <a:pt x="252" y="67"/>
                      <a:pt x="250" y="66"/>
                    </a:cubicBezTo>
                    <a:cubicBezTo>
                      <a:pt x="249" y="65"/>
                      <a:pt x="247" y="63"/>
                      <a:pt x="246" y="61"/>
                    </a:cubicBezTo>
                    <a:cubicBezTo>
                      <a:pt x="246" y="61"/>
                      <a:pt x="247" y="59"/>
                      <a:pt x="247" y="59"/>
                    </a:cubicBezTo>
                    <a:cubicBezTo>
                      <a:pt x="247" y="57"/>
                      <a:pt x="245" y="55"/>
                      <a:pt x="245" y="54"/>
                    </a:cubicBezTo>
                    <a:cubicBezTo>
                      <a:pt x="246" y="54"/>
                      <a:pt x="247" y="52"/>
                      <a:pt x="248" y="52"/>
                    </a:cubicBezTo>
                    <a:cubicBezTo>
                      <a:pt x="250" y="51"/>
                      <a:pt x="253" y="52"/>
                      <a:pt x="255" y="51"/>
                    </a:cubicBezTo>
                    <a:cubicBezTo>
                      <a:pt x="256" y="51"/>
                      <a:pt x="258" y="48"/>
                      <a:pt x="258" y="46"/>
                    </a:cubicBezTo>
                    <a:cubicBezTo>
                      <a:pt x="258" y="45"/>
                      <a:pt x="255" y="43"/>
                      <a:pt x="254" y="42"/>
                    </a:cubicBezTo>
                    <a:cubicBezTo>
                      <a:pt x="253" y="41"/>
                      <a:pt x="251" y="40"/>
                      <a:pt x="250" y="40"/>
                    </a:cubicBezTo>
                    <a:cubicBezTo>
                      <a:pt x="249" y="39"/>
                      <a:pt x="247" y="41"/>
                      <a:pt x="246" y="42"/>
                    </a:cubicBezTo>
                    <a:cubicBezTo>
                      <a:pt x="244" y="42"/>
                      <a:pt x="241" y="42"/>
                      <a:pt x="240" y="41"/>
                    </a:cubicBezTo>
                    <a:cubicBezTo>
                      <a:pt x="238" y="39"/>
                      <a:pt x="240" y="32"/>
                      <a:pt x="239" y="29"/>
                    </a:cubicBezTo>
                    <a:cubicBezTo>
                      <a:pt x="239" y="28"/>
                      <a:pt x="238" y="25"/>
                      <a:pt x="238" y="23"/>
                    </a:cubicBezTo>
                    <a:cubicBezTo>
                      <a:pt x="238" y="21"/>
                      <a:pt x="240" y="18"/>
                      <a:pt x="241" y="16"/>
                    </a:cubicBezTo>
                    <a:cubicBezTo>
                      <a:pt x="241" y="14"/>
                      <a:pt x="244" y="12"/>
                      <a:pt x="244" y="11"/>
                    </a:cubicBezTo>
                    <a:cubicBezTo>
                      <a:pt x="245" y="9"/>
                      <a:pt x="245" y="6"/>
                      <a:pt x="246" y="5"/>
                    </a:cubicBezTo>
                    <a:cubicBezTo>
                      <a:pt x="247" y="3"/>
                      <a:pt x="251" y="2"/>
                      <a:pt x="253" y="1"/>
                    </a:cubicBezTo>
                    <a:cubicBezTo>
                      <a:pt x="255" y="1"/>
                      <a:pt x="258" y="0"/>
                      <a:pt x="260" y="0"/>
                    </a:cubicBezTo>
                    <a:cubicBezTo>
                      <a:pt x="261" y="0"/>
                      <a:pt x="264" y="0"/>
                      <a:pt x="265" y="1"/>
                    </a:cubicBezTo>
                    <a:cubicBezTo>
                      <a:pt x="266" y="1"/>
                      <a:pt x="268" y="4"/>
                      <a:pt x="268" y="6"/>
                    </a:cubicBezTo>
                    <a:cubicBezTo>
                      <a:pt x="268" y="7"/>
                      <a:pt x="267" y="10"/>
                      <a:pt x="267" y="11"/>
                    </a:cubicBezTo>
                    <a:cubicBezTo>
                      <a:pt x="268" y="13"/>
                      <a:pt x="271" y="14"/>
                      <a:pt x="273" y="15"/>
                    </a:cubicBezTo>
                    <a:cubicBezTo>
                      <a:pt x="274" y="16"/>
                      <a:pt x="276" y="17"/>
                      <a:pt x="277" y="17"/>
                    </a:cubicBezTo>
                    <a:cubicBezTo>
                      <a:pt x="278" y="17"/>
                      <a:pt x="280" y="16"/>
                      <a:pt x="281" y="15"/>
                    </a:cubicBezTo>
                    <a:cubicBezTo>
                      <a:pt x="282" y="14"/>
                      <a:pt x="283" y="11"/>
                      <a:pt x="284" y="10"/>
                    </a:cubicBezTo>
                    <a:cubicBezTo>
                      <a:pt x="285" y="10"/>
                      <a:pt x="287" y="12"/>
                      <a:pt x="288" y="12"/>
                    </a:cubicBezTo>
                    <a:cubicBezTo>
                      <a:pt x="289" y="13"/>
                      <a:pt x="292" y="13"/>
                      <a:pt x="292" y="14"/>
                    </a:cubicBezTo>
                    <a:cubicBezTo>
                      <a:pt x="293" y="15"/>
                      <a:pt x="293" y="17"/>
                      <a:pt x="293" y="18"/>
                    </a:cubicBezTo>
                    <a:cubicBezTo>
                      <a:pt x="294" y="19"/>
                      <a:pt x="295" y="19"/>
                      <a:pt x="296" y="20"/>
                    </a:cubicBezTo>
                    <a:cubicBezTo>
                      <a:pt x="296" y="21"/>
                      <a:pt x="296" y="21"/>
                      <a:pt x="296" y="22"/>
                    </a:cubicBezTo>
                    <a:cubicBezTo>
                      <a:pt x="296" y="23"/>
                      <a:pt x="297" y="26"/>
                      <a:pt x="298" y="27"/>
                    </a:cubicBezTo>
                    <a:cubicBezTo>
                      <a:pt x="300" y="28"/>
                      <a:pt x="305" y="24"/>
                      <a:pt x="307" y="25"/>
                    </a:cubicBezTo>
                    <a:cubicBezTo>
                      <a:pt x="309" y="25"/>
                      <a:pt x="313" y="28"/>
                      <a:pt x="314" y="30"/>
                    </a:cubicBezTo>
                    <a:cubicBezTo>
                      <a:pt x="315" y="32"/>
                      <a:pt x="316" y="35"/>
                      <a:pt x="316" y="37"/>
                    </a:cubicBezTo>
                    <a:cubicBezTo>
                      <a:pt x="316" y="39"/>
                      <a:pt x="315" y="42"/>
                      <a:pt x="315" y="43"/>
                    </a:cubicBezTo>
                    <a:cubicBezTo>
                      <a:pt x="315" y="45"/>
                      <a:pt x="318" y="47"/>
                      <a:pt x="318" y="48"/>
                    </a:cubicBezTo>
                    <a:cubicBezTo>
                      <a:pt x="318" y="50"/>
                      <a:pt x="318" y="53"/>
                      <a:pt x="317" y="54"/>
                    </a:cubicBezTo>
                    <a:cubicBezTo>
                      <a:pt x="315" y="54"/>
                      <a:pt x="313" y="51"/>
                      <a:pt x="311" y="51"/>
                    </a:cubicBezTo>
                    <a:cubicBezTo>
                      <a:pt x="309" y="51"/>
                      <a:pt x="303" y="51"/>
                      <a:pt x="301" y="53"/>
                    </a:cubicBezTo>
                    <a:cubicBezTo>
                      <a:pt x="299" y="54"/>
                      <a:pt x="297" y="57"/>
                      <a:pt x="297" y="59"/>
                    </a:cubicBezTo>
                    <a:cubicBezTo>
                      <a:pt x="297" y="60"/>
                      <a:pt x="299" y="63"/>
                      <a:pt x="300" y="64"/>
                    </a:cubicBezTo>
                    <a:cubicBezTo>
                      <a:pt x="302" y="65"/>
                      <a:pt x="307" y="63"/>
                      <a:pt x="309" y="65"/>
                    </a:cubicBezTo>
                    <a:cubicBezTo>
                      <a:pt x="310" y="67"/>
                      <a:pt x="308" y="73"/>
                      <a:pt x="308" y="75"/>
                    </a:cubicBezTo>
                    <a:cubicBezTo>
                      <a:pt x="308" y="80"/>
                      <a:pt x="309" y="89"/>
                      <a:pt x="309" y="94"/>
                    </a:cubicBezTo>
                    <a:cubicBezTo>
                      <a:pt x="308" y="97"/>
                      <a:pt x="305" y="104"/>
                      <a:pt x="304" y="107"/>
                    </a:cubicBezTo>
                    <a:cubicBezTo>
                      <a:pt x="302" y="111"/>
                      <a:pt x="299" y="118"/>
                      <a:pt x="298" y="122"/>
                    </a:cubicBezTo>
                    <a:cubicBezTo>
                      <a:pt x="296" y="124"/>
                      <a:pt x="293" y="128"/>
                      <a:pt x="292" y="130"/>
                    </a:cubicBezTo>
                    <a:cubicBezTo>
                      <a:pt x="290" y="133"/>
                      <a:pt x="288" y="138"/>
                      <a:pt x="289" y="141"/>
                    </a:cubicBezTo>
                    <a:cubicBezTo>
                      <a:pt x="289" y="143"/>
                      <a:pt x="290" y="145"/>
                      <a:pt x="291" y="147"/>
                    </a:cubicBezTo>
                    <a:cubicBezTo>
                      <a:pt x="292" y="148"/>
                      <a:pt x="295" y="150"/>
                      <a:pt x="296" y="151"/>
                    </a:cubicBezTo>
                    <a:cubicBezTo>
                      <a:pt x="297" y="153"/>
                      <a:pt x="298" y="158"/>
                      <a:pt x="298" y="161"/>
                    </a:cubicBezTo>
                    <a:cubicBezTo>
                      <a:pt x="299" y="163"/>
                      <a:pt x="299" y="167"/>
                      <a:pt x="300" y="169"/>
                    </a:cubicBezTo>
                    <a:cubicBezTo>
                      <a:pt x="300" y="171"/>
                      <a:pt x="302" y="175"/>
                      <a:pt x="303" y="176"/>
                    </a:cubicBezTo>
                    <a:cubicBezTo>
                      <a:pt x="305" y="179"/>
                      <a:pt x="311" y="184"/>
                      <a:pt x="314" y="185"/>
                    </a:cubicBezTo>
                    <a:cubicBezTo>
                      <a:pt x="316" y="185"/>
                      <a:pt x="320" y="182"/>
                      <a:pt x="321" y="181"/>
                    </a:cubicBezTo>
                    <a:cubicBezTo>
                      <a:pt x="322" y="179"/>
                      <a:pt x="322" y="175"/>
                      <a:pt x="323" y="174"/>
                    </a:cubicBezTo>
                    <a:cubicBezTo>
                      <a:pt x="324" y="172"/>
                      <a:pt x="327" y="171"/>
                      <a:pt x="328" y="170"/>
                    </a:cubicBezTo>
                    <a:cubicBezTo>
                      <a:pt x="330" y="170"/>
                      <a:pt x="334" y="170"/>
                      <a:pt x="336" y="171"/>
                    </a:cubicBezTo>
                    <a:cubicBezTo>
                      <a:pt x="338" y="172"/>
                      <a:pt x="341" y="175"/>
                      <a:pt x="342" y="176"/>
                    </a:cubicBezTo>
                    <a:cubicBezTo>
                      <a:pt x="342" y="177"/>
                      <a:pt x="342" y="177"/>
                      <a:pt x="343" y="177"/>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1">
                <a:extLst>
                  <a:ext uri="{FF2B5EF4-FFF2-40B4-BE49-F238E27FC236}">
                    <a16:creationId xmlns:a16="http://schemas.microsoft.com/office/drawing/2014/main" id="{826F1F5F-3231-B436-923C-0AD721280F92}"/>
                  </a:ext>
                </a:extLst>
              </p:cNvPr>
              <p:cNvSpPr>
                <a:spLocks/>
              </p:cNvSpPr>
              <p:nvPr/>
            </p:nvSpPr>
            <p:spPr bwMode="auto">
              <a:xfrm>
                <a:off x="6331408" y="2470883"/>
                <a:ext cx="597693" cy="791264"/>
              </a:xfrm>
              <a:custGeom>
                <a:avLst/>
                <a:gdLst/>
                <a:ahLst/>
                <a:cxnLst>
                  <a:cxn ang="0">
                    <a:pos x="384" y="418"/>
                  </a:cxn>
                  <a:cxn ang="0">
                    <a:pos x="348" y="407"/>
                  </a:cxn>
                  <a:cxn ang="0">
                    <a:pos x="319" y="423"/>
                  </a:cxn>
                  <a:cxn ang="0">
                    <a:pos x="279" y="435"/>
                  </a:cxn>
                  <a:cxn ang="0">
                    <a:pos x="251" y="448"/>
                  </a:cxn>
                  <a:cxn ang="0">
                    <a:pos x="227" y="469"/>
                  </a:cxn>
                  <a:cxn ang="0">
                    <a:pos x="215" y="498"/>
                  </a:cxn>
                  <a:cxn ang="0">
                    <a:pos x="199" y="525"/>
                  </a:cxn>
                  <a:cxn ang="0">
                    <a:pos x="165" y="523"/>
                  </a:cxn>
                  <a:cxn ang="0">
                    <a:pos x="160" y="516"/>
                  </a:cxn>
                  <a:cxn ang="0">
                    <a:pos x="149" y="497"/>
                  </a:cxn>
                  <a:cxn ang="0">
                    <a:pos x="116" y="507"/>
                  </a:cxn>
                  <a:cxn ang="0">
                    <a:pos x="87" y="498"/>
                  </a:cxn>
                  <a:cxn ang="0">
                    <a:pos x="70" y="489"/>
                  </a:cxn>
                  <a:cxn ang="0">
                    <a:pos x="48" y="473"/>
                  </a:cxn>
                  <a:cxn ang="0">
                    <a:pos x="34" y="444"/>
                  </a:cxn>
                  <a:cxn ang="0">
                    <a:pos x="31" y="424"/>
                  </a:cxn>
                  <a:cxn ang="0">
                    <a:pos x="47" y="393"/>
                  </a:cxn>
                  <a:cxn ang="0">
                    <a:pos x="64" y="384"/>
                  </a:cxn>
                  <a:cxn ang="0">
                    <a:pos x="51" y="346"/>
                  </a:cxn>
                  <a:cxn ang="0">
                    <a:pos x="34" y="343"/>
                  </a:cxn>
                  <a:cxn ang="0">
                    <a:pos x="19" y="323"/>
                  </a:cxn>
                  <a:cxn ang="0">
                    <a:pos x="10" y="308"/>
                  </a:cxn>
                  <a:cxn ang="0">
                    <a:pos x="4" y="283"/>
                  </a:cxn>
                  <a:cxn ang="0">
                    <a:pos x="26" y="279"/>
                  </a:cxn>
                  <a:cxn ang="0">
                    <a:pos x="45" y="277"/>
                  </a:cxn>
                  <a:cxn ang="0">
                    <a:pos x="67" y="265"/>
                  </a:cxn>
                  <a:cxn ang="0">
                    <a:pos x="73" y="247"/>
                  </a:cxn>
                  <a:cxn ang="0">
                    <a:pos x="85" y="228"/>
                  </a:cxn>
                  <a:cxn ang="0">
                    <a:pos x="96" y="221"/>
                  </a:cxn>
                  <a:cxn ang="0">
                    <a:pos x="124" y="202"/>
                  </a:cxn>
                  <a:cxn ang="0">
                    <a:pos x="158" y="201"/>
                  </a:cxn>
                  <a:cxn ang="0">
                    <a:pos x="190" y="188"/>
                  </a:cxn>
                  <a:cxn ang="0">
                    <a:pos x="189" y="167"/>
                  </a:cxn>
                  <a:cxn ang="0">
                    <a:pos x="179" y="134"/>
                  </a:cxn>
                  <a:cxn ang="0">
                    <a:pos x="183" y="117"/>
                  </a:cxn>
                  <a:cxn ang="0">
                    <a:pos x="209" y="98"/>
                  </a:cxn>
                  <a:cxn ang="0">
                    <a:pos x="230" y="69"/>
                  </a:cxn>
                  <a:cxn ang="0">
                    <a:pos x="231" y="47"/>
                  </a:cxn>
                  <a:cxn ang="0">
                    <a:pos x="241" y="34"/>
                  </a:cxn>
                  <a:cxn ang="0">
                    <a:pos x="260" y="20"/>
                  </a:cxn>
                  <a:cxn ang="0">
                    <a:pos x="281" y="2"/>
                  </a:cxn>
                  <a:cxn ang="0">
                    <a:pos x="279" y="32"/>
                  </a:cxn>
                  <a:cxn ang="0">
                    <a:pos x="297" y="61"/>
                  </a:cxn>
                  <a:cxn ang="0">
                    <a:pos x="306" y="78"/>
                  </a:cxn>
                  <a:cxn ang="0">
                    <a:pos x="294" y="126"/>
                  </a:cxn>
                  <a:cxn ang="0">
                    <a:pos x="291" y="172"/>
                  </a:cxn>
                  <a:cxn ang="0">
                    <a:pos x="311" y="213"/>
                  </a:cxn>
                  <a:cxn ang="0">
                    <a:pos x="320" y="251"/>
                  </a:cxn>
                  <a:cxn ang="0">
                    <a:pos x="305" y="264"/>
                  </a:cxn>
                  <a:cxn ang="0">
                    <a:pos x="280" y="270"/>
                  </a:cxn>
                  <a:cxn ang="0">
                    <a:pos x="289" y="304"/>
                  </a:cxn>
                  <a:cxn ang="0">
                    <a:pos x="319" y="322"/>
                  </a:cxn>
                  <a:cxn ang="0">
                    <a:pos x="336" y="333"/>
                  </a:cxn>
                  <a:cxn ang="0">
                    <a:pos x="358" y="346"/>
                  </a:cxn>
                  <a:cxn ang="0">
                    <a:pos x="377" y="372"/>
                  </a:cxn>
                  <a:cxn ang="0">
                    <a:pos x="394" y="401"/>
                  </a:cxn>
                </a:cxnLst>
                <a:rect l="0" t="0" r="r" b="b"/>
                <a:pathLst>
                  <a:path w="396" h="531">
                    <a:moveTo>
                      <a:pt x="394" y="401"/>
                    </a:moveTo>
                    <a:cubicBezTo>
                      <a:pt x="395" y="401"/>
                      <a:pt x="395" y="403"/>
                      <a:pt x="396" y="405"/>
                    </a:cubicBezTo>
                    <a:cubicBezTo>
                      <a:pt x="395" y="407"/>
                      <a:pt x="394" y="409"/>
                      <a:pt x="393" y="410"/>
                    </a:cubicBezTo>
                    <a:cubicBezTo>
                      <a:pt x="392" y="412"/>
                      <a:pt x="389" y="415"/>
                      <a:pt x="388" y="418"/>
                    </a:cubicBezTo>
                    <a:cubicBezTo>
                      <a:pt x="386" y="418"/>
                      <a:pt x="385" y="418"/>
                      <a:pt x="384" y="418"/>
                    </a:cubicBezTo>
                    <a:cubicBezTo>
                      <a:pt x="382" y="418"/>
                      <a:pt x="377" y="417"/>
                      <a:pt x="376" y="416"/>
                    </a:cubicBezTo>
                    <a:cubicBezTo>
                      <a:pt x="374" y="414"/>
                      <a:pt x="372" y="410"/>
                      <a:pt x="371" y="408"/>
                    </a:cubicBezTo>
                    <a:cubicBezTo>
                      <a:pt x="370" y="407"/>
                      <a:pt x="367" y="406"/>
                      <a:pt x="366" y="405"/>
                    </a:cubicBezTo>
                    <a:cubicBezTo>
                      <a:pt x="363" y="404"/>
                      <a:pt x="358" y="404"/>
                      <a:pt x="356" y="404"/>
                    </a:cubicBezTo>
                    <a:cubicBezTo>
                      <a:pt x="354" y="405"/>
                      <a:pt x="349" y="405"/>
                      <a:pt x="348" y="407"/>
                    </a:cubicBezTo>
                    <a:cubicBezTo>
                      <a:pt x="346" y="408"/>
                      <a:pt x="346" y="413"/>
                      <a:pt x="345" y="415"/>
                    </a:cubicBezTo>
                    <a:cubicBezTo>
                      <a:pt x="344" y="419"/>
                      <a:pt x="341" y="426"/>
                      <a:pt x="338" y="428"/>
                    </a:cubicBezTo>
                    <a:cubicBezTo>
                      <a:pt x="336" y="430"/>
                      <a:pt x="330" y="430"/>
                      <a:pt x="327" y="430"/>
                    </a:cubicBezTo>
                    <a:cubicBezTo>
                      <a:pt x="326" y="431"/>
                      <a:pt x="323" y="432"/>
                      <a:pt x="321" y="431"/>
                    </a:cubicBezTo>
                    <a:cubicBezTo>
                      <a:pt x="320" y="430"/>
                      <a:pt x="321" y="425"/>
                      <a:pt x="319" y="423"/>
                    </a:cubicBezTo>
                    <a:cubicBezTo>
                      <a:pt x="318" y="422"/>
                      <a:pt x="315" y="422"/>
                      <a:pt x="314" y="421"/>
                    </a:cubicBezTo>
                    <a:cubicBezTo>
                      <a:pt x="311" y="421"/>
                      <a:pt x="306" y="422"/>
                      <a:pt x="303" y="423"/>
                    </a:cubicBezTo>
                    <a:cubicBezTo>
                      <a:pt x="302" y="423"/>
                      <a:pt x="299" y="425"/>
                      <a:pt x="298" y="426"/>
                    </a:cubicBezTo>
                    <a:cubicBezTo>
                      <a:pt x="296" y="427"/>
                      <a:pt x="295" y="431"/>
                      <a:pt x="293" y="432"/>
                    </a:cubicBezTo>
                    <a:cubicBezTo>
                      <a:pt x="290" y="434"/>
                      <a:pt x="283" y="434"/>
                      <a:pt x="279" y="435"/>
                    </a:cubicBezTo>
                    <a:cubicBezTo>
                      <a:pt x="277" y="435"/>
                      <a:pt x="273" y="433"/>
                      <a:pt x="271" y="434"/>
                    </a:cubicBezTo>
                    <a:cubicBezTo>
                      <a:pt x="269" y="435"/>
                      <a:pt x="267" y="438"/>
                      <a:pt x="266" y="440"/>
                    </a:cubicBezTo>
                    <a:cubicBezTo>
                      <a:pt x="265" y="441"/>
                      <a:pt x="264" y="445"/>
                      <a:pt x="263" y="446"/>
                    </a:cubicBezTo>
                    <a:cubicBezTo>
                      <a:pt x="262" y="447"/>
                      <a:pt x="261" y="450"/>
                      <a:pt x="259" y="451"/>
                    </a:cubicBezTo>
                    <a:cubicBezTo>
                      <a:pt x="257" y="451"/>
                      <a:pt x="253" y="450"/>
                      <a:pt x="251" y="448"/>
                    </a:cubicBezTo>
                    <a:cubicBezTo>
                      <a:pt x="249" y="447"/>
                      <a:pt x="248" y="441"/>
                      <a:pt x="246" y="439"/>
                    </a:cubicBezTo>
                    <a:cubicBezTo>
                      <a:pt x="246" y="438"/>
                      <a:pt x="243" y="437"/>
                      <a:pt x="242" y="437"/>
                    </a:cubicBezTo>
                    <a:cubicBezTo>
                      <a:pt x="240" y="437"/>
                      <a:pt x="238" y="440"/>
                      <a:pt x="237" y="441"/>
                    </a:cubicBezTo>
                    <a:cubicBezTo>
                      <a:pt x="235" y="444"/>
                      <a:pt x="234" y="452"/>
                      <a:pt x="233" y="455"/>
                    </a:cubicBezTo>
                    <a:cubicBezTo>
                      <a:pt x="232" y="459"/>
                      <a:pt x="229" y="466"/>
                      <a:pt x="227" y="469"/>
                    </a:cubicBezTo>
                    <a:cubicBezTo>
                      <a:pt x="225" y="471"/>
                      <a:pt x="219" y="475"/>
                      <a:pt x="217" y="477"/>
                    </a:cubicBezTo>
                    <a:cubicBezTo>
                      <a:pt x="216" y="478"/>
                      <a:pt x="215" y="480"/>
                      <a:pt x="215" y="482"/>
                    </a:cubicBezTo>
                    <a:cubicBezTo>
                      <a:pt x="215" y="483"/>
                      <a:pt x="216" y="485"/>
                      <a:pt x="217" y="486"/>
                    </a:cubicBezTo>
                    <a:cubicBezTo>
                      <a:pt x="217" y="487"/>
                      <a:pt x="218" y="490"/>
                      <a:pt x="218" y="491"/>
                    </a:cubicBezTo>
                    <a:cubicBezTo>
                      <a:pt x="218" y="493"/>
                      <a:pt x="215" y="496"/>
                      <a:pt x="215" y="498"/>
                    </a:cubicBezTo>
                    <a:cubicBezTo>
                      <a:pt x="215" y="499"/>
                      <a:pt x="215" y="502"/>
                      <a:pt x="215" y="503"/>
                    </a:cubicBezTo>
                    <a:cubicBezTo>
                      <a:pt x="216" y="505"/>
                      <a:pt x="216" y="509"/>
                      <a:pt x="215" y="511"/>
                    </a:cubicBezTo>
                    <a:cubicBezTo>
                      <a:pt x="214" y="513"/>
                      <a:pt x="210" y="513"/>
                      <a:pt x="209" y="514"/>
                    </a:cubicBezTo>
                    <a:cubicBezTo>
                      <a:pt x="207" y="516"/>
                      <a:pt x="203" y="518"/>
                      <a:pt x="201" y="520"/>
                    </a:cubicBezTo>
                    <a:cubicBezTo>
                      <a:pt x="200" y="521"/>
                      <a:pt x="200" y="524"/>
                      <a:pt x="199" y="525"/>
                    </a:cubicBezTo>
                    <a:cubicBezTo>
                      <a:pt x="197" y="526"/>
                      <a:pt x="193" y="526"/>
                      <a:pt x="191" y="526"/>
                    </a:cubicBezTo>
                    <a:cubicBezTo>
                      <a:pt x="189" y="526"/>
                      <a:pt x="185" y="524"/>
                      <a:pt x="182" y="524"/>
                    </a:cubicBezTo>
                    <a:cubicBezTo>
                      <a:pt x="181" y="524"/>
                      <a:pt x="178" y="524"/>
                      <a:pt x="177" y="524"/>
                    </a:cubicBezTo>
                    <a:cubicBezTo>
                      <a:pt x="175" y="523"/>
                      <a:pt x="173" y="519"/>
                      <a:pt x="171" y="519"/>
                    </a:cubicBezTo>
                    <a:cubicBezTo>
                      <a:pt x="169" y="519"/>
                      <a:pt x="166" y="522"/>
                      <a:pt x="165" y="523"/>
                    </a:cubicBezTo>
                    <a:cubicBezTo>
                      <a:pt x="164" y="525"/>
                      <a:pt x="164" y="528"/>
                      <a:pt x="163" y="529"/>
                    </a:cubicBezTo>
                    <a:cubicBezTo>
                      <a:pt x="161" y="530"/>
                      <a:pt x="158" y="531"/>
                      <a:pt x="157" y="530"/>
                    </a:cubicBezTo>
                    <a:cubicBezTo>
                      <a:pt x="156" y="530"/>
                      <a:pt x="155" y="529"/>
                      <a:pt x="154" y="528"/>
                    </a:cubicBezTo>
                    <a:cubicBezTo>
                      <a:pt x="156" y="527"/>
                      <a:pt x="159" y="525"/>
                      <a:pt x="159" y="524"/>
                    </a:cubicBezTo>
                    <a:cubicBezTo>
                      <a:pt x="160" y="522"/>
                      <a:pt x="160" y="518"/>
                      <a:pt x="160" y="516"/>
                    </a:cubicBezTo>
                    <a:cubicBezTo>
                      <a:pt x="159" y="514"/>
                      <a:pt x="156" y="512"/>
                      <a:pt x="155" y="511"/>
                    </a:cubicBezTo>
                    <a:cubicBezTo>
                      <a:pt x="154" y="510"/>
                      <a:pt x="152" y="507"/>
                      <a:pt x="152" y="506"/>
                    </a:cubicBezTo>
                    <a:cubicBezTo>
                      <a:pt x="153" y="504"/>
                      <a:pt x="155" y="502"/>
                      <a:pt x="155" y="500"/>
                    </a:cubicBezTo>
                    <a:cubicBezTo>
                      <a:pt x="155" y="499"/>
                      <a:pt x="154" y="498"/>
                      <a:pt x="153" y="498"/>
                    </a:cubicBezTo>
                    <a:cubicBezTo>
                      <a:pt x="152" y="497"/>
                      <a:pt x="150" y="496"/>
                      <a:pt x="149" y="497"/>
                    </a:cubicBezTo>
                    <a:cubicBezTo>
                      <a:pt x="148" y="497"/>
                      <a:pt x="148" y="501"/>
                      <a:pt x="147" y="502"/>
                    </a:cubicBezTo>
                    <a:cubicBezTo>
                      <a:pt x="144" y="503"/>
                      <a:pt x="139" y="501"/>
                      <a:pt x="137" y="501"/>
                    </a:cubicBezTo>
                    <a:cubicBezTo>
                      <a:pt x="134" y="501"/>
                      <a:pt x="130" y="503"/>
                      <a:pt x="127" y="505"/>
                    </a:cubicBezTo>
                    <a:cubicBezTo>
                      <a:pt x="126" y="506"/>
                      <a:pt x="124" y="509"/>
                      <a:pt x="122" y="509"/>
                    </a:cubicBezTo>
                    <a:cubicBezTo>
                      <a:pt x="121" y="509"/>
                      <a:pt x="118" y="507"/>
                      <a:pt x="116" y="507"/>
                    </a:cubicBezTo>
                    <a:cubicBezTo>
                      <a:pt x="115" y="506"/>
                      <a:pt x="111" y="507"/>
                      <a:pt x="110" y="507"/>
                    </a:cubicBezTo>
                    <a:cubicBezTo>
                      <a:pt x="108" y="507"/>
                      <a:pt x="105" y="509"/>
                      <a:pt x="104" y="509"/>
                    </a:cubicBezTo>
                    <a:cubicBezTo>
                      <a:pt x="102" y="508"/>
                      <a:pt x="100" y="505"/>
                      <a:pt x="98" y="505"/>
                    </a:cubicBezTo>
                    <a:cubicBezTo>
                      <a:pt x="96" y="504"/>
                      <a:pt x="93" y="504"/>
                      <a:pt x="91" y="503"/>
                    </a:cubicBezTo>
                    <a:cubicBezTo>
                      <a:pt x="90" y="502"/>
                      <a:pt x="88" y="499"/>
                      <a:pt x="87" y="498"/>
                    </a:cubicBezTo>
                    <a:cubicBezTo>
                      <a:pt x="85" y="497"/>
                      <a:pt x="82" y="497"/>
                      <a:pt x="80" y="496"/>
                    </a:cubicBezTo>
                    <a:cubicBezTo>
                      <a:pt x="79" y="495"/>
                      <a:pt x="77" y="494"/>
                      <a:pt x="76" y="493"/>
                    </a:cubicBezTo>
                    <a:cubicBezTo>
                      <a:pt x="76" y="492"/>
                      <a:pt x="75" y="490"/>
                      <a:pt x="74" y="489"/>
                    </a:cubicBezTo>
                    <a:cubicBezTo>
                      <a:pt x="74" y="489"/>
                      <a:pt x="72" y="487"/>
                      <a:pt x="71" y="487"/>
                    </a:cubicBezTo>
                    <a:cubicBezTo>
                      <a:pt x="71" y="488"/>
                      <a:pt x="70" y="489"/>
                      <a:pt x="70" y="489"/>
                    </a:cubicBezTo>
                    <a:cubicBezTo>
                      <a:pt x="68" y="489"/>
                      <a:pt x="65" y="486"/>
                      <a:pt x="64" y="485"/>
                    </a:cubicBezTo>
                    <a:cubicBezTo>
                      <a:pt x="62" y="484"/>
                      <a:pt x="60" y="483"/>
                      <a:pt x="58" y="483"/>
                    </a:cubicBezTo>
                    <a:cubicBezTo>
                      <a:pt x="57" y="482"/>
                      <a:pt x="53" y="484"/>
                      <a:pt x="51" y="484"/>
                    </a:cubicBezTo>
                    <a:cubicBezTo>
                      <a:pt x="50" y="484"/>
                      <a:pt x="49" y="481"/>
                      <a:pt x="48" y="480"/>
                    </a:cubicBezTo>
                    <a:cubicBezTo>
                      <a:pt x="47" y="479"/>
                      <a:pt x="48" y="475"/>
                      <a:pt x="48" y="473"/>
                    </a:cubicBezTo>
                    <a:cubicBezTo>
                      <a:pt x="48" y="472"/>
                      <a:pt x="48" y="471"/>
                      <a:pt x="48" y="470"/>
                    </a:cubicBezTo>
                    <a:cubicBezTo>
                      <a:pt x="48" y="468"/>
                      <a:pt x="45" y="465"/>
                      <a:pt x="44" y="464"/>
                    </a:cubicBezTo>
                    <a:cubicBezTo>
                      <a:pt x="42" y="463"/>
                      <a:pt x="38" y="463"/>
                      <a:pt x="37" y="462"/>
                    </a:cubicBezTo>
                    <a:cubicBezTo>
                      <a:pt x="35" y="460"/>
                      <a:pt x="34" y="454"/>
                      <a:pt x="34" y="452"/>
                    </a:cubicBezTo>
                    <a:cubicBezTo>
                      <a:pt x="33" y="450"/>
                      <a:pt x="33" y="446"/>
                      <a:pt x="34" y="444"/>
                    </a:cubicBezTo>
                    <a:cubicBezTo>
                      <a:pt x="34" y="442"/>
                      <a:pt x="34" y="440"/>
                      <a:pt x="35" y="439"/>
                    </a:cubicBezTo>
                    <a:cubicBezTo>
                      <a:pt x="36" y="438"/>
                      <a:pt x="38" y="437"/>
                      <a:pt x="39" y="436"/>
                    </a:cubicBezTo>
                    <a:cubicBezTo>
                      <a:pt x="39" y="435"/>
                      <a:pt x="39" y="434"/>
                      <a:pt x="39" y="433"/>
                    </a:cubicBezTo>
                    <a:cubicBezTo>
                      <a:pt x="39" y="432"/>
                      <a:pt x="35" y="430"/>
                      <a:pt x="34" y="429"/>
                    </a:cubicBezTo>
                    <a:cubicBezTo>
                      <a:pt x="33" y="428"/>
                      <a:pt x="31" y="425"/>
                      <a:pt x="31" y="424"/>
                    </a:cubicBezTo>
                    <a:cubicBezTo>
                      <a:pt x="30" y="422"/>
                      <a:pt x="31" y="417"/>
                      <a:pt x="31" y="415"/>
                    </a:cubicBezTo>
                    <a:cubicBezTo>
                      <a:pt x="32" y="413"/>
                      <a:pt x="33" y="411"/>
                      <a:pt x="34" y="410"/>
                    </a:cubicBezTo>
                    <a:cubicBezTo>
                      <a:pt x="35" y="409"/>
                      <a:pt x="37" y="408"/>
                      <a:pt x="38" y="407"/>
                    </a:cubicBezTo>
                    <a:cubicBezTo>
                      <a:pt x="40" y="405"/>
                      <a:pt x="42" y="401"/>
                      <a:pt x="44" y="399"/>
                    </a:cubicBezTo>
                    <a:cubicBezTo>
                      <a:pt x="45" y="398"/>
                      <a:pt x="47" y="395"/>
                      <a:pt x="47" y="393"/>
                    </a:cubicBezTo>
                    <a:cubicBezTo>
                      <a:pt x="48" y="391"/>
                      <a:pt x="45" y="388"/>
                      <a:pt x="46" y="386"/>
                    </a:cubicBezTo>
                    <a:cubicBezTo>
                      <a:pt x="46" y="384"/>
                      <a:pt x="48" y="382"/>
                      <a:pt x="49" y="381"/>
                    </a:cubicBezTo>
                    <a:cubicBezTo>
                      <a:pt x="50" y="381"/>
                      <a:pt x="53" y="379"/>
                      <a:pt x="55" y="380"/>
                    </a:cubicBezTo>
                    <a:cubicBezTo>
                      <a:pt x="56" y="380"/>
                      <a:pt x="57" y="382"/>
                      <a:pt x="58" y="383"/>
                    </a:cubicBezTo>
                    <a:cubicBezTo>
                      <a:pt x="60" y="384"/>
                      <a:pt x="63" y="385"/>
                      <a:pt x="64" y="384"/>
                    </a:cubicBezTo>
                    <a:cubicBezTo>
                      <a:pt x="65" y="382"/>
                      <a:pt x="62" y="377"/>
                      <a:pt x="62" y="375"/>
                    </a:cubicBezTo>
                    <a:cubicBezTo>
                      <a:pt x="61" y="373"/>
                      <a:pt x="57" y="369"/>
                      <a:pt x="57" y="366"/>
                    </a:cubicBezTo>
                    <a:cubicBezTo>
                      <a:pt x="56" y="365"/>
                      <a:pt x="56" y="361"/>
                      <a:pt x="57" y="359"/>
                    </a:cubicBezTo>
                    <a:cubicBezTo>
                      <a:pt x="57" y="357"/>
                      <a:pt x="58" y="353"/>
                      <a:pt x="57" y="352"/>
                    </a:cubicBezTo>
                    <a:cubicBezTo>
                      <a:pt x="57" y="350"/>
                      <a:pt x="53" y="348"/>
                      <a:pt x="51" y="346"/>
                    </a:cubicBezTo>
                    <a:cubicBezTo>
                      <a:pt x="50" y="345"/>
                      <a:pt x="49" y="343"/>
                      <a:pt x="48" y="342"/>
                    </a:cubicBezTo>
                    <a:cubicBezTo>
                      <a:pt x="47" y="342"/>
                      <a:pt x="45" y="342"/>
                      <a:pt x="44" y="342"/>
                    </a:cubicBezTo>
                    <a:cubicBezTo>
                      <a:pt x="43" y="343"/>
                      <a:pt x="42" y="345"/>
                      <a:pt x="41" y="346"/>
                    </a:cubicBezTo>
                    <a:cubicBezTo>
                      <a:pt x="40" y="347"/>
                      <a:pt x="38" y="347"/>
                      <a:pt x="37" y="347"/>
                    </a:cubicBezTo>
                    <a:cubicBezTo>
                      <a:pt x="35" y="346"/>
                      <a:pt x="35" y="343"/>
                      <a:pt x="34" y="343"/>
                    </a:cubicBezTo>
                    <a:cubicBezTo>
                      <a:pt x="32" y="342"/>
                      <a:pt x="29" y="342"/>
                      <a:pt x="27" y="341"/>
                    </a:cubicBezTo>
                    <a:cubicBezTo>
                      <a:pt x="25" y="341"/>
                      <a:pt x="23" y="338"/>
                      <a:pt x="22" y="337"/>
                    </a:cubicBezTo>
                    <a:cubicBezTo>
                      <a:pt x="21" y="336"/>
                      <a:pt x="19" y="334"/>
                      <a:pt x="18" y="333"/>
                    </a:cubicBezTo>
                    <a:cubicBezTo>
                      <a:pt x="18" y="331"/>
                      <a:pt x="18" y="328"/>
                      <a:pt x="18" y="327"/>
                    </a:cubicBezTo>
                    <a:cubicBezTo>
                      <a:pt x="18" y="326"/>
                      <a:pt x="19" y="324"/>
                      <a:pt x="19" y="323"/>
                    </a:cubicBezTo>
                    <a:cubicBezTo>
                      <a:pt x="20" y="322"/>
                      <a:pt x="18" y="319"/>
                      <a:pt x="18" y="318"/>
                    </a:cubicBezTo>
                    <a:cubicBezTo>
                      <a:pt x="18" y="317"/>
                      <a:pt x="17" y="314"/>
                      <a:pt x="17" y="313"/>
                    </a:cubicBezTo>
                    <a:cubicBezTo>
                      <a:pt x="17" y="312"/>
                      <a:pt x="18" y="310"/>
                      <a:pt x="17" y="309"/>
                    </a:cubicBezTo>
                    <a:cubicBezTo>
                      <a:pt x="17" y="309"/>
                      <a:pt x="15" y="307"/>
                      <a:pt x="15" y="307"/>
                    </a:cubicBezTo>
                    <a:cubicBezTo>
                      <a:pt x="13" y="307"/>
                      <a:pt x="11" y="308"/>
                      <a:pt x="10" y="308"/>
                    </a:cubicBezTo>
                    <a:cubicBezTo>
                      <a:pt x="9" y="307"/>
                      <a:pt x="6" y="307"/>
                      <a:pt x="6" y="306"/>
                    </a:cubicBezTo>
                    <a:cubicBezTo>
                      <a:pt x="5" y="304"/>
                      <a:pt x="5" y="301"/>
                      <a:pt x="5" y="300"/>
                    </a:cubicBezTo>
                    <a:cubicBezTo>
                      <a:pt x="4" y="298"/>
                      <a:pt x="2" y="296"/>
                      <a:pt x="1" y="295"/>
                    </a:cubicBezTo>
                    <a:cubicBezTo>
                      <a:pt x="1" y="294"/>
                      <a:pt x="0" y="291"/>
                      <a:pt x="0" y="290"/>
                    </a:cubicBezTo>
                    <a:cubicBezTo>
                      <a:pt x="0" y="288"/>
                      <a:pt x="3" y="284"/>
                      <a:pt x="4" y="283"/>
                    </a:cubicBezTo>
                    <a:cubicBezTo>
                      <a:pt x="5" y="282"/>
                      <a:pt x="8" y="281"/>
                      <a:pt x="9" y="281"/>
                    </a:cubicBezTo>
                    <a:cubicBezTo>
                      <a:pt x="11" y="280"/>
                      <a:pt x="14" y="283"/>
                      <a:pt x="15" y="283"/>
                    </a:cubicBezTo>
                    <a:cubicBezTo>
                      <a:pt x="16" y="282"/>
                      <a:pt x="17" y="282"/>
                      <a:pt x="18" y="281"/>
                    </a:cubicBezTo>
                    <a:cubicBezTo>
                      <a:pt x="19" y="281"/>
                      <a:pt x="20" y="279"/>
                      <a:pt x="21" y="278"/>
                    </a:cubicBezTo>
                    <a:cubicBezTo>
                      <a:pt x="22" y="278"/>
                      <a:pt x="25" y="279"/>
                      <a:pt x="26" y="279"/>
                    </a:cubicBezTo>
                    <a:cubicBezTo>
                      <a:pt x="27" y="280"/>
                      <a:pt x="28" y="283"/>
                      <a:pt x="29" y="284"/>
                    </a:cubicBezTo>
                    <a:cubicBezTo>
                      <a:pt x="30" y="284"/>
                      <a:pt x="33" y="283"/>
                      <a:pt x="34" y="283"/>
                    </a:cubicBezTo>
                    <a:cubicBezTo>
                      <a:pt x="35" y="282"/>
                      <a:pt x="37" y="281"/>
                      <a:pt x="38" y="280"/>
                    </a:cubicBezTo>
                    <a:cubicBezTo>
                      <a:pt x="39" y="280"/>
                      <a:pt x="39" y="278"/>
                      <a:pt x="39" y="277"/>
                    </a:cubicBezTo>
                    <a:cubicBezTo>
                      <a:pt x="41" y="276"/>
                      <a:pt x="44" y="278"/>
                      <a:pt x="45" y="277"/>
                    </a:cubicBezTo>
                    <a:cubicBezTo>
                      <a:pt x="47" y="277"/>
                      <a:pt x="49" y="276"/>
                      <a:pt x="50" y="275"/>
                    </a:cubicBezTo>
                    <a:cubicBezTo>
                      <a:pt x="50" y="273"/>
                      <a:pt x="47" y="270"/>
                      <a:pt x="48" y="269"/>
                    </a:cubicBezTo>
                    <a:cubicBezTo>
                      <a:pt x="49" y="267"/>
                      <a:pt x="52" y="266"/>
                      <a:pt x="53" y="265"/>
                    </a:cubicBezTo>
                    <a:cubicBezTo>
                      <a:pt x="55" y="265"/>
                      <a:pt x="60" y="264"/>
                      <a:pt x="62" y="264"/>
                    </a:cubicBezTo>
                    <a:cubicBezTo>
                      <a:pt x="64" y="264"/>
                      <a:pt x="66" y="265"/>
                      <a:pt x="67" y="265"/>
                    </a:cubicBezTo>
                    <a:cubicBezTo>
                      <a:pt x="68" y="265"/>
                      <a:pt x="71" y="265"/>
                      <a:pt x="71" y="265"/>
                    </a:cubicBezTo>
                    <a:cubicBezTo>
                      <a:pt x="72" y="264"/>
                      <a:pt x="72" y="263"/>
                      <a:pt x="73" y="262"/>
                    </a:cubicBezTo>
                    <a:cubicBezTo>
                      <a:pt x="73" y="261"/>
                      <a:pt x="77" y="261"/>
                      <a:pt x="77" y="260"/>
                    </a:cubicBezTo>
                    <a:cubicBezTo>
                      <a:pt x="78" y="258"/>
                      <a:pt x="78" y="254"/>
                      <a:pt x="77" y="253"/>
                    </a:cubicBezTo>
                    <a:cubicBezTo>
                      <a:pt x="77" y="251"/>
                      <a:pt x="74" y="248"/>
                      <a:pt x="73" y="247"/>
                    </a:cubicBezTo>
                    <a:cubicBezTo>
                      <a:pt x="73" y="245"/>
                      <a:pt x="71" y="242"/>
                      <a:pt x="72" y="241"/>
                    </a:cubicBezTo>
                    <a:cubicBezTo>
                      <a:pt x="72" y="239"/>
                      <a:pt x="75" y="237"/>
                      <a:pt x="77" y="236"/>
                    </a:cubicBezTo>
                    <a:cubicBezTo>
                      <a:pt x="78" y="235"/>
                      <a:pt x="80" y="236"/>
                      <a:pt x="81" y="236"/>
                    </a:cubicBezTo>
                    <a:cubicBezTo>
                      <a:pt x="82" y="235"/>
                      <a:pt x="85" y="235"/>
                      <a:pt x="86" y="234"/>
                    </a:cubicBezTo>
                    <a:cubicBezTo>
                      <a:pt x="87" y="233"/>
                      <a:pt x="86" y="229"/>
                      <a:pt x="85" y="228"/>
                    </a:cubicBezTo>
                    <a:cubicBezTo>
                      <a:pt x="85" y="227"/>
                      <a:pt x="83" y="225"/>
                      <a:pt x="83" y="224"/>
                    </a:cubicBezTo>
                    <a:cubicBezTo>
                      <a:pt x="83" y="223"/>
                      <a:pt x="82" y="222"/>
                      <a:pt x="82" y="221"/>
                    </a:cubicBezTo>
                    <a:cubicBezTo>
                      <a:pt x="83" y="221"/>
                      <a:pt x="85" y="221"/>
                      <a:pt x="86" y="221"/>
                    </a:cubicBezTo>
                    <a:cubicBezTo>
                      <a:pt x="87" y="222"/>
                      <a:pt x="89" y="224"/>
                      <a:pt x="91" y="224"/>
                    </a:cubicBezTo>
                    <a:cubicBezTo>
                      <a:pt x="92" y="224"/>
                      <a:pt x="95" y="222"/>
                      <a:pt x="96" y="221"/>
                    </a:cubicBezTo>
                    <a:cubicBezTo>
                      <a:pt x="96" y="220"/>
                      <a:pt x="97" y="218"/>
                      <a:pt x="98" y="218"/>
                    </a:cubicBezTo>
                    <a:cubicBezTo>
                      <a:pt x="100" y="216"/>
                      <a:pt x="104" y="213"/>
                      <a:pt x="106" y="212"/>
                    </a:cubicBezTo>
                    <a:cubicBezTo>
                      <a:pt x="108" y="212"/>
                      <a:pt x="111" y="213"/>
                      <a:pt x="113" y="212"/>
                    </a:cubicBezTo>
                    <a:cubicBezTo>
                      <a:pt x="115" y="211"/>
                      <a:pt x="118" y="209"/>
                      <a:pt x="120" y="207"/>
                    </a:cubicBezTo>
                    <a:cubicBezTo>
                      <a:pt x="121" y="206"/>
                      <a:pt x="123" y="203"/>
                      <a:pt x="124" y="202"/>
                    </a:cubicBezTo>
                    <a:cubicBezTo>
                      <a:pt x="125" y="201"/>
                      <a:pt x="127" y="198"/>
                      <a:pt x="128" y="198"/>
                    </a:cubicBezTo>
                    <a:cubicBezTo>
                      <a:pt x="129" y="197"/>
                      <a:pt x="133" y="197"/>
                      <a:pt x="135" y="197"/>
                    </a:cubicBezTo>
                    <a:cubicBezTo>
                      <a:pt x="136" y="197"/>
                      <a:pt x="139" y="199"/>
                      <a:pt x="141" y="199"/>
                    </a:cubicBezTo>
                    <a:cubicBezTo>
                      <a:pt x="144" y="200"/>
                      <a:pt x="149" y="199"/>
                      <a:pt x="151" y="199"/>
                    </a:cubicBezTo>
                    <a:cubicBezTo>
                      <a:pt x="153" y="199"/>
                      <a:pt x="156" y="201"/>
                      <a:pt x="158" y="201"/>
                    </a:cubicBezTo>
                    <a:cubicBezTo>
                      <a:pt x="159" y="201"/>
                      <a:pt x="163" y="202"/>
                      <a:pt x="165" y="202"/>
                    </a:cubicBezTo>
                    <a:cubicBezTo>
                      <a:pt x="167" y="201"/>
                      <a:pt x="170" y="199"/>
                      <a:pt x="171" y="198"/>
                    </a:cubicBezTo>
                    <a:cubicBezTo>
                      <a:pt x="172" y="197"/>
                      <a:pt x="174" y="192"/>
                      <a:pt x="176" y="191"/>
                    </a:cubicBezTo>
                    <a:cubicBezTo>
                      <a:pt x="178" y="190"/>
                      <a:pt x="181" y="192"/>
                      <a:pt x="183" y="191"/>
                    </a:cubicBezTo>
                    <a:cubicBezTo>
                      <a:pt x="185" y="191"/>
                      <a:pt x="189" y="189"/>
                      <a:pt x="190" y="188"/>
                    </a:cubicBezTo>
                    <a:cubicBezTo>
                      <a:pt x="191" y="187"/>
                      <a:pt x="190" y="183"/>
                      <a:pt x="190" y="182"/>
                    </a:cubicBezTo>
                    <a:cubicBezTo>
                      <a:pt x="189" y="181"/>
                      <a:pt x="187" y="179"/>
                      <a:pt x="186" y="178"/>
                    </a:cubicBezTo>
                    <a:cubicBezTo>
                      <a:pt x="186" y="177"/>
                      <a:pt x="185" y="176"/>
                      <a:pt x="185" y="175"/>
                    </a:cubicBezTo>
                    <a:cubicBezTo>
                      <a:pt x="186" y="174"/>
                      <a:pt x="189" y="173"/>
                      <a:pt x="189" y="172"/>
                    </a:cubicBezTo>
                    <a:cubicBezTo>
                      <a:pt x="190" y="170"/>
                      <a:pt x="189" y="168"/>
                      <a:pt x="189" y="167"/>
                    </a:cubicBezTo>
                    <a:cubicBezTo>
                      <a:pt x="188" y="165"/>
                      <a:pt x="183" y="162"/>
                      <a:pt x="182" y="160"/>
                    </a:cubicBezTo>
                    <a:cubicBezTo>
                      <a:pt x="180" y="159"/>
                      <a:pt x="177" y="156"/>
                      <a:pt x="176" y="154"/>
                    </a:cubicBezTo>
                    <a:cubicBezTo>
                      <a:pt x="176" y="152"/>
                      <a:pt x="177" y="148"/>
                      <a:pt x="178" y="146"/>
                    </a:cubicBezTo>
                    <a:cubicBezTo>
                      <a:pt x="179" y="144"/>
                      <a:pt x="183" y="141"/>
                      <a:pt x="183" y="139"/>
                    </a:cubicBezTo>
                    <a:cubicBezTo>
                      <a:pt x="183" y="137"/>
                      <a:pt x="180" y="135"/>
                      <a:pt x="179" y="134"/>
                    </a:cubicBezTo>
                    <a:cubicBezTo>
                      <a:pt x="178" y="132"/>
                      <a:pt x="176" y="129"/>
                      <a:pt x="175" y="127"/>
                    </a:cubicBezTo>
                    <a:cubicBezTo>
                      <a:pt x="175" y="126"/>
                      <a:pt x="175" y="123"/>
                      <a:pt x="175" y="121"/>
                    </a:cubicBezTo>
                    <a:cubicBezTo>
                      <a:pt x="175" y="120"/>
                      <a:pt x="175" y="118"/>
                      <a:pt x="175" y="116"/>
                    </a:cubicBezTo>
                    <a:cubicBezTo>
                      <a:pt x="177" y="116"/>
                      <a:pt x="178" y="116"/>
                      <a:pt x="179" y="116"/>
                    </a:cubicBezTo>
                    <a:cubicBezTo>
                      <a:pt x="180" y="116"/>
                      <a:pt x="182" y="116"/>
                      <a:pt x="183" y="117"/>
                    </a:cubicBezTo>
                    <a:cubicBezTo>
                      <a:pt x="184" y="117"/>
                      <a:pt x="187" y="118"/>
                      <a:pt x="188" y="118"/>
                    </a:cubicBezTo>
                    <a:cubicBezTo>
                      <a:pt x="189" y="118"/>
                      <a:pt x="191" y="116"/>
                      <a:pt x="192" y="116"/>
                    </a:cubicBezTo>
                    <a:cubicBezTo>
                      <a:pt x="193" y="114"/>
                      <a:pt x="192" y="110"/>
                      <a:pt x="192" y="108"/>
                    </a:cubicBezTo>
                    <a:cubicBezTo>
                      <a:pt x="193" y="106"/>
                      <a:pt x="196" y="102"/>
                      <a:pt x="198" y="101"/>
                    </a:cubicBezTo>
                    <a:cubicBezTo>
                      <a:pt x="200" y="99"/>
                      <a:pt x="206" y="100"/>
                      <a:pt x="209" y="98"/>
                    </a:cubicBezTo>
                    <a:cubicBezTo>
                      <a:pt x="210" y="98"/>
                      <a:pt x="214" y="95"/>
                      <a:pt x="215" y="93"/>
                    </a:cubicBezTo>
                    <a:cubicBezTo>
                      <a:pt x="216" y="91"/>
                      <a:pt x="215" y="84"/>
                      <a:pt x="216" y="81"/>
                    </a:cubicBezTo>
                    <a:cubicBezTo>
                      <a:pt x="217" y="79"/>
                      <a:pt x="220" y="75"/>
                      <a:pt x="222" y="74"/>
                    </a:cubicBezTo>
                    <a:cubicBezTo>
                      <a:pt x="224" y="74"/>
                      <a:pt x="227" y="75"/>
                      <a:pt x="229" y="74"/>
                    </a:cubicBezTo>
                    <a:cubicBezTo>
                      <a:pt x="229" y="73"/>
                      <a:pt x="229" y="70"/>
                      <a:pt x="230" y="69"/>
                    </a:cubicBezTo>
                    <a:cubicBezTo>
                      <a:pt x="231" y="69"/>
                      <a:pt x="234" y="69"/>
                      <a:pt x="235" y="68"/>
                    </a:cubicBezTo>
                    <a:cubicBezTo>
                      <a:pt x="236" y="67"/>
                      <a:pt x="238" y="63"/>
                      <a:pt x="238" y="62"/>
                    </a:cubicBezTo>
                    <a:cubicBezTo>
                      <a:pt x="238" y="60"/>
                      <a:pt x="236" y="58"/>
                      <a:pt x="235" y="56"/>
                    </a:cubicBezTo>
                    <a:cubicBezTo>
                      <a:pt x="235" y="54"/>
                      <a:pt x="235" y="50"/>
                      <a:pt x="234" y="49"/>
                    </a:cubicBezTo>
                    <a:cubicBezTo>
                      <a:pt x="233" y="48"/>
                      <a:pt x="232" y="48"/>
                      <a:pt x="231" y="47"/>
                    </a:cubicBezTo>
                    <a:cubicBezTo>
                      <a:pt x="230" y="46"/>
                      <a:pt x="228" y="44"/>
                      <a:pt x="228" y="43"/>
                    </a:cubicBezTo>
                    <a:cubicBezTo>
                      <a:pt x="228" y="42"/>
                      <a:pt x="228" y="40"/>
                      <a:pt x="228" y="40"/>
                    </a:cubicBezTo>
                    <a:cubicBezTo>
                      <a:pt x="229" y="38"/>
                      <a:pt x="233" y="38"/>
                      <a:pt x="234" y="36"/>
                    </a:cubicBezTo>
                    <a:cubicBezTo>
                      <a:pt x="234" y="36"/>
                      <a:pt x="234" y="34"/>
                      <a:pt x="234" y="34"/>
                    </a:cubicBezTo>
                    <a:cubicBezTo>
                      <a:pt x="236" y="33"/>
                      <a:pt x="240" y="35"/>
                      <a:pt x="241" y="34"/>
                    </a:cubicBezTo>
                    <a:cubicBezTo>
                      <a:pt x="243" y="34"/>
                      <a:pt x="245" y="32"/>
                      <a:pt x="246" y="31"/>
                    </a:cubicBezTo>
                    <a:cubicBezTo>
                      <a:pt x="246" y="30"/>
                      <a:pt x="246" y="27"/>
                      <a:pt x="247" y="26"/>
                    </a:cubicBezTo>
                    <a:cubicBezTo>
                      <a:pt x="248" y="25"/>
                      <a:pt x="251" y="27"/>
                      <a:pt x="252" y="26"/>
                    </a:cubicBezTo>
                    <a:cubicBezTo>
                      <a:pt x="253" y="25"/>
                      <a:pt x="252" y="21"/>
                      <a:pt x="254" y="20"/>
                    </a:cubicBezTo>
                    <a:cubicBezTo>
                      <a:pt x="255" y="19"/>
                      <a:pt x="259" y="21"/>
                      <a:pt x="260" y="20"/>
                    </a:cubicBezTo>
                    <a:cubicBezTo>
                      <a:pt x="261" y="19"/>
                      <a:pt x="260" y="16"/>
                      <a:pt x="260" y="15"/>
                    </a:cubicBezTo>
                    <a:cubicBezTo>
                      <a:pt x="260" y="13"/>
                      <a:pt x="258" y="10"/>
                      <a:pt x="258" y="9"/>
                    </a:cubicBezTo>
                    <a:cubicBezTo>
                      <a:pt x="259" y="7"/>
                      <a:pt x="263" y="6"/>
                      <a:pt x="264" y="6"/>
                    </a:cubicBezTo>
                    <a:cubicBezTo>
                      <a:pt x="267" y="4"/>
                      <a:pt x="271" y="1"/>
                      <a:pt x="273" y="1"/>
                    </a:cubicBezTo>
                    <a:cubicBezTo>
                      <a:pt x="275" y="0"/>
                      <a:pt x="279" y="1"/>
                      <a:pt x="281" y="2"/>
                    </a:cubicBezTo>
                    <a:cubicBezTo>
                      <a:pt x="282" y="4"/>
                      <a:pt x="282" y="8"/>
                      <a:pt x="282" y="10"/>
                    </a:cubicBezTo>
                    <a:cubicBezTo>
                      <a:pt x="282" y="11"/>
                      <a:pt x="283" y="15"/>
                      <a:pt x="283" y="16"/>
                    </a:cubicBezTo>
                    <a:cubicBezTo>
                      <a:pt x="283" y="18"/>
                      <a:pt x="282" y="20"/>
                      <a:pt x="282" y="21"/>
                    </a:cubicBezTo>
                    <a:cubicBezTo>
                      <a:pt x="281" y="23"/>
                      <a:pt x="283" y="26"/>
                      <a:pt x="282" y="28"/>
                    </a:cubicBezTo>
                    <a:cubicBezTo>
                      <a:pt x="282" y="29"/>
                      <a:pt x="279" y="31"/>
                      <a:pt x="279" y="32"/>
                    </a:cubicBezTo>
                    <a:cubicBezTo>
                      <a:pt x="278" y="34"/>
                      <a:pt x="278" y="38"/>
                      <a:pt x="278" y="40"/>
                    </a:cubicBezTo>
                    <a:cubicBezTo>
                      <a:pt x="279" y="42"/>
                      <a:pt x="280" y="45"/>
                      <a:pt x="281" y="46"/>
                    </a:cubicBezTo>
                    <a:cubicBezTo>
                      <a:pt x="283" y="48"/>
                      <a:pt x="288" y="49"/>
                      <a:pt x="289" y="51"/>
                    </a:cubicBezTo>
                    <a:cubicBezTo>
                      <a:pt x="290" y="52"/>
                      <a:pt x="291" y="56"/>
                      <a:pt x="292" y="57"/>
                    </a:cubicBezTo>
                    <a:cubicBezTo>
                      <a:pt x="293" y="58"/>
                      <a:pt x="296" y="60"/>
                      <a:pt x="297" y="61"/>
                    </a:cubicBezTo>
                    <a:cubicBezTo>
                      <a:pt x="298" y="61"/>
                      <a:pt x="300" y="63"/>
                      <a:pt x="301" y="64"/>
                    </a:cubicBezTo>
                    <a:cubicBezTo>
                      <a:pt x="302" y="65"/>
                      <a:pt x="305" y="67"/>
                      <a:pt x="306" y="68"/>
                    </a:cubicBezTo>
                    <a:cubicBezTo>
                      <a:pt x="307" y="69"/>
                      <a:pt x="308" y="72"/>
                      <a:pt x="310" y="73"/>
                    </a:cubicBezTo>
                    <a:cubicBezTo>
                      <a:pt x="310" y="73"/>
                      <a:pt x="310" y="73"/>
                      <a:pt x="310" y="73"/>
                    </a:cubicBezTo>
                    <a:cubicBezTo>
                      <a:pt x="309" y="75"/>
                      <a:pt x="307" y="77"/>
                      <a:pt x="306" y="78"/>
                    </a:cubicBezTo>
                    <a:cubicBezTo>
                      <a:pt x="305" y="79"/>
                      <a:pt x="305" y="82"/>
                      <a:pt x="305" y="83"/>
                    </a:cubicBezTo>
                    <a:cubicBezTo>
                      <a:pt x="304" y="86"/>
                      <a:pt x="307" y="91"/>
                      <a:pt x="307" y="94"/>
                    </a:cubicBezTo>
                    <a:cubicBezTo>
                      <a:pt x="307" y="97"/>
                      <a:pt x="307" y="104"/>
                      <a:pt x="306" y="106"/>
                    </a:cubicBezTo>
                    <a:cubicBezTo>
                      <a:pt x="305" y="109"/>
                      <a:pt x="300" y="113"/>
                      <a:pt x="299" y="116"/>
                    </a:cubicBezTo>
                    <a:cubicBezTo>
                      <a:pt x="298" y="118"/>
                      <a:pt x="296" y="124"/>
                      <a:pt x="294" y="126"/>
                    </a:cubicBezTo>
                    <a:cubicBezTo>
                      <a:pt x="293" y="128"/>
                      <a:pt x="290" y="132"/>
                      <a:pt x="289" y="134"/>
                    </a:cubicBezTo>
                    <a:cubicBezTo>
                      <a:pt x="287" y="137"/>
                      <a:pt x="287" y="145"/>
                      <a:pt x="286" y="149"/>
                    </a:cubicBezTo>
                    <a:cubicBezTo>
                      <a:pt x="285" y="152"/>
                      <a:pt x="282" y="159"/>
                      <a:pt x="282" y="162"/>
                    </a:cubicBezTo>
                    <a:cubicBezTo>
                      <a:pt x="282" y="163"/>
                      <a:pt x="283" y="166"/>
                      <a:pt x="284" y="167"/>
                    </a:cubicBezTo>
                    <a:cubicBezTo>
                      <a:pt x="285" y="169"/>
                      <a:pt x="290" y="171"/>
                      <a:pt x="291" y="172"/>
                    </a:cubicBezTo>
                    <a:cubicBezTo>
                      <a:pt x="293" y="173"/>
                      <a:pt x="295" y="176"/>
                      <a:pt x="296" y="177"/>
                    </a:cubicBezTo>
                    <a:cubicBezTo>
                      <a:pt x="297" y="179"/>
                      <a:pt x="297" y="183"/>
                      <a:pt x="298" y="185"/>
                    </a:cubicBezTo>
                    <a:cubicBezTo>
                      <a:pt x="299" y="187"/>
                      <a:pt x="303" y="189"/>
                      <a:pt x="304" y="191"/>
                    </a:cubicBezTo>
                    <a:cubicBezTo>
                      <a:pt x="306" y="193"/>
                      <a:pt x="307" y="198"/>
                      <a:pt x="308" y="200"/>
                    </a:cubicBezTo>
                    <a:cubicBezTo>
                      <a:pt x="309" y="204"/>
                      <a:pt x="310" y="210"/>
                      <a:pt x="311" y="213"/>
                    </a:cubicBezTo>
                    <a:cubicBezTo>
                      <a:pt x="312" y="216"/>
                      <a:pt x="315" y="221"/>
                      <a:pt x="317" y="223"/>
                    </a:cubicBezTo>
                    <a:cubicBezTo>
                      <a:pt x="318" y="225"/>
                      <a:pt x="322" y="228"/>
                      <a:pt x="324" y="230"/>
                    </a:cubicBezTo>
                    <a:cubicBezTo>
                      <a:pt x="325" y="232"/>
                      <a:pt x="328" y="238"/>
                      <a:pt x="328" y="241"/>
                    </a:cubicBezTo>
                    <a:cubicBezTo>
                      <a:pt x="328" y="243"/>
                      <a:pt x="327" y="246"/>
                      <a:pt x="326" y="248"/>
                    </a:cubicBezTo>
                    <a:cubicBezTo>
                      <a:pt x="324" y="249"/>
                      <a:pt x="321" y="250"/>
                      <a:pt x="320" y="251"/>
                    </a:cubicBezTo>
                    <a:cubicBezTo>
                      <a:pt x="319" y="251"/>
                      <a:pt x="316" y="251"/>
                      <a:pt x="315" y="252"/>
                    </a:cubicBezTo>
                    <a:cubicBezTo>
                      <a:pt x="314" y="253"/>
                      <a:pt x="315" y="256"/>
                      <a:pt x="315" y="258"/>
                    </a:cubicBezTo>
                    <a:cubicBezTo>
                      <a:pt x="315" y="259"/>
                      <a:pt x="315" y="261"/>
                      <a:pt x="315" y="263"/>
                    </a:cubicBezTo>
                    <a:cubicBezTo>
                      <a:pt x="314" y="264"/>
                      <a:pt x="312" y="268"/>
                      <a:pt x="310" y="268"/>
                    </a:cubicBezTo>
                    <a:cubicBezTo>
                      <a:pt x="309" y="268"/>
                      <a:pt x="306" y="266"/>
                      <a:pt x="305" y="264"/>
                    </a:cubicBezTo>
                    <a:cubicBezTo>
                      <a:pt x="304" y="263"/>
                      <a:pt x="304" y="261"/>
                      <a:pt x="303" y="260"/>
                    </a:cubicBezTo>
                    <a:cubicBezTo>
                      <a:pt x="301" y="259"/>
                      <a:pt x="297" y="259"/>
                      <a:pt x="295" y="259"/>
                    </a:cubicBezTo>
                    <a:cubicBezTo>
                      <a:pt x="294" y="259"/>
                      <a:pt x="291" y="261"/>
                      <a:pt x="289" y="262"/>
                    </a:cubicBezTo>
                    <a:cubicBezTo>
                      <a:pt x="287" y="263"/>
                      <a:pt x="283" y="262"/>
                      <a:pt x="282" y="263"/>
                    </a:cubicBezTo>
                    <a:cubicBezTo>
                      <a:pt x="281" y="265"/>
                      <a:pt x="280" y="268"/>
                      <a:pt x="280" y="270"/>
                    </a:cubicBezTo>
                    <a:cubicBezTo>
                      <a:pt x="281" y="271"/>
                      <a:pt x="284" y="274"/>
                      <a:pt x="285" y="275"/>
                    </a:cubicBezTo>
                    <a:cubicBezTo>
                      <a:pt x="286" y="277"/>
                      <a:pt x="287" y="281"/>
                      <a:pt x="287" y="283"/>
                    </a:cubicBezTo>
                    <a:cubicBezTo>
                      <a:pt x="287" y="285"/>
                      <a:pt x="285" y="288"/>
                      <a:pt x="285" y="290"/>
                    </a:cubicBezTo>
                    <a:cubicBezTo>
                      <a:pt x="285" y="293"/>
                      <a:pt x="284" y="298"/>
                      <a:pt x="285" y="301"/>
                    </a:cubicBezTo>
                    <a:cubicBezTo>
                      <a:pt x="286" y="302"/>
                      <a:pt x="288" y="303"/>
                      <a:pt x="289" y="304"/>
                    </a:cubicBezTo>
                    <a:cubicBezTo>
                      <a:pt x="290" y="305"/>
                      <a:pt x="291" y="308"/>
                      <a:pt x="292" y="309"/>
                    </a:cubicBezTo>
                    <a:cubicBezTo>
                      <a:pt x="293" y="310"/>
                      <a:pt x="294" y="314"/>
                      <a:pt x="295" y="316"/>
                    </a:cubicBezTo>
                    <a:cubicBezTo>
                      <a:pt x="297" y="318"/>
                      <a:pt x="301" y="321"/>
                      <a:pt x="303" y="322"/>
                    </a:cubicBezTo>
                    <a:cubicBezTo>
                      <a:pt x="305" y="324"/>
                      <a:pt x="310" y="326"/>
                      <a:pt x="313" y="326"/>
                    </a:cubicBezTo>
                    <a:cubicBezTo>
                      <a:pt x="315" y="326"/>
                      <a:pt x="318" y="323"/>
                      <a:pt x="319" y="322"/>
                    </a:cubicBezTo>
                    <a:cubicBezTo>
                      <a:pt x="320" y="321"/>
                      <a:pt x="321" y="318"/>
                      <a:pt x="323" y="318"/>
                    </a:cubicBezTo>
                    <a:cubicBezTo>
                      <a:pt x="324" y="317"/>
                      <a:pt x="328" y="318"/>
                      <a:pt x="329" y="318"/>
                    </a:cubicBezTo>
                    <a:cubicBezTo>
                      <a:pt x="330" y="319"/>
                      <a:pt x="332" y="320"/>
                      <a:pt x="332" y="321"/>
                    </a:cubicBezTo>
                    <a:cubicBezTo>
                      <a:pt x="333" y="322"/>
                      <a:pt x="334" y="326"/>
                      <a:pt x="334" y="327"/>
                    </a:cubicBezTo>
                    <a:cubicBezTo>
                      <a:pt x="335" y="329"/>
                      <a:pt x="336" y="332"/>
                      <a:pt x="336" y="333"/>
                    </a:cubicBezTo>
                    <a:cubicBezTo>
                      <a:pt x="337" y="334"/>
                      <a:pt x="339" y="336"/>
                      <a:pt x="340" y="337"/>
                    </a:cubicBezTo>
                    <a:cubicBezTo>
                      <a:pt x="341" y="337"/>
                      <a:pt x="344" y="335"/>
                      <a:pt x="345" y="335"/>
                    </a:cubicBezTo>
                    <a:cubicBezTo>
                      <a:pt x="346" y="335"/>
                      <a:pt x="349" y="336"/>
                      <a:pt x="349" y="337"/>
                    </a:cubicBezTo>
                    <a:cubicBezTo>
                      <a:pt x="351" y="337"/>
                      <a:pt x="351" y="341"/>
                      <a:pt x="352" y="342"/>
                    </a:cubicBezTo>
                    <a:cubicBezTo>
                      <a:pt x="353" y="343"/>
                      <a:pt x="357" y="345"/>
                      <a:pt x="358" y="346"/>
                    </a:cubicBezTo>
                    <a:cubicBezTo>
                      <a:pt x="359" y="347"/>
                      <a:pt x="361" y="350"/>
                      <a:pt x="361" y="352"/>
                    </a:cubicBezTo>
                    <a:cubicBezTo>
                      <a:pt x="361" y="353"/>
                      <a:pt x="360" y="356"/>
                      <a:pt x="360" y="357"/>
                    </a:cubicBezTo>
                    <a:cubicBezTo>
                      <a:pt x="360" y="360"/>
                      <a:pt x="361" y="365"/>
                      <a:pt x="362" y="367"/>
                    </a:cubicBezTo>
                    <a:cubicBezTo>
                      <a:pt x="363" y="369"/>
                      <a:pt x="366" y="372"/>
                      <a:pt x="368" y="372"/>
                    </a:cubicBezTo>
                    <a:cubicBezTo>
                      <a:pt x="370" y="373"/>
                      <a:pt x="375" y="371"/>
                      <a:pt x="377" y="372"/>
                    </a:cubicBezTo>
                    <a:cubicBezTo>
                      <a:pt x="378" y="372"/>
                      <a:pt x="381" y="373"/>
                      <a:pt x="381" y="373"/>
                    </a:cubicBezTo>
                    <a:cubicBezTo>
                      <a:pt x="383" y="375"/>
                      <a:pt x="382" y="379"/>
                      <a:pt x="383" y="381"/>
                    </a:cubicBezTo>
                    <a:cubicBezTo>
                      <a:pt x="384" y="383"/>
                      <a:pt x="387" y="387"/>
                      <a:pt x="388" y="389"/>
                    </a:cubicBezTo>
                    <a:cubicBezTo>
                      <a:pt x="388" y="391"/>
                      <a:pt x="387" y="396"/>
                      <a:pt x="389" y="397"/>
                    </a:cubicBezTo>
                    <a:cubicBezTo>
                      <a:pt x="389" y="399"/>
                      <a:pt x="393" y="399"/>
                      <a:pt x="394" y="40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2">
                <a:extLst>
                  <a:ext uri="{FF2B5EF4-FFF2-40B4-BE49-F238E27FC236}">
                    <a16:creationId xmlns:a16="http://schemas.microsoft.com/office/drawing/2014/main" id="{A6C2A6DF-55E8-A6F4-8752-3C81FDCE9994}"/>
                  </a:ext>
                </a:extLst>
              </p:cNvPr>
              <p:cNvSpPr>
                <a:spLocks/>
              </p:cNvSpPr>
              <p:nvPr/>
            </p:nvSpPr>
            <p:spPr bwMode="auto">
              <a:xfrm>
                <a:off x="6519796" y="3072350"/>
                <a:ext cx="600404" cy="268656"/>
              </a:xfrm>
              <a:custGeom>
                <a:avLst/>
                <a:gdLst/>
                <a:ahLst/>
                <a:cxnLst>
                  <a:cxn ang="0">
                    <a:pos x="274" y="13"/>
                  </a:cxn>
                  <a:cxn ang="0">
                    <a:pos x="292" y="16"/>
                  </a:cxn>
                  <a:cxn ang="0">
                    <a:pos x="310" y="29"/>
                  </a:cxn>
                  <a:cxn ang="0">
                    <a:pos x="307" y="51"/>
                  </a:cxn>
                  <a:cxn ang="0">
                    <a:pos x="320" y="50"/>
                  </a:cxn>
                  <a:cxn ang="0">
                    <a:pos x="338" y="59"/>
                  </a:cxn>
                  <a:cxn ang="0">
                    <a:pos x="348" y="71"/>
                  </a:cxn>
                  <a:cxn ang="0">
                    <a:pos x="363" y="93"/>
                  </a:cxn>
                  <a:cxn ang="0">
                    <a:pos x="381" y="108"/>
                  </a:cxn>
                  <a:cxn ang="0">
                    <a:pos x="397" y="129"/>
                  </a:cxn>
                  <a:cxn ang="0">
                    <a:pos x="384" y="128"/>
                  </a:cxn>
                  <a:cxn ang="0">
                    <a:pos x="371" y="119"/>
                  </a:cxn>
                  <a:cxn ang="0">
                    <a:pos x="361" y="114"/>
                  </a:cxn>
                  <a:cxn ang="0">
                    <a:pos x="364" y="124"/>
                  </a:cxn>
                  <a:cxn ang="0">
                    <a:pos x="344" y="109"/>
                  </a:cxn>
                  <a:cxn ang="0">
                    <a:pos x="334" y="107"/>
                  </a:cxn>
                  <a:cxn ang="0">
                    <a:pos x="325" y="95"/>
                  </a:cxn>
                  <a:cxn ang="0">
                    <a:pos x="311" y="86"/>
                  </a:cxn>
                  <a:cxn ang="0">
                    <a:pos x="301" y="84"/>
                  </a:cxn>
                  <a:cxn ang="0">
                    <a:pos x="294" y="76"/>
                  </a:cxn>
                  <a:cxn ang="0">
                    <a:pos x="281" y="67"/>
                  </a:cxn>
                  <a:cxn ang="0">
                    <a:pos x="268" y="63"/>
                  </a:cxn>
                  <a:cxn ang="0">
                    <a:pos x="266" y="73"/>
                  </a:cxn>
                  <a:cxn ang="0">
                    <a:pos x="258" y="67"/>
                  </a:cxn>
                  <a:cxn ang="0">
                    <a:pos x="252" y="58"/>
                  </a:cxn>
                  <a:cxn ang="0">
                    <a:pos x="221" y="48"/>
                  </a:cxn>
                  <a:cxn ang="0">
                    <a:pos x="209" y="44"/>
                  </a:cxn>
                  <a:cxn ang="0">
                    <a:pos x="186" y="48"/>
                  </a:cxn>
                  <a:cxn ang="0">
                    <a:pos x="174" y="56"/>
                  </a:cxn>
                  <a:cxn ang="0">
                    <a:pos x="160" y="63"/>
                  </a:cxn>
                  <a:cxn ang="0">
                    <a:pos x="149" y="73"/>
                  </a:cxn>
                  <a:cxn ang="0">
                    <a:pos x="145" y="88"/>
                  </a:cxn>
                  <a:cxn ang="0">
                    <a:pos x="128" y="99"/>
                  </a:cxn>
                  <a:cxn ang="0">
                    <a:pos x="113" y="114"/>
                  </a:cxn>
                  <a:cxn ang="0">
                    <a:pos x="108" y="129"/>
                  </a:cxn>
                  <a:cxn ang="0">
                    <a:pos x="103" y="144"/>
                  </a:cxn>
                  <a:cxn ang="0">
                    <a:pos x="94" y="154"/>
                  </a:cxn>
                  <a:cxn ang="0">
                    <a:pos x="80" y="161"/>
                  </a:cxn>
                  <a:cxn ang="0">
                    <a:pos x="66" y="168"/>
                  </a:cxn>
                  <a:cxn ang="0">
                    <a:pos x="45" y="174"/>
                  </a:cxn>
                  <a:cxn ang="0">
                    <a:pos x="30" y="180"/>
                  </a:cxn>
                  <a:cxn ang="0">
                    <a:pos x="12" y="180"/>
                  </a:cxn>
                  <a:cxn ang="0">
                    <a:pos x="3" y="169"/>
                  </a:cxn>
                  <a:cxn ang="0">
                    <a:pos x="7" y="157"/>
                  </a:cxn>
                  <a:cxn ang="0">
                    <a:pos x="15" y="142"/>
                  </a:cxn>
                  <a:cxn ang="0">
                    <a:pos x="26" y="128"/>
                  </a:cxn>
                  <a:cxn ang="0">
                    <a:pos x="32" y="126"/>
                  </a:cxn>
                  <a:cxn ang="0">
                    <a:pos x="46" y="115"/>
                  </a:cxn>
                  <a:cxn ang="0">
                    <a:pos x="66" y="122"/>
                  </a:cxn>
                  <a:cxn ang="0">
                    <a:pos x="84" y="110"/>
                  </a:cxn>
                  <a:cxn ang="0">
                    <a:pos x="90" y="94"/>
                  </a:cxn>
                  <a:cxn ang="0">
                    <a:pos x="90" y="78"/>
                  </a:cxn>
                  <a:cxn ang="0">
                    <a:pos x="108" y="51"/>
                  </a:cxn>
                  <a:cxn ang="0">
                    <a:pos x="121" y="35"/>
                  </a:cxn>
                  <a:cxn ang="0">
                    <a:pos x="138" y="42"/>
                  </a:cxn>
                  <a:cxn ang="0">
                    <a:pos x="154" y="31"/>
                  </a:cxn>
                  <a:cxn ang="0">
                    <a:pos x="178" y="19"/>
                  </a:cxn>
                  <a:cxn ang="0">
                    <a:pos x="196" y="27"/>
                  </a:cxn>
                  <a:cxn ang="0">
                    <a:pos x="220" y="11"/>
                  </a:cxn>
                  <a:cxn ang="0">
                    <a:pos x="241" y="1"/>
                  </a:cxn>
                  <a:cxn ang="0">
                    <a:pos x="259" y="14"/>
                  </a:cxn>
                </a:cxnLst>
                <a:rect l="0" t="0" r="r" b="b"/>
                <a:pathLst>
                  <a:path w="397" h="180">
                    <a:moveTo>
                      <a:pt x="263" y="14"/>
                    </a:moveTo>
                    <a:cubicBezTo>
                      <a:pt x="264" y="14"/>
                      <a:pt x="266" y="13"/>
                      <a:pt x="267" y="13"/>
                    </a:cubicBezTo>
                    <a:cubicBezTo>
                      <a:pt x="268" y="13"/>
                      <a:pt x="272" y="13"/>
                      <a:pt x="274" y="13"/>
                    </a:cubicBezTo>
                    <a:cubicBezTo>
                      <a:pt x="276" y="14"/>
                      <a:pt x="279" y="16"/>
                      <a:pt x="280" y="16"/>
                    </a:cubicBezTo>
                    <a:cubicBezTo>
                      <a:pt x="281" y="17"/>
                      <a:pt x="284" y="19"/>
                      <a:pt x="286" y="19"/>
                    </a:cubicBezTo>
                    <a:cubicBezTo>
                      <a:pt x="288" y="18"/>
                      <a:pt x="291" y="16"/>
                      <a:pt x="292" y="16"/>
                    </a:cubicBezTo>
                    <a:cubicBezTo>
                      <a:pt x="294" y="15"/>
                      <a:pt x="297" y="15"/>
                      <a:pt x="299" y="15"/>
                    </a:cubicBezTo>
                    <a:cubicBezTo>
                      <a:pt x="300" y="16"/>
                      <a:pt x="302" y="18"/>
                      <a:pt x="303" y="19"/>
                    </a:cubicBezTo>
                    <a:cubicBezTo>
                      <a:pt x="305" y="22"/>
                      <a:pt x="309" y="26"/>
                      <a:pt x="310" y="29"/>
                    </a:cubicBezTo>
                    <a:cubicBezTo>
                      <a:pt x="311" y="31"/>
                      <a:pt x="312" y="36"/>
                      <a:pt x="312" y="39"/>
                    </a:cubicBezTo>
                    <a:cubicBezTo>
                      <a:pt x="312" y="40"/>
                      <a:pt x="311" y="44"/>
                      <a:pt x="311" y="46"/>
                    </a:cubicBezTo>
                    <a:cubicBezTo>
                      <a:pt x="310" y="47"/>
                      <a:pt x="307" y="50"/>
                      <a:pt x="307" y="51"/>
                    </a:cubicBezTo>
                    <a:cubicBezTo>
                      <a:pt x="307" y="52"/>
                      <a:pt x="307" y="55"/>
                      <a:pt x="308" y="56"/>
                    </a:cubicBezTo>
                    <a:cubicBezTo>
                      <a:pt x="309" y="56"/>
                      <a:pt x="312" y="55"/>
                      <a:pt x="313" y="54"/>
                    </a:cubicBezTo>
                    <a:cubicBezTo>
                      <a:pt x="315" y="54"/>
                      <a:pt x="318" y="51"/>
                      <a:pt x="320" y="50"/>
                    </a:cubicBezTo>
                    <a:cubicBezTo>
                      <a:pt x="322" y="50"/>
                      <a:pt x="325" y="50"/>
                      <a:pt x="326" y="50"/>
                    </a:cubicBezTo>
                    <a:cubicBezTo>
                      <a:pt x="328" y="50"/>
                      <a:pt x="331" y="50"/>
                      <a:pt x="332" y="51"/>
                    </a:cubicBezTo>
                    <a:cubicBezTo>
                      <a:pt x="334" y="52"/>
                      <a:pt x="336" y="57"/>
                      <a:pt x="338" y="59"/>
                    </a:cubicBezTo>
                    <a:cubicBezTo>
                      <a:pt x="338" y="60"/>
                      <a:pt x="339" y="61"/>
                      <a:pt x="340" y="62"/>
                    </a:cubicBezTo>
                    <a:cubicBezTo>
                      <a:pt x="341" y="64"/>
                      <a:pt x="342" y="65"/>
                      <a:pt x="342" y="65"/>
                    </a:cubicBezTo>
                    <a:cubicBezTo>
                      <a:pt x="344" y="67"/>
                      <a:pt x="346" y="70"/>
                      <a:pt x="348" y="71"/>
                    </a:cubicBezTo>
                    <a:cubicBezTo>
                      <a:pt x="349" y="72"/>
                      <a:pt x="353" y="73"/>
                      <a:pt x="355" y="74"/>
                    </a:cubicBezTo>
                    <a:cubicBezTo>
                      <a:pt x="356" y="76"/>
                      <a:pt x="358" y="81"/>
                      <a:pt x="359" y="83"/>
                    </a:cubicBezTo>
                    <a:cubicBezTo>
                      <a:pt x="360" y="85"/>
                      <a:pt x="361" y="91"/>
                      <a:pt x="363" y="93"/>
                    </a:cubicBezTo>
                    <a:cubicBezTo>
                      <a:pt x="364" y="95"/>
                      <a:pt x="367" y="96"/>
                      <a:pt x="368" y="97"/>
                    </a:cubicBezTo>
                    <a:cubicBezTo>
                      <a:pt x="370" y="98"/>
                      <a:pt x="372" y="101"/>
                      <a:pt x="373" y="103"/>
                    </a:cubicBezTo>
                    <a:cubicBezTo>
                      <a:pt x="375" y="104"/>
                      <a:pt x="379" y="107"/>
                      <a:pt x="381" y="108"/>
                    </a:cubicBezTo>
                    <a:cubicBezTo>
                      <a:pt x="383" y="109"/>
                      <a:pt x="387" y="110"/>
                      <a:pt x="388" y="111"/>
                    </a:cubicBezTo>
                    <a:cubicBezTo>
                      <a:pt x="390" y="112"/>
                      <a:pt x="394" y="115"/>
                      <a:pt x="395" y="117"/>
                    </a:cubicBezTo>
                    <a:cubicBezTo>
                      <a:pt x="396" y="120"/>
                      <a:pt x="397" y="126"/>
                      <a:pt x="397" y="129"/>
                    </a:cubicBezTo>
                    <a:cubicBezTo>
                      <a:pt x="397" y="130"/>
                      <a:pt x="397" y="131"/>
                      <a:pt x="397" y="132"/>
                    </a:cubicBezTo>
                    <a:cubicBezTo>
                      <a:pt x="396" y="132"/>
                      <a:pt x="394" y="131"/>
                      <a:pt x="393" y="131"/>
                    </a:cubicBezTo>
                    <a:cubicBezTo>
                      <a:pt x="391" y="130"/>
                      <a:pt x="386" y="129"/>
                      <a:pt x="384" y="128"/>
                    </a:cubicBezTo>
                    <a:cubicBezTo>
                      <a:pt x="383" y="127"/>
                      <a:pt x="381" y="125"/>
                      <a:pt x="379" y="123"/>
                    </a:cubicBezTo>
                    <a:cubicBezTo>
                      <a:pt x="378" y="122"/>
                      <a:pt x="376" y="120"/>
                      <a:pt x="375" y="119"/>
                    </a:cubicBezTo>
                    <a:cubicBezTo>
                      <a:pt x="374" y="119"/>
                      <a:pt x="372" y="120"/>
                      <a:pt x="371" y="119"/>
                    </a:cubicBezTo>
                    <a:cubicBezTo>
                      <a:pt x="370" y="118"/>
                      <a:pt x="369" y="115"/>
                      <a:pt x="368" y="114"/>
                    </a:cubicBezTo>
                    <a:cubicBezTo>
                      <a:pt x="368" y="113"/>
                      <a:pt x="366" y="111"/>
                      <a:pt x="365" y="111"/>
                    </a:cubicBezTo>
                    <a:cubicBezTo>
                      <a:pt x="364" y="111"/>
                      <a:pt x="361" y="113"/>
                      <a:pt x="361" y="114"/>
                    </a:cubicBezTo>
                    <a:cubicBezTo>
                      <a:pt x="361" y="114"/>
                      <a:pt x="362" y="116"/>
                      <a:pt x="363" y="117"/>
                    </a:cubicBezTo>
                    <a:cubicBezTo>
                      <a:pt x="363" y="118"/>
                      <a:pt x="365" y="120"/>
                      <a:pt x="366" y="121"/>
                    </a:cubicBezTo>
                    <a:cubicBezTo>
                      <a:pt x="366" y="122"/>
                      <a:pt x="365" y="124"/>
                      <a:pt x="364" y="124"/>
                    </a:cubicBezTo>
                    <a:cubicBezTo>
                      <a:pt x="363" y="125"/>
                      <a:pt x="359" y="123"/>
                      <a:pt x="358" y="122"/>
                    </a:cubicBezTo>
                    <a:cubicBezTo>
                      <a:pt x="355" y="121"/>
                      <a:pt x="350" y="119"/>
                      <a:pt x="348" y="117"/>
                    </a:cubicBezTo>
                    <a:cubicBezTo>
                      <a:pt x="346" y="116"/>
                      <a:pt x="345" y="111"/>
                      <a:pt x="344" y="109"/>
                    </a:cubicBezTo>
                    <a:cubicBezTo>
                      <a:pt x="343" y="108"/>
                      <a:pt x="340" y="105"/>
                      <a:pt x="339" y="105"/>
                    </a:cubicBezTo>
                    <a:cubicBezTo>
                      <a:pt x="338" y="105"/>
                      <a:pt x="335" y="105"/>
                      <a:pt x="335" y="106"/>
                    </a:cubicBezTo>
                    <a:cubicBezTo>
                      <a:pt x="334" y="106"/>
                      <a:pt x="334" y="107"/>
                      <a:pt x="334" y="107"/>
                    </a:cubicBezTo>
                    <a:cubicBezTo>
                      <a:pt x="332" y="107"/>
                      <a:pt x="330" y="105"/>
                      <a:pt x="329" y="104"/>
                    </a:cubicBezTo>
                    <a:cubicBezTo>
                      <a:pt x="328" y="103"/>
                      <a:pt x="328" y="100"/>
                      <a:pt x="328" y="99"/>
                    </a:cubicBezTo>
                    <a:cubicBezTo>
                      <a:pt x="327" y="98"/>
                      <a:pt x="326" y="96"/>
                      <a:pt x="325" y="95"/>
                    </a:cubicBezTo>
                    <a:cubicBezTo>
                      <a:pt x="324" y="94"/>
                      <a:pt x="322" y="93"/>
                      <a:pt x="321" y="93"/>
                    </a:cubicBezTo>
                    <a:cubicBezTo>
                      <a:pt x="319" y="92"/>
                      <a:pt x="316" y="91"/>
                      <a:pt x="314" y="90"/>
                    </a:cubicBezTo>
                    <a:cubicBezTo>
                      <a:pt x="313" y="89"/>
                      <a:pt x="312" y="87"/>
                      <a:pt x="311" y="86"/>
                    </a:cubicBezTo>
                    <a:cubicBezTo>
                      <a:pt x="310" y="86"/>
                      <a:pt x="308" y="85"/>
                      <a:pt x="306" y="85"/>
                    </a:cubicBezTo>
                    <a:cubicBezTo>
                      <a:pt x="306" y="85"/>
                      <a:pt x="304" y="86"/>
                      <a:pt x="304" y="85"/>
                    </a:cubicBezTo>
                    <a:cubicBezTo>
                      <a:pt x="303" y="85"/>
                      <a:pt x="301" y="85"/>
                      <a:pt x="301" y="84"/>
                    </a:cubicBezTo>
                    <a:cubicBezTo>
                      <a:pt x="300" y="84"/>
                      <a:pt x="300" y="82"/>
                      <a:pt x="299" y="81"/>
                    </a:cubicBezTo>
                    <a:cubicBezTo>
                      <a:pt x="298" y="81"/>
                      <a:pt x="296" y="82"/>
                      <a:pt x="296" y="81"/>
                    </a:cubicBezTo>
                    <a:cubicBezTo>
                      <a:pt x="294" y="80"/>
                      <a:pt x="295" y="77"/>
                      <a:pt x="294" y="76"/>
                    </a:cubicBezTo>
                    <a:cubicBezTo>
                      <a:pt x="293" y="74"/>
                      <a:pt x="290" y="73"/>
                      <a:pt x="288" y="71"/>
                    </a:cubicBezTo>
                    <a:cubicBezTo>
                      <a:pt x="288" y="71"/>
                      <a:pt x="288" y="68"/>
                      <a:pt x="287" y="67"/>
                    </a:cubicBezTo>
                    <a:cubicBezTo>
                      <a:pt x="286" y="66"/>
                      <a:pt x="283" y="67"/>
                      <a:pt x="281" y="67"/>
                    </a:cubicBezTo>
                    <a:cubicBezTo>
                      <a:pt x="280" y="67"/>
                      <a:pt x="276" y="66"/>
                      <a:pt x="275" y="65"/>
                    </a:cubicBezTo>
                    <a:cubicBezTo>
                      <a:pt x="274" y="64"/>
                      <a:pt x="273" y="63"/>
                      <a:pt x="272" y="63"/>
                    </a:cubicBezTo>
                    <a:cubicBezTo>
                      <a:pt x="271" y="62"/>
                      <a:pt x="269" y="62"/>
                      <a:pt x="268" y="63"/>
                    </a:cubicBezTo>
                    <a:cubicBezTo>
                      <a:pt x="267" y="63"/>
                      <a:pt x="267" y="65"/>
                      <a:pt x="267" y="66"/>
                    </a:cubicBezTo>
                    <a:cubicBezTo>
                      <a:pt x="267" y="67"/>
                      <a:pt x="268" y="69"/>
                      <a:pt x="268" y="70"/>
                    </a:cubicBezTo>
                    <a:cubicBezTo>
                      <a:pt x="267" y="71"/>
                      <a:pt x="267" y="73"/>
                      <a:pt x="266" y="73"/>
                    </a:cubicBezTo>
                    <a:cubicBezTo>
                      <a:pt x="265" y="73"/>
                      <a:pt x="263" y="73"/>
                      <a:pt x="262" y="72"/>
                    </a:cubicBezTo>
                    <a:cubicBezTo>
                      <a:pt x="261" y="72"/>
                      <a:pt x="261" y="70"/>
                      <a:pt x="261" y="69"/>
                    </a:cubicBezTo>
                    <a:cubicBezTo>
                      <a:pt x="260" y="68"/>
                      <a:pt x="258" y="68"/>
                      <a:pt x="258" y="67"/>
                    </a:cubicBezTo>
                    <a:cubicBezTo>
                      <a:pt x="257" y="66"/>
                      <a:pt x="256" y="64"/>
                      <a:pt x="256" y="63"/>
                    </a:cubicBezTo>
                    <a:cubicBezTo>
                      <a:pt x="256" y="62"/>
                      <a:pt x="257" y="60"/>
                      <a:pt x="256" y="59"/>
                    </a:cubicBezTo>
                    <a:cubicBezTo>
                      <a:pt x="256" y="58"/>
                      <a:pt x="253" y="58"/>
                      <a:pt x="252" y="58"/>
                    </a:cubicBezTo>
                    <a:cubicBezTo>
                      <a:pt x="250" y="56"/>
                      <a:pt x="244" y="53"/>
                      <a:pt x="241" y="53"/>
                    </a:cubicBezTo>
                    <a:cubicBezTo>
                      <a:pt x="239" y="52"/>
                      <a:pt x="232" y="52"/>
                      <a:pt x="229" y="51"/>
                    </a:cubicBezTo>
                    <a:cubicBezTo>
                      <a:pt x="227" y="51"/>
                      <a:pt x="224" y="48"/>
                      <a:pt x="221" y="48"/>
                    </a:cubicBezTo>
                    <a:cubicBezTo>
                      <a:pt x="220" y="48"/>
                      <a:pt x="219" y="49"/>
                      <a:pt x="218" y="50"/>
                    </a:cubicBezTo>
                    <a:cubicBezTo>
                      <a:pt x="217" y="50"/>
                      <a:pt x="216" y="49"/>
                      <a:pt x="215" y="48"/>
                    </a:cubicBezTo>
                    <a:cubicBezTo>
                      <a:pt x="213" y="48"/>
                      <a:pt x="211" y="45"/>
                      <a:pt x="209" y="44"/>
                    </a:cubicBezTo>
                    <a:cubicBezTo>
                      <a:pt x="207" y="43"/>
                      <a:pt x="202" y="43"/>
                      <a:pt x="200" y="43"/>
                    </a:cubicBezTo>
                    <a:cubicBezTo>
                      <a:pt x="198" y="43"/>
                      <a:pt x="194" y="43"/>
                      <a:pt x="192" y="44"/>
                    </a:cubicBezTo>
                    <a:cubicBezTo>
                      <a:pt x="190" y="44"/>
                      <a:pt x="187" y="47"/>
                      <a:pt x="186" y="48"/>
                    </a:cubicBezTo>
                    <a:cubicBezTo>
                      <a:pt x="185" y="49"/>
                      <a:pt x="183" y="50"/>
                      <a:pt x="182" y="50"/>
                    </a:cubicBezTo>
                    <a:cubicBezTo>
                      <a:pt x="181" y="50"/>
                      <a:pt x="179" y="50"/>
                      <a:pt x="178" y="51"/>
                    </a:cubicBezTo>
                    <a:cubicBezTo>
                      <a:pt x="177" y="52"/>
                      <a:pt x="175" y="55"/>
                      <a:pt x="174" y="56"/>
                    </a:cubicBezTo>
                    <a:cubicBezTo>
                      <a:pt x="173" y="57"/>
                      <a:pt x="170" y="57"/>
                      <a:pt x="168" y="58"/>
                    </a:cubicBezTo>
                    <a:cubicBezTo>
                      <a:pt x="167" y="59"/>
                      <a:pt x="165" y="61"/>
                      <a:pt x="163" y="62"/>
                    </a:cubicBezTo>
                    <a:cubicBezTo>
                      <a:pt x="163" y="62"/>
                      <a:pt x="161" y="62"/>
                      <a:pt x="160" y="63"/>
                    </a:cubicBezTo>
                    <a:cubicBezTo>
                      <a:pt x="159" y="63"/>
                      <a:pt x="158" y="65"/>
                      <a:pt x="157" y="66"/>
                    </a:cubicBezTo>
                    <a:cubicBezTo>
                      <a:pt x="155" y="67"/>
                      <a:pt x="152" y="68"/>
                      <a:pt x="151" y="69"/>
                    </a:cubicBezTo>
                    <a:cubicBezTo>
                      <a:pt x="150" y="70"/>
                      <a:pt x="149" y="72"/>
                      <a:pt x="149" y="73"/>
                    </a:cubicBezTo>
                    <a:cubicBezTo>
                      <a:pt x="148" y="74"/>
                      <a:pt x="150" y="76"/>
                      <a:pt x="150" y="77"/>
                    </a:cubicBezTo>
                    <a:cubicBezTo>
                      <a:pt x="150" y="78"/>
                      <a:pt x="149" y="81"/>
                      <a:pt x="149" y="82"/>
                    </a:cubicBezTo>
                    <a:cubicBezTo>
                      <a:pt x="148" y="83"/>
                      <a:pt x="146" y="86"/>
                      <a:pt x="145" y="88"/>
                    </a:cubicBezTo>
                    <a:cubicBezTo>
                      <a:pt x="144" y="90"/>
                      <a:pt x="141" y="94"/>
                      <a:pt x="139" y="95"/>
                    </a:cubicBezTo>
                    <a:cubicBezTo>
                      <a:pt x="138" y="96"/>
                      <a:pt x="134" y="96"/>
                      <a:pt x="133" y="97"/>
                    </a:cubicBezTo>
                    <a:cubicBezTo>
                      <a:pt x="131" y="97"/>
                      <a:pt x="129" y="99"/>
                      <a:pt x="128" y="99"/>
                    </a:cubicBezTo>
                    <a:cubicBezTo>
                      <a:pt x="127" y="99"/>
                      <a:pt x="125" y="99"/>
                      <a:pt x="124" y="100"/>
                    </a:cubicBezTo>
                    <a:cubicBezTo>
                      <a:pt x="122" y="101"/>
                      <a:pt x="119" y="104"/>
                      <a:pt x="117" y="106"/>
                    </a:cubicBezTo>
                    <a:cubicBezTo>
                      <a:pt x="116" y="108"/>
                      <a:pt x="115" y="112"/>
                      <a:pt x="113" y="114"/>
                    </a:cubicBezTo>
                    <a:cubicBezTo>
                      <a:pt x="113" y="115"/>
                      <a:pt x="111" y="117"/>
                      <a:pt x="111" y="118"/>
                    </a:cubicBezTo>
                    <a:cubicBezTo>
                      <a:pt x="110" y="120"/>
                      <a:pt x="111" y="124"/>
                      <a:pt x="110" y="125"/>
                    </a:cubicBezTo>
                    <a:cubicBezTo>
                      <a:pt x="110" y="126"/>
                      <a:pt x="108" y="128"/>
                      <a:pt x="108" y="129"/>
                    </a:cubicBezTo>
                    <a:cubicBezTo>
                      <a:pt x="107" y="130"/>
                      <a:pt x="104" y="132"/>
                      <a:pt x="104" y="134"/>
                    </a:cubicBezTo>
                    <a:cubicBezTo>
                      <a:pt x="103" y="135"/>
                      <a:pt x="102" y="139"/>
                      <a:pt x="102" y="141"/>
                    </a:cubicBezTo>
                    <a:cubicBezTo>
                      <a:pt x="102" y="142"/>
                      <a:pt x="103" y="143"/>
                      <a:pt x="103" y="144"/>
                    </a:cubicBezTo>
                    <a:cubicBezTo>
                      <a:pt x="103" y="145"/>
                      <a:pt x="102" y="146"/>
                      <a:pt x="101" y="147"/>
                    </a:cubicBezTo>
                    <a:cubicBezTo>
                      <a:pt x="100" y="147"/>
                      <a:pt x="98" y="148"/>
                      <a:pt x="97" y="149"/>
                    </a:cubicBezTo>
                    <a:cubicBezTo>
                      <a:pt x="96" y="150"/>
                      <a:pt x="95" y="152"/>
                      <a:pt x="94" y="154"/>
                    </a:cubicBezTo>
                    <a:cubicBezTo>
                      <a:pt x="92" y="155"/>
                      <a:pt x="90" y="158"/>
                      <a:pt x="88" y="159"/>
                    </a:cubicBezTo>
                    <a:cubicBezTo>
                      <a:pt x="87" y="159"/>
                      <a:pt x="85" y="159"/>
                      <a:pt x="84" y="159"/>
                    </a:cubicBezTo>
                    <a:cubicBezTo>
                      <a:pt x="83" y="160"/>
                      <a:pt x="81" y="160"/>
                      <a:pt x="80" y="161"/>
                    </a:cubicBezTo>
                    <a:cubicBezTo>
                      <a:pt x="79" y="162"/>
                      <a:pt x="77" y="164"/>
                      <a:pt x="76" y="164"/>
                    </a:cubicBezTo>
                    <a:cubicBezTo>
                      <a:pt x="75" y="165"/>
                      <a:pt x="73" y="165"/>
                      <a:pt x="72" y="165"/>
                    </a:cubicBezTo>
                    <a:cubicBezTo>
                      <a:pt x="71" y="166"/>
                      <a:pt x="68" y="168"/>
                      <a:pt x="66" y="168"/>
                    </a:cubicBezTo>
                    <a:cubicBezTo>
                      <a:pt x="64" y="169"/>
                      <a:pt x="60" y="168"/>
                      <a:pt x="58" y="169"/>
                    </a:cubicBezTo>
                    <a:cubicBezTo>
                      <a:pt x="56" y="170"/>
                      <a:pt x="53" y="173"/>
                      <a:pt x="51" y="173"/>
                    </a:cubicBezTo>
                    <a:cubicBezTo>
                      <a:pt x="49" y="174"/>
                      <a:pt x="46" y="173"/>
                      <a:pt x="45" y="174"/>
                    </a:cubicBezTo>
                    <a:cubicBezTo>
                      <a:pt x="43" y="174"/>
                      <a:pt x="40" y="176"/>
                      <a:pt x="40" y="176"/>
                    </a:cubicBezTo>
                    <a:cubicBezTo>
                      <a:pt x="39" y="176"/>
                      <a:pt x="36" y="176"/>
                      <a:pt x="34" y="177"/>
                    </a:cubicBezTo>
                    <a:cubicBezTo>
                      <a:pt x="33" y="177"/>
                      <a:pt x="31" y="180"/>
                      <a:pt x="30" y="180"/>
                    </a:cubicBezTo>
                    <a:cubicBezTo>
                      <a:pt x="29" y="180"/>
                      <a:pt x="25" y="180"/>
                      <a:pt x="24" y="180"/>
                    </a:cubicBezTo>
                    <a:cubicBezTo>
                      <a:pt x="22" y="179"/>
                      <a:pt x="19" y="178"/>
                      <a:pt x="17" y="178"/>
                    </a:cubicBezTo>
                    <a:cubicBezTo>
                      <a:pt x="16" y="178"/>
                      <a:pt x="13" y="179"/>
                      <a:pt x="12" y="180"/>
                    </a:cubicBezTo>
                    <a:cubicBezTo>
                      <a:pt x="10" y="180"/>
                      <a:pt x="4" y="180"/>
                      <a:pt x="4" y="180"/>
                    </a:cubicBezTo>
                    <a:cubicBezTo>
                      <a:pt x="4" y="180"/>
                      <a:pt x="3" y="177"/>
                      <a:pt x="3" y="176"/>
                    </a:cubicBezTo>
                    <a:cubicBezTo>
                      <a:pt x="3" y="174"/>
                      <a:pt x="3" y="171"/>
                      <a:pt x="3" y="169"/>
                    </a:cubicBezTo>
                    <a:cubicBezTo>
                      <a:pt x="3" y="168"/>
                      <a:pt x="0" y="166"/>
                      <a:pt x="0" y="165"/>
                    </a:cubicBezTo>
                    <a:cubicBezTo>
                      <a:pt x="0" y="164"/>
                      <a:pt x="1" y="162"/>
                      <a:pt x="2" y="161"/>
                    </a:cubicBezTo>
                    <a:cubicBezTo>
                      <a:pt x="3" y="160"/>
                      <a:pt x="6" y="158"/>
                      <a:pt x="7" y="157"/>
                    </a:cubicBezTo>
                    <a:cubicBezTo>
                      <a:pt x="8" y="156"/>
                      <a:pt x="9" y="154"/>
                      <a:pt x="10" y="153"/>
                    </a:cubicBezTo>
                    <a:cubicBezTo>
                      <a:pt x="11" y="151"/>
                      <a:pt x="11" y="148"/>
                      <a:pt x="12" y="147"/>
                    </a:cubicBezTo>
                    <a:cubicBezTo>
                      <a:pt x="12" y="145"/>
                      <a:pt x="14" y="143"/>
                      <a:pt x="15" y="142"/>
                    </a:cubicBezTo>
                    <a:cubicBezTo>
                      <a:pt x="17" y="141"/>
                      <a:pt x="23" y="140"/>
                      <a:pt x="24" y="139"/>
                    </a:cubicBezTo>
                    <a:cubicBezTo>
                      <a:pt x="25" y="138"/>
                      <a:pt x="27" y="135"/>
                      <a:pt x="27" y="134"/>
                    </a:cubicBezTo>
                    <a:cubicBezTo>
                      <a:pt x="27" y="132"/>
                      <a:pt x="25" y="130"/>
                      <a:pt x="26" y="128"/>
                    </a:cubicBezTo>
                    <a:cubicBezTo>
                      <a:pt x="26" y="127"/>
                      <a:pt x="27" y="126"/>
                      <a:pt x="28" y="125"/>
                    </a:cubicBezTo>
                    <a:cubicBezTo>
                      <a:pt x="28" y="125"/>
                      <a:pt x="29" y="124"/>
                      <a:pt x="29" y="124"/>
                    </a:cubicBezTo>
                    <a:cubicBezTo>
                      <a:pt x="30" y="125"/>
                      <a:pt x="31" y="126"/>
                      <a:pt x="32" y="126"/>
                    </a:cubicBezTo>
                    <a:cubicBezTo>
                      <a:pt x="33" y="127"/>
                      <a:pt x="36" y="126"/>
                      <a:pt x="38" y="125"/>
                    </a:cubicBezTo>
                    <a:cubicBezTo>
                      <a:pt x="39" y="124"/>
                      <a:pt x="39" y="121"/>
                      <a:pt x="40" y="119"/>
                    </a:cubicBezTo>
                    <a:cubicBezTo>
                      <a:pt x="41" y="118"/>
                      <a:pt x="44" y="115"/>
                      <a:pt x="46" y="115"/>
                    </a:cubicBezTo>
                    <a:cubicBezTo>
                      <a:pt x="48" y="115"/>
                      <a:pt x="50" y="119"/>
                      <a:pt x="52" y="120"/>
                    </a:cubicBezTo>
                    <a:cubicBezTo>
                      <a:pt x="53" y="120"/>
                      <a:pt x="56" y="120"/>
                      <a:pt x="57" y="120"/>
                    </a:cubicBezTo>
                    <a:cubicBezTo>
                      <a:pt x="60" y="120"/>
                      <a:pt x="64" y="122"/>
                      <a:pt x="66" y="122"/>
                    </a:cubicBezTo>
                    <a:cubicBezTo>
                      <a:pt x="68" y="122"/>
                      <a:pt x="72" y="122"/>
                      <a:pt x="74" y="121"/>
                    </a:cubicBezTo>
                    <a:cubicBezTo>
                      <a:pt x="75" y="120"/>
                      <a:pt x="75" y="117"/>
                      <a:pt x="76" y="116"/>
                    </a:cubicBezTo>
                    <a:cubicBezTo>
                      <a:pt x="78" y="114"/>
                      <a:pt x="82" y="112"/>
                      <a:pt x="84" y="110"/>
                    </a:cubicBezTo>
                    <a:cubicBezTo>
                      <a:pt x="85" y="109"/>
                      <a:pt x="89" y="109"/>
                      <a:pt x="90" y="107"/>
                    </a:cubicBezTo>
                    <a:cubicBezTo>
                      <a:pt x="91" y="105"/>
                      <a:pt x="91" y="101"/>
                      <a:pt x="90" y="99"/>
                    </a:cubicBezTo>
                    <a:cubicBezTo>
                      <a:pt x="90" y="98"/>
                      <a:pt x="90" y="95"/>
                      <a:pt x="90" y="94"/>
                    </a:cubicBezTo>
                    <a:cubicBezTo>
                      <a:pt x="90" y="92"/>
                      <a:pt x="93" y="89"/>
                      <a:pt x="93" y="87"/>
                    </a:cubicBezTo>
                    <a:cubicBezTo>
                      <a:pt x="93" y="86"/>
                      <a:pt x="92" y="83"/>
                      <a:pt x="92" y="82"/>
                    </a:cubicBezTo>
                    <a:cubicBezTo>
                      <a:pt x="91" y="81"/>
                      <a:pt x="90" y="79"/>
                      <a:pt x="90" y="78"/>
                    </a:cubicBezTo>
                    <a:cubicBezTo>
                      <a:pt x="90" y="76"/>
                      <a:pt x="91" y="74"/>
                      <a:pt x="92" y="73"/>
                    </a:cubicBezTo>
                    <a:cubicBezTo>
                      <a:pt x="94" y="71"/>
                      <a:pt x="100" y="67"/>
                      <a:pt x="102" y="65"/>
                    </a:cubicBezTo>
                    <a:cubicBezTo>
                      <a:pt x="104" y="62"/>
                      <a:pt x="107" y="55"/>
                      <a:pt x="108" y="51"/>
                    </a:cubicBezTo>
                    <a:cubicBezTo>
                      <a:pt x="109" y="48"/>
                      <a:pt x="110" y="40"/>
                      <a:pt x="112" y="37"/>
                    </a:cubicBezTo>
                    <a:cubicBezTo>
                      <a:pt x="113" y="36"/>
                      <a:pt x="115" y="33"/>
                      <a:pt x="117" y="33"/>
                    </a:cubicBezTo>
                    <a:cubicBezTo>
                      <a:pt x="118" y="33"/>
                      <a:pt x="121" y="34"/>
                      <a:pt x="121" y="35"/>
                    </a:cubicBezTo>
                    <a:cubicBezTo>
                      <a:pt x="123" y="37"/>
                      <a:pt x="124" y="43"/>
                      <a:pt x="126" y="44"/>
                    </a:cubicBezTo>
                    <a:cubicBezTo>
                      <a:pt x="128" y="46"/>
                      <a:pt x="132" y="47"/>
                      <a:pt x="134" y="47"/>
                    </a:cubicBezTo>
                    <a:cubicBezTo>
                      <a:pt x="136" y="46"/>
                      <a:pt x="137" y="43"/>
                      <a:pt x="138" y="42"/>
                    </a:cubicBezTo>
                    <a:cubicBezTo>
                      <a:pt x="139" y="41"/>
                      <a:pt x="140" y="37"/>
                      <a:pt x="141" y="36"/>
                    </a:cubicBezTo>
                    <a:cubicBezTo>
                      <a:pt x="142" y="34"/>
                      <a:pt x="144" y="31"/>
                      <a:pt x="146" y="30"/>
                    </a:cubicBezTo>
                    <a:cubicBezTo>
                      <a:pt x="148" y="29"/>
                      <a:pt x="152" y="31"/>
                      <a:pt x="154" y="31"/>
                    </a:cubicBezTo>
                    <a:cubicBezTo>
                      <a:pt x="158" y="30"/>
                      <a:pt x="165" y="30"/>
                      <a:pt x="168" y="28"/>
                    </a:cubicBezTo>
                    <a:cubicBezTo>
                      <a:pt x="170" y="27"/>
                      <a:pt x="171" y="23"/>
                      <a:pt x="173" y="22"/>
                    </a:cubicBezTo>
                    <a:cubicBezTo>
                      <a:pt x="174" y="21"/>
                      <a:pt x="177" y="19"/>
                      <a:pt x="178" y="19"/>
                    </a:cubicBezTo>
                    <a:cubicBezTo>
                      <a:pt x="181" y="18"/>
                      <a:pt x="186" y="17"/>
                      <a:pt x="189" y="17"/>
                    </a:cubicBezTo>
                    <a:cubicBezTo>
                      <a:pt x="190" y="18"/>
                      <a:pt x="193" y="18"/>
                      <a:pt x="194" y="19"/>
                    </a:cubicBezTo>
                    <a:cubicBezTo>
                      <a:pt x="196" y="21"/>
                      <a:pt x="195" y="26"/>
                      <a:pt x="196" y="27"/>
                    </a:cubicBezTo>
                    <a:cubicBezTo>
                      <a:pt x="198" y="28"/>
                      <a:pt x="201" y="27"/>
                      <a:pt x="202" y="26"/>
                    </a:cubicBezTo>
                    <a:cubicBezTo>
                      <a:pt x="205" y="26"/>
                      <a:pt x="211" y="26"/>
                      <a:pt x="213" y="24"/>
                    </a:cubicBezTo>
                    <a:cubicBezTo>
                      <a:pt x="216" y="22"/>
                      <a:pt x="219" y="15"/>
                      <a:pt x="220" y="11"/>
                    </a:cubicBezTo>
                    <a:cubicBezTo>
                      <a:pt x="221" y="9"/>
                      <a:pt x="221" y="4"/>
                      <a:pt x="223" y="3"/>
                    </a:cubicBezTo>
                    <a:cubicBezTo>
                      <a:pt x="224" y="1"/>
                      <a:pt x="229" y="1"/>
                      <a:pt x="231" y="0"/>
                    </a:cubicBezTo>
                    <a:cubicBezTo>
                      <a:pt x="233" y="0"/>
                      <a:pt x="238" y="0"/>
                      <a:pt x="241" y="1"/>
                    </a:cubicBezTo>
                    <a:cubicBezTo>
                      <a:pt x="242" y="2"/>
                      <a:pt x="245" y="3"/>
                      <a:pt x="246" y="4"/>
                    </a:cubicBezTo>
                    <a:cubicBezTo>
                      <a:pt x="247" y="6"/>
                      <a:pt x="249" y="10"/>
                      <a:pt x="251" y="12"/>
                    </a:cubicBezTo>
                    <a:cubicBezTo>
                      <a:pt x="252" y="13"/>
                      <a:pt x="257" y="14"/>
                      <a:pt x="259" y="14"/>
                    </a:cubicBezTo>
                    <a:cubicBezTo>
                      <a:pt x="260" y="14"/>
                      <a:pt x="261" y="14"/>
                      <a:pt x="263" y="1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3">
                <a:extLst>
                  <a:ext uri="{FF2B5EF4-FFF2-40B4-BE49-F238E27FC236}">
                    <a16:creationId xmlns:a16="http://schemas.microsoft.com/office/drawing/2014/main" id="{7202B0FD-94DE-7A55-DADF-0E1E78434040}"/>
                  </a:ext>
                </a:extLst>
              </p:cNvPr>
              <p:cNvSpPr>
                <a:spLocks/>
              </p:cNvSpPr>
              <p:nvPr/>
            </p:nvSpPr>
            <p:spPr bwMode="auto">
              <a:xfrm>
                <a:off x="7365512" y="3831536"/>
                <a:ext cx="10843" cy="13366"/>
              </a:xfrm>
              <a:custGeom>
                <a:avLst/>
                <a:gdLst/>
                <a:ahLst/>
                <a:cxnLst>
                  <a:cxn ang="0">
                    <a:pos x="6" y="4"/>
                  </a:cxn>
                  <a:cxn ang="0">
                    <a:pos x="6" y="2"/>
                  </a:cxn>
                  <a:cxn ang="0">
                    <a:pos x="3" y="0"/>
                  </a:cxn>
                  <a:cxn ang="0">
                    <a:pos x="1" y="1"/>
                  </a:cxn>
                  <a:cxn ang="0">
                    <a:pos x="0" y="3"/>
                  </a:cxn>
                  <a:cxn ang="0">
                    <a:pos x="2" y="6"/>
                  </a:cxn>
                  <a:cxn ang="0">
                    <a:pos x="2" y="8"/>
                  </a:cxn>
                  <a:cxn ang="0">
                    <a:pos x="5" y="9"/>
                  </a:cxn>
                  <a:cxn ang="0">
                    <a:pos x="5" y="6"/>
                  </a:cxn>
                  <a:cxn ang="0">
                    <a:pos x="6" y="4"/>
                  </a:cxn>
                </a:cxnLst>
                <a:rect l="0" t="0" r="r" b="b"/>
                <a:pathLst>
                  <a:path w="7" h="9">
                    <a:moveTo>
                      <a:pt x="6" y="4"/>
                    </a:moveTo>
                    <a:cubicBezTo>
                      <a:pt x="6" y="4"/>
                      <a:pt x="7" y="2"/>
                      <a:pt x="6" y="2"/>
                    </a:cubicBezTo>
                    <a:cubicBezTo>
                      <a:pt x="6" y="1"/>
                      <a:pt x="4" y="0"/>
                      <a:pt x="3" y="0"/>
                    </a:cubicBezTo>
                    <a:cubicBezTo>
                      <a:pt x="3" y="0"/>
                      <a:pt x="2" y="1"/>
                      <a:pt x="1" y="1"/>
                    </a:cubicBezTo>
                    <a:cubicBezTo>
                      <a:pt x="1" y="1"/>
                      <a:pt x="0" y="3"/>
                      <a:pt x="0" y="3"/>
                    </a:cubicBezTo>
                    <a:cubicBezTo>
                      <a:pt x="0" y="4"/>
                      <a:pt x="1" y="5"/>
                      <a:pt x="2" y="6"/>
                    </a:cubicBezTo>
                    <a:cubicBezTo>
                      <a:pt x="2" y="6"/>
                      <a:pt x="1" y="8"/>
                      <a:pt x="2" y="8"/>
                    </a:cubicBezTo>
                    <a:cubicBezTo>
                      <a:pt x="3" y="9"/>
                      <a:pt x="5" y="9"/>
                      <a:pt x="5" y="9"/>
                    </a:cubicBezTo>
                    <a:cubicBezTo>
                      <a:pt x="6" y="8"/>
                      <a:pt x="5" y="7"/>
                      <a:pt x="5" y="6"/>
                    </a:cubicBezTo>
                    <a:cubicBezTo>
                      <a:pt x="5" y="5"/>
                      <a:pt x="6" y="5"/>
                      <a:pt x="6" y="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4">
                <a:extLst>
                  <a:ext uri="{FF2B5EF4-FFF2-40B4-BE49-F238E27FC236}">
                    <a16:creationId xmlns:a16="http://schemas.microsoft.com/office/drawing/2014/main" id="{31382AA7-8FC0-7C0A-924E-B2FFC8ECA20E}"/>
                  </a:ext>
                </a:extLst>
              </p:cNvPr>
              <p:cNvSpPr>
                <a:spLocks/>
              </p:cNvSpPr>
              <p:nvPr/>
            </p:nvSpPr>
            <p:spPr bwMode="auto">
              <a:xfrm>
                <a:off x="7312654" y="3794111"/>
                <a:ext cx="16264" cy="24059"/>
              </a:xfrm>
              <a:custGeom>
                <a:avLst/>
                <a:gdLst/>
                <a:ahLst/>
                <a:cxnLst>
                  <a:cxn ang="0">
                    <a:pos x="10" y="8"/>
                  </a:cxn>
                  <a:cxn ang="0">
                    <a:pos x="9" y="4"/>
                  </a:cxn>
                  <a:cxn ang="0">
                    <a:pos x="7" y="1"/>
                  </a:cxn>
                  <a:cxn ang="0">
                    <a:pos x="4" y="0"/>
                  </a:cxn>
                  <a:cxn ang="0">
                    <a:pos x="2" y="1"/>
                  </a:cxn>
                  <a:cxn ang="0">
                    <a:pos x="3" y="4"/>
                  </a:cxn>
                  <a:cxn ang="0">
                    <a:pos x="0" y="5"/>
                  </a:cxn>
                  <a:cxn ang="0">
                    <a:pos x="0" y="8"/>
                  </a:cxn>
                  <a:cxn ang="0">
                    <a:pos x="4" y="9"/>
                  </a:cxn>
                  <a:cxn ang="0">
                    <a:pos x="6" y="13"/>
                  </a:cxn>
                  <a:cxn ang="0">
                    <a:pos x="10" y="16"/>
                  </a:cxn>
                  <a:cxn ang="0">
                    <a:pos x="11" y="12"/>
                  </a:cxn>
                  <a:cxn ang="0">
                    <a:pos x="10" y="8"/>
                  </a:cxn>
                </a:cxnLst>
                <a:rect l="0" t="0" r="r" b="b"/>
                <a:pathLst>
                  <a:path w="11" h="16">
                    <a:moveTo>
                      <a:pt x="10" y="8"/>
                    </a:moveTo>
                    <a:cubicBezTo>
                      <a:pt x="10" y="7"/>
                      <a:pt x="10" y="4"/>
                      <a:pt x="9" y="4"/>
                    </a:cubicBezTo>
                    <a:cubicBezTo>
                      <a:pt x="9" y="3"/>
                      <a:pt x="7" y="2"/>
                      <a:pt x="7" y="1"/>
                    </a:cubicBezTo>
                    <a:cubicBezTo>
                      <a:pt x="6" y="1"/>
                      <a:pt x="4" y="0"/>
                      <a:pt x="4" y="0"/>
                    </a:cubicBezTo>
                    <a:cubicBezTo>
                      <a:pt x="3" y="0"/>
                      <a:pt x="3" y="1"/>
                      <a:pt x="2" y="1"/>
                    </a:cubicBezTo>
                    <a:cubicBezTo>
                      <a:pt x="2" y="2"/>
                      <a:pt x="3" y="3"/>
                      <a:pt x="3" y="4"/>
                    </a:cubicBezTo>
                    <a:cubicBezTo>
                      <a:pt x="3" y="4"/>
                      <a:pt x="1" y="4"/>
                      <a:pt x="0" y="5"/>
                    </a:cubicBezTo>
                    <a:cubicBezTo>
                      <a:pt x="0" y="6"/>
                      <a:pt x="0" y="7"/>
                      <a:pt x="0" y="8"/>
                    </a:cubicBezTo>
                    <a:cubicBezTo>
                      <a:pt x="1" y="9"/>
                      <a:pt x="3" y="9"/>
                      <a:pt x="4" y="9"/>
                    </a:cubicBezTo>
                    <a:cubicBezTo>
                      <a:pt x="5" y="10"/>
                      <a:pt x="5" y="13"/>
                      <a:pt x="6" y="13"/>
                    </a:cubicBezTo>
                    <a:cubicBezTo>
                      <a:pt x="7" y="14"/>
                      <a:pt x="9" y="16"/>
                      <a:pt x="10" y="16"/>
                    </a:cubicBezTo>
                    <a:cubicBezTo>
                      <a:pt x="11" y="15"/>
                      <a:pt x="11" y="13"/>
                      <a:pt x="11" y="12"/>
                    </a:cubicBezTo>
                    <a:cubicBezTo>
                      <a:pt x="11" y="11"/>
                      <a:pt x="10" y="9"/>
                      <a:pt x="10" y="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5">
                <a:extLst>
                  <a:ext uri="{FF2B5EF4-FFF2-40B4-BE49-F238E27FC236}">
                    <a16:creationId xmlns:a16="http://schemas.microsoft.com/office/drawing/2014/main" id="{65BF7AF9-65EB-D0F7-ABC2-98E8E77B0E98}"/>
                  </a:ext>
                </a:extLst>
              </p:cNvPr>
              <p:cNvSpPr>
                <a:spLocks/>
              </p:cNvSpPr>
              <p:nvPr/>
            </p:nvSpPr>
            <p:spPr bwMode="auto">
              <a:xfrm>
                <a:off x="7175768" y="3804804"/>
                <a:ext cx="14908" cy="16039"/>
              </a:xfrm>
              <a:custGeom>
                <a:avLst/>
                <a:gdLst/>
                <a:ahLst/>
                <a:cxnLst>
                  <a:cxn ang="0">
                    <a:pos x="10" y="6"/>
                  </a:cxn>
                  <a:cxn ang="0">
                    <a:pos x="9" y="2"/>
                  </a:cxn>
                  <a:cxn ang="0">
                    <a:pos x="5" y="0"/>
                  </a:cxn>
                  <a:cxn ang="0">
                    <a:pos x="2" y="2"/>
                  </a:cxn>
                  <a:cxn ang="0">
                    <a:pos x="1" y="3"/>
                  </a:cxn>
                  <a:cxn ang="0">
                    <a:pos x="0" y="7"/>
                  </a:cxn>
                  <a:cxn ang="0">
                    <a:pos x="2" y="8"/>
                  </a:cxn>
                  <a:cxn ang="0">
                    <a:pos x="4" y="9"/>
                  </a:cxn>
                  <a:cxn ang="0">
                    <a:pos x="6" y="10"/>
                  </a:cxn>
                  <a:cxn ang="0">
                    <a:pos x="9" y="10"/>
                  </a:cxn>
                  <a:cxn ang="0">
                    <a:pos x="10" y="6"/>
                  </a:cxn>
                </a:cxnLst>
                <a:rect l="0" t="0" r="r" b="b"/>
                <a:pathLst>
                  <a:path w="10" h="11">
                    <a:moveTo>
                      <a:pt x="10" y="6"/>
                    </a:moveTo>
                    <a:cubicBezTo>
                      <a:pt x="10" y="5"/>
                      <a:pt x="9" y="3"/>
                      <a:pt x="9" y="2"/>
                    </a:cubicBezTo>
                    <a:cubicBezTo>
                      <a:pt x="8" y="1"/>
                      <a:pt x="6" y="0"/>
                      <a:pt x="5" y="0"/>
                    </a:cubicBezTo>
                    <a:cubicBezTo>
                      <a:pt x="4" y="0"/>
                      <a:pt x="3" y="1"/>
                      <a:pt x="2" y="2"/>
                    </a:cubicBezTo>
                    <a:cubicBezTo>
                      <a:pt x="2" y="2"/>
                      <a:pt x="2" y="3"/>
                      <a:pt x="1" y="3"/>
                    </a:cubicBezTo>
                    <a:cubicBezTo>
                      <a:pt x="1" y="4"/>
                      <a:pt x="0" y="6"/>
                      <a:pt x="0" y="7"/>
                    </a:cubicBezTo>
                    <a:cubicBezTo>
                      <a:pt x="0" y="8"/>
                      <a:pt x="2" y="8"/>
                      <a:pt x="2" y="8"/>
                    </a:cubicBezTo>
                    <a:cubicBezTo>
                      <a:pt x="3" y="8"/>
                      <a:pt x="4" y="9"/>
                      <a:pt x="4" y="9"/>
                    </a:cubicBezTo>
                    <a:cubicBezTo>
                      <a:pt x="5" y="9"/>
                      <a:pt x="5" y="10"/>
                      <a:pt x="6" y="10"/>
                    </a:cubicBezTo>
                    <a:cubicBezTo>
                      <a:pt x="6" y="11"/>
                      <a:pt x="8" y="10"/>
                      <a:pt x="9" y="10"/>
                    </a:cubicBezTo>
                    <a:cubicBezTo>
                      <a:pt x="10" y="9"/>
                      <a:pt x="10" y="7"/>
                      <a:pt x="10" y="6"/>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
                <a:extLst>
                  <a:ext uri="{FF2B5EF4-FFF2-40B4-BE49-F238E27FC236}">
                    <a16:creationId xmlns:a16="http://schemas.microsoft.com/office/drawing/2014/main" id="{1065A632-45B1-2FE1-E342-A4D1FB4B4455}"/>
                  </a:ext>
                </a:extLst>
              </p:cNvPr>
              <p:cNvSpPr>
                <a:spLocks/>
              </p:cNvSpPr>
              <p:nvPr/>
            </p:nvSpPr>
            <p:spPr bwMode="auto">
              <a:xfrm>
                <a:off x="7116134" y="3717925"/>
                <a:ext cx="17619" cy="20049"/>
              </a:xfrm>
              <a:custGeom>
                <a:avLst/>
                <a:gdLst/>
                <a:ahLst/>
                <a:cxnLst>
                  <a:cxn ang="0">
                    <a:pos x="10" y="8"/>
                  </a:cxn>
                  <a:cxn ang="0">
                    <a:pos x="8" y="5"/>
                  </a:cxn>
                  <a:cxn ang="0">
                    <a:pos x="8" y="2"/>
                  </a:cxn>
                  <a:cxn ang="0">
                    <a:pos x="6" y="0"/>
                  </a:cxn>
                  <a:cxn ang="0">
                    <a:pos x="4" y="2"/>
                  </a:cxn>
                  <a:cxn ang="0">
                    <a:pos x="4" y="5"/>
                  </a:cxn>
                  <a:cxn ang="0">
                    <a:pos x="3" y="9"/>
                  </a:cxn>
                  <a:cxn ang="0">
                    <a:pos x="1" y="9"/>
                  </a:cxn>
                  <a:cxn ang="0">
                    <a:pos x="0" y="12"/>
                  </a:cxn>
                  <a:cxn ang="0">
                    <a:pos x="4" y="14"/>
                  </a:cxn>
                  <a:cxn ang="0">
                    <a:pos x="9" y="13"/>
                  </a:cxn>
                  <a:cxn ang="0">
                    <a:pos x="10" y="8"/>
                  </a:cxn>
                </a:cxnLst>
                <a:rect l="0" t="0" r="r" b="b"/>
                <a:pathLst>
                  <a:path w="11" h="14">
                    <a:moveTo>
                      <a:pt x="10" y="8"/>
                    </a:moveTo>
                    <a:cubicBezTo>
                      <a:pt x="10" y="7"/>
                      <a:pt x="9" y="6"/>
                      <a:pt x="8" y="5"/>
                    </a:cubicBezTo>
                    <a:cubicBezTo>
                      <a:pt x="8" y="4"/>
                      <a:pt x="9" y="2"/>
                      <a:pt x="8" y="2"/>
                    </a:cubicBezTo>
                    <a:cubicBezTo>
                      <a:pt x="8" y="1"/>
                      <a:pt x="6" y="0"/>
                      <a:pt x="6" y="0"/>
                    </a:cubicBezTo>
                    <a:cubicBezTo>
                      <a:pt x="5" y="0"/>
                      <a:pt x="4" y="1"/>
                      <a:pt x="4" y="2"/>
                    </a:cubicBezTo>
                    <a:cubicBezTo>
                      <a:pt x="3" y="2"/>
                      <a:pt x="4" y="4"/>
                      <a:pt x="4" y="5"/>
                    </a:cubicBezTo>
                    <a:cubicBezTo>
                      <a:pt x="4" y="6"/>
                      <a:pt x="4" y="9"/>
                      <a:pt x="3" y="9"/>
                    </a:cubicBezTo>
                    <a:cubicBezTo>
                      <a:pt x="3" y="10"/>
                      <a:pt x="2" y="9"/>
                      <a:pt x="1" y="9"/>
                    </a:cubicBezTo>
                    <a:cubicBezTo>
                      <a:pt x="1" y="10"/>
                      <a:pt x="0" y="11"/>
                      <a:pt x="0" y="12"/>
                    </a:cubicBezTo>
                    <a:cubicBezTo>
                      <a:pt x="1" y="13"/>
                      <a:pt x="3" y="14"/>
                      <a:pt x="4" y="14"/>
                    </a:cubicBezTo>
                    <a:cubicBezTo>
                      <a:pt x="6" y="14"/>
                      <a:pt x="8" y="13"/>
                      <a:pt x="9" y="13"/>
                    </a:cubicBezTo>
                    <a:cubicBezTo>
                      <a:pt x="10" y="12"/>
                      <a:pt x="11" y="9"/>
                      <a:pt x="10" y="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7">
                <a:extLst>
                  <a:ext uri="{FF2B5EF4-FFF2-40B4-BE49-F238E27FC236}">
                    <a16:creationId xmlns:a16="http://schemas.microsoft.com/office/drawing/2014/main" id="{FDF7ADB4-9E06-DAF0-9C10-0C2A8CA6B180}"/>
                  </a:ext>
                </a:extLst>
              </p:cNvPr>
              <p:cNvSpPr>
                <a:spLocks/>
              </p:cNvSpPr>
              <p:nvPr/>
            </p:nvSpPr>
            <p:spPr bwMode="auto">
              <a:xfrm>
                <a:off x="7128332" y="3635056"/>
                <a:ext cx="89451" cy="60147"/>
              </a:xfrm>
              <a:custGeom>
                <a:avLst/>
                <a:gdLst/>
                <a:ahLst/>
                <a:cxnLst>
                  <a:cxn ang="0">
                    <a:pos x="54" y="16"/>
                  </a:cxn>
                  <a:cxn ang="0">
                    <a:pos x="55" y="5"/>
                  </a:cxn>
                  <a:cxn ang="0">
                    <a:pos x="50" y="0"/>
                  </a:cxn>
                  <a:cxn ang="0">
                    <a:pos x="47" y="6"/>
                  </a:cxn>
                  <a:cxn ang="0">
                    <a:pos x="45" y="10"/>
                  </a:cxn>
                  <a:cxn ang="0">
                    <a:pos x="42" y="12"/>
                  </a:cxn>
                  <a:cxn ang="0">
                    <a:pos x="39" y="18"/>
                  </a:cxn>
                  <a:cxn ang="0">
                    <a:pos x="36" y="14"/>
                  </a:cxn>
                  <a:cxn ang="0">
                    <a:pos x="31" y="10"/>
                  </a:cxn>
                  <a:cxn ang="0">
                    <a:pos x="26" y="8"/>
                  </a:cxn>
                  <a:cxn ang="0">
                    <a:pos x="27" y="15"/>
                  </a:cxn>
                  <a:cxn ang="0">
                    <a:pos x="25" y="19"/>
                  </a:cxn>
                  <a:cxn ang="0">
                    <a:pos x="16" y="14"/>
                  </a:cxn>
                  <a:cxn ang="0">
                    <a:pos x="11" y="17"/>
                  </a:cxn>
                  <a:cxn ang="0">
                    <a:pos x="3" y="18"/>
                  </a:cxn>
                  <a:cxn ang="0">
                    <a:pos x="1" y="28"/>
                  </a:cxn>
                  <a:cxn ang="0">
                    <a:pos x="10" y="35"/>
                  </a:cxn>
                  <a:cxn ang="0">
                    <a:pos x="17" y="35"/>
                  </a:cxn>
                  <a:cxn ang="0">
                    <a:pos x="22" y="31"/>
                  </a:cxn>
                  <a:cxn ang="0">
                    <a:pos x="29" y="33"/>
                  </a:cxn>
                  <a:cxn ang="0">
                    <a:pos x="32" y="28"/>
                  </a:cxn>
                  <a:cxn ang="0">
                    <a:pos x="35" y="29"/>
                  </a:cxn>
                  <a:cxn ang="0">
                    <a:pos x="37" y="31"/>
                  </a:cxn>
                  <a:cxn ang="0">
                    <a:pos x="37" y="27"/>
                  </a:cxn>
                  <a:cxn ang="0">
                    <a:pos x="42" y="28"/>
                  </a:cxn>
                  <a:cxn ang="0">
                    <a:pos x="44" y="37"/>
                  </a:cxn>
                  <a:cxn ang="0">
                    <a:pos x="50" y="39"/>
                  </a:cxn>
                  <a:cxn ang="0">
                    <a:pos x="54" y="34"/>
                  </a:cxn>
                  <a:cxn ang="0">
                    <a:pos x="49" y="28"/>
                  </a:cxn>
                  <a:cxn ang="0">
                    <a:pos x="53" y="25"/>
                  </a:cxn>
                  <a:cxn ang="0">
                    <a:pos x="56" y="29"/>
                  </a:cxn>
                  <a:cxn ang="0">
                    <a:pos x="58" y="23"/>
                  </a:cxn>
                </a:cxnLst>
                <a:rect l="0" t="0" r="r" b="b"/>
                <a:pathLst>
                  <a:path w="59" h="40">
                    <a:moveTo>
                      <a:pt x="55" y="21"/>
                    </a:moveTo>
                    <a:cubicBezTo>
                      <a:pt x="54" y="20"/>
                      <a:pt x="53" y="17"/>
                      <a:pt x="54" y="16"/>
                    </a:cubicBezTo>
                    <a:cubicBezTo>
                      <a:pt x="54" y="14"/>
                      <a:pt x="56" y="12"/>
                      <a:pt x="56" y="10"/>
                    </a:cubicBezTo>
                    <a:cubicBezTo>
                      <a:pt x="56" y="9"/>
                      <a:pt x="55" y="6"/>
                      <a:pt x="55" y="5"/>
                    </a:cubicBezTo>
                    <a:cubicBezTo>
                      <a:pt x="54" y="4"/>
                      <a:pt x="53" y="3"/>
                      <a:pt x="52" y="2"/>
                    </a:cubicBezTo>
                    <a:cubicBezTo>
                      <a:pt x="52" y="2"/>
                      <a:pt x="51" y="0"/>
                      <a:pt x="50" y="0"/>
                    </a:cubicBezTo>
                    <a:cubicBezTo>
                      <a:pt x="49" y="0"/>
                      <a:pt x="48" y="2"/>
                      <a:pt x="47" y="3"/>
                    </a:cubicBezTo>
                    <a:cubicBezTo>
                      <a:pt x="47" y="3"/>
                      <a:pt x="48" y="5"/>
                      <a:pt x="47" y="6"/>
                    </a:cubicBezTo>
                    <a:cubicBezTo>
                      <a:pt x="47" y="6"/>
                      <a:pt x="46" y="7"/>
                      <a:pt x="45" y="8"/>
                    </a:cubicBezTo>
                    <a:cubicBezTo>
                      <a:pt x="45" y="8"/>
                      <a:pt x="45" y="9"/>
                      <a:pt x="45" y="10"/>
                    </a:cubicBezTo>
                    <a:cubicBezTo>
                      <a:pt x="45" y="10"/>
                      <a:pt x="44" y="10"/>
                      <a:pt x="43" y="10"/>
                    </a:cubicBezTo>
                    <a:cubicBezTo>
                      <a:pt x="43" y="10"/>
                      <a:pt x="42" y="11"/>
                      <a:pt x="42" y="12"/>
                    </a:cubicBezTo>
                    <a:cubicBezTo>
                      <a:pt x="42" y="13"/>
                      <a:pt x="42" y="15"/>
                      <a:pt x="42" y="16"/>
                    </a:cubicBezTo>
                    <a:cubicBezTo>
                      <a:pt x="41" y="17"/>
                      <a:pt x="40" y="18"/>
                      <a:pt x="39" y="18"/>
                    </a:cubicBezTo>
                    <a:cubicBezTo>
                      <a:pt x="38" y="18"/>
                      <a:pt x="37" y="17"/>
                      <a:pt x="37" y="16"/>
                    </a:cubicBezTo>
                    <a:cubicBezTo>
                      <a:pt x="36" y="16"/>
                      <a:pt x="36" y="14"/>
                      <a:pt x="36" y="14"/>
                    </a:cubicBezTo>
                    <a:cubicBezTo>
                      <a:pt x="35" y="13"/>
                      <a:pt x="34" y="13"/>
                      <a:pt x="33" y="12"/>
                    </a:cubicBezTo>
                    <a:cubicBezTo>
                      <a:pt x="32" y="12"/>
                      <a:pt x="31" y="11"/>
                      <a:pt x="31" y="10"/>
                    </a:cubicBezTo>
                    <a:cubicBezTo>
                      <a:pt x="30" y="10"/>
                      <a:pt x="30" y="7"/>
                      <a:pt x="29" y="6"/>
                    </a:cubicBezTo>
                    <a:cubicBezTo>
                      <a:pt x="28" y="6"/>
                      <a:pt x="27" y="7"/>
                      <a:pt x="26" y="8"/>
                    </a:cubicBezTo>
                    <a:cubicBezTo>
                      <a:pt x="26" y="8"/>
                      <a:pt x="26" y="10"/>
                      <a:pt x="27" y="10"/>
                    </a:cubicBezTo>
                    <a:cubicBezTo>
                      <a:pt x="27" y="12"/>
                      <a:pt x="27" y="14"/>
                      <a:pt x="27" y="15"/>
                    </a:cubicBezTo>
                    <a:cubicBezTo>
                      <a:pt x="27" y="15"/>
                      <a:pt x="26" y="16"/>
                      <a:pt x="26" y="17"/>
                    </a:cubicBezTo>
                    <a:cubicBezTo>
                      <a:pt x="25" y="18"/>
                      <a:pt x="26" y="19"/>
                      <a:pt x="25" y="19"/>
                    </a:cubicBezTo>
                    <a:cubicBezTo>
                      <a:pt x="24" y="20"/>
                      <a:pt x="21" y="18"/>
                      <a:pt x="20" y="18"/>
                    </a:cubicBezTo>
                    <a:cubicBezTo>
                      <a:pt x="19" y="17"/>
                      <a:pt x="17" y="14"/>
                      <a:pt x="16" y="14"/>
                    </a:cubicBezTo>
                    <a:cubicBezTo>
                      <a:pt x="15" y="13"/>
                      <a:pt x="13" y="14"/>
                      <a:pt x="13" y="15"/>
                    </a:cubicBezTo>
                    <a:cubicBezTo>
                      <a:pt x="12" y="15"/>
                      <a:pt x="12" y="16"/>
                      <a:pt x="11" y="17"/>
                    </a:cubicBezTo>
                    <a:cubicBezTo>
                      <a:pt x="10" y="17"/>
                      <a:pt x="8" y="16"/>
                      <a:pt x="7" y="16"/>
                    </a:cubicBezTo>
                    <a:cubicBezTo>
                      <a:pt x="6" y="17"/>
                      <a:pt x="4" y="18"/>
                      <a:pt x="3" y="18"/>
                    </a:cubicBezTo>
                    <a:cubicBezTo>
                      <a:pt x="2" y="19"/>
                      <a:pt x="0" y="22"/>
                      <a:pt x="0" y="23"/>
                    </a:cubicBezTo>
                    <a:cubicBezTo>
                      <a:pt x="0" y="24"/>
                      <a:pt x="0" y="27"/>
                      <a:pt x="1" y="28"/>
                    </a:cubicBezTo>
                    <a:cubicBezTo>
                      <a:pt x="2" y="29"/>
                      <a:pt x="5" y="29"/>
                      <a:pt x="6" y="30"/>
                    </a:cubicBezTo>
                    <a:cubicBezTo>
                      <a:pt x="7" y="31"/>
                      <a:pt x="8" y="35"/>
                      <a:pt x="10" y="35"/>
                    </a:cubicBezTo>
                    <a:cubicBezTo>
                      <a:pt x="11" y="35"/>
                      <a:pt x="13" y="33"/>
                      <a:pt x="14" y="33"/>
                    </a:cubicBezTo>
                    <a:cubicBezTo>
                      <a:pt x="14" y="33"/>
                      <a:pt x="16" y="35"/>
                      <a:pt x="17" y="35"/>
                    </a:cubicBezTo>
                    <a:cubicBezTo>
                      <a:pt x="18" y="35"/>
                      <a:pt x="20" y="36"/>
                      <a:pt x="21" y="35"/>
                    </a:cubicBezTo>
                    <a:cubicBezTo>
                      <a:pt x="22" y="34"/>
                      <a:pt x="21" y="32"/>
                      <a:pt x="22" y="31"/>
                    </a:cubicBezTo>
                    <a:cubicBezTo>
                      <a:pt x="23" y="30"/>
                      <a:pt x="24" y="30"/>
                      <a:pt x="25" y="30"/>
                    </a:cubicBezTo>
                    <a:cubicBezTo>
                      <a:pt x="26" y="30"/>
                      <a:pt x="28" y="33"/>
                      <a:pt x="29" y="33"/>
                    </a:cubicBezTo>
                    <a:cubicBezTo>
                      <a:pt x="30" y="33"/>
                      <a:pt x="31" y="31"/>
                      <a:pt x="32" y="31"/>
                    </a:cubicBezTo>
                    <a:cubicBezTo>
                      <a:pt x="32" y="30"/>
                      <a:pt x="31" y="28"/>
                      <a:pt x="32" y="28"/>
                    </a:cubicBezTo>
                    <a:cubicBezTo>
                      <a:pt x="32" y="27"/>
                      <a:pt x="34" y="27"/>
                      <a:pt x="34" y="27"/>
                    </a:cubicBezTo>
                    <a:cubicBezTo>
                      <a:pt x="35" y="27"/>
                      <a:pt x="35" y="28"/>
                      <a:pt x="35" y="29"/>
                    </a:cubicBezTo>
                    <a:cubicBezTo>
                      <a:pt x="35" y="29"/>
                      <a:pt x="34" y="31"/>
                      <a:pt x="35" y="31"/>
                    </a:cubicBezTo>
                    <a:cubicBezTo>
                      <a:pt x="35" y="31"/>
                      <a:pt x="36" y="31"/>
                      <a:pt x="37" y="31"/>
                    </a:cubicBezTo>
                    <a:cubicBezTo>
                      <a:pt x="37" y="30"/>
                      <a:pt x="37" y="29"/>
                      <a:pt x="37" y="28"/>
                    </a:cubicBezTo>
                    <a:cubicBezTo>
                      <a:pt x="37" y="28"/>
                      <a:pt x="37" y="27"/>
                      <a:pt x="37" y="27"/>
                    </a:cubicBezTo>
                    <a:cubicBezTo>
                      <a:pt x="38" y="26"/>
                      <a:pt x="39" y="26"/>
                      <a:pt x="39" y="27"/>
                    </a:cubicBezTo>
                    <a:cubicBezTo>
                      <a:pt x="40" y="27"/>
                      <a:pt x="42" y="28"/>
                      <a:pt x="42" y="28"/>
                    </a:cubicBezTo>
                    <a:cubicBezTo>
                      <a:pt x="42" y="29"/>
                      <a:pt x="42" y="31"/>
                      <a:pt x="42" y="32"/>
                    </a:cubicBezTo>
                    <a:cubicBezTo>
                      <a:pt x="42" y="33"/>
                      <a:pt x="43" y="36"/>
                      <a:pt x="44" y="37"/>
                    </a:cubicBezTo>
                    <a:cubicBezTo>
                      <a:pt x="45" y="37"/>
                      <a:pt x="48" y="36"/>
                      <a:pt x="49" y="37"/>
                    </a:cubicBezTo>
                    <a:cubicBezTo>
                      <a:pt x="49" y="37"/>
                      <a:pt x="49" y="39"/>
                      <a:pt x="50" y="39"/>
                    </a:cubicBezTo>
                    <a:cubicBezTo>
                      <a:pt x="51" y="39"/>
                      <a:pt x="52" y="40"/>
                      <a:pt x="53" y="40"/>
                    </a:cubicBezTo>
                    <a:cubicBezTo>
                      <a:pt x="54" y="39"/>
                      <a:pt x="54" y="36"/>
                      <a:pt x="54" y="34"/>
                    </a:cubicBezTo>
                    <a:cubicBezTo>
                      <a:pt x="54" y="33"/>
                      <a:pt x="51" y="32"/>
                      <a:pt x="50" y="31"/>
                    </a:cubicBezTo>
                    <a:cubicBezTo>
                      <a:pt x="50" y="30"/>
                      <a:pt x="49" y="29"/>
                      <a:pt x="49" y="28"/>
                    </a:cubicBezTo>
                    <a:cubicBezTo>
                      <a:pt x="49" y="27"/>
                      <a:pt x="50" y="26"/>
                      <a:pt x="50" y="26"/>
                    </a:cubicBezTo>
                    <a:cubicBezTo>
                      <a:pt x="51" y="25"/>
                      <a:pt x="53" y="25"/>
                      <a:pt x="53" y="25"/>
                    </a:cubicBezTo>
                    <a:cubicBezTo>
                      <a:pt x="54" y="26"/>
                      <a:pt x="53" y="28"/>
                      <a:pt x="54" y="29"/>
                    </a:cubicBezTo>
                    <a:cubicBezTo>
                      <a:pt x="54" y="29"/>
                      <a:pt x="55" y="29"/>
                      <a:pt x="56" y="29"/>
                    </a:cubicBezTo>
                    <a:cubicBezTo>
                      <a:pt x="57" y="28"/>
                      <a:pt x="58" y="27"/>
                      <a:pt x="58" y="27"/>
                    </a:cubicBezTo>
                    <a:cubicBezTo>
                      <a:pt x="58" y="26"/>
                      <a:pt x="59" y="24"/>
                      <a:pt x="58" y="23"/>
                    </a:cubicBezTo>
                    <a:cubicBezTo>
                      <a:pt x="58" y="22"/>
                      <a:pt x="55" y="22"/>
                      <a:pt x="55" y="2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8">
                <a:extLst>
                  <a:ext uri="{FF2B5EF4-FFF2-40B4-BE49-F238E27FC236}">
                    <a16:creationId xmlns:a16="http://schemas.microsoft.com/office/drawing/2014/main" id="{B612FBC2-E2F6-DA99-1477-B86D1A92D1A9}"/>
                  </a:ext>
                </a:extLst>
              </p:cNvPr>
              <p:cNvSpPr>
                <a:spLocks/>
              </p:cNvSpPr>
              <p:nvPr/>
            </p:nvSpPr>
            <p:spPr bwMode="auto">
              <a:xfrm>
                <a:off x="7055145" y="3570900"/>
                <a:ext cx="14908" cy="25396"/>
              </a:xfrm>
              <a:custGeom>
                <a:avLst/>
                <a:gdLst/>
                <a:ahLst/>
                <a:cxnLst>
                  <a:cxn ang="0">
                    <a:pos x="9" y="4"/>
                  </a:cxn>
                  <a:cxn ang="0">
                    <a:pos x="7" y="0"/>
                  </a:cxn>
                  <a:cxn ang="0">
                    <a:pos x="5" y="0"/>
                  </a:cxn>
                  <a:cxn ang="0">
                    <a:pos x="4" y="3"/>
                  </a:cxn>
                  <a:cxn ang="0">
                    <a:pos x="2" y="6"/>
                  </a:cxn>
                  <a:cxn ang="0">
                    <a:pos x="3" y="10"/>
                  </a:cxn>
                  <a:cxn ang="0">
                    <a:pos x="1" y="11"/>
                  </a:cxn>
                  <a:cxn ang="0">
                    <a:pos x="1" y="15"/>
                  </a:cxn>
                  <a:cxn ang="0">
                    <a:pos x="3" y="16"/>
                  </a:cxn>
                  <a:cxn ang="0">
                    <a:pos x="5" y="17"/>
                  </a:cxn>
                  <a:cxn ang="0">
                    <a:pos x="8" y="15"/>
                  </a:cxn>
                  <a:cxn ang="0">
                    <a:pos x="9" y="12"/>
                  </a:cxn>
                  <a:cxn ang="0">
                    <a:pos x="10" y="8"/>
                  </a:cxn>
                  <a:cxn ang="0">
                    <a:pos x="9" y="4"/>
                  </a:cxn>
                </a:cxnLst>
                <a:rect l="0" t="0" r="r" b="b"/>
                <a:pathLst>
                  <a:path w="10" h="17">
                    <a:moveTo>
                      <a:pt x="9" y="4"/>
                    </a:moveTo>
                    <a:cubicBezTo>
                      <a:pt x="8" y="3"/>
                      <a:pt x="8" y="1"/>
                      <a:pt x="7" y="0"/>
                    </a:cubicBezTo>
                    <a:cubicBezTo>
                      <a:pt x="7" y="0"/>
                      <a:pt x="5" y="0"/>
                      <a:pt x="5" y="0"/>
                    </a:cubicBezTo>
                    <a:cubicBezTo>
                      <a:pt x="4" y="1"/>
                      <a:pt x="5" y="3"/>
                      <a:pt x="4" y="3"/>
                    </a:cubicBezTo>
                    <a:cubicBezTo>
                      <a:pt x="4" y="4"/>
                      <a:pt x="2" y="5"/>
                      <a:pt x="2" y="6"/>
                    </a:cubicBezTo>
                    <a:cubicBezTo>
                      <a:pt x="1" y="7"/>
                      <a:pt x="3" y="9"/>
                      <a:pt x="3" y="10"/>
                    </a:cubicBezTo>
                    <a:cubicBezTo>
                      <a:pt x="2" y="10"/>
                      <a:pt x="1" y="11"/>
                      <a:pt x="1" y="11"/>
                    </a:cubicBezTo>
                    <a:cubicBezTo>
                      <a:pt x="0" y="12"/>
                      <a:pt x="0" y="14"/>
                      <a:pt x="1" y="15"/>
                    </a:cubicBezTo>
                    <a:cubicBezTo>
                      <a:pt x="1" y="15"/>
                      <a:pt x="3" y="15"/>
                      <a:pt x="3" y="16"/>
                    </a:cubicBezTo>
                    <a:cubicBezTo>
                      <a:pt x="4" y="16"/>
                      <a:pt x="5" y="17"/>
                      <a:pt x="5" y="17"/>
                    </a:cubicBezTo>
                    <a:cubicBezTo>
                      <a:pt x="6" y="17"/>
                      <a:pt x="8" y="16"/>
                      <a:pt x="8" y="15"/>
                    </a:cubicBezTo>
                    <a:cubicBezTo>
                      <a:pt x="8" y="14"/>
                      <a:pt x="8" y="13"/>
                      <a:pt x="9" y="12"/>
                    </a:cubicBezTo>
                    <a:cubicBezTo>
                      <a:pt x="9" y="11"/>
                      <a:pt x="10" y="9"/>
                      <a:pt x="10" y="8"/>
                    </a:cubicBezTo>
                    <a:cubicBezTo>
                      <a:pt x="10" y="7"/>
                      <a:pt x="9" y="5"/>
                      <a:pt x="9" y="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9">
                <a:extLst>
                  <a:ext uri="{FF2B5EF4-FFF2-40B4-BE49-F238E27FC236}">
                    <a16:creationId xmlns:a16="http://schemas.microsoft.com/office/drawing/2014/main" id="{72955BBE-71C3-0102-77F8-006D5A70951A}"/>
                  </a:ext>
                </a:extLst>
              </p:cNvPr>
              <p:cNvSpPr>
                <a:spLocks/>
              </p:cNvSpPr>
              <p:nvPr/>
            </p:nvSpPr>
            <p:spPr bwMode="auto">
              <a:xfrm>
                <a:off x="7078185" y="3457290"/>
                <a:ext cx="8132" cy="10693"/>
              </a:xfrm>
              <a:custGeom>
                <a:avLst/>
                <a:gdLst/>
                <a:ahLst/>
                <a:cxnLst>
                  <a:cxn ang="0">
                    <a:pos x="4" y="1"/>
                  </a:cxn>
                  <a:cxn ang="0">
                    <a:pos x="1" y="1"/>
                  </a:cxn>
                  <a:cxn ang="0">
                    <a:pos x="0" y="4"/>
                  </a:cxn>
                  <a:cxn ang="0">
                    <a:pos x="1" y="7"/>
                  </a:cxn>
                  <a:cxn ang="0">
                    <a:pos x="4" y="7"/>
                  </a:cxn>
                  <a:cxn ang="0">
                    <a:pos x="5" y="3"/>
                  </a:cxn>
                  <a:cxn ang="0">
                    <a:pos x="4" y="1"/>
                  </a:cxn>
                </a:cxnLst>
                <a:rect l="0" t="0" r="r" b="b"/>
                <a:pathLst>
                  <a:path w="5" h="8">
                    <a:moveTo>
                      <a:pt x="4" y="1"/>
                    </a:moveTo>
                    <a:cubicBezTo>
                      <a:pt x="3" y="0"/>
                      <a:pt x="1" y="1"/>
                      <a:pt x="1" y="1"/>
                    </a:cubicBezTo>
                    <a:cubicBezTo>
                      <a:pt x="0" y="1"/>
                      <a:pt x="0" y="3"/>
                      <a:pt x="0" y="4"/>
                    </a:cubicBezTo>
                    <a:cubicBezTo>
                      <a:pt x="0" y="5"/>
                      <a:pt x="1" y="7"/>
                      <a:pt x="1" y="7"/>
                    </a:cubicBezTo>
                    <a:cubicBezTo>
                      <a:pt x="2" y="8"/>
                      <a:pt x="4" y="7"/>
                      <a:pt x="4" y="7"/>
                    </a:cubicBezTo>
                    <a:cubicBezTo>
                      <a:pt x="5" y="6"/>
                      <a:pt x="5" y="4"/>
                      <a:pt x="5" y="3"/>
                    </a:cubicBezTo>
                    <a:cubicBezTo>
                      <a:pt x="5" y="2"/>
                      <a:pt x="4" y="1"/>
                      <a:pt x="4" y="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30">
                <a:extLst>
                  <a:ext uri="{FF2B5EF4-FFF2-40B4-BE49-F238E27FC236}">
                    <a16:creationId xmlns:a16="http://schemas.microsoft.com/office/drawing/2014/main" id="{72F0237A-CA9A-642E-3973-0B2FA36431C8}"/>
                  </a:ext>
                </a:extLst>
              </p:cNvPr>
              <p:cNvSpPr>
                <a:spLocks/>
              </p:cNvSpPr>
              <p:nvPr/>
            </p:nvSpPr>
            <p:spPr bwMode="auto">
              <a:xfrm>
                <a:off x="7033460" y="3135170"/>
                <a:ext cx="622089" cy="669634"/>
              </a:xfrm>
              <a:custGeom>
                <a:avLst/>
                <a:gdLst/>
                <a:ahLst/>
                <a:cxnLst>
                  <a:cxn ang="0">
                    <a:pos x="334" y="361"/>
                  </a:cxn>
                  <a:cxn ang="0">
                    <a:pos x="337" y="391"/>
                  </a:cxn>
                  <a:cxn ang="0">
                    <a:pos x="327" y="415"/>
                  </a:cxn>
                  <a:cxn ang="0">
                    <a:pos x="313" y="428"/>
                  </a:cxn>
                  <a:cxn ang="0">
                    <a:pos x="296" y="446"/>
                  </a:cxn>
                  <a:cxn ang="0">
                    <a:pos x="252" y="436"/>
                  </a:cxn>
                  <a:cxn ang="0">
                    <a:pos x="238" y="445"/>
                  </a:cxn>
                  <a:cxn ang="0">
                    <a:pos x="224" y="441"/>
                  </a:cxn>
                  <a:cxn ang="0">
                    <a:pos x="227" y="430"/>
                  </a:cxn>
                  <a:cxn ang="0">
                    <a:pos x="232" y="406"/>
                  </a:cxn>
                  <a:cxn ang="0">
                    <a:pos x="218" y="395"/>
                  </a:cxn>
                  <a:cxn ang="0">
                    <a:pos x="194" y="364"/>
                  </a:cxn>
                  <a:cxn ang="0">
                    <a:pos x="164" y="353"/>
                  </a:cxn>
                  <a:cxn ang="0">
                    <a:pos x="170" y="332"/>
                  </a:cxn>
                  <a:cxn ang="0">
                    <a:pos x="138" y="320"/>
                  </a:cxn>
                  <a:cxn ang="0">
                    <a:pos x="125" y="322"/>
                  </a:cxn>
                  <a:cxn ang="0">
                    <a:pos x="130" y="301"/>
                  </a:cxn>
                  <a:cxn ang="0">
                    <a:pos x="129" y="257"/>
                  </a:cxn>
                  <a:cxn ang="0">
                    <a:pos x="118" y="234"/>
                  </a:cxn>
                  <a:cxn ang="0">
                    <a:pos x="97" y="202"/>
                  </a:cxn>
                  <a:cxn ang="0">
                    <a:pos x="96" y="180"/>
                  </a:cxn>
                  <a:cxn ang="0">
                    <a:pos x="89" y="148"/>
                  </a:cxn>
                  <a:cxn ang="0">
                    <a:pos x="79" y="109"/>
                  </a:cxn>
                  <a:cxn ang="0">
                    <a:pos x="58" y="91"/>
                  </a:cxn>
                  <a:cxn ang="0">
                    <a:pos x="41" y="66"/>
                  </a:cxn>
                  <a:cxn ang="0">
                    <a:pos x="15" y="32"/>
                  </a:cxn>
                  <a:cxn ang="0">
                    <a:pos x="7" y="19"/>
                  </a:cxn>
                  <a:cxn ang="0">
                    <a:pos x="29" y="1"/>
                  </a:cxn>
                  <a:cxn ang="0">
                    <a:pos x="49" y="18"/>
                  </a:cxn>
                  <a:cxn ang="0">
                    <a:pos x="87" y="40"/>
                  </a:cxn>
                  <a:cxn ang="0">
                    <a:pos x="98" y="36"/>
                  </a:cxn>
                  <a:cxn ang="0">
                    <a:pos x="129" y="65"/>
                  </a:cxn>
                  <a:cxn ang="0">
                    <a:pos x="165" y="64"/>
                  </a:cxn>
                  <a:cxn ang="0">
                    <a:pos x="197" y="70"/>
                  </a:cxn>
                  <a:cxn ang="0">
                    <a:pos x="225" y="78"/>
                  </a:cxn>
                  <a:cxn ang="0">
                    <a:pos x="242" y="64"/>
                  </a:cxn>
                  <a:cxn ang="0">
                    <a:pos x="264" y="49"/>
                  </a:cxn>
                  <a:cxn ang="0">
                    <a:pos x="289" y="60"/>
                  </a:cxn>
                  <a:cxn ang="0">
                    <a:pos x="311" y="71"/>
                  </a:cxn>
                  <a:cxn ang="0">
                    <a:pos x="318" y="82"/>
                  </a:cxn>
                  <a:cxn ang="0">
                    <a:pos x="310" y="108"/>
                  </a:cxn>
                  <a:cxn ang="0">
                    <a:pos x="340" y="135"/>
                  </a:cxn>
                  <a:cxn ang="0">
                    <a:pos x="369" y="147"/>
                  </a:cxn>
                  <a:cxn ang="0">
                    <a:pos x="390" y="145"/>
                  </a:cxn>
                  <a:cxn ang="0">
                    <a:pos x="409" y="149"/>
                  </a:cxn>
                  <a:cxn ang="0">
                    <a:pos x="399" y="165"/>
                  </a:cxn>
                  <a:cxn ang="0">
                    <a:pos x="390" y="186"/>
                  </a:cxn>
                  <a:cxn ang="0">
                    <a:pos x="376" y="209"/>
                  </a:cxn>
                  <a:cxn ang="0">
                    <a:pos x="380" y="231"/>
                  </a:cxn>
                  <a:cxn ang="0">
                    <a:pos x="388" y="255"/>
                  </a:cxn>
                  <a:cxn ang="0">
                    <a:pos x="363" y="279"/>
                  </a:cxn>
                  <a:cxn ang="0">
                    <a:pos x="353" y="298"/>
                  </a:cxn>
                  <a:cxn ang="0">
                    <a:pos x="363" y="329"/>
                  </a:cxn>
                </a:cxnLst>
                <a:rect l="0" t="0" r="r" b="b"/>
                <a:pathLst>
                  <a:path w="412" h="450">
                    <a:moveTo>
                      <a:pt x="353" y="347"/>
                    </a:moveTo>
                    <a:cubicBezTo>
                      <a:pt x="352" y="347"/>
                      <a:pt x="351" y="347"/>
                      <a:pt x="351" y="348"/>
                    </a:cubicBezTo>
                    <a:cubicBezTo>
                      <a:pt x="349" y="349"/>
                      <a:pt x="344" y="349"/>
                      <a:pt x="342" y="350"/>
                    </a:cubicBezTo>
                    <a:cubicBezTo>
                      <a:pt x="340" y="350"/>
                      <a:pt x="338" y="353"/>
                      <a:pt x="337" y="354"/>
                    </a:cubicBezTo>
                    <a:cubicBezTo>
                      <a:pt x="336" y="356"/>
                      <a:pt x="334" y="359"/>
                      <a:pt x="334" y="361"/>
                    </a:cubicBezTo>
                    <a:cubicBezTo>
                      <a:pt x="334" y="363"/>
                      <a:pt x="336" y="366"/>
                      <a:pt x="337" y="368"/>
                    </a:cubicBezTo>
                    <a:cubicBezTo>
                      <a:pt x="338" y="370"/>
                      <a:pt x="341" y="372"/>
                      <a:pt x="342" y="373"/>
                    </a:cubicBezTo>
                    <a:cubicBezTo>
                      <a:pt x="343" y="375"/>
                      <a:pt x="344" y="379"/>
                      <a:pt x="344" y="381"/>
                    </a:cubicBezTo>
                    <a:cubicBezTo>
                      <a:pt x="344" y="382"/>
                      <a:pt x="342" y="385"/>
                      <a:pt x="341" y="386"/>
                    </a:cubicBezTo>
                    <a:cubicBezTo>
                      <a:pt x="340" y="387"/>
                      <a:pt x="338" y="390"/>
                      <a:pt x="337" y="391"/>
                    </a:cubicBezTo>
                    <a:cubicBezTo>
                      <a:pt x="336" y="392"/>
                      <a:pt x="333" y="393"/>
                      <a:pt x="332" y="394"/>
                    </a:cubicBezTo>
                    <a:cubicBezTo>
                      <a:pt x="332" y="395"/>
                      <a:pt x="331" y="398"/>
                      <a:pt x="331" y="399"/>
                    </a:cubicBezTo>
                    <a:cubicBezTo>
                      <a:pt x="331" y="401"/>
                      <a:pt x="333" y="404"/>
                      <a:pt x="332" y="406"/>
                    </a:cubicBezTo>
                    <a:cubicBezTo>
                      <a:pt x="332" y="407"/>
                      <a:pt x="330" y="408"/>
                      <a:pt x="329" y="409"/>
                    </a:cubicBezTo>
                    <a:cubicBezTo>
                      <a:pt x="328" y="411"/>
                      <a:pt x="326" y="415"/>
                      <a:pt x="327" y="415"/>
                    </a:cubicBezTo>
                    <a:cubicBezTo>
                      <a:pt x="326" y="415"/>
                      <a:pt x="319" y="417"/>
                      <a:pt x="316" y="417"/>
                    </a:cubicBezTo>
                    <a:cubicBezTo>
                      <a:pt x="314" y="418"/>
                      <a:pt x="310" y="418"/>
                      <a:pt x="309" y="418"/>
                    </a:cubicBezTo>
                    <a:cubicBezTo>
                      <a:pt x="307" y="419"/>
                      <a:pt x="304" y="421"/>
                      <a:pt x="304" y="423"/>
                    </a:cubicBezTo>
                    <a:cubicBezTo>
                      <a:pt x="304" y="424"/>
                      <a:pt x="305" y="427"/>
                      <a:pt x="306" y="428"/>
                    </a:cubicBezTo>
                    <a:cubicBezTo>
                      <a:pt x="308" y="429"/>
                      <a:pt x="311" y="427"/>
                      <a:pt x="313" y="428"/>
                    </a:cubicBezTo>
                    <a:cubicBezTo>
                      <a:pt x="314" y="429"/>
                      <a:pt x="317" y="431"/>
                      <a:pt x="317" y="433"/>
                    </a:cubicBezTo>
                    <a:cubicBezTo>
                      <a:pt x="318" y="435"/>
                      <a:pt x="316" y="438"/>
                      <a:pt x="315" y="439"/>
                    </a:cubicBezTo>
                    <a:cubicBezTo>
                      <a:pt x="314" y="441"/>
                      <a:pt x="311" y="442"/>
                      <a:pt x="309" y="443"/>
                    </a:cubicBezTo>
                    <a:cubicBezTo>
                      <a:pt x="308" y="444"/>
                      <a:pt x="305" y="444"/>
                      <a:pt x="303" y="444"/>
                    </a:cubicBezTo>
                    <a:cubicBezTo>
                      <a:pt x="301" y="445"/>
                      <a:pt x="297" y="445"/>
                      <a:pt x="296" y="446"/>
                    </a:cubicBezTo>
                    <a:cubicBezTo>
                      <a:pt x="295" y="447"/>
                      <a:pt x="294" y="449"/>
                      <a:pt x="292" y="450"/>
                    </a:cubicBezTo>
                    <a:cubicBezTo>
                      <a:pt x="289" y="449"/>
                      <a:pt x="283" y="447"/>
                      <a:pt x="281" y="445"/>
                    </a:cubicBezTo>
                    <a:cubicBezTo>
                      <a:pt x="277" y="444"/>
                      <a:pt x="270" y="441"/>
                      <a:pt x="267" y="440"/>
                    </a:cubicBezTo>
                    <a:cubicBezTo>
                      <a:pt x="264" y="440"/>
                      <a:pt x="258" y="439"/>
                      <a:pt x="255" y="438"/>
                    </a:cubicBezTo>
                    <a:cubicBezTo>
                      <a:pt x="254" y="438"/>
                      <a:pt x="253" y="436"/>
                      <a:pt x="252" y="436"/>
                    </a:cubicBezTo>
                    <a:cubicBezTo>
                      <a:pt x="251" y="436"/>
                      <a:pt x="248" y="436"/>
                      <a:pt x="247" y="436"/>
                    </a:cubicBezTo>
                    <a:cubicBezTo>
                      <a:pt x="246" y="436"/>
                      <a:pt x="243" y="436"/>
                      <a:pt x="242" y="436"/>
                    </a:cubicBezTo>
                    <a:cubicBezTo>
                      <a:pt x="241" y="437"/>
                      <a:pt x="240" y="437"/>
                      <a:pt x="239" y="438"/>
                    </a:cubicBezTo>
                    <a:cubicBezTo>
                      <a:pt x="239" y="439"/>
                      <a:pt x="240" y="441"/>
                      <a:pt x="240" y="442"/>
                    </a:cubicBezTo>
                    <a:cubicBezTo>
                      <a:pt x="240" y="443"/>
                      <a:pt x="239" y="444"/>
                      <a:pt x="238" y="445"/>
                    </a:cubicBezTo>
                    <a:cubicBezTo>
                      <a:pt x="238" y="446"/>
                      <a:pt x="238" y="447"/>
                      <a:pt x="238" y="448"/>
                    </a:cubicBezTo>
                    <a:cubicBezTo>
                      <a:pt x="237" y="449"/>
                      <a:pt x="233" y="450"/>
                      <a:pt x="232" y="450"/>
                    </a:cubicBezTo>
                    <a:cubicBezTo>
                      <a:pt x="231" y="450"/>
                      <a:pt x="229" y="450"/>
                      <a:pt x="229" y="449"/>
                    </a:cubicBezTo>
                    <a:cubicBezTo>
                      <a:pt x="228" y="449"/>
                      <a:pt x="229" y="446"/>
                      <a:pt x="229" y="445"/>
                    </a:cubicBezTo>
                    <a:cubicBezTo>
                      <a:pt x="228" y="444"/>
                      <a:pt x="226" y="442"/>
                      <a:pt x="224" y="441"/>
                    </a:cubicBezTo>
                    <a:cubicBezTo>
                      <a:pt x="223" y="441"/>
                      <a:pt x="220" y="442"/>
                      <a:pt x="219" y="441"/>
                    </a:cubicBezTo>
                    <a:cubicBezTo>
                      <a:pt x="219" y="441"/>
                      <a:pt x="218" y="439"/>
                      <a:pt x="218" y="438"/>
                    </a:cubicBezTo>
                    <a:cubicBezTo>
                      <a:pt x="218" y="437"/>
                      <a:pt x="219" y="434"/>
                      <a:pt x="219" y="432"/>
                    </a:cubicBezTo>
                    <a:cubicBezTo>
                      <a:pt x="220" y="432"/>
                      <a:pt x="221" y="430"/>
                      <a:pt x="222" y="429"/>
                    </a:cubicBezTo>
                    <a:cubicBezTo>
                      <a:pt x="223" y="429"/>
                      <a:pt x="226" y="429"/>
                      <a:pt x="227" y="430"/>
                    </a:cubicBezTo>
                    <a:cubicBezTo>
                      <a:pt x="228" y="430"/>
                      <a:pt x="231" y="431"/>
                      <a:pt x="232" y="430"/>
                    </a:cubicBezTo>
                    <a:cubicBezTo>
                      <a:pt x="233" y="430"/>
                      <a:pt x="234" y="426"/>
                      <a:pt x="234" y="425"/>
                    </a:cubicBezTo>
                    <a:cubicBezTo>
                      <a:pt x="235" y="423"/>
                      <a:pt x="236" y="419"/>
                      <a:pt x="235" y="416"/>
                    </a:cubicBezTo>
                    <a:cubicBezTo>
                      <a:pt x="235" y="415"/>
                      <a:pt x="233" y="413"/>
                      <a:pt x="233" y="411"/>
                    </a:cubicBezTo>
                    <a:cubicBezTo>
                      <a:pt x="233" y="410"/>
                      <a:pt x="233" y="407"/>
                      <a:pt x="232" y="406"/>
                    </a:cubicBezTo>
                    <a:cubicBezTo>
                      <a:pt x="232" y="405"/>
                      <a:pt x="229" y="406"/>
                      <a:pt x="228" y="406"/>
                    </a:cubicBezTo>
                    <a:cubicBezTo>
                      <a:pt x="228" y="406"/>
                      <a:pt x="227" y="408"/>
                      <a:pt x="226" y="408"/>
                    </a:cubicBezTo>
                    <a:cubicBezTo>
                      <a:pt x="225" y="408"/>
                      <a:pt x="225" y="404"/>
                      <a:pt x="224" y="403"/>
                    </a:cubicBezTo>
                    <a:cubicBezTo>
                      <a:pt x="223" y="402"/>
                      <a:pt x="222" y="398"/>
                      <a:pt x="221" y="397"/>
                    </a:cubicBezTo>
                    <a:cubicBezTo>
                      <a:pt x="220" y="396"/>
                      <a:pt x="219" y="396"/>
                      <a:pt x="218" y="395"/>
                    </a:cubicBezTo>
                    <a:cubicBezTo>
                      <a:pt x="218" y="394"/>
                      <a:pt x="220" y="392"/>
                      <a:pt x="219" y="391"/>
                    </a:cubicBezTo>
                    <a:cubicBezTo>
                      <a:pt x="219" y="390"/>
                      <a:pt x="216" y="389"/>
                      <a:pt x="214" y="389"/>
                    </a:cubicBezTo>
                    <a:cubicBezTo>
                      <a:pt x="212" y="388"/>
                      <a:pt x="207" y="388"/>
                      <a:pt x="205" y="386"/>
                    </a:cubicBezTo>
                    <a:cubicBezTo>
                      <a:pt x="204" y="384"/>
                      <a:pt x="205" y="377"/>
                      <a:pt x="203" y="375"/>
                    </a:cubicBezTo>
                    <a:cubicBezTo>
                      <a:pt x="202" y="372"/>
                      <a:pt x="197" y="366"/>
                      <a:pt x="194" y="364"/>
                    </a:cubicBezTo>
                    <a:cubicBezTo>
                      <a:pt x="191" y="363"/>
                      <a:pt x="185" y="363"/>
                      <a:pt x="183" y="362"/>
                    </a:cubicBezTo>
                    <a:cubicBezTo>
                      <a:pt x="181" y="362"/>
                      <a:pt x="179" y="361"/>
                      <a:pt x="178" y="360"/>
                    </a:cubicBezTo>
                    <a:cubicBezTo>
                      <a:pt x="177" y="360"/>
                      <a:pt x="175" y="361"/>
                      <a:pt x="174" y="361"/>
                    </a:cubicBezTo>
                    <a:cubicBezTo>
                      <a:pt x="172" y="360"/>
                      <a:pt x="169" y="358"/>
                      <a:pt x="167" y="357"/>
                    </a:cubicBezTo>
                    <a:cubicBezTo>
                      <a:pt x="166" y="356"/>
                      <a:pt x="164" y="354"/>
                      <a:pt x="164" y="353"/>
                    </a:cubicBezTo>
                    <a:cubicBezTo>
                      <a:pt x="164" y="352"/>
                      <a:pt x="164" y="350"/>
                      <a:pt x="164" y="350"/>
                    </a:cubicBezTo>
                    <a:cubicBezTo>
                      <a:pt x="165" y="349"/>
                      <a:pt x="167" y="348"/>
                      <a:pt x="168" y="347"/>
                    </a:cubicBezTo>
                    <a:cubicBezTo>
                      <a:pt x="169" y="346"/>
                      <a:pt x="169" y="343"/>
                      <a:pt x="169" y="341"/>
                    </a:cubicBezTo>
                    <a:cubicBezTo>
                      <a:pt x="170" y="340"/>
                      <a:pt x="168" y="338"/>
                      <a:pt x="168" y="337"/>
                    </a:cubicBezTo>
                    <a:cubicBezTo>
                      <a:pt x="168" y="335"/>
                      <a:pt x="170" y="333"/>
                      <a:pt x="170" y="332"/>
                    </a:cubicBezTo>
                    <a:cubicBezTo>
                      <a:pt x="169" y="331"/>
                      <a:pt x="168" y="329"/>
                      <a:pt x="167" y="328"/>
                    </a:cubicBezTo>
                    <a:cubicBezTo>
                      <a:pt x="165" y="326"/>
                      <a:pt x="160" y="324"/>
                      <a:pt x="157" y="323"/>
                    </a:cubicBezTo>
                    <a:cubicBezTo>
                      <a:pt x="156" y="322"/>
                      <a:pt x="152" y="322"/>
                      <a:pt x="151" y="321"/>
                    </a:cubicBezTo>
                    <a:cubicBezTo>
                      <a:pt x="149" y="321"/>
                      <a:pt x="146" y="323"/>
                      <a:pt x="144" y="323"/>
                    </a:cubicBezTo>
                    <a:cubicBezTo>
                      <a:pt x="143" y="322"/>
                      <a:pt x="140" y="319"/>
                      <a:pt x="138" y="320"/>
                    </a:cubicBezTo>
                    <a:cubicBezTo>
                      <a:pt x="137" y="320"/>
                      <a:pt x="137" y="322"/>
                      <a:pt x="136" y="323"/>
                    </a:cubicBezTo>
                    <a:cubicBezTo>
                      <a:pt x="136" y="324"/>
                      <a:pt x="137" y="326"/>
                      <a:pt x="136" y="327"/>
                    </a:cubicBezTo>
                    <a:cubicBezTo>
                      <a:pt x="136" y="327"/>
                      <a:pt x="134" y="329"/>
                      <a:pt x="133" y="329"/>
                    </a:cubicBezTo>
                    <a:cubicBezTo>
                      <a:pt x="132" y="329"/>
                      <a:pt x="129" y="327"/>
                      <a:pt x="128" y="326"/>
                    </a:cubicBezTo>
                    <a:cubicBezTo>
                      <a:pt x="127" y="325"/>
                      <a:pt x="125" y="323"/>
                      <a:pt x="125" y="322"/>
                    </a:cubicBezTo>
                    <a:cubicBezTo>
                      <a:pt x="124" y="321"/>
                      <a:pt x="123" y="319"/>
                      <a:pt x="123" y="317"/>
                    </a:cubicBezTo>
                    <a:cubicBezTo>
                      <a:pt x="124" y="316"/>
                      <a:pt x="125" y="313"/>
                      <a:pt x="126" y="313"/>
                    </a:cubicBezTo>
                    <a:cubicBezTo>
                      <a:pt x="126" y="312"/>
                      <a:pt x="128" y="313"/>
                      <a:pt x="128" y="313"/>
                    </a:cubicBezTo>
                    <a:cubicBezTo>
                      <a:pt x="129" y="311"/>
                      <a:pt x="128" y="308"/>
                      <a:pt x="128" y="306"/>
                    </a:cubicBezTo>
                    <a:cubicBezTo>
                      <a:pt x="128" y="305"/>
                      <a:pt x="130" y="302"/>
                      <a:pt x="130" y="301"/>
                    </a:cubicBezTo>
                    <a:cubicBezTo>
                      <a:pt x="131" y="300"/>
                      <a:pt x="132" y="298"/>
                      <a:pt x="132" y="297"/>
                    </a:cubicBezTo>
                    <a:cubicBezTo>
                      <a:pt x="133" y="294"/>
                      <a:pt x="132" y="287"/>
                      <a:pt x="132" y="284"/>
                    </a:cubicBezTo>
                    <a:cubicBezTo>
                      <a:pt x="132" y="280"/>
                      <a:pt x="132" y="272"/>
                      <a:pt x="131" y="268"/>
                    </a:cubicBezTo>
                    <a:cubicBezTo>
                      <a:pt x="131" y="267"/>
                      <a:pt x="130" y="265"/>
                      <a:pt x="129" y="264"/>
                    </a:cubicBezTo>
                    <a:cubicBezTo>
                      <a:pt x="129" y="262"/>
                      <a:pt x="129" y="259"/>
                      <a:pt x="129" y="257"/>
                    </a:cubicBezTo>
                    <a:cubicBezTo>
                      <a:pt x="129" y="256"/>
                      <a:pt x="126" y="253"/>
                      <a:pt x="125" y="252"/>
                    </a:cubicBezTo>
                    <a:cubicBezTo>
                      <a:pt x="125" y="251"/>
                      <a:pt x="124" y="248"/>
                      <a:pt x="123" y="247"/>
                    </a:cubicBezTo>
                    <a:cubicBezTo>
                      <a:pt x="123" y="246"/>
                      <a:pt x="121" y="244"/>
                      <a:pt x="120" y="243"/>
                    </a:cubicBezTo>
                    <a:cubicBezTo>
                      <a:pt x="119" y="243"/>
                      <a:pt x="119" y="242"/>
                      <a:pt x="118" y="241"/>
                    </a:cubicBezTo>
                    <a:cubicBezTo>
                      <a:pt x="118" y="240"/>
                      <a:pt x="119" y="236"/>
                      <a:pt x="118" y="234"/>
                    </a:cubicBezTo>
                    <a:cubicBezTo>
                      <a:pt x="118" y="232"/>
                      <a:pt x="115" y="229"/>
                      <a:pt x="114" y="227"/>
                    </a:cubicBezTo>
                    <a:cubicBezTo>
                      <a:pt x="112" y="224"/>
                      <a:pt x="109" y="219"/>
                      <a:pt x="107" y="216"/>
                    </a:cubicBezTo>
                    <a:cubicBezTo>
                      <a:pt x="106" y="215"/>
                      <a:pt x="103" y="214"/>
                      <a:pt x="101" y="213"/>
                    </a:cubicBezTo>
                    <a:cubicBezTo>
                      <a:pt x="100" y="212"/>
                      <a:pt x="99" y="209"/>
                      <a:pt x="99" y="208"/>
                    </a:cubicBezTo>
                    <a:cubicBezTo>
                      <a:pt x="98" y="207"/>
                      <a:pt x="98" y="203"/>
                      <a:pt x="97" y="202"/>
                    </a:cubicBezTo>
                    <a:cubicBezTo>
                      <a:pt x="97" y="201"/>
                      <a:pt x="95" y="199"/>
                      <a:pt x="94" y="198"/>
                    </a:cubicBezTo>
                    <a:cubicBezTo>
                      <a:pt x="93" y="197"/>
                      <a:pt x="93" y="195"/>
                      <a:pt x="93" y="193"/>
                    </a:cubicBezTo>
                    <a:cubicBezTo>
                      <a:pt x="93" y="192"/>
                      <a:pt x="95" y="191"/>
                      <a:pt x="95" y="190"/>
                    </a:cubicBezTo>
                    <a:cubicBezTo>
                      <a:pt x="96" y="189"/>
                      <a:pt x="95" y="187"/>
                      <a:pt x="95" y="186"/>
                    </a:cubicBezTo>
                    <a:cubicBezTo>
                      <a:pt x="96" y="185"/>
                      <a:pt x="96" y="182"/>
                      <a:pt x="96" y="180"/>
                    </a:cubicBezTo>
                    <a:cubicBezTo>
                      <a:pt x="96" y="178"/>
                      <a:pt x="96" y="175"/>
                      <a:pt x="95" y="173"/>
                    </a:cubicBezTo>
                    <a:cubicBezTo>
                      <a:pt x="94" y="172"/>
                      <a:pt x="91" y="171"/>
                      <a:pt x="91" y="170"/>
                    </a:cubicBezTo>
                    <a:cubicBezTo>
                      <a:pt x="90" y="169"/>
                      <a:pt x="88" y="166"/>
                      <a:pt x="88" y="165"/>
                    </a:cubicBezTo>
                    <a:cubicBezTo>
                      <a:pt x="87" y="163"/>
                      <a:pt x="89" y="158"/>
                      <a:pt x="89" y="156"/>
                    </a:cubicBezTo>
                    <a:cubicBezTo>
                      <a:pt x="89" y="154"/>
                      <a:pt x="89" y="150"/>
                      <a:pt x="89" y="148"/>
                    </a:cubicBezTo>
                    <a:cubicBezTo>
                      <a:pt x="89" y="146"/>
                      <a:pt x="87" y="142"/>
                      <a:pt x="86" y="140"/>
                    </a:cubicBezTo>
                    <a:cubicBezTo>
                      <a:pt x="86" y="139"/>
                      <a:pt x="87" y="136"/>
                      <a:pt x="87" y="135"/>
                    </a:cubicBezTo>
                    <a:cubicBezTo>
                      <a:pt x="87" y="133"/>
                      <a:pt x="87" y="130"/>
                      <a:pt x="87" y="128"/>
                    </a:cubicBezTo>
                    <a:cubicBezTo>
                      <a:pt x="86" y="126"/>
                      <a:pt x="83" y="121"/>
                      <a:pt x="82" y="119"/>
                    </a:cubicBezTo>
                    <a:cubicBezTo>
                      <a:pt x="81" y="117"/>
                      <a:pt x="80" y="111"/>
                      <a:pt x="79" y="109"/>
                    </a:cubicBezTo>
                    <a:cubicBezTo>
                      <a:pt x="78" y="108"/>
                      <a:pt x="76" y="106"/>
                      <a:pt x="76" y="105"/>
                    </a:cubicBezTo>
                    <a:cubicBezTo>
                      <a:pt x="75" y="105"/>
                      <a:pt x="73" y="103"/>
                      <a:pt x="73" y="102"/>
                    </a:cubicBezTo>
                    <a:cubicBezTo>
                      <a:pt x="72" y="101"/>
                      <a:pt x="70" y="98"/>
                      <a:pt x="69" y="97"/>
                    </a:cubicBezTo>
                    <a:cubicBezTo>
                      <a:pt x="68" y="96"/>
                      <a:pt x="65" y="96"/>
                      <a:pt x="64" y="95"/>
                    </a:cubicBezTo>
                    <a:cubicBezTo>
                      <a:pt x="62" y="94"/>
                      <a:pt x="59" y="92"/>
                      <a:pt x="58" y="91"/>
                    </a:cubicBezTo>
                    <a:cubicBezTo>
                      <a:pt x="58" y="91"/>
                      <a:pt x="57" y="91"/>
                      <a:pt x="57" y="90"/>
                    </a:cubicBezTo>
                    <a:cubicBezTo>
                      <a:pt x="57" y="89"/>
                      <a:pt x="57" y="88"/>
                      <a:pt x="57" y="87"/>
                    </a:cubicBezTo>
                    <a:cubicBezTo>
                      <a:pt x="57" y="84"/>
                      <a:pt x="56" y="78"/>
                      <a:pt x="55" y="75"/>
                    </a:cubicBezTo>
                    <a:cubicBezTo>
                      <a:pt x="54" y="73"/>
                      <a:pt x="50" y="70"/>
                      <a:pt x="48" y="69"/>
                    </a:cubicBezTo>
                    <a:cubicBezTo>
                      <a:pt x="47" y="68"/>
                      <a:pt x="43" y="67"/>
                      <a:pt x="41" y="66"/>
                    </a:cubicBezTo>
                    <a:cubicBezTo>
                      <a:pt x="39" y="65"/>
                      <a:pt x="35" y="62"/>
                      <a:pt x="33" y="61"/>
                    </a:cubicBezTo>
                    <a:cubicBezTo>
                      <a:pt x="32" y="59"/>
                      <a:pt x="30" y="56"/>
                      <a:pt x="28" y="55"/>
                    </a:cubicBezTo>
                    <a:cubicBezTo>
                      <a:pt x="27" y="54"/>
                      <a:pt x="24" y="53"/>
                      <a:pt x="23" y="51"/>
                    </a:cubicBezTo>
                    <a:cubicBezTo>
                      <a:pt x="21" y="49"/>
                      <a:pt x="20" y="43"/>
                      <a:pt x="19" y="41"/>
                    </a:cubicBezTo>
                    <a:cubicBezTo>
                      <a:pt x="18" y="39"/>
                      <a:pt x="16" y="34"/>
                      <a:pt x="15" y="32"/>
                    </a:cubicBezTo>
                    <a:cubicBezTo>
                      <a:pt x="13" y="31"/>
                      <a:pt x="9" y="30"/>
                      <a:pt x="8" y="29"/>
                    </a:cubicBezTo>
                    <a:cubicBezTo>
                      <a:pt x="6" y="28"/>
                      <a:pt x="4" y="25"/>
                      <a:pt x="2" y="23"/>
                    </a:cubicBezTo>
                    <a:cubicBezTo>
                      <a:pt x="2" y="23"/>
                      <a:pt x="1" y="22"/>
                      <a:pt x="0" y="20"/>
                    </a:cubicBezTo>
                    <a:cubicBezTo>
                      <a:pt x="0" y="20"/>
                      <a:pt x="0" y="20"/>
                      <a:pt x="0" y="20"/>
                    </a:cubicBezTo>
                    <a:cubicBezTo>
                      <a:pt x="2" y="20"/>
                      <a:pt x="5" y="20"/>
                      <a:pt x="7" y="19"/>
                    </a:cubicBezTo>
                    <a:cubicBezTo>
                      <a:pt x="8" y="19"/>
                      <a:pt x="11" y="17"/>
                      <a:pt x="12" y="16"/>
                    </a:cubicBezTo>
                    <a:cubicBezTo>
                      <a:pt x="12" y="15"/>
                      <a:pt x="14" y="14"/>
                      <a:pt x="14" y="13"/>
                    </a:cubicBezTo>
                    <a:cubicBezTo>
                      <a:pt x="15" y="11"/>
                      <a:pt x="15" y="8"/>
                      <a:pt x="16" y="6"/>
                    </a:cubicBezTo>
                    <a:cubicBezTo>
                      <a:pt x="17" y="5"/>
                      <a:pt x="20" y="2"/>
                      <a:pt x="22" y="1"/>
                    </a:cubicBezTo>
                    <a:cubicBezTo>
                      <a:pt x="23" y="0"/>
                      <a:pt x="27" y="0"/>
                      <a:pt x="29" y="1"/>
                    </a:cubicBezTo>
                    <a:cubicBezTo>
                      <a:pt x="30" y="1"/>
                      <a:pt x="32" y="3"/>
                      <a:pt x="33" y="4"/>
                    </a:cubicBezTo>
                    <a:cubicBezTo>
                      <a:pt x="34" y="5"/>
                      <a:pt x="38" y="5"/>
                      <a:pt x="40" y="6"/>
                    </a:cubicBezTo>
                    <a:cubicBezTo>
                      <a:pt x="41" y="6"/>
                      <a:pt x="44" y="5"/>
                      <a:pt x="46" y="5"/>
                    </a:cubicBezTo>
                    <a:cubicBezTo>
                      <a:pt x="47" y="6"/>
                      <a:pt x="49" y="8"/>
                      <a:pt x="49" y="9"/>
                    </a:cubicBezTo>
                    <a:cubicBezTo>
                      <a:pt x="50" y="11"/>
                      <a:pt x="49" y="16"/>
                      <a:pt x="49" y="18"/>
                    </a:cubicBezTo>
                    <a:cubicBezTo>
                      <a:pt x="50" y="19"/>
                      <a:pt x="51" y="21"/>
                      <a:pt x="52" y="22"/>
                    </a:cubicBezTo>
                    <a:cubicBezTo>
                      <a:pt x="54" y="24"/>
                      <a:pt x="59" y="26"/>
                      <a:pt x="62" y="26"/>
                    </a:cubicBezTo>
                    <a:cubicBezTo>
                      <a:pt x="65" y="27"/>
                      <a:pt x="70" y="26"/>
                      <a:pt x="73" y="27"/>
                    </a:cubicBezTo>
                    <a:cubicBezTo>
                      <a:pt x="75" y="28"/>
                      <a:pt x="79" y="30"/>
                      <a:pt x="81" y="31"/>
                    </a:cubicBezTo>
                    <a:cubicBezTo>
                      <a:pt x="83" y="33"/>
                      <a:pt x="86" y="37"/>
                      <a:pt x="87" y="40"/>
                    </a:cubicBezTo>
                    <a:cubicBezTo>
                      <a:pt x="88" y="41"/>
                      <a:pt x="88" y="45"/>
                      <a:pt x="90" y="46"/>
                    </a:cubicBezTo>
                    <a:cubicBezTo>
                      <a:pt x="91" y="48"/>
                      <a:pt x="94" y="50"/>
                      <a:pt x="95" y="49"/>
                    </a:cubicBezTo>
                    <a:cubicBezTo>
                      <a:pt x="97" y="49"/>
                      <a:pt x="98" y="44"/>
                      <a:pt x="98" y="42"/>
                    </a:cubicBezTo>
                    <a:cubicBezTo>
                      <a:pt x="98" y="42"/>
                      <a:pt x="97" y="40"/>
                      <a:pt x="97" y="39"/>
                    </a:cubicBezTo>
                    <a:cubicBezTo>
                      <a:pt x="97" y="38"/>
                      <a:pt x="98" y="36"/>
                      <a:pt x="98" y="36"/>
                    </a:cubicBezTo>
                    <a:cubicBezTo>
                      <a:pt x="100" y="36"/>
                      <a:pt x="101" y="40"/>
                      <a:pt x="102" y="41"/>
                    </a:cubicBezTo>
                    <a:cubicBezTo>
                      <a:pt x="103" y="42"/>
                      <a:pt x="103" y="46"/>
                      <a:pt x="105" y="47"/>
                    </a:cubicBezTo>
                    <a:cubicBezTo>
                      <a:pt x="106" y="48"/>
                      <a:pt x="111" y="49"/>
                      <a:pt x="113" y="50"/>
                    </a:cubicBezTo>
                    <a:cubicBezTo>
                      <a:pt x="116" y="51"/>
                      <a:pt x="121" y="54"/>
                      <a:pt x="123" y="56"/>
                    </a:cubicBezTo>
                    <a:cubicBezTo>
                      <a:pt x="125" y="58"/>
                      <a:pt x="126" y="63"/>
                      <a:pt x="129" y="65"/>
                    </a:cubicBezTo>
                    <a:cubicBezTo>
                      <a:pt x="130" y="66"/>
                      <a:pt x="134" y="66"/>
                      <a:pt x="136" y="67"/>
                    </a:cubicBezTo>
                    <a:cubicBezTo>
                      <a:pt x="138" y="68"/>
                      <a:pt x="142" y="72"/>
                      <a:pt x="145" y="72"/>
                    </a:cubicBezTo>
                    <a:cubicBezTo>
                      <a:pt x="147" y="72"/>
                      <a:pt x="151" y="71"/>
                      <a:pt x="153" y="70"/>
                    </a:cubicBezTo>
                    <a:cubicBezTo>
                      <a:pt x="154" y="69"/>
                      <a:pt x="156" y="66"/>
                      <a:pt x="157" y="65"/>
                    </a:cubicBezTo>
                    <a:cubicBezTo>
                      <a:pt x="159" y="65"/>
                      <a:pt x="163" y="64"/>
                      <a:pt x="165" y="64"/>
                    </a:cubicBezTo>
                    <a:cubicBezTo>
                      <a:pt x="167" y="65"/>
                      <a:pt x="171" y="67"/>
                      <a:pt x="173" y="68"/>
                    </a:cubicBezTo>
                    <a:cubicBezTo>
                      <a:pt x="175" y="70"/>
                      <a:pt x="179" y="76"/>
                      <a:pt x="182" y="77"/>
                    </a:cubicBezTo>
                    <a:cubicBezTo>
                      <a:pt x="184" y="78"/>
                      <a:pt x="188" y="79"/>
                      <a:pt x="189" y="79"/>
                    </a:cubicBezTo>
                    <a:cubicBezTo>
                      <a:pt x="191" y="79"/>
                      <a:pt x="193" y="77"/>
                      <a:pt x="194" y="76"/>
                    </a:cubicBezTo>
                    <a:cubicBezTo>
                      <a:pt x="196" y="75"/>
                      <a:pt x="196" y="71"/>
                      <a:pt x="197" y="70"/>
                    </a:cubicBezTo>
                    <a:cubicBezTo>
                      <a:pt x="198" y="69"/>
                      <a:pt x="201" y="68"/>
                      <a:pt x="202" y="68"/>
                    </a:cubicBezTo>
                    <a:cubicBezTo>
                      <a:pt x="204" y="69"/>
                      <a:pt x="206" y="70"/>
                      <a:pt x="207" y="71"/>
                    </a:cubicBezTo>
                    <a:cubicBezTo>
                      <a:pt x="209" y="72"/>
                      <a:pt x="211" y="75"/>
                      <a:pt x="212" y="76"/>
                    </a:cubicBezTo>
                    <a:cubicBezTo>
                      <a:pt x="213" y="77"/>
                      <a:pt x="216" y="79"/>
                      <a:pt x="218" y="79"/>
                    </a:cubicBezTo>
                    <a:cubicBezTo>
                      <a:pt x="220" y="79"/>
                      <a:pt x="223" y="78"/>
                      <a:pt x="225" y="78"/>
                    </a:cubicBezTo>
                    <a:cubicBezTo>
                      <a:pt x="227" y="78"/>
                      <a:pt x="231" y="78"/>
                      <a:pt x="233" y="78"/>
                    </a:cubicBezTo>
                    <a:cubicBezTo>
                      <a:pt x="235" y="78"/>
                      <a:pt x="238" y="80"/>
                      <a:pt x="240" y="79"/>
                    </a:cubicBezTo>
                    <a:cubicBezTo>
                      <a:pt x="241" y="79"/>
                      <a:pt x="243" y="76"/>
                      <a:pt x="243" y="75"/>
                    </a:cubicBezTo>
                    <a:cubicBezTo>
                      <a:pt x="243" y="74"/>
                      <a:pt x="240" y="71"/>
                      <a:pt x="240" y="70"/>
                    </a:cubicBezTo>
                    <a:cubicBezTo>
                      <a:pt x="240" y="68"/>
                      <a:pt x="241" y="65"/>
                      <a:pt x="242" y="64"/>
                    </a:cubicBezTo>
                    <a:cubicBezTo>
                      <a:pt x="243" y="64"/>
                      <a:pt x="246" y="63"/>
                      <a:pt x="246" y="62"/>
                    </a:cubicBezTo>
                    <a:cubicBezTo>
                      <a:pt x="247" y="61"/>
                      <a:pt x="247" y="58"/>
                      <a:pt x="247" y="57"/>
                    </a:cubicBezTo>
                    <a:cubicBezTo>
                      <a:pt x="249" y="56"/>
                      <a:pt x="252" y="55"/>
                      <a:pt x="254" y="55"/>
                    </a:cubicBezTo>
                    <a:cubicBezTo>
                      <a:pt x="255" y="54"/>
                      <a:pt x="260" y="55"/>
                      <a:pt x="261" y="54"/>
                    </a:cubicBezTo>
                    <a:cubicBezTo>
                      <a:pt x="262" y="53"/>
                      <a:pt x="263" y="50"/>
                      <a:pt x="264" y="49"/>
                    </a:cubicBezTo>
                    <a:cubicBezTo>
                      <a:pt x="266" y="47"/>
                      <a:pt x="272" y="46"/>
                      <a:pt x="274" y="47"/>
                    </a:cubicBezTo>
                    <a:cubicBezTo>
                      <a:pt x="275" y="47"/>
                      <a:pt x="278" y="49"/>
                      <a:pt x="278" y="50"/>
                    </a:cubicBezTo>
                    <a:cubicBezTo>
                      <a:pt x="279" y="51"/>
                      <a:pt x="277" y="54"/>
                      <a:pt x="277" y="56"/>
                    </a:cubicBezTo>
                    <a:cubicBezTo>
                      <a:pt x="278" y="57"/>
                      <a:pt x="281" y="59"/>
                      <a:pt x="283" y="59"/>
                    </a:cubicBezTo>
                    <a:cubicBezTo>
                      <a:pt x="284" y="60"/>
                      <a:pt x="287" y="60"/>
                      <a:pt x="289" y="60"/>
                    </a:cubicBezTo>
                    <a:cubicBezTo>
                      <a:pt x="291" y="60"/>
                      <a:pt x="294" y="60"/>
                      <a:pt x="296" y="61"/>
                    </a:cubicBezTo>
                    <a:cubicBezTo>
                      <a:pt x="297" y="62"/>
                      <a:pt x="300" y="65"/>
                      <a:pt x="301" y="67"/>
                    </a:cubicBezTo>
                    <a:cubicBezTo>
                      <a:pt x="302" y="68"/>
                      <a:pt x="302" y="72"/>
                      <a:pt x="303" y="74"/>
                    </a:cubicBezTo>
                    <a:cubicBezTo>
                      <a:pt x="305" y="75"/>
                      <a:pt x="308" y="76"/>
                      <a:pt x="309" y="75"/>
                    </a:cubicBezTo>
                    <a:cubicBezTo>
                      <a:pt x="310" y="75"/>
                      <a:pt x="310" y="72"/>
                      <a:pt x="311" y="71"/>
                    </a:cubicBezTo>
                    <a:cubicBezTo>
                      <a:pt x="312" y="71"/>
                      <a:pt x="314" y="70"/>
                      <a:pt x="315" y="70"/>
                    </a:cubicBezTo>
                    <a:cubicBezTo>
                      <a:pt x="316" y="70"/>
                      <a:pt x="318" y="71"/>
                      <a:pt x="319" y="71"/>
                    </a:cubicBezTo>
                    <a:cubicBezTo>
                      <a:pt x="320" y="72"/>
                      <a:pt x="322" y="74"/>
                      <a:pt x="322" y="75"/>
                    </a:cubicBezTo>
                    <a:cubicBezTo>
                      <a:pt x="323" y="76"/>
                      <a:pt x="323" y="78"/>
                      <a:pt x="322" y="79"/>
                    </a:cubicBezTo>
                    <a:cubicBezTo>
                      <a:pt x="322" y="80"/>
                      <a:pt x="319" y="81"/>
                      <a:pt x="318" y="82"/>
                    </a:cubicBezTo>
                    <a:cubicBezTo>
                      <a:pt x="317" y="84"/>
                      <a:pt x="315" y="87"/>
                      <a:pt x="314" y="89"/>
                    </a:cubicBezTo>
                    <a:cubicBezTo>
                      <a:pt x="313" y="91"/>
                      <a:pt x="313" y="95"/>
                      <a:pt x="312" y="96"/>
                    </a:cubicBezTo>
                    <a:cubicBezTo>
                      <a:pt x="311" y="97"/>
                      <a:pt x="308" y="97"/>
                      <a:pt x="307" y="98"/>
                    </a:cubicBezTo>
                    <a:cubicBezTo>
                      <a:pt x="306" y="99"/>
                      <a:pt x="306" y="101"/>
                      <a:pt x="307" y="103"/>
                    </a:cubicBezTo>
                    <a:cubicBezTo>
                      <a:pt x="307" y="104"/>
                      <a:pt x="309" y="107"/>
                      <a:pt x="310" y="108"/>
                    </a:cubicBezTo>
                    <a:cubicBezTo>
                      <a:pt x="312" y="109"/>
                      <a:pt x="316" y="111"/>
                      <a:pt x="318" y="113"/>
                    </a:cubicBezTo>
                    <a:cubicBezTo>
                      <a:pt x="319" y="114"/>
                      <a:pt x="322" y="118"/>
                      <a:pt x="323" y="120"/>
                    </a:cubicBezTo>
                    <a:cubicBezTo>
                      <a:pt x="324" y="122"/>
                      <a:pt x="326" y="128"/>
                      <a:pt x="327" y="130"/>
                    </a:cubicBezTo>
                    <a:cubicBezTo>
                      <a:pt x="328" y="132"/>
                      <a:pt x="332" y="134"/>
                      <a:pt x="333" y="135"/>
                    </a:cubicBezTo>
                    <a:cubicBezTo>
                      <a:pt x="335" y="136"/>
                      <a:pt x="338" y="136"/>
                      <a:pt x="340" y="135"/>
                    </a:cubicBezTo>
                    <a:cubicBezTo>
                      <a:pt x="341" y="135"/>
                      <a:pt x="345" y="134"/>
                      <a:pt x="346" y="134"/>
                    </a:cubicBezTo>
                    <a:cubicBezTo>
                      <a:pt x="349" y="134"/>
                      <a:pt x="354" y="134"/>
                      <a:pt x="355" y="136"/>
                    </a:cubicBezTo>
                    <a:cubicBezTo>
                      <a:pt x="357" y="137"/>
                      <a:pt x="356" y="142"/>
                      <a:pt x="357" y="143"/>
                    </a:cubicBezTo>
                    <a:cubicBezTo>
                      <a:pt x="359" y="144"/>
                      <a:pt x="362" y="144"/>
                      <a:pt x="364" y="145"/>
                    </a:cubicBezTo>
                    <a:cubicBezTo>
                      <a:pt x="365" y="145"/>
                      <a:pt x="368" y="147"/>
                      <a:pt x="369" y="147"/>
                    </a:cubicBezTo>
                    <a:cubicBezTo>
                      <a:pt x="371" y="148"/>
                      <a:pt x="374" y="147"/>
                      <a:pt x="376" y="146"/>
                    </a:cubicBezTo>
                    <a:cubicBezTo>
                      <a:pt x="377" y="146"/>
                      <a:pt x="378" y="143"/>
                      <a:pt x="379" y="143"/>
                    </a:cubicBezTo>
                    <a:cubicBezTo>
                      <a:pt x="380" y="143"/>
                      <a:pt x="381" y="143"/>
                      <a:pt x="382" y="144"/>
                    </a:cubicBezTo>
                    <a:cubicBezTo>
                      <a:pt x="383" y="145"/>
                      <a:pt x="384" y="145"/>
                      <a:pt x="385" y="146"/>
                    </a:cubicBezTo>
                    <a:cubicBezTo>
                      <a:pt x="386" y="146"/>
                      <a:pt x="389" y="145"/>
                      <a:pt x="390" y="145"/>
                    </a:cubicBezTo>
                    <a:cubicBezTo>
                      <a:pt x="391" y="144"/>
                      <a:pt x="391" y="143"/>
                      <a:pt x="392" y="142"/>
                    </a:cubicBezTo>
                    <a:cubicBezTo>
                      <a:pt x="394" y="142"/>
                      <a:pt x="397" y="142"/>
                      <a:pt x="398" y="142"/>
                    </a:cubicBezTo>
                    <a:cubicBezTo>
                      <a:pt x="399" y="142"/>
                      <a:pt x="401" y="143"/>
                      <a:pt x="402" y="144"/>
                    </a:cubicBezTo>
                    <a:cubicBezTo>
                      <a:pt x="403" y="144"/>
                      <a:pt x="405" y="146"/>
                      <a:pt x="406" y="146"/>
                    </a:cubicBezTo>
                    <a:cubicBezTo>
                      <a:pt x="406" y="147"/>
                      <a:pt x="408" y="148"/>
                      <a:pt x="409" y="149"/>
                    </a:cubicBezTo>
                    <a:cubicBezTo>
                      <a:pt x="410" y="150"/>
                      <a:pt x="412" y="152"/>
                      <a:pt x="412" y="154"/>
                    </a:cubicBezTo>
                    <a:cubicBezTo>
                      <a:pt x="412" y="155"/>
                      <a:pt x="411" y="156"/>
                      <a:pt x="410" y="156"/>
                    </a:cubicBezTo>
                    <a:cubicBezTo>
                      <a:pt x="410" y="157"/>
                      <a:pt x="408" y="158"/>
                      <a:pt x="407" y="158"/>
                    </a:cubicBezTo>
                    <a:cubicBezTo>
                      <a:pt x="407" y="160"/>
                      <a:pt x="406" y="163"/>
                      <a:pt x="405" y="163"/>
                    </a:cubicBezTo>
                    <a:cubicBezTo>
                      <a:pt x="404" y="165"/>
                      <a:pt x="399" y="165"/>
                      <a:pt x="399" y="165"/>
                    </a:cubicBezTo>
                    <a:cubicBezTo>
                      <a:pt x="399" y="165"/>
                      <a:pt x="397" y="169"/>
                      <a:pt x="397" y="170"/>
                    </a:cubicBezTo>
                    <a:cubicBezTo>
                      <a:pt x="397" y="172"/>
                      <a:pt x="399" y="174"/>
                      <a:pt x="399" y="176"/>
                    </a:cubicBezTo>
                    <a:cubicBezTo>
                      <a:pt x="399" y="177"/>
                      <a:pt x="399" y="178"/>
                      <a:pt x="398" y="179"/>
                    </a:cubicBezTo>
                    <a:cubicBezTo>
                      <a:pt x="398" y="180"/>
                      <a:pt x="398" y="181"/>
                      <a:pt x="397" y="181"/>
                    </a:cubicBezTo>
                    <a:cubicBezTo>
                      <a:pt x="396" y="183"/>
                      <a:pt x="392" y="185"/>
                      <a:pt x="390" y="186"/>
                    </a:cubicBezTo>
                    <a:cubicBezTo>
                      <a:pt x="389" y="187"/>
                      <a:pt x="387" y="189"/>
                      <a:pt x="386" y="190"/>
                    </a:cubicBezTo>
                    <a:cubicBezTo>
                      <a:pt x="384" y="191"/>
                      <a:pt x="381" y="191"/>
                      <a:pt x="380" y="192"/>
                    </a:cubicBezTo>
                    <a:cubicBezTo>
                      <a:pt x="379" y="193"/>
                      <a:pt x="378" y="197"/>
                      <a:pt x="378" y="198"/>
                    </a:cubicBezTo>
                    <a:cubicBezTo>
                      <a:pt x="378" y="200"/>
                      <a:pt x="379" y="203"/>
                      <a:pt x="379" y="205"/>
                    </a:cubicBezTo>
                    <a:cubicBezTo>
                      <a:pt x="379" y="206"/>
                      <a:pt x="377" y="208"/>
                      <a:pt x="376" y="209"/>
                    </a:cubicBezTo>
                    <a:cubicBezTo>
                      <a:pt x="375" y="210"/>
                      <a:pt x="373" y="209"/>
                      <a:pt x="372" y="210"/>
                    </a:cubicBezTo>
                    <a:cubicBezTo>
                      <a:pt x="371" y="211"/>
                      <a:pt x="371" y="213"/>
                      <a:pt x="371" y="213"/>
                    </a:cubicBezTo>
                    <a:cubicBezTo>
                      <a:pt x="371" y="215"/>
                      <a:pt x="373" y="218"/>
                      <a:pt x="374" y="220"/>
                    </a:cubicBezTo>
                    <a:cubicBezTo>
                      <a:pt x="374" y="221"/>
                      <a:pt x="374" y="225"/>
                      <a:pt x="375" y="227"/>
                    </a:cubicBezTo>
                    <a:cubicBezTo>
                      <a:pt x="376" y="228"/>
                      <a:pt x="378" y="230"/>
                      <a:pt x="380" y="231"/>
                    </a:cubicBezTo>
                    <a:cubicBezTo>
                      <a:pt x="381" y="232"/>
                      <a:pt x="385" y="231"/>
                      <a:pt x="386" y="232"/>
                    </a:cubicBezTo>
                    <a:cubicBezTo>
                      <a:pt x="388" y="233"/>
                      <a:pt x="391" y="236"/>
                      <a:pt x="393" y="237"/>
                    </a:cubicBezTo>
                    <a:cubicBezTo>
                      <a:pt x="394" y="239"/>
                      <a:pt x="397" y="244"/>
                      <a:pt x="397" y="246"/>
                    </a:cubicBezTo>
                    <a:cubicBezTo>
                      <a:pt x="397" y="248"/>
                      <a:pt x="395" y="251"/>
                      <a:pt x="394" y="252"/>
                    </a:cubicBezTo>
                    <a:cubicBezTo>
                      <a:pt x="393" y="253"/>
                      <a:pt x="389" y="254"/>
                      <a:pt x="388" y="255"/>
                    </a:cubicBezTo>
                    <a:cubicBezTo>
                      <a:pt x="387" y="256"/>
                      <a:pt x="387" y="260"/>
                      <a:pt x="385" y="261"/>
                    </a:cubicBezTo>
                    <a:cubicBezTo>
                      <a:pt x="383" y="263"/>
                      <a:pt x="375" y="260"/>
                      <a:pt x="373" y="262"/>
                    </a:cubicBezTo>
                    <a:cubicBezTo>
                      <a:pt x="372" y="263"/>
                      <a:pt x="371" y="266"/>
                      <a:pt x="371" y="268"/>
                    </a:cubicBezTo>
                    <a:cubicBezTo>
                      <a:pt x="370" y="269"/>
                      <a:pt x="371" y="274"/>
                      <a:pt x="369" y="275"/>
                    </a:cubicBezTo>
                    <a:cubicBezTo>
                      <a:pt x="368" y="277"/>
                      <a:pt x="365" y="279"/>
                      <a:pt x="363" y="279"/>
                    </a:cubicBezTo>
                    <a:cubicBezTo>
                      <a:pt x="362" y="279"/>
                      <a:pt x="361" y="277"/>
                      <a:pt x="361" y="277"/>
                    </a:cubicBezTo>
                    <a:cubicBezTo>
                      <a:pt x="360" y="276"/>
                      <a:pt x="358" y="276"/>
                      <a:pt x="357" y="276"/>
                    </a:cubicBezTo>
                    <a:cubicBezTo>
                      <a:pt x="356" y="276"/>
                      <a:pt x="353" y="280"/>
                      <a:pt x="353" y="281"/>
                    </a:cubicBezTo>
                    <a:cubicBezTo>
                      <a:pt x="352" y="283"/>
                      <a:pt x="353" y="288"/>
                      <a:pt x="353" y="290"/>
                    </a:cubicBezTo>
                    <a:cubicBezTo>
                      <a:pt x="353" y="292"/>
                      <a:pt x="352" y="296"/>
                      <a:pt x="353" y="298"/>
                    </a:cubicBezTo>
                    <a:cubicBezTo>
                      <a:pt x="354" y="299"/>
                      <a:pt x="357" y="301"/>
                      <a:pt x="358" y="303"/>
                    </a:cubicBezTo>
                    <a:cubicBezTo>
                      <a:pt x="358" y="304"/>
                      <a:pt x="358" y="307"/>
                      <a:pt x="359" y="308"/>
                    </a:cubicBezTo>
                    <a:cubicBezTo>
                      <a:pt x="359" y="309"/>
                      <a:pt x="362" y="311"/>
                      <a:pt x="363" y="313"/>
                    </a:cubicBezTo>
                    <a:cubicBezTo>
                      <a:pt x="364" y="315"/>
                      <a:pt x="365" y="321"/>
                      <a:pt x="364" y="324"/>
                    </a:cubicBezTo>
                    <a:cubicBezTo>
                      <a:pt x="364" y="325"/>
                      <a:pt x="364" y="328"/>
                      <a:pt x="363" y="329"/>
                    </a:cubicBezTo>
                    <a:cubicBezTo>
                      <a:pt x="363" y="331"/>
                      <a:pt x="359" y="333"/>
                      <a:pt x="359" y="334"/>
                    </a:cubicBezTo>
                    <a:cubicBezTo>
                      <a:pt x="357" y="336"/>
                      <a:pt x="357" y="342"/>
                      <a:pt x="356" y="344"/>
                    </a:cubicBezTo>
                    <a:cubicBezTo>
                      <a:pt x="355" y="344"/>
                      <a:pt x="354" y="346"/>
                      <a:pt x="353" y="347"/>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31">
                <a:extLst>
                  <a:ext uri="{FF2B5EF4-FFF2-40B4-BE49-F238E27FC236}">
                    <a16:creationId xmlns:a16="http://schemas.microsoft.com/office/drawing/2014/main" id="{B5F82CAA-CB59-3D4F-CC81-2109802AADAF}"/>
                  </a:ext>
                </a:extLst>
              </p:cNvPr>
              <p:cNvSpPr>
                <a:spLocks/>
              </p:cNvSpPr>
              <p:nvPr/>
            </p:nvSpPr>
            <p:spPr bwMode="auto">
              <a:xfrm>
                <a:off x="6916903" y="2917305"/>
                <a:ext cx="838939" cy="438403"/>
              </a:xfrm>
              <a:custGeom>
                <a:avLst/>
                <a:gdLst/>
                <a:ahLst/>
                <a:cxnLst>
                  <a:cxn ang="0">
                    <a:pos x="19" y="83"/>
                  </a:cxn>
                  <a:cxn ang="0">
                    <a:pos x="20" y="55"/>
                  </a:cxn>
                  <a:cxn ang="0">
                    <a:pos x="32" y="10"/>
                  </a:cxn>
                  <a:cxn ang="0">
                    <a:pos x="65" y="14"/>
                  </a:cxn>
                  <a:cxn ang="0">
                    <a:pos x="110" y="2"/>
                  </a:cxn>
                  <a:cxn ang="0">
                    <a:pos x="132" y="27"/>
                  </a:cxn>
                  <a:cxn ang="0">
                    <a:pos x="178" y="29"/>
                  </a:cxn>
                  <a:cxn ang="0">
                    <a:pos x="229" y="34"/>
                  </a:cxn>
                  <a:cxn ang="0">
                    <a:pos x="288" y="32"/>
                  </a:cxn>
                  <a:cxn ang="0">
                    <a:pos x="325" y="25"/>
                  </a:cxn>
                  <a:cxn ang="0">
                    <a:pos x="358" y="40"/>
                  </a:cxn>
                  <a:cxn ang="0">
                    <a:pos x="383" y="29"/>
                  </a:cxn>
                  <a:cxn ang="0">
                    <a:pos x="414" y="31"/>
                  </a:cxn>
                  <a:cxn ang="0">
                    <a:pos x="450" y="28"/>
                  </a:cxn>
                  <a:cxn ang="0">
                    <a:pos x="471" y="53"/>
                  </a:cxn>
                  <a:cxn ang="0">
                    <a:pos x="468" y="64"/>
                  </a:cxn>
                  <a:cxn ang="0">
                    <a:pos x="458" y="65"/>
                  </a:cxn>
                  <a:cxn ang="0">
                    <a:pos x="466" y="76"/>
                  </a:cxn>
                  <a:cxn ang="0">
                    <a:pos x="467" y="99"/>
                  </a:cxn>
                  <a:cxn ang="0">
                    <a:pos x="457" y="96"/>
                  </a:cxn>
                  <a:cxn ang="0">
                    <a:pos x="453" y="88"/>
                  </a:cxn>
                  <a:cxn ang="0">
                    <a:pos x="443" y="95"/>
                  </a:cxn>
                  <a:cxn ang="0">
                    <a:pos x="452" y="109"/>
                  </a:cxn>
                  <a:cxn ang="0">
                    <a:pos x="457" y="109"/>
                  </a:cxn>
                  <a:cxn ang="0">
                    <a:pos x="472" y="101"/>
                  </a:cxn>
                  <a:cxn ang="0">
                    <a:pos x="474" y="127"/>
                  </a:cxn>
                  <a:cxn ang="0">
                    <a:pos x="492" y="182"/>
                  </a:cxn>
                  <a:cxn ang="0">
                    <a:pos x="524" y="221"/>
                  </a:cxn>
                  <a:cxn ang="0">
                    <a:pos x="554" y="240"/>
                  </a:cxn>
                  <a:cxn ang="0">
                    <a:pos x="544" y="266"/>
                  </a:cxn>
                  <a:cxn ang="0">
                    <a:pos x="526" y="264"/>
                  </a:cxn>
                  <a:cxn ang="0">
                    <a:pos x="514" y="251"/>
                  </a:cxn>
                  <a:cxn ang="0">
                    <a:pos x="500" y="243"/>
                  </a:cxn>
                  <a:cxn ang="0">
                    <a:pos x="481" y="248"/>
                  </a:cxn>
                  <a:cxn ang="0">
                    <a:pos x="472" y="254"/>
                  </a:cxn>
                  <a:cxn ang="0">
                    <a:pos x="463" y="270"/>
                  </a:cxn>
                  <a:cxn ang="0">
                    <a:pos x="456" y="289"/>
                  </a:cxn>
                  <a:cxn ang="0">
                    <a:pos x="434" y="289"/>
                  </a:cxn>
                  <a:cxn ang="0">
                    <a:pos x="410" y="281"/>
                  </a:cxn>
                  <a:cxn ang="0">
                    <a:pos x="387" y="254"/>
                  </a:cxn>
                  <a:cxn ang="0">
                    <a:pos x="391" y="235"/>
                  </a:cxn>
                  <a:cxn ang="0">
                    <a:pos x="396" y="217"/>
                  </a:cxn>
                  <a:cxn ang="0">
                    <a:pos x="380" y="220"/>
                  </a:cxn>
                  <a:cxn ang="0">
                    <a:pos x="360" y="205"/>
                  </a:cxn>
                  <a:cxn ang="0">
                    <a:pos x="341" y="195"/>
                  </a:cxn>
                  <a:cxn ang="0">
                    <a:pos x="323" y="208"/>
                  </a:cxn>
                  <a:cxn ang="0">
                    <a:pos x="317" y="225"/>
                  </a:cxn>
                  <a:cxn ang="0">
                    <a:pos x="289" y="222"/>
                  </a:cxn>
                  <a:cxn ang="0">
                    <a:pos x="271" y="222"/>
                  </a:cxn>
                  <a:cxn ang="0">
                    <a:pos x="242" y="210"/>
                  </a:cxn>
                  <a:cxn ang="0">
                    <a:pos x="213" y="213"/>
                  </a:cxn>
                  <a:cxn ang="0">
                    <a:pos x="182" y="193"/>
                  </a:cxn>
                  <a:cxn ang="0">
                    <a:pos x="175" y="188"/>
                  </a:cxn>
                  <a:cxn ang="0">
                    <a:pos x="158" y="177"/>
                  </a:cxn>
                  <a:cxn ang="0">
                    <a:pos x="126" y="164"/>
                  </a:cxn>
                  <a:cxn ang="0">
                    <a:pos x="110" y="150"/>
                  </a:cxn>
                  <a:cxn ang="0">
                    <a:pos x="91" y="159"/>
                  </a:cxn>
                  <a:cxn ang="0">
                    <a:pos x="77" y="166"/>
                  </a:cxn>
                  <a:cxn ang="0">
                    <a:pos x="57" y="154"/>
                  </a:cxn>
                  <a:cxn ang="0">
                    <a:pos x="48" y="150"/>
                  </a:cxn>
                  <a:cxn ang="0">
                    <a:pos x="36" y="119"/>
                  </a:cxn>
                  <a:cxn ang="0">
                    <a:pos x="11" y="117"/>
                  </a:cxn>
                  <a:cxn ang="0">
                    <a:pos x="8" y="105"/>
                  </a:cxn>
                </a:cxnLst>
                <a:rect l="0" t="0" r="r" b="b"/>
                <a:pathLst>
                  <a:path w="555" h="294">
                    <a:moveTo>
                      <a:pt x="8" y="105"/>
                    </a:moveTo>
                    <a:cubicBezTo>
                      <a:pt x="9" y="103"/>
                      <a:pt x="11" y="100"/>
                      <a:pt x="11" y="99"/>
                    </a:cubicBezTo>
                    <a:cubicBezTo>
                      <a:pt x="12" y="96"/>
                      <a:pt x="13" y="90"/>
                      <a:pt x="14" y="88"/>
                    </a:cubicBezTo>
                    <a:cubicBezTo>
                      <a:pt x="15" y="86"/>
                      <a:pt x="18" y="85"/>
                      <a:pt x="19" y="83"/>
                    </a:cubicBezTo>
                    <a:cubicBezTo>
                      <a:pt x="19" y="82"/>
                      <a:pt x="18" y="77"/>
                      <a:pt x="19" y="76"/>
                    </a:cubicBezTo>
                    <a:cubicBezTo>
                      <a:pt x="19" y="74"/>
                      <a:pt x="23" y="74"/>
                      <a:pt x="24" y="72"/>
                    </a:cubicBezTo>
                    <a:cubicBezTo>
                      <a:pt x="25" y="70"/>
                      <a:pt x="27" y="66"/>
                      <a:pt x="26" y="64"/>
                    </a:cubicBezTo>
                    <a:cubicBezTo>
                      <a:pt x="26" y="61"/>
                      <a:pt x="21" y="57"/>
                      <a:pt x="20" y="55"/>
                    </a:cubicBezTo>
                    <a:cubicBezTo>
                      <a:pt x="18" y="53"/>
                      <a:pt x="16" y="48"/>
                      <a:pt x="15" y="46"/>
                    </a:cubicBezTo>
                    <a:cubicBezTo>
                      <a:pt x="15" y="43"/>
                      <a:pt x="16" y="36"/>
                      <a:pt x="17" y="32"/>
                    </a:cubicBezTo>
                    <a:cubicBezTo>
                      <a:pt x="18" y="29"/>
                      <a:pt x="21" y="22"/>
                      <a:pt x="23" y="19"/>
                    </a:cubicBezTo>
                    <a:cubicBezTo>
                      <a:pt x="25" y="17"/>
                      <a:pt x="29" y="11"/>
                      <a:pt x="32" y="10"/>
                    </a:cubicBezTo>
                    <a:cubicBezTo>
                      <a:pt x="34" y="9"/>
                      <a:pt x="38" y="13"/>
                      <a:pt x="41" y="13"/>
                    </a:cubicBezTo>
                    <a:cubicBezTo>
                      <a:pt x="44" y="12"/>
                      <a:pt x="48" y="5"/>
                      <a:pt x="51" y="4"/>
                    </a:cubicBezTo>
                    <a:cubicBezTo>
                      <a:pt x="53" y="3"/>
                      <a:pt x="58" y="3"/>
                      <a:pt x="60" y="5"/>
                    </a:cubicBezTo>
                    <a:cubicBezTo>
                      <a:pt x="62" y="6"/>
                      <a:pt x="63" y="12"/>
                      <a:pt x="65" y="14"/>
                    </a:cubicBezTo>
                    <a:cubicBezTo>
                      <a:pt x="69" y="16"/>
                      <a:pt x="78" y="19"/>
                      <a:pt x="83" y="17"/>
                    </a:cubicBezTo>
                    <a:cubicBezTo>
                      <a:pt x="86" y="16"/>
                      <a:pt x="89" y="10"/>
                      <a:pt x="92" y="7"/>
                    </a:cubicBezTo>
                    <a:cubicBezTo>
                      <a:pt x="94" y="6"/>
                      <a:pt x="98" y="2"/>
                      <a:pt x="101" y="1"/>
                    </a:cubicBezTo>
                    <a:cubicBezTo>
                      <a:pt x="103" y="0"/>
                      <a:pt x="108" y="2"/>
                      <a:pt x="110" y="2"/>
                    </a:cubicBezTo>
                    <a:cubicBezTo>
                      <a:pt x="112" y="2"/>
                      <a:pt x="117" y="1"/>
                      <a:pt x="118" y="2"/>
                    </a:cubicBezTo>
                    <a:cubicBezTo>
                      <a:pt x="121" y="3"/>
                      <a:pt x="126" y="6"/>
                      <a:pt x="127" y="9"/>
                    </a:cubicBezTo>
                    <a:cubicBezTo>
                      <a:pt x="128" y="11"/>
                      <a:pt x="124" y="17"/>
                      <a:pt x="125" y="20"/>
                    </a:cubicBezTo>
                    <a:cubicBezTo>
                      <a:pt x="125" y="22"/>
                      <a:pt x="129" y="27"/>
                      <a:pt x="132" y="27"/>
                    </a:cubicBezTo>
                    <a:cubicBezTo>
                      <a:pt x="135" y="28"/>
                      <a:pt x="140" y="20"/>
                      <a:pt x="144" y="20"/>
                    </a:cubicBezTo>
                    <a:cubicBezTo>
                      <a:pt x="147" y="19"/>
                      <a:pt x="152" y="21"/>
                      <a:pt x="154" y="22"/>
                    </a:cubicBezTo>
                    <a:cubicBezTo>
                      <a:pt x="157" y="24"/>
                      <a:pt x="161" y="30"/>
                      <a:pt x="163" y="31"/>
                    </a:cubicBezTo>
                    <a:cubicBezTo>
                      <a:pt x="167" y="32"/>
                      <a:pt x="175" y="29"/>
                      <a:pt x="178" y="29"/>
                    </a:cubicBezTo>
                    <a:cubicBezTo>
                      <a:pt x="181" y="30"/>
                      <a:pt x="187" y="33"/>
                      <a:pt x="189" y="34"/>
                    </a:cubicBezTo>
                    <a:cubicBezTo>
                      <a:pt x="191" y="36"/>
                      <a:pt x="194" y="40"/>
                      <a:pt x="196" y="41"/>
                    </a:cubicBezTo>
                    <a:cubicBezTo>
                      <a:pt x="201" y="43"/>
                      <a:pt x="211" y="43"/>
                      <a:pt x="215" y="42"/>
                    </a:cubicBezTo>
                    <a:cubicBezTo>
                      <a:pt x="219" y="41"/>
                      <a:pt x="225" y="35"/>
                      <a:pt x="229" y="34"/>
                    </a:cubicBezTo>
                    <a:cubicBezTo>
                      <a:pt x="232" y="33"/>
                      <a:pt x="239" y="34"/>
                      <a:pt x="243" y="35"/>
                    </a:cubicBezTo>
                    <a:cubicBezTo>
                      <a:pt x="247" y="36"/>
                      <a:pt x="254" y="41"/>
                      <a:pt x="258" y="41"/>
                    </a:cubicBezTo>
                    <a:cubicBezTo>
                      <a:pt x="261" y="41"/>
                      <a:pt x="267" y="36"/>
                      <a:pt x="270" y="35"/>
                    </a:cubicBezTo>
                    <a:cubicBezTo>
                      <a:pt x="275" y="34"/>
                      <a:pt x="284" y="32"/>
                      <a:pt x="288" y="32"/>
                    </a:cubicBezTo>
                    <a:cubicBezTo>
                      <a:pt x="292" y="31"/>
                      <a:pt x="300" y="31"/>
                      <a:pt x="304" y="30"/>
                    </a:cubicBezTo>
                    <a:cubicBezTo>
                      <a:pt x="306" y="29"/>
                      <a:pt x="310" y="27"/>
                      <a:pt x="313" y="25"/>
                    </a:cubicBezTo>
                    <a:cubicBezTo>
                      <a:pt x="314" y="25"/>
                      <a:pt x="315" y="25"/>
                      <a:pt x="315" y="25"/>
                    </a:cubicBezTo>
                    <a:cubicBezTo>
                      <a:pt x="318" y="26"/>
                      <a:pt x="323" y="25"/>
                      <a:pt x="325" y="25"/>
                    </a:cubicBezTo>
                    <a:cubicBezTo>
                      <a:pt x="328" y="25"/>
                      <a:pt x="333" y="25"/>
                      <a:pt x="335" y="26"/>
                    </a:cubicBezTo>
                    <a:cubicBezTo>
                      <a:pt x="337" y="27"/>
                      <a:pt x="339" y="30"/>
                      <a:pt x="341" y="30"/>
                    </a:cubicBezTo>
                    <a:cubicBezTo>
                      <a:pt x="343" y="32"/>
                      <a:pt x="348" y="33"/>
                      <a:pt x="351" y="34"/>
                    </a:cubicBezTo>
                    <a:cubicBezTo>
                      <a:pt x="353" y="35"/>
                      <a:pt x="356" y="39"/>
                      <a:pt x="358" y="40"/>
                    </a:cubicBezTo>
                    <a:cubicBezTo>
                      <a:pt x="360" y="41"/>
                      <a:pt x="365" y="43"/>
                      <a:pt x="368" y="43"/>
                    </a:cubicBezTo>
                    <a:cubicBezTo>
                      <a:pt x="369" y="44"/>
                      <a:pt x="372" y="43"/>
                      <a:pt x="373" y="42"/>
                    </a:cubicBezTo>
                    <a:cubicBezTo>
                      <a:pt x="375" y="41"/>
                      <a:pt x="378" y="38"/>
                      <a:pt x="380" y="36"/>
                    </a:cubicBezTo>
                    <a:cubicBezTo>
                      <a:pt x="381" y="34"/>
                      <a:pt x="382" y="30"/>
                      <a:pt x="383" y="29"/>
                    </a:cubicBezTo>
                    <a:cubicBezTo>
                      <a:pt x="385" y="27"/>
                      <a:pt x="390" y="26"/>
                      <a:pt x="393" y="26"/>
                    </a:cubicBezTo>
                    <a:cubicBezTo>
                      <a:pt x="395" y="27"/>
                      <a:pt x="397" y="30"/>
                      <a:pt x="398" y="30"/>
                    </a:cubicBezTo>
                    <a:cubicBezTo>
                      <a:pt x="400" y="31"/>
                      <a:pt x="403" y="33"/>
                      <a:pt x="405" y="33"/>
                    </a:cubicBezTo>
                    <a:cubicBezTo>
                      <a:pt x="407" y="33"/>
                      <a:pt x="412" y="32"/>
                      <a:pt x="414" y="31"/>
                    </a:cubicBezTo>
                    <a:cubicBezTo>
                      <a:pt x="415" y="29"/>
                      <a:pt x="416" y="25"/>
                      <a:pt x="418" y="24"/>
                    </a:cubicBezTo>
                    <a:cubicBezTo>
                      <a:pt x="420" y="23"/>
                      <a:pt x="424" y="23"/>
                      <a:pt x="425" y="23"/>
                    </a:cubicBezTo>
                    <a:cubicBezTo>
                      <a:pt x="428" y="22"/>
                      <a:pt x="433" y="21"/>
                      <a:pt x="435" y="22"/>
                    </a:cubicBezTo>
                    <a:cubicBezTo>
                      <a:pt x="439" y="22"/>
                      <a:pt x="446" y="26"/>
                      <a:pt x="450" y="28"/>
                    </a:cubicBezTo>
                    <a:cubicBezTo>
                      <a:pt x="452" y="29"/>
                      <a:pt x="455" y="32"/>
                      <a:pt x="456" y="34"/>
                    </a:cubicBezTo>
                    <a:cubicBezTo>
                      <a:pt x="458" y="35"/>
                      <a:pt x="461" y="39"/>
                      <a:pt x="462" y="41"/>
                    </a:cubicBezTo>
                    <a:cubicBezTo>
                      <a:pt x="464" y="43"/>
                      <a:pt x="468" y="46"/>
                      <a:pt x="469" y="49"/>
                    </a:cubicBezTo>
                    <a:cubicBezTo>
                      <a:pt x="470" y="50"/>
                      <a:pt x="470" y="51"/>
                      <a:pt x="471" y="53"/>
                    </a:cubicBezTo>
                    <a:cubicBezTo>
                      <a:pt x="470" y="54"/>
                      <a:pt x="470" y="54"/>
                      <a:pt x="469" y="55"/>
                    </a:cubicBezTo>
                    <a:cubicBezTo>
                      <a:pt x="469" y="55"/>
                      <a:pt x="469" y="56"/>
                      <a:pt x="469" y="57"/>
                    </a:cubicBezTo>
                    <a:cubicBezTo>
                      <a:pt x="469" y="58"/>
                      <a:pt x="471" y="61"/>
                      <a:pt x="470" y="62"/>
                    </a:cubicBezTo>
                    <a:cubicBezTo>
                      <a:pt x="470" y="63"/>
                      <a:pt x="469" y="64"/>
                      <a:pt x="468" y="64"/>
                    </a:cubicBezTo>
                    <a:cubicBezTo>
                      <a:pt x="467" y="64"/>
                      <a:pt x="466" y="64"/>
                      <a:pt x="466" y="64"/>
                    </a:cubicBezTo>
                    <a:cubicBezTo>
                      <a:pt x="465" y="63"/>
                      <a:pt x="465" y="62"/>
                      <a:pt x="464" y="61"/>
                    </a:cubicBezTo>
                    <a:cubicBezTo>
                      <a:pt x="463" y="61"/>
                      <a:pt x="461" y="61"/>
                      <a:pt x="461" y="61"/>
                    </a:cubicBezTo>
                    <a:cubicBezTo>
                      <a:pt x="460" y="62"/>
                      <a:pt x="458" y="64"/>
                      <a:pt x="458" y="65"/>
                    </a:cubicBezTo>
                    <a:cubicBezTo>
                      <a:pt x="458" y="66"/>
                      <a:pt x="460" y="69"/>
                      <a:pt x="461" y="69"/>
                    </a:cubicBezTo>
                    <a:cubicBezTo>
                      <a:pt x="462" y="69"/>
                      <a:pt x="465" y="67"/>
                      <a:pt x="466" y="68"/>
                    </a:cubicBezTo>
                    <a:cubicBezTo>
                      <a:pt x="467" y="68"/>
                      <a:pt x="468" y="70"/>
                      <a:pt x="468" y="70"/>
                    </a:cubicBezTo>
                    <a:cubicBezTo>
                      <a:pt x="468" y="72"/>
                      <a:pt x="466" y="74"/>
                      <a:pt x="466" y="76"/>
                    </a:cubicBezTo>
                    <a:cubicBezTo>
                      <a:pt x="465" y="78"/>
                      <a:pt x="467" y="83"/>
                      <a:pt x="467" y="85"/>
                    </a:cubicBezTo>
                    <a:cubicBezTo>
                      <a:pt x="467" y="87"/>
                      <a:pt x="467" y="90"/>
                      <a:pt x="467" y="91"/>
                    </a:cubicBezTo>
                    <a:cubicBezTo>
                      <a:pt x="468" y="92"/>
                      <a:pt x="469" y="94"/>
                      <a:pt x="469" y="96"/>
                    </a:cubicBezTo>
                    <a:cubicBezTo>
                      <a:pt x="469" y="97"/>
                      <a:pt x="468" y="99"/>
                      <a:pt x="467" y="99"/>
                    </a:cubicBezTo>
                    <a:cubicBezTo>
                      <a:pt x="466" y="100"/>
                      <a:pt x="465" y="99"/>
                      <a:pt x="465" y="99"/>
                    </a:cubicBezTo>
                    <a:cubicBezTo>
                      <a:pt x="464" y="98"/>
                      <a:pt x="463" y="94"/>
                      <a:pt x="461" y="95"/>
                    </a:cubicBezTo>
                    <a:cubicBezTo>
                      <a:pt x="460" y="95"/>
                      <a:pt x="461" y="97"/>
                      <a:pt x="460" y="97"/>
                    </a:cubicBezTo>
                    <a:cubicBezTo>
                      <a:pt x="459" y="98"/>
                      <a:pt x="457" y="97"/>
                      <a:pt x="457" y="96"/>
                    </a:cubicBezTo>
                    <a:cubicBezTo>
                      <a:pt x="456" y="95"/>
                      <a:pt x="456" y="93"/>
                      <a:pt x="457" y="93"/>
                    </a:cubicBezTo>
                    <a:cubicBezTo>
                      <a:pt x="457" y="92"/>
                      <a:pt x="458" y="91"/>
                      <a:pt x="458" y="90"/>
                    </a:cubicBezTo>
                    <a:cubicBezTo>
                      <a:pt x="458" y="89"/>
                      <a:pt x="457" y="88"/>
                      <a:pt x="456" y="88"/>
                    </a:cubicBezTo>
                    <a:cubicBezTo>
                      <a:pt x="456" y="87"/>
                      <a:pt x="454" y="88"/>
                      <a:pt x="453" y="88"/>
                    </a:cubicBezTo>
                    <a:cubicBezTo>
                      <a:pt x="452" y="89"/>
                      <a:pt x="454" y="92"/>
                      <a:pt x="453" y="93"/>
                    </a:cubicBezTo>
                    <a:cubicBezTo>
                      <a:pt x="453" y="94"/>
                      <a:pt x="451" y="94"/>
                      <a:pt x="450" y="94"/>
                    </a:cubicBezTo>
                    <a:cubicBezTo>
                      <a:pt x="449" y="94"/>
                      <a:pt x="448" y="93"/>
                      <a:pt x="447" y="93"/>
                    </a:cubicBezTo>
                    <a:cubicBezTo>
                      <a:pt x="446" y="93"/>
                      <a:pt x="444" y="94"/>
                      <a:pt x="443" y="95"/>
                    </a:cubicBezTo>
                    <a:cubicBezTo>
                      <a:pt x="442" y="97"/>
                      <a:pt x="442" y="101"/>
                      <a:pt x="443" y="103"/>
                    </a:cubicBezTo>
                    <a:cubicBezTo>
                      <a:pt x="443" y="104"/>
                      <a:pt x="445" y="107"/>
                      <a:pt x="446" y="109"/>
                    </a:cubicBezTo>
                    <a:cubicBezTo>
                      <a:pt x="447" y="110"/>
                      <a:pt x="449" y="112"/>
                      <a:pt x="450" y="111"/>
                    </a:cubicBezTo>
                    <a:cubicBezTo>
                      <a:pt x="451" y="111"/>
                      <a:pt x="452" y="110"/>
                      <a:pt x="452" y="109"/>
                    </a:cubicBezTo>
                    <a:cubicBezTo>
                      <a:pt x="452" y="109"/>
                      <a:pt x="451" y="107"/>
                      <a:pt x="451" y="106"/>
                    </a:cubicBezTo>
                    <a:cubicBezTo>
                      <a:pt x="452" y="106"/>
                      <a:pt x="453" y="105"/>
                      <a:pt x="454" y="105"/>
                    </a:cubicBezTo>
                    <a:cubicBezTo>
                      <a:pt x="455" y="106"/>
                      <a:pt x="454" y="108"/>
                      <a:pt x="454" y="109"/>
                    </a:cubicBezTo>
                    <a:cubicBezTo>
                      <a:pt x="455" y="109"/>
                      <a:pt x="456" y="109"/>
                      <a:pt x="457" y="109"/>
                    </a:cubicBezTo>
                    <a:cubicBezTo>
                      <a:pt x="459" y="109"/>
                      <a:pt x="461" y="107"/>
                      <a:pt x="462" y="106"/>
                    </a:cubicBezTo>
                    <a:cubicBezTo>
                      <a:pt x="463" y="106"/>
                      <a:pt x="466" y="106"/>
                      <a:pt x="467" y="105"/>
                    </a:cubicBezTo>
                    <a:cubicBezTo>
                      <a:pt x="467" y="105"/>
                      <a:pt x="468" y="103"/>
                      <a:pt x="468" y="102"/>
                    </a:cubicBezTo>
                    <a:cubicBezTo>
                      <a:pt x="469" y="102"/>
                      <a:pt x="471" y="100"/>
                      <a:pt x="472" y="101"/>
                    </a:cubicBezTo>
                    <a:cubicBezTo>
                      <a:pt x="473" y="101"/>
                      <a:pt x="474" y="104"/>
                      <a:pt x="474" y="105"/>
                    </a:cubicBezTo>
                    <a:cubicBezTo>
                      <a:pt x="475" y="107"/>
                      <a:pt x="475" y="110"/>
                      <a:pt x="475" y="111"/>
                    </a:cubicBezTo>
                    <a:cubicBezTo>
                      <a:pt x="475" y="113"/>
                      <a:pt x="474" y="116"/>
                      <a:pt x="474" y="118"/>
                    </a:cubicBezTo>
                    <a:cubicBezTo>
                      <a:pt x="473" y="120"/>
                      <a:pt x="474" y="125"/>
                      <a:pt x="474" y="127"/>
                    </a:cubicBezTo>
                    <a:cubicBezTo>
                      <a:pt x="475" y="131"/>
                      <a:pt x="478" y="138"/>
                      <a:pt x="479" y="142"/>
                    </a:cubicBezTo>
                    <a:cubicBezTo>
                      <a:pt x="480" y="146"/>
                      <a:pt x="482" y="153"/>
                      <a:pt x="483" y="157"/>
                    </a:cubicBezTo>
                    <a:cubicBezTo>
                      <a:pt x="484" y="161"/>
                      <a:pt x="486" y="169"/>
                      <a:pt x="487" y="172"/>
                    </a:cubicBezTo>
                    <a:cubicBezTo>
                      <a:pt x="488" y="175"/>
                      <a:pt x="491" y="180"/>
                      <a:pt x="492" y="182"/>
                    </a:cubicBezTo>
                    <a:cubicBezTo>
                      <a:pt x="494" y="185"/>
                      <a:pt x="499" y="190"/>
                      <a:pt x="501" y="193"/>
                    </a:cubicBezTo>
                    <a:cubicBezTo>
                      <a:pt x="503" y="195"/>
                      <a:pt x="506" y="199"/>
                      <a:pt x="507" y="201"/>
                    </a:cubicBezTo>
                    <a:cubicBezTo>
                      <a:pt x="509" y="204"/>
                      <a:pt x="512" y="211"/>
                      <a:pt x="515" y="214"/>
                    </a:cubicBezTo>
                    <a:cubicBezTo>
                      <a:pt x="517" y="216"/>
                      <a:pt x="522" y="219"/>
                      <a:pt x="524" y="221"/>
                    </a:cubicBezTo>
                    <a:cubicBezTo>
                      <a:pt x="527" y="224"/>
                      <a:pt x="532" y="231"/>
                      <a:pt x="535" y="233"/>
                    </a:cubicBezTo>
                    <a:cubicBezTo>
                      <a:pt x="537" y="235"/>
                      <a:pt x="541" y="237"/>
                      <a:pt x="544" y="238"/>
                    </a:cubicBezTo>
                    <a:cubicBezTo>
                      <a:pt x="545" y="239"/>
                      <a:pt x="547" y="239"/>
                      <a:pt x="549" y="239"/>
                    </a:cubicBezTo>
                    <a:cubicBezTo>
                      <a:pt x="550" y="239"/>
                      <a:pt x="552" y="240"/>
                      <a:pt x="554" y="240"/>
                    </a:cubicBezTo>
                    <a:cubicBezTo>
                      <a:pt x="553" y="242"/>
                      <a:pt x="553" y="244"/>
                      <a:pt x="553" y="246"/>
                    </a:cubicBezTo>
                    <a:cubicBezTo>
                      <a:pt x="553" y="248"/>
                      <a:pt x="555" y="253"/>
                      <a:pt x="554" y="255"/>
                    </a:cubicBezTo>
                    <a:cubicBezTo>
                      <a:pt x="554" y="257"/>
                      <a:pt x="553" y="261"/>
                      <a:pt x="552" y="262"/>
                    </a:cubicBezTo>
                    <a:cubicBezTo>
                      <a:pt x="550" y="264"/>
                      <a:pt x="546" y="265"/>
                      <a:pt x="544" y="266"/>
                    </a:cubicBezTo>
                    <a:cubicBezTo>
                      <a:pt x="543" y="267"/>
                      <a:pt x="542" y="271"/>
                      <a:pt x="541" y="272"/>
                    </a:cubicBezTo>
                    <a:cubicBezTo>
                      <a:pt x="539" y="273"/>
                      <a:pt x="536" y="277"/>
                      <a:pt x="533" y="277"/>
                    </a:cubicBezTo>
                    <a:cubicBezTo>
                      <a:pt x="531" y="277"/>
                      <a:pt x="527" y="273"/>
                      <a:pt x="526" y="271"/>
                    </a:cubicBezTo>
                    <a:cubicBezTo>
                      <a:pt x="526" y="270"/>
                      <a:pt x="527" y="266"/>
                      <a:pt x="526" y="264"/>
                    </a:cubicBezTo>
                    <a:cubicBezTo>
                      <a:pt x="526" y="263"/>
                      <a:pt x="526" y="261"/>
                      <a:pt x="525" y="260"/>
                    </a:cubicBezTo>
                    <a:cubicBezTo>
                      <a:pt x="524" y="258"/>
                      <a:pt x="519" y="259"/>
                      <a:pt x="517" y="257"/>
                    </a:cubicBezTo>
                    <a:cubicBezTo>
                      <a:pt x="516" y="256"/>
                      <a:pt x="516" y="253"/>
                      <a:pt x="515" y="252"/>
                    </a:cubicBezTo>
                    <a:cubicBezTo>
                      <a:pt x="515" y="251"/>
                      <a:pt x="514" y="251"/>
                      <a:pt x="514" y="251"/>
                    </a:cubicBezTo>
                    <a:cubicBezTo>
                      <a:pt x="513" y="250"/>
                      <a:pt x="512" y="249"/>
                      <a:pt x="512" y="248"/>
                    </a:cubicBezTo>
                    <a:cubicBezTo>
                      <a:pt x="512" y="246"/>
                      <a:pt x="515" y="243"/>
                      <a:pt x="514" y="241"/>
                    </a:cubicBezTo>
                    <a:cubicBezTo>
                      <a:pt x="513" y="239"/>
                      <a:pt x="508" y="241"/>
                      <a:pt x="506" y="241"/>
                    </a:cubicBezTo>
                    <a:cubicBezTo>
                      <a:pt x="504" y="241"/>
                      <a:pt x="501" y="242"/>
                      <a:pt x="500" y="243"/>
                    </a:cubicBezTo>
                    <a:cubicBezTo>
                      <a:pt x="499" y="244"/>
                      <a:pt x="497" y="247"/>
                      <a:pt x="496" y="248"/>
                    </a:cubicBezTo>
                    <a:cubicBezTo>
                      <a:pt x="495" y="248"/>
                      <a:pt x="495" y="248"/>
                      <a:pt x="495" y="248"/>
                    </a:cubicBezTo>
                    <a:cubicBezTo>
                      <a:pt x="493" y="249"/>
                      <a:pt x="488" y="250"/>
                      <a:pt x="486" y="250"/>
                    </a:cubicBezTo>
                    <a:cubicBezTo>
                      <a:pt x="484" y="250"/>
                      <a:pt x="482" y="247"/>
                      <a:pt x="481" y="248"/>
                    </a:cubicBezTo>
                    <a:cubicBezTo>
                      <a:pt x="480" y="249"/>
                      <a:pt x="481" y="252"/>
                      <a:pt x="480" y="253"/>
                    </a:cubicBezTo>
                    <a:cubicBezTo>
                      <a:pt x="480" y="254"/>
                      <a:pt x="479" y="257"/>
                      <a:pt x="478" y="258"/>
                    </a:cubicBezTo>
                    <a:cubicBezTo>
                      <a:pt x="477" y="259"/>
                      <a:pt x="473" y="259"/>
                      <a:pt x="472" y="258"/>
                    </a:cubicBezTo>
                    <a:cubicBezTo>
                      <a:pt x="471" y="257"/>
                      <a:pt x="472" y="255"/>
                      <a:pt x="472" y="254"/>
                    </a:cubicBezTo>
                    <a:cubicBezTo>
                      <a:pt x="471" y="252"/>
                      <a:pt x="469" y="249"/>
                      <a:pt x="467" y="249"/>
                    </a:cubicBezTo>
                    <a:cubicBezTo>
                      <a:pt x="466" y="249"/>
                      <a:pt x="464" y="252"/>
                      <a:pt x="463" y="253"/>
                    </a:cubicBezTo>
                    <a:cubicBezTo>
                      <a:pt x="462" y="256"/>
                      <a:pt x="461" y="260"/>
                      <a:pt x="461" y="262"/>
                    </a:cubicBezTo>
                    <a:cubicBezTo>
                      <a:pt x="461" y="264"/>
                      <a:pt x="463" y="268"/>
                      <a:pt x="463" y="270"/>
                    </a:cubicBezTo>
                    <a:cubicBezTo>
                      <a:pt x="464" y="272"/>
                      <a:pt x="463" y="275"/>
                      <a:pt x="463" y="277"/>
                    </a:cubicBezTo>
                    <a:cubicBezTo>
                      <a:pt x="462" y="279"/>
                      <a:pt x="460" y="282"/>
                      <a:pt x="460" y="284"/>
                    </a:cubicBezTo>
                    <a:cubicBezTo>
                      <a:pt x="459" y="285"/>
                      <a:pt x="459" y="288"/>
                      <a:pt x="459" y="290"/>
                    </a:cubicBezTo>
                    <a:cubicBezTo>
                      <a:pt x="458" y="289"/>
                      <a:pt x="457" y="289"/>
                      <a:pt x="456" y="289"/>
                    </a:cubicBezTo>
                    <a:cubicBezTo>
                      <a:pt x="455" y="289"/>
                      <a:pt x="454" y="292"/>
                      <a:pt x="453" y="292"/>
                    </a:cubicBezTo>
                    <a:cubicBezTo>
                      <a:pt x="451" y="293"/>
                      <a:pt x="448" y="294"/>
                      <a:pt x="446" y="293"/>
                    </a:cubicBezTo>
                    <a:cubicBezTo>
                      <a:pt x="445" y="293"/>
                      <a:pt x="442" y="291"/>
                      <a:pt x="441" y="291"/>
                    </a:cubicBezTo>
                    <a:cubicBezTo>
                      <a:pt x="439" y="290"/>
                      <a:pt x="436" y="290"/>
                      <a:pt x="434" y="289"/>
                    </a:cubicBezTo>
                    <a:cubicBezTo>
                      <a:pt x="433" y="288"/>
                      <a:pt x="434" y="283"/>
                      <a:pt x="432" y="282"/>
                    </a:cubicBezTo>
                    <a:cubicBezTo>
                      <a:pt x="431" y="280"/>
                      <a:pt x="426" y="280"/>
                      <a:pt x="423" y="280"/>
                    </a:cubicBezTo>
                    <a:cubicBezTo>
                      <a:pt x="422" y="280"/>
                      <a:pt x="418" y="281"/>
                      <a:pt x="417" y="281"/>
                    </a:cubicBezTo>
                    <a:cubicBezTo>
                      <a:pt x="415" y="282"/>
                      <a:pt x="412" y="282"/>
                      <a:pt x="410" y="281"/>
                    </a:cubicBezTo>
                    <a:cubicBezTo>
                      <a:pt x="409" y="280"/>
                      <a:pt x="405" y="278"/>
                      <a:pt x="404" y="276"/>
                    </a:cubicBezTo>
                    <a:cubicBezTo>
                      <a:pt x="403" y="274"/>
                      <a:pt x="401" y="268"/>
                      <a:pt x="400" y="266"/>
                    </a:cubicBezTo>
                    <a:cubicBezTo>
                      <a:pt x="399" y="264"/>
                      <a:pt x="396" y="260"/>
                      <a:pt x="395" y="259"/>
                    </a:cubicBezTo>
                    <a:cubicBezTo>
                      <a:pt x="393" y="257"/>
                      <a:pt x="389" y="255"/>
                      <a:pt x="387" y="254"/>
                    </a:cubicBezTo>
                    <a:cubicBezTo>
                      <a:pt x="386" y="253"/>
                      <a:pt x="384" y="250"/>
                      <a:pt x="384" y="249"/>
                    </a:cubicBezTo>
                    <a:cubicBezTo>
                      <a:pt x="383" y="247"/>
                      <a:pt x="383" y="245"/>
                      <a:pt x="384" y="244"/>
                    </a:cubicBezTo>
                    <a:cubicBezTo>
                      <a:pt x="385" y="243"/>
                      <a:pt x="388" y="243"/>
                      <a:pt x="389" y="242"/>
                    </a:cubicBezTo>
                    <a:cubicBezTo>
                      <a:pt x="390" y="241"/>
                      <a:pt x="390" y="237"/>
                      <a:pt x="391" y="235"/>
                    </a:cubicBezTo>
                    <a:cubicBezTo>
                      <a:pt x="392" y="233"/>
                      <a:pt x="394" y="230"/>
                      <a:pt x="395" y="228"/>
                    </a:cubicBezTo>
                    <a:cubicBezTo>
                      <a:pt x="396" y="227"/>
                      <a:pt x="399" y="226"/>
                      <a:pt x="399" y="225"/>
                    </a:cubicBezTo>
                    <a:cubicBezTo>
                      <a:pt x="400" y="224"/>
                      <a:pt x="400" y="222"/>
                      <a:pt x="399" y="221"/>
                    </a:cubicBezTo>
                    <a:cubicBezTo>
                      <a:pt x="399" y="220"/>
                      <a:pt x="397" y="218"/>
                      <a:pt x="396" y="217"/>
                    </a:cubicBezTo>
                    <a:cubicBezTo>
                      <a:pt x="395" y="217"/>
                      <a:pt x="393" y="216"/>
                      <a:pt x="392" y="216"/>
                    </a:cubicBezTo>
                    <a:cubicBezTo>
                      <a:pt x="391" y="216"/>
                      <a:pt x="389" y="217"/>
                      <a:pt x="388" y="217"/>
                    </a:cubicBezTo>
                    <a:cubicBezTo>
                      <a:pt x="387" y="218"/>
                      <a:pt x="387" y="221"/>
                      <a:pt x="386" y="221"/>
                    </a:cubicBezTo>
                    <a:cubicBezTo>
                      <a:pt x="385" y="222"/>
                      <a:pt x="382" y="221"/>
                      <a:pt x="380" y="220"/>
                    </a:cubicBezTo>
                    <a:cubicBezTo>
                      <a:pt x="379" y="218"/>
                      <a:pt x="379" y="214"/>
                      <a:pt x="378" y="213"/>
                    </a:cubicBezTo>
                    <a:cubicBezTo>
                      <a:pt x="377" y="211"/>
                      <a:pt x="374" y="208"/>
                      <a:pt x="373" y="207"/>
                    </a:cubicBezTo>
                    <a:cubicBezTo>
                      <a:pt x="371" y="206"/>
                      <a:pt x="368" y="206"/>
                      <a:pt x="366" y="206"/>
                    </a:cubicBezTo>
                    <a:cubicBezTo>
                      <a:pt x="364" y="206"/>
                      <a:pt x="361" y="206"/>
                      <a:pt x="360" y="205"/>
                    </a:cubicBezTo>
                    <a:cubicBezTo>
                      <a:pt x="358" y="205"/>
                      <a:pt x="355" y="203"/>
                      <a:pt x="354" y="202"/>
                    </a:cubicBezTo>
                    <a:cubicBezTo>
                      <a:pt x="354" y="200"/>
                      <a:pt x="356" y="197"/>
                      <a:pt x="355" y="196"/>
                    </a:cubicBezTo>
                    <a:cubicBezTo>
                      <a:pt x="355" y="195"/>
                      <a:pt x="352" y="193"/>
                      <a:pt x="351" y="193"/>
                    </a:cubicBezTo>
                    <a:cubicBezTo>
                      <a:pt x="349" y="192"/>
                      <a:pt x="343" y="193"/>
                      <a:pt x="341" y="195"/>
                    </a:cubicBezTo>
                    <a:cubicBezTo>
                      <a:pt x="340" y="196"/>
                      <a:pt x="339" y="199"/>
                      <a:pt x="338" y="200"/>
                    </a:cubicBezTo>
                    <a:cubicBezTo>
                      <a:pt x="337" y="201"/>
                      <a:pt x="332" y="200"/>
                      <a:pt x="331" y="201"/>
                    </a:cubicBezTo>
                    <a:cubicBezTo>
                      <a:pt x="329" y="201"/>
                      <a:pt x="326" y="202"/>
                      <a:pt x="324" y="203"/>
                    </a:cubicBezTo>
                    <a:cubicBezTo>
                      <a:pt x="324" y="204"/>
                      <a:pt x="324" y="207"/>
                      <a:pt x="323" y="208"/>
                    </a:cubicBezTo>
                    <a:cubicBezTo>
                      <a:pt x="323" y="209"/>
                      <a:pt x="320" y="210"/>
                      <a:pt x="319" y="210"/>
                    </a:cubicBezTo>
                    <a:cubicBezTo>
                      <a:pt x="318" y="211"/>
                      <a:pt x="317" y="214"/>
                      <a:pt x="317" y="216"/>
                    </a:cubicBezTo>
                    <a:cubicBezTo>
                      <a:pt x="317" y="217"/>
                      <a:pt x="320" y="220"/>
                      <a:pt x="320" y="221"/>
                    </a:cubicBezTo>
                    <a:cubicBezTo>
                      <a:pt x="320" y="222"/>
                      <a:pt x="318" y="225"/>
                      <a:pt x="317" y="225"/>
                    </a:cubicBezTo>
                    <a:cubicBezTo>
                      <a:pt x="315" y="226"/>
                      <a:pt x="312" y="224"/>
                      <a:pt x="310" y="224"/>
                    </a:cubicBezTo>
                    <a:cubicBezTo>
                      <a:pt x="308" y="224"/>
                      <a:pt x="304" y="224"/>
                      <a:pt x="302" y="224"/>
                    </a:cubicBezTo>
                    <a:cubicBezTo>
                      <a:pt x="300" y="224"/>
                      <a:pt x="297" y="225"/>
                      <a:pt x="295" y="225"/>
                    </a:cubicBezTo>
                    <a:cubicBezTo>
                      <a:pt x="293" y="225"/>
                      <a:pt x="290" y="223"/>
                      <a:pt x="289" y="222"/>
                    </a:cubicBezTo>
                    <a:cubicBezTo>
                      <a:pt x="288" y="221"/>
                      <a:pt x="286" y="218"/>
                      <a:pt x="284" y="217"/>
                    </a:cubicBezTo>
                    <a:cubicBezTo>
                      <a:pt x="283" y="216"/>
                      <a:pt x="281" y="215"/>
                      <a:pt x="279" y="214"/>
                    </a:cubicBezTo>
                    <a:cubicBezTo>
                      <a:pt x="278" y="214"/>
                      <a:pt x="275" y="215"/>
                      <a:pt x="274" y="216"/>
                    </a:cubicBezTo>
                    <a:cubicBezTo>
                      <a:pt x="273" y="217"/>
                      <a:pt x="273" y="221"/>
                      <a:pt x="271" y="222"/>
                    </a:cubicBezTo>
                    <a:cubicBezTo>
                      <a:pt x="270" y="223"/>
                      <a:pt x="268" y="225"/>
                      <a:pt x="266" y="225"/>
                    </a:cubicBezTo>
                    <a:cubicBezTo>
                      <a:pt x="265" y="225"/>
                      <a:pt x="261" y="224"/>
                      <a:pt x="259" y="223"/>
                    </a:cubicBezTo>
                    <a:cubicBezTo>
                      <a:pt x="256" y="222"/>
                      <a:pt x="252" y="216"/>
                      <a:pt x="250" y="214"/>
                    </a:cubicBezTo>
                    <a:cubicBezTo>
                      <a:pt x="248" y="213"/>
                      <a:pt x="244" y="211"/>
                      <a:pt x="242" y="210"/>
                    </a:cubicBezTo>
                    <a:cubicBezTo>
                      <a:pt x="240" y="210"/>
                      <a:pt x="236" y="211"/>
                      <a:pt x="234" y="211"/>
                    </a:cubicBezTo>
                    <a:cubicBezTo>
                      <a:pt x="233" y="212"/>
                      <a:pt x="231" y="215"/>
                      <a:pt x="230" y="216"/>
                    </a:cubicBezTo>
                    <a:cubicBezTo>
                      <a:pt x="228" y="217"/>
                      <a:pt x="224" y="218"/>
                      <a:pt x="222" y="218"/>
                    </a:cubicBezTo>
                    <a:cubicBezTo>
                      <a:pt x="219" y="218"/>
                      <a:pt x="215" y="214"/>
                      <a:pt x="213" y="213"/>
                    </a:cubicBezTo>
                    <a:cubicBezTo>
                      <a:pt x="211" y="212"/>
                      <a:pt x="207" y="212"/>
                      <a:pt x="206" y="211"/>
                    </a:cubicBezTo>
                    <a:cubicBezTo>
                      <a:pt x="203" y="209"/>
                      <a:pt x="202" y="204"/>
                      <a:pt x="200" y="202"/>
                    </a:cubicBezTo>
                    <a:cubicBezTo>
                      <a:pt x="198" y="200"/>
                      <a:pt x="193" y="197"/>
                      <a:pt x="190" y="196"/>
                    </a:cubicBezTo>
                    <a:cubicBezTo>
                      <a:pt x="188" y="195"/>
                      <a:pt x="183" y="194"/>
                      <a:pt x="182" y="193"/>
                    </a:cubicBezTo>
                    <a:cubicBezTo>
                      <a:pt x="180" y="192"/>
                      <a:pt x="180" y="188"/>
                      <a:pt x="179" y="187"/>
                    </a:cubicBezTo>
                    <a:cubicBezTo>
                      <a:pt x="178" y="186"/>
                      <a:pt x="177" y="182"/>
                      <a:pt x="175" y="182"/>
                    </a:cubicBezTo>
                    <a:cubicBezTo>
                      <a:pt x="175" y="182"/>
                      <a:pt x="174" y="184"/>
                      <a:pt x="174" y="185"/>
                    </a:cubicBezTo>
                    <a:cubicBezTo>
                      <a:pt x="174" y="186"/>
                      <a:pt x="175" y="188"/>
                      <a:pt x="175" y="188"/>
                    </a:cubicBezTo>
                    <a:cubicBezTo>
                      <a:pt x="175" y="190"/>
                      <a:pt x="174" y="195"/>
                      <a:pt x="172" y="195"/>
                    </a:cubicBezTo>
                    <a:cubicBezTo>
                      <a:pt x="171" y="196"/>
                      <a:pt x="168" y="194"/>
                      <a:pt x="167" y="192"/>
                    </a:cubicBezTo>
                    <a:cubicBezTo>
                      <a:pt x="165" y="191"/>
                      <a:pt x="165" y="187"/>
                      <a:pt x="164" y="186"/>
                    </a:cubicBezTo>
                    <a:cubicBezTo>
                      <a:pt x="163" y="183"/>
                      <a:pt x="160" y="179"/>
                      <a:pt x="158" y="177"/>
                    </a:cubicBezTo>
                    <a:cubicBezTo>
                      <a:pt x="156" y="176"/>
                      <a:pt x="152" y="174"/>
                      <a:pt x="150" y="173"/>
                    </a:cubicBezTo>
                    <a:cubicBezTo>
                      <a:pt x="147" y="172"/>
                      <a:pt x="142" y="173"/>
                      <a:pt x="139" y="172"/>
                    </a:cubicBezTo>
                    <a:cubicBezTo>
                      <a:pt x="136" y="172"/>
                      <a:pt x="131" y="170"/>
                      <a:pt x="129" y="168"/>
                    </a:cubicBezTo>
                    <a:cubicBezTo>
                      <a:pt x="128" y="167"/>
                      <a:pt x="127" y="165"/>
                      <a:pt x="126" y="164"/>
                    </a:cubicBezTo>
                    <a:cubicBezTo>
                      <a:pt x="126" y="162"/>
                      <a:pt x="127" y="157"/>
                      <a:pt x="126" y="155"/>
                    </a:cubicBezTo>
                    <a:cubicBezTo>
                      <a:pt x="126" y="154"/>
                      <a:pt x="124" y="152"/>
                      <a:pt x="123" y="151"/>
                    </a:cubicBezTo>
                    <a:cubicBezTo>
                      <a:pt x="121" y="151"/>
                      <a:pt x="118" y="152"/>
                      <a:pt x="117" y="152"/>
                    </a:cubicBezTo>
                    <a:cubicBezTo>
                      <a:pt x="115" y="151"/>
                      <a:pt x="111" y="151"/>
                      <a:pt x="110" y="150"/>
                    </a:cubicBezTo>
                    <a:cubicBezTo>
                      <a:pt x="109" y="149"/>
                      <a:pt x="107" y="147"/>
                      <a:pt x="106" y="147"/>
                    </a:cubicBezTo>
                    <a:cubicBezTo>
                      <a:pt x="104" y="146"/>
                      <a:pt x="100" y="146"/>
                      <a:pt x="99" y="147"/>
                    </a:cubicBezTo>
                    <a:cubicBezTo>
                      <a:pt x="97" y="148"/>
                      <a:pt x="94" y="151"/>
                      <a:pt x="93" y="152"/>
                    </a:cubicBezTo>
                    <a:cubicBezTo>
                      <a:pt x="92" y="154"/>
                      <a:pt x="92" y="157"/>
                      <a:pt x="91" y="159"/>
                    </a:cubicBezTo>
                    <a:cubicBezTo>
                      <a:pt x="91" y="160"/>
                      <a:pt x="89" y="161"/>
                      <a:pt x="89" y="162"/>
                    </a:cubicBezTo>
                    <a:cubicBezTo>
                      <a:pt x="88" y="163"/>
                      <a:pt x="85" y="165"/>
                      <a:pt x="84" y="165"/>
                    </a:cubicBezTo>
                    <a:cubicBezTo>
                      <a:pt x="82" y="166"/>
                      <a:pt x="79" y="166"/>
                      <a:pt x="77" y="166"/>
                    </a:cubicBezTo>
                    <a:cubicBezTo>
                      <a:pt x="77" y="166"/>
                      <a:pt x="77" y="166"/>
                      <a:pt x="77" y="166"/>
                    </a:cubicBezTo>
                    <a:cubicBezTo>
                      <a:pt x="76" y="165"/>
                      <a:pt x="75" y="164"/>
                      <a:pt x="75" y="163"/>
                    </a:cubicBezTo>
                    <a:cubicBezTo>
                      <a:pt x="73" y="161"/>
                      <a:pt x="71" y="156"/>
                      <a:pt x="69" y="155"/>
                    </a:cubicBezTo>
                    <a:cubicBezTo>
                      <a:pt x="68" y="154"/>
                      <a:pt x="65" y="154"/>
                      <a:pt x="63" y="154"/>
                    </a:cubicBezTo>
                    <a:cubicBezTo>
                      <a:pt x="62" y="154"/>
                      <a:pt x="59" y="154"/>
                      <a:pt x="57" y="154"/>
                    </a:cubicBezTo>
                    <a:cubicBezTo>
                      <a:pt x="55" y="155"/>
                      <a:pt x="52" y="158"/>
                      <a:pt x="50" y="158"/>
                    </a:cubicBezTo>
                    <a:cubicBezTo>
                      <a:pt x="49" y="159"/>
                      <a:pt x="46" y="160"/>
                      <a:pt x="45" y="160"/>
                    </a:cubicBezTo>
                    <a:cubicBezTo>
                      <a:pt x="44" y="159"/>
                      <a:pt x="44" y="156"/>
                      <a:pt x="44" y="155"/>
                    </a:cubicBezTo>
                    <a:cubicBezTo>
                      <a:pt x="44" y="154"/>
                      <a:pt x="47" y="151"/>
                      <a:pt x="48" y="150"/>
                    </a:cubicBezTo>
                    <a:cubicBezTo>
                      <a:pt x="48" y="148"/>
                      <a:pt x="49" y="144"/>
                      <a:pt x="49" y="143"/>
                    </a:cubicBezTo>
                    <a:cubicBezTo>
                      <a:pt x="49" y="140"/>
                      <a:pt x="48" y="135"/>
                      <a:pt x="47" y="133"/>
                    </a:cubicBezTo>
                    <a:cubicBezTo>
                      <a:pt x="46" y="130"/>
                      <a:pt x="42" y="126"/>
                      <a:pt x="40" y="123"/>
                    </a:cubicBezTo>
                    <a:cubicBezTo>
                      <a:pt x="39" y="122"/>
                      <a:pt x="37" y="120"/>
                      <a:pt x="36" y="119"/>
                    </a:cubicBezTo>
                    <a:cubicBezTo>
                      <a:pt x="34" y="119"/>
                      <a:pt x="31" y="119"/>
                      <a:pt x="29" y="120"/>
                    </a:cubicBezTo>
                    <a:cubicBezTo>
                      <a:pt x="28" y="120"/>
                      <a:pt x="25" y="122"/>
                      <a:pt x="23" y="123"/>
                    </a:cubicBezTo>
                    <a:cubicBezTo>
                      <a:pt x="21" y="123"/>
                      <a:pt x="18" y="121"/>
                      <a:pt x="17" y="120"/>
                    </a:cubicBezTo>
                    <a:cubicBezTo>
                      <a:pt x="16" y="120"/>
                      <a:pt x="13" y="118"/>
                      <a:pt x="11" y="117"/>
                    </a:cubicBezTo>
                    <a:cubicBezTo>
                      <a:pt x="9" y="117"/>
                      <a:pt x="5" y="117"/>
                      <a:pt x="4" y="117"/>
                    </a:cubicBezTo>
                    <a:cubicBezTo>
                      <a:pt x="3" y="117"/>
                      <a:pt x="1" y="118"/>
                      <a:pt x="0" y="118"/>
                    </a:cubicBezTo>
                    <a:cubicBezTo>
                      <a:pt x="1" y="115"/>
                      <a:pt x="4" y="112"/>
                      <a:pt x="5" y="110"/>
                    </a:cubicBezTo>
                    <a:cubicBezTo>
                      <a:pt x="6" y="109"/>
                      <a:pt x="7" y="107"/>
                      <a:pt x="8" y="10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32">
                <a:extLst>
                  <a:ext uri="{FF2B5EF4-FFF2-40B4-BE49-F238E27FC236}">
                    <a16:creationId xmlns:a16="http://schemas.microsoft.com/office/drawing/2014/main" id="{4BB9408F-1CFF-C0C6-C5E7-74398A34B902}"/>
                  </a:ext>
                </a:extLst>
              </p:cNvPr>
              <p:cNvSpPr>
                <a:spLocks/>
              </p:cNvSpPr>
              <p:nvPr/>
            </p:nvSpPr>
            <p:spPr bwMode="auto">
              <a:xfrm>
                <a:off x="7610823" y="3275513"/>
                <a:ext cx="430990" cy="425037"/>
              </a:xfrm>
              <a:custGeom>
                <a:avLst/>
                <a:gdLst/>
                <a:ahLst/>
                <a:cxnLst>
                  <a:cxn ang="0">
                    <a:pos x="282" y="231"/>
                  </a:cxn>
                  <a:cxn ang="0">
                    <a:pos x="267" y="235"/>
                  </a:cxn>
                  <a:cxn ang="0">
                    <a:pos x="255" y="239"/>
                  </a:cxn>
                  <a:cxn ang="0">
                    <a:pos x="252" y="253"/>
                  </a:cxn>
                  <a:cxn ang="0">
                    <a:pos x="240" y="257"/>
                  </a:cxn>
                  <a:cxn ang="0">
                    <a:pos x="226" y="255"/>
                  </a:cxn>
                  <a:cxn ang="0">
                    <a:pos x="222" y="267"/>
                  </a:cxn>
                  <a:cxn ang="0">
                    <a:pos x="210" y="279"/>
                  </a:cxn>
                  <a:cxn ang="0">
                    <a:pos x="200" y="286"/>
                  </a:cxn>
                  <a:cxn ang="0">
                    <a:pos x="188" y="275"/>
                  </a:cxn>
                  <a:cxn ang="0">
                    <a:pos x="177" y="275"/>
                  </a:cxn>
                  <a:cxn ang="0">
                    <a:pos x="175" y="262"/>
                  </a:cxn>
                  <a:cxn ang="0">
                    <a:pos x="176" y="249"/>
                  </a:cxn>
                  <a:cxn ang="0">
                    <a:pos x="167" y="247"/>
                  </a:cxn>
                  <a:cxn ang="0">
                    <a:pos x="157" y="242"/>
                  </a:cxn>
                  <a:cxn ang="0">
                    <a:pos x="146" y="231"/>
                  </a:cxn>
                  <a:cxn ang="0">
                    <a:pos x="138" y="238"/>
                  </a:cxn>
                  <a:cxn ang="0">
                    <a:pos x="125" y="219"/>
                  </a:cxn>
                  <a:cxn ang="0">
                    <a:pos x="125" y="197"/>
                  </a:cxn>
                  <a:cxn ang="0">
                    <a:pos x="117" y="181"/>
                  </a:cxn>
                  <a:cxn ang="0">
                    <a:pos x="114" y="162"/>
                  </a:cxn>
                  <a:cxn ang="0">
                    <a:pos x="104" y="139"/>
                  </a:cxn>
                  <a:cxn ang="0">
                    <a:pos x="100" y="127"/>
                  </a:cxn>
                  <a:cxn ang="0">
                    <a:pos x="98" y="113"/>
                  </a:cxn>
                  <a:cxn ang="0">
                    <a:pos x="83" y="121"/>
                  </a:cxn>
                  <a:cxn ang="0">
                    <a:pos x="67" y="106"/>
                  </a:cxn>
                  <a:cxn ang="0">
                    <a:pos x="56" y="97"/>
                  </a:cxn>
                  <a:cxn ang="0">
                    <a:pos x="41" y="104"/>
                  </a:cxn>
                  <a:cxn ang="0">
                    <a:pos x="40" y="89"/>
                  </a:cxn>
                  <a:cxn ang="0">
                    <a:pos x="28" y="82"/>
                  </a:cxn>
                  <a:cxn ang="0">
                    <a:pos x="16" y="85"/>
                  </a:cxn>
                  <a:cxn ang="0">
                    <a:pos x="17" y="71"/>
                  </a:cxn>
                  <a:cxn ang="0">
                    <a:pos x="28" y="62"/>
                  </a:cxn>
                  <a:cxn ang="0">
                    <a:pos x="24" y="52"/>
                  </a:cxn>
                  <a:cxn ang="0">
                    <a:pos x="10" y="48"/>
                  </a:cxn>
                  <a:cxn ang="0">
                    <a:pos x="0" y="50"/>
                  </a:cxn>
                  <a:cxn ang="0">
                    <a:pos x="4" y="30"/>
                  </a:cxn>
                  <a:cxn ang="0">
                    <a:pos x="8" y="9"/>
                  </a:cxn>
                  <a:cxn ang="0">
                    <a:pos x="19" y="18"/>
                  </a:cxn>
                  <a:cxn ang="0">
                    <a:pos x="27" y="10"/>
                  </a:cxn>
                  <a:cxn ang="0">
                    <a:pos x="35" y="13"/>
                  </a:cxn>
                  <a:cxn ang="0">
                    <a:pos x="46" y="19"/>
                  </a:cxn>
                  <a:cxn ang="0">
                    <a:pos x="55" y="13"/>
                  </a:cxn>
                  <a:cxn ang="0">
                    <a:pos x="58" y="17"/>
                  </a:cxn>
                  <a:cxn ang="0">
                    <a:pos x="67" y="31"/>
                  </a:cxn>
                  <a:cxn ang="0">
                    <a:pos x="85" y="26"/>
                  </a:cxn>
                  <a:cxn ang="0">
                    <a:pos x="94" y="6"/>
                  </a:cxn>
                  <a:cxn ang="0">
                    <a:pos x="109" y="4"/>
                  </a:cxn>
                  <a:cxn ang="0">
                    <a:pos x="149" y="34"/>
                  </a:cxn>
                  <a:cxn ang="0">
                    <a:pos x="172" y="53"/>
                  </a:cxn>
                  <a:cxn ang="0">
                    <a:pos x="195" y="68"/>
                  </a:cxn>
                  <a:cxn ang="0">
                    <a:pos x="215" y="69"/>
                  </a:cxn>
                  <a:cxn ang="0">
                    <a:pos x="226" y="80"/>
                  </a:cxn>
                  <a:cxn ang="0">
                    <a:pos x="232" y="97"/>
                  </a:cxn>
                  <a:cxn ang="0">
                    <a:pos x="247" y="129"/>
                  </a:cxn>
                  <a:cxn ang="0">
                    <a:pos x="268" y="175"/>
                  </a:cxn>
                  <a:cxn ang="0">
                    <a:pos x="276" y="207"/>
                  </a:cxn>
                </a:cxnLst>
                <a:rect l="0" t="0" r="r" b="b"/>
                <a:pathLst>
                  <a:path w="286" h="286">
                    <a:moveTo>
                      <a:pt x="284" y="224"/>
                    </a:moveTo>
                    <a:cubicBezTo>
                      <a:pt x="285" y="226"/>
                      <a:pt x="285" y="227"/>
                      <a:pt x="286" y="229"/>
                    </a:cubicBezTo>
                    <a:cubicBezTo>
                      <a:pt x="284" y="230"/>
                      <a:pt x="283" y="231"/>
                      <a:pt x="282" y="231"/>
                    </a:cubicBezTo>
                    <a:cubicBezTo>
                      <a:pt x="281" y="232"/>
                      <a:pt x="278" y="231"/>
                      <a:pt x="277" y="231"/>
                    </a:cubicBezTo>
                    <a:cubicBezTo>
                      <a:pt x="275" y="232"/>
                      <a:pt x="272" y="231"/>
                      <a:pt x="271" y="232"/>
                    </a:cubicBezTo>
                    <a:cubicBezTo>
                      <a:pt x="270" y="232"/>
                      <a:pt x="268" y="234"/>
                      <a:pt x="267" y="235"/>
                    </a:cubicBezTo>
                    <a:cubicBezTo>
                      <a:pt x="266" y="236"/>
                      <a:pt x="265" y="236"/>
                      <a:pt x="264" y="237"/>
                    </a:cubicBezTo>
                    <a:cubicBezTo>
                      <a:pt x="263" y="237"/>
                      <a:pt x="260" y="237"/>
                      <a:pt x="259" y="237"/>
                    </a:cubicBezTo>
                    <a:cubicBezTo>
                      <a:pt x="258" y="237"/>
                      <a:pt x="256" y="238"/>
                      <a:pt x="255" y="239"/>
                    </a:cubicBezTo>
                    <a:cubicBezTo>
                      <a:pt x="254" y="241"/>
                      <a:pt x="255" y="244"/>
                      <a:pt x="254" y="245"/>
                    </a:cubicBezTo>
                    <a:cubicBezTo>
                      <a:pt x="254" y="246"/>
                      <a:pt x="252" y="247"/>
                      <a:pt x="252" y="248"/>
                    </a:cubicBezTo>
                    <a:cubicBezTo>
                      <a:pt x="252" y="249"/>
                      <a:pt x="252" y="252"/>
                      <a:pt x="252" y="253"/>
                    </a:cubicBezTo>
                    <a:cubicBezTo>
                      <a:pt x="251" y="254"/>
                      <a:pt x="250" y="255"/>
                      <a:pt x="250" y="256"/>
                    </a:cubicBezTo>
                    <a:cubicBezTo>
                      <a:pt x="249" y="257"/>
                      <a:pt x="246" y="257"/>
                      <a:pt x="245" y="257"/>
                    </a:cubicBezTo>
                    <a:cubicBezTo>
                      <a:pt x="244" y="257"/>
                      <a:pt x="241" y="257"/>
                      <a:pt x="240" y="257"/>
                    </a:cubicBezTo>
                    <a:cubicBezTo>
                      <a:pt x="239" y="256"/>
                      <a:pt x="237" y="255"/>
                      <a:pt x="236" y="254"/>
                    </a:cubicBezTo>
                    <a:cubicBezTo>
                      <a:pt x="235" y="254"/>
                      <a:pt x="232" y="253"/>
                      <a:pt x="230" y="253"/>
                    </a:cubicBezTo>
                    <a:cubicBezTo>
                      <a:pt x="229" y="253"/>
                      <a:pt x="227" y="254"/>
                      <a:pt x="226" y="255"/>
                    </a:cubicBezTo>
                    <a:cubicBezTo>
                      <a:pt x="225" y="256"/>
                      <a:pt x="224" y="258"/>
                      <a:pt x="224" y="260"/>
                    </a:cubicBezTo>
                    <a:cubicBezTo>
                      <a:pt x="223" y="260"/>
                      <a:pt x="222" y="261"/>
                      <a:pt x="222" y="262"/>
                    </a:cubicBezTo>
                    <a:cubicBezTo>
                      <a:pt x="222" y="263"/>
                      <a:pt x="222" y="266"/>
                      <a:pt x="222" y="267"/>
                    </a:cubicBezTo>
                    <a:cubicBezTo>
                      <a:pt x="222" y="269"/>
                      <a:pt x="221" y="272"/>
                      <a:pt x="220" y="273"/>
                    </a:cubicBezTo>
                    <a:cubicBezTo>
                      <a:pt x="219" y="274"/>
                      <a:pt x="216" y="276"/>
                      <a:pt x="215" y="276"/>
                    </a:cubicBezTo>
                    <a:cubicBezTo>
                      <a:pt x="214" y="277"/>
                      <a:pt x="211" y="278"/>
                      <a:pt x="210" y="279"/>
                    </a:cubicBezTo>
                    <a:cubicBezTo>
                      <a:pt x="209" y="280"/>
                      <a:pt x="208" y="282"/>
                      <a:pt x="207" y="283"/>
                    </a:cubicBezTo>
                    <a:cubicBezTo>
                      <a:pt x="207" y="284"/>
                      <a:pt x="204" y="284"/>
                      <a:pt x="203" y="285"/>
                    </a:cubicBezTo>
                    <a:cubicBezTo>
                      <a:pt x="202" y="285"/>
                      <a:pt x="201" y="286"/>
                      <a:pt x="200" y="286"/>
                    </a:cubicBezTo>
                    <a:cubicBezTo>
                      <a:pt x="199" y="286"/>
                      <a:pt x="196" y="285"/>
                      <a:pt x="195" y="284"/>
                    </a:cubicBezTo>
                    <a:cubicBezTo>
                      <a:pt x="194" y="283"/>
                      <a:pt x="194" y="280"/>
                      <a:pt x="193" y="279"/>
                    </a:cubicBezTo>
                    <a:cubicBezTo>
                      <a:pt x="192" y="278"/>
                      <a:pt x="189" y="276"/>
                      <a:pt x="188" y="275"/>
                    </a:cubicBezTo>
                    <a:cubicBezTo>
                      <a:pt x="187" y="275"/>
                      <a:pt x="186" y="274"/>
                      <a:pt x="185" y="273"/>
                    </a:cubicBezTo>
                    <a:cubicBezTo>
                      <a:pt x="183" y="273"/>
                      <a:pt x="181" y="275"/>
                      <a:pt x="179" y="275"/>
                    </a:cubicBezTo>
                    <a:cubicBezTo>
                      <a:pt x="179" y="275"/>
                      <a:pt x="178" y="275"/>
                      <a:pt x="177" y="275"/>
                    </a:cubicBezTo>
                    <a:cubicBezTo>
                      <a:pt x="177" y="274"/>
                      <a:pt x="177" y="273"/>
                      <a:pt x="176" y="272"/>
                    </a:cubicBezTo>
                    <a:cubicBezTo>
                      <a:pt x="176" y="271"/>
                      <a:pt x="175" y="268"/>
                      <a:pt x="175" y="267"/>
                    </a:cubicBezTo>
                    <a:cubicBezTo>
                      <a:pt x="175" y="266"/>
                      <a:pt x="175" y="263"/>
                      <a:pt x="175" y="262"/>
                    </a:cubicBezTo>
                    <a:cubicBezTo>
                      <a:pt x="176" y="262"/>
                      <a:pt x="177" y="261"/>
                      <a:pt x="177" y="260"/>
                    </a:cubicBezTo>
                    <a:cubicBezTo>
                      <a:pt x="178" y="259"/>
                      <a:pt x="180" y="255"/>
                      <a:pt x="180" y="254"/>
                    </a:cubicBezTo>
                    <a:cubicBezTo>
                      <a:pt x="180" y="252"/>
                      <a:pt x="177" y="251"/>
                      <a:pt x="176" y="249"/>
                    </a:cubicBezTo>
                    <a:cubicBezTo>
                      <a:pt x="175" y="248"/>
                      <a:pt x="177" y="245"/>
                      <a:pt x="176" y="244"/>
                    </a:cubicBezTo>
                    <a:cubicBezTo>
                      <a:pt x="175" y="243"/>
                      <a:pt x="172" y="243"/>
                      <a:pt x="171" y="243"/>
                    </a:cubicBezTo>
                    <a:cubicBezTo>
                      <a:pt x="170" y="243"/>
                      <a:pt x="168" y="246"/>
                      <a:pt x="167" y="247"/>
                    </a:cubicBezTo>
                    <a:cubicBezTo>
                      <a:pt x="166" y="248"/>
                      <a:pt x="166" y="249"/>
                      <a:pt x="165" y="250"/>
                    </a:cubicBezTo>
                    <a:cubicBezTo>
                      <a:pt x="164" y="250"/>
                      <a:pt x="160" y="249"/>
                      <a:pt x="159" y="248"/>
                    </a:cubicBezTo>
                    <a:cubicBezTo>
                      <a:pt x="158" y="247"/>
                      <a:pt x="157" y="243"/>
                      <a:pt x="157" y="242"/>
                    </a:cubicBezTo>
                    <a:cubicBezTo>
                      <a:pt x="156" y="240"/>
                      <a:pt x="156" y="237"/>
                      <a:pt x="155" y="236"/>
                    </a:cubicBezTo>
                    <a:cubicBezTo>
                      <a:pt x="155" y="235"/>
                      <a:pt x="153" y="234"/>
                      <a:pt x="152" y="233"/>
                    </a:cubicBezTo>
                    <a:cubicBezTo>
                      <a:pt x="151" y="232"/>
                      <a:pt x="148" y="231"/>
                      <a:pt x="146" y="231"/>
                    </a:cubicBezTo>
                    <a:cubicBezTo>
                      <a:pt x="145" y="231"/>
                      <a:pt x="144" y="232"/>
                      <a:pt x="143" y="232"/>
                    </a:cubicBezTo>
                    <a:cubicBezTo>
                      <a:pt x="142" y="233"/>
                      <a:pt x="142" y="236"/>
                      <a:pt x="141" y="237"/>
                    </a:cubicBezTo>
                    <a:cubicBezTo>
                      <a:pt x="141" y="238"/>
                      <a:pt x="139" y="239"/>
                      <a:pt x="138" y="238"/>
                    </a:cubicBezTo>
                    <a:cubicBezTo>
                      <a:pt x="136" y="238"/>
                      <a:pt x="133" y="235"/>
                      <a:pt x="132" y="234"/>
                    </a:cubicBezTo>
                    <a:cubicBezTo>
                      <a:pt x="131" y="232"/>
                      <a:pt x="130" y="228"/>
                      <a:pt x="129" y="226"/>
                    </a:cubicBezTo>
                    <a:cubicBezTo>
                      <a:pt x="128" y="224"/>
                      <a:pt x="126" y="221"/>
                      <a:pt x="125" y="219"/>
                    </a:cubicBezTo>
                    <a:cubicBezTo>
                      <a:pt x="125" y="217"/>
                      <a:pt x="124" y="212"/>
                      <a:pt x="124" y="209"/>
                    </a:cubicBezTo>
                    <a:cubicBezTo>
                      <a:pt x="125" y="207"/>
                      <a:pt x="126" y="204"/>
                      <a:pt x="126" y="202"/>
                    </a:cubicBezTo>
                    <a:cubicBezTo>
                      <a:pt x="126" y="201"/>
                      <a:pt x="125" y="199"/>
                      <a:pt x="125" y="197"/>
                    </a:cubicBezTo>
                    <a:cubicBezTo>
                      <a:pt x="124" y="196"/>
                      <a:pt x="123" y="194"/>
                      <a:pt x="122" y="193"/>
                    </a:cubicBezTo>
                    <a:cubicBezTo>
                      <a:pt x="121" y="192"/>
                      <a:pt x="118" y="190"/>
                      <a:pt x="117" y="188"/>
                    </a:cubicBezTo>
                    <a:cubicBezTo>
                      <a:pt x="117" y="186"/>
                      <a:pt x="117" y="183"/>
                      <a:pt x="117" y="181"/>
                    </a:cubicBezTo>
                    <a:cubicBezTo>
                      <a:pt x="117" y="179"/>
                      <a:pt x="119" y="176"/>
                      <a:pt x="119" y="175"/>
                    </a:cubicBezTo>
                    <a:cubicBezTo>
                      <a:pt x="119" y="173"/>
                      <a:pt x="120" y="170"/>
                      <a:pt x="119" y="168"/>
                    </a:cubicBezTo>
                    <a:cubicBezTo>
                      <a:pt x="119" y="166"/>
                      <a:pt x="116" y="163"/>
                      <a:pt x="114" y="162"/>
                    </a:cubicBezTo>
                    <a:cubicBezTo>
                      <a:pt x="113" y="161"/>
                      <a:pt x="110" y="159"/>
                      <a:pt x="109" y="158"/>
                    </a:cubicBezTo>
                    <a:cubicBezTo>
                      <a:pt x="108" y="156"/>
                      <a:pt x="106" y="154"/>
                      <a:pt x="106" y="152"/>
                    </a:cubicBezTo>
                    <a:cubicBezTo>
                      <a:pt x="105" y="149"/>
                      <a:pt x="105" y="142"/>
                      <a:pt x="104" y="139"/>
                    </a:cubicBezTo>
                    <a:cubicBezTo>
                      <a:pt x="103" y="138"/>
                      <a:pt x="102" y="136"/>
                      <a:pt x="101" y="135"/>
                    </a:cubicBezTo>
                    <a:cubicBezTo>
                      <a:pt x="101" y="134"/>
                      <a:pt x="99" y="132"/>
                      <a:pt x="98" y="131"/>
                    </a:cubicBezTo>
                    <a:cubicBezTo>
                      <a:pt x="98" y="130"/>
                      <a:pt x="99" y="128"/>
                      <a:pt x="100" y="127"/>
                    </a:cubicBezTo>
                    <a:cubicBezTo>
                      <a:pt x="100" y="125"/>
                      <a:pt x="103" y="123"/>
                      <a:pt x="103" y="121"/>
                    </a:cubicBezTo>
                    <a:cubicBezTo>
                      <a:pt x="103" y="120"/>
                      <a:pt x="103" y="117"/>
                      <a:pt x="102" y="116"/>
                    </a:cubicBezTo>
                    <a:cubicBezTo>
                      <a:pt x="101" y="115"/>
                      <a:pt x="99" y="113"/>
                      <a:pt x="98" y="113"/>
                    </a:cubicBezTo>
                    <a:cubicBezTo>
                      <a:pt x="96" y="113"/>
                      <a:pt x="94" y="114"/>
                      <a:pt x="93" y="115"/>
                    </a:cubicBezTo>
                    <a:cubicBezTo>
                      <a:pt x="92" y="116"/>
                      <a:pt x="92" y="119"/>
                      <a:pt x="91" y="120"/>
                    </a:cubicBezTo>
                    <a:cubicBezTo>
                      <a:pt x="89" y="121"/>
                      <a:pt x="85" y="121"/>
                      <a:pt x="83" y="121"/>
                    </a:cubicBezTo>
                    <a:cubicBezTo>
                      <a:pt x="82" y="121"/>
                      <a:pt x="79" y="119"/>
                      <a:pt x="77" y="118"/>
                    </a:cubicBezTo>
                    <a:cubicBezTo>
                      <a:pt x="76" y="116"/>
                      <a:pt x="75" y="111"/>
                      <a:pt x="73" y="110"/>
                    </a:cubicBezTo>
                    <a:cubicBezTo>
                      <a:pt x="72" y="108"/>
                      <a:pt x="69" y="107"/>
                      <a:pt x="67" y="106"/>
                    </a:cubicBezTo>
                    <a:cubicBezTo>
                      <a:pt x="67" y="105"/>
                      <a:pt x="64" y="104"/>
                      <a:pt x="64" y="104"/>
                    </a:cubicBezTo>
                    <a:cubicBezTo>
                      <a:pt x="63" y="102"/>
                      <a:pt x="62" y="98"/>
                      <a:pt x="61" y="97"/>
                    </a:cubicBezTo>
                    <a:cubicBezTo>
                      <a:pt x="60" y="97"/>
                      <a:pt x="57" y="97"/>
                      <a:pt x="56" y="97"/>
                    </a:cubicBezTo>
                    <a:cubicBezTo>
                      <a:pt x="54" y="97"/>
                      <a:pt x="51" y="97"/>
                      <a:pt x="49" y="98"/>
                    </a:cubicBezTo>
                    <a:cubicBezTo>
                      <a:pt x="48" y="99"/>
                      <a:pt x="47" y="102"/>
                      <a:pt x="45" y="103"/>
                    </a:cubicBezTo>
                    <a:cubicBezTo>
                      <a:pt x="44" y="104"/>
                      <a:pt x="42" y="104"/>
                      <a:pt x="41" y="104"/>
                    </a:cubicBezTo>
                    <a:cubicBezTo>
                      <a:pt x="39" y="103"/>
                      <a:pt x="36" y="100"/>
                      <a:pt x="36" y="98"/>
                    </a:cubicBezTo>
                    <a:cubicBezTo>
                      <a:pt x="35" y="96"/>
                      <a:pt x="37" y="93"/>
                      <a:pt x="38" y="92"/>
                    </a:cubicBezTo>
                    <a:cubicBezTo>
                      <a:pt x="38" y="91"/>
                      <a:pt x="40" y="90"/>
                      <a:pt x="40" y="89"/>
                    </a:cubicBezTo>
                    <a:cubicBezTo>
                      <a:pt x="41" y="87"/>
                      <a:pt x="40" y="84"/>
                      <a:pt x="39" y="83"/>
                    </a:cubicBezTo>
                    <a:cubicBezTo>
                      <a:pt x="38" y="82"/>
                      <a:pt x="35" y="81"/>
                      <a:pt x="34" y="81"/>
                    </a:cubicBezTo>
                    <a:cubicBezTo>
                      <a:pt x="32" y="81"/>
                      <a:pt x="29" y="81"/>
                      <a:pt x="28" y="82"/>
                    </a:cubicBezTo>
                    <a:cubicBezTo>
                      <a:pt x="27" y="82"/>
                      <a:pt x="27" y="84"/>
                      <a:pt x="26" y="84"/>
                    </a:cubicBezTo>
                    <a:cubicBezTo>
                      <a:pt x="25" y="85"/>
                      <a:pt x="22" y="86"/>
                      <a:pt x="20" y="86"/>
                    </a:cubicBezTo>
                    <a:cubicBezTo>
                      <a:pt x="19" y="86"/>
                      <a:pt x="18" y="85"/>
                      <a:pt x="16" y="85"/>
                    </a:cubicBezTo>
                    <a:cubicBezTo>
                      <a:pt x="17" y="84"/>
                      <a:pt x="17" y="83"/>
                      <a:pt x="17" y="82"/>
                    </a:cubicBezTo>
                    <a:cubicBezTo>
                      <a:pt x="17" y="80"/>
                      <a:pt x="15" y="78"/>
                      <a:pt x="15" y="76"/>
                    </a:cubicBezTo>
                    <a:cubicBezTo>
                      <a:pt x="15" y="75"/>
                      <a:pt x="17" y="71"/>
                      <a:pt x="17" y="71"/>
                    </a:cubicBezTo>
                    <a:cubicBezTo>
                      <a:pt x="17" y="71"/>
                      <a:pt x="22" y="71"/>
                      <a:pt x="23" y="69"/>
                    </a:cubicBezTo>
                    <a:cubicBezTo>
                      <a:pt x="24" y="69"/>
                      <a:pt x="25" y="66"/>
                      <a:pt x="25" y="64"/>
                    </a:cubicBezTo>
                    <a:cubicBezTo>
                      <a:pt x="26" y="64"/>
                      <a:pt x="28" y="63"/>
                      <a:pt x="28" y="62"/>
                    </a:cubicBezTo>
                    <a:cubicBezTo>
                      <a:pt x="29" y="62"/>
                      <a:pt x="30" y="61"/>
                      <a:pt x="30" y="60"/>
                    </a:cubicBezTo>
                    <a:cubicBezTo>
                      <a:pt x="30" y="58"/>
                      <a:pt x="28" y="56"/>
                      <a:pt x="27" y="55"/>
                    </a:cubicBezTo>
                    <a:cubicBezTo>
                      <a:pt x="26" y="54"/>
                      <a:pt x="24" y="53"/>
                      <a:pt x="24" y="52"/>
                    </a:cubicBezTo>
                    <a:cubicBezTo>
                      <a:pt x="23" y="52"/>
                      <a:pt x="21" y="50"/>
                      <a:pt x="20" y="50"/>
                    </a:cubicBezTo>
                    <a:cubicBezTo>
                      <a:pt x="19" y="49"/>
                      <a:pt x="17" y="48"/>
                      <a:pt x="16" y="48"/>
                    </a:cubicBezTo>
                    <a:cubicBezTo>
                      <a:pt x="15" y="48"/>
                      <a:pt x="12" y="48"/>
                      <a:pt x="10" y="48"/>
                    </a:cubicBezTo>
                    <a:cubicBezTo>
                      <a:pt x="9" y="49"/>
                      <a:pt x="9" y="50"/>
                      <a:pt x="8" y="51"/>
                    </a:cubicBezTo>
                    <a:cubicBezTo>
                      <a:pt x="7" y="51"/>
                      <a:pt x="4" y="52"/>
                      <a:pt x="3" y="52"/>
                    </a:cubicBezTo>
                    <a:cubicBezTo>
                      <a:pt x="2" y="51"/>
                      <a:pt x="1" y="51"/>
                      <a:pt x="0" y="50"/>
                    </a:cubicBezTo>
                    <a:cubicBezTo>
                      <a:pt x="0" y="48"/>
                      <a:pt x="0" y="45"/>
                      <a:pt x="1" y="44"/>
                    </a:cubicBezTo>
                    <a:cubicBezTo>
                      <a:pt x="1" y="42"/>
                      <a:pt x="3" y="39"/>
                      <a:pt x="4" y="37"/>
                    </a:cubicBezTo>
                    <a:cubicBezTo>
                      <a:pt x="4" y="35"/>
                      <a:pt x="5" y="32"/>
                      <a:pt x="4" y="30"/>
                    </a:cubicBezTo>
                    <a:cubicBezTo>
                      <a:pt x="4" y="28"/>
                      <a:pt x="2" y="24"/>
                      <a:pt x="2" y="22"/>
                    </a:cubicBezTo>
                    <a:cubicBezTo>
                      <a:pt x="2" y="20"/>
                      <a:pt x="3" y="16"/>
                      <a:pt x="4" y="13"/>
                    </a:cubicBezTo>
                    <a:cubicBezTo>
                      <a:pt x="5" y="12"/>
                      <a:pt x="7" y="9"/>
                      <a:pt x="8" y="9"/>
                    </a:cubicBezTo>
                    <a:cubicBezTo>
                      <a:pt x="10" y="9"/>
                      <a:pt x="12" y="12"/>
                      <a:pt x="13" y="14"/>
                    </a:cubicBezTo>
                    <a:cubicBezTo>
                      <a:pt x="13" y="15"/>
                      <a:pt x="12" y="17"/>
                      <a:pt x="13" y="18"/>
                    </a:cubicBezTo>
                    <a:cubicBezTo>
                      <a:pt x="14" y="19"/>
                      <a:pt x="18" y="19"/>
                      <a:pt x="19" y="18"/>
                    </a:cubicBezTo>
                    <a:cubicBezTo>
                      <a:pt x="20" y="17"/>
                      <a:pt x="21" y="14"/>
                      <a:pt x="21" y="13"/>
                    </a:cubicBezTo>
                    <a:cubicBezTo>
                      <a:pt x="22" y="12"/>
                      <a:pt x="21" y="9"/>
                      <a:pt x="22" y="8"/>
                    </a:cubicBezTo>
                    <a:cubicBezTo>
                      <a:pt x="23" y="7"/>
                      <a:pt x="25" y="10"/>
                      <a:pt x="27" y="10"/>
                    </a:cubicBezTo>
                    <a:cubicBezTo>
                      <a:pt x="29" y="10"/>
                      <a:pt x="34" y="9"/>
                      <a:pt x="36" y="8"/>
                    </a:cubicBezTo>
                    <a:cubicBezTo>
                      <a:pt x="36" y="9"/>
                      <a:pt x="36" y="10"/>
                      <a:pt x="36" y="10"/>
                    </a:cubicBezTo>
                    <a:cubicBezTo>
                      <a:pt x="36" y="11"/>
                      <a:pt x="34" y="12"/>
                      <a:pt x="35" y="13"/>
                    </a:cubicBezTo>
                    <a:cubicBezTo>
                      <a:pt x="35" y="14"/>
                      <a:pt x="36" y="15"/>
                      <a:pt x="37" y="15"/>
                    </a:cubicBezTo>
                    <a:cubicBezTo>
                      <a:pt x="38" y="16"/>
                      <a:pt x="40" y="16"/>
                      <a:pt x="41" y="16"/>
                    </a:cubicBezTo>
                    <a:cubicBezTo>
                      <a:pt x="42" y="17"/>
                      <a:pt x="44" y="19"/>
                      <a:pt x="46" y="19"/>
                    </a:cubicBezTo>
                    <a:cubicBezTo>
                      <a:pt x="47" y="19"/>
                      <a:pt x="50" y="20"/>
                      <a:pt x="51" y="19"/>
                    </a:cubicBezTo>
                    <a:cubicBezTo>
                      <a:pt x="52" y="19"/>
                      <a:pt x="52" y="17"/>
                      <a:pt x="52" y="16"/>
                    </a:cubicBezTo>
                    <a:cubicBezTo>
                      <a:pt x="52" y="15"/>
                      <a:pt x="54" y="14"/>
                      <a:pt x="55" y="13"/>
                    </a:cubicBezTo>
                    <a:cubicBezTo>
                      <a:pt x="55" y="13"/>
                      <a:pt x="55" y="12"/>
                      <a:pt x="55" y="11"/>
                    </a:cubicBezTo>
                    <a:cubicBezTo>
                      <a:pt x="55" y="11"/>
                      <a:pt x="56" y="11"/>
                      <a:pt x="56" y="12"/>
                    </a:cubicBezTo>
                    <a:cubicBezTo>
                      <a:pt x="57" y="13"/>
                      <a:pt x="57" y="16"/>
                      <a:pt x="58" y="17"/>
                    </a:cubicBezTo>
                    <a:cubicBezTo>
                      <a:pt x="60" y="19"/>
                      <a:pt x="65" y="18"/>
                      <a:pt x="66" y="20"/>
                    </a:cubicBezTo>
                    <a:cubicBezTo>
                      <a:pt x="67" y="21"/>
                      <a:pt x="67" y="23"/>
                      <a:pt x="67" y="24"/>
                    </a:cubicBezTo>
                    <a:cubicBezTo>
                      <a:pt x="68" y="26"/>
                      <a:pt x="67" y="30"/>
                      <a:pt x="67" y="31"/>
                    </a:cubicBezTo>
                    <a:cubicBezTo>
                      <a:pt x="68" y="33"/>
                      <a:pt x="72" y="37"/>
                      <a:pt x="74" y="37"/>
                    </a:cubicBezTo>
                    <a:cubicBezTo>
                      <a:pt x="77" y="37"/>
                      <a:pt x="80" y="33"/>
                      <a:pt x="82" y="32"/>
                    </a:cubicBezTo>
                    <a:cubicBezTo>
                      <a:pt x="83" y="31"/>
                      <a:pt x="84" y="27"/>
                      <a:pt x="85" y="26"/>
                    </a:cubicBezTo>
                    <a:cubicBezTo>
                      <a:pt x="87" y="25"/>
                      <a:pt x="91" y="24"/>
                      <a:pt x="93" y="22"/>
                    </a:cubicBezTo>
                    <a:cubicBezTo>
                      <a:pt x="94" y="21"/>
                      <a:pt x="95" y="17"/>
                      <a:pt x="95" y="15"/>
                    </a:cubicBezTo>
                    <a:cubicBezTo>
                      <a:pt x="96" y="13"/>
                      <a:pt x="94" y="8"/>
                      <a:pt x="94" y="6"/>
                    </a:cubicBezTo>
                    <a:cubicBezTo>
                      <a:pt x="94" y="4"/>
                      <a:pt x="94" y="2"/>
                      <a:pt x="95" y="0"/>
                    </a:cubicBezTo>
                    <a:cubicBezTo>
                      <a:pt x="97" y="0"/>
                      <a:pt x="99" y="0"/>
                      <a:pt x="100" y="0"/>
                    </a:cubicBezTo>
                    <a:cubicBezTo>
                      <a:pt x="103" y="1"/>
                      <a:pt x="107" y="3"/>
                      <a:pt x="109" y="4"/>
                    </a:cubicBezTo>
                    <a:cubicBezTo>
                      <a:pt x="113" y="6"/>
                      <a:pt x="120" y="13"/>
                      <a:pt x="123" y="17"/>
                    </a:cubicBezTo>
                    <a:cubicBezTo>
                      <a:pt x="126" y="19"/>
                      <a:pt x="131" y="23"/>
                      <a:pt x="134" y="25"/>
                    </a:cubicBezTo>
                    <a:cubicBezTo>
                      <a:pt x="137" y="27"/>
                      <a:pt x="145" y="31"/>
                      <a:pt x="149" y="34"/>
                    </a:cubicBezTo>
                    <a:cubicBezTo>
                      <a:pt x="151" y="36"/>
                      <a:pt x="155" y="42"/>
                      <a:pt x="158" y="44"/>
                    </a:cubicBezTo>
                    <a:cubicBezTo>
                      <a:pt x="159" y="45"/>
                      <a:pt x="163" y="47"/>
                      <a:pt x="165" y="48"/>
                    </a:cubicBezTo>
                    <a:cubicBezTo>
                      <a:pt x="167" y="49"/>
                      <a:pt x="170" y="52"/>
                      <a:pt x="172" y="53"/>
                    </a:cubicBezTo>
                    <a:cubicBezTo>
                      <a:pt x="173" y="55"/>
                      <a:pt x="176" y="58"/>
                      <a:pt x="177" y="59"/>
                    </a:cubicBezTo>
                    <a:cubicBezTo>
                      <a:pt x="180" y="61"/>
                      <a:pt x="185" y="64"/>
                      <a:pt x="188" y="65"/>
                    </a:cubicBezTo>
                    <a:cubicBezTo>
                      <a:pt x="189" y="66"/>
                      <a:pt x="193" y="67"/>
                      <a:pt x="195" y="68"/>
                    </a:cubicBezTo>
                    <a:cubicBezTo>
                      <a:pt x="198" y="69"/>
                      <a:pt x="203" y="73"/>
                      <a:pt x="206" y="73"/>
                    </a:cubicBezTo>
                    <a:cubicBezTo>
                      <a:pt x="207" y="72"/>
                      <a:pt x="208" y="69"/>
                      <a:pt x="209" y="68"/>
                    </a:cubicBezTo>
                    <a:cubicBezTo>
                      <a:pt x="211" y="68"/>
                      <a:pt x="214" y="68"/>
                      <a:pt x="215" y="69"/>
                    </a:cubicBezTo>
                    <a:cubicBezTo>
                      <a:pt x="216" y="69"/>
                      <a:pt x="219" y="71"/>
                      <a:pt x="220" y="72"/>
                    </a:cubicBezTo>
                    <a:cubicBezTo>
                      <a:pt x="220" y="73"/>
                      <a:pt x="220" y="75"/>
                      <a:pt x="221" y="76"/>
                    </a:cubicBezTo>
                    <a:cubicBezTo>
                      <a:pt x="222" y="78"/>
                      <a:pt x="224" y="79"/>
                      <a:pt x="226" y="80"/>
                    </a:cubicBezTo>
                    <a:cubicBezTo>
                      <a:pt x="227" y="81"/>
                      <a:pt x="231" y="83"/>
                      <a:pt x="231" y="84"/>
                    </a:cubicBezTo>
                    <a:cubicBezTo>
                      <a:pt x="232" y="86"/>
                      <a:pt x="230" y="89"/>
                      <a:pt x="230" y="91"/>
                    </a:cubicBezTo>
                    <a:cubicBezTo>
                      <a:pt x="230" y="93"/>
                      <a:pt x="231" y="96"/>
                      <a:pt x="232" y="97"/>
                    </a:cubicBezTo>
                    <a:cubicBezTo>
                      <a:pt x="233" y="100"/>
                      <a:pt x="237" y="103"/>
                      <a:pt x="238" y="106"/>
                    </a:cubicBezTo>
                    <a:cubicBezTo>
                      <a:pt x="240" y="108"/>
                      <a:pt x="240" y="114"/>
                      <a:pt x="240" y="116"/>
                    </a:cubicBezTo>
                    <a:cubicBezTo>
                      <a:pt x="242" y="119"/>
                      <a:pt x="245" y="126"/>
                      <a:pt x="247" y="129"/>
                    </a:cubicBezTo>
                    <a:cubicBezTo>
                      <a:pt x="248" y="131"/>
                      <a:pt x="251" y="134"/>
                      <a:pt x="252" y="136"/>
                    </a:cubicBezTo>
                    <a:cubicBezTo>
                      <a:pt x="254" y="140"/>
                      <a:pt x="256" y="149"/>
                      <a:pt x="258" y="153"/>
                    </a:cubicBezTo>
                    <a:cubicBezTo>
                      <a:pt x="260" y="159"/>
                      <a:pt x="266" y="169"/>
                      <a:pt x="268" y="175"/>
                    </a:cubicBezTo>
                    <a:cubicBezTo>
                      <a:pt x="269" y="177"/>
                      <a:pt x="271" y="182"/>
                      <a:pt x="271" y="185"/>
                    </a:cubicBezTo>
                    <a:cubicBezTo>
                      <a:pt x="272" y="187"/>
                      <a:pt x="271" y="193"/>
                      <a:pt x="272" y="195"/>
                    </a:cubicBezTo>
                    <a:cubicBezTo>
                      <a:pt x="272" y="199"/>
                      <a:pt x="275" y="205"/>
                      <a:pt x="276" y="207"/>
                    </a:cubicBezTo>
                    <a:cubicBezTo>
                      <a:pt x="278" y="212"/>
                      <a:pt x="283" y="220"/>
                      <a:pt x="284" y="22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33">
                <a:extLst>
                  <a:ext uri="{FF2B5EF4-FFF2-40B4-BE49-F238E27FC236}">
                    <a16:creationId xmlns:a16="http://schemas.microsoft.com/office/drawing/2014/main" id="{16942A6B-A94E-1469-DE9C-17B0B4F1C3FE}"/>
                  </a:ext>
                </a:extLst>
              </p:cNvPr>
              <p:cNvSpPr>
                <a:spLocks/>
              </p:cNvSpPr>
              <p:nvPr/>
            </p:nvSpPr>
            <p:spPr bwMode="auto">
              <a:xfrm>
                <a:off x="7564743" y="3395806"/>
                <a:ext cx="317143" cy="419691"/>
              </a:xfrm>
              <a:custGeom>
                <a:avLst/>
                <a:gdLst/>
                <a:ahLst/>
                <a:cxnLst>
                  <a:cxn ang="0">
                    <a:pos x="203" y="203"/>
                  </a:cxn>
                  <a:cxn ang="0">
                    <a:pos x="190" y="213"/>
                  </a:cxn>
                  <a:cxn ang="0">
                    <a:pos x="175" y="225"/>
                  </a:cxn>
                  <a:cxn ang="0">
                    <a:pos x="163" y="222"/>
                  </a:cxn>
                  <a:cxn ang="0">
                    <a:pos x="151" y="236"/>
                  </a:cxn>
                  <a:cxn ang="0">
                    <a:pos x="139" y="242"/>
                  </a:cxn>
                  <a:cxn ang="0">
                    <a:pos x="133" y="252"/>
                  </a:cxn>
                  <a:cxn ang="0">
                    <a:pos x="128" y="262"/>
                  </a:cxn>
                  <a:cxn ang="0">
                    <a:pos x="118" y="267"/>
                  </a:cxn>
                  <a:cxn ang="0">
                    <a:pos x="109" y="278"/>
                  </a:cxn>
                  <a:cxn ang="0">
                    <a:pos x="100" y="277"/>
                  </a:cxn>
                  <a:cxn ang="0">
                    <a:pos x="95" y="269"/>
                  </a:cxn>
                  <a:cxn ang="0">
                    <a:pos x="87" y="265"/>
                  </a:cxn>
                  <a:cxn ang="0">
                    <a:pos x="88" y="253"/>
                  </a:cxn>
                  <a:cxn ang="0">
                    <a:pos x="70" y="252"/>
                  </a:cxn>
                  <a:cxn ang="0">
                    <a:pos x="61" y="238"/>
                  </a:cxn>
                  <a:cxn ang="0">
                    <a:pos x="56" y="224"/>
                  </a:cxn>
                  <a:cxn ang="0">
                    <a:pos x="40" y="216"/>
                  </a:cxn>
                  <a:cxn ang="0">
                    <a:pos x="25" y="221"/>
                  </a:cxn>
                  <a:cxn ang="0">
                    <a:pos x="15" y="209"/>
                  </a:cxn>
                  <a:cxn ang="0">
                    <a:pos x="13" y="200"/>
                  </a:cxn>
                  <a:cxn ang="0">
                    <a:pos x="11" y="190"/>
                  </a:cxn>
                  <a:cxn ang="0">
                    <a:pos x="1" y="185"/>
                  </a:cxn>
                  <a:cxn ang="0">
                    <a:pos x="1" y="172"/>
                  </a:cxn>
                  <a:cxn ang="0">
                    <a:pos x="11" y="154"/>
                  </a:cxn>
                  <a:cxn ang="0">
                    <a:pos x="7" y="133"/>
                  </a:cxn>
                  <a:cxn ang="0">
                    <a:pos x="1" y="115"/>
                  </a:cxn>
                  <a:cxn ang="0">
                    <a:pos x="9" y="102"/>
                  </a:cxn>
                  <a:cxn ang="0">
                    <a:pos x="19" y="93"/>
                  </a:cxn>
                  <a:cxn ang="0">
                    <a:pos x="36" y="80"/>
                  </a:cxn>
                  <a:cxn ang="0">
                    <a:pos x="41" y="62"/>
                  </a:cxn>
                  <a:cxn ang="0">
                    <a:pos x="23" y="52"/>
                  </a:cxn>
                  <a:cxn ang="0">
                    <a:pos x="20" y="35"/>
                  </a:cxn>
                  <a:cxn ang="0">
                    <a:pos x="26" y="23"/>
                  </a:cxn>
                  <a:cxn ang="0">
                    <a:pos x="38" y="11"/>
                  </a:cxn>
                  <a:cxn ang="0">
                    <a:pos x="50" y="5"/>
                  </a:cxn>
                  <a:cxn ang="0">
                    <a:pos x="64" y="0"/>
                  </a:cxn>
                  <a:cxn ang="0">
                    <a:pos x="68" y="11"/>
                  </a:cxn>
                  <a:cxn ang="0">
                    <a:pos x="75" y="22"/>
                  </a:cxn>
                  <a:cxn ang="0">
                    <a:pos x="91" y="16"/>
                  </a:cxn>
                  <a:cxn ang="0">
                    <a:pos x="103" y="29"/>
                  </a:cxn>
                  <a:cxn ang="0">
                    <a:pos x="121" y="39"/>
                  </a:cxn>
                  <a:cxn ang="0">
                    <a:pos x="132" y="35"/>
                  </a:cxn>
                  <a:cxn ang="0">
                    <a:pos x="128" y="50"/>
                  </a:cxn>
                  <a:cxn ang="0">
                    <a:pos x="136" y="71"/>
                  </a:cxn>
                  <a:cxn ang="0">
                    <a:pos x="149" y="87"/>
                  </a:cxn>
                  <a:cxn ang="0">
                    <a:pos x="147" y="107"/>
                  </a:cxn>
                  <a:cxn ang="0">
                    <a:pos x="156" y="121"/>
                  </a:cxn>
                  <a:cxn ang="0">
                    <a:pos x="159" y="145"/>
                  </a:cxn>
                  <a:cxn ang="0">
                    <a:pos x="171" y="156"/>
                  </a:cxn>
                  <a:cxn ang="0">
                    <a:pos x="182" y="152"/>
                  </a:cxn>
                  <a:cxn ang="0">
                    <a:pos x="189" y="167"/>
                  </a:cxn>
                  <a:cxn ang="0">
                    <a:pos x="201" y="162"/>
                  </a:cxn>
                  <a:cxn ang="0">
                    <a:pos x="210" y="173"/>
                  </a:cxn>
                  <a:cxn ang="0">
                    <a:pos x="205" y="186"/>
                  </a:cxn>
                </a:cxnLst>
                <a:rect l="0" t="0" r="r" b="b"/>
                <a:pathLst>
                  <a:path w="210" h="282">
                    <a:moveTo>
                      <a:pt x="207" y="194"/>
                    </a:moveTo>
                    <a:cubicBezTo>
                      <a:pt x="207" y="196"/>
                      <a:pt x="206" y="198"/>
                      <a:pt x="206" y="199"/>
                    </a:cubicBezTo>
                    <a:cubicBezTo>
                      <a:pt x="206" y="200"/>
                      <a:pt x="203" y="202"/>
                      <a:pt x="203" y="203"/>
                    </a:cubicBezTo>
                    <a:cubicBezTo>
                      <a:pt x="202" y="205"/>
                      <a:pt x="201" y="208"/>
                      <a:pt x="201" y="210"/>
                    </a:cubicBezTo>
                    <a:cubicBezTo>
                      <a:pt x="200" y="211"/>
                      <a:pt x="199" y="214"/>
                      <a:pt x="198" y="214"/>
                    </a:cubicBezTo>
                    <a:cubicBezTo>
                      <a:pt x="196" y="215"/>
                      <a:pt x="192" y="213"/>
                      <a:pt x="190" y="213"/>
                    </a:cubicBezTo>
                    <a:cubicBezTo>
                      <a:pt x="187" y="213"/>
                      <a:pt x="182" y="214"/>
                      <a:pt x="180" y="216"/>
                    </a:cubicBezTo>
                    <a:cubicBezTo>
                      <a:pt x="179" y="217"/>
                      <a:pt x="177" y="219"/>
                      <a:pt x="176" y="221"/>
                    </a:cubicBezTo>
                    <a:cubicBezTo>
                      <a:pt x="176" y="222"/>
                      <a:pt x="175" y="224"/>
                      <a:pt x="175" y="225"/>
                    </a:cubicBezTo>
                    <a:cubicBezTo>
                      <a:pt x="174" y="226"/>
                      <a:pt x="172" y="228"/>
                      <a:pt x="171" y="228"/>
                    </a:cubicBezTo>
                    <a:cubicBezTo>
                      <a:pt x="169" y="228"/>
                      <a:pt x="168" y="225"/>
                      <a:pt x="167" y="224"/>
                    </a:cubicBezTo>
                    <a:cubicBezTo>
                      <a:pt x="166" y="223"/>
                      <a:pt x="164" y="222"/>
                      <a:pt x="163" y="222"/>
                    </a:cubicBezTo>
                    <a:cubicBezTo>
                      <a:pt x="162" y="222"/>
                      <a:pt x="160" y="224"/>
                      <a:pt x="160" y="224"/>
                    </a:cubicBezTo>
                    <a:cubicBezTo>
                      <a:pt x="159" y="226"/>
                      <a:pt x="159" y="230"/>
                      <a:pt x="157" y="232"/>
                    </a:cubicBezTo>
                    <a:cubicBezTo>
                      <a:pt x="156" y="233"/>
                      <a:pt x="152" y="235"/>
                      <a:pt x="151" y="236"/>
                    </a:cubicBezTo>
                    <a:cubicBezTo>
                      <a:pt x="150" y="237"/>
                      <a:pt x="150" y="240"/>
                      <a:pt x="149" y="241"/>
                    </a:cubicBezTo>
                    <a:cubicBezTo>
                      <a:pt x="148" y="242"/>
                      <a:pt x="145" y="243"/>
                      <a:pt x="144" y="244"/>
                    </a:cubicBezTo>
                    <a:cubicBezTo>
                      <a:pt x="143" y="244"/>
                      <a:pt x="140" y="242"/>
                      <a:pt x="139" y="242"/>
                    </a:cubicBezTo>
                    <a:cubicBezTo>
                      <a:pt x="138" y="242"/>
                      <a:pt x="135" y="243"/>
                      <a:pt x="134" y="244"/>
                    </a:cubicBezTo>
                    <a:cubicBezTo>
                      <a:pt x="133" y="244"/>
                      <a:pt x="132" y="246"/>
                      <a:pt x="132" y="247"/>
                    </a:cubicBezTo>
                    <a:cubicBezTo>
                      <a:pt x="132" y="248"/>
                      <a:pt x="133" y="251"/>
                      <a:pt x="133" y="252"/>
                    </a:cubicBezTo>
                    <a:cubicBezTo>
                      <a:pt x="134" y="253"/>
                      <a:pt x="135" y="255"/>
                      <a:pt x="135" y="257"/>
                    </a:cubicBezTo>
                    <a:cubicBezTo>
                      <a:pt x="135" y="258"/>
                      <a:pt x="134" y="260"/>
                      <a:pt x="133" y="261"/>
                    </a:cubicBezTo>
                    <a:cubicBezTo>
                      <a:pt x="132" y="262"/>
                      <a:pt x="129" y="262"/>
                      <a:pt x="128" y="262"/>
                    </a:cubicBezTo>
                    <a:cubicBezTo>
                      <a:pt x="127" y="262"/>
                      <a:pt x="125" y="260"/>
                      <a:pt x="124" y="260"/>
                    </a:cubicBezTo>
                    <a:cubicBezTo>
                      <a:pt x="123" y="260"/>
                      <a:pt x="120" y="260"/>
                      <a:pt x="120" y="261"/>
                    </a:cubicBezTo>
                    <a:cubicBezTo>
                      <a:pt x="119" y="262"/>
                      <a:pt x="118" y="266"/>
                      <a:pt x="118" y="267"/>
                    </a:cubicBezTo>
                    <a:cubicBezTo>
                      <a:pt x="118" y="268"/>
                      <a:pt x="119" y="270"/>
                      <a:pt x="119" y="271"/>
                    </a:cubicBezTo>
                    <a:cubicBezTo>
                      <a:pt x="119" y="272"/>
                      <a:pt x="117" y="274"/>
                      <a:pt x="116" y="275"/>
                    </a:cubicBezTo>
                    <a:cubicBezTo>
                      <a:pt x="115" y="276"/>
                      <a:pt x="111" y="277"/>
                      <a:pt x="109" y="278"/>
                    </a:cubicBezTo>
                    <a:cubicBezTo>
                      <a:pt x="108" y="279"/>
                      <a:pt x="107" y="281"/>
                      <a:pt x="106" y="282"/>
                    </a:cubicBezTo>
                    <a:cubicBezTo>
                      <a:pt x="105" y="282"/>
                      <a:pt x="102" y="282"/>
                      <a:pt x="101" y="281"/>
                    </a:cubicBezTo>
                    <a:cubicBezTo>
                      <a:pt x="100" y="281"/>
                      <a:pt x="99" y="278"/>
                      <a:pt x="100" y="277"/>
                    </a:cubicBezTo>
                    <a:cubicBezTo>
                      <a:pt x="100" y="276"/>
                      <a:pt x="101" y="274"/>
                      <a:pt x="101" y="273"/>
                    </a:cubicBezTo>
                    <a:cubicBezTo>
                      <a:pt x="102" y="272"/>
                      <a:pt x="101" y="269"/>
                      <a:pt x="100" y="268"/>
                    </a:cubicBezTo>
                    <a:cubicBezTo>
                      <a:pt x="99" y="268"/>
                      <a:pt x="96" y="268"/>
                      <a:pt x="95" y="269"/>
                    </a:cubicBezTo>
                    <a:cubicBezTo>
                      <a:pt x="94" y="269"/>
                      <a:pt x="93" y="272"/>
                      <a:pt x="92" y="272"/>
                    </a:cubicBezTo>
                    <a:cubicBezTo>
                      <a:pt x="91" y="272"/>
                      <a:pt x="88" y="270"/>
                      <a:pt x="88" y="269"/>
                    </a:cubicBezTo>
                    <a:cubicBezTo>
                      <a:pt x="87" y="268"/>
                      <a:pt x="87" y="266"/>
                      <a:pt x="87" y="265"/>
                    </a:cubicBezTo>
                    <a:cubicBezTo>
                      <a:pt x="87" y="264"/>
                      <a:pt x="89" y="263"/>
                      <a:pt x="89" y="262"/>
                    </a:cubicBezTo>
                    <a:cubicBezTo>
                      <a:pt x="90" y="261"/>
                      <a:pt x="90" y="258"/>
                      <a:pt x="90" y="257"/>
                    </a:cubicBezTo>
                    <a:cubicBezTo>
                      <a:pt x="89" y="256"/>
                      <a:pt x="89" y="254"/>
                      <a:pt x="88" y="253"/>
                    </a:cubicBezTo>
                    <a:cubicBezTo>
                      <a:pt x="87" y="252"/>
                      <a:pt x="84" y="252"/>
                      <a:pt x="82" y="252"/>
                    </a:cubicBezTo>
                    <a:cubicBezTo>
                      <a:pt x="81" y="252"/>
                      <a:pt x="78" y="254"/>
                      <a:pt x="76" y="254"/>
                    </a:cubicBezTo>
                    <a:cubicBezTo>
                      <a:pt x="75" y="254"/>
                      <a:pt x="72" y="252"/>
                      <a:pt x="70" y="252"/>
                    </a:cubicBezTo>
                    <a:cubicBezTo>
                      <a:pt x="69" y="251"/>
                      <a:pt x="66" y="249"/>
                      <a:pt x="65" y="248"/>
                    </a:cubicBezTo>
                    <a:cubicBezTo>
                      <a:pt x="64" y="247"/>
                      <a:pt x="65" y="244"/>
                      <a:pt x="64" y="243"/>
                    </a:cubicBezTo>
                    <a:cubicBezTo>
                      <a:pt x="63" y="242"/>
                      <a:pt x="61" y="240"/>
                      <a:pt x="61" y="238"/>
                    </a:cubicBezTo>
                    <a:cubicBezTo>
                      <a:pt x="60" y="237"/>
                      <a:pt x="59" y="235"/>
                      <a:pt x="59" y="234"/>
                    </a:cubicBezTo>
                    <a:cubicBezTo>
                      <a:pt x="58" y="232"/>
                      <a:pt x="59" y="230"/>
                      <a:pt x="59" y="228"/>
                    </a:cubicBezTo>
                    <a:cubicBezTo>
                      <a:pt x="59" y="227"/>
                      <a:pt x="57" y="225"/>
                      <a:pt x="56" y="224"/>
                    </a:cubicBezTo>
                    <a:cubicBezTo>
                      <a:pt x="56" y="223"/>
                      <a:pt x="54" y="223"/>
                      <a:pt x="53" y="222"/>
                    </a:cubicBezTo>
                    <a:cubicBezTo>
                      <a:pt x="51" y="221"/>
                      <a:pt x="48" y="218"/>
                      <a:pt x="46" y="217"/>
                    </a:cubicBezTo>
                    <a:cubicBezTo>
                      <a:pt x="44" y="217"/>
                      <a:pt x="41" y="216"/>
                      <a:pt x="40" y="216"/>
                    </a:cubicBezTo>
                    <a:cubicBezTo>
                      <a:pt x="39" y="217"/>
                      <a:pt x="36" y="218"/>
                      <a:pt x="35" y="219"/>
                    </a:cubicBezTo>
                    <a:cubicBezTo>
                      <a:pt x="34" y="220"/>
                      <a:pt x="32" y="223"/>
                      <a:pt x="31" y="223"/>
                    </a:cubicBezTo>
                    <a:cubicBezTo>
                      <a:pt x="30" y="223"/>
                      <a:pt x="27" y="222"/>
                      <a:pt x="25" y="221"/>
                    </a:cubicBezTo>
                    <a:cubicBezTo>
                      <a:pt x="25" y="221"/>
                      <a:pt x="24" y="218"/>
                      <a:pt x="23" y="217"/>
                    </a:cubicBezTo>
                    <a:cubicBezTo>
                      <a:pt x="22" y="216"/>
                      <a:pt x="19" y="214"/>
                      <a:pt x="18" y="213"/>
                    </a:cubicBezTo>
                    <a:cubicBezTo>
                      <a:pt x="17" y="212"/>
                      <a:pt x="16" y="210"/>
                      <a:pt x="15" y="209"/>
                    </a:cubicBezTo>
                    <a:cubicBezTo>
                      <a:pt x="14" y="208"/>
                      <a:pt x="10" y="208"/>
                      <a:pt x="10" y="207"/>
                    </a:cubicBezTo>
                    <a:cubicBezTo>
                      <a:pt x="9" y="206"/>
                      <a:pt x="10" y="202"/>
                      <a:pt x="10" y="201"/>
                    </a:cubicBezTo>
                    <a:cubicBezTo>
                      <a:pt x="11" y="201"/>
                      <a:pt x="12" y="201"/>
                      <a:pt x="13" y="200"/>
                    </a:cubicBezTo>
                    <a:cubicBezTo>
                      <a:pt x="13" y="199"/>
                      <a:pt x="14" y="197"/>
                      <a:pt x="14" y="196"/>
                    </a:cubicBezTo>
                    <a:cubicBezTo>
                      <a:pt x="14" y="195"/>
                      <a:pt x="14" y="193"/>
                      <a:pt x="14" y="192"/>
                    </a:cubicBezTo>
                    <a:cubicBezTo>
                      <a:pt x="13" y="191"/>
                      <a:pt x="12" y="190"/>
                      <a:pt x="11" y="190"/>
                    </a:cubicBezTo>
                    <a:cubicBezTo>
                      <a:pt x="10" y="190"/>
                      <a:pt x="8" y="192"/>
                      <a:pt x="8" y="192"/>
                    </a:cubicBezTo>
                    <a:cubicBezTo>
                      <a:pt x="6" y="192"/>
                      <a:pt x="3" y="191"/>
                      <a:pt x="2" y="190"/>
                    </a:cubicBezTo>
                    <a:cubicBezTo>
                      <a:pt x="1" y="189"/>
                      <a:pt x="1" y="186"/>
                      <a:pt x="1" y="185"/>
                    </a:cubicBezTo>
                    <a:cubicBezTo>
                      <a:pt x="2" y="184"/>
                      <a:pt x="3" y="182"/>
                      <a:pt x="4" y="181"/>
                    </a:cubicBezTo>
                    <a:cubicBezTo>
                      <a:pt x="4" y="180"/>
                      <a:pt x="3" y="177"/>
                      <a:pt x="3" y="176"/>
                    </a:cubicBezTo>
                    <a:cubicBezTo>
                      <a:pt x="2" y="175"/>
                      <a:pt x="1" y="173"/>
                      <a:pt x="1" y="172"/>
                    </a:cubicBezTo>
                    <a:cubicBezTo>
                      <a:pt x="2" y="171"/>
                      <a:pt x="3" y="169"/>
                      <a:pt x="4" y="169"/>
                    </a:cubicBezTo>
                    <a:cubicBezTo>
                      <a:pt x="5" y="167"/>
                      <a:pt x="5" y="161"/>
                      <a:pt x="7" y="159"/>
                    </a:cubicBezTo>
                    <a:cubicBezTo>
                      <a:pt x="7" y="158"/>
                      <a:pt x="11" y="156"/>
                      <a:pt x="11" y="154"/>
                    </a:cubicBezTo>
                    <a:cubicBezTo>
                      <a:pt x="12" y="153"/>
                      <a:pt x="12" y="150"/>
                      <a:pt x="12" y="149"/>
                    </a:cubicBezTo>
                    <a:cubicBezTo>
                      <a:pt x="13" y="146"/>
                      <a:pt x="12" y="140"/>
                      <a:pt x="11" y="138"/>
                    </a:cubicBezTo>
                    <a:cubicBezTo>
                      <a:pt x="10" y="136"/>
                      <a:pt x="7" y="134"/>
                      <a:pt x="7" y="133"/>
                    </a:cubicBezTo>
                    <a:cubicBezTo>
                      <a:pt x="6" y="132"/>
                      <a:pt x="6" y="129"/>
                      <a:pt x="6" y="128"/>
                    </a:cubicBezTo>
                    <a:cubicBezTo>
                      <a:pt x="5" y="126"/>
                      <a:pt x="2" y="124"/>
                      <a:pt x="1" y="123"/>
                    </a:cubicBezTo>
                    <a:cubicBezTo>
                      <a:pt x="0" y="121"/>
                      <a:pt x="1" y="117"/>
                      <a:pt x="1" y="115"/>
                    </a:cubicBezTo>
                    <a:cubicBezTo>
                      <a:pt x="1" y="113"/>
                      <a:pt x="0" y="108"/>
                      <a:pt x="1" y="106"/>
                    </a:cubicBezTo>
                    <a:cubicBezTo>
                      <a:pt x="1" y="105"/>
                      <a:pt x="4" y="101"/>
                      <a:pt x="5" y="101"/>
                    </a:cubicBezTo>
                    <a:cubicBezTo>
                      <a:pt x="6" y="101"/>
                      <a:pt x="8" y="101"/>
                      <a:pt x="9" y="102"/>
                    </a:cubicBezTo>
                    <a:cubicBezTo>
                      <a:pt x="9" y="102"/>
                      <a:pt x="10" y="104"/>
                      <a:pt x="11" y="104"/>
                    </a:cubicBezTo>
                    <a:cubicBezTo>
                      <a:pt x="13" y="104"/>
                      <a:pt x="16" y="102"/>
                      <a:pt x="17" y="100"/>
                    </a:cubicBezTo>
                    <a:cubicBezTo>
                      <a:pt x="19" y="99"/>
                      <a:pt x="18" y="94"/>
                      <a:pt x="19" y="93"/>
                    </a:cubicBezTo>
                    <a:cubicBezTo>
                      <a:pt x="19" y="91"/>
                      <a:pt x="20" y="88"/>
                      <a:pt x="21" y="87"/>
                    </a:cubicBezTo>
                    <a:cubicBezTo>
                      <a:pt x="23" y="85"/>
                      <a:pt x="31" y="88"/>
                      <a:pt x="33" y="86"/>
                    </a:cubicBezTo>
                    <a:cubicBezTo>
                      <a:pt x="35" y="85"/>
                      <a:pt x="35" y="81"/>
                      <a:pt x="36" y="80"/>
                    </a:cubicBezTo>
                    <a:cubicBezTo>
                      <a:pt x="37" y="79"/>
                      <a:pt x="41" y="78"/>
                      <a:pt x="42" y="77"/>
                    </a:cubicBezTo>
                    <a:cubicBezTo>
                      <a:pt x="43" y="76"/>
                      <a:pt x="45" y="73"/>
                      <a:pt x="45" y="71"/>
                    </a:cubicBezTo>
                    <a:cubicBezTo>
                      <a:pt x="45" y="69"/>
                      <a:pt x="42" y="64"/>
                      <a:pt x="41" y="62"/>
                    </a:cubicBezTo>
                    <a:cubicBezTo>
                      <a:pt x="39" y="61"/>
                      <a:pt x="36" y="58"/>
                      <a:pt x="34" y="57"/>
                    </a:cubicBezTo>
                    <a:cubicBezTo>
                      <a:pt x="33" y="56"/>
                      <a:pt x="29" y="57"/>
                      <a:pt x="28" y="56"/>
                    </a:cubicBezTo>
                    <a:cubicBezTo>
                      <a:pt x="26" y="55"/>
                      <a:pt x="24" y="53"/>
                      <a:pt x="23" y="52"/>
                    </a:cubicBezTo>
                    <a:cubicBezTo>
                      <a:pt x="22" y="50"/>
                      <a:pt x="22" y="46"/>
                      <a:pt x="22" y="45"/>
                    </a:cubicBezTo>
                    <a:cubicBezTo>
                      <a:pt x="21" y="43"/>
                      <a:pt x="19" y="40"/>
                      <a:pt x="19" y="38"/>
                    </a:cubicBezTo>
                    <a:cubicBezTo>
                      <a:pt x="19" y="38"/>
                      <a:pt x="19" y="36"/>
                      <a:pt x="20" y="35"/>
                    </a:cubicBezTo>
                    <a:cubicBezTo>
                      <a:pt x="21" y="34"/>
                      <a:pt x="23" y="35"/>
                      <a:pt x="24" y="34"/>
                    </a:cubicBezTo>
                    <a:cubicBezTo>
                      <a:pt x="25" y="33"/>
                      <a:pt x="27" y="31"/>
                      <a:pt x="27" y="30"/>
                    </a:cubicBezTo>
                    <a:cubicBezTo>
                      <a:pt x="27" y="28"/>
                      <a:pt x="26" y="25"/>
                      <a:pt x="26" y="23"/>
                    </a:cubicBezTo>
                    <a:cubicBezTo>
                      <a:pt x="26" y="22"/>
                      <a:pt x="27" y="18"/>
                      <a:pt x="28" y="17"/>
                    </a:cubicBezTo>
                    <a:cubicBezTo>
                      <a:pt x="29" y="16"/>
                      <a:pt x="32" y="16"/>
                      <a:pt x="34" y="15"/>
                    </a:cubicBezTo>
                    <a:cubicBezTo>
                      <a:pt x="35" y="14"/>
                      <a:pt x="37" y="12"/>
                      <a:pt x="38" y="11"/>
                    </a:cubicBezTo>
                    <a:cubicBezTo>
                      <a:pt x="40" y="10"/>
                      <a:pt x="44" y="8"/>
                      <a:pt x="45" y="6"/>
                    </a:cubicBezTo>
                    <a:cubicBezTo>
                      <a:pt x="46" y="6"/>
                      <a:pt x="46" y="5"/>
                      <a:pt x="46" y="4"/>
                    </a:cubicBezTo>
                    <a:cubicBezTo>
                      <a:pt x="48" y="4"/>
                      <a:pt x="49" y="5"/>
                      <a:pt x="50" y="5"/>
                    </a:cubicBezTo>
                    <a:cubicBezTo>
                      <a:pt x="52" y="5"/>
                      <a:pt x="55" y="4"/>
                      <a:pt x="56" y="3"/>
                    </a:cubicBezTo>
                    <a:cubicBezTo>
                      <a:pt x="57" y="3"/>
                      <a:pt x="57" y="1"/>
                      <a:pt x="58" y="1"/>
                    </a:cubicBezTo>
                    <a:cubicBezTo>
                      <a:pt x="59" y="0"/>
                      <a:pt x="62" y="0"/>
                      <a:pt x="64" y="0"/>
                    </a:cubicBezTo>
                    <a:cubicBezTo>
                      <a:pt x="65" y="0"/>
                      <a:pt x="68" y="1"/>
                      <a:pt x="69" y="2"/>
                    </a:cubicBezTo>
                    <a:cubicBezTo>
                      <a:pt x="70" y="3"/>
                      <a:pt x="71" y="6"/>
                      <a:pt x="70" y="8"/>
                    </a:cubicBezTo>
                    <a:cubicBezTo>
                      <a:pt x="70" y="9"/>
                      <a:pt x="68" y="10"/>
                      <a:pt x="68" y="11"/>
                    </a:cubicBezTo>
                    <a:cubicBezTo>
                      <a:pt x="67" y="12"/>
                      <a:pt x="65" y="15"/>
                      <a:pt x="66" y="17"/>
                    </a:cubicBezTo>
                    <a:cubicBezTo>
                      <a:pt x="66" y="19"/>
                      <a:pt x="69" y="22"/>
                      <a:pt x="71" y="23"/>
                    </a:cubicBezTo>
                    <a:cubicBezTo>
                      <a:pt x="72" y="23"/>
                      <a:pt x="74" y="23"/>
                      <a:pt x="75" y="22"/>
                    </a:cubicBezTo>
                    <a:cubicBezTo>
                      <a:pt x="77" y="21"/>
                      <a:pt x="78" y="18"/>
                      <a:pt x="79" y="17"/>
                    </a:cubicBezTo>
                    <a:cubicBezTo>
                      <a:pt x="81" y="16"/>
                      <a:pt x="84" y="16"/>
                      <a:pt x="86" y="16"/>
                    </a:cubicBezTo>
                    <a:cubicBezTo>
                      <a:pt x="87" y="16"/>
                      <a:pt x="90" y="16"/>
                      <a:pt x="91" y="16"/>
                    </a:cubicBezTo>
                    <a:cubicBezTo>
                      <a:pt x="92" y="17"/>
                      <a:pt x="93" y="21"/>
                      <a:pt x="94" y="23"/>
                    </a:cubicBezTo>
                    <a:cubicBezTo>
                      <a:pt x="94" y="23"/>
                      <a:pt x="97" y="24"/>
                      <a:pt x="97" y="25"/>
                    </a:cubicBezTo>
                    <a:cubicBezTo>
                      <a:pt x="99" y="26"/>
                      <a:pt x="102" y="27"/>
                      <a:pt x="103" y="29"/>
                    </a:cubicBezTo>
                    <a:cubicBezTo>
                      <a:pt x="105" y="30"/>
                      <a:pt x="106" y="35"/>
                      <a:pt x="107" y="37"/>
                    </a:cubicBezTo>
                    <a:cubicBezTo>
                      <a:pt x="109" y="38"/>
                      <a:pt x="112" y="40"/>
                      <a:pt x="113" y="40"/>
                    </a:cubicBezTo>
                    <a:cubicBezTo>
                      <a:pt x="115" y="40"/>
                      <a:pt x="119" y="40"/>
                      <a:pt x="121" y="39"/>
                    </a:cubicBezTo>
                    <a:cubicBezTo>
                      <a:pt x="122" y="38"/>
                      <a:pt x="122" y="35"/>
                      <a:pt x="123" y="34"/>
                    </a:cubicBezTo>
                    <a:cubicBezTo>
                      <a:pt x="124" y="33"/>
                      <a:pt x="126" y="32"/>
                      <a:pt x="128" y="32"/>
                    </a:cubicBezTo>
                    <a:cubicBezTo>
                      <a:pt x="129" y="32"/>
                      <a:pt x="131" y="34"/>
                      <a:pt x="132" y="35"/>
                    </a:cubicBezTo>
                    <a:cubicBezTo>
                      <a:pt x="133" y="36"/>
                      <a:pt x="133" y="39"/>
                      <a:pt x="133" y="40"/>
                    </a:cubicBezTo>
                    <a:cubicBezTo>
                      <a:pt x="133" y="42"/>
                      <a:pt x="130" y="44"/>
                      <a:pt x="130" y="46"/>
                    </a:cubicBezTo>
                    <a:cubicBezTo>
                      <a:pt x="129" y="47"/>
                      <a:pt x="128" y="49"/>
                      <a:pt x="128" y="50"/>
                    </a:cubicBezTo>
                    <a:cubicBezTo>
                      <a:pt x="129" y="51"/>
                      <a:pt x="131" y="53"/>
                      <a:pt x="131" y="54"/>
                    </a:cubicBezTo>
                    <a:cubicBezTo>
                      <a:pt x="132" y="55"/>
                      <a:pt x="133" y="57"/>
                      <a:pt x="134" y="58"/>
                    </a:cubicBezTo>
                    <a:cubicBezTo>
                      <a:pt x="135" y="61"/>
                      <a:pt x="135" y="68"/>
                      <a:pt x="136" y="71"/>
                    </a:cubicBezTo>
                    <a:cubicBezTo>
                      <a:pt x="136" y="73"/>
                      <a:pt x="138" y="75"/>
                      <a:pt x="139" y="77"/>
                    </a:cubicBezTo>
                    <a:cubicBezTo>
                      <a:pt x="140" y="78"/>
                      <a:pt x="143" y="80"/>
                      <a:pt x="144" y="81"/>
                    </a:cubicBezTo>
                    <a:cubicBezTo>
                      <a:pt x="146" y="82"/>
                      <a:pt x="149" y="85"/>
                      <a:pt x="149" y="87"/>
                    </a:cubicBezTo>
                    <a:cubicBezTo>
                      <a:pt x="150" y="89"/>
                      <a:pt x="149" y="92"/>
                      <a:pt x="149" y="94"/>
                    </a:cubicBezTo>
                    <a:cubicBezTo>
                      <a:pt x="149" y="95"/>
                      <a:pt x="147" y="98"/>
                      <a:pt x="147" y="100"/>
                    </a:cubicBezTo>
                    <a:cubicBezTo>
                      <a:pt x="147" y="102"/>
                      <a:pt x="147" y="105"/>
                      <a:pt x="147" y="107"/>
                    </a:cubicBezTo>
                    <a:cubicBezTo>
                      <a:pt x="148" y="109"/>
                      <a:pt x="151" y="111"/>
                      <a:pt x="152" y="112"/>
                    </a:cubicBezTo>
                    <a:cubicBezTo>
                      <a:pt x="153" y="113"/>
                      <a:pt x="154" y="115"/>
                      <a:pt x="155" y="116"/>
                    </a:cubicBezTo>
                    <a:cubicBezTo>
                      <a:pt x="155" y="118"/>
                      <a:pt x="156" y="120"/>
                      <a:pt x="156" y="121"/>
                    </a:cubicBezTo>
                    <a:cubicBezTo>
                      <a:pt x="156" y="123"/>
                      <a:pt x="155" y="126"/>
                      <a:pt x="154" y="128"/>
                    </a:cubicBezTo>
                    <a:cubicBezTo>
                      <a:pt x="154" y="131"/>
                      <a:pt x="155" y="136"/>
                      <a:pt x="155" y="138"/>
                    </a:cubicBezTo>
                    <a:cubicBezTo>
                      <a:pt x="156" y="140"/>
                      <a:pt x="158" y="143"/>
                      <a:pt x="159" y="145"/>
                    </a:cubicBezTo>
                    <a:cubicBezTo>
                      <a:pt x="160" y="147"/>
                      <a:pt x="161" y="151"/>
                      <a:pt x="162" y="153"/>
                    </a:cubicBezTo>
                    <a:cubicBezTo>
                      <a:pt x="163" y="154"/>
                      <a:pt x="166" y="157"/>
                      <a:pt x="168" y="157"/>
                    </a:cubicBezTo>
                    <a:cubicBezTo>
                      <a:pt x="169" y="158"/>
                      <a:pt x="171" y="157"/>
                      <a:pt x="171" y="156"/>
                    </a:cubicBezTo>
                    <a:cubicBezTo>
                      <a:pt x="172" y="155"/>
                      <a:pt x="172" y="152"/>
                      <a:pt x="173" y="151"/>
                    </a:cubicBezTo>
                    <a:cubicBezTo>
                      <a:pt x="174" y="151"/>
                      <a:pt x="175" y="150"/>
                      <a:pt x="176" y="150"/>
                    </a:cubicBezTo>
                    <a:cubicBezTo>
                      <a:pt x="178" y="150"/>
                      <a:pt x="181" y="151"/>
                      <a:pt x="182" y="152"/>
                    </a:cubicBezTo>
                    <a:cubicBezTo>
                      <a:pt x="183" y="153"/>
                      <a:pt x="185" y="154"/>
                      <a:pt x="185" y="155"/>
                    </a:cubicBezTo>
                    <a:cubicBezTo>
                      <a:pt x="186" y="156"/>
                      <a:pt x="186" y="159"/>
                      <a:pt x="187" y="161"/>
                    </a:cubicBezTo>
                    <a:cubicBezTo>
                      <a:pt x="187" y="162"/>
                      <a:pt x="188" y="166"/>
                      <a:pt x="189" y="167"/>
                    </a:cubicBezTo>
                    <a:cubicBezTo>
                      <a:pt x="190" y="168"/>
                      <a:pt x="194" y="169"/>
                      <a:pt x="195" y="169"/>
                    </a:cubicBezTo>
                    <a:cubicBezTo>
                      <a:pt x="196" y="168"/>
                      <a:pt x="196" y="167"/>
                      <a:pt x="197" y="166"/>
                    </a:cubicBezTo>
                    <a:cubicBezTo>
                      <a:pt x="198" y="165"/>
                      <a:pt x="200" y="162"/>
                      <a:pt x="201" y="162"/>
                    </a:cubicBezTo>
                    <a:cubicBezTo>
                      <a:pt x="202" y="162"/>
                      <a:pt x="205" y="162"/>
                      <a:pt x="206" y="163"/>
                    </a:cubicBezTo>
                    <a:cubicBezTo>
                      <a:pt x="207" y="164"/>
                      <a:pt x="205" y="167"/>
                      <a:pt x="206" y="168"/>
                    </a:cubicBezTo>
                    <a:cubicBezTo>
                      <a:pt x="207" y="170"/>
                      <a:pt x="210" y="171"/>
                      <a:pt x="210" y="173"/>
                    </a:cubicBezTo>
                    <a:cubicBezTo>
                      <a:pt x="210" y="174"/>
                      <a:pt x="208" y="178"/>
                      <a:pt x="207" y="179"/>
                    </a:cubicBezTo>
                    <a:cubicBezTo>
                      <a:pt x="207" y="180"/>
                      <a:pt x="206" y="181"/>
                      <a:pt x="205" y="181"/>
                    </a:cubicBezTo>
                    <a:cubicBezTo>
                      <a:pt x="205" y="182"/>
                      <a:pt x="205" y="185"/>
                      <a:pt x="205" y="186"/>
                    </a:cubicBezTo>
                    <a:cubicBezTo>
                      <a:pt x="205" y="187"/>
                      <a:pt x="206" y="190"/>
                      <a:pt x="206" y="191"/>
                    </a:cubicBezTo>
                    <a:cubicBezTo>
                      <a:pt x="207" y="192"/>
                      <a:pt x="207" y="193"/>
                      <a:pt x="207" y="19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34">
                <a:extLst>
                  <a:ext uri="{FF2B5EF4-FFF2-40B4-BE49-F238E27FC236}">
                    <a16:creationId xmlns:a16="http://schemas.microsoft.com/office/drawing/2014/main" id="{6FF58F11-EDA6-22D1-B569-1FE789DF7947}"/>
                  </a:ext>
                </a:extLst>
              </p:cNvPr>
              <p:cNvSpPr>
                <a:spLocks/>
              </p:cNvSpPr>
              <p:nvPr/>
            </p:nvSpPr>
            <p:spPr bwMode="auto">
              <a:xfrm>
                <a:off x="7833095" y="4261919"/>
                <a:ext cx="16264" cy="24059"/>
              </a:xfrm>
              <a:custGeom>
                <a:avLst/>
                <a:gdLst/>
                <a:ahLst/>
                <a:cxnLst>
                  <a:cxn ang="0">
                    <a:pos x="6" y="8"/>
                  </a:cxn>
                  <a:cxn ang="0">
                    <a:pos x="6" y="6"/>
                  </a:cxn>
                  <a:cxn ang="0">
                    <a:pos x="9" y="5"/>
                  </a:cxn>
                  <a:cxn ang="0">
                    <a:pos x="11" y="3"/>
                  </a:cxn>
                  <a:cxn ang="0">
                    <a:pos x="9" y="1"/>
                  </a:cxn>
                  <a:cxn ang="0">
                    <a:pos x="5" y="1"/>
                  </a:cxn>
                  <a:cxn ang="0">
                    <a:pos x="4" y="3"/>
                  </a:cxn>
                  <a:cxn ang="0">
                    <a:pos x="1" y="5"/>
                  </a:cxn>
                  <a:cxn ang="0">
                    <a:pos x="0" y="7"/>
                  </a:cxn>
                  <a:cxn ang="0">
                    <a:pos x="1" y="10"/>
                  </a:cxn>
                  <a:cxn ang="0">
                    <a:pos x="1" y="13"/>
                  </a:cxn>
                  <a:cxn ang="0">
                    <a:pos x="2" y="15"/>
                  </a:cxn>
                  <a:cxn ang="0">
                    <a:pos x="5" y="15"/>
                  </a:cxn>
                  <a:cxn ang="0">
                    <a:pos x="7" y="11"/>
                  </a:cxn>
                  <a:cxn ang="0">
                    <a:pos x="6" y="9"/>
                  </a:cxn>
                  <a:cxn ang="0">
                    <a:pos x="6" y="8"/>
                  </a:cxn>
                </a:cxnLst>
                <a:rect l="0" t="0" r="r" b="b"/>
                <a:pathLst>
                  <a:path w="11" h="16">
                    <a:moveTo>
                      <a:pt x="6" y="8"/>
                    </a:moveTo>
                    <a:cubicBezTo>
                      <a:pt x="6" y="7"/>
                      <a:pt x="6" y="7"/>
                      <a:pt x="6" y="6"/>
                    </a:cubicBezTo>
                    <a:cubicBezTo>
                      <a:pt x="7" y="6"/>
                      <a:pt x="8" y="5"/>
                      <a:pt x="9" y="5"/>
                    </a:cubicBezTo>
                    <a:cubicBezTo>
                      <a:pt x="10" y="5"/>
                      <a:pt x="11" y="4"/>
                      <a:pt x="11" y="3"/>
                    </a:cubicBezTo>
                    <a:cubicBezTo>
                      <a:pt x="11" y="2"/>
                      <a:pt x="10" y="1"/>
                      <a:pt x="9" y="1"/>
                    </a:cubicBezTo>
                    <a:cubicBezTo>
                      <a:pt x="8" y="0"/>
                      <a:pt x="6" y="1"/>
                      <a:pt x="5" y="1"/>
                    </a:cubicBezTo>
                    <a:cubicBezTo>
                      <a:pt x="5" y="1"/>
                      <a:pt x="4" y="2"/>
                      <a:pt x="4" y="3"/>
                    </a:cubicBezTo>
                    <a:cubicBezTo>
                      <a:pt x="3" y="3"/>
                      <a:pt x="1" y="4"/>
                      <a:pt x="1" y="5"/>
                    </a:cubicBezTo>
                    <a:cubicBezTo>
                      <a:pt x="0" y="5"/>
                      <a:pt x="0" y="6"/>
                      <a:pt x="0" y="7"/>
                    </a:cubicBezTo>
                    <a:cubicBezTo>
                      <a:pt x="0" y="8"/>
                      <a:pt x="1" y="9"/>
                      <a:pt x="1" y="10"/>
                    </a:cubicBezTo>
                    <a:cubicBezTo>
                      <a:pt x="1" y="11"/>
                      <a:pt x="1" y="12"/>
                      <a:pt x="1" y="13"/>
                    </a:cubicBezTo>
                    <a:cubicBezTo>
                      <a:pt x="1" y="14"/>
                      <a:pt x="1" y="15"/>
                      <a:pt x="2" y="15"/>
                    </a:cubicBezTo>
                    <a:cubicBezTo>
                      <a:pt x="2" y="16"/>
                      <a:pt x="4" y="15"/>
                      <a:pt x="5" y="15"/>
                    </a:cubicBezTo>
                    <a:cubicBezTo>
                      <a:pt x="5" y="14"/>
                      <a:pt x="7" y="12"/>
                      <a:pt x="7" y="11"/>
                    </a:cubicBezTo>
                    <a:cubicBezTo>
                      <a:pt x="7" y="11"/>
                      <a:pt x="6" y="10"/>
                      <a:pt x="6" y="9"/>
                    </a:cubicBezTo>
                    <a:cubicBezTo>
                      <a:pt x="6" y="9"/>
                      <a:pt x="6" y="8"/>
                      <a:pt x="6" y="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35">
                <a:extLst>
                  <a:ext uri="{FF2B5EF4-FFF2-40B4-BE49-F238E27FC236}">
                    <a16:creationId xmlns:a16="http://schemas.microsoft.com/office/drawing/2014/main" id="{9491E07C-D5E8-E8EB-B70B-3F7DAF2CFAB2}"/>
                  </a:ext>
                </a:extLst>
              </p:cNvPr>
              <p:cNvSpPr>
                <a:spLocks/>
              </p:cNvSpPr>
              <p:nvPr/>
            </p:nvSpPr>
            <p:spPr bwMode="auto">
              <a:xfrm>
                <a:off x="7808699" y="4260582"/>
                <a:ext cx="6776" cy="13366"/>
              </a:xfrm>
              <a:custGeom>
                <a:avLst/>
                <a:gdLst/>
                <a:ahLst/>
                <a:cxnLst>
                  <a:cxn ang="0">
                    <a:pos x="3" y="1"/>
                  </a:cxn>
                  <a:cxn ang="0">
                    <a:pos x="0" y="2"/>
                  </a:cxn>
                  <a:cxn ang="0">
                    <a:pos x="0" y="4"/>
                  </a:cxn>
                  <a:cxn ang="0">
                    <a:pos x="1" y="6"/>
                  </a:cxn>
                  <a:cxn ang="0">
                    <a:pos x="1" y="8"/>
                  </a:cxn>
                  <a:cxn ang="0">
                    <a:pos x="4" y="7"/>
                  </a:cxn>
                  <a:cxn ang="0">
                    <a:pos x="5" y="4"/>
                  </a:cxn>
                  <a:cxn ang="0">
                    <a:pos x="3" y="1"/>
                  </a:cxn>
                </a:cxnLst>
                <a:rect l="0" t="0" r="r" b="b"/>
                <a:pathLst>
                  <a:path w="5" h="9">
                    <a:moveTo>
                      <a:pt x="3" y="1"/>
                    </a:moveTo>
                    <a:cubicBezTo>
                      <a:pt x="2" y="0"/>
                      <a:pt x="1" y="1"/>
                      <a:pt x="0" y="2"/>
                    </a:cubicBezTo>
                    <a:cubicBezTo>
                      <a:pt x="0" y="2"/>
                      <a:pt x="0" y="4"/>
                      <a:pt x="0" y="4"/>
                    </a:cubicBezTo>
                    <a:cubicBezTo>
                      <a:pt x="0" y="5"/>
                      <a:pt x="1" y="6"/>
                      <a:pt x="1" y="6"/>
                    </a:cubicBezTo>
                    <a:cubicBezTo>
                      <a:pt x="1" y="7"/>
                      <a:pt x="1" y="8"/>
                      <a:pt x="1" y="8"/>
                    </a:cubicBezTo>
                    <a:cubicBezTo>
                      <a:pt x="2" y="9"/>
                      <a:pt x="3" y="8"/>
                      <a:pt x="4" y="7"/>
                    </a:cubicBezTo>
                    <a:cubicBezTo>
                      <a:pt x="4" y="6"/>
                      <a:pt x="5" y="5"/>
                      <a:pt x="5" y="4"/>
                    </a:cubicBezTo>
                    <a:cubicBezTo>
                      <a:pt x="5" y="3"/>
                      <a:pt x="4" y="1"/>
                      <a:pt x="3" y="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36">
                <a:extLst>
                  <a:ext uri="{FF2B5EF4-FFF2-40B4-BE49-F238E27FC236}">
                    <a16:creationId xmlns:a16="http://schemas.microsoft.com/office/drawing/2014/main" id="{39110A38-6598-52CD-5985-42E14EE1D63F}"/>
                  </a:ext>
                </a:extLst>
              </p:cNvPr>
              <p:cNvSpPr>
                <a:spLocks noEditPoints="1"/>
              </p:cNvSpPr>
              <p:nvPr/>
            </p:nvSpPr>
            <p:spPr bwMode="auto">
              <a:xfrm>
                <a:off x="7473937" y="3651095"/>
                <a:ext cx="612602" cy="519936"/>
              </a:xfrm>
              <a:custGeom>
                <a:avLst/>
                <a:gdLst/>
                <a:ahLst/>
                <a:cxnLst>
                  <a:cxn ang="0">
                    <a:pos x="40" y="47"/>
                  </a:cxn>
                  <a:cxn ang="0">
                    <a:pos x="45" y="21"/>
                  </a:cxn>
                  <a:cxn ang="0">
                    <a:pos x="61" y="0"/>
                  </a:cxn>
                  <a:cxn ang="0">
                    <a:pos x="68" y="20"/>
                  </a:cxn>
                  <a:cxn ang="0">
                    <a:pos x="70" y="29"/>
                  </a:cxn>
                  <a:cxn ang="0">
                    <a:pos x="85" y="49"/>
                  </a:cxn>
                  <a:cxn ang="0">
                    <a:pos x="113" y="50"/>
                  </a:cxn>
                  <a:cxn ang="0">
                    <a:pos x="124" y="71"/>
                  </a:cxn>
                  <a:cxn ang="0">
                    <a:pos x="148" y="81"/>
                  </a:cxn>
                  <a:cxn ang="0">
                    <a:pos x="152" y="100"/>
                  </a:cxn>
                  <a:cxn ang="0">
                    <a:pos x="161" y="109"/>
                  </a:cxn>
                  <a:cxn ang="0">
                    <a:pos x="178" y="95"/>
                  </a:cxn>
                  <a:cxn ang="0">
                    <a:pos x="195" y="85"/>
                  </a:cxn>
                  <a:cxn ang="0">
                    <a:pos x="204" y="72"/>
                  </a:cxn>
                  <a:cxn ang="0">
                    <a:pos x="223" y="50"/>
                  </a:cxn>
                  <a:cxn ang="0">
                    <a:pos x="240" y="44"/>
                  </a:cxn>
                  <a:cxn ang="0">
                    <a:pos x="266" y="27"/>
                  </a:cxn>
                  <a:cxn ang="0">
                    <a:pos x="283" y="26"/>
                  </a:cxn>
                  <a:cxn ang="0">
                    <a:pos x="294" y="36"/>
                  </a:cxn>
                  <a:cxn ang="0">
                    <a:pos x="284" y="56"/>
                  </a:cxn>
                  <a:cxn ang="0">
                    <a:pos x="263" y="69"/>
                  </a:cxn>
                  <a:cxn ang="0">
                    <a:pos x="258" y="84"/>
                  </a:cxn>
                  <a:cxn ang="0">
                    <a:pos x="267" y="104"/>
                  </a:cxn>
                  <a:cxn ang="0">
                    <a:pos x="284" y="130"/>
                  </a:cxn>
                  <a:cxn ang="0">
                    <a:pos x="288" y="149"/>
                  </a:cxn>
                  <a:cxn ang="0">
                    <a:pos x="266" y="146"/>
                  </a:cxn>
                  <a:cxn ang="0">
                    <a:pos x="245" y="158"/>
                  </a:cxn>
                  <a:cxn ang="0">
                    <a:pos x="261" y="181"/>
                  </a:cxn>
                  <a:cxn ang="0">
                    <a:pos x="287" y="191"/>
                  </a:cxn>
                  <a:cxn ang="0">
                    <a:pos x="300" y="213"/>
                  </a:cxn>
                  <a:cxn ang="0">
                    <a:pos x="327" y="220"/>
                  </a:cxn>
                  <a:cxn ang="0">
                    <a:pos x="340" y="221"/>
                  </a:cxn>
                  <a:cxn ang="0">
                    <a:pos x="369" y="237"/>
                  </a:cxn>
                  <a:cxn ang="0">
                    <a:pos x="391" y="234"/>
                  </a:cxn>
                  <a:cxn ang="0">
                    <a:pos x="403" y="270"/>
                  </a:cxn>
                  <a:cxn ang="0">
                    <a:pos x="390" y="298"/>
                  </a:cxn>
                  <a:cxn ang="0">
                    <a:pos x="373" y="337"/>
                  </a:cxn>
                  <a:cxn ang="0">
                    <a:pos x="350" y="336"/>
                  </a:cxn>
                  <a:cxn ang="0">
                    <a:pos x="341" y="346"/>
                  </a:cxn>
                  <a:cxn ang="0">
                    <a:pos x="320" y="340"/>
                  </a:cxn>
                  <a:cxn ang="0">
                    <a:pos x="277" y="333"/>
                  </a:cxn>
                  <a:cxn ang="0">
                    <a:pos x="255" y="347"/>
                  </a:cxn>
                  <a:cxn ang="0">
                    <a:pos x="224" y="314"/>
                  </a:cxn>
                  <a:cxn ang="0">
                    <a:pos x="196" y="303"/>
                  </a:cxn>
                  <a:cxn ang="0">
                    <a:pos x="163" y="277"/>
                  </a:cxn>
                  <a:cxn ang="0">
                    <a:pos x="110" y="235"/>
                  </a:cxn>
                  <a:cxn ang="0">
                    <a:pos x="97" y="196"/>
                  </a:cxn>
                  <a:cxn ang="0">
                    <a:pos x="52" y="171"/>
                  </a:cxn>
                  <a:cxn ang="0">
                    <a:pos x="32" y="144"/>
                  </a:cxn>
                  <a:cxn ang="0">
                    <a:pos x="21" y="120"/>
                  </a:cxn>
                  <a:cxn ang="0">
                    <a:pos x="11" y="97"/>
                  </a:cxn>
                  <a:cxn ang="0">
                    <a:pos x="14" y="81"/>
                  </a:cxn>
                  <a:cxn ang="0">
                    <a:pos x="35" y="68"/>
                  </a:cxn>
                </a:cxnLst>
                <a:rect l="0" t="0" r="r" b="b"/>
                <a:pathLst>
                  <a:path w="405" h="349">
                    <a:moveTo>
                      <a:pt x="35" y="68"/>
                    </a:moveTo>
                    <a:cubicBezTo>
                      <a:pt x="34" y="68"/>
                      <a:pt x="36" y="64"/>
                      <a:pt x="37" y="62"/>
                    </a:cubicBezTo>
                    <a:cubicBezTo>
                      <a:pt x="38" y="61"/>
                      <a:pt x="40" y="60"/>
                      <a:pt x="40" y="59"/>
                    </a:cubicBezTo>
                    <a:cubicBezTo>
                      <a:pt x="41" y="57"/>
                      <a:pt x="39" y="54"/>
                      <a:pt x="39" y="52"/>
                    </a:cubicBezTo>
                    <a:cubicBezTo>
                      <a:pt x="39" y="51"/>
                      <a:pt x="40" y="48"/>
                      <a:pt x="40" y="47"/>
                    </a:cubicBezTo>
                    <a:cubicBezTo>
                      <a:pt x="41" y="46"/>
                      <a:pt x="44" y="45"/>
                      <a:pt x="45" y="44"/>
                    </a:cubicBezTo>
                    <a:cubicBezTo>
                      <a:pt x="46" y="43"/>
                      <a:pt x="48" y="40"/>
                      <a:pt x="49" y="39"/>
                    </a:cubicBezTo>
                    <a:cubicBezTo>
                      <a:pt x="50" y="38"/>
                      <a:pt x="52" y="35"/>
                      <a:pt x="52" y="34"/>
                    </a:cubicBezTo>
                    <a:cubicBezTo>
                      <a:pt x="52" y="32"/>
                      <a:pt x="51" y="28"/>
                      <a:pt x="50" y="26"/>
                    </a:cubicBezTo>
                    <a:cubicBezTo>
                      <a:pt x="49" y="25"/>
                      <a:pt x="46" y="23"/>
                      <a:pt x="45" y="21"/>
                    </a:cubicBezTo>
                    <a:cubicBezTo>
                      <a:pt x="44" y="19"/>
                      <a:pt x="42" y="16"/>
                      <a:pt x="42" y="14"/>
                    </a:cubicBezTo>
                    <a:cubicBezTo>
                      <a:pt x="42" y="12"/>
                      <a:pt x="44" y="9"/>
                      <a:pt x="45" y="7"/>
                    </a:cubicBezTo>
                    <a:cubicBezTo>
                      <a:pt x="46" y="6"/>
                      <a:pt x="48" y="3"/>
                      <a:pt x="50" y="3"/>
                    </a:cubicBezTo>
                    <a:cubicBezTo>
                      <a:pt x="52" y="2"/>
                      <a:pt x="57" y="2"/>
                      <a:pt x="59" y="1"/>
                    </a:cubicBezTo>
                    <a:cubicBezTo>
                      <a:pt x="59" y="0"/>
                      <a:pt x="60" y="0"/>
                      <a:pt x="61" y="0"/>
                    </a:cubicBezTo>
                    <a:cubicBezTo>
                      <a:pt x="61" y="1"/>
                      <a:pt x="62" y="3"/>
                      <a:pt x="63" y="4"/>
                    </a:cubicBezTo>
                    <a:cubicBezTo>
                      <a:pt x="63" y="5"/>
                      <a:pt x="64" y="8"/>
                      <a:pt x="64" y="9"/>
                    </a:cubicBezTo>
                    <a:cubicBezTo>
                      <a:pt x="63" y="10"/>
                      <a:pt x="62" y="12"/>
                      <a:pt x="61" y="13"/>
                    </a:cubicBezTo>
                    <a:cubicBezTo>
                      <a:pt x="61" y="14"/>
                      <a:pt x="61" y="17"/>
                      <a:pt x="62" y="18"/>
                    </a:cubicBezTo>
                    <a:cubicBezTo>
                      <a:pt x="63" y="19"/>
                      <a:pt x="66" y="20"/>
                      <a:pt x="68" y="20"/>
                    </a:cubicBezTo>
                    <a:cubicBezTo>
                      <a:pt x="68" y="20"/>
                      <a:pt x="70" y="18"/>
                      <a:pt x="71" y="18"/>
                    </a:cubicBezTo>
                    <a:cubicBezTo>
                      <a:pt x="72" y="18"/>
                      <a:pt x="73" y="19"/>
                      <a:pt x="74" y="20"/>
                    </a:cubicBezTo>
                    <a:cubicBezTo>
                      <a:pt x="74" y="21"/>
                      <a:pt x="74" y="23"/>
                      <a:pt x="74" y="24"/>
                    </a:cubicBezTo>
                    <a:cubicBezTo>
                      <a:pt x="74" y="25"/>
                      <a:pt x="73" y="27"/>
                      <a:pt x="73" y="28"/>
                    </a:cubicBezTo>
                    <a:cubicBezTo>
                      <a:pt x="72" y="29"/>
                      <a:pt x="71" y="29"/>
                      <a:pt x="70" y="29"/>
                    </a:cubicBezTo>
                    <a:cubicBezTo>
                      <a:pt x="70" y="30"/>
                      <a:pt x="69" y="34"/>
                      <a:pt x="70" y="35"/>
                    </a:cubicBezTo>
                    <a:cubicBezTo>
                      <a:pt x="70" y="36"/>
                      <a:pt x="74" y="36"/>
                      <a:pt x="75" y="37"/>
                    </a:cubicBezTo>
                    <a:cubicBezTo>
                      <a:pt x="76" y="38"/>
                      <a:pt x="77" y="40"/>
                      <a:pt x="78" y="41"/>
                    </a:cubicBezTo>
                    <a:cubicBezTo>
                      <a:pt x="79" y="42"/>
                      <a:pt x="82" y="44"/>
                      <a:pt x="83" y="45"/>
                    </a:cubicBezTo>
                    <a:cubicBezTo>
                      <a:pt x="84" y="46"/>
                      <a:pt x="85" y="49"/>
                      <a:pt x="85" y="49"/>
                    </a:cubicBezTo>
                    <a:cubicBezTo>
                      <a:pt x="87" y="50"/>
                      <a:pt x="90" y="51"/>
                      <a:pt x="91" y="51"/>
                    </a:cubicBezTo>
                    <a:cubicBezTo>
                      <a:pt x="92" y="51"/>
                      <a:pt x="94" y="48"/>
                      <a:pt x="95" y="47"/>
                    </a:cubicBezTo>
                    <a:cubicBezTo>
                      <a:pt x="96" y="46"/>
                      <a:pt x="99" y="45"/>
                      <a:pt x="100" y="44"/>
                    </a:cubicBezTo>
                    <a:cubicBezTo>
                      <a:pt x="101" y="44"/>
                      <a:pt x="104" y="45"/>
                      <a:pt x="106" y="45"/>
                    </a:cubicBezTo>
                    <a:cubicBezTo>
                      <a:pt x="108" y="46"/>
                      <a:pt x="111" y="49"/>
                      <a:pt x="113" y="50"/>
                    </a:cubicBezTo>
                    <a:cubicBezTo>
                      <a:pt x="114" y="51"/>
                      <a:pt x="116" y="51"/>
                      <a:pt x="116" y="52"/>
                    </a:cubicBezTo>
                    <a:cubicBezTo>
                      <a:pt x="117" y="53"/>
                      <a:pt x="119" y="55"/>
                      <a:pt x="119" y="56"/>
                    </a:cubicBezTo>
                    <a:cubicBezTo>
                      <a:pt x="119" y="58"/>
                      <a:pt x="118" y="60"/>
                      <a:pt x="119" y="62"/>
                    </a:cubicBezTo>
                    <a:cubicBezTo>
                      <a:pt x="119" y="63"/>
                      <a:pt x="120" y="65"/>
                      <a:pt x="121" y="66"/>
                    </a:cubicBezTo>
                    <a:cubicBezTo>
                      <a:pt x="121" y="68"/>
                      <a:pt x="123" y="70"/>
                      <a:pt x="124" y="71"/>
                    </a:cubicBezTo>
                    <a:cubicBezTo>
                      <a:pt x="125" y="72"/>
                      <a:pt x="124" y="75"/>
                      <a:pt x="125" y="76"/>
                    </a:cubicBezTo>
                    <a:cubicBezTo>
                      <a:pt x="126" y="77"/>
                      <a:pt x="129" y="79"/>
                      <a:pt x="130" y="80"/>
                    </a:cubicBezTo>
                    <a:cubicBezTo>
                      <a:pt x="132" y="80"/>
                      <a:pt x="135" y="82"/>
                      <a:pt x="136" y="82"/>
                    </a:cubicBezTo>
                    <a:cubicBezTo>
                      <a:pt x="138" y="82"/>
                      <a:pt x="141" y="80"/>
                      <a:pt x="142" y="80"/>
                    </a:cubicBezTo>
                    <a:cubicBezTo>
                      <a:pt x="144" y="80"/>
                      <a:pt x="147" y="80"/>
                      <a:pt x="148" y="81"/>
                    </a:cubicBezTo>
                    <a:cubicBezTo>
                      <a:pt x="149" y="82"/>
                      <a:pt x="149" y="84"/>
                      <a:pt x="150" y="85"/>
                    </a:cubicBezTo>
                    <a:cubicBezTo>
                      <a:pt x="150" y="86"/>
                      <a:pt x="150" y="89"/>
                      <a:pt x="149" y="90"/>
                    </a:cubicBezTo>
                    <a:cubicBezTo>
                      <a:pt x="149" y="91"/>
                      <a:pt x="147" y="92"/>
                      <a:pt x="147" y="93"/>
                    </a:cubicBezTo>
                    <a:cubicBezTo>
                      <a:pt x="147" y="94"/>
                      <a:pt x="147" y="96"/>
                      <a:pt x="148" y="97"/>
                    </a:cubicBezTo>
                    <a:cubicBezTo>
                      <a:pt x="148" y="98"/>
                      <a:pt x="151" y="100"/>
                      <a:pt x="152" y="100"/>
                    </a:cubicBezTo>
                    <a:cubicBezTo>
                      <a:pt x="153" y="100"/>
                      <a:pt x="154" y="97"/>
                      <a:pt x="155" y="97"/>
                    </a:cubicBezTo>
                    <a:cubicBezTo>
                      <a:pt x="156" y="96"/>
                      <a:pt x="159" y="96"/>
                      <a:pt x="160" y="96"/>
                    </a:cubicBezTo>
                    <a:cubicBezTo>
                      <a:pt x="161" y="97"/>
                      <a:pt x="162" y="100"/>
                      <a:pt x="161" y="101"/>
                    </a:cubicBezTo>
                    <a:cubicBezTo>
                      <a:pt x="161" y="102"/>
                      <a:pt x="160" y="104"/>
                      <a:pt x="160" y="105"/>
                    </a:cubicBezTo>
                    <a:cubicBezTo>
                      <a:pt x="159" y="106"/>
                      <a:pt x="160" y="109"/>
                      <a:pt x="161" y="109"/>
                    </a:cubicBezTo>
                    <a:cubicBezTo>
                      <a:pt x="162" y="110"/>
                      <a:pt x="165" y="110"/>
                      <a:pt x="166" y="110"/>
                    </a:cubicBezTo>
                    <a:cubicBezTo>
                      <a:pt x="167" y="109"/>
                      <a:pt x="168" y="107"/>
                      <a:pt x="169" y="106"/>
                    </a:cubicBezTo>
                    <a:cubicBezTo>
                      <a:pt x="171" y="105"/>
                      <a:pt x="175" y="104"/>
                      <a:pt x="176" y="103"/>
                    </a:cubicBezTo>
                    <a:cubicBezTo>
                      <a:pt x="177" y="102"/>
                      <a:pt x="179" y="100"/>
                      <a:pt x="179" y="99"/>
                    </a:cubicBezTo>
                    <a:cubicBezTo>
                      <a:pt x="179" y="98"/>
                      <a:pt x="178" y="96"/>
                      <a:pt x="178" y="95"/>
                    </a:cubicBezTo>
                    <a:cubicBezTo>
                      <a:pt x="178" y="94"/>
                      <a:pt x="179" y="90"/>
                      <a:pt x="180" y="89"/>
                    </a:cubicBezTo>
                    <a:cubicBezTo>
                      <a:pt x="180" y="88"/>
                      <a:pt x="183" y="88"/>
                      <a:pt x="184" y="88"/>
                    </a:cubicBezTo>
                    <a:cubicBezTo>
                      <a:pt x="185" y="88"/>
                      <a:pt x="187" y="90"/>
                      <a:pt x="188" y="90"/>
                    </a:cubicBezTo>
                    <a:cubicBezTo>
                      <a:pt x="189" y="90"/>
                      <a:pt x="192" y="90"/>
                      <a:pt x="193" y="89"/>
                    </a:cubicBezTo>
                    <a:cubicBezTo>
                      <a:pt x="194" y="88"/>
                      <a:pt x="195" y="86"/>
                      <a:pt x="195" y="85"/>
                    </a:cubicBezTo>
                    <a:cubicBezTo>
                      <a:pt x="195" y="83"/>
                      <a:pt x="194" y="81"/>
                      <a:pt x="193" y="80"/>
                    </a:cubicBezTo>
                    <a:cubicBezTo>
                      <a:pt x="193" y="79"/>
                      <a:pt x="192" y="76"/>
                      <a:pt x="192" y="75"/>
                    </a:cubicBezTo>
                    <a:cubicBezTo>
                      <a:pt x="192" y="74"/>
                      <a:pt x="193" y="72"/>
                      <a:pt x="194" y="72"/>
                    </a:cubicBezTo>
                    <a:cubicBezTo>
                      <a:pt x="195" y="71"/>
                      <a:pt x="198" y="70"/>
                      <a:pt x="199" y="70"/>
                    </a:cubicBezTo>
                    <a:cubicBezTo>
                      <a:pt x="200" y="70"/>
                      <a:pt x="203" y="72"/>
                      <a:pt x="204" y="72"/>
                    </a:cubicBezTo>
                    <a:cubicBezTo>
                      <a:pt x="205" y="71"/>
                      <a:pt x="208" y="70"/>
                      <a:pt x="209" y="69"/>
                    </a:cubicBezTo>
                    <a:cubicBezTo>
                      <a:pt x="210" y="68"/>
                      <a:pt x="210" y="65"/>
                      <a:pt x="211" y="64"/>
                    </a:cubicBezTo>
                    <a:cubicBezTo>
                      <a:pt x="212" y="63"/>
                      <a:pt x="216" y="61"/>
                      <a:pt x="217" y="60"/>
                    </a:cubicBezTo>
                    <a:cubicBezTo>
                      <a:pt x="219" y="58"/>
                      <a:pt x="219" y="54"/>
                      <a:pt x="220" y="52"/>
                    </a:cubicBezTo>
                    <a:cubicBezTo>
                      <a:pt x="220" y="52"/>
                      <a:pt x="222" y="50"/>
                      <a:pt x="223" y="50"/>
                    </a:cubicBezTo>
                    <a:cubicBezTo>
                      <a:pt x="224" y="50"/>
                      <a:pt x="226" y="51"/>
                      <a:pt x="227" y="52"/>
                    </a:cubicBezTo>
                    <a:cubicBezTo>
                      <a:pt x="228" y="53"/>
                      <a:pt x="229" y="56"/>
                      <a:pt x="231" y="56"/>
                    </a:cubicBezTo>
                    <a:cubicBezTo>
                      <a:pt x="232" y="56"/>
                      <a:pt x="234" y="54"/>
                      <a:pt x="235" y="53"/>
                    </a:cubicBezTo>
                    <a:cubicBezTo>
                      <a:pt x="235" y="52"/>
                      <a:pt x="236" y="50"/>
                      <a:pt x="236" y="49"/>
                    </a:cubicBezTo>
                    <a:cubicBezTo>
                      <a:pt x="237" y="47"/>
                      <a:pt x="239" y="45"/>
                      <a:pt x="240" y="44"/>
                    </a:cubicBezTo>
                    <a:cubicBezTo>
                      <a:pt x="242" y="42"/>
                      <a:pt x="247" y="41"/>
                      <a:pt x="250" y="41"/>
                    </a:cubicBezTo>
                    <a:cubicBezTo>
                      <a:pt x="252" y="41"/>
                      <a:pt x="256" y="43"/>
                      <a:pt x="258" y="42"/>
                    </a:cubicBezTo>
                    <a:cubicBezTo>
                      <a:pt x="259" y="42"/>
                      <a:pt x="260" y="39"/>
                      <a:pt x="261" y="38"/>
                    </a:cubicBezTo>
                    <a:cubicBezTo>
                      <a:pt x="261" y="36"/>
                      <a:pt x="262" y="33"/>
                      <a:pt x="263" y="31"/>
                    </a:cubicBezTo>
                    <a:cubicBezTo>
                      <a:pt x="263" y="30"/>
                      <a:pt x="266" y="28"/>
                      <a:pt x="266" y="27"/>
                    </a:cubicBezTo>
                    <a:cubicBezTo>
                      <a:pt x="266" y="26"/>
                      <a:pt x="267" y="24"/>
                      <a:pt x="267" y="22"/>
                    </a:cubicBezTo>
                    <a:cubicBezTo>
                      <a:pt x="268" y="22"/>
                      <a:pt x="269" y="22"/>
                      <a:pt x="269" y="22"/>
                    </a:cubicBezTo>
                    <a:cubicBezTo>
                      <a:pt x="271" y="22"/>
                      <a:pt x="273" y="20"/>
                      <a:pt x="275" y="20"/>
                    </a:cubicBezTo>
                    <a:cubicBezTo>
                      <a:pt x="276" y="21"/>
                      <a:pt x="277" y="22"/>
                      <a:pt x="278" y="22"/>
                    </a:cubicBezTo>
                    <a:cubicBezTo>
                      <a:pt x="279" y="23"/>
                      <a:pt x="282" y="25"/>
                      <a:pt x="283" y="26"/>
                    </a:cubicBezTo>
                    <a:cubicBezTo>
                      <a:pt x="284" y="27"/>
                      <a:pt x="284" y="30"/>
                      <a:pt x="285" y="31"/>
                    </a:cubicBezTo>
                    <a:cubicBezTo>
                      <a:pt x="286" y="32"/>
                      <a:pt x="289" y="33"/>
                      <a:pt x="290" y="33"/>
                    </a:cubicBezTo>
                    <a:cubicBezTo>
                      <a:pt x="291" y="33"/>
                      <a:pt x="292" y="32"/>
                      <a:pt x="293" y="32"/>
                    </a:cubicBezTo>
                    <a:cubicBezTo>
                      <a:pt x="293" y="32"/>
                      <a:pt x="293" y="32"/>
                      <a:pt x="294" y="32"/>
                    </a:cubicBezTo>
                    <a:cubicBezTo>
                      <a:pt x="294" y="33"/>
                      <a:pt x="294" y="35"/>
                      <a:pt x="294" y="36"/>
                    </a:cubicBezTo>
                    <a:cubicBezTo>
                      <a:pt x="294" y="38"/>
                      <a:pt x="296" y="40"/>
                      <a:pt x="297" y="41"/>
                    </a:cubicBezTo>
                    <a:cubicBezTo>
                      <a:pt x="297" y="42"/>
                      <a:pt x="297" y="45"/>
                      <a:pt x="297" y="46"/>
                    </a:cubicBezTo>
                    <a:cubicBezTo>
                      <a:pt x="296" y="47"/>
                      <a:pt x="294" y="48"/>
                      <a:pt x="294" y="49"/>
                    </a:cubicBezTo>
                    <a:cubicBezTo>
                      <a:pt x="293" y="49"/>
                      <a:pt x="293" y="52"/>
                      <a:pt x="292" y="53"/>
                    </a:cubicBezTo>
                    <a:cubicBezTo>
                      <a:pt x="291" y="54"/>
                      <a:pt x="287" y="55"/>
                      <a:pt x="284" y="56"/>
                    </a:cubicBezTo>
                    <a:cubicBezTo>
                      <a:pt x="283" y="56"/>
                      <a:pt x="281" y="55"/>
                      <a:pt x="280" y="55"/>
                    </a:cubicBezTo>
                    <a:cubicBezTo>
                      <a:pt x="277" y="56"/>
                      <a:pt x="273" y="58"/>
                      <a:pt x="270" y="59"/>
                    </a:cubicBezTo>
                    <a:cubicBezTo>
                      <a:pt x="268" y="59"/>
                      <a:pt x="263" y="60"/>
                      <a:pt x="262" y="62"/>
                    </a:cubicBezTo>
                    <a:cubicBezTo>
                      <a:pt x="261" y="62"/>
                      <a:pt x="260" y="65"/>
                      <a:pt x="260" y="66"/>
                    </a:cubicBezTo>
                    <a:cubicBezTo>
                      <a:pt x="261" y="67"/>
                      <a:pt x="262" y="69"/>
                      <a:pt x="263" y="69"/>
                    </a:cubicBezTo>
                    <a:cubicBezTo>
                      <a:pt x="264" y="70"/>
                      <a:pt x="267" y="70"/>
                      <a:pt x="268" y="71"/>
                    </a:cubicBezTo>
                    <a:cubicBezTo>
                      <a:pt x="269" y="71"/>
                      <a:pt x="272" y="73"/>
                      <a:pt x="272" y="75"/>
                    </a:cubicBezTo>
                    <a:cubicBezTo>
                      <a:pt x="271" y="76"/>
                      <a:pt x="269" y="77"/>
                      <a:pt x="268" y="77"/>
                    </a:cubicBezTo>
                    <a:cubicBezTo>
                      <a:pt x="267" y="78"/>
                      <a:pt x="263" y="78"/>
                      <a:pt x="262" y="79"/>
                    </a:cubicBezTo>
                    <a:cubicBezTo>
                      <a:pt x="260" y="80"/>
                      <a:pt x="258" y="83"/>
                      <a:pt x="258" y="84"/>
                    </a:cubicBezTo>
                    <a:cubicBezTo>
                      <a:pt x="258" y="85"/>
                      <a:pt x="258" y="87"/>
                      <a:pt x="259" y="88"/>
                    </a:cubicBezTo>
                    <a:cubicBezTo>
                      <a:pt x="260" y="89"/>
                      <a:pt x="262" y="88"/>
                      <a:pt x="263" y="88"/>
                    </a:cubicBezTo>
                    <a:cubicBezTo>
                      <a:pt x="264" y="89"/>
                      <a:pt x="266" y="90"/>
                      <a:pt x="267" y="91"/>
                    </a:cubicBezTo>
                    <a:cubicBezTo>
                      <a:pt x="268" y="93"/>
                      <a:pt x="268" y="96"/>
                      <a:pt x="268" y="98"/>
                    </a:cubicBezTo>
                    <a:cubicBezTo>
                      <a:pt x="268" y="99"/>
                      <a:pt x="267" y="102"/>
                      <a:pt x="267" y="104"/>
                    </a:cubicBezTo>
                    <a:cubicBezTo>
                      <a:pt x="267" y="106"/>
                      <a:pt x="268" y="109"/>
                      <a:pt x="269" y="110"/>
                    </a:cubicBezTo>
                    <a:cubicBezTo>
                      <a:pt x="270" y="111"/>
                      <a:pt x="272" y="113"/>
                      <a:pt x="273" y="114"/>
                    </a:cubicBezTo>
                    <a:cubicBezTo>
                      <a:pt x="275" y="115"/>
                      <a:pt x="280" y="116"/>
                      <a:pt x="282" y="118"/>
                    </a:cubicBezTo>
                    <a:cubicBezTo>
                      <a:pt x="283" y="119"/>
                      <a:pt x="284" y="123"/>
                      <a:pt x="284" y="125"/>
                    </a:cubicBezTo>
                    <a:cubicBezTo>
                      <a:pt x="285" y="127"/>
                      <a:pt x="284" y="129"/>
                      <a:pt x="284" y="130"/>
                    </a:cubicBezTo>
                    <a:cubicBezTo>
                      <a:pt x="285" y="131"/>
                      <a:pt x="287" y="132"/>
                      <a:pt x="288" y="133"/>
                    </a:cubicBezTo>
                    <a:cubicBezTo>
                      <a:pt x="289" y="134"/>
                      <a:pt x="291" y="136"/>
                      <a:pt x="292" y="137"/>
                    </a:cubicBezTo>
                    <a:cubicBezTo>
                      <a:pt x="293" y="138"/>
                      <a:pt x="294" y="141"/>
                      <a:pt x="294" y="143"/>
                    </a:cubicBezTo>
                    <a:cubicBezTo>
                      <a:pt x="294" y="144"/>
                      <a:pt x="293" y="147"/>
                      <a:pt x="292" y="148"/>
                    </a:cubicBezTo>
                    <a:cubicBezTo>
                      <a:pt x="291" y="149"/>
                      <a:pt x="289" y="149"/>
                      <a:pt x="288" y="149"/>
                    </a:cubicBezTo>
                    <a:cubicBezTo>
                      <a:pt x="286" y="149"/>
                      <a:pt x="284" y="148"/>
                      <a:pt x="283" y="148"/>
                    </a:cubicBezTo>
                    <a:cubicBezTo>
                      <a:pt x="282" y="147"/>
                      <a:pt x="281" y="143"/>
                      <a:pt x="280" y="143"/>
                    </a:cubicBezTo>
                    <a:cubicBezTo>
                      <a:pt x="279" y="142"/>
                      <a:pt x="276" y="140"/>
                      <a:pt x="275" y="140"/>
                    </a:cubicBezTo>
                    <a:cubicBezTo>
                      <a:pt x="274" y="140"/>
                      <a:pt x="272" y="141"/>
                      <a:pt x="271" y="142"/>
                    </a:cubicBezTo>
                    <a:cubicBezTo>
                      <a:pt x="269" y="143"/>
                      <a:pt x="267" y="145"/>
                      <a:pt x="266" y="146"/>
                    </a:cubicBezTo>
                    <a:cubicBezTo>
                      <a:pt x="265" y="147"/>
                      <a:pt x="264" y="149"/>
                      <a:pt x="263" y="150"/>
                    </a:cubicBezTo>
                    <a:cubicBezTo>
                      <a:pt x="261" y="151"/>
                      <a:pt x="257" y="151"/>
                      <a:pt x="255" y="151"/>
                    </a:cubicBezTo>
                    <a:cubicBezTo>
                      <a:pt x="254" y="151"/>
                      <a:pt x="250" y="149"/>
                      <a:pt x="249" y="150"/>
                    </a:cubicBezTo>
                    <a:cubicBezTo>
                      <a:pt x="247" y="150"/>
                      <a:pt x="245" y="152"/>
                      <a:pt x="245" y="153"/>
                    </a:cubicBezTo>
                    <a:cubicBezTo>
                      <a:pt x="244" y="154"/>
                      <a:pt x="244" y="157"/>
                      <a:pt x="245" y="158"/>
                    </a:cubicBezTo>
                    <a:cubicBezTo>
                      <a:pt x="245" y="158"/>
                      <a:pt x="247" y="159"/>
                      <a:pt x="248" y="159"/>
                    </a:cubicBezTo>
                    <a:cubicBezTo>
                      <a:pt x="249" y="161"/>
                      <a:pt x="250" y="164"/>
                      <a:pt x="250" y="166"/>
                    </a:cubicBezTo>
                    <a:cubicBezTo>
                      <a:pt x="251" y="168"/>
                      <a:pt x="250" y="171"/>
                      <a:pt x="251" y="172"/>
                    </a:cubicBezTo>
                    <a:cubicBezTo>
                      <a:pt x="251" y="174"/>
                      <a:pt x="253" y="178"/>
                      <a:pt x="254" y="180"/>
                    </a:cubicBezTo>
                    <a:cubicBezTo>
                      <a:pt x="256" y="181"/>
                      <a:pt x="259" y="181"/>
                      <a:pt x="261" y="181"/>
                    </a:cubicBezTo>
                    <a:cubicBezTo>
                      <a:pt x="262" y="181"/>
                      <a:pt x="265" y="179"/>
                      <a:pt x="266" y="179"/>
                    </a:cubicBezTo>
                    <a:cubicBezTo>
                      <a:pt x="267" y="180"/>
                      <a:pt x="270" y="181"/>
                      <a:pt x="272" y="182"/>
                    </a:cubicBezTo>
                    <a:cubicBezTo>
                      <a:pt x="273" y="183"/>
                      <a:pt x="273" y="187"/>
                      <a:pt x="274" y="188"/>
                    </a:cubicBezTo>
                    <a:cubicBezTo>
                      <a:pt x="275" y="189"/>
                      <a:pt x="278" y="191"/>
                      <a:pt x="279" y="191"/>
                    </a:cubicBezTo>
                    <a:cubicBezTo>
                      <a:pt x="281" y="192"/>
                      <a:pt x="285" y="191"/>
                      <a:pt x="287" y="191"/>
                    </a:cubicBezTo>
                    <a:cubicBezTo>
                      <a:pt x="288" y="191"/>
                      <a:pt x="291" y="191"/>
                      <a:pt x="293" y="192"/>
                    </a:cubicBezTo>
                    <a:cubicBezTo>
                      <a:pt x="295" y="192"/>
                      <a:pt x="298" y="196"/>
                      <a:pt x="299" y="198"/>
                    </a:cubicBezTo>
                    <a:cubicBezTo>
                      <a:pt x="300" y="199"/>
                      <a:pt x="301" y="202"/>
                      <a:pt x="301" y="204"/>
                    </a:cubicBezTo>
                    <a:cubicBezTo>
                      <a:pt x="301" y="205"/>
                      <a:pt x="298" y="207"/>
                      <a:pt x="297" y="208"/>
                    </a:cubicBezTo>
                    <a:cubicBezTo>
                      <a:pt x="297" y="210"/>
                      <a:pt x="299" y="212"/>
                      <a:pt x="300" y="213"/>
                    </a:cubicBezTo>
                    <a:cubicBezTo>
                      <a:pt x="301" y="214"/>
                      <a:pt x="303" y="216"/>
                      <a:pt x="305" y="216"/>
                    </a:cubicBezTo>
                    <a:cubicBezTo>
                      <a:pt x="306" y="216"/>
                      <a:pt x="310" y="216"/>
                      <a:pt x="311" y="215"/>
                    </a:cubicBezTo>
                    <a:cubicBezTo>
                      <a:pt x="313" y="215"/>
                      <a:pt x="315" y="212"/>
                      <a:pt x="316" y="212"/>
                    </a:cubicBezTo>
                    <a:cubicBezTo>
                      <a:pt x="318" y="212"/>
                      <a:pt x="321" y="214"/>
                      <a:pt x="322" y="215"/>
                    </a:cubicBezTo>
                    <a:cubicBezTo>
                      <a:pt x="323" y="216"/>
                      <a:pt x="326" y="218"/>
                      <a:pt x="327" y="220"/>
                    </a:cubicBezTo>
                    <a:cubicBezTo>
                      <a:pt x="328" y="221"/>
                      <a:pt x="328" y="225"/>
                      <a:pt x="329" y="227"/>
                    </a:cubicBezTo>
                    <a:cubicBezTo>
                      <a:pt x="330" y="228"/>
                      <a:pt x="332" y="231"/>
                      <a:pt x="334" y="231"/>
                    </a:cubicBezTo>
                    <a:cubicBezTo>
                      <a:pt x="335" y="231"/>
                      <a:pt x="336" y="227"/>
                      <a:pt x="337" y="226"/>
                    </a:cubicBezTo>
                    <a:cubicBezTo>
                      <a:pt x="337" y="226"/>
                      <a:pt x="339" y="226"/>
                      <a:pt x="340" y="225"/>
                    </a:cubicBezTo>
                    <a:cubicBezTo>
                      <a:pt x="341" y="224"/>
                      <a:pt x="340" y="222"/>
                      <a:pt x="340" y="221"/>
                    </a:cubicBezTo>
                    <a:cubicBezTo>
                      <a:pt x="341" y="219"/>
                      <a:pt x="343" y="217"/>
                      <a:pt x="345" y="216"/>
                    </a:cubicBezTo>
                    <a:cubicBezTo>
                      <a:pt x="347" y="216"/>
                      <a:pt x="350" y="217"/>
                      <a:pt x="351" y="218"/>
                    </a:cubicBezTo>
                    <a:cubicBezTo>
                      <a:pt x="353" y="219"/>
                      <a:pt x="356" y="222"/>
                      <a:pt x="358" y="223"/>
                    </a:cubicBezTo>
                    <a:cubicBezTo>
                      <a:pt x="359" y="225"/>
                      <a:pt x="360" y="231"/>
                      <a:pt x="362" y="233"/>
                    </a:cubicBezTo>
                    <a:cubicBezTo>
                      <a:pt x="364" y="235"/>
                      <a:pt x="367" y="236"/>
                      <a:pt x="369" y="237"/>
                    </a:cubicBezTo>
                    <a:cubicBezTo>
                      <a:pt x="371" y="237"/>
                      <a:pt x="375" y="236"/>
                      <a:pt x="377" y="235"/>
                    </a:cubicBezTo>
                    <a:cubicBezTo>
                      <a:pt x="378" y="234"/>
                      <a:pt x="379" y="231"/>
                      <a:pt x="380" y="230"/>
                    </a:cubicBezTo>
                    <a:cubicBezTo>
                      <a:pt x="381" y="229"/>
                      <a:pt x="382" y="227"/>
                      <a:pt x="384" y="227"/>
                    </a:cubicBezTo>
                    <a:cubicBezTo>
                      <a:pt x="384" y="227"/>
                      <a:pt x="386" y="228"/>
                      <a:pt x="387" y="229"/>
                    </a:cubicBezTo>
                    <a:cubicBezTo>
                      <a:pt x="389" y="230"/>
                      <a:pt x="390" y="233"/>
                      <a:pt x="391" y="234"/>
                    </a:cubicBezTo>
                    <a:cubicBezTo>
                      <a:pt x="392" y="236"/>
                      <a:pt x="393" y="239"/>
                      <a:pt x="394" y="240"/>
                    </a:cubicBezTo>
                    <a:cubicBezTo>
                      <a:pt x="396" y="242"/>
                      <a:pt x="401" y="245"/>
                      <a:pt x="402" y="247"/>
                    </a:cubicBezTo>
                    <a:cubicBezTo>
                      <a:pt x="402" y="247"/>
                      <a:pt x="402" y="247"/>
                      <a:pt x="402" y="247"/>
                    </a:cubicBezTo>
                    <a:cubicBezTo>
                      <a:pt x="404" y="250"/>
                      <a:pt x="405" y="256"/>
                      <a:pt x="405" y="259"/>
                    </a:cubicBezTo>
                    <a:cubicBezTo>
                      <a:pt x="405" y="262"/>
                      <a:pt x="404" y="268"/>
                      <a:pt x="403" y="270"/>
                    </a:cubicBezTo>
                    <a:cubicBezTo>
                      <a:pt x="402" y="272"/>
                      <a:pt x="399" y="273"/>
                      <a:pt x="398" y="275"/>
                    </a:cubicBezTo>
                    <a:cubicBezTo>
                      <a:pt x="397" y="277"/>
                      <a:pt x="395" y="281"/>
                      <a:pt x="395" y="283"/>
                    </a:cubicBezTo>
                    <a:cubicBezTo>
                      <a:pt x="395" y="284"/>
                      <a:pt x="395" y="287"/>
                      <a:pt x="395" y="289"/>
                    </a:cubicBezTo>
                    <a:cubicBezTo>
                      <a:pt x="395" y="290"/>
                      <a:pt x="395" y="290"/>
                      <a:pt x="395" y="290"/>
                    </a:cubicBezTo>
                    <a:cubicBezTo>
                      <a:pt x="394" y="293"/>
                      <a:pt x="391" y="296"/>
                      <a:pt x="390" y="298"/>
                    </a:cubicBezTo>
                    <a:cubicBezTo>
                      <a:pt x="389" y="300"/>
                      <a:pt x="387" y="304"/>
                      <a:pt x="386" y="306"/>
                    </a:cubicBezTo>
                    <a:cubicBezTo>
                      <a:pt x="386" y="308"/>
                      <a:pt x="385" y="313"/>
                      <a:pt x="385" y="316"/>
                    </a:cubicBezTo>
                    <a:cubicBezTo>
                      <a:pt x="384" y="318"/>
                      <a:pt x="385" y="323"/>
                      <a:pt x="384" y="325"/>
                    </a:cubicBezTo>
                    <a:cubicBezTo>
                      <a:pt x="384" y="328"/>
                      <a:pt x="381" y="332"/>
                      <a:pt x="379" y="334"/>
                    </a:cubicBezTo>
                    <a:cubicBezTo>
                      <a:pt x="378" y="335"/>
                      <a:pt x="375" y="336"/>
                      <a:pt x="373" y="337"/>
                    </a:cubicBezTo>
                    <a:cubicBezTo>
                      <a:pt x="372" y="338"/>
                      <a:pt x="368" y="339"/>
                      <a:pt x="367" y="341"/>
                    </a:cubicBezTo>
                    <a:cubicBezTo>
                      <a:pt x="366" y="339"/>
                      <a:pt x="364" y="338"/>
                      <a:pt x="362" y="337"/>
                    </a:cubicBezTo>
                    <a:cubicBezTo>
                      <a:pt x="362" y="336"/>
                      <a:pt x="360" y="335"/>
                      <a:pt x="359" y="335"/>
                    </a:cubicBezTo>
                    <a:cubicBezTo>
                      <a:pt x="357" y="335"/>
                      <a:pt x="355" y="337"/>
                      <a:pt x="353" y="337"/>
                    </a:cubicBezTo>
                    <a:cubicBezTo>
                      <a:pt x="352" y="337"/>
                      <a:pt x="351" y="336"/>
                      <a:pt x="350" y="336"/>
                    </a:cubicBezTo>
                    <a:cubicBezTo>
                      <a:pt x="349" y="336"/>
                      <a:pt x="347" y="335"/>
                      <a:pt x="345" y="335"/>
                    </a:cubicBezTo>
                    <a:cubicBezTo>
                      <a:pt x="344" y="335"/>
                      <a:pt x="343" y="337"/>
                      <a:pt x="342" y="337"/>
                    </a:cubicBezTo>
                    <a:cubicBezTo>
                      <a:pt x="341" y="338"/>
                      <a:pt x="338" y="340"/>
                      <a:pt x="338" y="341"/>
                    </a:cubicBezTo>
                    <a:cubicBezTo>
                      <a:pt x="339" y="342"/>
                      <a:pt x="342" y="342"/>
                      <a:pt x="342" y="343"/>
                    </a:cubicBezTo>
                    <a:cubicBezTo>
                      <a:pt x="342" y="343"/>
                      <a:pt x="341" y="345"/>
                      <a:pt x="341" y="346"/>
                    </a:cubicBezTo>
                    <a:cubicBezTo>
                      <a:pt x="340" y="347"/>
                      <a:pt x="336" y="348"/>
                      <a:pt x="335" y="348"/>
                    </a:cubicBezTo>
                    <a:cubicBezTo>
                      <a:pt x="334" y="348"/>
                      <a:pt x="332" y="346"/>
                      <a:pt x="331" y="346"/>
                    </a:cubicBezTo>
                    <a:cubicBezTo>
                      <a:pt x="330" y="345"/>
                      <a:pt x="329" y="343"/>
                      <a:pt x="328" y="343"/>
                    </a:cubicBezTo>
                    <a:cubicBezTo>
                      <a:pt x="327" y="342"/>
                      <a:pt x="324" y="343"/>
                      <a:pt x="323" y="342"/>
                    </a:cubicBezTo>
                    <a:cubicBezTo>
                      <a:pt x="322" y="342"/>
                      <a:pt x="321" y="341"/>
                      <a:pt x="320" y="340"/>
                    </a:cubicBezTo>
                    <a:cubicBezTo>
                      <a:pt x="319" y="339"/>
                      <a:pt x="316" y="336"/>
                      <a:pt x="314" y="335"/>
                    </a:cubicBezTo>
                    <a:cubicBezTo>
                      <a:pt x="312" y="334"/>
                      <a:pt x="307" y="335"/>
                      <a:pt x="305" y="334"/>
                    </a:cubicBezTo>
                    <a:cubicBezTo>
                      <a:pt x="303" y="333"/>
                      <a:pt x="300" y="332"/>
                      <a:pt x="298" y="331"/>
                    </a:cubicBezTo>
                    <a:cubicBezTo>
                      <a:pt x="296" y="331"/>
                      <a:pt x="291" y="331"/>
                      <a:pt x="289" y="331"/>
                    </a:cubicBezTo>
                    <a:cubicBezTo>
                      <a:pt x="286" y="331"/>
                      <a:pt x="280" y="332"/>
                      <a:pt x="277" y="333"/>
                    </a:cubicBezTo>
                    <a:cubicBezTo>
                      <a:pt x="274" y="334"/>
                      <a:pt x="269" y="337"/>
                      <a:pt x="267" y="339"/>
                    </a:cubicBezTo>
                    <a:cubicBezTo>
                      <a:pt x="266" y="339"/>
                      <a:pt x="263" y="340"/>
                      <a:pt x="263" y="341"/>
                    </a:cubicBezTo>
                    <a:cubicBezTo>
                      <a:pt x="262" y="342"/>
                      <a:pt x="263" y="343"/>
                      <a:pt x="263" y="344"/>
                    </a:cubicBezTo>
                    <a:cubicBezTo>
                      <a:pt x="262" y="345"/>
                      <a:pt x="261" y="348"/>
                      <a:pt x="260" y="348"/>
                    </a:cubicBezTo>
                    <a:cubicBezTo>
                      <a:pt x="259" y="349"/>
                      <a:pt x="256" y="348"/>
                      <a:pt x="255" y="347"/>
                    </a:cubicBezTo>
                    <a:cubicBezTo>
                      <a:pt x="253" y="347"/>
                      <a:pt x="250" y="345"/>
                      <a:pt x="249" y="344"/>
                    </a:cubicBezTo>
                    <a:cubicBezTo>
                      <a:pt x="248" y="342"/>
                      <a:pt x="248" y="339"/>
                      <a:pt x="247" y="338"/>
                    </a:cubicBezTo>
                    <a:cubicBezTo>
                      <a:pt x="246" y="336"/>
                      <a:pt x="245" y="331"/>
                      <a:pt x="244" y="329"/>
                    </a:cubicBezTo>
                    <a:cubicBezTo>
                      <a:pt x="242" y="327"/>
                      <a:pt x="237" y="323"/>
                      <a:pt x="234" y="321"/>
                    </a:cubicBezTo>
                    <a:cubicBezTo>
                      <a:pt x="232" y="319"/>
                      <a:pt x="227" y="315"/>
                      <a:pt x="224" y="314"/>
                    </a:cubicBezTo>
                    <a:cubicBezTo>
                      <a:pt x="222" y="313"/>
                      <a:pt x="217" y="312"/>
                      <a:pt x="215" y="311"/>
                    </a:cubicBezTo>
                    <a:cubicBezTo>
                      <a:pt x="213" y="310"/>
                      <a:pt x="209" y="309"/>
                      <a:pt x="208" y="309"/>
                    </a:cubicBezTo>
                    <a:cubicBezTo>
                      <a:pt x="206" y="309"/>
                      <a:pt x="204" y="310"/>
                      <a:pt x="203" y="310"/>
                    </a:cubicBezTo>
                    <a:cubicBezTo>
                      <a:pt x="202" y="310"/>
                      <a:pt x="201" y="309"/>
                      <a:pt x="200" y="309"/>
                    </a:cubicBezTo>
                    <a:cubicBezTo>
                      <a:pt x="199" y="307"/>
                      <a:pt x="198" y="304"/>
                      <a:pt x="196" y="303"/>
                    </a:cubicBezTo>
                    <a:cubicBezTo>
                      <a:pt x="194" y="302"/>
                      <a:pt x="190" y="301"/>
                      <a:pt x="188" y="302"/>
                    </a:cubicBezTo>
                    <a:cubicBezTo>
                      <a:pt x="187" y="302"/>
                      <a:pt x="184" y="303"/>
                      <a:pt x="183" y="303"/>
                    </a:cubicBezTo>
                    <a:cubicBezTo>
                      <a:pt x="182" y="303"/>
                      <a:pt x="180" y="303"/>
                      <a:pt x="179" y="303"/>
                    </a:cubicBezTo>
                    <a:cubicBezTo>
                      <a:pt x="177" y="302"/>
                      <a:pt x="174" y="296"/>
                      <a:pt x="173" y="294"/>
                    </a:cubicBezTo>
                    <a:cubicBezTo>
                      <a:pt x="171" y="290"/>
                      <a:pt x="166" y="281"/>
                      <a:pt x="163" y="277"/>
                    </a:cubicBezTo>
                    <a:cubicBezTo>
                      <a:pt x="161" y="273"/>
                      <a:pt x="155" y="266"/>
                      <a:pt x="152" y="263"/>
                    </a:cubicBezTo>
                    <a:cubicBezTo>
                      <a:pt x="149" y="260"/>
                      <a:pt x="143" y="254"/>
                      <a:pt x="139" y="251"/>
                    </a:cubicBezTo>
                    <a:cubicBezTo>
                      <a:pt x="137" y="249"/>
                      <a:pt x="132" y="244"/>
                      <a:pt x="128" y="242"/>
                    </a:cubicBezTo>
                    <a:cubicBezTo>
                      <a:pt x="126" y="241"/>
                      <a:pt x="119" y="240"/>
                      <a:pt x="116" y="238"/>
                    </a:cubicBezTo>
                    <a:cubicBezTo>
                      <a:pt x="114" y="238"/>
                      <a:pt x="111" y="237"/>
                      <a:pt x="110" y="235"/>
                    </a:cubicBezTo>
                    <a:cubicBezTo>
                      <a:pt x="109" y="234"/>
                      <a:pt x="110" y="232"/>
                      <a:pt x="110" y="231"/>
                    </a:cubicBezTo>
                    <a:cubicBezTo>
                      <a:pt x="110" y="229"/>
                      <a:pt x="108" y="227"/>
                      <a:pt x="108" y="225"/>
                    </a:cubicBezTo>
                    <a:cubicBezTo>
                      <a:pt x="107" y="223"/>
                      <a:pt x="108" y="219"/>
                      <a:pt x="108" y="217"/>
                    </a:cubicBezTo>
                    <a:cubicBezTo>
                      <a:pt x="107" y="214"/>
                      <a:pt x="104" y="209"/>
                      <a:pt x="103" y="206"/>
                    </a:cubicBezTo>
                    <a:cubicBezTo>
                      <a:pt x="102" y="204"/>
                      <a:pt x="100" y="198"/>
                      <a:pt x="97" y="196"/>
                    </a:cubicBezTo>
                    <a:cubicBezTo>
                      <a:pt x="95" y="193"/>
                      <a:pt x="88" y="191"/>
                      <a:pt x="85" y="189"/>
                    </a:cubicBezTo>
                    <a:cubicBezTo>
                      <a:pt x="82" y="187"/>
                      <a:pt x="78" y="181"/>
                      <a:pt x="75" y="178"/>
                    </a:cubicBezTo>
                    <a:cubicBezTo>
                      <a:pt x="73" y="177"/>
                      <a:pt x="68" y="173"/>
                      <a:pt x="66" y="171"/>
                    </a:cubicBezTo>
                    <a:cubicBezTo>
                      <a:pt x="64" y="171"/>
                      <a:pt x="61" y="169"/>
                      <a:pt x="60" y="169"/>
                    </a:cubicBezTo>
                    <a:cubicBezTo>
                      <a:pt x="58" y="169"/>
                      <a:pt x="54" y="171"/>
                      <a:pt x="52" y="171"/>
                    </a:cubicBezTo>
                    <a:cubicBezTo>
                      <a:pt x="51" y="171"/>
                      <a:pt x="49" y="171"/>
                      <a:pt x="48" y="171"/>
                    </a:cubicBezTo>
                    <a:cubicBezTo>
                      <a:pt x="47" y="170"/>
                      <a:pt x="46" y="167"/>
                      <a:pt x="45" y="166"/>
                    </a:cubicBezTo>
                    <a:cubicBezTo>
                      <a:pt x="44" y="164"/>
                      <a:pt x="43" y="161"/>
                      <a:pt x="42" y="159"/>
                    </a:cubicBezTo>
                    <a:cubicBezTo>
                      <a:pt x="40" y="157"/>
                      <a:pt x="37" y="153"/>
                      <a:pt x="35" y="151"/>
                    </a:cubicBezTo>
                    <a:cubicBezTo>
                      <a:pt x="34" y="149"/>
                      <a:pt x="32" y="146"/>
                      <a:pt x="32" y="144"/>
                    </a:cubicBezTo>
                    <a:cubicBezTo>
                      <a:pt x="31" y="144"/>
                      <a:pt x="32" y="142"/>
                      <a:pt x="32" y="141"/>
                    </a:cubicBezTo>
                    <a:cubicBezTo>
                      <a:pt x="31" y="140"/>
                      <a:pt x="28" y="139"/>
                      <a:pt x="28" y="138"/>
                    </a:cubicBezTo>
                    <a:cubicBezTo>
                      <a:pt x="27" y="137"/>
                      <a:pt x="28" y="135"/>
                      <a:pt x="27" y="134"/>
                    </a:cubicBezTo>
                    <a:cubicBezTo>
                      <a:pt x="27" y="132"/>
                      <a:pt x="24" y="129"/>
                      <a:pt x="23" y="127"/>
                    </a:cubicBezTo>
                    <a:cubicBezTo>
                      <a:pt x="23" y="125"/>
                      <a:pt x="22" y="122"/>
                      <a:pt x="21" y="120"/>
                    </a:cubicBezTo>
                    <a:cubicBezTo>
                      <a:pt x="20" y="118"/>
                      <a:pt x="17" y="115"/>
                      <a:pt x="15" y="113"/>
                    </a:cubicBezTo>
                    <a:cubicBezTo>
                      <a:pt x="12" y="111"/>
                      <a:pt x="5" y="106"/>
                      <a:pt x="2" y="104"/>
                    </a:cubicBezTo>
                    <a:cubicBezTo>
                      <a:pt x="2" y="104"/>
                      <a:pt x="1" y="104"/>
                      <a:pt x="0" y="103"/>
                    </a:cubicBezTo>
                    <a:cubicBezTo>
                      <a:pt x="2" y="102"/>
                      <a:pt x="3" y="100"/>
                      <a:pt x="4" y="99"/>
                    </a:cubicBezTo>
                    <a:cubicBezTo>
                      <a:pt x="5" y="98"/>
                      <a:pt x="9" y="98"/>
                      <a:pt x="11" y="97"/>
                    </a:cubicBezTo>
                    <a:cubicBezTo>
                      <a:pt x="13" y="97"/>
                      <a:pt x="16" y="97"/>
                      <a:pt x="17" y="96"/>
                    </a:cubicBezTo>
                    <a:cubicBezTo>
                      <a:pt x="19" y="95"/>
                      <a:pt x="22" y="94"/>
                      <a:pt x="23" y="92"/>
                    </a:cubicBezTo>
                    <a:cubicBezTo>
                      <a:pt x="24" y="91"/>
                      <a:pt x="26" y="88"/>
                      <a:pt x="25" y="86"/>
                    </a:cubicBezTo>
                    <a:cubicBezTo>
                      <a:pt x="25" y="84"/>
                      <a:pt x="22" y="82"/>
                      <a:pt x="21" y="81"/>
                    </a:cubicBezTo>
                    <a:cubicBezTo>
                      <a:pt x="19" y="80"/>
                      <a:pt x="16" y="82"/>
                      <a:pt x="14" y="81"/>
                    </a:cubicBezTo>
                    <a:cubicBezTo>
                      <a:pt x="13" y="80"/>
                      <a:pt x="12" y="77"/>
                      <a:pt x="12" y="76"/>
                    </a:cubicBezTo>
                    <a:cubicBezTo>
                      <a:pt x="12" y="74"/>
                      <a:pt x="15" y="72"/>
                      <a:pt x="17" y="71"/>
                    </a:cubicBezTo>
                    <a:cubicBezTo>
                      <a:pt x="18" y="71"/>
                      <a:pt x="22" y="71"/>
                      <a:pt x="24" y="70"/>
                    </a:cubicBezTo>
                    <a:cubicBezTo>
                      <a:pt x="27" y="70"/>
                      <a:pt x="34" y="68"/>
                      <a:pt x="35" y="68"/>
                    </a:cubicBezTo>
                    <a:close/>
                    <a:moveTo>
                      <a:pt x="35" y="68"/>
                    </a:moveTo>
                    <a:cubicBezTo>
                      <a:pt x="35" y="68"/>
                      <a:pt x="35" y="68"/>
                      <a:pt x="35" y="68"/>
                    </a:cubicBezTo>
                    <a:cubicBezTo>
                      <a:pt x="35" y="68"/>
                      <a:pt x="35" y="68"/>
                      <a:pt x="35" y="6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37">
                <a:extLst>
                  <a:ext uri="{FF2B5EF4-FFF2-40B4-BE49-F238E27FC236}">
                    <a16:creationId xmlns:a16="http://schemas.microsoft.com/office/drawing/2014/main" id="{9822B797-7BAE-48EF-B992-592B15DFEC37}"/>
                  </a:ext>
                </a:extLst>
              </p:cNvPr>
              <p:cNvSpPr>
                <a:spLocks/>
              </p:cNvSpPr>
              <p:nvPr/>
            </p:nvSpPr>
            <p:spPr bwMode="auto">
              <a:xfrm>
                <a:off x="6639064" y="4172367"/>
                <a:ext cx="422858" cy="773889"/>
              </a:xfrm>
              <a:custGeom>
                <a:avLst/>
                <a:gdLst/>
                <a:ahLst/>
                <a:cxnLst>
                  <a:cxn ang="0">
                    <a:pos x="101" y="509"/>
                  </a:cxn>
                  <a:cxn ang="0">
                    <a:pos x="81" y="510"/>
                  </a:cxn>
                  <a:cxn ang="0">
                    <a:pos x="73" y="512"/>
                  </a:cxn>
                  <a:cxn ang="0">
                    <a:pos x="71" y="495"/>
                  </a:cxn>
                  <a:cxn ang="0">
                    <a:pos x="59" y="472"/>
                  </a:cxn>
                  <a:cxn ang="0">
                    <a:pos x="44" y="456"/>
                  </a:cxn>
                  <a:cxn ang="0">
                    <a:pos x="45" y="422"/>
                  </a:cxn>
                  <a:cxn ang="0">
                    <a:pos x="40" y="393"/>
                  </a:cxn>
                  <a:cxn ang="0">
                    <a:pos x="49" y="363"/>
                  </a:cxn>
                  <a:cxn ang="0">
                    <a:pos x="47" y="327"/>
                  </a:cxn>
                  <a:cxn ang="0">
                    <a:pos x="66" y="338"/>
                  </a:cxn>
                  <a:cxn ang="0">
                    <a:pos x="64" y="321"/>
                  </a:cxn>
                  <a:cxn ang="0">
                    <a:pos x="65" y="301"/>
                  </a:cxn>
                  <a:cxn ang="0">
                    <a:pos x="69" y="289"/>
                  </a:cxn>
                  <a:cxn ang="0">
                    <a:pos x="49" y="292"/>
                  </a:cxn>
                  <a:cxn ang="0">
                    <a:pos x="40" y="278"/>
                  </a:cxn>
                  <a:cxn ang="0">
                    <a:pos x="48" y="259"/>
                  </a:cxn>
                  <a:cxn ang="0">
                    <a:pos x="53" y="229"/>
                  </a:cxn>
                  <a:cxn ang="0">
                    <a:pos x="48" y="201"/>
                  </a:cxn>
                  <a:cxn ang="0">
                    <a:pos x="39" y="164"/>
                  </a:cxn>
                  <a:cxn ang="0">
                    <a:pos x="21" y="143"/>
                  </a:cxn>
                  <a:cxn ang="0">
                    <a:pos x="12" y="135"/>
                  </a:cxn>
                  <a:cxn ang="0">
                    <a:pos x="1" y="135"/>
                  </a:cxn>
                  <a:cxn ang="0">
                    <a:pos x="2" y="114"/>
                  </a:cxn>
                  <a:cxn ang="0">
                    <a:pos x="14" y="81"/>
                  </a:cxn>
                  <a:cxn ang="0">
                    <a:pos x="15" y="61"/>
                  </a:cxn>
                  <a:cxn ang="0">
                    <a:pos x="34" y="84"/>
                  </a:cxn>
                  <a:cxn ang="0">
                    <a:pos x="79" y="87"/>
                  </a:cxn>
                  <a:cxn ang="0">
                    <a:pos x="121" y="60"/>
                  </a:cxn>
                  <a:cxn ang="0">
                    <a:pos x="156" y="28"/>
                  </a:cxn>
                  <a:cxn ang="0">
                    <a:pos x="168" y="3"/>
                  </a:cxn>
                  <a:cxn ang="0">
                    <a:pos x="188" y="8"/>
                  </a:cxn>
                  <a:cxn ang="0">
                    <a:pos x="194" y="16"/>
                  </a:cxn>
                  <a:cxn ang="0">
                    <a:pos x="209" y="19"/>
                  </a:cxn>
                  <a:cxn ang="0">
                    <a:pos x="221" y="27"/>
                  </a:cxn>
                  <a:cxn ang="0">
                    <a:pos x="231" y="38"/>
                  </a:cxn>
                  <a:cxn ang="0">
                    <a:pos x="236" y="52"/>
                  </a:cxn>
                  <a:cxn ang="0">
                    <a:pos x="249" y="58"/>
                  </a:cxn>
                  <a:cxn ang="0">
                    <a:pos x="228" y="71"/>
                  </a:cxn>
                  <a:cxn ang="0">
                    <a:pos x="247" y="78"/>
                  </a:cxn>
                  <a:cxn ang="0">
                    <a:pos x="259" y="91"/>
                  </a:cxn>
                  <a:cxn ang="0">
                    <a:pos x="253" y="101"/>
                  </a:cxn>
                  <a:cxn ang="0">
                    <a:pos x="267" y="131"/>
                  </a:cxn>
                  <a:cxn ang="0">
                    <a:pos x="280" y="161"/>
                  </a:cxn>
                  <a:cxn ang="0">
                    <a:pos x="255" y="198"/>
                  </a:cxn>
                  <a:cxn ang="0">
                    <a:pos x="262" y="260"/>
                  </a:cxn>
                  <a:cxn ang="0">
                    <a:pos x="255" y="293"/>
                  </a:cxn>
                  <a:cxn ang="0">
                    <a:pos x="254" y="334"/>
                  </a:cxn>
                  <a:cxn ang="0">
                    <a:pos x="247" y="385"/>
                  </a:cxn>
                  <a:cxn ang="0">
                    <a:pos x="243" y="422"/>
                  </a:cxn>
                  <a:cxn ang="0">
                    <a:pos x="237" y="449"/>
                  </a:cxn>
                  <a:cxn ang="0">
                    <a:pos x="225" y="464"/>
                  </a:cxn>
                  <a:cxn ang="0">
                    <a:pos x="202" y="454"/>
                  </a:cxn>
                  <a:cxn ang="0">
                    <a:pos x="170" y="442"/>
                  </a:cxn>
                  <a:cxn ang="0">
                    <a:pos x="148" y="451"/>
                  </a:cxn>
                  <a:cxn ang="0">
                    <a:pos x="142" y="484"/>
                  </a:cxn>
                  <a:cxn ang="0">
                    <a:pos x="126" y="505"/>
                  </a:cxn>
                </a:cxnLst>
                <a:rect l="0" t="0" r="r" b="b"/>
                <a:pathLst>
                  <a:path w="280" h="519">
                    <a:moveTo>
                      <a:pt x="116" y="513"/>
                    </a:moveTo>
                    <a:cubicBezTo>
                      <a:pt x="116" y="514"/>
                      <a:pt x="114" y="514"/>
                      <a:pt x="113" y="514"/>
                    </a:cubicBezTo>
                    <a:cubicBezTo>
                      <a:pt x="112" y="514"/>
                      <a:pt x="110" y="513"/>
                      <a:pt x="109" y="513"/>
                    </a:cubicBezTo>
                    <a:cubicBezTo>
                      <a:pt x="109" y="512"/>
                      <a:pt x="109" y="511"/>
                      <a:pt x="108" y="510"/>
                    </a:cubicBezTo>
                    <a:cubicBezTo>
                      <a:pt x="108" y="510"/>
                      <a:pt x="106" y="510"/>
                      <a:pt x="106" y="510"/>
                    </a:cubicBezTo>
                    <a:cubicBezTo>
                      <a:pt x="105" y="510"/>
                      <a:pt x="105" y="512"/>
                      <a:pt x="104" y="512"/>
                    </a:cubicBezTo>
                    <a:cubicBezTo>
                      <a:pt x="103" y="512"/>
                      <a:pt x="102" y="510"/>
                      <a:pt x="101" y="509"/>
                    </a:cubicBezTo>
                    <a:cubicBezTo>
                      <a:pt x="101" y="508"/>
                      <a:pt x="101" y="506"/>
                      <a:pt x="100" y="505"/>
                    </a:cubicBezTo>
                    <a:cubicBezTo>
                      <a:pt x="100" y="504"/>
                      <a:pt x="97" y="504"/>
                      <a:pt x="96" y="504"/>
                    </a:cubicBezTo>
                    <a:cubicBezTo>
                      <a:pt x="95" y="503"/>
                      <a:pt x="94" y="501"/>
                      <a:pt x="93" y="501"/>
                    </a:cubicBezTo>
                    <a:cubicBezTo>
                      <a:pt x="92" y="501"/>
                      <a:pt x="91" y="504"/>
                      <a:pt x="90" y="504"/>
                    </a:cubicBezTo>
                    <a:cubicBezTo>
                      <a:pt x="90" y="505"/>
                      <a:pt x="88" y="504"/>
                      <a:pt x="87" y="505"/>
                    </a:cubicBezTo>
                    <a:cubicBezTo>
                      <a:pt x="86" y="505"/>
                      <a:pt x="84" y="506"/>
                      <a:pt x="83" y="507"/>
                    </a:cubicBezTo>
                    <a:cubicBezTo>
                      <a:pt x="82" y="507"/>
                      <a:pt x="82" y="509"/>
                      <a:pt x="81" y="510"/>
                    </a:cubicBezTo>
                    <a:cubicBezTo>
                      <a:pt x="81" y="510"/>
                      <a:pt x="80" y="511"/>
                      <a:pt x="80" y="512"/>
                    </a:cubicBezTo>
                    <a:cubicBezTo>
                      <a:pt x="80" y="513"/>
                      <a:pt x="82" y="514"/>
                      <a:pt x="82" y="515"/>
                    </a:cubicBezTo>
                    <a:cubicBezTo>
                      <a:pt x="82" y="516"/>
                      <a:pt x="81" y="518"/>
                      <a:pt x="81" y="518"/>
                    </a:cubicBezTo>
                    <a:cubicBezTo>
                      <a:pt x="80" y="519"/>
                      <a:pt x="78" y="518"/>
                      <a:pt x="78" y="518"/>
                    </a:cubicBezTo>
                    <a:cubicBezTo>
                      <a:pt x="77" y="517"/>
                      <a:pt x="76" y="515"/>
                      <a:pt x="76" y="515"/>
                    </a:cubicBezTo>
                    <a:cubicBezTo>
                      <a:pt x="76" y="514"/>
                      <a:pt x="78" y="512"/>
                      <a:pt x="77" y="511"/>
                    </a:cubicBezTo>
                    <a:cubicBezTo>
                      <a:pt x="76" y="510"/>
                      <a:pt x="74" y="512"/>
                      <a:pt x="73" y="512"/>
                    </a:cubicBezTo>
                    <a:cubicBezTo>
                      <a:pt x="73" y="511"/>
                      <a:pt x="72" y="510"/>
                      <a:pt x="72" y="509"/>
                    </a:cubicBezTo>
                    <a:cubicBezTo>
                      <a:pt x="72" y="508"/>
                      <a:pt x="71" y="505"/>
                      <a:pt x="72" y="503"/>
                    </a:cubicBezTo>
                    <a:cubicBezTo>
                      <a:pt x="72" y="502"/>
                      <a:pt x="73" y="499"/>
                      <a:pt x="74" y="497"/>
                    </a:cubicBezTo>
                    <a:cubicBezTo>
                      <a:pt x="74" y="497"/>
                      <a:pt x="76" y="496"/>
                      <a:pt x="76" y="496"/>
                    </a:cubicBezTo>
                    <a:cubicBezTo>
                      <a:pt x="76" y="495"/>
                      <a:pt x="75" y="493"/>
                      <a:pt x="74" y="492"/>
                    </a:cubicBezTo>
                    <a:cubicBezTo>
                      <a:pt x="74" y="492"/>
                      <a:pt x="72" y="491"/>
                      <a:pt x="71" y="491"/>
                    </a:cubicBezTo>
                    <a:cubicBezTo>
                      <a:pt x="70" y="492"/>
                      <a:pt x="71" y="494"/>
                      <a:pt x="71" y="495"/>
                    </a:cubicBezTo>
                    <a:cubicBezTo>
                      <a:pt x="71" y="496"/>
                      <a:pt x="70" y="498"/>
                      <a:pt x="70" y="498"/>
                    </a:cubicBezTo>
                    <a:cubicBezTo>
                      <a:pt x="69" y="498"/>
                      <a:pt x="68" y="496"/>
                      <a:pt x="67" y="495"/>
                    </a:cubicBezTo>
                    <a:cubicBezTo>
                      <a:pt x="67" y="495"/>
                      <a:pt x="65" y="494"/>
                      <a:pt x="65" y="493"/>
                    </a:cubicBezTo>
                    <a:cubicBezTo>
                      <a:pt x="64" y="491"/>
                      <a:pt x="64" y="486"/>
                      <a:pt x="64" y="483"/>
                    </a:cubicBezTo>
                    <a:cubicBezTo>
                      <a:pt x="64" y="482"/>
                      <a:pt x="65" y="478"/>
                      <a:pt x="64" y="477"/>
                    </a:cubicBezTo>
                    <a:cubicBezTo>
                      <a:pt x="63" y="476"/>
                      <a:pt x="60" y="477"/>
                      <a:pt x="60" y="476"/>
                    </a:cubicBezTo>
                    <a:cubicBezTo>
                      <a:pt x="59" y="475"/>
                      <a:pt x="60" y="473"/>
                      <a:pt x="59" y="472"/>
                    </a:cubicBezTo>
                    <a:cubicBezTo>
                      <a:pt x="59" y="471"/>
                      <a:pt x="56" y="471"/>
                      <a:pt x="56" y="470"/>
                    </a:cubicBezTo>
                    <a:cubicBezTo>
                      <a:pt x="55" y="469"/>
                      <a:pt x="55" y="468"/>
                      <a:pt x="55" y="467"/>
                    </a:cubicBezTo>
                    <a:cubicBezTo>
                      <a:pt x="55" y="467"/>
                      <a:pt x="53" y="467"/>
                      <a:pt x="53" y="466"/>
                    </a:cubicBezTo>
                    <a:cubicBezTo>
                      <a:pt x="52" y="466"/>
                      <a:pt x="51" y="465"/>
                      <a:pt x="51" y="464"/>
                    </a:cubicBezTo>
                    <a:cubicBezTo>
                      <a:pt x="50" y="463"/>
                      <a:pt x="50" y="461"/>
                      <a:pt x="49" y="460"/>
                    </a:cubicBezTo>
                    <a:cubicBezTo>
                      <a:pt x="48" y="460"/>
                      <a:pt x="46" y="460"/>
                      <a:pt x="45" y="460"/>
                    </a:cubicBezTo>
                    <a:cubicBezTo>
                      <a:pt x="44" y="459"/>
                      <a:pt x="44" y="457"/>
                      <a:pt x="44" y="456"/>
                    </a:cubicBezTo>
                    <a:cubicBezTo>
                      <a:pt x="43" y="454"/>
                      <a:pt x="42" y="450"/>
                      <a:pt x="41" y="449"/>
                    </a:cubicBezTo>
                    <a:cubicBezTo>
                      <a:pt x="40" y="448"/>
                      <a:pt x="37" y="446"/>
                      <a:pt x="36" y="445"/>
                    </a:cubicBezTo>
                    <a:cubicBezTo>
                      <a:pt x="35" y="444"/>
                      <a:pt x="33" y="443"/>
                      <a:pt x="32" y="441"/>
                    </a:cubicBezTo>
                    <a:cubicBezTo>
                      <a:pt x="32" y="439"/>
                      <a:pt x="32" y="435"/>
                      <a:pt x="33" y="434"/>
                    </a:cubicBezTo>
                    <a:cubicBezTo>
                      <a:pt x="34" y="431"/>
                      <a:pt x="38" y="428"/>
                      <a:pt x="40" y="427"/>
                    </a:cubicBezTo>
                    <a:cubicBezTo>
                      <a:pt x="41" y="427"/>
                      <a:pt x="43" y="427"/>
                      <a:pt x="44" y="426"/>
                    </a:cubicBezTo>
                    <a:cubicBezTo>
                      <a:pt x="45" y="426"/>
                      <a:pt x="45" y="423"/>
                      <a:pt x="45" y="422"/>
                    </a:cubicBezTo>
                    <a:cubicBezTo>
                      <a:pt x="44" y="421"/>
                      <a:pt x="42" y="418"/>
                      <a:pt x="41" y="417"/>
                    </a:cubicBezTo>
                    <a:cubicBezTo>
                      <a:pt x="40" y="416"/>
                      <a:pt x="39" y="412"/>
                      <a:pt x="37" y="411"/>
                    </a:cubicBezTo>
                    <a:cubicBezTo>
                      <a:pt x="37" y="411"/>
                      <a:pt x="35" y="411"/>
                      <a:pt x="34" y="411"/>
                    </a:cubicBezTo>
                    <a:cubicBezTo>
                      <a:pt x="33" y="410"/>
                      <a:pt x="34" y="408"/>
                      <a:pt x="34" y="407"/>
                    </a:cubicBezTo>
                    <a:cubicBezTo>
                      <a:pt x="34" y="406"/>
                      <a:pt x="34" y="403"/>
                      <a:pt x="34" y="402"/>
                    </a:cubicBezTo>
                    <a:cubicBezTo>
                      <a:pt x="35" y="401"/>
                      <a:pt x="38" y="400"/>
                      <a:pt x="38" y="399"/>
                    </a:cubicBezTo>
                    <a:cubicBezTo>
                      <a:pt x="39" y="398"/>
                      <a:pt x="41" y="395"/>
                      <a:pt x="40" y="393"/>
                    </a:cubicBezTo>
                    <a:cubicBezTo>
                      <a:pt x="40" y="392"/>
                      <a:pt x="39" y="391"/>
                      <a:pt x="38" y="390"/>
                    </a:cubicBezTo>
                    <a:cubicBezTo>
                      <a:pt x="37" y="389"/>
                      <a:pt x="35" y="389"/>
                      <a:pt x="35" y="387"/>
                    </a:cubicBezTo>
                    <a:cubicBezTo>
                      <a:pt x="34" y="386"/>
                      <a:pt x="36" y="384"/>
                      <a:pt x="37" y="383"/>
                    </a:cubicBezTo>
                    <a:cubicBezTo>
                      <a:pt x="38" y="382"/>
                      <a:pt x="41" y="379"/>
                      <a:pt x="42" y="378"/>
                    </a:cubicBezTo>
                    <a:cubicBezTo>
                      <a:pt x="44" y="376"/>
                      <a:pt x="46" y="373"/>
                      <a:pt x="47" y="371"/>
                    </a:cubicBezTo>
                    <a:cubicBezTo>
                      <a:pt x="48" y="370"/>
                      <a:pt x="49" y="370"/>
                      <a:pt x="49" y="369"/>
                    </a:cubicBezTo>
                    <a:cubicBezTo>
                      <a:pt x="50" y="368"/>
                      <a:pt x="49" y="365"/>
                      <a:pt x="49" y="363"/>
                    </a:cubicBezTo>
                    <a:cubicBezTo>
                      <a:pt x="49" y="362"/>
                      <a:pt x="51" y="360"/>
                      <a:pt x="51" y="359"/>
                    </a:cubicBezTo>
                    <a:cubicBezTo>
                      <a:pt x="51" y="358"/>
                      <a:pt x="49" y="356"/>
                      <a:pt x="48" y="354"/>
                    </a:cubicBezTo>
                    <a:cubicBezTo>
                      <a:pt x="48" y="353"/>
                      <a:pt x="49" y="351"/>
                      <a:pt x="49" y="350"/>
                    </a:cubicBezTo>
                    <a:cubicBezTo>
                      <a:pt x="49" y="348"/>
                      <a:pt x="50" y="345"/>
                      <a:pt x="49" y="344"/>
                    </a:cubicBezTo>
                    <a:cubicBezTo>
                      <a:pt x="49" y="343"/>
                      <a:pt x="48" y="341"/>
                      <a:pt x="48" y="340"/>
                    </a:cubicBezTo>
                    <a:cubicBezTo>
                      <a:pt x="48" y="339"/>
                      <a:pt x="49" y="337"/>
                      <a:pt x="49" y="336"/>
                    </a:cubicBezTo>
                    <a:cubicBezTo>
                      <a:pt x="49" y="334"/>
                      <a:pt x="48" y="330"/>
                      <a:pt x="47" y="327"/>
                    </a:cubicBezTo>
                    <a:cubicBezTo>
                      <a:pt x="47" y="326"/>
                      <a:pt x="46" y="323"/>
                      <a:pt x="47" y="322"/>
                    </a:cubicBezTo>
                    <a:cubicBezTo>
                      <a:pt x="48" y="321"/>
                      <a:pt x="50" y="320"/>
                      <a:pt x="51" y="320"/>
                    </a:cubicBezTo>
                    <a:cubicBezTo>
                      <a:pt x="52" y="321"/>
                      <a:pt x="54" y="325"/>
                      <a:pt x="55" y="327"/>
                    </a:cubicBezTo>
                    <a:cubicBezTo>
                      <a:pt x="55" y="328"/>
                      <a:pt x="54" y="331"/>
                      <a:pt x="54" y="332"/>
                    </a:cubicBezTo>
                    <a:cubicBezTo>
                      <a:pt x="55" y="333"/>
                      <a:pt x="58" y="333"/>
                      <a:pt x="59" y="334"/>
                    </a:cubicBezTo>
                    <a:cubicBezTo>
                      <a:pt x="60" y="335"/>
                      <a:pt x="60" y="337"/>
                      <a:pt x="61" y="337"/>
                    </a:cubicBezTo>
                    <a:cubicBezTo>
                      <a:pt x="62" y="338"/>
                      <a:pt x="65" y="339"/>
                      <a:pt x="66" y="338"/>
                    </a:cubicBezTo>
                    <a:cubicBezTo>
                      <a:pt x="67" y="338"/>
                      <a:pt x="68" y="336"/>
                      <a:pt x="68" y="335"/>
                    </a:cubicBezTo>
                    <a:cubicBezTo>
                      <a:pt x="68" y="335"/>
                      <a:pt x="67" y="333"/>
                      <a:pt x="66" y="333"/>
                    </a:cubicBezTo>
                    <a:cubicBezTo>
                      <a:pt x="66" y="333"/>
                      <a:pt x="65" y="334"/>
                      <a:pt x="65" y="334"/>
                    </a:cubicBezTo>
                    <a:cubicBezTo>
                      <a:pt x="64" y="334"/>
                      <a:pt x="62" y="333"/>
                      <a:pt x="62" y="332"/>
                    </a:cubicBezTo>
                    <a:cubicBezTo>
                      <a:pt x="61" y="332"/>
                      <a:pt x="60" y="330"/>
                      <a:pt x="60" y="329"/>
                    </a:cubicBezTo>
                    <a:cubicBezTo>
                      <a:pt x="59" y="328"/>
                      <a:pt x="59" y="325"/>
                      <a:pt x="60" y="324"/>
                    </a:cubicBezTo>
                    <a:cubicBezTo>
                      <a:pt x="60" y="323"/>
                      <a:pt x="64" y="322"/>
                      <a:pt x="64" y="321"/>
                    </a:cubicBezTo>
                    <a:cubicBezTo>
                      <a:pt x="64" y="320"/>
                      <a:pt x="62" y="319"/>
                      <a:pt x="62" y="318"/>
                    </a:cubicBezTo>
                    <a:cubicBezTo>
                      <a:pt x="62" y="317"/>
                      <a:pt x="63" y="315"/>
                      <a:pt x="63" y="313"/>
                    </a:cubicBezTo>
                    <a:cubicBezTo>
                      <a:pt x="64" y="312"/>
                      <a:pt x="64" y="310"/>
                      <a:pt x="65" y="309"/>
                    </a:cubicBezTo>
                    <a:cubicBezTo>
                      <a:pt x="65" y="309"/>
                      <a:pt x="66" y="311"/>
                      <a:pt x="67" y="311"/>
                    </a:cubicBezTo>
                    <a:cubicBezTo>
                      <a:pt x="68" y="311"/>
                      <a:pt x="68" y="309"/>
                      <a:pt x="68" y="308"/>
                    </a:cubicBezTo>
                    <a:cubicBezTo>
                      <a:pt x="67" y="307"/>
                      <a:pt x="65" y="307"/>
                      <a:pt x="64" y="306"/>
                    </a:cubicBezTo>
                    <a:cubicBezTo>
                      <a:pt x="64" y="305"/>
                      <a:pt x="64" y="302"/>
                      <a:pt x="65" y="301"/>
                    </a:cubicBezTo>
                    <a:cubicBezTo>
                      <a:pt x="65" y="300"/>
                      <a:pt x="66" y="297"/>
                      <a:pt x="67" y="297"/>
                    </a:cubicBezTo>
                    <a:cubicBezTo>
                      <a:pt x="68" y="297"/>
                      <a:pt x="69" y="300"/>
                      <a:pt x="70" y="301"/>
                    </a:cubicBezTo>
                    <a:cubicBezTo>
                      <a:pt x="71" y="301"/>
                      <a:pt x="73" y="302"/>
                      <a:pt x="74" y="301"/>
                    </a:cubicBezTo>
                    <a:cubicBezTo>
                      <a:pt x="75" y="301"/>
                      <a:pt x="76" y="299"/>
                      <a:pt x="76" y="298"/>
                    </a:cubicBezTo>
                    <a:cubicBezTo>
                      <a:pt x="75" y="297"/>
                      <a:pt x="73" y="296"/>
                      <a:pt x="73" y="295"/>
                    </a:cubicBezTo>
                    <a:cubicBezTo>
                      <a:pt x="72" y="294"/>
                      <a:pt x="73" y="291"/>
                      <a:pt x="72" y="290"/>
                    </a:cubicBezTo>
                    <a:cubicBezTo>
                      <a:pt x="72" y="289"/>
                      <a:pt x="70" y="289"/>
                      <a:pt x="69" y="289"/>
                    </a:cubicBezTo>
                    <a:cubicBezTo>
                      <a:pt x="68" y="289"/>
                      <a:pt x="65" y="288"/>
                      <a:pt x="65" y="289"/>
                    </a:cubicBezTo>
                    <a:cubicBezTo>
                      <a:pt x="64" y="289"/>
                      <a:pt x="65" y="292"/>
                      <a:pt x="65" y="293"/>
                    </a:cubicBezTo>
                    <a:cubicBezTo>
                      <a:pt x="65" y="293"/>
                      <a:pt x="65" y="295"/>
                      <a:pt x="64" y="295"/>
                    </a:cubicBezTo>
                    <a:cubicBezTo>
                      <a:pt x="63" y="295"/>
                      <a:pt x="61" y="294"/>
                      <a:pt x="60" y="293"/>
                    </a:cubicBezTo>
                    <a:cubicBezTo>
                      <a:pt x="60" y="292"/>
                      <a:pt x="59" y="290"/>
                      <a:pt x="58" y="290"/>
                    </a:cubicBezTo>
                    <a:cubicBezTo>
                      <a:pt x="57" y="289"/>
                      <a:pt x="54" y="289"/>
                      <a:pt x="53" y="290"/>
                    </a:cubicBezTo>
                    <a:cubicBezTo>
                      <a:pt x="52" y="290"/>
                      <a:pt x="49" y="291"/>
                      <a:pt x="49" y="292"/>
                    </a:cubicBezTo>
                    <a:cubicBezTo>
                      <a:pt x="49" y="292"/>
                      <a:pt x="51" y="293"/>
                      <a:pt x="51" y="293"/>
                    </a:cubicBezTo>
                    <a:cubicBezTo>
                      <a:pt x="51" y="294"/>
                      <a:pt x="50" y="296"/>
                      <a:pt x="50" y="296"/>
                    </a:cubicBezTo>
                    <a:cubicBezTo>
                      <a:pt x="49" y="297"/>
                      <a:pt x="47" y="298"/>
                      <a:pt x="47" y="297"/>
                    </a:cubicBezTo>
                    <a:cubicBezTo>
                      <a:pt x="46" y="297"/>
                      <a:pt x="46" y="293"/>
                      <a:pt x="46" y="292"/>
                    </a:cubicBezTo>
                    <a:cubicBezTo>
                      <a:pt x="45" y="292"/>
                      <a:pt x="42" y="292"/>
                      <a:pt x="41" y="291"/>
                    </a:cubicBezTo>
                    <a:cubicBezTo>
                      <a:pt x="41" y="291"/>
                      <a:pt x="40" y="289"/>
                      <a:pt x="40" y="288"/>
                    </a:cubicBezTo>
                    <a:cubicBezTo>
                      <a:pt x="39" y="286"/>
                      <a:pt x="40" y="281"/>
                      <a:pt x="40" y="278"/>
                    </a:cubicBezTo>
                    <a:cubicBezTo>
                      <a:pt x="40" y="277"/>
                      <a:pt x="40" y="274"/>
                      <a:pt x="41" y="273"/>
                    </a:cubicBezTo>
                    <a:cubicBezTo>
                      <a:pt x="41" y="272"/>
                      <a:pt x="43" y="271"/>
                      <a:pt x="43" y="270"/>
                    </a:cubicBezTo>
                    <a:cubicBezTo>
                      <a:pt x="44" y="269"/>
                      <a:pt x="43" y="267"/>
                      <a:pt x="43" y="266"/>
                    </a:cubicBezTo>
                    <a:cubicBezTo>
                      <a:pt x="42" y="265"/>
                      <a:pt x="39" y="266"/>
                      <a:pt x="39" y="265"/>
                    </a:cubicBezTo>
                    <a:cubicBezTo>
                      <a:pt x="38" y="264"/>
                      <a:pt x="37" y="262"/>
                      <a:pt x="38" y="261"/>
                    </a:cubicBezTo>
                    <a:cubicBezTo>
                      <a:pt x="39" y="260"/>
                      <a:pt x="42" y="259"/>
                      <a:pt x="44" y="259"/>
                    </a:cubicBezTo>
                    <a:cubicBezTo>
                      <a:pt x="45" y="258"/>
                      <a:pt x="47" y="260"/>
                      <a:pt x="48" y="259"/>
                    </a:cubicBezTo>
                    <a:cubicBezTo>
                      <a:pt x="50" y="259"/>
                      <a:pt x="52" y="257"/>
                      <a:pt x="54" y="256"/>
                    </a:cubicBezTo>
                    <a:cubicBezTo>
                      <a:pt x="54" y="256"/>
                      <a:pt x="55" y="255"/>
                      <a:pt x="56" y="254"/>
                    </a:cubicBezTo>
                    <a:cubicBezTo>
                      <a:pt x="56" y="252"/>
                      <a:pt x="55" y="248"/>
                      <a:pt x="55" y="246"/>
                    </a:cubicBezTo>
                    <a:cubicBezTo>
                      <a:pt x="54" y="245"/>
                      <a:pt x="53" y="244"/>
                      <a:pt x="53" y="243"/>
                    </a:cubicBezTo>
                    <a:cubicBezTo>
                      <a:pt x="52" y="241"/>
                      <a:pt x="53" y="237"/>
                      <a:pt x="53" y="236"/>
                    </a:cubicBezTo>
                    <a:cubicBezTo>
                      <a:pt x="53" y="234"/>
                      <a:pt x="51" y="233"/>
                      <a:pt x="51" y="232"/>
                    </a:cubicBezTo>
                    <a:cubicBezTo>
                      <a:pt x="51" y="231"/>
                      <a:pt x="53" y="230"/>
                      <a:pt x="53" y="229"/>
                    </a:cubicBezTo>
                    <a:cubicBezTo>
                      <a:pt x="53" y="228"/>
                      <a:pt x="54" y="226"/>
                      <a:pt x="55" y="225"/>
                    </a:cubicBezTo>
                    <a:cubicBezTo>
                      <a:pt x="55" y="224"/>
                      <a:pt x="53" y="221"/>
                      <a:pt x="54" y="220"/>
                    </a:cubicBezTo>
                    <a:cubicBezTo>
                      <a:pt x="54" y="219"/>
                      <a:pt x="56" y="219"/>
                      <a:pt x="56" y="218"/>
                    </a:cubicBezTo>
                    <a:cubicBezTo>
                      <a:pt x="56" y="217"/>
                      <a:pt x="56" y="214"/>
                      <a:pt x="56" y="212"/>
                    </a:cubicBezTo>
                    <a:cubicBezTo>
                      <a:pt x="56" y="212"/>
                      <a:pt x="56" y="210"/>
                      <a:pt x="56" y="209"/>
                    </a:cubicBezTo>
                    <a:cubicBezTo>
                      <a:pt x="56" y="207"/>
                      <a:pt x="54" y="204"/>
                      <a:pt x="53" y="203"/>
                    </a:cubicBezTo>
                    <a:cubicBezTo>
                      <a:pt x="52" y="202"/>
                      <a:pt x="49" y="202"/>
                      <a:pt x="48" y="201"/>
                    </a:cubicBezTo>
                    <a:cubicBezTo>
                      <a:pt x="48" y="200"/>
                      <a:pt x="48" y="199"/>
                      <a:pt x="47" y="198"/>
                    </a:cubicBezTo>
                    <a:cubicBezTo>
                      <a:pt x="46" y="197"/>
                      <a:pt x="42" y="198"/>
                      <a:pt x="41" y="197"/>
                    </a:cubicBezTo>
                    <a:cubicBezTo>
                      <a:pt x="41" y="197"/>
                      <a:pt x="41" y="195"/>
                      <a:pt x="40" y="195"/>
                    </a:cubicBezTo>
                    <a:cubicBezTo>
                      <a:pt x="40" y="193"/>
                      <a:pt x="41" y="189"/>
                      <a:pt x="41" y="187"/>
                    </a:cubicBezTo>
                    <a:cubicBezTo>
                      <a:pt x="41" y="185"/>
                      <a:pt x="42" y="182"/>
                      <a:pt x="42" y="181"/>
                    </a:cubicBezTo>
                    <a:cubicBezTo>
                      <a:pt x="42" y="178"/>
                      <a:pt x="39" y="175"/>
                      <a:pt x="39" y="173"/>
                    </a:cubicBezTo>
                    <a:cubicBezTo>
                      <a:pt x="38" y="170"/>
                      <a:pt x="40" y="166"/>
                      <a:pt x="39" y="164"/>
                    </a:cubicBezTo>
                    <a:cubicBezTo>
                      <a:pt x="38" y="163"/>
                      <a:pt x="35" y="163"/>
                      <a:pt x="34" y="162"/>
                    </a:cubicBezTo>
                    <a:cubicBezTo>
                      <a:pt x="34" y="161"/>
                      <a:pt x="33" y="161"/>
                      <a:pt x="32" y="160"/>
                    </a:cubicBezTo>
                    <a:cubicBezTo>
                      <a:pt x="32" y="159"/>
                      <a:pt x="32" y="155"/>
                      <a:pt x="32" y="154"/>
                    </a:cubicBezTo>
                    <a:cubicBezTo>
                      <a:pt x="31" y="153"/>
                      <a:pt x="30" y="151"/>
                      <a:pt x="30" y="150"/>
                    </a:cubicBezTo>
                    <a:cubicBezTo>
                      <a:pt x="30" y="149"/>
                      <a:pt x="31" y="146"/>
                      <a:pt x="30" y="145"/>
                    </a:cubicBezTo>
                    <a:cubicBezTo>
                      <a:pt x="30" y="144"/>
                      <a:pt x="26" y="142"/>
                      <a:pt x="24" y="142"/>
                    </a:cubicBezTo>
                    <a:cubicBezTo>
                      <a:pt x="23" y="142"/>
                      <a:pt x="22" y="143"/>
                      <a:pt x="21" y="143"/>
                    </a:cubicBezTo>
                    <a:cubicBezTo>
                      <a:pt x="20" y="143"/>
                      <a:pt x="19" y="142"/>
                      <a:pt x="18" y="142"/>
                    </a:cubicBezTo>
                    <a:cubicBezTo>
                      <a:pt x="17" y="143"/>
                      <a:pt x="18" y="145"/>
                      <a:pt x="17" y="146"/>
                    </a:cubicBezTo>
                    <a:cubicBezTo>
                      <a:pt x="16" y="146"/>
                      <a:pt x="14" y="146"/>
                      <a:pt x="13" y="146"/>
                    </a:cubicBezTo>
                    <a:cubicBezTo>
                      <a:pt x="12" y="146"/>
                      <a:pt x="11" y="145"/>
                      <a:pt x="11" y="144"/>
                    </a:cubicBezTo>
                    <a:cubicBezTo>
                      <a:pt x="10" y="143"/>
                      <a:pt x="11" y="140"/>
                      <a:pt x="11" y="139"/>
                    </a:cubicBezTo>
                    <a:cubicBezTo>
                      <a:pt x="11" y="139"/>
                      <a:pt x="12" y="138"/>
                      <a:pt x="12" y="137"/>
                    </a:cubicBezTo>
                    <a:cubicBezTo>
                      <a:pt x="12" y="137"/>
                      <a:pt x="12" y="135"/>
                      <a:pt x="12" y="135"/>
                    </a:cubicBezTo>
                    <a:cubicBezTo>
                      <a:pt x="11" y="135"/>
                      <a:pt x="9" y="136"/>
                      <a:pt x="8" y="136"/>
                    </a:cubicBezTo>
                    <a:cubicBezTo>
                      <a:pt x="7" y="138"/>
                      <a:pt x="8" y="141"/>
                      <a:pt x="7" y="142"/>
                    </a:cubicBezTo>
                    <a:cubicBezTo>
                      <a:pt x="7" y="143"/>
                      <a:pt x="5" y="143"/>
                      <a:pt x="5" y="144"/>
                    </a:cubicBezTo>
                    <a:cubicBezTo>
                      <a:pt x="4" y="145"/>
                      <a:pt x="6" y="148"/>
                      <a:pt x="5" y="149"/>
                    </a:cubicBezTo>
                    <a:cubicBezTo>
                      <a:pt x="4" y="149"/>
                      <a:pt x="3" y="149"/>
                      <a:pt x="2" y="149"/>
                    </a:cubicBezTo>
                    <a:cubicBezTo>
                      <a:pt x="1" y="148"/>
                      <a:pt x="1" y="144"/>
                      <a:pt x="1" y="142"/>
                    </a:cubicBezTo>
                    <a:cubicBezTo>
                      <a:pt x="1" y="140"/>
                      <a:pt x="0" y="136"/>
                      <a:pt x="1" y="135"/>
                    </a:cubicBezTo>
                    <a:cubicBezTo>
                      <a:pt x="1" y="134"/>
                      <a:pt x="2" y="133"/>
                      <a:pt x="3" y="132"/>
                    </a:cubicBezTo>
                    <a:cubicBezTo>
                      <a:pt x="3" y="132"/>
                      <a:pt x="5" y="132"/>
                      <a:pt x="6" y="132"/>
                    </a:cubicBezTo>
                    <a:cubicBezTo>
                      <a:pt x="6" y="131"/>
                      <a:pt x="7" y="129"/>
                      <a:pt x="8" y="128"/>
                    </a:cubicBezTo>
                    <a:cubicBezTo>
                      <a:pt x="8" y="127"/>
                      <a:pt x="8" y="124"/>
                      <a:pt x="9" y="123"/>
                    </a:cubicBezTo>
                    <a:cubicBezTo>
                      <a:pt x="9" y="122"/>
                      <a:pt x="11" y="121"/>
                      <a:pt x="11" y="120"/>
                    </a:cubicBezTo>
                    <a:cubicBezTo>
                      <a:pt x="11" y="119"/>
                      <a:pt x="8" y="118"/>
                      <a:pt x="7" y="118"/>
                    </a:cubicBezTo>
                    <a:cubicBezTo>
                      <a:pt x="5" y="117"/>
                      <a:pt x="3" y="115"/>
                      <a:pt x="2" y="114"/>
                    </a:cubicBezTo>
                    <a:cubicBezTo>
                      <a:pt x="2" y="113"/>
                      <a:pt x="1" y="111"/>
                      <a:pt x="1" y="111"/>
                    </a:cubicBezTo>
                    <a:cubicBezTo>
                      <a:pt x="1" y="110"/>
                      <a:pt x="4" y="108"/>
                      <a:pt x="4" y="107"/>
                    </a:cubicBezTo>
                    <a:cubicBezTo>
                      <a:pt x="5" y="106"/>
                      <a:pt x="4" y="103"/>
                      <a:pt x="5" y="101"/>
                    </a:cubicBezTo>
                    <a:cubicBezTo>
                      <a:pt x="5" y="100"/>
                      <a:pt x="4" y="96"/>
                      <a:pt x="6" y="94"/>
                    </a:cubicBezTo>
                    <a:cubicBezTo>
                      <a:pt x="6" y="94"/>
                      <a:pt x="10" y="94"/>
                      <a:pt x="11" y="93"/>
                    </a:cubicBezTo>
                    <a:cubicBezTo>
                      <a:pt x="11" y="92"/>
                      <a:pt x="11" y="89"/>
                      <a:pt x="11" y="88"/>
                    </a:cubicBezTo>
                    <a:cubicBezTo>
                      <a:pt x="12" y="86"/>
                      <a:pt x="13" y="83"/>
                      <a:pt x="14" y="81"/>
                    </a:cubicBezTo>
                    <a:cubicBezTo>
                      <a:pt x="14" y="80"/>
                      <a:pt x="17" y="78"/>
                      <a:pt x="17" y="77"/>
                    </a:cubicBezTo>
                    <a:cubicBezTo>
                      <a:pt x="17" y="76"/>
                      <a:pt x="15" y="74"/>
                      <a:pt x="15" y="74"/>
                    </a:cubicBezTo>
                    <a:cubicBezTo>
                      <a:pt x="13" y="73"/>
                      <a:pt x="11" y="73"/>
                      <a:pt x="10" y="72"/>
                    </a:cubicBezTo>
                    <a:cubicBezTo>
                      <a:pt x="9" y="72"/>
                      <a:pt x="8" y="70"/>
                      <a:pt x="8" y="69"/>
                    </a:cubicBezTo>
                    <a:cubicBezTo>
                      <a:pt x="7" y="67"/>
                      <a:pt x="8" y="64"/>
                      <a:pt x="9" y="62"/>
                    </a:cubicBezTo>
                    <a:cubicBezTo>
                      <a:pt x="9" y="61"/>
                      <a:pt x="9" y="59"/>
                      <a:pt x="10" y="59"/>
                    </a:cubicBezTo>
                    <a:cubicBezTo>
                      <a:pt x="11" y="58"/>
                      <a:pt x="14" y="60"/>
                      <a:pt x="15" y="61"/>
                    </a:cubicBezTo>
                    <a:cubicBezTo>
                      <a:pt x="16" y="61"/>
                      <a:pt x="19" y="62"/>
                      <a:pt x="20" y="63"/>
                    </a:cubicBezTo>
                    <a:cubicBezTo>
                      <a:pt x="20" y="64"/>
                      <a:pt x="18" y="66"/>
                      <a:pt x="18" y="67"/>
                    </a:cubicBezTo>
                    <a:cubicBezTo>
                      <a:pt x="18" y="68"/>
                      <a:pt x="20" y="70"/>
                      <a:pt x="21" y="71"/>
                    </a:cubicBezTo>
                    <a:cubicBezTo>
                      <a:pt x="21" y="72"/>
                      <a:pt x="21" y="74"/>
                      <a:pt x="21" y="75"/>
                    </a:cubicBezTo>
                    <a:cubicBezTo>
                      <a:pt x="22" y="77"/>
                      <a:pt x="24" y="79"/>
                      <a:pt x="25" y="81"/>
                    </a:cubicBezTo>
                    <a:cubicBezTo>
                      <a:pt x="26" y="82"/>
                      <a:pt x="27" y="84"/>
                      <a:pt x="28" y="84"/>
                    </a:cubicBezTo>
                    <a:cubicBezTo>
                      <a:pt x="30" y="85"/>
                      <a:pt x="33" y="84"/>
                      <a:pt x="34" y="84"/>
                    </a:cubicBezTo>
                    <a:cubicBezTo>
                      <a:pt x="36" y="84"/>
                      <a:pt x="38" y="86"/>
                      <a:pt x="40" y="86"/>
                    </a:cubicBezTo>
                    <a:cubicBezTo>
                      <a:pt x="41" y="86"/>
                      <a:pt x="43" y="85"/>
                      <a:pt x="44" y="85"/>
                    </a:cubicBezTo>
                    <a:cubicBezTo>
                      <a:pt x="46" y="85"/>
                      <a:pt x="50" y="86"/>
                      <a:pt x="52" y="87"/>
                    </a:cubicBezTo>
                    <a:cubicBezTo>
                      <a:pt x="53" y="87"/>
                      <a:pt x="54" y="90"/>
                      <a:pt x="55" y="91"/>
                    </a:cubicBezTo>
                    <a:cubicBezTo>
                      <a:pt x="57" y="92"/>
                      <a:pt x="60" y="92"/>
                      <a:pt x="61" y="92"/>
                    </a:cubicBezTo>
                    <a:cubicBezTo>
                      <a:pt x="64" y="92"/>
                      <a:pt x="68" y="90"/>
                      <a:pt x="71" y="90"/>
                    </a:cubicBezTo>
                    <a:cubicBezTo>
                      <a:pt x="73" y="89"/>
                      <a:pt x="77" y="88"/>
                      <a:pt x="79" y="87"/>
                    </a:cubicBezTo>
                    <a:cubicBezTo>
                      <a:pt x="81" y="85"/>
                      <a:pt x="82" y="81"/>
                      <a:pt x="84" y="79"/>
                    </a:cubicBezTo>
                    <a:cubicBezTo>
                      <a:pt x="86" y="77"/>
                      <a:pt x="92" y="74"/>
                      <a:pt x="95" y="73"/>
                    </a:cubicBezTo>
                    <a:cubicBezTo>
                      <a:pt x="96" y="72"/>
                      <a:pt x="97" y="71"/>
                      <a:pt x="99" y="71"/>
                    </a:cubicBezTo>
                    <a:cubicBezTo>
                      <a:pt x="100" y="71"/>
                      <a:pt x="103" y="73"/>
                      <a:pt x="104" y="73"/>
                    </a:cubicBezTo>
                    <a:cubicBezTo>
                      <a:pt x="106" y="74"/>
                      <a:pt x="110" y="72"/>
                      <a:pt x="111" y="72"/>
                    </a:cubicBezTo>
                    <a:cubicBezTo>
                      <a:pt x="112" y="71"/>
                      <a:pt x="114" y="69"/>
                      <a:pt x="115" y="68"/>
                    </a:cubicBezTo>
                    <a:cubicBezTo>
                      <a:pt x="117" y="66"/>
                      <a:pt x="120" y="62"/>
                      <a:pt x="121" y="60"/>
                    </a:cubicBezTo>
                    <a:cubicBezTo>
                      <a:pt x="121" y="59"/>
                      <a:pt x="122" y="55"/>
                      <a:pt x="122" y="54"/>
                    </a:cubicBezTo>
                    <a:cubicBezTo>
                      <a:pt x="123" y="53"/>
                      <a:pt x="124" y="50"/>
                      <a:pt x="125" y="49"/>
                    </a:cubicBezTo>
                    <a:cubicBezTo>
                      <a:pt x="126" y="48"/>
                      <a:pt x="129" y="48"/>
                      <a:pt x="130" y="47"/>
                    </a:cubicBezTo>
                    <a:cubicBezTo>
                      <a:pt x="132" y="46"/>
                      <a:pt x="134" y="43"/>
                      <a:pt x="136" y="41"/>
                    </a:cubicBezTo>
                    <a:cubicBezTo>
                      <a:pt x="137" y="40"/>
                      <a:pt x="140" y="38"/>
                      <a:pt x="141" y="37"/>
                    </a:cubicBezTo>
                    <a:cubicBezTo>
                      <a:pt x="143" y="35"/>
                      <a:pt x="147" y="28"/>
                      <a:pt x="150" y="27"/>
                    </a:cubicBezTo>
                    <a:cubicBezTo>
                      <a:pt x="152" y="27"/>
                      <a:pt x="154" y="28"/>
                      <a:pt x="156" y="28"/>
                    </a:cubicBezTo>
                    <a:cubicBezTo>
                      <a:pt x="157" y="28"/>
                      <a:pt x="160" y="28"/>
                      <a:pt x="161" y="27"/>
                    </a:cubicBezTo>
                    <a:cubicBezTo>
                      <a:pt x="162" y="26"/>
                      <a:pt x="164" y="23"/>
                      <a:pt x="165" y="22"/>
                    </a:cubicBezTo>
                    <a:cubicBezTo>
                      <a:pt x="166" y="22"/>
                      <a:pt x="169" y="22"/>
                      <a:pt x="169" y="21"/>
                    </a:cubicBezTo>
                    <a:cubicBezTo>
                      <a:pt x="171" y="20"/>
                      <a:pt x="171" y="15"/>
                      <a:pt x="171" y="13"/>
                    </a:cubicBezTo>
                    <a:cubicBezTo>
                      <a:pt x="171" y="12"/>
                      <a:pt x="170" y="10"/>
                      <a:pt x="170" y="9"/>
                    </a:cubicBezTo>
                    <a:cubicBezTo>
                      <a:pt x="170" y="8"/>
                      <a:pt x="168" y="7"/>
                      <a:pt x="168" y="6"/>
                    </a:cubicBezTo>
                    <a:cubicBezTo>
                      <a:pt x="168" y="6"/>
                      <a:pt x="168" y="4"/>
                      <a:pt x="168" y="3"/>
                    </a:cubicBezTo>
                    <a:cubicBezTo>
                      <a:pt x="168" y="3"/>
                      <a:pt x="170" y="2"/>
                      <a:pt x="171" y="1"/>
                    </a:cubicBezTo>
                    <a:cubicBezTo>
                      <a:pt x="171" y="1"/>
                      <a:pt x="173" y="2"/>
                      <a:pt x="173" y="2"/>
                    </a:cubicBezTo>
                    <a:cubicBezTo>
                      <a:pt x="175" y="2"/>
                      <a:pt x="177" y="2"/>
                      <a:pt x="178" y="1"/>
                    </a:cubicBezTo>
                    <a:cubicBezTo>
                      <a:pt x="180" y="1"/>
                      <a:pt x="182" y="0"/>
                      <a:pt x="183" y="0"/>
                    </a:cubicBezTo>
                    <a:cubicBezTo>
                      <a:pt x="185" y="0"/>
                      <a:pt x="187" y="2"/>
                      <a:pt x="187" y="3"/>
                    </a:cubicBezTo>
                    <a:cubicBezTo>
                      <a:pt x="188" y="3"/>
                      <a:pt x="189" y="5"/>
                      <a:pt x="189" y="5"/>
                    </a:cubicBezTo>
                    <a:cubicBezTo>
                      <a:pt x="189" y="6"/>
                      <a:pt x="188" y="8"/>
                      <a:pt x="188" y="8"/>
                    </a:cubicBezTo>
                    <a:cubicBezTo>
                      <a:pt x="188" y="9"/>
                      <a:pt x="188" y="11"/>
                      <a:pt x="188" y="12"/>
                    </a:cubicBezTo>
                    <a:cubicBezTo>
                      <a:pt x="188" y="13"/>
                      <a:pt x="188" y="15"/>
                      <a:pt x="189" y="15"/>
                    </a:cubicBezTo>
                    <a:cubicBezTo>
                      <a:pt x="190" y="15"/>
                      <a:pt x="192" y="15"/>
                      <a:pt x="192" y="15"/>
                    </a:cubicBezTo>
                    <a:cubicBezTo>
                      <a:pt x="193" y="14"/>
                      <a:pt x="191" y="12"/>
                      <a:pt x="192" y="11"/>
                    </a:cubicBezTo>
                    <a:cubicBezTo>
                      <a:pt x="192" y="11"/>
                      <a:pt x="193" y="10"/>
                      <a:pt x="193" y="10"/>
                    </a:cubicBezTo>
                    <a:cubicBezTo>
                      <a:pt x="194" y="10"/>
                      <a:pt x="194" y="11"/>
                      <a:pt x="194" y="12"/>
                    </a:cubicBezTo>
                    <a:cubicBezTo>
                      <a:pt x="195" y="13"/>
                      <a:pt x="194" y="15"/>
                      <a:pt x="194" y="16"/>
                    </a:cubicBezTo>
                    <a:cubicBezTo>
                      <a:pt x="195" y="16"/>
                      <a:pt x="196" y="18"/>
                      <a:pt x="196" y="18"/>
                    </a:cubicBezTo>
                    <a:cubicBezTo>
                      <a:pt x="197" y="17"/>
                      <a:pt x="197" y="15"/>
                      <a:pt x="198" y="15"/>
                    </a:cubicBezTo>
                    <a:cubicBezTo>
                      <a:pt x="198" y="14"/>
                      <a:pt x="200" y="16"/>
                      <a:pt x="201" y="15"/>
                    </a:cubicBezTo>
                    <a:cubicBezTo>
                      <a:pt x="202" y="14"/>
                      <a:pt x="200" y="12"/>
                      <a:pt x="200" y="12"/>
                    </a:cubicBezTo>
                    <a:cubicBezTo>
                      <a:pt x="201" y="11"/>
                      <a:pt x="203" y="11"/>
                      <a:pt x="204" y="12"/>
                    </a:cubicBezTo>
                    <a:cubicBezTo>
                      <a:pt x="205" y="12"/>
                      <a:pt x="206" y="14"/>
                      <a:pt x="206" y="14"/>
                    </a:cubicBezTo>
                    <a:cubicBezTo>
                      <a:pt x="207" y="15"/>
                      <a:pt x="208" y="18"/>
                      <a:pt x="209" y="19"/>
                    </a:cubicBezTo>
                    <a:cubicBezTo>
                      <a:pt x="210" y="20"/>
                      <a:pt x="211" y="21"/>
                      <a:pt x="211" y="21"/>
                    </a:cubicBezTo>
                    <a:cubicBezTo>
                      <a:pt x="212" y="22"/>
                      <a:pt x="216" y="23"/>
                      <a:pt x="217" y="25"/>
                    </a:cubicBezTo>
                    <a:cubicBezTo>
                      <a:pt x="217" y="26"/>
                      <a:pt x="216" y="27"/>
                      <a:pt x="215" y="28"/>
                    </a:cubicBezTo>
                    <a:cubicBezTo>
                      <a:pt x="215" y="29"/>
                      <a:pt x="215" y="32"/>
                      <a:pt x="216" y="33"/>
                    </a:cubicBezTo>
                    <a:cubicBezTo>
                      <a:pt x="216" y="34"/>
                      <a:pt x="218" y="35"/>
                      <a:pt x="219" y="35"/>
                    </a:cubicBezTo>
                    <a:cubicBezTo>
                      <a:pt x="220" y="34"/>
                      <a:pt x="220" y="32"/>
                      <a:pt x="220" y="31"/>
                    </a:cubicBezTo>
                    <a:cubicBezTo>
                      <a:pt x="220" y="30"/>
                      <a:pt x="220" y="28"/>
                      <a:pt x="221" y="27"/>
                    </a:cubicBezTo>
                    <a:cubicBezTo>
                      <a:pt x="222" y="26"/>
                      <a:pt x="226" y="27"/>
                      <a:pt x="227" y="26"/>
                    </a:cubicBezTo>
                    <a:cubicBezTo>
                      <a:pt x="227" y="25"/>
                      <a:pt x="228" y="23"/>
                      <a:pt x="228" y="22"/>
                    </a:cubicBezTo>
                    <a:cubicBezTo>
                      <a:pt x="229" y="22"/>
                      <a:pt x="231" y="23"/>
                      <a:pt x="231" y="23"/>
                    </a:cubicBezTo>
                    <a:cubicBezTo>
                      <a:pt x="232" y="24"/>
                      <a:pt x="234" y="27"/>
                      <a:pt x="235" y="28"/>
                    </a:cubicBezTo>
                    <a:cubicBezTo>
                      <a:pt x="236" y="29"/>
                      <a:pt x="237" y="32"/>
                      <a:pt x="237" y="34"/>
                    </a:cubicBezTo>
                    <a:cubicBezTo>
                      <a:pt x="237" y="35"/>
                      <a:pt x="237" y="36"/>
                      <a:pt x="236" y="37"/>
                    </a:cubicBezTo>
                    <a:cubicBezTo>
                      <a:pt x="235" y="38"/>
                      <a:pt x="232" y="37"/>
                      <a:pt x="231" y="38"/>
                    </a:cubicBezTo>
                    <a:cubicBezTo>
                      <a:pt x="231" y="39"/>
                      <a:pt x="232" y="41"/>
                      <a:pt x="231" y="42"/>
                    </a:cubicBezTo>
                    <a:cubicBezTo>
                      <a:pt x="231" y="43"/>
                      <a:pt x="230" y="45"/>
                      <a:pt x="230" y="45"/>
                    </a:cubicBezTo>
                    <a:cubicBezTo>
                      <a:pt x="229" y="46"/>
                      <a:pt x="228" y="47"/>
                      <a:pt x="228" y="48"/>
                    </a:cubicBezTo>
                    <a:cubicBezTo>
                      <a:pt x="227" y="49"/>
                      <a:pt x="226" y="53"/>
                      <a:pt x="227" y="54"/>
                    </a:cubicBezTo>
                    <a:cubicBezTo>
                      <a:pt x="228" y="54"/>
                      <a:pt x="230" y="52"/>
                      <a:pt x="230" y="52"/>
                    </a:cubicBezTo>
                    <a:cubicBezTo>
                      <a:pt x="231" y="51"/>
                      <a:pt x="233" y="48"/>
                      <a:pt x="234" y="49"/>
                    </a:cubicBezTo>
                    <a:cubicBezTo>
                      <a:pt x="235" y="49"/>
                      <a:pt x="236" y="51"/>
                      <a:pt x="236" y="52"/>
                    </a:cubicBezTo>
                    <a:cubicBezTo>
                      <a:pt x="235" y="53"/>
                      <a:pt x="234" y="54"/>
                      <a:pt x="235" y="54"/>
                    </a:cubicBezTo>
                    <a:cubicBezTo>
                      <a:pt x="235" y="55"/>
                      <a:pt x="237" y="55"/>
                      <a:pt x="238" y="54"/>
                    </a:cubicBezTo>
                    <a:cubicBezTo>
                      <a:pt x="238" y="54"/>
                      <a:pt x="238" y="52"/>
                      <a:pt x="239" y="51"/>
                    </a:cubicBezTo>
                    <a:cubicBezTo>
                      <a:pt x="240" y="51"/>
                      <a:pt x="243" y="51"/>
                      <a:pt x="245" y="51"/>
                    </a:cubicBezTo>
                    <a:cubicBezTo>
                      <a:pt x="246" y="51"/>
                      <a:pt x="249" y="52"/>
                      <a:pt x="250" y="53"/>
                    </a:cubicBezTo>
                    <a:cubicBezTo>
                      <a:pt x="250" y="54"/>
                      <a:pt x="251" y="56"/>
                      <a:pt x="251" y="57"/>
                    </a:cubicBezTo>
                    <a:cubicBezTo>
                      <a:pt x="250" y="57"/>
                      <a:pt x="250" y="58"/>
                      <a:pt x="249" y="58"/>
                    </a:cubicBezTo>
                    <a:cubicBezTo>
                      <a:pt x="248" y="59"/>
                      <a:pt x="245" y="57"/>
                      <a:pt x="244" y="57"/>
                    </a:cubicBezTo>
                    <a:cubicBezTo>
                      <a:pt x="242" y="57"/>
                      <a:pt x="240" y="60"/>
                      <a:pt x="240" y="61"/>
                    </a:cubicBezTo>
                    <a:cubicBezTo>
                      <a:pt x="239" y="62"/>
                      <a:pt x="240" y="65"/>
                      <a:pt x="239" y="66"/>
                    </a:cubicBezTo>
                    <a:cubicBezTo>
                      <a:pt x="239" y="66"/>
                      <a:pt x="238" y="67"/>
                      <a:pt x="238" y="68"/>
                    </a:cubicBezTo>
                    <a:cubicBezTo>
                      <a:pt x="238" y="69"/>
                      <a:pt x="239" y="71"/>
                      <a:pt x="238" y="71"/>
                    </a:cubicBezTo>
                    <a:cubicBezTo>
                      <a:pt x="237" y="72"/>
                      <a:pt x="236" y="71"/>
                      <a:pt x="235" y="70"/>
                    </a:cubicBezTo>
                    <a:cubicBezTo>
                      <a:pt x="233" y="70"/>
                      <a:pt x="229" y="69"/>
                      <a:pt x="228" y="71"/>
                    </a:cubicBezTo>
                    <a:cubicBezTo>
                      <a:pt x="227" y="71"/>
                      <a:pt x="227" y="74"/>
                      <a:pt x="227" y="75"/>
                    </a:cubicBezTo>
                    <a:cubicBezTo>
                      <a:pt x="228" y="75"/>
                      <a:pt x="231" y="74"/>
                      <a:pt x="232" y="74"/>
                    </a:cubicBezTo>
                    <a:cubicBezTo>
                      <a:pt x="234" y="75"/>
                      <a:pt x="237" y="77"/>
                      <a:pt x="238" y="77"/>
                    </a:cubicBezTo>
                    <a:cubicBezTo>
                      <a:pt x="240" y="76"/>
                      <a:pt x="241" y="75"/>
                      <a:pt x="242" y="74"/>
                    </a:cubicBezTo>
                    <a:cubicBezTo>
                      <a:pt x="244" y="74"/>
                      <a:pt x="247" y="72"/>
                      <a:pt x="248" y="73"/>
                    </a:cubicBezTo>
                    <a:cubicBezTo>
                      <a:pt x="248" y="74"/>
                      <a:pt x="248" y="76"/>
                      <a:pt x="248" y="76"/>
                    </a:cubicBezTo>
                    <a:cubicBezTo>
                      <a:pt x="248" y="77"/>
                      <a:pt x="247" y="78"/>
                      <a:pt x="247" y="78"/>
                    </a:cubicBezTo>
                    <a:cubicBezTo>
                      <a:pt x="248" y="79"/>
                      <a:pt x="249" y="82"/>
                      <a:pt x="251" y="83"/>
                    </a:cubicBezTo>
                    <a:cubicBezTo>
                      <a:pt x="252" y="84"/>
                      <a:pt x="254" y="83"/>
                      <a:pt x="255" y="83"/>
                    </a:cubicBezTo>
                    <a:cubicBezTo>
                      <a:pt x="256" y="84"/>
                      <a:pt x="257" y="86"/>
                      <a:pt x="258" y="87"/>
                    </a:cubicBezTo>
                    <a:cubicBezTo>
                      <a:pt x="259" y="87"/>
                      <a:pt x="261" y="87"/>
                      <a:pt x="262" y="87"/>
                    </a:cubicBezTo>
                    <a:cubicBezTo>
                      <a:pt x="263" y="88"/>
                      <a:pt x="265" y="89"/>
                      <a:pt x="265" y="90"/>
                    </a:cubicBezTo>
                    <a:cubicBezTo>
                      <a:pt x="265" y="91"/>
                      <a:pt x="264" y="92"/>
                      <a:pt x="263" y="92"/>
                    </a:cubicBezTo>
                    <a:cubicBezTo>
                      <a:pt x="262" y="92"/>
                      <a:pt x="260" y="91"/>
                      <a:pt x="259" y="91"/>
                    </a:cubicBezTo>
                    <a:cubicBezTo>
                      <a:pt x="259" y="91"/>
                      <a:pt x="258" y="92"/>
                      <a:pt x="258" y="93"/>
                    </a:cubicBezTo>
                    <a:cubicBezTo>
                      <a:pt x="258" y="93"/>
                      <a:pt x="259" y="94"/>
                      <a:pt x="259" y="95"/>
                    </a:cubicBezTo>
                    <a:cubicBezTo>
                      <a:pt x="259" y="95"/>
                      <a:pt x="259" y="97"/>
                      <a:pt x="258" y="97"/>
                    </a:cubicBezTo>
                    <a:cubicBezTo>
                      <a:pt x="258" y="97"/>
                      <a:pt x="256" y="97"/>
                      <a:pt x="256" y="97"/>
                    </a:cubicBezTo>
                    <a:cubicBezTo>
                      <a:pt x="255" y="97"/>
                      <a:pt x="255" y="95"/>
                      <a:pt x="254" y="95"/>
                    </a:cubicBezTo>
                    <a:cubicBezTo>
                      <a:pt x="253" y="95"/>
                      <a:pt x="253" y="96"/>
                      <a:pt x="253" y="97"/>
                    </a:cubicBezTo>
                    <a:cubicBezTo>
                      <a:pt x="252" y="98"/>
                      <a:pt x="252" y="100"/>
                      <a:pt x="253" y="101"/>
                    </a:cubicBezTo>
                    <a:cubicBezTo>
                      <a:pt x="254" y="102"/>
                      <a:pt x="258" y="102"/>
                      <a:pt x="259" y="103"/>
                    </a:cubicBezTo>
                    <a:cubicBezTo>
                      <a:pt x="260" y="104"/>
                      <a:pt x="263" y="108"/>
                      <a:pt x="263" y="109"/>
                    </a:cubicBezTo>
                    <a:cubicBezTo>
                      <a:pt x="263" y="111"/>
                      <a:pt x="262" y="114"/>
                      <a:pt x="262" y="116"/>
                    </a:cubicBezTo>
                    <a:cubicBezTo>
                      <a:pt x="262" y="117"/>
                      <a:pt x="263" y="120"/>
                      <a:pt x="264" y="121"/>
                    </a:cubicBezTo>
                    <a:cubicBezTo>
                      <a:pt x="265" y="122"/>
                      <a:pt x="267" y="122"/>
                      <a:pt x="267" y="123"/>
                    </a:cubicBezTo>
                    <a:cubicBezTo>
                      <a:pt x="268" y="124"/>
                      <a:pt x="268" y="126"/>
                      <a:pt x="268" y="127"/>
                    </a:cubicBezTo>
                    <a:cubicBezTo>
                      <a:pt x="268" y="128"/>
                      <a:pt x="267" y="130"/>
                      <a:pt x="267" y="131"/>
                    </a:cubicBezTo>
                    <a:cubicBezTo>
                      <a:pt x="267" y="132"/>
                      <a:pt x="266" y="133"/>
                      <a:pt x="266" y="134"/>
                    </a:cubicBezTo>
                    <a:cubicBezTo>
                      <a:pt x="265" y="135"/>
                      <a:pt x="265" y="138"/>
                      <a:pt x="265" y="139"/>
                    </a:cubicBezTo>
                    <a:cubicBezTo>
                      <a:pt x="266" y="141"/>
                      <a:pt x="268" y="144"/>
                      <a:pt x="269" y="146"/>
                    </a:cubicBezTo>
                    <a:cubicBezTo>
                      <a:pt x="270" y="148"/>
                      <a:pt x="274" y="150"/>
                      <a:pt x="275" y="152"/>
                    </a:cubicBezTo>
                    <a:cubicBezTo>
                      <a:pt x="275" y="152"/>
                      <a:pt x="274" y="154"/>
                      <a:pt x="275" y="155"/>
                    </a:cubicBezTo>
                    <a:cubicBezTo>
                      <a:pt x="275" y="156"/>
                      <a:pt x="278" y="157"/>
                      <a:pt x="279" y="158"/>
                    </a:cubicBezTo>
                    <a:cubicBezTo>
                      <a:pt x="280" y="158"/>
                      <a:pt x="280" y="160"/>
                      <a:pt x="280" y="161"/>
                    </a:cubicBezTo>
                    <a:cubicBezTo>
                      <a:pt x="280" y="162"/>
                      <a:pt x="278" y="164"/>
                      <a:pt x="277" y="165"/>
                    </a:cubicBezTo>
                    <a:cubicBezTo>
                      <a:pt x="276" y="168"/>
                      <a:pt x="276" y="173"/>
                      <a:pt x="275" y="176"/>
                    </a:cubicBezTo>
                    <a:cubicBezTo>
                      <a:pt x="274" y="177"/>
                      <a:pt x="272" y="178"/>
                      <a:pt x="271" y="179"/>
                    </a:cubicBezTo>
                    <a:cubicBezTo>
                      <a:pt x="270" y="181"/>
                      <a:pt x="272" y="185"/>
                      <a:pt x="271" y="187"/>
                    </a:cubicBezTo>
                    <a:cubicBezTo>
                      <a:pt x="271" y="189"/>
                      <a:pt x="268" y="191"/>
                      <a:pt x="267" y="191"/>
                    </a:cubicBezTo>
                    <a:cubicBezTo>
                      <a:pt x="266" y="192"/>
                      <a:pt x="265" y="192"/>
                      <a:pt x="264" y="192"/>
                    </a:cubicBezTo>
                    <a:cubicBezTo>
                      <a:pt x="261" y="193"/>
                      <a:pt x="256" y="196"/>
                      <a:pt x="255" y="198"/>
                    </a:cubicBezTo>
                    <a:cubicBezTo>
                      <a:pt x="254" y="199"/>
                      <a:pt x="253" y="202"/>
                      <a:pt x="252" y="204"/>
                    </a:cubicBezTo>
                    <a:cubicBezTo>
                      <a:pt x="251" y="206"/>
                      <a:pt x="248" y="209"/>
                      <a:pt x="247" y="211"/>
                    </a:cubicBezTo>
                    <a:cubicBezTo>
                      <a:pt x="246" y="214"/>
                      <a:pt x="245" y="219"/>
                      <a:pt x="245" y="222"/>
                    </a:cubicBezTo>
                    <a:cubicBezTo>
                      <a:pt x="245" y="225"/>
                      <a:pt x="248" y="230"/>
                      <a:pt x="249" y="233"/>
                    </a:cubicBezTo>
                    <a:cubicBezTo>
                      <a:pt x="249" y="236"/>
                      <a:pt x="250" y="242"/>
                      <a:pt x="252" y="244"/>
                    </a:cubicBezTo>
                    <a:cubicBezTo>
                      <a:pt x="253" y="247"/>
                      <a:pt x="260" y="249"/>
                      <a:pt x="261" y="252"/>
                    </a:cubicBezTo>
                    <a:cubicBezTo>
                      <a:pt x="262" y="254"/>
                      <a:pt x="263" y="258"/>
                      <a:pt x="262" y="260"/>
                    </a:cubicBezTo>
                    <a:cubicBezTo>
                      <a:pt x="262" y="261"/>
                      <a:pt x="260" y="262"/>
                      <a:pt x="260" y="263"/>
                    </a:cubicBezTo>
                    <a:cubicBezTo>
                      <a:pt x="260" y="264"/>
                      <a:pt x="260" y="267"/>
                      <a:pt x="259" y="268"/>
                    </a:cubicBezTo>
                    <a:cubicBezTo>
                      <a:pt x="258" y="270"/>
                      <a:pt x="255" y="273"/>
                      <a:pt x="255" y="275"/>
                    </a:cubicBezTo>
                    <a:cubicBezTo>
                      <a:pt x="254" y="276"/>
                      <a:pt x="254" y="279"/>
                      <a:pt x="254" y="280"/>
                    </a:cubicBezTo>
                    <a:cubicBezTo>
                      <a:pt x="255" y="281"/>
                      <a:pt x="257" y="283"/>
                      <a:pt x="258" y="284"/>
                    </a:cubicBezTo>
                    <a:cubicBezTo>
                      <a:pt x="258" y="285"/>
                      <a:pt x="259" y="288"/>
                      <a:pt x="259" y="290"/>
                    </a:cubicBezTo>
                    <a:cubicBezTo>
                      <a:pt x="258" y="291"/>
                      <a:pt x="255" y="292"/>
                      <a:pt x="255" y="293"/>
                    </a:cubicBezTo>
                    <a:cubicBezTo>
                      <a:pt x="254" y="293"/>
                      <a:pt x="255" y="295"/>
                      <a:pt x="255" y="296"/>
                    </a:cubicBezTo>
                    <a:cubicBezTo>
                      <a:pt x="255" y="297"/>
                      <a:pt x="257" y="299"/>
                      <a:pt x="257" y="300"/>
                    </a:cubicBezTo>
                    <a:cubicBezTo>
                      <a:pt x="257" y="302"/>
                      <a:pt x="257" y="307"/>
                      <a:pt x="256" y="309"/>
                    </a:cubicBezTo>
                    <a:cubicBezTo>
                      <a:pt x="256" y="311"/>
                      <a:pt x="254" y="313"/>
                      <a:pt x="253" y="315"/>
                    </a:cubicBezTo>
                    <a:cubicBezTo>
                      <a:pt x="253" y="316"/>
                      <a:pt x="252" y="319"/>
                      <a:pt x="252" y="321"/>
                    </a:cubicBezTo>
                    <a:cubicBezTo>
                      <a:pt x="253" y="323"/>
                      <a:pt x="254" y="327"/>
                      <a:pt x="255" y="329"/>
                    </a:cubicBezTo>
                    <a:cubicBezTo>
                      <a:pt x="255" y="330"/>
                      <a:pt x="255" y="333"/>
                      <a:pt x="254" y="334"/>
                    </a:cubicBezTo>
                    <a:cubicBezTo>
                      <a:pt x="254" y="336"/>
                      <a:pt x="252" y="338"/>
                      <a:pt x="251" y="339"/>
                    </a:cubicBezTo>
                    <a:cubicBezTo>
                      <a:pt x="251" y="340"/>
                      <a:pt x="251" y="342"/>
                      <a:pt x="251" y="343"/>
                    </a:cubicBezTo>
                    <a:cubicBezTo>
                      <a:pt x="251" y="344"/>
                      <a:pt x="250" y="345"/>
                      <a:pt x="250" y="346"/>
                    </a:cubicBezTo>
                    <a:cubicBezTo>
                      <a:pt x="249" y="349"/>
                      <a:pt x="250" y="354"/>
                      <a:pt x="250" y="356"/>
                    </a:cubicBezTo>
                    <a:cubicBezTo>
                      <a:pt x="250" y="360"/>
                      <a:pt x="249" y="366"/>
                      <a:pt x="249" y="369"/>
                    </a:cubicBezTo>
                    <a:cubicBezTo>
                      <a:pt x="248" y="372"/>
                      <a:pt x="244" y="376"/>
                      <a:pt x="245" y="379"/>
                    </a:cubicBezTo>
                    <a:cubicBezTo>
                      <a:pt x="245" y="381"/>
                      <a:pt x="247" y="383"/>
                      <a:pt x="247" y="385"/>
                    </a:cubicBezTo>
                    <a:cubicBezTo>
                      <a:pt x="248" y="388"/>
                      <a:pt x="247" y="394"/>
                      <a:pt x="246" y="397"/>
                    </a:cubicBezTo>
                    <a:cubicBezTo>
                      <a:pt x="245" y="399"/>
                      <a:pt x="243" y="403"/>
                      <a:pt x="242" y="405"/>
                    </a:cubicBezTo>
                    <a:cubicBezTo>
                      <a:pt x="242" y="406"/>
                      <a:pt x="242" y="410"/>
                      <a:pt x="241" y="411"/>
                    </a:cubicBezTo>
                    <a:cubicBezTo>
                      <a:pt x="240" y="411"/>
                      <a:pt x="239" y="411"/>
                      <a:pt x="239" y="411"/>
                    </a:cubicBezTo>
                    <a:cubicBezTo>
                      <a:pt x="238" y="412"/>
                      <a:pt x="238" y="414"/>
                      <a:pt x="238" y="415"/>
                    </a:cubicBezTo>
                    <a:cubicBezTo>
                      <a:pt x="239" y="416"/>
                      <a:pt x="241" y="416"/>
                      <a:pt x="242" y="417"/>
                    </a:cubicBezTo>
                    <a:cubicBezTo>
                      <a:pt x="242" y="418"/>
                      <a:pt x="242" y="421"/>
                      <a:pt x="243" y="422"/>
                    </a:cubicBezTo>
                    <a:cubicBezTo>
                      <a:pt x="244" y="423"/>
                      <a:pt x="247" y="423"/>
                      <a:pt x="247" y="424"/>
                    </a:cubicBezTo>
                    <a:cubicBezTo>
                      <a:pt x="247" y="425"/>
                      <a:pt x="245" y="426"/>
                      <a:pt x="244" y="426"/>
                    </a:cubicBezTo>
                    <a:cubicBezTo>
                      <a:pt x="243" y="427"/>
                      <a:pt x="242" y="426"/>
                      <a:pt x="241" y="426"/>
                    </a:cubicBezTo>
                    <a:cubicBezTo>
                      <a:pt x="240" y="427"/>
                      <a:pt x="239" y="429"/>
                      <a:pt x="238" y="430"/>
                    </a:cubicBezTo>
                    <a:cubicBezTo>
                      <a:pt x="238" y="431"/>
                      <a:pt x="238" y="434"/>
                      <a:pt x="237" y="435"/>
                    </a:cubicBezTo>
                    <a:cubicBezTo>
                      <a:pt x="237" y="437"/>
                      <a:pt x="235" y="441"/>
                      <a:pt x="235" y="444"/>
                    </a:cubicBezTo>
                    <a:cubicBezTo>
                      <a:pt x="235" y="445"/>
                      <a:pt x="237" y="448"/>
                      <a:pt x="237" y="449"/>
                    </a:cubicBezTo>
                    <a:cubicBezTo>
                      <a:pt x="237" y="451"/>
                      <a:pt x="236" y="453"/>
                      <a:pt x="236" y="454"/>
                    </a:cubicBezTo>
                    <a:cubicBezTo>
                      <a:pt x="235" y="455"/>
                      <a:pt x="236" y="458"/>
                      <a:pt x="235" y="459"/>
                    </a:cubicBezTo>
                    <a:cubicBezTo>
                      <a:pt x="234" y="460"/>
                      <a:pt x="231" y="458"/>
                      <a:pt x="230" y="459"/>
                    </a:cubicBezTo>
                    <a:cubicBezTo>
                      <a:pt x="230" y="460"/>
                      <a:pt x="230" y="462"/>
                      <a:pt x="230" y="463"/>
                    </a:cubicBezTo>
                    <a:cubicBezTo>
                      <a:pt x="230" y="464"/>
                      <a:pt x="231" y="466"/>
                      <a:pt x="230" y="467"/>
                    </a:cubicBezTo>
                    <a:cubicBezTo>
                      <a:pt x="229" y="467"/>
                      <a:pt x="227" y="467"/>
                      <a:pt x="226" y="467"/>
                    </a:cubicBezTo>
                    <a:cubicBezTo>
                      <a:pt x="226" y="466"/>
                      <a:pt x="225" y="465"/>
                      <a:pt x="225" y="464"/>
                    </a:cubicBezTo>
                    <a:cubicBezTo>
                      <a:pt x="224" y="463"/>
                      <a:pt x="225" y="461"/>
                      <a:pt x="224" y="461"/>
                    </a:cubicBezTo>
                    <a:cubicBezTo>
                      <a:pt x="223" y="460"/>
                      <a:pt x="221" y="462"/>
                      <a:pt x="219" y="462"/>
                    </a:cubicBezTo>
                    <a:cubicBezTo>
                      <a:pt x="218" y="462"/>
                      <a:pt x="215" y="462"/>
                      <a:pt x="213" y="461"/>
                    </a:cubicBezTo>
                    <a:cubicBezTo>
                      <a:pt x="213" y="461"/>
                      <a:pt x="212" y="460"/>
                      <a:pt x="212" y="459"/>
                    </a:cubicBezTo>
                    <a:cubicBezTo>
                      <a:pt x="211" y="459"/>
                      <a:pt x="208" y="460"/>
                      <a:pt x="207" y="460"/>
                    </a:cubicBezTo>
                    <a:cubicBezTo>
                      <a:pt x="206" y="459"/>
                      <a:pt x="205" y="457"/>
                      <a:pt x="205" y="456"/>
                    </a:cubicBezTo>
                    <a:cubicBezTo>
                      <a:pt x="204" y="455"/>
                      <a:pt x="203" y="454"/>
                      <a:pt x="202" y="454"/>
                    </a:cubicBezTo>
                    <a:cubicBezTo>
                      <a:pt x="201" y="453"/>
                      <a:pt x="198" y="453"/>
                      <a:pt x="197" y="453"/>
                    </a:cubicBezTo>
                    <a:cubicBezTo>
                      <a:pt x="196" y="452"/>
                      <a:pt x="195" y="449"/>
                      <a:pt x="195" y="448"/>
                    </a:cubicBezTo>
                    <a:cubicBezTo>
                      <a:pt x="194" y="447"/>
                      <a:pt x="195" y="445"/>
                      <a:pt x="194" y="444"/>
                    </a:cubicBezTo>
                    <a:cubicBezTo>
                      <a:pt x="193" y="442"/>
                      <a:pt x="189" y="441"/>
                      <a:pt x="186" y="440"/>
                    </a:cubicBezTo>
                    <a:cubicBezTo>
                      <a:pt x="185" y="440"/>
                      <a:pt x="182" y="440"/>
                      <a:pt x="180" y="440"/>
                    </a:cubicBezTo>
                    <a:cubicBezTo>
                      <a:pt x="178" y="440"/>
                      <a:pt x="176" y="441"/>
                      <a:pt x="174" y="442"/>
                    </a:cubicBezTo>
                    <a:cubicBezTo>
                      <a:pt x="173" y="442"/>
                      <a:pt x="171" y="442"/>
                      <a:pt x="170" y="442"/>
                    </a:cubicBezTo>
                    <a:cubicBezTo>
                      <a:pt x="170" y="443"/>
                      <a:pt x="170" y="445"/>
                      <a:pt x="170" y="446"/>
                    </a:cubicBezTo>
                    <a:cubicBezTo>
                      <a:pt x="169" y="446"/>
                      <a:pt x="168" y="447"/>
                      <a:pt x="167" y="447"/>
                    </a:cubicBezTo>
                    <a:cubicBezTo>
                      <a:pt x="166" y="447"/>
                      <a:pt x="164" y="445"/>
                      <a:pt x="163" y="445"/>
                    </a:cubicBezTo>
                    <a:cubicBezTo>
                      <a:pt x="162" y="445"/>
                      <a:pt x="161" y="446"/>
                      <a:pt x="160" y="446"/>
                    </a:cubicBezTo>
                    <a:cubicBezTo>
                      <a:pt x="159" y="446"/>
                      <a:pt x="157" y="446"/>
                      <a:pt x="156" y="446"/>
                    </a:cubicBezTo>
                    <a:cubicBezTo>
                      <a:pt x="155" y="446"/>
                      <a:pt x="152" y="447"/>
                      <a:pt x="151" y="447"/>
                    </a:cubicBezTo>
                    <a:cubicBezTo>
                      <a:pt x="150" y="448"/>
                      <a:pt x="149" y="450"/>
                      <a:pt x="148" y="451"/>
                    </a:cubicBezTo>
                    <a:cubicBezTo>
                      <a:pt x="146" y="452"/>
                      <a:pt x="143" y="454"/>
                      <a:pt x="142" y="456"/>
                    </a:cubicBezTo>
                    <a:cubicBezTo>
                      <a:pt x="141" y="458"/>
                      <a:pt x="140" y="461"/>
                      <a:pt x="140" y="463"/>
                    </a:cubicBezTo>
                    <a:cubicBezTo>
                      <a:pt x="140" y="465"/>
                      <a:pt x="141" y="469"/>
                      <a:pt x="142" y="470"/>
                    </a:cubicBezTo>
                    <a:cubicBezTo>
                      <a:pt x="143" y="471"/>
                      <a:pt x="146" y="472"/>
                      <a:pt x="146" y="473"/>
                    </a:cubicBezTo>
                    <a:cubicBezTo>
                      <a:pt x="147" y="474"/>
                      <a:pt x="149" y="477"/>
                      <a:pt x="148" y="479"/>
                    </a:cubicBezTo>
                    <a:cubicBezTo>
                      <a:pt x="148" y="480"/>
                      <a:pt x="144" y="480"/>
                      <a:pt x="143" y="481"/>
                    </a:cubicBezTo>
                    <a:cubicBezTo>
                      <a:pt x="143" y="482"/>
                      <a:pt x="142" y="484"/>
                      <a:pt x="142" y="484"/>
                    </a:cubicBezTo>
                    <a:cubicBezTo>
                      <a:pt x="142" y="485"/>
                      <a:pt x="143" y="487"/>
                      <a:pt x="144" y="488"/>
                    </a:cubicBezTo>
                    <a:cubicBezTo>
                      <a:pt x="144" y="489"/>
                      <a:pt x="145" y="492"/>
                      <a:pt x="144" y="493"/>
                    </a:cubicBezTo>
                    <a:cubicBezTo>
                      <a:pt x="144" y="494"/>
                      <a:pt x="142" y="493"/>
                      <a:pt x="142" y="493"/>
                    </a:cubicBezTo>
                    <a:cubicBezTo>
                      <a:pt x="141" y="493"/>
                      <a:pt x="140" y="492"/>
                      <a:pt x="139" y="492"/>
                    </a:cubicBezTo>
                    <a:cubicBezTo>
                      <a:pt x="138" y="493"/>
                      <a:pt x="138" y="495"/>
                      <a:pt x="137" y="495"/>
                    </a:cubicBezTo>
                    <a:cubicBezTo>
                      <a:pt x="136" y="496"/>
                      <a:pt x="132" y="497"/>
                      <a:pt x="130" y="498"/>
                    </a:cubicBezTo>
                    <a:cubicBezTo>
                      <a:pt x="129" y="499"/>
                      <a:pt x="127" y="503"/>
                      <a:pt x="126" y="505"/>
                    </a:cubicBezTo>
                    <a:cubicBezTo>
                      <a:pt x="125" y="506"/>
                      <a:pt x="124" y="508"/>
                      <a:pt x="123" y="509"/>
                    </a:cubicBezTo>
                    <a:cubicBezTo>
                      <a:pt x="123" y="509"/>
                      <a:pt x="121" y="509"/>
                      <a:pt x="120" y="509"/>
                    </a:cubicBezTo>
                    <a:cubicBezTo>
                      <a:pt x="120" y="510"/>
                      <a:pt x="118" y="510"/>
                      <a:pt x="118" y="511"/>
                    </a:cubicBezTo>
                    <a:cubicBezTo>
                      <a:pt x="117" y="511"/>
                      <a:pt x="117" y="513"/>
                      <a:pt x="116" y="513"/>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38">
                <a:extLst>
                  <a:ext uri="{FF2B5EF4-FFF2-40B4-BE49-F238E27FC236}">
                    <a16:creationId xmlns:a16="http://schemas.microsoft.com/office/drawing/2014/main" id="{A82C11D9-5CAA-A365-566A-38FC4D205EB6}"/>
                  </a:ext>
                </a:extLst>
              </p:cNvPr>
              <p:cNvSpPr>
                <a:spLocks/>
              </p:cNvSpPr>
              <p:nvPr/>
            </p:nvSpPr>
            <p:spPr bwMode="auto">
              <a:xfrm>
                <a:off x="6679723" y="4859377"/>
                <a:ext cx="33882" cy="53464"/>
              </a:xfrm>
              <a:custGeom>
                <a:avLst/>
                <a:gdLst/>
                <a:ahLst/>
                <a:cxnLst>
                  <a:cxn ang="0">
                    <a:pos x="22" y="16"/>
                  </a:cxn>
                  <a:cxn ang="0">
                    <a:pos x="19" y="15"/>
                  </a:cxn>
                  <a:cxn ang="0">
                    <a:pos x="22" y="11"/>
                  </a:cxn>
                  <a:cxn ang="0">
                    <a:pos x="20" y="7"/>
                  </a:cxn>
                  <a:cxn ang="0">
                    <a:pos x="17" y="5"/>
                  </a:cxn>
                  <a:cxn ang="0">
                    <a:pos x="16" y="1"/>
                  </a:cxn>
                  <a:cxn ang="0">
                    <a:pos x="10" y="0"/>
                  </a:cxn>
                  <a:cxn ang="0">
                    <a:pos x="5" y="0"/>
                  </a:cxn>
                  <a:cxn ang="0">
                    <a:pos x="2" y="2"/>
                  </a:cxn>
                  <a:cxn ang="0">
                    <a:pos x="2" y="4"/>
                  </a:cxn>
                  <a:cxn ang="0">
                    <a:pos x="4" y="6"/>
                  </a:cxn>
                  <a:cxn ang="0">
                    <a:pos x="3" y="8"/>
                  </a:cxn>
                  <a:cxn ang="0">
                    <a:pos x="1" y="8"/>
                  </a:cxn>
                  <a:cxn ang="0">
                    <a:pos x="2" y="13"/>
                  </a:cxn>
                  <a:cxn ang="0">
                    <a:pos x="5" y="15"/>
                  </a:cxn>
                  <a:cxn ang="0">
                    <a:pos x="5" y="19"/>
                  </a:cxn>
                  <a:cxn ang="0">
                    <a:pos x="7" y="22"/>
                  </a:cxn>
                  <a:cxn ang="0">
                    <a:pos x="7" y="26"/>
                  </a:cxn>
                  <a:cxn ang="0">
                    <a:pos x="9" y="29"/>
                  </a:cxn>
                  <a:cxn ang="0">
                    <a:pos x="9" y="32"/>
                  </a:cxn>
                  <a:cxn ang="0">
                    <a:pos x="11" y="36"/>
                  </a:cxn>
                  <a:cxn ang="0">
                    <a:pos x="13" y="35"/>
                  </a:cxn>
                  <a:cxn ang="0">
                    <a:pos x="18" y="35"/>
                  </a:cxn>
                  <a:cxn ang="0">
                    <a:pos x="19" y="31"/>
                  </a:cxn>
                  <a:cxn ang="0">
                    <a:pos x="19" y="25"/>
                  </a:cxn>
                  <a:cxn ang="0">
                    <a:pos x="20" y="20"/>
                  </a:cxn>
                  <a:cxn ang="0">
                    <a:pos x="22" y="16"/>
                  </a:cxn>
                </a:cxnLst>
                <a:rect l="0" t="0" r="r" b="b"/>
                <a:pathLst>
                  <a:path w="22" h="36">
                    <a:moveTo>
                      <a:pt x="22" y="16"/>
                    </a:moveTo>
                    <a:cubicBezTo>
                      <a:pt x="21" y="15"/>
                      <a:pt x="19" y="15"/>
                      <a:pt x="19" y="15"/>
                    </a:cubicBezTo>
                    <a:cubicBezTo>
                      <a:pt x="19" y="14"/>
                      <a:pt x="22" y="12"/>
                      <a:pt x="22" y="11"/>
                    </a:cubicBezTo>
                    <a:cubicBezTo>
                      <a:pt x="22" y="10"/>
                      <a:pt x="21" y="8"/>
                      <a:pt x="20" y="7"/>
                    </a:cubicBezTo>
                    <a:cubicBezTo>
                      <a:pt x="20" y="7"/>
                      <a:pt x="17" y="5"/>
                      <a:pt x="17" y="5"/>
                    </a:cubicBezTo>
                    <a:cubicBezTo>
                      <a:pt x="16" y="4"/>
                      <a:pt x="16" y="2"/>
                      <a:pt x="16" y="1"/>
                    </a:cubicBezTo>
                    <a:cubicBezTo>
                      <a:pt x="15" y="0"/>
                      <a:pt x="11" y="0"/>
                      <a:pt x="10" y="0"/>
                    </a:cubicBezTo>
                    <a:cubicBezTo>
                      <a:pt x="8" y="0"/>
                      <a:pt x="6" y="0"/>
                      <a:pt x="5" y="0"/>
                    </a:cubicBezTo>
                    <a:cubicBezTo>
                      <a:pt x="4" y="0"/>
                      <a:pt x="3" y="1"/>
                      <a:pt x="2" y="2"/>
                    </a:cubicBezTo>
                    <a:cubicBezTo>
                      <a:pt x="2" y="2"/>
                      <a:pt x="2" y="4"/>
                      <a:pt x="2" y="4"/>
                    </a:cubicBezTo>
                    <a:cubicBezTo>
                      <a:pt x="2" y="5"/>
                      <a:pt x="3" y="5"/>
                      <a:pt x="4" y="6"/>
                    </a:cubicBezTo>
                    <a:cubicBezTo>
                      <a:pt x="4" y="6"/>
                      <a:pt x="3" y="7"/>
                      <a:pt x="3" y="8"/>
                    </a:cubicBezTo>
                    <a:cubicBezTo>
                      <a:pt x="2" y="8"/>
                      <a:pt x="1" y="8"/>
                      <a:pt x="1" y="8"/>
                    </a:cubicBezTo>
                    <a:cubicBezTo>
                      <a:pt x="0" y="9"/>
                      <a:pt x="2" y="12"/>
                      <a:pt x="2" y="13"/>
                    </a:cubicBezTo>
                    <a:cubicBezTo>
                      <a:pt x="3" y="14"/>
                      <a:pt x="4" y="14"/>
                      <a:pt x="5" y="15"/>
                    </a:cubicBezTo>
                    <a:cubicBezTo>
                      <a:pt x="5" y="16"/>
                      <a:pt x="5" y="18"/>
                      <a:pt x="5" y="19"/>
                    </a:cubicBezTo>
                    <a:cubicBezTo>
                      <a:pt x="5" y="20"/>
                      <a:pt x="7" y="21"/>
                      <a:pt x="7" y="22"/>
                    </a:cubicBezTo>
                    <a:cubicBezTo>
                      <a:pt x="8" y="23"/>
                      <a:pt x="7" y="25"/>
                      <a:pt x="7" y="26"/>
                    </a:cubicBezTo>
                    <a:cubicBezTo>
                      <a:pt x="8" y="27"/>
                      <a:pt x="9" y="28"/>
                      <a:pt x="9" y="29"/>
                    </a:cubicBezTo>
                    <a:cubicBezTo>
                      <a:pt x="9" y="29"/>
                      <a:pt x="9" y="31"/>
                      <a:pt x="9" y="32"/>
                    </a:cubicBezTo>
                    <a:cubicBezTo>
                      <a:pt x="9" y="33"/>
                      <a:pt x="10" y="35"/>
                      <a:pt x="11" y="36"/>
                    </a:cubicBezTo>
                    <a:cubicBezTo>
                      <a:pt x="12" y="36"/>
                      <a:pt x="13" y="35"/>
                      <a:pt x="13" y="35"/>
                    </a:cubicBezTo>
                    <a:cubicBezTo>
                      <a:pt x="14" y="34"/>
                      <a:pt x="17" y="35"/>
                      <a:pt x="18" y="35"/>
                    </a:cubicBezTo>
                    <a:cubicBezTo>
                      <a:pt x="19" y="34"/>
                      <a:pt x="19" y="32"/>
                      <a:pt x="19" y="31"/>
                    </a:cubicBezTo>
                    <a:cubicBezTo>
                      <a:pt x="19" y="29"/>
                      <a:pt x="19" y="26"/>
                      <a:pt x="19" y="25"/>
                    </a:cubicBezTo>
                    <a:cubicBezTo>
                      <a:pt x="19" y="24"/>
                      <a:pt x="20" y="21"/>
                      <a:pt x="20" y="20"/>
                    </a:cubicBezTo>
                    <a:cubicBezTo>
                      <a:pt x="20" y="19"/>
                      <a:pt x="22" y="17"/>
                      <a:pt x="22" y="16"/>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39">
                <a:extLst>
                  <a:ext uri="{FF2B5EF4-FFF2-40B4-BE49-F238E27FC236}">
                    <a16:creationId xmlns:a16="http://schemas.microsoft.com/office/drawing/2014/main" id="{C8A79128-9A41-3D0D-8079-D674028AF6BB}"/>
                  </a:ext>
                </a:extLst>
              </p:cNvPr>
              <p:cNvSpPr>
                <a:spLocks/>
              </p:cNvSpPr>
              <p:nvPr/>
            </p:nvSpPr>
            <p:spPr bwMode="auto">
              <a:xfrm>
                <a:off x="6648551" y="4833982"/>
                <a:ext cx="25751" cy="36088"/>
              </a:xfrm>
              <a:custGeom>
                <a:avLst/>
                <a:gdLst/>
                <a:ahLst/>
                <a:cxnLst>
                  <a:cxn ang="0">
                    <a:pos x="17" y="12"/>
                  </a:cxn>
                  <a:cxn ang="0">
                    <a:pos x="16" y="7"/>
                  </a:cxn>
                  <a:cxn ang="0">
                    <a:pos x="16" y="1"/>
                  </a:cxn>
                  <a:cxn ang="0">
                    <a:pos x="10" y="0"/>
                  </a:cxn>
                  <a:cxn ang="0">
                    <a:pos x="8" y="2"/>
                  </a:cxn>
                  <a:cxn ang="0">
                    <a:pos x="6" y="5"/>
                  </a:cxn>
                  <a:cxn ang="0">
                    <a:pos x="3" y="5"/>
                  </a:cxn>
                  <a:cxn ang="0">
                    <a:pos x="1" y="9"/>
                  </a:cxn>
                  <a:cxn ang="0">
                    <a:pos x="1" y="11"/>
                  </a:cxn>
                  <a:cxn ang="0">
                    <a:pos x="4" y="12"/>
                  </a:cxn>
                  <a:cxn ang="0">
                    <a:pos x="4" y="16"/>
                  </a:cxn>
                  <a:cxn ang="0">
                    <a:pos x="5" y="19"/>
                  </a:cxn>
                  <a:cxn ang="0">
                    <a:pos x="8" y="20"/>
                  </a:cxn>
                  <a:cxn ang="0">
                    <a:pos x="12" y="24"/>
                  </a:cxn>
                  <a:cxn ang="0">
                    <a:pos x="14" y="20"/>
                  </a:cxn>
                  <a:cxn ang="0">
                    <a:pos x="17" y="18"/>
                  </a:cxn>
                  <a:cxn ang="0">
                    <a:pos x="16" y="14"/>
                  </a:cxn>
                  <a:cxn ang="0">
                    <a:pos x="17" y="12"/>
                  </a:cxn>
                </a:cxnLst>
                <a:rect l="0" t="0" r="r" b="b"/>
                <a:pathLst>
                  <a:path w="17" h="24">
                    <a:moveTo>
                      <a:pt x="17" y="12"/>
                    </a:moveTo>
                    <a:cubicBezTo>
                      <a:pt x="17" y="12"/>
                      <a:pt x="16" y="8"/>
                      <a:pt x="16" y="7"/>
                    </a:cubicBezTo>
                    <a:cubicBezTo>
                      <a:pt x="16" y="6"/>
                      <a:pt x="17" y="3"/>
                      <a:pt x="16" y="1"/>
                    </a:cubicBezTo>
                    <a:cubicBezTo>
                      <a:pt x="15" y="0"/>
                      <a:pt x="12" y="0"/>
                      <a:pt x="10" y="0"/>
                    </a:cubicBezTo>
                    <a:cubicBezTo>
                      <a:pt x="10" y="1"/>
                      <a:pt x="8" y="2"/>
                      <a:pt x="8" y="2"/>
                    </a:cubicBezTo>
                    <a:cubicBezTo>
                      <a:pt x="7" y="3"/>
                      <a:pt x="6" y="4"/>
                      <a:pt x="6" y="5"/>
                    </a:cubicBezTo>
                    <a:cubicBezTo>
                      <a:pt x="5" y="5"/>
                      <a:pt x="3" y="5"/>
                      <a:pt x="3" y="5"/>
                    </a:cubicBezTo>
                    <a:cubicBezTo>
                      <a:pt x="2" y="6"/>
                      <a:pt x="1" y="8"/>
                      <a:pt x="1" y="9"/>
                    </a:cubicBezTo>
                    <a:cubicBezTo>
                      <a:pt x="0" y="9"/>
                      <a:pt x="1" y="11"/>
                      <a:pt x="1" y="11"/>
                    </a:cubicBezTo>
                    <a:cubicBezTo>
                      <a:pt x="2" y="12"/>
                      <a:pt x="3" y="11"/>
                      <a:pt x="4" y="12"/>
                    </a:cubicBezTo>
                    <a:cubicBezTo>
                      <a:pt x="4" y="13"/>
                      <a:pt x="4" y="15"/>
                      <a:pt x="4" y="16"/>
                    </a:cubicBezTo>
                    <a:cubicBezTo>
                      <a:pt x="4" y="17"/>
                      <a:pt x="5" y="19"/>
                      <a:pt x="5" y="19"/>
                    </a:cubicBezTo>
                    <a:cubicBezTo>
                      <a:pt x="6" y="20"/>
                      <a:pt x="8" y="20"/>
                      <a:pt x="8" y="20"/>
                    </a:cubicBezTo>
                    <a:cubicBezTo>
                      <a:pt x="9" y="21"/>
                      <a:pt x="10" y="24"/>
                      <a:pt x="12" y="24"/>
                    </a:cubicBezTo>
                    <a:cubicBezTo>
                      <a:pt x="13" y="24"/>
                      <a:pt x="13" y="21"/>
                      <a:pt x="14" y="20"/>
                    </a:cubicBezTo>
                    <a:cubicBezTo>
                      <a:pt x="15" y="20"/>
                      <a:pt x="16" y="19"/>
                      <a:pt x="17" y="18"/>
                    </a:cubicBezTo>
                    <a:cubicBezTo>
                      <a:pt x="17" y="17"/>
                      <a:pt x="16" y="15"/>
                      <a:pt x="16" y="14"/>
                    </a:cubicBezTo>
                    <a:cubicBezTo>
                      <a:pt x="16" y="14"/>
                      <a:pt x="17" y="12"/>
                      <a:pt x="17" y="12"/>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40">
                <a:extLst>
                  <a:ext uri="{FF2B5EF4-FFF2-40B4-BE49-F238E27FC236}">
                    <a16:creationId xmlns:a16="http://schemas.microsoft.com/office/drawing/2014/main" id="{B25527E8-E4BC-1E5C-2A6F-90F23A87C95A}"/>
                  </a:ext>
                </a:extLst>
              </p:cNvPr>
              <p:cNvSpPr>
                <a:spLocks/>
              </p:cNvSpPr>
              <p:nvPr/>
            </p:nvSpPr>
            <p:spPr bwMode="auto">
              <a:xfrm>
                <a:off x="6660749" y="4212465"/>
                <a:ext cx="36593" cy="44108"/>
              </a:xfrm>
              <a:custGeom>
                <a:avLst/>
                <a:gdLst/>
                <a:ahLst/>
                <a:cxnLst>
                  <a:cxn ang="0">
                    <a:pos x="18" y="14"/>
                  </a:cxn>
                  <a:cxn ang="0">
                    <a:pos x="14" y="13"/>
                  </a:cxn>
                  <a:cxn ang="0">
                    <a:pos x="11" y="15"/>
                  </a:cxn>
                  <a:cxn ang="0">
                    <a:pos x="7" y="16"/>
                  </a:cxn>
                  <a:cxn ang="0">
                    <a:pos x="7" y="19"/>
                  </a:cxn>
                  <a:cxn ang="0">
                    <a:pos x="9" y="20"/>
                  </a:cxn>
                  <a:cxn ang="0">
                    <a:pos x="10" y="25"/>
                  </a:cxn>
                  <a:cxn ang="0">
                    <a:pos x="8" y="29"/>
                  </a:cxn>
                  <a:cxn ang="0">
                    <a:pos x="5" y="27"/>
                  </a:cxn>
                  <a:cxn ang="0">
                    <a:pos x="1" y="26"/>
                  </a:cxn>
                  <a:cxn ang="0">
                    <a:pos x="0" y="22"/>
                  </a:cxn>
                  <a:cxn ang="0">
                    <a:pos x="2" y="20"/>
                  </a:cxn>
                  <a:cxn ang="0">
                    <a:pos x="2" y="17"/>
                  </a:cxn>
                  <a:cxn ang="0">
                    <a:pos x="4" y="16"/>
                  </a:cxn>
                  <a:cxn ang="0">
                    <a:pos x="6" y="14"/>
                  </a:cxn>
                  <a:cxn ang="0">
                    <a:pos x="8" y="9"/>
                  </a:cxn>
                  <a:cxn ang="0">
                    <a:pos x="10" y="9"/>
                  </a:cxn>
                  <a:cxn ang="0">
                    <a:pos x="13" y="8"/>
                  </a:cxn>
                  <a:cxn ang="0">
                    <a:pos x="13" y="7"/>
                  </a:cxn>
                  <a:cxn ang="0">
                    <a:pos x="11" y="6"/>
                  </a:cxn>
                  <a:cxn ang="0">
                    <a:pos x="11" y="3"/>
                  </a:cxn>
                  <a:cxn ang="0">
                    <a:pos x="14" y="1"/>
                  </a:cxn>
                  <a:cxn ang="0">
                    <a:pos x="19" y="1"/>
                  </a:cxn>
                  <a:cxn ang="0">
                    <a:pos x="22" y="5"/>
                  </a:cxn>
                  <a:cxn ang="0">
                    <a:pos x="24" y="6"/>
                  </a:cxn>
                  <a:cxn ang="0">
                    <a:pos x="23" y="9"/>
                  </a:cxn>
                  <a:cxn ang="0">
                    <a:pos x="24" y="13"/>
                  </a:cxn>
                  <a:cxn ang="0">
                    <a:pos x="22" y="15"/>
                  </a:cxn>
                  <a:cxn ang="0">
                    <a:pos x="19" y="15"/>
                  </a:cxn>
                  <a:cxn ang="0">
                    <a:pos x="18" y="14"/>
                  </a:cxn>
                </a:cxnLst>
                <a:rect l="0" t="0" r="r" b="b"/>
                <a:pathLst>
                  <a:path w="24" h="29">
                    <a:moveTo>
                      <a:pt x="18" y="14"/>
                    </a:moveTo>
                    <a:cubicBezTo>
                      <a:pt x="17" y="13"/>
                      <a:pt x="15" y="13"/>
                      <a:pt x="14" y="13"/>
                    </a:cubicBezTo>
                    <a:cubicBezTo>
                      <a:pt x="13" y="13"/>
                      <a:pt x="12" y="14"/>
                      <a:pt x="11" y="15"/>
                    </a:cubicBezTo>
                    <a:cubicBezTo>
                      <a:pt x="10" y="15"/>
                      <a:pt x="8" y="16"/>
                      <a:pt x="7" y="16"/>
                    </a:cubicBezTo>
                    <a:cubicBezTo>
                      <a:pt x="7" y="17"/>
                      <a:pt x="6" y="19"/>
                      <a:pt x="7" y="19"/>
                    </a:cubicBezTo>
                    <a:cubicBezTo>
                      <a:pt x="7" y="20"/>
                      <a:pt x="9" y="20"/>
                      <a:pt x="9" y="20"/>
                    </a:cubicBezTo>
                    <a:cubicBezTo>
                      <a:pt x="10" y="21"/>
                      <a:pt x="10" y="24"/>
                      <a:pt x="10" y="25"/>
                    </a:cubicBezTo>
                    <a:cubicBezTo>
                      <a:pt x="10" y="26"/>
                      <a:pt x="9" y="29"/>
                      <a:pt x="8" y="29"/>
                    </a:cubicBezTo>
                    <a:cubicBezTo>
                      <a:pt x="7" y="29"/>
                      <a:pt x="6" y="27"/>
                      <a:pt x="5" y="27"/>
                    </a:cubicBezTo>
                    <a:cubicBezTo>
                      <a:pt x="4" y="27"/>
                      <a:pt x="2" y="27"/>
                      <a:pt x="1" y="26"/>
                    </a:cubicBezTo>
                    <a:cubicBezTo>
                      <a:pt x="0" y="25"/>
                      <a:pt x="0" y="23"/>
                      <a:pt x="0" y="22"/>
                    </a:cubicBezTo>
                    <a:cubicBezTo>
                      <a:pt x="1" y="21"/>
                      <a:pt x="2" y="21"/>
                      <a:pt x="2" y="20"/>
                    </a:cubicBezTo>
                    <a:cubicBezTo>
                      <a:pt x="3" y="19"/>
                      <a:pt x="1" y="18"/>
                      <a:pt x="2" y="17"/>
                    </a:cubicBezTo>
                    <a:cubicBezTo>
                      <a:pt x="2" y="16"/>
                      <a:pt x="3" y="16"/>
                      <a:pt x="4" y="16"/>
                    </a:cubicBezTo>
                    <a:cubicBezTo>
                      <a:pt x="4" y="15"/>
                      <a:pt x="6" y="15"/>
                      <a:pt x="6" y="14"/>
                    </a:cubicBezTo>
                    <a:cubicBezTo>
                      <a:pt x="7" y="13"/>
                      <a:pt x="7" y="10"/>
                      <a:pt x="8" y="9"/>
                    </a:cubicBezTo>
                    <a:cubicBezTo>
                      <a:pt x="9" y="9"/>
                      <a:pt x="10" y="9"/>
                      <a:pt x="10" y="9"/>
                    </a:cubicBezTo>
                    <a:cubicBezTo>
                      <a:pt x="11" y="8"/>
                      <a:pt x="12" y="9"/>
                      <a:pt x="13" y="8"/>
                    </a:cubicBezTo>
                    <a:cubicBezTo>
                      <a:pt x="13" y="8"/>
                      <a:pt x="13" y="7"/>
                      <a:pt x="13" y="7"/>
                    </a:cubicBezTo>
                    <a:cubicBezTo>
                      <a:pt x="13" y="6"/>
                      <a:pt x="11" y="6"/>
                      <a:pt x="11" y="6"/>
                    </a:cubicBezTo>
                    <a:cubicBezTo>
                      <a:pt x="11" y="5"/>
                      <a:pt x="11" y="4"/>
                      <a:pt x="11" y="3"/>
                    </a:cubicBezTo>
                    <a:cubicBezTo>
                      <a:pt x="12" y="2"/>
                      <a:pt x="13" y="1"/>
                      <a:pt x="14" y="1"/>
                    </a:cubicBezTo>
                    <a:cubicBezTo>
                      <a:pt x="15" y="1"/>
                      <a:pt x="18" y="0"/>
                      <a:pt x="19" y="1"/>
                    </a:cubicBezTo>
                    <a:cubicBezTo>
                      <a:pt x="20" y="1"/>
                      <a:pt x="21" y="4"/>
                      <a:pt x="22" y="5"/>
                    </a:cubicBezTo>
                    <a:cubicBezTo>
                      <a:pt x="23" y="5"/>
                      <a:pt x="24" y="5"/>
                      <a:pt x="24" y="6"/>
                    </a:cubicBezTo>
                    <a:cubicBezTo>
                      <a:pt x="24" y="7"/>
                      <a:pt x="23" y="8"/>
                      <a:pt x="23" y="9"/>
                    </a:cubicBezTo>
                    <a:cubicBezTo>
                      <a:pt x="23" y="10"/>
                      <a:pt x="24" y="12"/>
                      <a:pt x="24" y="13"/>
                    </a:cubicBezTo>
                    <a:cubicBezTo>
                      <a:pt x="24" y="14"/>
                      <a:pt x="22" y="15"/>
                      <a:pt x="22" y="15"/>
                    </a:cubicBezTo>
                    <a:cubicBezTo>
                      <a:pt x="21" y="16"/>
                      <a:pt x="20" y="16"/>
                      <a:pt x="19" y="15"/>
                    </a:cubicBezTo>
                    <a:cubicBezTo>
                      <a:pt x="19" y="15"/>
                      <a:pt x="18" y="14"/>
                      <a:pt x="18" y="1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41">
                <a:extLst>
                  <a:ext uri="{FF2B5EF4-FFF2-40B4-BE49-F238E27FC236}">
                    <a16:creationId xmlns:a16="http://schemas.microsoft.com/office/drawing/2014/main" id="{7FD1DD9A-4A04-E897-E168-C128A5B34917}"/>
                  </a:ext>
                </a:extLst>
              </p:cNvPr>
              <p:cNvSpPr>
                <a:spLocks/>
              </p:cNvSpPr>
              <p:nvPr/>
            </p:nvSpPr>
            <p:spPr bwMode="auto">
              <a:xfrm>
                <a:off x="6937233" y="4169694"/>
                <a:ext cx="10843" cy="13366"/>
              </a:xfrm>
              <a:custGeom>
                <a:avLst/>
                <a:gdLst/>
                <a:ahLst/>
                <a:cxnLst>
                  <a:cxn ang="0">
                    <a:pos x="6" y="2"/>
                  </a:cxn>
                  <a:cxn ang="0">
                    <a:pos x="4" y="1"/>
                  </a:cxn>
                  <a:cxn ang="0">
                    <a:pos x="1" y="1"/>
                  </a:cxn>
                  <a:cxn ang="0">
                    <a:pos x="0" y="4"/>
                  </a:cxn>
                  <a:cxn ang="0">
                    <a:pos x="2" y="6"/>
                  </a:cxn>
                  <a:cxn ang="0">
                    <a:pos x="2" y="9"/>
                  </a:cxn>
                  <a:cxn ang="0">
                    <a:pos x="5" y="9"/>
                  </a:cxn>
                  <a:cxn ang="0">
                    <a:pos x="7" y="6"/>
                  </a:cxn>
                  <a:cxn ang="0">
                    <a:pos x="6" y="3"/>
                  </a:cxn>
                  <a:cxn ang="0">
                    <a:pos x="6" y="2"/>
                  </a:cxn>
                </a:cxnLst>
                <a:rect l="0" t="0" r="r" b="b"/>
                <a:pathLst>
                  <a:path w="7" h="9">
                    <a:moveTo>
                      <a:pt x="6" y="2"/>
                    </a:moveTo>
                    <a:cubicBezTo>
                      <a:pt x="6" y="1"/>
                      <a:pt x="4" y="1"/>
                      <a:pt x="4" y="1"/>
                    </a:cubicBezTo>
                    <a:cubicBezTo>
                      <a:pt x="3" y="1"/>
                      <a:pt x="2" y="0"/>
                      <a:pt x="1" y="1"/>
                    </a:cubicBezTo>
                    <a:cubicBezTo>
                      <a:pt x="1" y="1"/>
                      <a:pt x="0" y="3"/>
                      <a:pt x="0" y="4"/>
                    </a:cubicBezTo>
                    <a:cubicBezTo>
                      <a:pt x="1" y="5"/>
                      <a:pt x="2" y="6"/>
                      <a:pt x="2" y="6"/>
                    </a:cubicBezTo>
                    <a:cubicBezTo>
                      <a:pt x="2" y="7"/>
                      <a:pt x="2" y="8"/>
                      <a:pt x="2" y="9"/>
                    </a:cubicBezTo>
                    <a:cubicBezTo>
                      <a:pt x="3" y="9"/>
                      <a:pt x="5" y="9"/>
                      <a:pt x="5" y="9"/>
                    </a:cubicBezTo>
                    <a:cubicBezTo>
                      <a:pt x="6" y="8"/>
                      <a:pt x="7" y="7"/>
                      <a:pt x="7" y="6"/>
                    </a:cubicBezTo>
                    <a:cubicBezTo>
                      <a:pt x="7" y="5"/>
                      <a:pt x="6" y="4"/>
                      <a:pt x="6" y="3"/>
                    </a:cubicBezTo>
                    <a:cubicBezTo>
                      <a:pt x="6" y="3"/>
                      <a:pt x="7" y="2"/>
                      <a:pt x="6" y="2"/>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42">
                <a:extLst>
                  <a:ext uri="{FF2B5EF4-FFF2-40B4-BE49-F238E27FC236}">
                    <a16:creationId xmlns:a16="http://schemas.microsoft.com/office/drawing/2014/main" id="{4BC65FCE-5E05-E06B-1E4B-5C8911069F63}"/>
                  </a:ext>
                </a:extLst>
              </p:cNvPr>
              <p:cNvSpPr>
                <a:spLocks/>
              </p:cNvSpPr>
              <p:nvPr/>
            </p:nvSpPr>
            <p:spPr bwMode="auto">
              <a:xfrm>
                <a:off x="6952141" y="4168358"/>
                <a:ext cx="14908" cy="20049"/>
              </a:xfrm>
              <a:custGeom>
                <a:avLst/>
                <a:gdLst/>
                <a:ahLst/>
                <a:cxnLst>
                  <a:cxn ang="0">
                    <a:pos x="3" y="7"/>
                  </a:cxn>
                  <a:cxn ang="0">
                    <a:pos x="4" y="4"/>
                  </a:cxn>
                  <a:cxn ang="0">
                    <a:pos x="5" y="3"/>
                  </a:cxn>
                  <a:cxn ang="0">
                    <a:pos x="6" y="1"/>
                  </a:cxn>
                  <a:cxn ang="0">
                    <a:pos x="8" y="0"/>
                  </a:cxn>
                  <a:cxn ang="0">
                    <a:pos x="9" y="3"/>
                  </a:cxn>
                  <a:cxn ang="0">
                    <a:pos x="8" y="5"/>
                  </a:cxn>
                  <a:cxn ang="0">
                    <a:pos x="10" y="7"/>
                  </a:cxn>
                  <a:cxn ang="0">
                    <a:pos x="7" y="11"/>
                  </a:cxn>
                  <a:cxn ang="0">
                    <a:pos x="6" y="13"/>
                  </a:cxn>
                  <a:cxn ang="0">
                    <a:pos x="3" y="13"/>
                  </a:cxn>
                  <a:cxn ang="0">
                    <a:pos x="0" y="11"/>
                  </a:cxn>
                  <a:cxn ang="0">
                    <a:pos x="1" y="8"/>
                  </a:cxn>
                  <a:cxn ang="0">
                    <a:pos x="3" y="7"/>
                  </a:cxn>
                </a:cxnLst>
                <a:rect l="0" t="0" r="r" b="b"/>
                <a:pathLst>
                  <a:path w="10" h="13">
                    <a:moveTo>
                      <a:pt x="3" y="7"/>
                    </a:moveTo>
                    <a:cubicBezTo>
                      <a:pt x="4" y="6"/>
                      <a:pt x="3" y="5"/>
                      <a:pt x="4" y="4"/>
                    </a:cubicBezTo>
                    <a:cubicBezTo>
                      <a:pt x="4" y="4"/>
                      <a:pt x="5" y="4"/>
                      <a:pt x="5" y="3"/>
                    </a:cubicBezTo>
                    <a:cubicBezTo>
                      <a:pt x="6" y="3"/>
                      <a:pt x="5" y="1"/>
                      <a:pt x="6" y="1"/>
                    </a:cubicBezTo>
                    <a:cubicBezTo>
                      <a:pt x="6" y="0"/>
                      <a:pt x="7" y="0"/>
                      <a:pt x="8" y="0"/>
                    </a:cubicBezTo>
                    <a:cubicBezTo>
                      <a:pt x="8" y="1"/>
                      <a:pt x="9" y="2"/>
                      <a:pt x="9" y="3"/>
                    </a:cubicBezTo>
                    <a:cubicBezTo>
                      <a:pt x="9" y="3"/>
                      <a:pt x="8" y="5"/>
                      <a:pt x="8" y="5"/>
                    </a:cubicBezTo>
                    <a:cubicBezTo>
                      <a:pt x="8" y="6"/>
                      <a:pt x="10" y="7"/>
                      <a:pt x="10" y="7"/>
                    </a:cubicBezTo>
                    <a:cubicBezTo>
                      <a:pt x="10" y="8"/>
                      <a:pt x="8" y="10"/>
                      <a:pt x="7" y="11"/>
                    </a:cubicBezTo>
                    <a:cubicBezTo>
                      <a:pt x="7" y="11"/>
                      <a:pt x="7" y="12"/>
                      <a:pt x="6" y="13"/>
                    </a:cubicBezTo>
                    <a:cubicBezTo>
                      <a:pt x="6" y="13"/>
                      <a:pt x="4" y="13"/>
                      <a:pt x="3" y="13"/>
                    </a:cubicBezTo>
                    <a:cubicBezTo>
                      <a:pt x="3" y="12"/>
                      <a:pt x="1" y="12"/>
                      <a:pt x="0" y="11"/>
                    </a:cubicBezTo>
                    <a:cubicBezTo>
                      <a:pt x="0" y="10"/>
                      <a:pt x="0" y="9"/>
                      <a:pt x="1" y="8"/>
                    </a:cubicBezTo>
                    <a:cubicBezTo>
                      <a:pt x="1" y="8"/>
                      <a:pt x="3" y="7"/>
                      <a:pt x="3" y="7"/>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43">
                <a:extLst>
                  <a:ext uri="{FF2B5EF4-FFF2-40B4-BE49-F238E27FC236}">
                    <a16:creationId xmlns:a16="http://schemas.microsoft.com/office/drawing/2014/main" id="{2A2217E1-B40E-4019-F189-540D50CB3221}"/>
                  </a:ext>
                </a:extLst>
              </p:cNvPr>
              <p:cNvSpPr>
                <a:spLocks/>
              </p:cNvSpPr>
              <p:nvPr/>
            </p:nvSpPr>
            <p:spPr bwMode="auto">
              <a:xfrm>
                <a:off x="6967050" y="4176377"/>
                <a:ext cx="10843" cy="21386"/>
              </a:xfrm>
              <a:custGeom>
                <a:avLst/>
                <a:gdLst/>
                <a:ahLst/>
                <a:cxnLst>
                  <a:cxn ang="0">
                    <a:pos x="5" y="14"/>
                  </a:cxn>
                  <a:cxn ang="0">
                    <a:pos x="5" y="10"/>
                  </a:cxn>
                  <a:cxn ang="0">
                    <a:pos x="7" y="7"/>
                  </a:cxn>
                  <a:cxn ang="0">
                    <a:pos x="7" y="3"/>
                  </a:cxn>
                  <a:cxn ang="0">
                    <a:pos x="6" y="1"/>
                  </a:cxn>
                  <a:cxn ang="0">
                    <a:pos x="2" y="2"/>
                  </a:cxn>
                  <a:cxn ang="0">
                    <a:pos x="2" y="5"/>
                  </a:cxn>
                  <a:cxn ang="0">
                    <a:pos x="0" y="7"/>
                  </a:cxn>
                  <a:cxn ang="0">
                    <a:pos x="0" y="10"/>
                  </a:cxn>
                  <a:cxn ang="0">
                    <a:pos x="2" y="13"/>
                  </a:cxn>
                  <a:cxn ang="0">
                    <a:pos x="3" y="15"/>
                  </a:cxn>
                  <a:cxn ang="0">
                    <a:pos x="5" y="14"/>
                  </a:cxn>
                </a:cxnLst>
                <a:rect l="0" t="0" r="r" b="b"/>
                <a:pathLst>
                  <a:path w="7" h="15">
                    <a:moveTo>
                      <a:pt x="5" y="14"/>
                    </a:moveTo>
                    <a:cubicBezTo>
                      <a:pt x="6" y="13"/>
                      <a:pt x="5" y="11"/>
                      <a:pt x="5" y="10"/>
                    </a:cubicBezTo>
                    <a:cubicBezTo>
                      <a:pt x="5" y="9"/>
                      <a:pt x="6" y="8"/>
                      <a:pt x="7" y="7"/>
                    </a:cubicBezTo>
                    <a:cubicBezTo>
                      <a:pt x="7" y="6"/>
                      <a:pt x="7" y="4"/>
                      <a:pt x="7" y="3"/>
                    </a:cubicBezTo>
                    <a:cubicBezTo>
                      <a:pt x="7" y="3"/>
                      <a:pt x="6" y="1"/>
                      <a:pt x="6" y="1"/>
                    </a:cubicBezTo>
                    <a:cubicBezTo>
                      <a:pt x="5" y="0"/>
                      <a:pt x="3" y="1"/>
                      <a:pt x="2" y="2"/>
                    </a:cubicBezTo>
                    <a:cubicBezTo>
                      <a:pt x="2" y="3"/>
                      <a:pt x="2" y="4"/>
                      <a:pt x="2" y="5"/>
                    </a:cubicBezTo>
                    <a:cubicBezTo>
                      <a:pt x="2" y="6"/>
                      <a:pt x="1" y="7"/>
                      <a:pt x="0" y="7"/>
                    </a:cubicBezTo>
                    <a:cubicBezTo>
                      <a:pt x="0" y="8"/>
                      <a:pt x="0" y="10"/>
                      <a:pt x="0" y="10"/>
                    </a:cubicBezTo>
                    <a:cubicBezTo>
                      <a:pt x="0" y="11"/>
                      <a:pt x="2" y="12"/>
                      <a:pt x="2" y="13"/>
                    </a:cubicBezTo>
                    <a:cubicBezTo>
                      <a:pt x="3" y="13"/>
                      <a:pt x="3" y="15"/>
                      <a:pt x="3" y="15"/>
                    </a:cubicBezTo>
                    <a:cubicBezTo>
                      <a:pt x="4" y="15"/>
                      <a:pt x="5" y="14"/>
                      <a:pt x="5" y="1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44">
                <a:extLst>
                  <a:ext uri="{FF2B5EF4-FFF2-40B4-BE49-F238E27FC236}">
                    <a16:creationId xmlns:a16="http://schemas.microsoft.com/office/drawing/2014/main" id="{D0D65783-5471-BF99-DE59-BD23796C034D}"/>
                  </a:ext>
                </a:extLst>
              </p:cNvPr>
              <p:cNvSpPr>
                <a:spLocks/>
              </p:cNvSpPr>
              <p:nvPr/>
            </p:nvSpPr>
            <p:spPr bwMode="auto">
              <a:xfrm>
                <a:off x="7030749" y="4279295"/>
                <a:ext cx="12197" cy="9357"/>
              </a:xfrm>
              <a:custGeom>
                <a:avLst/>
                <a:gdLst/>
                <a:ahLst/>
                <a:cxnLst>
                  <a:cxn ang="0">
                    <a:pos x="5" y="5"/>
                  </a:cxn>
                  <a:cxn ang="0">
                    <a:pos x="7" y="4"/>
                  </a:cxn>
                  <a:cxn ang="0">
                    <a:pos x="7" y="0"/>
                  </a:cxn>
                  <a:cxn ang="0">
                    <a:pos x="5" y="0"/>
                  </a:cxn>
                  <a:cxn ang="0">
                    <a:pos x="3" y="2"/>
                  </a:cxn>
                  <a:cxn ang="0">
                    <a:pos x="1" y="4"/>
                  </a:cxn>
                  <a:cxn ang="0">
                    <a:pos x="0" y="6"/>
                  </a:cxn>
                  <a:cxn ang="0">
                    <a:pos x="2" y="7"/>
                  </a:cxn>
                  <a:cxn ang="0">
                    <a:pos x="4" y="6"/>
                  </a:cxn>
                  <a:cxn ang="0">
                    <a:pos x="5" y="5"/>
                  </a:cxn>
                </a:cxnLst>
                <a:rect l="0" t="0" r="r" b="b"/>
                <a:pathLst>
                  <a:path w="8" h="7">
                    <a:moveTo>
                      <a:pt x="5" y="5"/>
                    </a:moveTo>
                    <a:cubicBezTo>
                      <a:pt x="5" y="4"/>
                      <a:pt x="7" y="4"/>
                      <a:pt x="7" y="4"/>
                    </a:cubicBezTo>
                    <a:cubicBezTo>
                      <a:pt x="7" y="3"/>
                      <a:pt x="8" y="1"/>
                      <a:pt x="7" y="0"/>
                    </a:cubicBezTo>
                    <a:cubicBezTo>
                      <a:pt x="7" y="0"/>
                      <a:pt x="5" y="0"/>
                      <a:pt x="5" y="0"/>
                    </a:cubicBezTo>
                    <a:cubicBezTo>
                      <a:pt x="4" y="1"/>
                      <a:pt x="4" y="2"/>
                      <a:pt x="3" y="2"/>
                    </a:cubicBezTo>
                    <a:cubicBezTo>
                      <a:pt x="3" y="2"/>
                      <a:pt x="1" y="3"/>
                      <a:pt x="1" y="4"/>
                    </a:cubicBezTo>
                    <a:cubicBezTo>
                      <a:pt x="1" y="4"/>
                      <a:pt x="0" y="5"/>
                      <a:pt x="0" y="6"/>
                    </a:cubicBezTo>
                    <a:cubicBezTo>
                      <a:pt x="0" y="7"/>
                      <a:pt x="1" y="7"/>
                      <a:pt x="2" y="7"/>
                    </a:cubicBezTo>
                    <a:cubicBezTo>
                      <a:pt x="2" y="7"/>
                      <a:pt x="3" y="7"/>
                      <a:pt x="4" y="6"/>
                    </a:cubicBezTo>
                    <a:cubicBezTo>
                      <a:pt x="4" y="6"/>
                      <a:pt x="4" y="5"/>
                      <a:pt x="5" y="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5">
                <a:extLst>
                  <a:ext uri="{FF2B5EF4-FFF2-40B4-BE49-F238E27FC236}">
                    <a16:creationId xmlns:a16="http://schemas.microsoft.com/office/drawing/2014/main" id="{DBDA6387-FE1C-4A1A-FBAF-53504332DD23}"/>
                  </a:ext>
                </a:extLst>
              </p:cNvPr>
              <p:cNvSpPr>
                <a:spLocks/>
              </p:cNvSpPr>
              <p:nvPr/>
            </p:nvSpPr>
            <p:spPr bwMode="auto">
              <a:xfrm>
                <a:off x="7034815" y="4293998"/>
                <a:ext cx="9487" cy="6683"/>
              </a:xfrm>
              <a:custGeom>
                <a:avLst/>
                <a:gdLst/>
                <a:ahLst/>
                <a:cxnLst>
                  <a:cxn ang="0">
                    <a:pos x="4" y="1"/>
                  </a:cxn>
                  <a:cxn ang="0">
                    <a:pos x="1" y="0"/>
                  </a:cxn>
                  <a:cxn ang="0">
                    <a:pos x="0" y="3"/>
                  </a:cxn>
                  <a:cxn ang="0">
                    <a:pos x="2" y="5"/>
                  </a:cxn>
                  <a:cxn ang="0">
                    <a:pos x="4" y="5"/>
                  </a:cxn>
                  <a:cxn ang="0">
                    <a:pos x="6" y="4"/>
                  </a:cxn>
                  <a:cxn ang="0">
                    <a:pos x="6" y="2"/>
                  </a:cxn>
                  <a:cxn ang="0">
                    <a:pos x="4" y="1"/>
                  </a:cxn>
                </a:cxnLst>
                <a:rect l="0" t="0" r="r" b="b"/>
                <a:pathLst>
                  <a:path w="6" h="5">
                    <a:moveTo>
                      <a:pt x="4" y="1"/>
                    </a:moveTo>
                    <a:cubicBezTo>
                      <a:pt x="4" y="0"/>
                      <a:pt x="2" y="0"/>
                      <a:pt x="1" y="0"/>
                    </a:cubicBezTo>
                    <a:cubicBezTo>
                      <a:pt x="1" y="0"/>
                      <a:pt x="0" y="2"/>
                      <a:pt x="0" y="3"/>
                    </a:cubicBezTo>
                    <a:cubicBezTo>
                      <a:pt x="0" y="4"/>
                      <a:pt x="1" y="5"/>
                      <a:pt x="2" y="5"/>
                    </a:cubicBezTo>
                    <a:cubicBezTo>
                      <a:pt x="3" y="5"/>
                      <a:pt x="4" y="5"/>
                      <a:pt x="4" y="5"/>
                    </a:cubicBezTo>
                    <a:cubicBezTo>
                      <a:pt x="5" y="5"/>
                      <a:pt x="6" y="4"/>
                      <a:pt x="6" y="4"/>
                    </a:cubicBezTo>
                    <a:cubicBezTo>
                      <a:pt x="6" y="3"/>
                      <a:pt x="6" y="2"/>
                      <a:pt x="6" y="2"/>
                    </a:cubicBezTo>
                    <a:cubicBezTo>
                      <a:pt x="5" y="1"/>
                      <a:pt x="5" y="1"/>
                      <a:pt x="4" y="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46">
                <a:extLst>
                  <a:ext uri="{FF2B5EF4-FFF2-40B4-BE49-F238E27FC236}">
                    <a16:creationId xmlns:a16="http://schemas.microsoft.com/office/drawing/2014/main" id="{7AB696F0-0254-5130-3A08-4668D1604DA5}"/>
                  </a:ext>
                </a:extLst>
              </p:cNvPr>
              <p:cNvSpPr>
                <a:spLocks/>
              </p:cNvSpPr>
              <p:nvPr/>
            </p:nvSpPr>
            <p:spPr bwMode="auto">
              <a:xfrm>
                <a:off x="8428078" y="3836882"/>
                <a:ext cx="8132" cy="12030"/>
              </a:xfrm>
              <a:custGeom>
                <a:avLst/>
                <a:gdLst/>
                <a:ahLst/>
                <a:cxnLst>
                  <a:cxn ang="0">
                    <a:pos x="5" y="5"/>
                  </a:cxn>
                  <a:cxn ang="0">
                    <a:pos x="5" y="1"/>
                  </a:cxn>
                  <a:cxn ang="0">
                    <a:pos x="2" y="1"/>
                  </a:cxn>
                  <a:cxn ang="0">
                    <a:pos x="2" y="2"/>
                  </a:cxn>
                  <a:cxn ang="0">
                    <a:pos x="0" y="3"/>
                  </a:cxn>
                  <a:cxn ang="0">
                    <a:pos x="2" y="5"/>
                  </a:cxn>
                  <a:cxn ang="0">
                    <a:pos x="2" y="7"/>
                  </a:cxn>
                  <a:cxn ang="0">
                    <a:pos x="3" y="8"/>
                  </a:cxn>
                  <a:cxn ang="0">
                    <a:pos x="4" y="7"/>
                  </a:cxn>
                  <a:cxn ang="0">
                    <a:pos x="5" y="6"/>
                  </a:cxn>
                  <a:cxn ang="0">
                    <a:pos x="5" y="5"/>
                  </a:cxn>
                </a:cxnLst>
                <a:rect l="0" t="0" r="r" b="b"/>
                <a:pathLst>
                  <a:path w="6" h="8">
                    <a:moveTo>
                      <a:pt x="5" y="5"/>
                    </a:moveTo>
                    <a:cubicBezTo>
                      <a:pt x="6" y="4"/>
                      <a:pt x="6" y="2"/>
                      <a:pt x="5" y="1"/>
                    </a:cubicBezTo>
                    <a:cubicBezTo>
                      <a:pt x="5" y="1"/>
                      <a:pt x="3" y="0"/>
                      <a:pt x="2" y="1"/>
                    </a:cubicBezTo>
                    <a:cubicBezTo>
                      <a:pt x="2" y="1"/>
                      <a:pt x="2" y="2"/>
                      <a:pt x="2" y="2"/>
                    </a:cubicBezTo>
                    <a:cubicBezTo>
                      <a:pt x="2" y="3"/>
                      <a:pt x="0" y="3"/>
                      <a:pt x="0" y="3"/>
                    </a:cubicBezTo>
                    <a:cubicBezTo>
                      <a:pt x="0" y="4"/>
                      <a:pt x="2" y="4"/>
                      <a:pt x="2" y="5"/>
                    </a:cubicBezTo>
                    <a:cubicBezTo>
                      <a:pt x="2" y="5"/>
                      <a:pt x="2" y="6"/>
                      <a:pt x="2" y="7"/>
                    </a:cubicBezTo>
                    <a:cubicBezTo>
                      <a:pt x="2" y="7"/>
                      <a:pt x="2" y="8"/>
                      <a:pt x="3" y="8"/>
                    </a:cubicBezTo>
                    <a:cubicBezTo>
                      <a:pt x="3" y="8"/>
                      <a:pt x="4" y="7"/>
                      <a:pt x="4" y="7"/>
                    </a:cubicBezTo>
                    <a:cubicBezTo>
                      <a:pt x="5" y="7"/>
                      <a:pt x="4" y="6"/>
                      <a:pt x="5" y="6"/>
                    </a:cubicBezTo>
                    <a:cubicBezTo>
                      <a:pt x="5" y="5"/>
                      <a:pt x="5" y="5"/>
                      <a:pt x="5" y="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47">
                <a:extLst>
                  <a:ext uri="{FF2B5EF4-FFF2-40B4-BE49-F238E27FC236}">
                    <a16:creationId xmlns:a16="http://schemas.microsoft.com/office/drawing/2014/main" id="{2CD6642E-04E3-A1C0-4A50-B5A5B3EA042D}"/>
                  </a:ext>
                </a:extLst>
              </p:cNvPr>
              <p:cNvSpPr>
                <a:spLocks/>
              </p:cNvSpPr>
              <p:nvPr/>
            </p:nvSpPr>
            <p:spPr bwMode="auto">
              <a:xfrm>
                <a:off x="8440275" y="3838219"/>
                <a:ext cx="6776" cy="6683"/>
              </a:xfrm>
              <a:custGeom>
                <a:avLst/>
                <a:gdLst/>
                <a:ahLst/>
                <a:cxnLst>
                  <a:cxn ang="0">
                    <a:pos x="3" y="0"/>
                  </a:cxn>
                  <a:cxn ang="0">
                    <a:pos x="1" y="1"/>
                  </a:cxn>
                  <a:cxn ang="0">
                    <a:pos x="0" y="2"/>
                  </a:cxn>
                  <a:cxn ang="0">
                    <a:pos x="0" y="5"/>
                  </a:cxn>
                  <a:cxn ang="0">
                    <a:pos x="3" y="5"/>
                  </a:cxn>
                  <a:cxn ang="0">
                    <a:pos x="4" y="2"/>
                  </a:cxn>
                  <a:cxn ang="0">
                    <a:pos x="4" y="1"/>
                  </a:cxn>
                  <a:cxn ang="0">
                    <a:pos x="3" y="0"/>
                  </a:cxn>
                </a:cxnLst>
                <a:rect l="0" t="0" r="r" b="b"/>
                <a:pathLst>
                  <a:path w="5" h="5">
                    <a:moveTo>
                      <a:pt x="3" y="0"/>
                    </a:moveTo>
                    <a:cubicBezTo>
                      <a:pt x="2" y="0"/>
                      <a:pt x="1" y="0"/>
                      <a:pt x="1" y="1"/>
                    </a:cubicBezTo>
                    <a:cubicBezTo>
                      <a:pt x="1" y="1"/>
                      <a:pt x="0" y="2"/>
                      <a:pt x="0" y="2"/>
                    </a:cubicBezTo>
                    <a:cubicBezTo>
                      <a:pt x="0" y="3"/>
                      <a:pt x="0" y="4"/>
                      <a:pt x="0" y="5"/>
                    </a:cubicBezTo>
                    <a:cubicBezTo>
                      <a:pt x="1" y="5"/>
                      <a:pt x="2" y="5"/>
                      <a:pt x="3" y="5"/>
                    </a:cubicBezTo>
                    <a:cubicBezTo>
                      <a:pt x="4" y="4"/>
                      <a:pt x="4" y="3"/>
                      <a:pt x="4" y="2"/>
                    </a:cubicBezTo>
                    <a:cubicBezTo>
                      <a:pt x="5" y="2"/>
                      <a:pt x="4" y="1"/>
                      <a:pt x="4" y="1"/>
                    </a:cubicBezTo>
                    <a:cubicBezTo>
                      <a:pt x="4" y="0"/>
                      <a:pt x="3" y="0"/>
                      <a:pt x="3" y="0"/>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48">
                <a:extLst>
                  <a:ext uri="{FF2B5EF4-FFF2-40B4-BE49-F238E27FC236}">
                    <a16:creationId xmlns:a16="http://schemas.microsoft.com/office/drawing/2014/main" id="{428E49AC-6C7D-E9E5-27A1-61032A2CFE08}"/>
                  </a:ext>
                </a:extLst>
              </p:cNvPr>
              <p:cNvSpPr>
                <a:spLocks/>
              </p:cNvSpPr>
              <p:nvPr/>
            </p:nvSpPr>
            <p:spPr bwMode="auto">
              <a:xfrm>
                <a:off x="8437565" y="3827526"/>
                <a:ext cx="10843" cy="9357"/>
              </a:xfrm>
              <a:custGeom>
                <a:avLst/>
                <a:gdLst/>
                <a:ahLst/>
                <a:cxnLst>
                  <a:cxn ang="0">
                    <a:pos x="4" y="4"/>
                  </a:cxn>
                  <a:cxn ang="0">
                    <a:pos x="1" y="6"/>
                  </a:cxn>
                  <a:cxn ang="0">
                    <a:pos x="0" y="4"/>
                  </a:cxn>
                  <a:cxn ang="0">
                    <a:pos x="2" y="1"/>
                  </a:cxn>
                  <a:cxn ang="0">
                    <a:pos x="6" y="1"/>
                  </a:cxn>
                  <a:cxn ang="0">
                    <a:pos x="7" y="3"/>
                  </a:cxn>
                  <a:cxn ang="0">
                    <a:pos x="4" y="4"/>
                  </a:cxn>
                </a:cxnLst>
                <a:rect l="0" t="0" r="r" b="b"/>
                <a:pathLst>
                  <a:path w="7" h="6">
                    <a:moveTo>
                      <a:pt x="4" y="4"/>
                    </a:moveTo>
                    <a:cubicBezTo>
                      <a:pt x="4" y="5"/>
                      <a:pt x="2" y="6"/>
                      <a:pt x="1" y="6"/>
                    </a:cubicBezTo>
                    <a:cubicBezTo>
                      <a:pt x="1" y="6"/>
                      <a:pt x="0" y="4"/>
                      <a:pt x="0" y="4"/>
                    </a:cubicBezTo>
                    <a:cubicBezTo>
                      <a:pt x="0" y="3"/>
                      <a:pt x="1" y="1"/>
                      <a:pt x="2" y="1"/>
                    </a:cubicBezTo>
                    <a:cubicBezTo>
                      <a:pt x="3" y="0"/>
                      <a:pt x="5" y="0"/>
                      <a:pt x="6" y="1"/>
                    </a:cubicBezTo>
                    <a:cubicBezTo>
                      <a:pt x="6" y="1"/>
                      <a:pt x="7" y="2"/>
                      <a:pt x="7" y="3"/>
                    </a:cubicBezTo>
                    <a:cubicBezTo>
                      <a:pt x="6" y="3"/>
                      <a:pt x="5" y="4"/>
                      <a:pt x="4" y="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49">
                <a:extLst>
                  <a:ext uri="{FF2B5EF4-FFF2-40B4-BE49-F238E27FC236}">
                    <a16:creationId xmlns:a16="http://schemas.microsoft.com/office/drawing/2014/main" id="{150CD803-41E0-D240-DD62-1C861ABF5F02}"/>
                  </a:ext>
                </a:extLst>
              </p:cNvPr>
              <p:cNvSpPr>
                <a:spLocks/>
              </p:cNvSpPr>
              <p:nvPr/>
            </p:nvSpPr>
            <p:spPr bwMode="auto">
              <a:xfrm>
                <a:off x="8304744" y="3883663"/>
                <a:ext cx="929745" cy="653595"/>
              </a:xfrm>
              <a:custGeom>
                <a:avLst/>
                <a:gdLst/>
                <a:ahLst/>
                <a:cxnLst>
                  <a:cxn ang="0">
                    <a:pos x="4" y="100"/>
                  </a:cxn>
                  <a:cxn ang="0">
                    <a:pos x="16" y="82"/>
                  </a:cxn>
                  <a:cxn ang="0">
                    <a:pos x="35" y="66"/>
                  </a:cxn>
                  <a:cxn ang="0">
                    <a:pos x="27" y="43"/>
                  </a:cxn>
                  <a:cxn ang="0">
                    <a:pos x="35" y="17"/>
                  </a:cxn>
                  <a:cxn ang="0">
                    <a:pos x="92" y="16"/>
                  </a:cxn>
                  <a:cxn ang="0">
                    <a:pos x="130" y="13"/>
                  </a:cxn>
                  <a:cxn ang="0">
                    <a:pos x="179" y="1"/>
                  </a:cxn>
                  <a:cxn ang="0">
                    <a:pos x="202" y="24"/>
                  </a:cxn>
                  <a:cxn ang="0">
                    <a:pos x="188" y="52"/>
                  </a:cxn>
                  <a:cxn ang="0">
                    <a:pos x="161" y="76"/>
                  </a:cxn>
                  <a:cxn ang="0">
                    <a:pos x="191" y="120"/>
                  </a:cxn>
                  <a:cxn ang="0">
                    <a:pos x="235" y="138"/>
                  </a:cxn>
                  <a:cxn ang="0">
                    <a:pos x="263" y="150"/>
                  </a:cxn>
                  <a:cxn ang="0">
                    <a:pos x="282" y="160"/>
                  </a:cxn>
                  <a:cxn ang="0">
                    <a:pos x="327" y="170"/>
                  </a:cxn>
                  <a:cxn ang="0">
                    <a:pos x="373" y="186"/>
                  </a:cxn>
                  <a:cxn ang="0">
                    <a:pos x="427" y="222"/>
                  </a:cxn>
                  <a:cxn ang="0">
                    <a:pos x="486" y="247"/>
                  </a:cxn>
                  <a:cxn ang="0">
                    <a:pos x="513" y="255"/>
                  </a:cxn>
                  <a:cxn ang="0">
                    <a:pos x="522" y="258"/>
                  </a:cxn>
                  <a:cxn ang="0">
                    <a:pos x="535" y="278"/>
                  </a:cxn>
                  <a:cxn ang="0">
                    <a:pos x="574" y="306"/>
                  </a:cxn>
                  <a:cxn ang="0">
                    <a:pos x="605" y="338"/>
                  </a:cxn>
                  <a:cxn ang="0">
                    <a:pos x="615" y="367"/>
                  </a:cxn>
                  <a:cxn ang="0">
                    <a:pos x="606" y="390"/>
                  </a:cxn>
                  <a:cxn ang="0">
                    <a:pos x="601" y="414"/>
                  </a:cxn>
                  <a:cxn ang="0">
                    <a:pos x="595" y="439"/>
                  </a:cxn>
                  <a:cxn ang="0">
                    <a:pos x="571" y="430"/>
                  </a:cxn>
                  <a:cxn ang="0">
                    <a:pos x="547" y="418"/>
                  </a:cxn>
                  <a:cxn ang="0">
                    <a:pos x="531" y="399"/>
                  </a:cxn>
                  <a:cxn ang="0">
                    <a:pos x="531" y="380"/>
                  </a:cxn>
                  <a:cxn ang="0">
                    <a:pos x="517" y="365"/>
                  </a:cxn>
                  <a:cxn ang="0">
                    <a:pos x="514" y="344"/>
                  </a:cxn>
                  <a:cxn ang="0">
                    <a:pos x="495" y="338"/>
                  </a:cxn>
                  <a:cxn ang="0">
                    <a:pos x="466" y="338"/>
                  </a:cxn>
                  <a:cxn ang="0">
                    <a:pos x="444" y="339"/>
                  </a:cxn>
                  <a:cxn ang="0">
                    <a:pos x="426" y="332"/>
                  </a:cxn>
                  <a:cxn ang="0">
                    <a:pos x="398" y="324"/>
                  </a:cxn>
                  <a:cxn ang="0">
                    <a:pos x="400" y="317"/>
                  </a:cxn>
                  <a:cxn ang="0">
                    <a:pos x="408" y="308"/>
                  </a:cxn>
                  <a:cxn ang="0">
                    <a:pos x="408" y="300"/>
                  </a:cxn>
                  <a:cxn ang="0">
                    <a:pos x="388" y="306"/>
                  </a:cxn>
                  <a:cxn ang="0">
                    <a:pos x="357" y="307"/>
                  </a:cxn>
                  <a:cxn ang="0">
                    <a:pos x="332" y="311"/>
                  </a:cxn>
                  <a:cxn ang="0">
                    <a:pos x="316" y="292"/>
                  </a:cxn>
                  <a:cxn ang="0">
                    <a:pos x="313" y="271"/>
                  </a:cxn>
                  <a:cxn ang="0">
                    <a:pos x="299" y="265"/>
                  </a:cxn>
                  <a:cxn ang="0">
                    <a:pos x="277" y="262"/>
                  </a:cxn>
                  <a:cxn ang="0">
                    <a:pos x="256" y="258"/>
                  </a:cxn>
                  <a:cxn ang="0">
                    <a:pos x="227" y="232"/>
                  </a:cxn>
                  <a:cxn ang="0">
                    <a:pos x="213" y="232"/>
                  </a:cxn>
                  <a:cxn ang="0">
                    <a:pos x="189" y="221"/>
                  </a:cxn>
                  <a:cxn ang="0">
                    <a:pos x="193" y="196"/>
                  </a:cxn>
                  <a:cxn ang="0">
                    <a:pos x="160" y="183"/>
                  </a:cxn>
                  <a:cxn ang="0">
                    <a:pos x="145" y="201"/>
                  </a:cxn>
                  <a:cxn ang="0">
                    <a:pos x="121" y="201"/>
                  </a:cxn>
                  <a:cxn ang="0">
                    <a:pos x="93" y="192"/>
                  </a:cxn>
                  <a:cxn ang="0">
                    <a:pos x="64" y="184"/>
                  </a:cxn>
                  <a:cxn ang="0">
                    <a:pos x="49" y="157"/>
                  </a:cxn>
                  <a:cxn ang="0">
                    <a:pos x="39" y="135"/>
                  </a:cxn>
                </a:cxnLst>
                <a:rect l="0" t="0" r="r" b="b"/>
                <a:pathLst>
                  <a:path w="615" h="439">
                    <a:moveTo>
                      <a:pt x="17" y="118"/>
                    </a:moveTo>
                    <a:cubicBezTo>
                      <a:pt x="17" y="118"/>
                      <a:pt x="17" y="118"/>
                      <a:pt x="17" y="118"/>
                    </a:cubicBezTo>
                    <a:cubicBezTo>
                      <a:pt x="15" y="117"/>
                      <a:pt x="13" y="112"/>
                      <a:pt x="12" y="110"/>
                    </a:cubicBezTo>
                    <a:cubicBezTo>
                      <a:pt x="10" y="108"/>
                      <a:pt x="6" y="103"/>
                      <a:pt x="4" y="100"/>
                    </a:cubicBezTo>
                    <a:cubicBezTo>
                      <a:pt x="3" y="97"/>
                      <a:pt x="0" y="90"/>
                      <a:pt x="1" y="87"/>
                    </a:cubicBezTo>
                    <a:cubicBezTo>
                      <a:pt x="2" y="85"/>
                      <a:pt x="6" y="80"/>
                      <a:pt x="8" y="79"/>
                    </a:cubicBezTo>
                    <a:cubicBezTo>
                      <a:pt x="9" y="78"/>
                      <a:pt x="12" y="76"/>
                      <a:pt x="14" y="77"/>
                    </a:cubicBezTo>
                    <a:cubicBezTo>
                      <a:pt x="15" y="77"/>
                      <a:pt x="15" y="81"/>
                      <a:pt x="16" y="82"/>
                    </a:cubicBezTo>
                    <a:cubicBezTo>
                      <a:pt x="17" y="82"/>
                      <a:pt x="21" y="81"/>
                      <a:pt x="22" y="79"/>
                    </a:cubicBezTo>
                    <a:cubicBezTo>
                      <a:pt x="23" y="78"/>
                      <a:pt x="23" y="75"/>
                      <a:pt x="24" y="74"/>
                    </a:cubicBezTo>
                    <a:cubicBezTo>
                      <a:pt x="26" y="73"/>
                      <a:pt x="30" y="73"/>
                      <a:pt x="31" y="72"/>
                    </a:cubicBezTo>
                    <a:cubicBezTo>
                      <a:pt x="33" y="71"/>
                      <a:pt x="35" y="68"/>
                      <a:pt x="35" y="66"/>
                    </a:cubicBezTo>
                    <a:cubicBezTo>
                      <a:pt x="35" y="64"/>
                      <a:pt x="33" y="61"/>
                      <a:pt x="32" y="60"/>
                    </a:cubicBezTo>
                    <a:cubicBezTo>
                      <a:pt x="30" y="59"/>
                      <a:pt x="25" y="58"/>
                      <a:pt x="24" y="56"/>
                    </a:cubicBezTo>
                    <a:cubicBezTo>
                      <a:pt x="23" y="54"/>
                      <a:pt x="23" y="50"/>
                      <a:pt x="24" y="48"/>
                    </a:cubicBezTo>
                    <a:cubicBezTo>
                      <a:pt x="24" y="46"/>
                      <a:pt x="27" y="44"/>
                      <a:pt x="27" y="43"/>
                    </a:cubicBezTo>
                    <a:cubicBezTo>
                      <a:pt x="27" y="40"/>
                      <a:pt x="25" y="36"/>
                      <a:pt x="25" y="34"/>
                    </a:cubicBezTo>
                    <a:cubicBezTo>
                      <a:pt x="25" y="33"/>
                      <a:pt x="25" y="30"/>
                      <a:pt x="25" y="29"/>
                    </a:cubicBezTo>
                    <a:cubicBezTo>
                      <a:pt x="26" y="27"/>
                      <a:pt x="28" y="23"/>
                      <a:pt x="30" y="21"/>
                    </a:cubicBezTo>
                    <a:cubicBezTo>
                      <a:pt x="31" y="20"/>
                      <a:pt x="33" y="18"/>
                      <a:pt x="35" y="17"/>
                    </a:cubicBezTo>
                    <a:cubicBezTo>
                      <a:pt x="36" y="17"/>
                      <a:pt x="38" y="17"/>
                      <a:pt x="39" y="17"/>
                    </a:cubicBezTo>
                    <a:cubicBezTo>
                      <a:pt x="43" y="18"/>
                      <a:pt x="52" y="18"/>
                      <a:pt x="57" y="18"/>
                    </a:cubicBezTo>
                    <a:cubicBezTo>
                      <a:pt x="61" y="18"/>
                      <a:pt x="68" y="19"/>
                      <a:pt x="72" y="19"/>
                    </a:cubicBezTo>
                    <a:cubicBezTo>
                      <a:pt x="77" y="19"/>
                      <a:pt x="87" y="17"/>
                      <a:pt x="92" y="16"/>
                    </a:cubicBezTo>
                    <a:cubicBezTo>
                      <a:pt x="95" y="15"/>
                      <a:pt x="101" y="13"/>
                      <a:pt x="104" y="12"/>
                    </a:cubicBezTo>
                    <a:cubicBezTo>
                      <a:pt x="106" y="12"/>
                      <a:pt x="110" y="10"/>
                      <a:pt x="112" y="10"/>
                    </a:cubicBezTo>
                    <a:cubicBezTo>
                      <a:pt x="114" y="10"/>
                      <a:pt x="118" y="13"/>
                      <a:pt x="120" y="13"/>
                    </a:cubicBezTo>
                    <a:cubicBezTo>
                      <a:pt x="123" y="14"/>
                      <a:pt x="128" y="13"/>
                      <a:pt x="130" y="13"/>
                    </a:cubicBezTo>
                    <a:cubicBezTo>
                      <a:pt x="134" y="12"/>
                      <a:pt x="142" y="10"/>
                      <a:pt x="146" y="9"/>
                    </a:cubicBezTo>
                    <a:cubicBezTo>
                      <a:pt x="148" y="8"/>
                      <a:pt x="152" y="6"/>
                      <a:pt x="155" y="6"/>
                    </a:cubicBezTo>
                    <a:cubicBezTo>
                      <a:pt x="157" y="5"/>
                      <a:pt x="162" y="4"/>
                      <a:pt x="165" y="4"/>
                    </a:cubicBezTo>
                    <a:cubicBezTo>
                      <a:pt x="168" y="3"/>
                      <a:pt x="175" y="0"/>
                      <a:pt x="179" y="1"/>
                    </a:cubicBezTo>
                    <a:cubicBezTo>
                      <a:pt x="181" y="1"/>
                      <a:pt x="185" y="5"/>
                      <a:pt x="188" y="6"/>
                    </a:cubicBezTo>
                    <a:cubicBezTo>
                      <a:pt x="190" y="7"/>
                      <a:pt x="195" y="9"/>
                      <a:pt x="197" y="11"/>
                    </a:cubicBezTo>
                    <a:cubicBezTo>
                      <a:pt x="199" y="13"/>
                      <a:pt x="201" y="18"/>
                      <a:pt x="201" y="20"/>
                    </a:cubicBezTo>
                    <a:cubicBezTo>
                      <a:pt x="202" y="21"/>
                      <a:pt x="202" y="23"/>
                      <a:pt x="202" y="24"/>
                    </a:cubicBezTo>
                    <a:cubicBezTo>
                      <a:pt x="203" y="27"/>
                      <a:pt x="206" y="31"/>
                      <a:pt x="206" y="34"/>
                    </a:cubicBezTo>
                    <a:cubicBezTo>
                      <a:pt x="205" y="36"/>
                      <a:pt x="203" y="39"/>
                      <a:pt x="201" y="41"/>
                    </a:cubicBezTo>
                    <a:cubicBezTo>
                      <a:pt x="200" y="43"/>
                      <a:pt x="198" y="46"/>
                      <a:pt x="196" y="47"/>
                    </a:cubicBezTo>
                    <a:cubicBezTo>
                      <a:pt x="194" y="49"/>
                      <a:pt x="189" y="51"/>
                      <a:pt x="188" y="52"/>
                    </a:cubicBezTo>
                    <a:cubicBezTo>
                      <a:pt x="186" y="54"/>
                      <a:pt x="185" y="58"/>
                      <a:pt x="184" y="59"/>
                    </a:cubicBezTo>
                    <a:cubicBezTo>
                      <a:pt x="182" y="61"/>
                      <a:pt x="178" y="62"/>
                      <a:pt x="176" y="63"/>
                    </a:cubicBezTo>
                    <a:cubicBezTo>
                      <a:pt x="174" y="65"/>
                      <a:pt x="169" y="68"/>
                      <a:pt x="167" y="70"/>
                    </a:cubicBezTo>
                    <a:cubicBezTo>
                      <a:pt x="166" y="72"/>
                      <a:pt x="162" y="74"/>
                      <a:pt x="161" y="76"/>
                    </a:cubicBezTo>
                    <a:cubicBezTo>
                      <a:pt x="160" y="78"/>
                      <a:pt x="159" y="83"/>
                      <a:pt x="160" y="85"/>
                    </a:cubicBezTo>
                    <a:cubicBezTo>
                      <a:pt x="160" y="90"/>
                      <a:pt x="164" y="99"/>
                      <a:pt x="167" y="104"/>
                    </a:cubicBezTo>
                    <a:cubicBezTo>
                      <a:pt x="168" y="106"/>
                      <a:pt x="172" y="111"/>
                      <a:pt x="174" y="113"/>
                    </a:cubicBezTo>
                    <a:cubicBezTo>
                      <a:pt x="177" y="116"/>
                      <a:pt x="187" y="118"/>
                      <a:pt x="191" y="120"/>
                    </a:cubicBezTo>
                    <a:cubicBezTo>
                      <a:pt x="195" y="122"/>
                      <a:pt x="204" y="128"/>
                      <a:pt x="209" y="129"/>
                    </a:cubicBezTo>
                    <a:cubicBezTo>
                      <a:pt x="210" y="130"/>
                      <a:pt x="214" y="128"/>
                      <a:pt x="216" y="128"/>
                    </a:cubicBezTo>
                    <a:cubicBezTo>
                      <a:pt x="219" y="129"/>
                      <a:pt x="221" y="134"/>
                      <a:pt x="224" y="135"/>
                    </a:cubicBezTo>
                    <a:cubicBezTo>
                      <a:pt x="226" y="136"/>
                      <a:pt x="232" y="137"/>
                      <a:pt x="235" y="138"/>
                    </a:cubicBezTo>
                    <a:cubicBezTo>
                      <a:pt x="237" y="139"/>
                      <a:pt x="241" y="142"/>
                      <a:pt x="243" y="142"/>
                    </a:cubicBezTo>
                    <a:cubicBezTo>
                      <a:pt x="245" y="143"/>
                      <a:pt x="250" y="143"/>
                      <a:pt x="252" y="144"/>
                    </a:cubicBezTo>
                    <a:cubicBezTo>
                      <a:pt x="254" y="145"/>
                      <a:pt x="256" y="149"/>
                      <a:pt x="258" y="149"/>
                    </a:cubicBezTo>
                    <a:cubicBezTo>
                      <a:pt x="259" y="150"/>
                      <a:pt x="262" y="150"/>
                      <a:pt x="263" y="150"/>
                    </a:cubicBezTo>
                    <a:cubicBezTo>
                      <a:pt x="265" y="150"/>
                      <a:pt x="268" y="151"/>
                      <a:pt x="269" y="152"/>
                    </a:cubicBezTo>
                    <a:cubicBezTo>
                      <a:pt x="270" y="153"/>
                      <a:pt x="272" y="155"/>
                      <a:pt x="273" y="156"/>
                    </a:cubicBezTo>
                    <a:cubicBezTo>
                      <a:pt x="274" y="156"/>
                      <a:pt x="278" y="156"/>
                      <a:pt x="279" y="157"/>
                    </a:cubicBezTo>
                    <a:cubicBezTo>
                      <a:pt x="280" y="157"/>
                      <a:pt x="281" y="159"/>
                      <a:pt x="282" y="160"/>
                    </a:cubicBezTo>
                    <a:cubicBezTo>
                      <a:pt x="284" y="160"/>
                      <a:pt x="288" y="160"/>
                      <a:pt x="289" y="160"/>
                    </a:cubicBezTo>
                    <a:cubicBezTo>
                      <a:pt x="292" y="160"/>
                      <a:pt x="297" y="161"/>
                      <a:pt x="299" y="162"/>
                    </a:cubicBezTo>
                    <a:cubicBezTo>
                      <a:pt x="303" y="163"/>
                      <a:pt x="308" y="167"/>
                      <a:pt x="312" y="168"/>
                    </a:cubicBezTo>
                    <a:cubicBezTo>
                      <a:pt x="315" y="170"/>
                      <a:pt x="323" y="169"/>
                      <a:pt x="327" y="170"/>
                    </a:cubicBezTo>
                    <a:cubicBezTo>
                      <a:pt x="329" y="170"/>
                      <a:pt x="333" y="173"/>
                      <a:pt x="335" y="174"/>
                    </a:cubicBezTo>
                    <a:cubicBezTo>
                      <a:pt x="339" y="175"/>
                      <a:pt x="347" y="177"/>
                      <a:pt x="351" y="178"/>
                    </a:cubicBezTo>
                    <a:cubicBezTo>
                      <a:pt x="354" y="179"/>
                      <a:pt x="361" y="182"/>
                      <a:pt x="365" y="183"/>
                    </a:cubicBezTo>
                    <a:cubicBezTo>
                      <a:pt x="367" y="184"/>
                      <a:pt x="371" y="185"/>
                      <a:pt x="373" y="186"/>
                    </a:cubicBezTo>
                    <a:cubicBezTo>
                      <a:pt x="376" y="187"/>
                      <a:pt x="382" y="190"/>
                      <a:pt x="385" y="192"/>
                    </a:cubicBezTo>
                    <a:cubicBezTo>
                      <a:pt x="387" y="193"/>
                      <a:pt x="391" y="196"/>
                      <a:pt x="393" y="197"/>
                    </a:cubicBezTo>
                    <a:cubicBezTo>
                      <a:pt x="397" y="200"/>
                      <a:pt x="405" y="208"/>
                      <a:pt x="410" y="211"/>
                    </a:cubicBezTo>
                    <a:cubicBezTo>
                      <a:pt x="414" y="214"/>
                      <a:pt x="423" y="219"/>
                      <a:pt x="427" y="222"/>
                    </a:cubicBezTo>
                    <a:cubicBezTo>
                      <a:pt x="430" y="224"/>
                      <a:pt x="436" y="229"/>
                      <a:pt x="440" y="230"/>
                    </a:cubicBezTo>
                    <a:cubicBezTo>
                      <a:pt x="444" y="232"/>
                      <a:pt x="453" y="233"/>
                      <a:pt x="458" y="234"/>
                    </a:cubicBezTo>
                    <a:cubicBezTo>
                      <a:pt x="461" y="235"/>
                      <a:pt x="467" y="237"/>
                      <a:pt x="470" y="238"/>
                    </a:cubicBezTo>
                    <a:cubicBezTo>
                      <a:pt x="474" y="240"/>
                      <a:pt x="482" y="245"/>
                      <a:pt x="486" y="247"/>
                    </a:cubicBezTo>
                    <a:cubicBezTo>
                      <a:pt x="488" y="248"/>
                      <a:pt x="493" y="250"/>
                      <a:pt x="495" y="251"/>
                    </a:cubicBezTo>
                    <a:cubicBezTo>
                      <a:pt x="497" y="251"/>
                      <a:pt x="502" y="250"/>
                      <a:pt x="504" y="250"/>
                    </a:cubicBezTo>
                    <a:cubicBezTo>
                      <a:pt x="506" y="250"/>
                      <a:pt x="511" y="250"/>
                      <a:pt x="513" y="251"/>
                    </a:cubicBezTo>
                    <a:cubicBezTo>
                      <a:pt x="514" y="252"/>
                      <a:pt x="514" y="254"/>
                      <a:pt x="513" y="255"/>
                    </a:cubicBezTo>
                    <a:cubicBezTo>
                      <a:pt x="513" y="256"/>
                      <a:pt x="511" y="257"/>
                      <a:pt x="511" y="258"/>
                    </a:cubicBezTo>
                    <a:cubicBezTo>
                      <a:pt x="511" y="259"/>
                      <a:pt x="512" y="261"/>
                      <a:pt x="513" y="261"/>
                    </a:cubicBezTo>
                    <a:cubicBezTo>
                      <a:pt x="514" y="261"/>
                      <a:pt x="516" y="259"/>
                      <a:pt x="517" y="259"/>
                    </a:cubicBezTo>
                    <a:cubicBezTo>
                      <a:pt x="518" y="258"/>
                      <a:pt x="521" y="257"/>
                      <a:pt x="522" y="258"/>
                    </a:cubicBezTo>
                    <a:cubicBezTo>
                      <a:pt x="523" y="258"/>
                      <a:pt x="522" y="261"/>
                      <a:pt x="522" y="262"/>
                    </a:cubicBezTo>
                    <a:cubicBezTo>
                      <a:pt x="523" y="264"/>
                      <a:pt x="526" y="265"/>
                      <a:pt x="527" y="267"/>
                    </a:cubicBezTo>
                    <a:cubicBezTo>
                      <a:pt x="527" y="268"/>
                      <a:pt x="525" y="272"/>
                      <a:pt x="526" y="274"/>
                    </a:cubicBezTo>
                    <a:cubicBezTo>
                      <a:pt x="527" y="276"/>
                      <a:pt x="533" y="277"/>
                      <a:pt x="535" y="278"/>
                    </a:cubicBezTo>
                    <a:cubicBezTo>
                      <a:pt x="536" y="279"/>
                      <a:pt x="538" y="282"/>
                      <a:pt x="539" y="283"/>
                    </a:cubicBezTo>
                    <a:cubicBezTo>
                      <a:pt x="541" y="285"/>
                      <a:pt x="547" y="290"/>
                      <a:pt x="551" y="291"/>
                    </a:cubicBezTo>
                    <a:cubicBezTo>
                      <a:pt x="554" y="293"/>
                      <a:pt x="561" y="295"/>
                      <a:pt x="565" y="298"/>
                    </a:cubicBezTo>
                    <a:cubicBezTo>
                      <a:pt x="567" y="299"/>
                      <a:pt x="572" y="304"/>
                      <a:pt x="574" y="306"/>
                    </a:cubicBezTo>
                    <a:cubicBezTo>
                      <a:pt x="577" y="309"/>
                      <a:pt x="583" y="314"/>
                      <a:pt x="586" y="316"/>
                    </a:cubicBezTo>
                    <a:cubicBezTo>
                      <a:pt x="588" y="318"/>
                      <a:pt x="591" y="323"/>
                      <a:pt x="593" y="325"/>
                    </a:cubicBezTo>
                    <a:cubicBezTo>
                      <a:pt x="594" y="326"/>
                      <a:pt x="597" y="328"/>
                      <a:pt x="598" y="329"/>
                    </a:cubicBezTo>
                    <a:cubicBezTo>
                      <a:pt x="600" y="331"/>
                      <a:pt x="604" y="335"/>
                      <a:pt x="605" y="338"/>
                    </a:cubicBezTo>
                    <a:cubicBezTo>
                      <a:pt x="605" y="340"/>
                      <a:pt x="605" y="344"/>
                      <a:pt x="605" y="346"/>
                    </a:cubicBezTo>
                    <a:cubicBezTo>
                      <a:pt x="606" y="348"/>
                      <a:pt x="608" y="352"/>
                      <a:pt x="609" y="354"/>
                    </a:cubicBezTo>
                    <a:cubicBezTo>
                      <a:pt x="610" y="355"/>
                      <a:pt x="613" y="357"/>
                      <a:pt x="614" y="359"/>
                    </a:cubicBezTo>
                    <a:cubicBezTo>
                      <a:pt x="615" y="361"/>
                      <a:pt x="615" y="365"/>
                      <a:pt x="615" y="367"/>
                    </a:cubicBezTo>
                    <a:cubicBezTo>
                      <a:pt x="614" y="369"/>
                      <a:pt x="611" y="371"/>
                      <a:pt x="610" y="372"/>
                    </a:cubicBezTo>
                    <a:cubicBezTo>
                      <a:pt x="609" y="374"/>
                      <a:pt x="609" y="379"/>
                      <a:pt x="608" y="381"/>
                    </a:cubicBezTo>
                    <a:cubicBezTo>
                      <a:pt x="608" y="382"/>
                      <a:pt x="606" y="384"/>
                      <a:pt x="606" y="385"/>
                    </a:cubicBezTo>
                    <a:cubicBezTo>
                      <a:pt x="605" y="386"/>
                      <a:pt x="606" y="388"/>
                      <a:pt x="606" y="390"/>
                    </a:cubicBezTo>
                    <a:cubicBezTo>
                      <a:pt x="605" y="391"/>
                      <a:pt x="601" y="391"/>
                      <a:pt x="600" y="392"/>
                    </a:cubicBezTo>
                    <a:cubicBezTo>
                      <a:pt x="599" y="394"/>
                      <a:pt x="599" y="399"/>
                      <a:pt x="599" y="401"/>
                    </a:cubicBezTo>
                    <a:cubicBezTo>
                      <a:pt x="598" y="403"/>
                      <a:pt x="597" y="407"/>
                      <a:pt x="598" y="408"/>
                    </a:cubicBezTo>
                    <a:cubicBezTo>
                      <a:pt x="598" y="410"/>
                      <a:pt x="600" y="412"/>
                      <a:pt x="601" y="414"/>
                    </a:cubicBezTo>
                    <a:cubicBezTo>
                      <a:pt x="601" y="416"/>
                      <a:pt x="600" y="421"/>
                      <a:pt x="600" y="423"/>
                    </a:cubicBezTo>
                    <a:cubicBezTo>
                      <a:pt x="600" y="425"/>
                      <a:pt x="601" y="428"/>
                      <a:pt x="601" y="430"/>
                    </a:cubicBezTo>
                    <a:cubicBezTo>
                      <a:pt x="601" y="432"/>
                      <a:pt x="601" y="436"/>
                      <a:pt x="599" y="438"/>
                    </a:cubicBezTo>
                    <a:cubicBezTo>
                      <a:pt x="598" y="438"/>
                      <a:pt x="596" y="439"/>
                      <a:pt x="595" y="439"/>
                    </a:cubicBezTo>
                    <a:cubicBezTo>
                      <a:pt x="594" y="438"/>
                      <a:pt x="591" y="438"/>
                      <a:pt x="590" y="437"/>
                    </a:cubicBezTo>
                    <a:cubicBezTo>
                      <a:pt x="589" y="436"/>
                      <a:pt x="587" y="432"/>
                      <a:pt x="585" y="431"/>
                    </a:cubicBezTo>
                    <a:cubicBezTo>
                      <a:pt x="584" y="430"/>
                      <a:pt x="581" y="429"/>
                      <a:pt x="580" y="429"/>
                    </a:cubicBezTo>
                    <a:cubicBezTo>
                      <a:pt x="578" y="428"/>
                      <a:pt x="573" y="429"/>
                      <a:pt x="571" y="430"/>
                    </a:cubicBezTo>
                    <a:cubicBezTo>
                      <a:pt x="570" y="430"/>
                      <a:pt x="569" y="432"/>
                      <a:pt x="568" y="432"/>
                    </a:cubicBezTo>
                    <a:cubicBezTo>
                      <a:pt x="566" y="431"/>
                      <a:pt x="563" y="426"/>
                      <a:pt x="561" y="425"/>
                    </a:cubicBezTo>
                    <a:cubicBezTo>
                      <a:pt x="559" y="423"/>
                      <a:pt x="555" y="421"/>
                      <a:pt x="553" y="420"/>
                    </a:cubicBezTo>
                    <a:cubicBezTo>
                      <a:pt x="551" y="420"/>
                      <a:pt x="549" y="419"/>
                      <a:pt x="547" y="418"/>
                    </a:cubicBezTo>
                    <a:cubicBezTo>
                      <a:pt x="545" y="416"/>
                      <a:pt x="540" y="412"/>
                      <a:pt x="539" y="409"/>
                    </a:cubicBezTo>
                    <a:cubicBezTo>
                      <a:pt x="538" y="409"/>
                      <a:pt x="538" y="406"/>
                      <a:pt x="538" y="406"/>
                    </a:cubicBezTo>
                    <a:cubicBezTo>
                      <a:pt x="537" y="405"/>
                      <a:pt x="535" y="405"/>
                      <a:pt x="534" y="404"/>
                    </a:cubicBezTo>
                    <a:cubicBezTo>
                      <a:pt x="533" y="403"/>
                      <a:pt x="530" y="400"/>
                      <a:pt x="531" y="399"/>
                    </a:cubicBezTo>
                    <a:cubicBezTo>
                      <a:pt x="531" y="398"/>
                      <a:pt x="533" y="399"/>
                      <a:pt x="534" y="398"/>
                    </a:cubicBezTo>
                    <a:cubicBezTo>
                      <a:pt x="535" y="397"/>
                      <a:pt x="534" y="394"/>
                      <a:pt x="533" y="392"/>
                    </a:cubicBezTo>
                    <a:cubicBezTo>
                      <a:pt x="533" y="391"/>
                      <a:pt x="531" y="389"/>
                      <a:pt x="531" y="388"/>
                    </a:cubicBezTo>
                    <a:cubicBezTo>
                      <a:pt x="531" y="386"/>
                      <a:pt x="532" y="382"/>
                      <a:pt x="531" y="380"/>
                    </a:cubicBezTo>
                    <a:cubicBezTo>
                      <a:pt x="531" y="378"/>
                      <a:pt x="528" y="374"/>
                      <a:pt x="527" y="372"/>
                    </a:cubicBezTo>
                    <a:cubicBezTo>
                      <a:pt x="527" y="370"/>
                      <a:pt x="526" y="367"/>
                      <a:pt x="525" y="366"/>
                    </a:cubicBezTo>
                    <a:cubicBezTo>
                      <a:pt x="524" y="365"/>
                      <a:pt x="522" y="364"/>
                      <a:pt x="521" y="364"/>
                    </a:cubicBezTo>
                    <a:cubicBezTo>
                      <a:pt x="520" y="364"/>
                      <a:pt x="518" y="366"/>
                      <a:pt x="517" y="365"/>
                    </a:cubicBezTo>
                    <a:cubicBezTo>
                      <a:pt x="516" y="364"/>
                      <a:pt x="517" y="360"/>
                      <a:pt x="517" y="359"/>
                    </a:cubicBezTo>
                    <a:cubicBezTo>
                      <a:pt x="517" y="357"/>
                      <a:pt x="516" y="354"/>
                      <a:pt x="516" y="352"/>
                    </a:cubicBezTo>
                    <a:cubicBezTo>
                      <a:pt x="515" y="350"/>
                      <a:pt x="513" y="348"/>
                      <a:pt x="513" y="346"/>
                    </a:cubicBezTo>
                    <a:cubicBezTo>
                      <a:pt x="513" y="345"/>
                      <a:pt x="514" y="344"/>
                      <a:pt x="514" y="344"/>
                    </a:cubicBezTo>
                    <a:cubicBezTo>
                      <a:pt x="513" y="342"/>
                      <a:pt x="509" y="343"/>
                      <a:pt x="508" y="342"/>
                    </a:cubicBezTo>
                    <a:cubicBezTo>
                      <a:pt x="507" y="342"/>
                      <a:pt x="507" y="339"/>
                      <a:pt x="506" y="338"/>
                    </a:cubicBezTo>
                    <a:cubicBezTo>
                      <a:pt x="505" y="338"/>
                      <a:pt x="504" y="340"/>
                      <a:pt x="503" y="340"/>
                    </a:cubicBezTo>
                    <a:cubicBezTo>
                      <a:pt x="501" y="341"/>
                      <a:pt x="497" y="339"/>
                      <a:pt x="495" y="338"/>
                    </a:cubicBezTo>
                    <a:cubicBezTo>
                      <a:pt x="492" y="338"/>
                      <a:pt x="487" y="339"/>
                      <a:pt x="485" y="338"/>
                    </a:cubicBezTo>
                    <a:cubicBezTo>
                      <a:pt x="484" y="338"/>
                      <a:pt x="482" y="336"/>
                      <a:pt x="481" y="336"/>
                    </a:cubicBezTo>
                    <a:cubicBezTo>
                      <a:pt x="480" y="336"/>
                      <a:pt x="477" y="337"/>
                      <a:pt x="476" y="338"/>
                    </a:cubicBezTo>
                    <a:cubicBezTo>
                      <a:pt x="474" y="338"/>
                      <a:pt x="468" y="338"/>
                      <a:pt x="466" y="338"/>
                    </a:cubicBezTo>
                    <a:cubicBezTo>
                      <a:pt x="465" y="339"/>
                      <a:pt x="463" y="340"/>
                      <a:pt x="462" y="340"/>
                    </a:cubicBezTo>
                    <a:cubicBezTo>
                      <a:pt x="460" y="341"/>
                      <a:pt x="454" y="340"/>
                      <a:pt x="452" y="340"/>
                    </a:cubicBezTo>
                    <a:cubicBezTo>
                      <a:pt x="451" y="341"/>
                      <a:pt x="449" y="342"/>
                      <a:pt x="448" y="342"/>
                    </a:cubicBezTo>
                    <a:cubicBezTo>
                      <a:pt x="447" y="341"/>
                      <a:pt x="445" y="339"/>
                      <a:pt x="444" y="339"/>
                    </a:cubicBezTo>
                    <a:cubicBezTo>
                      <a:pt x="443" y="338"/>
                      <a:pt x="440" y="339"/>
                      <a:pt x="439" y="339"/>
                    </a:cubicBezTo>
                    <a:cubicBezTo>
                      <a:pt x="438" y="338"/>
                      <a:pt x="436" y="335"/>
                      <a:pt x="435" y="335"/>
                    </a:cubicBezTo>
                    <a:cubicBezTo>
                      <a:pt x="433" y="334"/>
                      <a:pt x="431" y="335"/>
                      <a:pt x="430" y="335"/>
                    </a:cubicBezTo>
                    <a:cubicBezTo>
                      <a:pt x="429" y="335"/>
                      <a:pt x="427" y="333"/>
                      <a:pt x="426" y="332"/>
                    </a:cubicBezTo>
                    <a:cubicBezTo>
                      <a:pt x="424" y="331"/>
                      <a:pt x="420" y="328"/>
                      <a:pt x="418" y="328"/>
                    </a:cubicBezTo>
                    <a:cubicBezTo>
                      <a:pt x="417" y="327"/>
                      <a:pt x="414" y="328"/>
                      <a:pt x="412" y="328"/>
                    </a:cubicBezTo>
                    <a:cubicBezTo>
                      <a:pt x="410" y="327"/>
                      <a:pt x="406" y="324"/>
                      <a:pt x="404" y="324"/>
                    </a:cubicBezTo>
                    <a:cubicBezTo>
                      <a:pt x="402" y="323"/>
                      <a:pt x="399" y="323"/>
                      <a:pt x="398" y="324"/>
                    </a:cubicBezTo>
                    <a:cubicBezTo>
                      <a:pt x="397" y="324"/>
                      <a:pt x="396" y="326"/>
                      <a:pt x="395" y="326"/>
                    </a:cubicBezTo>
                    <a:cubicBezTo>
                      <a:pt x="394" y="325"/>
                      <a:pt x="394" y="322"/>
                      <a:pt x="394" y="321"/>
                    </a:cubicBezTo>
                    <a:cubicBezTo>
                      <a:pt x="394" y="320"/>
                      <a:pt x="394" y="319"/>
                      <a:pt x="394" y="319"/>
                    </a:cubicBezTo>
                    <a:cubicBezTo>
                      <a:pt x="395" y="318"/>
                      <a:pt x="399" y="318"/>
                      <a:pt x="400" y="317"/>
                    </a:cubicBezTo>
                    <a:cubicBezTo>
                      <a:pt x="400" y="317"/>
                      <a:pt x="400" y="315"/>
                      <a:pt x="400" y="315"/>
                    </a:cubicBezTo>
                    <a:cubicBezTo>
                      <a:pt x="400" y="314"/>
                      <a:pt x="399" y="312"/>
                      <a:pt x="399" y="311"/>
                    </a:cubicBezTo>
                    <a:cubicBezTo>
                      <a:pt x="399" y="310"/>
                      <a:pt x="400" y="308"/>
                      <a:pt x="401" y="308"/>
                    </a:cubicBezTo>
                    <a:cubicBezTo>
                      <a:pt x="402" y="307"/>
                      <a:pt x="406" y="309"/>
                      <a:pt x="408" y="308"/>
                    </a:cubicBezTo>
                    <a:cubicBezTo>
                      <a:pt x="409" y="308"/>
                      <a:pt x="412" y="308"/>
                      <a:pt x="413" y="308"/>
                    </a:cubicBezTo>
                    <a:cubicBezTo>
                      <a:pt x="413" y="307"/>
                      <a:pt x="414" y="305"/>
                      <a:pt x="414" y="304"/>
                    </a:cubicBezTo>
                    <a:cubicBezTo>
                      <a:pt x="414" y="303"/>
                      <a:pt x="413" y="300"/>
                      <a:pt x="412" y="299"/>
                    </a:cubicBezTo>
                    <a:cubicBezTo>
                      <a:pt x="411" y="299"/>
                      <a:pt x="409" y="300"/>
                      <a:pt x="408" y="300"/>
                    </a:cubicBezTo>
                    <a:cubicBezTo>
                      <a:pt x="406" y="301"/>
                      <a:pt x="403" y="299"/>
                      <a:pt x="401" y="300"/>
                    </a:cubicBezTo>
                    <a:cubicBezTo>
                      <a:pt x="400" y="300"/>
                      <a:pt x="399" y="302"/>
                      <a:pt x="398" y="302"/>
                    </a:cubicBezTo>
                    <a:cubicBezTo>
                      <a:pt x="397" y="303"/>
                      <a:pt x="395" y="305"/>
                      <a:pt x="394" y="306"/>
                    </a:cubicBezTo>
                    <a:cubicBezTo>
                      <a:pt x="393" y="307"/>
                      <a:pt x="390" y="307"/>
                      <a:pt x="388" y="306"/>
                    </a:cubicBezTo>
                    <a:cubicBezTo>
                      <a:pt x="387" y="305"/>
                      <a:pt x="387" y="301"/>
                      <a:pt x="386" y="300"/>
                    </a:cubicBezTo>
                    <a:cubicBezTo>
                      <a:pt x="385" y="299"/>
                      <a:pt x="380" y="299"/>
                      <a:pt x="378" y="299"/>
                    </a:cubicBezTo>
                    <a:cubicBezTo>
                      <a:pt x="376" y="299"/>
                      <a:pt x="370" y="300"/>
                      <a:pt x="367" y="301"/>
                    </a:cubicBezTo>
                    <a:cubicBezTo>
                      <a:pt x="364" y="302"/>
                      <a:pt x="359" y="305"/>
                      <a:pt x="357" y="307"/>
                    </a:cubicBezTo>
                    <a:cubicBezTo>
                      <a:pt x="353" y="309"/>
                      <a:pt x="348" y="316"/>
                      <a:pt x="346" y="320"/>
                    </a:cubicBezTo>
                    <a:cubicBezTo>
                      <a:pt x="345" y="321"/>
                      <a:pt x="344" y="322"/>
                      <a:pt x="343" y="324"/>
                    </a:cubicBezTo>
                    <a:cubicBezTo>
                      <a:pt x="342" y="322"/>
                      <a:pt x="340" y="320"/>
                      <a:pt x="339" y="319"/>
                    </a:cubicBezTo>
                    <a:cubicBezTo>
                      <a:pt x="338" y="317"/>
                      <a:pt x="334" y="312"/>
                      <a:pt x="332" y="311"/>
                    </a:cubicBezTo>
                    <a:cubicBezTo>
                      <a:pt x="330" y="311"/>
                      <a:pt x="326" y="312"/>
                      <a:pt x="324" y="311"/>
                    </a:cubicBezTo>
                    <a:cubicBezTo>
                      <a:pt x="322" y="310"/>
                      <a:pt x="318" y="306"/>
                      <a:pt x="317" y="304"/>
                    </a:cubicBezTo>
                    <a:cubicBezTo>
                      <a:pt x="316" y="303"/>
                      <a:pt x="315" y="299"/>
                      <a:pt x="315" y="298"/>
                    </a:cubicBezTo>
                    <a:cubicBezTo>
                      <a:pt x="315" y="296"/>
                      <a:pt x="316" y="293"/>
                      <a:pt x="316" y="292"/>
                    </a:cubicBezTo>
                    <a:cubicBezTo>
                      <a:pt x="317" y="291"/>
                      <a:pt x="317" y="288"/>
                      <a:pt x="316" y="287"/>
                    </a:cubicBezTo>
                    <a:cubicBezTo>
                      <a:pt x="316" y="286"/>
                      <a:pt x="313" y="285"/>
                      <a:pt x="312" y="284"/>
                    </a:cubicBezTo>
                    <a:cubicBezTo>
                      <a:pt x="311" y="282"/>
                      <a:pt x="310" y="279"/>
                      <a:pt x="310" y="277"/>
                    </a:cubicBezTo>
                    <a:cubicBezTo>
                      <a:pt x="311" y="275"/>
                      <a:pt x="312" y="273"/>
                      <a:pt x="313" y="271"/>
                    </a:cubicBezTo>
                    <a:cubicBezTo>
                      <a:pt x="313" y="269"/>
                      <a:pt x="315" y="266"/>
                      <a:pt x="314" y="264"/>
                    </a:cubicBezTo>
                    <a:cubicBezTo>
                      <a:pt x="314" y="262"/>
                      <a:pt x="311" y="259"/>
                      <a:pt x="309" y="258"/>
                    </a:cubicBezTo>
                    <a:cubicBezTo>
                      <a:pt x="308" y="257"/>
                      <a:pt x="305" y="257"/>
                      <a:pt x="304" y="258"/>
                    </a:cubicBezTo>
                    <a:cubicBezTo>
                      <a:pt x="302" y="259"/>
                      <a:pt x="301" y="264"/>
                      <a:pt x="299" y="265"/>
                    </a:cubicBezTo>
                    <a:cubicBezTo>
                      <a:pt x="297" y="266"/>
                      <a:pt x="293" y="266"/>
                      <a:pt x="291" y="265"/>
                    </a:cubicBezTo>
                    <a:cubicBezTo>
                      <a:pt x="289" y="264"/>
                      <a:pt x="288" y="259"/>
                      <a:pt x="286" y="258"/>
                    </a:cubicBezTo>
                    <a:cubicBezTo>
                      <a:pt x="285" y="257"/>
                      <a:pt x="283" y="258"/>
                      <a:pt x="281" y="258"/>
                    </a:cubicBezTo>
                    <a:cubicBezTo>
                      <a:pt x="280" y="258"/>
                      <a:pt x="278" y="261"/>
                      <a:pt x="277" y="262"/>
                    </a:cubicBezTo>
                    <a:cubicBezTo>
                      <a:pt x="276" y="263"/>
                      <a:pt x="276" y="267"/>
                      <a:pt x="275" y="268"/>
                    </a:cubicBezTo>
                    <a:cubicBezTo>
                      <a:pt x="275" y="270"/>
                      <a:pt x="273" y="273"/>
                      <a:pt x="271" y="273"/>
                    </a:cubicBezTo>
                    <a:cubicBezTo>
                      <a:pt x="269" y="273"/>
                      <a:pt x="265" y="269"/>
                      <a:pt x="263" y="267"/>
                    </a:cubicBezTo>
                    <a:cubicBezTo>
                      <a:pt x="261" y="265"/>
                      <a:pt x="259" y="260"/>
                      <a:pt x="256" y="258"/>
                    </a:cubicBezTo>
                    <a:cubicBezTo>
                      <a:pt x="254" y="256"/>
                      <a:pt x="248" y="254"/>
                      <a:pt x="246" y="253"/>
                    </a:cubicBezTo>
                    <a:cubicBezTo>
                      <a:pt x="243" y="252"/>
                      <a:pt x="236" y="251"/>
                      <a:pt x="234" y="249"/>
                    </a:cubicBezTo>
                    <a:cubicBezTo>
                      <a:pt x="232" y="248"/>
                      <a:pt x="228" y="246"/>
                      <a:pt x="227" y="244"/>
                    </a:cubicBezTo>
                    <a:cubicBezTo>
                      <a:pt x="226" y="241"/>
                      <a:pt x="228" y="235"/>
                      <a:pt x="227" y="232"/>
                    </a:cubicBezTo>
                    <a:cubicBezTo>
                      <a:pt x="227" y="230"/>
                      <a:pt x="227" y="227"/>
                      <a:pt x="226" y="226"/>
                    </a:cubicBezTo>
                    <a:cubicBezTo>
                      <a:pt x="224" y="224"/>
                      <a:pt x="221" y="221"/>
                      <a:pt x="219" y="221"/>
                    </a:cubicBezTo>
                    <a:cubicBezTo>
                      <a:pt x="217" y="221"/>
                      <a:pt x="214" y="223"/>
                      <a:pt x="213" y="224"/>
                    </a:cubicBezTo>
                    <a:cubicBezTo>
                      <a:pt x="212" y="226"/>
                      <a:pt x="214" y="230"/>
                      <a:pt x="213" y="232"/>
                    </a:cubicBezTo>
                    <a:cubicBezTo>
                      <a:pt x="212" y="233"/>
                      <a:pt x="208" y="233"/>
                      <a:pt x="207" y="233"/>
                    </a:cubicBezTo>
                    <a:cubicBezTo>
                      <a:pt x="205" y="232"/>
                      <a:pt x="205" y="227"/>
                      <a:pt x="204" y="226"/>
                    </a:cubicBezTo>
                    <a:cubicBezTo>
                      <a:pt x="202" y="224"/>
                      <a:pt x="198" y="223"/>
                      <a:pt x="196" y="222"/>
                    </a:cubicBezTo>
                    <a:cubicBezTo>
                      <a:pt x="194" y="222"/>
                      <a:pt x="190" y="222"/>
                      <a:pt x="189" y="221"/>
                    </a:cubicBezTo>
                    <a:cubicBezTo>
                      <a:pt x="188" y="220"/>
                      <a:pt x="186" y="216"/>
                      <a:pt x="186" y="215"/>
                    </a:cubicBezTo>
                    <a:cubicBezTo>
                      <a:pt x="187" y="213"/>
                      <a:pt x="190" y="212"/>
                      <a:pt x="191" y="211"/>
                    </a:cubicBezTo>
                    <a:cubicBezTo>
                      <a:pt x="192" y="209"/>
                      <a:pt x="193" y="206"/>
                      <a:pt x="193" y="204"/>
                    </a:cubicBezTo>
                    <a:cubicBezTo>
                      <a:pt x="193" y="202"/>
                      <a:pt x="193" y="198"/>
                      <a:pt x="193" y="196"/>
                    </a:cubicBezTo>
                    <a:cubicBezTo>
                      <a:pt x="192" y="194"/>
                      <a:pt x="189" y="190"/>
                      <a:pt x="187" y="188"/>
                    </a:cubicBezTo>
                    <a:cubicBezTo>
                      <a:pt x="184" y="186"/>
                      <a:pt x="179" y="183"/>
                      <a:pt x="176" y="182"/>
                    </a:cubicBezTo>
                    <a:cubicBezTo>
                      <a:pt x="173" y="181"/>
                      <a:pt x="168" y="180"/>
                      <a:pt x="166" y="180"/>
                    </a:cubicBezTo>
                    <a:cubicBezTo>
                      <a:pt x="164" y="181"/>
                      <a:pt x="161" y="182"/>
                      <a:pt x="160" y="183"/>
                    </a:cubicBezTo>
                    <a:cubicBezTo>
                      <a:pt x="159" y="184"/>
                      <a:pt x="159" y="187"/>
                      <a:pt x="158" y="189"/>
                    </a:cubicBezTo>
                    <a:cubicBezTo>
                      <a:pt x="157" y="190"/>
                      <a:pt x="152" y="193"/>
                      <a:pt x="151" y="195"/>
                    </a:cubicBezTo>
                    <a:cubicBezTo>
                      <a:pt x="150" y="196"/>
                      <a:pt x="151" y="198"/>
                      <a:pt x="150" y="199"/>
                    </a:cubicBezTo>
                    <a:cubicBezTo>
                      <a:pt x="149" y="200"/>
                      <a:pt x="146" y="201"/>
                      <a:pt x="145" y="201"/>
                    </a:cubicBezTo>
                    <a:cubicBezTo>
                      <a:pt x="143" y="200"/>
                      <a:pt x="144" y="196"/>
                      <a:pt x="143" y="195"/>
                    </a:cubicBezTo>
                    <a:cubicBezTo>
                      <a:pt x="142" y="193"/>
                      <a:pt x="139" y="191"/>
                      <a:pt x="137" y="191"/>
                    </a:cubicBezTo>
                    <a:cubicBezTo>
                      <a:pt x="135" y="191"/>
                      <a:pt x="131" y="194"/>
                      <a:pt x="130" y="196"/>
                    </a:cubicBezTo>
                    <a:cubicBezTo>
                      <a:pt x="128" y="197"/>
                      <a:pt x="124" y="200"/>
                      <a:pt x="121" y="201"/>
                    </a:cubicBezTo>
                    <a:cubicBezTo>
                      <a:pt x="120" y="202"/>
                      <a:pt x="118" y="202"/>
                      <a:pt x="116" y="202"/>
                    </a:cubicBezTo>
                    <a:cubicBezTo>
                      <a:pt x="114" y="202"/>
                      <a:pt x="113" y="202"/>
                      <a:pt x="112" y="202"/>
                    </a:cubicBezTo>
                    <a:cubicBezTo>
                      <a:pt x="110" y="201"/>
                      <a:pt x="106" y="199"/>
                      <a:pt x="104" y="198"/>
                    </a:cubicBezTo>
                    <a:cubicBezTo>
                      <a:pt x="101" y="197"/>
                      <a:pt x="97" y="192"/>
                      <a:pt x="93" y="192"/>
                    </a:cubicBezTo>
                    <a:cubicBezTo>
                      <a:pt x="92" y="192"/>
                      <a:pt x="89" y="194"/>
                      <a:pt x="87" y="195"/>
                    </a:cubicBezTo>
                    <a:cubicBezTo>
                      <a:pt x="85" y="195"/>
                      <a:pt x="81" y="198"/>
                      <a:pt x="79" y="198"/>
                    </a:cubicBezTo>
                    <a:cubicBezTo>
                      <a:pt x="76" y="198"/>
                      <a:pt x="70" y="196"/>
                      <a:pt x="68" y="195"/>
                    </a:cubicBezTo>
                    <a:cubicBezTo>
                      <a:pt x="66" y="193"/>
                      <a:pt x="66" y="187"/>
                      <a:pt x="64" y="184"/>
                    </a:cubicBezTo>
                    <a:cubicBezTo>
                      <a:pt x="63" y="183"/>
                      <a:pt x="60" y="180"/>
                      <a:pt x="60" y="179"/>
                    </a:cubicBezTo>
                    <a:cubicBezTo>
                      <a:pt x="59" y="176"/>
                      <a:pt x="61" y="170"/>
                      <a:pt x="61" y="167"/>
                    </a:cubicBezTo>
                    <a:cubicBezTo>
                      <a:pt x="60" y="164"/>
                      <a:pt x="59" y="159"/>
                      <a:pt x="57" y="157"/>
                    </a:cubicBezTo>
                    <a:cubicBezTo>
                      <a:pt x="55" y="156"/>
                      <a:pt x="51" y="158"/>
                      <a:pt x="49" y="157"/>
                    </a:cubicBezTo>
                    <a:cubicBezTo>
                      <a:pt x="46" y="157"/>
                      <a:pt x="41" y="155"/>
                      <a:pt x="39" y="154"/>
                    </a:cubicBezTo>
                    <a:cubicBezTo>
                      <a:pt x="38" y="153"/>
                      <a:pt x="35" y="151"/>
                      <a:pt x="34" y="150"/>
                    </a:cubicBezTo>
                    <a:cubicBezTo>
                      <a:pt x="32" y="147"/>
                      <a:pt x="31" y="140"/>
                      <a:pt x="32" y="137"/>
                    </a:cubicBezTo>
                    <a:cubicBezTo>
                      <a:pt x="33" y="136"/>
                      <a:pt x="38" y="137"/>
                      <a:pt x="39" y="135"/>
                    </a:cubicBezTo>
                    <a:cubicBezTo>
                      <a:pt x="40" y="133"/>
                      <a:pt x="36" y="127"/>
                      <a:pt x="35" y="125"/>
                    </a:cubicBezTo>
                    <a:cubicBezTo>
                      <a:pt x="33" y="123"/>
                      <a:pt x="28" y="121"/>
                      <a:pt x="26" y="120"/>
                    </a:cubicBezTo>
                    <a:cubicBezTo>
                      <a:pt x="24" y="119"/>
                      <a:pt x="19" y="120"/>
                      <a:pt x="17" y="11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50">
                <a:extLst>
                  <a:ext uri="{FF2B5EF4-FFF2-40B4-BE49-F238E27FC236}">
                    <a16:creationId xmlns:a16="http://schemas.microsoft.com/office/drawing/2014/main" id="{A516FAB5-EA7C-0147-D92F-FFAEE9105428}"/>
                  </a:ext>
                </a:extLst>
              </p:cNvPr>
              <p:cNvSpPr>
                <a:spLocks/>
              </p:cNvSpPr>
              <p:nvPr/>
            </p:nvSpPr>
            <p:spPr bwMode="auto">
              <a:xfrm>
                <a:off x="8555477" y="4467755"/>
                <a:ext cx="391685" cy="735127"/>
              </a:xfrm>
              <a:custGeom>
                <a:avLst/>
                <a:gdLst/>
                <a:ahLst/>
                <a:cxnLst>
                  <a:cxn ang="0">
                    <a:pos x="252" y="238"/>
                  </a:cxn>
                  <a:cxn ang="0">
                    <a:pos x="247" y="253"/>
                  </a:cxn>
                  <a:cxn ang="0">
                    <a:pos x="240" y="261"/>
                  </a:cxn>
                  <a:cxn ang="0">
                    <a:pos x="231" y="258"/>
                  </a:cxn>
                  <a:cxn ang="0">
                    <a:pos x="224" y="256"/>
                  </a:cxn>
                  <a:cxn ang="0">
                    <a:pos x="205" y="257"/>
                  </a:cxn>
                  <a:cxn ang="0">
                    <a:pos x="154" y="292"/>
                  </a:cxn>
                  <a:cxn ang="0">
                    <a:pos x="149" y="312"/>
                  </a:cxn>
                  <a:cxn ang="0">
                    <a:pos x="158" y="349"/>
                  </a:cxn>
                  <a:cxn ang="0">
                    <a:pos x="156" y="377"/>
                  </a:cxn>
                  <a:cxn ang="0">
                    <a:pos x="125" y="398"/>
                  </a:cxn>
                  <a:cxn ang="0">
                    <a:pos x="96" y="459"/>
                  </a:cxn>
                  <a:cxn ang="0">
                    <a:pos x="61" y="487"/>
                  </a:cxn>
                  <a:cxn ang="0">
                    <a:pos x="17" y="484"/>
                  </a:cxn>
                  <a:cxn ang="0">
                    <a:pos x="10" y="442"/>
                  </a:cxn>
                  <a:cxn ang="0">
                    <a:pos x="16" y="418"/>
                  </a:cxn>
                  <a:cxn ang="0">
                    <a:pos x="39" y="389"/>
                  </a:cxn>
                  <a:cxn ang="0">
                    <a:pos x="46" y="352"/>
                  </a:cxn>
                  <a:cxn ang="0">
                    <a:pos x="32" y="331"/>
                  </a:cxn>
                  <a:cxn ang="0">
                    <a:pos x="59" y="311"/>
                  </a:cxn>
                  <a:cxn ang="0">
                    <a:pos x="89" y="299"/>
                  </a:cxn>
                  <a:cxn ang="0">
                    <a:pos x="83" y="262"/>
                  </a:cxn>
                  <a:cxn ang="0">
                    <a:pos x="67" y="234"/>
                  </a:cxn>
                  <a:cxn ang="0">
                    <a:pos x="58" y="188"/>
                  </a:cxn>
                  <a:cxn ang="0">
                    <a:pos x="36" y="145"/>
                  </a:cxn>
                  <a:cxn ang="0">
                    <a:pos x="14" y="112"/>
                  </a:cxn>
                  <a:cxn ang="0">
                    <a:pos x="6" y="86"/>
                  </a:cxn>
                  <a:cxn ang="0">
                    <a:pos x="2" y="69"/>
                  </a:cxn>
                  <a:cxn ang="0">
                    <a:pos x="10" y="50"/>
                  </a:cxn>
                  <a:cxn ang="0">
                    <a:pos x="24" y="41"/>
                  </a:cxn>
                  <a:cxn ang="0">
                    <a:pos x="46" y="34"/>
                  </a:cxn>
                  <a:cxn ang="0">
                    <a:pos x="54" y="57"/>
                  </a:cxn>
                  <a:cxn ang="0">
                    <a:pos x="81" y="46"/>
                  </a:cxn>
                  <a:cxn ang="0">
                    <a:pos x="104" y="45"/>
                  </a:cxn>
                  <a:cxn ang="0">
                    <a:pos x="109" y="23"/>
                  </a:cxn>
                  <a:cxn ang="0">
                    <a:pos x="121" y="2"/>
                  </a:cxn>
                  <a:cxn ang="0">
                    <a:pos x="139" y="5"/>
                  </a:cxn>
                  <a:cxn ang="0">
                    <a:pos x="139" y="31"/>
                  </a:cxn>
                  <a:cxn ang="0">
                    <a:pos x="131" y="57"/>
                  </a:cxn>
                  <a:cxn ang="0">
                    <a:pos x="131" y="99"/>
                  </a:cxn>
                  <a:cxn ang="0">
                    <a:pos x="162" y="107"/>
                  </a:cxn>
                  <a:cxn ang="0">
                    <a:pos x="189" y="121"/>
                  </a:cxn>
                  <a:cxn ang="0">
                    <a:pos x="217" y="133"/>
                  </a:cxn>
                  <a:cxn ang="0">
                    <a:pos x="238" y="150"/>
                  </a:cxn>
                  <a:cxn ang="0">
                    <a:pos x="236" y="170"/>
                  </a:cxn>
                  <a:cxn ang="0">
                    <a:pos x="244" y="196"/>
                  </a:cxn>
                  <a:cxn ang="0">
                    <a:pos x="246" y="219"/>
                  </a:cxn>
                  <a:cxn ang="0">
                    <a:pos x="257" y="227"/>
                  </a:cxn>
                </a:cxnLst>
                <a:rect l="0" t="0" r="r" b="b"/>
                <a:pathLst>
                  <a:path w="259" h="494">
                    <a:moveTo>
                      <a:pt x="259" y="228"/>
                    </a:moveTo>
                    <a:cubicBezTo>
                      <a:pt x="259" y="229"/>
                      <a:pt x="259" y="231"/>
                      <a:pt x="258" y="232"/>
                    </a:cubicBezTo>
                    <a:cubicBezTo>
                      <a:pt x="258" y="232"/>
                      <a:pt x="256" y="232"/>
                      <a:pt x="255" y="233"/>
                    </a:cubicBezTo>
                    <a:cubicBezTo>
                      <a:pt x="254" y="234"/>
                      <a:pt x="252" y="236"/>
                      <a:pt x="252" y="238"/>
                    </a:cubicBezTo>
                    <a:cubicBezTo>
                      <a:pt x="252" y="239"/>
                      <a:pt x="252" y="242"/>
                      <a:pt x="252" y="243"/>
                    </a:cubicBezTo>
                    <a:cubicBezTo>
                      <a:pt x="252" y="244"/>
                      <a:pt x="255" y="246"/>
                      <a:pt x="254" y="248"/>
                    </a:cubicBezTo>
                    <a:cubicBezTo>
                      <a:pt x="254" y="249"/>
                      <a:pt x="251" y="248"/>
                      <a:pt x="250" y="249"/>
                    </a:cubicBezTo>
                    <a:cubicBezTo>
                      <a:pt x="249" y="250"/>
                      <a:pt x="247" y="252"/>
                      <a:pt x="247" y="253"/>
                    </a:cubicBezTo>
                    <a:cubicBezTo>
                      <a:pt x="246" y="254"/>
                      <a:pt x="246" y="257"/>
                      <a:pt x="246" y="257"/>
                    </a:cubicBezTo>
                    <a:cubicBezTo>
                      <a:pt x="245" y="258"/>
                      <a:pt x="244" y="259"/>
                      <a:pt x="244" y="259"/>
                    </a:cubicBezTo>
                    <a:cubicBezTo>
                      <a:pt x="243" y="260"/>
                      <a:pt x="243" y="262"/>
                      <a:pt x="242" y="262"/>
                    </a:cubicBezTo>
                    <a:cubicBezTo>
                      <a:pt x="242" y="262"/>
                      <a:pt x="240" y="262"/>
                      <a:pt x="240" y="261"/>
                    </a:cubicBezTo>
                    <a:cubicBezTo>
                      <a:pt x="240" y="261"/>
                      <a:pt x="241" y="259"/>
                      <a:pt x="240" y="259"/>
                    </a:cubicBezTo>
                    <a:cubicBezTo>
                      <a:pt x="239" y="258"/>
                      <a:pt x="237" y="259"/>
                      <a:pt x="236" y="259"/>
                    </a:cubicBezTo>
                    <a:cubicBezTo>
                      <a:pt x="235" y="258"/>
                      <a:pt x="234" y="258"/>
                      <a:pt x="233" y="258"/>
                    </a:cubicBezTo>
                    <a:cubicBezTo>
                      <a:pt x="233" y="258"/>
                      <a:pt x="231" y="258"/>
                      <a:pt x="231" y="258"/>
                    </a:cubicBezTo>
                    <a:cubicBezTo>
                      <a:pt x="230" y="259"/>
                      <a:pt x="231" y="260"/>
                      <a:pt x="231" y="261"/>
                    </a:cubicBezTo>
                    <a:cubicBezTo>
                      <a:pt x="231" y="262"/>
                      <a:pt x="230" y="263"/>
                      <a:pt x="229" y="263"/>
                    </a:cubicBezTo>
                    <a:cubicBezTo>
                      <a:pt x="228" y="263"/>
                      <a:pt x="226" y="260"/>
                      <a:pt x="225" y="259"/>
                    </a:cubicBezTo>
                    <a:cubicBezTo>
                      <a:pt x="225" y="258"/>
                      <a:pt x="225" y="256"/>
                      <a:pt x="224" y="256"/>
                    </a:cubicBezTo>
                    <a:cubicBezTo>
                      <a:pt x="224" y="255"/>
                      <a:pt x="223" y="254"/>
                      <a:pt x="222" y="254"/>
                    </a:cubicBezTo>
                    <a:cubicBezTo>
                      <a:pt x="221" y="254"/>
                      <a:pt x="219" y="255"/>
                      <a:pt x="218" y="256"/>
                    </a:cubicBezTo>
                    <a:cubicBezTo>
                      <a:pt x="216" y="256"/>
                      <a:pt x="212" y="256"/>
                      <a:pt x="210" y="256"/>
                    </a:cubicBezTo>
                    <a:cubicBezTo>
                      <a:pt x="209" y="256"/>
                      <a:pt x="206" y="257"/>
                      <a:pt x="205" y="257"/>
                    </a:cubicBezTo>
                    <a:cubicBezTo>
                      <a:pt x="200" y="259"/>
                      <a:pt x="189" y="262"/>
                      <a:pt x="185" y="264"/>
                    </a:cubicBezTo>
                    <a:cubicBezTo>
                      <a:pt x="180" y="267"/>
                      <a:pt x="171" y="273"/>
                      <a:pt x="167" y="277"/>
                    </a:cubicBezTo>
                    <a:cubicBezTo>
                      <a:pt x="164" y="279"/>
                      <a:pt x="160" y="284"/>
                      <a:pt x="158" y="286"/>
                    </a:cubicBezTo>
                    <a:cubicBezTo>
                      <a:pt x="157" y="288"/>
                      <a:pt x="155" y="291"/>
                      <a:pt x="154" y="292"/>
                    </a:cubicBezTo>
                    <a:cubicBezTo>
                      <a:pt x="154" y="294"/>
                      <a:pt x="154" y="298"/>
                      <a:pt x="153" y="299"/>
                    </a:cubicBezTo>
                    <a:cubicBezTo>
                      <a:pt x="153" y="300"/>
                      <a:pt x="151" y="303"/>
                      <a:pt x="151" y="304"/>
                    </a:cubicBezTo>
                    <a:cubicBezTo>
                      <a:pt x="151" y="305"/>
                      <a:pt x="151" y="307"/>
                      <a:pt x="151" y="308"/>
                    </a:cubicBezTo>
                    <a:cubicBezTo>
                      <a:pt x="150" y="309"/>
                      <a:pt x="149" y="311"/>
                      <a:pt x="149" y="312"/>
                    </a:cubicBezTo>
                    <a:cubicBezTo>
                      <a:pt x="150" y="314"/>
                      <a:pt x="153" y="317"/>
                      <a:pt x="153" y="319"/>
                    </a:cubicBezTo>
                    <a:cubicBezTo>
                      <a:pt x="154" y="322"/>
                      <a:pt x="153" y="329"/>
                      <a:pt x="154" y="332"/>
                    </a:cubicBezTo>
                    <a:cubicBezTo>
                      <a:pt x="154" y="334"/>
                      <a:pt x="156" y="338"/>
                      <a:pt x="156" y="340"/>
                    </a:cubicBezTo>
                    <a:cubicBezTo>
                      <a:pt x="157" y="343"/>
                      <a:pt x="158" y="347"/>
                      <a:pt x="158" y="349"/>
                    </a:cubicBezTo>
                    <a:cubicBezTo>
                      <a:pt x="158" y="350"/>
                      <a:pt x="159" y="353"/>
                      <a:pt x="159" y="354"/>
                    </a:cubicBezTo>
                    <a:cubicBezTo>
                      <a:pt x="159" y="357"/>
                      <a:pt x="161" y="361"/>
                      <a:pt x="161" y="363"/>
                    </a:cubicBezTo>
                    <a:cubicBezTo>
                      <a:pt x="162" y="365"/>
                      <a:pt x="162" y="368"/>
                      <a:pt x="161" y="370"/>
                    </a:cubicBezTo>
                    <a:cubicBezTo>
                      <a:pt x="161" y="372"/>
                      <a:pt x="158" y="375"/>
                      <a:pt x="156" y="377"/>
                    </a:cubicBezTo>
                    <a:cubicBezTo>
                      <a:pt x="154" y="379"/>
                      <a:pt x="150" y="382"/>
                      <a:pt x="149" y="383"/>
                    </a:cubicBezTo>
                    <a:cubicBezTo>
                      <a:pt x="147" y="385"/>
                      <a:pt x="144" y="389"/>
                      <a:pt x="142" y="391"/>
                    </a:cubicBezTo>
                    <a:cubicBezTo>
                      <a:pt x="140" y="393"/>
                      <a:pt x="135" y="395"/>
                      <a:pt x="132" y="396"/>
                    </a:cubicBezTo>
                    <a:cubicBezTo>
                      <a:pt x="130" y="397"/>
                      <a:pt x="126" y="397"/>
                      <a:pt x="125" y="398"/>
                    </a:cubicBezTo>
                    <a:cubicBezTo>
                      <a:pt x="123" y="399"/>
                      <a:pt x="120" y="403"/>
                      <a:pt x="119" y="404"/>
                    </a:cubicBezTo>
                    <a:cubicBezTo>
                      <a:pt x="115" y="409"/>
                      <a:pt x="110" y="419"/>
                      <a:pt x="107" y="424"/>
                    </a:cubicBezTo>
                    <a:cubicBezTo>
                      <a:pt x="104" y="428"/>
                      <a:pt x="96" y="434"/>
                      <a:pt x="95" y="439"/>
                    </a:cubicBezTo>
                    <a:cubicBezTo>
                      <a:pt x="93" y="444"/>
                      <a:pt x="97" y="454"/>
                      <a:pt x="96" y="459"/>
                    </a:cubicBezTo>
                    <a:cubicBezTo>
                      <a:pt x="96" y="462"/>
                      <a:pt x="93" y="469"/>
                      <a:pt x="92" y="472"/>
                    </a:cubicBezTo>
                    <a:cubicBezTo>
                      <a:pt x="90" y="475"/>
                      <a:pt x="88" y="481"/>
                      <a:pt x="86" y="483"/>
                    </a:cubicBezTo>
                    <a:cubicBezTo>
                      <a:pt x="84" y="485"/>
                      <a:pt x="78" y="489"/>
                      <a:pt x="75" y="489"/>
                    </a:cubicBezTo>
                    <a:cubicBezTo>
                      <a:pt x="72" y="490"/>
                      <a:pt x="65" y="487"/>
                      <a:pt x="61" y="487"/>
                    </a:cubicBezTo>
                    <a:cubicBezTo>
                      <a:pt x="59" y="487"/>
                      <a:pt x="53" y="488"/>
                      <a:pt x="51" y="489"/>
                    </a:cubicBezTo>
                    <a:cubicBezTo>
                      <a:pt x="47" y="490"/>
                      <a:pt x="40" y="494"/>
                      <a:pt x="36" y="494"/>
                    </a:cubicBezTo>
                    <a:cubicBezTo>
                      <a:pt x="34" y="494"/>
                      <a:pt x="30" y="491"/>
                      <a:pt x="28" y="491"/>
                    </a:cubicBezTo>
                    <a:cubicBezTo>
                      <a:pt x="25" y="489"/>
                      <a:pt x="19" y="486"/>
                      <a:pt x="17" y="484"/>
                    </a:cubicBezTo>
                    <a:cubicBezTo>
                      <a:pt x="15" y="482"/>
                      <a:pt x="11" y="477"/>
                      <a:pt x="10" y="474"/>
                    </a:cubicBezTo>
                    <a:cubicBezTo>
                      <a:pt x="10" y="472"/>
                      <a:pt x="10" y="466"/>
                      <a:pt x="10" y="464"/>
                    </a:cubicBezTo>
                    <a:cubicBezTo>
                      <a:pt x="9" y="461"/>
                      <a:pt x="9" y="455"/>
                      <a:pt x="9" y="453"/>
                    </a:cubicBezTo>
                    <a:cubicBezTo>
                      <a:pt x="9" y="450"/>
                      <a:pt x="10" y="445"/>
                      <a:pt x="10" y="442"/>
                    </a:cubicBezTo>
                    <a:cubicBezTo>
                      <a:pt x="10" y="439"/>
                      <a:pt x="7" y="434"/>
                      <a:pt x="6" y="432"/>
                    </a:cubicBezTo>
                    <a:cubicBezTo>
                      <a:pt x="6" y="431"/>
                      <a:pt x="6" y="428"/>
                      <a:pt x="6" y="427"/>
                    </a:cubicBezTo>
                    <a:cubicBezTo>
                      <a:pt x="7" y="426"/>
                      <a:pt x="10" y="426"/>
                      <a:pt x="11" y="425"/>
                    </a:cubicBezTo>
                    <a:cubicBezTo>
                      <a:pt x="13" y="424"/>
                      <a:pt x="15" y="419"/>
                      <a:pt x="16" y="418"/>
                    </a:cubicBezTo>
                    <a:cubicBezTo>
                      <a:pt x="18" y="417"/>
                      <a:pt x="23" y="418"/>
                      <a:pt x="25" y="417"/>
                    </a:cubicBezTo>
                    <a:cubicBezTo>
                      <a:pt x="28" y="416"/>
                      <a:pt x="32" y="412"/>
                      <a:pt x="33" y="410"/>
                    </a:cubicBezTo>
                    <a:cubicBezTo>
                      <a:pt x="35" y="407"/>
                      <a:pt x="35" y="399"/>
                      <a:pt x="36" y="396"/>
                    </a:cubicBezTo>
                    <a:cubicBezTo>
                      <a:pt x="36" y="394"/>
                      <a:pt x="38" y="391"/>
                      <a:pt x="39" y="389"/>
                    </a:cubicBezTo>
                    <a:cubicBezTo>
                      <a:pt x="40" y="386"/>
                      <a:pt x="44" y="381"/>
                      <a:pt x="44" y="378"/>
                    </a:cubicBezTo>
                    <a:cubicBezTo>
                      <a:pt x="44" y="377"/>
                      <a:pt x="42" y="374"/>
                      <a:pt x="42" y="373"/>
                    </a:cubicBezTo>
                    <a:cubicBezTo>
                      <a:pt x="42" y="370"/>
                      <a:pt x="47" y="366"/>
                      <a:pt x="47" y="363"/>
                    </a:cubicBezTo>
                    <a:cubicBezTo>
                      <a:pt x="48" y="360"/>
                      <a:pt x="48" y="354"/>
                      <a:pt x="46" y="352"/>
                    </a:cubicBezTo>
                    <a:cubicBezTo>
                      <a:pt x="45" y="349"/>
                      <a:pt x="39" y="348"/>
                      <a:pt x="37" y="346"/>
                    </a:cubicBezTo>
                    <a:cubicBezTo>
                      <a:pt x="36" y="345"/>
                      <a:pt x="35" y="342"/>
                      <a:pt x="33" y="342"/>
                    </a:cubicBezTo>
                    <a:cubicBezTo>
                      <a:pt x="32" y="341"/>
                      <a:pt x="29" y="341"/>
                      <a:pt x="28" y="340"/>
                    </a:cubicBezTo>
                    <a:cubicBezTo>
                      <a:pt x="27" y="338"/>
                      <a:pt x="30" y="333"/>
                      <a:pt x="32" y="331"/>
                    </a:cubicBezTo>
                    <a:cubicBezTo>
                      <a:pt x="33" y="328"/>
                      <a:pt x="38" y="324"/>
                      <a:pt x="40" y="323"/>
                    </a:cubicBezTo>
                    <a:cubicBezTo>
                      <a:pt x="41" y="322"/>
                      <a:pt x="44" y="322"/>
                      <a:pt x="45" y="321"/>
                    </a:cubicBezTo>
                    <a:cubicBezTo>
                      <a:pt x="47" y="320"/>
                      <a:pt x="49" y="315"/>
                      <a:pt x="51" y="314"/>
                    </a:cubicBezTo>
                    <a:cubicBezTo>
                      <a:pt x="53" y="313"/>
                      <a:pt x="57" y="311"/>
                      <a:pt x="59" y="311"/>
                    </a:cubicBezTo>
                    <a:cubicBezTo>
                      <a:pt x="61" y="310"/>
                      <a:pt x="65" y="309"/>
                      <a:pt x="67" y="309"/>
                    </a:cubicBezTo>
                    <a:cubicBezTo>
                      <a:pt x="69" y="309"/>
                      <a:pt x="74" y="311"/>
                      <a:pt x="76" y="311"/>
                    </a:cubicBezTo>
                    <a:cubicBezTo>
                      <a:pt x="78" y="311"/>
                      <a:pt x="81" y="309"/>
                      <a:pt x="82" y="308"/>
                    </a:cubicBezTo>
                    <a:cubicBezTo>
                      <a:pt x="84" y="306"/>
                      <a:pt x="88" y="302"/>
                      <a:pt x="89" y="299"/>
                    </a:cubicBezTo>
                    <a:cubicBezTo>
                      <a:pt x="91" y="296"/>
                      <a:pt x="93" y="289"/>
                      <a:pt x="93" y="285"/>
                    </a:cubicBezTo>
                    <a:cubicBezTo>
                      <a:pt x="93" y="281"/>
                      <a:pt x="94" y="274"/>
                      <a:pt x="93" y="270"/>
                    </a:cubicBezTo>
                    <a:cubicBezTo>
                      <a:pt x="92" y="269"/>
                      <a:pt x="90" y="265"/>
                      <a:pt x="88" y="264"/>
                    </a:cubicBezTo>
                    <a:cubicBezTo>
                      <a:pt x="87" y="263"/>
                      <a:pt x="84" y="263"/>
                      <a:pt x="83" y="262"/>
                    </a:cubicBezTo>
                    <a:cubicBezTo>
                      <a:pt x="81" y="260"/>
                      <a:pt x="80" y="255"/>
                      <a:pt x="78" y="253"/>
                    </a:cubicBezTo>
                    <a:cubicBezTo>
                      <a:pt x="77" y="251"/>
                      <a:pt x="74" y="250"/>
                      <a:pt x="72" y="248"/>
                    </a:cubicBezTo>
                    <a:cubicBezTo>
                      <a:pt x="71" y="247"/>
                      <a:pt x="69" y="243"/>
                      <a:pt x="68" y="241"/>
                    </a:cubicBezTo>
                    <a:cubicBezTo>
                      <a:pt x="67" y="239"/>
                      <a:pt x="67" y="236"/>
                      <a:pt x="67" y="234"/>
                    </a:cubicBezTo>
                    <a:cubicBezTo>
                      <a:pt x="66" y="232"/>
                      <a:pt x="64" y="229"/>
                      <a:pt x="64" y="227"/>
                    </a:cubicBezTo>
                    <a:cubicBezTo>
                      <a:pt x="63" y="224"/>
                      <a:pt x="64" y="218"/>
                      <a:pt x="63" y="214"/>
                    </a:cubicBezTo>
                    <a:cubicBezTo>
                      <a:pt x="63" y="211"/>
                      <a:pt x="60" y="204"/>
                      <a:pt x="60" y="201"/>
                    </a:cubicBezTo>
                    <a:cubicBezTo>
                      <a:pt x="59" y="197"/>
                      <a:pt x="59" y="191"/>
                      <a:pt x="58" y="188"/>
                    </a:cubicBezTo>
                    <a:cubicBezTo>
                      <a:pt x="57" y="185"/>
                      <a:pt x="54" y="180"/>
                      <a:pt x="53" y="177"/>
                    </a:cubicBezTo>
                    <a:cubicBezTo>
                      <a:pt x="52" y="174"/>
                      <a:pt x="52" y="167"/>
                      <a:pt x="50" y="164"/>
                    </a:cubicBezTo>
                    <a:cubicBezTo>
                      <a:pt x="48" y="161"/>
                      <a:pt x="41" y="157"/>
                      <a:pt x="39" y="154"/>
                    </a:cubicBezTo>
                    <a:cubicBezTo>
                      <a:pt x="38" y="152"/>
                      <a:pt x="38" y="147"/>
                      <a:pt x="36" y="145"/>
                    </a:cubicBezTo>
                    <a:cubicBezTo>
                      <a:pt x="35" y="142"/>
                      <a:pt x="30" y="139"/>
                      <a:pt x="28" y="138"/>
                    </a:cubicBezTo>
                    <a:cubicBezTo>
                      <a:pt x="26" y="137"/>
                      <a:pt x="23" y="136"/>
                      <a:pt x="23" y="135"/>
                    </a:cubicBezTo>
                    <a:cubicBezTo>
                      <a:pt x="21" y="133"/>
                      <a:pt x="21" y="128"/>
                      <a:pt x="20" y="126"/>
                    </a:cubicBezTo>
                    <a:cubicBezTo>
                      <a:pt x="18" y="122"/>
                      <a:pt x="16" y="115"/>
                      <a:pt x="14" y="112"/>
                    </a:cubicBezTo>
                    <a:cubicBezTo>
                      <a:pt x="13" y="110"/>
                      <a:pt x="9" y="106"/>
                      <a:pt x="8" y="104"/>
                    </a:cubicBezTo>
                    <a:cubicBezTo>
                      <a:pt x="8" y="101"/>
                      <a:pt x="9" y="96"/>
                      <a:pt x="8" y="94"/>
                    </a:cubicBezTo>
                    <a:cubicBezTo>
                      <a:pt x="8" y="93"/>
                      <a:pt x="6" y="91"/>
                      <a:pt x="6" y="90"/>
                    </a:cubicBezTo>
                    <a:cubicBezTo>
                      <a:pt x="6" y="89"/>
                      <a:pt x="6" y="87"/>
                      <a:pt x="6" y="86"/>
                    </a:cubicBezTo>
                    <a:cubicBezTo>
                      <a:pt x="5" y="86"/>
                      <a:pt x="4" y="84"/>
                      <a:pt x="3" y="83"/>
                    </a:cubicBezTo>
                    <a:cubicBezTo>
                      <a:pt x="3" y="83"/>
                      <a:pt x="3" y="81"/>
                      <a:pt x="2" y="80"/>
                    </a:cubicBezTo>
                    <a:cubicBezTo>
                      <a:pt x="2" y="79"/>
                      <a:pt x="0" y="76"/>
                      <a:pt x="0" y="75"/>
                    </a:cubicBezTo>
                    <a:cubicBezTo>
                      <a:pt x="0" y="73"/>
                      <a:pt x="2" y="71"/>
                      <a:pt x="2" y="69"/>
                    </a:cubicBezTo>
                    <a:cubicBezTo>
                      <a:pt x="2" y="67"/>
                      <a:pt x="1" y="63"/>
                      <a:pt x="0" y="61"/>
                    </a:cubicBezTo>
                    <a:cubicBezTo>
                      <a:pt x="1" y="59"/>
                      <a:pt x="4" y="58"/>
                      <a:pt x="5" y="57"/>
                    </a:cubicBezTo>
                    <a:cubicBezTo>
                      <a:pt x="6" y="57"/>
                      <a:pt x="9" y="57"/>
                      <a:pt x="10" y="56"/>
                    </a:cubicBezTo>
                    <a:cubicBezTo>
                      <a:pt x="10" y="55"/>
                      <a:pt x="10" y="52"/>
                      <a:pt x="10" y="50"/>
                    </a:cubicBezTo>
                    <a:cubicBezTo>
                      <a:pt x="10" y="49"/>
                      <a:pt x="7" y="47"/>
                      <a:pt x="7" y="45"/>
                    </a:cubicBezTo>
                    <a:cubicBezTo>
                      <a:pt x="7" y="44"/>
                      <a:pt x="10" y="41"/>
                      <a:pt x="12" y="40"/>
                    </a:cubicBezTo>
                    <a:cubicBezTo>
                      <a:pt x="14" y="39"/>
                      <a:pt x="18" y="38"/>
                      <a:pt x="20" y="39"/>
                    </a:cubicBezTo>
                    <a:cubicBezTo>
                      <a:pt x="21" y="39"/>
                      <a:pt x="23" y="41"/>
                      <a:pt x="24" y="41"/>
                    </a:cubicBezTo>
                    <a:cubicBezTo>
                      <a:pt x="25" y="41"/>
                      <a:pt x="29" y="41"/>
                      <a:pt x="31" y="40"/>
                    </a:cubicBezTo>
                    <a:cubicBezTo>
                      <a:pt x="32" y="40"/>
                      <a:pt x="33" y="37"/>
                      <a:pt x="34" y="37"/>
                    </a:cubicBezTo>
                    <a:cubicBezTo>
                      <a:pt x="35" y="36"/>
                      <a:pt x="38" y="34"/>
                      <a:pt x="40" y="34"/>
                    </a:cubicBezTo>
                    <a:cubicBezTo>
                      <a:pt x="41" y="33"/>
                      <a:pt x="45" y="33"/>
                      <a:pt x="46" y="34"/>
                    </a:cubicBezTo>
                    <a:cubicBezTo>
                      <a:pt x="47" y="35"/>
                      <a:pt x="47" y="38"/>
                      <a:pt x="47" y="39"/>
                    </a:cubicBezTo>
                    <a:cubicBezTo>
                      <a:pt x="48" y="41"/>
                      <a:pt x="50" y="44"/>
                      <a:pt x="50" y="45"/>
                    </a:cubicBezTo>
                    <a:cubicBezTo>
                      <a:pt x="50" y="47"/>
                      <a:pt x="48" y="51"/>
                      <a:pt x="48" y="52"/>
                    </a:cubicBezTo>
                    <a:cubicBezTo>
                      <a:pt x="49" y="54"/>
                      <a:pt x="52" y="57"/>
                      <a:pt x="54" y="57"/>
                    </a:cubicBezTo>
                    <a:cubicBezTo>
                      <a:pt x="56" y="58"/>
                      <a:pt x="61" y="58"/>
                      <a:pt x="62" y="57"/>
                    </a:cubicBezTo>
                    <a:cubicBezTo>
                      <a:pt x="64" y="56"/>
                      <a:pt x="64" y="52"/>
                      <a:pt x="65" y="51"/>
                    </a:cubicBezTo>
                    <a:cubicBezTo>
                      <a:pt x="66" y="50"/>
                      <a:pt x="69" y="50"/>
                      <a:pt x="71" y="50"/>
                    </a:cubicBezTo>
                    <a:cubicBezTo>
                      <a:pt x="73" y="49"/>
                      <a:pt x="78" y="46"/>
                      <a:pt x="81" y="46"/>
                    </a:cubicBezTo>
                    <a:cubicBezTo>
                      <a:pt x="83" y="46"/>
                      <a:pt x="87" y="46"/>
                      <a:pt x="88" y="47"/>
                    </a:cubicBezTo>
                    <a:cubicBezTo>
                      <a:pt x="90" y="48"/>
                      <a:pt x="92" y="52"/>
                      <a:pt x="94" y="53"/>
                    </a:cubicBezTo>
                    <a:cubicBezTo>
                      <a:pt x="96" y="54"/>
                      <a:pt x="99" y="54"/>
                      <a:pt x="101" y="53"/>
                    </a:cubicBezTo>
                    <a:cubicBezTo>
                      <a:pt x="102" y="52"/>
                      <a:pt x="105" y="48"/>
                      <a:pt x="104" y="45"/>
                    </a:cubicBezTo>
                    <a:cubicBezTo>
                      <a:pt x="104" y="44"/>
                      <a:pt x="101" y="42"/>
                      <a:pt x="101" y="40"/>
                    </a:cubicBezTo>
                    <a:cubicBezTo>
                      <a:pt x="100" y="38"/>
                      <a:pt x="100" y="35"/>
                      <a:pt x="101" y="33"/>
                    </a:cubicBezTo>
                    <a:cubicBezTo>
                      <a:pt x="101" y="31"/>
                      <a:pt x="103" y="27"/>
                      <a:pt x="105" y="26"/>
                    </a:cubicBezTo>
                    <a:cubicBezTo>
                      <a:pt x="105" y="25"/>
                      <a:pt x="108" y="24"/>
                      <a:pt x="109" y="23"/>
                    </a:cubicBezTo>
                    <a:cubicBezTo>
                      <a:pt x="109" y="21"/>
                      <a:pt x="109" y="17"/>
                      <a:pt x="110" y="16"/>
                    </a:cubicBezTo>
                    <a:cubicBezTo>
                      <a:pt x="110" y="15"/>
                      <a:pt x="112" y="13"/>
                      <a:pt x="112" y="12"/>
                    </a:cubicBezTo>
                    <a:cubicBezTo>
                      <a:pt x="113" y="11"/>
                      <a:pt x="114" y="7"/>
                      <a:pt x="115" y="6"/>
                    </a:cubicBezTo>
                    <a:cubicBezTo>
                      <a:pt x="116" y="5"/>
                      <a:pt x="119" y="2"/>
                      <a:pt x="121" y="2"/>
                    </a:cubicBezTo>
                    <a:cubicBezTo>
                      <a:pt x="122" y="1"/>
                      <a:pt x="126" y="2"/>
                      <a:pt x="128" y="2"/>
                    </a:cubicBezTo>
                    <a:cubicBezTo>
                      <a:pt x="129" y="2"/>
                      <a:pt x="133" y="0"/>
                      <a:pt x="134" y="0"/>
                    </a:cubicBezTo>
                    <a:cubicBezTo>
                      <a:pt x="136" y="0"/>
                      <a:pt x="138" y="1"/>
                      <a:pt x="140" y="2"/>
                    </a:cubicBezTo>
                    <a:cubicBezTo>
                      <a:pt x="140" y="3"/>
                      <a:pt x="139" y="4"/>
                      <a:pt x="139" y="5"/>
                    </a:cubicBezTo>
                    <a:cubicBezTo>
                      <a:pt x="138" y="6"/>
                      <a:pt x="135" y="9"/>
                      <a:pt x="135" y="10"/>
                    </a:cubicBezTo>
                    <a:cubicBezTo>
                      <a:pt x="134" y="13"/>
                      <a:pt x="135" y="18"/>
                      <a:pt x="135" y="20"/>
                    </a:cubicBezTo>
                    <a:cubicBezTo>
                      <a:pt x="136" y="22"/>
                      <a:pt x="138" y="24"/>
                      <a:pt x="138" y="26"/>
                    </a:cubicBezTo>
                    <a:cubicBezTo>
                      <a:pt x="139" y="27"/>
                      <a:pt x="139" y="30"/>
                      <a:pt x="139" y="31"/>
                    </a:cubicBezTo>
                    <a:cubicBezTo>
                      <a:pt x="140" y="32"/>
                      <a:pt x="142" y="33"/>
                      <a:pt x="142" y="34"/>
                    </a:cubicBezTo>
                    <a:cubicBezTo>
                      <a:pt x="142" y="36"/>
                      <a:pt x="139" y="38"/>
                      <a:pt x="138" y="39"/>
                    </a:cubicBezTo>
                    <a:cubicBezTo>
                      <a:pt x="137" y="41"/>
                      <a:pt x="137" y="47"/>
                      <a:pt x="136" y="49"/>
                    </a:cubicBezTo>
                    <a:cubicBezTo>
                      <a:pt x="135" y="51"/>
                      <a:pt x="132" y="55"/>
                      <a:pt x="131" y="57"/>
                    </a:cubicBezTo>
                    <a:cubicBezTo>
                      <a:pt x="129" y="59"/>
                      <a:pt x="124" y="62"/>
                      <a:pt x="123" y="65"/>
                    </a:cubicBezTo>
                    <a:cubicBezTo>
                      <a:pt x="122" y="68"/>
                      <a:pt x="122" y="75"/>
                      <a:pt x="122" y="78"/>
                    </a:cubicBezTo>
                    <a:cubicBezTo>
                      <a:pt x="123" y="82"/>
                      <a:pt x="130" y="86"/>
                      <a:pt x="131" y="89"/>
                    </a:cubicBezTo>
                    <a:cubicBezTo>
                      <a:pt x="131" y="92"/>
                      <a:pt x="130" y="97"/>
                      <a:pt x="131" y="99"/>
                    </a:cubicBezTo>
                    <a:cubicBezTo>
                      <a:pt x="132" y="100"/>
                      <a:pt x="135" y="101"/>
                      <a:pt x="136" y="102"/>
                    </a:cubicBezTo>
                    <a:cubicBezTo>
                      <a:pt x="139" y="104"/>
                      <a:pt x="143" y="109"/>
                      <a:pt x="146" y="110"/>
                    </a:cubicBezTo>
                    <a:cubicBezTo>
                      <a:pt x="149" y="110"/>
                      <a:pt x="155" y="110"/>
                      <a:pt x="157" y="109"/>
                    </a:cubicBezTo>
                    <a:cubicBezTo>
                      <a:pt x="159" y="109"/>
                      <a:pt x="161" y="108"/>
                      <a:pt x="162" y="107"/>
                    </a:cubicBezTo>
                    <a:cubicBezTo>
                      <a:pt x="163" y="107"/>
                      <a:pt x="165" y="108"/>
                      <a:pt x="166" y="108"/>
                    </a:cubicBezTo>
                    <a:cubicBezTo>
                      <a:pt x="168" y="108"/>
                      <a:pt x="171" y="107"/>
                      <a:pt x="173" y="107"/>
                    </a:cubicBezTo>
                    <a:cubicBezTo>
                      <a:pt x="175" y="107"/>
                      <a:pt x="179" y="110"/>
                      <a:pt x="181" y="111"/>
                    </a:cubicBezTo>
                    <a:cubicBezTo>
                      <a:pt x="184" y="113"/>
                      <a:pt x="187" y="119"/>
                      <a:pt x="189" y="121"/>
                    </a:cubicBezTo>
                    <a:cubicBezTo>
                      <a:pt x="192" y="123"/>
                      <a:pt x="198" y="126"/>
                      <a:pt x="201" y="127"/>
                    </a:cubicBezTo>
                    <a:cubicBezTo>
                      <a:pt x="203" y="128"/>
                      <a:pt x="207" y="129"/>
                      <a:pt x="209" y="130"/>
                    </a:cubicBezTo>
                    <a:cubicBezTo>
                      <a:pt x="210" y="131"/>
                      <a:pt x="212" y="132"/>
                      <a:pt x="212" y="133"/>
                    </a:cubicBezTo>
                    <a:cubicBezTo>
                      <a:pt x="213" y="133"/>
                      <a:pt x="216" y="133"/>
                      <a:pt x="217" y="133"/>
                    </a:cubicBezTo>
                    <a:cubicBezTo>
                      <a:pt x="218" y="134"/>
                      <a:pt x="221" y="137"/>
                      <a:pt x="222" y="138"/>
                    </a:cubicBezTo>
                    <a:cubicBezTo>
                      <a:pt x="223" y="140"/>
                      <a:pt x="225" y="144"/>
                      <a:pt x="227" y="145"/>
                    </a:cubicBezTo>
                    <a:cubicBezTo>
                      <a:pt x="228" y="146"/>
                      <a:pt x="232" y="148"/>
                      <a:pt x="234" y="149"/>
                    </a:cubicBezTo>
                    <a:cubicBezTo>
                      <a:pt x="235" y="149"/>
                      <a:pt x="237" y="149"/>
                      <a:pt x="238" y="150"/>
                    </a:cubicBezTo>
                    <a:cubicBezTo>
                      <a:pt x="239" y="150"/>
                      <a:pt x="241" y="150"/>
                      <a:pt x="241" y="150"/>
                    </a:cubicBezTo>
                    <a:cubicBezTo>
                      <a:pt x="242" y="151"/>
                      <a:pt x="241" y="153"/>
                      <a:pt x="240" y="154"/>
                    </a:cubicBezTo>
                    <a:cubicBezTo>
                      <a:pt x="240" y="156"/>
                      <a:pt x="238" y="160"/>
                      <a:pt x="237" y="162"/>
                    </a:cubicBezTo>
                    <a:cubicBezTo>
                      <a:pt x="237" y="164"/>
                      <a:pt x="236" y="168"/>
                      <a:pt x="236" y="170"/>
                    </a:cubicBezTo>
                    <a:cubicBezTo>
                      <a:pt x="236" y="173"/>
                      <a:pt x="236" y="178"/>
                      <a:pt x="237" y="180"/>
                    </a:cubicBezTo>
                    <a:cubicBezTo>
                      <a:pt x="238" y="182"/>
                      <a:pt x="240" y="186"/>
                      <a:pt x="241" y="187"/>
                    </a:cubicBezTo>
                    <a:cubicBezTo>
                      <a:pt x="242" y="188"/>
                      <a:pt x="244" y="188"/>
                      <a:pt x="245" y="189"/>
                    </a:cubicBezTo>
                    <a:cubicBezTo>
                      <a:pt x="246" y="191"/>
                      <a:pt x="245" y="194"/>
                      <a:pt x="244" y="196"/>
                    </a:cubicBezTo>
                    <a:cubicBezTo>
                      <a:pt x="244" y="197"/>
                      <a:pt x="242" y="200"/>
                      <a:pt x="242" y="202"/>
                    </a:cubicBezTo>
                    <a:cubicBezTo>
                      <a:pt x="241" y="203"/>
                      <a:pt x="241" y="205"/>
                      <a:pt x="241" y="207"/>
                    </a:cubicBezTo>
                    <a:cubicBezTo>
                      <a:pt x="241" y="208"/>
                      <a:pt x="240" y="212"/>
                      <a:pt x="241" y="214"/>
                    </a:cubicBezTo>
                    <a:cubicBezTo>
                      <a:pt x="242" y="216"/>
                      <a:pt x="246" y="217"/>
                      <a:pt x="246" y="219"/>
                    </a:cubicBezTo>
                    <a:cubicBezTo>
                      <a:pt x="247" y="220"/>
                      <a:pt x="246" y="223"/>
                      <a:pt x="247" y="225"/>
                    </a:cubicBezTo>
                    <a:cubicBezTo>
                      <a:pt x="248" y="226"/>
                      <a:pt x="251" y="227"/>
                      <a:pt x="252" y="228"/>
                    </a:cubicBezTo>
                    <a:cubicBezTo>
                      <a:pt x="253" y="228"/>
                      <a:pt x="254" y="230"/>
                      <a:pt x="254" y="230"/>
                    </a:cubicBezTo>
                    <a:cubicBezTo>
                      <a:pt x="255" y="230"/>
                      <a:pt x="256" y="227"/>
                      <a:pt x="257" y="227"/>
                    </a:cubicBezTo>
                    <a:cubicBezTo>
                      <a:pt x="257" y="227"/>
                      <a:pt x="259" y="228"/>
                      <a:pt x="259" y="22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51">
                <a:extLst>
                  <a:ext uri="{FF2B5EF4-FFF2-40B4-BE49-F238E27FC236}">
                    <a16:creationId xmlns:a16="http://schemas.microsoft.com/office/drawing/2014/main" id="{5A132166-F6B7-736D-AEA0-6C11BEE69A37}"/>
                  </a:ext>
                </a:extLst>
              </p:cNvPr>
              <p:cNvSpPr>
                <a:spLocks/>
              </p:cNvSpPr>
              <p:nvPr/>
            </p:nvSpPr>
            <p:spPr bwMode="auto">
              <a:xfrm>
                <a:off x="8433499" y="4152319"/>
                <a:ext cx="390330" cy="406325"/>
              </a:xfrm>
              <a:custGeom>
                <a:avLst/>
                <a:gdLst/>
                <a:ahLst/>
                <a:cxnLst>
                  <a:cxn ang="0">
                    <a:pos x="252" y="155"/>
                  </a:cxn>
                  <a:cxn ang="0">
                    <a:pos x="241" y="177"/>
                  </a:cxn>
                  <a:cxn ang="0">
                    <a:pos x="236" y="192"/>
                  </a:cxn>
                  <a:cxn ang="0">
                    <a:pos x="222" y="212"/>
                  </a:cxn>
                  <a:cxn ang="0">
                    <a:pos x="209" y="214"/>
                  </a:cxn>
                  <a:cxn ang="0">
                    <a:pos x="193" y="224"/>
                  </a:cxn>
                  <a:cxn ang="0">
                    <a:pos x="186" y="238"/>
                  </a:cxn>
                  <a:cxn ang="0">
                    <a:pos x="185" y="257"/>
                  </a:cxn>
                  <a:cxn ang="0">
                    <a:pos x="169" y="259"/>
                  </a:cxn>
                  <a:cxn ang="0">
                    <a:pos x="146" y="263"/>
                  </a:cxn>
                  <a:cxn ang="0">
                    <a:pos x="129" y="264"/>
                  </a:cxn>
                  <a:cxn ang="0">
                    <a:pos x="127" y="246"/>
                  </a:cxn>
                  <a:cxn ang="0">
                    <a:pos x="112" y="252"/>
                  </a:cxn>
                  <a:cxn ang="0">
                    <a:pos x="93" y="252"/>
                  </a:cxn>
                  <a:cxn ang="0">
                    <a:pos x="91" y="268"/>
                  </a:cxn>
                  <a:cxn ang="0">
                    <a:pos x="80" y="273"/>
                  </a:cxn>
                  <a:cxn ang="0">
                    <a:pos x="66" y="254"/>
                  </a:cxn>
                  <a:cxn ang="0">
                    <a:pos x="58" y="239"/>
                  </a:cxn>
                  <a:cxn ang="0">
                    <a:pos x="69" y="226"/>
                  </a:cxn>
                  <a:cxn ang="0">
                    <a:pos x="78" y="210"/>
                  </a:cxn>
                  <a:cxn ang="0">
                    <a:pos x="87" y="194"/>
                  </a:cxn>
                  <a:cxn ang="0">
                    <a:pos x="79" y="182"/>
                  </a:cxn>
                  <a:cxn ang="0">
                    <a:pos x="67" y="172"/>
                  </a:cxn>
                  <a:cxn ang="0">
                    <a:pos x="46" y="159"/>
                  </a:cxn>
                  <a:cxn ang="0">
                    <a:pos x="39" y="142"/>
                  </a:cxn>
                  <a:cxn ang="0">
                    <a:pos x="25" y="127"/>
                  </a:cxn>
                  <a:cxn ang="0">
                    <a:pos x="26" y="115"/>
                  </a:cxn>
                  <a:cxn ang="0">
                    <a:pos x="16" y="101"/>
                  </a:cxn>
                  <a:cxn ang="0">
                    <a:pos x="2" y="81"/>
                  </a:cxn>
                  <a:cxn ang="0">
                    <a:pos x="11" y="64"/>
                  </a:cxn>
                  <a:cxn ang="0">
                    <a:pos x="26" y="62"/>
                  </a:cxn>
                  <a:cxn ang="0">
                    <a:pos x="35" y="43"/>
                  </a:cxn>
                  <a:cxn ang="0">
                    <a:pos x="31" y="22"/>
                  </a:cxn>
                  <a:cxn ang="0">
                    <a:pos x="52" y="11"/>
                  </a:cxn>
                  <a:cxn ang="0">
                    <a:pos x="65" y="19"/>
                  </a:cxn>
                  <a:cxn ang="0">
                    <a:pos x="75" y="3"/>
                  </a:cxn>
                  <a:cxn ang="0">
                    <a:pos x="102" y="8"/>
                  </a:cxn>
                  <a:cxn ang="0">
                    <a:pos x="106" y="31"/>
                  </a:cxn>
                  <a:cxn ang="0">
                    <a:pos x="111" y="42"/>
                  </a:cxn>
                  <a:cxn ang="0">
                    <a:pos x="128" y="52"/>
                  </a:cxn>
                  <a:cxn ang="0">
                    <a:pos x="141" y="46"/>
                  </a:cxn>
                  <a:cxn ang="0">
                    <a:pos x="149" y="69"/>
                  </a:cxn>
                  <a:cxn ang="0">
                    <a:pos x="178" y="87"/>
                  </a:cxn>
                  <a:cxn ang="0">
                    <a:pos x="192" y="82"/>
                  </a:cxn>
                  <a:cxn ang="0">
                    <a:pos x="206" y="85"/>
                  </a:cxn>
                  <a:cxn ang="0">
                    <a:pos x="224" y="78"/>
                  </a:cxn>
                  <a:cxn ang="0">
                    <a:pos x="225" y="97"/>
                  </a:cxn>
                  <a:cxn ang="0">
                    <a:pos x="231" y="112"/>
                  </a:cxn>
                  <a:cxn ang="0">
                    <a:pos x="239" y="131"/>
                  </a:cxn>
                </a:cxnLst>
                <a:rect l="0" t="0" r="r" b="b"/>
                <a:pathLst>
                  <a:path w="258" h="273">
                    <a:moveTo>
                      <a:pt x="254" y="139"/>
                    </a:moveTo>
                    <a:cubicBezTo>
                      <a:pt x="255" y="140"/>
                      <a:pt x="257" y="142"/>
                      <a:pt x="258" y="144"/>
                    </a:cubicBezTo>
                    <a:cubicBezTo>
                      <a:pt x="256" y="148"/>
                      <a:pt x="253" y="153"/>
                      <a:pt x="252" y="155"/>
                    </a:cubicBezTo>
                    <a:cubicBezTo>
                      <a:pt x="251" y="157"/>
                      <a:pt x="249" y="161"/>
                      <a:pt x="248" y="162"/>
                    </a:cubicBezTo>
                    <a:cubicBezTo>
                      <a:pt x="247" y="163"/>
                      <a:pt x="244" y="165"/>
                      <a:pt x="243" y="167"/>
                    </a:cubicBezTo>
                    <a:cubicBezTo>
                      <a:pt x="242" y="169"/>
                      <a:pt x="242" y="175"/>
                      <a:pt x="241" y="177"/>
                    </a:cubicBezTo>
                    <a:cubicBezTo>
                      <a:pt x="240" y="179"/>
                      <a:pt x="237" y="182"/>
                      <a:pt x="237" y="184"/>
                    </a:cubicBezTo>
                    <a:cubicBezTo>
                      <a:pt x="236" y="186"/>
                      <a:pt x="238" y="189"/>
                      <a:pt x="237" y="190"/>
                    </a:cubicBezTo>
                    <a:cubicBezTo>
                      <a:pt x="237" y="191"/>
                      <a:pt x="236" y="191"/>
                      <a:pt x="236" y="192"/>
                    </a:cubicBezTo>
                    <a:cubicBezTo>
                      <a:pt x="235" y="193"/>
                      <a:pt x="233" y="196"/>
                      <a:pt x="233" y="197"/>
                    </a:cubicBezTo>
                    <a:cubicBezTo>
                      <a:pt x="231" y="200"/>
                      <a:pt x="229" y="204"/>
                      <a:pt x="227" y="206"/>
                    </a:cubicBezTo>
                    <a:cubicBezTo>
                      <a:pt x="226" y="208"/>
                      <a:pt x="223" y="211"/>
                      <a:pt x="222" y="212"/>
                    </a:cubicBezTo>
                    <a:cubicBezTo>
                      <a:pt x="222" y="213"/>
                      <a:pt x="222" y="213"/>
                      <a:pt x="221" y="214"/>
                    </a:cubicBezTo>
                    <a:cubicBezTo>
                      <a:pt x="219" y="213"/>
                      <a:pt x="217" y="212"/>
                      <a:pt x="215" y="212"/>
                    </a:cubicBezTo>
                    <a:cubicBezTo>
                      <a:pt x="214" y="212"/>
                      <a:pt x="210" y="214"/>
                      <a:pt x="209" y="214"/>
                    </a:cubicBezTo>
                    <a:cubicBezTo>
                      <a:pt x="207" y="214"/>
                      <a:pt x="203" y="213"/>
                      <a:pt x="202" y="214"/>
                    </a:cubicBezTo>
                    <a:cubicBezTo>
                      <a:pt x="200" y="214"/>
                      <a:pt x="197" y="217"/>
                      <a:pt x="196" y="218"/>
                    </a:cubicBezTo>
                    <a:cubicBezTo>
                      <a:pt x="195" y="219"/>
                      <a:pt x="194" y="223"/>
                      <a:pt x="193" y="224"/>
                    </a:cubicBezTo>
                    <a:cubicBezTo>
                      <a:pt x="193" y="225"/>
                      <a:pt x="191" y="227"/>
                      <a:pt x="191" y="228"/>
                    </a:cubicBezTo>
                    <a:cubicBezTo>
                      <a:pt x="190" y="229"/>
                      <a:pt x="190" y="233"/>
                      <a:pt x="190" y="235"/>
                    </a:cubicBezTo>
                    <a:cubicBezTo>
                      <a:pt x="189" y="236"/>
                      <a:pt x="186" y="237"/>
                      <a:pt x="186" y="238"/>
                    </a:cubicBezTo>
                    <a:cubicBezTo>
                      <a:pt x="184" y="239"/>
                      <a:pt x="182" y="243"/>
                      <a:pt x="182" y="245"/>
                    </a:cubicBezTo>
                    <a:cubicBezTo>
                      <a:pt x="181" y="247"/>
                      <a:pt x="181" y="250"/>
                      <a:pt x="182" y="252"/>
                    </a:cubicBezTo>
                    <a:cubicBezTo>
                      <a:pt x="182" y="254"/>
                      <a:pt x="185" y="256"/>
                      <a:pt x="185" y="257"/>
                    </a:cubicBezTo>
                    <a:cubicBezTo>
                      <a:pt x="186" y="260"/>
                      <a:pt x="183" y="264"/>
                      <a:pt x="182" y="265"/>
                    </a:cubicBezTo>
                    <a:cubicBezTo>
                      <a:pt x="180" y="266"/>
                      <a:pt x="177" y="266"/>
                      <a:pt x="175" y="265"/>
                    </a:cubicBezTo>
                    <a:cubicBezTo>
                      <a:pt x="173" y="264"/>
                      <a:pt x="171" y="260"/>
                      <a:pt x="169" y="259"/>
                    </a:cubicBezTo>
                    <a:cubicBezTo>
                      <a:pt x="168" y="258"/>
                      <a:pt x="164" y="258"/>
                      <a:pt x="162" y="258"/>
                    </a:cubicBezTo>
                    <a:cubicBezTo>
                      <a:pt x="159" y="258"/>
                      <a:pt x="154" y="261"/>
                      <a:pt x="152" y="262"/>
                    </a:cubicBezTo>
                    <a:cubicBezTo>
                      <a:pt x="150" y="262"/>
                      <a:pt x="147" y="262"/>
                      <a:pt x="146" y="263"/>
                    </a:cubicBezTo>
                    <a:cubicBezTo>
                      <a:pt x="145" y="264"/>
                      <a:pt x="145" y="268"/>
                      <a:pt x="143" y="269"/>
                    </a:cubicBezTo>
                    <a:cubicBezTo>
                      <a:pt x="142" y="270"/>
                      <a:pt x="137" y="270"/>
                      <a:pt x="135" y="269"/>
                    </a:cubicBezTo>
                    <a:cubicBezTo>
                      <a:pt x="133" y="269"/>
                      <a:pt x="130" y="266"/>
                      <a:pt x="129" y="264"/>
                    </a:cubicBezTo>
                    <a:cubicBezTo>
                      <a:pt x="129" y="263"/>
                      <a:pt x="131" y="259"/>
                      <a:pt x="131" y="257"/>
                    </a:cubicBezTo>
                    <a:cubicBezTo>
                      <a:pt x="131" y="256"/>
                      <a:pt x="129" y="253"/>
                      <a:pt x="128" y="251"/>
                    </a:cubicBezTo>
                    <a:cubicBezTo>
                      <a:pt x="128" y="250"/>
                      <a:pt x="128" y="247"/>
                      <a:pt x="127" y="246"/>
                    </a:cubicBezTo>
                    <a:cubicBezTo>
                      <a:pt x="126" y="245"/>
                      <a:pt x="122" y="245"/>
                      <a:pt x="121" y="246"/>
                    </a:cubicBezTo>
                    <a:cubicBezTo>
                      <a:pt x="119" y="246"/>
                      <a:pt x="116" y="248"/>
                      <a:pt x="115" y="249"/>
                    </a:cubicBezTo>
                    <a:cubicBezTo>
                      <a:pt x="114" y="249"/>
                      <a:pt x="113" y="252"/>
                      <a:pt x="112" y="252"/>
                    </a:cubicBezTo>
                    <a:cubicBezTo>
                      <a:pt x="110" y="253"/>
                      <a:pt x="106" y="253"/>
                      <a:pt x="105" y="253"/>
                    </a:cubicBezTo>
                    <a:cubicBezTo>
                      <a:pt x="104" y="253"/>
                      <a:pt x="102" y="251"/>
                      <a:pt x="101" y="251"/>
                    </a:cubicBezTo>
                    <a:cubicBezTo>
                      <a:pt x="99" y="250"/>
                      <a:pt x="95" y="251"/>
                      <a:pt x="93" y="252"/>
                    </a:cubicBezTo>
                    <a:cubicBezTo>
                      <a:pt x="91" y="253"/>
                      <a:pt x="88" y="256"/>
                      <a:pt x="88" y="257"/>
                    </a:cubicBezTo>
                    <a:cubicBezTo>
                      <a:pt x="88" y="259"/>
                      <a:pt x="91" y="261"/>
                      <a:pt x="91" y="262"/>
                    </a:cubicBezTo>
                    <a:cubicBezTo>
                      <a:pt x="91" y="264"/>
                      <a:pt x="91" y="267"/>
                      <a:pt x="91" y="268"/>
                    </a:cubicBezTo>
                    <a:cubicBezTo>
                      <a:pt x="90" y="269"/>
                      <a:pt x="87" y="269"/>
                      <a:pt x="86" y="269"/>
                    </a:cubicBezTo>
                    <a:cubicBezTo>
                      <a:pt x="85" y="270"/>
                      <a:pt x="82" y="271"/>
                      <a:pt x="81" y="273"/>
                    </a:cubicBezTo>
                    <a:cubicBezTo>
                      <a:pt x="81" y="273"/>
                      <a:pt x="80" y="273"/>
                      <a:pt x="80" y="273"/>
                    </a:cubicBezTo>
                    <a:cubicBezTo>
                      <a:pt x="79" y="271"/>
                      <a:pt x="75" y="268"/>
                      <a:pt x="73" y="266"/>
                    </a:cubicBezTo>
                    <a:cubicBezTo>
                      <a:pt x="73" y="264"/>
                      <a:pt x="72" y="261"/>
                      <a:pt x="71" y="259"/>
                    </a:cubicBezTo>
                    <a:cubicBezTo>
                      <a:pt x="70" y="258"/>
                      <a:pt x="67" y="256"/>
                      <a:pt x="66" y="254"/>
                    </a:cubicBezTo>
                    <a:cubicBezTo>
                      <a:pt x="65" y="252"/>
                      <a:pt x="63" y="248"/>
                      <a:pt x="62" y="246"/>
                    </a:cubicBezTo>
                    <a:cubicBezTo>
                      <a:pt x="61" y="245"/>
                      <a:pt x="58" y="244"/>
                      <a:pt x="56" y="243"/>
                    </a:cubicBezTo>
                    <a:cubicBezTo>
                      <a:pt x="57" y="242"/>
                      <a:pt x="58" y="240"/>
                      <a:pt x="58" y="239"/>
                    </a:cubicBezTo>
                    <a:cubicBezTo>
                      <a:pt x="59" y="238"/>
                      <a:pt x="61" y="236"/>
                      <a:pt x="63" y="235"/>
                    </a:cubicBezTo>
                    <a:cubicBezTo>
                      <a:pt x="64" y="234"/>
                      <a:pt x="67" y="233"/>
                      <a:pt x="68" y="232"/>
                    </a:cubicBezTo>
                    <a:cubicBezTo>
                      <a:pt x="69" y="231"/>
                      <a:pt x="69" y="227"/>
                      <a:pt x="69" y="226"/>
                    </a:cubicBezTo>
                    <a:cubicBezTo>
                      <a:pt x="69" y="224"/>
                      <a:pt x="67" y="221"/>
                      <a:pt x="68" y="219"/>
                    </a:cubicBezTo>
                    <a:cubicBezTo>
                      <a:pt x="68" y="217"/>
                      <a:pt x="70" y="214"/>
                      <a:pt x="72" y="213"/>
                    </a:cubicBezTo>
                    <a:cubicBezTo>
                      <a:pt x="73" y="212"/>
                      <a:pt x="77" y="211"/>
                      <a:pt x="78" y="210"/>
                    </a:cubicBezTo>
                    <a:cubicBezTo>
                      <a:pt x="79" y="209"/>
                      <a:pt x="80" y="205"/>
                      <a:pt x="81" y="204"/>
                    </a:cubicBezTo>
                    <a:cubicBezTo>
                      <a:pt x="82" y="203"/>
                      <a:pt x="84" y="202"/>
                      <a:pt x="85" y="201"/>
                    </a:cubicBezTo>
                    <a:cubicBezTo>
                      <a:pt x="86" y="199"/>
                      <a:pt x="87" y="196"/>
                      <a:pt x="87" y="194"/>
                    </a:cubicBezTo>
                    <a:cubicBezTo>
                      <a:pt x="87" y="192"/>
                      <a:pt x="86" y="189"/>
                      <a:pt x="85" y="187"/>
                    </a:cubicBezTo>
                    <a:cubicBezTo>
                      <a:pt x="85" y="186"/>
                      <a:pt x="85" y="182"/>
                      <a:pt x="84" y="182"/>
                    </a:cubicBezTo>
                    <a:cubicBezTo>
                      <a:pt x="83" y="181"/>
                      <a:pt x="81" y="182"/>
                      <a:pt x="79" y="182"/>
                    </a:cubicBezTo>
                    <a:cubicBezTo>
                      <a:pt x="77" y="182"/>
                      <a:pt x="73" y="183"/>
                      <a:pt x="71" y="182"/>
                    </a:cubicBezTo>
                    <a:cubicBezTo>
                      <a:pt x="70" y="182"/>
                      <a:pt x="69" y="179"/>
                      <a:pt x="69" y="178"/>
                    </a:cubicBezTo>
                    <a:cubicBezTo>
                      <a:pt x="68" y="177"/>
                      <a:pt x="68" y="173"/>
                      <a:pt x="67" y="172"/>
                    </a:cubicBezTo>
                    <a:cubicBezTo>
                      <a:pt x="67" y="170"/>
                      <a:pt x="66" y="165"/>
                      <a:pt x="64" y="164"/>
                    </a:cubicBezTo>
                    <a:cubicBezTo>
                      <a:pt x="62" y="162"/>
                      <a:pt x="58" y="161"/>
                      <a:pt x="55" y="160"/>
                    </a:cubicBezTo>
                    <a:cubicBezTo>
                      <a:pt x="53" y="160"/>
                      <a:pt x="48" y="160"/>
                      <a:pt x="46" y="159"/>
                    </a:cubicBezTo>
                    <a:cubicBezTo>
                      <a:pt x="45" y="159"/>
                      <a:pt x="42" y="157"/>
                      <a:pt x="41" y="156"/>
                    </a:cubicBezTo>
                    <a:cubicBezTo>
                      <a:pt x="39" y="155"/>
                      <a:pt x="38" y="152"/>
                      <a:pt x="37" y="150"/>
                    </a:cubicBezTo>
                    <a:cubicBezTo>
                      <a:pt x="37" y="148"/>
                      <a:pt x="39" y="144"/>
                      <a:pt x="39" y="142"/>
                    </a:cubicBezTo>
                    <a:cubicBezTo>
                      <a:pt x="38" y="139"/>
                      <a:pt x="38" y="134"/>
                      <a:pt x="36" y="131"/>
                    </a:cubicBezTo>
                    <a:cubicBezTo>
                      <a:pt x="35" y="130"/>
                      <a:pt x="32" y="128"/>
                      <a:pt x="31" y="128"/>
                    </a:cubicBezTo>
                    <a:cubicBezTo>
                      <a:pt x="29" y="127"/>
                      <a:pt x="26" y="128"/>
                      <a:pt x="25" y="127"/>
                    </a:cubicBezTo>
                    <a:cubicBezTo>
                      <a:pt x="24" y="126"/>
                      <a:pt x="21" y="124"/>
                      <a:pt x="20" y="122"/>
                    </a:cubicBezTo>
                    <a:cubicBezTo>
                      <a:pt x="20" y="121"/>
                      <a:pt x="20" y="119"/>
                      <a:pt x="21" y="118"/>
                    </a:cubicBezTo>
                    <a:cubicBezTo>
                      <a:pt x="22" y="117"/>
                      <a:pt x="25" y="116"/>
                      <a:pt x="26" y="115"/>
                    </a:cubicBezTo>
                    <a:cubicBezTo>
                      <a:pt x="27" y="114"/>
                      <a:pt x="26" y="111"/>
                      <a:pt x="26" y="109"/>
                    </a:cubicBezTo>
                    <a:cubicBezTo>
                      <a:pt x="25" y="108"/>
                      <a:pt x="25" y="104"/>
                      <a:pt x="23" y="103"/>
                    </a:cubicBezTo>
                    <a:cubicBezTo>
                      <a:pt x="22" y="101"/>
                      <a:pt x="18" y="102"/>
                      <a:pt x="16" y="101"/>
                    </a:cubicBezTo>
                    <a:cubicBezTo>
                      <a:pt x="14" y="100"/>
                      <a:pt x="11" y="97"/>
                      <a:pt x="10" y="95"/>
                    </a:cubicBezTo>
                    <a:cubicBezTo>
                      <a:pt x="9" y="94"/>
                      <a:pt x="8" y="90"/>
                      <a:pt x="7" y="89"/>
                    </a:cubicBezTo>
                    <a:cubicBezTo>
                      <a:pt x="6" y="87"/>
                      <a:pt x="3" y="83"/>
                      <a:pt x="2" y="81"/>
                    </a:cubicBezTo>
                    <a:cubicBezTo>
                      <a:pt x="1" y="79"/>
                      <a:pt x="0" y="74"/>
                      <a:pt x="0" y="71"/>
                    </a:cubicBezTo>
                    <a:cubicBezTo>
                      <a:pt x="1" y="69"/>
                      <a:pt x="3" y="66"/>
                      <a:pt x="5" y="65"/>
                    </a:cubicBezTo>
                    <a:cubicBezTo>
                      <a:pt x="6" y="64"/>
                      <a:pt x="9" y="63"/>
                      <a:pt x="11" y="64"/>
                    </a:cubicBezTo>
                    <a:cubicBezTo>
                      <a:pt x="12" y="64"/>
                      <a:pt x="13" y="67"/>
                      <a:pt x="15" y="68"/>
                    </a:cubicBezTo>
                    <a:cubicBezTo>
                      <a:pt x="16" y="68"/>
                      <a:pt x="19" y="68"/>
                      <a:pt x="21" y="68"/>
                    </a:cubicBezTo>
                    <a:cubicBezTo>
                      <a:pt x="23" y="67"/>
                      <a:pt x="24" y="63"/>
                      <a:pt x="26" y="62"/>
                    </a:cubicBezTo>
                    <a:cubicBezTo>
                      <a:pt x="27" y="61"/>
                      <a:pt x="30" y="61"/>
                      <a:pt x="31" y="60"/>
                    </a:cubicBezTo>
                    <a:cubicBezTo>
                      <a:pt x="33" y="59"/>
                      <a:pt x="36" y="56"/>
                      <a:pt x="36" y="54"/>
                    </a:cubicBezTo>
                    <a:cubicBezTo>
                      <a:pt x="37" y="52"/>
                      <a:pt x="36" y="46"/>
                      <a:pt x="35" y="43"/>
                    </a:cubicBezTo>
                    <a:cubicBezTo>
                      <a:pt x="35" y="42"/>
                      <a:pt x="33" y="39"/>
                      <a:pt x="32" y="37"/>
                    </a:cubicBezTo>
                    <a:cubicBezTo>
                      <a:pt x="31" y="35"/>
                      <a:pt x="30" y="29"/>
                      <a:pt x="30" y="27"/>
                    </a:cubicBezTo>
                    <a:cubicBezTo>
                      <a:pt x="30" y="26"/>
                      <a:pt x="30" y="24"/>
                      <a:pt x="31" y="22"/>
                    </a:cubicBezTo>
                    <a:cubicBezTo>
                      <a:pt x="33" y="22"/>
                      <a:pt x="35" y="22"/>
                      <a:pt x="36" y="21"/>
                    </a:cubicBezTo>
                    <a:cubicBezTo>
                      <a:pt x="39" y="20"/>
                      <a:pt x="43" y="17"/>
                      <a:pt x="45" y="16"/>
                    </a:cubicBezTo>
                    <a:cubicBezTo>
                      <a:pt x="46" y="14"/>
                      <a:pt x="50" y="11"/>
                      <a:pt x="52" y="11"/>
                    </a:cubicBezTo>
                    <a:cubicBezTo>
                      <a:pt x="54" y="11"/>
                      <a:pt x="57" y="13"/>
                      <a:pt x="58" y="15"/>
                    </a:cubicBezTo>
                    <a:cubicBezTo>
                      <a:pt x="59" y="16"/>
                      <a:pt x="58" y="20"/>
                      <a:pt x="60" y="21"/>
                    </a:cubicBezTo>
                    <a:cubicBezTo>
                      <a:pt x="61" y="21"/>
                      <a:pt x="64" y="20"/>
                      <a:pt x="65" y="19"/>
                    </a:cubicBezTo>
                    <a:cubicBezTo>
                      <a:pt x="66" y="18"/>
                      <a:pt x="65" y="16"/>
                      <a:pt x="66" y="15"/>
                    </a:cubicBezTo>
                    <a:cubicBezTo>
                      <a:pt x="67" y="13"/>
                      <a:pt x="72" y="10"/>
                      <a:pt x="73" y="9"/>
                    </a:cubicBezTo>
                    <a:cubicBezTo>
                      <a:pt x="74" y="7"/>
                      <a:pt x="74" y="4"/>
                      <a:pt x="75" y="3"/>
                    </a:cubicBezTo>
                    <a:cubicBezTo>
                      <a:pt x="76" y="2"/>
                      <a:pt x="79" y="1"/>
                      <a:pt x="81" y="0"/>
                    </a:cubicBezTo>
                    <a:cubicBezTo>
                      <a:pt x="83" y="0"/>
                      <a:pt x="88" y="1"/>
                      <a:pt x="91" y="2"/>
                    </a:cubicBezTo>
                    <a:cubicBezTo>
                      <a:pt x="94" y="3"/>
                      <a:pt x="99" y="6"/>
                      <a:pt x="102" y="8"/>
                    </a:cubicBezTo>
                    <a:cubicBezTo>
                      <a:pt x="104" y="10"/>
                      <a:pt x="107" y="14"/>
                      <a:pt x="108" y="16"/>
                    </a:cubicBezTo>
                    <a:cubicBezTo>
                      <a:pt x="108" y="18"/>
                      <a:pt x="108" y="22"/>
                      <a:pt x="108" y="24"/>
                    </a:cubicBezTo>
                    <a:cubicBezTo>
                      <a:pt x="108" y="26"/>
                      <a:pt x="107" y="29"/>
                      <a:pt x="106" y="31"/>
                    </a:cubicBezTo>
                    <a:cubicBezTo>
                      <a:pt x="105" y="32"/>
                      <a:pt x="102" y="33"/>
                      <a:pt x="101" y="35"/>
                    </a:cubicBezTo>
                    <a:cubicBezTo>
                      <a:pt x="101" y="36"/>
                      <a:pt x="103" y="40"/>
                      <a:pt x="104" y="41"/>
                    </a:cubicBezTo>
                    <a:cubicBezTo>
                      <a:pt x="105" y="42"/>
                      <a:pt x="109" y="42"/>
                      <a:pt x="111" y="42"/>
                    </a:cubicBezTo>
                    <a:cubicBezTo>
                      <a:pt x="113" y="43"/>
                      <a:pt x="117" y="44"/>
                      <a:pt x="119" y="46"/>
                    </a:cubicBezTo>
                    <a:cubicBezTo>
                      <a:pt x="120" y="47"/>
                      <a:pt x="120" y="52"/>
                      <a:pt x="122" y="53"/>
                    </a:cubicBezTo>
                    <a:cubicBezTo>
                      <a:pt x="123" y="53"/>
                      <a:pt x="127" y="53"/>
                      <a:pt x="128" y="52"/>
                    </a:cubicBezTo>
                    <a:cubicBezTo>
                      <a:pt x="129" y="50"/>
                      <a:pt x="127" y="46"/>
                      <a:pt x="128" y="44"/>
                    </a:cubicBezTo>
                    <a:cubicBezTo>
                      <a:pt x="129" y="43"/>
                      <a:pt x="132" y="41"/>
                      <a:pt x="134" y="41"/>
                    </a:cubicBezTo>
                    <a:cubicBezTo>
                      <a:pt x="136" y="41"/>
                      <a:pt x="139" y="44"/>
                      <a:pt x="141" y="46"/>
                    </a:cubicBezTo>
                    <a:cubicBezTo>
                      <a:pt x="142" y="47"/>
                      <a:pt x="142" y="50"/>
                      <a:pt x="142" y="52"/>
                    </a:cubicBezTo>
                    <a:cubicBezTo>
                      <a:pt x="143" y="55"/>
                      <a:pt x="141" y="61"/>
                      <a:pt x="142" y="64"/>
                    </a:cubicBezTo>
                    <a:cubicBezTo>
                      <a:pt x="143" y="66"/>
                      <a:pt x="147" y="68"/>
                      <a:pt x="149" y="69"/>
                    </a:cubicBezTo>
                    <a:cubicBezTo>
                      <a:pt x="151" y="71"/>
                      <a:pt x="158" y="72"/>
                      <a:pt x="161" y="73"/>
                    </a:cubicBezTo>
                    <a:cubicBezTo>
                      <a:pt x="163" y="74"/>
                      <a:pt x="169" y="76"/>
                      <a:pt x="171" y="78"/>
                    </a:cubicBezTo>
                    <a:cubicBezTo>
                      <a:pt x="174" y="80"/>
                      <a:pt x="176" y="85"/>
                      <a:pt x="178" y="87"/>
                    </a:cubicBezTo>
                    <a:cubicBezTo>
                      <a:pt x="180" y="89"/>
                      <a:pt x="184" y="93"/>
                      <a:pt x="186" y="93"/>
                    </a:cubicBezTo>
                    <a:cubicBezTo>
                      <a:pt x="188" y="93"/>
                      <a:pt x="190" y="90"/>
                      <a:pt x="190" y="88"/>
                    </a:cubicBezTo>
                    <a:cubicBezTo>
                      <a:pt x="191" y="87"/>
                      <a:pt x="191" y="83"/>
                      <a:pt x="192" y="82"/>
                    </a:cubicBezTo>
                    <a:cubicBezTo>
                      <a:pt x="193" y="81"/>
                      <a:pt x="195" y="78"/>
                      <a:pt x="196" y="78"/>
                    </a:cubicBezTo>
                    <a:cubicBezTo>
                      <a:pt x="198" y="78"/>
                      <a:pt x="200" y="77"/>
                      <a:pt x="201" y="78"/>
                    </a:cubicBezTo>
                    <a:cubicBezTo>
                      <a:pt x="203" y="79"/>
                      <a:pt x="204" y="84"/>
                      <a:pt x="206" y="85"/>
                    </a:cubicBezTo>
                    <a:cubicBezTo>
                      <a:pt x="208" y="86"/>
                      <a:pt x="212" y="86"/>
                      <a:pt x="214" y="85"/>
                    </a:cubicBezTo>
                    <a:cubicBezTo>
                      <a:pt x="216" y="84"/>
                      <a:pt x="217" y="79"/>
                      <a:pt x="219" y="78"/>
                    </a:cubicBezTo>
                    <a:cubicBezTo>
                      <a:pt x="220" y="77"/>
                      <a:pt x="223" y="77"/>
                      <a:pt x="224" y="78"/>
                    </a:cubicBezTo>
                    <a:cubicBezTo>
                      <a:pt x="226" y="79"/>
                      <a:pt x="229" y="82"/>
                      <a:pt x="229" y="84"/>
                    </a:cubicBezTo>
                    <a:cubicBezTo>
                      <a:pt x="230" y="86"/>
                      <a:pt x="228" y="89"/>
                      <a:pt x="228" y="91"/>
                    </a:cubicBezTo>
                    <a:cubicBezTo>
                      <a:pt x="227" y="93"/>
                      <a:pt x="226" y="95"/>
                      <a:pt x="225" y="97"/>
                    </a:cubicBezTo>
                    <a:cubicBezTo>
                      <a:pt x="225" y="99"/>
                      <a:pt x="226" y="102"/>
                      <a:pt x="227" y="104"/>
                    </a:cubicBezTo>
                    <a:cubicBezTo>
                      <a:pt x="228" y="105"/>
                      <a:pt x="231" y="106"/>
                      <a:pt x="231" y="107"/>
                    </a:cubicBezTo>
                    <a:cubicBezTo>
                      <a:pt x="232" y="108"/>
                      <a:pt x="232" y="111"/>
                      <a:pt x="231" y="112"/>
                    </a:cubicBezTo>
                    <a:cubicBezTo>
                      <a:pt x="231" y="113"/>
                      <a:pt x="230" y="116"/>
                      <a:pt x="230" y="118"/>
                    </a:cubicBezTo>
                    <a:cubicBezTo>
                      <a:pt x="230" y="119"/>
                      <a:pt x="231" y="123"/>
                      <a:pt x="232" y="124"/>
                    </a:cubicBezTo>
                    <a:cubicBezTo>
                      <a:pt x="233" y="126"/>
                      <a:pt x="237" y="130"/>
                      <a:pt x="239" y="131"/>
                    </a:cubicBezTo>
                    <a:cubicBezTo>
                      <a:pt x="241" y="132"/>
                      <a:pt x="245" y="131"/>
                      <a:pt x="247" y="131"/>
                    </a:cubicBezTo>
                    <a:cubicBezTo>
                      <a:pt x="249" y="132"/>
                      <a:pt x="253" y="137"/>
                      <a:pt x="254" y="139"/>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52">
                <a:extLst>
                  <a:ext uri="{FF2B5EF4-FFF2-40B4-BE49-F238E27FC236}">
                    <a16:creationId xmlns:a16="http://schemas.microsoft.com/office/drawing/2014/main" id="{3C7158E2-AC70-8490-DE2F-377FED63BB56}"/>
                  </a:ext>
                </a:extLst>
              </p:cNvPr>
              <p:cNvSpPr>
                <a:spLocks/>
              </p:cNvSpPr>
              <p:nvPr/>
            </p:nvSpPr>
            <p:spPr bwMode="auto">
              <a:xfrm>
                <a:off x="8144817" y="4372856"/>
                <a:ext cx="23040" cy="12030"/>
              </a:xfrm>
              <a:custGeom>
                <a:avLst/>
                <a:gdLst/>
                <a:ahLst/>
                <a:cxnLst>
                  <a:cxn ang="0">
                    <a:pos x="13" y="1"/>
                  </a:cxn>
                  <a:cxn ang="0">
                    <a:pos x="10" y="2"/>
                  </a:cxn>
                  <a:cxn ang="0">
                    <a:pos x="6" y="1"/>
                  </a:cxn>
                  <a:cxn ang="0">
                    <a:pos x="2" y="1"/>
                  </a:cxn>
                  <a:cxn ang="0">
                    <a:pos x="0" y="4"/>
                  </a:cxn>
                  <a:cxn ang="0">
                    <a:pos x="3" y="7"/>
                  </a:cxn>
                  <a:cxn ang="0">
                    <a:pos x="6" y="7"/>
                  </a:cxn>
                  <a:cxn ang="0">
                    <a:pos x="9" y="7"/>
                  </a:cxn>
                  <a:cxn ang="0">
                    <a:pos x="10" y="5"/>
                  </a:cxn>
                  <a:cxn ang="0">
                    <a:pos x="14" y="7"/>
                  </a:cxn>
                  <a:cxn ang="0">
                    <a:pos x="15" y="3"/>
                  </a:cxn>
                  <a:cxn ang="0">
                    <a:pos x="13" y="1"/>
                  </a:cxn>
                </a:cxnLst>
                <a:rect l="0" t="0" r="r" b="b"/>
                <a:pathLst>
                  <a:path w="15" h="8">
                    <a:moveTo>
                      <a:pt x="13" y="1"/>
                    </a:moveTo>
                    <a:cubicBezTo>
                      <a:pt x="12" y="0"/>
                      <a:pt x="11" y="2"/>
                      <a:pt x="10" y="2"/>
                    </a:cubicBezTo>
                    <a:cubicBezTo>
                      <a:pt x="9" y="2"/>
                      <a:pt x="7" y="1"/>
                      <a:pt x="6" y="1"/>
                    </a:cubicBezTo>
                    <a:cubicBezTo>
                      <a:pt x="5" y="1"/>
                      <a:pt x="3" y="1"/>
                      <a:pt x="2" y="1"/>
                    </a:cubicBezTo>
                    <a:cubicBezTo>
                      <a:pt x="2" y="2"/>
                      <a:pt x="1" y="3"/>
                      <a:pt x="0" y="4"/>
                    </a:cubicBezTo>
                    <a:cubicBezTo>
                      <a:pt x="0" y="5"/>
                      <a:pt x="2" y="7"/>
                      <a:pt x="3" y="7"/>
                    </a:cubicBezTo>
                    <a:cubicBezTo>
                      <a:pt x="3" y="8"/>
                      <a:pt x="5" y="7"/>
                      <a:pt x="6" y="7"/>
                    </a:cubicBezTo>
                    <a:cubicBezTo>
                      <a:pt x="7" y="7"/>
                      <a:pt x="8" y="7"/>
                      <a:pt x="9" y="7"/>
                    </a:cubicBezTo>
                    <a:cubicBezTo>
                      <a:pt x="9" y="7"/>
                      <a:pt x="10" y="6"/>
                      <a:pt x="10" y="5"/>
                    </a:cubicBezTo>
                    <a:cubicBezTo>
                      <a:pt x="11" y="5"/>
                      <a:pt x="13" y="8"/>
                      <a:pt x="14" y="7"/>
                    </a:cubicBezTo>
                    <a:cubicBezTo>
                      <a:pt x="15" y="7"/>
                      <a:pt x="15" y="4"/>
                      <a:pt x="15" y="3"/>
                    </a:cubicBezTo>
                    <a:cubicBezTo>
                      <a:pt x="15" y="3"/>
                      <a:pt x="14" y="1"/>
                      <a:pt x="13" y="1"/>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53">
                <a:extLst>
                  <a:ext uri="{FF2B5EF4-FFF2-40B4-BE49-F238E27FC236}">
                    <a16:creationId xmlns:a16="http://schemas.microsoft.com/office/drawing/2014/main" id="{72008CCE-F86B-2F16-11F5-DD2A906C6E54}"/>
                  </a:ext>
                </a:extLst>
              </p:cNvPr>
              <p:cNvSpPr>
                <a:spLocks/>
              </p:cNvSpPr>
              <p:nvPr/>
            </p:nvSpPr>
            <p:spPr bwMode="auto">
              <a:xfrm>
                <a:off x="8097381" y="4308700"/>
                <a:ext cx="8132" cy="12030"/>
              </a:xfrm>
              <a:custGeom>
                <a:avLst/>
                <a:gdLst/>
                <a:ahLst/>
                <a:cxnLst>
                  <a:cxn ang="0">
                    <a:pos x="6" y="2"/>
                  </a:cxn>
                  <a:cxn ang="0">
                    <a:pos x="5" y="0"/>
                  </a:cxn>
                  <a:cxn ang="0">
                    <a:pos x="1" y="0"/>
                  </a:cxn>
                  <a:cxn ang="0">
                    <a:pos x="0" y="3"/>
                  </a:cxn>
                  <a:cxn ang="0">
                    <a:pos x="1" y="7"/>
                  </a:cxn>
                  <a:cxn ang="0">
                    <a:pos x="5" y="7"/>
                  </a:cxn>
                  <a:cxn ang="0">
                    <a:pos x="5" y="4"/>
                  </a:cxn>
                  <a:cxn ang="0">
                    <a:pos x="6" y="2"/>
                  </a:cxn>
                </a:cxnLst>
                <a:rect l="0" t="0" r="r" b="b"/>
                <a:pathLst>
                  <a:path w="6" h="8">
                    <a:moveTo>
                      <a:pt x="6" y="2"/>
                    </a:moveTo>
                    <a:cubicBezTo>
                      <a:pt x="6" y="1"/>
                      <a:pt x="5" y="0"/>
                      <a:pt x="5" y="0"/>
                    </a:cubicBezTo>
                    <a:cubicBezTo>
                      <a:pt x="4" y="0"/>
                      <a:pt x="2" y="0"/>
                      <a:pt x="1" y="0"/>
                    </a:cubicBezTo>
                    <a:cubicBezTo>
                      <a:pt x="0" y="0"/>
                      <a:pt x="0" y="2"/>
                      <a:pt x="0" y="3"/>
                    </a:cubicBezTo>
                    <a:cubicBezTo>
                      <a:pt x="0" y="4"/>
                      <a:pt x="0" y="6"/>
                      <a:pt x="1" y="7"/>
                    </a:cubicBezTo>
                    <a:cubicBezTo>
                      <a:pt x="2" y="7"/>
                      <a:pt x="5" y="8"/>
                      <a:pt x="5" y="7"/>
                    </a:cubicBezTo>
                    <a:cubicBezTo>
                      <a:pt x="6" y="7"/>
                      <a:pt x="5" y="5"/>
                      <a:pt x="5" y="4"/>
                    </a:cubicBezTo>
                    <a:cubicBezTo>
                      <a:pt x="6" y="4"/>
                      <a:pt x="6" y="2"/>
                      <a:pt x="6" y="2"/>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54">
                <a:extLst>
                  <a:ext uri="{FF2B5EF4-FFF2-40B4-BE49-F238E27FC236}">
                    <a16:creationId xmlns:a16="http://schemas.microsoft.com/office/drawing/2014/main" id="{0399DE54-92A4-FB1B-C901-8C435BDAC779}"/>
                  </a:ext>
                </a:extLst>
              </p:cNvPr>
              <p:cNvSpPr>
                <a:spLocks/>
              </p:cNvSpPr>
              <p:nvPr/>
            </p:nvSpPr>
            <p:spPr bwMode="auto">
              <a:xfrm>
                <a:off x="8058077" y="4312710"/>
                <a:ext cx="32528" cy="24059"/>
              </a:xfrm>
              <a:custGeom>
                <a:avLst/>
                <a:gdLst/>
                <a:ahLst/>
                <a:cxnLst>
                  <a:cxn ang="0">
                    <a:pos x="22" y="4"/>
                  </a:cxn>
                  <a:cxn ang="0">
                    <a:pos x="18" y="3"/>
                  </a:cxn>
                  <a:cxn ang="0">
                    <a:pos x="14" y="1"/>
                  </a:cxn>
                  <a:cxn ang="0">
                    <a:pos x="10" y="2"/>
                  </a:cxn>
                  <a:cxn ang="0">
                    <a:pos x="5" y="1"/>
                  </a:cxn>
                  <a:cxn ang="0">
                    <a:pos x="2" y="4"/>
                  </a:cxn>
                  <a:cxn ang="0">
                    <a:pos x="1" y="10"/>
                  </a:cxn>
                  <a:cxn ang="0">
                    <a:pos x="4" y="13"/>
                  </a:cxn>
                  <a:cxn ang="0">
                    <a:pos x="7" y="16"/>
                  </a:cxn>
                  <a:cxn ang="0">
                    <a:pos x="11" y="14"/>
                  </a:cxn>
                  <a:cxn ang="0">
                    <a:pos x="16" y="14"/>
                  </a:cxn>
                  <a:cxn ang="0">
                    <a:pos x="20" y="14"/>
                  </a:cxn>
                  <a:cxn ang="0">
                    <a:pos x="22" y="8"/>
                  </a:cxn>
                  <a:cxn ang="0">
                    <a:pos x="22" y="4"/>
                  </a:cxn>
                </a:cxnLst>
                <a:rect l="0" t="0" r="r" b="b"/>
                <a:pathLst>
                  <a:path w="22" h="16">
                    <a:moveTo>
                      <a:pt x="22" y="4"/>
                    </a:moveTo>
                    <a:cubicBezTo>
                      <a:pt x="21" y="3"/>
                      <a:pt x="19" y="3"/>
                      <a:pt x="18" y="3"/>
                    </a:cubicBezTo>
                    <a:cubicBezTo>
                      <a:pt x="17" y="2"/>
                      <a:pt x="15" y="1"/>
                      <a:pt x="14" y="1"/>
                    </a:cubicBezTo>
                    <a:cubicBezTo>
                      <a:pt x="13" y="0"/>
                      <a:pt x="11" y="2"/>
                      <a:pt x="10" y="2"/>
                    </a:cubicBezTo>
                    <a:cubicBezTo>
                      <a:pt x="9" y="2"/>
                      <a:pt x="6" y="1"/>
                      <a:pt x="5" y="1"/>
                    </a:cubicBezTo>
                    <a:cubicBezTo>
                      <a:pt x="4" y="1"/>
                      <a:pt x="2" y="3"/>
                      <a:pt x="2" y="4"/>
                    </a:cubicBezTo>
                    <a:cubicBezTo>
                      <a:pt x="1" y="6"/>
                      <a:pt x="0" y="9"/>
                      <a:pt x="1" y="10"/>
                    </a:cubicBezTo>
                    <a:cubicBezTo>
                      <a:pt x="1" y="11"/>
                      <a:pt x="4" y="12"/>
                      <a:pt x="4" y="13"/>
                    </a:cubicBezTo>
                    <a:cubicBezTo>
                      <a:pt x="5" y="13"/>
                      <a:pt x="6" y="16"/>
                      <a:pt x="7" y="16"/>
                    </a:cubicBezTo>
                    <a:cubicBezTo>
                      <a:pt x="8" y="16"/>
                      <a:pt x="9" y="14"/>
                      <a:pt x="11" y="14"/>
                    </a:cubicBezTo>
                    <a:cubicBezTo>
                      <a:pt x="12" y="13"/>
                      <a:pt x="15" y="15"/>
                      <a:pt x="16" y="14"/>
                    </a:cubicBezTo>
                    <a:cubicBezTo>
                      <a:pt x="17" y="14"/>
                      <a:pt x="19" y="14"/>
                      <a:pt x="20" y="14"/>
                    </a:cubicBezTo>
                    <a:cubicBezTo>
                      <a:pt x="21" y="13"/>
                      <a:pt x="21" y="9"/>
                      <a:pt x="22" y="8"/>
                    </a:cubicBezTo>
                    <a:cubicBezTo>
                      <a:pt x="22" y="7"/>
                      <a:pt x="22" y="5"/>
                      <a:pt x="22" y="4"/>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55">
                <a:extLst>
                  <a:ext uri="{FF2B5EF4-FFF2-40B4-BE49-F238E27FC236}">
                    <a16:creationId xmlns:a16="http://schemas.microsoft.com/office/drawing/2014/main" id="{C9B4BB5F-EE4F-6D2F-3B5F-5530DD7C3260}"/>
                  </a:ext>
                </a:extLst>
              </p:cNvPr>
              <p:cNvSpPr>
                <a:spLocks/>
              </p:cNvSpPr>
              <p:nvPr/>
            </p:nvSpPr>
            <p:spPr bwMode="auto">
              <a:xfrm>
                <a:off x="8028260" y="4060093"/>
                <a:ext cx="536704" cy="475828"/>
              </a:xfrm>
              <a:custGeom>
                <a:avLst/>
                <a:gdLst/>
                <a:ahLst/>
                <a:cxnLst>
                  <a:cxn ang="0">
                    <a:pos x="349" y="266"/>
                  </a:cxn>
                  <a:cxn ang="0">
                    <a:pos x="337" y="288"/>
                  </a:cxn>
                  <a:cxn ang="0">
                    <a:pos x="324" y="305"/>
                  </a:cxn>
                  <a:cxn ang="0">
                    <a:pos x="309" y="300"/>
                  </a:cxn>
                  <a:cxn ang="0">
                    <a:pos x="292" y="313"/>
                  </a:cxn>
                  <a:cxn ang="0">
                    <a:pos x="275" y="318"/>
                  </a:cxn>
                  <a:cxn ang="0">
                    <a:pos x="265" y="316"/>
                  </a:cxn>
                  <a:cxn ang="0">
                    <a:pos x="265" y="307"/>
                  </a:cxn>
                  <a:cxn ang="0">
                    <a:pos x="248" y="295"/>
                  </a:cxn>
                  <a:cxn ang="0">
                    <a:pos x="233" y="285"/>
                  </a:cxn>
                  <a:cxn ang="0">
                    <a:pos x="213" y="277"/>
                  </a:cxn>
                  <a:cxn ang="0">
                    <a:pos x="204" y="274"/>
                  </a:cxn>
                  <a:cxn ang="0">
                    <a:pos x="208" y="260"/>
                  </a:cxn>
                  <a:cxn ang="0">
                    <a:pos x="216" y="244"/>
                  </a:cxn>
                  <a:cxn ang="0">
                    <a:pos x="200" y="213"/>
                  </a:cxn>
                  <a:cxn ang="0">
                    <a:pos x="176" y="184"/>
                  </a:cxn>
                  <a:cxn ang="0">
                    <a:pos x="168" y="183"/>
                  </a:cxn>
                  <a:cxn ang="0">
                    <a:pos x="153" y="191"/>
                  </a:cxn>
                  <a:cxn ang="0">
                    <a:pos x="127" y="196"/>
                  </a:cxn>
                  <a:cxn ang="0">
                    <a:pos x="100" y="209"/>
                  </a:cxn>
                  <a:cxn ang="0">
                    <a:pos x="110" y="193"/>
                  </a:cxn>
                  <a:cxn ang="0">
                    <a:pos x="123" y="172"/>
                  </a:cxn>
                  <a:cxn ang="0">
                    <a:pos x="95" y="151"/>
                  </a:cxn>
                  <a:cxn ang="0">
                    <a:pos x="76" y="159"/>
                  </a:cxn>
                  <a:cxn ang="0">
                    <a:pos x="59" y="154"/>
                  </a:cxn>
                  <a:cxn ang="0">
                    <a:pos x="57" y="165"/>
                  </a:cxn>
                  <a:cxn ang="0">
                    <a:pos x="49" y="138"/>
                  </a:cxn>
                  <a:cxn ang="0">
                    <a:pos x="26" y="103"/>
                  </a:cxn>
                  <a:cxn ang="0">
                    <a:pos x="0" y="67"/>
                  </a:cxn>
                  <a:cxn ang="0">
                    <a:pos x="18" y="42"/>
                  </a:cxn>
                  <a:cxn ang="0">
                    <a:pos x="28" y="15"/>
                  </a:cxn>
                  <a:cxn ang="0">
                    <a:pos x="50" y="24"/>
                  </a:cxn>
                  <a:cxn ang="0">
                    <a:pos x="63" y="5"/>
                  </a:cxn>
                  <a:cxn ang="0">
                    <a:pos x="89" y="12"/>
                  </a:cxn>
                  <a:cxn ang="0">
                    <a:pos x="102" y="23"/>
                  </a:cxn>
                  <a:cxn ang="0">
                    <a:pos x="127" y="22"/>
                  </a:cxn>
                  <a:cxn ang="0">
                    <a:pos x="152" y="19"/>
                  </a:cxn>
                  <a:cxn ang="0">
                    <a:pos x="187" y="9"/>
                  </a:cxn>
                  <a:cxn ang="0">
                    <a:pos x="218" y="7"/>
                  </a:cxn>
                  <a:cxn ang="0">
                    <a:pos x="222" y="36"/>
                  </a:cxn>
                  <a:cxn ang="0">
                    <a:pos x="243" y="61"/>
                  </a:cxn>
                  <a:cxn ang="0">
                    <a:pos x="270" y="77"/>
                  </a:cxn>
                  <a:cxn ang="0">
                    <a:pos x="299" y="84"/>
                  </a:cxn>
                  <a:cxn ang="0">
                    <a:pos x="304" y="116"/>
                  </a:cxn>
                  <a:cxn ang="0">
                    <a:pos x="283" y="130"/>
                  </a:cxn>
                  <a:cxn ang="0">
                    <a:pos x="270" y="143"/>
                  </a:cxn>
                  <a:cxn ang="0">
                    <a:pos x="291" y="165"/>
                  </a:cxn>
                  <a:cxn ang="0">
                    <a:pos x="288" y="184"/>
                  </a:cxn>
                  <a:cxn ang="0">
                    <a:pos x="307" y="204"/>
                  </a:cxn>
                  <a:cxn ang="0">
                    <a:pos x="323" y="222"/>
                  </a:cxn>
                  <a:cxn ang="0">
                    <a:pos x="339" y="244"/>
                  </a:cxn>
                </a:cxnLst>
                <a:rect l="0" t="0" r="r" b="b"/>
                <a:pathLst>
                  <a:path w="355" h="320">
                    <a:moveTo>
                      <a:pt x="353" y="249"/>
                    </a:moveTo>
                    <a:cubicBezTo>
                      <a:pt x="354" y="251"/>
                      <a:pt x="355" y="254"/>
                      <a:pt x="355" y="256"/>
                    </a:cubicBezTo>
                    <a:cubicBezTo>
                      <a:pt x="355" y="258"/>
                      <a:pt x="354" y="261"/>
                      <a:pt x="353" y="263"/>
                    </a:cubicBezTo>
                    <a:cubicBezTo>
                      <a:pt x="352" y="264"/>
                      <a:pt x="350" y="265"/>
                      <a:pt x="349" y="266"/>
                    </a:cubicBezTo>
                    <a:cubicBezTo>
                      <a:pt x="348" y="267"/>
                      <a:pt x="347" y="271"/>
                      <a:pt x="346" y="272"/>
                    </a:cubicBezTo>
                    <a:cubicBezTo>
                      <a:pt x="345" y="273"/>
                      <a:pt x="341" y="274"/>
                      <a:pt x="340" y="275"/>
                    </a:cubicBezTo>
                    <a:cubicBezTo>
                      <a:pt x="338" y="276"/>
                      <a:pt x="336" y="279"/>
                      <a:pt x="336" y="281"/>
                    </a:cubicBezTo>
                    <a:cubicBezTo>
                      <a:pt x="335" y="283"/>
                      <a:pt x="337" y="286"/>
                      <a:pt x="337" y="288"/>
                    </a:cubicBezTo>
                    <a:cubicBezTo>
                      <a:pt x="337" y="289"/>
                      <a:pt x="337" y="293"/>
                      <a:pt x="336" y="294"/>
                    </a:cubicBezTo>
                    <a:cubicBezTo>
                      <a:pt x="335" y="295"/>
                      <a:pt x="332" y="296"/>
                      <a:pt x="331" y="297"/>
                    </a:cubicBezTo>
                    <a:cubicBezTo>
                      <a:pt x="329" y="298"/>
                      <a:pt x="327" y="300"/>
                      <a:pt x="326" y="301"/>
                    </a:cubicBezTo>
                    <a:cubicBezTo>
                      <a:pt x="326" y="302"/>
                      <a:pt x="325" y="304"/>
                      <a:pt x="324" y="305"/>
                    </a:cubicBezTo>
                    <a:cubicBezTo>
                      <a:pt x="324" y="305"/>
                      <a:pt x="323" y="305"/>
                      <a:pt x="323" y="304"/>
                    </a:cubicBezTo>
                    <a:cubicBezTo>
                      <a:pt x="322" y="304"/>
                      <a:pt x="323" y="302"/>
                      <a:pt x="322" y="302"/>
                    </a:cubicBezTo>
                    <a:cubicBezTo>
                      <a:pt x="321" y="300"/>
                      <a:pt x="318" y="300"/>
                      <a:pt x="316" y="300"/>
                    </a:cubicBezTo>
                    <a:cubicBezTo>
                      <a:pt x="314" y="299"/>
                      <a:pt x="310" y="299"/>
                      <a:pt x="309" y="300"/>
                    </a:cubicBezTo>
                    <a:cubicBezTo>
                      <a:pt x="307" y="300"/>
                      <a:pt x="304" y="300"/>
                      <a:pt x="303" y="301"/>
                    </a:cubicBezTo>
                    <a:cubicBezTo>
                      <a:pt x="301" y="302"/>
                      <a:pt x="301" y="306"/>
                      <a:pt x="299" y="307"/>
                    </a:cubicBezTo>
                    <a:cubicBezTo>
                      <a:pt x="299" y="307"/>
                      <a:pt x="297" y="308"/>
                      <a:pt x="297" y="308"/>
                    </a:cubicBezTo>
                    <a:cubicBezTo>
                      <a:pt x="295" y="309"/>
                      <a:pt x="293" y="311"/>
                      <a:pt x="292" y="313"/>
                    </a:cubicBezTo>
                    <a:cubicBezTo>
                      <a:pt x="291" y="314"/>
                      <a:pt x="292" y="317"/>
                      <a:pt x="291" y="318"/>
                    </a:cubicBezTo>
                    <a:cubicBezTo>
                      <a:pt x="290" y="319"/>
                      <a:pt x="288" y="320"/>
                      <a:pt x="288" y="320"/>
                    </a:cubicBezTo>
                    <a:cubicBezTo>
                      <a:pt x="286" y="320"/>
                      <a:pt x="283" y="318"/>
                      <a:pt x="282" y="318"/>
                    </a:cubicBezTo>
                    <a:cubicBezTo>
                      <a:pt x="280" y="318"/>
                      <a:pt x="276" y="319"/>
                      <a:pt x="275" y="318"/>
                    </a:cubicBezTo>
                    <a:cubicBezTo>
                      <a:pt x="274" y="318"/>
                      <a:pt x="275" y="316"/>
                      <a:pt x="275" y="315"/>
                    </a:cubicBezTo>
                    <a:cubicBezTo>
                      <a:pt x="274" y="314"/>
                      <a:pt x="272" y="313"/>
                      <a:pt x="271" y="313"/>
                    </a:cubicBezTo>
                    <a:cubicBezTo>
                      <a:pt x="270" y="313"/>
                      <a:pt x="269" y="316"/>
                      <a:pt x="269" y="316"/>
                    </a:cubicBezTo>
                    <a:cubicBezTo>
                      <a:pt x="268" y="316"/>
                      <a:pt x="266" y="316"/>
                      <a:pt x="265" y="316"/>
                    </a:cubicBezTo>
                    <a:cubicBezTo>
                      <a:pt x="264" y="315"/>
                      <a:pt x="262" y="315"/>
                      <a:pt x="261" y="314"/>
                    </a:cubicBezTo>
                    <a:cubicBezTo>
                      <a:pt x="261" y="313"/>
                      <a:pt x="261" y="312"/>
                      <a:pt x="262" y="311"/>
                    </a:cubicBezTo>
                    <a:cubicBezTo>
                      <a:pt x="262" y="310"/>
                      <a:pt x="264" y="311"/>
                      <a:pt x="265" y="311"/>
                    </a:cubicBezTo>
                    <a:cubicBezTo>
                      <a:pt x="266" y="310"/>
                      <a:pt x="265" y="308"/>
                      <a:pt x="265" y="307"/>
                    </a:cubicBezTo>
                    <a:cubicBezTo>
                      <a:pt x="265" y="306"/>
                      <a:pt x="264" y="303"/>
                      <a:pt x="263" y="302"/>
                    </a:cubicBezTo>
                    <a:cubicBezTo>
                      <a:pt x="262" y="300"/>
                      <a:pt x="258" y="301"/>
                      <a:pt x="257" y="300"/>
                    </a:cubicBezTo>
                    <a:cubicBezTo>
                      <a:pt x="256" y="299"/>
                      <a:pt x="254" y="297"/>
                      <a:pt x="253" y="296"/>
                    </a:cubicBezTo>
                    <a:cubicBezTo>
                      <a:pt x="252" y="296"/>
                      <a:pt x="249" y="296"/>
                      <a:pt x="248" y="295"/>
                    </a:cubicBezTo>
                    <a:cubicBezTo>
                      <a:pt x="247" y="295"/>
                      <a:pt x="246" y="292"/>
                      <a:pt x="245" y="291"/>
                    </a:cubicBezTo>
                    <a:cubicBezTo>
                      <a:pt x="245" y="290"/>
                      <a:pt x="244" y="288"/>
                      <a:pt x="243" y="287"/>
                    </a:cubicBezTo>
                    <a:cubicBezTo>
                      <a:pt x="242" y="286"/>
                      <a:pt x="239" y="285"/>
                      <a:pt x="238" y="285"/>
                    </a:cubicBezTo>
                    <a:cubicBezTo>
                      <a:pt x="237" y="285"/>
                      <a:pt x="234" y="285"/>
                      <a:pt x="233" y="285"/>
                    </a:cubicBezTo>
                    <a:cubicBezTo>
                      <a:pt x="232" y="286"/>
                      <a:pt x="229" y="287"/>
                      <a:pt x="228" y="287"/>
                    </a:cubicBezTo>
                    <a:cubicBezTo>
                      <a:pt x="226" y="287"/>
                      <a:pt x="222" y="285"/>
                      <a:pt x="220" y="284"/>
                    </a:cubicBezTo>
                    <a:cubicBezTo>
                      <a:pt x="219" y="283"/>
                      <a:pt x="218" y="278"/>
                      <a:pt x="217" y="277"/>
                    </a:cubicBezTo>
                    <a:cubicBezTo>
                      <a:pt x="216" y="277"/>
                      <a:pt x="214" y="277"/>
                      <a:pt x="213" y="277"/>
                    </a:cubicBezTo>
                    <a:cubicBezTo>
                      <a:pt x="212" y="277"/>
                      <a:pt x="210" y="277"/>
                      <a:pt x="210" y="276"/>
                    </a:cubicBezTo>
                    <a:cubicBezTo>
                      <a:pt x="210" y="276"/>
                      <a:pt x="210" y="275"/>
                      <a:pt x="209" y="274"/>
                    </a:cubicBezTo>
                    <a:cubicBezTo>
                      <a:pt x="209" y="274"/>
                      <a:pt x="208" y="274"/>
                      <a:pt x="207" y="274"/>
                    </a:cubicBezTo>
                    <a:cubicBezTo>
                      <a:pt x="206" y="274"/>
                      <a:pt x="204" y="275"/>
                      <a:pt x="204" y="274"/>
                    </a:cubicBezTo>
                    <a:cubicBezTo>
                      <a:pt x="203" y="274"/>
                      <a:pt x="201" y="272"/>
                      <a:pt x="201" y="272"/>
                    </a:cubicBezTo>
                    <a:cubicBezTo>
                      <a:pt x="200" y="270"/>
                      <a:pt x="200" y="268"/>
                      <a:pt x="201" y="267"/>
                    </a:cubicBezTo>
                    <a:cubicBezTo>
                      <a:pt x="201" y="266"/>
                      <a:pt x="203" y="265"/>
                      <a:pt x="204" y="264"/>
                    </a:cubicBezTo>
                    <a:cubicBezTo>
                      <a:pt x="205" y="263"/>
                      <a:pt x="207" y="261"/>
                      <a:pt x="208" y="260"/>
                    </a:cubicBezTo>
                    <a:cubicBezTo>
                      <a:pt x="208" y="259"/>
                      <a:pt x="206" y="257"/>
                      <a:pt x="205" y="256"/>
                    </a:cubicBezTo>
                    <a:cubicBezTo>
                      <a:pt x="205" y="255"/>
                      <a:pt x="206" y="253"/>
                      <a:pt x="207" y="252"/>
                    </a:cubicBezTo>
                    <a:cubicBezTo>
                      <a:pt x="208" y="250"/>
                      <a:pt x="211" y="248"/>
                      <a:pt x="212" y="246"/>
                    </a:cubicBezTo>
                    <a:cubicBezTo>
                      <a:pt x="213" y="246"/>
                      <a:pt x="216" y="245"/>
                      <a:pt x="216" y="244"/>
                    </a:cubicBezTo>
                    <a:cubicBezTo>
                      <a:pt x="217" y="243"/>
                      <a:pt x="217" y="241"/>
                      <a:pt x="217" y="240"/>
                    </a:cubicBezTo>
                    <a:cubicBezTo>
                      <a:pt x="216" y="239"/>
                      <a:pt x="213" y="238"/>
                      <a:pt x="212" y="237"/>
                    </a:cubicBezTo>
                    <a:cubicBezTo>
                      <a:pt x="210" y="234"/>
                      <a:pt x="209" y="228"/>
                      <a:pt x="208" y="225"/>
                    </a:cubicBezTo>
                    <a:cubicBezTo>
                      <a:pt x="206" y="222"/>
                      <a:pt x="202" y="216"/>
                      <a:pt x="200" y="213"/>
                    </a:cubicBezTo>
                    <a:cubicBezTo>
                      <a:pt x="199" y="210"/>
                      <a:pt x="197" y="204"/>
                      <a:pt x="195" y="202"/>
                    </a:cubicBezTo>
                    <a:cubicBezTo>
                      <a:pt x="194" y="200"/>
                      <a:pt x="191" y="198"/>
                      <a:pt x="189" y="197"/>
                    </a:cubicBezTo>
                    <a:cubicBezTo>
                      <a:pt x="188" y="195"/>
                      <a:pt x="185" y="191"/>
                      <a:pt x="183" y="189"/>
                    </a:cubicBezTo>
                    <a:cubicBezTo>
                      <a:pt x="181" y="188"/>
                      <a:pt x="177" y="186"/>
                      <a:pt x="176" y="184"/>
                    </a:cubicBezTo>
                    <a:cubicBezTo>
                      <a:pt x="176" y="184"/>
                      <a:pt x="176" y="183"/>
                      <a:pt x="176" y="182"/>
                    </a:cubicBezTo>
                    <a:cubicBezTo>
                      <a:pt x="175" y="181"/>
                      <a:pt x="173" y="181"/>
                      <a:pt x="172" y="181"/>
                    </a:cubicBezTo>
                    <a:cubicBezTo>
                      <a:pt x="171" y="182"/>
                      <a:pt x="171" y="184"/>
                      <a:pt x="170" y="184"/>
                    </a:cubicBezTo>
                    <a:cubicBezTo>
                      <a:pt x="170" y="184"/>
                      <a:pt x="169" y="183"/>
                      <a:pt x="168" y="183"/>
                    </a:cubicBezTo>
                    <a:cubicBezTo>
                      <a:pt x="167" y="184"/>
                      <a:pt x="166" y="187"/>
                      <a:pt x="165" y="188"/>
                    </a:cubicBezTo>
                    <a:cubicBezTo>
                      <a:pt x="164" y="189"/>
                      <a:pt x="164" y="192"/>
                      <a:pt x="162" y="192"/>
                    </a:cubicBezTo>
                    <a:cubicBezTo>
                      <a:pt x="161" y="193"/>
                      <a:pt x="159" y="191"/>
                      <a:pt x="158" y="191"/>
                    </a:cubicBezTo>
                    <a:cubicBezTo>
                      <a:pt x="156" y="191"/>
                      <a:pt x="154" y="190"/>
                      <a:pt x="153" y="191"/>
                    </a:cubicBezTo>
                    <a:cubicBezTo>
                      <a:pt x="152" y="191"/>
                      <a:pt x="150" y="194"/>
                      <a:pt x="148" y="194"/>
                    </a:cubicBezTo>
                    <a:cubicBezTo>
                      <a:pt x="146" y="195"/>
                      <a:pt x="142" y="197"/>
                      <a:pt x="140" y="198"/>
                    </a:cubicBezTo>
                    <a:cubicBezTo>
                      <a:pt x="138" y="198"/>
                      <a:pt x="135" y="199"/>
                      <a:pt x="133" y="199"/>
                    </a:cubicBezTo>
                    <a:cubicBezTo>
                      <a:pt x="132" y="198"/>
                      <a:pt x="129" y="196"/>
                      <a:pt x="127" y="196"/>
                    </a:cubicBezTo>
                    <a:cubicBezTo>
                      <a:pt x="125" y="195"/>
                      <a:pt x="121" y="197"/>
                      <a:pt x="119" y="198"/>
                    </a:cubicBezTo>
                    <a:cubicBezTo>
                      <a:pt x="117" y="199"/>
                      <a:pt x="113" y="201"/>
                      <a:pt x="112" y="202"/>
                    </a:cubicBezTo>
                    <a:cubicBezTo>
                      <a:pt x="111" y="203"/>
                      <a:pt x="110" y="206"/>
                      <a:pt x="109" y="206"/>
                    </a:cubicBezTo>
                    <a:cubicBezTo>
                      <a:pt x="107" y="208"/>
                      <a:pt x="102" y="209"/>
                      <a:pt x="100" y="209"/>
                    </a:cubicBezTo>
                    <a:cubicBezTo>
                      <a:pt x="99" y="208"/>
                      <a:pt x="97" y="206"/>
                      <a:pt x="97" y="205"/>
                    </a:cubicBezTo>
                    <a:cubicBezTo>
                      <a:pt x="97" y="204"/>
                      <a:pt x="101" y="202"/>
                      <a:pt x="102" y="200"/>
                    </a:cubicBezTo>
                    <a:cubicBezTo>
                      <a:pt x="102" y="199"/>
                      <a:pt x="101" y="196"/>
                      <a:pt x="102" y="195"/>
                    </a:cubicBezTo>
                    <a:cubicBezTo>
                      <a:pt x="103" y="194"/>
                      <a:pt x="109" y="195"/>
                      <a:pt x="110" y="193"/>
                    </a:cubicBezTo>
                    <a:cubicBezTo>
                      <a:pt x="112" y="192"/>
                      <a:pt x="112" y="188"/>
                      <a:pt x="113" y="186"/>
                    </a:cubicBezTo>
                    <a:cubicBezTo>
                      <a:pt x="114" y="184"/>
                      <a:pt x="118" y="181"/>
                      <a:pt x="120" y="180"/>
                    </a:cubicBezTo>
                    <a:cubicBezTo>
                      <a:pt x="121" y="179"/>
                      <a:pt x="123" y="179"/>
                      <a:pt x="124" y="178"/>
                    </a:cubicBezTo>
                    <a:cubicBezTo>
                      <a:pt x="125" y="176"/>
                      <a:pt x="123" y="173"/>
                      <a:pt x="123" y="172"/>
                    </a:cubicBezTo>
                    <a:cubicBezTo>
                      <a:pt x="122" y="171"/>
                      <a:pt x="121" y="169"/>
                      <a:pt x="120" y="168"/>
                    </a:cubicBezTo>
                    <a:cubicBezTo>
                      <a:pt x="118" y="166"/>
                      <a:pt x="112" y="167"/>
                      <a:pt x="110" y="166"/>
                    </a:cubicBezTo>
                    <a:cubicBezTo>
                      <a:pt x="107" y="165"/>
                      <a:pt x="104" y="161"/>
                      <a:pt x="102" y="159"/>
                    </a:cubicBezTo>
                    <a:cubicBezTo>
                      <a:pt x="100" y="157"/>
                      <a:pt x="98" y="152"/>
                      <a:pt x="95" y="151"/>
                    </a:cubicBezTo>
                    <a:cubicBezTo>
                      <a:pt x="94" y="150"/>
                      <a:pt x="91" y="148"/>
                      <a:pt x="89" y="148"/>
                    </a:cubicBezTo>
                    <a:cubicBezTo>
                      <a:pt x="88" y="148"/>
                      <a:pt x="85" y="150"/>
                      <a:pt x="83" y="151"/>
                    </a:cubicBezTo>
                    <a:cubicBezTo>
                      <a:pt x="82" y="152"/>
                      <a:pt x="79" y="155"/>
                      <a:pt x="78" y="156"/>
                    </a:cubicBezTo>
                    <a:cubicBezTo>
                      <a:pt x="77" y="157"/>
                      <a:pt x="77" y="159"/>
                      <a:pt x="76" y="159"/>
                    </a:cubicBezTo>
                    <a:cubicBezTo>
                      <a:pt x="75" y="160"/>
                      <a:pt x="73" y="159"/>
                      <a:pt x="72" y="159"/>
                    </a:cubicBezTo>
                    <a:cubicBezTo>
                      <a:pt x="71" y="158"/>
                      <a:pt x="69" y="155"/>
                      <a:pt x="68" y="155"/>
                    </a:cubicBezTo>
                    <a:cubicBezTo>
                      <a:pt x="67" y="154"/>
                      <a:pt x="64" y="154"/>
                      <a:pt x="63" y="154"/>
                    </a:cubicBezTo>
                    <a:cubicBezTo>
                      <a:pt x="62" y="154"/>
                      <a:pt x="60" y="154"/>
                      <a:pt x="59" y="154"/>
                    </a:cubicBezTo>
                    <a:cubicBezTo>
                      <a:pt x="58" y="155"/>
                      <a:pt x="57" y="158"/>
                      <a:pt x="58" y="159"/>
                    </a:cubicBezTo>
                    <a:cubicBezTo>
                      <a:pt x="58" y="160"/>
                      <a:pt x="61" y="160"/>
                      <a:pt x="61" y="161"/>
                    </a:cubicBezTo>
                    <a:cubicBezTo>
                      <a:pt x="62" y="161"/>
                      <a:pt x="62" y="163"/>
                      <a:pt x="62" y="164"/>
                    </a:cubicBezTo>
                    <a:cubicBezTo>
                      <a:pt x="61" y="165"/>
                      <a:pt x="58" y="165"/>
                      <a:pt x="57" y="165"/>
                    </a:cubicBezTo>
                    <a:cubicBezTo>
                      <a:pt x="56" y="165"/>
                      <a:pt x="54" y="165"/>
                      <a:pt x="53" y="164"/>
                    </a:cubicBezTo>
                    <a:cubicBezTo>
                      <a:pt x="52" y="163"/>
                      <a:pt x="51" y="160"/>
                      <a:pt x="50" y="159"/>
                    </a:cubicBezTo>
                    <a:cubicBezTo>
                      <a:pt x="50" y="156"/>
                      <a:pt x="52" y="152"/>
                      <a:pt x="52" y="150"/>
                    </a:cubicBezTo>
                    <a:cubicBezTo>
                      <a:pt x="52" y="147"/>
                      <a:pt x="50" y="141"/>
                      <a:pt x="49" y="138"/>
                    </a:cubicBezTo>
                    <a:cubicBezTo>
                      <a:pt x="48" y="135"/>
                      <a:pt x="45" y="128"/>
                      <a:pt x="43" y="125"/>
                    </a:cubicBezTo>
                    <a:cubicBezTo>
                      <a:pt x="42" y="124"/>
                      <a:pt x="38" y="122"/>
                      <a:pt x="36" y="121"/>
                    </a:cubicBezTo>
                    <a:cubicBezTo>
                      <a:pt x="34" y="119"/>
                      <a:pt x="30" y="115"/>
                      <a:pt x="29" y="112"/>
                    </a:cubicBezTo>
                    <a:cubicBezTo>
                      <a:pt x="28" y="110"/>
                      <a:pt x="27" y="106"/>
                      <a:pt x="26" y="103"/>
                    </a:cubicBezTo>
                    <a:cubicBezTo>
                      <a:pt x="24" y="101"/>
                      <a:pt x="21" y="95"/>
                      <a:pt x="19" y="92"/>
                    </a:cubicBezTo>
                    <a:cubicBezTo>
                      <a:pt x="17" y="88"/>
                      <a:pt x="12" y="81"/>
                      <a:pt x="9" y="78"/>
                    </a:cubicBezTo>
                    <a:cubicBezTo>
                      <a:pt x="7" y="75"/>
                      <a:pt x="3" y="70"/>
                      <a:pt x="1" y="68"/>
                    </a:cubicBezTo>
                    <a:cubicBezTo>
                      <a:pt x="1" y="67"/>
                      <a:pt x="0" y="67"/>
                      <a:pt x="0" y="67"/>
                    </a:cubicBezTo>
                    <a:cubicBezTo>
                      <a:pt x="1" y="65"/>
                      <a:pt x="5" y="64"/>
                      <a:pt x="6" y="63"/>
                    </a:cubicBezTo>
                    <a:cubicBezTo>
                      <a:pt x="8" y="62"/>
                      <a:pt x="11" y="61"/>
                      <a:pt x="12" y="60"/>
                    </a:cubicBezTo>
                    <a:cubicBezTo>
                      <a:pt x="14" y="58"/>
                      <a:pt x="17" y="54"/>
                      <a:pt x="17" y="51"/>
                    </a:cubicBezTo>
                    <a:cubicBezTo>
                      <a:pt x="18" y="49"/>
                      <a:pt x="17" y="44"/>
                      <a:pt x="18" y="42"/>
                    </a:cubicBezTo>
                    <a:cubicBezTo>
                      <a:pt x="18" y="39"/>
                      <a:pt x="19" y="34"/>
                      <a:pt x="19" y="32"/>
                    </a:cubicBezTo>
                    <a:cubicBezTo>
                      <a:pt x="20" y="30"/>
                      <a:pt x="22" y="26"/>
                      <a:pt x="23" y="24"/>
                    </a:cubicBezTo>
                    <a:cubicBezTo>
                      <a:pt x="24" y="22"/>
                      <a:pt x="27" y="19"/>
                      <a:pt x="28" y="16"/>
                    </a:cubicBezTo>
                    <a:cubicBezTo>
                      <a:pt x="28" y="16"/>
                      <a:pt x="28" y="16"/>
                      <a:pt x="28" y="15"/>
                    </a:cubicBezTo>
                    <a:cubicBezTo>
                      <a:pt x="30" y="15"/>
                      <a:pt x="32" y="14"/>
                      <a:pt x="33" y="15"/>
                    </a:cubicBezTo>
                    <a:cubicBezTo>
                      <a:pt x="35" y="15"/>
                      <a:pt x="41" y="15"/>
                      <a:pt x="42" y="17"/>
                    </a:cubicBezTo>
                    <a:cubicBezTo>
                      <a:pt x="44" y="18"/>
                      <a:pt x="43" y="21"/>
                      <a:pt x="44" y="22"/>
                    </a:cubicBezTo>
                    <a:cubicBezTo>
                      <a:pt x="45" y="23"/>
                      <a:pt x="48" y="24"/>
                      <a:pt x="50" y="24"/>
                    </a:cubicBezTo>
                    <a:cubicBezTo>
                      <a:pt x="52" y="24"/>
                      <a:pt x="56" y="25"/>
                      <a:pt x="58" y="23"/>
                    </a:cubicBezTo>
                    <a:cubicBezTo>
                      <a:pt x="59" y="22"/>
                      <a:pt x="59" y="18"/>
                      <a:pt x="59" y="16"/>
                    </a:cubicBezTo>
                    <a:cubicBezTo>
                      <a:pt x="59" y="14"/>
                      <a:pt x="58" y="10"/>
                      <a:pt x="59" y="8"/>
                    </a:cubicBezTo>
                    <a:cubicBezTo>
                      <a:pt x="59" y="7"/>
                      <a:pt x="62" y="5"/>
                      <a:pt x="63" y="5"/>
                    </a:cubicBezTo>
                    <a:cubicBezTo>
                      <a:pt x="65" y="4"/>
                      <a:pt x="69" y="4"/>
                      <a:pt x="71" y="5"/>
                    </a:cubicBezTo>
                    <a:cubicBezTo>
                      <a:pt x="72" y="6"/>
                      <a:pt x="74" y="9"/>
                      <a:pt x="75" y="9"/>
                    </a:cubicBezTo>
                    <a:cubicBezTo>
                      <a:pt x="78" y="10"/>
                      <a:pt x="83" y="9"/>
                      <a:pt x="85" y="10"/>
                    </a:cubicBezTo>
                    <a:cubicBezTo>
                      <a:pt x="86" y="10"/>
                      <a:pt x="89" y="11"/>
                      <a:pt x="89" y="12"/>
                    </a:cubicBezTo>
                    <a:cubicBezTo>
                      <a:pt x="90" y="14"/>
                      <a:pt x="88" y="17"/>
                      <a:pt x="88" y="19"/>
                    </a:cubicBezTo>
                    <a:cubicBezTo>
                      <a:pt x="88" y="21"/>
                      <a:pt x="88" y="26"/>
                      <a:pt x="90" y="28"/>
                    </a:cubicBezTo>
                    <a:cubicBezTo>
                      <a:pt x="91" y="29"/>
                      <a:pt x="95" y="29"/>
                      <a:pt x="96" y="28"/>
                    </a:cubicBezTo>
                    <a:cubicBezTo>
                      <a:pt x="98" y="28"/>
                      <a:pt x="100" y="24"/>
                      <a:pt x="102" y="23"/>
                    </a:cubicBezTo>
                    <a:cubicBezTo>
                      <a:pt x="103" y="23"/>
                      <a:pt x="105" y="24"/>
                      <a:pt x="106" y="24"/>
                    </a:cubicBezTo>
                    <a:cubicBezTo>
                      <a:pt x="108" y="25"/>
                      <a:pt x="110" y="27"/>
                      <a:pt x="112" y="27"/>
                    </a:cubicBezTo>
                    <a:cubicBezTo>
                      <a:pt x="115" y="28"/>
                      <a:pt x="122" y="27"/>
                      <a:pt x="125" y="25"/>
                    </a:cubicBezTo>
                    <a:cubicBezTo>
                      <a:pt x="126" y="25"/>
                      <a:pt x="126" y="22"/>
                      <a:pt x="127" y="22"/>
                    </a:cubicBezTo>
                    <a:cubicBezTo>
                      <a:pt x="129" y="21"/>
                      <a:pt x="134" y="23"/>
                      <a:pt x="136" y="24"/>
                    </a:cubicBezTo>
                    <a:cubicBezTo>
                      <a:pt x="138" y="25"/>
                      <a:pt x="141" y="31"/>
                      <a:pt x="143" y="31"/>
                    </a:cubicBezTo>
                    <a:cubicBezTo>
                      <a:pt x="145" y="32"/>
                      <a:pt x="150" y="30"/>
                      <a:pt x="151" y="28"/>
                    </a:cubicBezTo>
                    <a:cubicBezTo>
                      <a:pt x="153" y="26"/>
                      <a:pt x="151" y="21"/>
                      <a:pt x="152" y="19"/>
                    </a:cubicBezTo>
                    <a:cubicBezTo>
                      <a:pt x="154" y="17"/>
                      <a:pt x="158" y="14"/>
                      <a:pt x="160" y="13"/>
                    </a:cubicBezTo>
                    <a:cubicBezTo>
                      <a:pt x="162" y="11"/>
                      <a:pt x="167" y="9"/>
                      <a:pt x="169" y="9"/>
                    </a:cubicBezTo>
                    <a:cubicBezTo>
                      <a:pt x="172" y="8"/>
                      <a:pt x="177" y="11"/>
                      <a:pt x="180" y="11"/>
                    </a:cubicBezTo>
                    <a:cubicBezTo>
                      <a:pt x="182" y="11"/>
                      <a:pt x="186" y="10"/>
                      <a:pt x="187" y="9"/>
                    </a:cubicBezTo>
                    <a:cubicBezTo>
                      <a:pt x="189" y="7"/>
                      <a:pt x="190" y="3"/>
                      <a:pt x="191" y="2"/>
                    </a:cubicBezTo>
                    <a:cubicBezTo>
                      <a:pt x="193" y="1"/>
                      <a:pt x="198" y="1"/>
                      <a:pt x="200" y="0"/>
                    </a:cubicBezTo>
                    <a:cubicBezTo>
                      <a:pt x="202" y="2"/>
                      <a:pt x="207" y="1"/>
                      <a:pt x="209" y="2"/>
                    </a:cubicBezTo>
                    <a:cubicBezTo>
                      <a:pt x="211" y="3"/>
                      <a:pt x="216" y="5"/>
                      <a:pt x="218" y="7"/>
                    </a:cubicBezTo>
                    <a:cubicBezTo>
                      <a:pt x="219" y="9"/>
                      <a:pt x="223" y="15"/>
                      <a:pt x="222" y="17"/>
                    </a:cubicBezTo>
                    <a:cubicBezTo>
                      <a:pt x="221" y="19"/>
                      <a:pt x="216" y="18"/>
                      <a:pt x="215" y="19"/>
                    </a:cubicBezTo>
                    <a:cubicBezTo>
                      <a:pt x="214" y="22"/>
                      <a:pt x="215" y="29"/>
                      <a:pt x="217" y="32"/>
                    </a:cubicBezTo>
                    <a:cubicBezTo>
                      <a:pt x="218" y="33"/>
                      <a:pt x="221" y="35"/>
                      <a:pt x="222" y="36"/>
                    </a:cubicBezTo>
                    <a:cubicBezTo>
                      <a:pt x="224" y="37"/>
                      <a:pt x="229" y="39"/>
                      <a:pt x="232" y="39"/>
                    </a:cubicBezTo>
                    <a:cubicBezTo>
                      <a:pt x="234" y="40"/>
                      <a:pt x="238" y="38"/>
                      <a:pt x="240" y="39"/>
                    </a:cubicBezTo>
                    <a:cubicBezTo>
                      <a:pt x="242" y="41"/>
                      <a:pt x="243" y="46"/>
                      <a:pt x="244" y="49"/>
                    </a:cubicBezTo>
                    <a:cubicBezTo>
                      <a:pt x="244" y="52"/>
                      <a:pt x="242" y="58"/>
                      <a:pt x="243" y="61"/>
                    </a:cubicBezTo>
                    <a:cubicBezTo>
                      <a:pt x="243" y="62"/>
                      <a:pt x="246" y="65"/>
                      <a:pt x="247" y="66"/>
                    </a:cubicBezTo>
                    <a:cubicBezTo>
                      <a:pt x="249" y="69"/>
                      <a:pt x="249" y="75"/>
                      <a:pt x="251" y="77"/>
                    </a:cubicBezTo>
                    <a:cubicBezTo>
                      <a:pt x="253" y="78"/>
                      <a:pt x="259" y="80"/>
                      <a:pt x="262" y="80"/>
                    </a:cubicBezTo>
                    <a:cubicBezTo>
                      <a:pt x="264" y="80"/>
                      <a:pt x="268" y="77"/>
                      <a:pt x="270" y="77"/>
                    </a:cubicBezTo>
                    <a:cubicBezTo>
                      <a:pt x="272" y="76"/>
                      <a:pt x="275" y="74"/>
                      <a:pt x="276" y="74"/>
                    </a:cubicBezTo>
                    <a:cubicBezTo>
                      <a:pt x="280" y="74"/>
                      <a:pt x="284" y="79"/>
                      <a:pt x="287" y="80"/>
                    </a:cubicBezTo>
                    <a:cubicBezTo>
                      <a:pt x="289" y="81"/>
                      <a:pt x="293" y="83"/>
                      <a:pt x="295" y="84"/>
                    </a:cubicBezTo>
                    <a:cubicBezTo>
                      <a:pt x="296" y="84"/>
                      <a:pt x="297" y="84"/>
                      <a:pt x="299" y="84"/>
                    </a:cubicBezTo>
                    <a:cubicBezTo>
                      <a:pt x="298" y="86"/>
                      <a:pt x="298" y="88"/>
                      <a:pt x="298" y="89"/>
                    </a:cubicBezTo>
                    <a:cubicBezTo>
                      <a:pt x="298" y="91"/>
                      <a:pt x="299" y="97"/>
                      <a:pt x="300" y="99"/>
                    </a:cubicBezTo>
                    <a:cubicBezTo>
                      <a:pt x="301" y="101"/>
                      <a:pt x="303" y="104"/>
                      <a:pt x="303" y="105"/>
                    </a:cubicBezTo>
                    <a:cubicBezTo>
                      <a:pt x="304" y="108"/>
                      <a:pt x="305" y="114"/>
                      <a:pt x="304" y="116"/>
                    </a:cubicBezTo>
                    <a:cubicBezTo>
                      <a:pt x="304" y="118"/>
                      <a:pt x="301" y="121"/>
                      <a:pt x="299" y="122"/>
                    </a:cubicBezTo>
                    <a:cubicBezTo>
                      <a:pt x="298" y="123"/>
                      <a:pt x="295" y="123"/>
                      <a:pt x="294" y="124"/>
                    </a:cubicBezTo>
                    <a:cubicBezTo>
                      <a:pt x="292" y="125"/>
                      <a:pt x="291" y="129"/>
                      <a:pt x="289" y="130"/>
                    </a:cubicBezTo>
                    <a:cubicBezTo>
                      <a:pt x="287" y="130"/>
                      <a:pt x="284" y="130"/>
                      <a:pt x="283" y="130"/>
                    </a:cubicBezTo>
                    <a:cubicBezTo>
                      <a:pt x="281" y="129"/>
                      <a:pt x="280" y="126"/>
                      <a:pt x="279" y="126"/>
                    </a:cubicBezTo>
                    <a:cubicBezTo>
                      <a:pt x="277" y="125"/>
                      <a:pt x="274" y="126"/>
                      <a:pt x="273" y="127"/>
                    </a:cubicBezTo>
                    <a:cubicBezTo>
                      <a:pt x="271" y="128"/>
                      <a:pt x="269" y="131"/>
                      <a:pt x="268" y="133"/>
                    </a:cubicBezTo>
                    <a:cubicBezTo>
                      <a:pt x="268" y="136"/>
                      <a:pt x="269" y="141"/>
                      <a:pt x="270" y="143"/>
                    </a:cubicBezTo>
                    <a:cubicBezTo>
                      <a:pt x="271" y="145"/>
                      <a:pt x="274" y="149"/>
                      <a:pt x="275" y="151"/>
                    </a:cubicBezTo>
                    <a:cubicBezTo>
                      <a:pt x="276" y="152"/>
                      <a:pt x="277" y="156"/>
                      <a:pt x="278" y="157"/>
                    </a:cubicBezTo>
                    <a:cubicBezTo>
                      <a:pt x="279" y="159"/>
                      <a:pt x="282" y="162"/>
                      <a:pt x="284" y="163"/>
                    </a:cubicBezTo>
                    <a:cubicBezTo>
                      <a:pt x="286" y="164"/>
                      <a:pt x="290" y="163"/>
                      <a:pt x="291" y="165"/>
                    </a:cubicBezTo>
                    <a:cubicBezTo>
                      <a:pt x="293" y="166"/>
                      <a:pt x="293" y="170"/>
                      <a:pt x="294" y="171"/>
                    </a:cubicBezTo>
                    <a:cubicBezTo>
                      <a:pt x="294" y="173"/>
                      <a:pt x="295" y="176"/>
                      <a:pt x="294" y="177"/>
                    </a:cubicBezTo>
                    <a:cubicBezTo>
                      <a:pt x="293" y="178"/>
                      <a:pt x="290" y="179"/>
                      <a:pt x="289" y="180"/>
                    </a:cubicBezTo>
                    <a:cubicBezTo>
                      <a:pt x="288" y="181"/>
                      <a:pt x="288" y="183"/>
                      <a:pt x="288" y="184"/>
                    </a:cubicBezTo>
                    <a:cubicBezTo>
                      <a:pt x="289" y="186"/>
                      <a:pt x="292" y="188"/>
                      <a:pt x="293" y="189"/>
                    </a:cubicBezTo>
                    <a:cubicBezTo>
                      <a:pt x="294" y="190"/>
                      <a:pt x="297" y="189"/>
                      <a:pt x="299" y="190"/>
                    </a:cubicBezTo>
                    <a:cubicBezTo>
                      <a:pt x="300" y="190"/>
                      <a:pt x="303" y="192"/>
                      <a:pt x="304" y="193"/>
                    </a:cubicBezTo>
                    <a:cubicBezTo>
                      <a:pt x="306" y="196"/>
                      <a:pt x="306" y="201"/>
                      <a:pt x="307" y="204"/>
                    </a:cubicBezTo>
                    <a:cubicBezTo>
                      <a:pt x="307" y="206"/>
                      <a:pt x="305" y="210"/>
                      <a:pt x="305" y="212"/>
                    </a:cubicBezTo>
                    <a:cubicBezTo>
                      <a:pt x="306" y="214"/>
                      <a:pt x="307" y="217"/>
                      <a:pt x="309" y="218"/>
                    </a:cubicBezTo>
                    <a:cubicBezTo>
                      <a:pt x="310" y="219"/>
                      <a:pt x="313" y="221"/>
                      <a:pt x="314" y="221"/>
                    </a:cubicBezTo>
                    <a:cubicBezTo>
                      <a:pt x="316" y="222"/>
                      <a:pt x="321" y="222"/>
                      <a:pt x="323" y="222"/>
                    </a:cubicBezTo>
                    <a:cubicBezTo>
                      <a:pt x="326" y="223"/>
                      <a:pt x="330" y="224"/>
                      <a:pt x="332" y="226"/>
                    </a:cubicBezTo>
                    <a:cubicBezTo>
                      <a:pt x="334" y="227"/>
                      <a:pt x="335" y="232"/>
                      <a:pt x="335" y="234"/>
                    </a:cubicBezTo>
                    <a:cubicBezTo>
                      <a:pt x="336" y="235"/>
                      <a:pt x="336" y="239"/>
                      <a:pt x="337" y="240"/>
                    </a:cubicBezTo>
                    <a:cubicBezTo>
                      <a:pt x="337" y="241"/>
                      <a:pt x="338" y="244"/>
                      <a:pt x="339" y="244"/>
                    </a:cubicBezTo>
                    <a:cubicBezTo>
                      <a:pt x="341" y="245"/>
                      <a:pt x="345" y="244"/>
                      <a:pt x="347" y="244"/>
                    </a:cubicBezTo>
                    <a:cubicBezTo>
                      <a:pt x="349" y="244"/>
                      <a:pt x="351" y="243"/>
                      <a:pt x="352" y="244"/>
                    </a:cubicBezTo>
                    <a:cubicBezTo>
                      <a:pt x="353" y="244"/>
                      <a:pt x="353" y="248"/>
                      <a:pt x="353" y="249"/>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56">
                <a:extLst>
                  <a:ext uri="{FF2B5EF4-FFF2-40B4-BE49-F238E27FC236}">
                    <a16:creationId xmlns:a16="http://schemas.microsoft.com/office/drawing/2014/main" id="{7CAF0B75-3F72-AE05-996E-42DCD2E1B5A0}"/>
                  </a:ext>
                </a:extLst>
              </p:cNvPr>
              <p:cNvSpPr>
                <a:spLocks/>
              </p:cNvSpPr>
              <p:nvPr/>
            </p:nvSpPr>
            <p:spPr bwMode="auto">
              <a:xfrm>
                <a:off x="8071630" y="3871634"/>
                <a:ext cx="285971" cy="235241"/>
              </a:xfrm>
              <a:custGeom>
                <a:avLst/>
                <a:gdLst/>
                <a:ahLst/>
                <a:cxnLst>
                  <a:cxn ang="0">
                    <a:pos x="190" y="74"/>
                  </a:cxn>
                  <a:cxn ang="0">
                    <a:pos x="179" y="82"/>
                  </a:cxn>
                  <a:cxn ang="0">
                    <a:pos x="171" y="90"/>
                  </a:cxn>
                  <a:cxn ang="0">
                    <a:pos x="163" y="87"/>
                  </a:cxn>
                  <a:cxn ang="0">
                    <a:pos x="159" y="108"/>
                  </a:cxn>
                  <a:cxn ang="0">
                    <a:pos x="172" y="126"/>
                  </a:cxn>
                  <a:cxn ang="0">
                    <a:pos x="163" y="128"/>
                  </a:cxn>
                  <a:cxn ang="0">
                    <a:pos x="152" y="137"/>
                  </a:cxn>
                  <a:cxn ang="0">
                    <a:pos x="132" y="139"/>
                  </a:cxn>
                  <a:cxn ang="0">
                    <a:pos x="123" y="154"/>
                  </a:cxn>
                  <a:cxn ang="0">
                    <a:pos x="108" y="150"/>
                  </a:cxn>
                  <a:cxn ang="0">
                    <a:pos x="97" y="151"/>
                  </a:cxn>
                  <a:cxn ang="0">
                    <a:pos x="78" y="150"/>
                  </a:cxn>
                  <a:cxn ang="0">
                    <a:pos x="68" y="154"/>
                  </a:cxn>
                  <a:cxn ang="0">
                    <a:pos x="60" y="145"/>
                  </a:cxn>
                  <a:cxn ang="0">
                    <a:pos x="57" y="136"/>
                  </a:cxn>
                  <a:cxn ang="0">
                    <a:pos x="43" y="131"/>
                  </a:cxn>
                  <a:cxn ang="0">
                    <a:pos x="31" y="134"/>
                  </a:cxn>
                  <a:cxn ang="0">
                    <a:pos x="30" y="149"/>
                  </a:cxn>
                  <a:cxn ang="0">
                    <a:pos x="16" y="148"/>
                  </a:cxn>
                  <a:cxn ang="0">
                    <a:pos x="5" y="141"/>
                  </a:cxn>
                  <a:cxn ang="0">
                    <a:pos x="0" y="135"/>
                  </a:cxn>
                  <a:cxn ang="0">
                    <a:pos x="8" y="122"/>
                  </a:cxn>
                  <a:cxn ang="0">
                    <a:pos x="7" y="99"/>
                  </a:cxn>
                  <a:cxn ang="0">
                    <a:pos x="14" y="87"/>
                  </a:cxn>
                  <a:cxn ang="0">
                    <a:pos x="23" y="90"/>
                  </a:cxn>
                  <a:cxn ang="0">
                    <a:pos x="29" y="80"/>
                  </a:cxn>
                  <a:cxn ang="0">
                    <a:pos x="40" y="73"/>
                  </a:cxn>
                  <a:cxn ang="0">
                    <a:pos x="39" y="64"/>
                  </a:cxn>
                  <a:cxn ang="0">
                    <a:pos x="41" y="49"/>
                  </a:cxn>
                  <a:cxn ang="0">
                    <a:pos x="53" y="47"/>
                  </a:cxn>
                  <a:cxn ang="0">
                    <a:pos x="60" y="46"/>
                  </a:cxn>
                  <a:cxn ang="0">
                    <a:pos x="71" y="54"/>
                  </a:cxn>
                  <a:cxn ang="0">
                    <a:pos x="78" y="68"/>
                  </a:cxn>
                  <a:cxn ang="0">
                    <a:pos x="100" y="57"/>
                  </a:cxn>
                  <a:cxn ang="0">
                    <a:pos x="112" y="41"/>
                  </a:cxn>
                  <a:cxn ang="0">
                    <a:pos x="111" y="23"/>
                  </a:cxn>
                  <a:cxn ang="0">
                    <a:pos x="122" y="6"/>
                  </a:cxn>
                  <a:cxn ang="0">
                    <a:pos x="131" y="0"/>
                  </a:cxn>
                  <a:cxn ang="0">
                    <a:pos x="146" y="5"/>
                  </a:cxn>
                  <a:cxn ang="0">
                    <a:pos x="162" y="9"/>
                  </a:cxn>
                  <a:cxn ang="0">
                    <a:pos x="177" y="20"/>
                  </a:cxn>
                  <a:cxn ang="0">
                    <a:pos x="185" y="29"/>
                  </a:cxn>
                  <a:cxn ang="0">
                    <a:pos x="180" y="42"/>
                  </a:cxn>
                  <a:cxn ang="0">
                    <a:pos x="179" y="56"/>
                  </a:cxn>
                  <a:cxn ang="0">
                    <a:pos x="187" y="68"/>
                  </a:cxn>
                </a:cxnLst>
                <a:rect l="0" t="0" r="r" b="b"/>
                <a:pathLst>
                  <a:path w="190" h="158">
                    <a:moveTo>
                      <a:pt x="187" y="68"/>
                    </a:moveTo>
                    <a:cubicBezTo>
                      <a:pt x="188" y="69"/>
                      <a:pt x="190" y="72"/>
                      <a:pt x="190" y="74"/>
                    </a:cubicBezTo>
                    <a:cubicBezTo>
                      <a:pt x="190" y="76"/>
                      <a:pt x="188" y="79"/>
                      <a:pt x="186" y="80"/>
                    </a:cubicBezTo>
                    <a:cubicBezTo>
                      <a:pt x="185" y="81"/>
                      <a:pt x="181" y="81"/>
                      <a:pt x="179" y="82"/>
                    </a:cubicBezTo>
                    <a:cubicBezTo>
                      <a:pt x="178" y="83"/>
                      <a:pt x="178" y="86"/>
                      <a:pt x="177" y="87"/>
                    </a:cubicBezTo>
                    <a:cubicBezTo>
                      <a:pt x="176" y="89"/>
                      <a:pt x="172" y="90"/>
                      <a:pt x="171" y="90"/>
                    </a:cubicBezTo>
                    <a:cubicBezTo>
                      <a:pt x="170" y="89"/>
                      <a:pt x="170" y="85"/>
                      <a:pt x="169" y="85"/>
                    </a:cubicBezTo>
                    <a:cubicBezTo>
                      <a:pt x="167" y="84"/>
                      <a:pt x="164" y="86"/>
                      <a:pt x="163" y="87"/>
                    </a:cubicBezTo>
                    <a:cubicBezTo>
                      <a:pt x="161" y="88"/>
                      <a:pt x="157" y="93"/>
                      <a:pt x="156" y="95"/>
                    </a:cubicBezTo>
                    <a:cubicBezTo>
                      <a:pt x="155" y="98"/>
                      <a:pt x="158" y="105"/>
                      <a:pt x="159" y="108"/>
                    </a:cubicBezTo>
                    <a:cubicBezTo>
                      <a:pt x="161" y="111"/>
                      <a:pt x="165" y="116"/>
                      <a:pt x="167" y="118"/>
                    </a:cubicBezTo>
                    <a:cubicBezTo>
                      <a:pt x="168" y="120"/>
                      <a:pt x="170" y="125"/>
                      <a:pt x="172" y="126"/>
                    </a:cubicBezTo>
                    <a:cubicBezTo>
                      <a:pt x="172" y="126"/>
                      <a:pt x="172" y="126"/>
                      <a:pt x="172" y="126"/>
                    </a:cubicBezTo>
                    <a:cubicBezTo>
                      <a:pt x="170" y="127"/>
                      <a:pt x="165" y="127"/>
                      <a:pt x="163" y="128"/>
                    </a:cubicBezTo>
                    <a:cubicBezTo>
                      <a:pt x="162" y="129"/>
                      <a:pt x="161" y="133"/>
                      <a:pt x="159" y="135"/>
                    </a:cubicBezTo>
                    <a:cubicBezTo>
                      <a:pt x="158" y="136"/>
                      <a:pt x="154" y="137"/>
                      <a:pt x="152" y="137"/>
                    </a:cubicBezTo>
                    <a:cubicBezTo>
                      <a:pt x="149" y="137"/>
                      <a:pt x="144" y="134"/>
                      <a:pt x="141" y="135"/>
                    </a:cubicBezTo>
                    <a:cubicBezTo>
                      <a:pt x="139" y="135"/>
                      <a:pt x="134" y="137"/>
                      <a:pt x="132" y="139"/>
                    </a:cubicBezTo>
                    <a:cubicBezTo>
                      <a:pt x="130" y="140"/>
                      <a:pt x="126" y="143"/>
                      <a:pt x="124" y="145"/>
                    </a:cubicBezTo>
                    <a:cubicBezTo>
                      <a:pt x="123" y="147"/>
                      <a:pt x="125" y="152"/>
                      <a:pt x="123" y="154"/>
                    </a:cubicBezTo>
                    <a:cubicBezTo>
                      <a:pt x="122" y="156"/>
                      <a:pt x="117" y="158"/>
                      <a:pt x="115" y="157"/>
                    </a:cubicBezTo>
                    <a:cubicBezTo>
                      <a:pt x="113" y="157"/>
                      <a:pt x="110" y="151"/>
                      <a:pt x="108" y="150"/>
                    </a:cubicBezTo>
                    <a:cubicBezTo>
                      <a:pt x="106" y="149"/>
                      <a:pt x="101" y="147"/>
                      <a:pt x="99" y="148"/>
                    </a:cubicBezTo>
                    <a:cubicBezTo>
                      <a:pt x="98" y="148"/>
                      <a:pt x="98" y="151"/>
                      <a:pt x="97" y="151"/>
                    </a:cubicBezTo>
                    <a:cubicBezTo>
                      <a:pt x="94" y="153"/>
                      <a:pt x="87" y="154"/>
                      <a:pt x="84" y="153"/>
                    </a:cubicBezTo>
                    <a:cubicBezTo>
                      <a:pt x="82" y="153"/>
                      <a:pt x="80" y="151"/>
                      <a:pt x="78" y="150"/>
                    </a:cubicBezTo>
                    <a:cubicBezTo>
                      <a:pt x="77" y="150"/>
                      <a:pt x="75" y="149"/>
                      <a:pt x="74" y="149"/>
                    </a:cubicBezTo>
                    <a:cubicBezTo>
                      <a:pt x="72" y="150"/>
                      <a:pt x="70" y="154"/>
                      <a:pt x="68" y="154"/>
                    </a:cubicBezTo>
                    <a:cubicBezTo>
                      <a:pt x="67" y="155"/>
                      <a:pt x="63" y="155"/>
                      <a:pt x="62" y="154"/>
                    </a:cubicBezTo>
                    <a:cubicBezTo>
                      <a:pt x="60" y="152"/>
                      <a:pt x="60" y="147"/>
                      <a:pt x="60" y="145"/>
                    </a:cubicBezTo>
                    <a:cubicBezTo>
                      <a:pt x="60" y="143"/>
                      <a:pt x="62" y="140"/>
                      <a:pt x="61" y="138"/>
                    </a:cubicBezTo>
                    <a:cubicBezTo>
                      <a:pt x="61" y="137"/>
                      <a:pt x="58" y="136"/>
                      <a:pt x="57" y="136"/>
                    </a:cubicBezTo>
                    <a:cubicBezTo>
                      <a:pt x="55" y="135"/>
                      <a:pt x="50" y="136"/>
                      <a:pt x="47" y="135"/>
                    </a:cubicBezTo>
                    <a:cubicBezTo>
                      <a:pt x="46" y="135"/>
                      <a:pt x="44" y="132"/>
                      <a:pt x="43" y="131"/>
                    </a:cubicBezTo>
                    <a:cubicBezTo>
                      <a:pt x="41" y="130"/>
                      <a:pt x="37" y="130"/>
                      <a:pt x="35" y="131"/>
                    </a:cubicBezTo>
                    <a:cubicBezTo>
                      <a:pt x="34" y="131"/>
                      <a:pt x="31" y="133"/>
                      <a:pt x="31" y="134"/>
                    </a:cubicBezTo>
                    <a:cubicBezTo>
                      <a:pt x="30" y="136"/>
                      <a:pt x="31" y="140"/>
                      <a:pt x="31" y="142"/>
                    </a:cubicBezTo>
                    <a:cubicBezTo>
                      <a:pt x="31" y="144"/>
                      <a:pt x="31" y="148"/>
                      <a:pt x="30" y="149"/>
                    </a:cubicBezTo>
                    <a:cubicBezTo>
                      <a:pt x="28" y="151"/>
                      <a:pt x="24" y="150"/>
                      <a:pt x="22" y="150"/>
                    </a:cubicBezTo>
                    <a:cubicBezTo>
                      <a:pt x="20" y="150"/>
                      <a:pt x="17" y="149"/>
                      <a:pt x="16" y="148"/>
                    </a:cubicBezTo>
                    <a:cubicBezTo>
                      <a:pt x="15" y="147"/>
                      <a:pt x="16" y="144"/>
                      <a:pt x="14" y="143"/>
                    </a:cubicBezTo>
                    <a:cubicBezTo>
                      <a:pt x="13" y="141"/>
                      <a:pt x="7" y="141"/>
                      <a:pt x="5" y="141"/>
                    </a:cubicBezTo>
                    <a:cubicBezTo>
                      <a:pt x="4" y="140"/>
                      <a:pt x="2" y="141"/>
                      <a:pt x="0" y="141"/>
                    </a:cubicBezTo>
                    <a:cubicBezTo>
                      <a:pt x="0" y="139"/>
                      <a:pt x="0" y="136"/>
                      <a:pt x="0" y="135"/>
                    </a:cubicBezTo>
                    <a:cubicBezTo>
                      <a:pt x="0" y="133"/>
                      <a:pt x="2" y="129"/>
                      <a:pt x="3" y="127"/>
                    </a:cubicBezTo>
                    <a:cubicBezTo>
                      <a:pt x="4" y="125"/>
                      <a:pt x="7" y="124"/>
                      <a:pt x="8" y="122"/>
                    </a:cubicBezTo>
                    <a:cubicBezTo>
                      <a:pt x="9" y="120"/>
                      <a:pt x="10" y="114"/>
                      <a:pt x="10" y="111"/>
                    </a:cubicBezTo>
                    <a:cubicBezTo>
                      <a:pt x="10" y="108"/>
                      <a:pt x="9" y="102"/>
                      <a:pt x="7" y="99"/>
                    </a:cubicBezTo>
                    <a:cubicBezTo>
                      <a:pt x="8" y="97"/>
                      <a:pt x="10" y="95"/>
                      <a:pt x="10" y="94"/>
                    </a:cubicBezTo>
                    <a:cubicBezTo>
                      <a:pt x="11" y="92"/>
                      <a:pt x="12" y="88"/>
                      <a:pt x="14" y="87"/>
                    </a:cubicBezTo>
                    <a:cubicBezTo>
                      <a:pt x="15" y="86"/>
                      <a:pt x="18" y="87"/>
                      <a:pt x="19" y="87"/>
                    </a:cubicBezTo>
                    <a:cubicBezTo>
                      <a:pt x="20" y="88"/>
                      <a:pt x="22" y="90"/>
                      <a:pt x="23" y="90"/>
                    </a:cubicBezTo>
                    <a:cubicBezTo>
                      <a:pt x="24" y="90"/>
                      <a:pt x="27" y="88"/>
                      <a:pt x="28" y="87"/>
                    </a:cubicBezTo>
                    <a:cubicBezTo>
                      <a:pt x="29" y="85"/>
                      <a:pt x="28" y="82"/>
                      <a:pt x="29" y="80"/>
                    </a:cubicBezTo>
                    <a:cubicBezTo>
                      <a:pt x="29" y="78"/>
                      <a:pt x="30" y="74"/>
                      <a:pt x="31" y="72"/>
                    </a:cubicBezTo>
                    <a:cubicBezTo>
                      <a:pt x="33" y="71"/>
                      <a:pt x="38" y="74"/>
                      <a:pt x="40" y="73"/>
                    </a:cubicBezTo>
                    <a:cubicBezTo>
                      <a:pt x="41" y="72"/>
                      <a:pt x="41" y="70"/>
                      <a:pt x="41" y="69"/>
                    </a:cubicBezTo>
                    <a:cubicBezTo>
                      <a:pt x="41" y="67"/>
                      <a:pt x="39" y="65"/>
                      <a:pt x="39" y="64"/>
                    </a:cubicBezTo>
                    <a:cubicBezTo>
                      <a:pt x="38" y="62"/>
                      <a:pt x="37" y="58"/>
                      <a:pt x="37" y="56"/>
                    </a:cubicBezTo>
                    <a:cubicBezTo>
                      <a:pt x="37" y="54"/>
                      <a:pt x="40" y="51"/>
                      <a:pt x="41" y="49"/>
                    </a:cubicBezTo>
                    <a:cubicBezTo>
                      <a:pt x="42" y="48"/>
                      <a:pt x="45" y="47"/>
                      <a:pt x="47" y="47"/>
                    </a:cubicBezTo>
                    <a:cubicBezTo>
                      <a:pt x="48" y="46"/>
                      <a:pt x="52" y="46"/>
                      <a:pt x="53" y="47"/>
                    </a:cubicBezTo>
                    <a:cubicBezTo>
                      <a:pt x="54" y="47"/>
                      <a:pt x="53" y="50"/>
                      <a:pt x="54" y="50"/>
                    </a:cubicBezTo>
                    <a:cubicBezTo>
                      <a:pt x="56" y="51"/>
                      <a:pt x="58" y="47"/>
                      <a:pt x="60" y="46"/>
                    </a:cubicBezTo>
                    <a:cubicBezTo>
                      <a:pt x="62" y="46"/>
                      <a:pt x="66" y="46"/>
                      <a:pt x="68" y="47"/>
                    </a:cubicBezTo>
                    <a:cubicBezTo>
                      <a:pt x="70" y="48"/>
                      <a:pt x="71" y="52"/>
                      <a:pt x="71" y="54"/>
                    </a:cubicBezTo>
                    <a:cubicBezTo>
                      <a:pt x="72" y="56"/>
                      <a:pt x="71" y="61"/>
                      <a:pt x="72" y="63"/>
                    </a:cubicBezTo>
                    <a:cubicBezTo>
                      <a:pt x="73" y="65"/>
                      <a:pt x="76" y="68"/>
                      <a:pt x="78" y="68"/>
                    </a:cubicBezTo>
                    <a:cubicBezTo>
                      <a:pt x="81" y="69"/>
                      <a:pt x="87" y="70"/>
                      <a:pt x="90" y="68"/>
                    </a:cubicBezTo>
                    <a:cubicBezTo>
                      <a:pt x="93" y="67"/>
                      <a:pt x="98" y="61"/>
                      <a:pt x="100" y="57"/>
                    </a:cubicBezTo>
                    <a:cubicBezTo>
                      <a:pt x="101" y="55"/>
                      <a:pt x="101" y="48"/>
                      <a:pt x="103" y="46"/>
                    </a:cubicBezTo>
                    <a:cubicBezTo>
                      <a:pt x="105" y="44"/>
                      <a:pt x="110" y="43"/>
                      <a:pt x="112" y="41"/>
                    </a:cubicBezTo>
                    <a:cubicBezTo>
                      <a:pt x="113" y="39"/>
                      <a:pt x="113" y="34"/>
                      <a:pt x="113" y="32"/>
                    </a:cubicBezTo>
                    <a:cubicBezTo>
                      <a:pt x="113" y="30"/>
                      <a:pt x="110" y="25"/>
                      <a:pt x="111" y="23"/>
                    </a:cubicBezTo>
                    <a:cubicBezTo>
                      <a:pt x="112" y="21"/>
                      <a:pt x="116" y="18"/>
                      <a:pt x="118" y="16"/>
                    </a:cubicBezTo>
                    <a:cubicBezTo>
                      <a:pt x="119" y="14"/>
                      <a:pt x="121" y="9"/>
                      <a:pt x="122" y="6"/>
                    </a:cubicBezTo>
                    <a:cubicBezTo>
                      <a:pt x="123" y="5"/>
                      <a:pt x="126" y="3"/>
                      <a:pt x="127" y="2"/>
                    </a:cubicBezTo>
                    <a:cubicBezTo>
                      <a:pt x="128" y="1"/>
                      <a:pt x="130" y="1"/>
                      <a:pt x="131" y="0"/>
                    </a:cubicBezTo>
                    <a:cubicBezTo>
                      <a:pt x="132" y="1"/>
                      <a:pt x="133" y="2"/>
                      <a:pt x="134" y="2"/>
                    </a:cubicBezTo>
                    <a:cubicBezTo>
                      <a:pt x="137" y="4"/>
                      <a:pt x="143" y="4"/>
                      <a:pt x="146" y="5"/>
                    </a:cubicBezTo>
                    <a:cubicBezTo>
                      <a:pt x="148" y="6"/>
                      <a:pt x="150" y="8"/>
                      <a:pt x="152" y="8"/>
                    </a:cubicBezTo>
                    <a:cubicBezTo>
                      <a:pt x="154" y="9"/>
                      <a:pt x="159" y="8"/>
                      <a:pt x="162" y="9"/>
                    </a:cubicBezTo>
                    <a:cubicBezTo>
                      <a:pt x="164" y="10"/>
                      <a:pt x="168" y="14"/>
                      <a:pt x="170" y="15"/>
                    </a:cubicBezTo>
                    <a:cubicBezTo>
                      <a:pt x="172" y="17"/>
                      <a:pt x="175" y="19"/>
                      <a:pt x="177" y="20"/>
                    </a:cubicBezTo>
                    <a:cubicBezTo>
                      <a:pt x="180" y="22"/>
                      <a:pt x="186" y="23"/>
                      <a:pt x="190" y="25"/>
                    </a:cubicBezTo>
                    <a:cubicBezTo>
                      <a:pt x="188" y="26"/>
                      <a:pt x="186" y="28"/>
                      <a:pt x="185" y="29"/>
                    </a:cubicBezTo>
                    <a:cubicBezTo>
                      <a:pt x="183" y="31"/>
                      <a:pt x="181" y="35"/>
                      <a:pt x="180" y="37"/>
                    </a:cubicBezTo>
                    <a:cubicBezTo>
                      <a:pt x="180" y="38"/>
                      <a:pt x="180" y="41"/>
                      <a:pt x="180" y="42"/>
                    </a:cubicBezTo>
                    <a:cubicBezTo>
                      <a:pt x="180" y="44"/>
                      <a:pt x="182" y="48"/>
                      <a:pt x="182" y="51"/>
                    </a:cubicBezTo>
                    <a:cubicBezTo>
                      <a:pt x="182" y="52"/>
                      <a:pt x="179" y="54"/>
                      <a:pt x="179" y="56"/>
                    </a:cubicBezTo>
                    <a:cubicBezTo>
                      <a:pt x="178" y="58"/>
                      <a:pt x="178" y="62"/>
                      <a:pt x="179" y="64"/>
                    </a:cubicBezTo>
                    <a:cubicBezTo>
                      <a:pt x="180" y="66"/>
                      <a:pt x="185" y="67"/>
                      <a:pt x="187" y="6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57">
                <a:extLst>
                  <a:ext uri="{FF2B5EF4-FFF2-40B4-BE49-F238E27FC236}">
                    <a16:creationId xmlns:a16="http://schemas.microsoft.com/office/drawing/2014/main" id="{D98E1A92-C448-26D6-6288-F4C167D569D0}"/>
                  </a:ext>
                </a:extLst>
              </p:cNvPr>
              <p:cNvSpPr>
                <a:spLocks/>
              </p:cNvSpPr>
              <p:nvPr/>
            </p:nvSpPr>
            <p:spPr bwMode="auto">
              <a:xfrm>
                <a:off x="7234046" y="2377321"/>
                <a:ext cx="550257" cy="632210"/>
              </a:xfrm>
              <a:custGeom>
                <a:avLst/>
                <a:gdLst/>
                <a:ahLst/>
                <a:cxnLst>
                  <a:cxn ang="0">
                    <a:pos x="83" y="366"/>
                  </a:cxn>
                  <a:cxn ang="0">
                    <a:pos x="40" y="328"/>
                  </a:cxn>
                  <a:cxn ang="0">
                    <a:pos x="14" y="303"/>
                  </a:cxn>
                  <a:cxn ang="0">
                    <a:pos x="10" y="242"/>
                  </a:cxn>
                  <a:cxn ang="0">
                    <a:pos x="31" y="205"/>
                  </a:cxn>
                  <a:cxn ang="0">
                    <a:pos x="51" y="230"/>
                  </a:cxn>
                  <a:cxn ang="0">
                    <a:pos x="83" y="226"/>
                  </a:cxn>
                  <a:cxn ang="0">
                    <a:pos x="103" y="182"/>
                  </a:cxn>
                  <a:cxn ang="0">
                    <a:pos x="115" y="171"/>
                  </a:cxn>
                  <a:cxn ang="0">
                    <a:pos x="140" y="168"/>
                  </a:cxn>
                  <a:cxn ang="0">
                    <a:pos x="163" y="141"/>
                  </a:cxn>
                  <a:cxn ang="0">
                    <a:pos x="197" y="114"/>
                  </a:cxn>
                  <a:cxn ang="0">
                    <a:pos x="175" y="73"/>
                  </a:cxn>
                  <a:cxn ang="0">
                    <a:pos x="179" y="43"/>
                  </a:cxn>
                  <a:cxn ang="0">
                    <a:pos x="211" y="18"/>
                  </a:cxn>
                  <a:cxn ang="0">
                    <a:pos x="256" y="19"/>
                  </a:cxn>
                  <a:cxn ang="0">
                    <a:pos x="274" y="7"/>
                  </a:cxn>
                  <a:cxn ang="0">
                    <a:pos x="301" y="15"/>
                  </a:cxn>
                  <a:cxn ang="0">
                    <a:pos x="311" y="32"/>
                  </a:cxn>
                  <a:cxn ang="0">
                    <a:pos x="273" y="64"/>
                  </a:cxn>
                  <a:cxn ang="0">
                    <a:pos x="258" y="105"/>
                  </a:cxn>
                  <a:cxn ang="0">
                    <a:pos x="268" y="144"/>
                  </a:cxn>
                  <a:cxn ang="0">
                    <a:pos x="286" y="179"/>
                  </a:cxn>
                  <a:cxn ang="0">
                    <a:pos x="299" y="203"/>
                  </a:cxn>
                  <a:cxn ang="0">
                    <a:pos x="325" y="193"/>
                  </a:cxn>
                  <a:cxn ang="0">
                    <a:pos x="357" y="214"/>
                  </a:cxn>
                  <a:cxn ang="0">
                    <a:pos x="359" y="238"/>
                  </a:cxn>
                  <a:cxn ang="0">
                    <a:pos x="340" y="250"/>
                  </a:cxn>
                  <a:cxn ang="0">
                    <a:pos x="308" y="269"/>
                  </a:cxn>
                  <a:cxn ang="0">
                    <a:pos x="276" y="280"/>
                  </a:cxn>
                  <a:cxn ang="0">
                    <a:pos x="293" y="263"/>
                  </a:cxn>
                  <a:cxn ang="0">
                    <a:pos x="302" y="260"/>
                  </a:cxn>
                  <a:cxn ang="0">
                    <a:pos x="295" y="258"/>
                  </a:cxn>
                  <a:cxn ang="0">
                    <a:pos x="282" y="263"/>
                  </a:cxn>
                  <a:cxn ang="0">
                    <a:pos x="274" y="268"/>
                  </a:cxn>
                  <a:cxn ang="0">
                    <a:pos x="259" y="275"/>
                  </a:cxn>
                  <a:cxn ang="0">
                    <a:pos x="260" y="285"/>
                  </a:cxn>
                  <a:cxn ang="0">
                    <a:pos x="252" y="293"/>
                  </a:cxn>
                  <a:cxn ang="0">
                    <a:pos x="245" y="292"/>
                  </a:cxn>
                  <a:cxn ang="0">
                    <a:pos x="238" y="297"/>
                  </a:cxn>
                  <a:cxn ang="0">
                    <a:pos x="244" y="319"/>
                  </a:cxn>
                  <a:cxn ang="0">
                    <a:pos x="256" y="326"/>
                  </a:cxn>
                  <a:cxn ang="0">
                    <a:pos x="262" y="315"/>
                  </a:cxn>
                  <a:cxn ang="0">
                    <a:pos x="266" y="306"/>
                  </a:cxn>
                  <a:cxn ang="0">
                    <a:pos x="263" y="327"/>
                  </a:cxn>
                  <a:cxn ang="0">
                    <a:pos x="265" y="344"/>
                  </a:cxn>
                  <a:cxn ang="0">
                    <a:pos x="265" y="356"/>
                  </a:cxn>
                  <a:cxn ang="0">
                    <a:pos x="261" y="359"/>
                  </a:cxn>
                  <a:cxn ang="0">
                    <a:pos x="267" y="362"/>
                  </a:cxn>
                  <a:cxn ang="0">
                    <a:pos x="280" y="370"/>
                  </a:cxn>
                  <a:cxn ang="0">
                    <a:pos x="284" y="380"/>
                  </a:cxn>
                  <a:cxn ang="0">
                    <a:pos x="291" y="384"/>
                  </a:cxn>
                  <a:cxn ang="0">
                    <a:pos x="294" y="399"/>
                  </a:cxn>
                  <a:cxn ang="0">
                    <a:pos x="284" y="410"/>
                  </a:cxn>
                  <a:cxn ang="0">
                    <a:pos x="278" y="404"/>
                  </a:cxn>
                  <a:cxn ang="0">
                    <a:pos x="283" y="416"/>
                  </a:cxn>
                  <a:cxn ang="0">
                    <a:pos x="268" y="416"/>
                  </a:cxn>
                  <a:cxn ang="0">
                    <a:pos x="252" y="404"/>
                  </a:cxn>
                  <a:cxn ang="0">
                    <a:pos x="208" y="387"/>
                  </a:cxn>
                  <a:cxn ang="0">
                    <a:pos x="173" y="392"/>
                  </a:cxn>
                  <a:cxn ang="0">
                    <a:pos x="141" y="397"/>
                  </a:cxn>
                  <a:cxn ang="0">
                    <a:pos x="103" y="388"/>
                  </a:cxn>
                </a:cxnLst>
                <a:rect l="0" t="0" r="r" b="b"/>
                <a:pathLst>
                  <a:path w="364" h="425">
                    <a:moveTo>
                      <a:pt x="103" y="388"/>
                    </a:moveTo>
                    <a:cubicBezTo>
                      <a:pt x="100" y="387"/>
                      <a:pt x="96" y="385"/>
                      <a:pt x="95" y="383"/>
                    </a:cubicBezTo>
                    <a:cubicBezTo>
                      <a:pt x="93" y="382"/>
                      <a:pt x="91" y="378"/>
                      <a:pt x="90" y="377"/>
                    </a:cubicBezTo>
                    <a:cubicBezTo>
                      <a:pt x="89" y="376"/>
                      <a:pt x="86" y="374"/>
                      <a:pt x="85" y="373"/>
                    </a:cubicBezTo>
                    <a:cubicBezTo>
                      <a:pt x="84" y="372"/>
                      <a:pt x="84" y="368"/>
                      <a:pt x="83" y="366"/>
                    </a:cubicBezTo>
                    <a:cubicBezTo>
                      <a:pt x="82" y="364"/>
                      <a:pt x="79" y="360"/>
                      <a:pt x="77" y="358"/>
                    </a:cubicBezTo>
                    <a:cubicBezTo>
                      <a:pt x="75" y="356"/>
                      <a:pt x="68" y="355"/>
                      <a:pt x="66" y="353"/>
                    </a:cubicBezTo>
                    <a:cubicBezTo>
                      <a:pt x="63" y="352"/>
                      <a:pt x="56" y="350"/>
                      <a:pt x="54" y="347"/>
                    </a:cubicBezTo>
                    <a:cubicBezTo>
                      <a:pt x="52" y="345"/>
                      <a:pt x="49" y="339"/>
                      <a:pt x="47" y="337"/>
                    </a:cubicBezTo>
                    <a:cubicBezTo>
                      <a:pt x="46" y="335"/>
                      <a:pt x="42" y="330"/>
                      <a:pt x="40" y="328"/>
                    </a:cubicBezTo>
                    <a:cubicBezTo>
                      <a:pt x="39" y="327"/>
                      <a:pt x="36" y="325"/>
                      <a:pt x="35" y="325"/>
                    </a:cubicBezTo>
                    <a:cubicBezTo>
                      <a:pt x="33" y="324"/>
                      <a:pt x="29" y="325"/>
                      <a:pt x="27" y="324"/>
                    </a:cubicBezTo>
                    <a:cubicBezTo>
                      <a:pt x="25" y="324"/>
                      <a:pt x="22" y="322"/>
                      <a:pt x="21" y="321"/>
                    </a:cubicBezTo>
                    <a:cubicBezTo>
                      <a:pt x="19" y="319"/>
                      <a:pt x="17" y="315"/>
                      <a:pt x="16" y="313"/>
                    </a:cubicBezTo>
                    <a:cubicBezTo>
                      <a:pt x="15" y="310"/>
                      <a:pt x="14" y="305"/>
                      <a:pt x="14" y="303"/>
                    </a:cubicBezTo>
                    <a:cubicBezTo>
                      <a:pt x="13" y="300"/>
                      <a:pt x="11" y="294"/>
                      <a:pt x="10" y="291"/>
                    </a:cubicBezTo>
                    <a:cubicBezTo>
                      <a:pt x="9" y="288"/>
                      <a:pt x="4" y="284"/>
                      <a:pt x="3" y="282"/>
                    </a:cubicBezTo>
                    <a:cubicBezTo>
                      <a:pt x="2" y="278"/>
                      <a:pt x="1" y="271"/>
                      <a:pt x="0" y="267"/>
                    </a:cubicBezTo>
                    <a:cubicBezTo>
                      <a:pt x="0" y="263"/>
                      <a:pt x="1" y="255"/>
                      <a:pt x="3" y="251"/>
                    </a:cubicBezTo>
                    <a:cubicBezTo>
                      <a:pt x="4" y="248"/>
                      <a:pt x="8" y="244"/>
                      <a:pt x="10" y="242"/>
                    </a:cubicBezTo>
                    <a:cubicBezTo>
                      <a:pt x="12" y="239"/>
                      <a:pt x="17" y="236"/>
                      <a:pt x="19" y="234"/>
                    </a:cubicBezTo>
                    <a:cubicBezTo>
                      <a:pt x="20" y="232"/>
                      <a:pt x="23" y="228"/>
                      <a:pt x="24" y="226"/>
                    </a:cubicBezTo>
                    <a:cubicBezTo>
                      <a:pt x="24" y="223"/>
                      <a:pt x="24" y="218"/>
                      <a:pt x="25" y="215"/>
                    </a:cubicBezTo>
                    <a:cubicBezTo>
                      <a:pt x="25" y="213"/>
                      <a:pt x="25" y="209"/>
                      <a:pt x="25" y="206"/>
                    </a:cubicBezTo>
                    <a:cubicBezTo>
                      <a:pt x="27" y="206"/>
                      <a:pt x="29" y="205"/>
                      <a:pt x="31" y="205"/>
                    </a:cubicBezTo>
                    <a:cubicBezTo>
                      <a:pt x="33" y="205"/>
                      <a:pt x="40" y="205"/>
                      <a:pt x="41" y="207"/>
                    </a:cubicBezTo>
                    <a:cubicBezTo>
                      <a:pt x="43" y="209"/>
                      <a:pt x="42" y="214"/>
                      <a:pt x="42" y="216"/>
                    </a:cubicBezTo>
                    <a:cubicBezTo>
                      <a:pt x="41" y="218"/>
                      <a:pt x="39" y="220"/>
                      <a:pt x="39" y="222"/>
                    </a:cubicBezTo>
                    <a:cubicBezTo>
                      <a:pt x="39" y="224"/>
                      <a:pt x="41" y="229"/>
                      <a:pt x="43" y="230"/>
                    </a:cubicBezTo>
                    <a:cubicBezTo>
                      <a:pt x="45" y="231"/>
                      <a:pt x="49" y="231"/>
                      <a:pt x="51" y="230"/>
                    </a:cubicBezTo>
                    <a:cubicBezTo>
                      <a:pt x="53" y="229"/>
                      <a:pt x="53" y="224"/>
                      <a:pt x="55" y="223"/>
                    </a:cubicBezTo>
                    <a:cubicBezTo>
                      <a:pt x="56" y="222"/>
                      <a:pt x="60" y="223"/>
                      <a:pt x="61" y="224"/>
                    </a:cubicBezTo>
                    <a:cubicBezTo>
                      <a:pt x="63" y="225"/>
                      <a:pt x="64" y="229"/>
                      <a:pt x="66" y="230"/>
                    </a:cubicBezTo>
                    <a:cubicBezTo>
                      <a:pt x="68" y="231"/>
                      <a:pt x="72" y="233"/>
                      <a:pt x="74" y="232"/>
                    </a:cubicBezTo>
                    <a:cubicBezTo>
                      <a:pt x="77" y="232"/>
                      <a:pt x="81" y="228"/>
                      <a:pt x="83" y="226"/>
                    </a:cubicBezTo>
                    <a:cubicBezTo>
                      <a:pt x="84" y="224"/>
                      <a:pt x="85" y="219"/>
                      <a:pt x="87" y="217"/>
                    </a:cubicBezTo>
                    <a:cubicBezTo>
                      <a:pt x="88" y="216"/>
                      <a:pt x="91" y="215"/>
                      <a:pt x="92" y="214"/>
                    </a:cubicBezTo>
                    <a:cubicBezTo>
                      <a:pt x="94" y="211"/>
                      <a:pt x="94" y="204"/>
                      <a:pt x="94" y="201"/>
                    </a:cubicBezTo>
                    <a:cubicBezTo>
                      <a:pt x="95" y="198"/>
                      <a:pt x="94" y="193"/>
                      <a:pt x="95" y="191"/>
                    </a:cubicBezTo>
                    <a:cubicBezTo>
                      <a:pt x="96" y="188"/>
                      <a:pt x="101" y="184"/>
                      <a:pt x="103" y="182"/>
                    </a:cubicBezTo>
                    <a:cubicBezTo>
                      <a:pt x="105" y="181"/>
                      <a:pt x="109" y="180"/>
                      <a:pt x="111" y="180"/>
                    </a:cubicBezTo>
                    <a:cubicBezTo>
                      <a:pt x="112" y="180"/>
                      <a:pt x="114" y="181"/>
                      <a:pt x="115" y="181"/>
                    </a:cubicBezTo>
                    <a:cubicBezTo>
                      <a:pt x="117" y="181"/>
                      <a:pt x="120" y="179"/>
                      <a:pt x="121" y="177"/>
                    </a:cubicBezTo>
                    <a:cubicBezTo>
                      <a:pt x="121" y="176"/>
                      <a:pt x="122" y="173"/>
                      <a:pt x="121" y="171"/>
                    </a:cubicBezTo>
                    <a:cubicBezTo>
                      <a:pt x="120" y="170"/>
                      <a:pt x="116" y="172"/>
                      <a:pt x="115" y="171"/>
                    </a:cubicBezTo>
                    <a:cubicBezTo>
                      <a:pt x="114" y="170"/>
                      <a:pt x="114" y="167"/>
                      <a:pt x="114" y="165"/>
                    </a:cubicBezTo>
                    <a:cubicBezTo>
                      <a:pt x="115" y="162"/>
                      <a:pt x="120" y="159"/>
                      <a:pt x="123" y="158"/>
                    </a:cubicBezTo>
                    <a:cubicBezTo>
                      <a:pt x="125" y="157"/>
                      <a:pt x="130" y="157"/>
                      <a:pt x="132" y="157"/>
                    </a:cubicBezTo>
                    <a:cubicBezTo>
                      <a:pt x="134" y="158"/>
                      <a:pt x="137" y="160"/>
                      <a:pt x="138" y="161"/>
                    </a:cubicBezTo>
                    <a:cubicBezTo>
                      <a:pt x="139" y="163"/>
                      <a:pt x="139" y="167"/>
                      <a:pt x="140" y="168"/>
                    </a:cubicBezTo>
                    <a:cubicBezTo>
                      <a:pt x="141" y="170"/>
                      <a:pt x="144" y="172"/>
                      <a:pt x="145" y="173"/>
                    </a:cubicBezTo>
                    <a:cubicBezTo>
                      <a:pt x="148" y="173"/>
                      <a:pt x="152" y="169"/>
                      <a:pt x="154" y="167"/>
                    </a:cubicBezTo>
                    <a:cubicBezTo>
                      <a:pt x="156" y="165"/>
                      <a:pt x="160" y="160"/>
                      <a:pt x="162" y="157"/>
                    </a:cubicBezTo>
                    <a:cubicBezTo>
                      <a:pt x="162" y="155"/>
                      <a:pt x="162" y="151"/>
                      <a:pt x="163" y="149"/>
                    </a:cubicBezTo>
                    <a:cubicBezTo>
                      <a:pt x="163" y="147"/>
                      <a:pt x="162" y="143"/>
                      <a:pt x="163" y="141"/>
                    </a:cubicBezTo>
                    <a:cubicBezTo>
                      <a:pt x="164" y="139"/>
                      <a:pt x="166" y="137"/>
                      <a:pt x="168" y="136"/>
                    </a:cubicBezTo>
                    <a:cubicBezTo>
                      <a:pt x="171" y="135"/>
                      <a:pt x="177" y="135"/>
                      <a:pt x="181" y="135"/>
                    </a:cubicBezTo>
                    <a:cubicBezTo>
                      <a:pt x="182" y="135"/>
                      <a:pt x="185" y="136"/>
                      <a:pt x="187" y="135"/>
                    </a:cubicBezTo>
                    <a:cubicBezTo>
                      <a:pt x="190" y="134"/>
                      <a:pt x="192" y="127"/>
                      <a:pt x="193" y="124"/>
                    </a:cubicBezTo>
                    <a:cubicBezTo>
                      <a:pt x="194" y="122"/>
                      <a:pt x="197" y="117"/>
                      <a:pt x="197" y="114"/>
                    </a:cubicBezTo>
                    <a:cubicBezTo>
                      <a:pt x="198" y="112"/>
                      <a:pt x="198" y="106"/>
                      <a:pt x="197" y="104"/>
                    </a:cubicBezTo>
                    <a:cubicBezTo>
                      <a:pt x="195" y="101"/>
                      <a:pt x="190" y="98"/>
                      <a:pt x="188" y="96"/>
                    </a:cubicBezTo>
                    <a:cubicBezTo>
                      <a:pt x="185" y="94"/>
                      <a:pt x="179" y="92"/>
                      <a:pt x="177" y="90"/>
                    </a:cubicBezTo>
                    <a:cubicBezTo>
                      <a:pt x="176" y="89"/>
                      <a:pt x="173" y="85"/>
                      <a:pt x="173" y="83"/>
                    </a:cubicBezTo>
                    <a:cubicBezTo>
                      <a:pt x="172" y="81"/>
                      <a:pt x="174" y="75"/>
                      <a:pt x="175" y="73"/>
                    </a:cubicBezTo>
                    <a:cubicBezTo>
                      <a:pt x="176" y="71"/>
                      <a:pt x="181" y="69"/>
                      <a:pt x="182" y="67"/>
                    </a:cubicBezTo>
                    <a:cubicBezTo>
                      <a:pt x="184" y="65"/>
                      <a:pt x="187" y="61"/>
                      <a:pt x="187" y="58"/>
                    </a:cubicBezTo>
                    <a:cubicBezTo>
                      <a:pt x="187" y="56"/>
                      <a:pt x="185" y="53"/>
                      <a:pt x="184" y="52"/>
                    </a:cubicBezTo>
                    <a:cubicBezTo>
                      <a:pt x="183" y="51"/>
                      <a:pt x="178" y="50"/>
                      <a:pt x="178" y="48"/>
                    </a:cubicBezTo>
                    <a:cubicBezTo>
                      <a:pt x="177" y="47"/>
                      <a:pt x="178" y="44"/>
                      <a:pt x="179" y="43"/>
                    </a:cubicBezTo>
                    <a:cubicBezTo>
                      <a:pt x="181" y="41"/>
                      <a:pt x="188" y="40"/>
                      <a:pt x="191" y="40"/>
                    </a:cubicBezTo>
                    <a:cubicBezTo>
                      <a:pt x="193" y="40"/>
                      <a:pt x="197" y="42"/>
                      <a:pt x="199" y="41"/>
                    </a:cubicBezTo>
                    <a:cubicBezTo>
                      <a:pt x="201" y="41"/>
                      <a:pt x="206" y="40"/>
                      <a:pt x="207" y="38"/>
                    </a:cubicBezTo>
                    <a:cubicBezTo>
                      <a:pt x="209" y="36"/>
                      <a:pt x="207" y="29"/>
                      <a:pt x="208" y="26"/>
                    </a:cubicBezTo>
                    <a:cubicBezTo>
                      <a:pt x="209" y="24"/>
                      <a:pt x="210" y="20"/>
                      <a:pt x="211" y="18"/>
                    </a:cubicBezTo>
                    <a:cubicBezTo>
                      <a:pt x="213" y="17"/>
                      <a:pt x="219" y="15"/>
                      <a:pt x="221" y="16"/>
                    </a:cubicBezTo>
                    <a:cubicBezTo>
                      <a:pt x="224" y="17"/>
                      <a:pt x="227" y="22"/>
                      <a:pt x="230" y="23"/>
                    </a:cubicBezTo>
                    <a:cubicBezTo>
                      <a:pt x="232" y="24"/>
                      <a:pt x="237" y="25"/>
                      <a:pt x="239" y="25"/>
                    </a:cubicBezTo>
                    <a:cubicBezTo>
                      <a:pt x="241" y="24"/>
                      <a:pt x="245" y="21"/>
                      <a:pt x="247" y="20"/>
                    </a:cubicBezTo>
                    <a:cubicBezTo>
                      <a:pt x="249" y="19"/>
                      <a:pt x="255" y="21"/>
                      <a:pt x="256" y="19"/>
                    </a:cubicBezTo>
                    <a:cubicBezTo>
                      <a:pt x="259" y="17"/>
                      <a:pt x="258" y="9"/>
                      <a:pt x="260" y="6"/>
                    </a:cubicBezTo>
                    <a:cubicBezTo>
                      <a:pt x="260" y="4"/>
                      <a:pt x="264" y="2"/>
                      <a:pt x="266" y="0"/>
                    </a:cubicBezTo>
                    <a:cubicBezTo>
                      <a:pt x="267" y="1"/>
                      <a:pt x="268" y="2"/>
                      <a:pt x="269" y="3"/>
                    </a:cubicBezTo>
                    <a:cubicBezTo>
                      <a:pt x="269" y="4"/>
                      <a:pt x="269" y="6"/>
                      <a:pt x="270" y="6"/>
                    </a:cubicBezTo>
                    <a:cubicBezTo>
                      <a:pt x="270" y="7"/>
                      <a:pt x="273" y="7"/>
                      <a:pt x="274" y="7"/>
                    </a:cubicBezTo>
                    <a:cubicBezTo>
                      <a:pt x="275" y="8"/>
                      <a:pt x="279" y="9"/>
                      <a:pt x="280" y="10"/>
                    </a:cubicBezTo>
                    <a:cubicBezTo>
                      <a:pt x="282" y="11"/>
                      <a:pt x="284" y="14"/>
                      <a:pt x="286" y="15"/>
                    </a:cubicBezTo>
                    <a:cubicBezTo>
                      <a:pt x="287" y="15"/>
                      <a:pt x="290" y="15"/>
                      <a:pt x="291" y="15"/>
                    </a:cubicBezTo>
                    <a:cubicBezTo>
                      <a:pt x="292" y="15"/>
                      <a:pt x="296" y="15"/>
                      <a:pt x="297" y="14"/>
                    </a:cubicBezTo>
                    <a:cubicBezTo>
                      <a:pt x="298" y="14"/>
                      <a:pt x="300" y="15"/>
                      <a:pt x="301" y="15"/>
                    </a:cubicBezTo>
                    <a:cubicBezTo>
                      <a:pt x="303" y="15"/>
                      <a:pt x="306" y="13"/>
                      <a:pt x="308" y="14"/>
                    </a:cubicBezTo>
                    <a:cubicBezTo>
                      <a:pt x="310" y="14"/>
                      <a:pt x="312" y="17"/>
                      <a:pt x="313" y="17"/>
                    </a:cubicBezTo>
                    <a:cubicBezTo>
                      <a:pt x="313" y="17"/>
                      <a:pt x="313" y="18"/>
                      <a:pt x="313" y="18"/>
                    </a:cubicBezTo>
                    <a:cubicBezTo>
                      <a:pt x="313" y="21"/>
                      <a:pt x="312" y="24"/>
                      <a:pt x="312" y="26"/>
                    </a:cubicBezTo>
                    <a:cubicBezTo>
                      <a:pt x="312" y="28"/>
                      <a:pt x="312" y="31"/>
                      <a:pt x="311" y="32"/>
                    </a:cubicBezTo>
                    <a:cubicBezTo>
                      <a:pt x="310" y="34"/>
                      <a:pt x="304" y="34"/>
                      <a:pt x="303" y="36"/>
                    </a:cubicBezTo>
                    <a:cubicBezTo>
                      <a:pt x="301" y="38"/>
                      <a:pt x="302" y="45"/>
                      <a:pt x="301" y="48"/>
                    </a:cubicBezTo>
                    <a:cubicBezTo>
                      <a:pt x="300" y="50"/>
                      <a:pt x="297" y="53"/>
                      <a:pt x="295" y="55"/>
                    </a:cubicBezTo>
                    <a:cubicBezTo>
                      <a:pt x="293" y="57"/>
                      <a:pt x="287" y="58"/>
                      <a:pt x="284" y="59"/>
                    </a:cubicBezTo>
                    <a:cubicBezTo>
                      <a:pt x="281" y="60"/>
                      <a:pt x="275" y="61"/>
                      <a:pt x="273" y="64"/>
                    </a:cubicBezTo>
                    <a:cubicBezTo>
                      <a:pt x="272" y="66"/>
                      <a:pt x="274" y="72"/>
                      <a:pt x="274" y="74"/>
                    </a:cubicBezTo>
                    <a:cubicBezTo>
                      <a:pt x="274" y="76"/>
                      <a:pt x="274" y="81"/>
                      <a:pt x="273" y="83"/>
                    </a:cubicBezTo>
                    <a:cubicBezTo>
                      <a:pt x="272" y="84"/>
                      <a:pt x="267" y="83"/>
                      <a:pt x="266" y="84"/>
                    </a:cubicBezTo>
                    <a:cubicBezTo>
                      <a:pt x="264" y="85"/>
                      <a:pt x="260" y="89"/>
                      <a:pt x="259" y="92"/>
                    </a:cubicBezTo>
                    <a:cubicBezTo>
                      <a:pt x="257" y="95"/>
                      <a:pt x="257" y="102"/>
                      <a:pt x="258" y="105"/>
                    </a:cubicBezTo>
                    <a:cubicBezTo>
                      <a:pt x="258" y="109"/>
                      <a:pt x="263" y="116"/>
                      <a:pt x="266" y="119"/>
                    </a:cubicBezTo>
                    <a:cubicBezTo>
                      <a:pt x="267" y="120"/>
                      <a:pt x="272" y="122"/>
                      <a:pt x="274" y="124"/>
                    </a:cubicBezTo>
                    <a:cubicBezTo>
                      <a:pt x="275" y="126"/>
                      <a:pt x="277" y="131"/>
                      <a:pt x="277" y="133"/>
                    </a:cubicBezTo>
                    <a:cubicBezTo>
                      <a:pt x="277" y="135"/>
                      <a:pt x="276" y="139"/>
                      <a:pt x="275" y="141"/>
                    </a:cubicBezTo>
                    <a:cubicBezTo>
                      <a:pt x="274" y="142"/>
                      <a:pt x="269" y="143"/>
                      <a:pt x="268" y="144"/>
                    </a:cubicBezTo>
                    <a:cubicBezTo>
                      <a:pt x="267" y="146"/>
                      <a:pt x="265" y="150"/>
                      <a:pt x="265" y="153"/>
                    </a:cubicBezTo>
                    <a:cubicBezTo>
                      <a:pt x="265" y="156"/>
                      <a:pt x="268" y="161"/>
                      <a:pt x="269" y="164"/>
                    </a:cubicBezTo>
                    <a:cubicBezTo>
                      <a:pt x="271" y="166"/>
                      <a:pt x="274" y="170"/>
                      <a:pt x="276" y="171"/>
                    </a:cubicBezTo>
                    <a:cubicBezTo>
                      <a:pt x="278" y="172"/>
                      <a:pt x="281" y="173"/>
                      <a:pt x="282" y="174"/>
                    </a:cubicBezTo>
                    <a:cubicBezTo>
                      <a:pt x="283" y="175"/>
                      <a:pt x="286" y="178"/>
                      <a:pt x="286" y="179"/>
                    </a:cubicBezTo>
                    <a:cubicBezTo>
                      <a:pt x="287" y="181"/>
                      <a:pt x="286" y="185"/>
                      <a:pt x="286" y="187"/>
                    </a:cubicBezTo>
                    <a:cubicBezTo>
                      <a:pt x="286" y="189"/>
                      <a:pt x="286" y="193"/>
                      <a:pt x="288" y="194"/>
                    </a:cubicBezTo>
                    <a:cubicBezTo>
                      <a:pt x="289" y="195"/>
                      <a:pt x="293" y="193"/>
                      <a:pt x="295" y="193"/>
                    </a:cubicBezTo>
                    <a:cubicBezTo>
                      <a:pt x="296" y="193"/>
                      <a:pt x="299" y="193"/>
                      <a:pt x="299" y="194"/>
                    </a:cubicBezTo>
                    <a:cubicBezTo>
                      <a:pt x="301" y="196"/>
                      <a:pt x="299" y="201"/>
                      <a:pt x="299" y="203"/>
                    </a:cubicBezTo>
                    <a:cubicBezTo>
                      <a:pt x="300" y="204"/>
                      <a:pt x="301" y="206"/>
                      <a:pt x="303" y="206"/>
                    </a:cubicBezTo>
                    <a:cubicBezTo>
                      <a:pt x="305" y="207"/>
                      <a:pt x="309" y="204"/>
                      <a:pt x="311" y="203"/>
                    </a:cubicBezTo>
                    <a:cubicBezTo>
                      <a:pt x="312" y="202"/>
                      <a:pt x="313" y="198"/>
                      <a:pt x="315" y="198"/>
                    </a:cubicBezTo>
                    <a:cubicBezTo>
                      <a:pt x="316" y="197"/>
                      <a:pt x="319" y="197"/>
                      <a:pt x="321" y="197"/>
                    </a:cubicBezTo>
                    <a:cubicBezTo>
                      <a:pt x="322" y="196"/>
                      <a:pt x="324" y="193"/>
                      <a:pt x="325" y="193"/>
                    </a:cubicBezTo>
                    <a:cubicBezTo>
                      <a:pt x="328" y="192"/>
                      <a:pt x="334" y="191"/>
                      <a:pt x="336" y="191"/>
                    </a:cubicBezTo>
                    <a:cubicBezTo>
                      <a:pt x="338" y="192"/>
                      <a:pt x="340" y="194"/>
                      <a:pt x="342" y="195"/>
                    </a:cubicBezTo>
                    <a:cubicBezTo>
                      <a:pt x="344" y="196"/>
                      <a:pt x="350" y="194"/>
                      <a:pt x="352" y="196"/>
                    </a:cubicBezTo>
                    <a:cubicBezTo>
                      <a:pt x="354" y="197"/>
                      <a:pt x="356" y="203"/>
                      <a:pt x="356" y="205"/>
                    </a:cubicBezTo>
                    <a:cubicBezTo>
                      <a:pt x="357" y="207"/>
                      <a:pt x="357" y="212"/>
                      <a:pt x="357" y="214"/>
                    </a:cubicBezTo>
                    <a:cubicBezTo>
                      <a:pt x="357" y="216"/>
                      <a:pt x="356" y="222"/>
                      <a:pt x="357" y="225"/>
                    </a:cubicBezTo>
                    <a:cubicBezTo>
                      <a:pt x="358" y="227"/>
                      <a:pt x="363" y="229"/>
                      <a:pt x="364" y="231"/>
                    </a:cubicBezTo>
                    <a:cubicBezTo>
                      <a:pt x="364" y="232"/>
                      <a:pt x="364" y="233"/>
                      <a:pt x="364" y="235"/>
                    </a:cubicBezTo>
                    <a:cubicBezTo>
                      <a:pt x="364" y="235"/>
                      <a:pt x="363" y="235"/>
                      <a:pt x="363" y="235"/>
                    </a:cubicBezTo>
                    <a:cubicBezTo>
                      <a:pt x="362" y="235"/>
                      <a:pt x="360" y="237"/>
                      <a:pt x="359" y="238"/>
                    </a:cubicBezTo>
                    <a:cubicBezTo>
                      <a:pt x="357" y="239"/>
                      <a:pt x="354" y="240"/>
                      <a:pt x="353" y="241"/>
                    </a:cubicBezTo>
                    <a:cubicBezTo>
                      <a:pt x="352" y="242"/>
                      <a:pt x="350" y="243"/>
                      <a:pt x="350" y="244"/>
                    </a:cubicBezTo>
                    <a:cubicBezTo>
                      <a:pt x="349" y="245"/>
                      <a:pt x="348" y="247"/>
                      <a:pt x="347" y="248"/>
                    </a:cubicBezTo>
                    <a:cubicBezTo>
                      <a:pt x="346" y="248"/>
                      <a:pt x="345" y="247"/>
                      <a:pt x="344" y="247"/>
                    </a:cubicBezTo>
                    <a:cubicBezTo>
                      <a:pt x="343" y="247"/>
                      <a:pt x="341" y="249"/>
                      <a:pt x="340" y="250"/>
                    </a:cubicBezTo>
                    <a:cubicBezTo>
                      <a:pt x="337" y="251"/>
                      <a:pt x="332" y="255"/>
                      <a:pt x="330" y="257"/>
                    </a:cubicBezTo>
                    <a:cubicBezTo>
                      <a:pt x="329" y="257"/>
                      <a:pt x="326" y="258"/>
                      <a:pt x="325" y="259"/>
                    </a:cubicBezTo>
                    <a:cubicBezTo>
                      <a:pt x="323" y="259"/>
                      <a:pt x="321" y="261"/>
                      <a:pt x="319" y="262"/>
                    </a:cubicBezTo>
                    <a:cubicBezTo>
                      <a:pt x="318" y="263"/>
                      <a:pt x="315" y="265"/>
                      <a:pt x="313" y="266"/>
                    </a:cubicBezTo>
                    <a:cubicBezTo>
                      <a:pt x="312" y="266"/>
                      <a:pt x="309" y="268"/>
                      <a:pt x="308" y="269"/>
                    </a:cubicBezTo>
                    <a:cubicBezTo>
                      <a:pt x="306" y="270"/>
                      <a:pt x="304" y="272"/>
                      <a:pt x="302" y="273"/>
                    </a:cubicBezTo>
                    <a:cubicBezTo>
                      <a:pt x="299" y="275"/>
                      <a:pt x="292" y="277"/>
                      <a:pt x="289" y="278"/>
                    </a:cubicBezTo>
                    <a:cubicBezTo>
                      <a:pt x="287" y="279"/>
                      <a:pt x="283" y="283"/>
                      <a:pt x="281" y="283"/>
                    </a:cubicBezTo>
                    <a:cubicBezTo>
                      <a:pt x="280" y="284"/>
                      <a:pt x="278" y="284"/>
                      <a:pt x="278" y="284"/>
                    </a:cubicBezTo>
                    <a:cubicBezTo>
                      <a:pt x="277" y="283"/>
                      <a:pt x="276" y="281"/>
                      <a:pt x="276" y="280"/>
                    </a:cubicBezTo>
                    <a:cubicBezTo>
                      <a:pt x="276" y="279"/>
                      <a:pt x="276" y="277"/>
                      <a:pt x="277" y="276"/>
                    </a:cubicBezTo>
                    <a:cubicBezTo>
                      <a:pt x="278" y="275"/>
                      <a:pt x="281" y="275"/>
                      <a:pt x="282" y="274"/>
                    </a:cubicBezTo>
                    <a:cubicBezTo>
                      <a:pt x="283" y="274"/>
                      <a:pt x="285" y="272"/>
                      <a:pt x="286" y="271"/>
                    </a:cubicBezTo>
                    <a:cubicBezTo>
                      <a:pt x="287" y="270"/>
                      <a:pt x="289" y="269"/>
                      <a:pt x="290" y="268"/>
                    </a:cubicBezTo>
                    <a:cubicBezTo>
                      <a:pt x="291" y="267"/>
                      <a:pt x="292" y="264"/>
                      <a:pt x="293" y="263"/>
                    </a:cubicBezTo>
                    <a:cubicBezTo>
                      <a:pt x="293" y="263"/>
                      <a:pt x="295" y="263"/>
                      <a:pt x="295" y="263"/>
                    </a:cubicBezTo>
                    <a:cubicBezTo>
                      <a:pt x="296" y="264"/>
                      <a:pt x="296" y="265"/>
                      <a:pt x="297" y="266"/>
                    </a:cubicBezTo>
                    <a:cubicBezTo>
                      <a:pt x="298" y="266"/>
                      <a:pt x="300" y="265"/>
                      <a:pt x="301" y="265"/>
                    </a:cubicBezTo>
                    <a:cubicBezTo>
                      <a:pt x="302" y="264"/>
                      <a:pt x="304" y="263"/>
                      <a:pt x="304" y="262"/>
                    </a:cubicBezTo>
                    <a:cubicBezTo>
                      <a:pt x="304" y="261"/>
                      <a:pt x="303" y="260"/>
                      <a:pt x="302" y="260"/>
                    </a:cubicBezTo>
                    <a:cubicBezTo>
                      <a:pt x="302" y="260"/>
                      <a:pt x="301" y="262"/>
                      <a:pt x="300" y="262"/>
                    </a:cubicBezTo>
                    <a:cubicBezTo>
                      <a:pt x="300" y="262"/>
                      <a:pt x="298" y="261"/>
                      <a:pt x="298" y="261"/>
                    </a:cubicBezTo>
                    <a:cubicBezTo>
                      <a:pt x="298" y="260"/>
                      <a:pt x="301" y="258"/>
                      <a:pt x="301" y="257"/>
                    </a:cubicBezTo>
                    <a:cubicBezTo>
                      <a:pt x="301" y="257"/>
                      <a:pt x="299" y="257"/>
                      <a:pt x="298" y="257"/>
                    </a:cubicBezTo>
                    <a:cubicBezTo>
                      <a:pt x="297" y="257"/>
                      <a:pt x="296" y="258"/>
                      <a:pt x="295" y="258"/>
                    </a:cubicBezTo>
                    <a:cubicBezTo>
                      <a:pt x="294" y="257"/>
                      <a:pt x="291" y="256"/>
                      <a:pt x="290" y="256"/>
                    </a:cubicBezTo>
                    <a:cubicBezTo>
                      <a:pt x="289" y="256"/>
                      <a:pt x="288" y="256"/>
                      <a:pt x="287" y="256"/>
                    </a:cubicBezTo>
                    <a:cubicBezTo>
                      <a:pt x="287" y="256"/>
                      <a:pt x="287" y="258"/>
                      <a:pt x="286" y="258"/>
                    </a:cubicBezTo>
                    <a:cubicBezTo>
                      <a:pt x="286" y="259"/>
                      <a:pt x="283" y="259"/>
                      <a:pt x="282" y="260"/>
                    </a:cubicBezTo>
                    <a:cubicBezTo>
                      <a:pt x="282" y="260"/>
                      <a:pt x="282" y="262"/>
                      <a:pt x="282" y="263"/>
                    </a:cubicBezTo>
                    <a:cubicBezTo>
                      <a:pt x="282" y="264"/>
                      <a:pt x="283" y="266"/>
                      <a:pt x="283" y="267"/>
                    </a:cubicBezTo>
                    <a:cubicBezTo>
                      <a:pt x="283" y="268"/>
                      <a:pt x="281" y="269"/>
                      <a:pt x="280" y="269"/>
                    </a:cubicBezTo>
                    <a:cubicBezTo>
                      <a:pt x="279" y="268"/>
                      <a:pt x="280" y="265"/>
                      <a:pt x="279" y="265"/>
                    </a:cubicBezTo>
                    <a:cubicBezTo>
                      <a:pt x="279" y="265"/>
                      <a:pt x="277" y="266"/>
                      <a:pt x="277" y="267"/>
                    </a:cubicBezTo>
                    <a:cubicBezTo>
                      <a:pt x="276" y="267"/>
                      <a:pt x="275" y="268"/>
                      <a:pt x="274" y="268"/>
                    </a:cubicBezTo>
                    <a:cubicBezTo>
                      <a:pt x="273" y="268"/>
                      <a:pt x="272" y="267"/>
                      <a:pt x="271" y="267"/>
                    </a:cubicBezTo>
                    <a:cubicBezTo>
                      <a:pt x="270" y="267"/>
                      <a:pt x="268" y="267"/>
                      <a:pt x="267" y="267"/>
                    </a:cubicBezTo>
                    <a:cubicBezTo>
                      <a:pt x="266" y="268"/>
                      <a:pt x="266" y="269"/>
                      <a:pt x="265" y="269"/>
                    </a:cubicBezTo>
                    <a:cubicBezTo>
                      <a:pt x="265" y="270"/>
                      <a:pt x="264" y="273"/>
                      <a:pt x="262" y="274"/>
                    </a:cubicBezTo>
                    <a:cubicBezTo>
                      <a:pt x="262" y="274"/>
                      <a:pt x="260" y="274"/>
                      <a:pt x="259" y="275"/>
                    </a:cubicBezTo>
                    <a:cubicBezTo>
                      <a:pt x="258" y="275"/>
                      <a:pt x="257" y="277"/>
                      <a:pt x="257" y="278"/>
                    </a:cubicBezTo>
                    <a:cubicBezTo>
                      <a:pt x="258" y="279"/>
                      <a:pt x="261" y="277"/>
                      <a:pt x="262" y="278"/>
                    </a:cubicBezTo>
                    <a:cubicBezTo>
                      <a:pt x="264" y="278"/>
                      <a:pt x="266" y="278"/>
                      <a:pt x="266" y="279"/>
                    </a:cubicBezTo>
                    <a:cubicBezTo>
                      <a:pt x="267" y="281"/>
                      <a:pt x="266" y="284"/>
                      <a:pt x="265" y="285"/>
                    </a:cubicBezTo>
                    <a:cubicBezTo>
                      <a:pt x="264" y="285"/>
                      <a:pt x="261" y="285"/>
                      <a:pt x="260" y="285"/>
                    </a:cubicBezTo>
                    <a:cubicBezTo>
                      <a:pt x="259" y="285"/>
                      <a:pt x="259" y="283"/>
                      <a:pt x="258" y="282"/>
                    </a:cubicBezTo>
                    <a:cubicBezTo>
                      <a:pt x="256" y="282"/>
                      <a:pt x="253" y="283"/>
                      <a:pt x="253" y="284"/>
                    </a:cubicBezTo>
                    <a:cubicBezTo>
                      <a:pt x="252" y="284"/>
                      <a:pt x="252" y="287"/>
                      <a:pt x="252" y="288"/>
                    </a:cubicBezTo>
                    <a:cubicBezTo>
                      <a:pt x="253" y="289"/>
                      <a:pt x="254" y="291"/>
                      <a:pt x="254" y="292"/>
                    </a:cubicBezTo>
                    <a:cubicBezTo>
                      <a:pt x="253" y="292"/>
                      <a:pt x="252" y="293"/>
                      <a:pt x="252" y="293"/>
                    </a:cubicBezTo>
                    <a:cubicBezTo>
                      <a:pt x="252" y="295"/>
                      <a:pt x="253" y="298"/>
                      <a:pt x="253" y="300"/>
                    </a:cubicBezTo>
                    <a:cubicBezTo>
                      <a:pt x="252" y="301"/>
                      <a:pt x="250" y="301"/>
                      <a:pt x="250" y="301"/>
                    </a:cubicBezTo>
                    <a:cubicBezTo>
                      <a:pt x="249" y="302"/>
                      <a:pt x="247" y="301"/>
                      <a:pt x="246" y="301"/>
                    </a:cubicBezTo>
                    <a:cubicBezTo>
                      <a:pt x="245" y="300"/>
                      <a:pt x="243" y="299"/>
                      <a:pt x="243" y="298"/>
                    </a:cubicBezTo>
                    <a:cubicBezTo>
                      <a:pt x="243" y="297"/>
                      <a:pt x="245" y="294"/>
                      <a:pt x="245" y="292"/>
                    </a:cubicBezTo>
                    <a:cubicBezTo>
                      <a:pt x="244" y="291"/>
                      <a:pt x="242" y="290"/>
                      <a:pt x="241" y="289"/>
                    </a:cubicBezTo>
                    <a:cubicBezTo>
                      <a:pt x="241" y="289"/>
                      <a:pt x="241" y="286"/>
                      <a:pt x="240" y="286"/>
                    </a:cubicBezTo>
                    <a:cubicBezTo>
                      <a:pt x="239" y="286"/>
                      <a:pt x="237" y="288"/>
                      <a:pt x="236" y="289"/>
                    </a:cubicBezTo>
                    <a:cubicBezTo>
                      <a:pt x="236" y="290"/>
                      <a:pt x="236" y="292"/>
                      <a:pt x="236" y="293"/>
                    </a:cubicBezTo>
                    <a:cubicBezTo>
                      <a:pt x="237" y="294"/>
                      <a:pt x="238" y="296"/>
                      <a:pt x="238" y="297"/>
                    </a:cubicBezTo>
                    <a:cubicBezTo>
                      <a:pt x="238" y="298"/>
                      <a:pt x="236" y="299"/>
                      <a:pt x="236" y="300"/>
                    </a:cubicBezTo>
                    <a:cubicBezTo>
                      <a:pt x="235" y="302"/>
                      <a:pt x="235" y="306"/>
                      <a:pt x="235" y="309"/>
                    </a:cubicBezTo>
                    <a:cubicBezTo>
                      <a:pt x="235" y="310"/>
                      <a:pt x="236" y="313"/>
                      <a:pt x="237" y="314"/>
                    </a:cubicBezTo>
                    <a:cubicBezTo>
                      <a:pt x="238" y="315"/>
                      <a:pt x="241" y="314"/>
                      <a:pt x="242" y="315"/>
                    </a:cubicBezTo>
                    <a:cubicBezTo>
                      <a:pt x="243" y="315"/>
                      <a:pt x="243" y="318"/>
                      <a:pt x="244" y="319"/>
                    </a:cubicBezTo>
                    <a:cubicBezTo>
                      <a:pt x="245" y="319"/>
                      <a:pt x="247" y="319"/>
                      <a:pt x="248" y="319"/>
                    </a:cubicBezTo>
                    <a:cubicBezTo>
                      <a:pt x="250" y="319"/>
                      <a:pt x="253" y="318"/>
                      <a:pt x="254" y="318"/>
                    </a:cubicBezTo>
                    <a:cubicBezTo>
                      <a:pt x="255" y="318"/>
                      <a:pt x="257" y="318"/>
                      <a:pt x="258" y="319"/>
                    </a:cubicBezTo>
                    <a:cubicBezTo>
                      <a:pt x="258" y="320"/>
                      <a:pt x="257" y="322"/>
                      <a:pt x="257" y="323"/>
                    </a:cubicBezTo>
                    <a:cubicBezTo>
                      <a:pt x="257" y="323"/>
                      <a:pt x="256" y="325"/>
                      <a:pt x="256" y="326"/>
                    </a:cubicBezTo>
                    <a:cubicBezTo>
                      <a:pt x="256" y="327"/>
                      <a:pt x="257" y="328"/>
                      <a:pt x="258" y="328"/>
                    </a:cubicBezTo>
                    <a:cubicBezTo>
                      <a:pt x="259" y="328"/>
                      <a:pt x="260" y="328"/>
                      <a:pt x="260" y="327"/>
                    </a:cubicBezTo>
                    <a:cubicBezTo>
                      <a:pt x="260" y="326"/>
                      <a:pt x="260" y="325"/>
                      <a:pt x="260" y="324"/>
                    </a:cubicBezTo>
                    <a:cubicBezTo>
                      <a:pt x="260" y="323"/>
                      <a:pt x="260" y="320"/>
                      <a:pt x="260" y="319"/>
                    </a:cubicBezTo>
                    <a:cubicBezTo>
                      <a:pt x="261" y="318"/>
                      <a:pt x="261" y="316"/>
                      <a:pt x="262" y="315"/>
                    </a:cubicBezTo>
                    <a:cubicBezTo>
                      <a:pt x="262" y="313"/>
                      <a:pt x="262" y="311"/>
                      <a:pt x="262" y="309"/>
                    </a:cubicBezTo>
                    <a:cubicBezTo>
                      <a:pt x="263" y="308"/>
                      <a:pt x="263" y="307"/>
                      <a:pt x="263" y="306"/>
                    </a:cubicBezTo>
                    <a:cubicBezTo>
                      <a:pt x="263" y="305"/>
                      <a:pt x="262" y="303"/>
                      <a:pt x="263" y="302"/>
                    </a:cubicBezTo>
                    <a:cubicBezTo>
                      <a:pt x="263" y="302"/>
                      <a:pt x="265" y="302"/>
                      <a:pt x="265" y="302"/>
                    </a:cubicBezTo>
                    <a:cubicBezTo>
                      <a:pt x="266" y="303"/>
                      <a:pt x="266" y="305"/>
                      <a:pt x="266" y="306"/>
                    </a:cubicBezTo>
                    <a:cubicBezTo>
                      <a:pt x="266" y="307"/>
                      <a:pt x="265" y="308"/>
                      <a:pt x="265" y="309"/>
                    </a:cubicBezTo>
                    <a:cubicBezTo>
                      <a:pt x="265" y="311"/>
                      <a:pt x="264" y="314"/>
                      <a:pt x="264" y="315"/>
                    </a:cubicBezTo>
                    <a:cubicBezTo>
                      <a:pt x="264" y="317"/>
                      <a:pt x="263" y="320"/>
                      <a:pt x="263" y="321"/>
                    </a:cubicBezTo>
                    <a:cubicBezTo>
                      <a:pt x="263" y="322"/>
                      <a:pt x="264" y="323"/>
                      <a:pt x="264" y="324"/>
                    </a:cubicBezTo>
                    <a:cubicBezTo>
                      <a:pt x="264" y="325"/>
                      <a:pt x="263" y="327"/>
                      <a:pt x="263" y="327"/>
                    </a:cubicBezTo>
                    <a:cubicBezTo>
                      <a:pt x="262" y="328"/>
                      <a:pt x="261" y="330"/>
                      <a:pt x="261" y="331"/>
                    </a:cubicBezTo>
                    <a:cubicBezTo>
                      <a:pt x="261" y="333"/>
                      <a:pt x="262" y="335"/>
                      <a:pt x="262" y="337"/>
                    </a:cubicBezTo>
                    <a:cubicBezTo>
                      <a:pt x="263" y="337"/>
                      <a:pt x="262" y="339"/>
                      <a:pt x="262" y="339"/>
                    </a:cubicBezTo>
                    <a:cubicBezTo>
                      <a:pt x="263" y="340"/>
                      <a:pt x="264" y="339"/>
                      <a:pt x="264" y="340"/>
                    </a:cubicBezTo>
                    <a:cubicBezTo>
                      <a:pt x="265" y="341"/>
                      <a:pt x="265" y="343"/>
                      <a:pt x="265" y="344"/>
                    </a:cubicBezTo>
                    <a:cubicBezTo>
                      <a:pt x="265" y="344"/>
                      <a:pt x="267" y="345"/>
                      <a:pt x="267" y="345"/>
                    </a:cubicBezTo>
                    <a:cubicBezTo>
                      <a:pt x="267" y="346"/>
                      <a:pt x="268" y="347"/>
                      <a:pt x="268" y="348"/>
                    </a:cubicBezTo>
                    <a:cubicBezTo>
                      <a:pt x="268" y="349"/>
                      <a:pt x="266" y="350"/>
                      <a:pt x="266" y="350"/>
                    </a:cubicBezTo>
                    <a:cubicBezTo>
                      <a:pt x="266" y="351"/>
                      <a:pt x="267" y="353"/>
                      <a:pt x="267" y="354"/>
                    </a:cubicBezTo>
                    <a:cubicBezTo>
                      <a:pt x="266" y="355"/>
                      <a:pt x="266" y="356"/>
                      <a:pt x="265" y="356"/>
                    </a:cubicBezTo>
                    <a:cubicBezTo>
                      <a:pt x="264" y="356"/>
                      <a:pt x="263" y="355"/>
                      <a:pt x="262" y="354"/>
                    </a:cubicBezTo>
                    <a:cubicBezTo>
                      <a:pt x="262" y="354"/>
                      <a:pt x="262" y="352"/>
                      <a:pt x="262" y="352"/>
                    </a:cubicBezTo>
                    <a:cubicBezTo>
                      <a:pt x="261" y="351"/>
                      <a:pt x="259" y="352"/>
                      <a:pt x="259" y="352"/>
                    </a:cubicBezTo>
                    <a:cubicBezTo>
                      <a:pt x="258" y="353"/>
                      <a:pt x="258" y="355"/>
                      <a:pt x="258" y="356"/>
                    </a:cubicBezTo>
                    <a:cubicBezTo>
                      <a:pt x="259" y="357"/>
                      <a:pt x="260" y="358"/>
                      <a:pt x="261" y="359"/>
                    </a:cubicBezTo>
                    <a:cubicBezTo>
                      <a:pt x="261" y="360"/>
                      <a:pt x="260" y="361"/>
                      <a:pt x="260" y="361"/>
                    </a:cubicBezTo>
                    <a:cubicBezTo>
                      <a:pt x="260" y="362"/>
                      <a:pt x="259" y="363"/>
                      <a:pt x="260" y="363"/>
                    </a:cubicBezTo>
                    <a:cubicBezTo>
                      <a:pt x="260" y="364"/>
                      <a:pt x="262" y="363"/>
                      <a:pt x="262" y="363"/>
                    </a:cubicBezTo>
                    <a:cubicBezTo>
                      <a:pt x="263" y="363"/>
                      <a:pt x="263" y="361"/>
                      <a:pt x="264" y="360"/>
                    </a:cubicBezTo>
                    <a:cubicBezTo>
                      <a:pt x="264" y="360"/>
                      <a:pt x="266" y="361"/>
                      <a:pt x="267" y="362"/>
                    </a:cubicBezTo>
                    <a:cubicBezTo>
                      <a:pt x="267" y="362"/>
                      <a:pt x="268" y="365"/>
                      <a:pt x="269" y="365"/>
                    </a:cubicBezTo>
                    <a:cubicBezTo>
                      <a:pt x="269" y="366"/>
                      <a:pt x="270" y="367"/>
                      <a:pt x="271" y="367"/>
                    </a:cubicBezTo>
                    <a:cubicBezTo>
                      <a:pt x="272" y="367"/>
                      <a:pt x="273" y="365"/>
                      <a:pt x="274" y="365"/>
                    </a:cubicBezTo>
                    <a:cubicBezTo>
                      <a:pt x="275" y="365"/>
                      <a:pt x="277" y="366"/>
                      <a:pt x="277" y="367"/>
                    </a:cubicBezTo>
                    <a:cubicBezTo>
                      <a:pt x="278" y="368"/>
                      <a:pt x="279" y="369"/>
                      <a:pt x="280" y="370"/>
                    </a:cubicBezTo>
                    <a:cubicBezTo>
                      <a:pt x="282" y="372"/>
                      <a:pt x="286" y="373"/>
                      <a:pt x="287" y="375"/>
                    </a:cubicBezTo>
                    <a:cubicBezTo>
                      <a:pt x="288" y="376"/>
                      <a:pt x="290" y="377"/>
                      <a:pt x="290" y="378"/>
                    </a:cubicBezTo>
                    <a:cubicBezTo>
                      <a:pt x="291" y="379"/>
                      <a:pt x="291" y="380"/>
                      <a:pt x="291" y="380"/>
                    </a:cubicBezTo>
                    <a:cubicBezTo>
                      <a:pt x="290" y="381"/>
                      <a:pt x="289" y="380"/>
                      <a:pt x="288" y="380"/>
                    </a:cubicBezTo>
                    <a:cubicBezTo>
                      <a:pt x="287" y="380"/>
                      <a:pt x="285" y="379"/>
                      <a:pt x="284" y="380"/>
                    </a:cubicBezTo>
                    <a:cubicBezTo>
                      <a:pt x="283" y="380"/>
                      <a:pt x="282" y="381"/>
                      <a:pt x="282" y="381"/>
                    </a:cubicBezTo>
                    <a:cubicBezTo>
                      <a:pt x="282" y="382"/>
                      <a:pt x="282" y="384"/>
                      <a:pt x="283" y="385"/>
                    </a:cubicBezTo>
                    <a:cubicBezTo>
                      <a:pt x="283" y="385"/>
                      <a:pt x="285" y="385"/>
                      <a:pt x="286" y="385"/>
                    </a:cubicBezTo>
                    <a:cubicBezTo>
                      <a:pt x="287" y="384"/>
                      <a:pt x="288" y="383"/>
                      <a:pt x="289" y="383"/>
                    </a:cubicBezTo>
                    <a:cubicBezTo>
                      <a:pt x="290" y="383"/>
                      <a:pt x="291" y="383"/>
                      <a:pt x="291" y="384"/>
                    </a:cubicBezTo>
                    <a:cubicBezTo>
                      <a:pt x="292" y="384"/>
                      <a:pt x="292" y="387"/>
                      <a:pt x="292" y="387"/>
                    </a:cubicBezTo>
                    <a:cubicBezTo>
                      <a:pt x="293" y="388"/>
                      <a:pt x="295" y="388"/>
                      <a:pt x="296" y="389"/>
                    </a:cubicBezTo>
                    <a:cubicBezTo>
                      <a:pt x="297" y="390"/>
                      <a:pt x="297" y="391"/>
                      <a:pt x="297" y="392"/>
                    </a:cubicBezTo>
                    <a:cubicBezTo>
                      <a:pt x="297" y="393"/>
                      <a:pt x="296" y="394"/>
                      <a:pt x="295" y="395"/>
                    </a:cubicBezTo>
                    <a:cubicBezTo>
                      <a:pt x="295" y="396"/>
                      <a:pt x="294" y="398"/>
                      <a:pt x="294" y="399"/>
                    </a:cubicBezTo>
                    <a:cubicBezTo>
                      <a:pt x="293" y="400"/>
                      <a:pt x="294" y="403"/>
                      <a:pt x="294" y="404"/>
                    </a:cubicBezTo>
                    <a:cubicBezTo>
                      <a:pt x="294" y="405"/>
                      <a:pt x="294" y="408"/>
                      <a:pt x="293" y="409"/>
                    </a:cubicBezTo>
                    <a:cubicBezTo>
                      <a:pt x="293" y="410"/>
                      <a:pt x="292" y="412"/>
                      <a:pt x="291" y="412"/>
                    </a:cubicBezTo>
                    <a:cubicBezTo>
                      <a:pt x="290" y="413"/>
                      <a:pt x="287" y="413"/>
                      <a:pt x="286" y="413"/>
                    </a:cubicBezTo>
                    <a:cubicBezTo>
                      <a:pt x="285" y="412"/>
                      <a:pt x="284" y="410"/>
                      <a:pt x="284" y="410"/>
                    </a:cubicBezTo>
                    <a:cubicBezTo>
                      <a:pt x="284" y="408"/>
                      <a:pt x="285" y="407"/>
                      <a:pt x="285" y="406"/>
                    </a:cubicBezTo>
                    <a:cubicBezTo>
                      <a:pt x="286" y="404"/>
                      <a:pt x="286" y="401"/>
                      <a:pt x="285" y="400"/>
                    </a:cubicBezTo>
                    <a:cubicBezTo>
                      <a:pt x="285" y="399"/>
                      <a:pt x="283" y="398"/>
                      <a:pt x="282" y="399"/>
                    </a:cubicBezTo>
                    <a:cubicBezTo>
                      <a:pt x="281" y="399"/>
                      <a:pt x="281" y="401"/>
                      <a:pt x="280" y="402"/>
                    </a:cubicBezTo>
                    <a:cubicBezTo>
                      <a:pt x="279" y="402"/>
                      <a:pt x="278" y="403"/>
                      <a:pt x="278" y="404"/>
                    </a:cubicBezTo>
                    <a:cubicBezTo>
                      <a:pt x="278" y="405"/>
                      <a:pt x="278" y="407"/>
                      <a:pt x="279" y="407"/>
                    </a:cubicBezTo>
                    <a:cubicBezTo>
                      <a:pt x="279" y="407"/>
                      <a:pt x="281" y="407"/>
                      <a:pt x="281" y="407"/>
                    </a:cubicBezTo>
                    <a:cubicBezTo>
                      <a:pt x="282" y="408"/>
                      <a:pt x="281" y="410"/>
                      <a:pt x="281" y="411"/>
                    </a:cubicBezTo>
                    <a:cubicBezTo>
                      <a:pt x="281" y="412"/>
                      <a:pt x="279" y="412"/>
                      <a:pt x="279" y="413"/>
                    </a:cubicBezTo>
                    <a:cubicBezTo>
                      <a:pt x="279" y="414"/>
                      <a:pt x="282" y="415"/>
                      <a:pt x="283" y="416"/>
                    </a:cubicBezTo>
                    <a:cubicBezTo>
                      <a:pt x="283" y="417"/>
                      <a:pt x="282" y="419"/>
                      <a:pt x="281" y="420"/>
                    </a:cubicBezTo>
                    <a:cubicBezTo>
                      <a:pt x="280" y="421"/>
                      <a:pt x="279" y="424"/>
                      <a:pt x="277" y="425"/>
                    </a:cubicBezTo>
                    <a:cubicBezTo>
                      <a:pt x="276" y="425"/>
                      <a:pt x="274" y="424"/>
                      <a:pt x="273" y="424"/>
                    </a:cubicBezTo>
                    <a:cubicBezTo>
                      <a:pt x="272" y="423"/>
                      <a:pt x="272" y="419"/>
                      <a:pt x="271" y="418"/>
                    </a:cubicBezTo>
                    <a:cubicBezTo>
                      <a:pt x="270" y="418"/>
                      <a:pt x="269" y="417"/>
                      <a:pt x="268" y="416"/>
                    </a:cubicBezTo>
                    <a:cubicBezTo>
                      <a:pt x="268" y="416"/>
                      <a:pt x="268" y="414"/>
                      <a:pt x="267" y="414"/>
                    </a:cubicBezTo>
                    <a:cubicBezTo>
                      <a:pt x="266" y="414"/>
                      <a:pt x="264" y="414"/>
                      <a:pt x="263" y="415"/>
                    </a:cubicBezTo>
                    <a:cubicBezTo>
                      <a:pt x="262" y="415"/>
                      <a:pt x="261" y="416"/>
                      <a:pt x="261" y="416"/>
                    </a:cubicBezTo>
                    <a:cubicBezTo>
                      <a:pt x="260" y="414"/>
                      <a:pt x="260" y="413"/>
                      <a:pt x="259" y="412"/>
                    </a:cubicBezTo>
                    <a:cubicBezTo>
                      <a:pt x="258" y="409"/>
                      <a:pt x="254" y="406"/>
                      <a:pt x="252" y="404"/>
                    </a:cubicBezTo>
                    <a:cubicBezTo>
                      <a:pt x="251" y="402"/>
                      <a:pt x="248" y="398"/>
                      <a:pt x="246" y="397"/>
                    </a:cubicBezTo>
                    <a:cubicBezTo>
                      <a:pt x="245" y="395"/>
                      <a:pt x="242" y="392"/>
                      <a:pt x="240" y="391"/>
                    </a:cubicBezTo>
                    <a:cubicBezTo>
                      <a:pt x="236" y="389"/>
                      <a:pt x="229" y="385"/>
                      <a:pt x="225" y="385"/>
                    </a:cubicBezTo>
                    <a:cubicBezTo>
                      <a:pt x="223" y="384"/>
                      <a:pt x="218" y="385"/>
                      <a:pt x="215" y="386"/>
                    </a:cubicBezTo>
                    <a:cubicBezTo>
                      <a:pt x="214" y="386"/>
                      <a:pt x="210" y="386"/>
                      <a:pt x="208" y="387"/>
                    </a:cubicBezTo>
                    <a:cubicBezTo>
                      <a:pt x="206" y="388"/>
                      <a:pt x="205" y="392"/>
                      <a:pt x="204" y="394"/>
                    </a:cubicBezTo>
                    <a:cubicBezTo>
                      <a:pt x="202" y="395"/>
                      <a:pt x="197" y="396"/>
                      <a:pt x="195" y="396"/>
                    </a:cubicBezTo>
                    <a:cubicBezTo>
                      <a:pt x="193" y="396"/>
                      <a:pt x="190" y="394"/>
                      <a:pt x="188" y="393"/>
                    </a:cubicBezTo>
                    <a:cubicBezTo>
                      <a:pt x="187" y="393"/>
                      <a:pt x="185" y="390"/>
                      <a:pt x="183" y="389"/>
                    </a:cubicBezTo>
                    <a:cubicBezTo>
                      <a:pt x="180" y="389"/>
                      <a:pt x="175" y="390"/>
                      <a:pt x="173" y="392"/>
                    </a:cubicBezTo>
                    <a:cubicBezTo>
                      <a:pt x="172" y="393"/>
                      <a:pt x="171" y="397"/>
                      <a:pt x="170" y="399"/>
                    </a:cubicBezTo>
                    <a:cubicBezTo>
                      <a:pt x="168" y="401"/>
                      <a:pt x="165" y="404"/>
                      <a:pt x="163" y="405"/>
                    </a:cubicBezTo>
                    <a:cubicBezTo>
                      <a:pt x="162" y="406"/>
                      <a:pt x="159" y="407"/>
                      <a:pt x="158" y="406"/>
                    </a:cubicBezTo>
                    <a:cubicBezTo>
                      <a:pt x="155" y="406"/>
                      <a:pt x="150" y="404"/>
                      <a:pt x="148" y="403"/>
                    </a:cubicBezTo>
                    <a:cubicBezTo>
                      <a:pt x="146" y="402"/>
                      <a:pt x="143" y="398"/>
                      <a:pt x="141" y="397"/>
                    </a:cubicBezTo>
                    <a:cubicBezTo>
                      <a:pt x="138" y="396"/>
                      <a:pt x="133" y="395"/>
                      <a:pt x="131" y="393"/>
                    </a:cubicBezTo>
                    <a:cubicBezTo>
                      <a:pt x="129" y="393"/>
                      <a:pt x="127" y="390"/>
                      <a:pt x="125" y="389"/>
                    </a:cubicBezTo>
                    <a:cubicBezTo>
                      <a:pt x="123" y="388"/>
                      <a:pt x="118" y="388"/>
                      <a:pt x="115" y="388"/>
                    </a:cubicBezTo>
                    <a:cubicBezTo>
                      <a:pt x="113" y="388"/>
                      <a:pt x="108" y="389"/>
                      <a:pt x="105" y="388"/>
                    </a:cubicBezTo>
                    <a:cubicBezTo>
                      <a:pt x="105" y="388"/>
                      <a:pt x="104" y="388"/>
                      <a:pt x="103" y="388"/>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58">
                <a:extLst>
                  <a:ext uri="{FF2B5EF4-FFF2-40B4-BE49-F238E27FC236}">
                    <a16:creationId xmlns:a16="http://schemas.microsoft.com/office/drawing/2014/main" id="{C43B810E-D82F-0B46-82ED-B58A8D10B9B6}"/>
                  </a:ext>
                </a:extLst>
              </p:cNvPr>
              <p:cNvSpPr>
                <a:spLocks/>
              </p:cNvSpPr>
              <p:nvPr/>
            </p:nvSpPr>
            <p:spPr bwMode="auto">
              <a:xfrm>
                <a:off x="7632508" y="2801021"/>
                <a:ext cx="20329" cy="24059"/>
              </a:xfrm>
              <a:custGeom>
                <a:avLst/>
                <a:gdLst/>
                <a:ahLst/>
                <a:cxnLst>
                  <a:cxn ang="0">
                    <a:pos x="0" y="15"/>
                  </a:cxn>
                  <a:cxn ang="0">
                    <a:pos x="1" y="12"/>
                  </a:cxn>
                  <a:cxn ang="0">
                    <a:pos x="3" y="9"/>
                  </a:cxn>
                  <a:cxn ang="0">
                    <a:pos x="4" y="6"/>
                  </a:cxn>
                  <a:cxn ang="0">
                    <a:pos x="7" y="3"/>
                  </a:cxn>
                  <a:cxn ang="0">
                    <a:pos x="9" y="1"/>
                  </a:cxn>
                  <a:cxn ang="0">
                    <a:pos x="11" y="1"/>
                  </a:cxn>
                  <a:cxn ang="0">
                    <a:pos x="13" y="2"/>
                  </a:cxn>
                  <a:cxn ang="0">
                    <a:pos x="12" y="4"/>
                  </a:cxn>
                  <a:cxn ang="0">
                    <a:pos x="10" y="7"/>
                  </a:cxn>
                  <a:cxn ang="0">
                    <a:pos x="8" y="8"/>
                  </a:cxn>
                  <a:cxn ang="0">
                    <a:pos x="7" y="11"/>
                  </a:cxn>
                  <a:cxn ang="0">
                    <a:pos x="6" y="14"/>
                  </a:cxn>
                  <a:cxn ang="0">
                    <a:pos x="5" y="15"/>
                  </a:cxn>
                  <a:cxn ang="0">
                    <a:pos x="3" y="16"/>
                  </a:cxn>
                  <a:cxn ang="0">
                    <a:pos x="2" y="15"/>
                  </a:cxn>
                  <a:cxn ang="0">
                    <a:pos x="0" y="15"/>
                  </a:cxn>
                </a:cxnLst>
                <a:rect l="0" t="0" r="r" b="b"/>
                <a:pathLst>
                  <a:path w="13" h="16">
                    <a:moveTo>
                      <a:pt x="0" y="15"/>
                    </a:moveTo>
                    <a:cubicBezTo>
                      <a:pt x="0" y="14"/>
                      <a:pt x="0" y="13"/>
                      <a:pt x="1" y="12"/>
                    </a:cubicBezTo>
                    <a:cubicBezTo>
                      <a:pt x="1" y="12"/>
                      <a:pt x="2" y="10"/>
                      <a:pt x="3" y="9"/>
                    </a:cubicBezTo>
                    <a:cubicBezTo>
                      <a:pt x="3" y="8"/>
                      <a:pt x="4" y="6"/>
                      <a:pt x="4" y="6"/>
                    </a:cubicBezTo>
                    <a:cubicBezTo>
                      <a:pt x="5" y="5"/>
                      <a:pt x="6" y="3"/>
                      <a:pt x="7" y="3"/>
                    </a:cubicBezTo>
                    <a:cubicBezTo>
                      <a:pt x="7" y="2"/>
                      <a:pt x="8" y="1"/>
                      <a:pt x="9" y="1"/>
                    </a:cubicBezTo>
                    <a:cubicBezTo>
                      <a:pt x="10" y="0"/>
                      <a:pt x="11" y="1"/>
                      <a:pt x="11" y="1"/>
                    </a:cubicBezTo>
                    <a:cubicBezTo>
                      <a:pt x="11" y="1"/>
                      <a:pt x="12" y="1"/>
                      <a:pt x="13" y="2"/>
                    </a:cubicBezTo>
                    <a:cubicBezTo>
                      <a:pt x="13" y="2"/>
                      <a:pt x="12" y="4"/>
                      <a:pt x="12" y="4"/>
                    </a:cubicBezTo>
                    <a:cubicBezTo>
                      <a:pt x="12" y="5"/>
                      <a:pt x="11" y="6"/>
                      <a:pt x="10" y="7"/>
                    </a:cubicBezTo>
                    <a:cubicBezTo>
                      <a:pt x="10" y="7"/>
                      <a:pt x="9" y="8"/>
                      <a:pt x="8" y="8"/>
                    </a:cubicBezTo>
                    <a:cubicBezTo>
                      <a:pt x="8" y="9"/>
                      <a:pt x="7" y="10"/>
                      <a:pt x="7" y="11"/>
                    </a:cubicBezTo>
                    <a:cubicBezTo>
                      <a:pt x="7" y="12"/>
                      <a:pt x="6" y="13"/>
                      <a:pt x="6" y="14"/>
                    </a:cubicBezTo>
                    <a:cubicBezTo>
                      <a:pt x="6" y="14"/>
                      <a:pt x="5" y="15"/>
                      <a:pt x="5" y="15"/>
                    </a:cubicBezTo>
                    <a:cubicBezTo>
                      <a:pt x="4" y="16"/>
                      <a:pt x="3" y="16"/>
                      <a:pt x="3" y="16"/>
                    </a:cubicBezTo>
                    <a:cubicBezTo>
                      <a:pt x="2" y="16"/>
                      <a:pt x="2" y="15"/>
                      <a:pt x="2" y="15"/>
                    </a:cubicBezTo>
                    <a:cubicBezTo>
                      <a:pt x="1" y="15"/>
                      <a:pt x="0" y="15"/>
                      <a:pt x="0" y="15"/>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59">
                <a:extLst>
                  <a:ext uri="{FF2B5EF4-FFF2-40B4-BE49-F238E27FC236}">
                    <a16:creationId xmlns:a16="http://schemas.microsoft.com/office/drawing/2014/main" id="{9FD079B7-6995-6BDA-51E9-9F7921D3712B}"/>
                  </a:ext>
                </a:extLst>
              </p:cNvPr>
              <p:cNvSpPr>
                <a:spLocks/>
              </p:cNvSpPr>
              <p:nvPr/>
            </p:nvSpPr>
            <p:spPr bwMode="auto">
              <a:xfrm>
                <a:off x="7842582" y="3616344"/>
                <a:ext cx="426923" cy="403652"/>
              </a:xfrm>
              <a:custGeom>
                <a:avLst/>
                <a:gdLst/>
                <a:ahLst/>
                <a:cxnLst>
                  <a:cxn ang="0">
                    <a:pos x="273" y="178"/>
                  </a:cxn>
                  <a:cxn ang="0">
                    <a:pos x="264" y="204"/>
                  </a:cxn>
                  <a:cxn ang="0">
                    <a:pos x="251" y="229"/>
                  </a:cxn>
                  <a:cxn ang="0">
                    <a:pos x="223" y="235"/>
                  </a:cxn>
                  <a:cxn ang="0">
                    <a:pos x="211" y="218"/>
                  </a:cxn>
                  <a:cxn ang="0">
                    <a:pos x="198" y="219"/>
                  </a:cxn>
                  <a:cxn ang="0">
                    <a:pos x="190" y="236"/>
                  </a:cxn>
                  <a:cxn ang="0">
                    <a:pos x="182" y="244"/>
                  </a:cxn>
                  <a:cxn ang="0">
                    <a:pos x="174" y="262"/>
                  </a:cxn>
                  <a:cxn ang="0">
                    <a:pos x="161" y="266"/>
                  </a:cxn>
                  <a:cxn ang="0">
                    <a:pos x="150" y="264"/>
                  </a:cxn>
                  <a:cxn ang="0">
                    <a:pos x="140" y="251"/>
                  </a:cxn>
                  <a:cxn ang="0">
                    <a:pos x="125" y="261"/>
                  </a:cxn>
                  <a:cxn ang="0">
                    <a:pos x="107" y="242"/>
                  </a:cxn>
                  <a:cxn ang="0">
                    <a:pos x="96" y="249"/>
                  </a:cxn>
                  <a:cxn ang="0">
                    <a:pos x="85" y="251"/>
                  </a:cxn>
                  <a:cxn ang="0">
                    <a:pos x="72" y="236"/>
                  </a:cxn>
                  <a:cxn ang="0">
                    <a:pos x="56" y="237"/>
                  </a:cxn>
                  <a:cxn ang="0">
                    <a:pos x="55" y="222"/>
                  </a:cxn>
                  <a:cxn ang="0">
                    <a:pos x="35" y="215"/>
                  </a:cxn>
                  <a:cxn ang="0">
                    <a:pos x="22" y="203"/>
                  </a:cxn>
                  <a:cxn ang="0">
                    <a:pos x="7" y="196"/>
                  </a:cxn>
                  <a:cxn ang="0">
                    <a:pos x="1" y="182"/>
                  </a:cxn>
                  <a:cxn ang="0">
                    <a:pos x="11" y="175"/>
                  </a:cxn>
                  <a:cxn ang="0">
                    <a:pos x="27" y="166"/>
                  </a:cxn>
                  <a:cxn ang="0">
                    <a:pos x="39" y="172"/>
                  </a:cxn>
                  <a:cxn ang="0">
                    <a:pos x="50" y="167"/>
                  </a:cxn>
                  <a:cxn ang="0">
                    <a:pos x="40" y="154"/>
                  </a:cxn>
                  <a:cxn ang="0">
                    <a:pos x="29" y="138"/>
                  </a:cxn>
                  <a:cxn ang="0">
                    <a:pos x="24" y="122"/>
                  </a:cxn>
                  <a:cxn ang="0">
                    <a:pos x="15" y="112"/>
                  </a:cxn>
                  <a:cxn ang="0">
                    <a:pos x="24" y="101"/>
                  </a:cxn>
                  <a:cxn ang="0">
                    <a:pos x="19" y="93"/>
                  </a:cxn>
                  <a:cxn ang="0">
                    <a:pos x="26" y="83"/>
                  </a:cxn>
                  <a:cxn ang="0">
                    <a:pos x="48" y="77"/>
                  </a:cxn>
                  <a:cxn ang="0">
                    <a:pos x="53" y="65"/>
                  </a:cxn>
                  <a:cxn ang="0">
                    <a:pos x="49" y="56"/>
                  </a:cxn>
                  <a:cxn ang="0">
                    <a:pos x="61" y="47"/>
                  </a:cxn>
                  <a:cxn ang="0">
                    <a:pos x="68" y="33"/>
                  </a:cxn>
                  <a:cxn ang="0">
                    <a:pos x="76" y="24"/>
                  </a:cxn>
                  <a:cxn ang="0">
                    <a:pos x="91" y="28"/>
                  </a:cxn>
                  <a:cxn ang="0">
                    <a:pos x="98" y="19"/>
                  </a:cxn>
                  <a:cxn ang="0">
                    <a:pos x="105" y="8"/>
                  </a:cxn>
                  <a:cxn ang="0">
                    <a:pos x="117" y="3"/>
                  </a:cxn>
                  <a:cxn ang="0">
                    <a:pos x="132" y="0"/>
                  </a:cxn>
                  <a:cxn ang="0">
                    <a:pos x="143" y="32"/>
                  </a:cxn>
                  <a:cxn ang="0">
                    <a:pos x="162" y="62"/>
                  </a:cxn>
                  <a:cxn ang="0">
                    <a:pos x="196" y="96"/>
                  </a:cxn>
                  <a:cxn ang="0">
                    <a:pos x="214" y="111"/>
                  </a:cxn>
                  <a:cxn ang="0">
                    <a:pos x="234" y="131"/>
                  </a:cxn>
                  <a:cxn ang="0">
                    <a:pos x="257" y="140"/>
                  </a:cxn>
                  <a:cxn ang="0">
                    <a:pos x="269" y="147"/>
                  </a:cxn>
                  <a:cxn ang="0">
                    <a:pos x="273" y="167"/>
                  </a:cxn>
                </a:cxnLst>
                <a:rect l="0" t="0" r="r" b="b"/>
                <a:pathLst>
                  <a:path w="282" h="271">
                    <a:moveTo>
                      <a:pt x="282" y="172"/>
                    </a:moveTo>
                    <a:cubicBezTo>
                      <a:pt x="281" y="173"/>
                      <a:pt x="279" y="173"/>
                      <a:pt x="278" y="174"/>
                    </a:cubicBezTo>
                    <a:cubicBezTo>
                      <a:pt x="277" y="175"/>
                      <a:pt x="274" y="177"/>
                      <a:pt x="273" y="178"/>
                    </a:cubicBezTo>
                    <a:cubicBezTo>
                      <a:pt x="272" y="181"/>
                      <a:pt x="270" y="186"/>
                      <a:pt x="269" y="188"/>
                    </a:cubicBezTo>
                    <a:cubicBezTo>
                      <a:pt x="267" y="190"/>
                      <a:pt x="263" y="193"/>
                      <a:pt x="262" y="195"/>
                    </a:cubicBezTo>
                    <a:cubicBezTo>
                      <a:pt x="261" y="197"/>
                      <a:pt x="264" y="202"/>
                      <a:pt x="264" y="204"/>
                    </a:cubicBezTo>
                    <a:cubicBezTo>
                      <a:pt x="264" y="206"/>
                      <a:pt x="264" y="211"/>
                      <a:pt x="263" y="213"/>
                    </a:cubicBezTo>
                    <a:cubicBezTo>
                      <a:pt x="261" y="215"/>
                      <a:pt x="256" y="216"/>
                      <a:pt x="254" y="218"/>
                    </a:cubicBezTo>
                    <a:cubicBezTo>
                      <a:pt x="252" y="220"/>
                      <a:pt x="252" y="227"/>
                      <a:pt x="251" y="229"/>
                    </a:cubicBezTo>
                    <a:cubicBezTo>
                      <a:pt x="249" y="233"/>
                      <a:pt x="244" y="239"/>
                      <a:pt x="241" y="240"/>
                    </a:cubicBezTo>
                    <a:cubicBezTo>
                      <a:pt x="238" y="242"/>
                      <a:pt x="232" y="241"/>
                      <a:pt x="229" y="240"/>
                    </a:cubicBezTo>
                    <a:cubicBezTo>
                      <a:pt x="227" y="240"/>
                      <a:pt x="224" y="237"/>
                      <a:pt x="223" y="235"/>
                    </a:cubicBezTo>
                    <a:cubicBezTo>
                      <a:pt x="222" y="233"/>
                      <a:pt x="223" y="228"/>
                      <a:pt x="222" y="226"/>
                    </a:cubicBezTo>
                    <a:cubicBezTo>
                      <a:pt x="222" y="224"/>
                      <a:pt x="221" y="220"/>
                      <a:pt x="219" y="219"/>
                    </a:cubicBezTo>
                    <a:cubicBezTo>
                      <a:pt x="217" y="218"/>
                      <a:pt x="213" y="218"/>
                      <a:pt x="211" y="218"/>
                    </a:cubicBezTo>
                    <a:cubicBezTo>
                      <a:pt x="209" y="219"/>
                      <a:pt x="207" y="223"/>
                      <a:pt x="205" y="222"/>
                    </a:cubicBezTo>
                    <a:cubicBezTo>
                      <a:pt x="204" y="222"/>
                      <a:pt x="205" y="219"/>
                      <a:pt x="204" y="219"/>
                    </a:cubicBezTo>
                    <a:cubicBezTo>
                      <a:pt x="203" y="218"/>
                      <a:pt x="199" y="218"/>
                      <a:pt x="198" y="219"/>
                    </a:cubicBezTo>
                    <a:cubicBezTo>
                      <a:pt x="196" y="219"/>
                      <a:pt x="193" y="220"/>
                      <a:pt x="192" y="221"/>
                    </a:cubicBezTo>
                    <a:cubicBezTo>
                      <a:pt x="191" y="223"/>
                      <a:pt x="188" y="226"/>
                      <a:pt x="188" y="228"/>
                    </a:cubicBezTo>
                    <a:cubicBezTo>
                      <a:pt x="188" y="230"/>
                      <a:pt x="189" y="234"/>
                      <a:pt x="190" y="236"/>
                    </a:cubicBezTo>
                    <a:cubicBezTo>
                      <a:pt x="190" y="237"/>
                      <a:pt x="192" y="239"/>
                      <a:pt x="192" y="241"/>
                    </a:cubicBezTo>
                    <a:cubicBezTo>
                      <a:pt x="192" y="242"/>
                      <a:pt x="192" y="244"/>
                      <a:pt x="191" y="245"/>
                    </a:cubicBezTo>
                    <a:cubicBezTo>
                      <a:pt x="189" y="246"/>
                      <a:pt x="184" y="243"/>
                      <a:pt x="182" y="244"/>
                    </a:cubicBezTo>
                    <a:cubicBezTo>
                      <a:pt x="181" y="246"/>
                      <a:pt x="180" y="250"/>
                      <a:pt x="180" y="252"/>
                    </a:cubicBezTo>
                    <a:cubicBezTo>
                      <a:pt x="179" y="254"/>
                      <a:pt x="180" y="257"/>
                      <a:pt x="179" y="259"/>
                    </a:cubicBezTo>
                    <a:cubicBezTo>
                      <a:pt x="178" y="260"/>
                      <a:pt x="175" y="262"/>
                      <a:pt x="174" y="262"/>
                    </a:cubicBezTo>
                    <a:cubicBezTo>
                      <a:pt x="173" y="262"/>
                      <a:pt x="171" y="260"/>
                      <a:pt x="170" y="259"/>
                    </a:cubicBezTo>
                    <a:cubicBezTo>
                      <a:pt x="169" y="259"/>
                      <a:pt x="166" y="258"/>
                      <a:pt x="165" y="259"/>
                    </a:cubicBezTo>
                    <a:cubicBezTo>
                      <a:pt x="163" y="260"/>
                      <a:pt x="162" y="264"/>
                      <a:pt x="161" y="266"/>
                    </a:cubicBezTo>
                    <a:cubicBezTo>
                      <a:pt x="161" y="267"/>
                      <a:pt x="159" y="269"/>
                      <a:pt x="158" y="271"/>
                    </a:cubicBezTo>
                    <a:cubicBezTo>
                      <a:pt x="158" y="271"/>
                      <a:pt x="158" y="271"/>
                      <a:pt x="158" y="271"/>
                    </a:cubicBezTo>
                    <a:cubicBezTo>
                      <a:pt x="157" y="269"/>
                      <a:pt x="152" y="266"/>
                      <a:pt x="150" y="264"/>
                    </a:cubicBezTo>
                    <a:cubicBezTo>
                      <a:pt x="149" y="263"/>
                      <a:pt x="148" y="260"/>
                      <a:pt x="147" y="258"/>
                    </a:cubicBezTo>
                    <a:cubicBezTo>
                      <a:pt x="146" y="257"/>
                      <a:pt x="145" y="254"/>
                      <a:pt x="143" y="253"/>
                    </a:cubicBezTo>
                    <a:cubicBezTo>
                      <a:pt x="142" y="252"/>
                      <a:pt x="140" y="251"/>
                      <a:pt x="140" y="251"/>
                    </a:cubicBezTo>
                    <a:cubicBezTo>
                      <a:pt x="138" y="251"/>
                      <a:pt x="137" y="253"/>
                      <a:pt x="136" y="254"/>
                    </a:cubicBezTo>
                    <a:cubicBezTo>
                      <a:pt x="135" y="255"/>
                      <a:pt x="134" y="258"/>
                      <a:pt x="133" y="259"/>
                    </a:cubicBezTo>
                    <a:cubicBezTo>
                      <a:pt x="131" y="260"/>
                      <a:pt x="127" y="261"/>
                      <a:pt x="125" y="261"/>
                    </a:cubicBezTo>
                    <a:cubicBezTo>
                      <a:pt x="123" y="260"/>
                      <a:pt x="120" y="259"/>
                      <a:pt x="118" y="257"/>
                    </a:cubicBezTo>
                    <a:cubicBezTo>
                      <a:pt x="116" y="255"/>
                      <a:pt x="115" y="249"/>
                      <a:pt x="114" y="247"/>
                    </a:cubicBezTo>
                    <a:cubicBezTo>
                      <a:pt x="112" y="246"/>
                      <a:pt x="109" y="243"/>
                      <a:pt x="107" y="242"/>
                    </a:cubicBezTo>
                    <a:cubicBezTo>
                      <a:pt x="106" y="241"/>
                      <a:pt x="103" y="240"/>
                      <a:pt x="101" y="240"/>
                    </a:cubicBezTo>
                    <a:cubicBezTo>
                      <a:pt x="99" y="241"/>
                      <a:pt x="97" y="243"/>
                      <a:pt x="96" y="245"/>
                    </a:cubicBezTo>
                    <a:cubicBezTo>
                      <a:pt x="96" y="246"/>
                      <a:pt x="97" y="248"/>
                      <a:pt x="96" y="249"/>
                    </a:cubicBezTo>
                    <a:cubicBezTo>
                      <a:pt x="95" y="250"/>
                      <a:pt x="93" y="250"/>
                      <a:pt x="93" y="250"/>
                    </a:cubicBezTo>
                    <a:cubicBezTo>
                      <a:pt x="92" y="251"/>
                      <a:pt x="91" y="255"/>
                      <a:pt x="90" y="255"/>
                    </a:cubicBezTo>
                    <a:cubicBezTo>
                      <a:pt x="88" y="255"/>
                      <a:pt x="86" y="252"/>
                      <a:pt x="85" y="251"/>
                    </a:cubicBezTo>
                    <a:cubicBezTo>
                      <a:pt x="84" y="249"/>
                      <a:pt x="84" y="245"/>
                      <a:pt x="83" y="244"/>
                    </a:cubicBezTo>
                    <a:cubicBezTo>
                      <a:pt x="82" y="242"/>
                      <a:pt x="79" y="240"/>
                      <a:pt x="78" y="239"/>
                    </a:cubicBezTo>
                    <a:cubicBezTo>
                      <a:pt x="77" y="238"/>
                      <a:pt x="74" y="236"/>
                      <a:pt x="72" y="236"/>
                    </a:cubicBezTo>
                    <a:cubicBezTo>
                      <a:pt x="71" y="236"/>
                      <a:pt x="69" y="239"/>
                      <a:pt x="67" y="239"/>
                    </a:cubicBezTo>
                    <a:cubicBezTo>
                      <a:pt x="66" y="240"/>
                      <a:pt x="62" y="240"/>
                      <a:pt x="61" y="240"/>
                    </a:cubicBezTo>
                    <a:cubicBezTo>
                      <a:pt x="59" y="240"/>
                      <a:pt x="57" y="238"/>
                      <a:pt x="56" y="237"/>
                    </a:cubicBezTo>
                    <a:cubicBezTo>
                      <a:pt x="55" y="236"/>
                      <a:pt x="53" y="234"/>
                      <a:pt x="53" y="232"/>
                    </a:cubicBezTo>
                    <a:cubicBezTo>
                      <a:pt x="54" y="231"/>
                      <a:pt x="57" y="229"/>
                      <a:pt x="57" y="228"/>
                    </a:cubicBezTo>
                    <a:cubicBezTo>
                      <a:pt x="57" y="226"/>
                      <a:pt x="56" y="223"/>
                      <a:pt x="55" y="222"/>
                    </a:cubicBezTo>
                    <a:cubicBezTo>
                      <a:pt x="54" y="220"/>
                      <a:pt x="51" y="216"/>
                      <a:pt x="49" y="216"/>
                    </a:cubicBezTo>
                    <a:cubicBezTo>
                      <a:pt x="47" y="215"/>
                      <a:pt x="44" y="215"/>
                      <a:pt x="43" y="215"/>
                    </a:cubicBezTo>
                    <a:cubicBezTo>
                      <a:pt x="41" y="215"/>
                      <a:pt x="37" y="216"/>
                      <a:pt x="35" y="215"/>
                    </a:cubicBezTo>
                    <a:cubicBezTo>
                      <a:pt x="34" y="215"/>
                      <a:pt x="31" y="213"/>
                      <a:pt x="30" y="212"/>
                    </a:cubicBezTo>
                    <a:cubicBezTo>
                      <a:pt x="29" y="211"/>
                      <a:pt x="29" y="207"/>
                      <a:pt x="28" y="206"/>
                    </a:cubicBezTo>
                    <a:cubicBezTo>
                      <a:pt x="26" y="205"/>
                      <a:pt x="23" y="204"/>
                      <a:pt x="22" y="203"/>
                    </a:cubicBezTo>
                    <a:cubicBezTo>
                      <a:pt x="21" y="203"/>
                      <a:pt x="18" y="205"/>
                      <a:pt x="17" y="205"/>
                    </a:cubicBezTo>
                    <a:cubicBezTo>
                      <a:pt x="15" y="205"/>
                      <a:pt x="12" y="205"/>
                      <a:pt x="10" y="204"/>
                    </a:cubicBezTo>
                    <a:cubicBezTo>
                      <a:pt x="9" y="202"/>
                      <a:pt x="7" y="198"/>
                      <a:pt x="7" y="196"/>
                    </a:cubicBezTo>
                    <a:cubicBezTo>
                      <a:pt x="6" y="195"/>
                      <a:pt x="7" y="192"/>
                      <a:pt x="6" y="190"/>
                    </a:cubicBezTo>
                    <a:cubicBezTo>
                      <a:pt x="6" y="188"/>
                      <a:pt x="5" y="185"/>
                      <a:pt x="4" y="183"/>
                    </a:cubicBezTo>
                    <a:cubicBezTo>
                      <a:pt x="3" y="183"/>
                      <a:pt x="1" y="182"/>
                      <a:pt x="1" y="182"/>
                    </a:cubicBezTo>
                    <a:cubicBezTo>
                      <a:pt x="0" y="181"/>
                      <a:pt x="0" y="178"/>
                      <a:pt x="1" y="177"/>
                    </a:cubicBezTo>
                    <a:cubicBezTo>
                      <a:pt x="1" y="176"/>
                      <a:pt x="3" y="174"/>
                      <a:pt x="5" y="174"/>
                    </a:cubicBezTo>
                    <a:cubicBezTo>
                      <a:pt x="6" y="173"/>
                      <a:pt x="10" y="175"/>
                      <a:pt x="11" y="175"/>
                    </a:cubicBezTo>
                    <a:cubicBezTo>
                      <a:pt x="13" y="175"/>
                      <a:pt x="17" y="175"/>
                      <a:pt x="19" y="174"/>
                    </a:cubicBezTo>
                    <a:cubicBezTo>
                      <a:pt x="20" y="173"/>
                      <a:pt x="21" y="171"/>
                      <a:pt x="22" y="170"/>
                    </a:cubicBezTo>
                    <a:cubicBezTo>
                      <a:pt x="23" y="169"/>
                      <a:pt x="25" y="167"/>
                      <a:pt x="27" y="166"/>
                    </a:cubicBezTo>
                    <a:cubicBezTo>
                      <a:pt x="28" y="165"/>
                      <a:pt x="30" y="164"/>
                      <a:pt x="31" y="164"/>
                    </a:cubicBezTo>
                    <a:cubicBezTo>
                      <a:pt x="32" y="164"/>
                      <a:pt x="35" y="166"/>
                      <a:pt x="36" y="167"/>
                    </a:cubicBezTo>
                    <a:cubicBezTo>
                      <a:pt x="37" y="167"/>
                      <a:pt x="38" y="171"/>
                      <a:pt x="39" y="172"/>
                    </a:cubicBezTo>
                    <a:cubicBezTo>
                      <a:pt x="40" y="172"/>
                      <a:pt x="42" y="173"/>
                      <a:pt x="44" y="173"/>
                    </a:cubicBezTo>
                    <a:cubicBezTo>
                      <a:pt x="45" y="173"/>
                      <a:pt x="47" y="173"/>
                      <a:pt x="48" y="172"/>
                    </a:cubicBezTo>
                    <a:cubicBezTo>
                      <a:pt x="49" y="171"/>
                      <a:pt x="50" y="168"/>
                      <a:pt x="50" y="167"/>
                    </a:cubicBezTo>
                    <a:cubicBezTo>
                      <a:pt x="50" y="165"/>
                      <a:pt x="49" y="162"/>
                      <a:pt x="48" y="161"/>
                    </a:cubicBezTo>
                    <a:cubicBezTo>
                      <a:pt x="47" y="160"/>
                      <a:pt x="45" y="158"/>
                      <a:pt x="44" y="157"/>
                    </a:cubicBezTo>
                    <a:cubicBezTo>
                      <a:pt x="43" y="156"/>
                      <a:pt x="41" y="155"/>
                      <a:pt x="40" y="154"/>
                    </a:cubicBezTo>
                    <a:cubicBezTo>
                      <a:pt x="40" y="153"/>
                      <a:pt x="41" y="151"/>
                      <a:pt x="40" y="149"/>
                    </a:cubicBezTo>
                    <a:cubicBezTo>
                      <a:pt x="40" y="147"/>
                      <a:pt x="39" y="143"/>
                      <a:pt x="38" y="142"/>
                    </a:cubicBezTo>
                    <a:cubicBezTo>
                      <a:pt x="36" y="140"/>
                      <a:pt x="31" y="139"/>
                      <a:pt x="29" y="138"/>
                    </a:cubicBezTo>
                    <a:cubicBezTo>
                      <a:pt x="28" y="137"/>
                      <a:pt x="26" y="135"/>
                      <a:pt x="25" y="134"/>
                    </a:cubicBezTo>
                    <a:cubicBezTo>
                      <a:pt x="24" y="133"/>
                      <a:pt x="23" y="130"/>
                      <a:pt x="23" y="128"/>
                    </a:cubicBezTo>
                    <a:cubicBezTo>
                      <a:pt x="23" y="126"/>
                      <a:pt x="24" y="123"/>
                      <a:pt x="24" y="122"/>
                    </a:cubicBezTo>
                    <a:cubicBezTo>
                      <a:pt x="24" y="120"/>
                      <a:pt x="24" y="117"/>
                      <a:pt x="23" y="115"/>
                    </a:cubicBezTo>
                    <a:cubicBezTo>
                      <a:pt x="22" y="114"/>
                      <a:pt x="20" y="113"/>
                      <a:pt x="19" y="112"/>
                    </a:cubicBezTo>
                    <a:cubicBezTo>
                      <a:pt x="18" y="112"/>
                      <a:pt x="16" y="113"/>
                      <a:pt x="15" y="112"/>
                    </a:cubicBezTo>
                    <a:cubicBezTo>
                      <a:pt x="14" y="111"/>
                      <a:pt x="14" y="109"/>
                      <a:pt x="14" y="108"/>
                    </a:cubicBezTo>
                    <a:cubicBezTo>
                      <a:pt x="14" y="107"/>
                      <a:pt x="16" y="104"/>
                      <a:pt x="18" y="103"/>
                    </a:cubicBezTo>
                    <a:cubicBezTo>
                      <a:pt x="19" y="102"/>
                      <a:pt x="23" y="102"/>
                      <a:pt x="24" y="101"/>
                    </a:cubicBezTo>
                    <a:cubicBezTo>
                      <a:pt x="25" y="101"/>
                      <a:pt x="27" y="100"/>
                      <a:pt x="28" y="99"/>
                    </a:cubicBezTo>
                    <a:cubicBezTo>
                      <a:pt x="28" y="97"/>
                      <a:pt x="25" y="95"/>
                      <a:pt x="24" y="95"/>
                    </a:cubicBezTo>
                    <a:cubicBezTo>
                      <a:pt x="23" y="94"/>
                      <a:pt x="20" y="94"/>
                      <a:pt x="19" y="93"/>
                    </a:cubicBezTo>
                    <a:cubicBezTo>
                      <a:pt x="18" y="93"/>
                      <a:pt x="17" y="91"/>
                      <a:pt x="16" y="90"/>
                    </a:cubicBezTo>
                    <a:cubicBezTo>
                      <a:pt x="16" y="89"/>
                      <a:pt x="17" y="86"/>
                      <a:pt x="18" y="86"/>
                    </a:cubicBezTo>
                    <a:cubicBezTo>
                      <a:pt x="19" y="84"/>
                      <a:pt x="24" y="83"/>
                      <a:pt x="26" y="83"/>
                    </a:cubicBezTo>
                    <a:cubicBezTo>
                      <a:pt x="29" y="82"/>
                      <a:pt x="33" y="80"/>
                      <a:pt x="36" y="79"/>
                    </a:cubicBezTo>
                    <a:cubicBezTo>
                      <a:pt x="37" y="79"/>
                      <a:pt x="39" y="80"/>
                      <a:pt x="40" y="80"/>
                    </a:cubicBezTo>
                    <a:cubicBezTo>
                      <a:pt x="43" y="79"/>
                      <a:pt x="47" y="78"/>
                      <a:pt x="48" y="77"/>
                    </a:cubicBezTo>
                    <a:cubicBezTo>
                      <a:pt x="49" y="76"/>
                      <a:pt x="49" y="73"/>
                      <a:pt x="50" y="73"/>
                    </a:cubicBezTo>
                    <a:cubicBezTo>
                      <a:pt x="50" y="72"/>
                      <a:pt x="52" y="71"/>
                      <a:pt x="53" y="70"/>
                    </a:cubicBezTo>
                    <a:cubicBezTo>
                      <a:pt x="53" y="69"/>
                      <a:pt x="53" y="66"/>
                      <a:pt x="53" y="65"/>
                    </a:cubicBezTo>
                    <a:cubicBezTo>
                      <a:pt x="52" y="64"/>
                      <a:pt x="50" y="62"/>
                      <a:pt x="50" y="60"/>
                    </a:cubicBezTo>
                    <a:cubicBezTo>
                      <a:pt x="50" y="59"/>
                      <a:pt x="50" y="57"/>
                      <a:pt x="50" y="56"/>
                    </a:cubicBezTo>
                    <a:cubicBezTo>
                      <a:pt x="49" y="56"/>
                      <a:pt x="49" y="56"/>
                      <a:pt x="49" y="56"/>
                    </a:cubicBezTo>
                    <a:cubicBezTo>
                      <a:pt x="50" y="55"/>
                      <a:pt x="53" y="55"/>
                      <a:pt x="53" y="54"/>
                    </a:cubicBezTo>
                    <a:cubicBezTo>
                      <a:pt x="54" y="53"/>
                      <a:pt x="55" y="51"/>
                      <a:pt x="56" y="50"/>
                    </a:cubicBezTo>
                    <a:cubicBezTo>
                      <a:pt x="57" y="49"/>
                      <a:pt x="60" y="48"/>
                      <a:pt x="61" y="47"/>
                    </a:cubicBezTo>
                    <a:cubicBezTo>
                      <a:pt x="62" y="47"/>
                      <a:pt x="65" y="45"/>
                      <a:pt x="66" y="44"/>
                    </a:cubicBezTo>
                    <a:cubicBezTo>
                      <a:pt x="67" y="43"/>
                      <a:pt x="68" y="40"/>
                      <a:pt x="68" y="38"/>
                    </a:cubicBezTo>
                    <a:cubicBezTo>
                      <a:pt x="68" y="37"/>
                      <a:pt x="68" y="34"/>
                      <a:pt x="68" y="33"/>
                    </a:cubicBezTo>
                    <a:cubicBezTo>
                      <a:pt x="68" y="32"/>
                      <a:pt x="69" y="31"/>
                      <a:pt x="70" y="31"/>
                    </a:cubicBezTo>
                    <a:cubicBezTo>
                      <a:pt x="70" y="29"/>
                      <a:pt x="71" y="27"/>
                      <a:pt x="72" y="26"/>
                    </a:cubicBezTo>
                    <a:cubicBezTo>
                      <a:pt x="73" y="25"/>
                      <a:pt x="75" y="24"/>
                      <a:pt x="76" y="24"/>
                    </a:cubicBezTo>
                    <a:cubicBezTo>
                      <a:pt x="78" y="24"/>
                      <a:pt x="81" y="25"/>
                      <a:pt x="82" y="25"/>
                    </a:cubicBezTo>
                    <a:cubicBezTo>
                      <a:pt x="83" y="26"/>
                      <a:pt x="85" y="27"/>
                      <a:pt x="86" y="28"/>
                    </a:cubicBezTo>
                    <a:cubicBezTo>
                      <a:pt x="87" y="28"/>
                      <a:pt x="90" y="28"/>
                      <a:pt x="91" y="28"/>
                    </a:cubicBezTo>
                    <a:cubicBezTo>
                      <a:pt x="92" y="28"/>
                      <a:pt x="95" y="28"/>
                      <a:pt x="96" y="27"/>
                    </a:cubicBezTo>
                    <a:cubicBezTo>
                      <a:pt x="96" y="26"/>
                      <a:pt x="97" y="25"/>
                      <a:pt x="98" y="24"/>
                    </a:cubicBezTo>
                    <a:cubicBezTo>
                      <a:pt x="98" y="23"/>
                      <a:pt x="98" y="20"/>
                      <a:pt x="98" y="19"/>
                    </a:cubicBezTo>
                    <a:cubicBezTo>
                      <a:pt x="98" y="18"/>
                      <a:pt x="100" y="17"/>
                      <a:pt x="100" y="16"/>
                    </a:cubicBezTo>
                    <a:cubicBezTo>
                      <a:pt x="101" y="15"/>
                      <a:pt x="100" y="12"/>
                      <a:pt x="101" y="10"/>
                    </a:cubicBezTo>
                    <a:cubicBezTo>
                      <a:pt x="102" y="9"/>
                      <a:pt x="104" y="8"/>
                      <a:pt x="105" y="8"/>
                    </a:cubicBezTo>
                    <a:cubicBezTo>
                      <a:pt x="106" y="8"/>
                      <a:pt x="109" y="8"/>
                      <a:pt x="110" y="8"/>
                    </a:cubicBezTo>
                    <a:cubicBezTo>
                      <a:pt x="111" y="7"/>
                      <a:pt x="112" y="7"/>
                      <a:pt x="113" y="6"/>
                    </a:cubicBezTo>
                    <a:cubicBezTo>
                      <a:pt x="114" y="5"/>
                      <a:pt x="116" y="3"/>
                      <a:pt x="117" y="3"/>
                    </a:cubicBezTo>
                    <a:cubicBezTo>
                      <a:pt x="118" y="2"/>
                      <a:pt x="121" y="3"/>
                      <a:pt x="123" y="2"/>
                    </a:cubicBezTo>
                    <a:cubicBezTo>
                      <a:pt x="124" y="2"/>
                      <a:pt x="127" y="3"/>
                      <a:pt x="128" y="2"/>
                    </a:cubicBezTo>
                    <a:cubicBezTo>
                      <a:pt x="129" y="2"/>
                      <a:pt x="130" y="1"/>
                      <a:pt x="132" y="0"/>
                    </a:cubicBezTo>
                    <a:cubicBezTo>
                      <a:pt x="132" y="2"/>
                      <a:pt x="132" y="3"/>
                      <a:pt x="133" y="4"/>
                    </a:cubicBezTo>
                    <a:cubicBezTo>
                      <a:pt x="133" y="7"/>
                      <a:pt x="135" y="13"/>
                      <a:pt x="136" y="16"/>
                    </a:cubicBezTo>
                    <a:cubicBezTo>
                      <a:pt x="137" y="20"/>
                      <a:pt x="141" y="28"/>
                      <a:pt x="143" y="32"/>
                    </a:cubicBezTo>
                    <a:cubicBezTo>
                      <a:pt x="145" y="35"/>
                      <a:pt x="149" y="40"/>
                      <a:pt x="150" y="43"/>
                    </a:cubicBezTo>
                    <a:cubicBezTo>
                      <a:pt x="152" y="46"/>
                      <a:pt x="154" y="52"/>
                      <a:pt x="155" y="54"/>
                    </a:cubicBezTo>
                    <a:cubicBezTo>
                      <a:pt x="157" y="57"/>
                      <a:pt x="161" y="60"/>
                      <a:pt x="162" y="62"/>
                    </a:cubicBezTo>
                    <a:cubicBezTo>
                      <a:pt x="164" y="64"/>
                      <a:pt x="167" y="69"/>
                      <a:pt x="168" y="70"/>
                    </a:cubicBezTo>
                    <a:cubicBezTo>
                      <a:pt x="171" y="74"/>
                      <a:pt x="177" y="82"/>
                      <a:pt x="180" y="85"/>
                    </a:cubicBezTo>
                    <a:cubicBezTo>
                      <a:pt x="184" y="89"/>
                      <a:pt x="192" y="93"/>
                      <a:pt x="196" y="96"/>
                    </a:cubicBezTo>
                    <a:cubicBezTo>
                      <a:pt x="198" y="97"/>
                      <a:pt x="201" y="99"/>
                      <a:pt x="203" y="100"/>
                    </a:cubicBezTo>
                    <a:cubicBezTo>
                      <a:pt x="205" y="101"/>
                      <a:pt x="209" y="103"/>
                      <a:pt x="211" y="105"/>
                    </a:cubicBezTo>
                    <a:cubicBezTo>
                      <a:pt x="212" y="106"/>
                      <a:pt x="213" y="110"/>
                      <a:pt x="214" y="111"/>
                    </a:cubicBezTo>
                    <a:cubicBezTo>
                      <a:pt x="216" y="113"/>
                      <a:pt x="219" y="116"/>
                      <a:pt x="221" y="118"/>
                    </a:cubicBezTo>
                    <a:cubicBezTo>
                      <a:pt x="223" y="119"/>
                      <a:pt x="226" y="121"/>
                      <a:pt x="228" y="122"/>
                    </a:cubicBezTo>
                    <a:cubicBezTo>
                      <a:pt x="230" y="124"/>
                      <a:pt x="232" y="129"/>
                      <a:pt x="234" y="131"/>
                    </a:cubicBezTo>
                    <a:cubicBezTo>
                      <a:pt x="236" y="132"/>
                      <a:pt x="240" y="132"/>
                      <a:pt x="241" y="133"/>
                    </a:cubicBezTo>
                    <a:cubicBezTo>
                      <a:pt x="244" y="134"/>
                      <a:pt x="248" y="137"/>
                      <a:pt x="251" y="138"/>
                    </a:cubicBezTo>
                    <a:cubicBezTo>
                      <a:pt x="252" y="139"/>
                      <a:pt x="255" y="139"/>
                      <a:pt x="257" y="140"/>
                    </a:cubicBezTo>
                    <a:cubicBezTo>
                      <a:pt x="258" y="140"/>
                      <a:pt x="262" y="142"/>
                      <a:pt x="264" y="142"/>
                    </a:cubicBezTo>
                    <a:cubicBezTo>
                      <a:pt x="264" y="143"/>
                      <a:pt x="266" y="142"/>
                      <a:pt x="267" y="142"/>
                    </a:cubicBezTo>
                    <a:cubicBezTo>
                      <a:pt x="268" y="143"/>
                      <a:pt x="269" y="145"/>
                      <a:pt x="269" y="147"/>
                    </a:cubicBezTo>
                    <a:cubicBezTo>
                      <a:pt x="269" y="148"/>
                      <a:pt x="268" y="151"/>
                      <a:pt x="268" y="153"/>
                    </a:cubicBezTo>
                    <a:cubicBezTo>
                      <a:pt x="267" y="155"/>
                      <a:pt x="267" y="160"/>
                      <a:pt x="268" y="162"/>
                    </a:cubicBezTo>
                    <a:cubicBezTo>
                      <a:pt x="269" y="164"/>
                      <a:pt x="272" y="166"/>
                      <a:pt x="273" y="167"/>
                    </a:cubicBezTo>
                    <a:cubicBezTo>
                      <a:pt x="275" y="168"/>
                      <a:pt x="279" y="169"/>
                      <a:pt x="281" y="170"/>
                    </a:cubicBezTo>
                    <a:cubicBezTo>
                      <a:pt x="281" y="170"/>
                      <a:pt x="282" y="171"/>
                      <a:pt x="282" y="172"/>
                    </a:cubicBezTo>
                    <a:close/>
                  </a:path>
                </a:pathLst>
              </a:custGeom>
              <a:noFill/>
              <a:ln w="95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35" name="Rectangle 134">
            <a:extLst>
              <a:ext uri="{FF2B5EF4-FFF2-40B4-BE49-F238E27FC236}">
                <a16:creationId xmlns:a16="http://schemas.microsoft.com/office/drawing/2014/main" id="{DE922481-F2E3-2C3A-F362-FA965EDBC84C}"/>
              </a:ext>
            </a:extLst>
          </p:cNvPr>
          <p:cNvSpPr/>
          <p:nvPr/>
        </p:nvSpPr>
        <p:spPr bwMode="gray">
          <a:xfrm>
            <a:off x="8629649" y="2240662"/>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6" name="Rectangle 135">
            <a:extLst>
              <a:ext uri="{FF2B5EF4-FFF2-40B4-BE49-F238E27FC236}">
                <a16:creationId xmlns:a16="http://schemas.microsoft.com/office/drawing/2014/main" id="{F24C18BD-6CBA-0643-59AB-C38F8861CCA8}"/>
              </a:ext>
            </a:extLst>
          </p:cNvPr>
          <p:cNvSpPr/>
          <p:nvPr/>
        </p:nvSpPr>
        <p:spPr bwMode="gray">
          <a:xfrm>
            <a:off x="8804275" y="2234312"/>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137" name="Rectangle 136">
            <a:extLst>
              <a:ext uri="{FF2B5EF4-FFF2-40B4-BE49-F238E27FC236}">
                <a16:creationId xmlns:a16="http://schemas.microsoft.com/office/drawing/2014/main" id="{2585124B-C73F-114C-C0B1-B08B51933B5F}"/>
              </a:ext>
            </a:extLst>
          </p:cNvPr>
          <p:cNvSpPr/>
          <p:nvPr/>
        </p:nvSpPr>
        <p:spPr bwMode="gray">
          <a:xfrm>
            <a:off x="8629649" y="2366074"/>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8" name="Rectangle 137">
            <a:extLst>
              <a:ext uri="{FF2B5EF4-FFF2-40B4-BE49-F238E27FC236}">
                <a16:creationId xmlns:a16="http://schemas.microsoft.com/office/drawing/2014/main" id="{97915308-0BDF-51A3-C409-46C27D84C371}"/>
              </a:ext>
            </a:extLst>
          </p:cNvPr>
          <p:cNvSpPr/>
          <p:nvPr/>
        </p:nvSpPr>
        <p:spPr bwMode="gray">
          <a:xfrm>
            <a:off x="8804275" y="2361312"/>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k m</a:t>
            </a:r>
          </a:p>
        </p:txBody>
      </p:sp>
      <p:sp>
        <p:nvSpPr>
          <p:cNvPr id="139" name="Rectangle 138">
            <a:extLst>
              <a:ext uri="{FF2B5EF4-FFF2-40B4-BE49-F238E27FC236}">
                <a16:creationId xmlns:a16="http://schemas.microsoft.com/office/drawing/2014/main" id="{02BCB027-13B8-3B1B-D85A-46F4A6AAC1E2}"/>
              </a:ext>
            </a:extLst>
          </p:cNvPr>
          <p:cNvSpPr/>
          <p:nvPr/>
        </p:nvSpPr>
        <p:spPr bwMode="gray">
          <a:xfrm>
            <a:off x="8629649" y="2491487"/>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0" name="Rectangle 139">
            <a:extLst>
              <a:ext uri="{FF2B5EF4-FFF2-40B4-BE49-F238E27FC236}">
                <a16:creationId xmlns:a16="http://schemas.microsoft.com/office/drawing/2014/main" id="{E29188B3-0479-19FF-DBC5-DE88BFAB2C26}"/>
              </a:ext>
            </a:extLst>
          </p:cNvPr>
          <p:cNvSpPr/>
          <p:nvPr/>
        </p:nvSpPr>
        <p:spPr bwMode="gray">
          <a:xfrm>
            <a:off x="8804275" y="2486724"/>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141" name="Rectangle 140">
            <a:extLst>
              <a:ext uri="{FF2B5EF4-FFF2-40B4-BE49-F238E27FC236}">
                <a16:creationId xmlns:a16="http://schemas.microsoft.com/office/drawing/2014/main" id="{557B8BE8-07D7-37FB-6584-E3A2B5053813}"/>
              </a:ext>
            </a:extLst>
          </p:cNvPr>
          <p:cNvSpPr/>
          <p:nvPr/>
        </p:nvSpPr>
        <p:spPr bwMode="gray">
          <a:xfrm>
            <a:off x="8629649" y="2623249"/>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2" name="Rectangle 141">
            <a:extLst>
              <a:ext uri="{FF2B5EF4-FFF2-40B4-BE49-F238E27FC236}">
                <a16:creationId xmlns:a16="http://schemas.microsoft.com/office/drawing/2014/main" id="{14631093-9131-DF98-2B74-4BE0B25A9C58}"/>
              </a:ext>
            </a:extLst>
          </p:cNvPr>
          <p:cNvSpPr/>
          <p:nvPr/>
        </p:nvSpPr>
        <p:spPr bwMode="gray">
          <a:xfrm>
            <a:off x="8804275" y="2616899"/>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143" name="Rectangle 142">
            <a:extLst>
              <a:ext uri="{FF2B5EF4-FFF2-40B4-BE49-F238E27FC236}">
                <a16:creationId xmlns:a16="http://schemas.microsoft.com/office/drawing/2014/main" id="{B2065445-4097-0036-7583-CD04B0FAC5FF}"/>
              </a:ext>
            </a:extLst>
          </p:cNvPr>
          <p:cNvSpPr/>
          <p:nvPr/>
        </p:nvSpPr>
        <p:spPr bwMode="gray">
          <a:xfrm>
            <a:off x="8612187" y="2712149"/>
            <a:ext cx="720725" cy="250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700" i="1" dirty="0">
                <a:solidFill>
                  <a:schemeClr val="tx1"/>
                </a:solidFill>
              </a:rPr>
              <a:t>Estimate</a:t>
            </a:r>
          </a:p>
        </p:txBody>
      </p:sp>
      <p:sp>
        <p:nvSpPr>
          <p:cNvPr id="144" name="Oval 143">
            <a:extLst>
              <a:ext uri="{FF2B5EF4-FFF2-40B4-BE49-F238E27FC236}">
                <a16:creationId xmlns:a16="http://schemas.microsoft.com/office/drawing/2014/main" id="{F1BB0610-261A-7792-219B-153AC720AA26}"/>
              </a:ext>
            </a:extLst>
          </p:cNvPr>
          <p:cNvSpPr/>
          <p:nvPr/>
        </p:nvSpPr>
        <p:spPr bwMode="gray">
          <a:xfrm flipV="1">
            <a:off x="9556750" y="2245424"/>
            <a:ext cx="85725" cy="84138"/>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5" name="Rectangle 144">
            <a:extLst>
              <a:ext uri="{FF2B5EF4-FFF2-40B4-BE49-F238E27FC236}">
                <a16:creationId xmlns:a16="http://schemas.microsoft.com/office/drawing/2014/main" id="{C52C0AB8-4742-DF85-E1FD-B0DBCE019D10}"/>
              </a:ext>
            </a:extLst>
          </p:cNvPr>
          <p:cNvSpPr/>
          <p:nvPr/>
        </p:nvSpPr>
        <p:spPr bwMode="gray">
          <a:xfrm>
            <a:off x="9661525" y="2248599"/>
            <a:ext cx="1128713" cy="650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Existing Hydrothermal</a:t>
            </a:r>
          </a:p>
        </p:txBody>
      </p:sp>
      <p:sp>
        <p:nvSpPr>
          <p:cNvPr id="146" name="Oval 145">
            <a:extLst>
              <a:ext uri="{FF2B5EF4-FFF2-40B4-BE49-F238E27FC236}">
                <a16:creationId xmlns:a16="http://schemas.microsoft.com/office/drawing/2014/main" id="{870F780B-10A2-3484-A3EC-974C93D2F0EC}"/>
              </a:ext>
            </a:extLst>
          </p:cNvPr>
          <p:cNvSpPr/>
          <p:nvPr/>
        </p:nvSpPr>
        <p:spPr bwMode="gray">
          <a:xfrm>
            <a:off x="9556750" y="2427987"/>
            <a:ext cx="85725" cy="84138"/>
          </a:xfrm>
          <a:prstGeom prst="ellipse">
            <a:avLst/>
          </a:prstGeom>
          <a:solidFill>
            <a:schemeClr val="accent6"/>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7" name="Rectangle 146">
            <a:extLst>
              <a:ext uri="{FF2B5EF4-FFF2-40B4-BE49-F238E27FC236}">
                <a16:creationId xmlns:a16="http://schemas.microsoft.com/office/drawing/2014/main" id="{5B4133EF-E0FF-DF0B-CE70-D3018F34A34C}"/>
              </a:ext>
            </a:extLst>
          </p:cNvPr>
          <p:cNvSpPr/>
          <p:nvPr/>
        </p:nvSpPr>
        <p:spPr bwMode="gray">
          <a:xfrm>
            <a:off x="9661525" y="2427987"/>
            <a:ext cx="1128713" cy="635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Superhot Rock</a:t>
            </a:r>
          </a:p>
        </p:txBody>
      </p:sp>
      <p:sp>
        <p:nvSpPr>
          <p:cNvPr id="148" name="Oval 147">
            <a:extLst>
              <a:ext uri="{FF2B5EF4-FFF2-40B4-BE49-F238E27FC236}">
                <a16:creationId xmlns:a16="http://schemas.microsoft.com/office/drawing/2014/main" id="{A5640469-C6DA-F846-6E3B-8440FAF945C4}"/>
              </a:ext>
            </a:extLst>
          </p:cNvPr>
          <p:cNvSpPr/>
          <p:nvPr/>
        </p:nvSpPr>
        <p:spPr bwMode="gray">
          <a:xfrm flipH="1" flipV="1">
            <a:off x="7054216" y="3878263"/>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9" name="Oval 148">
            <a:extLst>
              <a:ext uri="{FF2B5EF4-FFF2-40B4-BE49-F238E27FC236}">
                <a16:creationId xmlns:a16="http://schemas.microsoft.com/office/drawing/2014/main" id="{7B71C10D-D647-DB38-087C-16170C4298A6}"/>
              </a:ext>
            </a:extLst>
          </p:cNvPr>
          <p:cNvSpPr/>
          <p:nvPr/>
        </p:nvSpPr>
        <p:spPr bwMode="gray">
          <a:xfrm>
            <a:off x="6911778" y="3633788"/>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0" name="Oval 149">
            <a:extLst>
              <a:ext uri="{FF2B5EF4-FFF2-40B4-BE49-F238E27FC236}">
                <a16:creationId xmlns:a16="http://schemas.microsoft.com/office/drawing/2014/main" id="{7FD3371C-E5F9-F125-A224-008ED392D5BF}"/>
              </a:ext>
            </a:extLst>
          </p:cNvPr>
          <p:cNvSpPr/>
          <p:nvPr/>
        </p:nvSpPr>
        <p:spPr bwMode="gray">
          <a:xfrm>
            <a:off x="7043737" y="3844925"/>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1" name="Oval 150">
            <a:extLst>
              <a:ext uri="{FF2B5EF4-FFF2-40B4-BE49-F238E27FC236}">
                <a16:creationId xmlns:a16="http://schemas.microsoft.com/office/drawing/2014/main" id="{42C8B775-FA5C-4868-7E91-1FD9D20A958B}"/>
              </a:ext>
            </a:extLst>
          </p:cNvPr>
          <p:cNvSpPr/>
          <p:nvPr/>
        </p:nvSpPr>
        <p:spPr bwMode="gray">
          <a:xfrm flipH="1">
            <a:off x="7061806" y="3892550"/>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2" name="Oval 151">
            <a:extLst>
              <a:ext uri="{FF2B5EF4-FFF2-40B4-BE49-F238E27FC236}">
                <a16:creationId xmlns:a16="http://schemas.microsoft.com/office/drawing/2014/main" id="{CB6E5AC0-991D-BF49-E84E-CB1AB56C8880}"/>
              </a:ext>
            </a:extLst>
          </p:cNvPr>
          <p:cNvSpPr/>
          <p:nvPr/>
        </p:nvSpPr>
        <p:spPr bwMode="gray">
          <a:xfrm flipH="1" flipV="1">
            <a:off x="6934637" y="3621088"/>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3" name="Oval 152">
            <a:extLst>
              <a:ext uri="{FF2B5EF4-FFF2-40B4-BE49-F238E27FC236}">
                <a16:creationId xmlns:a16="http://schemas.microsoft.com/office/drawing/2014/main" id="{D62E201C-0002-0CD9-5FA1-877760CDCD52}"/>
              </a:ext>
            </a:extLst>
          </p:cNvPr>
          <p:cNvSpPr/>
          <p:nvPr/>
        </p:nvSpPr>
        <p:spPr bwMode="gray">
          <a:xfrm flipH="1" flipV="1">
            <a:off x="6931344" y="3667125"/>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4" name="Oval 153">
            <a:extLst>
              <a:ext uri="{FF2B5EF4-FFF2-40B4-BE49-F238E27FC236}">
                <a16:creationId xmlns:a16="http://schemas.microsoft.com/office/drawing/2014/main" id="{38124740-3390-7466-5511-F807947FEC32}"/>
              </a:ext>
            </a:extLst>
          </p:cNvPr>
          <p:cNvSpPr/>
          <p:nvPr/>
        </p:nvSpPr>
        <p:spPr bwMode="gray">
          <a:xfrm flipH="1" flipV="1">
            <a:off x="6954203" y="3651250"/>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5" name="Oval 154">
            <a:extLst>
              <a:ext uri="{FF2B5EF4-FFF2-40B4-BE49-F238E27FC236}">
                <a16:creationId xmlns:a16="http://schemas.microsoft.com/office/drawing/2014/main" id="{34DC330B-EB27-18BD-7CA3-FD58D5C93B2C}"/>
              </a:ext>
            </a:extLst>
          </p:cNvPr>
          <p:cNvSpPr/>
          <p:nvPr/>
        </p:nvSpPr>
        <p:spPr bwMode="gray">
          <a:xfrm flipH="1" flipV="1">
            <a:off x="6911778" y="3698875"/>
            <a:ext cx="45719" cy="4572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5139069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FB847E1-D90E-DF44-A774-A6E46FA010A6}"/>
              </a:ext>
            </a:extLst>
          </p:cNvPr>
          <p:cNvGraphicFramePr>
            <a:graphicFrameLocks/>
          </p:cNvGraphicFramePr>
          <p:nvPr>
            <p:custDataLst>
              <p:tags r:id="rId1"/>
            </p:custDataLst>
            <p:extLst>
              <p:ext uri="{D42A27DB-BD31-4B8C-83A1-F6EECF244321}">
                <p14:modId xmlns:p14="http://schemas.microsoft.com/office/powerpoint/2010/main" val="567971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93A8DF9-C875-1A2E-610A-532F8EC73E8F}"/>
              </a:ext>
            </a:extLst>
          </p:cNvPr>
          <p:cNvSpPr>
            <a:spLocks noGrp="1"/>
          </p:cNvSpPr>
          <p:nvPr>
            <p:ph type="title"/>
          </p:nvPr>
        </p:nvSpPr>
        <p:spPr>
          <a:xfrm>
            <a:off x="334963" y="513568"/>
            <a:ext cx="11695112" cy="754846"/>
          </a:xfrm>
        </p:spPr>
        <p:txBody>
          <a:bodyPr vert="horz" rIns="91440"/>
          <a:lstStyle/>
          <a:p>
            <a:r>
              <a:rPr lang="en-US" dirty="0"/>
              <a:t>World’s No. 2 geothermal market, Indonesia is using policy reforms, private-sector investment to unlock hydrothermal capacity</a:t>
            </a:r>
          </a:p>
        </p:txBody>
      </p:sp>
      <p:sp>
        <p:nvSpPr>
          <p:cNvPr id="6" name="Footer Placeholder 5">
            <a:extLst>
              <a:ext uri="{FF2B5EF4-FFF2-40B4-BE49-F238E27FC236}">
                <a16:creationId xmlns:a16="http://schemas.microsoft.com/office/drawing/2014/main" id="{2087DE35-0805-C1BB-E621-31684E07556D}"/>
              </a:ext>
            </a:extLst>
          </p:cNvPr>
          <p:cNvSpPr>
            <a:spLocks noGrp="1"/>
          </p:cNvSpPr>
          <p:nvPr>
            <p:ph type="ftr" sz="quarter" idx="3"/>
          </p:nvPr>
        </p:nvSpPr>
        <p:spPr>
          <a:xfrm>
            <a:off x="334962" y="6279117"/>
            <a:ext cx="9147241" cy="216706"/>
          </a:xfrm>
        </p:spPr>
        <p:txBody>
          <a:bodyPr/>
          <a:lstStyle/>
          <a:p>
            <a:pPr>
              <a:defRPr/>
            </a:pPr>
            <a:r>
              <a:rPr lang="en-US" dirty="0">
                <a:solidFill>
                  <a:srgbClr val="000000"/>
                </a:solidFill>
              </a:rPr>
              <a:t>Sources: </a:t>
            </a:r>
            <a:r>
              <a:rPr lang="en-US" dirty="0">
                <a:solidFill>
                  <a:srgbClr val="000000"/>
                </a:solidFill>
                <a:hlinkClick r:id="rId12"/>
              </a:rPr>
              <a:t>The Future of Geothermal Energy</a:t>
            </a:r>
            <a:r>
              <a:rPr lang="en-US" dirty="0">
                <a:solidFill>
                  <a:srgbClr val="000000"/>
                </a:solidFill>
              </a:rPr>
              <a:t> (IEA, 2024); </a:t>
            </a:r>
            <a:r>
              <a:rPr lang="en-US" dirty="0">
                <a:solidFill>
                  <a:srgbClr val="46647B"/>
                </a:solidFill>
                <a:hlinkClick r:id="rId13">
                  <a:extLst>
                    <a:ext uri="{A12FA001-AC4F-418D-AE19-62706E023703}">
                      <ahyp:hlinkClr xmlns:ahyp="http://schemas.microsoft.com/office/drawing/2018/hyperlinkcolor" val="tx"/>
                    </a:ext>
                  </a:extLst>
                </a:hlinkClick>
              </a:rPr>
              <a:t>Harnessing Geothermal Energy to Power Indonesia’s Renewable Future</a:t>
            </a:r>
            <a:r>
              <a:rPr lang="en-US" dirty="0">
                <a:solidFill>
                  <a:srgbClr val="000000"/>
                </a:solidFill>
              </a:rPr>
              <a:t> </a:t>
            </a:r>
            <a:r>
              <a:rPr lang="en-US" dirty="0">
                <a:solidFill>
                  <a:schemeClr val="tx1"/>
                </a:solidFill>
              </a:rPr>
              <a:t>(ABB News, 2025); </a:t>
            </a:r>
            <a:r>
              <a:rPr lang="en-US" dirty="0">
                <a:solidFill>
                  <a:srgbClr val="46647B"/>
                </a:solidFill>
                <a:hlinkClick r:id="rId14">
                  <a:extLst>
                    <a:ext uri="{A12FA001-AC4F-418D-AE19-62706E023703}">
                      <ahyp:hlinkClr xmlns:ahyp="http://schemas.microsoft.com/office/drawing/2018/hyperlinkcolor" val="tx"/>
                    </a:ext>
                  </a:extLst>
                </a:hlinkClick>
              </a:rPr>
              <a:t>Indonesia Issues New Regulation to Entice Investments</a:t>
            </a:r>
            <a:r>
              <a:rPr lang="en-US" dirty="0">
                <a:solidFill>
                  <a:srgbClr val="000000"/>
                </a:solidFill>
              </a:rPr>
              <a:t> </a:t>
            </a:r>
            <a:r>
              <a:rPr lang="en-US" dirty="0">
                <a:solidFill>
                  <a:schemeClr val="tx1"/>
                </a:solidFill>
              </a:rPr>
              <a:t>(</a:t>
            </a:r>
            <a:r>
              <a:rPr lang="en-US" dirty="0" err="1">
                <a:solidFill>
                  <a:schemeClr val="tx1"/>
                </a:solidFill>
              </a:rPr>
              <a:t>ThinkGeoEnergy</a:t>
            </a:r>
            <a:r>
              <a:rPr lang="en-US" dirty="0">
                <a:solidFill>
                  <a:schemeClr val="tx1"/>
                </a:solidFill>
              </a:rPr>
              <a:t>, 2022); </a:t>
            </a:r>
            <a:r>
              <a:rPr lang="en-US" dirty="0">
                <a:solidFill>
                  <a:srgbClr val="46647B"/>
                </a:solidFill>
                <a:hlinkClick r:id="rId15">
                  <a:extLst>
                    <a:ext uri="{A12FA001-AC4F-418D-AE19-62706E023703}">
                      <ahyp:hlinkClr xmlns:ahyp="http://schemas.microsoft.com/office/drawing/2018/hyperlinkcolor" val="tx"/>
                    </a:ext>
                  </a:extLst>
                </a:hlinkClick>
              </a:rPr>
              <a:t>Geothermal Energy Outlook in Indonesia </a:t>
            </a:r>
            <a:r>
              <a:rPr lang="en-US" dirty="0">
                <a:solidFill>
                  <a:schemeClr val="tx1"/>
                </a:solidFill>
              </a:rPr>
              <a:t>(Stanford, 2023); </a:t>
            </a:r>
            <a:r>
              <a:rPr lang="en-US" dirty="0">
                <a:solidFill>
                  <a:srgbClr val="45647B"/>
                </a:solidFill>
                <a:hlinkClick r:id="rId16">
                  <a:extLst>
                    <a:ext uri="{A12FA001-AC4F-418D-AE19-62706E023703}">
                      <ahyp:hlinkClr xmlns:ahyp="http://schemas.microsoft.com/office/drawing/2018/hyperlinkcolor" val="tx"/>
                    </a:ext>
                  </a:extLst>
                </a:hlinkClick>
              </a:rPr>
              <a:t>Indonesia’s Untapped Geothermal Potential </a:t>
            </a:r>
            <a:r>
              <a:rPr lang="en-US" dirty="0">
                <a:solidFill>
                  <a:schemeClr val="tx1"/>
                </a:solidFill>
              </a:rPr>
              <a:t>(Energy Tracker Asia, 2024).</a:t>
            </a:r>
          </a:p>
          <a:p>
            <a:pPr>
              <a:defRPr/>
            </a:pPr>
            <a:r>
              <a:rPr lang="en-US" dirty="0">
                <a:solidFill>
                  <a:srgbClr val="000000"/>
                </a:solidFill>
              </a:rPr>
              <a:t>Credit: Shubhangi Prasad, and </a:t>
            </a:r>
            <a:r>
              <a:rPr lang="en-US" dirty="0">
                <a:hlinkClick r:id="rId17"/>
              </a:rPr>
              <a:t>Gernot Wagner.</a:t>
            </a:r>
            <a:r>
              <a:rPr lang="en-US" dirty="0">
                <a:solidFill>
                  <a:srgbClr val="000000"/>
                </a:solidFill>
              </a:rPr>
              <a:t> </a:t>
            </a:r>
            <a:r>
              <a:rPr lang="en-US" dirty="0">
                <a:hlinkClick r:id="rId1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844F8064-A7DB-B907-FF85-61A9769D0F95}"/>
              </a:ext>
            </a:extLst>
          </p:cNvPr>
          <p:cNvSpPr>
            <a:spLocks noGrp="1"/>
          </p:cNvSpPr>
          <p:nvPr>
            <p:ph type="body" sz="quarter" idx="13"/>
          </p:nvPr>
        </p:nvSpPr>
        <p:spPr/>
        <p:txBody>
          <a:bodyPr/>
          <a:lstStyle/>
          <a:p>
            <a:r>
              <a:rPr lang="en-US" sz="1200" dirty="0"/>
              <a:t>Indonesia has integrated geothermal energy in its industrial policy and long-term decarbonization goals</a:t>
            </a:r>
          </a:p>
        </p:txBody>
      </p:sp>
      <p:sp>
        <p:nvSpPr>
          <p:cNvPr id="8" name="Text Placeholder 7">
            <a:extLst>
              <a:ext uri="{FF2B5EF4-FFF2-40B4-BE49-F238E27FC236}">
                <a16:creationId xmlns:a16="http://schemas.microsoft.com/office/drawing/2014/main" id="{BE2268C8-51B9-EECF-DDBF-9D8B084A6459}"/>
              </a:ext>
            </a:extLst>
          </p:cNvPr>
          <p:cNvSpPr>
            <a:spLocks noGrp="1"/>
          </p:cNvSpPr>
          <p:nvPr>
            <p:ph type="body" sz="quarter" idx="16"/>
          </p:nvPr>
        </p:nvSpPr>
        <p:spPr/>
        <p:txBody>
          <a:bodyPr/>
          <a:lstStyle/>
          <a:p>
            <a:r>
              <a:rPr lang="en-US" sz="1200" dirty="0"/>
              <a:t>Situated on the Pacific Ring of Fire, Indonesia has 356 geothermal sites, 127 active volcanoes, and one of the world’s largest geothermal reserves</a:t>
            </a:r>
          </a:p>
        </p:txBody>
      </p:sp>
      <p:sp>
        <p:nvSpPr>
          <p:cNvPr id="9" name="Text Placeholder 1">
            <a:extLst>
              <a:ext uri="{FF2B5EF4-FFF2-40B4-BE49-F238E27FC236}">
                <a16:creationId xmlns:a16="http://schemas.microsoft.com/office/drawing/2014/main" id="{405A0A6F-185F-C802-4C7F-9D9F086C6CC3}"/>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Indonesia</a:t>
            </a:r>
          </a:p>
        </p:txBody>
      </p:sp>
      <p:sp>
        <p:nvSpPr>
          <p:cNvPr id="11" name="Rectangle 10">
            <a:extLst>
              <a:ext uri="{FF2B5EF4-FFF2-40B4-BE49-F238E27FC236}">
                <a16:creationId xmlns:a16="http://schemas.microsoft.com/office/drawing/2014/main" id="{2927C98C-8D28-202C-EBCD-C1C8EC1DA82F}"/>
              </a:ext>
            </a:extLst>
          </p:cNvPr>
          <p:cNvSpPr/>
          <p:nvPr/>
        </p:nvSpPr>
        <p:spPr bwMode="gray">
          <a:xfrm>
            <a:off x="324000" y="2140303"/>
            <a:ext cx="5010767" cy="40930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E454A15B-4086-D69A-949E-D7FC1BE17ACA}"/>
              </a:ext>
            </a:extLst>
          </p:cNvPr>
          <p:cNvSpPr/>
          <p:nvPr/>
        </p:nvSpPr>
        <p:spPr bwMode="gray">
          <a:xfrm>
            <a:off x="5632450" y="4856163"/>
            <a:ext cx="1393825" cy="233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ight Brace 12">
            <a:extLst>
              <a:ext uri="{FF2B5EF4-FFF2-40B4-BE49-F238E27FC236}">
                <a16:creationId xmlns:a16="http://schemas.microsoft.com/office/drawing/2014/main" id="{1E59F79D-7F48-5D94-79E7-8B5BC3A9725B}"/>
              </a:ext>
            </a:extLst>
          </p:cNvPr>
          <p:cNvSpPr/>
          <p:nvPr/>
        </p:nvSpPr>
        <p:spPr bwMode="gray">
          <a:xfrm>
            <a:off x="10180650" y="4059324"/>
            <a:ext cx="334184" cy="1855352"/>
          </a:xfrm>
          <a:prstGeom prst="rightBrace">
            <a:avLst>
              <a:gd name="adj1" fmla="val 0"/>
              <a:gd name="adj2" fmla="val 50000"/>
            </a:avLst>
          </a:prstGeom>
          <a:ln w="28575">
            <a:tailEnd type="none" w="med" len="lg"/>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FE84435C-8DEF-5EFB-9BA9-45B66344054F}"/>
              </a:ext>
            </a:extLst>
          </p:cNvPr>
          <p:cNvCxnSpPr>
            <a:cxnSpLocks/>
          </p:cNvCxnSpPr>
          <p:nvPr/>
        </p:nvCxnSpPr>
        <p:spPr bwMode="gray">
          <a:xfrm>
            <a:off x="553063" y="2353360"/>
            <a:ext cx="0" cy="3746419"/>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31300097-42B7-48CF-1F11-B8B174CAE3A0}"/>
              </a:ext>
            </a:extLst>
          </p:cNvPr>
          <p:cNvSpPr/>
          <p:nvPr/>
        </p:nvSpPr>
        <p:spPr bwMode="gray">
          <a:xfrm>
            <a:off x="482982" y="2750174"/>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5A36E1DF-6E14-F038-8268-0A7734B631CE}"/>
              </a:ext>
            </a:extLst>
          </p:cNvPr>
          <p:cNvSpPr/>
          <p:nvPr/>
        </p:nvSpPr>
        <p:spPr bwMode="gray">
          <a:xfrm>
            <a:off x="289364" y="2527105"/>
            <a:ext cx="578666"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81-91</a:t>
            </a:r>
          </a:p>
        </p:txBody>
      </p:sp>
      <p:sp>
        <p:nvSpPr>
          <p:cNvPr id="17" name="Rectangle 16">
            <a:extLst>
              <a:ext uri="{FF2B5EF4-FFF2-40B4-BE49-F238E27FC236}">
                <a16:creationId xmlns:a16="http://schemas.microsoft.com/office/drawing/2014/main" id="{E503869B-F70E-6EEB-3C72-45E7AAFD09D2}"/>
              </a:ext>
            </a:extLst>
          </p:cNvPr>
          <p:cNvSpPr/>
          <p:nvPr/>
        </p:nvSpPr>
        <p:spPr bwMode="gray">
          <a:xfrm>
            <a:off x="779756" y="2547158"/>
            <a:ext cx="4399579" cy="4206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Declare geothermal energy a national resource and provide preliminary guidelines for its exploration and development.</a:t>
            </a:r>
          </a:p>
        </p:txBody>
      </p:sp>
      <p:sp>
        <p:nvSpPr>
          <p:cNvPr id="18" name="Rectangle 17">
            <a:extLst>
              <a:ext uri="{FF2B5EF4-FFF2-40B4-BE49-F238E27FC236}">
                <a16:creationId xmlns:a16="http://schemas.microsoft.com/office/drawing/2014/main" id="{86EEC8B3-F749-A931-F2C5-3E3CEC0494AF}"/>
              </a:ext>
            </a:extLst>
          </p:cNvPr>
          <p:cNvSpPr/>
          <p:nvPr/>
        </p:nvSpPr>
        <p:spPr bwMode="gray">
          <a:xfrm>
            <a:off x="339666" y="3281410"/>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4</a:t>
            </a:r>
          </a:p>
        </p:txBody>
      </p:sp>
      <p:sp>
        <p:nvSpPr>
          <p:cNvPr id="19" name="Rectangle 18">
            <a:extLst>
              <a:ext uri="{FF2B5EF4-FFF2-40B4-BE49-F238E27FC236}">
                <a16:creationId xmlns:a16="http://schemas.microsoft.com/office/drawing/2014/main" id="{A5BA5B71-25D4-81A4-E85F-72AE39BB3F7A}"/>
              </a:ext>
            </a:extLst>
          </p:cNvPr>
          <p:cNvSpPr/>
          <p:nvPr/>
        </p:nvSpPr>
        <p:spPr bwMode="gray">
          <a:xfrm>
            <a:off x="806792" y="3236445"/>
            <a:ext cx="4385671" cy="5038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Eliminates restrictions on "mining" designation, establishes auction-based working regions, and allows for private and international  participation.</a:t>
            </a:r>
          </a:p>
        </p:txBody>
      </p:sp>
      <p:sp>
        <p:nvSpPr>
          <p:cNvPr id="20" name="Rectangle 19">
            <a:extLst>
              <a:ext uri="{FF2B5EF4-FFF2-40B4-BE49-F238E27FC236}">
                <a16:creationId xmlns:a16="http://schemas.microsoft.com/office/drawing/2014/main" id="{E73988BD-5A0B-0A18-2138-D6391B914065}"/>
              </a:ext>
            </a:extLst>
          </p:cNvPr>
          <p:cNvSpPr/>
          <p:nvPr/>
        </p:nvSpPr>
        <p:spPr bwMode="gray">
          <a:xfrm>
            <a:off x="389957" y="4776229"/>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4</a:t>
            </a:r>
          </a:p>
        </p:txBody>
      </p:sp>
      <p:sp>
        <p:nvSpPr>
          <p:cNvPr id="21" name="Rectangle 20">
            <a:extLst>
              <a:ext uri="{FF2B5EF4-FFF2-40B4-BE49-F238E27FC236}">
                <a16:creationId xmlns:a16="http://schemas.microsoft.com/office/drawing/2014/main" id="{A9DC7BBA-A538-40AE-3DFB-3A98F43BB6F1}"/>
              </a:ext>
            </a:extLst>
          </p:cNvPr>
          <p:cNvSpPr/>
          <p:nvPr/>
        </p:nvSpPr>
        <p:spPr bwMode="gray">
          <a:xfrm>
            <a:off x="781281" y="4776252"/>
            <a:ext cx="4364556" cy="37046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Raises targets for renewable energy shares to over 35% by 2034, indicating greater policy support for the growth of geothermal energy.</a:t>
            </a:r>
          </a:p>
        </p:txBody>
      </p:sp>
      <p:sp>
        <p:nvSpPr>
          <p:cNvPr id="22" name="Rectangle 21">
            <a:extLst>
              <a:ext uri="{FF2B5EF4-FFF2-40B4-BE49-F238E27FC236}">
                <a16:creationId xmlns:a16="http://schemas.microsoft.com/office/drawing/2014/main" id="{9BBC5E0A-E04A-7CDA-E52C-5FE845DB2505}"/>
              </a:ext>
            </a:extLst>
          </p:cNvPr>
          <p:cNvSpPr/>
          <p:nvPr/>
        </p:nvSpPr>
        <p:spPr bwMode="gray">
          <a:xfrm>
            <a:off x="389957" y="5539880"/>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60</a:t>
            </a:r>
          </a:p>
        </p:txBody>
      </p:sp>
      <p:sp>
        <p:nvSpPr>
          <p:cNvPr id="23" name="Rectangle 22">
            <a:extLst>
              <a:ext uri="{FF2B5EF4-FFF2-40B4-BE49-F238E27FC236}">
                <a16:creationId xmlns:a16="http://schemas.microsoft.com/office/drawing/2014/main" id="{70ADB47A-BABB-548E-FC0E-ED6EB8D43205}"/>
              </a:ext>
            </a:extLst>
          </p:cNvPr>
          <p:cNvSpPr/>
          <p:nvPr/>
        </p:nvSpPr>
        <p:spPr bwMode="gray">
          <a:xfrm>
            <a:off x="748584" y="2229522"/>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 Presidential Decree No. 22 (1981) and No. 45 (1991)</a:t>
            </a:r>
          </a:p>
        </p:txBody>
      </p:sp>
      <p:sp>
        <p:nvSpPr>
          <p:cNvPr id="24" name="Rectangle 23">
            <a:extLst>
              <a:ext uri="{FF2B5EF4-FFF2-40B4-BE49-F238E27FC236}">
                <a16:creationId xmlns:a16="http://schemas.microsoft.com/office/drawing/2014/main" id="{02F9CAC2-7D69-5E2F-45AB-82229558D0ED}"/>
              </a:ext>
            </a:extLst>
          </p:cNvPr>
          <p:cNvSpPr/>
          <p:nvPr/>
        </p:nvSpPr>
        <p:spPr bwMode="gray">
          <a:xfrm>
            <a:off x="708652" y="3054081"/>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Geothermal Law No. 21/2014</a:t>
            </a:r>
          </a:p>
        </p:txBody>
      </p:sp>
      <p:sp>
        <p:nvSpPr>
          <p:cNvPr id="25" name="Rectangle 24">
            <a:extLst>
              <a:ext uri="{FF2B5EF4-FFF2-40B4-BE49-F238E27FC236}">
                <a16:creationId xmlns:a16="http://schemas.microsoft.com/office/drawing/2014/main" id="{536A0773-F34F-62C4-48DC-ECB5919BD797}"/>
              </a:ext>
            </a:extLst>
          </p:cNvPr>
          <p:cNvSpPr/>
          <p:nvPr/>
        </p:nvSpPr>
        <p:spPr bwMode="gray">
          <a:xfrm>
            <a:off x="779756" y="4504993"/>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Electricity Supply Business Plan (RUPTL 2024-2034)</a:t>
            </a:r>
          </a:p>
        </p:txBody>
      </p:sp>
      <p:sp>
        <p:nvSpPr>
          <p:cNvPr id="26" name="Rectangle 25">
            <a:extLst>
              <a:ext uri="{FF2B5EF4-FFF2-40B4-BE49-F238E27FC236}">
                <a16:creationId xmlns:a16="http://schemas.microsoft.com/office/drawing/2014/main" id="{DDA4926C-F314-8E12-55AA-90F9C993B5E1}"/>
              </a:ext>
            </a:extLst>
          </p:cNvPr>
          <p:cNvSpPr/>
          <p:nvPr/>
        </p:nvSpPr>
        <p:spPr bwMode="gray">
          <a:xfrm>
            <a:off x="734682" y="5232973"/>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National Net-Zero Commitment</a:t>
            </a:r>
          </a:p>
        </p:txBody>
      </p:sp>
      <p:sp>
        <p:nvSpPr>
          <p:cNvPr id="27" name="Rectangle 26">
            <a:extLst>
              <a:ext uri="{FF2B5EF4-FFF2-40B4-BE49-F238E27FC236}">
                <a16:creationId xmlns:a16="http://schemas.microsoft.com/office/drawing/2014/main" id="{6B270282-09C2-75DF-70C5-B7263A49E1A2}"/>
              </a:ext>
            </a:extLst>
          </p:cNvPr>
          <p:cNvSpPr/>
          <p:nvPr/>
        </p:nvSpPr>
        <p:spPr bwMode="gray">
          <a:xfrm>
            <a:off x="806792" y="5553393"/>
            <a:ext cx="4356031" cy="5463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050" dirty="0">
                <a:solidFill>
                  <a:schemeClr val="tx1"/>
                </a:solidFill>
              </a:rPr>
              <a:t>Commits to achieving carbon neutrality for the entire economy by 2060, establishing geothermal as a deployable, low-emission power source for long-term security.</a:t>
            </a:r>
          </a:p>
        </p:txBody>
      </p:sp>
      <p:sp>
        <p:nvSpPr>
          <p:cNvPr id="28" name="Rectangle 27">
            <a:extLst>
              <a:ext uri="{FF2B5EF4-FFF2-40B4-BE49-F238E27FC236}">
                <a16:creationId xmlns:a16="http://schemas.microsoft.com/office/drawing/2014/main" id="{B3F68042-071A-026B-A6BE-B328DD21C4B7}"/>
              </a:ext>
            </a:extLst>
          </p:cNvPr>
          <p:cNvSpPr/>
          <p:nvPr/>
        </p:nvSpPr>
        <p:spPr bwMode="gray">
          <a:xfrm>
            <a:off x="409301" y="4022271"/>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2</a:t>
            </a:r>
          </a:p>
        </p:txBody>
      </p:sp>
      <p:sp>
        <p:nvSpPr>
          <p:cNvPr id="29" name="Rectangle 28">
            <a:extLst>
              <a:ext uri="{FF2B5EF4-FFF2-40B4-BE49-F238E27FC236}">
                <a16:creationId xmlns:a16="http://schemas.microsoft.com/office/drawing/2014/main" id="{97E2B593-56F9-562A-D5F7-40BF72DD9F89}"/>
              </a:ext>
            </a:extLst>
          </p:cNvPr>
          <p:cNvSpPr/>
          <p:nvPr/>
        </p:nvSpPr>
        <p:spPr bwMode="gray">
          <a:xfrm>
            <a:off x="784156" y="4030089"/>
            <a:ext cx="4378667" cy="3886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050" dirty="0">
                <a:solidFill>
                  <a:schemeClr val="tx1"/>
                </a:solidFill>
              </a:rPr>
              <a:t>Raises over $20 billion to boost investments in sustainable energy, with geothermal being a crucial baseload technology.</a:t>
            </a:r>
          </a:p>
        </p:txBody>
      </p:sp>
      <p:sp>
        <p:nvSpPr>
          <p:cNvPr id="30" name="Rectangle 29">
            <a:extLst>
              <a:ext uri="{FF2B5EF4-FFF2-40B4-BE49-F238E27FC236}">
                <a16:creationId xmlns:a16="http://schemas.microsoft.com/office/drawing/2014/main" id="{F2F79A84-40AA-84E5-1E81-A941B2F38883}"/>
              </a:ext>
            </a:extLst>
          </p:cNvPr>
          <p:cNvSpPr/>
          <p:nvPr/>
        </p:nvSpPr>
        <p:spPr bwMode="gray">
          <a:xfrm>
            <a:off x="779758" y="3772691"/>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Indonesia Just Energy Transition Partnership (JETP)</a:t>
            </a:r>
          </a:p>
        </p:txBody>
      </p:sp>
      <p:sp>
        <p:nvSpPr>
          <p:cNvPr id="31" name="Oval 30">
            <a:extLst>
              <a:ext uri="{FF2B5EF4-FFF2-40B4-BE49-F238E27FC236}">
                <a16:creationId xmlns:a16="http://schemas.microsoft.com/office/drawing/2014/main" id="{C6CD745A-2535-D8E5-FA83-64CDF8E9F4AC}"/>
              </a:ext>
            </a:extLst>
          </p:cNvPr>
          <p:cNvSpPr/>
          <p:nvPr/>
        </p:nvSpPr>
        <p:spPr bwMode="gray">
          <a:xfrm>
            <a:off x="482982" y="344819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5D165FBF-18D5-2A43-E58F-8938544D5158}"/>
              </a:ext>
            </a:extLst>
          </p:cNvPr>
          <p:cNvSpPr/>
          <p:nvPr/>
        </p:nvSpPr>
        <p:spPr bwMode="gray">
          <a:xfrm>
            <a:off x="482982" y="4195979"/>
            <a:ext cx="133036" cy="119412"/>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638651D5-B049-9DC3-1416-BCD4B740D7A3}"/>
              </a:ext>
            </a:extLst>
          </p:cNvPr>
          <p:cNvSpPr/>
          <p:nvPr/>
        </p:nvSpPr>
        <p:spPr bwMode="gray">
          <a:xfrm>
            <a:off x="482982" y="5753079"/>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Oval 33">
            <a:extLst>
              <a:ext uri="{FF2B5EF4-FFF2-40B4-BE49-F238E27FC236}">
                <a16:creationId xmlns:a16="http://schemas.microsoft.com/office/drawing/2014/main" id="{305DE1AF-9528-68CB-3051-6E54D8B82974}"/>
              </a:ext>
            </a:extLst>
          </p:cNvPr>
          <p:cNvSpPr/>
          <p:nvPr/>
        </p:nvSpPr>
        <p:spPr bwMode="gray">
          <a:xfrm>
            <a:off x="482982" y="4987380"/>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1C88218C-EFEE-4995-63CE-3FD438FDD012}"/>
              </a:ext>
            </a:extLst>
          </p:cNvPr>
          <p:cNvSpPr/>
          <p:nvPr/>
        </p:nvSpPr>
        <p:spPr bwMode="gray">
          <a:xfrm>
            <a:off x="10494975" y="4235915"/>
            <a:ext cx="1444956" cy="8340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900" b="1" i="1" dirty="0">
                <a:solidFill>
                  <a:schemeClr val="tx1"/>
                </a:solidFill>
              </a:rPr>
              <a:t>2,342.63 MW installed </a:t>
            </a:r>
            <a:r>
              <a:rPr lang="en-US" sz="900" i="1" dirty="0">
                <a:solidFill>
                  <a:schemeClr val="tx1"/>
                </a:solidFill>
              </a:rPr>
              <a:t>—</a:t>
            </a:r>
            <a:r>
              <a:rPr lang="en-US" sz="900" b="1" i="1" dirty="0">
                <a:solidFill>
                  <a:schemeClr val="tx1"/>
                </a:solidFill>
              </a:rPr>
              <a:t> </a:t>
            </a:r>
            <a:r>
              <a:rPr lang="en-US" sz="900" i="1" dirty="0">
                <a:solidFill>
                  <a:schemeClr val="tx1"/>
                </a:solidFill>
              </a:rPr>
              <a:t>twice as much as in 2009 (1,187 MW) and an additional 904 MW since 2015 (1,438 MW).</a:t>
            </a:r>
          </a:p>
        </p:txBody>
      </p:sp>
      <p:graphicFrame>
        <p:nvGraphicFramePr>
          <p:cNvPr id="36" name="Chart 35">
            <a:extLst>
              <a:ext uri="{FF2B5EF4-FFF2-40B4-BE49-F238E27FC236}">
                <a16:creationId xmlns:a16="http://schemas.microsoft.com/office/drawing/2014/main" id="{F1D926BE-8454-C684-D076-1A97F0CAC0C2}"/>
              </a:ext>
            </a:extLst>
          </p:cNvPr>
          <p:cNvGraphicFramePr/>
          <p:nvPr>
            <p:custDataLst>
              <p:tags r:id="rId2"/>
            </p:custDataLst>
            <p:extLst>
              <p:ext uri="{D42A27DB-BD31-4B8C-83A1-F6EECF244321}">
                <p14:modId xmlns:p14="http://schemas.microsoft.com/office/powerpoint/2010/main" val="2505600604"/>
              </p:ext>
            </p:extLst>
          </p:nvPr>
        </p:nvGraphicFramePr>
        <p:xfrm>
          <a:off x="5643563" y="3787775"/>
          <a:ext cx="4562475" cy="2305050"/>
        </p:xfrm>
        <a:graphic>
          <a:graphicData uri="http://schemas.openxmlformats.org/drawingml/2006/chart">
            <c:chart xmlns:c="http://schemas.openxmlformats.org/drawingml/2006/chart" xmlns:r="http://schemas.openxmlformats.org/officeDocument/2006/relationships" r:id="rId19"/>
          </a:graphicData>
        </a:graphic>
      </p:graphicFrame>
      <p:sp>
        <p:nvSpPr>
          <p:cNvPr id="37" name="Text Placeholder 10">
            <a:extLst>
              <a:ext uri="{FF2B5EF4-FFF2-40B4-BE49-F238E27FC236}">
                <a16:creationId xmlns:a16="http://schemas.microsoft.com/office/drawing/2014/main" id="{3BEE29E5-2B33-064A-63A8-27AFA7306FFB}"/>
              </a:ext>
            </a:extLst>
          </p:cNvPr>
          <p:cNvSpPr txBox="1">
            <a:spLocks/>
          </p:cNvSpPr>
          <p:nvPr>
            <p:custDataLst>
              <p:tags r:id="rId3"/>
            </p:custDataLst>
          </p:nvPr>
        </p:nvSpPr>
        <p:spPr bwMode="auto">
          <a:xfrm>
            <a:off x="6370638" y="5980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BCAF94-33BD-4F71-965A-093B84EB9A24}" type="datetime'''''''''''''1''9''''''''''''''''''9''''0'''''''''''''">
              <a:rPr lang="en-US" altLang="en-US" sz="1000" b="1" smtClean="0"/>
              <a:pPr marL="0" indent="0" algn="ctr">
                <a:spcBef>
                  <a:spcPct val="0"/>
                </a:spcBef>
                <a:spcAft>
                  <a:spcPct val="0"/>
                </a:spcAft>
                <a:buNone/>
              </a:pPr>
              <a:t>1990</a:t>
            </a:fld>
            <a:endParaRPr lang="en-US" sz="1000" b="1" dirty="0"/>
          </a:p>
        </p:txBody>
      </p:sp>
      <p:sp>
        <p:nvSpPr>
          <p:cNvPr id="38" name="Text Placeholder 10">
            <a:extLst>
              <a:ext uri="{FF2B5EF4-FFF2-40B4-BE49-F238E27FC236}">
                <a16:creationId xmlns:a16="http://schemas.microsoft.com/office/drawing/2014/main" id="{5E19784C-0006-F630-08A7-B7DF391709BB}"/>
              </a:ext>
            </a:extLst>
          </p:cNvPr>
          <p:cNvSpPr txBox="1">
            <a:spLocks/>
          </p:cNvSpPr>
          <p:nvPr>
            <p:custDataLst>
              <p:tags r:id="rId4"/>
            </p:custDataLst>
          </p:nvPr>
        </p:nvSpPr>
        <p:spPr bwMode="auto">
          <a:xfrm>
            <a:off x="7026275" y="5980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554453-E58D-4850-BB02-83B445F06925}" type="datetime'2''''''0''''0''''''''''''''''''7'''">
              <a:rPr lang="en-US" altLang="en-US" sz="1000" b="1" smtClean="0"/>
              <a:pPr marL="0" indent="0" algn="ctr">
                <a:spcBef>
                  <a:spcPct val="0"/>
                </a:spcBef>
                <a:spcAft>
                  <a:spcPct val="0"/>
                </a:spcAft>
                <a:buNone/>
              </a:pPr>
              <a:t>2007</a:t>
            </a:fld>
            <a:endParaRPr lang="en-US" sz="1000" b="1" dirty="0"/>
          </a:p>
        </p:txBody>
      </p:sp>
      <p:sp>
        <p:nvSpPr>
          <p:cNvPr id="39" name="Text Placeholder 10">
            <a:extLst>
              <a:ext uri="{FF2B5EF4-FFF2-40B4-BE49-F238E27FC236}">
                <a16:creationId xmlns:a16="http://schemas.microsoft.com/office/drawing/2014/main" id="{642A5D8C-96BC-7160-6D6D-1D2634E4D5DA}"/>
              </a:ext>
            </a:extLst>
          </p:cNvPr>
          <p:cNvSpPr txBox="1">
            <a:spLocks/>
          </p:cNvSpPr>
          <p:nvPr>
            <p:custDataLst>
              <p:tags r:id="rId5"/>
            </p:custDataLst>
          </p:nvPr>
        </p:nvSpPr>
        <p:spPr bwMode="auto">
          <a:xfrm>
            <a:off x="7681913" y="5980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3E41F9-4F6A-4979-85A8-C186D6FEB664}" type="datetime'''2''''''''''''''''''''01''''''''''''''''''''''''4'''''">
              <a:rPr lang="en-US" altLang="en-US" sz="1000" b="1" smtClean="0"/>
              <a:pPr marL="0" indent="0" algn="ctr">
                <a:spcBef>
                  <a:spcPct val="0"/>
                </a:spcBef>
                <a:spcAft>
                  <a:spcPct val="0"/>
                </a:spcAft>
                <a:buNone/>
              </a:pPr>
              <a:t>2014</a:t>
            </a:fld>
            <a:endParaRPr lang="en-US" sz="1000" b="1" dirty="0"/>
          </a:p>
        </p:txBody>
      </p:sp>
      <p:sp>
        <p:nvSpPr>
          <p:cNvPr id="40" name="Text Placeholder 10">
            <a:extLst>
              <a:ext uri="{FF2B5EF4-FFF2-40B4-BE49-F238E27FC236}">
                <a16:creationId xmlns:a16="http://schemas.microsoft.com/office/drawing/2014/main" id="{87B8C9C9-B188-31B1-8FF4-609A57D5D1E0}"/>
              </a:ext>
            </a:extLst>
          </p:cNvPr>
          <p:cNvSpPr txBox="1">
            <a:spLocks/>
          </p:cNvSpPr>
          <p:nvPr>
            <p:custDataLst>
              <p:tags r:id="rId6"/>
            </p:custDataLst>
          </p:nvPr>
        </p:nvSpPr>
        <p:spPr bwMode="auto">
          <a:xfrm>
            <a:off x="8337550" y="5980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33D10D-54DB-460A-A907-BFED86EE502B}" type="datetime'2''''''''''''''''''''''0''''''''''''''1''8'">
              <a:rPr lang="en-US" altLang="en-US" sz="1000" b="1" smtClean="0"/>
              <a:pPr marL="0" indent="0" algn="ctr">
                <a:spcBef>
                  <a:spcPct val="0"/>
                </a:spcBef>
                <a:spcAft>
                  <a:spcPct val="0"/>
                </a:spcAft>
                <a:buNone/>
              </a:pPr>
              <a:t>2018</a:t>
            </a:fld>
            <a:endParaRPr lang="en-US" sz="1000" b="1" dirty="0"/>
          </a:p>
        </p:txBody>
      </p:sp>
      <p:sp>
        <p:nvSpPr>
          <p:cNvPr id="41" name="Text Placeholder 10">
            <a:extLst>
              <a:ext uri="{FF2B5EF4-FFF2-40B4-BE49-F238E27FC236}">
                <a16:creationId xmlns:a16="http://schemas.microsoft.com/office/drawing/2014/main" id="{F18B35D0-1EBF-39A0-AED0-35BB83D30D34}"/>
              </a:ext>
            </a:extLst>
          </p:cNvPr>
          <p:cNvSpPr txBox="1">
            <a:spLocks/>
          </p:cNvSpPr>
          <p:nvPr>
            <p:custDataLst>
              <p:tags r:id="rId7"/>
            </p:custDataLst>
          </p:nvPr>
        </p:nvSpPr>
        <p:spPr bwMode="auto">
          <a:xfrm>
            <a:off x="8993188" y="5980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19A7A5-1069-42A9-8214-B062F45F66CD}" type="datetime'''''''''''''''''2''''''''''''''''''''0''21'''''''''''''''''''">
              <a:rPr lang="en-US" altLang="en-US" sz="1000" b="1" smtClean="0"/>
              <a:pPr marL="0" indent="0" algn="ctr">
                <a:spcBef>
                  <a:spcPct val="0"/>
                </a:spcBef>
                <a:spcAft>
                  <a:spcPct val="0"/>
                </a:spcAft>
                <a:buNone/>
              </a:pPr>
              <a:t>2021</a:t>
            </a:fld>
            <a:endParaRPr lang="en-US" sz="1000" b="1" dirty="0"/>
          </a:p>
        </p:txBody>
      </p:sp>
      <p:sp>
        <p:nvSpPr>
          <p:cNvPr id="42" name="Text Placeholder 10">
            <a:extLst>
              <a:ext uri="{FF2B5EF4-FFF2-40B4-BE49-F238E27FC236}">
                <a16:creationId xmlns:a16="http://schemas.microsoft.com/office/drawing/2014/main" id="{F950F1AD-40D8-302A-D876-AD897CC131C1}"/>
              </a:ext>
            </a:extLst>
          </p:cNvPr>
          <p:cNvSpPr txBox="1">
            <a:spLocks/>
          </p:cNvSpPr>
          <p:nvPr>
            <p:custDataLst>
              <p:tags r:id="rId8"/>
            </p:custDataLst>
          </p:nvPr>
        </p:nvSpPr>
        <p:spPr bwMode="auto">
          <a:xfrm>
            <a:off x="9458325" y="5980113"/>
            <a:ext cx="6746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6BBCCA-6D71-402D-9255-74C099CFB1F5}" type="datetime'20''3''''''0 ''(''Pr''oj''e''ct''''''''''''ed'''''''''''''')'">
              <a:rPr lang="en-US" altLang="en-US" sz="1000" b="1" smtClean="0"/>
              <a:pPr marL="0" indent="0" algn="ctr">
                <a:spcBef>
                  <a:spcPct val="0"/>
                </a:spcBef>
                <a:spcAft>
                  <a:spcPct val="0"/>
                </a:spcAft>
                <a:buNone/>
              </a:pPr>
              <a:t>2030 (Projected)</a:t>
            </a:fld>
            <a:endParaRPr lang="en-US" sz="1000" b="1" dirty="0"/>
          </a:p>
        </p:txBody>
      </p:sp>
      <p:sp>
        <p:nvSpPr>
          <p:cNvPr id="43" name="Rectangle 42">
            <a:extLst>
              <a:ext uri="{FF2B5EF4-FFF2-40B4-BE49-F238E27FC236}">
                <a16:creationId xmlns:a16="http://schemas.microsoft.com/office/drawing/2014/main" id="{6E7B3A4D-724E-9F32-4123-0F779B3581F8}"/>
              </a:ext>
            </a:extLst>
          </p:cNvPr>
          <p:cNvSpPr/>
          <p:nvPr/>
        </p:nvSpPr>
        <p:spPr bwMode="gray">
          <a:xfrm>
            <a:off x="10469741" y="5558041"/>
            <a:ext cx="1526133" cy="363942"/>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i="1" dirty="0">
                <a:solidFill>
                  <a:schemeClr val="tx1"/>
                </a:solidFill>
              </a:rPr>
              <a:t>Total Potential = </a:t>
            </a:r>
            <a:r>
              <a:rPr lang="en-US" sz="900" b="1" i="1" dirty="0">
                <a:solidFill>
                  <a:schemeClr val="tx1"/>
                </a:solidFill>
              </a:rPr>
              <a:t>23.36 GW</a:t>
            </a:r>
          </a:p>
        </p:txBody>
      </p:sp>
      <p:sp>
        <p:nvSpPr>
          <p:cNvPr id="44" name="Down Arrow 43">
            <a:extLst>
              <a:ext uri="{FF2B5EF4-FFF2-40B4-BE49-F238E27FC236}">
                <a16:creationId xmlns:a16="http://schemas.microsoft.com/office/drawing/2014/main" id="{3063BDCB-C078-33AF-F0F3-302FAF9750F8}"/>
              </a:ext>
            </a:extLst>
          </p:cNvPr>
          <p:cNvSpPr/>
          <p:nvPr/>
        </p:nvSpPr>
        <p:spPr bwMode="gray">
          <a:xfrm>
            <a:off x="11173543" y="5054640"/>
            <a:ext cx="87820" cy="420119"/>
          </a:xfrm>
          <a:prstGeom prst="downArrow">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BA5348AB-B4F7-54AD-88A4-63658D0B722F}"/>
              </a:ext>
            </a:extLst>
          </p:cNvPr>
          <p:cNvSpPr/>
          <p:nvPr/>
        </p:nvSpPr>
        <p:spPr bwMode="gray">
          <a:xfrm>
            <a:off x="6857235" y="3648675"/>
            <a:ext cx="6338012" cy="5595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b="1" dirty="0">
                <a:solidFill>
                  <a:schemeClr val="tx1"/>
                </a:solidFill>
              </a:rPr>
              <a:t>Indonesia Geothermal Installed Capacity</a:t>
            </a:r>
            <a:r>
              <a:rPr lang="en-US" sz="1100" dirty="0">
                <a:solidFill>
                  <a:schemeClr val="tx1"/>
                </a:solidFill>
              </a:rPr>
              <a:t>,</a:t>
            </a:r>
            <a:r>
              <a:rPr lang="en-US" sz="1100" b="1" dirty="0">
                <a:solidFill>
                  <a:schemeClr val="tx1"/>
                </a:solidFill>
              </a:rPr>
              <a:t> </a:t>
            </a:r>
            <a:r>
              <a:rPr lang="en-US" sz="1100" i="1" dirty="0">
                <a:solidFill>
                  <a:schemeClr val="tx1"/>
                </a:solidFill>
              </a:rPr>
              <a:t>MW</a:t>
            </a:r>
          </a:p>
        </p:txBody>
      </p:sp>
      <p:sp>
        <p:nvSpPr>
          <p:cNvPr id="46" name="Rectangle 45">
            <a:extLst>
              <a:ext uri="{FF2B5EF4-FFF2-40B4-BE49-F238E27FC236}">
                <a16:creationId xmlns:a16="http://schemas.microsoft.com/office/drawing/2014/main" id="{E187AA77-3225-5FC5-3DAF-0269DFDD2F6C}"/>
              </a:ext>
            </a:extLst>
          </p:cNvPr>
          <p:cNvSpPr/>
          <p:nvPr/>
        </p:nvSpPr>
        <p:spPr bwMode="gray">
          <a:xfrm>
            <a:off x="10787121" y="2335305"/>
            <a:ext cx="431144" cy="13827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0</a:t>
            </a:r>
          </a:p>
        </p:txBody>
      </p:sp>
      <p:sp>
        <p:nvSpPr>
          <p:cNvPr id="47" name="Rectangle 46">
            <a:extLst>
              <a:ext uri="{FF2B5EF4-FFF2-40B4-BE49-F238E27FC236}">
                <a16:creationId xmlns:a16="http://schemas.microsoft.com/office/drawing/2014/main" id="{B41C2EDF-9C38-EF2C-A9EA-AD107D707F41}"/>
              </a:ext>
            </a:extLst>
          </p:cNvPr>
          <p:cNvSpPr/>
          <p:nvPr/>
        </p:nvSpPr>
        <p:spPr bwMode="gray">
          <a:xfrm>
            <a:off x="10786462" y="2498676"/>
            <a:ext cx="432462" cy="13518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1-280</a:t>
            </a:r>
            <a:endParaRPr lang="en-US" sz="800" dirty="0">
              <a:solidFill>
                <a:schemeClr val="tx1"/>
              </a:solidFill>
            </a:endParaRPr>
          </a:p>
        </p:txBody>
      </p:sp>
      <p:sp>
        <p:nvSpPr>
          <p:cNvPr id="48" name="Rectangle 47">
            <a:extLst>
              <a:ext uri="{FF2B5EF4-FFF2-40B4-BE49-F238E27FC236}">
                <a16:creationId xmlns:a16="http://schemas.microsoft.com/office/drawing/2014/main" id="{40F07F0D-9652-D8E9-F4FD-70DC7CBE392C}"/>
              </a:ext>
            </a:extLst>
          </p:cNvPr>
          <p:cNvSpPr/>
          <p:nvPr/>
        </p:nvSpPr>
        <p:spPr bwMode="gray">
          <a:xfrm>
            <a:off x="10786462" y="2658956"/>
            <a:ext cx="432463" cy="137933"/>
          </a:xfrm>
          <a:prstGeom prst="rect">
            <a:avLst/>
          </a:prstGeom>
          <a:solidFill>
            <a:schemeClr val="accent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281-430</a:t>
            </a:r>
            <a:endParaRPr lang="en-US" sz="800" dirty="0">
              <a:solidFill>
                <a:schemeClr val="tx1"/>
              </a:solidFill>
            </a:endParaRPr>
          </a:p>
        </p:txBody>
      </p:sp>
      <p:sp>
        <p:nvSpPr>
          <p:cNvPr id="49" name="Rectangle 48">
            <a:extLst>
              <a:ext uri="{FF2B5EF4-FFF2-40B4-BE49-F238E27FC236}">
                <a16:creationId xmlns:a16="http://schemas.microsoft.com/office/drawing/2014/main" id="{E0BC6C83-D78D-C7C2-1C2A-86082ED5A623}"/>
              </a:ext>
            </a:extLst>
          </p:cNvPr>
          <p:cNvSpPr/>
          <p:nvPr/>
        </p:nvSpPr>
        <p:spPr bwMode="gray">
          <a:xfrm>
            <a:off x="10786461" y="2821983"/>
            <a:ext cx="432464" cy="134416"/>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431-575</a:t>
            </a:r>
            <a:endParaRPr lang="en-US" sz="800" dirty="0">
              <a:solidFill>
                <a:schemeClr val="tx1"/>
              </a:solidFill>
            </a:endParaRPr>
          </a:p>
        </p:txBody>
      </p:sp>
      <p:sp>
        <p:nvSpPr>
          <p:cNvPr id="50" name="Rectangle 49">
            <a:extLst>
              <a:ext uri="{FF2B5EF4-FFF2-40B4-BE49-F238E27FC236}">
                <a16:creationId xmlns:a16="http://schemas.microsoft.com/office/drawing/2014/main" id="{911139A0-DB93-3372-01B6-7E732DE3DCE3}"/>
              </a:ext>
            </a:extLst>
          </p:cNvPr>
          <p:cNvSpPr/>
          <p:nvPr/>
        </p:nvSpPr>
        <p:spPr bwMode="gray">
          <a:xfrm>
            <a:off x="10785647" y="2984003"/>
            <a:ext cx="434092" cy="133602"/>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576-720</a:t>
            </a:r>
            <a:endParaRPr lang="en-US" sz="800" dirty="0">
              <a:solidFill>
                <a:schemeClr val="tx1"/>
              </a:solidFill>
            </a:endParaRPr>
          </a:p>
        </p:txBody>
      </p:sp>
      <p:sp>
        <p:nvSpPr>
          <p:cNvPr id="51" name="Rectangle 50">
            <a:extLst>
              <a:ext uri="{FF2B5EF4-FFF2-40B4-BE49-F238E27FC236}">
                <a16:creationId xmlns:a16="http://schemas.microsoft.com/office/drawing/2014/main" id="{1FAABD46-D1F3-1F0A-574E-2E93C8E1DE00}"/>
              </a:ext>
            </a:extLst>
          </p:cNvPr>
          <p:cNvSpPr/>
          <p:nvPr/>
        </p:nvSpPr>
        <p:spPr bwMode="gray">
          <a:xfrm>
            <a:off x="10784020" y="3151320"/>
            <a:ext cx="437347" cy="120959"/>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721-860</a:t>
            </a:r>
            <a:endParaRPr lang="en-US" sz="800" dirty="0">
              <a:solidFill>
                <a:schemeClr val="tx1"/>
              </a:solidFill>
            </a:endParaRPr>
          </a:p>
        </p:txBody>
      </p:sp>
      <p:sp>
        <p:nvSpPr>
          <p:cNvPr id="52" name="Rectangle 51">
            <a:extLst>
              <a:ext uri="{FF2B5EF4-FFF2-40B4-BE49-F238E27FC236}">
                <a16:creationId xmlns:a16="http://schemas.microsoft.com/office/drawing/2014/main" id="{C29BD33F-9A1E-ABA7-980D-D9B9B7A3DBAA}"/>
              </a:ext>
            </a:extLst>
          </p:cNvPr>
          <p:cNvSpPr/>
          <p:nvPr/>
        </p:nvSpPr>
        <p:spPr bwMode="gray">
          <a:xfrm>
            <a:off x="11255095" y="2341188"/>
            <a:ext cx="431143" cy="134416"/>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861-1,010</a:t>
            </a:r>
            <a:endParaRPr lang="en-US" sz="800" dirty="0">
              <a:solidFill>
                <a:schemeClr val="tx1"/>
              </a:solidFill>
            </a:endParaRPr>
          </a:p>
        </p:txBody>
      </p:sp>
      <p:sp>
        <p:nvSpPr>
          <p:cNvPr id="53" name="Rectangle 52">
            <a:extLst>
              <a:ext uri="{FF2B5EF4-FFF2-40B4-BE49-F238E27FC236}">
                <a16:creationId xmlns:a16="http://schemas.microsoft.com/office/drawing/2014/main" id="{D4385794-01D0-869B-A88D-8998BEF47088}"/>
              </a:ext>
            </a:extLst>
          </p:cNvPr>
          <p:cNvSpPr/>
          <p:nvPr/>
        </p:nvSpPr>
        <p:spPr bwMode="gray">
          <a:xfrm>
            <a:off x="11254435" y="2499877"/>
            <a:ext cx="432462" cy="137933"/>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1,010-1,150</a:t>
            </a:r>
            <a:endParaRPr lang="en-US" sz="800" dirty="0">
              <a:solidFill>
                <a:schemeClr val="tx1"/>
              </a:solidFill>
            </a:endParaRPr>
          </a:p>
        </p:txBody>
      </p:sp>
      <p:sp>
        <p:nvSpPr>
          <p:cNvPr id="54" name="Rectangle 53">
            <a:extLst>
              <a:ext uri="{FF2B5EF4-FFF2-40B4-BE49-F238E27FC236}">
                <a16:creationId xmlns:a16="http://schemas.microsoft.com/office/drawing/2014/main" id="{6CE2B8E8-F8B0-BA2D-6633-BFED6A7E2A87}"/>
              </a:ext>
            </a:extLst>
          </p:cNvPr>
          <p:cNvSpPr/>
          <p:nvPr/>
        </p:nvSpPr>
        <p:spPr bwMode="gray">
          <a:xfrm>
            <a:off x="11254435" y="2663210"/>
            <a:ext cx="432462" cy="129427"/>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bg1"/>
                </a:solidFill>
              </a:rPr>
              <a:t>1,151-1,300</a:t>
            </a:r>
            <a:endParaRPr lang="en-US" sz="800" dirty="0">
              <a:solidFill>
                <a:schemeClr val="bg1"/>
              </a:solidFill>
            </a:endParaRPr>
          </a:p>
        </p:txBody>
      </p:sp>
      <p:sp>
        <p:nvSpPr>
          <p:cNvPr id="55" name="Rectangle 54">
            <a:extLst>
              <a:ext uri="{FF2B5EF4-FFF2-40B4-BE49-F238E27FC236}">
                <a16:creationId xmlns:a16="http://schemas.microsoft.com/office/drawing/2014/main" id="{09A146E7-D323-252B-A4CD-F1FB434A5AEA}"/>
              </a:ext>
            </a:extLst>
          </p:cNvPr>
          <p:cNvSpPr/>
          <p:nvPr/>
        </p:nvSpPr>
        <p:spPr bwMode="gray">
          <a:xfrm>
            <a:off x="11256860" y="2820225"/>
            <a:ext cx="427613" cy="137933"/>
          </a:xfrm>
          <a:prstGeom prst="rect">
            <a:avLst/>
          </a:prstGeom>
          <a:solidFill>
            <a:schemeClr val="accent5">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bg1"/>
                </a:solidFill>
              </a:rPr>
              <a:t>1,301-1,430</a:t>
            </a:r>
            <a:endParaRPr lang="en-US" sz="800" dirty="0">
              <a:solidFill>
                <a:schemeClr val="bg1"/>
              </a:solidFill>
            </a:endParaRPr>
          </a:p>
        </p:txBody>
      </p:sp>
      <p:sp>
        <p:nvSpPr>
          <p:cNvPr id="56" name="Rectangle 55">
            <a:extLst>
              <a:ext uri="{FF2B5EF4-FFF2-40B4-BE49-F238E27FC236}">
                <a16:creationId xmlns:a16="http://schemas.microsoft.com/office/drawing/2014/main" id="{B4DC79E0-23A5-059B-B417-7FF1698F2A2B}"/>
              </a:ext>
            </a:extLst>
          </p:cNvPr>
          <p:cNvSpPr/>
          <p:nvPr/>
        </p:nvSpPr>
        <p:spPr bwMode="gray">
          <a:xfrm>
            <a:off x="11256860" y="2983460"/>
            <a:ext cx="427612" cy="134688"/>
          </a:xfrm>
          <a:prstGeom prst="rect">
            <a:avLst/>
          </a:prstGeom>
          <a:solidFill>
            <a:schemeClr val="accent5">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bg1"/>
                </a:solidFill>
              </a:rPr>
              <a:t>1,431-1,600</a:t>
            </a:r>
            <a:endParaRPr lang="en-US" sz="800" dirty="0">
              <a:solidFill>
                <a:schemeClr val="bg1"/>
              </a:solidFill>
            </a:endParaRPr>
          </a:p>
        </p:txBody>
      </p:sp>
      <p:sp>
        <p:nvSpPr>
          <p:cNvPr id="57" name="Rectangle 56">
            <a:extLst>
              <a:ext uri="{FF2B5EF4-FFF2-40B4-BE49-F238E27FC236}">
                <a16:creationId xmlns:a16="http://schemas.microsoft.com/office/drawing/2014/main" id="{A0E4C435-7E77-CA73-3EDC-F68F56186CAE}"/>
              </a:ext>
            </a:extLst>
          </p:cNvPr>
          <p:cNvSpPr/>
          <p:nvPr/>
        </p:nvSpPr>
        <p:spPr bwMode="gray">
          <a:xfrm>
            <a:off x="10783052" y="2198038"/>
            <a:ext cx="899513" cy="112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500" dirty="0">
                <a:solidFill>
                  <a:schemeClr val="tx1"/>
                </a:solidFill>
              </a:rPr>
              <a:t>MW</a:t>
            </a:r>
          </a:p>
        </p:txBody>
      </p:sp>
      <p:grpSp>
        <p:nvGrpSpPr>
          <p:cNvPr id="58" name="Group 57">
            <a:extLst>
              <a:ext uri="{FF2B5EF4-FFF2-40B4-BE49-F238E27FC236}">
                <a16:creationId xmlns:a16="http://schemas.microsoft.com/office/drawing/2014/main" id="{12FBFD3A-3224-E8FE-861E-4D9D61E1036B}"/>
              </a:ext>
            </a:extLst>
          </p:cNvPr>
          <p:cNvGrpSpPr>
            <a:grpSpLocks noChangeAspect="1"/>
          </p:cNvGrpSpPr>
          <p:nvPr/>
        </p:nvGrpSpPr>
        <p:grpSpPr>
          <a:xfrm>
            <a:off x="6222939" y="2255982"/>
            <a:ext cx="3933437" cy="1328321"/>
            <a:chOff x="642938" y="2513013"/>
            <a:chExt cx="10715625" cy="3887787"/>
          </a:xfrm>
          <a:noFill/>
        </p:grpSpPr>
        <p:sp>
          <p:nvSpPr>
            <p:cNvPr id="59" name="Freeform 7">
              <a:extLst>
                <a:ext uri="{FF2B5EF4-FFF2-40B4-BE49-F238E27FC236}">
                  <a16:creationId xmlns:a16="http://schemas.microsoft.com/office/drawing/2014/main" id="{620BA105-BFA7-3763-819B-E5367B64E726}"/>
                </a:ext>
              </a:extLst>
            </p:cNvPr>
            <p:cNvSpPr>
              <a:spLocks noEditPoints="1"/>
            </p:cNvSpPr>
            <p:nvPr/>
          </p:nvSpPr>
          <p:spPr bwMode="auto">
            <a:xfrm>
              <a:off x="7386638" y="5775325"/>
              <a:ext cx="773113" cy="280987"/>
            </a:xfrm>
            <a:custGeom>
              <a:avLst/>
              <a:gdLst>
                <a:gd name="T0" fmla="*/ 3 w 203"/>
                <a:gd name="T1" fmla="*/ 62 h 74"/>
                <a:gd name="T2" fmla="*/ 10 w 203"/>
                <a:gd name="T3" fmla="*/ 58 h 74"/>
                <a:gd name="T4" fmla="*/ 17 w 203"/>
                <a:gd name="T5" fmla="*/ 55 h 74"/>
                <a:gd name="T6" fmla="*/ 24 w 203"/>
                <a:gd name="T7" fmla="*/ 53 h 74"/>
                <a:gd name="T8" fmla="*/ 28 w 203"/>
                <a:gd name="T9" fmla="*/ 54 h 74"/>
                <a:gd name="T10" fmla="*/ 26 w 203"/>
                <a:gd name="T11" fmla="*/ 62 h 74"/>
                <a:gd name="T12" fmla="*/ 22 w 203"/>
                <a:gd name="T13" fmla="*/ 65 h 74"/>
                <a:gd name="T14" fmla="*/ 21 w 203"/>
                <a:gd name="T15" fmla="*/ 72 h 74"/>
                <a:gd name="T16" fmla="*/ 16 w 203"/>
                <a:gd name="T17" fmla="*/ 72 h 74"/>
                <a:gd name="T18" fmla="*/ 13 w 203"/>
                <a:gd name="T19" fmla="*/ 66 h 74"/>
                <a:gd name="T20" fmla="*/ 7 w 203"/>
                <a:gd name="T21" fmla="*/ 69 h 74"/>
                <a:gd name="T22" fmla="*/ 200 w 203"/>
                <a:gd name="T23" fmla="*/ 4 h 74"/>
                <a:gd name="T24" fmla="*/ 195 w 203"/>
                <a:gd name="T25" fmla="*/ 1 h 74"/>
                <a:gd name="T26" fmla="*/ 187 w 203"/>
                <a:gd name="T27" fmla="*/ 1 h 74"/>
                <a:gd name="T28" fmla="*/ 176 w 203"/>
                <a:gd name="T29" fmla="*/ 3 h 74"/>
                <a:gd name="T30" fmla="*/ 164 w 203"/>
                <a:gd name="T31" fmla="*/ 6 h 74"/>
                <a:gd name="T32" fmla="*/ 151 w 203"/>
                <a:gd name="T33" fmla="*/ 7 h 74"/>
                <a:gd name="T34" fmla="*/ 139 w 203"/>
                <a:gd name="T35" fmla="*/ 9 h 74"/>
                <a:gd name="T36" fmla="*/ 132 w 203"/>
                <a:gd name="T37" fmla="*/ 10 h 74"/>
                <a:gd name="T38" fmla="*/ 124 w 203"/>
                <a:gd name="T39" fmla="*/ 11 h 74"/>
                <a:gd name="T40" fmla="*/ 117 w 203"/>
                <a:gd name="T41" fmla="*/ 9 h 74"/>
                <a:gd name="T42" fmla="*/ 107 w 203"/>
                <a:gd name="T43" fmla="*/ 12 h 74"/>
                <a:gd name="T44" fmla="*/ 102 w 203"/>
                <a:gd name="T45" fmla="*/ 12 h 74"/>
                <a:gd name="T46" fmla="*/ 95 w 203"/>
                <a:gd name="T47" fmla="*/ 13 h 74"/>
                <a:gd name="T48" fmla="*/ 89 w 203"/>
                <a:gd name="T49" fmla="*/ 14 h 74"/>
                <a:gd name="T50" fmla="*/ 80 w 203"/>
                <a:gd name="T51" fmla="*/ 16 h 74"/>
                <a:gd name="T52" fmla="*/ 66 w 203"/>
                <a:gd name="T53" fmla="*/ 23 h 74"/>
                <a:gd name="T54" fmla="*/ 64 w 203"/>
                <a:gd name="T55" fmla="*/ 31 h 74"/>
                <a:gd name="T56" fmla="*/ 59 w 203"/>
                <a:gd name="T57" fmla="*/ 38 h 74"/>
                <a:gd name="T58" fmla="*/ 56 w 203"/>
                <a:gd name="T59" fmla="*/ 45 h 74"/>
                <a:gd name="T60" fmla="*/ 64 w 203"/>
                <a:gd name="T61" fmla="*/ 44 h 74"/>
                <a:gd name="T62" fmla="*/ 69 w 203"/>
                <a:gd name="T63" fmla="*/ 42 h 74"/>
                <a:gd name="T64" fmla="*/ 71 w 203"/>
                <a:gd name="T65" fmla="*/ 45 h 74"/>
                <a:gd name="T66" fmla="*/ 71 w 203"/>
                <a:gd name="T67" fmla="*/ 52 h 74"/>
                <a:gd name="T68" fmla="*/ 66 w 203"/>
                <a:gd name="T69" fmla="*/ 54 h 74"/>
                <a:gd name="T70" fmla="*/ 61 w 203"/>
                <a:gd name="T71" fmla="*/ 53 h 74"/>
                <a:gd name="T72" fmla="*/ 60 w 203"/>
                <a:gd name="T73" fmla="*/ 59 h 74"/>
                <a:gd name="T74" fmla="*/ 64 w 203"/>
                <a:gd name="T75" fmla="*/ 64 h 74"/>
                <a:gd name="T76" fmla="*/ 65 w 203"/>
                <a:gd name="T77" fmla="*/ 69 h 74"/>
                <a:gd name="T78" fmla="*/ 72 w 203"/>
                <a:gd name="T79" fmla="*/ 68 h 74"/>
                <a:gd name="T80" fmla="*/ 84 w 203"/>
                <a:gd name="T81" fmla="*/ 60 h 74"/>
                <a:gd name="T82" fmla="*/ 96 w 203"/>
                <a:gd name="T83" fmla="*/ 54 h 74"/>
                <a:gd name="T84" fmla="*/ 106 w 203"/>
                <a:gd name="T85" fmla="*/ 52 h 74"/>
                <a:gd name="T86" fmla="*/ 121 w 203"/>
                <a:gd name="T87" fmla="*/ 48 h 74"/>
                <a:gd name="T88" fmla="*/ 132 w 203"/>
                <a:gd name="T89" fmla="*/ 41 h 74"/>
                <a:gd name="T90" fmla="*/ 149 w 203"/>
                <a:gd name="T91" fmla="*/ 39 h 74"/>
                <a:gd name="T92" fmla="*/ 155 w 203"/>
                <a:gd name="T93" fmla="*/ 33 h 74"/>
                <a:gd name="T94" fmla="*/ 161 w 203"/>
                <a:gd name="T95" fmla="*/ 29 h 74"/>
                <a:gd name="T96" fmla="*/ 172 w 203"/>
                <a:gd name="T97" fmla="*/ 27 h 74"/>
                <a:gd name="T98" fmla="*/ 181 w 203"/>
                <a:gd name="T99" fmla="*/ 23 h 74"/>
                <a:gd name="T100" fmla="*/ 189 w 203"/>
                <a:gd name="T101" fmla="*/ 17 h 74"/>
                <a:gd name="T102" fmla="*/ 199 w 203"/>
                <a:gd name="T103" fmla="*/ 9 h 74"/>
                <a:gd name="T104" fmla="*/ 200 w 203"/>
                <a:gd name="T105"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3" h="74">
                  <a:moveTo>
                    <a:pt x="2" y="65"/>
                  </a:moveTo>
                  <a:cubicBezTo>
                    <a:pt x="2" y="64"/>
                    <a:pt x="1" y="64"/>
                    <a:pt x="0" y="63"/>
                  </a:cubicBezTo>
                  <a:cubicBezTo>
                    <a:pt x="1" y="63"/>
                    <a:pt x="3" y="62"/>
                    <a:pt x="3" y="62"/>
                  </a:cubicBezTo>
                  <a:cubicBezTo>
                    <a:pt x="3" y="63"/>
                    <a:pt x="5" y="62"/>
                    <a:pt x="5" y="62"/>
                  </a:cubicBezTo>
                  <a:cubicBezTo>
                    <a:pt x="10" y="59"/>
                    <a:pt x="10" y="59"/>
                    <a:pt x="10" y="59"/>
                  </a:cubicBezTo>
                  <a:cubicBezTo>
                    <a:pt x="10" y="58"/>
                    <a:pt x="10" y="58"/>
                    <a:pt x="10" y="58"/>
                  </a:cubicBezTo>
                  <a:cubicBezTo>
                    <a:pt x="11" y="58"/>
                    <a:pt x="13" y="57"/>
                    <a:pt x="14" y="57"/>
                  </a:cubicBezTo>
                  <a:cubicBezTo>
                    <a:pt x="14" y="57"/>
                    <a:pt x="16" y="56"/>
                    <a:pt x="16" y="56"/>
                  </a:cubicBezTo>
                  <a:cubicBezTo>
                    <a:pt x="17" y="55"/>
                    <a:pt x="17" y="55"/>
                    <a:pt x="17" y="55"/>
                  </a:cubicBezTo>
                  <a:cubicBezTo>
                    <a:pt x="18" y="54"/>
                    <a:pt x="19" y="55"/>
                    <a:pt x="19" y="55"/>
                  </a:cubicBezTo>
                  <a:cubicBezTo>
                    <a:pt x="20" y="54"/>
                    <a:pt x="21" y="54"/>
                    <a:pt x="21" y="54"/>
                  </a:cubicBezTo>
                  <a:cubicBezTo>
                    <a:pt x="22" y="54"/>
                    <a:pt x="24" y="54"/>
                    <a:pt x="24" y="53"/>
                  </a:cubicBezTo>
                  <a:cubicBezTo>
                    <a:pt x="24" y="53"/>
                    <a:pt x="24" y="52"/>
                    <a:pt x="25" y="52"/>
                  </a:cubicBezTo>
                  <a:cubicBezTo>
                    <a:pt x="26" y="53"/>
                    <a:pt x="28" y="53"/>
                    <a:pt x="28" y="53"/>
                  </a:cubicBezTo>
                  <a:cubicBezTo>
                    <a:pt x="28" y="53"/>
                    <a:pt x="28" y="54"/>
                    <a:pt x="28" y="54"/>
                  </a:cubicBezTo>
                  <a:cubicBezTo>
                    <a:pt x="27" y="56"/>
                    <a:pt x="27" y="57"/>
                    <a:pt x="27" y="59"/>
                  </a:cubicBezTo>
                  <a:cubicBezTo>
                    <a:pt x="27" y="60"/>
                    <a:pt x="27" y="61"/>
                    <a:pt x="27" y="61"/>
                  </a:cubicBezTo>
                  <a:cubicBezTo>
                    <a:pt x="27" y="62"/>
                    <a:pt x="26" y="62"/>
                    <a:pt x="26" y="62"/>
                  </a:cubicBezTo>
                  <a:cubicBezTo>
                    <a:pt x="25" y="63"/>
                    <a:pt x="25" y="63"/>
                    <a:pt x="24" y="63"/>
                  </a:cubicBezTo>
                  <a:cubicBezTo>
                    <a:pt x="23" y="64"/>
                    <a:pt x="23" y="64"/>
                    <a:pt x="22" y="65"/>
                  </a:cubicBezTo>
                  <a:cubicBezTo>
                    <a:pt x="22" y="65"/>
                    <a:pt x="22" y="65"/>
                    <a:pt x="22" y="65"/>
                  </a:cubicBezTo>
                  <a:cubicBezTo>
                    <a:pt x="22" y="66"/>
                    <a:pt x="22" y="66"/>
                    <a:pt x="22" y="67"/>
                  </a:cubicBezTo>
                  <a:cubicBezTo>
                    <a:pt x="21" y="68"/>
                    <a:pt x="20" y="68"/>
                    <a:pt x="20" y="70"/>
                  </a:cubicBezTo>
                  <a:cubicBezTo>
                    <a:pt x="20" y="70"/>
                    <a:pt x="21" y="71"/>
                    <a:pt x="21" y="72"/>
                  </a:cubicBezTo>
                  <a:cubicBezTo>
                    <a:pt x="21" y="73"/>
                    <a:pt x="19" y="73"/>
                    <a:pt x="19" y="73"/>
                  </a:cubicBezTo>
                  <a:cubicBezTo>
                    <a:pt x="18" y="73"/>
                    <a:pt x="17" y="74"/>
                    <a:pt x="16" y="74"/>
                  </a:cubicBezTo>
                  <a:cubicBezTo>
                    <a:pt x="15" y="74"/>
                    <a:pt x="16" y="73"/>
                    <a:pt x="16" y="72"/>
                  </a:cubicBezTo>
                  <a:cubicBezTo>
                    <a:pt x="16" y="71"/>
                    <a:pt x="16" y="70"/>
                    <a:pt x="16" y="69"/>
                  </a:cubicBezTo>
                  <a:cubicBezTo>
                    <a:pt x="15" y="69"/>
                    <a:pt x="15" y="68"/>
                    <a:pt x="14" y="67"/>
                  </a:cubicBezTo>
                  <a:cubicBezTo>
                    <a:pt x="14" y="67"/>
                    <a:pt x="13" y="66"/>
                    <a:pt x="13" y="66"/>
                  </a:cubicBezTo>
                  <a:cubicBezTo>
                    <a:pt x="12" y="65"/>
                    <a:pt x="11" y="65"/>
                    <a:pt x="11" y="66"/>
                  </a:cubicBezTo>
                  <a:cubicBezTo>
                    <a:pt x="10" y="66"/>
                    <a:pt x="9" y="67"/>
                    <a:pt x="9" y="67"/>
                  </a:cubicBezTo>
                  <a:cubicBezTo>
                    <a:pt x="8" y="68"/>
                    <a:pt x="8" y="68"/>
                    <a:pt x="7" y="69"/>
                  </a:cubicBezTo>
                  <a:cubicBezTo>
                    <a:pt x="6" y="69"/>
                    <a:pt x="6" y="68"/>
                    <a:pt x="5" y="68"/>
                  </a:cubicBezTo>
                  <a:cubicBezTo>
                    <a:pt x="4" y="68"/>
                    <a:pt x="3" y="66"/>
                    <a:pt x="2" y="65"/>
                  </a:cubicBezTo>
                  <a:close/>
                  <a:moveTo>
                    <a:pt x="200" y="4"/>
                  </a:moveTo>
                  <a:cubicBezTo>
                    <a:pt x="200" y="4"/>
                    <a:pt x="199" y="4"/>
                    <a:pt x="198" y="3"/>
                  </a:cubicBezTo>
                  <a:cubicBezTo>
                    <a:pt x="197" y="3"/>
                    <a:pt x="197" y="2"/>
                    <a:pt x="197" y="1"/>
                  </a:cubicBezTo>
                  <a:cubicBezTo>
                    <a:pt x="196" y="1"/>
                    <a:pt x="195" y="1"/>
                    <a:pt x="195" y="1"/>
                  </a:cubicBezTo>
                  <a:cubicBezTo>
                    <a:pt x="194" y="1"/>
                    <a:pt x="193" y="2"/>
                    <a:pt x="193" y="3"/>
                  </a:cubicBezTo>
                  <a:cubicBezTo>
                    <a:pt x="192" y="3"/>
                    <a:pt x="190" y="2"/>
                    <a:pt x="189" y="2"/>
                  </a:cubicBezTo>
                  <a:cubicBezTo>
                    <a:pt x="188" y="2"/>
                    <a:pt x="188" y="2"/>
                    <a:pt x="187" y="1"/>
                  </a:cubicBezTo>
                  <a:cubicBezTo>
                    <a:pt x="187" y="1"/>
                    <a:pt x="185" y="0"/>
                    <a:pt x="184" y="0"/>
                  </a:cubicBezTo>
                  <a:cubicBezTo>
                    <a:pt x="183" y="0"/>
                    <a:pt x="181" y="0"/>
                    <a:pt x="180" y="1"/>
                  </a:cubicBezTo>
                  <a:cubicBezTo>
                    <a:pt x="179" y="1"/>
                    <a:pt x="178" y="2"/>
                    <a:pt x="176" y="3"/>
                  </a:cubicBezTo>
                  <a:cubicBezTo>
                    <a:pt x="175" y="3"/>
                    <a:pt x="172" y="5"/>
                    <a:pt x="172" y="5"/>
                  </a:cubicBezTo>
                  <a:cubicBezTo>
                    <a:pt x="172" y="5"/>
                    <a:pt x="169" y="5"/>
                    <a:pt x="168" y="5"/>
                  </a:cubicBezTo>
                  <a:cubicBezTo>
                    <a:pt x="167" y="4"/>
                    <a:pt x="165" y="5"/>
                    <a:pt x="164" y="6"/>
                  </a:cubicBezTo>
                  <a:cubicBezTo>
                    <a:pt x="162" y="7"/>
                    <a:pt x="160" y="9"/>
                    <a:pt x="158" y="9"/>
                  </a:cubicBezTo>
                  <a:cubicBezTo>
                    <a:pt x="156" y="10"/>
                    <a:pt x="155" y="9"/>
                    <a:pt x="155" y="9"/>
                  </a:cubicBezTo>
                  <a:cubicBezTo>
                    <a:pt x="154" y="9"/>
                    <a:pt x="152" y="7"/>
                    <a:pt x="151" y="7"/>
                  </a:cubicBezTo>
                  <a:cubicBezTo>
                    <a:pt x="150" y="7"/>
                    <a:pt x="148" y="6"/>
                    <a:pt x="147" y="6"/>
                  </a:cubicBezTo>
                  <a:cubicBezTo>
                    <a:pt x="147" y="6"/>
                    <a:pt x="143" y="7"/>
                    <a:pt x="143" y="7"/>
                  </a:cubicBezTo>
                  <a:cubicBezTo>
                    <a:pt x="139" y="9"/>
                    <a:pt x="139" y="9"/>
                    <a:pt x="139" y="9"/>
                  </a:cubicBezTo>
                  <a:cubicBezTo>
                    <a:pt x="139" y="9"/>
                    <a:pt x="136" y="11"/>
                    <a:pt x="136" y="11"/>
                  </a:cubicBezTo>
                  <a:cubicBezTo>
                    <a:pt x="135" y="11"/>
                    <a:pt x="134" y="11"/>
                    <a:pt x="134" y="11"/>
                  </a:cubicBezTo>
                  <a:cubicBezTo>
                    <a:pt x="132" y="10"/>
                    <a:pt x="132" y="10"/>
                    <a:pt x="132" y="10"/>
                  </a:cubicBezTo>
                  <a:cubicBezTo>
                    <a:pt x="131" y="10"/>
                    <a:pt x="130" y="11"/>
                    <a:pt x="129" y="11"/>
                  </a:cubicBezTo>
                  <a:cubicBezTo>
                    <a:pt x="129" y="12"/>
                    <a:pt x="127" y="12"/>
                    <a:pt x="126" y="12"/>
                  </a:cubicBezTo>
                  <a:cubicBezTo>
                    <a:pt x="126" y="12"/>
                    <a:pt x="124" y="12"/>
                    <a:pt x="124" y="11"/>
                  </a:cubicBezTo>
                  <a:cubicBezTo>
                    <a:pt x="123" y="11"/>
                    <a:pt x="122" y="11"/>
                    <a:pt x="122" y="11"/>
                  </a:cubicBezTo>
                  <a:cubicBezTo>
                    <a:pt x="122" y="10"/>
                    <a:pt x="120" y="9"/>
                    <a:pt x="120" y="9"/>
                  </a:cubicBezTo>
                  <a:cubicBezTo>
                    <a:pt x="120" y="9"/>
                    <a:pt x="117" y="9"/>
                    <a:pt x="117" y="9"/>
                  </a:cubicBezTo>
                  <a:cubicBezTo>
                    <a:pt x="116" y="9"/>
                    <a:pt x="113" y="9"/>
                    <a:pt x="112" y="10"/>
                  </a:cubicBezTo>
                  <a:cubicBezTo>
                    <a:pt x="112" y="10"/>
                    <a:pt x="110" y="10"/>
                    <a:pt x="109" y="11"/>
                  </a:cubicBezTo>
                  <a:cubicBezTo>
                    <a:pt x="107" y="12"/>
                    <a:pt x="107" y="12"/>
                    <a:pt x="107" y="12"/>
                  </a:cubicBezTo>
                  <a:cubicBezTo>
                    <a:pt x="105" y="12"/>
                    <a:pt x="105" y="12"/>
                    <a:pt x="105" y="12"/>
                  </a:cubicBezTo>
                  <a:cubicBezTo>
                    <a:pt x="102" y="13"/>
                    <a:pt x="102" y="13"/>
                    <a:pt x="102" y="13"/>
                  </a:cubicBezTo>
                  <a:cubicBezTo>
                    <a:pt x="102" y="13"/>
                    <a:pt x="102" y="12"/>
                    <a:pt x="102" y="12"/>
                  </a:cubicBezTo>
                  <a:cubicBezTo>
                    <a:pt x="102" y="11"/>
                    <a:pt x="100" y="12"/>
                    <a:pt x="100" y="12"/>
                  </a:cubicBezTo>
                  <a:cubicBezTo>
                    <a:pt x="97" y="13"/>
                    <a:pt x="97" y="13"/>
                    <a:pt x="97" y="13"/>
                  </a:cubicBezTo>
                  <a:cubicBezTo>
                    <a:pt x="95" y="13"/>
                    <a:pt x="95" y="13"/>
                    <a:pt x="95" y="13"/>
                  </a:cubicBezTo>
                  <a:cubicBezTo>
                    <a:pt x="93" y="13"/>
                    <a:pt x="93" y="13"/>
                    <a:pt x="93" y="13"/>
                  </a:cubicBezTo>
                  <a:cubicBezTo>
                    <a:pt x="92" y="13"/>
                    <a:pt x="92" y="13"/>
                    <a:pt x="92" y="13"/>
                  </a:cubicBezTo>
                  <a:cubicBezTo>
                    <a:pt x="92" y="13"/>
                    <a:pt x="90" y="14"/>
                    <a:pt x="89" y="14"/>
                  </a:cubicBezTo>
                  <a:cubicBezTo>
                    <a:pt x="89" y="14"/>
                    <a:pt x="88" y="14"/>
                    <a:pt x="86" y="14"/>
                  </a:cubicBezTo>
                  <a:cubicBezTo>
                    <a:pt x="84" y="14"/>
                    <a:pt x="84" y="15"/>
                    <a:pt x="83" y="15"/>
                  </a:cubicBezTo>
                  <a:cubicBezTo>
                    <a:pt x="82" y="16"/>
                    <a:pt x="81" y="16"/>
                    <a:pt x="80" y="16"/>
                  </a:cubicBezTo>
                  <a:cubicBezTo>
                    <a:pt x="79" y="17"/>
                    <a:pt x="75" y="17"/>
                    <a:pt x="74" y="17"/>
                  </a:cubicBezTo>
                  <a:cubicBezTo>
                    <a:pt x="73" y="17"/>
                    <a:pt x="70" y="18"/>
                    <a:pt x="69" y="19"/>
                  </a:cubicBezTo>
                  <a:cubicBezTo>
                    <a:pt x="68" y="19"/>
                    <a:pt x="67" y="22"/>
                    <a:pt x="66" y="23"/>
                  </a:cubicBezTo>
                  <a:cubicBezTo>
                    <a:pt x="66" y="24"/>
                    <a:pt x="66" y="26"/>
                    <a:pt x="66" y="26"/>
                  </a:cubicBezTo>
                  <a:cubicBezTo>
                    <a:pt x="67" y="27"/>
                    <a:pt x="66" y="29"/>
                    <a:pt x="66" y="29"/>
                  </a:cubicBezTo>
                  <a:cubicBezTo>
                    <a:pt x="66" y="30"/>
                    <a:pt x="64" y="31"/>
                    <a:pt x="64" y="31"/>
                  </a:cubicBezTo>
                  <a:cubicBezTo>
                    <a:pt x="63" y="32"/>
                    <a:pt x="61" y="33"/>
                    <a:pt x="61" y="33"/>
                  </a:cubicBezTo>
                  <a:cubicBezTo>
                    <a:pt x="60" y="34"/>
                    <a:pt x="60" y="35"/>
                    <a:pt x="60" y="36"/>
                  </a:cubicBezTo>
                  <a:cubicBezTo>
                    <a:pt x="60" y="36"/>
                    <a:pt x="59" y="37"/>
                    <a:pt x="59" y="38"/>
                  </a:cubicBezTo>
                  <a:cubicBezTo>
                    <a:pt x="58" y="39"/>
                    <a:pt x="57" y="39"/>
                    <a:pt x="57" y="40"/>
                  </a:cubicBezTo>
                  <a:cubicBezTo>
                    <a:pt x="57" y="40"/>
                    <a:pt x="57" y="41"/>
                    <a:pt x="56" y="42"/>
                  </a:cubicBezTo>
                  <a:cubicBezTo>
                    <a:pt x="56" y="43"/>
                    <a:pt x="55" y="44"/>
                    <a:pt x="56" y="45"/>
                  </a:cubicBezTo>
                  <a:cubicBezTo>
                    <a:pt x="57" y="45"/>
                    <a:pt x="58" y="45"/>
                    <a:pt x="59" y="46"/>
                  </a:cubicBezTo>
                  <a:cubicBezTo>
                    <a:pt x="60" y="46"/>
                    <a:pt x="60" y="46"/>
                    <a:pt x="61" y="46"/>
                  </a:cubicBezTo>
                  <a:cubicBezTo>
                    <a:pt x="62" y="45"/>
                    <a:pt x="63" y="45"/>
                    <a:pt x="64" y="44"/>
                  </a:cubicBezTo>
                  <a:cubicBezTo>
                    <a:pt x="65" y="44"/>
                    <a:pt x="65" y="43"/>
                    <a:pt x="66" y="43"/>
                  </a:cubicBezTo>
                  <a:cubicBezTo>
                    <a:pt x="66" y="42"/>
                    <a:pt x="66" y="41"/>
                    <a:pt x="67" y="40"/>
                  </a:cubicBezTo>
                  <a:cubicBezTo>
                    <a:pt x="68" y="40"/>
                    <a:pt x="69" y="41"/>
                    <a:pt x="69" y="42"/>
                  </a:cubicBezTo>
                  <a:cubicBezTo>
                    <a:pt x="69" y="42"/>
                    <a:pt x="69" y="43"/>
                    <a:pt x="70" y="43"/>
                  </a:cubicBezTo>
                  <a:cubicBezTo>
                    <a:pt x="70" y="43"/>
                    <a:pt x="71" y="43"/>
                    <a:pt x="71" y="44"/>
                  </a:cubicBezTo>
                  <a:cubicBezTo>
                    <a:pt x="72" y="44"/>
                    <a:pt x="72" y="45"/>
                    <a:pt x="71" y="45"/>
                  </a:cubicBezTo>
                  <a:cubicBezTo>
                    <a:pt x="71" y="46"/>
                    <a:pt x="71" y="47"/>
                    <a:pt x="71" y="47"/>
                  </a:cubicBezTo>
                  <a:cubicBezTo>
                    <a:pt x="71" y="49"/>
                    <a:pt x="70" y="50"/>
                    <a:pt x="71" y="51"/>
                  </a:cubicBezTo>
                  <a:cubicBezTo>
                    <a:pt x="72" y="51"/>
                    <a:pt x="72" y="52"/>
                    <a:pt x="71" y="52"/>
                  </a:cubicBezTo>
                  <a:cubicBezTo>
                    <a:pt x="71" y="53"/>
                    <a:pt x="69" y="53"/>
                    <a:pt x="69" y="53"/>
                  </a:cubicBezTo>
                  <a:cubicBezTo>
                    <a:pt x="68" y="54"/>
                    <a:pt x="68" y="54"/>
                    <a:pt x="67" y="54"/>
                  </a:cubicBezTo>
                  <a:cubicBezTo>
                    <a:pt x="66" y="54"/>
                    <a:pt x="66" y="54"/>
                    <a:pt x="66" y="54"/>
                  </a:cubicBezTo>
                  <a:cubicBezTo>
                    <a:pt x="66" y="54"/>
                    <a:pt x="65" y="54"/>
                    <a:pt x="65" y="54"/>
                  </a:cubicBezTo>
                  <a:cubicBezTo>
                    <a:pt x="64" y="53"/>
                    <a:pt x="64" y="53"/>
                    <a:pt x="63" y="53"/>
                  </a:cubicBezTo>
                  <a:cubicBezTo>
                    <a:pt x="62" y="53"/>
                    <a:pt x="61" y="53"/>
                    <a:pt x="61" y="53"/>
                  </a:cubicBezTo>
                  <a:cubicBezTo>
                    <a:pt x="60" y="54"/>
                    <a:pt x="60" y="54"/>
                    <a:pt x="59" y="54"/>
                  </a:cubicBezTo>
                  <a:cubicBezTo>
                    <a:pt x="59" y="55"/>
                    <a:pt x="59" y="56"/>
                    <a:pt x="59" y="56"/>
                  </a:cubicBezTo>
                  <a:cubicBezTo>
                    <a:pt x="59" y="57"/>
                    <a:pt x="60" y="58"/>
                    <a:pt x="60" y="59"/>
                  </a:cubicBezTo>
                  <a:cubicBezTo>
                    <a:pt x="60" y="60"/>
                    <a:pt x="60" y="60"/>
                    <a:pt x="60" y="61"/>
                  </a:cubicBezTo>
                  <a:cubicBezTo>
                    <a:pt x="61" y="61"/>
                    <a:pt x="62" y="61"/>
                    <a:pt x="63" y="62"/>
                  </a:cubicBezTo>
                  <a:cubicBezTo>
                    <a:pt x="64" y="62"/>
                    <a:pt x="64" y="63"/>
                    <a:pt x="64" y="64"/>
                  </a:cubicBezTo>
                  <a:cubicBezTo>
                    <a:pt x="64" y="65"/>
                    <a:pt x="64" y="65"/>
                    <a:pt x="64" y="65"/>
                  </a:cubicBezTo>
                  <a:cubicBezTo>
                    <a:pt x="64" y="65"/>
                    <a:pt x="64" y="65"/>
                    <a:pt x="64" y="66"/>
                  </a:cubicBezTo>
                  <a:cubicBezTo>
                    <a:pt x="65" y="66"/>
                    <a:pt x="65" y="68"/>
                    <a:pt x="65" y="69"/>
                  </a:cubicBezTo>
                  <a:cubicBezTo>
                    <a:pt x="65" y="69"/>
                    <a:pt x="65" y="70"/>
                    <a:pt x="66" y="71"/>
                  </a:cubicBezTo>
                  <a:cubicBezTo>
                    <a:pt x="66" y="70"/>
                    <a:pt x="67" y="69"/>
                    <a:pt x="68" y="69"/>
                  </a:cubicBezTo>
                  <a:cubicBezTo>
                    <a:pt x="70" y="68"/>
                    <a:pt x="71" y="68"/>
                    <a:pt x="72" y="68"/>
                  </a:cubicBezTo>
                  <a:cubicBezTo>
                    <a:pt x="74" y="69"/>
                    <a:pt x="74" y="68"/>
                    <a:pt x="75" y="66"/>
                  </a:cubicBezTo>
                  <a:cubicBezTo>
                    <a:pt x="76" y="64"/>
                    <a:pt x="77" y="64"/>
                    <a:pt x="79" y="63"/>
                  </a:cubicBezTo>
                  <a:cubicBezTo>
                    <a:pt x="81" y="61"/>
                    <a:pt x="82" y="60"/>
                    <a:pt x="84" y="60"/>
                  </a:cubicBezTo>
                  <a:cubicBezTo>
                    <a:pt x="85" y="59"/>
                    <a:pt x="87" y="58"/>
                    <a:pt x="87" y="57"/>
                  </a:cubicBezTo>
                  <a:cubicBezTo>
                    <a:pt x="88" y="57"/>
                    <a:pt x="92" y="57"/>
                    <a:pt x="93" y="56"/>
                  </a:cubicBezTo>
                  <a:cubicBezTo>
                    <a:pt x="94" y="56"/>
                    <a:pt x="95" y="55"/>
                    <a:pt x="96" y="54"/>
                  </a:cubicBezTo>
                  <a:cubicBezTo>
                    <a:pt x="98" y="54"/>
                    <a:pt x="99" y="54"/>
                    <a:pt x="99" y="54"/>
                  </a:cubicBezTo>
                  <a:cubicBezTo>
                    <a:pt x="100" y="54"/>
                    <a:pt x="103" y="54"/>
                    <a:pt x="103" y="54"/>
                  </a:cubicBezTo>
                  <a:cubicBezTo>
                    <a:pt x="103" y="54"/>
                    <a:pt x="104" y="53"/>
                    <a:pt x="106" y="52"/>
                  </a:cubicBezTo>
                  <a:cubicBezTo>
                    <a:pt x="108" y="52"/>
                    <a:pt x="113" y="50"/>
                    <a:pt x="115" y="50"/>
                  </a:cubicBezTo>
                  <a:cubicBezTo>
                    <a:pt x="116" y="50"/>
                    <a:pt x="118" y="51"/>
                    <a:pt x="119" y="51"/>
                  </a:cubicBezTo>
                  <a:cubicBezTo>
                    <a:pt x="119" y="51"/>
                    <a:pt x="120" y="49"/>
                    <a:pt x="121" y="48"/>
                  </a:cubicBezTo>
                  <a:cubicBezTo>
                    <a:pt x="122" y="48"/>
                    <a:pt x="125" y="47"/>
                    <a:pt x="125" y="46"/>
                  </a:cubicBezTo>
                  <a:cubicBezTo>
                    <a:pt x="126" y="46"/>
                    <a:pt x="128" y="44"/>
                    <a:pt x="128" y="43"/>
                  </a:cubicBezTo>
                  <a:cubicBezTo>
                    <a:pt x="129" y="43"/>
                    <a:pt x="131" y="41"/>
                    <a:pt x="132" y="41"/>
                  </a:cubicBezTo>
                  <a:cubicBezTo>
                    <a:pt x="132" y="41"/>
                    <a:pt x="142" y="40"/>
                    <a:pt x="143" y="40"/>
                  </a:cubicBezTo>
                  <a:cubicBezTo>
                    <a:pt x="143" y="40"/>
                    <a:pt x="144" y="40"/>
                    <a:pt x="145" y="39"/>
                  </a:cubicBezTo>
                  <a:cubicBezTo>
                    <a:pt x="145" y="39"/>
                    <a:pt x="148" y="39"/>
                    <a:pt x="149" y="39"/>
                  </a:cubicBezTo>
                  <a:cubicBezTo>
                    <a:pt x="150" y="39"/>
                    <a:pt x="153" y="39"/>
                    <a:pt x="153" y="39"/>
                  </a:cubicBezTo>
                  <a:cubicBezTo>
                    <a:pt x="153" y="39"/>
                    <a:pt x="154" y="36"/>
                    <a:pt x="154" y="35"/>
                  </a:cubicBezTo>
                  <a:cubicBezTo>
                    <a:pt x="155" y="34"/>
                    <a:pt x="155" y="33"/>
                    <a:pt x="155" y="33"/>
                  </a:cubicBezTo>
                  <a:cubicBezTo>
                    <a:pt x="158" y="31"/>
                    <a:pt x="158" y="31"/>
                    <a:pt x="158" y="31"/>
                  </a:cubicBezTo>
                  <a:cubicBezTo>
                    <a:pt x="161" y="30"/>
                    <a:pt x="161" y="30"/>
                    <a:pt x="161" y="30"/>
                  </a:cubicBezTo>
                  <a:cubicBezTo>
                    <a:pt x="161" y="30"/>
                    <a:pt x="161" y="29"/>
                    <a:pt x="161" y="29"/>
                  </a:cubicBezTo>
                  <a:cubicBezTo>
                    <a:pt x="162" y="28"/>
                    <a:pt x="164" y="27"/>
                    <a:pt x="165" y="27"/>
                  </a:cubicBezTo>
                  <a:cubicBezTo>
                    <a:pt x="166" y="27"/>
                    <a:pt x="169" y="27"/>
                    <a:pt x="169" y="27"/>
                  </a:cubicBezTo>
                  <a:cubicBezTo>
                    <a:pt x="170" y="27"/>
                    <a:pt x="172" y="27"/>
                    <a:pt x="172" y="27"/>
                  </a:cubicBezTo>
                  <a:cubicBezTo>
                    <a:pt x="173" y="27"/>
                    <a:pt x="174" y="27"/>
                    <a:pt x="175" y="27"/>
                  </a:cubicBezTo>
                  <a:cubicBezTo>
                    <a:pt x="176" y="26"/>
                    <a:pt x="177" y="25"/>
                    <a:pt x="178" y="24"/>
                  </a:cubicBezTo>
                  <a:cubicBezTo>
                    <a:pt x="178" y="24"/>
                    <a:pt x="180" y="23"/>
                    <a:pt x="181" y="23"/>
                  </a:cubicBezTo>
                  <a:cubicBezTo>
                    <a:pt x="181" y="22"/>
                    <a:pt x="184" y="22"/>
                    <a:pt x="185" y="22"/>
                  </a:cubicBezTo>
                  <a:cubicBezTo>
                    <a:pt x="186" y="22"/>
                    <a:pt x="186" y="22"/>
                    <a:pt x="186" y="21"/>
                  </a:cubicBezTo>
                  <a:cubicBezTo>
                    <a:pt x="187" y="20"/>
                    <a:pt x="188" y="18"/>
                    <a:pt x="189" y="17"/>
                  </a:cubicBezTo>
                  <a:cubicBezTo>
                    <a:pt x="190" y="16"/>
                    <a:pt x="191" y="15"/>
                    <a:pt x="192" y="15"/>
                  </a:cubicBezTo>
                  <a:cubicBezTo>
                    <a:pt x="193" y="14"/>
                    <a:pt x="195" y="13"/>
                    <a:pt x="196" y="12"/>
                  </a:cubicBezTo>
                  <a:cubicBezTo>
                    <a:pt x="196" y="12"/>
                    <a:pt x="198" y="10"/>
                    <a:pt x="199" y="9"/>
                  </a:cubicBezTo>
                  <a:cubicBezTo>
                    <a:pt x="199" y="9"/>
                    <a:pt x="203" y="6"/>
                    <a:pt x="203" y="6"/>
                  </a:cubicBezTo>
                  <a:cubicBezTo>
                    <a:pt x="202" y="4"/>
                    <a:pt x="202" y="4"/>
                    <a:pt x="202" y="4"/>
                  </a:cubicBezTo>
                  <a:cubicBezTo>
                    <a:pt x="202" y="4"/>
                    <a:pt x="201" y="4"/>
                    <a:pt x="200" y="4"/>
                  </a:cubicBez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0" name="Freeform 9">
              <a:extLst>
                <a:ext uri="{FF2B5EF4-FFF2-40B4-BE49-F238E27FC236}">
                  <a16:creationId xmlns:a16="http://schemas.microsoft.com/office/drawing/2014/main" id="{5744C5B5-E424-FC11-17A5-F8D7ED1EB859}"/>
                </a:ext>
              </a:extLst>
            </p:cNvPr>
            <p:cNvSpPr>
              <a:spLocks noEditPoints="1"/>
            </p:cNvSpPr>
            <p:nvPr/>
          </p:nvSpPr>
          <p:spPr bwMode="auto">
            <a:xfrm>
              <a:off x="8723313" y="3827463"/>
              <a:ext cx="1290638" cy="1001712"/>
            </a:xfrm>
            <a:custGeom>
              <a:avLst/>
              <a:gdLst>
                <a:gd name="T0" fmla="*/ 12 w 339"/>
                <a:gd name="T1" fmla="*/ 108 h 263"/>
                <a:gd name="T2" fmla="*/ 40 w 339"/>
                <a:gd name="T3" fmla="*/ 118 h 263"/>
                <a:gd name="T4" fmla="*/ 54 w 339"/>
                <a:gd name="T5" fmla="*/ 31 h 263"/>
                <a:gd name="T6" fmla="*/ 61 w 339"/>
                <a:gd name="T7" fmla="*/ 25 h 263"/>
                <a:gd name="T8" fmla="*/ 61 w 339"/>
                <a:gd name="T9" fmla="*/ 8 h 263"/>
                <a:gd name="T10" fmla="*/ 96 w 339"/>
                <a:gd name="T11" fmla="*/ 13 h 263"/>
                <a:gd name="T12" fmla="*/ 61 w 339"/>
                <a:gd name="T13" fmla="*/ 1 h 263"/>
                <a:gd name="T14" fmla="*/ 37 w 339"/>
                <a:gd name="T15" fmla="*/ 9 h 263"/>
                <a:gd name="T16" fmla="*/ 36 w 339"/>
                <a:gd name="T17" fmla="*/ 15 h 263"/>
                <a:gd name="T18" fmla="*/ 62 w 339"/>
                <a:gd name="T19" fmla="*/ 53 h 263"/>
                <a:gd name="T20" fmla="*/ 59 w 339"/>
                <a:gd name="T21" fmla="*/ 49 h 263"/>
                <a:gd name="T22" fmla="*/ 45 w 339"/>
                <a:gd name="T23" fmla="*/ 54 h 263"/>
                <a:gd name="T24" fmla="*/ 82 w 339"/>
                <a:gd name="T25" fmla="*/ 63 h 263"/>
                <a:gd name="T26" fmla="*/ 59 w 339"/>
                <a:gd name="T27" fmla="*/ 67 h 263"/>
                <a:gd name="T28" fmla="*/ 247 w 339"/>
                <a:gd name="T29" fmla="*/ 137 h 263"/>
                <a:gd name="T30" fmla="*/ 233 w 339"/>
                <a:gd name="T31" fmla="*/ 260 h 263"/>
                <a:gd name="T32" fmla="*/ 306 w 339"/>
                <a:gd name="T33" fmla="*/ 205 h 263"/>
                <a:gd name="T34" fmla="*/ 284 w 339"/>
                <a:gd name="T35" fmla="*/ 164 h 263"/>
                <a:gd name="T36" fmla="*/ 268 w 339"/>
                <a:gd name="T37" fmla="*/ 114 h 263"/>
                <a:gd name="T38" fmla="*/ 276 w 339"/>
                <a:gd name="T39" fmla="*/ 83 h 263"/>
                <a:gd name="T40" fmla="*/ 268 w 339"/>
                <a:gd name="T41" fmla="*/ 53 h 263"/>
                <a:gd name="T42" fmla="*/ 217 w 339"/>
                <a:gd name="T43" fmla="*/ 40 h 263"/>
                <a:gd name="T44" fmla="*/ 185 w 339"/>
                <a:gd name="T45" fmla="*/ 24 h 263"/>
                <a:gd name="T46" fmla="*/ 126 w 339"/>
                <a:gd name="T47" fmla="*/ 44 h 263"/>
                <a:gd name="T48" fmla="*/ 91 w 339"/>
                <a:gd name="T49" fmla="*/ 69 h 263"/>
                <a:gd name="T50" fmla="*/ 87 w 339"/>
                <a:gd name="T51" fmla="*/ 89 h 263"/>
                <a:gd name="T52" fmla="*/ 108 w 339"/>
                <a:gd name="T53" fmla="*/ 91 h 263"/>
                <a:gd name="T54" fmla="*/ 115 w 339"/>
                <a:gd name="T55" fmla="*/ 90 h 263"/>
                <a:gd name="T56" fmla="*/ 130 w 339"/>
                <a:gd name="T57" fmla="*/ 96 h 263"/>
                <a:gd name="T58" fmla="*/ 133 w 339"/>
                <a:gd name="T59" fmla="*/ 99 h 263"/>
                <a:gd name="T60" fmla="*/ 141 w 339"/>
                <a:gd name="T61" fmla="*/ 105 h 263"/>
                <a:gd name="T62" fmla="*/ 144 w 339"/>
                <a:gd name="T63" fmla="*/ 118 h 263"/>
                <a:gd name="T64" fmla="*/ 164 w 339"/>
                <a:gd name="T65" fmla="*/ 137 h 263"/>
                <a:gd name="T66" fmla="*/ 199 w 339"/>
                <a:gd name="T67" fmla="*/ 139 h 263"/>
                <a:gd name="T68" fmla="*/ 236 w 339"/>
                <a:gd name="T69" fmla="*/ 133 h 263"/>
                <a:gd name="T70" fmla="*/ 251 w 339"/>
                <a:gd name="T71" fmla="*/ 131 h 263"/>
                <a:gd name="T72" fmla="*/ 254 w 339"/>
                <a:gd name="T73" fmla="*/ 142 h 263"/>
                <a:gd name="T74" fmla="*/ 246 w 339"/>
                <a:gd name="T75" fmla="*/ 150 h 263"/>
                <a:gd name="T76" fmla="*/ 251 w 339"/>
                <a:gd name="T77" fmla="*/ 163 h 263"/>
                <a:gd name="T78" fmla="*/ 241 w 339"/>
                <a:gd name="T79" fmla="*/ 156 h 263"/>
                <a:gd name="T80" fmla="*/ 232 w 339"/>
                <a:gd name="T81" fmla="*/ 159 h 263"/>
                <a:gd name="T82" fmla="*/ 228 w 339"/>
                <a:gd name="T83" fmla="*/ 154 h 263"/>
                <a:gd name="T84" fmla="*/ 210 w 339"/>
                <a:gd name="T85" fmla="*/ 148 h 263"/>
                <a:gd name="T86" fmla="*/ 166 w 339"/>
                <a:gd name="T87" fmla="*/ 165 h 263"/>
                <a:gd name="T88" fmla="*/ 139 w 339"/>
                <a:gd name="T89" fmla="*/ 168 h 263"/>
                <a:gd name="T90" fmla="*/ 144 w 339"/>
                <a:gd name="T91" fmla="*/ 179 h 263"/>
                <a:gd name="T92" fmla="*/ 177 w 339"/>
                <a:gd name="T93" fmla="*/ 195 h 263"/>
                <a:gd name="T94" fmla="*/ 189 w 339"/>
                <a:gd name="T95" fmla="*/ 204 h 263"/>
                <a:gd name="T96" fmla="*/ 187 w 339"/>
                <a:gd name="T97" fmla="*/ 222 h 263"/>
                <a:gd name="T98" fmla="*/ 198 w 339"/>
                <a:gd name="T99" fmla="*/ 251 h 263"/>
                <a:gd name="T100" fmla="*/ 222 w 339"/>
                <a:gd name="T101" fmla="*/ 239 h 263"/>
                <a:gd name="T102" fmla="*/ 223 w 339"/>
                <a:gd name="T103" fmla="*/ 220 h 263"/>
                <a:gd name="T104" fmla="*/ 230 w 339"/>
                <a:gd name="T105" fmla="*/ 211 h 263"/>
                <a:gd name="T106" fmla="*/ 239 w 339"/>
                <a:gd name="T107" fmla="*/ 209 h 263"/>
                <a:gd name="T108" fmla="*/ 251 w 339"/>
                <a:gd name="T109" fmla="*/ 180 h 263"/>
                <a:gd name="T110" fmla="*/ 244 w 339"/>
                <a:gd name="T111" fmla="*/ 195 h 263"/>
                <a:gd name="T112" fmla="*/ 246 w 339"/>
                <a:gd name="T113" fmla="*/ 223 h 263"/>
                <a:gd name="T114" fmla="*/ 259 w 339"/>
                <a:gd name="T115" fmla="*/ 236 h 263"/>
                <a:gd name="T116" fmla="*/ 269 w 339"/>
                <a:gd name="T117" fmla="*/ 238 h 263"/>
                <a:gd name="T118" fmla="*/ 283 w 339"/>
                <a:gd name="T119" fmla="*/ 241 h 263"/>
                <a:gd name="T120" fmla="*/ 303 w 339"/>
                <a:gd name="T121" fmla="*/ 241 h 263"/>
                <a:gd name="T122" fmla="*/ 307 w 339"/>
                <a:gd name="T123" fmla="*/ 241 h 263"/>
                <a:gd name="T124" fmla="*/ 305 w 339"/>
                <a:gd name="T125" fmla="*/ 25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9" h="263">
                  <a:moveTo>
                    <a:pt x="37" y="121"/>
                  </a:moveTo>
                  <a:cubicBezTo>
                    <a:pt x="36" y="121"/>
                    <a:pt x="36" y="122"/>
                    <a:pt x="35" y="122"/>
                  </a:cubicBezTo>
                  <a:cubicBezTo>
                    <a:pt x="35" y="123"/>
                    <a:pt x="34" y="123"/>
                    <a:pt x="34" y="123"/>
                  </a:cubicBezTo>
                  <a:cubicBezTo>
                    <a:pt x="33" y="124"/>
                    <a:pt x="32" y="125"/>
                    <a:pt x="31" y="125"/>
                  </a:cubicBezTo>
                  <a:cubicBezTo>
                    <a:pt x="30" y="125"/>
                    <a:pt x="29" y="125"/>
                    <a:pt x="28" y="125"/>
                  </a:cubicBezTo>
                  <a:cubicBezTo>
                    <a:pt x="26" y="125"/>
                    <a:pt x="24" y="125"/>
                    <a:pt x="23" y="124"/>
                  </a:cubicBezTo>
                  <a:cubicBezTo>
                    <a:pt x="22" y="123"/>
                    <a:pt x="21" y="123"/>
                    <a:pt x="20" y="123"/>
                  </a:cubicBezTo>
                  <a:cubicBezTo>
                    <a:pt x="18" y="122"/>
                    <a:pt x="16" y="123"/>
                    <a:pt x="15" y="122"/>
                  </a:cubicBezTo>
                  <a:cubicBezTo>
                    <a:pt x="13" y="121"/>
                    <a:pt x="11" y="121"/>
                    <a:pt x="10" y="120"/>
                  </a:cubicBezTo>
                  <a:cubicBezTo>
                    <a:pt x="9" y="119"/>
                    <a:pt x="8" y="119"/>
                    <a:pt x="7" y="118"/>
                  </a:cubicBezTo>
                  <a:cubicBezTo>
                    <a:pt x="6" y="118"/>
                    <a:pt x="5" y="118"/>
                    <a:pt x="3" y="117"/>
                  </a:cubicBezTo>
                  <a:cubicBezTo>
                    <a:pt x="2" y="116"/>
                    <a:pt x="0" y="115"/>
                    <a:pt x="0" y="114"/>
                  </a:cubicBezTo>
                  <a:cubicBezTo>
                    <a:pt x="1" y="113"/>
                    <a:pt x="2" y="112"/>
                    <a:pt x="3" y="112"/>
                  </a:cubicBezTo>
                  <a:cubicBezTo>
                    <a:pt x="4" y="112"/>
                    <a:pt x="6" y="112"/>
                    <a:pt x="7" y="111"/>
                  </a:cubicBezTo>
                  <a:cubicBezTo>
                    <a:pt x="9" y="110"/>
                    <a:pt x="11" y="109"/>
                    <a:pt x="12" y="108"/>
                  </a:cubicBezTo>
                  <a:cubicBezTo>
                    <a:pt x="13" y="107"/>
                    <a:pt x="14" y="108"/>
                    <a:pt x="15" y="107"/>
                  </a:cubicBezTo>
                  <a:cubicBezTo>
                    <a:pt x="16" y="107"/>
                    <a:pt x="17" y="106"/>
                    <a:pt x="17" y="106"/>
                  </a:cubicBezTo>
                  <a:cubicBezTo>
                    <a:pt x="18" y="106"/>
                    <a:pt x="19" y="105"/>
                    <a:pt x="20" y="105"/>
                  </a:cubicBezTo>
                  <a:cubicBezTo>
                    <a:pt x="21" y="105"/>
                    <a:pt x="22" y="105"/>
                    <a:pt x="23" y="105"/>
                  </a:cubicBezTo>
                  <a:cubicBezTo>
                    <a:pt x="24" y="105"/>
                    <a:pt x="25" y="104"/>
                    <a:pt x="26" y="104"/>
                  </a:cubicBezTo>
                  <a:cubicBezTo>
                    <a:pt x="28" y="104"/>
                    <a:pt x="29" y="104"/>
                    <a:pt x="30" y="104"/>
                  </a:cubicBezTo>
                  <a:cubicBezTo>
                    <a:pt x="33" y="104"/>
                    <a:pt x="35" y="102"/>
                    <a:pt x="37" y="101"/>
                  </a:cubicBezTo>
                  <a:cubicBezTo>
                    <a:pt x="38" y="101"/>
                    <a:pt x="38" y="101"/>
                    <a:pt x="39" y="102"/>
                  </a:cubicBezTo>
                  <a:cubicBezTo>
                    <a:pt x="39" y="102"/>
                    <a:pt x="39" y="103"/>
                    <a:pt x="39" y="104"/>
                  </a:cubicBezTo>
                  <a:cubicBezTo>
                    <a:pt x="38" y="105"/>
                    <a:pt x="38" y="105"/>
                    <a:pt x="38" y="105"/>
                  </a:cubicBezTo>
                  <a:cubicBezTo>
                    <a:pt x="39" y="105"/>
                    <a:pt x="40" y="105"/>
                    <a:pt x="41" y="105"/>
                  </a:cubicBezTo>
                  <a:cubicBezTo>
                    <a:pt x="41" y="106"/>
                    <a:pt x="42" y="107"/>
                    <a:pt x="43" y="107"/>
                  </a:cubicBezTo>
                  <a:cubicBezTo>
                    <a:pt x="45" y="110"/>
                    <a:pt x="44" y="112"/>
                    <a:pt x="42" y="114"/>
                  </a:cubicBezTo>
                  <a:cubicBezTo>
                    <a:pt x="41" y="114"/>
                    <a:pt x="39" y="115"/>
                    <a:pt x="38" y="116"/>
                  </a:cubicBezTo>
                  <a:cubicBezTo>
                    <a:pt x="38" y="117"/>
                    <a:pt x="39" y="117"/>
                    <a:pt x="40" y="118"/>
                  </a:cubicBezTo>
                  <a:cubicBezTo>
                    <a:pt x="40" y="118"/>
                    <a:pt x="41" y="119"/>
                    <a:pt x="41" y="119"/>
                  </a:cubicBezTo>
                  <a:cubicBezTo>
                    <a:pt x="42" y="119"/>
                    <a:pt x="42" y="119"/>
                    <a:pt x="43" y="119"/>
                  </a:cubicBezTo>
                  <a:cubicBezTo>
                    <a:pt x="44" y="119"/>
                    <a:pt x="44" y="120"/>
                    <a:pt x="44" y="121"/>
                  </a:cubicBezTo>
                  <a:cubicBezTo>
                    <a:pt x="44" y="122"/>
                    <a:pt x="44" y="123"/>
                    <a:pt x="43" y="123"/>
                  </a:cubicBezTo>
                  <a:cubicBezTo>
                    <a:pt x="42" y="124"/>
                    <a:pt x="41" y="123"/>
                    <a:pt x="40" y="123"/>
                  </a:cubicBezTo>
                  <a:cubicBezTo>
                    <a:pt x="39" y="122"/>
                    <a:pt x="39" y="122"/>
                    <a:pt x="37" y="121"/>
                  </a:cubicBezTo>
                  <a:close/>
                  <a:moveTo>
                    <a:pt x="45" y="27"/>
                  </a:moveTo>
                  <a:cubicBezTo>
                    <a:pt x="45" y="28"/>
                    <a:pt x="46" y="28"/>
                    <a:pt x="46" y="29"/>
                  </a:cubicBezTo>
                  <a:cubicBezTo>
                    <a:pt x="46" y="30"/>
                    <a:pt x="46" y="30"/>
                    <a:pt x="46" y="31"/>
                  </a:cubicBezTo>
                  <a:cubicBezTo>
                    <a:pt x="46" y="31"/>
                    <a:pt x="48" y="31"/>
                    <a:pt x="49" y="31"/>
                  </a:cubicBezTo>
                  <a:cubicBezTo>
                    <a:pt x="49" y="31"/>
                    <a:pt x="50" y="30"/>
                    <a:pt x="51" y="30"/>
                  </a:cubicBezTo>
                  <a:cubicBezTo>
                    <a:pt x="51" y="29"/>
                    <a:pt x="51" y="28"/>
                    <a:pt x="52" y="28"/>
                  </a:cubicBezTo>
                  <a:cubicBezTo>
                    <a:pt x="53" y="28"/>
                    <a:pt x="54" y="28"/>
                    <a:pt x="54" y="29"/>
                  </a:cubicBezTo>
                  <a:cubicBezTo>
                    <a:pt x="54" y="30"/>
                    <a:pt x="51" y="32"/>
                    <a:pt x="52" y="32"/>
                  </a:cubicBezTo>
                  <a:cubicBezTo>
                    <a:pt x="53" y="32"/>
                    <a:pt x="54" y="31"/>
                    <a:pt x="54" y="31"/>
                  </a:cubicBezTo>
                  <a:cubicBezTo>
                    <a:pt x="55" y="31"/>
                    <a:pt x="56" y="31"/>
                    <a:pt x="56" y="30"/>
                  </a:cubicBezTo>
                  <a:cubicBezTo>
                    <a:pt x="57" y="30"/>
                    <a:pt x="59" y="28"/>
                    <a:pt x="59" y="27"/>
                  </a:cubicBezTo>
                  <a:cubicBezTo>
                    <a:pt x="58" y="26"/>
                    <a:pt x="58" y="26"/>
                    <a:pt x="57" y="26"/>
                  </a:cubicBezTo>
                  <a:cubicBezTo>
                    <a:pt x="57" y="26"/>
                    <a:pt x="57" y="25"/>
                    <a:pt x="56" y="25"/>
                  </a:cubicBezTo>
                  <a:cubicBezTo>
                    <a:pt x="56" y="24"/>
                    <a:pt x="55" y="24"/>
                    <a:pt x="54" y="24"/>
                  </a:cubicBezTo>
                  <a:cubicBezTo>
                    <a:pt x="54" y="25"/>
                    <a:pt x="54" y="25"/>
                    <a:pt x="54" y="25"/>
                  </a:cubicBezTo>
                  <a:cubicBezTo>
                    <a:pt x="53" y="25"/>
                    <a:pt x="52" y="25"/>
                    <a:pt x="52" y="24"/>
                  </a:cubicBezTo>
                  <a:cubicBezTo>
                    <a:pt x="52" y="24"/>
                    <a:pt x="53" y="23"/>
                    <a:pt x="53" y="22"/>
                  </a:cubicBezTo>
                  <a:cubicBezTo>
                    <a:pt x="53" y="22"/>
                    <a:pt x="52" y="21"/>
                    <a:pt x="52" y="20"/>
                  </a:cubicBezTo>
                  <a:cubicBezTo>
                    <a:pt x="52" y="19"/>
                    <a:pt x="53" y="19"/>
                    <a:pt x="54" y="19"/>
                  </a:cubicBezTo>
                  <a:cubicBezTo>
                    <a:pt x="56" y="19"/>
                    <a:pt x="57" y="18"/>
                    <a:pt x="58" y="18"/>
                  </a:cubicBezTo>
                  <a:cubicBezTo>
                    <a:pt x="58" y="19"/>
                    <a:pt x="58" y="20"/>
                    <a:pt x="58" y="20"/>
                  </a:cubicBezTo>
                  <a:cubicBezTo>
                    <a:pt x="58" y="21"/>
                    <a:pt x="59" y="21"/>
                    <a:pt x="59" y="22"/>
                  </a:cubicBezTo>
                  <a:cubicBezTo>
                    <a:pt x="59" y="22"/>
                    <a:pt x="59" y="23"/>
                    <a:pt x="59" y="23"/>
                  </a:cubicBezTo>
                  <a:cubicBezTo>
                    <a:pt x="59" y="24"/>
                    <a:pt x="60" y="25"/>
                    <a:pt x="61" y="25"/>
                  </a:cubicBezTo>
                  <a:cubicBezTo>
                    <a:pt x="62" y="26"/>
                    <a:pt x="63" y="26"/>
                    <a:pt x="64" y="26"/>
                  </a:cubicBezTo>
                  <a:cubicBezTo>
                    <a:pt x="66" y="26"/>
                    <a:pt x="67" y="26"/>
                    <a:pt x="69" y="25"/>
                  </a:cubicBezTo>
                  <a:cubicBezTo>
                    <a:pt x="70" y="25"/>
                    <a:pt x="71" y="24"/>
                    <a:pt x="72" y="23"/>
                  </a:cubicBezTo>
                  <a:cubicBezTo>
                    <a:pt x="72" y="23"/>
                    <a:pt x="74" y="23"/>
                    <a:pt x="74" y="22"/>
                  </a:cubicBezTo>
                  <a:cubicBezTo>
                    <a:pt x="74" y="21"/>
                    <a:pt x="73" y="20"/>
                    <a:pt x="72" y="20"/>
                  </a:cubicBezTo>
                  <a:cubicBezTo>
                    <a:pt x="71" y="19"/>
                    <a:pt x="69" y="17"/>
                    <a:pt x="67" y="18"/>
                  </a:cubicBezTo>
                  <a:cubicBezTo>
                    <a:pt x="66" y="18"/>
                    <a:pt x="66" y="18"/>
                    <a:pt x="65" y="18"/>
                  </a:cubicBezTo>
                  <a:cubicBezTo>
                    <a:pt x="64" y="17"/>
                    <a:pt x="64" y="17"/>
                    <a:pt x="63" y="17"/>
                  </a:cubicBezTo>
                  <a:cubicBezTo>
                    <a:pt x="61" y="17"/>
                    <a:pt x="61" y="16"/>
                    <a:pt x="60" y="14"/>
                  </a:cubicBezTo>
                  <a:cubicBezTo>
                    <a:pt x="60" y="13"/>
                    <a:pt x="59" y="10"/>
                    <a:pt x="58" y="9"/>
                  </a:cubicBezTo>
                  <a:cubicBezTo>
                    <a:pt x="57" y="9"/>
                    <a:pt x="56" y="9"/>
                    <a:pt x="56" y="8"/>
                  </a:cubicBezTo>
                  <a:cubicBezTo>
                    <a:pt x="56" y="7"/>
                    <a:pt x="56" y="7"/>
                    <a:pt x="56" y="7"/>
                  </a:cubicBezTo>
                  <a:cubicBezTo>
                    <a:pt x="56" y="6"/>
                    <a:pt x="56" y="6"/>
                    <a:pt x="56" y="6"/>
                  </a:cubicBezTo>
                  <a:cubicBezTo>
                    <a:pt x="56" y="5"/>
                    <a:pt x="59" y="5"/>
                    <a:pt x="60" y="5"/>
                  </a:cubicBezTo>
                  <a:cubicBezTo>
                    <a:pt x="61" y="6"/>
                    <a:pt x="60" y="7"/>
                    <a:pt x="61" y="8"/>
                  </a:cubicBezTo>
                  <a:cubicBezTo>
                    <a:pt x="61" y="8"/>
                    <a:pt x="62" y="8"/>
                    <a:pt x="63" y="9"/>
                  </a:cubicBezTo>
                  <a:cubicBezTo>
                    <a:pt x="63" y="9"/>
                    <a:pt x="65" y="10"/>
                    <a:pt x="65" y="10"/>
                  </a:cubicBezTo>
                  <a:cubicBezTo>
                    <a:pt x="66" y="11"/>
                    <a:pt x="65" y="12"/>
                    <a:pt x="66" y="13"/>
                  </a:cubicBezTo>
                  <a:cubicBezTo>
                    <a:pt x="66" y="14"/>
                    <a:pt x="67" y="14"/>
                    <a:pt x="68" y="14"/>
                  </a:cubicBezTo>
                  <a:cubicBezTo>
                    <a:pt x="69" y="14"/>
                    <a:pt x="70" y="14"/>
                    <a:pt x="71" y="14"/>
                  </a:cubicBezTo>
                  <a:cubicBezTo>
                    <a:pt x="71" y="15"/>
                    <a:pt x="71" y="16"/>
                    <a:pt x="72" y="17"/>
                  </a:cubicBezTo>
                  <a:cubicBezTo>
                    <a:pt x="72" y="18"/>
                    <a:pt x="72" y="18"/>
                    <a:pt x="73" y="18"/>
                  </a:cubicBezTo>
                  <a:cubicBezTo>
                    <a:pt x="74" y="18"/>
                    <a:pt x="74" y="19"/>
                    <a:pt x="75" y="20"/>
                  </a:cubicBezTo>
                  <a:cubicBezTo>
                    <a:pt x="75" y="20"/>
                    <a:pt x="76" y="21"/>
                    <a:pt x="76" y="21"/>
                  </a:cubicBezTo>
                  <a:cubicBezTo>
                    <a:pt x="79" y="22"/>
                    <a:pt x="81" y="20"/>
                    <a:pt x="83" y="19"/>
                  </a:cubicBezTo>
                  <a:cubicBezTo>
                    <a:pt x="85" y="19"/>
                    <a:pt x="85" y="20"/>
                    <a:pt x="87" y="20"/>
                  </a:cubicBezTo>
                  <a:cubicBezTo>
                    <a:pt x="89" y="20"/>
                    <a:pt x="90" y="20"/>
                    <a:pt x="91" y="22"/>
                  </a:cubicBezTo>
                  <a:cubicBezTo>
                    <a:pt x="93" y="23"/>
                    <a:pt x="93" y="22"/>
                    <a:pt x="94" y="21"/>
                  </a:cubicBezTo>
                  <a:cubicBezTo>
                    <a:pt x="95" y="19"/>
                    <a:pt x="99" y="19"/>
                    <a:pt x="98" y="17"/>
                  </a:cubicBezTo>
                  <a:cubicBezTo>
                    <a:pt x="97" y="17"/>
                    <a:pt x="96" y="15"/>
                    <a:pt x="96" y="13"/>
                  </a:cubicBezTo>
                  <a:cubicBezTo>
                    <a:pt x="96" y="12"/>
                    <a:pt x="97" y="10"/>
                    <a:pt x="96" y="9"/>
                  </a:cubicBezTo>
                  <a:cubicBezTo>
                    <a:pt x="94" y="7"/>
                    <a:pt x="91" y="8"/>
                    <a:pt x="90" y="7"/>
                  </a:cubicBezTo>
                  <a:cubicBezTo>
                    <a:pt x="89" y="6"/>
                    <a:pt x="89" y="5"/>
                    <a:pt x="88" y="5"/>
                  </a:cubicBezTo>
                  <a:cubicBezTo>
                    <a:pt x="87" y="4"/>
                    <a:pt x="86" y="4"/>
                    <a:pt x="86" y="4"/>
                  </a:cubicBezTo>
                  <a:cubicBezTo>
                    <a:pt x="84" y="3"/>
                    <a:pt x="82" y="4"/>
                    <a:pt x="81" y="2"/>
                  </a:cubicBezTo>
                  <a:cubicBezTo>
                    <a:pt x="81" y="2"/>
                    <a:pt x="81" y="1"/>
                    <a:pt x="80" y="1"/>
                  </a:cubicBezTo>
                  <a:cubicBezTo>
                    <a:pt x="80" y="1"/>
                    <a:pt x="79" y="1"/>
                    <a:pt x="78" y="2"/>
                  </a:cubicBezTo>
                  <a:cubicBezTo>
                    <a:pt x="77" y="2"/>
                    <a:pt x="77" y="3"/>
                    <a:pt x="76" y="3"/>
                  </a:cubicBezTo>
                  <a:cubicBezTo>
                    <a:pt x="75" y="2"/>
                    <a:pt x="75" y="2"/>
                    <a:pt x="75" y="2"/>
                  </a:cubicBezTo>
                  <a:cubicBezTo>
                    <a:pt x="75" y="2"/>
                    <a:pt x="75" y="1"/>
                    <a:pt x="74" y="1"/>
                  </a:cubicBezTo>
                  <a:cubicBezTo>
                    <a:pt x="73" y="1"/>
                    <a:pt x="72" y="1"/>
                    <a:pt x="71" y="1"/>
                  </a:cubicBezTo>
                  <a:cubicBezTo>
                    <a:pt x="70" y="0"/>
                    <a:pt x="68" y="0"/>
                    <a:pt x="66" y="0"/>
                  </a:cubicBezTo>
                  <a:cubicBezTo>
                    <a:pt x="66" y="0"/>
                    <a:pt x="63" y="0"/>
                    <a:pt x="63" y="1"/>
                  </a:cubicBezTo>
                  <a:cubicBezTo>
                    <a:pt x="63" y="1"/>
                    <a:pt x="64" y="2"/>
                    <a:pt x="64" y="2"/>
                  </a:cubicBezTo>
                  <a:cubicBezTo>
                    <a:pt x="63" y="2"/>
                    <a:pt x="60" y="2"/>
                    <a:pt x="61" y="1"/>
                  </a:cubicBezTo>
                  <a:cubicBezTo>
                    <a:pt x="60" y="1"/>
                    <a:pt x="58" y="2"/>
                    <a:pt x="57" y="2"/>
                  </a:cubicBezTo>
                  <a:cubicBezTo>
                    <a:pt x="57" y="2"/>
                    <a:pt x="57" y="3"/>
                    <a:pt x="56" y="3"/>
                  </a:cubicBezTo>
                  <a:cubicBezTo>
                    <a:pt x="55" y="3"/>
                    <a:pt x="55" y="2"/>
                    <a:pt x="55" y="2"/>
                  </a:cubicBezTo>
                  <a:cubicBezTo>
                    <a:pt x="54" y="2"/>
                    <a:pt x="53" y="3"/>
                    <a:pt x="52" y="4"/>
                  </a:cubicBezTo>
                  <a:cubicBezTo>
                    <a:pt x="52" y="4"/>
                    <a:pt x="50" y="3"/>
                    <a:pt x="50" y="3"/>
                  </a:cubicBezTo>
                  <a:cubicBezTo>
                    <a:pt x="49" y="2"/>
                    <a:pt x="48" y="3"/>
                    <a:pt x="48" y="4"/>
                  </a:cubicBezTo>
                  <a:cubicBezTo>
                    <a:pt x="47" y="4"/>
                    <a:pt x="46" y="4"/>
                    <a:pt x="45" y="5"/>
                  </a:cubicBezTo>
                  <a:cubicBezTo>
                    <a:pt x="44" y="5"/>
                    <a:pt x="42" y="6"/>
                    <a:pt x="41" y="5"/>
                  </a:cubicBezTo>
                  <a:cubicBezTo>
                    <a:pt x="41" y="4"/>
                    <a:pt x="41" y="4"/>
                    <a:pt x="40" y="4"/>
                  </a:cubicBezTo>
                  <a:cubicBezTo>
                    <a:pt x="40" y="5"/>
                    <a:pt x="40" y="5"/>
                    <a:pt x="39" y="6"/>
                  </a:cubicBezTo>
                  <a:cubicBezTo>
                    <a:pt x="39" y="6"/>
                    <a:pt x="39" y="7"/>
                    <a:pt x="38" y="7"/>
                  </a:cubicBezTo>
                  <a:cubicBezTo>
                    <a:pt x="38" y="7"/>
                    <a:pt x="38" y="6"/>
                    <a:pt x="38" y="6"/>
                  </a:cubicBezTo>
                  <a:cubicBezTo>
                    <a:pt x="36" y="6"/>
                    <a:pt x="35" y="6"/>
                    <a:pt x="35" y="8"/>
                  </a:cubicBezTo>
                  <a:cubicBezTo>
                    <a:pt x="35" y="8"/>
                    <a:pt x="34" y="10"/>
                    <a:pt x="35" y="10"/>
                  </a:cubicBezTo>
                  <a:cubicBezTo>
                    <a:pt x="36" y="11"/>
                    <a:pt x="36" y="10"/>
                    <a:pt x="37" y="9"/>
                  </a:cubicBezTo>
                  <a:cubicBezTo>
                    <a:pt x="37" y="9"/>
                    <a:pt x="37" y="9"/>
                    <a:pt x="38" y="8"/>
                  </a:cubicBezTo>
                  <a:cubicBezTo>
                    <a:pt x="38" y="8"/>
                    <a:pt x="40" y="8"/>
                    <a:pt x="40" y="9"/>
                  </a:cubicBezTo>
                  <a:cubicBezTo>
                    <a:pt x="41" y="9"/>
                    <a:pt x="41" y="9"/>
                    <a:pt x="41" y="9"/>
                  </a:cubicBezTo>
                  <a:cubicBezTo>
                    <a:pt x="42" y="8"/>
                    <a:pt x="42" y="8"/>
                    <a:pt x="42" y="8"/>
                  </a:cubicBezTo>
                  <a:cubicBezTo>
                    <a:pt x="43" y="8"/>
                    <a:pt x="43" y="8"/>
                    <a:pt x="43" y="9"/>
                  </a:cubicBezTo>
                  <a:cubicBezTo>
                    <a:pt x="43" y="10"/>
                    <a:pt x="43" y="10"/>
                    <a:pt x="43" y="10"/>
                  </a:cubicBezTo>
                  <a:cubicBezTo>
                    <a:pt x="44" y="11"/>
                    <a:pt x="44" y="11"/>
                    <a:pt x="44" y="11"/>
                  </a:cubicBezTo>
                  <a:cubicBezTo>
                    <a:pt x="42" y="12"/>
                    <a:pt x="42" y="12"/>
                    <a:pt x="42" y="12"/>
                  </a:cubicBezTo>
                  <a:cubicBezTo>
                    <a:pt x="42" y="13"/>
                    <a:pt x="41" y="13"/>
                    <a:pt x="41" y="13"/>
                  </a:cubicBezTo>
                  <a:cubicBezTo>
                    <a:pt x="39" y="14"/>
                    <a:pt x="39" y="13"/>
                    <a:pt x="39" y="12"/>
                  </a:cubicBezTo>
                  <a:cubicBezTo>
                    <a:pt x="38" y="12"/>
                    <a:pt x="37" y="12"/>
                    <a:pt x="36" y="12"/>
                  </a:cubicBezTo>
                  <a:cubicBezTo>
                    <a:pt x="36" y="13"/>
                    <a:pt x="34" y="12"/>
                    <a:pt x="33" y="12"/>
                  </a:cubicBezTo>
                  <a:cubicBezTo>
                    <a:pt x="33" y="12"/>
                    <a:pt x="31" y="12"/>
                    <a:pt x="32" y="13"/>
                  </a:cubicBezTo>
                  <a:cubicBezTo>
                    <a:pt x="32" y="14"/>
                    <a:pt x="33" y="13"/>
                    <a:pt x="34" y="14"/>
                  </a:cubicBezTo>
                  <a:cubicBezTo>
                    <a:pt x="34" y="14"/>
                    <a:pt x="35" y="15"/>
                    <a:pt x="36" y="15"/>
                  </a:cubicBezTo>
                  <a:cubicBezTo>
                    <a:pt x="37" y="16"/>
                    <a:pt x="38" y="15"/>
                    <a:pt x="39" y="15"/>
                  </a:cubicBezTo>
                  <a:cubicBezTo>
                    <a:pt x="40" y="15"/>
                    <a:pt x="41" y="16"/>
                    <a:pt x="42" y="16"/>
                  </a:cubicBezTo>
                  <a:cubicBezTo>
                    <a:pt x="43" y="16"/>
                    <a:pt x="43" y="16"/>
                    <a:pt x="44" y="17"/>
                  </a:cubicBezTo>
                  <a:cubicBezTo>
                    <a:pt x="45" y="17"/>
                    <a:pt x="45" y="16"/>
                    <a:pt x="45" y="16"/>
                  </a:cubicBezTo>
                  <a:cubicBezTo>
                    <a:pt x="46" y="15"/>
                    <a:pt x="47" y="15"/>
                    <a:pt x="47" y="15"/>
                  </a:cubicBezTo>
                  <a:cubicBezTo>
                    <a:pt x="48" y="15"/>
                    <a:pt x="49" y="15"/>
                    <a:pt x="49" y="15"/>
                  </a:cubicBezTo>
                  <a:cubicBezTo>
                    <a:pt x="49" y="16"/>
                    <a:pt x="49" y="17"/>
                    <a:pt x="49" y="17"/>
                  </a:cubicBezTo>
                  <a:cubicBezTo>
                    <a:pt x="49" y="18"/>
                    <a:pt x="50" y="18"/>
                    <a:pt x="50" y="19"/>
                  </a:cubicBezTo>
                  <a:cubicBezTo>
                    <a:pt x="51" y="19"/>
                    <a:pt x="50" y="20"/>
                    <a:pt x="50" y="21"/>
                  </a:cubicBezTo>
                  <a:cubicBezTo>
                    <a:pt x="50" y="22"/>
                    <a:pt x="50" y="24"/>
                    <a:pt x="50" y="26"/>
                  </a:cubicBezTo>
                  <a:cubicBezTo>
                    <a:pt x="48" y="27"/>
                    <a:pt x="47" y="26"/>
                    <a:pt x="45" y="27"/>
                  </a:cubicBezTo>
                  <a:close/>
                  <a:moveTo>
                    <a:pt x="45" y="54"/>
                  </a:moveTo>
                  <a:cubicBezTo>
                    <a:pt x="46" y="54"/>
                    <a:pt x="47" y="54"/>
                    <a:pt x="48" y="54"/>
                  </a:cubicBezTo>
                  <a:cubicBezTo>
                    <a:pt x="50" y="54"/>
                    <a:pt x="52" y="55"/>
                    <a:pt x="55" y="55"/>
                  </a:cubicBezTo>
                  <a:cubicBezTo>
                    <a:pt x="57" y="55"/>
                    <a:pt x="59" y="54"/>
                    <a:pt x="62" y="53"/>
                  </a:cubicBezTo>
                  <a:cubicBezTo>
                    <a:pt x="63" y="53"/>
                    <a:pt x="64" y="53"/>
                    <a:pt x="65" y="53"/>
                  </a:cubicBezTo>
                  <a:cubicBezTo>
                    <a:pt x="66" y="52"/>
                    <a:pt x="67" y="52"/>
                    <a:pt x="68" y="52"/>
                  </a:cubicBezTo>
                  <a:cubicBezTo>
                    <a:pt x="69" y="52"/>
                    <a:pt x="71" y="51"/>
                    <a:pt x="71" y="50"/>
                  </a:cubicBezTo>
                  <a:cubicBezTo>
                    <a:pt x="70" y="50"/>
                    <a:pt x="69" y="49"/>
                    <a:pt x="70" y="48"/>
                  </a:cubicBezTo>
                  <a:cubicBezTo>
                    <a:pt x="71" y="48"/>
                    <a:pt x="71" y="48"/>
                    <a:pt x="71" y="48"/>
                  </a:cubicBezTo>
                  <a:cubicBezTo>
                    <a:pt x="71" y="47"/>
                    <a:pt x="71" y="47"/>
                    <a:pt x="71" y="47"/>
                  </a:cubicBezTo>
                  <a:cubicBezTo>
                    <a:pt x="70" y="47"/>
                    <a:pt x="68" y="47"/>
                    <a:pt x="67" y="47"/>
                  </a:cubicBezTo>
                  <a:cubicBezTo>
                    <a:pt x="67" y="48"/>
                    <a:pt x="67" y="48"/>
                    <a:pt x="67" y="48"/>
                  </a:cubicBezTo>
                  <a:cubicBezTo>
                    <a:pt x="67" y="49"/>
                    <a:pt x="66" y="49"/>
                    <a:pt x="66" y="49"/>
                  </a:cubicBezTo>
                  <a:cubicBezTo>
                    <a:pt x="64" y="48"/>
                    <a:pt x="64" y="48"/>
                    <a:pt x="64" y="48"/>
                  </a:cubicBezTo>
                  <a:cubicBezTo>
                    <a:pt x="64" y="48"/>
                    <a:pt x="64" y="49"/>
                    <a:pt x="64" y="49"/>
                  </a:cubicBezTo>
                  <a:cubicBezTo>
                    <a:pt x="64" y="49"/>
                    <a:pt x="63" y="50"/>
                    <a:pt x="62" y="49"/>
                  </a:cubicBezTo>
                  <a:cubicBezTo>
                    <a:pt x="62" y="49"/>
                    <a:pt x="62" y="49"/>
                    <a:pt x="62" y="49"/>
                  </a:cubicBezTo>
                  <a:cubicBezTo>
                    <a:pt x="61" y="49"/>
                    <a:pt x="61" y="49"/>
                    <a:pt x="61" y="49"/>
                  </a:cubicBezTo>
                  <a:cubicBezTo>
                    <a:pt x="60" y="49"/>
                    <a:pt x="59" y="49"/>
                    <a:pt x="59" y="49"/>
                  </a:cubicBezTo>
                  <a:cubicBezTo>
                    <a:pt x="58" y="49"/>
                    <a:pt x="58" y="49"/>
                    <a:pt x="57" y="49"/>
                  </a:cubicBezTo>
                  <a:cubicBezTo>
                    <a:pt x="56" y="49"/>
                    <a:pt x="56" y="49"/>
                    <a:pt x="55" y="49"/>
                  </a:cubicBezTo>
                  <a:cubicBezTo>
                    <a:pt x="54" y="49"/>
                    <a:pt x="54" y="49"/>
                    <a:pt x="54" y="49"/>
                  </a:cubicBezTo>
                  <a:cubicBezTo>
                    <a:pt x="54" y="50"/>
                    <a:pt x="53" y="50"/>
                    <a:pt x="52" y="50"/>
                  </a:cubicBezTo>
                  <a:cubicBezTo>
                    <a:pt x="52" y="49"/>
                    <a:pt x="52" y="49"/>
                    <a:pt x="52" y="49"/>
                  </a:cubicBezTo>
                  <a:cubicBezTo>
                    <a:pt x="51" y="49"/>
                    <a:pt x="51" y="49"/>
                    <a:pt x="50" y="49"/>
                  </a:cubicBezTo>
                  <a:cubicBezTo>
                    <a:pt x="50" y="50"/>
                    <a:pt x="50" y="50"/>
                    <a:pt x="50" y="50"/>
                  </a:cubicBezTo>
                  <a:cubicBezTo>
                    <a:pt x="50" y="50"/>
                    <a:pt x="49" y="50"/>
                    <a:pt x="48" y="50"/>
                  </a:cubicBezTo>
                  <a:cubicBezTo>
                    <a:pt x="48" y="50"/>
                    <a:pt x="47" y="50"/>
                    <a:pt x="47" y="49"/>
                  </a:cubicBezTo>
                  <a:cubicBezTo>
                    <a:pt x="47" y="49"/>
                    <a:pt x="47" y="49"/>
                    <a:pt x="47" y="48"/>
                  </a:cubicBezTo>
                  <a:cubicBezTo>
                    <a:pt x="46" y="48"/>
                    <a:pt x="45" y="48"/>
                    <a:pt x="45" y="49"/>
                  </a:cubicBezTo>
                  <a:cubicBezTo>
                    <a:pt x="45" y="49"/>
                    <a:pt x="45" y="50"/>
                    <a:pt x="45" y="50"/>
                  </a:cubicBezTo>
                  <a:cubicBezTo>
                    <a:pt x="45" y="51"/>
                    <a:pt x="45" y="51"/>
                    <a:pt x="45" y="52"/>
                  </a:cubicBezTo>
                  <a:cubicBezTo>
                    <a:pt x="45" y="53"/>
                    <a:pt x="44" y="53"/>
                    <a:pt x="44" y="54"/>
                  </a:cubicBezTo>
                  <a:cubicBezTo>
                    <a:pt x="44" y="55"/>
                    <a:pt x="45" y="55"/>
                    <a:pt x="45" y="54"/>
                  </a:cubicBezTo>
                  <a:close/>
                  <a:moveTo>
                    <a:pt x="60" y="69"/>
                  </a:moveTo>
                  <a:cubicBezTo>
                    <a:pt x="62" y="70"/>
                    <a:pt x="62" y="71"/>
                    <a:pt x="62" y="73"/>
                  </a:cubicBezTo>
                  <a:cubicBezTo>
                    <a:pt x="62" y="74"/>
                    <a:pt x="63" y="76"/>
                    <a:pt x="64" y="76"/>
                  </a:cubicBezTo>
                  <a:cubicBezTo>
                    <a:pt x="65" y="77"/>
                    <a:pt x="66" y="77"/>
                    <a:pt x="67" y="78"/>
                  </a:cubicBezTo>
                  <a:cubicBezTo>
                    <a:pt x="68" y="79"/>
                    <a:pt x="68" y="81"/>
                    <a:pt x="69" y="81"/>
                  </a:cubicBezTo>
                  <a:cubicBezTo>
                    <a:pt x="70" y="81"/>
                    <a:pt x="70" y="81"/>
                    <a:pt x="70" y="81"/>
                  </a:cubicBezTo>
                  <a:cubicBezTo>
                    <a:pt x="71" y="81"/>
                    <a:pt x="72" y="81"/>
                    <a:pt x="73" y="80"/>
                  </a:cubicBezTo>
                  <a:cubicBezTo>
                    <a:pt x="73" y="80"/>
                    <a:pt x="73" y="80"/>
                    <a:pt x="74" y="81"/>
                  </a:cubicBezTo>
                  <a:cubicBezTo>
                    <a:pt x="74" y="81"/>
                    <a:pt x="74" y="81"/>
                    <a:pt x="75" y="81"/>
                  </a:cubicBezTo>
                  <a:cubicBezTo>
                    <a:pt x="76" y="82"/>
                    <a:pt x="77" y="81"/>
                    <a:pt x="77" y="81"/>
                  </a:cubicBezTo>
                  <a:cubicBezTo>
                    <a:pt x="78" y="80"/>
                    <a:pt x="78" y="79"/>
                    <a:pt x="78" y="79"/>
                  </a:cubicBezTo>
                  <a:cubicBezTo>
                    <a:pt x="78" y="78"/>
                    <a:pt x="78" y="77"/>
                    <a:pt x="79" y="76"/>
                  </a:cubicBezTo>
                  <a:cubicBezTo>
                    <a:pt x="80" y="76"/>
                    <a:pt x="80" y="76"/>
                    <a:pt x="80" y="75"/>
                  </a:cubicBezTo>
                  <a:cubicBezTo>
                    <a:pt x="80" y="73"/>
                    <a:pt x="80" y="70"/>
                    <a:pt x="81" y="68"/>
                  </a:cubicBezTo>
                  <a:cubicBezTo>
                    <a:pt x="81" y="66"/>
                    <a:pt x="82" y="64"/>
                    <a:pt x="82" y="63"/>
                  </a:cubicBezTo>
                  <a:cubicBezTo>
                    <a:pt x="82" y="61"/>
                    <a:pt x="83" y="59"/>
                    <a:pt x="81" y="57"/>
                  </a:cubicBezTo>
                  <a:cubicBezTo>
                    <a:pt x="81" y="56"/>
                    <a:pt x="80" y="55"/>
                    <a:pt x="80" y="55"/>
                  </a:cubicBezTo>
                  <a:cubicBezTo>
                    <a:pt x="79" y="55"/>
                    <a:pt x="78" y="55"/>
                    <a:pt x="77" y="56"/>
                  </a:cubicBezTo>
                  <a:cubicBezTo>
                    <a:pt x="76" y="56"/>
                    <a:pt x="74" y="57"/>
                    <a:pt x="74" y="56"/>
                  </a:cubicBezTo>
                  <a:cubicBezTo>
                    <a:pt x="74" y="55"/>
                    <a:pt x="74" y="55"/>
                    <a:pt x="73" y="54"/>
                  </a:cubicBezTo>
                  <a:cubicBezTo>
                    <a:pt x="73" y="54"/>
                    <a:pt x="72" y="54"/>
                    <a:pt x="72" y="54"/>
                  </a:cubicBezTo>
                  <a:cubicBezTo>
                    <a:pt x="70" y="54"/>
                    <a:pt x="69" y="54"/>
                    <a:pt x="68" y="55"/>
                  </a:cubicBezTo>
                  <a:cubicBezTo>
                    <a:pt x="67" y="55"/>
                    <a:pt x="66" y="55"/>
                    <a:pt x="66" y="55"/>
                  </a:cubicBezTo>
                  <a:cubicBezTo>
                    <a:pt x="65" y="56"/>
                    <a:pt x="64" y="56"/>
                    <a:pt x="64" y="56"/>
                  </a:cubicBezTo>
                  <a:cubicBezTo>
                    <a:pt x="63" y="57"/>
                    <a:pt x="61" y="57"/>
                    <a:pt x="60" y="57"/>
                  </a:cubicBezTo>
                  <a:cubicBezTo>
                    <a:pt x="59" y="57"/>
                    <a:pt x="57" y="57"/>
                    <a:pt x="57" y="58"/>
                  </a:cubicBezTo>
                  <a:cubicBezTo>
                    <a:pt x="56" y="59"/>
                    <a:pt x="57" y="60"/>
                    <a:pt x="57" y="60"/>
                  </a:cubicBezTo>
                  <a:cubicBezTo>
                    <a:pt x="58" y="61"/>
                    <a:pt x="59" y="63"/>
                    <a:pt x="60" y="64"/>
                  </a:cubicBezTo>
                  <a:cubicBezTo>
                    <a:pt x="60" y="65"/>
                    <a:pt x="60" y="65"/>
                    <a:pt x="59" y="66"/>
                  </a:cubicBezTo>
                  <a:cubicBezTo>
                    <a:pt x="59" y="66"/>
                    <a:pt x="58" y="66"/>
                    <a:pt x="59" y="67"/>
                  </a:cubicBezTo>
                  <a:cubicBezTo>
                    <a:pt x="59" y="68"/>
                    <a:pt x="60" y="69"/>
                    <a:pt x="60" y="69"/>
                  </a:cubicBezTo>
                  <a:close/>
                  <a:moveTo>
                    <a:pt x="232" y="150"/>
                  </a:moveTo>
                  <a:cubicBezTo>
                    <a:pt x="232" y="151"/>
                    <a:pt x="233" y="151"/>
                    <a:pt x="233" y="152"/>
                  </a:cubicBezTo>
                  <a:cubicBezTo>
                    <a:pt x="234" y="152"/>
                    <a:pt x="234" y="153"/>
                    <a:pt x="235" y="153"/>
                  </a:cubicBezTo>
                  <a:cubicBezTo>
                    <a:pt x="235" y="153"/>
                    <a:pt x="235" y="154"/>
                    <a:pt x="236" y="154"/>
                  </a:cubicBezTo>
                  <a:cubicBezTo>
                    <a:pt x="237" y="154"/>
                    <a:pt x="237" y="154"/>
                    <a:pt x="238" y="153"/>
                  </a:cubicBezTo>
                  <a:cubicBezTo>
                    <a:pt x="238" y="153"/>
                    <a:pt x="238" y="151"/>
                    <a:pt x="237" y="150"/>
                  </a:cubicBezTo>
                  <a:cubicBezTo>
                    <a:pt x="237" y="150"/>
                    <a:pt x="236" y="150"/>
                    <a:pt x="236" y="150"/>
                  </a:cubicBezTo>
                  <a:cubicBezTo>
                    <a:pt x="235" y="150"/>
                    <a:pt x="234" y="150"/>
                    <a:pt x="234" y="149"/>
                  </a:cubicBezTo>
                  <a:cubicBezTo>
                    <a:pt x="233" y="149"/>
                    <a:pt x="233" y="149"/>
                    <a:pt x="232" y="149"/>
                  </a:cubicBezTo>
                  <a:cubicBezTo>
                    <a:pt x="231" y="148"/>
                    <a:pt x="231" y="148"/>
                    <a:pt x="231" y="149"/>
                  </a:cubicBezTo>
                  <a:cubicBezTo>
                    <a:pt x="231" y="149"/>
                    <a:pt x="231" y="150"/>
                    <a:pt x="232" y="150"/>
                  </a:cubicBezTo>
                  <a:close/>
                  <a:moveTo>
                    <a:pt x="251" y="135"/>
                  </a:moveTo>
                  <a:cubicBezTo>
                    <a:pt x="251" y="135"/>
                    <a:pt x="250" y="136"/>
                    <a:pt x="249" y="136"/>
                  </a:cubicBezTo>
                  <a:cubicBezTo>
                    <a:pt x="248" y="136"/>
                    <a:pt x="247" y="136"/>
                    <a:pt x="247" y="137"/>
                  </a:cubicBezTo>
                  <a:cubicBezTo>
                    <a:pt x="247" y="138"/>
                    <a:pt x="248" y="138"/>
                    <a:pt x="249" y="138"/>
                  </a:cubicBezTo>
                  <a:cubicBezTo>
                    <a:pt x="249" y="139"/>
                    <a:pt x="250" y="139"/>
                    <a:pt x="251" y="139"/>
                  </a:cubicBezTo>
                  <a:cubicBezTo>
                    <a:pt x="252" y="139"/>
                    <a:pt x="253" y="138"/>
                    <a:pt x="255" y="138"/>
                  </a:cubicBezTo>
                  <a:cubicBezTo>
                    <a:pt x="256" y="138"/>
                    <a:pt x="256" y="138"/>
                    <a:pt x="257" y="138"/>
                  </a:cubicBezTo>
                  <a:cubicBezTo>
                    <a:pt x="257" y="137"/>
                    <a:pt x="257" y="137"/>
                    <a:pt x="257" y="136"/>
                  </a:cubicBezTo>
                  <a:cubicBezTo>
                    <a:pt x="257" y="135"/>
                    <a:pt x="257" y="135"/>
                    <a:pt x="256" y="135"/>
                  </a:cubicBezTo>
                  <a:cubicBezTo>
                    <a:pt x="255" y="135"/>
                    <a:pt x="254" y="135"/>
                    <a:pt x="253" y="135"/>
                  </a:cubicBezTo>
                  <a:cubicBezTo>
                    <a:pt x="253" y="135"/>
                    <a:pt x="253" y="135"/>
                    <a:pt x="253" y="135"/>
                  </a:cubicBezTo>
                  <a:cubicBezTo>
                    <a:pt x="252" y="135"/>
                    <a:pt x="252" y="135"/>
                    <a:pt x="251" y="135"/>
                  </a:cubicBezTo>
                  <a:close/>
                  <a:moveTo>
                    <a:pt x="220" y="252"/>
                  </a:moveTo>
                  <a:cubicBezTo>
                    <a:pt x="220" y="253"/>
                    <a:pt x="221" y="254"/>
                    <a:pt x="221" y="255"/>
                  </a:cubicBezTo>
                  <a:cubicBezTo>
                    <a:pt x="222" y="256"/>
                    <a:pt x="223" y="257"/>
                    <a:pt x="225" y="258"/>
                  </a:cubicBezTo>
                  <a:cubicBezTo>
                    <a:pt x="227" y="258"/>
                    <a:pt x="227" y="259"/>
                    <a:pt x="228" y="259"/>
                  </a:cubicBezTo>
                  <a:cubicBezTo>
                    <a:pt x="228" y="260"/>
                    <a:pt x="229" y="260"/>
                    <a:pt x="230" y="260"/>
                  </a:cubicBezTo>
                  <a:cubicBezTo>
                    <a:pt x="231" y="260"/>
                    <a:pt x="232" y="260"/>
                    <a:pt x="233" y="260"/>
                  </a:cubicBezTo>
                  <a:cubicBezTo>
                    <a:pt x="234" y="260"/>
                    <a:pt x="234" y="260"/>
                    <a:pt x="234" y="260"/>
                  </a:cubicBezTo>
                  <a:cubicBezTo>
                    <a:pt x="235" y="261"/>
                    <a:pt x="237" y="262"/>
                    <a:pt x="238" y="263"/>
                  </a:cubicBezTo>
                  <a:cubicBezTo>
                    <a:pt x="238" y="261"/>
                    <a:pt x="237" y="261"/>
                    <a:pt x="236" y="260"/>
                  </a:cubicBezTo>
                  <a:cubicBezTo>
                    <a:pt x="235" y="259"/>
                    <a:pt x="234" y="258"/>
                    <a:pt x="232" y="257"/>
                  </a:cubicBezTo>
                  <a:cubicBezTo>
                    <a:pt x="231" y="257"/>
                    <a:pt x="230" y="256"/>
                    <a:pt x="229" y="256"/>
                  </a:cubicBezTo>
                  <a:cubicBezTo>
                    <a:pt x="228" y="255"/>
                    <a:pt x="227" y="255"/>
                    <a:pt x="226" y="255"/>
                  </a:cubicBezTo>
                  <a:cubicBezTo>
                    <a:pt x="226" y="254"/>
                    <a:pt x="225" y="254"/>
                    <a:pt x="225" y="253"/>
                  </a:cubicBezTo>
                  <a:cubicBezTo>
                    <a:pt x="224" y="253"/>
                    <a:pt x="223" y="252"/>
                    <a:pt x="222" y="251"/>
                  </a:cubicBezTo>
                  <a:cubicBezTo>
                    <a:pt x="222" y="251"/>
                    <a:pt x="220" y="251"/>
                    <a:pt x="220" y="252"/>
                  </a:cubicBezTo>
                  <a:close/>
                  <a:moveTo>
                    <a:pt x="339" y="229"/>
                  </a:moveTo>
                  <a:cubicBezTo>
                    <a:pt x="318" y="222"/>
                    <a:pt x="318" y="222"/>
                    <a:pt x="318" y="222"/>
                  </a:cubicBezTo>
                  <a:cubicBezTo>
                    <a:pt x="301" y="217"/>
                    <a:pt x="301" y="217"/>
                    <a:pt x="301" y="217"/>
                  </a:cubicBezTo>
                  <a:cubicBezTo>
                    <a:pt x="301" y="216"/>
                    <a:pt x="301" y="216"/>
                    <a:pt x="301" y="216"/>
                  </a:cubicBezTo>
                  <a:cubicBezTo>
                    <a:pt x="306" y="208"/>
                    <a:pt x="306" y="208"/>
                    <a:pt x="306" y="208"/>
                  </a:cubicBezTo>
                  <a:cubicBezTo>
                    <a:pt x="306" y="205"/>
                    <a:pt x="306" y="205"/>
                    <a:pt x="306" y="205"/>
                  </a:cubicBezTo>
                  <a:cubicBezTo>
                    <a:pt x="305" y="202"/>
                    <a:pt x="305" y="202"/>
                    <a:pt x="305" y="202"/>
                  </a:cubicBezTo>
                  <a:cubicBezTo>
                    <a:pt x="298" y="152"/>
                    <a:pt x="298" y="152"/>
                    <a:pt x="298" y="152"/>
                  </a:cubicBezTo>
                  <a:cubicBezTo>
                    <a:pt x="298" y="152"/>
                    <a:pt x="298" y="152"/>
                    <a:pt x="298" y="152"/>
                  </a:cubicBezTo>
                  <a:cubicBezTo>
                    <a:pt x="297" y="152"/>
                    <a:pt x="296" y="153"/>
                    <a:pt x="296" y="153"/>
                  </a:cubicBezTo>
                  <a:cubicBezTo>
                    <a:pt x="295" y="153"/>
                    <a:pt x="294" y="153"/>
                    <a:pt x="293" y="153"/>
                  </a:cubicBezTo>
                  <a:cubicBezTo>
                    <a:pt x="293" y="154"/>
                    <a:pt x="292" y="154"/>
                    <a:pt x="292" y="155"/>
                  </a:cubicBezTo>
                  <a:cubicBezTo>
                    <a:pt x="291" y="155"/>
                    <a:pt x="290" y="156"/>
                    <a:pt x="290" y="156"/>
                  </a:cubicBezTo>
                  <a:cubicBezTo>
                    <a:pt x="289" y="158"/>
                    <a:pt x="291" y="159"/>
                    <a:pt x="291" y="160"/>
                  </a:cubicBezTo>
                  <a:cubicBezTo>
                    <a:pt x="292" y="161"/>
                    <a:pt x="292" y="163"/>
                    <a:pt x="292" y="164"/>
                  </a:cubicBezTo>
                  <a:cubicBezTo>
                    <a:pt x="293" y="166"/>
                    <a:pt x="294" y="169"/>
                    <a:pt x="294" y="171"/>
                  </a:cubicBezTo>
                  <a:cubicBezTo>
                    <a:pt x="294" y="172"/>
                    <a:pt x="294" y="174"/>
                    <a:pt x="293" y="175"/>
                  </a:cubicBezTo>
                  <a:cubicBezTo>
                    <a:pt x="292" y="175"/>
                    <a:pt x="291" y="175"/>
                    <a:pt x="290" y="174"/>
                  </a:cubicBezTo>
                  <a:cubicBezTo>
                    <a:pt x="289" y="174"/>
                    <a:pt x="289" y="173"/>
                    <a:pt x="289" y="172"/>
                  </a:cubicBezTo>
                  <a:cubicBezTo>
                    <a:pt x="288" y="171"/>
                    <a:pt x="287" y="169"/>
                    <a:pt x="286" y="167"/>
                  </a:cubicBezTo>
                  <a:cubicBezTo>
                    <a:pt x="286" y="165"/>
                    <a:pt x="286" y="164"/>
                    <a:pt x="284" y="164"/>
                  </a:cubicBezTo>
                  <a:cubicBezTo>
                    <a:pt x="283" y="163"/>
                    <a:pt x="283" y="162"/>
                    <a:pt x="283" y="161"/>
                  </a:cubicBezTo>
                  <a:cubicBezTo>
                    <a:pt x="282" y="160"/>
                    <a:pt x="282" y="159"/>
                    <a:pt x="282" y="158"/>
                  </a:cubicBezTo>
                  <a:cubicBezTo>
                    <a:pt x="281" y="158"/>
                    <a:pt x="281" y="158"/>
                    <a:pt x="281" y="157"/>
                  </a:cubicBezTo>
                  <a:cubicBezTo>
                    <a:pt x="279" y="156"/>
                    <a:pt x="280" y="155"/>
                    <a:pt x="279" y="154"/>
                  </a:cubicBezTo>
                  <a:cubicBezTo>
                    <a:pt x="279" y="153"/>
                    <a:pt x="279" y="153"/>
                    <a:pt x="278" y="152"/>
                  </a:cubicBezTo>
                  <a:cubicBezTo>
                    <a:pt x="278" y="152"/>
                    <a:pt x="278" y="151"/>
                    <a:pt x="278" y="151"/>
                  </a:cubicBezTo>
                  <a:cubicBezTo>
                    <a:pt x="277" y="149"/>
                    <a:pt x="276" y="148"/>
                    <a:pt x="275" y="148"/>
                  </a:cubicBezTo>
                  <a:cubicBezTo>
                    <a:pt x="274" y="147"/>
                    <a:pt x="273" y="146"/>
                    <a:pt x="272" y="145"/>
                  </a:cubicBezTo>
                  <a:cubicBezTo>
                    <a:pt x="271" y="144"/>
                    <a:pt x="271" y="143"/>
                    <a:pt x="271" y="142"/>
                  </a:cubicBezTo>
                  <a:cubicBezTo>
                    <a:pt x="270" y="141"/>
                    <a:pt x="270" y="140"/>
                    <a:pt x="270" y="138"/>
                  </a:cubicBezTo>
                  <a:cubicBezTo>
                    <a:pt x="270" y="137"/>
                    <a:pt x="269" y="135"/>
                    <a:pt x="269" y="133"/>
                  </a:cubicBezTo>
                  <a:cubicBezTo>
                    <a:pt x="269" y="132"/>
                    <a:pt x="268" y="131"/>
                    <a:pt x="268" y="130"/>
                  </a:cubicBezTo>
                  <a:cubicBezTo>
                    <a:pt x="267" y="129"/>
                    <a:pt x="267" y="128"/>
                    <a:pt x="267" y="127"/>
                  </a:cubicBezTo>
                  <a:cubicBezTo>
                    <a:pt x="267" y="124"/>
                    <a:pt x="268" y="123"/>
                    <a:pt x="268" y="121"/>
                  </a:cubicBezTo>
                  <a:cubicBezTo>
                    <a:pt x="268" y="119"/>
                    <a:pt x="269" y="116"/>
                    <a:pt x="268" y="114"/>
                  </a:cubicBezTo>
                  <a:cubicBezTo>
                    <a:pt x="267" y="113"/>
                    <a:pt x="267" y="113"/>
                    <a:pt x="267" y="112"/>
                  </a:cubicBezTo>
                  <a:cubicBezTo>
                    <a:pt x="267" y="110"/>
                    <a:pt x="267" y="109"/>
                    <a:pt x="267" y="108"/>
                  </a:cubicBezTo>
                  <a:cubicBezTo>
                    <a:pt x="267" y="107"/>
                    <a:pt x="266" y="107"/>
                    <a:pt x="266" y="106"/>
                  </a:cubicBezTo>
                  <a:cubicBezTo>
                    <a:pt x="266" y="105"/>
                    <a:pt x="265" y="103"/>
                    <a:pt x="265" y="102"/>
                  </a:cubicBezTo>
                  <a:cubicBezTo>
                    <a:pt x="265" y="101"/>
                    <a:pt x="265" y="101"/>
                    <a:pt x="266" y="101"/>
                  </a:cubicBezTo>
                  <a:cubicBezTo>
                    <a:pt x="266" y="100"/>
                    <a:pt x="266" y="100"/>
                    <a:pt x="267" y="100"/>
                  </a:cubicBezTo>
                  <a:cubicBezTo>
                    <a:pt x="267" y="100"/>
                    <a:pt x="268" y="100"/>
                    <a:pt x="268" y="99"/>
                  </a:cubicBezTo>
                  <a:cubicBezTo>
                    <a:pt x="268" y="99"/>
                    <a:pt x="269" y="99"/>
                    <a:pt x="269" y="98"/>
                  </a:cubicBezTo>
                  <a:cubicBezTo>
                    <a:pt x="269" y="98"/>
                    <a:pt x="270" y="97"/>
                    <a:pt x="270" y="97"/>
                  </a:cubicBezTo>
                  <a:cubicBezTo>
                    <a:pt x="270" y="96"/>
                    <a:pt x="271" y="96"/>
                    <a:pt x="271" y="96"/>
                  </a:cubicBezTo>
                  <a:cubicBezTo>
                    <a:pt x="272" y="95"/>
                    <a:pt x="272" y="94"/>
                    <a:pt x="273" y="93"/>
                  </a:cubicBezTo>
                  <a:cubicBezTo>
                    <a:pt x="273" y="92"/>
                    <a:pt x="274" y="92"/>
                    <a:pt x="274" y="91"/>
                  </a:cubicBezTo>
                  <a:cubicBezTo>
                    <a:pt x="273" y="90"/>
                    <a:pt x="273" y="89"/>
                    <a:pt x="273" y="88"/>
                  </a:cubicBezTo>
                  <a:cubicBezTo>
                    <a:pt x="273" y="87"/>
                    <a:pt x="273" y="86"/>
                    <a:pt x="274" y="85"/>
                  </a:cubicBezTo>
                  <a:cubicBezTo>
                    <a:pt x="274" y="84"/>
                    <a:pt x="275" y="84"/>
                    <a:pt x="276" y="83"/>
                  </a:cubicBezTo>
                  <a:cubicBezTo>
                    <a:pt x="276" y="82"/>
                    <a:pt x="277" y="82"/>
                    <a:pt x="276" y="81"/>
                  </a:cubicBezTo>
                  <a:cubicBezTo>
                    <a:pt x="276" y="81"/>
                    <a:pt x="276" y="80"/>
                    <a:pt x="276" y="79"/>
                  </a:cubicBezTo>
                  <a:cubicBezTo>
                    <a:pt x="275" y="79"/>
                    <a:pt x="275" y="78"/>
                    <a:pt x="274" y="77"/>
                  </a:cubicBezTo>
                  <a:cubicBezTo>
                    <a:pt x="274" y="77"/>
                    <a:pt x="274" y="76"/>
                    <a:pt x="273" y="75"/>
                  </a:cubicBezTo>
                  <a:cubicBezTo>
                    <a:pt x="272" y="74"/>
                    <a:pt x="271" y="73"/>
                    <a:pt x="270" y="71"/>
                  </a:cubicBezTo>
                  <a:cubicBezTo>
                    <a:pt x="269" y="71"/>
                    <a:pt x="269" y="70"/>
                    <a:pt x="268" y="69"/>
                  </a:cubicBezTo>
                  <a:cubicBezTo>
                    <a:pt x="268" y="69"/>
                    <a:pt x="267" y="69"/>
                    <a:pt x="267" y="68"/>
                  </a:cubicBezTo>
                  <a:cubicBezTo>
                    <a:pt x="266" y="67"/>
                    <a:pt x="265" y="66"/>
                    <a:pt x="265" y="64"/>
                  </a:cubicBezTo>
                  <a:cubicBezTo>
                    <a:pt x="265" y="63"/>
                    <a:pt x="265" y="62"/>
                    <a:pt x="264" y="62"/>
                  </a:cubicBezTo>
                  <a:cubicBezTo>
                    <a:pt x="264" y="61"/>
                    <a:pt x="263" y="60"/>
                    <a:pt x="262" y="59"/>
                  </a:cubicBezTo>
                  <a:cubicBezTo>
                    <a:pt x="262" y="58"/>
                    <a:pt x="262" y="57"/>
                    <a:pt x="262" y="56"/>
                  </a:cubicBezTo>
                  <a:cubicBezTo>
                    <a:pt x="263" y="56"/>
                    <a:pt x="263" y="56"/>
                    <a:pt x="264" y="55"/>
                  </a:cubicBezTo>
                  <a:cubicBezTo>
                    <a:pt x="264" y="55"/>
                    <a:pt x="264" y="53"/>
                    <a:pt x="264" y="52"/>
                  </a:cubicBezTo>
                  <a:cubicBezTo>
                    <a:pt x="265" y="52"/>
                    <a:pt x="266" y="53"/>
                    <a:pt x="266" y="53"/>
                  </a:cubicBezTo>
                  <a:cubicBezTo>
                    <a:pt x="267" y="53"/>
                    <a:pt x="267" y="53"/>
                    <a:pt x="268" y="53"/>
                  </a:cubicBezTo>
                  <a:cubicBezTo>
                    <a:pt x="269" y="51"/>
                    <a:pt x="267" y="50"/>
                    <a:pt x="265" y="50"/>
                  </a:cubicBezTo>
                  <a:cubicBezTo>
                    <a:pt x="264" y="48"/>
                    <a:pt x="261" y="48"/>
                    <a:pt x="260" y="46"/>
                  </a:cubicBezTo>
                  <a:cubicBezTo>
                    <a:pt x="260" y="45"/>
                    <a:pt x="260" y="45"/>
                    <a:pt x="259" y="45"/>
                  </a:cubicBezTo>
                  <a:cubicBezTo>
                    <a:pt x="259" y="44"/>
                    <a:pt x="259" y="44"/>
                    <a:pt x="258" y="43"/>
                  </a:cubicBezTo>
                  <a:cubicBezTo>
                    <a:pt x="257" y="43"/>
                    <a:pt x="255" y="43"/>
                    <a:pt x="254" y="43"/>
                  </a:cubicBezTo>
                  <a:cubicBezTo>
                    <a:pt x="253" y="43"/>
                    <a:pt x="251" y="44"/>
                    <a:pt x="249" y="44"/>
                  </a:cubicBezTo>
                  <a:cubicBezTo>
                    <a:pt x="249" y="44"/>
                    <a:pt x="248" y="44"/>
                    <a:pt x="248" y="44"/>
                  </a:cubicBezTo>
                  <a:cubicBezTo>
                    <a:pt x="247" y="44"/>
                    <a:pt x="246" y="44"/>
                    <a:pt x="246" y="44"/>
                  </a:cubicBezTo>
                  <a:cubicBezTo>
                    <a:pt x="243" y="45"/>
                    <a:pt x="241" y="44"/>
                    <a:pt x="238" y="44"/>
                  </a:cubicBezTo>
                  <a:cubicBezTo>
                    <a:pt x="237" y="44"/>
                    <a:pt x="237" y="44"/>
                    <a:pt x="236" y="44"/>
                  </a:cubicBezTo>
                  <a:cubicBezTo>
                    <a:pt x="236" y="44"/>
                    <a:pt x="235" y="44"/>
                    <a:pt x="235" y="44"/>
                  </a:cubicBezTo>
                  <a:cubicBezTo>
                    <a:pt x="234" y="44"/>
                    <a:pt x="234" y="44"/>
                    <a:pt x="233" y="44"/>
                  </a:cubicBezTo>
                  <a:cubicBezTo>
                    <a:pt x="233" y="44"/>
                    <a:pt x="232" y="44"/>
                    <a:pt x="231" y="44"/>
                  </a:cubicBezTo>
                  <a:cubicBezTo>
                    <a:pt x="228" y="45"/>
                    <a:pt x="225" y="45"/>
                    <a:pt x="222" y="44"/>
                  </a:cubicBezTo>
                  <a:cubicBezTo>
                    <a:pt x="221" y="43"/>
                    <a:pt x="219" y="41"/>
                    <a:pt x="217" y="40"/>
                  </a:cubicBezTo>
                  <a:cubicBezTo>
                    <a:pt x="216" y="39"/>
                    <a:pt x="216" y="38"/>
                    <a:pt x="215" y="37"/>
                  </a:cubicBezTo>
                  <a:cubicBezTo>
                    <a:pt x="214" y="37"/>
                    <a:pt x="214" y="37"/>
                    <a:pt x="213" y="36"/>
                  </a:cubicBezTo>
                  <a:cubicBezTo>
                    <a:pt x="212" y="36"/>
                    <a:pt x="211" y="35"/>
                    <a:pt x="211" y="35"/>
                  </a:cubicBezTo>
                  <a:cubicBezTo>
                    <a:pt x="210" y="34"/>
                    <a:pt x="209" y="33"/>
                    <a:pt x="209" y="33"/>
                  </a:cubicBezTo>
                  <a:cubicBezTo>
                    <a:pt x="208" y="33"/>
                    <a:pt x="208" y="33"/>
                    <a:pt x="207" y="32"/>
                  </a:cubicBezTo>
                  <a:cubicBezTo>
                    <a:pt x="207" y="32"/>
                    <a:pt x="207" y="33"/>
                    <a:pt x="206" y="32"/>
                  </a:cubicBezTo>
                  <a:cubicBezTo>
                    <a:pt x="206" y="32"/>
                    <a:pt x="205" y="32"/>
                    <a:pt x="205" y="32"/>
                  </a:cubicBezTo>
                  <a:cubicBezTo>
                    <a:pt x="205" y="31"/>
                    <a:pt x="204" y="32"/>
                    <a:pt x="204" y="31"/>
                  </a:cubicBezTo>
                  <a:cubicBezTo>
                    <a:pt x="203" y="31"/>
                    <a:pt x="202" y="31"/>
                    <a:pt x="202" y="31"/>
                  </a:cubicBezTo>
                  <a:cubicBezTo>
                    <a:pt x="201" y="30"/>
                    <a:pt x="201" y="30"/>
                    <a:pt x="200" y="30"/>
                  </a:cubicBezTo>
                  <a:cubicBezTo>
                    <a:pt x="200" y="29"/>
                    <a:pt x="199" y="29"/>
                    <a:pt x="198" y="29"/>
                  </a:cubicBezTo>
                  <a:cubicBezTo>
                    <a:pt x="197" y="29"/>
                    <a:pt x="197" y="28"/>
                    <a:pt x="197" y="28"/>
                  </a:cubicBezTo>
                  <a:cubicBezTo>
                    <a:pt x="196" y="27"/>
                    <a:pt x="196" y="27"/>
                    <a:pt x="195" y="27"/>
                  </a:cubicBezTo>
                  <a:cubicBezTo>
                    <a:pt x="193" y="27"/>
                    <a:pt x="191" y="27"/>
                    <a:pt x="190" y="27"/>
                  </a:cubicBezTo>
                  <a:cubicBezTo>
                    <a:pt x="188" y="26"/>
                    <a:pt x="187" y="25"/>
                    <a:pt x="185" y="24"/>
                  </a:cubicBezTo>
                  <a:cubicBezTo>
                    <a:pt x="184" y="23"/>
                    <a:pt x="183" y="22"/>
                    <a:pt x="181" y="22"/>
                  </a:cubicBezTo>
                  <a:cubicBezTo>
                    <a:pt x="180" y="22"/>
                    <a:pt x="179" y="22"/>
                    <a:pt x="178" y="22"/>
                  </a:cubicBezTo>
                  <a:cubicBezTo>
                    <a:pt x="176" y="21"/>
                    <a:pt x="175" y="21"/>
                    <a:pt x="174" y="21"/>
                  </a:cubicBezTo>
                  <a:cubicBezTo>
                    <a:pt x="173" y="22"/>
                    <a:pt x="171" y="22"/>
                    <a:pt x="170" y="22"/>
                  </a:cubicBezTo>
                  <a:cubicBezTo>
                    <a:pt x="169" y="22"/>
                    <a:pt x="168" y="21"/>
                    <a:pt x="167" y="21"/>
                  </a:cubicBezTo>
                  <a:cubicBezTo>
                    <a:pt x="165" y="20"/>
                    <a:pt x="163" y="21"/>
                    <a:pt x="161" y="22"/>
                  </a:cubicBezTo>
                  <a:cubicBezTo>
                    <a:pt x="159" y="22"/>
                    <a:pt x="157" y="22"/>
                    <a:pt x="155" y="23"/>
                  </a:cubicBezTo>
                  <a:cubicBezTo>
                    <a:pt x="155" y="23"/>
                    <a:pt x="154" y="23"/>
                    <a:pt x="153" y="24"/>
                  </a:cubicBezTo>
                  <a:cubicBezTo>
                    <a:pt x="153" y="24"/>
                    <a:pt x="152" y="24"/>
                    <a:pt x="151" y="25"/>
                  </a:cubicBezTo>
                  <a:cubicBezTo>
                    <a:pt x="149" y="25"/>
                    <a:pt x="148" y="27"/>
                    <a:pt x="147" y="27"/>
                  </a:cubicBezTo>
                  <a:cubicBezTo>
                    <a:pt x="145" y="28"/>
                    <a:pt x="144" y="29"/>
                    <a:pt x="144" y="31"/>
                  </a:cubicBezTo>
                  <a:cubicBezTo>
                    <a:pt x="144" y="32"/>
                    <a:pt x="143" y="32"/>
                    <a:pt x="142" y="33"/>
                  </a:cubicBezTo>
                  <a:cubicBezTo>
                    <a:pt x="140" y="33"/>
                    <a:pt x="138" y="33"/>
                    <a:pt x="137" y="35"/>
                  </a:cubicBezTo>
                  <a:cubicBezTo>
                    <a:pt x="135" y="37"/>
                    <a:pt x="134" y="40"/>
                    <a:pt x="131" y="42"/>
                  </a:cubicBezTo>
                  <a:cubicBezTo>
                    <a:pt x="130" y="43"/>
                    <a:pt x="127" y="43"/>
                    <a:pt x="126" y="44"/>
                  </a:cubicBezTo>
                  <a:cubicBezTo>
                    <a:pt x="124" y="44"/>
                    <a:pt x="122" y="45"/>
                    <a:pt x="121" y="45"/>
                  </a:cubicBezTo>
                  <a:cubicBezTo>
                    <a:pt x="119" y="45"/>
                    <a:pt x="117" y="45"/>
                    <a:pt x="115" y="45"/>
                  </a:cubicBezTo>
                  <a:cubicBezTo>
                    <a:pt x="114" y="45"/>
                    <a:pt x="114" y="46"/>
                    <a:pt x="113" y="46"/>
                  </a:cubicBezTo>
                  <a:cubicBezTo>
                    <a:pt x="112" y="47"/>
                    <a:pt x="110" y="47"/>
                    <a:pt x="110" y="46"/>
                  </a:cubicBezTo>
                  <a:cubicBezTo>
                    <a:pt x="110" y="45"/>
                    <a:pt x="111" y="45"/>
                    <a:pt x="111" y="44"/>
                  </a:cubicBezTo>
                  <a:cubicBezTo>
                    <a:pt x="110" y="43"/>
                    <a:pt x="108" y="44"/>
                    <a:pt x="106" y="45"/>
                  </a:cubicBezTo>
                  <a:cubicBezTo>
                    <a:pt x="105" y="46"/>
                    <a:pt x="103" y="46"/>
                    <a:pt x="102" y="47"/>
                  </a:cubicBezTo>
                  <a:cubicBezTo>
                    <a:pt x="100" y="48"/>
                    <a:pt x="98" y="48"/>
                    <a:pt x="96" y="48"/>
                  </a:cubicBezTo>
                  <a:cubicBezTo>
                    <a:pt x="95" y="49"/>
                    <a:pt x="93" y="49"/>
                    <a:pt x="92" y="50"/>
                  </a:cubicBezTo>
                  <a:cubicBezTo>
                    <a:pt x="92" y="50"/>
                    <a:pt x="92" y="52"/>
                    <a:pt x="93" y="53"/>
                  </a:cubicBezTo>
                  <a:cubicBezTo>
                    <a:pt x="93" y="54"/>
                    <a:pt x="95" y="54"/>
                    <a:pt x="95" y="55"/>
                  </a:cubicBezTo>
                  <a:cubicBezTo>
                    <a:pt x="93" y="56"/>
                    <a:pt x="94" y="57"/>
                    <a:pt x="94" y="58"/>
                  </a:cubicBezTo>
                  <a:cubicBezTo>
                    <a:pt x="95" y="60"/>
                    <a:pt x="93" y="60"/>
                    <a:pt x="93" y="61"/>
                  </a:cubicBezTo>
                  <a:cubicBezTo>
                    <a:pt x="92" y="62"/>
                    <a:pt x="93" y="64"/>
                    <a:pt x="93" y="65"/>
                  </a:cubicBezTo>
                  <a:cubicBezTo>
                    <a:pt x="93" y="66"/>
                    <a:pt x="92" y="68"/>
                    <a:pt x="91" y="69"/>
                  </a:cubicBezTo>
                  <a:cubicBezTo>
                    <a:pt x="90" y="70"/>
                    <a:pt x="89" y="71"/>
                    <a:pt x="89" y="72"/>
                  </a:cubicBezTo>
                  <a:cubicBezTo>
                    <a:pt x="89" y="73"/>
                    <a:pt x="89" y="73"/>
                    <a:pt x="89" y="73"/>
                  </a:cubicBezTo>
                  <a:cubicBezTo>
                    <a:pt x="89" y="74"/>
                    <a:pt x="89" y="74"/>
                    <a:pt x="89" y="74"/>
                  </a:cubicBezTo>
                  <a:cubicBezTo>
                    <a:pt x="88" y="75"/>
                    <a:pt x="87" y="75"/>
                    <a:pt x="86" y="76"/>
                  </a:cubicBezTo>
                  <a:cubicBezTo>
                    <a:pt x="85" y="76"/>
                    <a:pt x="83" y="76"/>
                    <a:pt x="82" y="76"/>
                  </a:cubicBezTo>
                  <a:cubicBezTo>
                    <a:pt x="81" y="77"/>
                    <a:pt x="81" y="77"/>
                    <a:pt x="80" y="78"/>
                  </a:cubicBezTo>
                  <a:cubicBezTo>
                    <a:pt x="80" y="79"/>
                    <a:pt x="79" y="80"/>
                    <a:pt x="79" y="80"/>
                  </a:cubicBezTo>
                  <a:cubicBezTo>
                    <a:pt x="78" y="81"/>
                    <a:pt x="78" y="82"/>
                    <a:pt x="78" y="83"/>
                  </a:cubicBezTo>
                  <a:cubicBezTo>
                    <a:pt x="77" y="84"/>
                    <a:pt x="77" y="85"/>
                    <a:pt x="76" y="85"/>
                  </a:cubicBezTo>
                  <a:cubicBezTo>
                    <a:pt x="76" y="85"/>
                    <a:pt x="75" y="86"/>
                    <a:pt x="74" y="86"/>
                  </a:cubicBezTo>
                  <a:cubicBezTo>
                    <a:pt x="74" y="86"/>
                    <a:pt x="73" y="87"/>
                    <a:pt x="74" y="88"/>
                  </a:cubicBezTo>
                  <a:cubicBezTo>
                    <a:pt x="74" y="88"/>
                    <a:pt x="75" y="88"/>
                    <a:pt x="75" y="88"/>
                  </a:cubicBezTo>
                  <a:cubicBezTo>
                    <a:pt x="76" y="88"/>
                    <a:pt x="76" y="89"/>
                    <a:pt x="77" y="89"/>
                  </a:cubicBezTo>
                  <a:cubicBezTo>
                    <a:pt x="79" y="89"/>
                    <a:pt x="81" y="88"/>
                    <a:pt x="82" y="89"/>
                  </a:cubicBezTo>
                  <a:cubicBezTo>
                    <a:pt x="84" y="89"/>
                    <a:pt x="86" y="89"/>
                    <a:pt x="87" y="89"/>
                  </a:cubicBezTo>
                  <a:cubicBezTo>
                    <a:pt x="88" y="90"/>
                    <a:pt x="89" y="91"/>
                    <a:pt x="89" y="92"/>
                  </a:cubicBezTo>
                  <a:cubicBezTo>
                    <a:pt x="90" y="93"/>
                    <a:pt x="92" y="93"/>
                    <a:pt x="93" y="92"/>
                  </a:cubicBezTo>
                  <a:cubicBezTo>
                    <a:pt x="94" y="92"/>
                    <a:pt x="96" y="92"/>
                    <a:pt x="96" y="91"/>
                  </a:cubicBezTo>
                  <a:cubicBezTo>
                    <a:pt x="98" y="90"/>
                    <a:pt x="99" y="90"/>
                    <a:pt x="98" y="88"/>
                  </a:cubicBezTo>
                  <a:cubicBezTo>
                    <a:pt x="98" y="88"/>
                    <a:pt x="97" y="87"/>
                    <a:pt x="98" y="86"/>
                  </a:cubicBezTo>
                  <a:cubicBezTo>
                    <a:pt x="98" y="86"/>
                    <a:pt x="99" y="86"/>
                    <a:pt x="99" y="85"/>
                  </a:cubicBezTo>
                  <a:cubicBezTo>
                    <a:pt x="100" y="85"/>
                    <a:pt x="100" y="84"/>
                    <a:pt x="100" y="84"/>
                  </a:cubicBezTo>
                  <a:cubicBezTo>
                    <a:pt x="101" y="85"/>
                    <a:pt x="101" y="85"/>
                    <a:pt x="101" y="85"/>
                  </a:cubicBezTo>
                  <a:cubicBezTo>
                    <a:pt x="101" y="85"/>
                    <a:pt x="101" y="85"/>
                    <a:pt x="101" y="86"/>
                  </a:cubicBezTo>
                  <a:cubicBezTo>
                    <a:pt x="102" y="86"/>
                    <a:pt x="102" y="87"/>
                    <a:pt x="102" y="87"/>
                  </a:cubicBezTo>
                  <a:cubicBezTo>
                    <a:pt x="103" y="88"/>
                    <a:pt x="102" y="88"/>
                    <a:pt x="102" y="88"/>
                  </a:cubicBezTo>
                  <a:cubicBezTo>
                    <a:pt x="102" y="89"/>
                    <a:pt x="102" y="89"/>
                    <a:pt x="102" y="89"/>
                  </a:cubicBezTo>
                  <a:cubicBezTo>
                    <a:pt x="103" y="90"/>
                    <a:pt x="104" y="90"/>
                    <a:pt x="104" y="90"/>
                  </a:cubicBezTo>
                  <a:cubicBezTo>
                    <a:pt x="105" y="91"/>
                    <a:pt x="106" y="92"/>
                    <a:pt x="106" y="92"/>
                  </a:cubicBezTo>
                  <a:cubicBezTo>
                    <a:pt x="107" y="92"/>
                    <a:pt x="107" y="91"/>
                    <a:pt x="108" y="91"/>
                  </a:cubicBezTo>
                  <a:cubicBezTo>
                    <a:pt x="109" y="90"/>
                    <a:pt x="110" y="90"/>
                    <a:pt x="110" y="89"/>
                  </a:cubicBezTo>
                  <a:cubicBezTo>
                    <a:pt x="110" y="88"/>
                    <a:pt x="110" y="86"/>
                    <a:pt x="110" y="85"/>
                  </a:cubicBezTo>
                  <a:cubicBezTo>
                    <a:pt x="111" y="85"/>
                    <a:pt x="111" y="84"/>
                    <a:pt x="112" y="84"/>
                  </a:cubicBezTo>
                  <a:cubicBezTo>
                    <a:pt x="111" y="86"/>
                    <a:pt x="111" y="86"/>
                    <a:pt x="111" y="86"/>
                  </a:cubicBezTo>
                  <a:cubicBezTo>
                    <a:pt x="111" y="86"/>
                    <a:pt x="111" y="87"/>
                    <a:pt x="111" y="87"/>
                  </a:cubicBezTo>
                  <a:cubicBezTo>
                    <a:pt x="110" y="88"/>
                    <a:pt x="110" y="88"/>
                    <a:pt x="110" y="88"/>
                  </a:cubicBezTo>
                  <a:cubicBezTo>
                    <a:pt x="110" y="89"/>
                    <a:pt x="110" y="90"/>
                    <a:pt x="111" y="90"/>
                  </a:cubicBezTo>
                  <a:cubicBezTo>
                    <a:pt x="111" y="91"/>
                    <a:pt x="111" y="91"/>
                    <a:pt x="112" y="91"/>
                  </a:cubicBezTo>
                  <a:cubicBezTo>
                    <a:pt x="113" y="91"/>
                    <a:pt x="113" y="89"/>
                    <a:pt x="114" y="89"/>
                  </a:cubicBezTo>
                  <a:cubicBezTo>
                    <a:pt x="115" y="88"/>
                    <a:pt x="116" y="89"/>
                    <a:pt x="116" y="88"/>
                  </a:cubicBezTo>
                  <a:cubicBezTo>
                    <a:pt x="116" y="87"/>
                    <a:pt x="116" y="86"/>
                    <a:pt x="117" y="87"/>
                  </a:cubicBezTo>
                  <a:cubicBezTo>
                    <a:pt x="117" y="88"/>
                    <a:pt x="117" y="88"/>
                    <a:pt x="117" y="88"/>
                  </a:cubicBezTo>
                  <a:cubicBezTo>
                    <a:pt x="118" y="88"/>
                    <a:pt x="118" y="88"/>
                    <a:pt x="118" y="88"/>
                  </a:cubicBezTo>
                  <a:cubicBezTo>
                    <a:pt x="118" y="89"/>
                    <a:pt x="118" y="89"/>
                    <a:pt x="118" y="89"/>
                  </a:cubicBezTo>
                  <a:cubicBezTo>
                    <a:pt x="117" y="89"/>
                    <a:pt x="116" y="89"/>
                    <a:pt x="115" y="90"/>
                  </a:cubicBezTo>
                  <a:cubicBezTo>
                    <a:pt x="114" y="90"/>
                    <a:pt x="114" y="91"/>
                    <a:pt x="115" y="92"/>
                  </a:cubicBezTo>
                  <a:cubicBezTo>
                    <a:pt x="115" y="93"/>
                    <a:pt x="118" y="94"/>
                    <a:pt x="119" y="94"/>
                  </a:cubicBezTo>
                  <a:cubicBezTo>
                    <a:pt x="120" y="93"/>
                    <a:pt x="120" y="93"/>
                    <a:pt x="120" y="93"/>
                  </a:cubicBezTo>
                  <a:cubicBezTo>
                    <a:pt x="121" y="93"/>
                    <a:pt x="121" y="93"/>
                    <a:pt x="122" y="93"/>
                  </a:cubicBezTo>
                  <a:cubicBezTo>
                    <a:pt x="122" y="92"/>
                    <a:pt x="123" y="92"/>
                    <a:pt x="123" y="91"/>
                  </a:cubicBezTo>
                  <a:cubicBezTo>
                    <a:pt x="123" y="91"/>
                    <a:pt x="123" y="90"/>
                    <a:pt x="123" y="89"/>
                  </a:cubicBezTo>
                  <a:cubicBezTo>
                    <a:pt x="124" y="89"/>
                    <a:pt x="124" y="89"/>
                    <a:pt x="124" y="90"/>
                  </a:cubicBezTo>
                  <a:cubicBezTo>
                    <a:pt x="124" y="90"/>
                    <a:pt x="124" y="91"/>
                    <a:pt x="123" y="92"/>
                  </a:cubicBezTo>
                  <a:cubicBezTo>
                    <a:pt x="123" y="93"/>
                    <a:pt x="123" y="93"/>
                    <a:pt x="122" y="93"/>
                  </a:cubicBezTo>
                  <a:cubicBezTo>
                    <a:pt x="121" y="94"/>
                    <a:pt x="121" y="94"/>
                    <a:pt x="121" y="95"/>
                  </a:cubicBezTo>
                  <a:cubicBezTo>
                    <a:pt x="121" y="96"/>
                    <a:pt x="121" y="96"/>
                    <a:pt x="122" y="96"/>
                  </a:cubicBezTo>
                  <a:cubicBezTo>
                    <a:pt x="123" y="96"/>
                    <a:pt x="124" y="96"/>
                    <a:pt x="125" y="96"/>
                  </a:cubicBezTo>
                  <a:cubicBezTo>
                    <a:pt x="125" y="96"/>
                    <a:pt x="126" y="95"/>
                    <a:pt x="127" y="95"/>
                  </a:cubicBezTo>
                  <a:cubicBezTo>
                    <a:pt x="127" y="96"/>
                    <a:pt x="125" y="97"/>
                    <a:pt x="127" y="98"/>
                  </a:cubicBezTo>
                  <a:cubicBezTo>
                    <a:pt x="128" y="99"/>
                    <a:pt x="129" y="97"/>
                    <a:pt x="130" y="96"/>
                  </a:cubicBezTo>
                  <a:cubicBezTo>
                    <a:pt x="130" y="96"/>
                    <a:pt x="130" y="96"/>
                    <a:pt x="131" y="96"/>
                  </a:cubicBezTo>
                  <a:cubicBezTo>
                    <a:pt x="131" y="96"/>
                    <a:pt x="131" y="96"/>
                    <a:pt x="131" y="96"/>
                  </a:cubicBezTo>
                  <a:cubicBezTo>
                    <a:pt x="132" y="96"/>
                    <a:pt x="132" y="96"/>
                    <a:pt x="132" y="96"/>
                  </a:cubicBezTo>
                  <a:cubicBezTo>
                    <a:pt x="133" y="96"/>
                    <a:pt x="134" y="96"/>
                    <a:pt x="134" y="95"/>
                  </a:cubicBezTo>
                  <a:cubicBezTo>
                    <a:pt x="135" y="95"/>
                    <a:pt x="135" y="95"/>
                    <a:pt x="136" y="95"/>
                  </a:cubicBezTo>
                  <a:cubicBezTo>
                    <a:pt x="137" y="95"/>
                    <a:pt x="137" y="94"/>
                    <a:pt x="137" y="93"/>
                  </a:cubicBezTo>
                  <a:cubicBezTo>
                    <a:pt x="137" y="93"/>
                    <a:pt x="137" y="92"/>
                    <a:pt x="137" y="91"/>
                  </a:cubicBezTo>
                  <a:cubicBezTo>
                    <a:pt x="137" y="91"/>
                    <a:pt x="136" y="91"/>
                    <a:pt x="137" y="90"/>
                  </a:cubicBezTo>
                  <a:cubicBezTo>
                    <a:pt x="137" y="89"/>
                    <a:pt x="138" y="89"/>
                    <a:pt x="138" y="89"/>
                  </a:cubicBezTo>
                  <a:cubicBezTo>
                    <a:pt x="139" y="90"/>
                    <a:pt x="138" y="90"/>
                    <a:pt x="138" y="90"/>
                  </a:cubicBezTo>
                  <a:cubicBezTo>
                    <a:pt x="138" y="91"/>
                    <a:pt x="138" y="91"/>
                    <a:pt x="138" y="91"/>
                  </a:cubicBezTo>
                  <a:cubicBezTo>
                    <a:pt x="138" y="92"/>
                    <a:pt x="139" y="92"/>
                    <a:pt x="139" y="93"/>
                  </a:cubicBezTo>
                  <a:cubicBezTo>
                    <a:pt x="138" y="94"/>
                    <a:pt x="138" y="94"/>
                    <a:pt x="138" y="95"/>
                  </a:cubicBezTo>
                  <a:cubicBezTo>
                    <a:pt x="137" y="96"/>
                    <a:pt x="135" y="96"/>
                    <a:pt x="135" y="97"/>
                  </a:cubicBezTo>
                  <a:cubicBezTo>
                    <a:pt x="134" y="98"/>
                    <a:pt x="134" y="98"/>
                    <a:pt x="133" y="99"/>
                  </a:cubicBezTo>
                  <a:cubicBezTo>
                    <a:pt x="132" y="100"/>
                    <a:pt x="132" y="100"/>
                    <a:pt x="132" y="101"/>
                  </a:cubicBezTo>
                  <a:cubicBezTo>
                    <a:pt x="133" y="102"/>
                    <a:pt x="133" y="102"/>
                    <a:pt x="133" y="103"/>
                  </a:cubicBezTo>
                  <a:cubicBezTo>
                    <a:pt x="134" y="104"/>
                    <a:pt x="134" y="105"/>
                    <a:pt x="135" y="105"/>
                  </a:cubicBezTo>
                  <a:cubicBezTo>
                    <a:pt x="136" y="105"/>
                    <a:pt x="137" y="104"/>
                    <a:pt x="138" y="104"/>
                  </a:cubicBezTo>
                  <a:cubicBezTo>
                    <a:pt x="138" y="103"/>
                    <a:pt x="138" y="103"/>
                    <a:pt x="139" y="102"/>
                  </a:cubicBezTo>
                  <a:cubicBezTo>
                    <a:pt x="139" y="102"/>
                    <a:pt x="140" y="102"/>
                    <a:pt x="141" y="102"/>
                  </a:cubicBezTo>
                  <a:cubicBezTo>
                    <a:pt x="141" y="102"/>
                    <a:pt x="142" y="102"/>
                    <a:pt x="142" y="101"/>
                  </a:cubicBezTo>
                  <a:cubicBezTo>
                    <a:pt x="142" y="100"/>
                    <a:pt x="142" y="100"/>
                    <a:pt x="142" y="100"/>
                  </a:cubicBezTo>
                  <a:cubicBezTo>
                    <a:pt x="141" y="100"/>
                    <a:pt x="142" y="98"/>
                    <a:pt x="143" y="98"/>
                  </a:cubicBezTo>
                  <a:cubicBezTo>
                    <a:pt x="144" y="97"/>
                    <a:pt x="144" y="98"/>
                    <a:pt x="143" y="99"/>
                  </a:cubicBezTo>
                  <a:cubicBezTo>
                    <a:pt x="143" y="100"/>
                    <a:pt x="142" y="100"/>
                    <a:pt x="143" y="101"/>
                  </a:cubicBezTo>
                  <a:cubicBezTo>
                    <a:pt x="143" y="101"/>
                    <a:pt x="143" y="102"/>
                    <a:pt x="143" y="102"/>
                  </a:cubicBezTo>
                  <a:cubicBezTo>
                    <a:pt x="143" y="102"/>
                    <a:pt x="142" y="102"/>
                    <a:pt x="142" y="103"/>
                  </a:cubicBezTo>
                  <a:cubicBezTo>
                    <a:pt x="141" y="103"/>
                    <a:pt x="140" y="103"/>
                    <a:pt x="141" y="104"/>
                  </a:cubicBezTo>
                  <a:cubicBezTo>
                    <a:pt x="141" y="104"/>
                    <a:pt x="141" y="104"/>
                    <a:pt x="141" y="105"/>
                  </a:cubicBezTo>
                  <a:cubicBezTo>
                    <a:pt x="141" y="105"/>
                    <a:pt x="141" y="105"/>
                    <a:pt x="141" y="105"/>
                  </a:cubicBezTo>
                  <a:cubicBezTo>
                    <a:pt x="140" y="106"/>
                    <a:pt x="139" y="107"/>
                    <a:pt x="139" y="107"/>
                  </a:cubicBezTo>
                  <a:cubicBezTo>
                    <a:pt x="138" y="108"/>
                    <a:pt x="137" y="109"/>
                    <a:pt x="136" y="110"/>
                  </a:cubicBezTo>
                  <a:cubicBezTo>
                    <a:pt x="136" y="110"/>
                    <a:pt x="135" y="110"/>
                    <a:pt x="135" y="111"/>
                  </a:cubicBezTo>
                  <a:cubicBezTo>
                    <a:pt x="135" y="112"/>
                    <a:pt x="135" y="112"/>
                    <a:pt x="135" y="112"/>
                  </a:cubicBezTo>
                  <a:cubicBezTo>
                    <a:pt x="136" y="112"/>
                    <a:pt x="136" y="112"/>
                    <a:pt x="136" y="113"/>
                  </a:cubicBezTo>
                  <a:cubicBezTo>
                    <a:pt x="136" y="113"/>
                    <a:pt x="135" y="113"/>
                    <a:pt x="135" y="114"/>
                  </a:cubicBezTo>
                  <a:cubicBezTo>
                    <a:pt x="134" y="115"/>
                    <a:pt x="136" y="117"/>
                    <a:pt x="137" y="118"/>
                  </a:cubicBezTo>
                  <a:cubicBezTo>
                    <a:pt x="138" y="118"/>
                    <a:pt x="138" y="118"/>
                    <a:pt x="138" y="119"/>
                  </a:cubicBezTo>
                  <a:cubicBezTo>
                    <a:pt x="137" y="120"/>
                    <a:pt x="137" y="120"/>
                    <a:pt x="138" y="120"/>
                  </a:cubicBezTo>
                  <a:cubicBezTo>
                    <a:pt x="138" y="121"/>
                    <a:pt x="139" y="122"/>
                    <a:pt x="140" y="122"/>
                  </a:cubicBezTo>
                  <a:cubicBezTo>
                    <a:pt x="140" y="122"/>
                    <a:pt x="141" y="123"/>
                    <a:pt x="142" y="123"/>
                  </a:cubicBezTo>
                  <a:cubicBezTo>
                    <a:pt x="142" y="122"/>
                    <a:pt x="142" y="122"/>
                    <a:pt x="142" y="121"/>
                  </a:cubicBezTo>
                  <a:cubicBezTo>
                    <a:pt x="142" y="120"/>
                    <a:pt x="142" y="120"/>
                    <a:pt x="142" y="119"/>
                  </a:cubicBezTo>
                  <a:cubicBezTo>
                    <a:pt x="143" y="118"/>
                    <a:pt x="143" y="118"/>
                    <a:pt x="144" y="118"/>
                  </a:cubicBezTo>
                  <a:cubicBezTo>
                    <a:pt x="144" y="118"/>
                    <a:pt x="144" y="119"/>
                    <a:pt x="144" y="119"/>
                  </a:cubicBezTo>
                  <a:cubicBezTo>
                    <a:pt x="143" y="120"/>
                    <a:pt x="143" y="121"/>
                    <a:pt x="143" y="122"/>
                  </a:cubicBezTo>
                  <a:cubicBezTo>
                    <a:pt x="143" y="123"/>
                    <a:pt x="144" y="123"/>
                    <a:pt x="144" y="123"/>
                  </a:cubicBezTo>
                  <a:cubicBezTo>
                    <a:pt x="145" y="124"/>
                    <a:pt x="145" y="124"/>
                    <a:pt x="144" y="124"/>
                  </a:cubicBezTo>
                  <a:cubicBezTo>
                    <a:pt x="143" y="125"/>
                    <a:pt x="142" y="125"/>
                    <a:pt x="142" y="127"/>
                  </a:cubicBezTo>
                  <a:cubicBezTo>
                    <a:pt x="142" y="127"/>
                    <a:pt x="143" y="128"/>
                    <a:pt x="143" y="128"/>
                  </a:cubicBezTo>
                  <a:cubicBezTo>
                    <a:pt x="144" y="129"/>
                    <a:pt x="145" y="130"/>
                    <a:pt x="146" y="130"/>
                  </a:cubicBezTo>
                  <a:cubicBezTo>
                    <a:pt x="147" y="130"/>
                    <a:pt x="148" y="131"/>
                    <a:pt x="149" y="131"/>
                  </a:cubicBezTo>
                  <a:cubicBezTo>
                    <a:pt x="150" y="132"/>
                    <a:pt x="150" y="132"/>
                    <a:pt x="151" y="133"/>
                  </a:cubicBezTo>
                  <a:cubicBezTo>
                    <a:pt x="152" y="133"/>
                    <a:pt x="153" y="134"/>
                    <a:pt x="153" y="134"/>
                  </a:cubicBezTo>
                  <a:cubicBezTo>
                    <a:pt x="154" y="135"/>
                    <a:pt x="155" y="135"/>
                    <a:pt x="156" y="136"/>
                  </a:cubicBezTo>
                  <a:cubicBezTo>
                    <a:pt x="156" y="137"/>
                    <a:pt x="157" y="139"/>
                    <a:pt x="158" y="139"/>
                  </a:cubicBezTo>
                  <a:cubicBezTo>
                    <a:pt x="158" y="139"/>
                    <a:pt x="159" y="139"/>
                    <a:pt x="160" y="139"/>
                  </a:cubicBezTo>
                  <a:cubicBezTo>
                    <a:pt x="161" y="139"/>
                    <a:pt x="162" y="139"/>
                    <a:pt x="163" y="138"/>
                  </a:cubicBezTo>
                  <a:cubicBezTo>
                    <a:pt x="163" y="138"/>
                    <a:pt x="164" y="138"/>
                    <a:pt x="164" y="137"/>
                  </a:cubicBezTo>
                  <a:cubicBezTo>
                    <a:pt x="166" y="136"/>
                    <a:pt x="168" y="135"/>
                    <a:pt x="170" y="135"/>
                  </a:cubicBezTo>
                  <a:cubicBezTo>
                    <a:pt x="171" y="134"/>
                    <a:pt x="172" y="134"/>
                    <a:pt x="174" y="134"/>
                  </a:cubicBezTo>
                  <a:cubicBezTo>
                    <a:pt x="174" y="135"/>
                    <a:pt x="175" y="135"/>
                    <a:pt x="176" y="135"/>
                  </a:cubicBezTo>
                  <a:cubicBezTo>
                    <a:pt x="176" y="135"/>
                    <a:pt x="176" y="136"/>
                    <a:pt x="177" y="136"/>
                  </a:cubicBezTo>
                  <a:cubicBezTo>
                    <a:pt x="177" y="137"/>
                    <a:pt x="177" y="139"/>
                    <a:pt x="179" y="139"/>
                  </a:cubicBezTo>
                  <a:cubicBezTo>
                    <a:pt x="179" y="140"/>
                    <a:pt x="180" y="140"/>
                    <a:pt x="180" y="140"/>
                  </a:cubicBezTo>
                  <a:cubicBezTo>
                    <a:pt x="181" y="140"/>
                    <a:pt x="181" y="140"/>
                    <a:pt x="182" y="141"/>
                  </a:cubicBezTo>
                  <a:cubicBezTo>
                    <a:pt x="182" y="141"/>
                    <a:pt x="183" y="140"/>
                    <a:pt x="183" y="140"/>
                  </a:cubicBezTo>
                  <a:cubicBezTo>
                    <a:pt x="183" y="140"/>
                    <a:pt x="184" y="139"/>
                    <a:pt x="184" y="139"/>
                  </a:cubicBezTo>
                  <a:cubicBezTo>
                    <a:pt x="185" y="138"/>
                    <a:pt x="187" y="138"/>
                    <a:pt x="188" y="137"/>
                  </a:cubicBezTo>
                  <a:cubicBezTo>
                    <a:pt x="190" y="137"/>
                    <a:pt x="192" y="138"/>
                    <a:pt x="194" y="139"/>
                  </a:cubicBezTo>
                  <a:cubicBezTo>
                    <a:pt x="194" y="139"/>
                    <a:pt x="194" y="140"/>
                    <a:pt x="195" y="139"/>
                  </a:cubicBezTo>
                  <a:cubicBezTo>
                    <a:pt x="196" y="139"/>
                    <a:pt x="196" y="139"/>
                    <a:pt x="197" y="139"/>
                  </a:cubicBezTo>
                  <a:cubicBezTo>
                    <a:pt x="197" y="140"/>
                    <a:pt x="197" y="140"/>
                    <a:pt x="197" y="140"/>
                  </a:cubicBezTo>
                  <a:cubicBezTo>
                    <a:pt x="198" y="140"/>
                    <a:pt x="198" y="139"/>
                    <a:pt x="199" y="139"/>
                  </a:cubicBezTo>
                  <a:cubicBezTo>
                    <a:pt x="200" y="139"/>
                    <a:pt x="201" y="138"/>
                    <a:pt x="202" y="138"/>
                  </a:cubicBezTo>
                  <a:cubicBezTo>
                    <a:pt x="203" y="137"/>
                    <a:pt x="204" y="137"/>
                    <a:pt x="206" y="137"/>
                  </a:cubicBezTo>
                  <a:cubicBezTo>
                    <a:pt x="207" y="137"/>
                    <a:pt x="207" y="136"/>
                    <a:pt x="207" y="135"/>
                  </a:cubicBezTo>
                  <a:cubicBezTo>
                    <a:pt x="208" y="135"/>
                    <a:pt x="209" y="134"/>
                    <a:pt x="210" y="134"/>
                  </a:cubicBezTo>
                  <a:cubicBezTo>
                    <a:pt x="211" y="134"/>
                    <a:pt x="212" y="134"/>
                    <a:pt x="212" y="135"/>
                  </a:cubicBezTo>
                  <a:cubicBezTo>
                    <a:pt x="213" y="135"/>
                    <a:pt x="213" y="135"/>
                    <a:pt x="213" y="135"/>
                  </a:cubicBezTo>
                  <a:cubicBezTo>
                    <a:pt x="214" y="135"/>
                    <a:pt x="214" y="135"/>
                    <a:pt x="215" y="135"/>
                  </a:cubicBezTo>
                  <a:cubicBezTo>
                    <a:pt x="216" y="134"/>
                    <a:pt x="217" y="134"/>
                    <a:pt x="218" y="135"/>
                  </a:cubicBezTo>
                  <a:cubicBezTo>
                    <a:pt x="219" y="136"/>
                    <a:pt x="219" y="135"/>
                    <a:pt x="220" y="135"/>
                  </a:cubicBezTo>
                  <a:cubicBezTo>
                    <a:pt x="221" y="135"/>
                    <a:pt x="222" y="135"/>
                    <a:pt x="223" y="135"/>
                  </a:cubicBezTo>
                  <a:cubicBezTo>
                    <a:pt x="224" y="135"/>
                    <a:pt x="225" y="135"/>
                    <a:pt x="226" y="135"/>
                  </a:cubicBezTo>
                  <a:cubicBezTo>
                    <a:pt x="226" y="136"/>
                    <a:pt x="226" y="136"/>
                    <a:pt x="227" y="137"/>
                  </a:cubicBezTo>
                  <a:cubicBezTo>
                    <a:pt x="228" y="137"/>
                    <a:pt x="229" y="137"/>
                    <a:pt x="230" y="136"/>
                  </a:cubicBezTo>
                  <a:cubicBezTo>
                    <a:pt x="232" y="136"/>
                    <a:pt x="234" y="137"/>
                    <a:pt x="235" y="135"/>
                  </a:cubicBezTo>
                  <a:cubicBezTo>
                    <a:pt x="235" y="134"/>
                    <a:pt x="235" y="134"/>
                    <a:pt x="236" y="133"/>
                  </a:cubicBezTo>
                  <a:cubicBezTo>
                    <a:pt x="236" y="133"/>
                    <a:pt x="238" y="133"/>
                    <a:pt x="239" y="133"/>
                  </a:cubicBezTo>
                  <a:cubicBezTo>
                    <a:pt x="238" y="133"/>
                    <a:pt x="237" y="133"/>
                    <a:pt x="237" y="133"/>
                  </a:cubicBezTo>
                  <a:cubicBezTo>
                    <a:pt x="237" y="134"/>
                    <a:pt x="237" y="134"/>
                    <a:pt x="237" y="135"/>
                  </a:cubicBezTo>
                  <a:cubicBezTo>
                    <a:pt x="236" y="136"/>
                    <a:pt x="237" y="136"/>
                    <a:pt x="238" y="136"/>
                  </a:cubicBezTo>
                  <a:cubicBezTo>
                    <a:pt x="239" y="136"/>
                    <a:pt x="240" y="135"/>
                    <a:pt x="240" y="135"/>
                  </a:cubicBezTo>
                  <a:cubicBezTo>
                    <a:pt x="241" y="134"/>
                    <a:pt x="242" y="135"/>
                    <a:pt x="243" y="134"/>
                  </a:cubicBezTo>
                  <a:cubicBezTo>
                    <a:pt x="244" y="134"/>
                    <a:pt x="243" y="133"/>
                    <a:pt x="244" y="132"/>
                  </a:cubicBezTo>
                  <a:cubicBezTo>
                    <a:pt x="244" y="132"/>
                    <a:pt x="244" y="132"/>
                    <a:pt x="244" y="132"/>
                  </a:cubicBezTo>
                  <a:cubicBezTo>
                    <a:pt x="245" y="132"/>
                    <a:pt x="245" y="132"/>
                    <a:pt x="245" y="132"/>
                  </a:cubicBezTo>
                  <a:cubicBezTo>
                    <a:pt x="246" y="132"/>
                    <a:pt x="246" y="132"/>
                    <a:pt x="246" y="132"/>
                  </a:cubicBezTo>
                  <a:cubicBezTo>
                    <a:pt x="246" y="132"/>
                    <a:pt x="247" y="133"/>
                    <a:pt x="247" y="132"/>
                  </a:cubicBezTo>
                  <a:cubicBezTo>
                    <a:pt x="248" y="132"/>
                    <a:pt x="247" y="131"/>
                    <a:pt x="248" y="131"/>
                  </a:cubicBezTo>
                  <a:cubicBezTo>
                    <a:pt x="248" y="131"/>
                    <a:pt x="249" y="131"/>
                    <a:pt x="249" y="131"/>
                  </a:cubicBezTo>
                  <a:cubicBezTo>
                    <a:pt x="250" y="131"/>
                    <a:pt x="250" y="131"/>
                    <a:pt x="250" y="131"/>
                  </a:cubicBezTo>
                  <a:cubicBezTo>
                    <a:pt x="250" y="131"/>
                    <a:pt x="251" y="131"/>
                    <a:pt x="251" y="131"/>
                  </a:cubicBezTo>
                  <a:cubicBezTo>
                    <a:pt x="252" y="130"/>
                    <a:pt x="253" y="130"/>
                    <a:pt x="253" y="130"/>
                  </a:cubicBezTo>
                  <a:cubicBezTo>
                    <a:pt x="254" y="130"/>
                    <a:pt x="255" y="130"/>
                    <a:pt x="256" y="131"/>
                  </a:cubicBezTo>
                  <a:cubicBezTo>
                    <a:pt x="256" y="131"/>
                    <a:pt x="255" y="131"/>
                    <a:pt x="254" y="131"/>
                  </a:cubicBezTo>
                  <a:cubicBezTo>
                    <a:pt x="254" y="132"/>
                    <a:pt x="254" y="132"/>
                    <a:pt x="254" y="132"/>
                  </a:cubicBezTo>
                  <a:cubicBezTo>
                    <a:pt x="255" y="133"/>
                    <a:pt x="256" y="133"/>
                    <a:pt x="257" y="132"/>
                  </a:cubicBezTo>
                  <a:cubicBezTo>
                    <a:pt x="257" y="132"/>
                    <a:pt x="258" y="132"/>
                    <a:pt x="259" y="132"/>
                  </a:cubicBezTo>
                  <a:cubicBezTo>
                    <a:pt x="259" y="132"/>
                    <a:pt x="258" y="132"/>
                    <a:pt x="258" y="133"/>
                  </a:cubicBezTo>
                  <a:cubicBezTo>
                    <a:pt x="259" y="133"/>
                    <a:pt x="259" y="133"/>
                    <a:pt x="259" y="133"/>
                  </a:cubicBezTo>
                  <a:cubicBezTo>
                    <a:pt x="259" y="134"/>
                    <a:pt x="259" y="135"/>
                    <a:pt x="258" y="136"/>
                  </a:cubicBezTo>
                  <a:cubicBezTo>
                    <a:pt x="258" y="136"/>
                    <a:pt x="258" y="137"/>
                    <a:pt x="258" y="137"/>
                  </a:cubicBezTo>
                  <a:cubicBezTo>
                    <a:pt x="258" y="138"/>
                    <a:pt x="258" y="138"/>
                    <a:pt x="258" y="139"/>
                  </a:cubicBezTo>
                  <a:cubicBezTo>
                    <a:pt x="258" y="140"/>
                    <a:pt x="257" y="140"/>
                    <a:pt x="257" y="140"/>
                  </a:cubicBezTo>
                  <a:cubicBezTo>
                    <a:pt x="256" y="141"/>
                    <a:pt x="254" y="141"/>
                    <a:pt x="253" y="141"/>
                  </a:cubicBezTo>
                  <a:cubicBezTo>
                    <a:pt x="253" y="141"/>
                    <a:pt x="251" y="142"/>
                    <a:pt x="252" y="142"/>
                  </a:cubicBezTo>
                  <a:cubicBezTo>
                    <a:pt x="252" y="143"/>
                    <a:pt x="253" y="142"/>
                    <a:pt x="254" y="142"/>
                  </a:cubicBezTo>
                  <a:cubicBezTo>
                    <a:pt x="254" y="142"/>
                    <a:pt x="255" y="142"/>
                    <a:pt x="256" y="142"/>
                  </a:cubicBezTo>
                  <a:cubicBezTo>
                    <a:pt x="256" y="142"/>
                    <a:pt x="257" y="142"/>
                    <a:pt x="257" y="142"/>
                  </a:cubicBezTo>
                  <a:cubicBezTo>
                    <a:pt x="258" y="142"/>
                    <a:pt x="259" y="141"/>
                    <a:pt x="260" y="142"/>
                  </a:cubicBezTo>
                  <a:cubicBezTo>
                    <a:pt x="260" y="142"/>
                    <a:pt x="259" y="143"/>
                    <a:pt x="259" y="143"/>
                  </a:cubicBezTo>
                  <a:cubicBezTo>
                    <a:pt x="258" y="143"/>
                    <a:pt x="257" y="142"/>
                    <a:pt x="257" y="142"/>
                  </a:cubicBezTo>
                  <a:cubicBezTo>
                    <a:pt x="256" y="142"/>
                    <a:pt x="253" y="143"/>
                    <a:pt x="253" y="144"/>
                  </a:cubicBezTo>
                  <a:cubicBezTo>
                    <a:pt x="253" y="145"/>
                    <a:pt x="256" y="146"/>
                    <a:pt x="257" y="146"/>
                  </a:cubicBezTo>
                  <a:cubicBezTo>
                    <a:pt x="258" y="146"/>
                    <a:pt x="261" y="145"/>
                    <a:pt x="260" y="146"/>
                  </a:cubicBezTo>
                  <a:cubicBezTo>
                    <a:pt x="259" y="147"/>
                    <a:pt x="259" y="146"/>
                    <a:pt x="259" y="147"/>
                  </a:cubicBezTo>
                  <a:cubicBezTo>
                    <a:pt x="259" y="149"/>
                    <a:pt x="260" y="148"/>
                    <a:pt x="260" y="149"/>
                  </a:cubicBezTo>
                  <a:cubicBezTo>
                    <a:pt x="262" y="151"/>
                    <a:pt x="257" y="152"/>
                    <a:pt x="256" y="151"/>
                  </a:cubicBezTo>
                  <a:cubicBezTo>
                    <a:pt x="255" y="151"/>
                    <a:pt x="253" y="150"/>
                    <a:pt x="253" y="149"/>
                  </a:cubicBezTo>
                  <a:cubicBezTo>
                    <a:pt x="252" y="148"/>
                    <a:pt x="251" y="147"/>
                    <a:pt x="250" y="148"/>
                  </a:cubicBezTo>
                  <a:cubicBezTo>
                    <a:pt x="249" y="148"/>
                    <a:pt x="248" y="148"/>
                    <a:pt x="248" y="148"/>
                  </a:cubicBezTo>
                  <a:cubicBezTo>
                    <a:pt x="247" y="149"/>
                    <a:pt x="245" y="149"/>
                    <a:pt x="246" y="150"/>
                  </a:cubicBezTo>
                  <a:cubicBezTo>
                    <a:pt x="247" y="150"/>
                    <a:pt x="247" y="150"/>
                    <a:pt x="247" y="150"/>
                  </a:cubicBezTo>
                  <a:cubicBezTo>
                    <a:pt x="247" y="151"/>
                    <a:pt x="247" y="151"/>
                    <a:pt x="248" y="151"/>
                  </a:cubicBezTo>
                  <a:cubicBezTo>
                    <a:pt x="249" y="152"/>
                    <a:pt x="248" y="151"/>
                    <a:pt x="249" y="151"/>
                  </a:cubicBezTo>
                  <a:cubicBezTo>
                    <a:pt x="250" y="151"/>
                    <a:pt x="250" y="151"/>
                    <a:pt x="250" y="151"/>
                  </a:cubicBezTo>
                  <a:cubicBezTo>
                    <a:pt x="250" y="152"/>
                    <a:pt x="249" y="152"/>
                    <a:pt x="249" y="152"/>
                  </a:cubicBezTo>
                  <a:cubicBezTo>
                    <a:pt x="249" y="153"/>
                    <a:pt x="250" y="154"/>
                    <a:pt x="250" y="154"/>
                  </a:cubicBezTo>
                  <a:cubicBezTo>
                    <a:pt x="250" y="155"/>
                    <a:pt x="251" y="158"/>
                    <a:pt x="250" y="159"/>
                  </a:cubicBezTo>
                  <a:cubicBezTo>
                    <a:pt x="249" y="158"/>
                    <a:pt x="249" y="157"/>
                    <a:pt x="249" y="157"/>
                  </a:cubicBezTo>
                  <a:cubicBezTo>
                    <a:pt x="249" y="156"/>
                    <a:pt x="249" y="154"/>
                    <a:pt x="248" y="154"/>
                  </a:cubicBezTo>
                  <a:cubicBezTo>
                    <a:pt x="247" y="154"/>
                    <a:pt x="248" y="155"/>
                    <a:pt x="248" y="156"/>
                  </a:cubicBezTo>
                  <a:cubicBezTo>
                    <a:pt x="248" y="157"/>
                    <a:pt x="249" y="158"/>
                    <a:pt x="249" y="159"/>
                  </a:cubicBezTo>
                  <a:cubicBezTo>
                    <a:pt x="249" y="160"/>
                    <a:pt x="250" y="161"/>
                    <a:pt x="251" y="162"/>
                  </a:cubicBezTo>
                  <a:cubicBezTo>
                    <a:pt x="251" y="162"/>
                    <a:pt x="251" y="162"/>
                    <a:pt x="252" y="163"/>
                  </a:cubicBezTo>
                  <a:cubicBezTo>
                    <a:pt x="252" y="163"/>
                    <a:pt x="253" y="163"/>
                    <a:pt x="253" y="163"/>
                  </a:cubicBezTo>
                  <a:cubicBezTo>
                    <a:pt x="252" y="163"/>
                    <a:pt x="251" y="163"/>
                    <a:pt x="251" y="163"/>
                  </a:cubicBezTo>
                  <a:cubicBezTo>
                    <a:pt x="250" y="163"/>
                    <a:pt x="250" y="162"/>
                    <a:pt x="249" y="162"/>
                  </a:cubicBezTo>
                  <a:cubicBezTo>
                    <a:pt x="249" y="161"/>
                    <a:pt x="249" y="160"/>
                    <a:pt x="248" y="159"/>
                  </a:cubicBezTo>
                  <a:cubicBezTo>
                    <a:pt x="247" y="158"/>
                    <a:pt x="246" y="157"/>
                    <a:pt x="246" y="156"/>
                  </a:cubicBezTo>
                  <a:cubicBezTo>
                    <a:pt x="246" y="155"/>
                    <a:pt x="246" y="154"/>
                    <a:pt x="245" y="153"/>
                  </a:cubicBezTo>
                  <a:cubicBezTo>
                    <a:pt x="244" y="154"/>
                    <a:pt x="244" y="154"/>
                    <a:pt x="244" y="154"/>
                  </a:cubicBezTo>
                  <a:cubicBezTo>
                    <a:pt x="244" y="155"/>
                    <a:pt x="244" y="155"/>
                    <a:pt x="244" y="155"/>
                  </a:cubicBezTo>
                  <a:cubicBezTo>
                    <a:pt x="244" y="156"/>
                    <a:pt x="243" y="156"/>
                    <a:pt x="243" y="157"/>
                  </a:cubicBezTo>
                  <a:cubicBezTo>
                    <a:pt x="243" y="159"/>
                    <a:pt x="243" y="159"/>
                    <a:pt x="243" y="160"/>
                  </a:cubicBezTo>
                  <a:cubicBezTo>
                    <a:pt x="243" y="161"/>
                    <a:pt x="243" y="162"/>
                    <a:pt x="243" y="163"/>
                  </a:cubicBezTo>
                  <a:cubicBezTo>
                    <a:pt x="243" y="164"/>
                    <a:pt x="242" y="165"/>
                    <a:pt x="242" y="165"/>
                  </a:cubicBezTo>
                  <a:cubicBezTo>
                    <a:pt x="242" y="166"/>
                    <a:pt x="241" y="166"/>
                    <a:pt x="241" y="167"/>
                  </a:cubicBezTo>
                  <a:cubicBezTo>
                    <a:pt x="241" y="166"/>
                    <a:pt x="241" y="166"/>
                    <a:pt x="241" y="166"/>
                  </a:cubicBezTo>
                  <a:cubicBezTo>
                    <a:pt x="241" y="165"/>
                    <a:pt x="241" y="165"/>
                    <a:pt x="241" y="164"/>
                  </a:cubicBezTo>
                  <a:cubicBezTo>
                    <a:pt x="242" y="163"/>
                    <a:pt x="241" y="162"/>
                    <a:pt x="241" y="160"/>
                  </a:cubicBezTo>
                  <a:cubicBezTo>
                    <a:pt x="241" y="159"/>
                    <a:pt x="242" y="158"/>
                    <a:pt x="241" y="156"/>
                  </a:cubicBezTo>
                  <a:cubicBezTo>
                    <a:pt x="240" y="156"/>
                    <a:pt x="240" y="156"/>
                    <a:pt x="239" y="155"/>
                  </a:cubicBezTo>
                  <a:cubicBezTo>
                    <a:pt x="238" y="155"/>
                    <a:pt x="238" y="155"/>
                    <a:pt x="237" y="156"/>
                  </a:cubicBezTo>
                  <a:cubicBezTo>
                    <a:pt x="237" y="156"/>
                    <a:pt x="237" y="156"/>
                    <a:pt x="237" y="156"/>
                  </a:cubicBezTo>
                  <a:cubicBezTo>
                    <a:pt x="236" y="157"/>
                    <a:pt x="236" y="157"/>
                    <a:pt x="236" y="157"/>
                  </a:cubicBezTo>
                  <a:cubicBezTo>
                    <a:pt x="236" y="158"/>
                    <a:pt x="236" y="158"/>
                    <a:pt x="236" y="159"/>
                  </a:cubicBezTo>
                  <a:cubicBezTo>
                    <a:pt x="235" y="159"/>
                    <a:pt x="235" y="159"/>
                    <a:pt x="235" y="158"/>
                  </a:cubicBezTo>
                  <a:cubicBezTo>
                    <a:pt x="235" y="157"/>
                    <a:pt x="235" y="157"/>
                    <a:pt x="235" y="157"/>
                  </a:cubicBezTo>
                  <a:cubicBezTo>
                    <a:pt x="235" y="157"/>
                    <a:pt x="235" y="157"/>
                    <a:pt x="235" y="157"/>
                  </a:cubicBezTo>
                  <a:cubicBezTo>
                    <a:pt x="235" y="157"/>
                    <a:pt x="234" y="156"/>
                    <a:pt x="234" y="156"/>
                  </a:cubicBezTo>
                  <a:cubicBezTo>
                    <a:pt x="233" y="156"/>
                    <a:pt x="233" y="156"/>
                    <a:pt x="233" y="156"/>
                  </a:cubicBezTo>
                  <a:cubicBezTo>
                    <a:pt x="233" y="157"/>
                    <a:pt x="233" y="157"/>
                    <a:pt x="233" y="157"/>
                  </a:cubicBezTo>
                  <a:cubicBezTo>
                    <a:pt x="233" y="158"/>
                    <a:pt x="233" y="158"/>
                    <a:pt x="233" y="158"/>
                  </a:cubicBezTo>
                  <a:cubicBezTo>
                    <a:pt x="233" y="159"/>
                    <a:pt x="234" y="159"/>
                    <a:pt x="234" y="159"/>
                  </a:cubicBezTo>
                  <a:cubicBezTo>
                    <a:pt x="234" y="159"/>
                    <a:pt x="233" y="160"/>
                    <a:pt x="233" y="160"/>
                  </a:cubicBezTo>
                  <a:cubicBezTo>
                    <a:pt x="232" y="160"/>
                    <a:pt x="233" y="160"/>
                    <a:pt x="232" y="159"/>
                  </a:cubicBezTo>
                  <a:cubicBezTo>
                    <a:pt x="232" y="159"/>
                    <a:pt x="231" y="160"/>
                    <a:pt x="230" y="159"/>
                  </a:cubicBezTo>
                  <a:cubicBezTo>
                    <a:pt x="231" y="159"/>
                    <a:pt x="232" y="159"/>
                    <a:pt x="232" y="158"/>
                  </a:cubicBezTo>
                  <a:cubicBezTo>
                    <a:pt x="232" y="158"/>
                    <a:pt x="231" y="158"/>
                    <a:pt x="231" y="157"/>
                  </a:cubicBezTo>
                  <a:cubicBezTo>
                    <a:pt x="231" y="157"/>
                    <a:pt x="231" y="156"/>
                    <a:pt x="230" y="156"/>
                  </a:cubicBezTo>
                  <a:cubicBezTo>
                    <a:pt x="230" y="155"/>
                    <a:pt x="230" y="154"/>
                    <a:pt x="230" y="154"/>
                  </a:cubicBezTo>
                  <a:cubicBezTo>
                    <a:pt x="229" y="153"/>
                    <a:pt x="229" y="155"/>
                    <a:pt x="229" y="156"/>
                  </a:cubicBezTo>
                  <a:cubicBezTo>
                    <a:pt x="229" y="157"/>
                    <a:pt x="229" y="158"/>
                    <a:pt x="229" y="159"/>
                  </a:cubicBezTo>
                  <a:cubicBezTo>
                    <a:pt x="230" y="160"/>
                    <a:pt x="230" y="160"/>
                    <a:pt x="230" y="160"/>
                  </a:cubicBezTo>
                  <a:cubicBezTo>
                    <a:pt x="230" y="161"/>
                    <a:pt x="230" y="161"/>
                    <a:pt x="230" y="161"/>
                  </a:cubicBezTo>
                  <a:cubicBezTo>
                    <a:pt x="231" y="161"/>
                    <a:pt x="230" y="163"/>
                    <a:pt x="230" y="163"/>
                  </a:cubicBezTo>
                  <a:cubicBezTo>
                    <a:pt x="229" y="162"/>
                    <a:pt x="229" y="162"/>
                    <a:pt x="229" y="162"/>
                  </a:cubicBezTo>
                  <a:cubicBezTo>
                    <a:pt x="229" y="161"/>
                    <a:pt x="229" y="161"/>
                    <a:pt x="229" y="161"/>
                  </a:cubicBezTo>
                  <a:cubicBezTo>
                    <a:pt x="228" y="161"/>
                    <a:pt x="228" y="160"/>
                    <a:pt x="228" y="159"/>
                  </a:cubicBezTo>
                  <a:cubicBezTo>
                    <a:pt x="228" y="158"/>
                    <a:pt x="228" y="157"/>
                    <a:pt x="228" y="155"/>
                  </a:cubicBezTo>
                  <a:cubicBezTo>
                    <a:pt x="228" y="155"/>
                    <a:pt x="228" y="154"/>
                    <a:pt x="228" y="154"/>
                  </a:cubicBezTo>
                  <a:cubicBezTo>
                    <a:pt x="227" y="153"/>
                    <a:pt x="227" y="153"/>
                    <a:pt x="227" y="153"/>
                  </a:cubicBezTo>
                  <a:cubicBezTo>
                    <a:pt x="226" y="153"/>
                    <a:pt x="225" y="155"/>
                    <a:pt x="225" y="156"/>
                  </a:cubicBezTo>
                  <a:cubicBezTo>
                    <a:pt x="225" y="156"/>
                    <a:pt x="226" y="156"/>
                    <a:pt x="226" y="157"/>
                  </a:cubicBezTo>
                  <a:cubicBezTo>
                    <a:pt x="225" y="157"/>
                    <a:pt x="225" y="158"/>
                    <a:pt x="225" y="158"/>
                  </a:cubicBezTo>
                  <a:cubicBezTo>
                    <a:pt x="224" y="159"/>
                    <a:pt x="225" y="161"/>
                    <a:pt x="225" y="162"/>
                  </a:cubicBezTo>
                  <a:cubicBezTo>
                    <a:pt x="225" y="163"/>
                    <a:pt x="225" y="164"/>
                    <a:pt x="223" y="164"/>
                  </a:cubicBezTo>
                  <a:cubicBezTo>
                    <a:pt x="223" y="164"/>
                    <a:pt x="223" y="163"/>
                    <a:pt x="223" y="162"/>
                  </a:cubicBezTo>
                  <a:cubicBezTo>
                    <a:pt x="223" y="162"/>
                    <a:pt x="223" y="161"/>
                    <a:pt x="223" y="160"/>
                  </a:cubicBezTo>
                  <a:cubicBezTo>
                    <a:pt x="223" y="158"/>
                    <a:pt x="224" y="156"/>
                    <a:pt x="223" y="154"/>
                  </a:cubicBezTo>
                  <a:cubicBezTo>
                    <a:pt x="223" y="153"/>
                    <a:pt x="222" y="152"/>
                    <a:pt x="221" y="152"/>
                  </a:cubicBezTo>
                  <a:cubicBezTo>
                    <a:pt x="221" y="152"/>
                    <a:pt x="220" y="153"/>
                    <a:pt x="219" y="153"/>
                  </a:cubicBezTo>
                  <a:cubicBezTo>
                    <a:pt x="219" y="152"/>
                    <a:pt x="219" y="151"/>
                    <a:pt x="219" y="150"/>
                  </a:cubicBezTo>
                  <a:cubicBezTo>
                    <a:pt x="219" y="149"/>
                    <a:pt x="218" y="149"/>
                    <a:pt x="217" y="148"/>
                  </a:cubicBezTo>
                  <a:cubicBezTo>
                    <a:pt x="216" y="148"/>
                    <a:pt x="215" y="148"/>
                    <a:pt x="214" y="148"/>
                  </a:cubicBezTo>
                  <a:cubicBezTo>
                    <a:pt x="213" y="148"/>
                    <a:pt x="212" y="148"/>
                    <a:pt x="210" y="148"/>
                  </a:cubicBezTo>
                  <a:cubicBezTo>
                    <a:pt x="208" y="149"/>
                    <a:pt x="206" y="150"/>
                    <a:pt x="205" y="152"/>
                  </a:cubicBezTo>
                  <a:cubicBezTo>
                    <a:pt x="204" y="153"/>
                    <a:pt x="203" y="154"/>
                    <a:pt x="202" y="155"/>
                  </a:cubicBezTo>
                  <a:cubicBezTo>
                    <a:pt x="201" y="156"/>
                    <a:pt x="200" y="158"/>
                    <a:pt x="199" y="159"/>
                  </a:cubicBezTo>
                  <a:cubicBezTo>
                    <a:pt x="198" y="161"/>
                    <a:pt x="197" y="162"/>
                    <a:pt x="195" y="163"/>
                  </a:cubicBezTo>
                  <a:cubicBezTo>
                    <a:pt x="194" y="164"/>
                    <a:pt x="194" y="165"/>
                    <a:pt x="192" y="166"/>
                  </a:cubicBezTo>
                  <a:cubicBezTo>
                    <a:pt x="191" y="167"/>
                    <a:pt x="190" y="168"/>
                    <a:pt x="189" y="169"/>
                  </a:cubicBezTo>
                  <a:cubicBezTo>
                    <a:pt x="188" y="169"/>
                    <a:pt x="187" y="170"/>
                    <a:pt x="186" y="170"/>
                  </a:cubicBezTo>
                  <a:cubicBezTo>
                    <a:pt x="186" y="170"/>
                    <a:pt x="185" y="171"/>
                    <a:pt x="184" y="171"/>
                  </a:cubicBezTo>
                  <a:cubicBezTo>
                    <a:pt x="183" y="171"/>
                    <a:pt x="182" y="169"/>
                    <a:pt x="181" y="169"/>
                  </a:cubicBezTo>
                  <a:cubicBezTo>
                    <a:pt x="180" y="168"/>
                    <a:pt x="178" y="166"/>
                    <a:pt x="176" y="165"/>
                  </a:cubicBezTo>
                  <a:cubicBezTo>
                    <a:pt x="175" y="165"/>
                    <a:pt x="173" y="164"/>
                    <a:pt x="172" y="164"/>
                  </a:cubicBezTo>
                  <a:cubicBezTo>
                    <a:pt x="171" y="164"/>
                    <a:pt x="169" y="164"/>
                    <a:pt x="169" y="164"/>
                  </a:cubicBezTo>
                  <a:cubicBezTo>
                    <a:pt x="168" y="165"/>
                    <a:pt x="168" y="165"/>
                    <a:pt x="168" y="166"/>
                  </a:cubicBezTo>
                  <a:cubicBezTo>
                    <a:pt x="168" y="166"/>
                    <a:pt x="166" y="167"/>
                    <a:pt x="166" y="167"/>
                  </a:cubicBezTo>
                  <a:cubicBezTo>
                    <a:pt x="166" y="165"/>
                    <a:pt x="166" y="165"/>
                    <a:pt x="166" y="165"/>
                  </a:cubicBezTo>
                  <a:cubicBezTo>
                    <a:pt x="166" y="165"/>
                    <a:pt x="166" y="164"/>
                    <a:pt x="166" y="164"/>
                  </a:cubicBezTo>
                  <a:cubicBezTo>
                    <a:pt x="165" y="164"/>
                    <a:pt x="165" y="164"/>
                    <a:pt x="164" y="164"/>
                  </a:cubicBezTo>
                  <a:cubicBezTo>
                    <a:pt x="164" y="164"/>
                    <a:pt x="164" y="164"/>
                    <a:pt x="164" y="164"/>
                  </a:cubicBezTo>
                  <a:cubicBezTo>
                    <a:pt x="163" y="163"/>
                    <a:pt x="162" y="164"/>
                    <a:pt x="161" y="163"/>
                  </a:cubicBezTo>
                  <a:cubicBezTo>
                    <a:pt x="159" y="163"/>
                    <a:pt x="157" y="163"/>
                    <a:pt x="156" y="163"/>
                  </a:cubicBezTo>
                  <a:cubicBezTo>
                    <a:pt x="154" y="162"/>
                    <a:pt x="152" y="162"/>
                    <a:pt x="150" y="163"/>
                  </a:cubicBezTo>
                  <a:cubicBezTo>
                    <a:pt x="149" y="163"/>
                    <a:pt x="147" y="163"/>
                    <a:pt x="147" y="164"/>
                  </a:cubicBezTo>
                  <a:cubicBezTo>
                    <a:pt x="147" y="164"/>
                    <a:pt x="148" y="165"/>
                    <a:pt x="148" y="165"/>
                  </a:cubicBezTo>
                  <a:cubicBezTo>
                    <a:pt x="149" y="165"/>
                    <a:pt x="150" y="165"/>
                    <a:pt x="151" y="165"/>
                  </a:cubicBezTo>
                  <a:cubicBezTo>
                    <a:pt x="150" y="165"/>
                    <a:pt x="150" y="165"/>
                    <a:pt x="150" y="165"/>
                  </a:cubicBezTo>
                  <a:cubicBezTo>
                    <a:pt x="149" y="166"/>
                    <a:pt x="149" y="166"/>
                    <a:pt x="148" y="166"/>
                  </a:cubicBezTo>
                  <a:cubicBezTo>
                    <a:pt x="148" y="166"/>
                    <a:pt x="147" y="167"/>
                    <a:pt x="146" y="167"/>
                  </a:cubicBezTo>
                  <a:cubicBezTo>
                    <a:pt x="146" y="167"/>
                    <a:pt x="146" y="167"/>
                    <a:pt x="145" y="167"/>
                  </a:cubicBezTo>
                  <a:cubicBezTo>
                    <a:pt x="145" y="166"/>
                    <a:pt x="144" y="167"/>
                    <a:pt x="144" y="167"/>
                  </a:cubicBezTo>
                  <a:cubicBezTo>
                    <a:pt x="142" y="167"/>
                    <a:pt x="141" y="168"/>
                    <a:pt x="139" y="168"/>
                  </a:cubicBezTo>
                  <a:cubicBezTo>
                    <a:pt x="139" y="168"/>
                    <a:pt x="137" y="168"/>
                    <a:pt x="137" y="169"/>
                  </a:cubicBezTo>
                  <a:cubicBezTo>
                    <a:pt x="137" y="169"/>
                    <a:pt x="137" y="170"/>
                    <a:pt x="137" y="170"/>
                  </a:cubicBezTo>
                  <a:cubicBezTo>
                    <a:pt x="139" y="170"/>
                    <a:pt x="141" y="169"/>
                    <a:pt x="143" y="170"/>
                  </a:cubicBezTo>
                  <a:cubicBezTo>
                    <a:pt x="143" y="171"/>
                    <a:pt x="142" y="172"/>
                    <a:pt x="141" y="172"/>
                  </a:cubicBezTo>
                  <a:cubicBezTo>
                    <a:pt x="140" y="172"/>
                    <a:pt x="139" y="172"/>
                    <a:pt x="139" y="173"/>
                  </a:cubicBezTo>
                  <a:cubicBezTo>
                    <a:pt x="140" y="173"/>
                    <a:pt x="140" y="173"/>
                    <a:pt x="141" y="173"/>
                  </a:cubicBezTo>
                  <a:cubicBezTo>
                    <a:pt x="142" y="174"/>
                    <a:pt x="141" y="174"/>
                    <a:pt x="141" y="175"/>
                  </a:cubicBezTo>
                  <a:cubicBezTo>
                    <a:pt x="141" y="175"/>
                    <a:pt x="141" y="176"/>
                    <a:pt x="140" y="176"/>
                  </a:cubicBezTo>
                  <a:cubicBezTo>
                    <a:pt x="139" y="176"/>
                    <a:pt x="138" y="176"/>
                    <a:pt x="138" y="176"/>
                  </a:cubicBezTo>
                  <a:cubicBezTo>
                    <a:pt x="138" y="176"/>
                    <a:pt x="138" y="177"/>
                    <a:pt x="138" y="177"/>
                  </a:cubicBezTo>
                  <a:cubicBezTo>
                    <a:pt x="139" y="177"/>
                    <a:pt x="139" y="177"/>
                    <a:pt x="140" y="177"/>
                  </a:cubicBezTo>
                  <a:cubicBezTo>
                    <a:pt x="141" y="177"/>
                    <a:pt x="141" y="177"/>
                    <a:pt x="141" y="178"/>
                  </a:cubicBezTo>
                  <a:cubicBezTo>
                    <a:pt x="141" y="178"/>
                    <a:pt x="141" y="178"/>
                    <a:pt x="141" y="178"/>
                  </a:cubicBezTo>
                  <a:cubicBezTo>
                    <a:pt x="142" y="179"/>
                    <a:pt x="142" y="178"/>
                    <a:pt x="143" y="178"/>
                  </a:cubicBezTo>
                  <a:cubicBezTo>
                    <a:pt x="144" y="178"/>
                    <a:pt x="144" y="179"/>
                    <a:pt x="144" y="179"/>
                  </a:cubicBezTo>
                  <a:cubicBezTo>
                    <a:pt x="144" y="180"/>
                    <a:pt x="144" y="180"/>
                    <a:pt x="144" y="181"/>
                  </a:cubicBezTo>
                  <a:cubicBezTo>
                    <a:pt x="145" y="181"/>
                    <a:pt x="145" y="180"/>
                    <a:pt x="145" y="180"/>
                  </a:cubicBezTo>
                  <a:cubicBezTo>
                    <a:pt x="146" y="179"/>
                    <a:pt x="146" y="180"/>
                    <a:pt x="147" y="180"/>
                  </a:cubicBezTo>
                  <a:cubicBezTo>
                    <a:pt x="147" y="180"/>
                    <a:pt x="149" y="179"/>
                    <a:pt x="149" y="179"/>
                  </a:cubicBezTo>
                  <a:cubicBezTo>
                    <a:pt x="150" y="179"/>
                    <a:pt x="151" y="178"/>
                    <a:pt x="152" y="179"/>
                  </a:cubicBezTo>
                  <a:cubicBezTo>
                    <a:pt x="154" y="179"/>
                    <a:pt x="156" y="179"/>
                    <a:pt x="158" y="179"/>
                  </a:cubicBezTo>
                  <a:cubicBezTo>
                    <a:pt x="159" y="179"/>
                    <a:pt x="159" y="179"/>
                    <a:pt x="159" y="179"/>
                  </a:cubicBezTo>
                  <a:cubicBezTo>
                    <a:pt x="160" y="180"/>
                    <a:pt x="160" y="180"/>
                    <a:pt x="160" y="180"/>
                  </a:cubicBezTo>
                  <a:cubicBezTo>
                    <a:pt x="161" y="181"/>
                    <a:pt x="161" y="181"/>
                    <a:pt x="161" y="181"/>
                  </a:cubicBezTo>
                  <a:cubicBezTo>
                    <a:pt x="162" y="181"/>
                    <a:pt x="162" y="181"/>
                    <a:pt x="162" y="181"/>
                  </a:cubicBezTo>
                  <a:cubicBezTo>
                    <a:pt x="162" y="182"/>
                    <a:pt x="163" y="182"/>
                    <a:pt x="163" y="182"/>
                  </a:cubicBezTo>
                  <a:cubicBezTo>
                    <a:pt x="165" y="183"/>
                    <a:pt x="166" y="183"/>
                    <a:pt x="167" y="184"/>
                  </a:cubicBezTo>
                  <a:cubicBezTo>
                    <a:pt x="169" y="185"/>
                    <a:pt x="170" y="187"/>
                    <a:pt x="172" y="188"/>
                  </a:cubicBezTo>
                  <a:cubicBezTo>
                    <a:pt x="173" y="190"/>
                    <a:pt x="174" y="192"/>
                    <a:pt x="175" y="193"/>
                  </a:cubicBezTo>
                  <a:cubicBezTo>
                    <a:pt x="176" y="194"/>
                    <a:pt x="177" y="194"/>
                    <a:pt x="177" y="195"/>
                  </a:cubicBezTo>
                  <a:cubicBezTo>
                    <a:pt x="178" y="195"/>
                    <a:pt x="178" y="195"/>
                    <a:pt x="179" y="196"/>
                  </a:cubicBezTo>
                  <a:cubicBezTo>
                    <a:pt x="179" y="196"/>
                    <a:pt x="178" y="197"/>
                    <a:pt x="177" y="197"/>
                  </a:cubicBezTo>
                  <a:cubicBezTo>
                    <a:pt x="177" y="197"/>
                    <a:pt x="176" y="197"/>
                    <a:pt x="176" y="197"/>
                  </a:cubicBezTo>
                  <a:cubicBezTo>
                    <a:pt x="175" y="198"/>
                    <a:pt x="176" y="199"/>
                    <a:pt x="177" y="199"/>
                  </a:cubicBezTo>
                  <a:cubicBezTo>
                    <a:pt x="177" y="200"/>
                    <a:pt x="178" y="200"/>
                    <a:pt x="179" y="200"/>
                  </a:cubicBezTo>
                  <a:cubicBezTo>
                    <a:pt x="179" y="201"/>
                    <a:pt x="179" y="202"/>
                    <a:pt x="179" y="203"/>
                  </a:cubicBezTo>
                  <a:cubicBezTo>
                    <a:pt x="180" y="203"/>
                    <a:pt x="181" y="203"/>
                    <a:pt x="181" y="203"/>
                  </a:cubicBezTo>
                  <a:cubicBezTo>
                    <a:pt x="182" y="204"/>
                    <a:pt x="183" y="204"/>
                    <a:pt x="183" y="204"/>
                  </a:cubicBezTo>
                  <a:cubicBezTo>
                    <a:pt x="184" y="204"/>
                    <a:pt x="184" y="204"/>
                    <a:pt x="184" y="203"/>
                  </a:cubicBezTo>
                  <a:cubicBezTo>
                    <a:pt x="184" y="202"/>
                    <a:pt x="183" y="201"/>
                    <a:pt x="184" y="201"/>
                  </a:cubicBezTo>
                  <a:cubicBezTo>
                    <a:pt x="185" y="200"/>
                    <a:pt x="186" y="200"/>
                    <a:pt x="186" y="200"/>
                  </a:cubicBezTo>
                  <a:cubicBezTo>
                    <a:pt x="187" y="200"/>
                    <a:pt x="187" y="199"/>
                    <a:pt x="188" y="200"/>
                  </a:cubicBezTo>
                  <a:cubicBezTo>
                    <a:pt x="189" y="200"/>
                    <a:pt x="188" y="201"/>
                    <a:pt x="189" y="202"/>
                  </a:cubicBezTo>
                  <a:cubicBezTo>
                    <a:pt x="189" y="202"/>
                    <a:pt x="190" y="203"/>
                    <a:pt x="190" y="203"/>
                  </a:cubicBezTo>
                  <a:cubicBezTo>
                    <a:pt x="190" y="204"/>
                    <a:pt x="190" y="204"/>
                    <a:pt x="189" y="204"/>
                  </a:cubicBezTo>
                  <a:cubicBezTo>
                    <a:pt x="189" y="204"/>
                    <a:pt x="188" y="205"/>
                    <a:pt x="188" y="206"/>
                  </a:cubicBezTo>
                  <a:cubicBezTo>
                    <a:pt x="188" y="207"/>
                    <a:pt x="189" y="207"/>
                    <a:pt x="189" y="207"/>
                  </a:cubicBezTo>
                  <a:cubicBezTo>
                    <a:pt x="189" y="208"/>
                    <a:pt x="189" y="208"/>
                    <a:pt x="189" y="208"/>
                  </a:cubicBezTo>
                  <a:cubicBezTo>
                    <a:pt x="189" y="209"/>
                    <a:pt x="189" y="210"/>
                    <a:pt x="189" y="210"/>
                  </a:cubicBezTo>
                  <a:cubicBezTo>
                    <a:pt x="190" y="211"/>
                    <a:pt x="190" y="211"/>
                    <a:pt x="190" y="211"/>
                  </a:cubicBezTo>
                  <a:cubicBezTo>
                    <a:pt x="190" y="212"/>
                    <a:pt x="190" y="212"/>
                    <a:pt x="191" y="212"/>
                  </a:cubicBezTo>
                  <a:cubicBezTo>
                    <a:pt x="191" y="213"/>
                    <a:pt x="192" y="212"/>
                    <a:pt x="193" y="213"/>
                  </a:cubicBezTo>
                  <a:cubicBezTo>
                    <a:pt x="194" y="214"/>
                    <a:pt x="194" y="215"/>
                    <a:pt x="195" y="216"/>
                  </a:cubicBezTo>
                  <a:cubicBezTo>
                    <a:pt x="195" y="217"/>
                    <a:pt x="196" y="217"/>
                    <a:pt x="196" y="218"/>
                  </a:cubicBezTo>
                  <a:cubicBezTo>
                    <a:pt x="196" y="219"/>
                    <a:pt x="195" y="219"/>
                    <a:pt x="195" y="220"/>
                  </a:cubicBezTo>
                  <a:cubicBezTo>
                    <a:pt x="194" y="220"/>
                    <a:pt x="194" y="220"/>
                    <a:pt x="194" y="221"/>
                  </a:cubicBezTo>
                  <a:cubicBezTo>
                    <a:pt x="195" y="222"/>
                    <a:pt x="195" y="222"/>
                    <a:pt x="194" y="223"/>
                  </a:cubicBezTo>
                  <a:cubicBezTo>
                    <a:pt x="193" y="223"/>
                    <a:pt x="192" y="223"/>
                    <a:pt x="191" y="223"/>
                  </a:cubicBezTo>
                  <a:cubicBezTo>
                    <a:pt x="190" y="223"/>
                    <a:pt x="190" y="223"/>
                    <a:pt x="189" y="223"/>
                  </a:cubicBezTo>
                  <a:cubicBezTo>
                    <a:pt x="188" y="223"/>
                    <a:pt x="187" y="222"/>
                    <a:pt x="187" y="222"/>
                  </a:cubicBezTo>
                  <a:cubicBezTo>
                    <a:pt x="186" y="222"/>
                    <a:pt x="185" y="222"/>
                    <a:pt x="185" y="222"/>
                  </a:cubicBezTo>
                  <a:cubicBezTo>
                    <a:pt x="184" y="223"/>
                    <a:pt x="185" y="225"/>
                    <a:pt x="185" y="226"/>
                  </a:cubicBezTo>
                  <a:cubicBezTo>
                    <a:pt x="185" y="228"/>
                    <a:pt x="186" y="229"/>
                    <a:pt x="187" y="231"/>
                  </a:cubicBezTo>
                  <a:cubicBezTo>
                    <a:pt x="187" y="232"/>
                    <a:pt x="187" y="233"/>
                    <a:pt x="188" y="233"/>
                  </a:cubicBezTo>
                  <a:cubicBezTo>
                    <a:pt x="188" y="234"/>
                    <a:pt x="188" y="235"/>
                    <a:pt x="188" y="235"/>
                  </a:cubicBezTo>
                  <a:cubicBezTo>
                    <a:pt x="189" y="236"/>
                    <a:pt x="189" y="237"/>
                    <a:pt x="189" y="238"/>
                  </a:cubicBezTo>
                  <a:cubicBezTo>
                    <a:pt x="190" y="239"/>
                    <a:pt x="191" y="239"/>
                    <a:pt x="190" y="240"/>
                  </a:cubicBezTo>
                  <a:cubicBezTo>
                    <a:pt x="189" y="240"/>
                    <a:pt x="189" y="240"/>
                    <a:pt x="189" y="240"/>
                  </a:cubicBezTo>
                  <a:cubicBezTo>
                    <a:pt x="189" y="241"/>
                    <a:pt x="189" y="241"/>
                    <a:pt x="189" y="241"/>
                  </a:cubicBezTo>
                  <a:cubicBezTo>
                    <a:pt x="189" y="242"/>
                    <a:pt x="189" y="242"/>
                    <a:pt x="190" y="243"/>
                  </a:cubicBezTo>
                  <a:cubicBezTo>
                    <a:pt x="190" y="243"/>
                    <a:pt x="190" y="243"/>
                    <a:pt x="190" y="244"/>
                  </a:cubicBezTo>
                  <a:cubicBezTo>
                    <a:pt x="191" y="244"/>
                    <a:pt x="191" y="245"/>
                    <a:pt x="192" y="245"/>
                  </a:cubicBezTo>
                  <a:cubicBezTo>
                    <a:pt x="192" y="246"/>
                    <a:pt x="194" y="246"/>
                    <a:pt x="194" y="247"/>
                  </a:cubicBezTo>
                  <a:cubicBezTo>
                    <a:pt x="195" y="249"/>
                    <a:pt x="195" y="249"/>
                    <a:pt x="195" y="250"/>
                  </a:cubicBezTo>
                  <a:cubicBezTo>
                    <a:pt x="196" y="251"/>
                    <a:pt x="197" y="251"/>
                    <a:pt x="198" y="251"/>
                  </a:cubicBezTo>
                  <a:cubicBezTo>
                    <a:pt x="199" y="252"/>
                    <a:pt x="199" y="252"/>
                    <a:pt x="200" y="252"/>
                  </a:cubicBezTo>
                  <a:cubicBezTo>
                    <a:pt x="200" y="252"/>
                    <a:pt x="201" y="251"/>
                    <a:pt x="201" y="251"/>
                  </a:cubicBezTo>
                  <a:cubicBezTo>
                    <a:pt x="202" y="250"/>
                    <a:pt x="203" y="249"/>
                    <a:pt x="204" y="249"/>
                  </a:cubicBezTo>
                  <a:cubicBezTo>
                    <a:pt x="205" y="248"/>
                    <a:pt x="206" y="249"/>
                    <a:pt x="207" y="249"/>
                  </a:cubicBezTo>
                  <a:cubicBezTo>
                    <a:pt x="208" y="249"/>
                    <a:pt x="209" y="249"/>
                    <a:pt x="210" y="250"/>
                  </a:cubicBezTo>
                  <a:cubicBezTo>
                    <a:pt x="211" y="250"/>
                    <a:pt x="212" y="249"/>
                    <a:pt x="212" y="249"/>
                  </a:cubicBezTo>
                  <a:cubicBezTo>
                    <a:pt x="213" y="249"/>
                    <a:pt x="214" y="250"/>
                    <a:pt x="215" y="249"/>
                  </a:cubicBezTo>
                  <a:cubicBezTo>
                    <a:pt x="216" y="249"/>
                    <a:pt x="216" y="248"/>
                    <a:pt x="217" y="247"/>
                  </a:cubicBezTo>
                  <a:cubicBezTo>
                    <a:pt x="218" y="246"/>
                    <a:pt x="219" y="246"/>
                    <a:pt x="220" y="245"/>
                  </a:cubicBezTo>
                  <a:cubicBezTo>
                    <a:pt x="220" y="244"/>
                    <a:pt x="220" y="244"/>
                    <a:pt x="221" y="244"/>
                  </a:cubicBezTo>
                  <a:cubicBezTo>
                    <a:pt x="221" y="243"/>
                    <a:pt x="221" y="243"/>
                    <a:pt x="222" y="242"/>
                  </a:cubicBezTo>
                  <a:cubicBezTo>
                    <a:pt x="222" y="242"/>
                    <a:pt x="223" y="240"/>
                    <a:pt x="223" y="240"/>
                  </a:cubicBezTo>
                  <a:cubicBezTo>
                    <a:pt x="224" y="240"/>
                    <a:pt x="224" y="240"/>
                    <a:pt x="224" y="240"/>
                  </a:cubicBezTo>
                  <a:cubicBezTo>
                    <a:pt x="224" y="239"/>
                    <a:pt x="224" y="239"/>
                    <a:pt x="224" y="239"/>
                  </a:cubicBezTo>
                  <a:cubicBezTo>
                    <a:pt x="223" y="238"/>
                    <a:pt x="223" y="239"/>
                    <a:pt x="222" y="239"/>
                  </a:cubicBezTo>
                  <a:cubicBezTo>
                    <a:pt x="222" y="239"/>
                    <a:pt x="221" y="238"/>
                    <a:pt x="220" y="238"/>
                  </a:cubicBezTo>
                  <a:cubicBezTo>
                    <a:pt x="220" y="238"/>
                    <a:pt x="220" y="237"/>
                    <a:pt x="220" y="236"/>
                  </a:cubicBezTo>
                  <a:cubicBezTo>
                    <a:pt x="221" y="237"/>
                    <a:pt x="221" y="238"/>
                    <a:pt x="222" y="238"/>
                  </a:cubicBezTo>
                  <a:cubicBezTo>
                    <a:pt x="223" y="238"/>
                    <a:pt x="223" y="238"/>
                    <a:pt x="223" y="238"/>
                  </a:cubicBezTo>
                  <a:cubicBezTo>
                    <a:pt x="224" y="237"/>
                    <a:pt x="224" y="237"/>
                    <a:pt x="224" y="237"/>
                  </a:cubicBezTo>
                  <a:cubicBezTo>
                    <a:pt x="224" y="237"/>
                    <a:pt x="224" y="237"/>
                    <a:pt x="224" y="237"/>
                  </a:cubicBezTo>
                  <a:cubicBezTo>
                    <a:pt x="225" y="237"/>
                    <a:pt x="226" y="237"/>
                    <a:pt x="227" y="237"/>
                  </a:cubicBezTo>
                  <a:cubicBezTo>
                    <a:pt x="227" y="237"/>
                    <a:pt x="228" y="236"/>
                    <a:pt x="228" y="235"/>
                  </a:cubicBezTo>
                  <a:cubicBezTo>
                    <a:pt x="228" y="234"/>
                    <a:pt x="228" y="234"/>
                    <a:pt x="227" y="233"/>
                  </a:cubicBezTo>
                  <a:cubicBezTo>
                    <a:pt x="227" y="233"/>
                    <a:pt x="226" y="233"/>
                    <a:pt x="226" y="232"/>
                  </a:cubicBezTo>
                  <a:cubicBezTo>
                    <a:pt x="225" y="232"/>
                    <a:pt x="225" y="232"/>
                    <a:pt x="225" y="231"/>
                  </a:cubicBezTo>
                  <a:cubicBezTo>
                    <a:pt x="225" y="230"/>
                    <a:pt x="225" y="230"/>
                    <a:pt x="225" y="229"/>
                  </a:cubicBezTo>
                  <a:cubicBezTo>
                    <a:pt x="225" y="228"/>
                    <a:pt x="224" y="227"/>
                    <a:pt x="224" y="226"/>
                  </a:cubicBezTo>
                  <a:cubicBezTo>
                    <a:pt x="224" y="225"/>
                    <a:pt x="225" y="223"/>
                    <a:pt x="225" y="222"/>
                  </a:cubicBezTo>
                  <a:cubicBezTo>
                    <a:pt x="224" y="221"/>
                    <a:pt x="224" y="221"/>
                    <a:pt x="223" y="220"/>
                  </a:cubicBezTo>
                  <a:cubicBezTo>
                    <a:pt x="222" y="220"/>
                    <a:pt x="221" y="220"/>
                    <a:pt x="221" y="219"/>
                  </a:cubicBezTo>
                  <a:cubicBezTo>
                    <a:pt x="221" y="219"/>
                    <a:pt x="221" y="219"/>
                    <a:pt x="222" y="219"/>
                  </a:cubicBezTo>
                  <a:cubicBezTo>
                    <a:pt x="223" y="219"/>
                    <a:pt x="224" y="220"/>
                    <a:pt x="225" y="220"/>
                  </a:cubicBezTo>
                  <a:cubicBezTo>
                    <a:pt x="226" y="220"/>
                    <a:pt x="226" y="220"/>
                    <a:pt x="227" y="219"/>
                  </a:cubicBezTo>
                  <a:cubicBezTo>
                    <a:pt x="227" y="219"/>
                    <a:pt x="227" y="218"/>
                    <a:pt x="228" y="218"/>
                  </a:cubicBezTo>
                  <a:cubicBezTo>
                    <a:pt x="228" y="219"/>
                    <a:pt x="227" y="220"/>
                    <a:pt x="226" y="221"/>
                  </a:cubicBezTo>
                  <a:cubicBezTo>
                    <a:pt x="226" y="222"/>
                    <a:pt x="226" y="222"/>
                    <a:pt x="226" y="223"/>
                  </a:cubicBezTo>
                  <a:cubicBezTo>
                    <a:pt x="226" y="223"/>
                    <a:pt x="226" y="224"/>
                    <a:pt x="226" y="224"/>
                  </a:cubicBezTo>
                  <a:cubicBezTo>
                    <a:pt x="225" y="226"/>
                    <a:pt x="226" y="225"/>
                    <a:pt x="227" y="225"/>
                  </a:cubicBezTo>
                  <a:cubicBezTo>
                    <a:pt x="229" y="224"/>
                    <a:pt x="230" y="222"/>
                    <a:pt x="232" y="221"/>
                  </a:cubicBezTo>
                  <a:cubicBezTo>
                    <a:pt x="233" y="220"/>
                    <a:pt x="234" y="220"/>
                    <a:pt x="235" y="219"/>
                  </a:cubicBezTo>
                  <a:cubicBezTo>
                    <a:pt x="235" y="219"/>
                    <a:pt x="236" y="218"/>
                    <a:pt x="236" y="218"/>
                  </a:cubicBezTo>
                  <a:cubicBezTo>
                    <a:pt x="237" y="217"/>
                    <a:pt x="237" y="216"/>
                    <a:pt x="236" y="215"/>
                  </a:cubicBezTo>
                  <a:cubicBezTo>
                    <a:pt x="236" y="214"/>
                    <a:pt x="235" y="213"/>
                    <a:pt x="234" y="212"/>
                  </a:cubicBezTo>
                  <a:cubicBezTo>
                    <a:pt x="233" y="211"/>
                    <a:pt x="231" y="211"/>
                    <a:pt x="230" y="211"/>
                  </a:cubicBezTo>
                  <a:cubicBezTo>
                    <a:pt x="229" y="211"/>
                    <a:pt x="229" y="210"/>
                    <a:pt x="228" y="210"/>
                  </a:cubicBezTo>
                  <a:cubicBezTo>
                    <a:pt x="227" y="210"/>
                    <a:pt x="226" y="209"/>
                    <a:pt x="226" y="208"/>
                  </a:cubicBezTo>
                  <a:cubicBezTo>
                    <a:pt x="225" y="208"/>
                    <a:pt x="226" y="207"/>
                    <a:pt x="225" y="206"/>
                  </a:cubicBezTo>
                  <a:cubicBezTo>
                    <a:pt x="225" y="206"/>
                    <a:pt x="225" y="206"/>
                    <a:pt x="225" y="205"/>
                  </a:cubicBezTo>
                  <a:cubicBezTo>
                    <a:pt x="225" y="205"/>
                    <a:pt x="225" y="205"/>
                    <a:pt x="225" y="205"/>
                  </a:cubicBezTo>
                  <a:cubicBezTo>
                    <a:pt x="227" y="205"/>
                    <a:pt x="226" y="206"/>
                    <a:pt x="226" y="207"/>
                  </a:cubicBezTo>
                  <a:cubicBezTo>
                    <a:pt x="227" y="208"/>
                    <a:pt x="229" y="210"/>
                    <a:pt x="230" y="210"/>
                  </a:cubicBezTo>
                  <a:cubicBezTo>
                    <a:pt x="231" y="210"/>
                    <a:pt x="232" y="210"/>
                    <a:pt x="232" y="209"/>
                  </a:cubicBezTo>
                  <a:cubicBezTo>
                    <a:pt x="232" y="208"/>
                    <a:pt x="231" y="208"/>
                    <a:pt x="231" y="207"/>
                  </a:cubicBezTo>
                  <a:cubicBezTo>
                    <a:pt x="231" y="206"/>
                    <a:pt x="231" y="206"/>
                    <a:pt x="231" y="205"/>
                  </a:cubicBezTo>
                  <a:cubicBezTo>
                    <a:pt x="232" y="204"/>
                    <a:pt x="232" y="205"/>
                    <a:pt x="232" y="206"/>
                  </a:cubicBezTo>
                  <a:cubicBezTo>
                    <a:pt x="233" y="206"/>
                    <a:pt x="233" y="206"/>
                    <a:pt x="233" y="207"/>
                  </a:cubicBezTo>
                  <a:cubicBezTo>
                    <a:pt x="233" y="207"/>
                    <a:pt x="233" y="209"/>
                    <a:pt x="234" y="209"/>
                  </a:cubicBezTo>
                  <a:cubicBezTo>
                    <a:pt x="234" y="210"/>
                    <a:pt x="236" y="209"/>
                    <a:pt x="236" y="209"/>
                  </a:cubicBezTo>
                  <a:cubicBezTo>
                    <a:pt x="237" y="209"/>
                    <a:pt x="238" y="209"/>
                    <a:pt x="239" y="209"/>
                  </a:cubicBezTo>
                  <a:cubicBezTo>
                    <a:pt x="240" y="208"/>
                    <a:pt x="240" y="208"/>
                    <a:pt x="241" y="207"/>
                  </a:cubicBezTo>
                  <a:cubicBezTo>
                    <a:pt x="241" y="206"/>
                    <a:pt x="241" y="205"/>
                    <a:pt x="241" y="204"/>
                  </a:cubicBezTo>
                  <a:cubicBezTo>
                    <a:pt x="241" y="203"/>
                    <a:pt x="241" y="202"/>
                    <a:pt x="241" y="201"/>
                  </a:cubicBezTo>
                  <a:cubicBezTo>
                    <a:pt x="241" y="200"/>
                    <a:pt x="240" y="199"/>
                    <a:pt x="240" y="198"/>
                  </a:cubicBezTo>
                  <a:cubicBezTo>
                    <a:pt x="240" y="197"/>
                    <a:pt x="241" y="197"/>
                    <a:pt x="242" y="196"/>
                  </a:cubicBezTo>
                  <a:cubicBezTo>
                    <a:pt x="242" y="195"/>
                    <a:pt x="242" y="195"/>
                    <a:pt x="241" y="194"/>
                  </a:cubicBezTo>
                  <a:cubicBezTo>
                    <a:pt x="241" y="194"/>
                    <a:pt x="240" y="192"/>
                    <a:pt x="240" y="192"/>
                  </a:cubicBezTo>
                  <a:cubicBezTo>
                    <a:pt x="240" y="191"/>
                    <a:pt x="241" y="190"/>
                    <a:pt x="242" y="190"/>
                  </a:cubicBezTo>
                  <a:cubicBezTo>
                    <a:pt x="243" y="189"/>
                    <a:pt x="243" y="188"/>
                    <a:pt x="244" y="187"/>
                  </a:cubicBezTo>
                  <a:cubicBezTo>
                    <a:pt x="244" y="187"/>
                    <a:pt x="245" y="186"/>
                    <a:pt x="245" y="185"/>
                  </a:cubicBezTo>
                  <a:cubicBezTo>
                    <a:pt x="246" y="185"/>
                    <a:pt x="247" y="185"/>
                    <a:pt x="248" y="185"/>
                  </a:cubicBezTo>
                  <a:cubicBezTo>
                    <a:pt x="249" y="185"/>
                    <a:pt x="249" y="185"/>
                    <a:pt x="249" y="185"/>
                  </a:cubicBezTo>
                  <a:cubicBezTo>
                    <a:pt x="249" y="184"/>
                    <a:pt x="249" y="184"/>
                    <a:pt x="249" y="184"/>
                  </a:cubicBezTo>
                  <a:cubicBezTo>
                    <a:pt x="249" y="183"/>
                    <a:pt x="250" y="183"/>
                    <a:pt x="250" y="183"/>
                  </a:cubicBezTo>
                  <a:cubicBezTo>
                    <a:pt x="250" y="182"/>
                    <a:pt x="250" y="180"/>
                    <a:pt x="251" y="180"/>
                  </a:cubicBezTo>
                  <a:cubicBezTo>
                    <a:pt x="252" y="180"/>
                    <a:pt x="252" y="180"/>
                    <a:pt x="252" y="181"/>
                  </a:cubicBezTo>
                  <a:cubicBezTo>
                    <a:pt x="252" y="182"/>
                    <a:pt x="253" y="182"/>
                    <a:pt x="253" y="183"/>
                  </a:cubicBezTo>
                  <a:cubicBezTo>
                    <a:pt x="253" y="184"/>
                    <a:pt x="253" y="185"/>
                    <a:pt x="254" y="186"/>
                  </a:cubicBezTo>
                  <a:cubicBezTo>
                    <a:pt x="254" y="187"/>
                    <a:pt x="255" y="188"/>
                    <a:pt x="255" y="189"/>
                  </a:cubicBezTo>
                  <a:cubicBezTo>
                    <a:pt x="254" y="189"/>
                    <a:pt x="254" y="189"/>
                    <a:pt x="254" y="189"/>
                  </a:cubicBezTo>
                  <a:cubicBezTo>
                    <a:pt x="254" y="188"/>
                    <a:pt x="254" y="188"/>
                    <a:pt x="254" y="188"/>
                  </a:cubicBezTo>
                  <a:cubicBezTo>
                    <a:pt x="254" y="187"/>
                    <a:pt x="254" y="187"/>
                    <a:pt x="254" y="187"/>
                  </a:cubicBezTo>
                  <a:cubicBezTo>
                    <a:pt x="253" y="187"/>
                    <a:pt x="253" y="187"/>
                    <a:pt x="252" y="186"/>
                  </a:cubicBezTo>
                  <a:cubicBezTo>
                    <a:pt x="252" y="185"/>
                    <a:pt x="251" y="185"/>
                    <a:pt x="251" y="186"/>
                  </a:cubicBezTo>
                  <a:cubicBezTo>
                    <a:pt x="251" y="187"/>
                    <a:pt x="251" y="188"/>
                    <a:pt x="251" y="189"/>
                  </a:cubicBezTo>
                  <a:cubicBezTo>
                    <a:pt x="251" y="189"/>
                    <a:pt x="250" y="190"/>
                    <a:pt x="250" y="190"/>
                  </a:cubicBezTo>
                  <a:cubicBezTo>
                    <a:pt x="249" y="191"/>
                    <a:pt x="248" y="190"/>
                    <a:pt x="248" y="190"/>
                  </a:cubicBezTo>
                  <a:cubicBezTo>
                    <a:pt x="247" y="191"/>
                    <a:pt x="249" y="194"/>
                    <a:pt x="247" y="194"/>
                  </a:cubicBezTo>
                  <a:cubicBezTo>
                    <a:pt x="247" y="195"/>
                    <a:pt x="245" y="193"/>
                    <a:pt x="244" y="195"/>
                  </a:cubicBezTo>
                  <a:cubicBezTo>
                    <a:pt x="244" y="195"/>
                    <a:pt x="244" y="195"/>
                    <a:pt x="244" y="195"/>
                  </a:cubicBezTo>
                  <a:cubicBezTo>
                    <a:pt x="244" y="197"/>
                    <a:pt x="244" y="197"/>
                    <a:pt x="244" y="197"/>
                  </a:cubicBezTo>
                  <a:cubicBezTo>
                    <a:pt x="244" y="197"/>
                    <a:pt x="243" y="197"/>
                    <a:pt x="242" y="198"/>
                  </a:cubicBezTo>
                  <a:cubicBezTo>
                    <a:pt x="242" y="198"/>
                    <a:pt x="242" y="199"/>
                    <a:pt x="242" y="199"/>
                  </a:cubicBezTo>
                  <a:cubicBezTo>
                    <a:pt x="242" y="200"/>
                    <a:pt x="242" y="201"/>
                    <a:pt x="242" y="201"/>
                  </a:cubicBezTo>
                  <a:cubicBezTo>
                    <a:pt x="242" y="203"/>
                    <a:pt x="242" y="204"/>
                    <a:pt x="242" y="205"/>
                  </a:cubicBezTo>
                  <a:cubicBezTo>
                    <a:pt x="243" y="206"/>
                    <a:pt x="243" y="207"/>
                    <a:pt x="243" y="208"/>
                  </a:cubicBezTo>
                  <a:cubicBezTo>
                    <a:pt x="243" y="209"/>
                    <a:pt x="243" y="210"/>
                    <a:pt x="242" y="210"/>
                  </a:cubicBezTo>
                  <a:cubicBezTo>
                    <a:pt x="242" y="210"/>
                    <a:pt x="241" y="210"/>
                    <a:pt x="240" y="211"/>
                  </a:cubicBezTo>
                  <a:cubicBezTo>
                    <a:pt x="240" y="211"/>
                    <a:pt x="240" y="212"/>
                    <a:pt x="239" y="212"/>
                  </a:cubicBezTo>
                  <a:cubicBezTo>
                    <a:pt x="239" y="213"/>
                    <a:pt x="239" y="213"/>
                    <a:pt x="239" y="213"/>
                  </a:cubicBezTo>
                  <a:cubicBezTo>
                    <a:pt x="239" y="214"/>
                    <a:pt x="240" y="214"/>
                    <a:pt x="240" y="215"/>
                  </a:cubicBezTo>
                  <a:cubicBezTo>
                    <a:pt x="241" y="217"/>
                    <a:pt x="243" y="218"/>
                    <a:pt x="244" y="220"/>
                  </a:cubicBezTo>
                  <a:cubicBezTo>
                    <a:pt x="244" y="221"/>
                    <a:pt x="243" y="222"/>
                    <a:pt x="243" y="223"/>
                  </a:cubicBezTo>
                  <a:cubicBezTo>
                    <a:pt x="243" y="223"/>
                    <a:pt x="243" y="225"/>
                    <a:pt x="243" y="225"/>
                  </a:cubicBezTo>
                  <a:cubicBezTo>
                    <a:pt x="244" y="225"/>
                    <a:pt x="245" y="224"/>
                    <a:pt x="246" y="223"/>
                  </a:cubicBezTo>
                  <a:cubicBezTo>
                    <a:pt x="246" y="223"/>
                    <a:pt x="247" y="223"/>
                    <a:pt x="247" y="224"/>
                  </a:cubicBezTo>
                  <a:cubicBezTo>
                    <a:pt x="248" y="225"/>
                    <a:pt x="248" y="226"/>
                    <a:pt x="249" y="226"/>
                  </a:cubicBezTo>
                  <a:cubicBezTo>
                    <a:pt x="249" y="227"/>
                    <a:pt x="250" y="227"/>
                    <a:pt x="251" y="227"/>
                  </a:cubicBezTo>
                  <a:cubicBezTo>
                    <a:pt x="250" y="226"/>
                    <a:pt x="250" y="225"/>
                    <a:pt x="250" y="225"/>
                  </a:cubicBezTo>
                  <a:cubicBezTo>
                    <a:pt x="249" y="224"/>
                    <a:pt x="248" y="223"/>
                    <a:pt x="249" y="222"/>
                  </a:cubicBezTo>
                  <a:cubicBezTo>
                    <a:pt x="249" y="220"/>
                    <a:pt x="250" y="219"/>
                    <a:pt x="251" y="217"/>
                  </a:cubicBezTo>
                  <a:cubicBezTo>
                    <a:pt x="252" y="218"/>
                    <a:pt x="252" y="220"/>
                    <a:pt x="252" y="221"/>
                  </a:cubicBezTo>
                  <a:cubicBezTo>
                    <a:pt x="252" y="222"/>
                    <a:pt x="252" y="222"/>
                    <a:pt x="253" y="223"/>
                  </a:cubicBezTo>
                  <a:cubicBezTo>
                    <a:pt x="253" y="224"/>
                    <a:pt x="254" y="225"/>
                    <a:pt x="255" y="225"/>
                  </a:cubicBezTo>
                  <a:cubicBezTo>
                    <a:pt x="255" y="226"/>
                    <a:pt x="256" y="227"/>
                    <a:pt x="256" y="227"/>
                  </a:cubicBezTo>
                  <a:cubicBezTo>
                    <a:pt x="257" y="228"/>
                    <a:pt x="257" y="229"/>
                    <a:pt x="257" y="230"/>
                  </a:cubicBezTo>
                  <a:cubicBezTo>
                    <a:pt x="258" y="230"/>
                    <a:pt x="257" y="231"/>
                    <a:pt x="257" y="231"/>
                  </a:cubicBezTo>
                  <a:cubicBezTo>
                    <a:pt x="257" y="231"/>
                    <a:pt x="257" y="232"/>
                    <a:pt x="257" y="232"/>
                  </a:cubicBezTo>
                  <a:cubicBezTo>
                    <a:pt x="257" y="233"/>
                    <a:pt x="258" y="234"/>
                    <a:pt x="258" y="235"/>
                  </a:cubicBezTo>
                  <a:cubicBezTo>
                    <a:pt x="259" y="236"/>
                    <a:pt x="259" y="236"/>
                    <a:pt x="259" y="236"/>
                  </a:cubicBezTo>
                  <a:cubicBezTo>
                    <a:pt x="260" y="235"/>
                    <a:pt x="260" y="235"/>
                    <a:pt x="260" y="235"/>
                  </a:cubicBezTo>
                  <a:cubicBezTo>
                    <a:pt x="260" y="235"/>
                    <a:pt x="261" y="235"/>
                    <a:pt x="261" y="235"/>
                  </a:cubicBezTo>
                  <a:cubicBezTo>
                    <a:pt x="262" y="235"/>
                    <a:pt x="262" y="235"/>
                    <a:pt x="262" y="235"/>
                  </a:cubicBezTo>
                  <a:cubicBezTo>
                    <a:pt x="263" y="236"/>
                    <a:pt x="263" y="235"/>
                    <a:pt x="264" y="234"/>
                  </a:cubicBezTo>
                  <a:cubicBezTo>
                    <a:pt x="264" y="233"/>
                    <a:pt x="263" y="234"/>
                    <a:pt x="262" y="234"/>
                  </a:cubicBezTo>
                  <a:cubicBezTo>
                    <a:pt x="261" y="233"/>
                    <a:pt x="264" y="232"/>
                    <a:pt x="264" y="232"/>
                  </a:cubicBezTo>
                  <a:cubicBezTo>
                    <a:pt x="264" y="232"/>
                    <a:pt x="264" y="233"/>
                    <a:pt x="265" y="233"/>
                  </a:cubicBezTo>
                  <a:cubicBezTo>
                    <a:pt x="265" y="234"/>
                    <a:pt x="266" y="234"/>
                    <a:pt x="266" y="234"/>
                  </a:cubicBezTo>
                  <a:cubicBezTo>
                    <a:pt x="267" y="234"/>
                    <a:pt x="268" y="233"/>
                    <a:pt x="268" y="232"/>
                  </a:cubicBezTo>
                  <a:cubicBezTo>
                    <a:pt x="268" y="231"/>
                    <a:pt x="268" y="230"/>
                    <a:pt x="268" y="230"/>
                  </a:cubicBezTo>
                  <a:cubicBezTo>
                    <a:pt x="269" y="230"/>
                    <a:pt x="270" y="229"/>
                    <a:pt x="271" y="230"/>
                  </a:cubicBezTo>
                  <a:cubicBezTo>
                    <a:pt x="271" y="230"/>
                    <a:pt x="272" y="231"/>
                    <a:pt x="272" y="232"/>
                  </a:cubicBezTo>
                  <a:cubicBezTo>
                    <a:pt x="273" y="233"/>
                    <a:pt x="273" y="233"/>
                    <a:pt x="273" y="234"/>
                  </a:cubicBezTo>
                  <a:cubicBezTo>
                    <a:pt x="272" y="235"/>
                    <a:pt x="271" y="236"/>
                    <a:pt x="271" y="236"/>
                  </a:cubicBezTo>
                  <a:cubicBezTo>
                    <a:pt x="270" y="237"/>
                    <a:pt x="269" y="237"/>
                    <a:pt x="269" y="238"/>
                  </a:cubicBezTo>
                  <a:cubicBezTo>
                    <a:pt x="268" y="239"/>
                    <a:pt x="269" y="239"/>
                    <a:pt x="270" y="239"/>
                  </a:cubicBezTo>
                  <a:cubicBezTo>
                    <a:pt x="271" y="239"/>
                    <a:pt x="271" y="239"/>
                    <a:pt x="271" y="239"/>
                  </a:cubicBezTo>
                  <a:cubicBezTo>
                    <a:pt x="272" y="240"/>
                    <a:pt x="272" y="240"/>
                    <a:pt x="273" y="241"/>
                  </a:cubicBezTo>
                  <a:cubicBezTo>
                    <a:pt x="273" y="242"/>
                    <a:pt x="274" y="242"/>
                    <a:pt x="274" y="242"/>
                  </a:cubicBezTo>
                  <a:cubicBezTo>
                    <a:pt x="275" y="243"/>
                    <a:pt x="276" y="243"/>
                    <a:pt x="277" y="244"/>
                  </a:cubicBezTo>
                  <a:cubicBezTo>
                    <a:pt x="277" y="244"/>
                    <a:pt x="278" y="245"/>
                    <a:pt x="279" y="246"/>
                  </a:cubicBezTo>
                  <a:cubicBezTo>
                    <a:pt x="279" y="246"/>
                    <a:pt x="279" y="247"/>
                    <a:pt x="280" y="248"/>
                  </a:cubicBezTo>
                  <a:cubicBezTo>
                    <a:pt x="281" y="248"/>
                    <a:pt x="282" y="247"/>
                    <a:pt x="282" y="246"/>
                  </a:cubicBezTo>
                  <a:cubicBezTo>
                    <a:pt x="282" y="246"/>
                    <a:pt x="282" y="245"/>
                    <a:pt x="282" y="245"/>
                  </a:cubicBezTo>
                  <a:cubicBezTo>
                    <a:pt x="281" y="244"/>
                    <a:pt x="281" y="244"/>
                    <a:pt x="281" y="243"/>
                  </a:cubicBezTo>
                  <a:cubicBezTo>
                    <a:pt x="280" y="243"/>
                    <a:pt x="280" y="243"/>
                    <a:pt x="280" y="243"/>
                  </a:cubicBezTo>
                  <a:cubicBezTo>
                    <a:pt x="280" y="242"/>
                    <a:pt x="280" y="242"/>
                    <a:pt x="281" y="242"/>
                  </a:cubicBezTo>
                  <a:cubicBezTo>
                    <a:pt x="281" y="242"/>
                    <a:pt x="281" y="243"/>
                    <a:pt x="282" y="243"/>
                  </a:cubicBezTo>
                  <a:cubicBezTo>
                    <a:pt x="283" y="243"/>
                    <a:pt x="284" y="243"/>
                    <a:pt x="284" y="242"/>
                  </a:cubicBezTo>
                  <a:cubicBezTo>
                    <a:pt x="283" y="241"/>
                    <a:pt x="283" y="241"/>
                    <a:pt x="283" y="241"/>
                  </a:cubicBezTo>
                  <a:cubicBezTo>
                    <a:pt x="283" y="240"/>
                    <a:pt x="283" y="240"/>
                    <a:pt x="283" y="240"/>
                  </a:cubicBezTo>
                  <a:cubicBezTo>
                    <a:pt x="283" y="240"/>
                    <a:pt x="282" y="239"/>
                    <a:pt x="282" y="238"/>
                  </a:cubicBezTo>
                  <a:cubicBezTo>
                    <a:pt x="283" y="238"/>
                    <a:pt x="283" y="239"/>
                    <a:pt x="284" y="239"/>
                  </a:cubicBezTo>
                  <a:cubicBezTo>
                    <a:pt x="285" y="239"/>
                    <a:pt x="286" y="240"/>
                    <a:pt x="286" y="240"/>
                  </a:cubicBezTo>
                  <a:cubicBezTo>
                    <a:pt x="288" y="240"/>
                    <a:pt x="288" y="240"/>
                    <a:pt x="289" y="241"/>
                  </a:cubicBezTo>
                  <a:cubicBezTo>
                    <a:pt x="289" y="241"/>
                    <a:pt x="291" y="242"/>
                    <a:pt x="291" y="243"/>
                  </a:cubicBezTo>
                  <a:cubicBezTo>
                    <a:pt x="290" y="243"/>
                    <a:pt x="289" y="243"/>
                    <a:pt x="289" y="244"/>
                  </a:cubicBezTo>
                  <a:cubicBezTo>
                    <a:pt x="289" y="245"/>
                    <a:pt x="290" y="245"/>
                    <a:pt x="290" y="245"/>
                  </a:cubicBezTo>
                  <a:cubicBezTo>
                    <a:pt x="291" y="246"/>
                    <a:pt x="292" y="246"/>
                    <a:pt x="293" y="247"/>
                  </a:cubicBezTo>
                  <a:cubicBezTo>
                    <a:pt x="293" y="247"/>
                    <a:pt x="293" y="247"/>
                    <a:pt x="294" y="247"/>
                  </a:cubicBezTo>
                  <a:cubicBezTo>
                    <a:pt x="295" y="247"/>
                    <a:pt x="295" y="246"/>
                    <a:pt x="296" y="245"/>
                  </a:cubicBezTo>
                  <a:cubicBezTo>
                    <a:pt x="297" y="245"/>
                    <a:pt x="298" y="245"/>
                    <a:pt x="299" y="244"/>
                  </a:cubicBezTo>
                  <a:cubicBezTo>
                    <a:pt x="299" y="244"/>
                    <a:pt x="299" y="244"/>
                    <a:pt x="299" y="243"/>
                  </a:cubicBezTo>
                  <a:cubicBezTo>
                    <a:pt x="300" y="243"/>
                    <a:pt x="300" y="243"/>
                    <a:pt x="300" y="243"/>
                  </a:cubicBezTo>
                  <a:cubicBezTo>
                    <a:pt x="302" y="242"/>
                    <a:pt x="302" y="241"/>
                    <a:pt x="303" y="241"/>
                  </a:cubicBezTo>
                  <a:cubicBezTo>
                    <a:pt x="304" y="240"/>
                    <a:pt x="305" y="240"/>
                    <a:pt x="306" y="241"/>
                  </a:cubicBezTo>
                  <a:cubicBezTo>
                    <a:pt x="306" y="241"/>
                    <a:pt x="307" y="240"/>
                    <a:pt x="307" y="240"/>
                  </a:cubicBezTo>
                  <a:cubicBezTo>
                    <a:pt x="308" y="240"/>
                    <a:pt x="308" y="241"/>
                    <a:pt x="308" y="241"/>
                  </a:cubicBezTo>
                  <a:cubicBezTo>
                    <a:pt x="310" y="241"/>
                    <a:pt x="312" y="241"/>
                    <a:pt x="314" y="241"/>
                  </a:cubicBezTo>
                  <a:cubicBezTo>
                    <a:pt x="315" y="241"/>
                    <a:pt x="316" y="241"/>
                    <a:pt x="316" y="241"/>
                  </a:cubicBezTo>
                  <a:cubicBezTo>
                    <a:pt x="317" y="241"/>
                    <a:pt x="318" y="241"/>
                    <a:pt x="318" y="241"/>
                  </a:cubicBezTo>
                  <a:cubicBezTo>
                    <a:pt x="318" y="242"/>
                    <a:pt x="318" y="242"/>
                    <a:pt x="318" y="242"/>
                  </a:cubicBezTo>
                  <a:cubicBezTo>
                    <a:pt x="318" y="242"/>
                    <a:pt x="318" y="242"/>
                    <a:pt x="318" y="242"/>
                  </a:cubicBezTo>
                  <a:cubicBezTo>
                    <a:pt x="319" y="242"/>
                    <a:pt x="320" y="242"/>
                    <a:pt x="321" y="243"/>
                  </a:cubicBezTo>
                  <a:cubicBezTo>
                    <a:pt x="319" y="244"/>
                    <a:pt x="317" y="244"/>
                    <a:pt x="315" y="243"/>
                  </a:cubicBezTo>
                  <a:cubicBezTo>
                    <a:pt x="315" y="243"/>
                    <a:pt x="314" y="243"/>
                    <a:pt x="314" y="243"/>
                  </a:cubicBezTo>
                  <a:cubicBezTo>
                    <a:pt x="313" y="243"/>
                    <a:pt x="313" y="243"/>
                    <a:pt x="313" y="243"/>
                  </a:cubicBezTo>
                  <a:cubicBezTo>
                    <a:pt x="313" y="242"/>
                    <a:pt x="312" y="242"/>
                    <a:pt x="312" y="242"/>
                  </a:cubicBezTo>
                  <a:cubicBezTo>
                    <a:pt x="311" y="242"/>
                    <a:pt x="311" y="242"/>
                    <a:pt x="311" y="242"/>
                  </a:cubicBezTo>
                  <a:cubicBezTo>
                    <a:pt x="310" y="241"/>
                    <a:pt x="308" y="241"/>
                    <a:pt x="307" y="241"/>
                  </a:cubicBezTo>
                  <a:cubicBezTo>
                    <a:pt x="306" y="241"/>
                    <a:pt x="304" y="241"/>
                    <a:pt x="304" y="242"/>
                  </a:cubicBezTo>
                  <a:cubicBezTo>
                    <a:pt x="304" y="243"/>
                    <a:pt x="304" y="243"/>
                    <a:pt x="304" y="243"/>
                  </a:cubicBezTo>
                  <a:cubicBezTo>
                    <a:pt x="304" y="243"/>
                    <a:pt x="304" y="243"/>
                    <a:pt x="304" y="243"/>
                  </a:cubicBezTo>
                  <a:cubicBezTo>
                    <a:pt x="303" y="244"/>
                    <a:pt x="303" y="244"/>
                    <a:pt x="302" y="244"/>
                  </a:cubicBezTo>
                  <a:cubicBezTo>
                    <a:pt x="302" y="245"/>
                    <a:pt x="303" y="245"/>
                    <a:pt x="303" y="245"/>
                  </a:cubicBezTo>
                  <a:cubicBezTo>
                    <a:pt x="303" y="246"/>
                    <a:pt x="302" y="246"/>
                    <a:pt x="303" y="247"/>
                  </a:cubicBezTo>
                  <a:cubicBezTo>
                    <a:pt x="303" y="247"/>
                    <a:pt x="303" y="247"/>
                    <a:pt x="304" y="248"/>
                  </a:cubicBezTo>
                  <a:cubicBezTo>
                    <a:pt x="304" y="248"/>
                    <a:pt x="305" y="248"/>
                    <a:pt x="305" y="248"/>
                  </a:cubicBezTo>
                  <a:cubicBezTo>
                    <a:pt x="305" y="249"/>
                    <a:pt x="304" y="249"/>
                    <a:pt x="304" y="250"/>
                  </a:cubicBezTo>
                  <a:cubicBezTo>
                    <a:pt x="303" y="250"/>
                    <a:pt x="302" y="250"/>
                    <a:pt x="302" y="250"/>
                  </a:cubicBezTo>
                  <a:cubicBezTo>
                    <a:pt x="301" y="251"/>
                    <a:pt x="301" y="251"/>
                    <a:pt x="301" y="251"/>
                  </a:cubicBezTo>
                  <a:cubicBezTo>
                    <a:pt x="301" y="251"/>
                    <a:pt x="301" y="252"/>
                    <a:pt x="301" y="252"/>
                  </a:cubicBezTo>
                  <a:cubicBezTo>
                    <a:pt x="301" y="253"/>
                    <a:pt x="302" y="253"/>
                    <a:pt x="302" y="253"/>
                  </a:cubicBezTo>
                  <a:cubicBezTo>
                    <a:pt x="303" y="252"/>
                    <a:pt x="303" y="252"/>
                    <a:pt x="303" y="252"/>
                  </a:cubicBezTo>
                  <a:cubicBezTo>
                    <a:pt x="304" y="252"/>
                    <a:pt x="305" y="253"/>
                    <a:pt x="305" y="253"/>
                  </a:cubicBezTo>
                  <a:cubicBezTo>
                    <a:pt x="306" y="254"/>
                    <a:pt x="306" y="255"/>
                    <a:pt x="306" y="256"/>
                  </a:cubicBezTo>
                  <a:cubicBezTo>
                    <a:pt x="305" y="257"/>
                    <a:pt x="306" y="257"/>
                    <a:pt x="307" y="257"/>
                  </a:cubicBezTo>
                  <a:cubicBezTo>
                    <a:pt x="308" y="258"/>
                    <a:pt x="308" y="258"/>
                    <a:pt x="309" y="259"/>
                  </a:cubicBezTo>
                  <a:cubicBezTo>
                    <a:pt x="310" y="260"/>
                    <a:pt x="312" y="259"/>
                    <a:pt x="314" y="260"/>
                  </a:cubicBezTo>
                  <a:cubicBezTo>
                    <a:pt x="314" y="260"/>
                    <a:pt x="315" y="260"/>
                    <a:pt x="315" y="261"/>
                  </a:cubicBezTo>
                  <a:cubicBezTo>
                    <a:pt x="320" y="255"/>
                    <a:pt x="320" y="255"/>
                    <a:pt x="320" y="255"/>
                  </a:cubicBezTo>
                  <a:lnTo>
                    <a:pt x="339" y="22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1" name="Freeform 11">
              <a:extLst>
                <a:ext uri="{FF2B5EF4-FFF2-40B4-BE49-F238E27FC236}">
                  <a16:creationId xmlns:a16="http://schemas.microsoft.com/office/drawing/2014/main" id="{F2ED8E85-0359-3D2F-B25B-D3DFF2929A72}"/>
                </a:ext>
              </a:extLst>
            </p:cNvPr>
            <p:cNvSpPr>
              <a:spLocks noEditPoints="1"/>
            </p:cNvSpPr>
            <p:nvPr/>
          </p:nvSpPr>
          <p:spPr bwMode="auto">
            <a:xfrm>
              <a:off x="5451475" y="5718175"/>
              <a:ext cx="796925" cy="239712"/>
            </a:xfrm>
            <a:custGeom>
              <a:avLst/>
              <a:gdLst>
                <a:gd name="T0" fmla="*/ 51 w 209"/>
                <a:gd name="T1" fmla="*/ 32 h 63"/>
                <a:gd name="T2" fmla="*/ 42 w 209"/>
                <a:gd name="T3" fmla="*/ 48 h 63"/>
                <a:gd name="T4" fmla="*/ 42 w 209"/>
                <a:gd name="T5" fmla="*/ 51 h 63"/>
                <a:gd name="T6" fmla="*/ 36 w 209"/>
                <a:gd name="T7" fmla="*/ 49 h 63"/>
                <a:gd name="T8" fmla="*/ 30 w 209"/>
                <a:gd name="T9" fmla="*/ 51 h 63"/>
                <a:gd name="T10" fmla="*/ 21 w 209"/>
                <a:gd name="T11" fmla="*/ 49 h 63"/>
                <a:gd name="T12" fmla="*/ 13 w 209"/>
                <a:gd name="T13" fmla="*/ 49 h 63"/>
                <a:gd name="T14" fmla="*/ 1 w 209"/>
                <a:gd name="T15" fmla="*/ 44 h 63"/>
                <a:gd name="T16" fmla="*/ 11 w 209"/>
                <a:gd name="T17" fmla="*/ 41 h 63"/>
                <a:gd name="T18" fmla="*/ 16 w 209"/>
                <a:gd name="T19" fmla="*/ 28 h 63"/>
                <a:gd name="T20" fmla="*/ 19 w 209"/>
                <a:gd name="T21" fmla="*/ 17 h 63"/>
                <a:gd name="T22" fmla="*/ 43 w 209"/>
                <a:gd name="T23" fmla="*/ 10 h 63"/>
                <a:gd name="T24" fmla="*/ 57 w 209"/>
                <a:gd name="T25" fmla="*/ 18 h 63"/>
                <a:gd name="T26" fmla="*/ 181 w 209"/>
                <a:gd name="T27" fmla="*/ 43 h 63"/>
                <a:gd name="T28" fmla="*/ 182 w 209"/>
                <a:gd name="T29" fmla="*/ 38 h 63"/>
                <a:gd name="T30" fmla="*/ 192 w 209"/>
                <a:gd name="T31" fmla="*/ 37 h 63"/>
                <a:gd name="T32" fmla="*/ 203 w 209"/>
                <a:gd name="T33" fmla="*/ 41 h 63"/>
                <a:gd name="T34" fmla="*/ 207 w 209"/>
                <a:gd name="T35" fmla="*/ 34 h 63"/>
                <a:gd name="T36" fmla="*/ 203 w 209"/>
                <a:gd name="T37" fmla="*/ 35 h 63"/>
                <a:gd name="T38" fmla="*/ 199 w 209"/>
                <a:gd name="T39" fmla="*/ 26 h 63"/>
                <a:gd name="T40" fmla="*/ 196 w 209"/>
                <a:gd name="T41" fmla="*/ 14 h 63"/>
                <a:gd name="T42" fmla="*/ 181 w 209"/>
                <a:gd name="T43" fmla="*/ 16 h 63"/>
                <a:gd name="T44" fmla="*/ 176 w 209"/>
                <a:gd name="T45" fmla="*/ 27 h 63"/>
                <a:gd name="T46" fmla="*/ 174 w 209"/>
                <a:gd name="T47" fmla="*/ 12 h 63"/>
                <a:gd name="T48" fmla="*/ 162 w 209"/>
                <a:gd name="T49" fmla="*/ 12 h 63"/>
                <a:gd name="T50" fmla="*/ 146 w 209"/>
                <a:gd name="T51" fmla="*/ 10 h 63"/>
                <a:gd name="T52" fmla="*/ 139 w 209"/>
                <a:gd name="T53" fmla="*/ 1 h 63"/>
                <a:gd name="T54" fmla="*/ 125 w 209"/>
                <a:gd name="T55" fmla="*/ 2 h 63"/>
                <a:gd name="T56" fmla="*/ 122 w 209"/>
                <a:gd name="T57" fmla="*/ 14 h 63"/>
                <a:gd name="T58" fmla="*/ 147 w 209"/>
                <a:gd name="T59" fmla="*/ 28 h 63"/>
                <a:gd name="T60" fmla="*/ 141 w 209"/>
                <a:gd name="T61" fmla="*/ 36 h 63"/>
                <a:gd name="T62" fmla="*/ 130 w 209"/>
                <a:gd name="T63" fmla="*/ 40 h 63"/>
                <a:gd name="T64" fmla="*/ 120 w 209"/>
                <a:gd name="T65" fmla="*/ 35 h 63"/>
                <a:gd name="T66" fmla="*/ 112 w 209"/>
                <a:gd name="T67" fmla="*/ 26 h 63"/>
                <a:gd name="T68" fmla="*/ 108 w 209"/>
                <a:gd name="T69" fmla="*/ 22 h 63"/>
                <a:gd name="T70" fmla="*/ 93 w 209"/>
                <a:gd name="T71" fmla="*/ 22 h 63"/>
                <a:gd name="T72" fmla="*/ 75 w 209"/>
                <a:gd name="T73" fmla="*/ 23 h 63"/>
                <a:gd name="T74" fmla="*/ 63 w 209"/>
                <a:gd name="T75" fmla="*/ 29 h 63"/>
                <a:gd name="T76" fmla="*/ 60 w 209"/>
                <a:gd name="T77" fmla="*/ 39 h 63"/>
                <a:gd name="T78" fmla="*/ 58 w 209"/>
                <a:gd name="T79" fmla="*/ 48 h 63"/>
                <a:gd name="T80" fmla="*/ 57 w 209"/>
                <a:gd name="T81" fmla="*/ 57 h 63"/>
                <a:gd name="T82" fmla="*/ 74 w 209"/>
                <a:gd name="T83" fmla="*/ 63 h 63"/>
                <a:gd name="T84" fmla="*/ 93 w 209"/>
                <a:gd name="T85" fmla="*/ 60 h 63"/>
                <a:gd name="T86" fmla="*/ 117 w 209"/>
                <a:gd name="T87" fmla="*/ 52 h 63"/>
                <a:gd name="T88" fmla="*/ 128 w 209"/>
                <a:gd name="T89" fmla="*/ 53 h 63"/>
                <a:gd name="T90" fmla="*/ 139 w 209"/>
                <a:gd name="T91" fmla="*/ 47 h 63"/>
                <a:gd name="T92" fmla="*/ 151 w 209"/>
                <a:gd name="T93" fmla="*/ 43 h 63"/>
                <a:gd name="T94" fmla="*/ 160 w 209"/>
                <a:gd name="T95" fmla="*/ 32 h 63"/>
                <a:gd name="T96" fmla="*/ 159 w 209"/>
                <a:gd name="T97" fmla="*/ 43 h 63"/>
                <a:gd name="T98" fmla="*/ 172 w 209"/>
                <a:gd name="T99" fmla="*/ 46 h 63"/>
                <a:gd name="T100" fmla="*/ 190 w 209"/>
                <a:gd name="T101" fmla="*/ 47 h 63"/>
                <a:gd name="T102" fmla="*/ 104 w 209"/>
                <a:gd name="T103" fmla="*/ 12 h 63"/>
                <a:gd name="T104" fmla="*/ 109 w 209"/>
                <a:gd name="T105" fmla="*/ 13 h 63"/>
                <a:gd name="T106" fmla="*/ 113 w 209"/>
                <a:gd name="T107" fmla="*/ 4 h 63"/>
                <a:gd name="T108" fmla="*/ 103 w 209"/>
                <a:gd name="T109" fmla="*/ 8 h 63"/>
                <a:gd name="T110" fmla="*/ 204 w 209"/>
                <a:gd name="T111" fmla="*/ 8 h 63"/>
                <a:gd name="T112" fmla="*/ 199 w 209"/>
                <a:gd name="T113" fmla="*/ 3 h 63"/>
                <a:gd name="T114" fmla="*/ 198 w 209"/>
                <a:gd name="T11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63">
                  <a:moveTo>
                    <a:pt x="57" y="18"/>
                  </a:moveTo>
                  <a:cubicBezTo>
                    <a:pt x="56" y="19"/>
                    <a:pt x="56" y="20"/>
                    <a:pt x="55" y="22"/>
                  </a:cubicBezTo>
                  <a:cubicBezTo>
                    <a:pt x="54" y="25"/>
                    <a:pt x="53" y="26"/>
                    <a:pt x="52" y="27"/>
                  </a:cubicBezTo>
                  <a:cubicBezTo>
                    <a:pt x="52" y="28"/>
                    <a:pt x="52" y="30"/>
                    <a:pt x="52" y="31"/>
                  </a:cubicBezTo>
                  <a:cubicBezTo>
                    <a:pt x="52" y="31"/>
                    <a:pt x="52" y="30"/>
                    <a:pt x="51" y="32"/>
                  </a:cubicBezTo>
                  <a:cubicBezTo>
                    <a:pt x="50" y="33"/>
                    <a:pt x="49" y="34"/>
                    <a:pt x="48" y="36"/>
                  </a:cubicBezTo>
                  <a:cubicBezTo>
                    <a:pt x="47" y="37"/>
                    <a:pt x="47" y="37"/>
                    <a:pt x="46" y="39"/>
                  </a:cubicBezTo>
                  <a:cubicBezTo>
                    <a:pt x="46" y="41"/>
                    <a:pt x="45" y="43"/>
                    <a:pt x="44" y="43"/>
                  </a:cubicBezTo>
                  <a:cubicBezTo>
                    <a:pt x="42" y="44"/>
                    <a:pt x="42" y="45"/>
                    <a:pt x="42" y="46"/>
                  </a:cubicBezTo>
                  <a:cubicBezTo>
                    <a:pt x="42" y="47"/>
                    <a:pt x="41" y="48"/>
                    <a:pt x="42" y="48"/>
                  </a:cubicBezTo>
                  <a:cubicBezTo>
                    <a:pt x="44" y="48"/>
                    <a:pt x="43" y="47"/>
                    <a:pt x="44" y="47"/>
                  </a:cubicBezTo>
                  <a:cubicBezTo>
                    <a:pt x="46" y="48"/>
                    <a:pt x="47" y="48"/>
                    <a:pt x="47" y="49"/>
                  </a:cubicBezTo>
                  <a:cubicBezTo>
                    <a:pt x="47" y="50"/>
                    <a:pt x="45" y="51"/>
                    <a:pt x="45" y="51"/>
                  </a:cubicBezTo>
                  <a:cubicBezTo>
                    <a:pt x="44" y="51"/>
                    <a:pt x="44" y="50"/>
                    <a:pt x="44" y="50"/>
                  </a:cubicBezTo>
                  <a:cubicBezTo>
                    <a:pt x="44" y="50"/>
                    <a:pt x="43" y="51"/>
                    <a:pt x="42" y="51"/>
                  </a:cubicBezTo>
                  <a:cubicBezTo>
                    <a:pt x="41" y="52"/>
                    <a:pt x="40" y="52"/>
                    <a:pt x="39" y="52"/>
                  </a:cubicBezTo>
                  <a:cubicBezTo>
                    <a:pt x="39" y="51"/>
                    <a:pt x="40" y="50"/>
                    <a:pt x="40" y="49"/>
                  </a:cubicBezTo>
                  <a:cubicBezTo>
                    <a:pt x="40" y="49"/>
                    <a:pt x="40" y="47"/>
                    <a:pt x="40" y="47"/>
                  </a:cubicBezTo>
                  <a:cubicBezTo>
                    <a:pt x="39" y="47"/>
                    <a:pt x="38" y="47"/>
                    <a:pt x="37" y="47"/>
                  </a:cubicBezTo>
                  <a:cubicBezTo>
                    <a:pt x="37" y="48"/>
                    <a:pt x="36" y="48"/>
                    <a:pt x="36" y="49"/>
                  </a:cubicBezTo>
                  <a:cubicBezTo>
                    <a:pt x="36" y="49"/>
                    <a:pt x="36" y="50"/>
                    <a:pt x="36" y="51"/>
                  </a:cubicBezTo>
                  <a:cubicBezTo>
                    <a:pt x="36" y="52"/>
                    <a:pt x="35" y="53"/>
                    <a:pt x="35" y="53"/>
                  </a:cubicBezTo>
                  <a:cubicBezTo>
                    <a:pt x="34" y="52"/>
                    <a:pt x="34" y="52"/>
                    <a:pt x="34" y="52"/>
                  </a:cubicBezTo>
                  <a:cubicBezTo>
                    <a:pt x="34" y="52"/>
                    <a:pt x="34" y="51"/>
                    <a:pt x="33" y="51"/>
                  </a:cubicBezTo>
                  <a:cubicBezTo>
                    <a:pt x="32" y="51"/>
                    <a:pt x="30" y="51"/>
                    <a:pt x="30" y="51"/>
                  </a:cubicBezTo>
                  <a:cubicBezTo>
                    <a:pt x="29" y="51"/>
                    <a:pt x="28" y="50"/>
                    <a:pt x="28" y="51"/>
                  </a:cubicBezTo>
                  <a:cubicBezTo>
                    <a:pt x="27" y="51"/>
                    <a:pt x="27" y="51"/>
                    <a:pt x="26" y="51"/>
                  </a:cubicBezTo>
                  <a:cubicBezTo>
                    <a:pt x="25" y="51"/>
                    <a:pt x="23" y="50"/>
                    <a:pt x="23" y="51"/>
                  </a:cubicBezTo>
                  <a:cubicBezTo>
                    <a:pt x="22" y="51"/>
                    <a:pt x="22" y="51"/>
                    <a:pt x="22" y="51"/>
                  </a:cubicBezTo>
                  <a:cubicBezTo>
                    <a:pt x="21" y="51"/>
                    <a:pt x="21" y="49"/>
                    <a:pt x="21" y="49"/>
                  </a:cubicBezTo>
                  <a:cubicBezTo>
                    <a:pt x="18" y="49"/>
                    <a:pt x="18" y="49"/>
                    <a:pt x="18" y="49"/>
                  </a:cubicBezTo>
                  <a:cubicBezTo>
                    <a:pt x="18" y="49"/>
                    <a:pt x="17" y="50"/>
                    <a:pt x="16" y="50"/>
                  </a:cubicBezTo>
                  <a:cubicBezTo>
                    <a:pt x="16" y="50"/>
                    <a:pt x="15" y="50"/>
                    <a:pt x="15" y="49"/>
                  </a:cubicBezTo>
                  <a:cubicBezTo>
                    <a:pt x="15" y="48"/>
                    <a:pt x="16" y="48"/>
                    <a:pt x="15" y="48"/>
                  </a:cubicBezTo>
                  <a:cubicBezTo>
                    <a:pt x="13" y="48"/>
                    <a:pt x="13" y="48"/>
                    <a:pt x="13" y="49"/>
                  </a:cubicBezTo>
                  <a:cubicBezTo>
                    <a:pt x="12" y="49"/>
                    <a:pt x="14" y="50"/>
                    <a:pt x="13" y="51"/>
                  </a:cubicBezTo>
                  <a:cubicBezTo>
                    <a:pt x="12" y="51"/>
                    <a:pt x="12" y="51"/>
                    <a:pt x="11" y="50"/>
                  </a:cubicBezTo>
                  <a:cubicBezTo>
                    <a:pt x="10" y="49"/>
                    <a:pt x="9" y="47"/>
                    <a:pt x="8" y="47"/>
                  </a:cubicBezTo>
                  <a:cubicBezTo>
                    <a:pt x="6" y="47"/>
                    <a:pt x="6" y="47"/>
                    <a:pt x="5" y="47"/>
                  </a:cubicBezTo>
                  <a:cubicBezTo>
                    <a:pt x="4" y="46"/>
                    <a:pt x="2" y="46"/>
                    <a:pt x="1" y="44"/>
                  </a:cubicBezTo>
                  <a:cubicBezTo>
                    <a:pt x="0" y="42"/>
                    <a:pt x="0" y="42"/>
                    <a:pt x="1" y="41"/>
                  </a:cubicBezTo>
                  <a:cubicBezTo>
                    <a:pt x="2" y="40"/>
                    <a:pt x="2" y="39"/>
                    <a:pt x="3" y="40"/>
                  </a:cubicBezTo>
                  <a:cubicBezTo>
                    <a:pt x="3" y="41"/>
                    <a:pt x="5" y="43"/>
                    <a:pt x="6" y="43"/>
                  </a:cubicBezTo>
                  <a:cubicBezTo>
                    <a:pt x="6" y="42"/>
                    <a:pt x="10" y="40"/>
                    <a:pt x="10" y="40"/>
                  </a:cubicBezTo>
                  <a:cubicBezTo>
                    <a:pt x="10" y="40"/>
                    <a:pt x="11" y="40"/>
                    <a:pt x="11" y="41"/>
                  </a:cubicBezTo>
                  <a:cubicBezTo>
                    <a:pt x="12" y="41"/>
                    <a:pt x="13" y="42"/>
                    <a:pt x="13" y="41"/>
                  </a:cubicBezTo>
                  <a:cubicBezTo>
                    <a:pt x="13" y="41"/>
                    <a:pt x="14" y="42"/>
                    <a:pt x="14" y="42"/>
                  </a:cubicBezTo>
                  <a:cubicBezTo>
                    <a:pt x="15" y="42"/>
                    <a:pt x="15" y="42"/>
                    <a:pt x="15" y="42"/>
                  </a:cubicBezTo>
                  <a:cubicBezTo>
                    <a:pt x="15" y="42"/>
                    <a:pt x="16" y="40"/>
                    <a:pt x="16" y="38"/>
                  </a:cubicBezTo>
                  <a:cubicBezTo>
                    <a:pt x="16" y="37"/>
                    <a:pt x="16" y="30"/>
                    <a:pt x="16" y="28"/>
                  </a:cubicBezTo>
                  <a:cubicBezTo>
                    <a:pt x="16" y="27"/>
                    <a:pt x="14" y="26"/>
                    <a:pt x="14" y="25"/>
                  </a:cubicBezTo>
                  <a:cubicBezTo>
                    <a:pt x="14" y="23"/>
                    <a:pt x="14" y="21"/>
                    <a:pt x="15" y="21"/>
                  </a:cubicBezTo>
                  <a:cubicBezTo>
                    <a:pt x="15" y="20"/>
                    <a:pt x="16" y="20"/>
                    <a:pt x="17" y="20"/>
                  </a:cubicBezTo>
                  <a:cubicBezTo>
                    <a:pt x="17" y="19"/>
                    <a:pt x="18" y="18"/>
                    <a:pt x="18" y="18"/>
                  </a:cubicBezTo>
                  <a:cubicBezTo>
                    <a:pt x="18" y="17"/>
                    <a:pt x="19" y="17"/>
                    <a:pt x="19" y="17"/>
                  </a:cubicBezTo>
                  <a:cubicBezTo>
                    <a:pt x="20" y="17"/>
                    <a:pt x="20" y="17"/>
                    <a:pt x="22" y="15"/>
                  </a:cubicBezTo>
                  <a:cubicBezTo>
                    <a:pt x="24" y="13"/>
                    <a:pt x="26" y="11"/>
                    <a:pt x="29" y="10"/>
                  </a:cubicBezTo>
                  <a:cubicBezTo>
                    <a:pt x="32" y="8"/>
                    <a:pt x="33" y="7"/>
                    <a:pt x="35" y="8"/>
                  </a:cubicBezTo>
                  <a:cubicBezTo>
                    <a:pt x="38" y="8"/>
                    <a:pt x="39" y="8"/>
                    <a:pt x="40" y="9"/>
                  </a:cubicBezTo>
                  <a:cubicBezTo>
                    <a:pt x="42" y="9"/>
                    <a:pt x="41" y="10"/>
                    <a:pt x="43" y="10"/>
                  </a:cubicBezTo>
                  <a:cubicBezTo>
                    <a:pt x="44" y="10"/>
                    <a:pt x="45" y="10"/>
                    <a:pt x="45" y="11"/>
                  </a:cubicBezTo>
                  <a:cubicBezTo>
                    <a:pt x="46" y="11"/>
                    <a:pt x="47" y="12"/>
                    <a:pt x="48" y="12"/>
                  </a:cubicBezTo>
                  <a:cubicBezTo>
                    <a:pt x="50" y="12"/>
                    <a:pt x="50" y="11"/>
                    <a:pt x="52" y="12"/>
                  </a:cubicBezTo>
                  <a:cubicBezTo>
                    <a:pt x="53" y="13"/>
                    <a:pt x="54" y="14"/>
                    <a:pt x="55" y="15"/>
                  </a:cubicBezTo>
                  <a:cubicBezTo>
                    <a:pt x="56" y="16"/>
                    <a:pt x="57" y="17"/>
                    <a:pt x="57" y="18"/>
                  </a:cubicBezTo>
                  <a:close/>
                  <a:moveTo>
                    <a:pt x="193" y="43"/>
                  </a:moveTo>
                  <a:cubicBezTo>
                    <a:pt x="192" y="43"/>
                    <a:pt x="191" y="43"/>
                    <a:pt x="191" y="43"/>
                  </a:cubicBezTo>
                  <a:cubicBezTo>
                    <a:pt x="190" y="43"/>
                    <a:pt x="188" y="43"/>
                    <a:pt x="187" y="43"/>
                  </a:cubicBezTo>
                  <a:cubicBezTo>
                    <a:pt x="185" y="42"/>
                    <a:pt x="183" y="42"/>
                    <a:pt x="182" y="42"/>
                  </a:cubicBezTo>
                  <a:cubicBezTo>
                    <a:pt x="181" y="42"/>
                    <a:pt x="182" y="43"/>
                    <a:pt x="181" y="43"/>
                  </a:cubicBezTo>
                  <a:cubicBezTo>
                    <a:pt x="180" y="44"/>
                    <a:pt x="179" y="43"/>
                    <a:pt x="179" y="42"/>
                  </a:cubicBezTo>
                  <a:cubicBezTo>
                    <a:pt x="179" y="42"/>
                    <a:pt x="178" y="42"/>
                    <a:pt x="178" y="41"/>
                  </a:cubicBezTo>
                  <a:cubicBezTo>
                    <a:pt x="178" y="41"/>
                    <a:pt x="179" y="41"/>
                    <a:pt x="179" y="41"/>
                  </a:cubicBezTo>
                  <a:cubicBezTo>
                    <a:pt x="180" y="40"/>
                    <a:pt x="180" y="40"/>
                    <a:pt x="181" y="39"/>
                  </a:cubicBezTo>
                  <a:cubicBezTo>
                    <a:pt x="182" y="39"/>
                    <a:pt x="182" y="38"/>
                    <a:pt x="182" y="38"/>
                  </a:cubicBezTo>
                  <a:cubicBezTo>
                    <a:pt x="182" y="38"/>
                    <a:pt x="183" y="38"/>
                    <a:pt x="184" y="38"/>
                  </a:cubicBezTo>
                  <a:cubicBezTo>
                    <a:pt x="184" y="39"/>
                    <a:pt x="186" y="39"/>
                    <a:pt x="187" y="40"/>
                  </a:cubicBezTo>
                  <a:cubicBezTo>
                    <a:pt x="188" y="40"/>
                    <a:pt x="188" y="40"/>
                    <a:pt x="189" y="39"/>
                  </a:cubicBezTo>
                  <a:cubicBezTo>
                    <a:pt x="189" y="39"/>
                    <a:pt x="189" y="38"/>
                    <a:pt x="190" y="38"/>
                  </a:cubicBezTo>
                  <a:cubicBezTo>
                    <a:pt x="191" y="38"/>
                    <a:pt x="191" y="37"/>
                    <a:pt x="192" y="37"/>
                  </a:cubicBezTo>
                  <a:cubicBezTo>
                    <a:pt x="192" y="37"/>
                    <a:pt x="193" y="39"/>
                    <a:pt x="193" y="39"/>
                  </a:cubicBezTo>
                  <a:cubicBezTo>
                    <a:pt x="193" y="39"/>
                    <a:pt x="194" y="40"/>
                    <a:pt x="195" y="41"/>
                  </a:cubicBezTo>
                  <a:cubicBezTo>
                    <a:pt x="195" y="41"/>
                    <a:pt x="197" y="41"/>
                    <a:pt x="198" y="41"/>
                  </a:cubicBezTo>
                  <a:cubicBezTo>
                    <a:pt x="200" y="41"/>
                    <a:pt x="200" y="41"/>
                    <a:pt x="201" y="40"/>
                  </a:cubicBezTo>
                  <a:cubicBezTo>
                    <a:pt x="202" y="40"/>
                    <a:pt x="202" y="41"/>
                    <a:pt x="203" y="41"/>
                  </a:cubicBezTo>
                  <a:cubicBezTo>
                    <a:pt x="203" y="42"/>
                    <a:pt x="204" y="41"/>
                    <a:pt x="204" y="40"/>
                  </a:cubicBezTo>
                  <a:cubicBezTo>
                    <a:pt x="204" y="40"/>
                    <a:pt x="204" y="41"/>
                    <a:pt x="205" y="41"/>
                  </a:cubicBezTo>
                  <a:cubicBezTo>
                    <a:pt x="205" y="42"/>
                    <a:pt x="207" y="40"/>
                    <a:pt x="207" y="40"/>
                  </a:cubicBezTo>
                  <a:cubicBezTo>
                    <a:pt x="208" y="39"/>
                    <a:pt x="208" y="37"/>
                    <a:pt x="208" y="37"/>
                  </a:cubicBezTo>
                  <a:cubicBezTo>
                    <a:pt x="207" y="36"/>
                    <a:pt x="207" y="35"/>
                    <a:pt x="207" y="34"/>
                  </a:cubicBezTo>
                  <a:cubicBezTo>
                    <a:pt x="207" y="33"/>
                    <a:pt x="208" y="33"/>
                    <a:pt x="208" y="32"/>
                  </a:cubicBezTo>
                  <a:cubicBezTo>
                    <a:pt x="209" y="32"/>
                    <a:pt x="208" y="31"/>
                    <a:pt x="208" y="31"/>
                  </a:cubicBezTo>
                  <a:cubicBezTo>
                    <a:pt x="207" y="31"/>
                    <a:pt x="206" y="31"/>
                    <a:pt x="205" y="31"/>
                  </a:cubicBezTo>
                  <a:cubicBezTo>
                    <a:pt x="204" y="32"/>
                    <a:pt x="204" y="32"/>
                    <a:pt x="204" y="33"/>
                  </a:cubicBezTo>
                  <a:cubicBezTo>
                    <a:pt x="204" y="34"/>
                    <a:pt x="204" y="34"/>
                    <a:pt x="203" y="35"/>
                  </a:cubicBezTo>
                  <a:cubicBezTo>
                    <a:pt x="202" y="35"/>
                    <a:pt x="201" y="35"/>
                    <a:pt x="200" y="35"/>
                  </a:cubicBezTo>
                  <a:cubicBezTo>
                    <a:pt x="200" y="34"/>
                    <a:pt x="199" y="33"/>
                    <a:pt x="199" y="32"/>
                  </a:cubicBezTo>
                  <a:cubicBezTo>
                    <a:pt x="199" y="31"/>
                    <a:pt x="199" y="31"/>
                    <a:pt x="198" y="31"/>
                  </a:cubicBezTo>
                  <a:cubicBezTo>
                    <a:pt x="198" y="30"/>
                    <a:pt x="198" y="29"/>
                    <a:pt x="198" y="28"/>
                  </a:cubicBezTo>
                  <a:cubicBezTo>
                    <a:pt x="198" y="27"/>
                    <a:pt x="199" y="27"/>
                    <a:pt x="199" y="26"/>
                  </a:cubicBezTo>
                  <a:cubicBezTo>
                    <a:pt x="200" y="26"/>
                    <a:pt x="200" y="24"/>
                    <a:pt x="200" y="24"/>
                  </a:cubicBezTo>
                  <a:cubicBezTo>
                    <a:pt x="200" y="24"/>
                    <a:pt x="199" y="23"/>
                    <a:pt x="199" y="22"/>
                  </a:cubicBezTo>
                  <a:cubicBezTo>
                    <a:pt x="198" y="21"/>
                    <a:pt x="197" y="20"/>
                    <a:pt x="197" y="19"/>
                  </a:cubicBezTo>
                  <a:cubicBezTo>
                    <a:pt x="196" y="18"/>
                    <a:pt x="197" y="17"/>
                    <a:pt x="196" y="16"/>
                  </a:cubicBezTo>
                  <a:cubicBezTo>
                    <a:pt x="196" y="15"/>
                    <a:pt x="197" y="14"/>
                    <a:pt x="196" y="14"/>
                  </a:cubicBezTo>
                  <a:cubicBezTo>
                    <a:pt x="196" y="13"/>
                    <a:pt x="195" y="13"/>
                    <a:pt x="194" y="13"/>
                  </a:cubicBezTo>
                  <a:cubicBezTo>
                    <a:pt x="193" y="13"/>
                    <a:pt x="191" y="13"/>
                    <a:pt x="189" y="13"/>
                  </a:cubicBezTo>
                  <a:cubicBezTo>
                    <a:pt x="186" y="13"/>
                    <a:pt x="187" y="12"/>
                    <a:pt x="186" y="12"/>
                  </a:cubicBezTo>
                  <a:cubicBezTo>
                    <a:pt x="186" y="12"/>
                    <a:pt x="185" y="13"/>
                    <a:pt x="184" y="13"/>
                  </a:cubicBezTo>
                  <a:cubicBezTo>
                    <a:pt x="183" y="14"/>
                    <a:pt x="182" y="15"/>
                    <a:pt x="181" y="16"/>
                  </a:cubicBezTo>
                  <a:cubicBezTo>
                    <a:pt x="181" y="16"/>
                    <a:pt x="180" y="18"/>
                    <a:pt x="180" y="19"/>
                  </a:cubicBezTo>
                  <a:cubicBezTo>
                    <a:pt x="179" y="19"/>
                    <a:pt x="180" y="21"/>
                    <a:pt x="180" y="22"/>
                  </a:cubicBezTo>
                  <a:cubicBezTo>
                    <a:pt x="180" y="22"/>
                    <a:pt x="179" y="24"/>
                    <a:pt x="179" y="25"/>
                  </a:cubicBezTo>
                  <a:cubicBezTo>
                    <a:pt x="179" y="26"/>
                    <a:pt x="178" y="27"/>
                    <a:pt x="178" y="28"/>
                  </a:cubicBezTo>
                  <a:cubicBezTo>
                    <a:pt x="177" y="29"/>
                    <a:pt x="177" y="28"/>
                    <a:pt x="176" y="27"/>
                  </a:cubicBezTo>
                  <a:cubicBezTo>
                    <a:pt x="176" y="27"/>
                    <a:pt x="176" y="26"/>
                    <a:pt x="177" y="25"/>
                  </a:cubicBezTo>
                  <a:cubicBezTo>
                    <a:pt x="177" y="23"/>
                    <a:pt x="177" y="23"/>
                    <a:pt x="178" y="21"/>
                  </a:cubicBezTo>
                  <a:cubicBezTo>
                    <a:pt x="178" y="18"/>
                    <a:pt x="178" y="17"/>
                    <a:pt x="178" y="16"/>
                  </a:cubicBezTo>
                  <a:cubicBezTo>
                    <a:pt x="177" y="15"/>
                    <a:pt x="177" y="14"/>
                    <a:pt x="176" y="13"/>
                  </a:cubicBezTo>
                  <a:cubicBezTo>
                    <a:pt x="175" y="12"/>
                    <a:pt x="176" y="13"/>
                    <a:pt x="174" y="12"/>
                  </a:cubicBezTo>
                  <a:cubicBezTo>
                    <a:pt x="172" y="11"/>
                    <a:pt x="173" y="12"/>
                    <a:pt x="170" y="11"/>
                  </a:cubicBezTo>
                  <a:cubicBezTo>
                    <a:pt x="168" y="11"/>
                    <a:pt x="167" y="11"/>
                    <a:pt x="167" y="11"/>
                  </a:cubicBezTo>
                  <a:cubicBezTo>
                    <a:pt x="167" y="11"/>
                    <a:pt x="167" y="10"/>
                    <a:pt x="166" y="10"/>
                  </a:cubicBezTo>
                  <a:cubicBezTo>
                    <a:pt x="165" y="10"/>
                    <a:pt x="164" y="10"/>
                    <a:pt x="164" y="10"/>
                  </a:cubicBezTo>
                  <a:cubicBezTo>
                    <a:pt x="163" y="11"/>
                    <a:pt x="162" y="12"/>
                    <a:pt x="162" y="12"/>
                  </a:cubicBezTo>
                  <a:cubicBezTo>
                    <a:pt x="161" y="13"/>
                    <a:pt x="159" y="15"/>
                    <a:pt x="158" y="16"/>
                  </a:cubicBezTo>
                  <a:cubicBezTo>
                    <a:pt x="157" y="17"/>
                    <a:pt x="156" y="17"/>
                    <a:pt x="153" y="17"/>
                  </a:cubicBezTo>
                  <a:cubicBezTo>
                    <a:pt x="151" y="17"/>
                    <a:pt x="151" y="16"/>
                    <a:pt x="150" y="16"/>
                  </a:cubicBezTo>
                  <a:cubicBezTo>
                    <a:pt x="149" y="15"/>
                    <a:pt x="149" y="13"/>
                    <a:pt x="148" y="12"/>
                  </a:cubicBezTo>
                  <a:cubicBezTo>
                    <a:pt x="148" y="11"/>
                    <a:pt x="147" y="11"/>
                    <a:pt x="146" y="10"/>
                  </a:cubicBezTo>
                  <a:cubicBezTo>
                    <a:pt x="145" y="9"/>
                    <a:pt x="146" y="9"/>
                    <a:pt x="145" y="8"/>
                  </a:cubicBezTo>
                  <a:cubicBezTo>
                    <a:pt x="145" y="8"/>
                    <a:pt x="145" y="8"/>
                    <a:pt x="144" y="7"/>
                  </a:cubicBezTo>
                  <a:cubicBezTo>
                    <a:pt x="144" y="6"/>
                    <a:pt x="144" y="4"/>
                    <a:pt x="144" y="3"/>
                  </a:cubicBezTo>
                  <a:cubicBezTo>
                    <a:pt x="143" y="2"/>
                    <a:pt x="143" y="2"/>
                    <a:pt x="142" y="2"/>
                  </a:cubicBezTo>
                  <a:cubicBezTo>
                    <a:pt x="141" y="1"/>
                    <a:pt x="140" y="1"/>
                    <a:pt x="139" y="1"/>
                  </a:cubicBezTo>
                  <a:cubicBezTo>
                    <a:pt x="139" y="1"/>
                    <a:pt x="138" y="1"/>
                    <a:pt x="137" y="1"/>
                  </a:cubicBezTo>
                  <a:cubicBezTo>
                    <a:pt x="136" y="0"/>
                    <a:pt x="136" y="1"/>
                    <a:pt x="134" y="1"/>
                  </a:cubicBezTo>
                  <a:cubicBezTo>
                    <a:pt x="133" y="1"/>
                    <a:pt x="133" y="1"/>
                    <a:pt x="133" y="0"/>
                  </a:cubicBezTo>
                  <a:cubicBezTo>
                    <a:pt x="133" y="0"/>
                    <a:pt x="132" y="0"/>
                    <a:pt x="131" y="0"/>
                  </a:cubicBezTo>
                  <a:cubicBezTo>
                    <a:pt x="130" y="1"/>
                    <a:pt x="127" y="2"/>
                    <a:pt x="125" y="2"/>
                  </a:cubicBezTo>
                  <a:cubicBezTo>
                    <a:pt x="123" y="2"/>
                    <a:pt x="121" y="3"/>
                    <a:pt x="120" y="3"/>
                  </a:cubicBezTo>
                  <a:cubicBezTo>
                    <a:pt x="118" y="4"/>
                    <a:pt x="118" y="5"/>
                    <a:pt x="118" y="5"/>
                  </a:cubicBezTo>
                  <a:cubicBezTo>
                    <a:pt x="118" y="6"/>
                    <a:pt x="118" y="8"/>
                    <a:pt x="117" y="9"/>
                  </a:cubicBezTo>
                  <a:cubicBezTo>
                    <a:pt x="116" y="10"/>
                    <a:pt x="117" y="10"/>
                    <a:pt x="118" y="11"/>
                  </a:cubicBezTo>
                  <a:cubicBezTo>
                    <a:pt x="119" y="11"/>
                    <a:pt x="121" y="13"/>
                    <a:pt x="122" y="14"/>
                  </a:cubicBezTo>
                  <a:cubicBezTo>
                    <a:pt x="122" y="15"/>
                    <a:pt x="124" y="17"/>
                    <a:pt x="125" y="17"/>
                  </a:cubicBezTo>
                  <a:cubicBezTo>
                    <a:pt x="127" y="18"/>
                    <a:pt x="130" y="21"/>
                    <a:pt x="132" y="22"/>
                  </a:cubicBezTo>
                  <a:cubicBezTo>
                    <a:pt x="133" y="23"/>
                    <a:pt x="136" y="23"/>
                    <a:pt x="139" y="23"/>
                  </a:cubicBezTo>
                  <a:cubicBezTo>
                    <a:pt x="142" y="22"/>
                    <a:pt x="141" y="23"/>
                    <a:pt x="142" y="24"/>
                  </a:cubicBezTo>
                  <a:cubicBezTo>
                    <a:pt x="142" y="25"/>
                    <a:pt x="145" y="27"/>
                    <a:pt x="147" y="28"/>
                  </a:cubicBezTo>
                  <a:cubicBezTo>
                    <a:pt x="149" y="30"/>
                    <a:pt x="150" y="29"/>
                    <a:pt x="151" y="30"/>
                  </a:cubicBezTo>
                  <a:cubicBezTo>
                    <a:pt x="152" y="31"/>
                    <a:pt x="152" y="32"/>
                    <a:pt x="152" y="33"/>
                  </a:cubicBezTo>
                  <a:cubicBezTo>
                    <a:pt x="153" y="34"/>
                    <a:pt x="152" y="36"/>
                    <a:pt x="150" y="36"/>
                  </a:cubicBezTo>
                  <a:cubicBezTo>
                    <a:pt x="149" y="37"/>
                    <a:pt x="148" y="36"/>
                    <a:pt x="147" y="36"/>
                  </a:cubicBezTo>
                  <a:cubicBezTo>
                    <a:pt x="146" y="36"/>
                    <a:pt x="144" y="36"/>
                    <a:pt x="141" y="36"/>
                  </a:cubicBezTo>
                  <a:cubicBezTo>
                    <a:pt x="138" y="36"/>
                    <a:pt x="139" y="37"/>
                    <a:pt x="136" y="38"/>
                  </a:cubicBezTo>
                  <a:cubicBezTo>
                    <a:pt x="133" y="39"/>
                    <a:pt x="134" y="40"/>
                    <a:pt x="134" y="40"/>
                  </a:cubicBezTo>
                  <a:cubicBezTo>
                    <a:pt x="133" y="41"/>
                    <a:pt x="132" y="41"/>
                    <a:pt x="132" y="41"/>
                  </a:cubicBezTo>
                  <a:cubicBezTo>
                    <a:pt x="131" y="40"/>
                    <a:pt x="131" y="40"/>
                    <a:pt x="131" y="40"/>
                  </a:cubicBezTo>
                  <a:cubicBezTo>
                    <a:pt x="131" y="40"/>
                    <a:pt x="131" y="40"/>
                    <a:pt x="130" y="40"/>
                  </a:cubicBezTo>
                  <a:cubicBezTo>
                    <a:pt x="129" y="40"/>
                    <a:pt x="129" y="39"/>
                    <a:pt x="129" y="39"/>
                  </a:cubicBezTo>
                  <a:cubicBezTo>
                    <a:pt x="129" y="38"/>
                    <a:pt x="127" y="39"/>
                    <a:pt x="126" y="40"/>
                  </a:cubicBezTo>
                  <a:cubicBezTo>
                    <a:pt x="124" y="40"/>
                    <a:pt x="123" y="40"/>
                    <a:pt x="122" y="39"/>
                  </a:cubicBezTo>
                  <a:cubicBezTo>
                    <a:pt x="120" y="39"/>
                    <a:pt x="121" y="37"/>
                    <a:pt x="121" y="36"/>
                  </a:cubicBezTo>
                  <a:cubicBezTo>
                    <a:pt x="121" y="36"/>
                    <a:pt x="121" y="36"/>
                    <a:pt x="120" y="35"/>
                  </a:cubicBezTo>
                  <a:cubicBezTo>
                    <a:pt x="120" y="34"/>
                    <a:pt x="120" y="33"/>
                    <a:pt x="120" y="32"/>
                  </a:cubicBezTo>
                  <a:cubicBezTo>
                    <a:pt x="120" y="31"/>
                    <a:pt x="119" y="30"/>
                    <a:pt x="118" y="30"/>
                  </a:cubicBezTo>
                  <a:cubicBezTo>
                    <a:pt x="118" y="30"/>
                    <a:pt x="116" y="30"/>
                    <a:pt x="116" y="30"/>
                  </a:cubicBezTo>
                  <a:cubicBezTo>
                    <a:pt x="116" y="30"/>
                    <a:pt x="113" y="29"/>
                    <a:pt x="112" y="29"/>
                  </a:cubicBezTo>
                  <a:cubicBezTo>
                    <a:pt x="112" y="28"/>
                    <a:pt x="112" y="27"/>
                    <a:pt x="112" y="26"/>
                  </a:cubicBezTo>
                  <a:cubicBezTo>
                    <a:pt x="112" y="25"/>
                    <a:pt x="112" y="24"/>
                    <a:pt x="112" y="23"/>
                  </a:cubicBezTo>
                  <a:cubicBezTo>
                    <a:pt x="112" y="22"/>
                    <a:pt x="110" y="22"/>
                    <a:pt x="110" y="22"/>
                  </a:cubicBezTo>
                  <a:cubicBezTo>
                    <a:pt x="110" y="26"/>
                    <a:pt x="110" y="26"/>
                    <a:pt x="110" y="26"/>
                  </a:cubicBezTo>
                  <a:cubicBezTo>
                    <a:pt x="109" y="26"/>
                    <a:pt x="109" y="26"/>
                    <a:pt x="109" y="26"/>
                  </a:cubicBezTo>
                  <a:cubicBezTo>
                    <a:pt x="109" y="26"/>
                    <a:pt x="108" y="23"/>
                    <a:pt x="108" y="22"/>
                  </a:cubicBezTo>
                  <a:cubicBezTo>
                    <a:pt x="108" y="20"/>
                    <a:pt x="108" y="20"/>
                    <a:pt x="107" y="20"/>
                  </a:cubicBezTo>
                  <a:cubicBezTo>
                    <a:pt x="106" y="20"/>
                    <a:pt x="104" y="20"/>
                    <a:pt x="102" y="20"/>
                  </a:cubicBezTo>
                  <a:cubicBezTo>
                    <a:pt x="99" y="20"/>
                    <a:pt x="100" y="20"/>
                    <a:pt x="99" y="21"/>
                  </a:cubicBezTo>
                  <a:cubicBezTo>
                    <a:pt x="98" y="22"/>
                    <a:pt x="98" y="23"/>
                    <a:pt x="97" y="24"/>
                  </a:cubicBezTo>
                  <a:cubicBezTo>
                    <a:pt x="96" y="24"/>
                    <a:pt x="95" y="23"/>
                    <a:pt x="93" y="22"/>
                  </a:cubicBezTo>
                  <a:cubicBezTo>
                    <a:pt x="92" y="22"/>
                    <a:pt x="89" y="21"/>
                    <a:pt x="87" y="20"/>
                  </a:cubicBezTo>
                  <a:cubicBezTo>
                    <a:pt x="86" y="20"/>
                    <a:pt x="85" y="20"/>
                    <a:pt x="84" y="18"/>
                  </a:cubicBezTo>
                  <a:cubicBezTo>
                    <a:pt x="84" y="17"/>
                    <a:pt x="83" y="18"/>
                    <a:pt x="81" y="19"/>
                  </a:cubicBezTo>
                  <a:cubicBezTo>
                    <a:pt x="78" y="20"/>
                    <a:pt x="79" y="20"/>
                    <a:pt x="79" y="21"/>
                  </a:cubicBezTo>
                  <a:cubicBezTo>
                    <a:pt x="78" y="21"/>
                    <a:pt x="76" y="23"/>
                    <a:pt x="75" y="23"/>
                  </a:cubicBezTo>
                  <a:cubicBezTo>
                    <a:pt x="75" y="24"/>
                    <a:pt x="75" y="25"/>
                    <a:pt x="74" y="25"/>
                  </a:cubicBezTo>
                  <a:cubicBezTo>
                    <a:pt x="73" y="26"/>
                    <a:pt x="73" y="26"/>
                    <a:pt x="72" y="25"/>
                  </a:cubicBezTo>
                  <a:cubicBezTo>
                    <a:pt x="72" y="25"/>
                    <a:pt x="71" y="26"/>
                    <a:pt x="70" y="26"/>
                  </a:cubicBezTo>
                  <a:cubicBezTo>
                    <a:pt x="69" y="27"/>
                    <a:pt x="67" y="27"/>
                    <a:pt x="66" y="28"/>
                  </a:cubicBezTo>
                  <a:cubicBezTo>
                    <a:pt x="65" y="28"/>
                    <a:pt x="64" y="28"/>
                    <a:pt x="63" y="29"/>
                  </a:cubicBezTo>
                  <a:cubicBezTo>
                    <a:pt x="63" y="30"/>
                    <a:pt x="62" y="30"/>
                    <a:pt x="61" y="31"/>
                  </a:cubicBezTo>
                  <a:cubicBezTo>
                    <a:pt x="60" y="32"/>
                    <a:pt x="60" y="31"/>
                    <a:pt x="60" y="32"/>
                  </a:cubicBezTo>
                  <a:cubicBezTo>
                    <a:pt x="60" y="33"/>
                    <a:pt x="59" y="35"/>
                    <a:pt x="59" y="35"/>
                  </a:cubicBezTo>
                  <a:cubicBezTo>
                    <a:pt x="59" y="35"/>
                    <a:pt x="58" y="36"/>
                    <a:pt x="58" y="36"/>
                  </a:cubicBezTo>
                  <a:cubicBezTo>
                    <a:pt x="58" y="37"/>
                    <a:pt x="60" y="38"/>
                    <a:pt x="60" y="39"/>
                  </a:cubicBezTo>
                  <a:cubicBezTo>
                    <a:pt x="61" y="39"/>
                    <a:pt x="60" y="40"/>
                    <a:pt x="60" y="40"/>
                  </a:cubicBezTo>
                  <a:cubicBezTo>
                    <a:pt x="59" y="40"/>
                    <a:pt x="60" y="41"/>
                    <a:pt x="60" y="41"/>
                  </a:cubicBezTo>
                  <a:cubicBezTo>
                    <a:pt x="60" y="41"/>
                    <a:pt x="61" y="43"/>
                    <a:pt x="61" y="43"/>
                  </a:cubicBezTo>
                  <a:cubicBezTo>
                    <a:pt x="62" y="44"/>
                    <a:pt x="61" y="45"/>
                    <a:pt x="61" y="46"/>
                  </a:cubicBezTo>
                  <a:cubicBezTo>
                    <a:pt x="61" y="46"/>
                    <a:pt x="58" y="48"/>
                    <a:pt x="58" y="48"/>
                  </a:cubicBezTo>
                  <a:cubicBezTo>
                    <a:pt x="58" y="48"/>
                    <a:pt x="57" y="49"/>
                    <a:pt x="58" y="50"/>
                  </a:cubicBezTo>
                  <a:cubicBezTo>
                    <a:pt x="58" y="50"/>
                    <a:pt x="57" y="50"/>
                    <a:pt x="57" y="51"/>
                  </a:cubicBezTo>
                  <a:cubicBezTo>
                    <a:pt x="56" y="52"/>
                    <a:pt x="57" y="52"/>
                    <a:pt x="58" y="53"/>
                  </a:cubicBezTo>
                  <a:cubicBezTo>
                    <a:pt x="58" y="54"/>
                    <a:pt x="57" y="54"/>
                    <a:pt x="57" y="55"/>
                  </a:cubicBezTo>
                  <a:cubicBezTo>
                    <a:pt x="56" y="56"/>
                    <a:pt x="57" y="56"/>
                    <a:pt x="57" y="57"/>
                  </a:cubicBezTo>
                  <a:cubicBezTo>
                    <a:pt x="57" y="57"/>
                    <a:pt x="58" y="58"/>
                    <a:pt x="59" y="58"/>
                  </a:cubicBezTo>
                  <a:cubicBezTo>
                    <a:pt x="60" y="59"/>
                    <a:pt x="62" y="59"/>
                    <a:pt x="64" y="60"/>
                  </a:cubicBezTo>
                  <a:cubicBezTo>
                    <a:pt x="66" y="60"/>
                    <a:pt x="66" y="61"/>
                    <a:pt x="67" y="61"/>
                  </a:cubicBezTo>
                  <a:cubicBezTo>
                    <a:pt x="68" y="61"/>
                    <a:pt x="69" y="61"/>
                    <a:pt x="71" y="61"/>
                  </a:cubicBezTo>
                  <a:cubicBezTo>
                    <a:pt x="72" y="61"/>
                    <a:pt x="73" y="63"/>
                    <a:pt x="74" y="63"/>
                  </a:cubicBezTo>
                  <a:cubicBezTo>
                    <a:pt x="74" y="63"/>
                    <a:pt x="76" y="63"/>
                    <a:pt x="79" y="63"/>
                  </a:cubicBezTo>
                  <a:cubicBezTo>
                    <a:pt x="81" y="63"/>
                    <a:pt x="81" y="61"/>
                    <a:pt x="82" y="61"/>
                  </a:cubicBezTo>
                  <a:cubicBezTo>
                    <a:pt x="83" y="60"/>
                    <a:pt x="84" y="59"/>
                    <a:pt x="85" y="58"/>
                  </a:cubicBezTo>
                  <a:cubicBezTo>
                    <a:pt x="87" y="58"/>
                    <a:pt x="87" y="59"/>
                    <a:pt x="89" y="59"/>
                  </a:cubicBezTo>
                  <a:cubicBezTo>
                    <a:pt x="90" y="60"/>
                    <a:pt x="92" y="60"/>
                    <a:pt x="93" y="60"/>
                  </a:cubicBezTo>
                  <a:cubicBezTo>
                    <a:pt x="94" y="60"/>
                    <a:pt x="97" y="60"/>
                    <a:pt x="98" y="60"/>
                  </a:cubicBezTo>
                  <a:cubicBezTo>
                    <a:pt x="98" y="60"/>
                    <a:pt x="100" y="59"/>
                    <a:pt x="102" y="58"/>
                  </a:cubicBezTo>
                  <a:cubicBezTo>
                    <a:pt x="103" y="58"/>
                    <a:pt x="105" y="57"/>
                    <a:pt x="107" y="57"/>
                  </a:cubicBezTo>
                  <a:cubicBezTo>
                    <a:pt x="108" y="57"/>
                    <a:pt x="109" y="56"/>
                    <a:pt x="110" y="56"/>
                  </a:cubicBezTo>
                  <a:cubicBezTo>
                    <a:pt x="111" y="55"/>
                    <a:pt x="115" y="53"/>
                    <a:pt x="117" y="52"/>
                  </a:cubicBezTo>
                  <a:cubicBezTo>
                    <a:pt x="118" y="52"/>
                    <a:pt x="119" y="52"/>
                    <a:pt x="120" y="53"/>
                  </a:cubicBezTo>
                  <a:cubicBezTo>
                    <a:pt x="120" y="53"/>
                    <a:pt x="122" y="53"/>
                    <a:pt x="122" y="52"/>
                  </a:cubicBezTo>
                  <a:cubicBezTo>
                    <a:pt x="123" y="52"/>
                    <a:pt x="123" y="52"/>
                    <a:pt x="123" y="51"/>
                  </a:cubicBezTo>
                  <a:cubicBezTo>
                    <a:pt x="124" y="51"/>
                    <a:pt x="125" y="52"/>
                    <a:pt x="126" y="52"/>
                  </a:cubicBezTo>
                  <a:cubicBezTo>
                    <a:pt x="126" y="53"/>
                    <a:pt x="127" y="53"/>
                    <a:pt x="128" y="53"/>
                  </a:cubicBezTo>
                  <a:cubicBezTo>
                    <a:pt x="129" y="53"/>
                    <a:pt x="129" y="53"/>
                    <a:pt x="129" y="52"/>
                  </a:cubicBezTo>
                  <a:cubicBezTo>
                    <a:pt x="130" y="52"/>
                    <a:pt x="132" y="51"/>
                    <a:pt x="133" y="51"/>
                  </a:cubicBezTo>
                  <a:cubicBezTo>
                    <a:pt x="134" y="50"/>
                    <a:pt x="134" y="49"/>
                    <a:pt x="135" y="49"/>
                  </a:cubicBezTo>
                  <a:cubicBezTo>
                    <a:pt x="135" y="48"/>
                    <a:pt x="136" y="48"/>
                    <a:pt x="136" y="48"/>
                  </a:cubicBezTo>
                  <a:cubicBezTo>
                    <a:pt x="137" y="48"/>
                    <a:pt x="138" y="48"/>
                    <a:pt x="139" y="47"/>
                  </a:cubicBezTo>
                  <a:cubicBezTo>
                    <a:pt x="141" y="47"/>
                    <a:pt x="141" y="48"/>
                    <a:pt x="142" y="49"/>
                  </a:cubicBezTo>
                  <a:cubicBezTo>
                    <a:pt x="143" y="49"/>
                    <a:pt x="143" y="49"/>
                    <a:pt x="144" y="49"/>
                  </a:cubicBezTo>
                  <a:cubicBezTo>
                    <a:pt x="144" y="49"/>
                    <a:pt x="145" y="48"/>
                    <a:pt x="146" y="48"/>
                  </a:cubicBezTo>
                  <a:cubicBezTo>
                    <a:pt x="146" y="48"/>
                    <a:pt x="148" y="47"/>
                    <a:pt x="149" y="46"/>
                  </a:cubicBezTo>
                  <a:cubicBezTo>
                    <a:pt x="149" y="45"/>
                    <a:pt x="150" y="44"/>
                    <a:pt x="151" y="43"/>
                  </a:cubicBezTo>
                  <a:cubicBezTo>
                    <a:pt x="152" y="42"/>
                    <a:pt x="155" y="39"/>
                    <a:pt x="156" y="39"/>
                  </a:cubicBezTo>
                  <a:cubicBezTo>
                    <a:pt x="157" y="38"/>
                    <a:pt x="158" y="38"/>
                    <a:pt x="159" y="38"/>
                  </a:cubicBezTo>
                  <a:cubicBezTo>
                    <a:pt x="160" y="37"/>
                    <a:pt x="160" y="37"/>
                    <a:pt x="160" y="36"/>
                  </a:cubicBezTo>
                  <a:cubicBezTo>
                    <a:pt x="160" y="35"/>
                    <a:pt x="159" y="35"/>
                    <a:pt x="159" y="34"/>
                  </a:cubicBezTo>
                  <a:cubicBezTo>
                    <a:pt x="158" y="33"/>
                    <a:pt x="159" y="33"/>
                    <a:pt x="160" y="32"/>
                  </a:cubicBezTo>
                  <a:cubicBezTo>
                    <a:pt x="160" y="32"/>
                    <a:pt x="161" y="33"/>
                    <a:pt x="161" y="34"/>
                  </a:cubicBezTo>
                  <a:cubicBezTo>
                    <a:pt x="162" y="34"/>
                    <a:pt x="162" y="36"/>
                    <a:pt x="162" y="38"/>
                  </a:cubicBezTo>
                  <a:cubicBezTo>
                    <a:pt x="162" y="39"/>
                    <a:pt x="162" y="39"/>
                    <a:pt x="162" y="40"/>
                  </a:cubicBezTo>
                  <a:cubicBezTo>
                    <a:pt x="161" y="40"/>
                    <a:pt x="160" y="42"/>
                    <a:pt x="160" y="42"/>
                  </a:cubicBezTo>
                  <a:cubicBezTo>
                    <a:pt x="159" y="42"/>
                    <a:pt x="159" y="43"/>
                    <a:pt x="159" y="43"/>
                  </a:cubicBezTo>
                  <a:cubicBezTo>
                    <a:pt x="159" y="43"/>
                    <a:pt x="159" y="45"/>
                    <a:pt x="159" y="46"/>
                  </a:cubicBezTo>
                  <a:cubicBezTo>
                    <a:pt x="159" y="47"/>
                    <a:pt x="160" y="48"/>
                    <a:pt x="161" y="48"/>
                  </a:cubicBezTo>
                  <a:cubicBezTo>
                    <a:pt x="162" y="49"/>
                    <a:pt x="163" y="50"/>
                    <a:pt x="165" y="50"/>
                  </a:cubicBezTo>
                  <a:cubicBezTo>
                    <a:pt x="166" y="50"/>
                    <a:pt x="167" y="48"/>
                    <a:pt x="169" y="48"/>
                  </a:cubicBezTo>
                  <a:cubicBezTo>
                    <a:pt x="170" y="48"/>
                    <a:pt x="171" y="47"/>
                    <a:pt x="172" y="46"/>
                  </a:cubicBezTo>
                  <a:cubicBezTo>
                    <a:pt x="173" y="46"/>
                    <a:pt x="174" y="46"/>
                    <a:pt x="176" y="45"/>
                  </a:cubicBezTo>
                  <a:cubicBezTo>
                    <a:pt x="177" y="45"/>
                    <a:pt x="179" y="45"/>
                    <a:pt x="180" y="45"/>
                  </a:cubicBezTo>
                  <a:cubicBezTo>
                    <a:pt x="181" y="45"/>
                    <a:pt x="182" y="45"/>
                    <a:pt x="183" y="46"/>
                  </a:cubicBezTo>
                  <a:cubicBezTo>
                    <a:pt x="184" y="46"/>
                    <a:pt x="185" y="47"/>
                    <a:pt x="186" y="47"/>
                  </a:cubicBezTo>
                  <a:cubicBezTo>
                    <a:pt x="187" y="47"/>
                    <a:pt x="189" y="47"/>
                    <a:pt x="190" y="47"/>
                  </a:cubicBezTo>
                  <a:cubicBezTo>
                    <a:pt x="192" y="48"/>
                    <a:pt x="192" y="47"/>
                    <a:pt x="193" y="47"/>
                  </a:cubicBezTo>
                  <a:cubicBezTo>
                    <a:pt x="193" y="46"/>
                    <a:pt x="194" y="45"/>
                    <a:pt x="194" y="44"/>
                  </a:cubicBezTo>
                  <a:cubicBezTo>
                    <a:pt x="194" y="43"/>
                    <a:pt x="193" y="43"/>
                    <a:pt x="193" y="43"/>
                  </a:cubicBezTo>
                  <a:close/>
                  <a:moveTo>
                    <a:pt x="104" y="10"/>
                  </a:moveTo>
                  <a:cubicBezTo>
                    <a:pt x="105" y="11"/>
                    <a:pt x="104" y="12"/>
                    <a:pt x="104" y="12"/>
                  </a:cubicBezTo>
                  <a:cubicBezTo>
                    <a:pt x="104" y="13"/>
                    <a:pt x="104" y="14"/>
                    <a:pt x="103" y="15"/>
                  </a:cubicBezTo>
                  <a:cubicBezTo>
                    <a:pt x="103" y="15"/>
                    <a:pt x="103" y="17"/>
                    <a:pt x="104" y="17"/>
                  </a:cubicBezTo>
                  <a:cubicBezTo>
                    <a:pt x="105" y="18"/>
                    <a:pt x="105" y="18"/>
                    <a:pt x="106" y="19"/>
                  </a:cubicBezTo>
                  <a:cubicBezTo>
                    <a:pt x="106" y="19"/>
                    <a:pt x="108" y="17"/>
                    <a:pt x="109" y="17"/>
                  </a:cubicBezTo>
                  <a:cubicBezTo>
                    <a:pt x="109" y="16"/>
                    <a:pt x="109" y="15"/>
                    <a:pt x="109" y="13"/>
                  </a:cubicBezTo>
                  <a:cubicBezTo>
                    <a:pt x="109" y="12"/>
                    <a:pt x="110" y="12"/>
                    <a:pt x="110" y="11"/>
                  </a:cubicBezTo>
                  <a:cubicBezTo>
                    <a:pt x="111" y="10"/>
                    <a:pt x="111" y="9"/>
                    <a:pt x="113" y="8"/>
                  </a:cubicBezTo>
                  <a:cubicBezTo>
                    <a:pt x="114" y="8"/>
                    <a:pt x="115" y="8"/>
                    <a:pt x="115" y="7"/>
                  </a:cubicBezTo>
                  <a:cubicBezTo>
                    <a:pt x="115" y="6"/>
                    <a:pt x="115" y="5"/>
                    <a:pt x="115" y="4"/>
                  </a:cubicBezTo>
                  <a:cubicBezTo>
                    <a:pt x="115" y="4"/>
                    <a:pt x="114" y="4"/>
                    <a:pt x="113" y="4"/>
                  </a:cubicBezTo>
                  <a:cubicBezTo>
                    <a:pt x="113" y="4"/>
                    <a:pt x="111" y="4"/>
                    <a:pt x="110" y="4"/>
                  </a:cubicBezTo>
                  <a:cubicBezTo>
                    <a:pt x="109" y="3"/>
                    <a:pt x="109" y="4"/>
                    <a:pt x="108" y="4"/>
                  </a:cubicBezTo>
                  <a:cubicBezTo>
                    <a:pt x="107" y="4"/>
                    <a:pt x="106" y="5"/>
                    <a:pt x="105" y="5"/>
                  </a:cubicBezTo>
                  <a:cubicBezTo>
                    <a:pt x="105" y="6"/>
                    <a:pt x="104" y="6"/>
                    <a:pt x="103" y="7"/>
                  </a:cubicBezTo>
                  <a:cubicBezTo>
                    <a:pt x="103" y="7"/>
                    <a:pt x="103" y="8"/>
                    <a:pt x="103" y="8"/>
                  </a:cubicBezTo>
                  <a:cubicBezTo>
                    <a:pt x="103" y="9"/>
                    <a:pt x="103" y="10"/>
                    <a:pt x="104" y="10"/>
                  </a:cubicBezTo>
                  <a:close/>
                  <a:moveTo>
                    <a:pt x="198" y="11"/>
                  </a:moveTo>
                  <a:cubicBezTo>
                    <a:pt x="199" y="11"/>
                    <a:pt x="200" y="11"/>
                    <a:pt x="201" y="11"/>
                  </a:cubicBezTo>
                  <a:cubicBezTo>
                    <a:pt x="202" y="11"/>
                    <a:pt x="203" y="10"/>
                    <a:pt x="203" y="10"/>
                  </a:cubicBezTo>
                  <a:cubicBezTo>
                    <a:pt x="204" y="8"/>
                    <a:pt x="204" y="8"/>
                    <a:pt x="204" y="8"/>
                  </a:cubicBezTo>
                  <a:cubicBezTo>
                    <a:pt x="205" y="8"/>
                    <a:pt x="205" y="7"/>
                    <a:pt x="204" y="6"/>
                  </a:cubicBezTo>
                  <a:cubicBezTo>
                    <a:pt x="204" y="6"/>
                    <a:pt x="204" y="5"/>
                    <a:pt x="204" y="5"/>
                  </a:cubicBezTo>
                  <a:cubicBezTo>
                    <a:pt x="203" y="5"/>
                    <a:pt x="203" y="4"/>
                    <a:pt x="202" y="3"/>
                  </a:cubicBezTo>
                  <a:cubicBezTo>
                    <a:pt x="202" y="3"/>
                    <a:pt x="202" y="3"/>
                    <a:pt x="202" y="3"/>
                  </a:cubicBezTo>
                  <a:cubicBezTo>
                    <a:pt x="202" y="3"/>
                    <a:pt x="200" y="3"/>
                    <a:pt x="199" y="3"/>
                  </a:cubicBezTo>
                  <a:cubicBezTo>
                    <a:pt x="199" y="3"/>
                    <a:pt x="199" y="3"/>
                    <a:pt x="199" y="3"/>
                  </a:cubicBezTo>
                  <a:cubicBezTo>
                    <a:pt x="198" y="5"/>
                    <a:pt x="198" y="5"/>
                    <a:pt x="198" y="5"/>
                  </a:cubicBezTo>
                  <a:cubicBezTo>
                    <a:pt x="198" y="5"/>
                    <a:pt x="197" y="5"/>
                    <a:pt x="197" y="6"/>
                  </a:cubicBezTo>
                  <a:cubicBezTo>
                    <a:pt x="197" y="6"/>
                    <a:pt x="197" y="8"/>
                    <a:pt x="197" y="8"/>
                  </a:cubicBezTo>
                  <a:lnTo>
                    <a:pt x="198" y="11"/>
                  </a:lnTo>
                  <a:close/>
                </a:path>
              </a:pathLst>
            </a:custGeom>
            <a:solidFill>
              <a:srgbClr val="D9F2F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2" name="Freeform 13">
              <a:extLst>
                <a:ext uri="{FF2B5EF4-FFF2-40B4-BE49-F238E27FC236}">
                  <a16:creationId xmlns:a16="http://schemas.microsoft.com/office/drawing/2014/main" id="{0059DC73-5909-9726-4457-29B82DD095DF}"/>
                </a:ext>
              </a:extLst>
            </p:cNvPr>
            <p:cNvSpPr>
              <a:spLocks/>
            </p:cNvSpPr>
            <p:nvPr/>
          </p:nvSpPr>
          <p:spPr bwMode="auto">
            <a:xfrm>
              <a:off x="3879850" y="3351213"/>
              <a:ext cx="1244600" cy="1181100"/>
            </a:xfrm>
            <a:custGeom>
              <a:avLst/>
              <a:gdLst>
                <a:gd name="T0" fmla="*/ 133 w 327"/>
                <a:gd name="T1" fmla="*/ 261 h 310"/>
                <a:gd name="T2" fmla="*/ 130 w 327"/>
                <a:gd name="T3" fmla="*/ 238 h 310"/>
                <a:gd name="T4" fmla="*/ 123 w 327"/>
                <a:gd name="T5" fmla="*/ 223 h 310"/>
                <a:gd name="T6" fmla="*/ 139 w 327"/>
                <a:gd name="T7" fmla="*/ 212 h 310"/>
                <a:gd name="T8" fmla="*/ 165 w 327"/>
                <a:gd name="T9" fmla="*/ 191 h 310"/>
                <a:gd name="T10" fmla="*/ 187 w 327"/>
                <a:gd name="T11" fmla="*/ 176 h 310"/>
                <a:gd name="T12" fmla="*/ 201 w 327"/>
                <a:gd name="T13" fmla="*/ 168 h 310"/>
                <a:gd name="T14" fmla="*/ 219 w 327"/>
                <a:gd name="T15" fmla="*/ 165 h 310"/>
                <a:gd name="T16" fmla="*/ 237 w 327"/>
                <a:gd name="T17" fmla="*/ 161 h 310"/>
                <a:gd name="T18" fmla="*/ 262 w 327"/>
                <a:gd name="T19" fmla="*/ 151 h 310"/>
                <a:gd name="T20" fmla="*/ 275 w 327"/>
                <a:gd name="T21" fmla="*/ 137 h 310"/>
                <a:gd name="T22" fmla="*/ 270 w 327"/>
                <a:gd name="T23" fmla="*/ 110 h 310"/>
                <a:gd name="T24" fmla="*/ 298 w 327"/>
                <a:gd name="T25" fmla="*/ 91 h 310"/>
                <a:gd name="T26" fmla="*/ 308 w 327"/>
                <a:gd name="T27" fmla="*/ 70 h 310"/>
                <a:gd name="T28" fmla="*/ 323 w 327"/>
                <a:gd name="T29" fmla="*/ 45 h 310"/>
                <a:gd name="T30" fmla="*/ 312 w 327"/>
                <a:gd name="T31" fmla="*/ 36 h 310"/>
                <a:gd name="T32" fmla="*/ 298 w 327"/>
                <a:gd name="T33" fmla="*/ 47 h 310"/>
                <a:gd name="T34" fmla="*/ 289 w 327"/>
                <a:gd name="T35" fmla="*/ 47 h 310"/>
                <a:gd name="T36" fmla="*/ 273 w 327"/>
                <a:gd name="T37" fmla="*/ 40 h 310"/>
                <a:gd name="T38" fmla="*/ 253 w 327"/>
                <a:gd name="T39" fmla="*/ 39 h 310"/>
                <a:gd name="T40" fmla="*/ 257 w 327"/>
                <a:gd name="T41" fmla="*/ 30 h 310"/>
                <a:gd name="T42" fmla="*/ 239 w 327"/>
                <a:gd name="T43" fmla="*/ 29 h 310"/>
                <a:gd name="T44" fmla="*/ 225 w 327"/>
                <a:gd name="T45" fmla="*/ 28 h 310"/>
                <a:gd name="T46" fmla="*/ 205 w 327"/>
                <a:gd name="T47" fmla="*/ 39 h 310"/>
                <a:gd name="T48" fmla="*/ 202 w 327"/>
                <a:gd name="T49" fmla="*/ 50 h 310"/>
                <a:gd name="T50" fmla="*/ 185 w 327"/>
                <a:gd name="T51" fmla="*/ 60 h 310"/>
                <a:gd name="T52" fmla="*/ 170 w 327"/>
                <a:gd name="T53" fmla="*/ 62 h 310"/>
                <a:gd name="T54" fmla="*/ 163 w 327"/>
                <a:gd name="T55" fmla="*/ 64 h 310"/>
                <a:gd name="T56" fmla="*/ 141 w 327"/>
                <a:gd name="T57" fmla="*/ 60 h 310"/>
                <a:gd name="T58" fmla="*/ 118 w 327"/>
                <a:gd name="T59" fmla="*/ 68 h 310"/>
                <a:gd name="T60" fmla="*/ 98 w 327"/>
                <a:gd name="T61" fmla="*/ 70 h 310"/>
                <a:gd name="T62" fmla="*/ 88 w 327"/>
                <a:gd name="T63" fmla="*/ 62 h 310"/>
                <a:gd name="T64" fmla="*/ 75 w 327"/>
                <a:gd name="T65" fmla="*/ 51 h 310"/>
                <a:gd name="T66" fmla="*/ 60 w 327"/>
                <a:gd name="T67" fmla="*/ 34 h 310"/>
                <a:gd name="T68" fmla="*/ 45 w 327"/>
                <a:gd name="T69" fmla="*/ 15 h 310"/>
                <a:gd name="T70" fmla="*/ 43 w 327"/>
                <a:gd name="T71" fmla="*/ 6 h 310"/>
                <a:gd name="T72" fmla="*/ 41 w 327"/>
                <a:gd name="T73" fmla="*/ 4 h 310"/>
                <a:gd name="T74" fmla="*/ 29 w 327"/>
                <a:gd name="T75" fmla="*/ 13 h 310"/>
                <a:gd name="T76" fmla="*/ 14 w 327"/>
                <a:gd name="T77" fmla="*/ 29 h 310"/>
                <a:gd name="T78" fmla="*/ 9 w 327"/>
                <a:gd name="T79" fmla="*/ 51 h 310"/>
                <a:gd name="T80" fmla="*/ 5 w 327"/>
                <a:gd name="T81" fmla="*/ 70 h 310"/>
                <a:gd name="T82" fmla="*/ 3 w 327"/>
                <a:gd name="T83" fmla="*/ 93 h 310"/>
                <a:gd name="T84" fmla="*/ 17 w 327"/>
                <a:gd name="T85" fmla="*/ 115 h 310"/>
                <a:gd name="T86" fmla="*/ 19 w 327"/>
                <a:gd name="T87" fmla="*/ 125 h 310"/>
                <a:gd name="T88" fmla="*/ 17 w 327"/>
                <a:gd name="T89" fmla="*/ 143 h 310"/>
                <a:gd name="T90" fmla="*/ 24 w 327"/>
                <a:gd name="T91" fmla="*/ 161 h 310"/>
                <a:gd name="T92" fmla="*/ 29 w 327"/>
                <a:gd name="T93" fmla="*/ 168 h 310"/>
                <a:gd name="T94" fmla="*/ 34 w 327"/>
                <a:gd name="T95" fmla="*/ 181 h 310"/>
                <a:gd name="T96" fmla="*/ 46 w 327"/>
                <a:gd name="T97" fmla="*/ 185 h 310"/>
                <a:gd name="T98" fmla="*/ 34 w 327"/>
                <a:gd name="T99" fmla="*/ 202 h 310"/>
                <a:gd name="T100" fmla="*/ 56 w 327"/>
                <a:gd name="T101" fmla="*/ 194 h 310"/>
                <a:gd name="T102" fmla="*/ 66 w 327"/>
                <a:gd name="T103" fmla="*/ 194 h 310"/>
                <a:gd name="T104" fmla="*/ 74 w 327"/>
                <a:gd name="T105" fmla="*/ 208 h 310"/>
                <a:gd name="T106" fmla="*/ 64 w 327"/>
                <a:gd name="T107" fmla="*/ 233 h 310"/>
                <a:gd name="T108" fmla="*/ 77 w 327"/>
                <a:gd name="T109" fmla="*/ 263 h 310"/>
                <a:gd name="T110" fmla="*/ 82 w 327"/>
                <a:gd name="T111" fmla="*/ 280 h 310"/>
                <a:gd name="T112" fmla="*/ 85 w 327"/>
                <a:gd name="T113" fmla="*/ 299 h 310"/>
                <a:gd name="T114" fmla="*/ 94 w 327"/>
                <a:gd name="T115" fmla="*/ 303 h 310"/>
                <a:gd name="T116" fmla="*/ 111 w 327"/>
                <a:gd name="T1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10">
                  <a:moveTo>
                    <a:pt x="139" y="292"/>
                  </a:moveTo>
                  <a:cubicBezTo>
                    <a:pt x="141" y="290"/>
                    <a:pt x="141" y="290"/>
                    <a:pt x="141" y="290"/>
                  </a:cubicBezTo>
                  <a:cubicBezTo>
                    <a:pt x="139" y="286"/>
                    <a:pt x="139" y="286"/>
                    <a:pt x="139" y="286"/>
                  </a:cubicBezTo>
                  <a:cubicBezTo>
                    <a:pt x="139" y="283"/>
                    <a:pt x="139" y="283"/>
                    <a:pt x="139" y="283"/>
                  </a:cubicBezTo>
                  <a:cubicBezTo>
                    <a:pt x="136" y="264"/>
                    <a:pt x="136" y="264"/>
                    <a:pt x="136" y="264"/>
                  </a:cubicBezTo>
                  <a:cubicBezTo>
                    <a:pt x="133" y="261"/>
                    <a:pt x="133" y="261"/>
                    <a:pt x="133" y="261"/>
                  </a:cubicBezTo>
                  <a:cubicBezTo>
                    <a:pt x="135" y="258"/>
                    <a:pt x="135" y="258"/>
                    <a:pt x="135" y="258"/>
                  </a:cubicBezTo>
                  <a:cubicBezTo>
                    <a:pt x="135" y="251"/>
                    <a:pt x="135" y="251"/>
                    <a:pt x="135" y="251"/>
                  </a:cubicBezTo>
                  <a:cubicBezTo>
                    <a:pt x="136" y="247"/>
                    <a:pt x="136" y="247"/>
                    <a:pt x="136" y="247"/>
                  </a:cubicBezTo>
                  <a:cubicBezTo>
                    <a:pt x="133" y="244"/>
                    <a:pt x="133" y="244"/>
                    <a:pt x="133" y="244"/>
                  </a:cubicBezTo>
                  <a:cubicBezTo>
                    <a:pt x="130" y="242"/>
                    <a:pt x="130" y="242"/>
                    <a:pt x="130" y="242"/>
                  </a:cubicBezTo>
                  <a:cubicBezTo>
                    <a:pt x="130" y="238"/>
                    <a:pt x="130" y="238"/>
                    <a:pt x="130" y="238"/>
                  </a:cubicBezTo>
                  <a:cubicBezTo>
                    <a:pt x="131" y="234"/>
                    <a:pt x="131" y="234"/>
                    <a:pt x="131" y="234"/>
                  </a:cubicBezTo>
                  <a:cubicBezTo>
                    <a:pt x="131" y="234"/>
                    <a:pt x="132" y="232"/>
                    <a:pt x="132" y="232"/>
                  </a:cubicBezTo>
                  <a:cubicBezTo>
                    <a:pt x="132" y="231"/>
                    <a:pt x="131" y="227"/>
                    <a:pt x="131" y="227"/>
                  </a:cubicBezTo>
                  <a:cubicBezTo>
                    <a:pt x="125" y="229"/>
                    <a:pt x="125" y="229"/>
                    <a:pt x="125" y="229"/>
                  </a:cubicBezTo>
                  <a:cubicBezTo>
                    <a:pt x="123" y="227"/>
                    <a:pt x="123" y="227"/>
                    <a:pt x="123" y="227"/>
                  </a:cubicBezTo>
                  <a:cubicBezTo>
                    <a:pt x="123" y="223"/>
                    <a:pt x="123" y="223"/>
                    <a:pt x="123" y="223"/>
                  </a:cubicBezTo>
                  <a:cubicBezTo>
                    <a:pt x="130" y="219"/>
                    <a:pt x="130" y="219"/>
                    <a:pt x="130" y="219"/>
                  </a:cubicBezTo>
                  <a:cubicBezTo>
                    <a:pt x="133" y="220"/>
                    <a:pt x="133" y="220"/>
                    <a:pt x="133" y="220"/>
                  </a:cubicBezTo>
                  <a:cubicBezTo>
                    <a:pt x="135" y="218"/>
                    <a:pt x="135" y="218"/>
                    <a:pt x="135" y="218"/>
                  </a:cubicBezTo>
                  <a:cubicBezTo>
                    <a:pt x="137" y="219"/>
                    <a:pt x="137" y="219"/>
                    <a:pt x="137" y="219"/>
                  </a:cubicBezTo>
                  <a:cubicBezTo>
                    <a:pt x="138" y="219"/>
                    <a:pt x="138" y="219"/>
                    <a:pt x="138" y="219"/>
                  </a:cubicBezTo>
                  <a:cubicBezTo>
                    <a:pt x="139" y="212"/>
                    <a:pt x="139" y="212"/>
                    <a:pt x="139" y="212"/>
                  </a:cubicBezTo>
                  <a:cubicBezTo>
                    <a:pt x="142" y="212"/>
                    <a:pt x="142" y="212"/>
                    <a:pt x="142" y="212"/>
                  </a:cubicBezTo>
                  <a:cubicBezTo>
                    <a:pt x="146" y="211"/>
                    <a:pt x="146" y="211"/>
                    <a:pt x="146" y="211"/>
                  </a:cubicBezTo>
                  <a:cubicBezTo>
                    <a:pt x="150" y="209"/>
                    <a:pt x="150" y="209"/>
                    <a:pt x="150" y="209"/>
                  </a:cubicBezTo>
                  <a:cubicBezTo>
                    <a:pt x="156" y="200"/>
                    <a:pt x="156" y="200"/>
                    <a:pt x="156" y="200"/>
                  </a:cubicBezTo>
                  <a:cubicBezTo>
                    <a:pt x="164" y="198"/>
                    <a:pt x="164" y="198"/>
                    <a:pt x="164" y="198"/>
                  </a:cubicBezTo>
                  <a:cubicBezTo>
                    <a:pt x="165" y="191"/>
                    <a:pt x="165" y="191"/>
                    <a:pt x="165" y="191"/>
                  </a:cubicBezTo>
                  <a:cubicBezTo>
                    <a:pt x="169" y="187"/>
                    <a:pt x="169" y="187"/>
                    <a:pt x="169" y="187"/>
                  </a:cubicBezTo>
                  <a:cubicBezTo>
                    <a:pt x="169" y="184"/>
                    <a:pt x="169" y="184"/>
                    <a:pt x="169" y="184"/>
                  </a:cubicBezTo>
                  <a:cubicBezTo>
                    <a:pt x="178" y="180"/>
                    <a:pt x="178" y="180"/>
                    <a:pt x="178" y="180"/>
                  </a:cubicBezTo>
                  <a:cubicBezTo>
                    <a:pt x="182" y="180"/>
                    <a:pt x="182" y="180"/>
                    <a:pt x="182" y="180"/>
                  </a:cubicBezTo>
                  <a:cubicBezTo>
                    <a:pt x="184" y="177"/>
                    <a:pt x="184" y="177"/>
                    <a:pt x="184" y="177"/>
                  </a:cubicBezTo>
                  <a:cubicBezTo>
                    <a:pt x="187" y="176"/>
                    <a:pt x="187" y="176"/>
                    <a:pt x="187" y="176"/>
                  </a:cubicBezTo>
                  <a:cubicBezTo>
                    <a:pt x="187" y="172"/>
                    <a:pt x="187" y="172"/>
                    <a:pt x="187" y="172"/>
                  </a:cubicBezTo>
                  <a:cubicBezTo>
                    <a:pt x="191" y="174"/>
                    <a:pt x="191" y="174"/>
                    <a:pt x="191" y="174"/>
                  </a:cubicBezTo>
                  <a:cubicBezTo>
                    <a:pt x="193" y="173"/>
                    <a:pt x="193" y="173"/>
                    <a:pt x="193" y="173"/>
                  </a:cubicBezTo>
                  <a:cubicBezTo>
                    <a:pt x="194" y="168"/>
                    <a:pt x="194" y="168"/>
                    <a:pt x="194" y="168"/>
                  </a:cubicBezTo>
                  <a:cubicBezTo>
                    <a:pt x="195" y="167"/>
                    <a:pt x="195" y="167"/>
                    <a:pt x="195" y="167"/>
                  </a:cubicBezTo>
                  <a:cubicBezTo>
                    <a:pt x="201" y="168"/>
                    <a:pt x="201" y="168"/>
                    <a:pt x="201" y="168"/>
                  </a:cubicBezTo>
                  <a:cubicBezTo>
                    <a:pt x="202" y="164"/>
                    <a:pt x="202" y="164"/>
                    <a:pt x="202" y="164"/>
                  </a:cubicBezTo>
                  <a:cubicBezTo>
                    <a:pt x="204" y="161"/>
                    <a:pt x="204" y="161"/>
                    <a:pt x="204" y="161"/>
                  </a:cubicBezTo>
                  <a:cubicBezTo>
                    <a:pt x="208" y="164"/>
                    <a:pt x="208" y="164"/>
                    <a:pt x="208" y="164"/>
                  </a:cubicBezTo>
                  <a:cubicBezTo>
                    <a:pt x="210" y="169"/>
                    <a:pt x="210" y="169"/>
                    <a:pt x="210" y="169"/>
                  </a:cubicBezTo>
                  <a:cubicBezTo>
                    <a:pt x="216" y="167"/>
                    <a:pt x="216" y="167"/>
                    <a:pt x="216" y="167"/>
                  </a:cubicBezTo>
                  <a:cubicBezTo>
                    <a:pt x="219" y="165"/>
                    <a:pt x="219" y="165"/>
                    <a:pt x="219" y="165"/>
                  </a:cubicBezTo>
                  <a:cubicBezTo>
                    <a:pt x="222" y="169"/>
                    <a:pt x="222" y="169"/>
                    <a:pt x="222" y="169"/>
                  </a:cubicBezTo>
                  <a:cubicBezTo>
                    <a:pt x="223" y="166"/>
                    <a:pt x="223" y="166"/>
                    <a:pt x="223" y="166"/>
                  </a:cubicBezTo>
                  <a:cubicBezTo>
                    <a:pt x="227" y="167"/>
                    <a:pt x="227" y="167"/>
                    <a:pt x="227" y="167"/>
                  </a:cubicBezTo>
                  <a:cubicBezTo>
                    <a:pt x="230" y="164"/>
                    <a:pt x="230" y="164"/>
                    <a:pt x="230" y="164"/>
                  </a:cubicBezTo>
                  <a:cubicBezTo>
                    <a:pt x="235" y="164"/>
                    <a:pt x="235" y="164"/>
                    <a:pt x="235" y="164"/>
                  </a:cubicBezTo>
                  <a:cubicBezTo>
                    <a:pt x="237" y="161"/>
                    <a:pt x="237" y="161"/>
                    <a:pt x="237" y="161"/>
                  </a:cubicBezTo>
                  <a:cubicBezTo>
                    <a:pt x="238" y="158"/>
                    <a:pt x="238" y="158"/>
                    <a:pt x="238" y="158"/>
                  </a:cubicBezTo>
                  <a:cubicBezTo>
                    <a:pt x="243" y="159"/>
                    <a:pt x="243" y="159"/>
                    <a:pt x="243" y="159"/>
                  </a:cubicBezTo>
                  <a:cubicBezTo>
                    <a:pt x="247" y="156"/>
                    <a:pt x="247" y="156"/>
                    <a:pt x="247" y="156"/>
                  </a:cubicBezTo>
                  <a:cubicBezTo>
                    <a:pt x="251" y="155"/>
                    <a:pt x="251" y="155"/>
                    <a:pt x="251" y="155"/>
                  </a:cubicBezTo>
                  <a:cubicBezTo>
                    <a:pt x="257" y="154"/>
                    <a:pt x="257" y="154"/>
                    <a:pt x="257" y="154"/>
                  </a:cubicBezTo>
                  <a:cubicBezTo>
                    <a:pt x="262" y="151"/>
                    <a:pt x="262" y="151"/>
                    <a:pt x="262" y="151"/>
                  </a:cubicBezTo>
                  <a:cubicBezTo>
                    <a:pt x="266" y="155"/>
                    <a:pt x="266" y="155"/>
                    <a:pt x="266" y="155"/>
                  </a:cubicBezTo>
                  <a:cubicBezTo>
                    <a:pt x="269" y="149"/>
                    <a:pt x="269" y="149"/>
                    <a:pt x="269" y="149"/>
                  </a:cubicBezTo>
                  <a:cubicBezTo>
                    <a:pt x="267" y="146"/>
                    <a:pt x="267" y="146"/>
                    <a:pt x="267" y="146"/>
                  </a:cubicBezTo>
                  <a:cubicBezTo>
                    <a:pt x="268" y="142"/>
                    <a:pt x="268" y="142"/>
                    <a:pt x="268" y="142"/>
                  </a:cubicBezTo>
                  <a:cubicBezTo>
                    <a:pt x="271" y="138"/>
                    <a:pt x="271" y="138"/>
                    <a:pt x="271" y="138"/>
                  </a:cubicBezTo>
                  <a:cubicBezTo>
                    <a:pt x="275" y="137"/>
                    <a:pt x="275" y="137"/>
                    <a:pt x="275" y="137"/>
                  </a:cubicBezTo>
                  <a:cubicBezTo>
                    <a:pt x="278" y="133"/>
                    <a:pt x="278" y="133"/>
                    <a:pt x="278" y="133"/>
                  </a:cubicBezTo>
                  <a:cubicBezTo>
                    <a:pt x="279" y="125"/>
                    <a:pt x="279" y="125"/>
                    <a:pt x="279" y="125"/>
                  </a:cubicBezTo>
                  <a:cubicBezTo>
                    <a:pt x="279" y="125"/>
                    <a:pt x="278" y="121"/>
                    <a:pt x="278" y="120"/>
                  </a:cubicBezTo>
                  <a:cubicBezTo>
                    <a:pt x="278" y="120"/>
                    <a:pt x="278" y="116"/>
                    <a:pt x="278" y="116"/>
                  </a:cubicBezTo>
                  <a:cubicBezTo>
                    <a:pt x="272" y="112"/>
                    <a:pt x="272" y="112"/>
                    <a:pt x="272" y="112"/>
                  </a:cubicBezTo>
                  <a:cubicBezTo>
                    <a:pt x="270" y="110"/>
                    <a:pt x="270" y="110"/>
                    <a:pt x="270" y="110"/>
                  </a:cubicBezTo>
                  <a:cubicBezTo>
                    <a:pt x="273" y="108"/>
                    <a:pt x="273" y="108"/>
                    <a:pt x="273" y="108"/>
                  </a:cubicBezTo>
                  <a:cubicBezTo>
                    <a:pt x="280" y="108"/>
                    <a:pt x="280" y="108"/>
                    <a:pt x="280" y="108"/>
                  </a:cubicBezTo>
                  <a:cubicBezTo>
                    <a:pt x="292" y="98"/>
                    <a:pt x="292" y="98"/>
                    <a:pt x="292" y="98"/>
                  </a:cubicBezTo>
                  <a:cubicBezTo>
                    <a:pt x="294" y="94"/>
                    <a:pt x="294" y="94"/>
                    <a:pt x="294" y="94"/>
                  </a:cubicBezTo>
                  <a:cubicBezTo>
                    <a:pt x="296" y="92"/>
                    <a:pt x="296" y="92"/>
                    <a:pt x="296" y="92"/>
                  </a:cubicBezTo>
                  <a:cubicBezTo>
                    <a:pt x="298" y="91"/>
                    <a:pt x="298" y="91"/>
                    <a:pt x="298" y="91"/>
                  </a:cubicBezTo>
                  <a:cubicBezTo>
                    <a:pt x="302" y="86"/>
                    <a:pt x="302" y="86"/>
                    <a:pt x="302" y="86"/>
                  </a:cubicBezTo>
                  <a:cubicBezTo>
                    <a:pt x="304" y="84"/>
                    <a:pt x="304" y="84"/>
                    <a:pt x="304" y="84"/>
                  </a:cubicBezTo>
                  <a:cubicBezTo>
                    <a:pt x="305" y="81"/>
                    <a:pt x="305" y="81"/>
                    <a:pt x="305" y="81"/>
                  </a:cubicBezTo>
                  <a:cubicBezTo>
                    <a:pt x="308" y="78"/>
                    <a:pt x="308" y="78"/>
                    <a:pt x="308" y="78"/>
                  </a:cubicBezTo>
                  <a:cubicBezTo>
                    <a:pt x="307" y="74"/>
                    <a:pt x="307" y="74"/>
                    <a:pt x="307" y="74"/>
                  </a:cubicBezTo>
                  <a:cubicBezTo>
                    <a:pt x="308" y="70"/>
                    <a:pt x="308" y="70"/>
                    <a:pt x="308" y="70"/>
                  </a:cubicBezTo>
                  <a:cubicBezTo>
                    <a:pt x="308" y="62"/>
                    <a:pt x="308" y="62"/>
                    <a:pt x="308" y="62"/>
                  </a:cubicBezTo>
                  <a:cubicBezTo>
                    <a:pt x="311" y="57"/>
                    <a:pt x="311" y="57"/>
                    <a:pt x="311" y="57"/>
                  </a:cubicBezTo>
                  <a:cubicBezTo>
                    <a:pt x="316" y="54"/>
                    <a:pt x="316" y="54"/>
                    <a:pt x="316" y="54"/>
                  </a:cubicBezTo>
                  <a:cubicBezTo>
                    <a:pt x="319" y="54"/>
                    <a:pt x="319" y="54"/>
                    <a:pt x="319" y="54"/>
                  </a:cubicBezTo>
                  <a:cubicBezTo>
                    <a:pt x="323" y="51"/>
                    <a:pt x="323" y="51"/>
                    <a:pt x="323" y="51"/>
                  </a:cubicBezTo>
                  <a:cubicBezTo>
                    <a:pt x="323" y="51"/>
                    <a:pt x="323" y="45"/>
                    <a:pt x="323" y="45"/>
                  </a:cubicBezTo>
                  <a:cubicBezTo>
                    <a:pt x="323" y="44"/>
                    <a:pt x="323" y="42"/>
                    <a:pt x="323" y="42"/>
                  </a:cubicBezTo>
                  <a:cubicBezTo>
                    <a:pt x="327" y="38"/>
                    <a:pt x="327" y="38"/>
                    <a:pt x="327" y="38"/>
                  </a:cubicBezTo>
                  <a:cubicBezTo>
                    <a:pt x="326" y="38"/>
                    <a:pt x="325" y="37"/>
                    <a:pt x="324" y="37"/>
                  </a:cubicBezTo>
                  <a:cubicBezTo>
                    <a:pt x="324" y="36"/>
                    <a:pt x="323" y="35"/>
                    <a:pt x="323" y="35"/>
                  </a:cubicBezTo>
                  <a:cubicBezTo>
                    <a:pt x="321" y="35"/>
                    <a:pt x="320" y="35"/>
                    <a:pt x="318" y="35"/>
                  </a:cubicBezTo>
                  <a:cubicBezTo>
                    <a:pt x="316" y="35"/>
                    <a:pt x="314" y="35"/>
                    <a:pt x="312" y="36"/>
                  </a:cubicBezTo>
                  <a:cubicBezTo>
                    <a:pt x="311" y="36"/>
                    <a:pt x="310" y="38"/>
                    <a:pt x="309" y="38"/>
                  </a:cubicBezTo>
                  <a:cubicBezTo>
                    <a:pt x="308" y="39"/>
                    <a:pt x="307" y="39"/>
                    <a:pt x="305" y="39"/>
                  </a:cubicBezTo>
                  <a:cubicBezTo>
                    <a:pt x="304" y="40"/>
                    <a:pt x="303" y="40"/>
                    <a:pt x="303" y="41"/>
                  </a:cubicBezTo>
                  <a:cubicBezTo>
                    <a:pt x="303" y="42"/>
                    <a:pt x="304" y="43"/>
                    <a:pt x="303" y="44"/>
                  </a:cubicBezTo>
                  <a:cubicBezTo>
                    <a:pt x="303" y="45"/>
                    <a:pt x="302" y="45"/>
                    <a:pt x="301" y="46"/>
                  </a:cubicBezTo>
                  <a:cubicBezTo>
                    <a:pt x="300" y="46"/>
                    <a:pt x="299" y="46"/>
                    <a:pt x="298" y="47"/>
                  </a:cubicBezTo>
                  <a:cubicBezTo>
                    <a:pt x="297" y="47"/>
                    <a:pt x="297" y="48"/>
                    <a:pt x="296" y="48"/>
                  </a:cubicBezTo>
                  <a:cubicBezTo>
                    <a:pt x="295" y="49"/>
                    <a:pt x="295" y="49"/>
                    <a:pt x="294" y="50"/>
                  </a:cubicBezTo>
                  <a:cubicBezTo>
                    <a:pt x="293" y="50"/>
                    <a:pt x="294" y="50"/>
                    <a:pt x="293" y="50"/>
                  </a:cubicBezTo>
                  <a:cubicBezTo>
                    <a:pt x="292" y="50"/>
                    <a:pt x="291" y="49"/>
                    <a:pt x="291" y="49"/>
                  </a:cubicBezTo>
                  <a:cubicBezTo>
                    <a:pt x="291" y="48"/>
                    <a:pt x="291" y="48"/>
                    <a:pt x="290" y="48"/>
                  </a:cubicBezTo>
                  <a:cubicBezTo>
                    <a:pt x="290" y="47"/>
                    <a:pt x="289" y="48"/>
                    <a:pt x="289" y="47"/>
                  </a:cubicBezTo>
                  <a:cubicBezTo>
                    <a:pt x="289" y="46"/>
                    <a:pt x="289" y="45"/>
                    <a:pt x="288" y="45"/>
                  </a:cubicBezTo>
                  <a:cubicBezTo>
                    <a:pt x="288" y="44"/>
                    <a:pt x="286" y="44"/>
                    <a:pt x="285" y="44"/>
                  </a:cubicBezTo>
                  <a:cubicBezTo>
                    <a:pt x="284" y="45"/>
                    <a:pt x="283" y="45"/>
                    <a:pt x="282" y="45"/>
                  </a:cubicBezTo>
                  <a:cubicBezTo>
                    <a:pt x="281" y="45"/>
                    <a:pt x="280" y="46"/>
                    <a:pt x="279" y="46"/>
                  </a:cubicBezTo>
                  <a:cubicBezTo>
                    <a:pt x="278" y="45"/>
                    <a:pt x="278" y="45"/>
                    <a:pt x="277" y="44"/>
                  </a:cubicBezTo>
                  <a:cubicBezTo>
                    <a:pt x="276" y="43"/>
                    <a:pt x="274" y="41"/>
                    <a:pt x="273" y="40"/>
                  </a:cubicBezTo>
                  <a:cubicBezTo>
                    <a:pt x="271" y="39"/>
                    <a:pt x="269" y="39"/>
                    <a:pt x="268" y="40"/>
                  </a:cubicBezTo>
                  <a:cubicBezTo>
                    <a:pt x="266" y="40"/>
                    <a:pt x="264" y="41"/>
                    <a:pt x="262" y="40"/>
                  </a:cubicBezTo>
                  <a:cubicBezTo>
                    <a:pt x="262" y="39"/>
                    <a:pt x="261" y="39"/>
                    <a:pt x="260" y="38"/>
                  </a:cubicBezTo>
                  <a:cubicBezTo>
                    <a:pt x="260" y="38"/>
                    <a:pt x="260" y="38"/>
                    <a:pt x="260" y="37"/>
                  </a:cubicBezTo>
                  <a:cubicBezTo>
                    <a:pt x="259" y="36"/>
                    <a:pt x="257" y="37"/>
                    <a:pt x="256" y="38"/>
                  </a:cubicBezTo>
                  <a:cubicBezTo>
                    <a:pt x="255" y="38"/>
                    <a:pt x="254" y="38"/>
                    <a:pt x="253" y="39"/>
                  </a:cubicBezTo>
                  <a:cubicBezTo>
                    <a:pt x="252" y="39"/>
                    <a:pt x="251" y="39"/>
                    <a:pt x="251" y="38"/>
                  </a:cubicBezTo>
                  <a:cubicBezTo>
                    <a:pt x="251" y="37"/>
                    <a:pt x="252" y="37"/>
                    <a:pt x="252" y="36"/>
                  </a:cubicBezTo>
                  <a:cubicBezTo>
                    <a:pt x="253" y="36"/>
                    <a:pt x="254" y="36"/>
                    <a:pt x="254" y="35"/>
                  </a:cubicBezTo>
                  <a:cubicBezTo>
                    <a:pt x="255" y="35"/>
                    <a:pt x="255" y="34"/>
                    <a:pt x="255" y="34"/>
                  </a:cubicBezTo>
                  <a:cubicBezTo>
                    <a:pt x="255" y="33"/>
                    <a:pt x="256" y="33"/>
                    <a:pt x="256" y="32"/>
                  </a:cubicBezTo>
                  <a:cubicBezTo>
                    <a:pt x="257" y="32"/>
                    <a:pt x="257" y="31"/>
                    <a:pt x="257" y="30"/>
                  </a:cubicBezTo>
                  <a:cubicBezTo>
                    <a:pt x="256" y="29"/>
                    <a:pt x="255" y="29"/>
                    <a:pt x="254" y="29"/>
                  </a:cubicBezTo>
                  <a:cubicBezTo>
                    <a:pt x="253" y="28"/>
                    <a:pt x="252" y="28"/>
                    <a:pt x="252" y="29"/>
                  </a:cubicBezTo>
                  <a:cubicBezTo>
                    <a:pt x="251" y="29"/>
                    <a:pt x="250" y="29"/>
                    <a:pt x="249" y="28"/>
                  </a:cubicBezTo>
                  <a:cubicBezTo>
                    <a:pt x="248" y="28"/>
                    <a:pt x="248" y="27"/>
                    <a:pt x="247" y="28"/>
                  </a:cubicBezTo>
                  <a:cubicBezTo>
                    <a:pt x="246" y="29"/>
                    <a:pt x="245" y="31"/>
                    <a:pt x="242" y="30"/>
                  </a:cubicBezTo>
                  <a:cubicBezTo>
                    <a:pt x="241" y="30"/>
                    <a:pt x="240" y="29"/>
                    <a:pt x="239" y="29"/>
                  </a:cubicBezTo>
                  <a:cubicBezTo>
                    <a:pt x="238" y="29"/>
                    <a:pt x="238" y="29"/>
                    <a:pt x="237" y="29"/>
                  </a:cubicBezTo>
                  <a:cubicBezTo>
                    <a:pt x="236" y="29"/>
                    <a:pt x="234" y="30"/>
                    <a:pt x="233" y="29"/>
                  </a:cubicBezTo>
                  <a:cubicBezTo>
                    <a:pt x="232" y="29"/>
                    <a:pt x="232" y="29"/>
                    <a:pt x="232" y="29"/>
                  </a:cubicBezTo>
                  <a:cubicBezTo>
                    <a:pt x="232" y="28"/>
                    <a:pt x="232" y="28"/>
                    <a:pt x="232" y="28"/>
                  </a:cubicBezTo>
                  <a:cubicBezTo>
                    <a:pt x="231" y="28"/>
                    <a:pt x="229" y="28"/>
                    <a:pt x="228" y="28"/>
                  </a:cubicBezTo>
                  <a:cubicBezTo>
                    <a:pt x="227" y="28"/>
                    <a:pt x="226" y="28"/>
                    <a:pt x="225" y="28"/>
                  </a:cubicBezTo>
                  <a:cubicBezTo>
                    <a:pt x="224" y="28"/>
                    <a:pt x="221" y="28"/>
                    <a:pt x="220" y="29"/>
                  </a:cubicBezTo>
                  <a:cubicBezTo>
                    <a:pt x="219" y="31"/>
                    <a:pt x="218" y="31"/>
                    <a:pt x="216" y="31"/>
                  </a:cubicBezTo>
                  <a:cubicBezTo>
                    <a:pt x="214" y="31"/>
                    <a:pt x="212" y="32"/>
                    <a:pt x="210" y="33"/>
                  </a:cubicBezTo>
                  <a:cubicBezTo>
                    <a:pt x="210" y="34"/>
                    <a:pt x="209" y="35"/>
                    <a:pt x="207" y="35"/>
                  </a:cubicBezTo>
                  <a:cubicBezTo>
                    <a:pt x="207" y="36"/>
                    <a:pt x="206" y="35"/>
                    <a:pt x="205" y="36"/>
                  </a:cubicBezTo>
                  <a:cubicBezTo>
                    <a:pt x="204" y="37"/>
                    <a:pt x="205" y="38"/>
                    <a:pt x="205" y="39"/>
                  </a:cubicBezTo>
                  <a:cubicBezTo>
                    <a:pt x="205" y="39"/>
                    <a:pt x="206" y="39"/>
                    <a:pt x="206" y="39"/>
                  </a:cubicBezTo>
                  <a:cubicBezTo>
                    <a:pt x="207" y="41"/>
                    <a:pt x="206" y="42"/>
                    <a:pt x="205" y="43"/>
                  </a:cubicBezTo>
                  <a:cubicBezTo>
                    <a:pt x="205" y="43"/>
                    <a:pt x="204" y="44"/>
                    <a:pt x="203" y="45"/>
                  </a:cubicBezTo>
                  <a:cubicBezTo>
                    <a:pt x="203" y="45"/>
                    <a:pt x="203" y="46"/>
                    <a:pt x="203" y="47"/>
                  </a:cubicBezTo>
                  <a:cubicBezTo>
                    <a:pt x="202" y="47"/>
                    <a:pt x="202" y="48"/>
                    <a:pt x="202" y="48"/>
                  </a:cubicBezTo>
                  <a:cubicBezTo>
                    <a:pt x="202" y="49"/>
                    <a:pt x="202" y="49"/>
                    <a:pt x="202" y="50"/>
                  </a:cubicBezTo>
                  <a:cubicBezTo>
                    <a:pt x="202" y="51"/>
                    <a:pt x="201" y="51"/>
                    <a:pt x="201" y="52"/>
                  </a:cubicBezTo>
                  <a:cubicBezTo>
                    <a:pt x="200" y="53"/>
                    <a:pt x="201" y="54"/>
                    <a:pt x="200" y="55"/>
                  </a:cubicBezTo>
                  <a:cubicBezTo>
                    <a:pt x="199" y="55"/>
                    <a:pt x="197" y="55"/>
                    <a:pt x="196" y="55"/>
                  </a:cubicBezTo>
                  <a:cubicBezTo>
                    <a:pt x="195" y="55"/>
                    <a:pt x="193" y="55"/>
                    <a:pt x="191" y="55"/>
                  </a:cubicBezTo>
                  <a:cubicBezTo>
                    <a:pt x="189" y="55"/>
                    <a:pt x="189" y="56"/>
                    <a:pt x="188" y="57"/>
                  </a:cubicBezTo>
                  <a:cubicBezTo>
                    <a:pt x="187" y="58"/>
                    <a:pt x="185" y="58"/>
                    <a:pt x="185" y="60"/>
                  </a:cubicBezTo>
                  <a:cubicBezTo>
                    <a:pt x="184" y="61"/>
                    <a:pt x="185" y="62"/>
                    <a:pt x="184" y="63"/>
                  </a:cubicBezTo>
                  <a:cubicBezTo>
                    <a:pt x="184" y="63"/>
                    <a:pt x="182" y="64"/>
                    <a:pt x="182" y="64"/>
                  </a:cubicBezTo>
                  <a:cubicBezTo>
                    <a:pt x="180" y="65"/>
                    <a:pt x="179" y="63"/>
                    <a:pt x="178" y="63"/>
                  </a:cubicBezTo>
                  <a:cubicBezTo>
                    <a:pt x="177" y="62"/>
                    <a:pt x="176" y="62"/>
                    <a:pt x="175" y="62"/>
                  </a:cubicBezTo>
                  <a:cubicBezTo>
                    <a:pt x="174" y="62"/>
                    <a:pt x="174" y="62"/>
                    <a:pt x="172" y="61"/>
                  </a:cubicBezTo>
                  <a:cubicBezTo>
                    <a:pt x="171" y="61"/>
                    <a:pt x="171" y="61"/>
                    <a:pt x="170" y="62"/>
                  </a:cubicBezTo>
                  <a:cubicBezTo>
                    <a:pt x="169" y="62"/>
                    <a:pt x="169" y="62"/>
                    <a:pt x="169" y="63"/>
                  </a:cubicBezTo>
                  <a:cubicBezTo>
                    <a:pt x="168" y="64"/>
                    <a:pt x="168" y="64"/>
                    <a:pt x="168" y="64"/>
                  </a:cubicBezTo>
                  <a:cubicBezTo>
                    <a:pt x="167" y="65"/>
                    <a:pt x="166" y="65"/>
                    <a:pt x="166" y="66"/>
                  </a:cubicBezTo>
                  <a:cubicBezTo>
                    <a:pt x="165" y="66"/>
                    <a:pt x="165" y="66"/>
                    <a:pt x="165" y="66"/>
                  </a:cubicBezTo>
                  <a:cubicBezTo>
                    <a:pt x="164" y="66"/>
                    <a:pt x="164" y="66"/>
                    <a:pt x="164" y="66"/>
                  </a:cubicBezTo>
                  <a:cubicBezTo>
                    <a:pt x="163" y="65"/>
                    <a:pt x="163" y="64"/>
                    <a:pt x="163" y="64"/>
                  </a:cubicBezTo>
                  <a:cubicBezTo>
                    <a:pt x="162" y="63"/>
                    <a:pt x="162" y="62"/>
                    <a:pt x="161" y="62"/>
                  </a:cubicBezTo>
                  <a:cubicBezTo>
                    <a:pt x="159" y="63"/>
                    <a:pt x="157" y="63"/>
                    <a:pt x="155" y="63"/>
                  </a:cubicBezTo>
                  <a:cubicBezTo>
                    <a:pt x="154" y="62"/>
                    <a:pt x="153" y="61"/>
                    <a:pt x="152" y="61"/>
                  </a:cubicBezTo>
                  <a:cubicBezTo>
                    <a:pt x="150" y="60"/>
                    <a:pt x="149" y="60"/>
                    <a:pt x="148" y="59"/>
                  </a:cubicBezTo>
                  <a:cubicBezTo>
                    <a:pt x="147" y="59"/>
                    <a:pt x="146" y="58"/>
                    <a:pt x="145" y="58"/>
                  </a:cubicBezTo>
                  <a:cubicBezTo>
                    <a:pt x="144" y="59"/>
                    <a:pt x="142" y="60"/>
                    <a:pt x="141" y="60"/>
                  </a:cubicBezTo>
                  <a:cubicBezTo>
                    <a:pt x="138" y="60"/>
                    <a:pt x="136" y="60"/>
                    <a:pt x="133" y="61"/>
                  </a:cubicBezTo>
                  <a:cubicBezTo>
                    <a:pt x="131" y="61"/>
                    <a:pt x="127" y="60"/>
                    <a:pt x="126" y="62"/>
                  </a:cubicBezTo>
                  <a:cubicBezTo>
                    <a:pt x="125" y="64"/>
                    <a:pt x="124" y="65"/>
                    <a:pt x="122" y="66"/>
                  </a:cubicBezTo>
                  <a:cubicBezTo>
                    <a:pt x="122" y="66"/>
                    <a:pt x="120" y="66"/>
                    <a:pt x="120" y="67"/>
                  </a:cubicBezTo>
                  <a:cubicBezTo>
                    <a:pt x="119" y="67"/>
                    <a:pt x="120" y="68"/>
                    <a:pt x="119" y="69"/>
                  </a:cubicBezTo>
                  <a:cubicBezTo>
                    <a:pt x="119" y="69"/>
                    <a:pt x="118" y="68"/>
                    <a:pt x="118" y="68"/>
                  </a:cubicBezTo>
                  <a:cubicBezTo>
                    <a:pt x="117" y="69"/>
                    <a:pt x="117" y="69"/>
                    <a:pt x="116" y="69"/>
                  </a:cubicBezTo>
                  <a:cubicBezTo>
                    <a:pt x="115" y="69"/>
                    <a:pt x="115" y="69"/>
                    <a:pt x="114" y="70"/>
                  </a:cubicBezTo>
                  <a:cubicBezTo>
                    <a:pt x="113" y="72"/>
                    <a:pt x="111" y="70"/>
                    <a:pt x="110" y="70"/>
                  </a:cubicBezTo>
                  <a:cubicBezTo>
                    <a:pt x="110" y="70"/>
                    <a:pt x="110" y="72"/>
                    <a:pt x="109" y="72"/>
                  </a:cubicBezTo>
                  <a:cubicBezTo>
                    <a:pt x="108" y="73"/>
                    <a:pt x="105" y="72"/>
                    <a:pt x="104" y="72"/>
                  </a:cubicBezTo>
                  <a:cubicBezTo>
                    <a:pt x="102" y="73"/>
                    <a:pt x="100" y="71"/>
                    <a:pt x="98" y="70"/>
                  </a:cubicBezTo>
                  <a:cubicBezTo>
                    <a:pt x="97" y="69"/>
                    <a:pt x="98" y="68"/>
                    <a:pt x="97" y="67"/>
                  </a:cubicBezTo>
                  <a:cubicBezTo>
                    <a:pt x="97" y="66"/>
                    <a:pt x="97" y="67"/>
                    <a:pt x="96" y="66"/>
                  </a:cubicBezTo>
                  <a:cubicBezTo>
                    <a:pt x="95" y="66"/>
                    <a:pt x="95" y="66"/>
                    <a:pt x="95" y="65"/>
                  </a:cubicBezTo>
                  <a:cubicBezTo>
                    <a:pt x="94" y="64"/>
                    <a:pt x="94" y="63"/>
                    <a:pt x="93" y="64"/>
                  </a:cubicBezTo>
                  <a:cubicBezTo>
                    <a:pt x="92" y="62"/>
                    <a:pt x="91" y="64"/>
                    <a:pt x="89" y="64"/>
                  </a:cubicBezTo>
                  <a:cubicBezTo>
                    <a:pt x="87" y="65"/>
                    <a:pt x="88" y="63"/>
                    <a:pt x="88" y="62"/>
                  </a:cubicBezTo>
                  <a:cubicBezTo>
                    <a:pt x="88" y="61"/>
                    <a:pt x="87" y="61"/>
                    <a:pt x="86" y="60"/>
                  </a:cubicBezTo>
                  <a:cubicBezTo>
                    <a:pt x="86" y="59"/>
                    <a:pt x="86" y="58"/>
                    <a:pt x="85" y="57"/>
                  </a:cubicBezTo>
                  <a:cubicBezTo>
                    <a:pt x="82" y="59"/>
                    <a:pt x="82" y="54"/>
                    <a:pt x="82" y="53"/>
                  </a:cubicBezTo>
                  <a:cubicBezTo>
                    <a:pt x="82" y="51"/>
                    <a:pt x="80" y="53"/>
                    <a:pt x="78" y="52"/>
                  </a:cubicBezTo>
                  <a:cubicBezTo>
                    <a:pt x="77" y="52"/>
                    <a:pt x="77" y="52"/>
                    <a:pt x="77" y="51"/>
                  </a:cubicBezTo>
                  <a:cubicBezTo>
                    <a:pt x="76" y="51"/>
                    <a:pt x="75" y="52"/>
                    <a:pt x="75" y="51"/>
                  </a:cubicBezTo>
                  <a:cubicBezTo>
                    <a:pt x="74" y="50"/>
                    <a:pt x="75" y="48"/>
                    <a:pt x="74" y="48"/>
                  </a:cubicBezTo>
                  <a:cubicBezTo>
                    <a:pt x="73" y="47"/>
                    <a:pt x="71" y="47"/>
                    <a:pt x="70" y="47"/>
                  </a:cubicBezTo>
                  <a:cubicBezTo>
                    <a:pt x="68" y="46"/>
                    <a:pt x="69" y="44"/>
                    <a:pt x="69" y="43"/>
                  </a:cubicBezTo>
                  <a:cubicBezTo>
                    <a:pt x="69" y="41"/>
                    <a:pt x="67" y="38"/>
                    <a:pt x="65" y="38"/>
                  </a:cubicBezTo>
                  <a:cubicBezTo>
                    <a:pt x="64" y="38"/>
                    <a:pt x="61" y="38"/>
                    <a:pt x="61" y="37"/>
                  </a:cubicBezTo>
                  <a:cubicBezTo>
                    <a:pt x="60" y="36"/>
                    <a:pt x="61" y="35"/>
                    <a:pt x="60" y="34"/>
                  </a:cubicBezTo>
                  <a:cubicBezTo>
                    <a:pt x="59" y="34"/>
                    <a:pt x="58" y="35"/>
                    <a:pt x="57" y="34"/>
                  </a:cubicBezTo>
                  <a:cubicBezTo>
                    <a:pt x="56" y="32"/>
                    <a:pt x="55" y="31"/>
                    <a:pt x="53" y="29"/>
                  </a:cubicBezTo>
                  <a:cubicBezTo>
                    <a:pt x="52" y="28"/>
                    <a:pt x="51" y="27"/>
                    <a:pt x="50" y="25"/>
                  </a:cubicBezTo>
                  <a:cubicBezTo>
                    <a:pt x="50" y="24"/>
                    <a:pt x="50" y="23"/>
                    <a:pt x="50" y="22"/>
                  </a:cubicBezTo>
                  <a:cubicBezTo>
                    <a:pt x="50" y="20"/>
                    <a:pt x="50" y="19"/>
                    <a:pt x="51" y="18"/>
                  </a:cubicBezTo>
                  <a:cubicBezTo>
                    <a:pt x="51" y="14"/>
                    <a:pt x="47" y="16"/>
                    <a:pt x="45" y="15"/>
                  </a:cubicBezTo>
                  <a:cubicBezTo>
                    <a:pt x="45" y="14"/>
                    <a:pt x="45" y="13"/>
                    <a:pt x="45" y="13"/>
                  </a:cubicBezTo>
                  <a:cubicBezTo>
                    <a:pt x="44" y="12"/>
                    <a:pt x="44" y="12"/>
                    <a:pt x="44" y="12"/>
                  </a:cubicBezTo>
                  <a:cubicBezTo>
                    <a:pt x="44" y="11"/>
                    <a:pt x="44" y="11"/>
                    <a:pt x="44" y="11"/>
                  </a:cubicBezTo>
                  <a:cubicBezTo>
                    <a:pt x="43" y="10"/>
                    <a:pt x="43" y="11"/>
                    <a:pt x="42" y="10"/>
                  </a:cubicBezTo>
                  <a:cubicBezTo>
                    <a:pt x="42" y="9"/>
                    <a:pt x="42" y="8"/>
                    <a:pt x="42" y="7"/>
                  </a:cubicBezTo>
                  <a:cubicBezTo>
                    <a:pt x="42" y="7"/>
                    <a:pt x="43" y="7"/>
                    <a:pt x="43" y="6"/>
                  </a:cubicBezTo>
                  <a:cubicBezTo>
                    <a:pt x="44" y="6"/>
                    <a:pt x="43" y="5"/>
                    <a:pt x="44" y="5"/>
                  </a:cubicBezTo>
                  <a:cubicBezTo>
                    <a:pt x="45" y="4"/>
                    <a:pt x="46" y="4"/>
                    <a:pt x="48" y="4"/>
                  </a:cubicBezTo>
                  <a:cubicBezTo>
                    <a:pt x="48" y="3"/>
                    <a:pt x="48" y="2"/>
                    <a:pt x="48" y="1"/>
                  </a:cubicBezTo>
                  <a:cubicBezTo>
                    <a:pt x="48" y="0"/>
                    <a:pt x="48" y="0"/>
                    <a:pt x="48" y="0"/>
                  </a:cubicBezTo>
                  <a:cubicBezTo>
                    <a:pt x="47" y="1"/>
                    <a:pt x="45" y="2"/>
                    <a:pt x="44" y="3"/>
                  </a:cubicBezTo>
                  <a:cubicBezTo>
                    <a:pt x="43" y="3"/>
                    <a:pt x="42" y="3"/>
                    <a:pt x="41" y="4"/>
                  </a:cubicBezTo>
                  <a:cubicBezTo>
                    <a:pt x="39" y="4"/>
                    <a:pt x="38" y="5"/>
                    <a:pt x="37" y="5"/>
                  </a:cubicBezTo>
                  <a:cubicBezTo>
                    <a:pt x="35" y="5"/>
                    <a:pt x="34" y="5"/>
                    <a:pt x="32" y="5"/>
                  </a:cubicBezTo>
                  <a:cubicBezTo>
                    <a:pt x="31" y="5"/>
                    <a:pt x="29" y="5"/>
                    <a:pt x="30" y="7"/>
                  </a:cubicBezTo>
                  <a:cubicBezTo>
                    <a:pt x="30" y="8"/>
                    <a:pt x="30" y="8"/>
                    <a:pt x="30" y="9"/>
                  </a:cubicBezTo>
                  <a:cubicBezTo>
                    <a:pt x="30" y="10"/>
                    <a:pt x="29" y="10"/>
                    <a:pt x="29" y="11"/>
                  </a:cubicBezTo>
                  <a:cubicBezTo>
                    <a:pt x="29" y="12"/>
                    <a:pt x="29" y="12"/>
                    <a:pt x="29" y="13"/>
                  </a:cubicBezTo>
                  <a:cubicBezTo>
                    <a:pt x="29" y="13"/>
                    <a:pt x="30" y="13"/>
                    <a:pt x="30" y="14"/>
                  </a:cubicBezTo>
                  <a:cubicBezTo>
                    <a:pt x="30" y="15"/>
                    <a:pt x="29" y="16"/>
                    <a:pt x="28" y="16"/>
                  </a:cubicBezTo>
                  <a:cubicBezTo>
                    <a:pt x="27" y="18"/>
                    <a:pt x="26" y="20"/>
                    <a:pt x="25" y="22"/>
                  </a:cubicBezTo>
                  <a:cubicBezTo>
                    <a:pt x="24" y="23"/>
                    <a:pt x="23" y="24"/>
                    <a:pt x="22" y="25"/>
                  </a:cubicBezTo>
                  <a:cubicBezTo>
                    <a:pt x="21" y="26"/>
                    <a:pt x="20" y="26"/>
                    <a:pt x="19" y="27"/>
                  </a:cubicBezTo>
                  <a:cubicBezTo>
                    <a:pt x="18" y="27"/>
                    <a:pt x="16" y="28"/>
                    <a:pt x="14" y="29"/>
                  </a:cubicBezTo>
                  <a:cubicBezTo>
                    <a:pt x="12" y="31"/>
                    <a:pt x="12" y="32"/>
                    <a:pt x="12" y="35"/>
                  </a:cubicBezTo>
                  <a:cubicBezTo>
                    <a:pt x="12" y="37"/>
                    <a:pt x="12" y="39"/>
                    <a:pt x="12" y="41"/>
                  </a:cubicBezTo>
                  <a:cubicBezTo>
                    <a:pt x="11" y="42"/>
                    <a:pt x="11" y="43"/>
                    <a:pt x="11" y="44"/>
                  </a:cubicBezTo>
                  <a:cubicBezTo>
                    <a:pt x="11" y="44"/>
                    <a:pt x="10" y="46"/>
                    <a:pt x="10" y="47"/>
                  </a:cubicBezTo>
                  <a:cubicBezTo>
                    <a:pt x="10" y="48"/>
                    <a:pt x="7" y="48"/>
                    <a:pt x="7" y="50"/>
                  </a:cubicBezTo>
                  <a:cubicBezTo>
                    <a:pt x="7" y="51"/>
                    <a:pt x="9" y="51"/>
                    <a:pt x="9" y="51"/>
                  </a:cubicBezTo>
                  <a:cubicBezTo>
                    <a:pt x="10" y="52"/>
                    <a:pt x="8" y="53"/>
                    <a:pt x="8" y="53"/>
                  </a:cubicBezTo>
                  <a:cubicBezTo>
                    <a:pt x="6" y="54"/>
                    <a:pt x="5" y="51"/>
                    <a:pt x="4" y="53"/>
                  </a:cubicBezTo>
                  <a:cubicBezTo>
                    <a:pt x="3" y="54"/>
                    <a:pt x="5" y="58"/>
                    <a:pt x="5" y="59"/>
                  </a:cubicBezTo>
                  <a:cubicBezTo>
                    <a:pt x="6" y="60"/>
                    <a:pt x="7" y="61"/>
                    <a:pt x="8" y="63"/>
                  </a:cubicBezTo>
                  <a:cubicBezTo>
                    <a:pt x="8" y="64"/>
                    <a:pt x="8" y="66"/>
                    <a:pt x="7" y="66"/>
                  </a:cubicBezTo>
                  <a:cubicBezTo>
                    <a:pt x="7" y="68"/>
                    <a:pt x="6" y="69"/>
                    <a:pt x="5" y="70"/>
                  </a:cubicBezTo>
                  <a:cubicBezTo>
                    <a:pt x="5" y="71"/>
                    <a:pt x="5" y="71"/>
                    <a:pt x="4" y="72"/>
                  </a:cubicBezTo>
                  <a:cubicBezTo>
                    <a:pt x="2" y="73"/>
                    <a:pt x="0" y="73"/>
                    <a:pt x="1" y="76"/>
                  </a:cubicBezTo>
                  <a:cubicBezTo>
                    <a:pt x="1" y="77"/>
                    <a:pt x="2" y="78"/>
                    <a:pt x="2" y="79"/>
                  </a:cubicBezTo>
                  <a:cubicBezTo>
                    <a:pt x="2" y="80"/>
                    <a:pt x="2" y="80"/>
                    <a:pt x="2" y="81"/>
                  </a:cubicBezTo>
                  <a:cubicBezTo>
                    <a:pt x="3" y="83"/>
                    <a:pt x="5" y="84"/>
                    <a:pt x="5" y="86"/>
                  </a:cubicBezTo>
                  <a:cubicBezTo>
                    <a:pt x="6" y="88"/>
                    <a:pt x="3" y="90"/>
                    <a:pt x="3" y="93"/>
                  </a:cubicBezTo>
                  <a:cubicBezTo>
                    <a:pt x="3" y="94"/>
                    <a:pt x="3" y="95"/>
                    <a:pt x="4" y="96"/>
                  </a:cubicBezTo>
                  <a:cubicBezTo>
                    <a:pt x="5" y="97"/>
                    <a:pt x="6" y="98"/>
                    <a:pt x="6" y="99"/>
                  </a:cubicBezTo>
                  <a:cubicBezTo>
                    <a:pt x="6" y="101"/>
                    <a:pt x="4" y="102"/>
                    <a:pt x="5" y="104"/>
                  </a:cubicBezTo>
                  <a:cubicBezTo>
                    <a:pt x="5" y="106"/>
                    <a:pt x="9" y="105"/>
                    <a:pt x="11" y="106"/>
                  </a:cubicBezTo>
                  <a:cubicBezTo>
                    <a:pt x="12" y="107"/>
                    <a:pt x="14" y="109"/>
                    <a:pt x="15" y="110"/>
                  </a:cubicBezTo>
                  <a:cubicBezTo>
                    <a:pt x="16" y="111"/>
                    <a:pt x="17" y="113"/>
                    <a:pt x="17" y="115"/>
                  </a:cubicBezTo>
                  <a:cubicBezTo>
                    <a:pt x="18" y="117"/>
                    <a:pt x="18" y="119"/>
                    <a:pt x="19" y="120"/>
                  </a:cubicBezTo>
                  <a:cubicBezTo>
                    <a:pt x="20" y="121"/>
                    <a:pt x="23" y="121"/>
                    <a:pt x="24" y="122"/>
                  </a:cubicBezTo>
                  <a:cubicBezTo>
                    <a:pt x="25" y="122"/>
                    <a:pt x="26" y="122"/>
                    <a:pt x="25" y="123"/>
                  </a:cubicBezTo>
                  <a:cubicBezTo>
                    <a:pt x="25" y="124"/>
                    <a:pt x="24" y="124"/>
                    <a:pt x="24" y="123"/>
                  </a:cubicBezTo>
                  <a:cubicBezTo>
                    <a:pt x="23" y="123"/>
                    <a:pt x="22" y="122"/>
                    <a:pt x="21" y="122"/>
                  </a:cubicBezTo>
                  <a:cubicBezTo>
                    <a:pt x="19" y="122"/>
                    <a:pt x="19" y="124"/>
                    <a:pt x="19" y="125"/>
                  </a:cubicBezTo>
                  <a:cubicBezTo>
                    <a:pt x="19" y="125"/>
                    <a:pt x="19" y="126"/>
                    <a:pt x="19" y="127"/>
                  </a:cubicBezTo>
                  <a:cubicBezTo>
                    <a:pt x="19" y="128"/>
                    <a:pt x="20" y="130"/>
                    <a:pt x="20" y="131"/>
                  </a:cubicBezTo>
                  <a:cubicBezTo>
                    <a:pt x="19" y="132"/>
                    <a:pt x="19" y="135"/>
                    <a:pt x="19" y="136"/>
                  </a:cubicBezTo>
                  <a:cubicBezTo>
                    <a:pt x="17" y="137"/>
                    <a:pt x="12" y="136"/>
                    <a:pt x="12" y="139"/>
                  </a:cubicBezTo>
                  <a:cubicBezTo>
                    <a:pt x="12" y="139"/>
                    <a:pt x="14" y="140"/>
                    <a:pt x="15" y="141"/>
                  </a:cubicBezTo>
                  <a:cubicBezTo>
                    <a:pt x="15" y="141"/>
                    <a:pt x="16" y="143"/>
                    <a:pt x="17" y="143"/>
                  </a:cubicBezTo>
                  <a:cubicBezTo>
                    <a:pt x="17" y="144"/>
                    <a:pt x="18" y="145"/>
                    <a:pt x="18" y="146"/>
                  </a:cubicBezTo>
                  <a:cubicBezTo>
                    <a:pt x="18" y="147"/>
                    <a:pt x="17" y="147"/>
                    <a:pt x="16" y="146"/>
                  </a:cubicBezTo>
                  <a:cubicBezTo>
                    <a:pt x="16" y="147"/>
                    <a:pt x="17" y="151"/>
                    <a:pt x="17" y="153"/>
                  </a:cubicBezTo>
                  <a:cubicBezTo>
                    <a:pt x="17" y="154"/>
                    <a:pt x="17" y="157"/>
                    <a:pt x="19" y="158"/>
                  </a:cubicBezTo>
                  <a:cubicBezTo>
                    <a:pt x="20" y="160"/>
                    <a:pt x="19" y="159"/>
                    <a:pt x="20" y="158"/>
                  </a:cubicBezTo>
                  <a:cubicBezTo>
                    <a:pt x="24" y="158"/>
                    <a:pt x="23" y="160"/>
                    <a:pt x="24" y="161"/>
                  </a:cubicBezTo>
                  <a:cubicBezTo>
                    <a:pt x="27" y="163"/>
                    <a:pt x="29" y="161"/>
                    <a:pt x="31" y="160"/>
                  </a:cubicBezTo>
                  <a:cubicBezTo>
                    <a:pt x="33" y="160"/>
                    <a:pt x="35" y="162"/>
                    <a:pt x="36" y="162"/>
                  </a:cubicBezTo>
                  <a:cubicBezTo>
                    <a:pt x="38" y="164"/>
                    <a:pt x="40" y="165"/>
                    <a:pt x="42" y="167"/>
                  </a:cubicBezTo>
                  <a:cubicBezTo>
                    <a:pt x="45" y="170"/>
                    <a:pt x="40" y="170"/>
                    <a:pt x="37" y="170"/>
                  </a:cubicBezTo>
                  <a:cubicBezTo>
                    <a:pt x="36" y="170"/>
                    <a:pt x="34" y="169"/>
                    <a:pt x="32" y="169"/>
                  </a:cubicBezTo>
                  <a:cubicBezTo>
                    <a:pt x="31" y="169"/>
                    <a:pt x="29" y="169"/>
                    <a:pt x="29" y="168"/>
                  </a:cubicBezTo>
                  <a:cubicBezTo>
                    <a:pt x="28" y="168"/>
                    <a:pt x="27" y="167"/>
                    <a:pt x="27" y="166"/>
                  </a:cubicBezTo>
                  <a:cubicBezTo>
                    <a:pt x="26" y="165"/>
                    <a:pt x="26" y="165"/>
                    <a:pt x="25" y="165"/>
                  </a:cubicBezTo>
                  <a:cubicBezTo>
                    <a:pt x="23" y="166"/>
                    <a:pt x="24" y="169"/>
                    <a:pt x="24" y="170"/>
                  </a:cubicBezTo>
                  <a:cubicBezTo>
                    <a:pt x="24" y="172"/>
                    <a:pt x="24" y="176"/>
                    <a:pt x="26" y="177"/>
                  </a:cubicBezTo>
                  <a:cubicBezTo>
                    <a:pt x="27" y="179"/>
                    <a:pt x="29" y="179"/>
                    <a:pt x="30" y="179"/>
                  </a:cubicBezTo>
                  <a:cubicBezTo>
                    <a:pt x="32" y="180"/>
                    <a:pt x="33" y="183"/>
                    <a:pt x="34" y="181"/>
                  </a:cubicBezTo>
                  <a:cubicBezTo>
                    <a:pt x="35" y="180"/>
                    <a:pt x="35" y="178"/>
                    <a:pt x="36" y="177"/>
                  </a:cubicBezTo>
                  <a:cubicBezTo>
                    <a:pt x="37" y="177"/>
                    <a:pt x="40" y="178"/>
                    <a:pt x="41" y="179"/>
                  </a:cubicBezTo>
                  <a:cubicBezTo>
                    <a:pt x="42" y="179"/>
                    <a:pt x="45" y="179"/>
                    <a:pt x="46" y="180"/>
                  </a:cubicBezTo>
                  <a:cubicBezTo>
                    <a:pt x="46" y="180"/>
                    <a:pt x="46" y="182"/>
                    <a:pt x="47" y="183"/>
                  </a:cubicBezTo>
                  <a:cubicBezTo>
                    <a:pt x="48" y="183"/>
                    <a:pt x="51" y="185"/>
                    <a:pt x="50" y="186"/>
                  </a:cubicBezTo>
                  <a:cubicBezTo>
                    <a:pt x="49" y="186"/>
                    <a:pt x="47" y="186"/>
                    <a:pt x="46" y="185"/>
                  </a:cubicBezTo>
                  <a:cubicBezTo>
                    <a:pt x="45" y="184"/>
                    <a:pt x="45" y="184"/>
                    <a:pt x="44" y="185"/>
                  </a:cubicBezTo>
                  <a:cubicBezTo>
                    <a:pt x="42" y="186"/>
                    <a:pt x="42" y="186"/>
                    <a:pt x="40" y="185"/>
                  </a:cubicBezTo>
                  <a:cubicBezTo>
                    <a:pt x="39" y="185"/>
                    <a:pt x="38" y="184"/>
                    <a:pt x="37" y="185"/>
                  </a:cubicBezTo>
                  <a:cubicBezTo>
                    <a:pt x="36" y="186"/>
                    <a:pt x="36" y="190"/>
                    <a:pt x="36" y="192"/>
                  </a:cubicBezTo>
                  <a:cubicBezTo>
                    <a:pt x="36" y="194"/>
                    <a:pt x="36" y="197"/>
                    <a:pt x="35" y="199"/>
                  </a:cubicBezTo>
                  <a:cubicBezTo>
                    <a:pt x="34" y="200"/>
                    <a:pt x="33" y="201"/>
                    <a:pt x="34" y="202"/>
                  </a:cubicBezTo>
                  <a:cubicBezTo>
                    <a:pt x="34" y="203"/>
                    <a:pt x="36" y="203"/>
                    <a:pt x="36" y="204"/>
                  </a:cubicBezTo>
                  <a:cubicBezTo>
                    <a:pt x="38" y="205"/>
                    <a:pt x="40" y="204"/>
                    <a:pt x="42" y="203"/>
                  </a:cubicBezTo>
                  <a:cubicBezTo>
                    <a:pt x="44" y="202"/>
                    <a:pt x="46" y="200"/>
                    <a:pt x="48" y="200"/>
                  </a:cubicBezTo>
                  <a:cubicBezTo>
                    <a:pt x="49" y="199"/>
                    <a:pt x="50" y="199"/>
                    <a:pt x="51" y="199"/>
                  </a:cubicBezTo>
                  <a:cubicBezTo>
                    <a:pt x="51" y="199"/>
                    <a:pt x="52" y="198"/>
                    <a:pt x="53" y="197"/>
                  </a:cubicBezTo>
                  <a:cubicBezTo>
                    <a:pt x="54" y="196"/>
                    <a:pt x="55" y="196"/>
                    <a:pt x="56" y="194"/>
                  </a:cubicBezTo>
                  <a:cubicBezTo>
                    <a:pt x="56" y="193"/>
                    <a:pt x="56" y="190"/>
                    <a:pt x="56" y="189"/>
                  </a:cubicBezTo>
                  <a:cubicBezTo>
                    <a:pt x="56" y="188"/>
                    <a:pt x="56" y="188"/>
                    <a:pt x="56" y="188"/>
                  </a:cubicBezTo>
                  <a:cubicBezTo>
                    <a:pt x="57" y="187"/>
                    <a:pt x="59" y="189"/>
                    <a:pt x="59" y="190"/>
                  </a:cubicBezTo>
                  <a:cubicBezTo>
                    <a:pt x="59" y="190"/>
                    <a:pt x="59" y="190"/>
                    <a:pt x="59" y="191"/>
                  </a:cubicBezTo>
                  <a:cubicBezTo>
                    <a:pt x="60" y="191"/>
                    <a:pt x="61" y="191"/>
                    <a:pt x="62" y="191"/>
                  </a:cubicBezTo>
                  <a:cubicBezTo>
                    <a:pt x="63" y="192"/>
                    <a:pt x="66" y="192"/>
                    <a:pt x="66" y="194"/>
                  </a:cubicBezTo>
                  <a:cubicBezTo>
                    <a:pt x="67" y="195"/>
                    <a:pt x="66" y="196"/>
                    <a:pt x="65" y="197"/>
                  </a:cubicBezTo>
                  <a:cubicBezTo>
                    <a:pt x="65" y="197"/>
                    <a:pt x="64" y="198"/>
                    <a:pt x="64" y="198"/>
                  </a:cubicBezTo>
                  <a:cubicBezTo>
                    <a:pt x="65" y="199"/>
                    <a:pt x="65" y="199"/>
                    <a:pt x="66" y="199"/>
                  </a:cubicBezTo>
                  <a:cubicBezTo>
                    <a:pt x="67" y="200"/>
                    <a:pt x="67" y="201"/>
                    <a:pt x="68" y="201"/>
                  </a:cubicBezTo>
                  <a:cubicBezTo>
                    <a:pt x="69" y="202"/>
                    <a:pt x="70" y="202"/>
                    <a:pt x="72" y="203"/>
                  </a:cubicBezTo>
                  <a:cubicBezTo>
                    <a:pt x="73" y="205"/>
                    <a:pt x="74" y="206"/>
                    <a:pt x="74" y="208"/>
                  </a:cubicBezTo>
                  <a:cubicBezTo>
                    <a:pt x="74" y="210"/>
                    <a:pt x="74" y="213"/>
                    <a:pt x="73" y="215"/>
                  </a:cubicBezTo>
                  <a:cubicBezTo>
                    <a:pt x="73" y="216"/>
                    <a:pt x="72" y="217"/>
                    <a:pt x="72" y="218"/>
                  </a:cubicBezTo>
                  <a:cubicBezTo>
                    <a:pt x="72" y="219"/>
                    <a:pt x="72" y="220"/>
                    <a:pt x="72" y="221"/>
                  </a:cubicBezTo>
                  <a:cubicBezTo>
                    <a:pt x="72" y="223"/>
                    <a:pt x="72" y="225"/>
                    <a:pt x="71" y="227"/>
                  </a:cubicBezTo>
                  <a:cubicBezTo>
                    <a:pt x="71" y="229"/>
                    <a:pt x="70" y="230"/>
                    <a:pt x="68" y="231"/>
                  </a:cubicBezTo>
                  <a:cubicBezTo>
                    <a:pt x="67" y="232"/>
                    <a:pt x="65" y="232"/>
                    <a:pt x="64" y="233"/>
                  </a:cubicBezTo>
                  <a:cubicBezTo>
                    <a:pt x="64" y="235"/>
                    <a:pt x="64" y="237"/>
                    <a:pt x="65" y="238"/>
                  </a:cubicBezTo>
                  <a:cubicBezTo>
                    <a:pt x="69" y="240"/>
                    <a:pt x="72" y="241"/>
                    <a:pt x="75" y="244"/>
                  </a:cubicBezTo>
                  <a:cubicBezTo>
                    <a:pt x="77" y="246"/>
                    <a:pt x="77" y="249"/>
                    <a:pt x="77" y="252"/>
                  </a:cubicBezTo>
                  <a:cubicBezTo>
                    <a:pt x="76" y="254"/>
                    <a:pt x="76" y="257"/>
                    <a:pt x="75" y="259"/>
                  </a:cubicBezTo>
                  <a:cubicBezTo>
                    <a:pt x="75" y="260"/>
                    <a:pt x="74" y="261"/>
                    <a:pt x="74" y="261"/>
                  </a:cubicBezTo>
                  <a:cubicBezTo>
                    <a:pt x="75" y="262"/>
                    <a:pt x="77" y="262"/>
                    <a:pt x="77" y="263"/>
                  </a:cubicBezTo>
                  <a:cubicBezTo>
                    <a:pt x="79" y="264"/>
                    <a:pt x="79" y="266"/>
                    <a:pt x="79" y="267"/>
                  </a:cubicBezTo>
                  <a:cubicBezTo>
                    <a:pt x="80" y="269"/>
                    <a:pt x="80" y="270"/>
                    <a:pt x="79" y="271"/>
                  </a:cubicBezTo>
                  <a:cubicBezTo>
                    <a:pt x="79" y="272"/>
                    <a:pt x="79" y="272"/>
                    <a:pt x="80" y="273"/>
                  </a:cubicBezTo>
                  <a:cubicBezTo>
                    <a:pt x="80" y="274"/>
                    <a:pt x="81" y="274"/>
                    <a:pt x="81" y="274"/>
                  </a:cubicBezTo>
                  <a:cubicBezTo>
                    <a:pt x="82" y="275"/>
                    <a:pt x="82" y="276"/>
                    <a:pt x="82" y="276"/>
                  </a:cubicBezTo>
                  <a:cubicBezTo>
                    <a:pt x="82" y="277"/>
                    <a:pt x="82" y="279"/>
                    <a:pt x="82" y="280"/>
                  </a:cubicBezTo>
                  <a:cubicBezTo>
                    <a:pt x="82" y="281"/>
                    <a:pt x="81" y="282"/>
                    <a:pt x="80" y="284"/>
                  </a:cubicBezTo>
                  <a:cubicBezTo>
                    <a:pt x="80" y="285"/>
                    <a:pt x="82" y="285"/>
                    <a:pt x="83" y="286"/>
                  </a:cubicBezTo>
                  <a:cubicBezTo>
                    <a:pt x="84" y="288"/>
                    <a:pt x="83" y="289"/>
                    <a:pt x="83" y="291"/>
                  </a:cubicBezTo>
                  <a:cubicBezTo>
                    <a:pt x="84" y="292"/>
                    <a:pt x="85" y="293"/>
                    <a:pt x="85" y="294"/>
                  </a:cubicBezTo>
                  <a:cubicBezTo>
                    <a:pt x="85" y="295"/>
                    <a:pt x="85" y="296"/>
                    <a:pt x="85" y="297"/>
                  </a:cubicBezTo>
                  <a:cubicBezTo>
                    <a:pt x="85" y="297"/>
                    <a:pt x="85" y="298"/>
                    <a:pt x="85" y="299"/>
                  </a:cubicBezTo>
                  <a:cubicBezTo>
                    <a:pt x="84" y="299"/>
                    <a:pt x="84" y="300"/>
                    <a:pt x="84" y="301"/>
                  </a:cubicBezTo>
                  <a:cubicBezTo>
                    <a:pt x="84" y="301"/>
                    <a:pt x="84" y="301"/>
                    <a:pt x="85" y="302"/>
                  </a:cubicBezTo>
                  <a:cubicBezTo>
                    <a:pt x="85" y="302"/>
                    <a:pt x="85" y="303"/>
                    <a:pt x="86" y="304"/>
                  </a:cubicBezTo>
                  <a:cubicBezTo>
                    <a:pt x="86" y="304"/>
                    <a:pt x="86" y="305"/>
                    <a:pt x="86" y="305"/>
                  </a:cubicBezTo>
                  <a:cubicBezTo>
                    <a:pt x="87" y="306"/>
                    <a:pt x="87" y="306"/>
                    <a:pt x="87" y="307"/>
                  </a:cubicBezTo>
                  <a:cubicBezTo>
                    <a:pt x="88" y="309"/>
                    <a:pt x="93" y="304"/>
                    <a:pt x="94" y="303"/>
                  </a:cubicBezTo>
                  <a:cubicBezTo>
                    <a:pt x="96" y="301"/>
                    <a:pt x="99" y="299"/>
                    <a:pt x="102" y="299"/>
                  </a:cubicBezTo>
                  <a:cubicBezTo>
                    <a:pt x="103" y="299"/>
                    <a:pt x="104" y="299"/>
                    <a:pt x="105" y="299"/>
                  </a:cubicBezTo>
                  <a:cubicBezTo>
                    <a:pt x="105" y="300"/>
                    <a:pt x="106" y="300"/>
                    <a:pt x="106" y="301"/>
                  </a:cubicBezTo>
                  <a:cubicBezTo>
                    <a:pt x="108" y="303"/>
                    <a:pt x="109" y="304"/>
                    <a:pt x="109" y="306"/>
                  </a:cubicBezTo>
                  <a:cubicBezTo>
                    <a:pt x="108" y="307"/>
                    <a:pt x="108" y="308"/>
                    <a:pt x="108" y="309"/>
                  </a:cubicBezTo>
                  <a:cubicBezTo>
                    <a:pt x="109" y="309"/>
                    <a:pt x="110" y="310"/>
                    <a:pt x="111" y="310"/>
                  </a:cubicBezTo>
                  <a:cubicBezTo>
                    <a:pt x="112" y="309"/>
                    <a:pt x="114" y="308"/>
                    <a:pt x="115" y="307"/>
                  </a:cubicBezTo>
                  <a:cubicBezTo>
                    <a:pt x="116" y="304"/>
                    <a:pt x="116" y="304"/>
                    <a:pt x="116" y="304"/>
                  </a:cubicBezTo>
                  <a:lnTo>
                    <a:pt x="139" y="292"/>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3" name="Freeform 15">
              <a:extLst>
                <a:ext uri="{FF2B5EF4-FFF2-40B4-BE49-F238E27FC236}">
                  <a16:creationId xmlns:a16="http://schemas.microsoft.com/office/drawing/2014/main" id="{93BAF125-FC46-D315-E989-2A8B835A3A2A}"/>
                </a:ext>
              </a:extLst>
            </p:cNvPr>
            <p:cNvSpPr>
              <a:spLocks/>
            </p:cNvSpPr>
            <p:nvPr/>
          </p:nvSpPr>
          <p:spPr bwMode="auto">
            <a:xfrm>
              <a:off x="4084638" y="5588000"/>
              <a:ext cx="195263" cy="157162"/>
            </a:xfrm>
            <a:custGeom>
              <a:avLst/>
              <a:gdLst>
                <a:gd name="T0" fmla="*/ 49 w 51"/>
                <a:gd name="T1" fmla="*/ 38 h 41"/>
                <a:gd name="T2" fmla="*/ 48 w 51"/>
                <a:gd name="T3" fmla="*/ 36 h 41"/>
                <a:gd name="T4" fmla="*/ 46 w 51"/>
                <a:gd name="T5" fmla="*/ 31 h 41"/>
                <a:gd name="T6" fmla="*/ 46 w 51"/>
                <a:gd name="T7" fmla="*/ 28 h 41"/>
                <a:gd name="T8" fmla="*/ 47 w 51"/>
                <a:gd name="T9" fmla="*/ 24 h 41"/>
                <a:gd name="T10" fmla="*/ 47 w 51"/>
                <a:gd name="T11" fmla="*/ 21 h 41"/>
                <a:gd name="T12" fmla="*/ 48 w 51"/>
                <a:gd name="T13" fmla="*/ 17 h 41"/>
                <a:gd name="T14" fmla="*/ 40 w 51"/>
                <a:gd name="T15" fmla="*/ 16 h 41"/>
                <a:gd name="T16" fmla="*/ 37 w 51"/>
                <a:gd name="T17" fmla="*/ 16 h 41"/>
                <a:gd name="T18" fmla="*/ 34 w 51"/>
                <a:gd name="T19" fmla="*/ 15 h 41"/>
                <a:gd name="T20" fmla="*/ 31 w 51"/>
                <a:gd name="T21" fmla="*/ 15 h 41"/>
                <a:gd name="T22" fmla="*/ 30 w 51"/>
                <a:gd name="T23" fmla="*/ 13 h 41"/>
                <a:gd name="T24" fmla="*/ 30 w 51"/>
                <a:gd name="T25" fmla="*/ 11 h 41"/>
                <a:gd name="T26" fmla="*/ 29 w 51"/>
                <a:gd name="T27" fmla="*/ 6 h 41"/>
                <a:gd name="T28" fmla="*/ 27 w 51"/>
                <a:gd name="T29" fmla="*/ 0 h 41"/>
                <a:gd name="T30" fmla="*/ 24 w 51"/>
                <a:gd name="T31" fmla="*/ 3 h 41"/>
                <a:gd name="T32" fmla="*/ 20 w 51"/>
                <a:gd name="T33" fmla="*/ 5 h 41"/>
                <a:gd name="T34" fmla="*/ 16 w 51"/>
                <a:gd name="T35" fmla="*/ 11 h 41"/>
                <a:gd name="T36" fmla="*/ 16 w 51"/>
                <a:gd name="T37" fmla="*/ 9 h 41"/>
                <a:gd name="T38" fmla="*/ 15 w 51"/>
                <a:gd name="T39" fmla="*/ 7 h 41"/>
                <a:gd name="T40" fmla="*/ 13 w 51"/>
                <a:gd name="T41" fmla="*/ 7 h 41"/>
                <a:gd name="T42" fmla="*/ 10 w 51"/>
                <a:gd name="T43" fmla="*/ 7 h 41"/>
                <a:gd name="T44" fmla="*/ 8 w 51"/>
                <a:gd name="T45" fmla="*/ 7 h 41"/>
                <a:gd name="T46" fmla="*/ 8 w 51"/>
                <a:gd name="T47" fmla="*/ 9 h 41"/>
                <a:gd name="T48" fmla="*/ 6 w 51"/>
                <a:gd name="T49" fmla="*/ 14 h 41"/>
                <a:gd name="T50" fmla="*/ 2 w 51"/>
                <a:gd name="T51" fmla="*/ 19 h 41"/>
                <a:gd name="T52" fmla="*/ 0 w 51"/>
                <a:gd name="T53" fmla="*/ 22 h 41"/>
                <a:gd name="T54" fmla="*/ 1 w 51"/>
                <a:gd name="T55" fmla="*/ 22 h 41"/>
                <a:gd name="T56" fmla="*/ 9 w 51"/>
                <a:gd name="T57" fmla="*/ 26 h 41"/>
                <a:gd name="T58" fmla="*/ 15 w 51"/>
                <a:gd name="T59" fmla="*/ 29 h 41"/>
                <a:gd name="T60" fmla="*/ 21 w 51"/>
                <a:gd name="T61" fmla="*/ 31 h 41"/>
                <a:gd name="T62" fmla="*/ 28 w 51"/>
                <a:gd name="T63" fmla="*/ 35 h 41"/>
                <a:gd name="T64" fmla="*/ 41 w 51"/>
                <a:gd name="T65" fmla="*/ 40 h 41"/>
                <a:gd name="T66" fmla="*/ 46 w 51"/>
                <a:gd name="T67" fmla="*/ 41 h 41"/>
                <a:gd name="T68" fmla="*/ 51 w 51"/>
                <a:gd name="T69" fmla="*/ 41 h 41"/>
                <a:gd name="T70" fmla="*/ 50 w 51"/>
                <a:gd name="T71" fmla="*/ 39 h 41"/>
                <a:gd name="T72" fmla="*/ 49 w 51"/>
                <a:gd name="T73"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41">
                  <a:moveTo>
                    <a:pt x="49" y="38"/>
                  </a:moveTo>
                  <a:cubicBezTo>
                    <a:pt x="48" y="37"/>
                    <a:pt x="48" y="36"/>
                    <a:pt x="48" y="36"/>
                  </a:cubicBezTo>
                  <a:cubicBezTo>
                    <a:pt x="48" y="34"/>
                    <a:pt x="47" y="32"/>
                    <a:pt x="46" y="31"/>
                  </a:cubicBezTo>
                  <a:cubicBezTo>
                    <a:pt x="46" y="30"/>
                    <a:pt x="46" y="29"/>
                    <a:pt x="46" y="28"/>
                  </a:cubicBezTo>
                  <a:cubicBezTo>
                    <a:pt x="46" y="27"/>
                    <a:pt x="46" y="25"/>
                    <a:pt x="47" y="24"/>
                  </a:cubicBezTo>
                  <a:cubicBezTo>
                    <a:pt x="47" y="23"/>
                    <a:pt x="47" y="22"/>
                    <a:pt x="47" y="21"/>
                  </a:cubicBezTo>
                  <a:cubicBezTo>
                    <a:pt x="47" y="19"/>
                    <a:pt x="48" y="18"/>
                    <a:pt x="48" y="17"/>
                  </a:cubicBezTo>
                  <a:cubicBezTo>
                    <a:pt x="45" y="17"/>
                    <a:pt x="43" y="17"/>
                    <a:pt x="40" y="16"/>
                  </a:cubicBezTo>
                  <a:cubicBezTo>
                    <a:pt x="39" y="16"/>
                    <a:pt x="38" y="16"/>
                    <a:pt x="37" y="16"/>
                  </a:cubicBezTo>
                  <a:cubicBezTo>
                    <a:pt x="36" y="15"/>
                    <a:pt x="35" y="15"/>
                    <a:pt x="34" y="15"/>
                  </a:cubicBezTo>
                  <a:cubicBezTo>
                    <a:pt x="33" y="15"/>
                    <a:pt x="32" y="15"/>
                    <a:pt x="31" y="15"/>
                  </a:cubicBezTo>
                  <a:cubicBezTo>
                    <a:pt x="31" y="14"/>
                    <a:pt x="30" y="14"/>
                    <a:pt x="30" y="13"/>
                  </a:cubicBezTo>
                  <a:cubicBezTo>
                    <a:pt x="30" y="13"/>
                    <a:pt x="30" y="12"/>
                    <a:pt x="30" y="11"/>
                  </a:cubicBezTo>
                  <a:cubicBezTo>
                    <a:pt x="29" y="10"/>
                    <a:pt x="29" y="8"/>
                    <a:pt x="29" y="6"/>
                  </a:cubicBezTo>
                  <a:cubicBezTo>
                    <a:pt x="28" y="4"/>
                    <a:pt x="28" y="2"/>
                    <a:pt x="27" y="0"/>
                  </a:cubicBezTo>
                  <a:cubicBezTo>
                    <a:pt x="26" y="1"/>
                    <a:pt x="25" y="2"/>
                    <a:pt x="24" y="3"/>
                  </a:cubicBezTo>
                  <a:cubicBezTo>
                    <a:pt x="22" y="3"/>
                    <a:pt x="21" y="4"/>
                    <a:pt x="20" y="5"/>
                  </a:cubicBezTo>
                  <a:cubicBezTo>
                    <a:pt x="18" y="6"/>
                    <a:pt x="17" y="9"/>
                    <a:pt x="16" y="11"/>
                  </a:cubicBezTo>
                  <a:cubicBezTo>
                    <a:pt x="16" y="10"/>
                    <a:pt x="16" y="9"/>
                    <a:pt x="16" y="9"/>
                  </a:cubicBezTo>
                  <a:cubicBezTo>
                    <a:pt x="15" y="8"/>
                    <a:pt x="16" y="7"/>
                    <a:pt x="15" y="7"/>
                  </a:cubicBezTo>
                  <a:cubicBezTo>
                    <a:pt x="15" y="6"/>
                    <a:pt x="13" y="7"/>
                    <a:pt x="13" y="7"/>
                  </a:cubicBezTo>
                  <a:cubicBezTo>
                    <a:pt x="12" y="7"/>
                    <a:pt x="11" y="7"/>
                    <a:pt x="10" y="7"/>
                  </a:cubicBezTo>
                  <a:cubicBezTo>
                    <a:pt x="9" y="7"/>
                    <a:pt x="8" y="7"/>
                    <a:pt x="8" y="7"/>
                  </a:cubicBezTo>
                  <a:cubicBezTo>
                    <a:pt x="7" y="7"/>
                    <a:pt x="8" y="9"/>
                    <a:pt x="8" y="9"/>
                  </a:cubicBezTo>
                  <a:cubicBezTo>
                    <a:pt x="8" y="11"/>
                    <a:pt x="8" y="12"/>
                    <a:pt x="6" y="14"/>
                  </a:cubicBezTo>
                  <a:cubicBezTo>
                    <a:pt x="5" y="15"/>
                    <a:pt x="3" y="17"/>
                    <a:pt x="2" y="19"/>
                  </a:cubicBezTo>
                  <a:cubicBezTo>
                    <a:pt x="1" y="20"/>
                    <a:pt x="1" y="21"/>
                    <a:pt x="0" y="22"/>
                  </a:cubicBezTo>
                  <a:cubicBezTo>
                    <a:pt x="1" y="22"/>
                    <a:pt x="1" y="22"/>
                    <a:pt x="1" y="22"/>
                  </a:cubicBezTo>
                  <a:cubicBezTo>
                    <a:pt x="4" y="23"/>
                    <a:pt x="8" y="25"/>
                    <a:pt x="9" y="26"/>
                  </a:cubicBezTo>
                  <a:cubicBezTo>
                    <a:pt x="10" y="26"/>
                    <a:pt x="14" y="28"/>
                    <a:pt x="15" y="29"/>
                  </a:cubicBezTo>
                  <a:cubicBezTo>
                    <a:pt x="16" y="29"/>
                    <a:pt x="18" y="29"/>
                    <a:pt x="21" y="31"/>
                  </a:cubicBezTo>
                  <a:cubicBezTo>
                    <a:pt x="23" y="32"/>
                    <a:pt x="26" y="34"/>
                    <a:pt x="28" y="35"/>
                  </a:cubicBezTo>
                  <a:cubicBezTo>
                    <a:pt x="31" y="36"/>
                    <a:pt x="39" y="39"/>
                    <a:pt x="41" y="40"/>
                  </a:cubicBezTo>
                  <a:cubicBezTo>
                    <a:pt x="44" y="41"/>
                    <a:pt x="42" y="41"/>
                    <a:pt x="46" y="41"/>
                  </a:cubicBezTo>
                  <a:cubicBezTo>
                    <a:pt x="50" y="41"/>
                    <a:pt x="49" y="41"/>
                    <a:pt x="51" y="41"/>
                  </a:cubicBezTo>
                  <a:cubicBezTo>
                    <a:pt x="51" y="40"/>
                    <a:pt x="51" y="39"/>
                    <a:pt x="50" y="39"/>
                  </a:cubicBezTo>
                  <a:cubicBezTo>
                    <a:pt x="50" y="38"/>
                    <a:pt x="49" y="38"/>
                    <a:pt x="49" y="38"/>
                  </a:cubicBezTo>
                  <a:close/>
                </a:path>
              </a:pathLst>
            </a:custGeom>
            <a:solidFill>
              <a:srgbClr val="D9F2F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4" name="Freeform 17">
              <a:extLst>
                <a:ext uri="{FF2B5EF4-FFF2-40B4-BE49-F238E27FC236}">
                  <a16:creationId xmlns:a16="http://schemas.microsoft.com/office/drawing/2014/main" id="{073B01E6-5BFF-043D-E867-721E17D19B3C}"/>
                </a:ext>
              </a:extLst>
            </p:cNvPr>
            <p:cNvSpPr>
              <a:spLocks/>
            </p:cNvSpPr>
            <p:nvPr/>
          </p:nvSpPr>
          <p:spPr bwMode="auto">
            <a:xfrm>
              <a:off x="6175375" y="4022725"/>
              <a:ext cx="263525" cy="631825"/>
            </a:xfrm>
            <a:custGeom>
              <a:avLst/>
              <a:gdLst>
                <a:gd name="T0" fmla="*/ 43 w 69"/>
                <a:gd name="T1" fmla="*/ 150 h 166"/>
                <a:gd name="T2" fmla="*/ 39 w 69"/>
                <a:gd name="T3" fmla="*/ 145 h 166"/>
                <a:gd name="T4" fmla="*/ 45 w 69"/>
                <a:gd name="T5" fmla="*/ 144 h 166"/>
                <a:gd name="T6" fmla="*/ 54 w 69"/>
                <a:gd name="T7" fmla="*/ 139 h 166"/>
                <a:gd name="T8" fmla="*/ 51 w 69"/>
                <a:gd name="T9" fmla="*/ 133 h 166"/>
                <a:gd name="T10" fmla="*/ 49 w 69"/>
                <a:gd name="T11" fmla="*/ 124 h 166"/>
                <a:gd name="T12" fmla="*/ 50 w 69"/>
                <a:gd name="T13" fmla="*/ 117 h 166"/>
                <a:gd name="T14" fmla="*/ 56 w 69"/>
                <a:gd name="T15" fmla="*/ 116 h 166"/>
                <a:gd name="T16" fmla="*/ 62 w 69"/>
                <a:gd name="T17" fmla="*/ 112 h 166"/>
                <a:gd name="T18" fmla="*/ 61 w 69"/>
                <a:gd name="T19" fmla="*/ 107 h 166"/>
                <a:gd name="T20" fmla="*/ 60 w 69"/>
                <a:gd name="T21" fmla="*/ 100 h 166"/>
                <a:gd name="T22" fmla="*/ 60 w 69"/>
                <a:gd name="T23" fmla="*/ 95 h 166"/>
                <a:gd name="T24" fmla="*/ 59 w 69"/>
                <a:gd name="T25" fmla="*/ 90 h 166"/>
                <a:gd name="T26" fmla="*/ 54 w 69"/>
                <a:gd name="T27" fmla="*/ 87 h 166"/>
                <a:gd name="T28" fmla="*/ 58 w 69"/>
                <a:gd name="T29" fmla="*/ 83 h 166"/>
                <a:gd name="T30" fmla="*/ 64 w 69"/>
                <a:gd name="T31" fmla="*/ 78 h 166"/>
                <a:gd name="T32" fmla="*/ 66 w 69"/>
                <a:gd name="T33" fmla="*/ 73 h 166"/>
                <a:gd name="T34" fmla="*/ 68 w 69"/>
                <a:gd name="T35" fmla="*/ 57 h 166"/>
                <a:gd name="T36" fmla="*/ 60 w 69"/>
                <a:gd name="T37" fmla="*/ 46 h 166"/>
                <a:gd name="T38" fmla="*/ 56 w 69"/>
                <a:gd name="T39" fmla="*/ 40 h 166"/>
                <a:gd name="T40" fmla="*/ 55 w 69"/>
                <a:gd name="T41" fmla="*/ 34 h 166"/>
                <a:gd name="T42" fmla="*/ 48 w 69"/>
                <a:gd name="T43" fmla="*/ 35 h 166"/>
                <a:gd name="T44" fmla="*/ 43 w 69"/>
                <a:gd name="T45" fmla="*/ 31 h 166"/>
                <a:gd name="T46" fmla="*/ 46 w 69"/>
                <a:gd name="T47" fmla="*/ 26 h 166"/>
                <a:gd name="T48" fmla="*/ 51 w 69"/>
                <a:gd name="T49" fmla="*/ 21 h 166"/>
                <a:gd name="T50" fmla="*/ 52 w 69"/>
                <a:gd name="T51" fmla="*/ 17 h 166"/>
                <a:gd name="T52" fmla="*/ 50 w 69"/>
                <a:gd name="T53" fmla="*/ 10 h 166"/>
                <a:gd name="T54" fmla="*/ 48 w 69"/>
                <a:gd name="T55" fmla="*/ 1 h 166"/>
                <a:gd name="T56" fmla="*/ 45 w 69"/>
                <a:gd name="T57" fmla="*/ 10 h 166"/>
                <a:gd name="T58" fmla="*/ 41 w 69"/>
                <a:gd name="T59" fmla="*/ 18 h 166"/>
                <a:gd name="T60" fmla="*/ 36 w 69"/>
                <a:gd name="T61" fmla="*/ 23 h 166"/>
                <a:gd name="T62" fmla="*/ 35 w 69"/>
                <a:gd name="T63" fmla="*/ 32 h 166"/>
                <a:gd name="T64" fmla="*/ 35 w 69"/>
                <a:gd name="T65" fmla="*/ 39 h 166"/>
                <a:gd name="T66" fmla="*/ 34 w 69"/>
                <a:gd name="T67" fmla="*/ 54 h 166"/>
                <a:gd name="T68" fmla="*/ 36 w 69"/>
                <a:gd name="T69" fmla="*/ 69 h 166"/>
                <a:gd name="T70" fmla="*/ 25 w 69"/>
                <a:gd name="T71" fmla="*/ 81 h 166"/>
                <a:gd name="T72" fmla="*/ 22 w 69"/>
                <a:gd name="T73" fmla="*/ 90 h 166"/>
                <a:gd name="T74" fmla="*/ 21 w 69"/>
                <a:gd name="T75" fmla="*/ 100 h 166"/>
                <a:gd name="T76" fmla="*/ 14 w 69"/>
                <a:gd name="T77" fmla="*/ 109 h 166"/>
                <a:gd name="T78" fmla="*/ 4 w 69"/>
                <a:gd name="T79" fmla="*/ 110 h 166"/>
                <a:gd name="T80" fmla="*/ 1 w 69"/>
                <a:gd name="T81" fmla="*/ 120 h 166"/>
                <a:gd name="T82" fmla="*/ 7 w 69"/>
                <a:gd name="T83" fmla="*/ 126 h 166"/>
                <a:gd name="T84" fmla="*/ 3 w 69"/>
                <a:gd name="T85" fmla="*/ 137 h 166"/>
                <a:gd name="T86" fmla="*/ 4 w 69"/>
                <a:gd name="T87" fmla="*/ 150 h 166"/>
                <a:gd name="T88" fmla="*/ 14 w 69"/>
                <a:gd name="T89" fmla="*/ 164 h 166"/>
                <a:gd name="T90" fmla="*/ 24 w 69"/>
                <a:gd name="T91" fmla="*/ 162 h 166"/>
                <a:gd name="T92" fmla="*/ 31 w 69"/>
                <a:gd name="T93" fmla="*/ 160 h 166"/>
                <a:gd name="T94" fmla="*/ 40 w 69"/>
                <a:gd name="T95" fmla="*/ 159 h 166"/>
                <a:gd name="T96" fmla="*/ 45 w 69"/>
                <a:gd name="T97"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166">
                  <a:moveTo>
                    <a:pt x="44" y="154"/>
                  </a:moveTo>
                  <a:cubicBezTo>
                    <a:pt x="43" y="150"/>
                    <a:pt x="43" y="150"/>
                    <a:pt x="43" y="150"/>
                  </a:cubicBezTo>
                  <a:cubicBezTo>
                    <a:pt x="42" y="147"/>
                    <a:pt x="42" y="147"/>
                    <a:pt x="42" y="147"/>
                  </a:cubicBezTo>
                  <a:cubicBezTo>
                    <a:pt x="39" y="145"/>
                    <a:pt x="39" y="145"/>
                    <a:pt x="39" y="145"/>
                  </a:cubicBezTo>
                  <a:cubicBezTo>
                    <a:pt x="40" y="143"/>
                    <a:pt x="40" y="143"/>
                    <a:pt x="40" y="143"/>
                  </a:cubicBezTo>
                  <a:cubicBezTo>
                    <a:pt x="45" y="144"/>
                    <a:pt x="45" y="144"/>
                    <a:pt x="45" y="144"/>
                  </a:cubicBezTo>
                  <a:cubicBezTo>
                    <a:pt x="48" y="141"/>
                    <a:pt x="48" y="141"/>
                    <a:pt x="48" y="141"/>
                  </a:cubicBezTo>
                  <a:cubicBezTo>
                    <a:pt x="54" y="139"/>
                    <a:pt x="54" y="139"/>
                    <a:pt x="54" y="139"/>
                  </a:cubicBezTo>
                  <a:cubicBezTo>
                    <a:pt x="54" y="137"/>
                    <a:pt x="54" y="137"/>
                    <a:pt x="54" y="137"/>
                  </a:cubicBezTo>
                  <a:cubicBezTo>
                    <a:pt x="51" y="133"/>
                    <a:pt x="51" y="133"/>
                    <a:pt x="51" y="133"/>
                  </a:cubicBezTo>
                  <a:cubicBezTo>
                    <a:pt x="50" y="128"/>
                    <a:pt x="50" y="128"/>
                    <a:pt x="50" y="128"/>
                  </a:cubicBezTo>
                  <a:cubicBezTo>
                    <a:pt x="49" y="124"/>
                    <a:pt x="49" y="124"/>
                    <a:pt x="49" y="124"/>
                  </a:cubicBezTo>
                  <a:cubicBezTo>
                    <a:pt x="50" y="123"/>
                    <a:pt x="50" y="123"/>
                    <a:pt x="50" y="123"/>
                  </a:cubicBezTo>
                  <a:cubicBezTo>
                    <a:pt x="50" y="117"/>
                    <a:pt x="50" y="117"/>
                    <a:pt x="50" y="117"/>
                  </a:cubicBezTo>
                  <a:cubicBezTo>
                    <a:pt x="52" y="116"/>
                    <a:pt x="52" y="116"/>
                    <a:pt x="52" y="116"/>
                  </a:cubicBezTo>
                  <a:cubicBezTo>
                    <a:pt x="56" y="116"/>
                    <a:pt x="56" y="116"/>
                    <a:pt x="56" y="116"/>
                  </a:cubicBezTo>
                  <a:cubicBezTo>
                    <a:pt x="61" y="115"/>
                    <a:pt x="61" y="115"/>
                    <a:pt x="61" y="115"/>
                  </a:cubicBezTo>
                  <a:cubicBezTo>
                    <a:pt x="62" y="112"/>
                    <a:pt x="62" y="112"/>
                    <a:pt x="62" y="112"/>
                  </a:cubicBezTo>
                  <a:cubicBezTo>
                    <a:pt x="64" y="110"/>
                    <a:pt x="64" y="110"/>
                    <a:pt x="64" y="110"/>
                  </a:cubicBezTo>
                  <a:cubicBezTo>
                    <a:pt x="61" y="107"/>
                    <a:pt x="61" y="107"/>
                    <a:pt x="61" y="107"/>
                  </a:cubicBezTo>
                  <a:cubicBezTo>
                    <a:pt x="58" y="103"/>
                    <a:pt x="58" y="103"/>
                    <a:pt x="58" y="103"/>
                  </a:cubicBezTo>
                  <a:cubicBezTo>
                    <a:pt x="60" y="100"/>
                    <a:pt x="60" y="100"/>
                    <a:pt x="60" y="100"/>
                  </a:cubicBezTo>
                  <a:cubicBezTo>
                    <a:pt x="58" y="97"/>
                    <a:pt x="58" y="97"/>
                    <a:pt x="58" y="97"/>
                  </a:cubicBezTo>
                  <a:cubicBezTo>
                    <a:pt x="60" y="95"/>
                    <a:pt x="60" y="95"/>
                    <a:pt x="60" y="95"/>
                  </a:cubicBezTo>
                  <a:cubicBezTo>
                    <a:pt x="59" y="92"/>
                    <a:pt x="59" y="92"/>
                    <a:pt x="59" y="92"/>
                  </a:cubicBezTo>
                  <a:cubicBezTo>
                    <a:pt x="59" y="90"/>
                    <a:pt x="59" y="90"/>
                    <a:pt x="59" y="90"/>
                  </a:cubicBezTo>
                  <a:cubicBezTo>
                    <a:pt x="56" y="89"/>
                    <a:pt x="56" y="89"/>
                    <a:pt x="56" y="89"/>
                  </a:cubicBezTo>
                  <a:cubicBezTo>
                    <a:pt x="54" y="87"/>
                    <a:pt x="54" y="87"/>
                    <a:pt x="54" y="87"/>
                  </a:cubicBezTo>
                  <a:cubicBezTo>
                    <a:pt x="55" y="85"/>
                    <a:pt x="55" y="85"/>
                    <a:pt x="55" y="85"/>
                  </a:cubicBezTo>
                  <a:cubicBezTo>
                    <a:pt x="58" y="83"/>
                    <a:pt x="58" y="83"/>
                    <a:pt x="58" y="83"/>
                  </a:cubicBezTo>
                  <a:cubicBezTo>
                    <a:pt x="60" y="81"/>
                    <a:pt x="60" y="81"/>
                    <a:pt x="60" y="81"/>
                  </a:cubicBezTo>
                  <a:cubicBezTo>
                    <a:pt x="64" y="78"/>
                    <a:pt x="64" y="78"/>
                    <a:pt x="64" y="78"/>
                  </a:cubicBezTo>
                  <a:cubicBezTo>
                    <a:pt x="66" y="75"/>
                    <a:pt x="66" y="75"/>
                    <a:pt x="66" y="75"/>
                  </a:cubicBezTo>
                  <a:cubicBezTo>
                    <a:pt x="66" y="73"/>
                    <a:pt x="66" y="73"/>
                    <a:pt x="66" y="73"/>
                  </a:cubicBezTo>
                  <a:cubicBezTo>
                    <a:pt x="69" y="72"/>
                    <a:pt x="69" y="72"/>
                    <a:pt x="69" y="72"/>
                  </a:cubicBezTo>
                  <a:cubicBezTo>
                    <a:pt x="68" y="57"/>
                    <a:pt x="68" y="57"/>
                    <a:pt x="68" y="57"/>
                  </a:cubicBezTo>
                  <a:cubicBezTo>
                    <a:pt x="66" y="56"/>
                    <a:pt x="66" y="56"/>
                    <a:pt x="66" y="56"/>
                  </a:cubicBezTo>
                  <a:cubicBezTo>
                    <a:pt x="60" y="46"/>
                    <a:pt x="60" y="46"/>
                    <a:pt x="60" y="46"/>
                  </a:cubicBezTo>
                  <a:cubicBezTo>
                    <a:pt x="57" y="43"/>
                    <a:pt x="57" y="43"/>
                    <a:pt x="57" y="43"/>
                  </a:cubicBezTo>
                  <a:cubicBezTo>
                    <a:pt x="56" y="40"/>
                    <a:pt x="56" y="40"/>
                    <a:pt x="56" y="40"/>
                  </a:cubicBezTo>
                  <a:cubicBezTo>
                    <a:pt x="58" y="38"/>
                    <a:pt x="58" y="38"/>
                    <a:pt x="58" y="38"/>
                  </a:cubicBezTo>
                  <a:cubicBezTo>
                    <a:pt x="55" y="34"/>
                    <a:pt x="55" y="34"/>
                    <a:pt x="55" y="34"/>
                  </a:cubicBezTo>
                  <a:cubicBezTo>
                    <a:pt x="52" y="35"/>
                    <a:pt x="52" y="35"/>
                    <a:pt x="52" y="35"/>
                  </a:cubicBezTo>
                  <a:cubicBezTo>
                    <a:pt x="48" y="35"/>
                    <a:pt x="48" y="35"/>
                    <a:pt x="48" y="35"/>
                  </a:cubicBezTo>
                  <a:cubicBezTo>
                    <a:pt x="45" y="33"/>
                    <a:pt x="45" y="33"/>
                    <a:pt x="45" y="33"/>
                  </a:cubicBezTo>
                  <a:cubicBezTo>
                    <a:pt x="43" y="31"/>
                    <a:pt x="43" y="31"/>
                    <a:pt x="43" y="31"/>
                  </a:cubicBezTo>
                  <a:cubicBezTo>
                    <a:pt x="46" y="28"/>
                    <a:pt x="46" y="28"/>
                    <a:pt x="46" y="28"/>
                  </a:cubicBezTo>
                  <a:cubicBezTo>
                    <a:pt x="46" y="26"/>
                    <a:pt x="46" y="26"/>
                    <a:pt x="46" y="26"/>
                  </a:cubicBezTo>
                  <a:cubicBezTo>
                    <a:pt x="49" y="22"/>
                    <a:pt x="49" y="22"/>
                    <a:pt x="49" y="22"/>
                  </a:cubicBezTo>
                  <a:cubicBezTo>
                    <a:pt x="51" y="21"/>
                    <a:pt x="51" y="21"/>
                    <a:pt x="51" y="21"/>
                  </a:cubicBezTo>
                  <a:cubicBezTo>
                    <a:pt x="51" y="18"/>
                    <a:pt x="51" y="18"/>
                    <a:pt x="51" y="18"/>
                  </a:cubicBezTo>
                  <a:cubicBezTo>
                    <a:pt x="52" y="17"/>
                    <a:pt x="52" y="17"/>
                    <a:pt x="52" y="17"/>
                  </a:cubicBezTo>
                  <a:cubicBezTo>
                    <a:pt x="51" y="12"/>
                    <a:pt x="51" y="12"/>
                    <a:pt x="51" y="12"/>
                  </a:cubicBezTo>
                  <a:cubicBezTo>
                    <a:pt x="50" y="10"/>
                    <a:pt x="50" y="10"/>
                    <a:pt x="50" y="10"/>
                  </a:cubicBezTo>
                  <a:cubicBezTo>
                    <a:pt x="50" y="0"/>
                    <a:pt x="50" y="0"/>
                    <a:pt x="50" y="0"/>
                  </a:cubicBezTo>
                  <a:cubicBezTo>
                    <a:pt x="50" y="0"/>
                    <a:pt x="49" y="0"/>
                    <a:pt x="48" y="1"/>
                  </a:cubicBezTo>
                  <a:cubicBezTo>
                    <a:pt x="47" y="2"/>
                    <a:pt x="47" y="4"/>
                    <a:pt x="47" y="6"/>
                  </a:cubicBezTo>
                  <a:cubicBezTo>
                    <a:pt x="46" y="7"/>
                    <a:pt x="45" y="8"/>
                    <a:pt x="45" y="10"/>
                  </a:cubicBezTo>
                  <a:cubicBezTo>
                    <a:pt x="44" y="12"/>
                    <a:pt x="42" y="15"/>
                    <a:pt x="41" y="17"/>
                  </a:cubicBezTo>
                  <a:cubicBezTo>
                    <a:pt x="41" y="18"/>
                    <a:pt x="41" y="18"/>
                    <a:pt x="41" y="18"/>
                  </a:cubicBezTo>
                  <a:cubicBezTo>
                    <a:pt x="40" y="18"/>
                    <a:pt x="40" y="19"/>
                    <a:pt x="39" y="19"/>
                  </a:cubicBezTo>
                  <a:cubicBezTo>
                    <a:pt x="38" y="20"/>
                    <a:pt x="36" y="22"/>
                    <a:pt x="36" y="23"/>
                  </a:cubicBezTo>
                  <a:cubicBezTo>
                    <a:pt x="35" y="26"/>
                    <a:pt x="37" y="28"/>
                    <a:pt x="36" y="30"/>
                  </a:cubicBezTo>
                  <a:cubicBezTo>
                    <a:pt x="36" y="31"/>
                    <a:pt x="35" y="31"/>
                    <a:pt x="35" y="32"/>
                  </a:cubicBezTo>
                  <a:cubicBezTo>
                    <a:pt x="34" y="32"/>
                    <a:pt x="34" y="33"/>
                    <a:pt x="34" y="34"/>
                  </a:cubicBezTo>
                  <a:cubicBezTo>
                    <a:pt x="34" y="36"/>
                    <a:pt x="35" y="37"/>
                    <a:pt x="35" y="39"/>
                  </a:cubicBezTo>
                  <a:cubicBezTo>
                    <a:pt x="35" y="41"/>
                    <a:pt x="35" y="44"/>
                    <a:pt x="34" y="47"/>
                  </a:cubicBezTo>
                  <a:cubicBezTo>
                    <a:pt x="34" y="49"/>
                    <a:pt x="33" y="51"/>
                    <a:pt x="34" y="54"/>
                  </a:cubicBezTo>
                  <a:cubicBezTo>
                    <a:pt x="34" y="56"/>
                    <a:pt x="35" y="59"/>
                    <a:pt x="36" y="61"/>
                  </a:cubicBezTo>
                  <a:cubicBezTo>
                    <a:pt x="38" y="64"/>
                    <a:pt x="39" y="67"/>
                    <a:pt x="36" y="69"/>
                  </a:cubicBezTo>
                  <a:cubicBezTo>
                    <a:pt x="32" y="70"/>
                    <a:pt x="29" y="71"/>
                    <a:pt x="27" y="75"/>
                  </a:cubicBezTo>
                  <a:cubicBezTo>
                    <a:pt x="26" y="77"/>
                    <a:pt x="27" y="79"/>
                    <a:pt x="25" y="81"/>
                  </a:cubicBezTo>
                  <a:cubicBezTo>
                    <a:pt x="23" y="83"/>
                    <a:pt x="24" y="85"/>
                    <a:pt x="23" y="87"/>
                  </a:cubicBezTo>
                  <a:cubicBezTo>
                    <a:pt x="23" y="88"/>
                    <a:pt x="22" y="89"/>
                    <a:pt x="22" y="90"/>
                  </a:cubicBezTo>
                  <a:cubicBezTo>
                    <a:pt x="22" y="91"/>
                    <a:pt x="22" y="92"/>
                    <a:pt x="22" y="93"/>
                  </a:cubicBezTo>
                  <a:cubicBezTo>
                    <a:pt x="23" y="95"/>
                    <a:pt x="23" y="98"/>
                    <a:pt x="21" y="100"/>
                  </a:cubicBezTo>
                  <a:cubicBezTo>
                    <a:pt x="19" y="101"/>
                    <a:pt x="17" y="101"/>
                    <a:pt x="17" y="103"/>
                  </a:cubicBezTo>
                  <a:cubicBezTo>
                    <a:pt x="16" y="106"/>
                    <a:pt x="16" y="108"/>
                    <a:pt x="14" y="109"/>
                  </a:cubicBezTo>
                  <a:cubicBezTo>
                    <a:pt x="12" y="110"/>
                    <a:pt x="9" y="112"/>
                    <a:pt x="8" y="111"/>
                  </a:cubicBezTo>
                  <a:cubicBezTo>
                    <a:pt x="6" y="111"/>
                    <a:pt x="6" y="108"/>
                    <a:pt x="4" y="110"/>
                  </a:cubicBezTo>
                  <a:cubicBezTo>
                    <a:pt x="2" y="110"/>
                    <a:pt x="2" y="113"/>
                    <a:pt x="1" y="114"/>
                  </a:cubicBezTo>
                  <a:cubicBezTo>
                    <a:pt x="1" y="116"/>
                    <a:pt x="1" y="118"/>
                    <a:pt x="1" y="120"/>
                  </a:cubicBezTo>
                  <a:cubicBezTo>
                    <a:pt x="1" y="122"/>
                    <a:pt x="3" y="121"/>
                    <a:pt x="5" y="122"/>
                  </a:cubicBezTo>
                  <a:cubicBezTo>
                    <a:pt x="7" y="123"/>
                    <a:pt x="8" y="123"/>
                    <a:pt x="7" y="126"/>
                  </a:cubicBezTo>
                  <a:cubicBezTo>
                    <a:pt x="7" y="128"/>
                    <a:pt x="6" y="131"/>
                    <a:pt x="6" y="134"/>
                  </a:cubicBezTo>
                  <a:cubicBezTo>
                    <a:pt x="7" y="137"/>
                    <a:pt x="5" y="136"/>
                    <a:pt x="3" y="137"/>
                  </a:cubicBezTo>
                  <a:cubicBezTo>
                    <a:pt x="0" y="138"/>
                    <a:pt x="4" y="140"/>
                    <a:pt x="5" y="141"/>
                  </a:cubicBezTo>
                  <a:cubicBezTo>
                    <a:pt x="7" y="144"/>
                    <a:pt x="4" y="147"/>
                    <a:pt x="4" y="150"/>
                  </a:cubicBezTo>
                  <a:cubicBezTo>
                    <a:pt x="4" y="156"/>
                    <a:pt x="10" y="158"/>
                    <a:pt x="11" y="163"/>
                  </a:cubicBezTo>
                  <a:cubicBezTo>
                    <a:pt x="11" y="166"/>
                    <a:pt x="11" y="166"/>
                    <a:pt x="14" y="164"/>
                  </a:cubicBezTo>
                  <a:cubicBezTo>
                    <a:pt x="16" y="163"/>
                    <a:pt x="18" y="163"/>
                    <a:pt x="21" y="163"/>
                  </a:cubicBezTo>
                  <a:cubicBezTo>
                    <a:pt x="22" y="163"/>
                    <a:pt x="23" y="163"/>
                    <a:pt x="24" y="162"/>
                  </a:cubicBezTo>
                  <a:cubicBezTo>
                    <a:pt x="24" y="162"/>
                    <a:pt x="24" y="162"/>
                    <a:pt x="25" y="161"/>
                  </a:cubicBezTo>
                  <a:cubicBezTo>
                    <a:pt x="26" y="160"/>
                    <a:pt x="29" y="161"/>
                    <a:pt x="31" y="160"/>
                  </a:cubicBezTo>
                  <a:cubicBezTo>
                    <a:pt x="33" y="159"/>
                    <a:pt x="32" y="158"/>
                    <a:pt x="35" y="158"/>
                  </a:cubicBezTo>
                  <a:cubicBezTo>
                    <a:pt x="37" y="158"/>
                    <a:pt x="38" y="159"/>
                    <a:pt x="40" y="159"/>
                  </a:cubicBezTo>
                  <a:cubicBezTo>
                    <a:pt x="41" y="160"/>
                    <a:pt x="43" y="161"/>
                    <a:pt x="44" y="163"/>
                  </a:cubicBezTo>
                  <a:cubicBezTo>
                    <a:pt x="45" y="162"/>
                    <a:pt x="45" y="162"/>
                    <a:pt x="45" y="162"/>
                  </a:cubicBezTo>
                  <a:lnTo>
                    <a:pt x="44" y="154"/>
                  </a:ln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5" name="Freeform 19">
              <a:extLst>
                <a:ext uri="{FF2B5EF4-FFF2-40B4-BE49-F238E27FC236}">
                  <a16:creationId xmlns:a16="http://schemas.microsoft.com/office/drawing/2014/main" id="{5BCB6698-8EB4-AAEE-B55F-DE22FB839863}"/>
                </a:ext>
              </a:extLst>
            </p:cNvPr>
            <p:cNvSpPr>
              <a:spLocks noEditPoints="1"/>
            </p:cNvSpPr>
            <p:nvPr/>
          </p:nvSpPr>
          <p:spPr bwMode="auto">
            <a:xfrm>
              <a:off x="1430338" y="3614738"/>
              <a:ext cx="762000" cy="993775"/>
            </a:xfrm>
            <a:custGeom>
              <a:avLst/>
              <a:gdLst>
                <a:gd name="T0" fmla="*/ 40 w 200"/>
                <a:gd name="T1" fmla="*/ 159 h 261"/>
                <a:gd name="T2" fmla="*/ 37 w 200"/>
                <a:gd name="T3" fmla="*/ 164 h 261"/>
                <a:gd name="T4" fmla="*/ 17 w 200"/>
                <a:gd name="T5" fmla="*/ 158 h 261"/>
                <a:gd name="T6" fmla="*/ 11 w 200"/>
                <a:gd name="T7" fmla="*/ 146 h 261"/>
                <a:gd name="T8" fmla="*/ 0 w 200"/>
                <a:gd name="T9" fmla="*/ 129 h 261"/>
                <a:gd name="T10" fmla="*/ 4 w 200"/>
                <a:gd name="T11" fmla="*/ 116 h 261"/>
                <a:gd name="T12" fmla="*/ 18 w 200"/>
                <a:gd name="T13" fmla="*/ 112 h 261"/>
                <a:gd name="T14" fmla="*/ 21 w 200"/>
                <a:gd name="T15" fmla="*/ 118 h 261"/>
                <a:gd name="T16" fmla="*/ 26 w 200"/>
                <a:gd name="T17" fmla="*/ 128 h 261"/>
                <a:gd name="T18" fmla="*/ 30 w 200"/>
                <a:gd name="T19" fmla="*/ 137 h 261"/>
                <a:gd name="T20" fmla="*/ 35 w 200"/>
                <a:gd name="T21" fmla="*/ 145 h 261"/>
                <a:gd name="T22" fmla="*/ 36 w 200"/>
                <a:gd name="T23" fmla="*/ 151 h 261"/>
                <a:gd name="T24" fmla="*/ 39 w 200"/>
                <a:gd name="T25" fmla="*/ 153 h 261"/>
                <a:gd name="T26" fmla="*/ 75 w 200"/>
                <a:gd name="T27" fmla="*/ 197 h 261"/>
                <a:gd name="T28" fmla="*/ 64 w 200"/>
                <a:gd name="T29" fmla="*/ 182 h 261"/>
                <a:gd name="T30" fmla="*/ 58 w 200"/>
                <a:gd name="T31" fmla="*/ 191 h 261"/>
                <a:gd name="T32" fmla="*/ 63 w 200"/>
                <a:gd name="T33" fmla="*/ 195 h 261"/>
                <a:gd name="T34" fmla="*/ 74 w 200"/>
                <a:gd name="T35" fmla="*/ 200 h 261"/>
                <a:gd name="T36" fmla="*/ 98 w 200"/>
                <a:gd name="T37" fmla="*/ 223 h 261"/>
                <a:gd name="T38" fmla="*/ 88 w 200"/>
                <a:gd name="T39" fmla="*/ 211 h 261"/>
                <a:gd name="T40" fmla="*/ 83 w 200"/>
                <a:gd name="T41" fmla="*/ 210 h 261"/>
                <a:gd name="T42" fmla="*/ 85 w 200"/>
                <a:gd name="T43" fmla="*/ 219 h 261"/>
                <a:gd name="T44" fmla="*/ 87 w 200"/>
                <a:gd name="T45" fmla="*/ 230 h 261"/>
                <a:gd name="T46" fmla="*/ 98 w 200"/>
                <a:gd name="T47" fmla="*/ 225 h 261"/>
                <a:gd name="T48" fmla="*/ 106 w 200"/>
                <a:gd name="T49" fmla="*/ 233 h 261"/>
                <a:gd name="T50" fmla="*/ 96 w 200"/>
                <a:gd name="T51" fmla="*/ 227 h 261"/>
                <a:gd name="T52" fmla="*/ 97 w 200"/>
                <a:gd name="T53" fmla="*/ 239 h 261"/>
                <a:gd name="T54" fmla="*/ 103 w 200"/>
                <a:gd name="T55" fmla="*/ 244 h 261"/>
                <a:gd name="T56" fmla="*/ 106 w 200"/>
                <a:gd name="T57" fmla="*/ 253 h 261"/>
                <a:gd name="T58" fmla="*/ 112 w 200"/>
                <a:gd name="T59" fmla="*/ 255 h 261"/>
                <a:gd name="T60" fmla="*/ 110 w 200"/>
                <a:gd name="T61" fmla="*/ 248 h 261"/>
                <a:gd name="T62" fmla="*/ 112 w 200"/>
                <a:gd name="T63" fmla="*/ 239 h 261"/>
                <a:gd name="T64" fmla="*/ 163 w 200"/>
                <a:gd name="T65" fmla="*/ 187 h 261"/>
                <a:gd name="T66" fmla="*/ 155 w 200"/>
                <a:gd name="T67" fmla="*/ 160 h 261"/>
                <a:gd name="T68" fmla="*/ 173 w 200"/>
                <a:gd name="T69" fmla="*/ 159 h 261"/>
                <a:gd name="T70" fmla="*/ 189 w 200"/>
                <a:gd name="T71" fmla="*/ 142 h 261"/>
                <a:gd name="T72" fmla="*/ 200 w 200"/>
                <a:gd name="T73" fmla="*/ 126 h 261"/>
                <a:gd name="T74" fmla="*/ 188 w 200"/>
                <a:gd name="T75" fmla="*/ 110 h 261"/>
                <a:gd name="T76" fmla="*/ 165 w 200"/>
                <a:gd name="T77" fmla="*/ 95 h 261"/>
                <a:gd name="T78" fmla="*/ 142 w 200"/>
                <a:gd name="T79" fmla="*/ 76 h 261"/>
                <a:gd name="T80" fmla="*/ 132 w 200"/>
                <a:gd name="T81" fmla="*/ 58 h 261"/>
                <a:gd name="T82" fmla="*/ 135 w 200"/>
                <a:gd name="T83" fmla="*/ 47 h 261"/>
                <a:gd name="T84" fmla="*/ 126 w 200"/>
                <a:gd name="T85" fmla="*/ 44 h 261"/>
                <a:gd name="T86" fmla="*/ 101 w 200"/>
                <a:gd name="T87" fmla="*/ 29 h 261"/>
                <a:gd name="T88" fmla="*/ 100 w 200"/>
                <a:gd name="T89" fmla="*/ 11 h 261"/>
                <a:gd name="T90" fmla="*/ 75 w 200"/>
                <a:gd name="T91" fmla="*/ 3 h 261"/>
                <a:gd name="T92" fmla="*/ 81 w 200"/>
                <a:gd name="T93" fmla="*/ 22 h 261"/>
                <a:gd name="T94" fmla="*/ 63 w 200"/>
                <a:gd name="T95" fmla="*/ 24 h 261"/>
                <a:gd name="T96" fmla="*/ 51 w 200"/>
                <a:gd name="T97" fmla="*/ 26 h 261"/>
                <a:gd name="T98" fmla="*/ 42 w 200"/>
                <a:gd name="T99" fmla="*/ 36 h 261"/>
                <a:gd name="T100" fmla="*/ 41 w 200"/>
                <a:gd name="T101" fmla="*/ 42 h 261"/>
                <a:gd name="T102" fmla="*/ 60 w 200"/>
                <a:gd name="T103" fmla="*/ 51 h 261"/>
                <a:gd name="T104" fmla="*/ 73 w 200"/>
                <a:gd name="T105" fmla="*/ 70 h 261"/>
                <a:gd name="T106" fmla="*/ 90 w 200"/>
                <a:gd name="T107" fmla="*/ 89 h 261"/>
                <a:gd name="T108" fmla="*/ 106 w 200"/>
                <a:gd name="T109" fmla="*/ 115 h 261"/>
                <a:gd name="T110" fmla="*/ 108 w 200"/>
                <a:gd name="T111" fmla="*/ 122 h 261"/>
                <a:gd name="T112" fmla="*/ 110 w 200"/>
                <a:gd name="T113" fmla="*/ 132 h 261"/>
                <a:gd name="T114" fmla="*/ 120 w 200"/>
                <a:gd name="T115" fmla="*/ 144 h 261"/>
                <a:gd name="T116" fmla="*/ 136 w 200"/>
                <a:gd name="T117" fmla="*/ 171 h 261"/>
                <a:gd name="T118" fmla="*/ 136 w 200"/>
                <a:gd name="T119" fmla="*/ 185 h 261"/>
                <a:gd name="T120" fmla="*/ 140 w 200"/>
                <a:gd name="T121" fmla="*/ 199 h 261"/>
                <a:gd name="T122" fmla="*/ 153 w 200"/>
                <a:gd name="T123" fmla="*/ 20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 h="261">
                  <a:moveTo>
                    <a:pt x="42" y="161"/>
                  </a:moveTo>
                  <a:cubicBezTo>
                    <a:pt x="42" y="161"/>
                    <a:pt x="42" y="162"/>
                    <a:pt x="42" y="162"/>
                  </a:cubicBezTo>
                  <a:cubicBezTo>
                    <a:pt x="41" y="163"/>
                    <a:pt x="41" y="162"/>
                    <a:pt x="40" y="162"/>
                  </a:cubicBezTo>
                  <a:cubicBezTo>
                    <a:pt x="40" y="161"/>
                    <a:pt x="40" y="160"/>
                    <a:pt x="40" y="159"/>
                  </a:cubicBezTo>
                  <a:cubicBezTo>
                    <a:pt x="40" y="159"/>
                    <a:pt x="39" y="158"/>
                    <a:pt x="39" y="158"/>
                  </a:cubicBezTo>
                  <a:cubicBezTo>
                    <a:pt x="38" y="159"/>
                    <a:pt x="39" y="161"/>
                    <a:pt x="39" y="162"/>
                  </a:cubicBezTo>
                  <a:cubicBezTo>
                    <a:pt x="39" y="163"/>
                    <a:pt x="41" y="165"/>
                    <a:pt x="39" y="165"/>
                  </a:cubicBezTo>
                  <a:cubicBezTo>
                    <a:pt x="38" y="165"/>
                    <a:pt x="38" y="165"/>
                    <a:pt x="37" y="164"/>
                  </a:cubicBezTo>
                  <a:cubicBezTo>
                    <a:pt x="36" y="164"/>
                    <a:pt x="34" y="164"/>
                    <a:pt x="33" y="165"/>
                  </a:cubicBezTo>
                  <a:cubicBezTo>
                    <a:pt x="33" y="165"/>
                    <a:pt x="32" y="166"/>
                    <a:pt x="31" y="166"/>
                  </a:cubicBezTo>
                  <a:cubicBezTo>
                    <a:pt x="30" y="166"/>
                    <a:pt x="29" y="165"/>
                    <a:pt x="28" y="164"/>
                  </a:cubicBezTo>
                  <a:cubicBezTo>
                    <a:pt x="24" y="162"/>
                    <a:pt x="19" y="162"/>
                    <a:pt x="17" y="158"/>
                  </a:cubicBezTo>
                  <a:cubicBezTo>
                    <a:pt x="16" y="157"/>
                    <a:pt x="16" y="156"/>
                    <a:pt x="15" y="155"/>
                  </a:cubicBezTo>
                  <a:cubicBezTo>
                    <a:pt x="14" y="155"/>
                    <a:pt x="14" y="154"/>
                    <a:pt x="14" y="154"/>
                  </a:cubicBezTo>
                  <a:cubicBezTo>
                    <a:pt x="14" y="153"/>
                    <a:pt x="14" y="152"/>
                    <a:pt x="14" y="151"/>
                  </a:cubicBezTo>
                  <a:cubicBezTo>
                    <a:pt x="13" y="149"/>
                    <a:pt x="12" y="148"/>
                    <a:pt x="11" y="146"/>
                  </a:cubicBezTo>
                  <a:cubicBezTo>
                    <a:pt x="10" y="145"/>
                    <a:pt x="8" y="143"/>
                    <a:pt x="7" y="141"/>
                  </a:cubicBezTo>
                  <a:cubicBezTo>
                    <a:pt x="6" y="139"/>
                    <a:pt x="4" y="138"/>
                    <a:pt x="3" y="136"/>
                  </a:cubicBezTo>
                  <a:cubicBezTo>
                    <a:pt x="2" y="135"/>
                    <a:pt x="2" y="133"/>
                    <a:pt x="1" y="132"/>
                  </a:cubicBezTo>
                  <a:cubicBezTo>
                    <a:pt x="1" y="131"/>
                    <a:pt x="0" y="130"/>
                    <a:pt x="0" y="129"/>
                  </a:cubicBezTo>
                  <a:cubicBezTo>
                    <a:pt x="0" y="128"/>
                    <a:pt x="0" y="127"/>
                    <a:pt x="1" y="127"/>
                  </a:cubicBezTo>
                  <a:cubicBezTo>
                    <a:pt x="2" y="125"/>
                    <a:pt x="3" y="124"/>
                    <a:pt x="4" y="122"/>
                  </a:cubicBezTo>
                  <a:cubicBezTo>
                    <a:pt x="4" y="121"/>
                    <a:pt x="4" y="120"/>
                    <a:pt x="4" y="119"/>
                  </a:cubicBezTo>
                  <a:cubicBezTo>
                    <a:pt x="4" y="118"/>
                    <a:pt x="4" y="116"/>
                    <a:pt x="4" y="116"/>
                  </a:cubicBezTo>
                  <a:cubicBezTo>
                    <a:pt x="4" y="115"/>
                    <a:pt x="5" y="114"/>
                    <a:pt x="6" y="114"/>
                  </a:cubicBezTo>
                  <a:cubicBezTo>
                    <a:pt x="7" y="114"/>
                    <a:pt x="9" y="114"/>
                    <a:pt x="10" y="114"/>
                  </a:cubicBezTo>
                  <a:cubicBezTo>
                    <a:pt x="12" y="114"/>
                    <a:pt x="14" y="114"/>
                    <a:pt x="15" y="113"/>
                  </a:cubicBezTo>
                  <a:cubicBezTo>
                    <a:pt x="16" y="113"/>
                    <a:pt x="18" y="111"/>
                    <a:pt x="18" y="112"/>
                  </a:cubicBezTo>
                  <a:cubicBezTo>
                    <a:pt x="18" y="113"/>
                    <a:pt x="18" y="113"/>
                    <a:pt x="19" y="114"/>
                  </a:cubicBezTo>
                  <a:cubicBezTo>
                    <a:pt x="19" y="114"/>
                    <a:pt x="19" y="114"/>
                    <a:pt x="20" y="114"/>
                  </a:cubicBezTo>
                  <a:cubicBezTo>
                    <a:pt x="21" y="115"/>
                    <a:pt x="21" y="115"/>
                    <a:pt x="21" y="116"/>
                  </a:cubicBezTo>
                  <a:cubicBezTo>
                    <a:pt x="21" y="116"/>
                    <a:pt x="21" y="117"/>
                    <a:pt x="21" y="118"/>
                  </a:cubicBezTo>
                  <a:cubicBezTo>
                    <a:pt x="20" y="119"/>
                    <a:pt x="20" y="120"/>
                    <a:pt x="21" y="121"/>
                  </a:cubicBezTo>
                  <a:cubicBezTo>
                    <a:pt x="21" y="122"/>
                    <a:pt x="22" y="122"/>
                    <a:pt x="22" y="123"/>
                  </a:cubicBezTo>
                  <a:cubicBezTo>
                    <a:pt x="23" y="123"/>
                    <a:pt x="24" y="124"/>
                    <a:pt x="24" y="125"/>
                  </a:cubicBezTo>
                  <a:cubicBezTo>
                    <a:pt x="25" y="126"/>
                    <a:pt x="26" y="127"/>
                    <a:pt x="26" y="128"/>
                  </a:cubicBezTo>
                  <a:cubicBezTo>
                    <a:pt x="26" y="129"/>
                    <a:pt x="26" y="130"/>
                    <a:pt x="26" y="130"/>
                  </a:cubicBezTo>
                  <a:cubicBezTo>
                    <a:pt x="26" y="131"/>
                    <a:pt x="27" y="131"/>
                    <a:pt x="27" y="131"/>
                  </a:cubicBezTo>
                  <a:cubicBezTo>
                    <a:pt x="28" y="133"/>
                    <a:pt x="27" y="134"/>
                    <a:pt x="28" y="135"/>
                  </a:cubicBezTo>
                  <a:cubicBezTo>
                    <a:pt x="29" y="136"/>
                    <a:pt x="29" y="136"/>
                    <a:pt x="30" y="137"/>
                  </a:cubicBezTo>
                  <a:cubicBezTo>
                    <a:pt x="30" y="138"/>
                    <a:pt x="30" y="138"/>
                    <a:pt x="30" y="139"/>
                  </a:cubicBezTo>
                  <a:cubicBezTo>
                    <a:pt x="30" y="140"/>
                    <a:pt x="31" y="141"/>
                    <a:pt x="31" y="141"/>
                  </a:cubicBezTo>
                  <a:cubicBezTo>
                    <a:pt x="33" y="141"/>
                    <a:pt x="33" y="141"/>
                    <a:pt x="34" y="142"/>
                  </a:cubicBezTo>
                  <a:cubicBezTo>
                    <a:pt x="34" y="143"/>
                    <a:pt x="35" y="144"/>
                    <a:pt x="35" y="145"/>
                  </a:cubicBezTo>
                  <a:cubicBezTo>
                    <a:pt x="34" y="146"/>
                    <a:pt x="33" y="144"/>
                    <a:pt x="32" y="144"/>
                  </a:cubicBezTo>
                  <a:cubicBezTo>
                    <a:pt x="31" y="145"/>
                    <a:pt x="34" y="147"/>
                    <a:pt x="35" y="147"/>
                  </a:cubicBezTo>
                  <a:cubicBezTo>
                    <a:pt x="35" y="148"/>
                    <a:pt x="36" y="148"/>
                    <a:pt x="36" y="149"/>
                  </a:cubicBezTo>
                  <a:cubicBezTo>
                    <a:pt x="37" y="150"/>
                    <a:pt x="35" y="150"/>
                    <a:pt x="36" y="151"/>
                  </a:cubicBezTo>
                  <a:cubicBezTo>
                    <a:pt x="37" y="152"/>
                    <a:pt x="37" y="152"/>
                    <a:pt x="37" y="152"/>
                  </a:cubicBezTo>
                  <a:cubicBezTo>
                    <a:pt x="37" y="152"/>
                    <a:pt x="37" y="152"/>
                    <a:pt x="37" y="152"/>
                  </a:cubicBezTo>
                  <a:cubicBezTo>
                    <a:pt x="38" y="153"/>
                    <a:pt x="37" y="153"/>
                    <a:pt x="38" y="154"/>
                  </a:cubicBezTo>
                  <a:cubicBezTo>
                    <a:pt x="38" y="154"/>
                    <a:pt x="39" y="153"/>
                    <a:pt x="39" y="153"/>
                  </a:cubicBezTo>
                  <a:cubicBezTo>
                    <a:pt x="40" y="153"/>
                    <a:pt x="41" y="155"/>
                    <a:pt x="41" y="156"/>
                  </a:cubicBezTo>
                  <a:cubicBezTo>
                    <a:pt x="42" y="157"/>
                    <a:pt x="42" y="159"/>
                    <a:pt x="42" y="161"/>
                  </a:cubicBezTo>
                  <a:close/>
                  <a:moveTo>
                    <a:pt x="76" y="198"/>
                  </a:moveTo>
                  <a:cubicBezTo>
                    <a:pt x="75" y="198"/>
                    <a:pt x="75" y="197"/>
                    <a:pt x="75" y="197"/>
                  </a:cubicBezTo>
                  <a:cubicBezTo>
                    <a:pt x="73" y="196"/>
                    <a:pt x="72" y="195"/>
                    <a:pt x="71" y="194"/>
                  </a:cubicBezTo>
                  <a:cubicBezTo>
                    <a:pt x="70" y="193"/>
                    <a:pt x="69" y="192"/>
                    <a:pt x="69" y="190"/>
                  </a:cubicBezTo>
                  <a:cubicBezTo>
                    <a:pt x="67" y="188"/>
                    <a:pt x="67" y="186"/>
                    <a:pt x="67" y="183"/>
                  </a:cubicBezTo>
                  <a:cubicBezTo>
                    <a:pt x="66" y="183"/>
                    <a:pt x="65" y="182"/>
                    <a:pt x="64" y="182"/>
                  </a:cubicBezTo>
                  <a:cubicBezTo>
                    <a:pt x="63" y="181"/>
                    <a:pt x="61" y="180"/>
                    <a:pt x="59" y="180"/>
                  </a:cubicBezTo>
                  <a:cubicBezTo>
                    <a:pt x="58" y="181"/>
                    <a:pt x="58" y="183"/>
                    <a:pt x="58" y="184"/>
                  </a:cubicBezTo>
                  <a:cubicBezTo>
                    <a:pt x="58" y="186"/>
                    <a:pt x="59" y="188"/>
                    <a:pt x="57" y="187"/>
                  </a:cubicBezTo>
                  <a:cubicBezTo>
                    <a:pt x="57" y="188"/>
                    <a:pt x="57" y="190"/>
                    <a:pt x="58" y="191"/>
                  </a:cubicBezTo>
                  <a:cubicBezTo>
                    <a:pt x="59" y="191"/>
                    <a:pt x="60" y="191"/>
                    <a:pt x="61" y="192"/>
                  </a:cubicBezTo>
                  <a:cubicBezTo>
                    <a:pt x="60" y="193"/>
                    <a:pt x="60" y="193"/>
                    <a:pt x="60" y="193"/>
                  </a:cubicBezTo>
                  <a:cubicBezTo>
                    <a:pt x="60" y="194"/>
                    <a:pt x="60" y="196"/>
                    <a:pt x="62" y="195"/>
                  </a:cubicBezTo>
                  <a:cubicBezTo>
                    <a:pt x="62" y="195"/>
                    <a:pt x="62" y="195"/>
                    <a:pt x="63" y="195"/>
                  </a:cubicBezTo>
                  <a:cubicBezTo>
                    <a:pt x="63" y="195"/>
                    <a:pt x="64" y="195"/>
                    <a:pt x="64" y="195"/>
                  </a:cubicBezTo>
                  <a:cubicBezTo>
                    <a:pt x="66" y="196"/>
                    <a:pt x="67" y="197"/>
                    <a:pt x="69" y="198"/>
                  </a:cubicBezTo>
                  <a:cubicBezTo>
                    <a:pt x="70" y="199"/>
                    <a:pt x="71" y="198"/>
                    <a:pt x="72" y="199"/>
                  </a:cubicBezTo>
                  <a:cubicBezTo>
                    <a:pt x="72" y="199"/>
                    <a:pt x="73" y="200"/>
                    <a:pt x="74" y="200"/>
                  </a:cubicBezTo>
                  <a:cubicBezTo>
                    <a:pt x="74" y="201"/>
                    <a:pt x="74" y="201"/>
                    <a:pt x="75" y="202"/>
                  </a:cubicBezTo>
                  <a:cubicBezTo>
                    <a:pt x="77" y="202"/>
                    <a:pt x="76" y="201"/>
                    <a:pt x="76" y="200"/>
                  </a:cubicBezTo>
                  <a:cubicBezTo>
                    <a:pt x="76" y="200"/>
                    <a:pt x="76" y="199"/>
                    <a:pt x="76" y="198"/>
                  </a:cubicBezTo>
                  <a:close/>
                  <a:moveTo>
                    <a:pt x="98" y="223"/>
                  </a:moveTo>
                  <a:cubicBezTo>
                    <a:pt x="98" y="222"/>
                    <a:pt x="98" y="221"/>
                    <a:pt x="98" y="221"/>
                  </a:cubicBezTo>
                  <a:cubicBezTo>
                    <a:pt x="97" y="219"/>
                    <a:pt x="96" y="218"/>
                    <a:pt x="95" y="216"/>
                  </a:cubicBezTo>
                  <a:cubicBezTo>
                    <a:pt x="94" y="215"/>
                    <a:pt x="93" y="215"/>
                    <a:pt x="91" y="214"/>
                  </a:cubicBezTo>
                  <a:cubicBezTo>
                    <a:pt x="90" y="214"/>
                    <a:pt x="89" y="212"/>
                    <a:pt x="88" y="211"/>
                  </a:cubicBezTo>
                  <a:cubicBezTo>
                    <a:pt x="87" y="211"/>
                    <a:pt x="87" y="210"/>
                    <a:pt x="87" y="209"/>
                  </a:cubicBezTo>
                  <a:cubicBezTo>
                    <a:pt x="86" y="209"/>
                    <a:pt x="86" y="209"/>
                    <a:pt x="85" y="208"/>
                  </a:cubicBezTo>
                  <a:cubicBezTo>
                    <a:pt x="84" y="209"/>
                    <a:pt x="84" y="208"/>
                    <a:pt x="83" y="209"/>
                  </a:cubicBezTo>
                  <a:cubicBezTo>
                    <a:pt x="83" y="210"/>
                    <a:pt x="83" y="210"/>
                    <a:pt x="83" y="210"/>
                  </a:cubicBezTo>
                  <a:cubicBezTo>
                    <a:pt x="83" y="211"/>
                    <a:pt x="83" y="211"/>
                    <a:pt x="83" y="212"/>
                  </a:cubicBezTo>
                  <a:cubicBezTo>
                    <a:pt x="82" y="213"/>
                    <a:pt x="83" y="213"/>
                    <a:pt x="83" y="213"/>
                  </a:cubicBezTo>
                  <a:cubicBezTo>
                    <a:pt x="84" y="214"/>
                    <a:pt x="84" y="215"/>
                    <a:pt x="84" y="216"/>
                  </a:cubicBezTo>
                  <a:cubicBezTo>
                    <a:pt x="83" y="217"/>
                    <a:pt x="84" y="218"/>
                    <a:pt x="85" y="219"/>
                  </a:cubicBezTo>
                  <a:cubicBezTo>
                    <a:pt x="86" y="220"/>
                    <a:pt x="86" y="222"/>
                    <a:pt x="85" y="223"/>
                  </a:cubicBezTo>
                  <a:cubicBezTo>
                    <a:pt x="85" y="224"/>
                    <a:pt x="84" y="225"/>
                    <a:pt x="84" y="225"/>
                  </a:cubicBezTo>
                  <a:cubicBezTo>
                    <a:pt x="84" y="226"/>
                    <a:pt x="85" y="226"/>
                    <a:pt x="85" y="227"/>
                  </a:cubicBezTo>
                  <a:cubicBezTo>
                    <a:pt x="85" y="228"/>
                    <a:pt x="85" y="230"/>
                    <a:pt x="87" y="230"/>
                  </a:cubicBezTo>
                  <a:cubicBezTo>
                    <a:pt x="88" y="230"/>
                    <a:pt x="87" y="228"/>
                    <a:pt x="89" y="228"/>
                  </a:cubicBezTo>
                  <a:cubicBezTo>
                    <a:pt x="90" y="228"/>
                    <a:pt x="92" y="228"/>
                    <a:pt x="93" y="228"/>
                  </a:cubicBezTo>
                  <a:cubicBezTo>
                    <a:pt x="94" y="228"/>
                    <a:pt x="94" y="227"/>
                    <a:pt x="95" y="226"/>
                  </a:cubicBezTo>
                  <a:cubicBezTo>
                    <a:pt x="95" y="226"/>
                    <a:pt x="97" y="226"/>
                    <a:pt x="98" y="225"/>
                  </a:cubicBezTo>
                  <a:cubicBezTo>
                    <a:pt x="98" y="225"/>
                    <a:pt x="99" y="224"/>
                    <a:pt x="98" y="223"/>
                  </a:cubicBezTo>
                  <a:close/>
                  <a:moveTo>
                    <a:pt x="112" y="239"/>
                  </a:moveTo>
                  <a:cubicBezTo>
                    <a:pt x="111" y="239"/>
                    <a:pt x="111" y="238"/>
                    <a:pt x="110" y="237"/>
                  </a:cubicBezTo>
                  <a:cubicBezTo>
                    <a:pt x="109" y="236"/>
                    <a:pt x="108" y="234"/>
                    <a:pt x="106" y="233"/>
                  </a:cubicBezTo>
                  <a:cubicBezTo>
                    <a:pt x="105" y="232"/>
                    <a:pt x="105" y="232"/>
                    <a:pt x="104" y="231"/>
                  </a:cubicBezTo>
                  <a:cubicBezTo>
                    <a:pt x="104" y="231"/>
                    <a:pt x="103" y="230"/>
                    <a:pt x="103" y="230"/>
                  </a:cubicBezTo>
                  <a:cubicBezTo>
                    <a:pt x="101" y="229"/>
                    <a:pt x="102" y="227"/>
                    <a:pt x="100" y="226"/>
                  </a:cubicBezTo>
                  <a:cubicBezTo>
                    <a:pt x="99" y="226"/>
                    <a:pt x="97" y="226"/>
                    <a:pt x="96" y="227"/>
                  </a:cubicBezTo>
                  <a:cubicBezTo>
                    <a:pt x="96" y="228"/>
                    <a:pt x="96" y="230"/>
                    <a:pt x="97" y="231"/>
                  </a:cubicBezTo>
                  <a:cubicBezTo>
                    <a:pt x="97" y="232"/>
                    <a:pt x="98" y="234"/>
                    <a:pt x="98" y="235"/>
                  </a:cubicBezTo>
                  <a:cubicBezTo>
                    <a:pt x="97" y="236"/>
                    <a:pt x="97" y="236"/>
                    <a:pt x="97" y="237"/>
                  </a:cubicBezTo>
                  <a:cubicBezTo>
                    <a:pt x="97" y="238"/>
                    <a:pt x="97" y="238"/>
                    <a:pt x="97" y="239"/>
                  </a:cubicBezTo>
                  <a:cubicBezTo>
                    <a:pt x="98" y="240"/>
                    <a:pt x="98" y="240"/>
                    <a:pt x="98" y="241"/>
                  </a:cubicBezTo>
                  <a:cubicBezTo>
                    <a:pt x="98" y="241"/>
                    <a:pt x="99" y="242"/>
                    <a:pt x="99" y="242"/>
                  </a:cubicBezTo>
                  <a:cubicBezTo>
                    <a:pt x="100" y="243"/>
                    <a:pt x="100" y="244"/>
                    <a:pt x="101" y="244"/>
                  </a:cubicBezTo>
                  <a:cubicBezTo>
                    <a:pt x="102" y="245"/>
                    <a:pt x="102" y="244"/>
                    <a:pt x="103" y="244"/>
                  </a:cubicBezTo>
                  <a:cubicBezTo>
                    <a:pt x="103" y="244"/>
                    <a:pt x="104" y="245"/>
                    <a:pt x="105" y="246"/>
                  </a:cubicBezTo>
                  <a:cubicBezTo>
                    <a:pt x="105" y="246"/>
                    <a:pt x="105" y="247"/>
                    <a:pt x="106" y="248"/>
                  </a:cubicBezTo>
                  <a:cubicBezTo>
                    <a:pt x="106" y="249"/>
                    <a:pt x="106" y="251"/>
                    <a:pt x="106" y="252"/>
                  </a:cubicBezTo>
                  <a:cubicBezTo>
                    <a:pt x="106" y="252"/>
                    <a:pt x="105" y="253"/>
                    <a:pt x="106" y="253"/>
                  </a:cubicBezTo>
                  <a:cubicBezTo>
                    <a:pt x="106" y="254"/>
                    <a:pt x="107" y="254"/>
                    <a:pt x="107" y="254"/>
                  </a:cubicBezTo>
                  <a:cubicBezTo>
                    <a:pt x="109" y="255"/>
                    <a:pt x="109" y="256"/>
                    <a:pt x="110" y="257"/>
                  </a:cubicBezTo>
                  <a:cubicBezTo>
                    <a:pt x="110" y="258"/>
                    <a:pt x="112" y="261"/>
                    <a:pt x="113" y="259"/>
                  </a:cubicBezTo>
                  <a:cubicBezTo>
                    <a:pt x="113" y="259"/>
                    <a:pt x="113" y="256"/>
                    <a:pt x="112" y="255"/>
                  </a:cubicBezTo>
                  <a:cubicBezTo>
                    <a:pt x="111" y="254"/>
                    <a:pt x="110" y="254"/>
                    <a:pt x="109" y="253"/>
                  </a:cubicBezTo>
                  <a:cubicBezTo>
                    <a:pt x="109" y="252"/>
                    <a:pt x="110" y="251"/>
                    <a:pt x="110" y="250"/>
                  </a:cubicBezTo>
                  <a:cubicBezTo>
                    <a:pt x="109" y="249"/>
                    <a:pt x="109" y="249"/>
                    <a:pt x="109" y="249"/>
                  </a:cubicBezTo>
                  <a:cubicBezTo>
                    <a:pt x="108" y="248"/>
                    <a:pt x="110" y="248"/>
                    <a:pt x="110" y="248"/>
                  </a:cubicBezTo>
                  <a:cubicBezTo>
                    <a:pt x="112" y="248"/>
                    <a:pt x="113" y="248"/>
                    <a:pt x="113" y="247"/>
                  </a:cubicBezTo>
                  <a:cubicBezTo>
                    <a:pt x="113" y="245"/>
                    <a:pt x="113" y="244"/>
                    <a:pt x="113" y="243"/>
                  </a:cubicBezTo>
                  <a:cubicBezTo>
                    <a:pt x="113" y="242"/>
                    <a:pt x="113" y="241"/>
                    <a:pt x="113" y="241"/>
                  </a:cubicBezTo>
                  <a:cubicBezTo>
                    <a:pt x="113" y="240"/>
                    <a:pt x="113" y="240"/>
                    <a:pt x="112" y="239"/>
                  </a:cubicBezTo>
                  <a:close/>
                  <a:moveTo>
                    <a:pt x="153" y="204"/>
                  </a:moveTo>
                  <a:cubicBezTo>
                    <a:pt x="155" y="203"/>
                    <a:pt x="156" y="202"/>
                    <a:pt x="157" y="201"/>
                  </a:cubicBezTo>
                  <a:cubicBezTo>
                    <a:pt x="158" y="200"/>
                    <a:pt x="160" y="199"/>
                    <a:pt x="161" y="198"/>
                  </a:cubicBezTo>
                  <a:cubicBezTo>
                    <a:pt x="163" y="195"/>
                    <a:pt x="163" y="190"/>
                    <a:pt x="163" y="187"/>
                  </a:cubicBezTo>
                  <a:cubicBezTo>
                    <a:pt x="162" y="182"/>
                    <a:pt x="158" y="180"/>
                    <a:pt x="156" y="175"/>
                  </a:cubicBezTo>
                  <a:cubicBezTo>
                    <a:pt x="155" y="174"/>
                    <a:pt x="155" y="173"/>
                    <a:pt x="156" y="172"/>
                  </a:cubicBezTo>
                  <a:cubicBezTo>
                    <a:pt x="156" y="170"/>
                    <a:pt x="156" y="169"/>
                    <a:pt x="155" y="168"/>
                  </a:cubicBezTo>
                  <a:cubicBezTo>
                    <a:pt x="155" y="165"/>
                    <a:pt x="153" y="162"/>
                    <a:pt x="155" y="160"/>
                  </a:cubicBezTo>
                  <a:cubicBezTo>
                    <a:pt x="157" y="161"/>
                    <a:pt x="157" y="159"/>
                    <a:pt x="158" y="159"/>
                  </a:cubicBezTo>
                  <a:cubicBezTo>
                    <a:pt x="159" y="159"/>
                    <a:pt x="160" y="159"/>
                    <a:pt x="161" y="160"/>
                  </a:cubicBezTo>
                  <a:cubicBezTo>
                    <a:pt x="163" y="161"/>
                    <a:pt x="164" y="160"/>
                    <a:pt x="166" y="159"/>
                  </a:cubicBezTo>
                  <a:cubicBezTo>
                    <a:pt x="168" y="159"/>
                    <a:pt x="170" y="159"/>
                    <a:pt x="173" y="159"/>
                  </a:cubicBezTo>
                  <a:cubicBezTo>
                    <a:pt x="177" y="160"/>
                    <a:pt x="178" y="156"/>
                    <a:pt x="181" y="152"/>
                  </a:cubicBezTo>
                  <a:cubicBezTo>
                    <a:pt x="182" y="151"/>
                    <a:pt x="183" y="149"/>
                    <a:pt x="185" y="148"/>
                  </a:cubicBezTo>
                  <a:cubicBezTo>
                    <a:pt x="186" y="147"/>
                    <a:pt x="189" y="146"/>
                    <a:pt x="189" y="145"/>
                  </a:cubicBezTo>
                  <a:cubicBezTo>
                    <a:pt x="190" y="144"/>
                    <a:pt x="189" y="143"/>
                    <a:pt x="189" y="142"/>
                  </a:cubicBezTo>
                  <a:cubicBezTo>
                    <a:pt x="189" y="141"/>
                    <a:pt x="190" y="140"/>
                    <a:pt x="190" y="139"/>
                  </a:cubicBezTo>
                  <a:cubicBezTo>
                    <a:pt x="190" y="137"/>
                    <a:pt x="188" y="136"/>
                    <a:pt x="189" y="134"/>
                  </a:cubicBezTo>
                  <a:cubicBezTo>
                    <a:pt x="190" y="130"/>
                    <a:pt x="193" y="131"/>
                    <a:pt x="196" y="130"/>
                  </a:cubicBezTo>
                  <a:cubicBezTo>
                    <a:pt x="197" y="129"/>
                    <a:pt x="200" y="127"/>
                    <a:pt x="200" y="126"/>
                  </a:cubicBezTo>
                  <a:cubicBezTo>
                    <a:pt x="199" y="124"/>
                    <a:pt x="197" y="124"/>
                    <a:pt x="197" y="122"/>
                  </a:cubicBezTo>
                  <a:cubicBezTo>
                    <a:pt x="196" y="120"/>
                    <a:pt x="197" y="118"/>
                    <a:pt x="197" y="116"/>
                  </a:cubicBezTo>
                  <a:cubicBezTo>
                    <a:pt x="194" y="116"/>
                    <a:pt x="191" y="116"/>
                    <a:pt x="189" y="114"/>
                  </a:cubicBezTo>
                  <a:cubicBezTo>
                    <a:pt x="188" y="112"/>
                    <a:pt x="189" y="111"/>
                    <a:pt x="188" y="110"/>
                  </a:cubicBezTo>
                  <a:cubicBezTo>
                    <a:pt x="188" y="109"/>
                    <a:pt x="186" y="108"/>
                    <a:pt x="186" y="108"/>
                  </a:cubicBezTo>
                  <a:cubicBezTo>
                    <a:pt x="183" y="106"/>
                    <a:pt x="180" y="107"/>
                    <a:pt x="177" y="106"/>
                  </a:cubicBezTo>
                  <a:cubicBezTo>
                    <a:pt x="174" y="105"/>
                    <a:pt x="173" y="102"/>
                    <a:pt x="171" y="100"/>
                  </a:cubicBezTo>
                  <a:cubicBezTo>
                    <a:pt x="169" y="98"/>
                    <a:pt x="167" y="96"/>
                    <a:pt x="165" y="95"/>
                  </a:cubicBezTo>
                  <a:cubicBezTo>
                    <a:pt x="161" y="94"/>
                    <a:pt x="157" y="91"/>
                    <a:pt x="154" y="88"/>
                  </a:cubicBezTo>
                  <a:cubicBezTo>
                    <a:pt x="152" y="87"/>
                    <a:pt x="150" y="85"/>
                    <a:pt x="149" y="83"/>
                  </a:cubicBezTo>
                  <a:cubicBezTo>
                    <a:pt x="148" y="81"/>
                    <a:pt x="149" y="79"/>
                    <a:pt x="147" y="77"/>
                  </a:cubicBezTo>
                  <a:cubicBezTo>
                    <a:pt x="146" y="74"/>
                    <a:pt x="144" y="75"/>
                    <a:pt x="142" y="76"/>
                  </a:cubicBezTo>
                  <a:cubicBezTo>
                    <a:pt x="140" y="77"/>
                    <a:pt x="138" y="78"/>
                    <a:pt x="137" y="76"/>
                  </a:cubicBezTo>
                  <a:cubicBezTo>
                    <a:pt x="136" y="73"/>
                    <a:pt x="134" y="72"/>
                    <a:pt x="133" y="70"/>
                  </a:cubicBezTo>
                  <a:cubicBezTo>
                    <a:pt x="132" y="68"/>
                    <a:pt x="132" y="66"/>
                    <a:pt x="131" y="64"/>
                  </a:cubicBezTo>
                  <a:cubicBezTo>
                    <a:pt x="132" y="62"/>
                    <a:pt x="130" y="60"/>
                    <a:pt x="132" y="58"/>
                  </a:cubicBezTo>
                  <a:cubicBezTo>
                    <a:pt x="133" y="57"/>
                    <a:pt x="135" y="58"/>
                    <a:pt x="136" y="56"/>
                  </a:cubicBezTo>
                  <a:cubicBezTo>
                    <a:pt x="137" y="55"/>
                    <a:pt x="136" y="53"/>
                    <a:pt x="134" y="53"/>
                  </a:cubicBezTo>
                  <a:cubicBezTo>
                    <a:pt x="133" y="52"/>
                    <a:pt x="132" y="52"/>
                    <a:pt x="132" y="50"/>
                  </a:cubicBezTo>
                  <a:cubicBezTo>
                    <a:pt x="132" y="48"/>
                    <a:pt x="134" y="48"/>
                    <a:pt x="135" y="47"/>
                  </a:cubicBezTo>
                  <a:cubicBezTo>
                    <a:pt x="136" y="46"/>
                    <a:pt x="136" y="45"/>
                    <a:pt x="136" y="43"/>
                  </a:cubicBezTo>
                  <a:cubicBezTo>
                    <a:pt x="135" y="41"/>
                    <a:pt x="135" y="41"/>
                    <a:pt x="132" y="41"/>
                  </a:cubicBezTo>
                  <a:cubicBezTo>
                    <a:pt x="131" y="41"/>
                    <a:pt x="129" y="41"/>
                    <a:pt x="128" y="42"/>
                  </a:cubicBezTo>
                  <a:cubicBezTo>
                    <a:pt x="127" y="42"/>
                    <a:pt x="127" y="43"/>
                    <a:pt x="126" y="44"/>
                  </a:cubicBezTo>
                  <a:cubicBezTo>
                    <a:pt x="124" y="44"/>
                    <a:pt x="122" y="41"/>
                    <a:pt x="121" y="40"/>
                  </a:cubicBezTo>
                  <a:cubicBezTo>
                    <a:pt x="120" y="38"/>
                    <a:pt x="118" y="36"/>
                    <a:pt x="116" y="34"/>
                  </a:cubicBezTo>
                  <a:cubicBezTo>
                    <a:pt x="115" y="33"/>
                    <a:pt x="115" y="31"/>
                    <a:pt x="113" y="31"/>
                  </a:cubicBezTo>
                  <a:cubicBezTo>
                    <a:pt x="110" y="30"/>
                    <a:pt x="102" y="34"/>
                    <a:pt x="101" y="29"/>
                  </a:cubicBezTo>
                  <a:cubicBezTo>
                    <a:pt x="100" y="28"/>
                    <a:pt x="101" y="26"/>
                    <a:pt x="101" y="25"/>
                  </a:cubicBezTo>
                  <a:cubicBezTo>
                    <a:pt x="100" y="22"/>
                    <a:pt x="97" y="24"/>
                    <a:pt x="96" y="22"/>
                  </a:cubicBezTo>
                  <a:cubicBezTo>
                    <a:pt x="95" y="19"/>
                    <a:pt x="97" y="16"/>
                    <a:pt x="99" y="14"/>
                  </a:cubicBezTo>
                  <a:cubicBezTo>
                    <a:pt x="100" y="13"/>
                    <a:pt x="101" y="13"/>
                    <a:pt x="100" y="11"/>
                  </a:cubicBezTo>
                  <a:cubicBezTo>
                    <a:pt x="99" y="10"/>
                    <a:pt x="97" y="10"/>
                    <a:pt x="96" y="9"/>
                  </a:cubicBezTo>
                  <a:cubicBezTo>
                    <a:pt x="93" y="8"/>
                    <a:pt x="91" y="7"/>
                    <a:pt x="88" y="7"/>
                  </a:cubicBezTo>
                  <a:cubicBezTo>
                    <a:pt x="87" y="6"/>
                    <a:pt x="84" y="5"/>
                    <a:pt x="83" y="4"/>
                  </a:cubicBezTo>
                  <a:cubicBezTo>
                    <a:pt x="81" y="3"/>
                    <a:pt x="78" y="0"/>
                    <a:pt x="75" y="3"/>
                  </a:cubicBezTo>
                  <a:cubicBezTo>
                    <a:pt x="75" y="4"/>
                    <a:pt x="75" y="6"/>
                    <a:pt x="75" y="7"/>
                  </a:cubicBezTo>
                  <a:cubicBezTo>
                    <a:pt x="75" y="9"/>
                    <a:pt x="74" y="10"/>
                    <a:pt x="74" y="11"/>
                  </a:cubicBezTo>
                  <a:cubicBezTo>
                    <a:pt x="74" y="14"/>
                    <a:pt x="77" y="15"/>
                    <a:pt x="79" y="16"/>
                  </a:cubicBezTo>
                  <a:cubicBezTo>
                    <a:pt x="81" y="17"/>
                    <a:pt x="80" y="19"/>
                    <a:pt x="81" y="22"/>
                  </a:cubicBezTo>
                  <a:cubicBezTo>
                    <a:pt x="82" y="23"/>
                    <a:pt x="82" y="25"/>
                    <a:pt x="80" y="27"/>
                  </a:cubicBezTo>
                  <a:cubicBezTo>
                    <a:pt x="78" y="28"/>
                    <a:pt x="76" y="27"/>
                    <a:pt x="74" y="27"/>
                  </a:cubicBezTo>
                  <a:cubicBezTo>
                    <a:pt x="71" y="27"/>
                    <a:pt x="69" y="30"/>
                    <a:pt x="67" y="28"/>
                  </a:cubicBezTo>
                  <a:cubicBezTo>
                    <a:pt x="65" y="26"/>
                    <a:pt x="65" y="24"/>
                    <a:pt x="63" y="24"/>
                  </a:cubicBezTo>
                  <a:cubicBezTo>
                    <a:pt x="61" y="23"/>
                    <a:pt x="60" y="25"/>
                    <a:pt x="58" y="25"/>
                  </a:cubicBezTo>
                  <a:cubicBezTo>
                    <a:pt x="58" y="24"/>
                    <a:pt x="58" y="24"/>
                    <a:pt x="58" y="24"/>
                  </a:cubicBezTo>
                  <a:cubicBezTo>
                    <a:pt x="56" y="24"/>
                    <a:pt x="56" y="22"/>
                    <a:pt x="54" y="23"/>
                  </a:cubicBezTo>
                  <a:cubicBezTo>
                    <a:pt x="53" y="24"/>
                    <a:pt x="53" y="25"/>
                    <a:pt x="51" y="26"/>
                  </a:cubicBezTo>
                  <a:cubicBezTo>
                    <a:pt x="50" y="27"/>
                    <a:pt x="49" y="26"/>
                    <a:pt x="48" y="28"/>
                  </a:cubicBezTo>
                  <a:cubicBezTo>
                    <a:pt x="47" y="29"/>
                    <a:pt x="47" y="30"/>
                    <a:pt x="46" y="31"/>
                  </a:cubicBezTo>
                  <a:cubicBezTo>
                    <a:pt x="45" y="32"/>
                    <a:pt x="45" y="33"/>
                    <a:pt x="45" y="34"/>
                  </a:cubicBezTo>
                  <a:cubicBezTo>
                    <a:pt x="44" y="36"/>
                    <a:pt x="44" y="36"/>
                    <a:pt x="42" y="36"/>
                  </a:cubicBezTo>
                  <a:cubicBezTo>
                    <a:pt x="38" y="36"/>
                    <a:pt x="38" y="38"/>
                    <a:pt x="36" y="40"/>
                  </a:cubicBezTo>
                  <a:cubicBezTo>
                    <a:pt x="35" y="40"/>
                    <a:pt x="35" y="41"/>
                    <a:pt x="34" y="41"/>
                  </a:cubicBezTo>
                  <a:cubicBezTo>
                    <a:pt x="35" y="42"/>
                    <a:pt x="35" y="42"/>
                    <a:pt x="36" y="42"/>
                  </a:cubicBezTo>
                  <a:cubicBezTo>
                    <a:pt x="38" y="43"/>
                    <a:pt x="40" y="43"/>
                    <a:pt x="41" y="42"/>
                  </a:cubicBezTo>
                  <a:cubicBezTo>
                    <a:pt x="42" y="41"/>
                    <a:pt x="44" y="41"/>
                    <a:pt x="45" y="41"/>
                  </a:cubicBezTo>
                  <a:cubicBezTo>
                    <a:pt x="46" y="41"/>
                    <a:pt x="48" y="45"/>
                    <a:pt x="49" y="46"/>
                  </a:cubicBezTo>
                  <a:cubicBezTo>
                    <a:pt x="49" y="47"/>
                    <a:pt x="50" y="47"/>
                    <a:pt x="54" y="48"/>
                  </a:cubicBezTo>
                  <a:cubicBezTo>
                    <a:pt x="57" y="49"/>
                    <a:pt x="59" y="50"/>
                    <a:pt x="60" y="51"/>
                  </a:cubicBezTo>
                  <a:cubicBezTo>
                    <a:pt x="62" y="51"/>
                    <a:pt x="65" y="55"/>
                    <a:pt x="67" y="57"/>
                  </a:cubicBezTo>
                  <a:cubicBezTo>
                    <a:pt x="69" y="58"/>
                    <a:pt x="70" y="60"/>
                    <a:pt x="70" y="62"/>
                  </a:cubicBezTo>
                  <a:cubicBezTo>
                    <a:pt x="71" y="64"/>
                    <a:pt x="70" y="64"/>
                    <a:pt x="70" y="66"/>
                  </a:cubicBezTo>
                  <a:cubicBezTo>
                    <a:pt x="70" y="68"/>
                    <a:pt x="71" y="68"/>
                    <a:pt x="73" y="70"/>
                  </a:cubicBezTo>
                  <a:cubicBezTo>
                    <a:pt x="74" y="72"/>
                    <a:pt x="73" y="74"/>
                    <a:pt x="74" y="75"/>
                  </a:cubicBezTo>
                  <a:cubicBezTo>
                    <a:pt x="75" y="76"/>
                    <a:pt x="77" y="77"/>
                    <a:pt x="78" y="78"/>
                  </a:cubicBezTo>
                  <a:cubicBezTo>
                    <a:pt x="80" y="80"/>
                    <a:pt x="81" y="81"/>
                    <a:pt x="83" y="83"/>
                  </a:cubicBezTo>
                  <a:cubicBezTo>
                    <a:pt x="85" y="84"/>
                    <a:pt x="89" y="87"/>
                    <a:pt x="90" y="89"/>
                  </a:cubicBezTo>
                  <a:cubicBezTo>
                    <a:pt x="92" y="91"/>
                    <a:pt x="91" y="92"/>
                    <a:pt x="92" y="94"/>
                  </a:cubicBezTo>
                  <a:cubicBezTo>
                    <a:pt x="93" y="96"/>
                    <a:pt x="100" y="102"/>
                    <a:pt x="101" y="103"/>
                  </a:cubicBezTo>
                  <a:cubicBezTo>
                    <a:pt x="102" y="103"/>
                    <a:pt x="104" y="107"/>
                    <a:pt x="105" y="108"/>
                  </a:cubicBezTo>
                  <a:cubicBezTo>
                    <a:pt x="106" y="110"/>
                    <a:pt x="106" y="113"/>
                    <a:pt x="106" y="115"/>
                  </a:cubicBezTo>
                  <a:cubicBezTo>
                    <a:pt x="106" y="117"/>
                    <a:pt x="107" y="117"/>
                    <a:pt x="108" y="117"/>
                  </a:cubicBezTo>
                  <a:cubicBezTo>
                    <a:pt x="108" y="118"/>
                    <a:pt x="108" y="118"/>
                    <a:pt x="109" y="119"/>
                  </a:cubicBezTo>
                  <a:cubicBezTo>
                    <a:pt x="110" y="120"/>
                    <a:pt x="109" y="121"/>
                    <a:pt x="109" y="121"/>
                  </a:cubicBezTo>
                  <a:cubicBezTo>
                    <a:pt x="109" y="121"/>
                    <a:pt x="108" y="122"/>
                    <a:pt x="108" y="122"/>
                  </a:cubicBezTo>
                  <a:cubicBezTo>
                    <a:pt x="108" y="122"/>
                    <a:pt x="108" y="124"/>
                    <a:pt x="108" y="124"/>
                  </a:cubicBezTo>
                  <a:cubicBezTo>
                    <a:pt x="108" y="125"/>
                    <a:pt x="108" y="126"/>
                    <a:pt x="108" y="127"/>
                  </a:cubicBezTo>
                  <a:cubicBezTo>
                    <a:pt x="108" y="127"/>
                    <a:pt x="109" y="128"/>
                    <a:pt x="110" y="129"/>
                  </a:cubicBezTo>
                  <a:cubicBezTo>
                    <a:pt x="111" y="130"/>
                    <a:pt x="111" y="131"/>
                    <a:pt x="110" y="132"/>
                  </a:cubicBezTo>
                  <a:cubicBezTo>
                    <a:pt x="110" y="133"/>
                    <a:pt x="111" y="133"/>
                    <a:pt x="112" y="133"/>
                  </a:cubicBezTo>
                  <a:cubicBezTo>
                    <a:pt x="114" y="133"/>
                    <a:pt x="114" y="134"/>
                    <a:pt x="117" y="135"/>
                  </a:cubicBezTo>
                  <a:cubicBezTo>
                    <a:pt x="120" y="137"/>
                    <a:pt x="120" y="137"/>
                    <a:pt x="120" y="139"/>
                  </a:cubicBezTo>
                  <a:cubicBezTo>
                    <a:pt x="121" y="141"/>
                    <a:pt x="119" y="143"/>
                    <a:pt x="120" y="144"/>
                  </a:cubicBezTo>
                  <a:cubicBezTo>
                    <a:pt x="120" y="145"/>
                    <a:pt x="122" y="148"/>
                    <a:pt x="122" y="150"/>
                  </a:cubicBezTo>
                  <a:cubicBezTo>
                    <a:pt x="122" y="151"/>
                    <a:pt x="123" y="153"/>
                    <a:pt x="124" y="155"/>
                  </a:cubicBezTo>
                  <a:cubicBezTo>
                    <a:pt x="126" y="156"/>
                    <a:pt x="130" y="162"/>
                    <a:pt x="131" y="164"/>
                  </a:cubicBezTo>
                  <a:cubicBezTo>
                    <a:pt x="133" y="166"/>
                    <a:pt x="135" y="169"/>
                    <a:pt x="136" y="171"/>
                  </a:cubicBezTo>
                  <a:cubicBezTo>
                    <a:pt x="137" y="172"/>
                    <a:pt x="138" y="175"/>
                    <a:pt x="138" y="175"/>
                  </a:cubicBezTo>
                  <a:cubicBezTo>
                    <a:pt x="138" y="176"/>
                    <a:pt x="138" y="179"/>
                    <a:pt x="138" y="180"/>
                  </a:cubicBezTo>
                  <a:cubicBezTo>
                    <a:pt x="138" y="181"/>
                    <a:pt x="138" y="182"/>
                    <a:pt x="138" y="183"/>
                  </a:cubicBezTo>
                  <a:cubicBezTo>
                    <a:pt x="138" y="183"/>
                    <a:pt x="137" y="185"/>
                    <a:pt x="136" y="185"/>
                  </a:cubicBezTo>
                  <a:cubicBezTo>
                    <a:pt x="136" y="186"/>
                    <a:pt x="135" y="188"/>
                    <a:pt x="135" y="188"/>
                  </a:cubicBezTo>
                  <a:cubicBezTo>
                    <a:pt x="135" y="189"/>
                    <a:pt x="137" y="190"/>
                    <a:pt x="137" y="191"/>
                  </a:cubicBezTo>
                  <a:cubicBezTo>
                    <a:pt x="138" y="191"/>
                    <a:pt x="139" y="195"/>
                    <a:pt x="139" y="196"/>
                  </a:cubicBezTo>
                  <a:cubicBezTo>
                    <a:pt x="139" y="196"/>
                    <a:pt x="140" y="198"/>
                    <a:pt x="140" y="199"/>
                  </a:cubicBezTo>
                  <a:cubicBezTo>
                    <a:pt x="141" y="199"/>
                    <a:pt x="143" y="202"/>
                    <a:pt x="144" y="203"/>
                  </a:cubicBezTo>
                  <a:cubicBezTo>
                    <a:pt x="144" y="203"/>
                    <a:pt x="146" y="205"/>
                    <a:pt x="147" y="207"/>
                  </a:cubicBezTo>
                  <a:cubicBezTo>
                    <a:pt x="148" y="207"/>
                    <a:pt x="148" y="207"/>
                    <a:pt x="149" y="207"/>
                  </a:cubicBezTo>
                  <a:cubicBezTo>
                    <a:pt x="150" y="206"/>
                    <a:pt x="152" y="205"/>
                    <a:pt x="153" y="204"/>
                  </a:cubicBezTo>
                  <a:close/>
                </a:path>
              </a:pathLst>
            </a:custGeom>
            <a:solidFill>
              <a:srgbClr val="F1D6F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6" name="Freeform 21">
              <a:extLst>
                <a:ext uri="{FF2B5EF4-FFF2-40B4-BE49-F238E27FC236}">
                  <a16:creationId xmlns:a16="http://schemas.microsoft.com/office/drawing/2014/main" id="{79C9C1FA-566F-9D71-318E-124E134A0D7A}"/>
                </a:ext>
              </a:extLst>
            </p:cNvPr>
            <p:cNvSpPr>
              <a:spLocks/>
            </p:cNvSpPr>
            <p:nvPr/>
          </p:nvSpPr>
          <p:spPr bwMode="auto">
            <a:xfrm>
              <a:off x="3228975" y="5203825"/>
              <a:ext cx="582613" cy="449262"/>
            </a:xfrm>
            <a:custGeom>
              <a:avLst/>
              <a:gdLst>
                <a:gd name="T0" fmla="*/ 148 w 153"/>
                <a:gd name="T1" fmla="*/ 108 h 118"/>
                <a:gd name="T2" fmla="*/ 145 w 153"/>
                <a:gd name="T3" fmla="*/ 98 h 118"/>
                <a:gd name="T4" fmla="*/ 144 w 153"/>
                <a:gd name="T5" fmla="*/ 93 h 118"/>
                <a:gd name="T6" fmla="*/ 138 w 153"/>
                <a:gd name="T7" fmla="*/ 89 h 118"/>
                <a:gd name="T8" fmla="*/ 135 w 153"/>
                <a:gd name="T9" fmla="*/ 87 h 118"/>
                <a:gd name="T10" fmla="*/ 137 w 153"/>
                <a:gd name="T11" fmla="*/ 81 h 118"/>
                <a:gd name="T12" fmla="*/ 140 w 153"/>
                <a:gd name="T13" fmla="*/ 76 h 118"/>
                <a:gd name="T14" fmla="*/ 146 w 153"/>
                <a:gd name="T15" fmla="*/ 74 h 118"/>
                <a:gd name="T16" fmla="*/ 148 w 153"/>
                <a:gd name="T17" fmla="*/ 67 h 118"/>
                <a:gd name="T18" fmla="*/ 152 w 153"/>
                <a:gd name="T19" fmla="*/ 55 h 118"/>
                <a:gd name="T20" fmla="*/ 150 w 153"/>
                <a:gd name="T21" fmla="*/ 54 h 118"/>
                <a:gd name="T22" fmla="*/ 140 w 153"/>
                <a:gd name="T23" fmla="*/ 53 h 118"/>
                <a:gd name="T24" fmla="*/ 135 w 153"/>
                <a:gd name="T25" fmla="*/ 35 h 118"/>
                <a:gd name="T26" fmla="*/ 123 w 153"/>
                <a:gd name="T27" fmla="*/ 23 h 118"/>
                <a:gd name="T28" fmla="*/ 118 w 153"/>
                <a:gd name="T29" fmla="*/ 24 h 118"/>
                <a:gd name="T30" fmla="*/ 113 w 153"/>
                <a:gd name="T31" fmla="*/ 20 h 118"/>
                <a:gd name="T32" fmla="*/ 96 w 153"/>
                <a:gd name="T33" fmla="*/ 20 h 118"/>
                <a:gd name="T34" fmla="*/ 92 w 153"/>
                <a:gd name="T35" fmla="*/ 18 h 118"/>
                <a:gd name="T36" fmla="*/ 80 w 153"/>
                <a:gd name="T37" fmla="*/ 19 h 118"/>
                <a:gd name="T38" fmla="*/ 65 w 153"/>
                <a:gd name="T39" fmla="*/ 9 h 118"/>
                <a:gd name="T40" fmla="*/ 51 w 153"/>
                <a:gd name="T41" fmla="*/ 4 h 118"/>
                <a:gd name="T42" fmla="*/ 41 w 153"/>
                <a:gd name="T43" fmla="*/ 0 h 118"/>
                <a:gd name="T44" fmla="*/ 39 w 153"/>
                <a:gd name="T45" fmla="*/ 5 h 118"/>
                <a:gd name="T46" fmla="*/ 37 w 153"/>
                <a:gd name="T47" fmla="*/ 10 h 118"/>
                <a:gd name="T48" fmla="*/ 36 w 153"/>
                <a:gd name="T49" fmla="*/ 19 h 118"/>
                <a:gd name="T50" fmla="*/ 31 w 153"/>
                <a:gd name="T51" fmla="*/ 26 h 118"/>
                <a:gd name="T52" fmla="*/ 17 w 153"/>
                <a:gd name="T53" fmla="*/ 27 h 118"/>
                <a:gd name="T54" fmla="*/ 10 w 153"/>
                <a:gd name="T55" fmla="*/ 26 h 118"/>
                <a:gd name="T56" fmla="*/ 6 w 153"/>
                <a:gd name="T57" fmla="*/ 24 h 118"/>
                <a:gd name="T58" fmla="*/ 4 w 153"/>
                <a:gd name="T59" fmla="*/ 33 h 118"/>
                <a:gd name="T60" fmla="*/ 7 w 153"/>
                <a:gd name="T61" fmla="*/ 51 h 118"/>
                <a:gd name="T62" fmla="*/ 3 w 153"/>
                <a:gd name="T63" fmla="*/ 59 h 118"/>
                <a:gd name="T64" fmla="*/ 2 w 153"/>
                <a:gd name="T65" fmla="*/ 66 h 118"/>
                <a:gd name="T66" fmla="*/ 11 w 153"/>
                <a:gd name="T67" fmla="*/ 67 h 118"/>
                <a:gd name="T68" fmla="*/ 5 w 153"/>
                <a:gd name="T69" fmla="*/ 77 h 118"/>
                <a:gd name="T70" fmla="*/ 0 w 153"/>
                <a:gd name="T71" fmla="*/ 84 h 118"/>
                <a:gd name="T72" fmla="*/ 6 w 153"/>
                <a:gd name="T73" fmla="*/ 90 h 118"/>
                <a:gd name="T74" fmla="*/ 27 w 153"/>
                <a:gd name="T75" fmla="*/ 94 h 118"/>
                <a:gd name="T76" fmla="*/ 54 w 153"/>
                <a:gd name="T77" fmla="*/ 98 h 118"/>
                <a:gd name="T78" fmla="*/ 70 w 153"/>
                <a:gd name="T79" fmla="*/ 101 h 118"/>
                <a:gd name="T80" fmla="*/ 81 w 153"/>
                <a:gd name="T81" fmla="*/ 107 h 118"/>
                <a:gd name="T82" fmla="*/ 91 w 153"/>
                <a:gd name="T83" fmla="*/ 113 h 118"/>
                <a:gd name="T84" fmla="*/ 105 w 153"/>
                <a:gd name="T85" fmla="*/ 115 h 118"/>
                <a:gd name="T86" fmla="*/ 132 w 153"/>
                <a:gd name="T87" fmla="*/ 116 h 118"/>
                <a:gd name="T88" fmla="*/ 140 w 153"/>
                <a:gd name="T89" fmla="*/ 110 h 118"/>
                <a:gd name="T90" fmla="*/ 150 w 153"/>
                <a:gd name="T91" fmla="*/ 112 h 118"/>
                <a:gd name="T92" fmla="*/ 150 w 153"/>
                <a:gd name="T93"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18">
                  <a:moveTo>
                    <a:pt x="150" y="110"/>
                  </a:moveTo>
                  <a:cubicBezTo>
                    <a:pt x="150" y="110"/>
                    <a:pt x="150" y="109"/>
                    <a:pt x="150" y="109"/>
                  </a:cubicBezTo>
                  <a:cubicBezTo>
                    <a:pt x="149" y="109"/>
                    <a:pt x="149" y="108"/>
                    <a:pt x="148" y="108"/>
                  </a:cubicBezTo>
                  <a:cubicBezTo>
                    <a:pt x="148" y="107"/>
                    <a:pt x="147" y="106"/>
                    <a:pt x="147" y="105"/>
                  </a:cubicBezTo>
                  <a:cubicBezTo>
                    <a:pt x="147" y="103"/>
                    <a:pt x="147" y="102"/>
                    <a:pt x="147" y="101"/>
                  </a:cubicBezTo>
                  <a:cubicBezTo>
                    <a:pt x="146" y="100"/>
                    <a:pt x="145" y="99"/>
                    <a:pt x="145" y="98"/>
                  </a:cubicBezTo>
                  <a:cubicBezTo>
                    <a:pt x="145" y="97"/>
                    <a:pt x="146" y="96"/>
                    <a:pt x="145" y="95"/>
                  </a:cubicBezTo>
                  <a:cubicBezTo>
                    <a:pt x="145" y="95"/>
                    <a:pt x="145" y="94"/>
                    <a:pt x="145" y="94"/>
                  </a:cubicBezTo>
                  <a:cubicBezTo>
                    <a:pt x="144" y="93"/>
                    <a:pt x="144" y="93"/>
                    <a:pt x="144" y="93"/>
                  </a:cubicBezTo>
                  <a:cubicBezTo>
                    <a:pt x="143" y="92"/>
                    <a:pt x="143" y="92"/>
                    <a:pt x="143" y="91"/>
                  </a:cubicBezTo>
                  <a:cubicBezTo>
                    <a:pt x="142" y="90"/>
                    <a:pt x="142" y="90"/>
                    <a:pt x="141" y="90"/>
                  </a:cubicBezTo>
                  <a:cubicBezTo>
                    <a:pt x="140" y="90"/>
                    <a:pt x="139" y="90"/>
                    <a:pt x="138" y="89"/>
                  </a:cubicBezTo>
                  <a:cubicBezTo>
                    <a:pt x="137" y="89"/>
                    <a:pt x="137" y="88"/>
                    <a:pt x="137" y="88"/>
                  </a:cubicBezTo>
                  <a:cubicBezTo>
                    <a:pt x="136" y="88"/>
                    <a:pt x="136" y="88"/>
                    <a:pt x="136" y="88"/>
                  </a:cubicBezTo>
                  <a:cubicBezTo>
                    <a:pt x="135" y="88"/>
                    <a:pt x="135" y="88"/>
                    <a:pt x="135" y="87"/>
                  </a:cubicBezTo>
                  <a:cubicBezTo>
                    <a:pt x="135" y="86"/>
                    <a:pt x="135" y="86"/>
                    <a:pt x="135" y="85"/>
                  </a:cubicBezTo>
                  <a:cubicBezTo>
                    <a:pt x="135" y="84"/>
                    <a:pt x="136" y="84"/>
                    <a:pt x="136" y="83"/>
                  </a:cubicBezTo>
                  <a:cubicBezTo>
                    <a:pt x="137" y="82"/>
                    <a:pt x="137" y="81"/>
                    <a:pt x="137" y="81"/>
                  </a:cubicBezTo>
                  <a:cubicBezTo>
                    <a:pt x="136" y="80"/>
                    <a:pt x="136" y="79"/>
                    <a:pt x="136" y="78"/>
                  </a:cubicBezTo>
                  <a:cubicBezTo>
                    <a:pt x="137" y="77"/>
                    <a:pt x="137" y="77"/>
                    <a:pt x="138" y="77"/>
                  </a:cubicBezTo>
                  <a:cubicBezTo>
                    <a:pt x="138" y="77"/>
                    <a:pt x="139" y="76"/>
                    <a:pt x="140" y="76"/>
                  </a:cubicBezTo>
                  <a:cubicBezTo>
                    <a:pt x="141" y="76"/>
                    <a:pt x="141" y="77"/>
                    <a:pt x="142" y="77"/>
                  </a:cubicBezTo>
                  <a:cubicBezTo>
                    <a:pt x="142" y="77"/>
                    <a:pt x="143" y="77"/>
                    <a:pt x="144" y="76"/>
                  </a:cubicBezTo>
                  <a:cubicBezTo>
                    <a:pt x="145" y="76"/>
                    <a:pt x="146" y="75"/>
                    <a:pt x="146" y="74"/>
                  </a:cubicBezTo>
                  <a:cubicBezTo>
                    <a:pt x="147" y="74"/>
                    <a:pt x="148" y="74"/>
                    <a:pt x="149" y="73"/>
                  </a:cubicBezTo>
                  <a:cubicBezTo>
                    <a:pt x="149" y="72"/>
                    <a:pt x="149" y="71"/>
                    <a:pt x="149" y="70"/>
                  </a:cubicBezTo>
                  <a:cubicBezTo>
                    <a:pt x="149" y="69"/>
                    <a:pt x="149" y="68"/>
                    <a:pt x="148" y="67"/>
                  </a:cubicBezTo>
                  <a:cubicBezTo>
                    <a:pt x="148" y="67"/>
                    <a:pt x="147" y="66"/>
                    <a:pt x="147" y="65"/>
                  </a:cubicBezTo>
                  <a:cubicBezTo>
                    <a:pt x="148" y="63"/>
                    <a:pt x="148" y="62"/>
                    <a:pt x="149" y="60"/>
                  </a:cubicBezTo>
                  <a:cubicBezTo>
                    <a:pt x="150" y="59"/>
                    <a:pt x="151" y="57"/>
                    <a:pt x="152" y="55"/>
                  </a:cubicBezTo>
                  <a:cubicBezTo>
                    <a:pt x="152" y="54"/>
                    <a:pt x="153" y="53"/>
                    <a:pt x="153" y="52"/>
                  </a:cubicBezTo>
                  <a:cubicBezTo>
                    <a:pt x="152" y="52"/>
                    <a:pt x="152" y="52"/>
                    <a:pt x="151" y="52"/>
                  </a:cubicBezTo>
                  <a:cubicBezTo>
                    <a:pt x="150" y="52"/>
                    <a:pt x="151" y="53"/>
                    <a:pt x="150" y="54"/>
                  </a:cubicBezTo>
                  <a:cubicBezTo>
                    <a:pt x="149" y="56"/>
                    <a:pt x="147" y="55"/>
                    <a:pt x="144" y="55"/>
                  </a:cubicBezTo>
                  <a:cubicBezTo>
                    <a:pt x="141" y="54"/>
                    <a:pt x="143" y="53"/>
                    <a:pt x="142" y="52"/>
                  </a:cubicBezTo>
                  <a:cubicBezTo>
                    <a:pt x="141" y="50"/>
                    <a:pt x="142" y="52"/>
                    <a:pt x="140" y="53"/>
                  </a:cubicBezTo>
                  <a:cubicBezTo>
                    <a:pt x="138" y="53"/>
                    <a:pt x="139" y="52"/>
                    <a:pt x="137" y="51"/>
                  </a:cubicBezTo>
                  <a:cubicBezTo>
                    <a:pt x="136" y="50"/>
                    <a:pt x="136" y="49"/>
                    <a:pt x="135" y="45"/>
                  </a:cubicBezTo>
                  <a:cubicBezTo>
                    <a:pt x="134" y="42"/>
                    <a:pt x="135" y="35"/>
                    <a:pt x="135" y="35"/>
                  </a:cubicBezTo>
                  <a:cubicBezTo>
                    <a:pt x="135" y="35"/>
                    <a:pt x="135" y="35"/>
                    <a:pt x="133" y="35"/>
                  </a:cubicBezTo>
                  <a:cubicBezTo>
                    <a:pt x="131" y="34"/>
                    <a:pt x="131" y="34"/>
                    <a:pt x="129" y="32"/>
                  </a:cubicBezTo>
                  <a:cubicBezTo>
                    <a:pt x="126" y="31"/>
                    <a:pt x="124" y="25"/>
                    <a:pt x="123" y="23"/>
                  </a:cubicBezTo>
                  <a:cubicBezTo>
                    <a:pt x="122" y="21"/>
                    <a:pt x="121" y="21"/>
                    <a:pt x="120" y="20"/>
                  </a:cubicBezTo>
                  <a:cubicBezTo>
                    <a:pt x="119" y="20"/>
                    <a:pt x="119" y="20"/>
                    <a:pt x="120" y="23"/>
                  </a:cubicBezTo>
                  <a:cubicBezTo>
                    <a:pt x="121" y="25"/>
                    <a:pt x="119" y="24"/>
                    <a:pt x="118" y="24"/>
                  </a:cubicBezTo>
                  <a:cubicBezTo>
                    <a:pt x="116" y="24"/>
                    <a:pt x="116" y="23"/>
                    <a:pt x="116" y="21"/>
                  </a:cubicBezTo>
                  <a:cubicBezTo>
                    <a:pt x="116" y="19"/>
                    <a:pt x="116" y="20"/>
                    <a:pt x="115" y="20"/>
                  </a:cubicBezTo>
                  <a:cubicBezTo>
                    <a:pt x="114" y="20"/>
                    <a:pt x="114" y="19"/>
                    <a:pt x="113" y="20"/>
                  </a:cubicBezTo>
                  <a:cubicBezTo>
                    <a:pt x="113" y="21"/>
                    <a:pt x="114" y="22"/>
                    <a:pt x="113" y="24"/>
                  </a:cubicBezTo>
                  <a:cubicBezTo>
                    <a:pt x="111" y="26"/>
                    <a:pt x="109" y="25"/>
                    <a:pt x="106" y="25"/>
                  </a:cubicBezTo>
                  <a:cubicBezTo>
                    <a:pt x="102" y="25"/>
                    <a:pt x="97" y="21"/>
                    <a:pt x="96" y="20"/>
                  </a:cubicBezTo>
                  <a:cubicBezTo>
                    <a:pt x="94" y="19"/>
                    <a:pt x="95" y="19"/>
                    <a:pt x="95" y="18"/>
                  </a:cubicBezTo>
                  <a:cubicBezTo>
                    <a:pt x="95" y="17"/>
                    <a:pt x="95" y="16"/>
                    <a:pt x="94" y="16"/>
                  </a:cubicBezTo>
                  <a:cubicBezTo>
                    <a:pt x="94" y="16"/>
                    <a:pt x="93" y="17"/>
                    <a:pt x="92" y="18"/>
                  </a:cubicBezTo>
                  <a:cubicBezTo>
                    <a:pt x="91" y="18"/>
                    <a:pt x="91" y="16"/>
                    <a:pt x="90" y="17"/>
                  </a:cubicBezTo>
                  <a:cubicBezTo>
                    <a:pt x="88" y="17"/>
                    <a:pt x="87" y="18"/>
                    <a:pt x="85" y="19"/>
                  </a:cubicBezTo>
                  <a:cubicBezTo>
                    <a:pt x="82" y="20"/>
                    <a:pt x="80" y="20"/>
                    <a:pt x="80" y="19"/>
                  </a:cubicBezTo>
                  <a:cubicBezTo>
                    <a:pt x="80" y="19"/>
                    <a:pt x="77" y="17"/>
                    <a:pt x="76" y="16"/>
                  </a:cubicBezTo>
                  <a:cubicBezTo>
                    <a:pt x="76" y="16"/>
                    <a:pt x="70" y="15"/>
                    <a:pt x="68" y="14"/>
                  </a:cubicBezTo>
                  <a:cubicBezTo>
                    <a:pt x="66" y="12"/>
                    <a:pt x="65" y="10"/>
                    <a:pt x="65" y="9"/>
                  </a:cubicBezTo>
                  <a:cubicBezTo>
                    <a:pt x="64" y="7"/>
                    <a:pt x="63" y="5"/>
                    <a:pt x="62" y="4"/>
                  </a:cubicBezTo>
                  <a:cubicBezTo>
                    <a:pt x="60" y="3"/>
                    <a:pt x="59" y="3"/>
                    <a:pt x="55" y="3"/>
                  </a:cubicBezTo>
                  <a:cubicBezTo>
                    <a:pt x="51" y="2"/>
                    <a:pt x="54" y="3"/>
                    <a:pt x="51" y="4"/>
                  </a:cubicBezTo>
                  <a:cubicBezTo>
                    <a:pt x="48" y="5"/>
                    <a:pt x="49" y="4"/>
                    <a:pt x="48" y="3"/>
                  </a:cubicBezTo>
                  <a:cubicBezTo>
                    <a:pt x="47" y="3"/>
                    <a:pt x="46" y="1"/>
                    <a:pt x="45" y="1"/>
                  </a:cubicBezTo>
                  <a:cubicBezTo>
                    <a:pt x="44" y="0"/>
                    <a:pt x="42" y="0"/>
                    <a:pt x="41" y="0"/>
                  </a:cubicBezTo>
                  <a:cubicBezTo>
                    <a:pt x="41" y="0"/>
                    <a:pt x="39" y="0"/>
                    <a:pt x="38" y="1"/>
                  </a:cubicBezTo>
                  <a:cubicBezTo>
                    <a:pt x="38" y="2"/>
                    <a:pt x="39" y="3"/>
                    <a:pt x="40" y="4"/>
                  </a:cubicBezTo>
                  <a:cubicBezTo>
                    <a:pt x="40" y="5"/>
                    <a:pt x="39" y="5"/>
                    <a:pt x="39" y="5"/>
                  </a:cubicBezTo>
                  <a:cubicBezTo>
                    <a:pt x="39" y="7"/>
                    <a:pt x="39" y="7"/>
                    <a:pt x="39" y="7"/>
                  </a:cubicBezTo>
                  <a:cubicBezTo>
                    <a:pt x="37" y="8"/>
                    <a:pt x="37" y="8"/>
                    <a:pt x="37" y="8"/>
                  </a:cubicBezTo>
                  <a:cubicBezTo>
                    <a:pt x="37" y="10"/>
                    <a:pt x="37" y="10"/>
                    <a:pt x="37" y="10"/>
                  </a:cubicBezTo>
                  <a:cubicBezTo>
                    <a:pt x="37" y="10"/>
                    <a:pt x="37" y="10"/>
                    <a:pt x="37" y="10"/>
                  </a:cubicBezTo>
                  <a:cubicBezTo>
                    <a:pt x="37" y="11"/>
                    <a:pt x="37" y="12"/>
                    <a:pt x="37" y="13"/>
                  </a:cubicBezTo>
                  <a:cubicBezTo>
                    <a:pt x="37" y="15"/>
                    <a:pt x="37" y="17"/>
                    <a:pt x="36" y="19"/>
                  </a:cubicBezTo>
                  <a:cubicBezTo>
                    <a:pt x="35" y="20"/>
                    <a:pt x="35" y="21"/>
                    <a:pt x="35" y="22"/>
                  </a:cubicBezTo>
                  <a:cubicBezTo>
                    <a:pt x="34" y="23"/>
                    <a:pt x="35" y="23"/>
                    <a:pt x="34" y="24"/>
                  </a:cubicBezTo>
                  <a:cubicBezTo>
                    <a:pt x="34" y="26"/>
                    <a:pt x="33" y="26"/>
                    <a:pt x="31" y="26"/>
                  </a:cubicBezTo>
                  <a:cubicBezTo>
                    <a:pt x="30" y="27"/>
                    <a:pt x="28" y="26"/>
                    <a:pt x="27" y="26"/>
                  </a:cubicBezTo>
                  <a:cubicBezTo>
                    <a:pt x="26" y="27"/>
                    <a:pt x="25" y="27"/>
                    <a:pt x="23" y="27"/>
                  </a:cubicBezTo>
                  <a:cubicBezTo>
                    <a:pt x="21" y="27"/>
                    <a:pt x="19" y="27"/>
                    <a:pt x="17" y="27"/>
                  </a:cubicBezTo>
                  <a:cubicBezTo>
                    <a:pt x="16" y="28"/>
                    <a:pt x="15" y="28"/>
                    <a:pt x="14" y="28"/>
                  </a:cubicBezTo>
                  <a:cubicBezTo>
                    <a:pt x="14" y="27"/>
                    <a:pt x="14" y="27"/>
                    <a:pt x="13" y="27"/>
                  </a:cubicBezTo>
                  <a:cubicBezTo>
                    <a:pt x="12" y="26"/>
                    <a:pt x="11" y="26"/>
                    <a:pt x="10" y="26"/>
                  </a:cubicBezTo>
                  <a:cubicBezTo>
                    <a:pt x="9" y="26"/>
                    <a:pt x="9" y="26"/>
                    <a:pt x="9" y="27"/>
                  </a:cubicBezTo>
                  <a:cubicBezTo>
                    <a:pt x="8" y="27"/>
                    <a:pt x="8" y="28"/>
                    <a:pt x="7" y="28"/>
                  </a:cubicBezTo>
                  <a:cubicBezTo>
                    <a:pt x="7" y="27"/>
                    <a:pt x="7" y="25"/>
                    <a:pt x="6" y="24"/>
                  </a:cubicBezTo>
                  <a:cubicBezTo>
                    <a:pt x="6" y="24"/>
                    <a:pt x="5" y="25"/>
                    <a:pt x="5" y="26"/>
                  </a:cubicBezTo>
                  <a:cubicBezTo>
                    <a:pt x="4" y="26"/>
                    <a:pt x="4" y="27"/>
                    <a:pt x="4" y="28"/>
                  </a:cubicBezTo>
                  <a:cubicBezTo>
                    <a:pt x="4" y="30"/>
                    <a:pt x="5" y="31"/>
                    <a:pt x="4" y="33"/>
                  </a:cubicBezTo>
                  <a:cubicBezTo>
                    <a:pt x="2" y="33"/>
                    <a:pt x="3" y="35"/>
                    <a:pt x="3" y="36"/>
                  </a:cubicBezTo>
                  <a:cubicBezTo>
                    <a:pt x="3" y="38"/>
                    <a:pt x="4" y="39"/>
                    <a:pt x="4" y="41"/>
                  </a:cubicBezTo>
                  <a:cubicBezTo>
                    <a:pt x="4" y="44"/>
                    <a:pt x="4" y="48"/>
                    <a:pt x="7" y="51"/>
                  </a:cubicBezTo>
                  <a:cubicBezTo>
                    <a:pt x="7" y="52"/>
                    <a:pt x="9" y="53"/>
                    <a:pt x="9" y="54"/>
                  </a:cubicBezTo>
                  <a:cubicBezTo>
                    <a:pt x="8" y="55"/>
                    <a:pt x="7" y="56"/>
                    <a:pt x="7" y="56"/>
                  </a:cubicBezTo>
                  <a:cubicBezTo>
                    <a:pt x="5" y="57"/>
                    <a:pt x="4" y="58"/>
                    <a:pt x="3" y="59"/>
                  </a:cubicBezTo>
                  <a:cubicBezTo>
                    <a:pt x="2" y="60"/>
                    <a:pt x="2" y="60"/>
                    <a:pt x="2" y="62"/>
                  </a:cubicBezTo>
                  <a:cubicBezTo>
                    <a:pt x="2" y="62"/>
                    <a:pt x="2" y="63"/>
                    <a:pt x="2" y="64"/>
                  </a:cubicBezTo>
                  <a:cubicBezTo>
                    <a:pt x="2" y="65"/>
                    <a:pt x="2" y="65"/>
                    <a:pt x="2" y="66"/>
                  </a:cubicBezTo>
                  <a:cubicBezTo>
                    <a:pt x="3" y="65"/>
                    <a:pt x="3" y="65"/>
                    <a:pt x="3" y="65"/>
                  </a:cubicBezTo>
                  <a:cubicBezTo>
                    <a:pt x="4" y="65"/>
                    <a:pt x="4" y="65"/>
                    <a:pt x="5" y="65"/>
                  </a:cubicBezTo>
                  <a:cubicBezTo>
                    <a:pt x="6" y="65"/>
                    <a:pt x="10" y="67"/>
                    <a:pt x="11" y="67"/>
                  </a:cubicBezTo>
                  <a:cubicBezTo>
                    <a:pt x="12" y="68"/>
                    <a:pt x="11" y="70"/>
                    <a:pt x="11" y="71"/>
                  </a:cubicBezTo>
                  <a:cubicBezTo>
                    <a:pt x="10" y="71"/>
                    <a:pt x="7" y="74"/>
                    <a:pt x="6" y="75"/>
                  </a:cubicBezTo>
                  <a:cubicBezTo>
                    <a:pt x="5" y="75"/>
                    <a:pt x="5" y="76"/>
                    <a:pt x="5" y="77"/>
                  </a:cubicBezTo>
                  <a:cubicBezTo>
                    <a:pt x="5" y="77"/>
                    <a:pt x="5" y="78"/>
                    <a:pt x="3" y="79"/>
                  </a:cubicBezTo>
                  <a:cubicBezTo>
                    <a:pt x="2" y="79"/>
                    <a:pt x="2" y="80"/>
                    <a:pt x="1" y="81"/>
                  </a:cubicBezTo>
                  <a:cubicBezTo>
                    <a:pt x="0" y="82"/>
                    <a:pt x="0" y="83"/>
                    <a:pt x="0" y="84"/>
                  </a:cubicBezTo>
                  <a:cubicBezTo>
                    <a:pt x="1" y="86"/>
                    <a:pt x="0" y="88"/>
                    <a:pt x="0" y="88"/>
                  </a:cubicBezTo>
                  <a:cubicBezTo>
                    <a:pt x="1" y="89"/>
                    <a:pt x="1" y="90"/>
                    <a:pt x="3" y="90"/>
                  </a:cubicBezTo>
                  <a:cubicBezTo>
                    <a:pt x="4" y="90"/>
                    <a:pt x="3" y="90"/>
                    <a:pt x="6" y="90"/>
                  </a:cubicBezTo>
                  <a:cubicBezTo>
                    <a:pt x="9" y="90"/>
                    <a:pt x="8" y="92"/>
                    <a:pt x="10" y="93"/>
                  </a:cubicBezTo>
                  <a:cubicBezTo>
                    <a:pt x="11" y="94"/>
                    <a:pt x="13" y="93"/>
                    <a:pt x="16" y="93"/>
                  </a:cubicBezTo>
                  <a:cubicBezTo>
                    <a:pt x="19" y="94"/>
                    <a:pt x="23" y="93"/>
                    <a:pt x="27" y="94"/>
                  </a:cubicBezTo>
                  <a:cubicBezTo>
                    <a:pt x="31" y="94"/>
                    <a:pt x="38" y="95"/>
                    <a:pt x="42" y="95"/>
                  </a:cubicBezTo>
                  <a:cubicBezTo>
                    <a:pt x="46" y="96"/>
                    <a:pt x="46" y="95"/>
                    <a:pt x="48" y="96"/>
                  </a:cubicBezTo>
                  <a:cubicBezTo>
                    <a:pt x="49" y="96"/>
                    <a:pt x="51" y="97"/>
                    <a:pt x="54" y="98"/>
                  </a:cubicBezTo>
                  <a:cubicBezTo>
                    <a:pt x="57" y="98"/>
                    <a:pt x="57" y="98"/>
                    <a:pt x="61" y="98"/>
                  </a:cubicBezTo>
                  <a:cubicBezTo>
                    <a:pt x="65" y="98"/>
                    <a:pt x="65" y="98"/>
                    <a:pt x="68" y="100"/>
                  </a:cubicBezTo>
                  <a:cubicBezTo>
                    <a:pt x="70" y="100"/>
                    <a:pt x="70" y="101"/>
                    <a:pt x="70" y="101"/>
                  </a:cubicBezTo>
                  <a:cubicBezTo>
                    <a:pt x="70" y="101"/>
                    <a:pt x="70" y="101"/>
                    <a:pt x="70" y="101"/>
                  </a:cubicBezTo>
                  <a:cubicBezTo>
                    <a:pt x="71" y="101"/>
                    <a:pt x="74" y="102"/>
                    <a:pt x="74" y="102"/>
                  </a:cubicBezTo>
                  <a:cubicBezTo>
                    <a:pt x="75" y="102"/>
                    <a:pt x="79" y="106"/>
                    <a:pt x="81" y="107"/>
                  </a:cubicBezTo>
                  <a:cubicBezTo>
                    <a:pt x="82" y="108"/>
                    <a:pt x="82" y="108"/>
                    <a:pt x="83" y="109"/>
                  </a:cubicBezTo>
                  <a:cubicBezTo>
                    <a:pt x="85" y="110"/>
                    <a:pt x="87" y="110"/>
                    <a:pt x="89" y="110"/>
                  </a:cubicBezTo>
                  <a:cubicBezTo>
                    <a:pt x="90" y="111"/>
                    <a:pt x="91" y="112"/>
                    <a:pt x="91" y="113"/>
                  </a:cubicBezTo>
                  <a:cubicBezTo>
                    <a:pt x="91" y="114"/>
                    <a:pt x="94" y="113"/>
                    <a:pt x="96" y="113"/>
                  </a:cubicBezTo>
                  <a:cubicBezTo>
                    <a:pt x="97" y="113"/>
                    <a:pt x="101" y="114"/>
                    <a:pt x="103" y="115"/>
                  </a:cubicBezTo>
                  <a:cubicBezTo>
                    <a:pt x="104" y="115"/>
                    <a:pt x="103" y="115"/>
                    <a:pt x="105" y="115"/>
                  </a:cubicBezTo>
                  <a:cubicBezTo>
                    <a:pt x="107" y="116"/>
                    <a:pt x="113" y="117"/>
                    <a:pt x="116" y="117"/>
                  </a:cubicBezTo>
                  <a:cubicBezTo>
                    <a:pt x="119" y="118"/>
                    <a:pt x="123" y="118"/>
                    <a:pt x="127" y="118"/>
                  </a:cubicBezTo>
                  <a:cubicBezTo>
                    <a:pt x="132" y="118"/>
                    <a:pt x="131" y="117"/>
                    <a:pt x="132" y="116"/>
                  </a:cubicBezTo>
                  <a:cubicBezTo>
                    <a:pt x="132" y="116"/>
                    <a:pt x="132" y="114"/>
                    <a:pt x="132" y="112"/>
                  </a:cubicBezTo>
                  <a:cubicBezTo>
                    <a:pt x="131" y="110"/>
                    <a:pt x="134" y="110"/>
                    <a:pt x="135" y="110"/>
                  </a:cubicBezTo>
                  <a:cubicBezTo>
                    <a:pt x="136" y="109"/>
                    <a:pt x="140" y="110"/>
                    <a:pt x="140" y="110"/>
                  </a:cubicBezTo>
                  <a:cubicBezTo>
                    <a:pt x="143" y="110"/>
                    <a:pt x="143" y="110"/>
                    <a:pt x="143" y="110"/>
                  </a:cubicBezTo>
                  <a:cubicBezTo>
                    <a:pt x="143" y="110"/>
                    <a:pt x="145" y="110"/>
                    <a:pt x="147" y="110"/>
                  </a:cubicBezTo>
                  <a:cubicBezTo>
                    <a:pt x="148" y="110"/>
                    <a:pt x="149" y="111"/>
                    <a:pt x="150" y="112"/>
                  </a:cubicBezTo>
                  <a:cubicBezTo>
                    <a:pt x="150" y="112"/>
                    <a:pt x="149" y="113"/>
                    <a:pt x="150" y="113"/>
                  </a:cubicBezTo>
                  <a:cubicBezTo>
                    <a:pt x="150" y="113"/>
                    <a:pt x="150" y="113"/>
                    <a:pt x="150" y="113"/>
                  </a:cubicBezTo>
                  <a:cubicBezTo>
                    <a:pt x="150" y="113"/>
                    <a:pt x="150" y="113"/>
                    <a:pt x="150" y="113"/>
                  </a:cubicBezTo>
                  <a:cubicBezTo>
                    <a:pt x="150" y="112"/>
                    <a:pt x="150" y="111"/>
                    <a:pt x="150" y="110"/>
                  </a:cubicBezTo>
                  <a:close/>
                </a:path>
              </a:pathLst>
            </a:custGeom>
            <a:solidFill>
              <a:schemeClr val="accent5">
                <a:lumMod val="5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7" name="Freeform 23">
              <a:extLst>
                <a:ext uri="{FF2B5EF4-FFF2-40B4-BE49-F238E27FC236}">
                  <a16:creationId xmlns:a16="http://schemas.microsoft.com/office/drawing/2014/main" id="{1114E5DB-EAEA-C22F-6985-0119507ED054}"/>
                </a:ext>
              </a:extLst>
            </p:cNvPr>
            <p:cNvSpPr>
              <a:spLocks/>
            </p:cNvSpPr>
            <p:nvPr/>
          </p:nvSpPr>
          <p:spPr bwMode="auto">
            <a:xfrm>
              <a:off x="2238375" y="4205288"/>
              <a:ext cx="928688" cy="769937"/>
            </a:xfrm>
            <a:custGeom>
              <a:avLst/>
              <a:gdLst>
                <a:gd name="T0" fmla="*/ 242 w 244"/>
                <a:gd name="T1" fmla="*/ 84 h 202"/>
                <a:gd name="T2" fmla="*/ 232 w 244"/>
                <a:gd name="T3" fmla="*/ 81 h 202"/>
                <a:gd name="T4" fmla="*/ 226 w 244"/>
                <a:gd name="T5" fmla="*/ 65 h 202"/>
                <a:gd name="T6" fmla="*/ 216 w 244"/>
                <a:gd name="T7" fmla="*/ 51 h 202"/>
                <a:gd name="T8" fmla="*/ 209 w 244"/>
                <a:gd name="T9" fmla="*/ 47 h 202"/>
                <a:gd name="T10" fmla="*/ 191 w 244"/>
                <a:gd name="T11" fmla="*/ 43 h 202"/>
                <a:gd name="T12" fmla="*/ 183 w 244"/>
                <a:gd name="T13" fmla="*/ 45 h 202"/>
                <a:gd name="T14" fmla="*/ 177 w 244"/>
                <a:gd name="T15" fmla="*/ 43 h 202"/>
                <a:gd name="T16" fmla="*/ 172 w 244"/>
                <a:gd name="T17" fmla="*/ 42 h 202"/>
                <a:gd name="T18" fmla="*/ 168 w 244"/>
                <a:gd name="T19" fmla="*/ 44 h 202"/>
                <a:gd name="T20" fmla="*/ 159 w 244"/>
                <a:gd name="T21" fmla="*/ 45 h 202"/>
                <a:gd name="T22" fmla="*/ 160 w 244"/>
                <a:gd name="T23" fmla="*/ 44 h 202"/>
                <a:gd name="T24" fmla="*/ 171 w 244"/>
                <a:gd name="T25" fmla="*/ 34 h 202"/>
                <a:gd name="T26" fmla="*/ 162 w 244"/>
                <a:gd name="T27" fmla="*/ 23 h 202"/>
                <a:gd name="T28" fmla="*/ 154 w 244"/>
                <a:gd name="T29" fmla="*/ 22 h 202"/>
                <a:gd name="T30" fmla="*/ 150 w 244"/>
                <a:gd name="T31" fmla="*/ 17 h 202"/>
                <a:gd name="T32" fmla="*/ 149 w 244"/>
                <a:gd name="T33" fmla="*/ 10 h 202"/>
                <a:gd name="T34" fmla="*/ 141 w 244"/>
                <a:gd name="T35" fmla="*/ 1 h 202"/>
                <a:gd name="T36" fmla="*/ 132 w 244"/>
                <a:gd name="T37" fmla="*/ 5 h 202"/>
                <a:gd name="T38" fmla="*/ 89 w 244"/>
                <a:gd name="T39" fmla="*/ 24 h 202"/>
                <a:gd name="T40" fmla="*/ 84 w 244"/>
                <a:gd name="T41" fmla="*/ 34 h 202"/>
                <a:gd name="T42" fmla="*/ 66 w 244"/>
                <a:gd name="T43" fmla="*/ 36 h 202"/>
                <a:gd name="T44" fmla="*/ 57 w 244"/>
                <a:gd name="T45" fmla="*/ 44 h 202"/>
                <a:gd name="T46" fmla="*/ 47 w 244"/>
                <a:gd name="T47" fmla="*/ 50 h 202"/>
                <a:gd name="T48" fmla="*/ 33 w 244"/>
                <a:gd name="T49" fmla="*/ 61 h 202"/>
                <a:gd name="T50" fmla="*/ 18 w 244"/>
                <a:gd name="T51" fmla="*/ 64 h 202"/>
                <a:gd name="T52" fmla="*/ 7 w 244"/>
                <a:gd name="T53" fmla="*/ 65 h 202"/>
                <a:gd name="T54" fmla="*/ 3 w 244"/>
                <a:gd name="T55" fmla="*/ 77 h 202"/>
                <a:gd name="T56" fmla="*/ 15 w 244"/>
                <a:gd name="T57" fmla="*/ 88 h 202"/>
                <a:gd name="T58" fmla="*/ 34 w 244"/>
                <a:gd name="T59" fmla="*/ 105 h 202"/>
                <a:gd name="T60" fmla="*/ 41 w 244"/>
                <a:gd name="T61" fmla="*/ 102 h 202"/>
                <a:gd name="T62" fmla="*/ 53 w 244"/>
                <a:gd name="T63" fmla="*/ 117 h 202"/>
                <a:gd name="T64" fmla="*/ 40 w 244"/>
                <a:gd name="T65" fmla="*/ 127 h 202"/>
                <a:gd name="T66" fmla="*/ 56 w 244"/>
                <a:gd name="T67" fmla="*/ 147 h 202"/>
                <a:gd name="T68" fmla="*/ 62 w 244"/>
                <a:gd name="T69" fmla="*/ 161 h 202"/>
                <a:gd name="T70" fmla="*/ 81 w 244"/>
                <a:gd name="T71" fmla="*/ 170 h 202"/>
                <a:gd name="T72" fmla="*/ 93 w 244"/>
                <a:gd name="T73" fmla="*/ 182 h 202"/>
                <a:gd name="T74" fmla="*/ 108 w 244"/>
                <a:gd name="T75" fmla="*/ 200 h 202"/>
                <a:gd name="T76" fmla="*/ 125 w 244"/>
                <a:gd name="T77" fmla="*/ 201 h 202"/>
                <a:gd name="T78" fmla="*/ 136 w 244"/>
                <a:gd name="T79" fmla="*/ 193 h 202"/>
                <a:gd name="T80" fmla="*/ 139 w 244"/>
                <a:gd name="T81" fmla="*/ 172 h 202"/>
                <a:gd name="T82" fmla="*/ 157 w 244"/>
                <a:gd name="T83" fmla="*/ 159 h 202"/>
                <a:gd name="T84" fmla="*/ 178 w 244"/>
                <a:gd name="T85" fmla="*/ 152 h 202"/>
                <a:gd name="T86" fmla="*/ 189 w 244"/>
                <a:gd name="T87" fmla="*/ 136 h 202"/>
                <a:gd name="T88" fmla="*/ 198 w 244"/>
                <a:gd name="T89" fmla="*/ 130 h 202"/>
                <a:gd name="T90" fmla="*/ 207 w 244"/>
                <a:gd name="T91" fmla="*/ 134 h 202"/>
                <a:gd name="T92" fmla="*/ 216 w 244"/>
                <a:gd name="T93" fmla="*/ 148 h 202"/>
                <a:gd name="T94" fmla="*/ 229 w 244"/>
                <a:gd name="T95" fmla="*/ 154 h 202"/>
                <a:gd name="T96" fmla="*/ 235 w 244"/>
                <a:gd name="T97" fmla="*/ 138 h 202"/>
                <a:gd name="T98" fmla="*/ 228 w 244"/>
                <a:gd name="T99" fmla="*/ 122 h 202"/>
                <a:gd name="T100" fmla="*/ 244 w 244"/>
                <a:gd name="T101" fmla="*/ 9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244" y="97"/>
                  </a:moveTo>
                  <a:cubicBezTo>
                    <a:pt x="244" y="96"/>
                    <a:pt x="244" y="95"/>
                    <a:pt x="243" y="94"/>
                  </a:cubicBezTo>
                  <a:cubicBezTo>
                    <a:pt x="242" y="93"/>
                    <a:pt x="242" y="90"/>
                    <a:pt x="242" y="88"/>
                  </a:cubicBezTo>
                  <a:cubicBezTo>
                    <a:pt x="242" y="87"/>
                    <a:pt x="242" y="85"/>
                    <a:pt x="242" y="84"/>
                  </a:cubicBezTo>
                  <a:cubicBezTo>
                    <a:pt x="242" y="82"/>
                    <a:pt x="240" y="82"/>
                    <a:pt x="240" y="82"/>
                  </a:cubicBezTo>
                  <a:cubicBezTo>
                    <a:pt x="239" y="81"/>
                    <a:pt x="238" y="82"/>
                    <a:pt x="237" y="81"/>
                  </a:cubicBezTo>
                  <a:cubicBezTo>
                    <a:pt x="237" y="80"/>
                    <a:pt x="236" y="80"/>
                    <a:pt x="235" y="81"/>
                  </a:cubicBezTo>
                  <a:cubicBezTo>
                    <a:pt x="235" y="82"/>
                    <a:pt x="233" y="81"/>
                    <a:pt x="232" y="81"/>
                  </a:cubicBezTo>
                  <a:cubicBezTo>
                    <a:pt x="232" y="81"/>
                    <a:pt x="230" y="81"/>
                    <a:pt x="229" y="80"/>
                  </a:cubicBezTo>
                  <a:cubicBezTo>
                    <a:pt x="228" y="79"/>
                    <a:pt x="226" y="76"/>
                    <a:pt x="226" y="75"/>
                  </a:cubicBezTo>
                  <a:cubicBezTo>
                    <a:pt x="226" y="74"/>
                    <a:pt x="225" y="71"/>
                    <a:pt x="226" y="70"/>
                  </a:cubicBezTo>
                  <a:cubicBezTo>
                    <a:pt x="227" y="68"/>
                    <a:pt x="226" y="66"/>
                    <a:pt x="226" y="65"/>
                  </a:cubicBezTo>
                  <a:cubicBezTo>
                    <a:pt x="226" y="64"/>
                    <a:pt x="225" y="64"/>
                    <a:pt x="225" y="64"/>
                  </a:cubicBezTo>
                  <a:cubicBezTo>
                    <a:pt x="225" y="64"/>
                    <a:pt x="224" y="64"/>
                    <a:pt x="221" y="65"/>
                  </a:cubicBezTo>
                  <a:cubicBezTo>
                    <a:pt x="213" y="63"/>
                    <a:pt x="215" y="55"/>
                    <a:pt x="215" y="53"/>
                  </a:cubicBezTo>
                  <a:cubicBezTo>
                    <a:pt x="215" y="52"/>
                    <a:pt x="215" y="52"/>
                    <a:pt x="216" y="51"/>
                  </a:cubicBezTo>
                  <a:cubicBezTo>
                    <a:pt x="216" y="51"/>
                    <a:pt x="216" y="48"/>
                    <a:pt x="216" y="48"/>
                  </a:cubicBezTo>
                  <a:cubicBezTo>
                    <a:pt x="216" y="47"/>
                    <a:pt x="215" y="46"/>
                    <a:pt x="215" y="46"/>
                  </a:cubicBezTo>
                  <a:cubicBezTo>
                    <a:pt x="213" y="48"/>
                    <a:pt x="213" y="48"/>
                    <a:pt x="213" y="48"/>
                  </a:cubicBezTo>
                  <a:cubicBezTo>
                    <a:pt x="213" y="48"/>
                    <a:pt x="210" y="47"/>
                    <a:pt x="209" y="47"/>
                  </a:cubicBezTo>
                  <a:cubicBezTo>
                    <a:pt x="209" y="48"/>
                    <a:pt x="204" y="47"/>
                    <a:pt x="204" y="47"/>
                  </a:cubicBezTo>
                  <a:cubicBezTo>
                    <a:pt x="197" y="45"/>
                    <a:pt x="197" y="45"/>
                    <a:pt x="197" y="45"/>
                  </a:cubicBezTo>
                  <a:cubicBezTo>
                    <a:pt x="193" y="44"/>
                    <a:pt x="193" y="44"/>
                    <a:pt x="193" y="44"/>
                  </a:cubicBezTo>
                  <a:cubicBezTo>
                    <a:pt x="191" y="43"/>
                    <a:pt x="191" y="43"/>
                    <a:pt x="191" y="43"/>
                  </a:cubicBezTo>
                  <a:cubicBezTo>
                    <a:pt x="189" y="43"/>
                    <a:pt x="189" y="43"/>
                    <a:pt x="189" y="43"/>
                  </a:cubicBezTo>
                  <a:cubicBezTo>
                    <a:pt x="189" y="43"/>
                    <a:pt x="187" y="45"/>
                    <a:pt x="186" y="45"/>
                  </a:cubicBezTo>
                  <a:cubicBezTo>
                    <a:pt x="186" y="46"/>
                    <a:pt x="185" y="46"/>
                    <a:pt x="185" y="46"/>
                  </a:cubicBezTo>
                  <a:cubicBezTo>
                    <a:pt x="184" y="46"/>
                    <a:pt x="184" y="45"/>
                    <a:pt x="183" y="45"/>
                  </a:cubicBezTo>
                  <a:cubicBezTo>
                    <a:pt x="182" y="44"/>
                    <a:pt x="181" y="46"/>
                    <a:pt x="181" y="46"/>
                  </a:cubicBezTo>
                  <a:cubicBezTo>
                    <a:pt x="180" y="46"/>
                    <a:pt x="180" y="46"/>
                    <a:pt x="180" y="46"/>
                  </a:cubicBezTo>
                  <a:cubicBezTo>
                    <a:pt x="179" y="44"/>
                    <a:pt x="179" y="44"/>
                    <a:pt x="179" y="44"/>
                  </a:cubicBezTo>
                  <a:cubicBezTo>
                    <a:pt x="177" y="43"/>
                    <a:pt x="177" y="43"/>
                    <a:pt x="177" y="43"/>
                  </a:cubicBezTo>
                  <a:cubicBezTo>
                    <a:pt x="177" y="43"/>
                    <a:pt x="175" y="44"/>
                    <a:pt x="175" y="44"/>
                  </a:cubicBezTo>
                  <a:cubicBezTo>
                    <a:pt x="175" y="45"/>
                    <a:pt x="173" y="46"/>
                    <a:pt x="173" y="46"/>
                  </a:cubicBezTo>
                  <a:cubicBezTo>
                    <a:pt x="172" y="45"/>
                    <a:pt x="172" y="45"/>
                    <a:pt x="172" y="45"/>
                  </a:cubicBezTo>
                  <a:cubicBezTo>
                    <a:pt x="172" y="45"/>
                    <a:pt x="172" y="43"/>
                    <a:pt x="172" y="42"/>
                  </a:cubicBezTo>
                  <a:cubicBezTo>
                    <a:pt x="172" y="42"/>
                    <a:pt x="172" y="40"/>
                    <a:pt x="172" y="40"/>
                  </a:cubicBezTo>
                  <a:cubicBezTo>
                    <a:pt x="172" y="40"/>
                    <a:pt x="170" y="40"/>
                    <a:pt x="169" y="40"/>
                  </a:cubicBezTo>
                  <a:cubicBezTo>
                    <a:pt x="169" y="40"/>
                    <a:pt x="168" y="40"/>
                    <a:pt x="168" y="40"/>
                  </a:cubicBezTo>
                  <a:cubicBezTo>
                    <a:pt x="168" y="44"/>
                    <a:pt x="168" y="44"/>
                    <a:pt x="168" y="44"/>
                  </a:cubicBezTo>
                  <a:cubicBezTo>
                    <a:pt x="168" y="44"/>
                    <a:pt x="165" y="46"/>
                    <a:pt x="164" y="46"/>
                  </a:cubicBezTo>
                  <a:cubicBezTo>
                    <a:pt x="163" y="47"/>
                    <a:pt x="162" y="47"/>
                    <a:pt x="162" y="47"/>
                  </a:cubicBezTo>
                  <a:cubicBezTo>
                    <a:pt x="160" y="45"/>
                    <a:pt x="160" y="45"/>
                    <a:pt x="160" y="45"/>
                  </a:cubicBezTo>
                  <a:cubicBezTo>
                    <a:pt x="159" y="45"/>
                    <a:pt x="159" y="45"/>
                    <a:pt x="159" y="45"/>
                  </a:cubicBezTo>
                  <a:cubicBezTo>
                    <a:pt x="154" y="47"/>
                    <a:pt x="154" y="47"/>
                    <a:pt x="154" y="47"/>
                  </a:cubicBezTo>
                  <a:cubicBezTo>
                    <a:pt x="154" y="47"/>
                    <a:pt x="155" y="46"/>
                    <a:pt x="155" y="46"/>
                  </a:cubicBezTo>
                  <a:cubicBezTo>
                    <a:pt x="156" y="45"/>
                    <a:pt x="156" y="44"/>
                    <a:pt x="156" y="44"/>
                  </a:cubicBezTo>
                  <a:cubicBezTo>
                    <a:pt x="156" y="44"/>
                    <a:pt x="159" y="44"/>
                    <a:pt x="160" y="44"/>
                  </a:cubicBezTo>
                  <a:cubicBezTo>
                    <a:pt x="161" y="44"/>
                    <a:pt x="162" y="44"/>
                    <a:pt x="162" y="44"/>
                  </a:cubicBezTo>
                  <a:cubicBezTo>
                    <a:pt x="162" y="43"/>
                    <a:pt x="164" y="41"/>
                    <a:pt x="164" y="40"/>
                  </a:cubicBezTo>
                  <a:cubicBezTo>
                    <a:pt x="165" y="40"/>
                    <a:pt x="166" y="38"/>
                    <a:pt x="167" y="37"/>
                  </a:cubicBezTo>
                  <a:cubicBezTo>
                    <a:pt x="169" y="37"/>
                    <a:pt x="171" y="34"/>
                    <a:pt x="171" y="34"/>
                  </a:cubicBezTo>
                  <a:cubicBezTo>
                    <a:pt x="172" y="34"/>
                    <a:pt x="171" y="31"/>
                    <a:pt x="171" y="29"/>
                  </a:cubicBezTo>
                  <a:cubicBezTo>
                    <a:pt x="171" y="28"/>
                    <a:pt x="170" y="26"/>
                    <a:pt x="168" y="24"/>
                  </a:cubicBezTo>
                  <a:cubicBezTo>
                    <a:pt x="167" y="22"/>
                    <a:pt x="167" y="24"/>
                    <a:pt x="166" y="23"/>
                  </a:cubicBezTo>
                  <a:cubicBezTo>
                    <a:pt x="164" y="23"/>
                    <a:pt x="164" y="23"/>
                    <a:pt x="162" y="23"/>
                  </a:cubicBezTo>
                  <a:cubicBezTo>
                    <a:pt x="159" y="22"/>
                    <a:pt x="160" y="23"/>
                    <a:pt x="160" y="23"/>
                  </a:cubicBezTo>
                  <a:cubicBezTo>
                    <a:pt x="160" y="23"/>
                    <a:pt x="159" y="23"/>
                    <a:pt x="158" y="22"/>
                  </a:cubicBezTo>
                  <a:cubicBezTo>
                    <a:pt x="158" y="21"/>
                    <a:pt x="156" y="21"/>
                    <a:pt x="156" y="21"/>
                  </a:cubicBezTo>
                  <a:cubicBezTo>
                    <a:pt x="156" y="21"/>
                    <a:pt x="155" y="22"/>
                    <a:pt x="154" y="22"/>
                  </a:cubicBezTo>
                  <a:cubicBezTo>
                    <a:pt x="154" y="21"/>
                    <a:pt x="155" y="20"/>
                    <a:pt x="156" y="18"/>
                  </a:cubicBezTo>
                  <a:cubicBezTo>
                    <a:pt x="157" y="17"/>
                    <a:pt x="154" y="17"/>
                    <a:pt x="153" y="16"/>
                  </a:cubicBezTo>
                  <a:cubicBezTo>
                    <a:pt x="152" y="15"/>
                    <a:pt x="151" y="14"/>
                    <a:pt x="151" y="14"/>
                  </a:cubicBezTo>
                  <a:cubicBezTo>
                    <a:pt x="151" y="14"/>
                    <a:pt x="150" y="16"/>
                    <a:pt x="150" y="17"/>
                  </a:cubicBezTo>
                  <a:cubicBezTo>
                    <a:pt x="149" y="19"/>
                    <a:pt x="148" y="19"/>
                    <a:pt x="147" y="19"/>
                  </a:cubicBezTo>
                  <a:cubicBezTo>
                    <a:pt x="146" y="19"/>
                    <a:pt x="146" y="17"/>
                    <a:pt x="146" y="16"/>
                  </a:cubicBezTo>
                  <a:cubicBezTo>
                    <a:pt x="145" y="15"/>
                    <a:pt x="146" y="14"/>
                    <a:pt x="146" y="13"/>
                  </a:cubicBezTo>
                  <a:cubicBezTo>
                    <a:pt x="147" y="12"/>
                    <a:pt x="148" y="11"/>
                    <a:pt x="149" y="10"/>
                  </a:cubicBezTo>
                  <a:cubicBezTo>
                    <a:pt x="150" y="10"/>
                    <a:pt x="149" y="8"/>
                    <a:pt x="149" y="7"/>
                  </a:cubicBezTo>
                  <a:cubicBezTo>
                    <a:pt x="149" y="7"/>
                    <a:pt x="147" y="4"/>
                    <a:pt x="147" y="3"/>
                  </a:cubicBezTo>
                  <a:cubicBezTo>
                    <a:pt x="146" y="3"/>
                    <a:pt x="144" y="1"/>
                    <a:pt x="144" y="1"/>
                  </a:cubicBezTo>
                  <a:cubicBezTo>
                    <a:pt x="143" y="0"/>
                    <a:pt x="141" y="1"/>
                    <a:pt x="141" y="1"/>
                  </a:cubicBezTo>
                  <a:cubicBezTo>
                    <a:pt x="141" y="1"/>
                    <a:pt x="140" y="0"/>
                    <a:pt x="140" y="0"/>
                  </a:cubicBezTo>
                  <a:cubicBezTo>
                    <a:pt x="139" y="0"/>
                    <a:pt x="139" y="0"/>
                    <a:pt x="139" y="1"/>
                  </a:cubicBezTo>
                  <a:cubicBezTo>
                    <a:pt x="138" y="1"/>
                    <a:pt x="137" y="2"/>
                    <a:pt x="137" y="3"/>
                  </a:cubicBezTo>
                  <a:cubicBezTo>
                    <a:pt x="135" y="4"/>
                    <a:pt x="133" y="4"/>
                    <a:pt x="132" y="5"/>
                  </a:cubicBezTo>
                  <a:cubicBezTo>
                    <a:pt x="126" y="6"/>
                    <a:pt x="120" y="8"/>
                    <a:pt x="115" y="9"/>
                  </a:cubicBezTo>
                  <a:cubicBezTo>
                    <a:pt x="109" y="11"/>
                    <a:pt x="103" y="11"/>
                    <a:pt x="98" y="13"/>
                  </a:cubicBezTo>
                  <a:cubicBezTo>
                    <a:pt x="94" y="14"/>
                    <a:pt x="88" y="14"/>
                    <a:pt x="87" y="18"/>
                  </a:cubicBezTo>
                  <a:cubicBezTo>
                    <a:pt x="86" y="21"/>
                    <a:pt x="89" y="21"/>
                    <a:pt x="89" y="24"/>
                  </a:cubicBezTo>
                  <a:cubicBezTo>
                    <a:pt x="89" y="27"/>
                    <a:pt x="87" y="28"/>
                    <a:pt x="86" y="30"/>
                  </a:cubicBezTo>
                  <a:cubicBezTo>
                    <a:pt x="86" y="31"/>
                    <a:pt x="86" y="31"/>
                    <a:pt x="86" y="31"/>
                  </a:cubicBezTo>
                  <a:cubicBezTo>
                    <a:pt x="88" y="31"/>
                    <a:pt x="90" y="31"/>
                    <a:pt x="88" y="33"/>
                  </a:cubicBezTo>
                  <a:cubicBezTo>
                    <a:pt x="87" y="34"/>
                    <a:pt x="85" y="33"/>
                    <a:pt x="84" y="34"/>
                  </a:cubicBezTo>
                  <a:cubicBezTo>
                    <a:pt x="82" y="36"/>
                    <a:pt x="86" y="43"/>
                    <a:pt x="83" y="44"/>
                  </a:cubicBezTo>
                  <a:cubicBezTo>
                    <a:pt x="80" y="44"/>
                    <a:pt x="77" y="38"/>
                    <a:pt x="75" y="37"/>
                  </a:cubicBezTo>
                  <a:cubicBezTo>
                    <a:pt x="74" y="35"/>
                    <a:pt x="72" y="33"/>
                    <a:pt x="70" y="32"/>
                  </a:cubicBezTo>
                  <a:cubicBezTo>
                    <a:pt x="68" y="31"/>
                    <a:pt x="66" y="33"/>
                    <a:pt x="66" y="36"/>
                  </a:cubicBezTo>
                  <a:cubicBezTo>
                    <a:pt x="66" y="38"/>
                    <a:pt x="68" y="40"/>
                    <a:pt x="68" y="42"/>
                  </a:cubicBezTo>
                  <a:cubicBezTo>
                    <a:pt x="69" y="44"/>
                    <a:pt x="66" y="45"/>
                    <a:pt x="63" y="45"/>
                  </a:cubicBezTo>
                  <a:cubicBezTo>
                    <a:pt x="62" y="45"/>
                    <a:pt x="61" y="43"/>
                    <a:pt x="60" y="43"/>
                  </a:cubicBezTo>
                  <a:cubicBezTo>
                    <a:pt x="59" y="42"/>
                    <a:pt x="58" y="43"/>
                    <a:pt x="57" y="44"/>
                  </a:cubicBezTo>
                  <a:cubicBezTo>
                    <a:pt x="54" y="44"/>
                    <a:pt x="53" y="43"/>
                    <a:pt x="50" y="42"/>
                  </a:cubicBezTo>
                  <a:cubicBezTo>
                    <a:pt x="48" y="41"/>
                    <a:pt x="46" y="42"/>
                    <a:pt x="46" y="44"/>
                  </a:cubicBezTo>
                  <a:cubicBezTo>
                    <a:pt x="46" y="46"/>
                    <a:pt x="47" y="45"/>
                    <a:pt x="48" y="46"/>
                  </a:cubicBezTo>
                  <a:cubicBezTo>
                    <a:pt x="48" y="47"/>
                    <a:pt x="47" y="49"/>
                    <a:pt x="47" y="50"/>
                  </a:cubicBezTo>
                  <a:cubicBezTo>
                    <a:pt x="46" y="51"/>
                    <a:pt x="44" y="51"/>
                    <a:pt x="44" y="52"/>
                  </a:cubicBezTo>
                  <a:cubicBezTo>
                    <a:pt x="43" y="53"/>
                    <a:pt x="44" y="54"/>
                    <a:pt x="44" y="55"/>
                  </a:cubicBezTo>
                  <a:cubicBezTo>
                    <a:pt x="43" y="57"/>
                    <a:pt x="38" y="58"/>
                    <a:pt x="35" y="59"/>
                  </a:cubicBezTo>
                  <a:cubicBezTo>
                    <a:pt x="34" y="60"/>
                    <a:pt x="34" y="60"/>
                    <a:pt x="33" y="61"/>
                  </a:cubicBezTo>
                  <a:cubicBezTo>
                    <a:pt x="32" y="62"/>
                    <a:pt x="32" y="63"/>
                    <a:pt x="31" y="64"/>
                  </a:cubicBezTo>
                  <a:cubicBezTo>
                    <a:pt x="30" y="65"/>
                    <a:pt x="27" y="65"/>
                    <a:pt x="26" y="65"/>
                  </a:cubicBezTo>
                  <a:cubicBezTo>
                    <a:pt x="24" y="66"/>
                    <a:pt x="22" y="67"/>
                    <a:pt x="20" y="65"/>
                  </a:cubicBezTo>
                  <a:cubicBezTo>
                    <a:pt x="19" y="65"/>
                    <a:pt x="19" y="65"/>
                    <a:pt x="18" y="64"/>
                  </a:cubicBezTo>
                  <a:cubicBezTo>
                    <a:pt x="18" y="63"/>
                    <a:pt x="18" y="63"/>
                    <a:pt x="18" y="62"/>
                  </a:cubicBezTo>
                  <a:cubicBezTo>
                    <a:pt x="17" y="62"/>
                    <a:pt x="15" y="64"/>
                    <a:pt x="13" y="63"/>
                  </a:cubicBezTo>
                  <a:cubicBezTo>
                    <a:pt x="12" y="62"/>
                    <a:pt x="13" y="59"/>
                    <a:pt x="11" y="61"/>
                  </a:cubicBezTo>
                  <a:cubicBezTo>
                    <a:pt x="9" y="63"/>
                    <a:pt x="9" y="64"/>
                    <a:pt x="7" y="65"/>
                  </a:cubicBezTo>
                  <a:cubicBezTo>
                    <a:pt x="4" y="66"/>
                    <a:pt x="2" y="67"/>
                    <a:pt x="1" y="69"/>
                  </a:cubicBezTo>
                  <a:cubicBezTo>
                    <a:pt x="0" y="70"/>
                    <a:pt x="0" y="70"/>
                    <a:pt x="0" y="70"/>
                  </a:cubicBezTo>
                  <a:cubicBezTo>
                    <a:pt x="0" y="71"/>
                    <a:pt x="1" y="71"/>
                    <a:pt x="1" y="72"/>
                  </a:cubicBezTo>
                  <a:cubicBezTo>
                    <a:pt x="2" y="73"/>
                    <a:pt x="3" y="75"/>
                    <a:pt x="3" y="77"/>
                  </a:cubicBezTo>
                  <a:cubicBezTo>
                    <a:pt x="4" y="79"/>
                    <a:pt x="5" y="78"/>
                    <a:pt x="7" y="80"/>
                  </a:cubicBezTo>
                  <a:cubicBezTo>
                    <a:pt x="9" y="81"/>
                    <a:pt x="9" y="82"/>
                    <a:pt x="9" y="84"/>
                  </a:cubicBezTo>
                  <a:cubicBezTo>
                    <a:pt x="10" y="86"/>
                    <a:pt x="11" y="86"/>
                    <a:pt x="13" y="87"/>
                  </a:cubicBezTo>
                  <a:cubicBezTo>
                    <a:pt x="14" y="87"/>
                    <a:pt x="14" y="88"/>
                    <a:pt x="15" y="88"/>
                  </a:cubicBezTo>
                  <a:cubicBezTo>
                    <a:pt x="16" y="88"/>
                    <a:pt x="16" y="87"/>
                    <a:pt x="17" y="87"/>
                  </a:cubicBezTo>
                  <a:cubicBezTo>
                    <a:pt x="19" y="87"/>
                    <a:pt x="20" y="87"/>
                    <a:pt x="22" y="89"/>
                  </a:cubicBezTo>
                  <a:cubicBezTo>
                    <a:pt x="25" y="92"/>
                    <a:pt x="24" y="95"/>
                    <a:pt x="25" y="99"/>
                  </a:cubicBezTo>
                  <a:cubicBezTo>
                    <a:pt x="26" y="102"/>
                    <a:pt x="31" y="105"/>
                    <a:pt x="34" y="105"/>
                  </a:cubicBezTo>
                  <a:cubicBezTo>
                    <a:pt x="34" y="105"/>
                    <a:pt x="34" y="104"/>
                    <a:pt x="35" y="104"/>
                  </a:cubicBezTo>
                  <a:cubicBezTo>
                    <a:pt x="36" y="103"/>
                    <a:pt x="36" y="103"/>
                    <a:pt x="37" y="103"/>
                  </a:cubicBezTo>
                  <a:cubicBezTo>
                    <a:pt x="38" y="103"/>
                    <a:pt x="39" y="103"/>
                    <a:pt x="40" y="103"/>
                  </a:cubicBezTo>
                  <a:cubicBezTo>
                    <a:pt x="40" y="103"/>
                    <a:pt x="41" y="102"/>
                    <a:pt x="41" y="102"/>
                  </a:cubicBezTo>
                  <a:cubicBezTo>
                    <a:pt x="43" y="101"/>
                    <a:pt x="44" y="104"/>
                    <a:pt x="44" y="104"/>
                  </a:cubicBezTo>
                  <a:cubicBezTo>
                    <a:pt x="46" y="105"/>
                    <a:pt x="48" y="104"/>
                    <a:pt x="50" y="105"/>
                  </a:cubicBezTo>
                  <a:cubicBezTo>
                    <a:pt x="50" y="108"/>
                    <a:pt x="54" y="107"/>
                    <a:pt x="55" y="109"/>
                  </a:cubicBezTo>
                  <a:cubicBezTo>
                    <a:pt x="57" y="112"/>
                    <a:pt x="55" y="115"/>
                    <a:pt x="53" y="117"/>
                  </a:cubicBezTo>
                  <a:cubicBezTo>
                    <a:pt x="52" y="119"/>
                    <a:pt x="52" y="119"/>
                    <a:pt x="50" y="119"/>
                  </a:cubicBezTo>
                  <a:cubicBezTo>
                    <a:pt x="49" y="118"/>
                    <a:pt x="48" y="117"/>
                    <a:pt x="48" y="117"/>
                  </a:cubicBezTo>
                  <a:cubicBezTo>
                    <a:pt x="45" y="116"/>
                    <a:pt x="44" y="118"/>
                    <a:pt x="43" y="120"/>
                  </a:cubicBezTo>
                  <a:cubicBezTo>
                    <a:pt x="42" y="122"/>
                    <a:pt x="41" y="125"/>
                    <a:pt x="40" y="127"/>
                  </a:cubicBezTo>
                  <a:cubicBezTo>
                    <a:pt x="39" y="130"/>
                    <a:pt x="37" y="129"/>
                    <a:pt x="35" y="131"/>
                  </a:cubicBezTo>
                  <a:cubicBezTo>
                    <a:pt x="30" y="134"/>
                    <a:pt x="40" y="141"/>
                    <a:pt x="42" y="142"/>
                  </a:cubicBezTo>
                  <a:cubicBezTo>
                    <a:pt x="45" y="143"/>
                    <a:pt x="48" y="142"/>
                    <a:pt x="51" y="144"/>
                  </a:cubicBezTo>
                  <a:cubicBezTo>
                    <a:pt x="52" y="145"/>
                    <a:pt x="55" y="146"/>
                    <a:pt x="56" y="147"/>
                  </a:cubicBezTo>
                  <a:cubicBezTo>
                    <a:pt x="54" y="148"/>
                    <a:pt x="52" y="147"/>
                    <a:pt x="51" y="148"/>
                  </a:cubicBezTo>
                  <a:cubicBezTo>
                    <a:pt x="49" y="150"/>
                    <a:pt x="51" y="150"/>
                    <a:pt x="52" y="152"/>
                  </a:cubicBezTo>
                  <a:cubicBezTo>
                    <a:pt x="54" y="155"/>
                    <a:pt x="56" y="157"/>
                    <a:pt x="59" y="159"/>
                  </a:cubicBezTo>
                  <a:cubicBezTo>
                    <a:pt x="60" y="159"/>
                    <a:pt x="61" y="161"/>
                    <a:pt x="62" y="161"/>
                  </a:cubicBezTo>
                  <a:cubicBezTo>
                    <a:pt x="63" y="161"/>
                    <a:pt x="65" y="160"/>
                    <a:pt x="66" y="159"/>
                  </a:cubicBezTo>
                  <a:cubicBezTo>
                    <a:pt x="68" y="159"/>
                    <a:pt x="71" y="160"/>
                    <a:pt x="73" y="161"/>
                  </a:cubicBezTo>
                  <a:cubicBezTo>
                    <a:pt x="76" y="162"/>
                    <a:pt x="77" y="164"/>
                    <a:pt x="79" y="165"/>
                  </a:cubicBezTo>
                  <a:cubicBezTo>
                    <a:pt x="82" y="167"/>
                    <a:pt x="83" y="167"/>
                    <a:pt x="81" y="170"/>
                  </a:cubicBezTo>
                  <a:cubicBezTo>
                    <a:pt x="80" y="172"/>
                    <a:pt x="78" y="174"/>
                    <a:pt x="79" y="176"/>
                  </a:cubicBezTo>
                  <a:cubicBezTo>
                    <a:pt x="80" y="177"/>
                    <a:pt x="84" y="178"/>
                    <a:pt x="85" y="179"/>
                  </a:cubicBezTo>
                  <a:cubicBezTo>
                    <a:pt x="88" y="180"/>
                    <a:pt x="88" y="179"/>
                    <a:pt x="90" y="178"/>
                  </a:cubicBezTo>
                  <a:cubicBezTo>
                    <a:pt x="94" y="176"/>
                    <a:pt x="92" y="180"/>
                    <a:pt x="93" y="182"/>
                  </a:cubicBezTo>
                  <a:cubicBezTo>
                    <a:pt x="97" y="183"/>
                    <a:pt x="98" y="185"/>
                    <a:pt x="98" y="189"/>
                  </a:cubicBezTo>
                  <a:cubicBezTo>
                    <a:pt x="101" y="189"/>
                    <a:pt x="102" y="191"/>
                    <a:pt x="101" y="192"/>
                  </a:cubicBezTo>
                  <a:cubicBezTo>
                    <a:pt x="103" y="193"/>
                    <a:pt x="105" y="193"/>
                    <a:pt x="106" y="194"/>
                  </a:cubicBezTo>
                  <a:cubicBezTo>
                    <a:pt x="107" y="196"/>
                    <a:pt x="107" y="198"/>
                    <a:pt x="108" y="200"/>
                  </a:cubicBezTo>
                  <a:cubicBezTo>
                    <a:pt x="110" y="200"/>
                    <a:pt x="110" y="199"/>
                    <a:pt x="112" y="199"/>
                  </a:cubicBezTo>
                  <a:cubicBezTo>
                    <a:pt x="114" y="200"/>
                    <a:pt x="114" y="201"/>
                    <a:pt x="116" y="200"/>
                  </a:cubicBezTo>
                  <a:cubicBezTo>
                    <a:pt x="118" y="198"/>
                    <a:pt x="119" y="199"/>
                    <a:pt x="121" y="200"/>
                  </a:cubicBezTo>
                  <a:cubicBezTo>
                    <a:pt x="122" y="201"/>
                    <a:pt x="124" y="202"/>
                    <a:pt x="125" y="201"/>
                  </a:cubicBezTo>
                  <a:cubicBezTo>
                    <a:pt x="125" y="200"/>
                    <a:pt x="126" y="199"/>
                    <a:pt x="126" y="198"/>
                  </a:cubicBezTo>
                  <a:cubicBezTo>
                    <a:pt x="127" y="196"/>
                    <a:pt x="128" y="198"/>
                    <a:pt x="130" y="198"/>
                  </a:cubicBezTo>
                  <a:cubicBezTo>
                    <a:pt x="132" y="198"/>
                    <a:pt x="139" y="199"/>
                    <a:pt x="139" y="196"/>
                  </a:cubicBezTo>
                  <a:cubicBezTo>
                    <a:pt x="138" y="194"/>
                    <a:pt x="137" y="193"/>
                    <a:pt x="136" y="193"/>
                  </a:cubicBezTo>
                  <a:cubicBezTo>
                    <a:pt x="135" y="192"/>
                    <a:pt x="135" y="190"/>
                    <a:pt x="135" y="189"/>
                  </a:cubicBezTo>
                  <a:cubicBezTo>
                    <a:pt x="135" y="187"/>
                    <a:pt x="136" y="186"/>
                    <a:pt x="136" y="185"/>
                  </a:cubicBezTo>
                  <a:cubicBezTo>
                    <a:pt x="136" y="183"/>
                    <a:pt x="136" y="181"/>
                    <a:pt x="137" y="180"/>
                  </a:cubicBezTo>
                  <a:cubicBezTo>
                    <a:pt x="137" y="177"/>
                    <a:pt x="138" y="174"/>
                    <a:pt x="139" y="172"/>
                  </a:cubicBezTo>
                  <a:cubicBezTo>
                    <a:pt x="140" y="169"/>
                    <a:pt x="141" y="165"/>
                    <a:pt x="144" y="163"/>
                  </a:cubicBezTo>
                  <a:cubicBezTo>
                    <a:pt x="145" y="162"/>
                    <a:pt x="148" y="163"/>
                    <a:pt x="150" y="162"/>
                  </a:cubicBezTo>
                  <a:cubicBezTo>
                    <a:pt x="152" y="160"/>
                    <a:pt x="152" y="159"/>
                    <a:pt x="155" y="160"/>
                  </a:cubicBezTo>
                  <a:cubicBezTo>
                    <a:pt x="156" y="160"/>
                    <a:pt x="156" y="160"/>
                    <a:pt x="157" y="159"/>
                  </a:cubicBezTo>
                  <a:cubicBezTo>
                    <a:pt x="159" y="159"/>
                    <a:pt x="159" y="159"/>
                    <a:pt x="160" y="159"/>
                  </a:cubicBezTo>
                  <a:cubicBezTo>
                    <a:pt x="163" y="159"/>
                    <a:pt x="164" y="158"/>
                    <a:pt x="167" y="157"/>
                  </a:cubicBezTo>
                  <a:cubicBezTo>
                    <a:pt x="169" y="156"/>
                    <a:pt x="170" y="155"/>
                    <a:pt x="172" y="154"/>
                  </a:cubicBezTo>
                  <a:cubicBezTo>
                    <a:pt x="174" y="153"/>
                    <a:pt x="176" y="153"/>
                    <a:pt x="178" y="152"/>
                  </a:cubicBezTo>
                  <a:cubicBezTo>
                    <a:pt x="180" y="151"/>
                    <a:pt x="179" y="149"/>
                    <a:pt x="181" y="147"/>
                  </a:cubicBezTo>
                  <a:cubicBezTo>
                    <a:pt x="182" y="146"/>
                    <a:pt x="182" y="146"/>
                    <a:pt x="183" y="144"/>
                  </a:cubicBezTo>
                  <a:cubicBezTo>
                    <a:pt x="184" y="142"/>
                    <a:pt x="185" y="141"/>
                    <a:pt x="186" y="139"/>
                  </a:cubicBezTo>
                  <a:cubicBezTo>
                    <a:pt x="187" y="137"/>
                    <a:pt x="187" y="136"/>
                    <a:pt x="189" y="136"/>
                  </a:cubicBezTo>
                  <a:cubicBezTo>
                    <a:pt x="191" y="136"/>
                    <a:pt x="193" y="137"/>
                    <a:pt x="193" y="135"/>
                  </a:cubicBezTo>
                  <a:cubicBezTo>
                    <a:pt x="193" y="133"/>
                    <a:pt x="193" y="132"/>
                    <a:pt x="193" y="130"/>
                  </a:cubicBezTo>
                  <a:cubicBezTo>
                    <a:pt x="193" y="129"/>
                    <a:pt x="194" y="127"/>
                    <a:pt x="195" y="127"/>
                  </a:cubicBezTo>
                  <a:cubicBezTo>
                    <a:pt x="197" y="127"/>
                    <a:pt x="198" y="129"/>
                    <a:pt x="198" y="130"/>
                  </a:cubicBezTo>
                  <a:cubicBezTo>
                    <a:pt x="199" y="130"/>
                    <a:pt x="201" y="130"/>
                    <a:pt x="201" y="130"/>
                  </a:cubicBezTo>
                  <a:cubicBezTo>
                    <a:pt x="202" y="131"/>
                    <a:pt x="202" y="131"/>
                    <a:pt x="203" y="132"/>
                  </a:cubicBezTo>
                  <a:cubicBezTo>
                    <a:pt x="203" y="133"/>
                    <a:pt x="204" y="132"/>
                    <a:pt x="205" y="132"/>
                  </a:cubicBezTo>
                  <a:cubicBezTo>
                    <a:pt x="207" y="133"/>
                    <a:pt x="207" y="134"/>
                    <a:pt x="207" y="134"/>
                  </a:cubicBezTo>
                  <a:cubicBezTo>
                    <a:pt x="208" y="136"/>
                    <a:pt x="210" y="135"/>
                    <a:pt x="210" y="137"/>
                  </a:cubicBezTo>
                  <a:cubicBezTo>
                    <a:pt x="210" y="139"/>
                    <a:pt x="211" y="140"/>
                    <a:pt x="212" y="141"/>
                  </a:cubicBezTo>
                  <a:cubicBezTo>
                    <a:pt x="213" y="143"/>
                    <a:pt x="213" y="143"/>
                    <a:pt x="213" y="145"/>
                  </a:cubicBezTo>
                  <a:cubicBezTo>
                    <a:pt x="214" y="147"/>
                    <a:pt x="215" y="147"/>
                    <a:pt x="216" y="148"/>
                  </a:cubicBezTo>
                  <a:cubicBezTo>
                    <a:pt x="217" y="149"/>
                    <a:pt x="219" y="150"/>
                    <a:pt x="220" y="151"/>
                  </a:cubicBezTo>
                  <a:cubicBezTo>
                    <a:pt x="221" y="151"/>
                    <a:pt x="223" y="151"/>
                    <a:pt x="224" y="151"/>
                  </a:cubicBezTo>
                  <a:cubicBezTo>
                    <a:pt x="225" y="152"/>
                    <a:pt x="227" y="153"/>
                    <a:pt x="228" y="153"/>
                  </a:cubicBezTo>
                  <a:cubicBezTo>
                    <a:pt x="228" y="153"/>
                    <a:pt x="229" y="154"/>
                    <a:pt x="229" y="154"/>
                  </a:cubicBezTo>
                  <a:cubicBezTo>
                    <a:pt x="230" y="153"/>
                    <a:pt x="230" y="153"/>
                    <a:pt x="230" y="153"/>
                  </a:cubicBezTo>
                  <a:cubicBezTo>
                    <a:pt x="230" y="152"/>
                    <a:pt x="230" y="150"/>
                    <a:pt x="230" y="148"/>
                  </a:cubicBezTo>
                  <a:cubicBezTo>
                    <a:pt x="231" y="146"/>
                    <a:pt x="231" y="145"/>
                    <a:pt x="231" y="144"/>
                  </a:cubicBezTo>
                  <a:cubicBezTo>
                    <a:pt x="232" y="143"/>
                    <a:pt x="234" y="139"/>
                    <a:pt x="235" y="138"/>
                  </a:cubicBezTo>
                  <a:cubicBezTo>
                    <a:pt x="235" y="137"/>
                    <a:pt x="236" y="134"/>
                    <a:pt x="236" y="133"/>
                  </a:cubicBezTo>
                  <a:cubicBezTo>
                    <a:pt x="236" y="133"/>
                    <a:pt x="234" y="131"/>
                    <a:pt x="233" y="130"/>
                  </a:cubicBezTo>
                  <a:cubicBezTo>
                    <a:pt x="232" y="129"/>
                    <a:pt x="230" y="129"/>
                    <a:pt x="229" y="127"/>
                  </a:cubicBezTo>
                  <a:cubicBezTo>
                    <a:pt x="228" y="125"/>
                    <a:pt x="228" y="123"/>
                    <a:pt x="228" y="122"/>
                  </a:cubicBezTo>
                  <a:cubicBezTo>
                    <a:pt x="228" y="121"/>
                    <a:pt x="228" y="119"/>
                    <a:pt x="228" y="119"/>
                  </a:cubicBezTo>
                  <a:cubicBezTo>
                    <a:pt x="228" y="119"/>
                    <a:pt x="230" y="114"/>
                    <a:pt x="231" y="111"/>
                  </a:cubicBezTo>
                  <a:cubicBezTo>
                    <a:pt x="233" y="104"/>
                    <a:pt x="244" y="100"/>
                    <a:pt x="244" y="100"/>
                  </a:cubicBezTo>
                  <a:cubicBezTo>
                    <a:pt x="244" y="99"/>
                    <a:pt x="244" y="98"/>
                    <a:pt x="244" y="97"/>
                  </a:cubicBezTo>
                  <a:close/>
                </a:path>
              </a:pathLst>
            </a:custGeom>
            <a:solidFill>
              <a:srgbClr val="8BDD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8" name="Freeform 25">
              <a:extLst>
                <a:ext uri="{FF2B5EF4-FFF2-40B4-BE49-F238E27FC236}">
                  <a16:creationId xmlns:a16="http://schemas.microsoft.com/office/drawing/2014/main" id="{F4840A10-F260-27BB-73F3-3136E5E1063B}"/>
                </a:ext>
              </a:extLst>
            </p:cNvPr>
            <p:cNvSpPr>
              <a:spLocks noEditPoints="1"/>
            </p:cNvSpPr>
            <p:nvPr/>
          </p:nvSpPr>
          <p:spPr bwMode="auto">
            <a:xfrm>
              <a:off x="6667500" y="4471988"/>
              <a:ext cx="558800" cy="677862"/>
            </a:xfrm>
            <a:custGeom>
              <a:avLst/>
              <a:gdLst>
                <a:gd name="T0" fmla="*/ 58 w 147"/>
                <a:gd name="T1" fmla="*/ 150 h 178"/>
                <a:gd name="T2" fmla="*/ 62 w 147"/>
                <a:gd name="T3" fmla="*/ 140 h 178"/>
                <a:gd name="T4" fmla="*/ 72 w 147"/>
                <a:gd name="T5" fmla="*/ 149 h 178"/>
                <a:gd name="T6" fmla="*/ 85 w 147"/>
                <a:gd name="T7" fmla="*/ 155 h 178"/>
                <a:gd name="T8" fmla="*/ 98 w 147"/>
                <a:gd name="T9" fmla="*/ 159 h 178"/>
                <a:gd name="T10" fmla="*/ 101 w 147"/>
                <a:gd name="T11" fmla="*/ 161 h 178"/>
                <a:gd name="T12" fmla="*/ 108 w 147"/>
                <a:gd name="T13" fmla="*/ 156 h 178"/>
                <a:gd name="T14" fmla="*/ 107 w 147"/>
                <a:gd name="T15" fmla="*/ 142 h 178"/>
                <a:gd name="T16" fmla="*/ 115 w 147"/>
                <a:gd name="T17" fmla="*/ 126 h 178"/>
                <a:gd name="T18" fmla="*/ 103 w 147"/>
                <a:gd name="T19" fmla="*/ 116 h 178"/>
                <a:gd name="T20" fmla="*/ 90 w 147"/>
                <a:gd name="T21" fmla="*/ 130 h 178"/>
                <a:gd name="T22" fmla="*/ 89 w 147"/>
                <a:gd name="T23" fmla="*/ 145 h 178"/>
                <a:gd name="T24" fmla="*/ 109 w 147"/>
                <a:gd name="T25" fmla="*/ 161 h 178"/>
                <a:gd name="T26" fmla="*/ 114 w 147"/>
                <a:gd name="T27" fmla="*/ 177 h 178"/>
                <a:gd name="T28" fmla="*/ 124 w 147"/>
                <a:gd name="T29" fmla="*/ 167 h 178"/>
                <a:gd name="T30" fmla="*/ 132 w 147"/>
                <a:gd name="T31" fmla="*/ 163 h 178"/>
                <a:gd name="T32" fmla="*/ 140 w 147"/>
                <a:gd name="T33" fmla="*/ 151 h 178"/>
                <a:gd name="T34" fmla="*/ 127 w 147"/>
                <a:gd name="T35" fmla="*/ 145 h 178"/>
                <a:gd name="T36" fmla="*/ 131 w 147"/>
                <a:gd name="T37" fmla="*/ 129 h 178"/>
                <a:gd name="T38" fmla="*/ 133 w 147"/>
                <a:gd name="T39" fmla="*/ 124 h 178"/>
                <a:gd name="T40" fmla="*/ 143 w 147"/>
                <a:gd name="T41" fmla="*/ 121 h 178"/>
                <a:gd name="T42" fmla="*/ 139 w 147"/>
                <a:gd name="T43" fmla="*/ 105 h 178"/>
                <a:gd name="T44" fmla="*/ 134 w 147"/>
                <a:gd name="T45" fmla="*/ 101 h 178"/>
                <a:gd name="T46" fmla="*/ 120 w 147"/>
                <a:gd name="T47" fmla="*/ 114 h 178"/>
                <a:gd name="T48" fmla="*/ 119 w 147"/>
                <a:gd name="T49" fmla="*/ 132 h 178"/>
                <a:gd name="T50" fmla="*/ 117 w 147"/>
                <a:gd name="T51" fmla="*/ 141 h 178"/>
                <a:gd name="T52" fmla="*/ 117 w 147"/>
                <a:gd name="T53" fmla="*/ 150 h 178"/>
                <a:gd name="T54" fmla="*/ 146 w 147"/>
                <a:gd name="T55" fmla="*/ 78 h 178"/>
                <a:gd name="T56" fmla="*/ 127 w 147"/>
                <a:gd name="T57" fmla="*/ 79 h 178"/>
                <a:gd name="T58" fmla="*/ 88 w 147"/>
                <a:gd name="T59" fmla="*/ 22 h 178"/>
                <a:gd name="T60" fmla="*/ 74 w 147"/>
                <a:gd name="T61" fmla="*/ 11 h 178"/>
                <a:gd name="T62" fmla="*/ 54 w 147"/>
                <a:gd name="T63" fmla="*/ 9 h 178"/>
                <a:gd name="T64" fmla="*/ 32 w 147"/>
                <a:gd name="T65" fmla="*/ 13 h 178"/>
                <a:gd name="T66" fmla="*/ 21 w 147"/>
                <a:gd name="T67" fmla="*/ 4 h 178"/>
                <a:gd name="T68" fmla="*/ 10 w 147"/>
                <a:gd name="T69" fmla="*/ 4 h 178"/>
                <a:gd name="T70" fmla="*/ 12 w 147"/>
                <a:gd name="T71" fmla="*/ 15 h 178"/>
                <a:gd name="T72" fmla="*/ 9 w 147"/>
                <a:gd name="T73" fmla="*/ 28 h 178"/>
                <a:gd name="T74" fmla="*/ 5 w 147"/>
                <a:gd name="T75" fmla="*/ 52 h 178"/>
                <a:gd name="T76" fmla="*/ 19 w 147"/>
                <a:gd name="T77" fmla="*/ 64 h 178"/>
                <a:gd name="T78" fmla="*/ 26 w 147"/>
                <a:gd name="T79" fmla="*/ 67 h 178"/>
                <a:gd name="T80" fmla="*/ 45 w 147"/>
                <a:gd name="T81" fmla="*/ 80 h 178"/>
                <a:gd name="T82" fmla="*/ 40 w 147"/>
                <a:gd name="T83" fmla="*/ 92 h 178"/>
                <a:gd name="T84" fmla="*/ 39 w 147"/>
                <a:gd name="T85" fmla="*/ 118 h 178"/>
                <a:gd name="T86" fmla="*/ 50 w 147"/>
                <a:gd name="T87" fmla="*/ 126 h 178"/>
                <a:gd name="T88" fmla="*/ 69 w 147"/>
                <a:gd name="T89" fmla="*/ 128 h 178"/>
                <a:gd name="T90" fmla="*/ 74 w 147"/>
                <a:gd name="T91" fmla="*/ 122 h 178"/>
                <a:gd name="T92" fmla="*/ 82 w 147"/>
                <a:gd name="T93" fmla="*/ 105 h 178"/>
                <a:gd name="T94" fmla="*/ 95 w 147"/>
                <a:gd name="T95" fmla="*/ 102 h 178"/>
                <a:gd name="T96" fmla="*/ 108 w 147"/>
                <a:gd name="T97" fmla="*/ 101 h 178"/>
                <a:gd name="T98" fmla="*/ 114 w 147"/>
                <a:gd name="T99" fmla="*/ 105 h 178"/>
                <a:gd name="T100" fmla="*/ 114 w 147"/>
                <a:gd name="T101" fmla="*/ 96 h 178"/>
                <a:gd name="T102" fmla="*/ 124 w 147"/>
                <a:gd name="T103" fmla="*/ 92 h 178"/>
                <a:gd name="T104" fmla="*/ 116 w 147"/>
                <a:gd name="T105" fmla="*/ 78 h 178"/>
                <a:gd name="T106" fmla="*/ 110 w 147"/>
                <a:gd name="T107" fmla="*/ 77 h 178"/>
                <a:gd name="T108" fmla="*/ 110 w 147"/>
                <a:gd name="T109" fmla="*/ 69 h 178"/>
                <a:gd name="T110" fmla="*/ 98 w 147"/>
                <a:gd name="T111" fmla="*/ 63 h 178"/>
                <a:gd name="T112" fmla="*/ 87 w 147"/>
                <a:gd name="T113" fmla="*/ 55 h 178"/>
                <a:gd name="T114" fmla="*/ 86 w 147"/>
                <a:gd name="T115" fmla="*/ 46 h 178"/>
                <a:gd name="T116" fmla="*/ 88 w 147"/>
                <a:gd name="T117" fmla="*/ 36 h 178"/>
                <a:gd name="T118" fmla="*/ 88 w 147"/>
                <a:gd name="T1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7" h="178">
                  <a:moveTo>
                    <a:pt x="67" y="165"/>
                  </a:moveTo>
                  <a:cubicBezTo>
                    <a:pt x="66" y="164"/>
                    <a:pt x="65" y="163"/>
                    <a:pt x="65" y="162"/>
                  </a:cubicBezTo>
                  <a:cubicBezTo>
                    <a:pt x="64" y="161"/>
                    <a:pt x="63" y="160"/>
                    <a:pt x="63" y="159"/>
                  </a:cubicBezTo>
                  <a:cubicBezTo>
                    <a:pt x="61" y="157"/>
                    <a:pt x="56" y="155"/>
                    <a:pt x="57" y="152"/>
                  </a:cubicBezTo>
                  <a:cubicBezTo>
                    <a:pt x="58" y="151"/>
                    <a:pt x="58" y="150"/>
                    <a:pt x="58" y="150"/>
                  </a:cubicBezTo>
                  <a:cubicBezTo>
                    <a:pt x="58" y="149"/>
                    <a:pt x="58" y="148"/>
                    <a:pt x="58" y="147"/>
                  </a:cubicBezTo>
                  <a:cubicBezTo>
                    <a:pt x="59" y="147"/>
                    <a:pt x="59" y="146"/>
                    <a:pt x="60" y="145"/>
                  </a:cubicBezTo>
                  <a:cubicBezTo>
                    <a:pt x="61" y="144"/>
                    <a:pt x="62" y="144"/>
                    <a:pt x="61" y="143"/>
                  </a:cubicBezTo>
                  <a:cubicBezTo>
                    <a:pt x="61" y="142"/>
                    <a:pt x="60" y="142"/>
                    <a:pt x="60" y="141"/>
                  </a:cubicBezTo>
                  <a:cubicBezTo>
                    <a:pt x="62" y="140"/>
                    <a:pt x="62" y="140"/>
                    <a:pt x="62" y="140"/>
                  </a:cubicBezTo>
                  <a:cubicBezTo>
                    <a:pt x="63" y="139"/>
                    <a:pt x="64" y="141"/>
                    <a:pt x="65" y="141"/>
                  </a:cubicBezTo>
                  <a:cubicBezTo>
                    <a:pt x="66" y="142"/>
                    <a:pt x="66" y="141"/>
                    <a:pt x="68" y="140"/>
                  </a:cubicBezTo>
                  <a:cubicBezTo>
                    <a:pt x="68" y="142"/>
                    <a:pt x="68" y="144"/>
                    <a:pt x="69" y="145"/>
                  </a:cubicBezTo>
                  <a:cubicBezTo>
                    <a:pt x="70" y="146"/>
                    <a:pt x="72" y="145"/>
                    <a:pt x="72" y="146"/>
                  </a:cubicBezTo>
                  <a:cubicBezTo>
                    <a:pt x="72" y="147"/>
                    <a:pt x="72" y="149"/>
                    <a:pt x="72" y="149"/>
                  </a:cubicBezTo>
                  <a:cubicBezTo>
                    <a:pt x="71" y="151"/>
                    <a:pt x="73" y="153"/>
                    <a:pt x="73" y="155"/>
                  </a:cubicBezTo>
                  <a:cubicBezTo>
                    <a:pt x="72" y="157"/>
                    <a:pt x="72" y="159"/>
                    <a:pt x="72" y="161"/>
                  </a:cubicBezTo>
                  <a:cubicBezTo>
                    <a:pt x="72" y="162"/>
                    <a:pt x="72" y="164"/>
                    <a:pt x="71" y="164"/>
                  </a:cubicBezTo>
                  <a:cubicBezTo>
                    <a:pt x="70" y="165"/>
                    <a:pt x="68" y="165"/>
                    <a:pt x="67" y="165"/>
                  </a:cubicBezTo>
                  <a:close/>
                  <a:moveTo>
                    <a:pt x="85" y="155"/>
                  </a:moveTo>
                  <a:cubicBezTo>
                    <a:pt x="85" y="156"/>
                    <a:pt x="85" y="159"/>
                    <a:pt x="86" y="159"/>
                  </a:cubicBezTo>
                  <a:cubicBezTo>
                    <a:pt x="86" y="160"/>
                    <a:pt x="90" y="159"/>
                    <a:pt x="91" y="158"/>
                  </a:cubicBezTo>
                  <a:cubicBezTo>
                    <a:pt x="92" y="158"/>
                    <a:pt x="92" y="157"/>
                    <a:pt x="93" y="156"/>
                  </a:cubicBezTo>
                  <a:cubicBezTo>
                    <a:pt x="94" y="156"/>
                    <a:pt x="94" y="158"/>
                    <a:pt x="94" y="159"/>
                  </a:cubicBezTo>
                  <a:cubicBezTo>
                    <a:pt x="95" y="161"/>
                    <a:pt x="97" y="161"/>
                    <a:pt x="98" y="159"/>
                  </a:cubicBezTo>
                  <a:cubicBezTo>
                    <a:pt x="99" y="159"/>
                    <a:pt x="99" y="157"/>
                    <a:pt x="99" y="156"/>
                  </a:cubicBezTo>
                  <a:cubicBezTo>
                    <a:pt x="99" y="156"/>
                    <a:pt x="98" y="155"/>
                    <a:pt x="98" y="155"/>
                  </a:cubicBezTo>
                  <a:cubicBezTo>
                    <a:pt x="99" y="154"/>
                    <a:pt x="101" y="153"/>
                    <a:pt x="102" y="152"/>
                  </a:cubicBezTo>
                  <a:cubicBezTo>
                    <a:pt x="102" y="153"/>
                    <a:pt x="102" y="154"/>
                    <a:pt x="102" y="155"/>
                  </a:cubicBezTo>
                  <a:cubicBezTo>
                    <a:pt x="102" y="157"/>
                    <a:pt x="101" y="159"/>
                    <a:pt x="101" y="161"/>
                  </a:cubicBezTo>
                  <a:cubicBezTo>
                    <a:pt x="101" y="163"/>
                    <a:pt x="102" y="163"/>
                    <a:pt x="103" y="162"/>
                  </a:cubicBezTo>
                  <a:cubicBezTo>
                    <a:pt x="104" y="161"/>
                    <a:pt x="104" y="161"/>
                    <a:pt x="104" y="161"/>
                  </a:cubicBezTo>
                  <a:cubicBezTo>
                    <a:pt x="105" y="161"/>
                    <a:pt x="105" y="161"/>
                    <a:pt x="106" y="160"/>
                  </a:cubicBezTo>
                  <a:cubicBezTo>
                    <a:pt x="106" y="160"/>
                    <a:pt x="106" y="159"/>
                    <a:pt x="107" y="158"/>
                  </a:cubicBezTo>
                  <a:cubicBezTo>
                    <a:pt x="107" y="157"/>
                    <a:pt x="108" y="157"/>
                    <a:pt x="108" y="156"/>
                  </a:cubicBezTo>
                  <a:cubicBezTo>
                    <a:pt x="108" y="155"/>
                    <a:pt x="109" y="154"/>
                    <a:pt x="108" y="153"/>
                  </a:cubicBezTo>
                  <a:cubicBezTo>
                    <a:pt x="108" y="151"/>
                    <a:pt x="108" y="152"/>
                    <a:pt x="107" y="151"/>
                  </a:cubicBezTo>
                  <a:cubicBezTo>
                    <a:pt x="105" y="150"/>
                    <a:pt x="109" y="148"/>
                    <a:pt x="105" y="148"/>
                  </a:cubicBezTo>
                  <a:cubicBezTo>
                    <a:pt x="105" y="147"/>
                    <a:pt x="106" y="146"/>
                    <a:pt x="106" y="146"/>
                  </a:cubicBezTo>
                  <a:cubicBezTo>
                    <a:pt x="107" y="145"/>
                    <a:pt x="107" y="143"/>
                    <a:pt x="107" y="142"/>
                  </a:cubicBezTo>
                  <a:cubicBezTo>
                    <a:pt x="108" y="140"/>
                    <a:pt x="110" y="139"/>
                    <a:pt x="111" y="137"/>
                  </a:cubicBezTo>
                  <a:cubicBezTo>
                    <a:pt x="112" y="136"/>
                    <a:pt x="114" y="135"/>
                    <a:pt x="115" y="134"/>
                  </a:cubicBezTo>
                  <a:cubicBezTo>
                    <a:pt x="116" y="133"/>
                    <a:pt x="117" y="130"/>
                    <a:pt x="116" y="129"/>
                  </a:cubicBezTo>
                  <a:cubicBezTo>
                    <a:pt x="115" y="129"/>
                    <a:pt x="114" y="129"/>
                    <a:pt x="114" y="128"/>
                  </a:cubicBezTo>
                  <a:cubicBezTo>
                    <a:pt x="114" y="127"/>
                    <a:pt x="114" y="126"/>
                    <a:pt x="115" y="126"/>
                  </a:cubicBezTo>
                  <a:cubicBezTo>
                    <a:pt x="115" y="124"/>
                    <a:pt x="114" y="122"/>
                    <a:pt x="114" y="120"/>
                  </a:cubicBezTo>
                  <a:cubicBezTo>
                    <a:pt x="113" y="118"/>
                    <a:pt x="114" y="117"/>
                    <a:pt x="114" y="115"/>
                  </a:cubicBezTo>
                  <a:cubicBezTo>
                    <a:pt x="114" y="113"/>
                    <a:pt x="113" y="113"/>
                    <a:pt x="111" y="112"/>
                  </a:cubicBezTo>
                  <a:cubicBezTo>
                    <a:pt x="110" y="112"/>
                    <a:pt x="108" y="112"/>
                    <a:pt x="107" y="114"/>
                  </a:cubicBezTo>
                  <a:cubicBezTo>
                    <a:pt x="106" y="115"/>
                    <a:pt x="104" y="115"/>
                    <a:pt x="103" y="116"/>
                  </a:cubicBezTo>
                  <a:cubicBezTo>
                    <a:pt x="102" y="117"/>
                    <a:pt x="100" y="119"/>
                    <a:pt x="99" y="119"/>
                  </a:cubicBezTo>
                  <a:cubicBezTo>
                    <a:pt x="97" y="120"/>
                    <a:pt x="96" y="120"/>
                    <a:pt x="94" y="120"/>
                  </a:cubicBezTo>
                  <a:cubicBezTo>
                    <a:pt x="93" y="120"/>
                    <a:pt x="92" y="120"/>
                    <a:pt x="91" y="121"/>
                  </a:cubicBezTo>
                  <a:cubicBezTo>
                    <a:pt x="91" y="122"/>
                    <a:pt x="90" y="123"/>
                    <a:pt x="90" y="123"/>
                  </a:cubicBezTo>
                  <a:cubicBezTo>
                    <a:pt x="89" y="125"/>
                    <a:pt x="89" y="128"/>
                    <a:pt x="90" y="130"/>
                  </a:cubicBezTo>
                  <a:cubicBezTo>
                    <a:pt x="91" y="132"/>
                    <a:pt x="94" y="133"/>
                    <a:pt x="93" y="136"/>
                  </a:cubicBezTo>
                  <a:cubicBezTo>
                    <a:pt x="92" y="137"/>
                    <a:pt x="92" y="137"/>
                    <a:pt x="92" y="138"/>
                  </a:cubicBezTo>
                  <a:cubicBezTo>
                    <a:pt x="92" y="139"/>
                    <a:pt x="93" y="140"/>
                    <a:pt x="92" y="141"/>
                  </a:cubicBezTo>
                  <a:cubicBezTo>
                    <a:pt x="91" y="141"/>
                    <a:pt x="90" y="141"/>
                    <a:pt x="89" y="142"/>
                  </a:cubicBezTo>
                  <a:cubicBezTo>
                    <a:pt x="89" y="143"/>
                    <a:pt x="89" y="144"/>
                    <a:pt x="89" y="145"/>
                  </a:cubicBezTo>
                  <a:cubicBezTo>
                    <a:pt x="88" y="146"/>
                    <a:pt x="89" y="147"/>
                    <a:pt x="89" y="148"/>
                  </a:cubicBezTo>
                  <a:cubicBezTo>
                    <a:pt x="88" y="149"/>
                    <a:pt x="88" y="151"/>
                    <a:pt x="87" y="152"/>
                  </a:cubicBezTo>
                  <a:cubicBezTo>
                    <a:pt x="86" y="153"/>
                    <a:pt x="86" y="154"/>
                    <a:pt x="85" y="155"/>
                  </a:cubicBezTo>
                  <a:close/>
                  <a:moveTo>
                    <a:pt x="110" y="158"/>
                  </a:moveTo>
                  <a:cubicBezTo>
                    <a:pt x="109" y="159"/>
                    <a:pt x="109" y="160"/>
                    <a:pt x="109" y="161"/>
                  </a:cubicBezTo>
                  <a:cubicBezTo>
                    <a:pt x="109" y="163"/>
                    <a:pt x="106" y="163"/>
                    <a:pt x="105" y="164"/>
                  </a:cubicBezTo>
                  <a:cubicBezTo>
                    <a:pt x="103" y="167"/>
                    <a:pt x="106" y="169"/>
                    <a:pt x="107" y="172"/>
                  </a:cubicBezTo>
                  <a:cubicBezTo>
                    <a:pt x="107" y="173"/>
                    <a:pt x="106" y="178"/>
                    <a:pt x="109" y="177"/>
                  </a:cubicBezTo>
                  <a:cubicBezTo>
                    <a:pt x="111" y="177"/>
                    <a:pt x="111" y="174"/>
                    <a:pt x="113" y="175"/>
                  </a:cubicBezTo>
                  <a:cubicBezTo>
                    <a:pt x="114" y="175"/>
                    <a:pt x="113" y="176"/>
                    <a:pt x="114" y="177"/>
                  </a:cubicBezTo>
                  <a:cubicBezTo>
                    <a:pt x="115" y="177"/>
                    <a:pt x="116" y="176"/>
                    <a:pt x="116" y="177"/>
                  </a:cubicBezTo>
                  <a:cubicBezTo>
                    <a:pt x="117" y="177"/>
                    <a:pt x="117" y="178"/>
                    <a:pt x="117" y="178"/>
                  </a:cubicBezTo>
                  <a:cubicBezTo>
                    <a:pt x="118" y="178"/>
                    <a:pt x="120" y="176"/>
                    <a:pt x="120" y="175"/>
                  </a:cubicBezTo>
                  <a:cubicBezTo>
                    <a:pt x="121" y="173"/>
                    <a:pt x="122" y="172"/>
                    <a:pt x="123" y="171"/>
                  </a:cubicBezTo>
                  <a:cubicBezTo>
                    <a:pt x="124" y="170"/>
                    <a:pt x="125" y="168"/>
                    <a:pt x="124" y="167"/>
                  </a:cubicBezTo>
                  <a:cubicBezTo>
                    <a:pt x="123" y="166"/>
                    <a:pt x="121" y="167"/>
                    <a:pt x="120" y="166"/>
                  </a:cubicBezTo>
                  <a:cubicBezTo>
                    <a:pt x="121" y="165"/>
                    <a:pt x="122" y="163"/>
                    <a:pt x="124" y="163"/>
                  </a:cubicBezTo>
                  <a:cubicBezTo>
                    <a:pt x="125" y="162"/>
                    <a:pt x="126" y="163"/>
                    <a:pt x="128" y="162"/>
                  </a:cubicBezTo>
                  <a:cubicBezTo>
                    <a:pt x="128" y="162"/>
                    <a:pt x="128" y="161"/>
                    <a:pt x="129" y="161"/>
                  </a:cubicBezTo>
                  <a:cubicBezTo>
                    <a:pt x="131" y="160"/>
                    <a:pt x="131" y="162"/>
                    <a:pt x="132" y="163"/>
                  </a:cubicBezTo>
                  <a:cubicBezTo>
                    <a:pt x="134" y="163"/>
                    <a:pt x="137" y="160"/>
                    <a:pt x="139" y="160"/>
                  </a:cubicBezTo>
                  <a:cubicBezTo>
                    <a:pt x="140" y="159"/>
                    <a:pt x="142" y="158"/>
                    <a:pt x="142" y="156"/>
                  </a:cubicBezTo>
                  <a:cubicBezTo>
                    <a:pt x="143" y="155"/>
                    <a:pt x="143" y="153"/>
                    <a:pt x="143" y="153"/>
                  </a:cubicBezTo>
                  <a:cubicBezTo>
                    <a:pt x="142" y="152"/>
                    <a:pt x="142" y="152"/>
                    <a:pt x="142" y="152"/>
                  </a:cubicBezTo>
                  <a:cubicBezTo>
                    <a:pt x="141" y="152"/>
                    <a:pt x="141" y="152"/>
                    <a:pt x="140" y="151"/>
                  </a:cubicBezTo>
                  <a:cubicBezTo>
                    <a:pt x="138" y="150"/>
                    <a:pt x="137" y="149"/>
                    <a:pt x="136" y="147"/>
                  </a:cubicBezTo>
                  <a:cubicBezTo>
                    <a:pt x="136" y="146"/>
                    <a:pt x="133" y="144"/>
                    <a:pt x="131" y="144"/>
                  </a:cubicBezTo>
                  <a:cubicBezTo>
                    <a:pt x="131" y="144"/>
                    <a:pt x="131" y="145"/>
                    <a:pt x="130" y="145"/>
                  </a:cubicBezTo>
                  <a:cubicBezTo>
                    <a:pt x="130" y="146"/>
                    <a:pt x="129" y="147"/>
                    <a:pt x="128" y="147"/>
                  </a:cubicBezTo>
                  <a:cubicBezTo>
                    <a:pt x="126" y="147"/>
                    <a:pt x="126" y="147"/>
                    <a:pt x="127" y="145"/>
                  </a:cubicBezTo>
                  <a:cubicBezTo>
                    <a:pt x="128" y="144"/>
                    <a:pt x="129" y="143"/>
                    <a:pt x="129" y="141"/>
                  </a:cubicBezTo>
                  <a:cubicBezTo>
                    <a:pt x="129" y="139"/>
                    <a:pt x="128" y="139"/>
                    <a:pt x="128" y="138"/>
                  </a:cubicBezTo>
                  <a:cubicBezTo>
                    <a:pt x="127" y="137"/>
                    <a:pt x="127" y="136"/>
                    <a:pt x="128" y="135"/>
                  </a:cubicBezTo>
                  <a:cubicBezTo>
                    <a:pt x="128" y="134"/>
                    <a:pt x="129" y="133"/>
                    <a:pt x="130" y="132"/>
                  </a:cubicBezTo>
                  <a:cubicBezTo>
                    <a:pt x="131" y="131"/>
                    <a:pt x="131" y="130"/>
                    <a:pt x="131" y="129"/>
                  </a:cubicBezTo>
                  <a:cubicBezTo>
                    <a:pt x="131" y="128"/>
                    <a:pt x="130" y="127"/>
                    <a:pt x="130" y="126"/>
                  </a:cubicBezTo>
                  <a:cubicBezTo>
                    <a:pt x="131" y="125"/>
                    <a:pt x="131" y="125"/>
                    <a:pt x="132" y="124"/>
                  </a:cubicBezTo>
                  <a:cubicBezTo>
                    <a:pt x="134" y="122"/>
                    <a:pt x="132" y="120"/>
                    <a:pt x="133" y="118"/>
                  </a:cubicBezTo>
                  <a:cubicBezTo>
                    <a:pt x="135" y="117"/>
                    <a:pt x="133" y="122"/>
                    <a:pt x="135" y="121"/>
                  </a:cubicBezTo>
                  <a:cubicBezTo>
                    <a:pt x="135" y="122"/>
                    <a:pt x="135" y="124"/>
                    <a:pt x="133" y="124"/>
                  </a:cubicBezTo>
                  <a:cubicBezTo>
                    <a:pt x="132" y="126"/>
                    <a:pt x="135" y="126"/>
                    <a:pt x="136" y="126"/>
                  </a:cubicBezTo>
                  <a:cubicBezTo>
                    <a:pt x="138" y="126"/>
                    <a:pt x="137" y="122"/>
                    <a:pt x="138" y="120"/>
                  </a:cubicBezTo>
                  <a:cubicBezTo>
                    <a:pt x="138" y="118"/>
                    <a:pt x="140" y="120"/>
                    <a:pt x="141" y="121"/>
                  </a:cubicBezTo>
                  <a:cubicBezTo>
                    <a:pt x="141" y="123"/>
                    <a:pt x="141" y="126"/>
                    <a:pt x="143" y="126"/>
                  </a:cubicBezTo>
                  <a:cubicBezTo>
                    <a:pt x="143" y="125"/>
                    <a:pt x="143" y="123"/>
                    <a:pt x="143" y="121"/>
                  </a:cubicBezTo>
                  <a:cubicBezTo>
                    <a:pt x="143" y="120"/>
                    <a:pt x="143" y="118"/>
                    <a:pt x="143" y="116"/>
                  </a:cubicBezTo>
                  <a:cubicBezTo>
                    <a:pt x="142" y="115"/>
                    <a:pt x="142" y="115"/>
                    <a:pt x="142" y="114"/>
                  </a:cubicBezTo>
                  <a:cubicBezTo>
                    <a:pt x="142" y="113"/>
                    <a:pt x="143" y="113"/>
                    <a:pt x="143" y="111"/>
                  </a:cubicBezTo>
                  <a:cubicBezTo>
                    <a:pt x="142" y="110"/>
                    <a:pt x="140" y="109"/>
                    <a:pt x="140" y="108"/>
                  </a:cubicBezTo>
                  <a:cubicBezTo>
                    <a:pt x="139" y="107"/>
                    <a:pt x="139" y="106"/>
                    <a:pt x="139" y="105"/>
                  </a:cubicBezTo>
                  <a:cubicBezTo>
                    <a:pt x="139" y="103"/>
                    <a:pt x="139" y="103"/>
                    <a:pt x="137" y="103"/>
                  </a:cubicBezTo>
                  <a:cubicBezTo>
                    <a:pt x="137" y="103"/>
                    <a:pt x="136" y="103"/>
                    <a:pt x="136" y="103"/>
                  </a:cubicBezTo>
                  <a:cubicBezTo>
                    <a:pt x="135" y="102"/>
                    <a:pt x="135" y="103"/>
                    <a:pt x="135" y="102"/>
                  </a:cubicBezTo>
                  <a:cubicBezTo>
                    <a:pt x="135" y="102"/>
                    <a:pt x="135" y="101"/>
                    <a:pt x="135" y="101"/>
                  </a:cubicBezTo>
                  <a:cubicBezTo>
                    <a:pt x="134" y="101"/>
                    <a:pt x="134" y="100"/>
                    <a:pt x="134" y="101"/>
                  </a:cubicBezTo>
                  <a:cubicBezTo>
                    <a:pt x="134" y="100"/>
                    <a:pt x="135" y="99"/>
                    <a:pt x="135" y="98"/>
                  </a:cubicBezTo>
                  <a:cubicBezTo>
                    <a:pt x="134" y="97"/>
                    <a:pt x="134" y="97"/>
                    <a:pt x="133" y="98"/>
                  </a:cubicBezTo>
                  <a:cubicBezTo>
                    <a:pt x="132" y="98"/>
                    <a:pt x="131" y="99"/>
                    <a:pt x="130" y="99"/>
                  </a:cubicBezTo>
                  <a:cubicBezTo>
                    <a:pt x="129" y="100"/>
                    <a:pt x="128" y="100"/>
                    <a:pt x="127" y="101"/>
                  </a:cubicBezTo>
                  <a:cubicBezTo>
                    <a:pt x="123" y="103"/>
                    <a:pt x="121" y="109"/>
                    <a:pt x="120" y="114"/>
                  </a:cubicBezTo>
                  <a:cubicBezTo>
                    <a:pt x="120" y="116"/>
                    <a:pt x="120" y="118"/>
                    <a:pt x="121" y="120"/>
                  </a:cubicBezTo>
                  <a:cubicBezTo>
                    <a:pt x="121" y="121"/>
                    <a:pt x="122" y="124"/>
                    <a:pt x="121" y="125"/>
                  </a:cubicBezTo>
                  <a:cubicBezTo>
                    <a:pt x="120" y="125"/>
                    <a:pt x="119" y="125"/>
                    <a:pt x="119" y="126"/>
                  </a:cubicBezTo>
                  <a:cubicBezTo>
                    <a:pt x="119" y="126"/>
                    <a:pt x="119" y="127"/>
                    <a:pt x="119" y="128"/>
                  </a:cubicBezTo>
                  <a:cubicBezTo>
                    <a:pt x="119" y="129"/>
                    <a:pt x="119" y="130"/>
                    <a:pt x="119" y="132"/>
                  </a:cubicBezTo>
                  <a:cubicBezTo>
                    <a:pt x="119" y="133"/>
                    <a:pt x="119" y="135"/>
                    <a:pt x="117" y="136"/>
                  </a:cubicBezTo>
                  <a:cubicBezTo>
                    <a:pt x="116" y="137"/>
                    <a:pt x="114" y="137"/>
                    <a:pt x="115" y="138"/>
                  </a:cubicBezTo>
                  <a:cubicBezTo>
                    <a:pt x="116" y="139"/>
                    <a:pt x="117" y="137"/>
                    <a:pt x="117" y="138"/>
                  </a:cubicBezTo>
                  <a:cubicBezTo>
                    <a:pt x="117" y="138"/>
                    <a:pt x="117" y="139"/>
                    <a:pt x="117" y="139"/>
                  </a:cubicBezTo>
                  <a:cubicBezTo>
                    <a:pt x="117" y="140"/>
                    <a:pt x="117" y="141"/>
                    <a:pt x="117" y="141"/>
                  </a:cubicBezTo>
                  <a:cubicBezTo>
                    <a:pt x="117" y="142"/>
                    <a:pt x="117" y="142"/>
                    <a:pt x="117" y="142"/>
                  </a:cubicBezTo>
                  <a:cubicBezTo>
                    <a:pt x="117" y="142"/>
                    <a:pt x="116" y="143"/>
                    <a:pt x="116" y="143"/>
                  </a:cubicBezTo>
                  <a:cubicBezTo>
                    <a:pt x="115" y="144"/>
                    <a:pt x="114" y="148"/>
                    <a:pt x="115" y="149"/>
                  </a:cubicBezTo>
                  <a:cubicBezTo>
                    <a:pt x="116" y="148"/>
                    <a:pt x="116" y="147"/>
                    <a:pt x="118" y="148"/>
                  </a:cubicBezTo>
                  <a:cubicBezTo>
                    <a:pt x="119" y="149"/>
                    <a:pt x="118" y="150"/>
                    <a:pt x="117" y="150"/>
                  </a:cubicBezTo>
                  <a:cubicBezTo>
                    <a:pt x="113" y="153"/>
                    <a:pt x="111" y="155"/>
                    <a:pt x="110" y="158"/>
                  </a:cubicBezTo>
                  <a:close/>
                  <a:moveTo>
                    <a:pt x="139" y="90"/>
                  </a:moveTo>
                  <a:cubicBezTo>
                    <a:pt x="139" y="89"/>
                    <a:pt x="140" y="88"/>
                    <a:pt x="140" y="87"/>
                  </a:cubicBezTo>
                  <a:cubicBezTo>
                    <a:pt x="141" y="86"/>
                    <a:pt x="142" y="85"/>
                    <a:pt x="143" y="85"/>
                  </a:cubicBezTo>
                  <a:cubicBezTo>
                    <a:pt x="146" y="83"/>
                    <a:pt x="147" y="81"/>
                    <a:pt x="146" y="78"/>
                  </a:cubicBezTo>
                  <a:cubicBezTo>
                    <a:pt x="144" y="75"/>
                    <a:pt x="141" y="75"/>
                    <a:pt x="138" y="76"/>
                  </a:cubicBezTo>
                  <a:cubicBezTo>
                    <a:pt x="137" y="76"/>
                    <a:pt x="136" y="76"/>
                    <a:pt x="135" y="75"/>
                  </a:cubicBezTo>
                  <a:cubicBezTo>
                    <a:pt x="134" y="74"/>
                    <a:pt x="132" y="73"/>
                    <a:pt x="131" y="73"/>
                  </a:cubicBezTo>
                  <a:cubicBezTo>
                    <a:pt x="130" y="73"/>
                    <a:pt x="130" y="75"/>
                    <a:pt x="129" y="76"/>
                  </a:cubicBezTo>
                  <a:cubicBezTo>
                    <a:pt x="129" y="77"/>
                    <a:pt x="128" y="78"/>
                    <a:pt x="127" y="79"/>
                  </a:cubicBezTo>
                  <a:cubicBezTo>
                    <a:pt x="126" y="80"/>
                    <a:pt x="127" y="81"/>
                    <a:pt x="128" y="82"/>
                  </a:cubicBezTo>
                  <a:cubicBezTo>
                    <a:pt x="128" y="84"/>
                    <a:pt x="129" y="86"/>
                    <a:pt x="130" y="87"/>
                  </a:cubicBezTo>
                  <a:cubicBezTo>
                    <a:pt x="132" y="88"/>
                    <a:pt x="133" y="89"/>
                    <a:pt x="135" y="90"/>
                  </a:cubicBezTo>
                  <a:cubicBezTo>
                    <a:pt x="136" y="91"/>
                    <a:pt x="137" y="91"/>
                    <a:pt x="139" y="90"/>
                  </a:cubicBezTo>
                  <a:close/>
                  <a:moveTo>
                    <a:pt x="88" y="22"/>
                  </a:moveTo>
                  <a:cubicBezTo>
                    <a:pt x="84" y="22"/>
                    <a:pt x="84" y="22"/>
                    <a:pt x="84" y="22"/>
                  </a:cubicBezTo>
                  <a:cubicBezTo>
                    <a:pt x="80" y="19"/>
                    <a:pt x="80" y="19"/>
                    <a:pt x="80" y="19"/>
                  </a:cubicBezTo>
                  <a:cubicBezTo>
                    <a:pt x="80" y="15"/>
                    <a:pt x="80" y="15"/>
                    <a:pt x="80" y="15"/>
                  </a:cubicBezTo>
                  <a:cubicBezTo>
                    <a:pt x="76" y="14"/>
                    <a:pt x="76" y="14"/>
                    <a:pt x="76" y="14"/>
                  </a:cubicBezTo>
                  <a:cubicBezTo>
                    <a:pt x="74" y="11"/>
                    <a:pt x="74" y="11"/>
                    <a:pt x="74" y="11"/>
                  </a:cubicBezTo>
                  <a:cubicBezTo>
                    <a:pt x="69" y="11"/>
                    <a:pt x="69" y="11"/>
                    <a:pt x="69" y="11"/>
                  </a:cubicBezTo>
                  <a:cubicBezTo>
                    <a:pt x="67" y="12"/>
                    <a:pt x="67" y="12"/>
                    <a:pt x="67" y="12"/>
                  </a:cubicBezTo>
                  <a:cubicBezTo>
                    <a:pt x="63" y="13"/>
                    <a:pt x="63" y="13"/>
                    <a:pt x="63" y="13"/>
                  </a:cubicBezTo>
                  <a:cubicBezTo>
                    <a:pt x="59" y="11"/>
                    <a:pt x="59" y="11"/>
                    <a:pt x="59" y="11"/>
                  </a:cubicBezTo>
                  <a:cubicBezTo>
                    <a:pt x="54" y="9"/>
                    <a:pt x="54" y="9"/>
                    <a:pt x="54" y="9"/>
                  </a:cubicBezTo>
                  <a:cubicBezTo>
                    <a:pt x="49" y="7"/>
                    <a:pt x="49" y="7"/>
                    <a:pt x="49" y="7"/>
                  </a:cubicBezTo>
                  <a:cubicBezTo>
                    <a:pt x="44" y="7"/>
                    <a:pt x="44" y="7"/>
                    <a:pt x="44" y="7"/>
                  </a:cubicBezTo>
                  <a:cubicBezTo>
                    <a:pt x="41" y="11"/>
                    <a:pt x="41" y="11"/>
                    <a:pt x="41" y="11"/>
                  </a:cubicBezTo>
                  <a:cubicBezTo>
                    <a:pt x="37" y="14"/>
                    <a:pt x="37" y="14"/>
                    <a:pt x="37" y="14"/>
                  </a:cubicBezTo>
                  <a:cubicBezTo>
                    <a:pt x="32" y="13"/>
                    <a:pt x="32" y="13"/>
                    <a:pt x="32" y="13"/>
                  </a:cubicBezTo>
                  <a:cubicBezTo>
                    <a:pt x="28" y="10"/>
                    <a:pt x="28" y="10"/>
                    <a:pt x="28" y="10"/>
                  </a:cubicBezTo>
                  <a:cubicBezTo>
                    <a:pt x="31" y="6"/>
                    <a:pt x="31" y="6"/>
                    <a:pt x="31" y="6"/>
                  </a:cubicBezTo>
                  <a:cubicBezTo>
                    <a:pt x="28" y="1"/>
                    <a:pt x="28" y="1"/>
                    <a:pt x="28" y="1"/>
                  </a:cubicBezTo>
                  <a:cubicBezTo>
                    <a:pt x="24" y="2"/>
                    <a:pt x="24" y="2"/>
                    <a:pt x="24" y="2"/>
                  </a:cubicBezTo>
                  <a:cubicBezTo>
                    <a:pt x="21" y="4"/>
                    <a:pt x="21" y="4"/>
                    <a:pt x="21" y="4"/>
                  </a:cubicBezTo>
                  <a:cubicBezTo>
                    <a:pt x="18" y="2"/>
                    <a:pt x="18" y="2"/>
                    <a:pt x="18" y="2"/>
                  </a:cubicBezTo>
                  <a:cubicBezTo>
                    <a:pt x="14" y="0"/>
                    <a:pt x="14" y="0"/>
                    <a:pt x="14" y="0"/>
                  </a:cubicBezTo>
                  <a:cubicBezTo>
                    <a:pt x="7" y="3"/>
                    <a:pt x="7" y="3"/>
                    <a:pt x="7" y="3"/>
                  </a:cubicBezTo>
                  <a:cubicBezTo>
                    <a:pt x="7" y="4"/>
                    <a:pt x="7" y="4"/>
                    <a:pt x="7" y="4"/>
                  </a:cubicBezTo>
                  <a:cubicBezTo>
                    <a:pt x="8" y="4"/>
                    <a:pt x="9" y="3"/>
                    <a:pt x="10" y="4"/>
                  </a:cubicBezTo>
                  <a:cubicBezTo>
                    <a:pt x="10" y="4"/>
                    <a:pt x="11" y="5"/>
                    <a:pt x="11" y="6"/>
                  </a:cubicBezTo>
                  <a:cubicBezTo>
                    <a:pt x="12" y="7"/>
                    <a:pt x="13" y="7"/>
                    <a:pt x="13" y="8"/>
                  </a:cubicBezTo>
                  <a:cubicBezTo>
                    <a:pt x="14" y="9"/>
                    <a:pt x="12" y="10"/>
                    <a:pt x="12" y="11"/>
                  </a:cubicBezTo>
                  <a:cubicBezTo>
                    <a:pt x="11" y="13"/>
                    <a:pt x="14" y="12"/>
                    <a:pt x="13" y="14"/>
                  </a:cubicBezTo>
                  <a:cubicBezTo>
                    <a:pt x="13" y="15"/>
                    <a:pt x="13" y="15"/>
                    <a:pt x="12" y="15"/>
                  </a:cubicBezTo>
                  <a:cubicBezTo>
                    <a:pt x="12" y="16"/>
                    <a:pt x="12" y="16"/>
                    <a:pt x="12" y="16"/>
                  </a:cubicBezTo>
                  <a:cubicBezTo>
                    <a:pt x="11" y="18"/>
                    <a:pt x="11" y="19"/>
                    <a:pt x="11" y="20"/>
                  </a:cubicBezTo>
                  <a:cubicBezTo>
                    <a:pt x="11" y="21"/>
                    <a:pt x="12" y="23"/>
                    <a:pt x="12" y="24"/>
                  </a:cubicBezTo>
                  <a:cubicBezTo>
                    <a:pt x="12" y="24"/>
                    <a:pt x="12" y="25"/>
                    <a:pt x="11" y="26"/>
                  </a:cubicBezTo>
                  <a:cubicBezTo>
                    <a:pt x="10" y="27"/>
                    <a:pt x="9" y="28"/>
                    <a:pt x="9" y="28"/>
                  </a:cubicBezTo>
                  <a:cubicBezTo>
                    <a:pt x="7" y="30"/>
                    <a:pt x="6" y="30"/>
                    <a:pt x="5" y="32"/>
                  </a:cubicBezTo>
                  <a:cubicBezTo>
                    <a:pt x="5" y="33"/>
                    <a:pt x="4" y="34"/>
                    <a:pt x="3" y="35"/>
                  </a:cubicBezTo>
                  <a:cubicBezTo>
                    <a:pt x="2" y="37"/>
                    <a:pt x="1" y="39"/>
                    <a:pt x="0" y="41"/>
                  </a:cubicBezTo>
                  <a:cubicBezTo>
                    <a:pt x="0" y="43"/>
                    <a:pt x="1" y="47"/>
                    <a:pt x="2" y="49"/>
                  </a:cubicBezTo>
                  <a:cubicBezTo>
                    <a:pt x="3" y="50"/>
                    <a:pt x="4" y="51"/>
                    <a:pt x="5" y="52"/>
                  </a:cubicBezTo>
                  <a:cubicBezTo>
                    <a:pt x="7" y="53"/>
                    <a:pt x="8" y="54"/>
                    <a:pt x="9" y="55"/>
                  </a:cubicBezTo>
                  <a:cubicBezTo>
                    <a:pt x="11" y="56"/>
                    <a:pt x="12" y="56"/>
                    <a:pt x="13" y="57"/>
                  </a:cubicBezTo>
                  <a:cubicBezTo>
                    <a:pt x="14" y="58"/>
                    <a:pt x="15" y="58"/>
                    <a:pt x="16" y="59"/>
                  </a:cubicBezTo>
                  <a:cubicBezTo>
                    <a:pt x="16" y="60"/>
                    <a:pt x="17" y="60"/>
                    <a:pt x="17" y="61"/>
                  </a:cubicBezTo>
                  <a:cubicBezTo>
                    <a:pt x="18" y="62"/>
                    <a:pt x="18" y="63"/>
                    <a:pt x="19" y="64"/>
                  </a:cubicBezTo>
                  <a:cubicBezTo>
                    <a:pt x="20" y="64"/>
                    <a:pt x="23" y="63"/>
                    <a:pt x="23" y="64"/>
                  </a:cubicBezTo>
                  <a:cubicBezTo>
                    <a:pt x="24" y="65"/>
                    <a:pt x="22" y="67"/>
                    <a:pt x="23" y="68"/>
                  </a:cubicBezTo>
                  <a:cubicBezTo>
                    <a:pt x="24" y="69"/>
                    <a:pt x="24" y="69"/>
                    <a:pt x="24" y="69"/>
                  </a:cubicBezTo>
                  <a:cubicBezTo>
                    <a:pt x="24" y="68"/>
                    <a:pt x="24" y="68"/>
                    <a:pt x="24" y="68"/>
                  </a:cubicBezTo>
                  <a:cubicBezTo>
                    <a:pt x="25" y="68"/>
                    <a:pt x="25" y="67"/>
                    <a:pt x="26" y="67"/>
                  </a:cubicBezTo>
                  <a:cubicBezTo>
                    <a:pt x="27" y="67"/>
                    <a:pt x="27" y="69"/>
                    <a:pt x="28" y="70"/>
                  </a:cubicBezTo>
                  <a:cubicBezTo>
                    <a:pt x="29" y="73"/>
                    <a:pt x="31" y="74"/>
                    <a:pt x="33" y="75"/>
                  </a:cubicBezTo>
                  <a:cubicBezTo>
                    <a:pt x="36" y="76"/>
                    <a:pt x="38" y="75"/>
                    <a:pt x="41" y="76"/>
                  </a:cubicBezTo>
                  <a:cubicBezTo>
                    <a:pt x="42" y="77"/>
                    <a:pt x="43" y="77"/>
                    <a:pt x="44" y="77"/>
                  </a:cubicBezTo>
                  <a:cubicBezTo>
                    <a:pt x="45" y="78"/>
                    <a:pt x="45" y="79"/>
                    <a:pt x="45" y="80"/>
                  </a:cubicBezTo>
                  <a:cubicBezTo>
                    <a:pt x="45" y="81"/>
                    <a:pt x="45" y="82"/>
                    <a:pt x="45" y="83"/>
                  </a:cubicBezTo>
                  <a:cubicBezTo>
                    <a:pt x="45" y="84"/>
                    <a:pt x="45" y="85"/>
                    <a:pt x="44" y="86"/>
                  </a:cubicBezTo>
                  <a:cubicBezTo>
                    <a:pt x="44" y="87"/>
                    <a:pt x="44" y="88"/>
                    <a:pt x="43" y="89"/>
                  </a:cubicBezTo>
                  <a:cubicBezTo>
                    <a:pt x="43" y="90"/>
                    <a:pt x="42" y="90"/>
                    <a:pt x="42" y="90"/>
                  </a:cubicBezTo>
                  <a:cubicBezTo>
                    <a:pt x="41" y="91"/>
                    <a:pt x="41" y="91"/>
                    <a:pt x="40" y="92"/>
                  </a:cubicBezTo>
                  <a:cubicBezTo>
                    <a:pt x="40" y="94"/>
                    <a:pt x="40" y="96"/>
                    <a:pt x="40" y="98"/>
                  </a:cubicBezTo>
                  <a:cubicBezTo>
                    <a:pt x="40" y="100"/>
                    <a:pt x="40" y="102"/>
                    <a:pt x="39" y="104"/>
                  </a:cubicBezTo>
                  <a:cubicBezTo>
                    <a:pt x="38" y="107"/>
                    <a:pt x="37" y="110"/>
                    <a:pt x="37" y="113"/>
                  </a:cubicBezTo>
                  <a:cubicBezTo>
                    <a:pt x="37" y="114"/>
                    <a:pt x="37" y="115"/>
                    <a:pt x="37" y="116"/>
                  </a:cubicBezTo>
                  <a:cubicBezTo>
                    <a:pt x="37" y="116"/>
                    <a:pt x="38" y="117"/>
                    <a:pt x="39" y="118"/>
                  </a:cubicBezTo>
                  <a:cubicBezTo>
                    <a:pt x="39" y="118"/>
                    <a:pt x="40" y="119"/>
                    <a:pt x="40" y="119"/>
                  </a:cubicBezTo>
                  <a:cubicBezTo>
                    <a:pt x="41" y="120"/>
                    <a:pt x="41" y="121"/>
                    <a:pt x="41" y="121"/>
                  </a:cubicBezTo>
                  <a:cubicBezTo>
                    <a:pt x="42" y="122"/>
                    <a:pt x="44" y="122"/>
                    <a:pt x="45" y="123"/>
                  </a:cubicBezTo>
                  <a:cubicBezTo>
                    <a:pt x="45" y="123"/>
                    <a:pt x="49" y="124"/>
                    <a:pt x="49" y="125"/>
                  </a:cubicBezTo>
                  <a:cubicBezTo>
                    <a:pt x="50" y="125"/>
                    <a:pt x="50" y="126"/>
                    <a:pt x="50" y="126"/>
                  </a:cubicBezTo>
                  <a:cubicBezTo>
                    <a:pt x="51" y="126"/>
                    <a:pt x="52" y="127"/>
                    <a:pt x="52" y="127"/>
                  </a:cubicBezTo>
                  <a:cubicBezTo>
                    <a:pt x="55" y="127"/>
                    <a:pt x="58" y="126"/>
                    <a:pt x="61" y="127"/>
                  </a:cubicBezTo>
                  <a:cubicBezTo>
                    <a:pt x="62" y="127"/>
                    <a:pt x="63" y="128"/>
                    <a:pt x="64" y="128"/>
                  </a:cubicBezTo>
                  <a:cubicBezTo>
                    <a:pt x="64" y="129"/>
                    <a:pt x="66" y="128"/>
                    <a:pt x="67" y="128"/>
                  </a:cubicBezTo>
                  <a:cubicBezTo>
                    <a:pt x="67" y="128"/>
                    <a:pt x="68" y="128"/>
                    <a:pt x="69" y="128"/>
                  </a:cubicBezTo>
                  <a:cubicBezTo>
                    <a:pt x="70" y="128"/>
                    <a:pt x="71" y="128"/>
                    <a:pt x="71" y="128"/>
                  </a:cubicBezTo>
                  <a:cubicBezTo>
                    <a:pt x="72" y="128"/>
                    <a:pt x="72" y="127"/>
                    <a:pt x="72" y="127"/>
                  </a:cubicBezTo>
                  <a:cubicBezTo>
                    <a:pt x="73" y="127"/>
                    <a:pt x="74" y="126"/>
                    <a:pt x="74" y="126"/>
                  </a:cubicBezTo>
                  <a:cubicBezTo>
                    <a:pt x="75" y="125"/>
                    <a:pt x="76" y="124"/>
                    <a:pt x="76" y="123"/>
                  </a:cubicBezTo>
                  <a:cubicBezTo>
                    <a:pt x="75" y="123"/>
                    <a:pt x="74" y="122"/>
                    <a:pt x="74" y="122"/>
                  </a:cubicBezTo>
                  <a:cubicBezTo>
                    <a:pt x="72" y="121"/>
                    <a:pt x="70" y="120"/>
                    <a:pt x="71" y="118"/>
                  </a:cubicBezTo>
                  <a:cubicBezTo>
                    <a:pt x="71" y="117"/>
                    <a:pt x="72" y="115"/>
                    <a:pt x="72" y="113"/>
                  </a:cubicBezTo>
                  <a:cubicBezTo>
                    <a:pt x="73" y="112"/>
                    <a:pt x="74" y="110"/>
                    <a:pt x="75" y="109"/>
                  </a:cubicBezTo>
                  <a:cubicBezTo>
                    <a:pt x="76" y="108"/>
                    <a:pt x="77" y="107"/>
                    <a:pt x="78" y="107"/>
                  </a:cubicBezTo>
                  <a:cubicBezTo>
                    <a:pt x="80" y="107"/>
                    <a:pt x="81" y="105"/>
                    <a:pt x="82" y="105"/>
                  </a:cubicBezTo>
                  <a:cubicBezTo>
                    <a:pt x="83" y="104"/>
                    <a:pt x="83" y="104"/>
                    <a:pt x="84" y="104"/>
                  </a:cubicBezTo>
                  <a:cubicBezTo>
                    <a:pt x="84" y="104"/>
                    <a:pt x="85" y="104"/>
                    <a:pt x="85" y="104"/>
                  </a:cubicBezTo>
                  <a:cubicBezTo>
                    <a:pt x="87" y="105"/>
                    <a:pt x="87" y="104"/>
                    <a:pt x="88" y="103"/>
                  </a:cubicBezTo>
                  <a:cubicBezTo>
                    <a:pt x="90" y="103"/>
                    <a:pt x="92" y="103"/>
                    <a:pt x="93" y="103"/>
                  </a:cubicBezTo>
                  <a:cubicBezTo>
                    <a:pt x="94" y="102"/>
                    <a:pt x="95" y="102"/>
                    <a:pt x="95" y="102"/>
                  </a:cubicBezTo>
                  <a:cubicBezTo>
                    <a:pt x="95" y="102"/>
                    <a:pt x="95" y="101"/>
                    <a:pt x="96" y="101"/>
                  </a:cubicBezTo>
                  <a:cubicBezTo>
                    <a:pt x="97" y="101"/>
                    <a:pt x="99" y="102"/>
                    <a:pt x="99" y="102"/>
                  </a:cubicBezTo>
                  <a:cubicBezTo>
                    <a:pt x="101" y="102"/>
                    <a:pt x="102" y="102"/>
                    <a:pt x="103" y="101"/>
                  </a:cubicBezTo>
                  <a:cubicBezTo>
                    <a:pt x="104" y="100"/>
                    <a:pt x="105" y="99"/>
                    <a:pt x="106" y="99"/>
                  </a:cubicBezTo>
                  <a:cubicBezTo>
                    <a:pt x="107" y="99"/>
                    <a:pt x="108" y="100"/>
                    <a:pt x="108" y="101"/>
                  </a:cubicBezTo>
                  <a:cubicBezTo>
                    <a:pt x="109" y="102"/>
                    <a:pt x="109" y="102"/>
                    <a:pt x="109" y="102"/>
                  </a:cubicBezTo>
                  <a:cubicBezTo>
                    <a:pt x="110" y="103"/>
                    <a:pt x="110" y="103"/>
                    <a:pt x="110" y="104"/>
                  </a:cubicBezTo>
                  <a:cubicBezTo>
                    <a:pt x="110" y="104"/>
                    <a:pt x="110" y="105"/>
                    <a:pt x="111" y="106"/>
                  </a:cubicBezTo>
                  <a:cubicBezTo>
                    <a:pt x="111" y="105"/>
                    <a:pt x="111" y="103"/>
                    <a:pt x="112" y="104"/>
                  </a:cubicBezTo>
                  <a:cubicBezTo>
                    <a:pt x="113" y="104"/>
                    <a:pt x="113" y="105"/>
                    <a:pt x="114" y="105"/>
                  </a:cubicBezTo>
                  <a:cubicBezTo>
                    <a:pt x="115" y="105"/>
                    <a:pt x="116" y="103"/>
                    <a:pt x="115" y="102"/>
                  </a:cubicBezTo>
                  <a:cubicBezTo>
                    <a:pt x="115" y="101"/>
                    <a:pt x="114" y="100"/>
                    <a:pt x="114" y="100"/>
                  </a:cubicBezTo>
                  <a:cubicBezTo>
                    <a:pt x="112" y="99"/>
                    <a:pt x="110" y="98"/>
                    <a:pt x="111" y="96"/>
                  </a:cubicBezTo>
                  <a:cubicBezTo>
                    <a:pt x="111" y="95"/>
                    <a:pt x="111" y="95"/>
                    <a:pt x="112" y="95"/>
                  </a:cubicBezTo>
                  <a:cubicBezTo>
                    <a:pt x="113" y="95"/>
                    <a:pt x="113" y="96"/>
                    <a:pt x="114" y="96"/>
                  </a:cubicBezTo>
                  <a:cubicBezTo>
                    <a:pt x="115" y="97"/>
                    <a:pt x="116" y="98"/>
                    <a:pt x="117" y="99"/>
                  </a:cubicBezTo>
                  <a:cubicBezTo>
                    <a:pt x="118" y="99"/>
                    <a:pt x="118" y="100"/>
                    <a:pt x="119" y="100"/>
                  </a:cubicBezTo>
                  <a:cubicBezTo>
                    <a:pt x="121" y="100"/>
                    <a:pt x="123" y="101"/>
                    <a:pt x="124" y="100"/>
                  </a:cubicBezTo>
                  <a:cubicBezTo>
                    <a:pt x="125" y="99"/>
                    <a:pt x="125" y="97"/>
                    <a:pt x="125" y="96"/>
                  </a:cubicBezTo>
                  <a:cubicBezTo>
                    <a:pt x="125" y="94"/>
                    <a:pt x="124" y="93"/>
                    <a:pt x="124" y="92"/>
                  </a:cubicBezTo>
                  <a:cubicBezTo>
                    <a:pt x="124" y="91"/>
                    <a:pt x="124" y="89"/>
                    <a:pt x="124" y="88"/>
                  </a:cubicBezTo>
                  <a:cubicBezTo>
                    <a:pt x="124" y="86"/>
                    <a:pt x="124" y="85"/>
                    <a:pt x="124" y="84"/>
                  </a:cubicBezTo>
                  <a:cubicBezTo>
                    <a:pt x="123" y="83"/>
                    <a:pt x="123" y="82"/>
                    <a:pt x="123" y="81"/>
                  </a:cubicBezTo>
                  <a:cubicBezTo>
                    <a:pt x="122" y="79"/>
                    <a:pt x="121" y="78"/>
                    <a:pt x="120" y="78"/>
                  </a:cubicBezTo>
                  <a:cubicBezTo>
                    <a:pt x="119" y="78"/>
                    <a:pt x="117" y="78"/>
                    <a:pt x="116" y="78"/>
                  </a:cubicBezTo>
                  <a:cubicBezTo>
                    <a:pt x="115" y="80"/>
                    <a:pt x="119" y="82"/>
                    <a:pt x="119" y="82"/>
                  </a:cubicBezTo>
                  <a:cubicBezTo>
                    <a:pt x="118" y="85"/>
                    <a:pt x="115" y="82"/>
                    <a:pt x="113" y="82"/>
                  </a:cubicBezTo>
                  <a:cubicBezTo>
                    <a:pt x="113" y="83"/>
                    <a:pt x="113" y="84"/>
                    <a:pt x="112" y="84"/>
                  </a:cubicBezTo>
                  <a:cubicBezTo>
                    <a:pt x="111" y="84"/>
                    <a:pt x="110" y="83"/>
                    <a:pt x="110" y="82"/>
                  </a:cubicBezTo>
                  <a:cubicBezTo>
                    <a:pt x="110" y="80"/>
                    <a:pt x="110" y="79"/>
                    <a:pt x="110" y="77"/>
                  </a:cubicBezTo>
                  <a:cubicBezTo>
                    <a:pt x="110" y="75"/>
                    <a:pt x="109" y="75"/>
                    <a:pt x="107" y="74"/>
                  </a:cubicBezTo>
                  <a:cubicBezTo>
                    <a:pt x="107" y="74"/>
                    <a:pt x="102" y="74"/>
                    <a:pt x="104" y="72"/>
                  </a:cubicBezTo>
                  <a:cubicBezTo>
                    <a:pt x="104" y="72"/>
                    <a:pt x="105" y="72"/>
                    <a:pt x="106" y="72"/>
                  </a:cubicBezTo>
                  <a:cubicBezTo>
                    <a:pt x="107" y="71"/>
                    <a:pt x="107" y="71"/>
                    <a:pt x="108" y="70"/>
                  </a:cubicBezTo>
                  <a:cubicBezTo>
                    <a:pt x="109" y="70"/>
                    <a:pt x="110" y="70"/>
                    <a:pt x="110" y="69"/>
                  </a:cubicBezTo>
                  <a:cubicBezTo>
                    <a:pt x="110" y="68"/>
                    <a:pt x="109" y="68"/>
                    <a:pt x="109" y="68"/>
                  </a:cubicBezTo>
                  <a:cubicBezTo>
                    <a:pt x="108" y="68"/>
                    <a:pt x="107" y="68"/>
                    <a:pt x="106" y="68"/>
                  </a:cubicBezTo>
                  <a:cubicBezTo>
                    <a:pt x="105" y="68"/>
                    <a:pt x="104" y="68"/>
                    <a:pt x="103" y="68"/>
                  </a:cubicBezTo>
                  <a:cubicBezTo>
                    <a:pt x="102" y="68"/>
                    <a:pt x="102" y="68"/>
                    <a:pt x="101" y="67"/>
                  </a:cubicBezTo>
                  <a:cubicBezTo>
                    <a:pt x="100" y="66"/>
                    <a:pt x="99" y="65"/>
                    <a:pt x="98" y="63"/>
                  </a:cubicBezTo>
                  <a:cubicBezTo>
                    <a:pt x="98" y="62"/>
                    <a:pt x="97" y="61"/>
                    <a:pt x="97" y="60"/>
                  </a:cubicBezTo>
                  <a:cubicBezTo>
                    <a:pt x="97" y="60"/>
                    <a:pt x="96" y="59"/>
                    <a:pt x="96" y="59"/>
                  </a:cubicBezTo>
                  <a:cubicBezTo>
                    <a:pt x="94" y="58"/>
                    <a:pt x="92" y="60"/>
                    <a:pt x="90" y="59"/>
                  </a:cubicBezTo>
                  <a:cubicBezTo>
                    <a:pt x="90" y="59"/>
                    <a:pt x="89" y="58"/>
                    <a:pt x="89" y="57"/>
                  </a:cubicBezTo>
                  <a:cubicBezTo>
                    <a:pt x="88" y="57"/>
                    <a:pt x="87" y="56"/>
                    <a:pt x="87" y="55"/>
                  </a:cubicBezTo>
                  <a:cubicBezTo>
                    <a:pt x="86" y="55"/>
                    <a:pt x="86" y="54"/>
                    <a:pt x="85" y="54"/>
                  </a:cubicBezTo>
                  <a:cubicBezTo>
                    <a:pt x="85" y="53"/>
                    <a:pt x="84" y="53"/>
                    <a:pt x="83" y="53"/>
                  </a:cubicBezTo>
                  <a:cubicBezTo>
                    <a:pt x="82" y="52"/>
                    <a:pt x="81" y="51"/>
                    <a:pt x="81" y="50"/>
                  </a:cubicBezTo>
                  <a:cubicBezTo>
                    <a:pt x="81" y="49"/>
                    <a:pt x="82" y="49"/>
                    <a:pt x="83" y="48"/>
                  </a:cubicBezTo>
                  <a:cubicBezTo>
                    <a:pt x="84" y="47"/>
                    <a:pt x="86" y="47"/>
                    <a:pt x="86" y="46"/>
                  </a:cubicBezTo>
                  <a:cubicBezTo>
                    <a:pt x="86" y="45"/>
                    <a:pt x="86" y="44"/>
                    <a:pt x="87" y="44"/>
                  </a:cubicBezTo>
                  <a:cubicBezTo>
                    <a:pt x="87" y="43"/>
                    <a:pt x="87" y="42"/>
                    <a:pt x="87" y="41"/>
                  </a:cubicBezTo>
                  <a:cubicBezTo>
                    <a:pt x="86" y="40"/>
                    <a:pt x="85" y="39"/>
                    <a:pt x="85" y="38"/>
                  </a:cubicBezTo>
                  <a:cubicBezTo>
                    <a:pt x="85" y="38"/>
                    <a:pt x="86" y="37"/>
                    <a:pt x="86" y="37"/>
                  </a:cubicBezTo>
                  <a:cubicBezTo>
                    <a:pt x="87" y="36"/>
                    <a:pt x="87" y="37"/>
                    <a:pt x="88" y="36"/>
                  </a:cubicBezTo>
                  <a:cubicBezTo>
                    <a:pt x="88" y="35"/>
                    <a:pt x="87" y="34"/>
                    <a:pt x="87" y="33"/>
                  </a:cubicBezTo>
                  <a:cubicBezTo>
                    <a:pt x="87" y="32"/>
                    <a:pt x="87" y="32"/>
                    <a:pt x="88" y="31"/>
                  </a:cubicBezTo>
                  <a:cubicBezTo>
                    <a:pt x="88" y="30"/>
                    <a:pt x="88" y="30"/>
                    <a:pt x="88" y="30"/>
                  </a:cubicBezTo>
                  <a:cubicBezTo>
                    <a:pt x="88" y="29"/>
                    <a:pt x="88" y="29"/>
                    <a:pt x="88" y="29"/>
                  </a:cubicBezTo>
                  <a:lnTo>
                    <a:pt x="88" y="22"/>
                  </a:ln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69" name="Freeform 27">
              <a:extLst>
                <a:ext uri="{FF2B5EF4-FFF2-40B4-BE49-F238E27FC236}">
                  <a16:creationId xmlns:a16="http://schemas.microsoft.com/office/drawing/2014/main" id="{32DE88D7-FB95-97F8-D0B8-6806303F81EB}"/>
                </a:ext>
              </a:extLst>
            </p:cNvPr>
            <p:cNvSpPr>
              <a:spLocks noEditPoints="1"/>
            </p:cNvSpPr>
            <p:nvPr/>
          </p:nvSpPr>
          <p:spPr bwMode="auto">
            <a:xfrm>
              <a:off x="6316663" y="4265613"/>
              <a:ext cx="566738" cy="1071562"/>
            </a:xfrm>
            <a:custGeom>
              <a:avLst/>
              <a:gdLst>
                <a:gd name="T0" fmla="*/ 67 w 149"/>
                <a:gd name="T1" fmla="*/ 244 h 281"/>
                <a:gd name="T2" fmla="*/ 72 w 149"/>
                <a:gd name="T3" fmla="*/ 261 h 281"/>
                <a:gd name="T4" fmla="*/ 68 w 149"/>
                <a:gd name="T5" fmla="*/ 279 h 281"/>
                <a:gd name="T6" fmla="*/ 149 w 149"/>
                <a:gd name="T7" fmla="*/ 46 h 281"/>
                <a:gd name="T8" fmla="*/ 137 w 149"/>
                <a:gd name="T9" fmla="*/ 35 h 281"/>
                <a:gd name="T10" fmla="*/ 107 w 149"/>
                <a:gd name="T11" fmla="*/ 24 h 281"/>
                <a:gd name="T12" fmla="*/ 85 w 149"/>
                <a:gd name="T13" fmla="*/ 21 h 281"/>
                <a:gd name="T14" fmla="*/ 59 w 149"/>
                <a:gd name="T15" fmla="*/ 10 h 281"/>
                <a:gd name="T16" fmla="*/ 40 w 149"/>
                <a:gd name="T17" fmla="*/ 3 h 281"/>
                <a:gd name="T18" fmla="*/ 29 w 149"/>
                <a:gd name="T19" fmla="*/ 9 h 281"/>
                <a:gd name="T20" fmla="*/ 21 w 149"/>
                <a:gd name="T21" fmla="*/ 19 h 281"/>
                <a:gd name="T22" fmla="*/ 22 w 149"/>
                <a:gd name="T23" fmla="*/ 26 h 281"/>
                <a:gd name="T24" fmla="*/ 23 w 149"/>
                <a:gd name="T25" fmla="*/ 36 h 281"/>
                <a:gd name="T26" fmla="*/ 25 w 149"/>
                <a:gd name="T27" fmla="*/ 48 h 281"/>
                <a:gd name="T28" fmla="*/ 13 w 149"/>
                <a:gd name="T29" fmla="*/ 53 h 281"/>
                <a:gd name="T30" fmla="*/ 14 w 149"/>
                <a:gd name="T31" fmla="*/ 69 h 281"/>
                <a:gd name="T32" fmla="*/ 8 w 149"/>
                <a:gd name="T33" fmla="*/ 80 h 281"/>
                <a:gd name="T34" fmla="*/ 6 w 149"/>
                <a:gd name="T35" fmla="*/ 86 h 281"/>
                <a:gd name="T36" fmla="*/ 9 w 149"/>
                <a:gd name="T37" fmla="*/ 104 h 281"/>
                <a:gd name="T38" fmla="*/ 15 w 149"/>
                <a:gd name="T39" fmla="*/ 130 h 281"/>
                <a:gd name="T40" fmla="*/ 17 w 149"/>
                <a:gd name="T41" fmla="*/ 141 h 281"/>
                <a:gd name="T42" fmla="*/ 15 w 149"/>
                <a:gd name="T43" fmla="*/ 158 h 281"/>
                <a:gd name="T44" fmla="*/ 9 w 149"/>
                <a:gd name="T45" fmla="*/ 180 h 281"/>
                <a:gd name="T46" fmla="*/ 8 w 149"/>
                <a:gd name="T47" fmla="*/ 190 h 281"/>
                <a:gd name="T48" fmla="*/ 1 w 149"/>
                <a:gd name="T49" fmla="*/ 206 h 281"/>
                <a:gd name="T50" fmla="*/ 9 w 149"/>
                <a:gd name="T51" fmla="*/ 223 h 281"/>
                <a:gd name="T52" fmla="*/ 15 w 149"/>
                <a:gd name="T53" fmla="*/ 227 h 281"/>
                <a:gd name="T54" fmla="*/ 28 w 149"/>
                <a:gd name="T55" fmla="*/ 232 h 281"/>
                <a:gd name="T56" fmla="*/ 33 w 149"/>
                <a:gd name="T57" fmla="*/ 226 h 281"/>
                <a:gd name="T58" fmla="*/ 55 w 149"/>
                <a:gd name="T59" fmla="*/ 222 h 281"/>
                <a:gd name="T60" fmla="*/ 65 w 149"/>
                <a:gd name="T61" fmla="*/ 216 h 281"/>
                <a:gd name="T62" fmla="*/ 59 w 149"/>
                <a:gd name="T63" fmla="*/ 206 h 281"/>
                <a:gd name="T64" fmla="*/ 58 w 149"/>
                <a:gd name="T65" fmla="*/ 192 h 281"/>
                <a:gd name="T66" fmla="*/ 63 w 149"/>
                <a:gd name="T67" fmla="*/ 176 h 281"/>
                <a:gd name="T68" fmla="*/ 65 w 149"/>
                <a:gd name="T69" fmla="*/ 166 h 281"/>
                <a:gd name="T70" fmla="*/ 62 w 149"/>
                <a:gd name="T71" fmla="*/ 156 h 281"/>
                <a:gd name="T72" fmla="*/ 63 w 149"/>
                <a:gd name="T73" fmla="*/ 139 h 281"/>
                <a:gd name="T74" fmla="*/ 61 w 149"/>
                <a:gd name="T75" fmla="*/ 126 h 281"/>
                <a:gd name="T76" fmla="*/ 65 w 149"/>
                <a:gd name="T77" fmla="*/ 116 h 281"/>
                <a:gd name="T78" fmla="*/ 64 w 149"/>
                <a:gd name="T79" fmla="*/ 102 h 281"/>
                <a:gd name="T80" fmla="*/ 64 w 149"/>
                <a:gd name="T81" fmla="*/ 88 h 281"/>
                <a:gd name="T82" fmla="*/ 61 w 149"/>
                <a:gd name="T83" fmla="*/ 79 h 281"/>
                <a:gd name="T84" fmla="*/ 56 w 149"/>
                <a:gd name="T85" fmla="*/ 72 h 281"/>
                <a:gd name="T86" fmla="*/ 59 w 149"/>
                <a:gd name="T87" fmla="*/ 61 h 281"/>
                <a:gd name="T88" fmla="*/ 74 w 149"/>
                <a:gd name="T89" fmla="*/ 49 h 281"/>
                <a:gd name="T90" fmla="*/ 86 w 149"/>
                <a:gd name="T91" fmla="*/ 45 h 281"/>
                <a:gd name="T92" fmla="*/ 95 w 149"/>
                <a:gd name="T93" fmla="*/ 46 h 281"/>
                <a:gd name="T94" fmla="*/ 103 w 149"/>
                <a:gd name="T95" fmla="*/ 47 h 281"/>
                <a:gd name="T96" fmla="*/ 102 w 149"/>
                <a:gd name="T97" fmla="*/ 55 h 281"/>
                <a:gd name="T98" fmla="*/ 110 w 149"/>
                <a:gd name="T99" fmla="*/ 56 h 281"/>
                <a:gd name="T100" fmla="*/ 123 w 149"/>
                <a:gd name="T101" fmla="*/ 60 h 281"/>
                <a:gd name="T102" fmla="*/ 133 w 149"/>
                <a:gd name="T103" fmla="*/ 65 h 281"/>
                <a:gd name="T104" fmla="*/ 142 w 149"/>
                <a:gd name="T105" fmla="*/ 5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281">
                  <a:moveTo>
                    <a:pt x="68" y="279"/>
                  </a:moveTo>
                  <a:cubicBezTo>
                    <a:pt x="68" y="275"/>
                    <a:pt x="68" y="270"/>
                    <a:pt x="67" y="267"/>
                  </a:cubicBezTo>
                  <a:cubicBezTo>
                    <a:pt x="66" y="265"/>
                    <a:pt x="66" y="263"/>
                    <a:pt x="67" y="260"/>
                  </a:cubicBezTo>
                  <a:cubicBezTo>
                    <a:pt x="68" y="255"/>
                    <a:pt x="66" y="250"/>
                    <a:pt x="67" y="244"/>
                  </a:cubicBezTo>
                  <a:cubicBezTo>
                    <a:pt x="67" y="243"/>
                    <a:pt x="68" y="242"/>
                    <a:pt x="68" y="241"/>
                  </a:cubicBezTo>
                  <a:cubicBezTo>
                    <a:pt x="68" y="240"/>
                    <a:pt x="68" y="238"/>
                    <a:pt x="68" y="238"/>
                  </a:cubicBezTo>
                  <a:cubicBezTo>
                    <a:pt x="71" y="235"/>
                    <a:pt x="71" y="242"/>
                    <a:pt x="71" y="243"/>
                  </a:cubicBezTo>
                  <a:cubicBezTo>
                    <a:pt x="74" y="249"/>
                    <a:pt x="74" y="255"/>
                    <a:pt x="72" y="261"/>
                  </a:cubicBezTo>
                  <a:cubicBezTo>
                    <a:pt x="71" y="265"/>
                    <a:pt x="73" y="269"/>
                    <a:pt x="71" y="272"/>
                  </a:cubicBezTo>
                  <a:cubicBezTo>
                    <a:pt x="71" y="274"/>
                    <a:pt x="70" y="275"/>
                    <a:pt x="70" y="276"/>
                  </a:cubicBezTo>
                  <a:cubicBezTo>
                    <a:pt x="69" y="277"/>
                    <a:pt x="70" y="281"/>
                    <a:pt x="68" y="280"/>
                  </a:cubicBezTo>
                  <a:cubicBezTo>
                    <a:pt x="68" y="280"/>
                    <a:pt x="68" y="279"/>
                    <a:pt x="68" y="279"/>
                  </a:cubicBezTo>
                  <a:close/>
                  <a:moveTo>
                    <a:pt x="144" y="56"/>
                  </a:moveTo>
                  <a:cubicBezTo>
                    <a:pt x="144" y="53"/>
                    <a:pt x="144" y="53"/>
                    <a:pt x="144" y="53"/>
                  </a:cubicBezTo>
                  <a:cubicBezTo>
                    <a:pt x="146" y="50"/>
                    <a:pt x="146" y="50"/>
                    <a:pt x="146" y="50"/>
                  </a:cubicBezTo>
                  <a:cubicBezTo>
                    <a:pt x="149" y="46"/>
                    <a:pt x="149" y="46"/>
                    <a:pt x="149" y="46"/>
                  </a:cubicBezTo>
                  <a:cubicBezTo>
                    <a:pt x="146" y="41"/>
                    <a:pt x="146" y="41"/>
                    <a:pt x="146" y="41"/>
                  </a:cubicBezTo>
                  <a:cubicBezTo>
                    <a:pt x="143" y="38"/>
                    <a:pt x="143" y="38"/>
                    <a:pt x="143" y="38"/>
                  </a:cubicBezTo>
                  <a:cubicBezTo>
                    <a:pt x="140" y="39"/>
                    <a:pt x="140" y="39"/>
                    <a:pt x="140" y="39"/>
                  </a:cubicBezTo>
                  <a:cubicBezTo>
                    <a:pt x="137" y="35"/>
                    <a:pt x="137" y="35"/>
                    <a:pt x="137" y="35"/>
                  </a:cubicBezTo>
                  <a:cubicBezTo>
                    <a:pt x="132" y="33"/>
                    <a:pt x="132" y="33"/>
                    <a:pt x="132" y="33"/>
                  </a:cubicBezTo>
                  <a:cubicBezTo>
                    <a:pt x="126" y="31"/>
                    <a:pt x="126" y="31"/>
                    <a:pt x="126" y="31"/>
                  </a:cubicBezTo>
                  <a:cubicBezTo>
                    <a:pt x="113" y="29"/>
                    <a:pt x="113" y="29"/>
                    <a:pt x="113" y="29"/>
                  </a:cubicBezTo>
                  <a:cubicBezTo>
                    <a:pt x="107" y="24"/>
                    <a:pt x="107" y="24"/>
                    <a:pt x="107" y="24"/>
                  </a:cubicBezTo>
                  <a:cubicBezTo>
                    <a:pt x="103" y="23"/>
                    <a:pt x="103" y="23"/>
                    <a:pt x="103" y="23"/>
                  </a:cubicBezTo>
                  <a:cubicBezTo>
                    <a:pt x="100" y="22"/>
                    <a:pt x="100" y="22"/>
                    <a:pt x="100" y="22"/>
                  </a:cubicBezTo>
                  <a:cubicBezTo>
                    <a:pt x="89" y="20"/>
                    <a:pt x="89" y="20"/>
                    <a:pt x="89" y="20"/>
                  </a:cubicBezTo>
                  <a:cubicBezTo>
                    <a:pt x="85" y="21"/>
                    <a:pt x="85" y="21"/>
                    <a:pt x="85" y="21"/>
                  </a:cubicBezTo>
                  <a:cubicBezTo>
                    <a:pt x="78" y="17"/>
                    <a:pt x="78" y="17"/>
                    <a:pt x="78" y="17"/>
                  </a:cubicBezTo>
                  <a:cubicBezTo>
                    <a:pt x="64" y="0"/>
                    <a:pt x="64" y="0"/>
                    <a:pt x="64" y="0"/>
                  </a:cubicBezTo>
                  <a:cubicBezTo>
                    <a:pt x="61" y="7"/>
                    <a:pt x="61" y="7"/>
                    <a:pt x="61" y="7"/>
                  </a:cubicBezTo>
                  <a:cubicBezTo>
                    <a:pt x="59" y="10"/>
                    <a:pt x="59" y="10"/>
                    <a:pt x="59" y="10"/>
                  </a:cubicBezTo>
                  <a:cubicBezTo>
                    <a:pt x="57" y="8"/>
                    <a:pt x="57" y="8"/>
                    <a:pt x="57" y="8"/>
                  </a:cubicBezTo>
                  <a:cubicBezTo>
                    <a:pt x="50" y="8"/>
                    <a:pt x="50" y="8"/>
                    <a:pt x="50" y="8"/>
                  </a:cubicBezTo>
                  <a:cubicBezTo>
                    <a:pt x="44" y="6"/>
                    <a:pt x="44" y="6"/>
                    <a:pt x="44" y="6"/>
                  </a:cubicBezTo>
                  <a:cubicBezTo>
                    <a:pt x="40" y="3"/>
                    <a:pt x="40" y="3"/>
                    <a:pt x="40" y="3"/>
                  </a:cubicBezTo>
                  <a:cubicBezTo>
                    <a:pt x="35" y="8"/>
                    <a:pt x="35" y="8"/>
                    <a:pt x="35" y="8"/>
                  </a:cubicBezTo>
                  <a:cubicBezTo>
                    <a:pt x="33" y="10"/>
                    <a:pt x="33" y="10"/>
                    <a:pt x="33" y="10"/>
                  </a:cubicBezTo>
                  <a:cubicBezTo>
                    <a:pt x="31" y="8"/>
                    <a:pt x="31" y="8"/>
                    <a:pt x="31" y="8"/>
                  </a:cubicBezTo>
                  <a:cubicBezTo>
                    <a:pt x="29" y="9"/>
                    <a:pt x="29" y="9"/>
                    <a:pt x="29" y="9"/>
                  </a:cubicBezTo>
                  <a:cubicBezTo>
                    <a:pt x="29" y="11"/>
                    <a:pt x="29" y="11"/>
                    <a:pt x="29" y="11"/>
                  </a:cubicBezTo>
                  <a:cubicBezTo>
                    <a:pt x="27" y="14"/>
                    <a:pt x="27" y="14"/>
                    <a:pt x="27" y="14"/>
                  </a:cubicBezTo>
                  <a:cubicBezTo>
                    <a:pt x="23" y="17"/>
                    <a:pt x="23" y="17"/>
                    <a:pt x="23" y="17"/>
                  </a:cubicBezTo>
                  <a:cubicBezTo>
                    <a:pt x="21" y="19"/>
                    <a:pt x="21" y="19"/>
                    <a:pt x="21" y="19"/>
                  </a:cubicBezTo>
                  <a:cubicBezTo>
                    <a:pt x="18" y="21"/>
                    <a:pt x="18" y="21"/>
                    <a:pt x="18" y="21"/>
                  </a:cubicBezTo>
                  <a:cubicBezTo>
                    <a:pt x="17" y="23"/>
                    <a:pt x="17" y="23"/>
                    <a:pt x="17" y="23"/>
                  </a:cubicBezTo>
                  <a:cubicBezTo>
                    <a:pt x="19" y="25"/>
                    <a:pt x="19" y="25"/>
                    <a:pt x="19" y="25"/>
                  </a:cubicBezTo>
                  <a:cubicBezTo>
                    <a:pt x="22" y="26"/>
                    <a:pt x="22" y="26"/>
                    <a:pt x="22" y="26"/>
                  </a:cubicBezTo>
                  <a:cubicBezTo>
                    <a:pt x="22" y="28"/>
                    <a:pt x="22" y="28"/>
                    <a:pt x="22" y="28"/>
                  </a:cubicBezTo>
                  <a:cubicBezTo>
                    <a:pt x="23" y="31"/>
                    <a:pt x="23" y="31"/>
                    <a:pt x="23" y="31"/>
                  </a:cubicBezTo>
                  <a:cubicBezTo>
                    <a:pt x="21" y="33"/>
                    <a:pt x="21" y="33"/>
                    <a:pt x="21" y="33"/>
                  </a:cubicBezTo>
                  <a:cubicBezTo>
                    <a:pt x="23" y="36"/>
                    <a:pt x="23" y="36"/>
                    <a:pt x="23" y="36"/>
                  </a:cubicBezTo>
                  <a:cubicBezTo>
                    <a:pt x="21" y="39"/>
                    <a:pt x="21" y="39"/>
                    <a:pt x="21" y="39"/>
                  </a:cubicBezTo>
                  <a:cubicBezTo>
                    <a:pt x="24" y="43"/>
                    <a:pt x="24" y="43"/>
                    <a:pt x="24" y="43"/>
                  </a:cubicBezTo>
                  <a:cubicBezTo>
                    <a:pt x="27" y="46"/>
                    <a:pt x="27" y="46"/>
                    <a:pt x="27" y="46"/>
                  </a:cubicBezTo>
                  <a:cubicBezTo>
                    <a:pt x="25" y="48"/>
                    <a:pt x="25" y="48"/>
                    <a:pt x="25" y="48"/>
                  </a:cubicBezTo>
                  <a:cubicBezTo>
                    <a:pt x="24" y="51"/>
                    <a:pt x="24" y="51"/>
                    <a:pt x="24" y="51"/>
                  </a:cubicBezTo>
                  <a:cubicBezTo>
                    <a:pt x="19" y="52"/>
                    <a:pt x="19" y="52"/>
                    <a:pt x="19" y="52"/>
                  </a:cubicBezTo>
                  <a:cubicBezTo>
                    <a:pt x="15" y="52"/>
                    <a:pt x="15" y="52"/>
                    <a:pt x="15" y="52"/>
                  </a:cubicBezTo>
                  <a:cubicBezTo>
                    <a:pt x="13" y="53"/>
                    <a:pt x="13" y="53"/>
                    <a:pt x="13" y="53"/>
                  </a:cubicBezTo>
                  <a:cubicBezTo>
                    <a:pt x="13" y="59"/>
                    <a:pt x="13" y="59"/>
                    <a:pt x="13" y="59"/>
                  </a:cubicBezTo>
                  <a:cubicBezTo>
                    <a:pt x="12" y="60"/>
                    <a:pt x="12" y="60"/>
                    <a:pt x="12" y="60"/>
                  </a:cubicBezTo>
                  <a:cubicBezTo>
                    <a:pt x="13" y="64"/>
                    <a:pt x="13" y="64"/>
                    <a:pt x="13" y="64"/>
                  </a:cubicBezTo>
                  <a:cubicBezTo>
                    <a:pt x="14" y="69"/>
                    <a:pt x="14" y="69"/>
                    <a:pt x="14" y="69"/>
                  </a:cubicBezTo>
                  <a:cubicBezTo>
                    <a:pt x="17" y="73"/>
                    <a:pt x="17" y="73"/>
                    <a:pt x="17" y="73"/>
                  </a:cubicBezTo>
                  <a:cubicBezTo>
                    <a:pt x="17" y="75"/>
                    <a:pt x="17" y="75"/>
                    <a:pt x="17" y="75"/>
                  </a:cubicBezTo>
                  <a:cubicBezTo>
                    <a:pt x="11" y="77"/>
                    <a:pt x="11" y="77"/>
                    <a:pt x="11" y="77"/>
                  </a:cubicBezTo>
                  <a:cubicBezTo>
                    <a:pt x="8" y="80"/>
                    <a:pt x="8" y="80"/>
                    <a:pt x="8" y="80"/>
                  </a:cubicBezTo>
                  <a:cubicBezTo>
                    <a:pt x="3" y="79"/>
                    <a:pt x="3" y="79"/>
                    <a:pt x="3" y="79"/>
                  </a:cubicBezTo>
                  <a:cubicBezTo>
                    <a:pt x="2" y="81"/>
                    <a:pt x="2" y="81"/>
                    <a:pt x="2" y="81"/>
                  </a:cubicBezTo>
                  <a:cubicBezTo>
                    <a:pt x="5" y="83"/>
                    <a:pt x="5" y="83"/>
                    <a:pt x="5" y="83"/>
                  </a:cubicBezTo>
                  <a:cubicBezTo>
                    <a:pt x="6" y="86"/>
                    <a:pt x="6" y="86"/>
                    <a:pt x="6" y="86"/>
                  </a:cubicBezTo>
                  <a:cubicBezTo>
                    <a:pt x="7" y="90"/>
                    <a:pt x="7" y="90"/>
                    <a:pt x="7" y="90"/>
                  </a:cubicBezTo>
                  <a:cubicBezTo>
                    <a:pt x="8" y="98"/>
                    <a:pt x="8" y="98"/>
                    <a:pt x="8" y="98"/>
                  </a:cubicBezTo>
                  <a:cubicBezTo>
                    <a:pt x="7" y="99"/>
                    <a:pt x="7" y="99"/>
                    <a:pt x="7" y="99"/>
                  </a:cubicBezTo>
                  <a:cubicBezTo>
                    <a:pt x="9" y="100"/>
                    <a:pt x="9" y="102"/>
                    <a:pt x="9" y="104"/>
                  </a:cubicBezTo>
                  <a:cubicBezTo>
                    <a:pt x="9" y="107"/>
                    <a:pt x="6" y="109"/>
                    <a:pt x="7" y="112"/>
                  </a:cubicBezTo>
                  <a:cubicBezTo>
                    <a:pt x="7" y="113"/>
                    <a:pt x="8" y="114"/>
                    <a:pt x="9" y="116"/>
                  </a:cubicBezTo>
                  <a:cubicBezTo>
                    <a:pt x="9" y="117"/>
                    <a:pt x="10" y="119"/>
                    <a:pt x="10" y="121"/>
                  </a:cubicBezTo>
                  <a:cubicBezTo>
                    <a:pt x="12" y="124"/>
                    <a:pt x="15" y="126"/>
                    <a:pt x="15" y="130"/>
                  </a:cubicBezTo>
                  <a:cubicBezTo>
                    <a:pt x="15" y="130"/>
                    <a:pt x="15" y="128"/>
                    <a:pt x="16" y="128"/>
                  </a:cubicBezTo>
                  <a:cubicBezTo>
                    <a:pt x="17" y="127"/>
                    <a:pt x="17" y="130"/>
                    <a:pt x="17" y="130"/>
                  </a:cubicBezTo>
                  <a:cubicBezTo>
                    <a:pt x="17" y="133"/>
                    <a:pt x="16" y="135"/>
                    <a:pt x="17" y="138"/>
                  </a:cubicBezTo>
                  <a:cubicBezTo>
                    <a:pt x="17" y="139"/>
                    <a:pt x="18" y="139"/>
                    <a:pt x="17" y="141"/>
                  </a:cubicBezTo>
                  <a:cubicBezTo>
                    <a:pt x="17" y="142"/>
                    <a:pt x="16" y="142"/>
                    <a:pt x="16" y="143"/>
                  </a:cubicBezTo>
                  <a:cubicBezTo>
                    <a:pt x="16" y="145"/>
                    <a:pt x="17" y="145"/>
                    <a:pt x="17" y="147"/>
                  </a:cubicBezTo>
                  <a:cubicBezTo>
                    <a:pt x="18" y="148"/>
                    <a:pt x="17" y="150"/>
                    <a:pt x="17" y="151"/>
                  </a:cubicBezTo>
                  <a:cubicBezTo>
                    <a:pt x="16" y="154"/>
                    <a:pt x="15" y="156"/>
                    <a:pt x="15" y="158"/>
                  </a:cubicBezTo>
                  <a:cubicBezTo>
                    <a:pt x="15" y="161"/>
                    <a:pt x="14" y="163"/>
                    <a:pt x="14" y="166"/>
                  </a:cubicBezTo>
                  <a:cubicBezTo>
                    <a:pt x="13" y="169"/>
                    <a:pt x="11" y="170"/>
                    <a:pt x="10" y="172"/>
                  </a:cubicBezTo>
                  <a:cubicBezTo>
                    <a:pt x="9" y="174"/>
                    <a:pt x="9" y="175"/>
                    <a:pt x="9" y="177"/>
                  </a:cubicBezTo>
                  <a:cubicBezTo>
                    <a:pt x="9" y="178"/>
                    <a:pt x="9" y="179"/>
                    <a:pt x="9" y="180"/>
                  </a:cubicBezTo>
                  <a:cubicBezTo>
                    <a:pt x="10" y="181"/>
                    <a:pt x="10" y="182"/>
                    <a:pt x="10" y="182"/>
                  </a:cubicBezTo>
                  <a:cubicBezTo>
                    <a:pt x="11" y="184"/>
                    <a:pt x="10" y="186"/>
                    <a:pt x="10" y="187"/>
                  </a:cubicBezTo>
                  <a:cubicBezTo>
                    <a:pt x="9" y="188"/>
                    <a:pt x="8" y="188"/>
                    <a:pt x="8" y="188"/>
                  </a:cubicBezTo>
                  <a:cubicBezTo>
                    <a:pt x="8" y="189"/>
                    <a:pt x="8" y="190"/>
                    <a:pt x="8" y="190"/>
                  </a:cubicBezTo>
                  <a:cubicBezTo>
                    <a:pt x="8" y="192"/>
                    <a:pt x="8" y="194"/>
                    <a:pt x="7" y="195"/>
                  </a:cubicBezTo>
                  <a:cubicBezTo>
                    <a:pt x="6" y="196"/>
                    <a:pt x="4" y="195"/>
                    <a:pt x="3" y="197"/>
                  </a:cubicBezTo>
                  <a:cubicBezTo>
                    <a:pt x="2" y="198"/>
                    <a:pt x="3" y="200"/>
                    <a:pt x="2" y="201"/>
                  </a:cubicBezTo>
                  <a:cubicBezTo>
                    <a:pt x="2" y="203"/>
                    <a:pt x="1" y="205"/>
                    <a:pt x="1" y="206"/>
                  </a:cubicBezTo>
                  <a:cubicBezTo>
                    <a:pt x="0" y="208"/>
                    <a:pt x="0" y="210"/>
                    <a:pt x="0" y="213"/>
                  </a:cubicBezTo>
                  <a:cubicBezTo>
                    <a:pt x="1" y="216"/>
                    <a:pt x="3" y="217"/>
                    <a:pt x="5" y="220"/>
                  </a:cubicBezTo>
                  <a:cubicBezTo>
                    <a:pt x="6" y="223"/>
                    <a:pt x="5" y="226"/>
                    <a:pt x="8" y="227"/>
                  </a:cubicBezTo>
                  <a:cubicBezTo>
                    <a:pt x="8" y="225"/>
                    <a:pt x="8" y="224"/>
                    <a:pt x="9" y="223"/>
                  </a:cubicBezTo>
                  <a:cubicBezTo>
                    <a:pt x="11" y="223"/>
                    <a:pt x="12" y="229"/>
                    <a:pt x="12" y="229"/>
                  </a:cubicBezTo>
                  <a:cubicBezTo>
                    <a:pt x="12" y="229"/>
                    <a:pt x="13" y="229"/>
                    <a:pt x="13" y="229"/>
                  </a:cubicBezTo>
                  <a:cubicBezTo>
                    <a:pt x="14" y="229"/>
                    <a:pt x="14" y="229"/>
                    <a:pt x="14" y="228"/>
                  </a:cubicBezTo>
                  <a:cubicBezTo>
                    <a:pt x="14" y="227"/>
                    <a:pt x="14" y="227"/>
                    <a:pt x="15" y="227"/>
                  </a:cubicBezTo>
                  <a:cubicBezTo>
                    <a:pt x="16" y="227"/>
                    <a:pt x="16" y="227"/>
                    <a:pt x="17" y="227"/>
                  </a:cubicBezTo>
                  <a:cubicBezTo>
                    <a:pt x="18" y="228"/>
                    <a:pt x="18" y="230"/>
                    <a:pt x="19" y="231"/>
                  </a:cubicBezTo>
                  <a:cubicBezTo>
                    <a:pt x="20" y="233"/>
                    <a:pt x="21" y="232"/>
                    <a:pt x="23" y="232"/>
                  </a:cubicBezTo>
                  <a:cubicBezTo>
                    <a:pt x="25" y="232"/>
                    <a:pt x="26" y="233"/>
                    <a:pt x="28" y="232"/>
                  </a:cubicBezTo>
                  <a:cubicBezTo>
                    <a:pt x="28" y="231"/>
                    <a:pt x="29" y="231"/>
                    <a:pt x="29" y="231"/>
                  </a:cubicBezTo>
                  <a:cubicBezTo>
                    <a:pt x="30" y="231"/>
                    <a:pt x="30" y="231"/>
                    <a:pt x="30" y="230"/>
                  </a:cubicBezTo>
                  <a:cubicBezTo>
                    <a:pt x="31" y="229"/>
                    <a:pt x="29" y="229"/>
                    <a:pt x="30" y="228"/>
                  </a:cubicBezTo>
                  <a:cubicBezTo>
                    <a:pt x="30" y="227"/>
                    <a:pt x="32" y="226"/>
                    <a:pt x="33" y="226"/>
                  </a:cubicBezTo>
                  <a:cubicBezTo>
                    <a:pt x="33" y="225"/>
                    <a:pt x="34" y="223"/>
                    <a:pt x="36" y="223"/>
                  </a:cubicBezTo>
                  <a:cubicBezTo>
                    <a:pt x="37" y="222"/>
                    <a:pt x="39" y="224"/>
                    <a:pt x="40" y="224"/>
                  </a:cubicBezTo>
                  <a:cubicBezTo>
                    <a:pt x="42" y="225"/>
                    <a:pt x="44" y="225"/>
                    <a:pt x="45" y="225"/>
                  </a:cubicBezTo>
                  <a:cubicBezTo>
                    <a:pt x="49" y="225"/>
                    <a:pt x="52" y="224"/>
                    <a:pt x="55" y="222"/>
                  </a:cubicBezTo>
                  <a:cubicBezTo>
                    <a:pt x="58" y="221"/>
                    <a:pt x="60" y="220"/>
                    <a:pt x="63" y="222"/>
                  </a:cubicBezTo>
                  <a:cubicBezTo>
                    <a:pt x="64" y="224"/>
                    <a:pt x="65" y="226"/>
                    <a:pt x="66" y="227"/>
                  </a:cubicBezTo>
                  <a:cubicBezTo>
                    <a:pt x="68" y="227"/>
                    <a:pt x="67" y="222"/>
                    <a:pt x="67" y="221"/>
                  </a:cubicBezTo>
                  <a:cubicBezTo>
                    <a:pt x="67" y="219"/>
                    <a:pt x="66" y="217"/>
                    <a:pt x="65" y="216"/>
                  </a:cubicBezTo>
                  <a:cubicBezTo>
                    <a:pt x="65" y="214"/>
                    <a:pt x="65" y="212"/>
                    <a:pt x="64" y="211"/>
                  </a:cubicBezTo>
                  <a:cubicBezTo>
                    <a:pt x="63" y="210"/>
                    <a:pt x="62" y="210"/>
                    <a:pt x="62" y="209"/>
                  </a:cubicBezTo>
                  <a:cubicBezTo>
                    <a:pt x="61" y="208"/>
                    <a:pt x="61" y="208"/>
                    <a:pt x="61" y="207"/>
                  </a:cubicBezTo>
                  <a:cubicBezTo>
                    <a:pt x="60" y="207"/>
                    <a:pt x="60" y="206"/>
                    <a:pt x="59" y="206"/>
                  </a:cubicBezTo>
                  <a:cubicBezTo>
                    <a:pt x="59" y="205"/>
                    <a:pt x="58" y="204"/>
                    <a:pt x="58" y="203"/>
                  </a:cubicBezTo>
                  <a:cubicBezTo>
                    <a:pt x="57" y="202"/>
                    <a:pt x="56" y="200"/>
                    <a:pt x="56" y="199"/>
                  </a:cubicBezTo>
                  <a:cubicBezTo>
                    <a:pt x="56" y="198"/>
                    <a:pt x="57" y="197"/>
                    <a:pt x="57" y="196"/>
                  </a:cubicBezTo>
                  <a:cubicBezTo>
                    <a:pt x="57" y="194"/>
                    <a:pt x="58" y="193"/>
                    <a:pt x="58" y="192"/>
                  </a:cubicBezTo>
                  <a:cubicBezTo>
                    <a:pt x="58" y="189"/>
                    <a:pt x="57" y="186"/>
                    <a:pt x="58" y="183"/>
                  </a:cubicBezTo>
                  <a:cubicBezTo>
                    <a:pt x="58" y="182"/>
                    <a:pt x="59" y="181"/>
                    <a:pt x="60" y="181"/>
                  </a:cubicBezTo>
                  <a:cubicBezTo>
                    <a:pt x="61" y="180"/>
                    <a:pt x="62" y="180"/>
                    <a:pt x="63" y="180"/>
                  </a:cubicBezTo>
                  <a:cubicBezTo>
                    <a:pt x="63" y="179"/>
                    <a:pt x="63" y="177"/>
                    <a:pt x="63" y="176"/>
                  </a:cubicBezTo>
                  <a:cubicBezTo>
                    <a:pt x="63" y="175"/>
                    <a:pt x="62" y="174"/>
                    <a:pt x="63" y="174"/>
                  </a:cubicBezTo>
                  <a:cubicBezTo>
                    <a:pt x="64" y="173"/>
                    <a:pt x="64" y="172"/>
                    <a:pt x="64" y="172"/>
                  </a:cubicBezTo>
                  <a:cubicBezTo>
                    <a:pt x="66" y="170"/>
                    <a:pt x="66" y="169"/>
                    <a:pt x="66" y="167"/>
                  </a:cubicBezTo>
                  <a:cubicBezTo>
                    <a:pt x="66" y="167"/>
                    <a:pt x="66" y="167"/>
                    <a:pt x="65" y="166"/>
                  </a:cubicBezTo>
                  <a:cubicBezTo>
                    <a:pt x="64" y="165"/>
                    <a:pt x="64" y="166"/>
                    <a:pt x="64" y="165"/>
                  </a:cubicBezTo>
                  <a:cubicBezTo>
                    <a:pt x="63" y="163"/>
                    <a:pt x="64" y="161"/>
                    <a:pt x="64" y="159"/>
                  </a:cubicBezTo>
                  <a:cubicBezTo>
                    <a:pt x="63" y="158"/>
                    <a:pt x="63" y="157"/>
                    <a:pt x="63" y="157"/>
                  </a:cubicBezTo>
                  <a:cubicBezTo>
                    <a:pt x="63" y="156"/>
                    <a:pt x="62" y="156"/>
                    <a:pt x="62" y="156"/>
                  </a:cubicBezTo>
                  <a:cubicBezTo>
                    <a:pt x="60" y="154"/>
                    <a:pt x="63" y="151"/>
                    <a:pt x="63" y="149"/>
                  </a:cubicBezTo>
                  <a:cubicBezTo>
                    <a:pt x="62" y="148"/>
                    <a:pt x="62" y="147"/>
                    <a:pt x="62" y="146"/>
                  </a:cubicBezTo>
                  <a:cubicBezTo>
                    <a:pt x="62" y="145"/>
                    <a:pt x="62" y="144"/>
                    <a:pt x="62" y="143"/>
                  </a:cubicBezTo>
                  <a:cubicBezTo>
                    <a:pt x="63" y="142"/>
                    <a:pt x="63" y="140"/>
                    <a:pt x="63" y="139"/>
                  </a:cubicBezTo>
                  <a:cubicBezTo>
                    <a:pt x="63" y="138"/>
                    <a:pt x="61" y="138"/>
                    <a:pt x="60" y="137"/>
                  </a:cubicBezTo>
                  <a:cubicBezTo>
                    <a:pt x="58" y="136"/>
                    <a:pt x="61" y="134"/>
                    <a:pt x="61" y="132"/>
                  </a:cubicBezTo>
                  <a:cubicBezTo>
                    <a:pt x="61" y="131"/>
                    <a:pt x="61" y="130"/>
                    <a:pt x="61" y="129"/>
                  </a:cubicBezTo>
                  <a:cubicBezTo>
                    <a:pt x="61" y="128"/>
                    <a:pt x="61" y="127"/>
                    <a:pt x="61" y="126"/>
                  </a:cubicBezTo>
                  <a:cubicBezTo>
                    <a:pt x="60" y="125"/>
                    <a:pt x="60" y="124"/>
                    <a:pt x="60" y="123"/>
                  </a:cubicBezTo>
                  <a:cubicBezTo>
                    <a:pt x="61" y="122"/>
                    <a:pt x="61" y="121"/>
                    <a:pt x="61" y="121"/>
                  </a:cubicBezTo>
                  <a:cubicBezTo>
                    <a:pt x="62" y="120"/>
                    <a:pt x="62" y="119"/>
                    <a:pt x="63" y="118"/>
                  </a:cubicBezTo>
                  <a:cubicBezTo>
                    <a:pt x="64" y="117"/>
                    <a:pt x="64" y="116"/>
                    <a:pt x="65" y="116"/>
                  </a:cubicBezTo>
                  <a:cubicBezTo>
                    <a:pt x="66" y="114"/>
                    <a:pt x="66" y="113"/>
                    <a:pt x="66" y="111"/>
                  </a:cubicBezTo>
                  <a:cubicBezTo>
                    <a:pt x="66" y="110"/>
                    <a:pt x="65" y="109"/>
                    <a:pt x="65" y="108"/>
                  </a:cubicBezTo>
                  <a:cubicBezTo>
                    <a:pt x="65" y="107"/>
                    <a:pt x="65" y="106"/>
                    <a:pt x="65" y="105"/>
                  </a:cubicBezTo>
                  <a:cubicBezTo>
                    <a:pt x="65" y="104"/>
                    <a:pt x="64" y="103"/>
                    <a:pt x="64" y="102"/>
                  </a:cubicBezTo>
                  <a:cubicBezTo>
                    <a:pt x="64" y="101"/>
                    <a:pt x="64" y="101"/>
                    <a:pt x="64" y="100"/>
                  </a:cubicBezTo>
                  <a:cubicBezTo>
                    <a:pt x="64" y="99"/>
                    <a:pt x="63" y="98"/>
                    <a:pt x="63" y="97"/>
                  </a:cubicBezTo>
                  <a:cubicBezTo>
                    <a:pt x="64" y="97"/>
                    <a:pt x="64" y="96"/>
                    <a:pt x="64" y="95"/>
                  </a:cubicBezTo>
                  <a:cubicBezTo>
                    <a:pt x="65" y="93"/>
                    <a:pt x="64" y="90"/>
                    <a:pt x="64" y="88"/>
                  </a:cubicBezTo>
                  <a:cubicBezTo>
                    <a:pt x="64" y="87"/>
                    <a:pt x="64" y="86"/>
                    <a:pt x="64" y="85"/>
                  </a:cubicBezTo>
                  <a:cubicBezTo>
                    <a:pt x="64" y="84"/>
                    <a:pt x="65" y="84"/>
                    <a:pt x="65" y="83"/>
                  </a:cubicBezTo>
                  <a:cubicBezTo>
                    <a:pt x="64" y="83"/>
                    <a:pt x="64" y="83"/>
                    <a:pt x="63" y="82"/>
                  </a:cubicBezTo>
                  <a:cubicBezTo>
                    <a:pt x="63" y="81"/>
                    <a:pt x="62" y="80"/>
                    <a:pt x="61" y="79"/>
                  </a:cubicBezTo>
                  <a:cubicBezTo>
                    <a:pt x="60" y="79"/>
                    <a:pt x="59" y="78"/>
                    <a:pt x="58" y="78"/>
                  </a:cubicBezTo>
                  <a:cubicBezTo>
                    <a:pt x="57" y="77"/>
                    <a:pt x="56" y="77"/>
                    <a:pt x="56" y="77"/>
                  </a:cubicBezTo>
                  <a:cubicBezTo>
                    <a:pt x="55" y="76"/>
                    <a:pt x="56" y="75"/>
                    <a:pt x="56" y="74"/>
                  </a:cubicBezTo>
                  <a:cubicBezTo>
                    <a:pt x="56" y="74"/>
                    <a:pt x="56" y="73"/>
                    <a:pt x="56" y="72"/>
                  </a:cubicBezTo>
                  <a:cubicBezTo>
                    <a:pt x="55" y="70"/>
                    <a:pt x="54" y="70"/>
                    <a:pt x="53" y="69"/>
                  </a:cubicBezTo>
                  <a:cubicBezTo>
                    <a:pt x="52" y="68"/>
                    <a:pt x="52" y="67"/>
                    <a:pt x="52" y="66"/>
                  </a:cubicBezTo>
                  <a:cubicBezTo>
                    <a:pt x="51" y="65"/>
                    <a:pt x="51" y="65"/>
                    <a:pt x="51" y="65"/>
                  </a:cubicBezTo>
                  <a:cubicBezTo>
                    <a:pt x="54" y="64"/>
                    <a:pt x="57" y="63"/>
                    <a:pt x="59" y="61"/>
                  </a:cubicBezTo>
                  <a:cubicBezTo>
                    <a:pt x="60" y="60"/>
                    <a:pt x="61" y="59"/>
                    <a:pt x="62" y="59"/>
                  </a:cubicBezTo>
                  <a:cubicBezTo>
                    <a:pt x="64" y="58"/>
                    <a:pt x="66" y="58"/>
                    <a:pt x="67" y="57"/>
                  </a:cubicBezTo>
                  <a:cubicBezTo>
                    <a:pt x="69" y="56"/>
                    <a:pt x="71" y="53"/>
                    <a:pt x="72" y="52"/>
                  </a:cubicBezTo>
                  <a:cubicBezTo>
                    <a:pt x="73" y="51"/>
                    <a:pt x="73" y="50"/>
                    <a:pt x="74" y="49"/>
                  </a:cubicBezTo>
                  <a:cubicBezTo>
                    <a:pt x="75" y="48"/>
                    <a:pt x="75" y="48"/>
                    <a:pt x="76" y="48"/>
                  </a:cubicBezTo>
                  <a:cubicBezTo>
                    <a:pt x="78" y="48"/>
                    <a:pt x="80" y="46"/>
                    <a:pt x="82" y="46"/>
                  </a:cubicBezTo>
                  <a:cubicBezTo>
                    <a:pt x="83" y="46"/>
                    <a:pt x="83" y="46"/>
                    <a:pt x="84" y="45"/>
                  </a:cubicBezTo>
                  <a:cubicBezTo>
                    <a:pt x="85" y="45"/>
                    <a:pt x="85" y="45"/>
                    <a:pt x="86" y="45"/>
                  </a:cubicBezTo>
                  <a:cubicBezTo>
                    <a:pt x="87" y="45"/>
                    <a:pt x="88" y="45"/>
                    <a:pt x="89" y="44"/>
                  </a:cubicBezTo>
                  <a:cubicBezTo>
                    <a:pt x="89" y="44"/>
                    <a:pt x="90" y="45"/>
                    <a:pt x="90" y="45"/>
                  </a:cubicBezTo>
                  <a:cubicBezTo>
                    <a:pt x="91" y="45"/>
                    <a:pt x="92" y="46"/>
                    <a:pt x="92" y="46"/>
                  </a:cubicBezTo>
                  <a:cubicBezTo>
                    <a:pt x="93" y="46"/>
                    <a:pt x="94" y="46"/>
                    <a:pt x="95" y="46"/>
                  </a:cubicBezTo>
                  <a:cubicBezTo>
                    <a:pt x="95" y="46"/>
                    <a:pt x="96" y="46"/>
                    <a:pt x="96" y="47"/>
                  </a:cubicBezTo>
                  <a:cubicBezTo>
                    <a:pt x="97" y="47"/>
                    <a:pt x="97" y="47"/>
                    <a:pt x="98" y="47"/>
                  </a:cubicBezTo>
                  <a:cubicBezTo>
                    <a:pt x="99" y="48"/>
                    <a:pt x="99" y="48"/>
                    <a:pt x="100" y="47"/>
                  </a:cubicBezTo>
                  <a:cubicBezTo>
                    <a:pt x="101" y="47"/>
                    <a:pt x="103" y="45"/>
                    <a:pt x="103" y="47"/>
                  </a:cubicBezTo>
                  <a:cubicBezTo>
                    <a:pt x="103" y="47"/>
                    <a:pt x="102" y="48"/>
                    <a:pt x="103" y="49"/>
                  </a:cubicBezTo>
                  <a:cubicBezTo>
                    <a:pt x="104" y="49"/>
                    <a:pt x="106" y="50"/>
                    <a:pt x="105" y="51"/>
                  </a:cubicBezTo>
                  <a:cubicBezTo>
                    <a:pt x="105" y="52"/>
                    <a:pt x="104" y="53"/>
                    <a:pt x="103" y="53"/>
                  </a:cubicBezTo>
                  <a:cubicBezTo>
                    <a:pt x="103" y="54"/>
                    <a:pt x="102" y="55"/>
                    <a:pt x="102" y="55"/>
                  </a:cubicBezTo>
                  <a:cubicBezTo>
                    <a:pt x="101" y="55"/>
                    <a:pt x="100" y="55"/>
                    <a:pt x="99" y="56"/>
                  </a:cubicBezTo>
                  <a:cubicBezTo>
                    <a:pt x="99" y="56"/>
                    <a:pt x="99" y="57"/>
                    <a:pt x="99" y="57"/>
                  </a:cubicBezTo>
                  <a:cubicBezTo>
                    <a:pt x="106" y="54"/>
                    <a:pt x="106" y="54"/>
                    <a:pt x="106" y="54"/>
                  </a:cubicBezTo>
                  <a:cubicBezTo>
                    <a:pt x="110" y="56"/>
                    <a:pt x="110" y="56"/>
                    <a:pt x="110" y="56"/>
                  </a:cubicBezTo>
                  <a:cubicBezTo>
                    <a:pt x="113" y="58"/>
                    <a:pt x="113" y="58"/>
                    <a:pt x="113" y="58"/>
                  </a:cubicBezTo>
                  <a:cubicBezTo>
                    <a:pt x="116" y="56"/>
                    <a:pt x="116" y="56"/>
                    <a:pt x="116" y="56"/>
                  </a:cubicBezTo>
                  <a:cubicBezTo>
                    <a:pt x="120" y="55"/>
                    <a:pt x="120" y="55"/>
                    <a:pt x="120" y="55"/>
                  </a:cubicBezTo>
                  <a:cubicBezTo>
                    <a:pt x="123" y="60"/>
                    <a:pt x="123" y="60"/>
                    <a:pt x="123" y="60"/>
                  </a:cubicBezTo>
                  <a:cubicBezTo>
                    <a:pt x="120" y="64"/>
                    <a:pt x="120" y="64"/>
                    <a:pt x="120" y="64"/>
                  </a:cubicBezTo>
                  <a:cubicBezTo>
                    <a:pt x="124" y="67"/>
                    <a:pt x="124" y="67"/>
                    <a:pt x="124" y="67"/>
                  </a:cubicBezTo>
                  <a:cubicBezTo>
                    <a:pt x="129" y="68"/>
                    <a:pt x="129" y="68"/>
                    <a:pt x="129" y="68"/>
                  </a:cubicBezTo>
                  <a:cubicBezTo>
                    <a:pt x="133" y="65"/>
                    <a:pt x="133" y="65"/>
                    <a:pt x="133" y="65"/>
                  </a:cubicBezTo>
                  <a:cubicBezTo>
                    <a:pt x="136" y="61"/>
                    <a:pt x="136" y="61"/>
                    <a:pt x="136" y="61"/>
                  </a:cubicBezTo>
                  <a:cubicBezTo>
                    <a:pt x="141" y="61"/>
                    <a:pt x="141" y="61"/>
                    <a:pt x="141" y="61"/>
                  </a:cubicBezTo>
                  <a:cubicBezTo>
                    <a:pt x="141" y="61"/>
                    <a:pt x="141" y="61"/>
                    <a:pt x="141" y="61"/>
                  </a:cubicBezTo>
                  <a:cubicBezTo>
                    <a:pt x="142" y="58"/>
                    <a:pt x="142" y="58"/>
                    <a:pt x="142" y="58"/>
                  </a:cubicBezTo>
                  <a:lnTo>
                    <a:pt x="144" y="56"/>
                  </a:ln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0" name="Freeform 29">
              <a:extLst>
                <a:ext uri="{FF2B5EF4-FFF2-40B4-BE49-F238E27FC236}">
                  <a16:creationId xmlns:a16="http://schemas.microsoft.com/office/drawing/2014/main" id="{E0B788B7-A898-F645-B73C-601CDCB5CAAA}"/>
                </a:ext>
              </a:extLst>
            </p:cNvPr>
            <p:cNvSpPr>
              <a:spLocks noEditPoints="1"/>
            </p:cNvSpPr>
            <p:nvPr/>
          </p:nvSpPr>
          <p:spPr bwMode="auto">
            <a:xfrm>
              <a:off x="5154613" y="4132263"/>
              <a:ext cx="514350" cy="666750"/>
            </a:xfrm>
            <a:custGeom>
              <a:avLst/>
              <a:gdLst>
                <a:gd name="T0" fmla="*/ 102 w 135"/>
                <a:gd name="T1" fmla="*/ 143 h 175"/>
                <a:gd name="T2" fmla="*/ 106 w 135"/>
                <a:gd name="T3" fmla="*/ 129 h 175"/>
                <a:gd name="T4" fmla="*/ 114 w 135"/>
                <a:gd name="T5" fmla="*/ 118 h 175"/>
                <a:gd name="T6" fmla="*/ 116 w 135"/>
                <a:gd name="T7" fmla="*/ 126 h 175"/>
                <a:gd name="T8" fmla="*/ 118 w 135"/>
                <a:gd name="T9" fmla="*/ 138 h 175"/>
                <a:gd name="T10" fmla="*/ 119 w 135"/>
                <a:gd name="T11" fmla="*/ 150 h 175"/>
                <a:gd name="T12" fmla="*/ 120 w 135"/>
                <a:gd name="T13" fmla="*/ 156 h 175"/>
                <a:gd name="T14" fmla="*/ 116 w 135"/>
                <a:gd name="T15" fmla="*/ 160 h 175"/>
                <a:gd name="T16" fmla="*/ 108 w 135"/>
                <a:gd name="T17" fmla="*/ 166 h 175"/>
                <a:gd name="T18" fmla="*/ 104 w 135"/>
                <a:gd name="T19" fmla="*/ 163 h 175"/>
                <a:gd name="T20" fmla="*/ 123 w 135"/>
                <a:gd name="T21" fmla="*/ 141 h 175"/>
                <a:gd name="T22" fmla="*/ 127 w 135"/>
                <a:gd name="T23" fmla="*/ 126 h 175"/>
                <a:gd name="T24" fmla="*/ 121 w 135"/>
                <a:gd name="T25" fmla="*/ 135 h 175"/>
                <a:gd name="T26" fmla="*/ 115 w 135"/>
                <a:gd name="T27" fmla="*/ 61 h 175"/>
                <a:gd name="T28" fmla="*/ 92 w 135"/>
                <a:gd name="T29" fmla="*/ 65 h 175"/>
                <a:gd name="T30" fmla="*/ 89 w 135"/>
                <a:gd name="T31" fmla="*/ 49 h 175"/>
                <a:gd name="T32" fmla="*/ 85 w 135"/>
                <a:gd name="T33" fmla="*/ 40 h 175"/>
                <a:gd name="T34" fmla="*/ 84 w 135"/>
                <a:gd name="T35" fmla="*/ 29 h 175"/>
                <a:gd name="T36" fmla="*/ 81 w 135"/>
                <a:gd name="T37" fmla="*/ 21 h 175"/>
                <a:gd name="T38" fmla="*/ 85 w 135"/>
                <a:gd name="T39" fmla="*/ 2 h 175"/>
                <a:gd name="T40" fmla="*/ 65 w 135"/>
                <a:gd name="T41" fmla="*/ 7 h 175"/>
                <a:gd name="T42" fmla="*/ 65 w 135"/>
                <a:gd name="T43" fmla="*/ 37 h 175"/>
                <a:gd name="T44" fmla="*/ 60 w 135"/>
                <a:gd name="T45" fmla="*/ 46 h 175"/>
                <a:gd name="T46" fmla="*/ 39 w 135"/>
                <a:gd name="T47" fmla="*/ 67 h 175"/>
                <a:gd name="T48" fmla="*/ 25 w 135"/>
                <a:gd name="T49" fmla="*/ 85 h 175"/>
                <a:gd name="T50" fmla="*/ 16 w 135"/>
                <a:gd name="T51" fmla="*/ 95 h 175"/>
                <a:gd name="T52" fmla="*/ 10 w 135"/>
                <a:gd name="T53" fmla="*/ 104 h 175"/>
                <a:gd name="T54" fmla="*/ 2 w 135"/>
                <a:gd name="T55" fmla="*/ 118 h 175"/>
                <a:gd name="T56" fmla="*/ 8 w 135"/>
                <a:gd name="T57" fmla="*/ 133 h 175"/>
                <a:gd name="T58" fmla="*/ 10 w 135"/>
                <a:gd name="T59" fmla="*/ 120 h 175"/>
                <a:gd name="T60" fmla="*/ 11 w 135"/>
                <a:gd name="T61" fmla="*/ 133 h 175"/>
                <a:gd name="T62" fmla="*/ 16 w 135"/>
                <a:gd name="T63" fmla="*/ 153 h 175"/>
                <a:gd name="T64" fmla="*/ 18 w 135"/>
                <a:gd name="T65" fmla="*/ 175 h 175"/>
                <a:gd name="T66" fmla="*/ 36 w 135"/>
                <a:gd name="T67" fmla="*/ 166 h 175"/>
                <a:gd name="T68" fmla="*/ 63 w 135"/>
                <a:gd name="T69" fmla="*/ 155 h 175"/>
                <a:gd name="T70" fmla="*/ 98 w 135"/>
                <a:gd name="T71" fmla="*/ 140 h 175"/>
                <a:gd name="T72" fmla="*/ 105 w 135"/>
                <a:gd name="T73" fmla="*/ 122 h 175"/>
                <a:gd name="T74" fmla="*/ 110 w 135"/>
                <a:gd name="T75" fmla="*/ 113 h 175"/>
                <a:gd name="T76" fmla="*/ 114 w 135"/>
                <a:gd name="T77" fmla="*/ 111 h 175"/>
                <a:gd name="T78" fmla="*/ 112 w 135"/>
                <a:gd name="T79" fmla="*/ 105 h 175"/>
                <a:gd name="T80" fmla="*/ 107 w 135"/>
                <a:gd name="T81" fmla="*/ 102 h 175"/>
                <a:gd name="T82" fmla="*/ 110 w 135"/>
                <a:gd name="T83" fmla="*/ 96 h 175"/>
                <a:gd name="T84" fmla="*/ 114 w 135"/>
                <a:gd name="T85" fmla="*/ 102 h 175"/>
                <a:gd name="T86" fmla="*/ 123 w 135"/>
                <a:gd name="T87" fmla="*/ 89 h 175"/>
                <a:gd name="T88" fmla="*/ 123 w 135"/>
                <a:gd name="T89" fmla="*/ 76 h 175"/>
                <a:gd name="T90" fmla="*/ 119 w 135"/>
                <a:gd name="T91" fmla="*/ 78 h 175"/>
                <a:gd name="T92" fmla="*/ 121 w 135"/>
                <a:gd name="T93" fmla="*/ 75 h 175"/>
                <a:gd name="T94" fmla="*/ 125 w 135"/>
                <a:gd name="T95" fmla="*/ 73 h 175"/>
                <a:gd name="T96" fmla="*/ 129 w 135"/>
                <a:gd name="T97" fmla="*/ 72 h 175"/>
                <a:gd name="T98" fmla="*/ 133 w 135"/>
                <a:gd name="T99" fmla="*/ 75 h 175"/>
                <a:gd name="T100" fmla="*/ 135 w 135"/>
                <a:gd name="T101" fmla="*/ 6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 h="175">
                  <a:moveTo>
                    <a:pt x="105" y="153"/>
                  </a:moveTo>
                  <a:cubicBezTo>
                    <a:pt x="105" y="152"/>
                    <a:pt x="105" y="151"/>
                    <a:pt x="105" y="150"/>
                  </a:cubicBezTo>
                  <a:cubicBezTo>
                    <a:pt x="104" y="149"/>
                    <a:pt x="103" y="148"/>
                    <a:pt x="103" y="147"/>
                  </a:cubicBezTo>
                  <a:cubicBezTo>
                    <a:pt x="102" y="145"/>
                    <a:pt x="102" y="144"/>
                    <a:pt x="102" y="143"/>
                  </a:cubicBezTo>
                  <a:cubicBezTo>
                    <a:pt x="101" y="142"/>
                    <a:pt x="101" y="142"/>
                    <a:pt x="101" y="141"/>
                  </a:cubicBezTo>
                  <a:cubicBezTo>
                    <a:pt x="102" y="141"/>
                    <a:pt x="102" y="140"/>
                    <a:pt x="103" y="140"/>
                  </a:cubicBezTo>
                  <a:cubicBezTo>
                    <a:pt x="104" y="138"/>
                    <a:pt x="103" y="135"/>
                    <a:pt x="104" y="133"/>
                  </a:cubicBezTo>
                  <a:cubicBezTo>
                    <a:pt x="104" y="131"/>
                    <a:pt x="105" y="130"/>
                    <a:pt x="106" y="129"/>
                  </a:cubicBezTo>
                  <a:cubicBezTo>
                    <a:pt x="107" y="127"/>
                    <a:pt x="108" y="125"/>
                    <a:pt x="108" y="123"/>
                  </a:cubicBezTo>
                  <a:cubicBezTo>
                    <a:pt x="109" y="122"/>
                    <a:pt x="108" y="122"/>
                    <a:pt x="109" y="121"/>
                  </a:cubicBezTo>
                  <a:cubicBezTo>
                    <a:pt x="110" y="120"/>
                    <a:pt x="111" y="120"/>
                    <a:pt x="112" y="120"/>
                  </a:cubicBezTo>
                  <a:cubicBezTo>
                    <a:pt x="113" y="119"/>
                    <a:pt x="113" y="118"/>
                    <a:pt x="114" y="118"/>
                  </a:cubicBezTo>
                  <a:cubicBezTo>
                    <a:pt x="115" y="117"/>
                    <a:pt x="116" y="116"/>
                    <a:pt x="117" y="116"/>
                  </a:cubicBezTo>
                  <a:cubicBezTo>
                    <a:pt x="117" y="117"/>
                    <a:pt x="117" y="118"/>
                    <a:pt x="117" y="119"/>
                  </a:cubicBezTo>
                  <a:cubicBezTo>
                    <a:pt x="117" y="120"/>
                    <a:pt x="117" y="122"/>
                    <a:pt x="116" y="123"/>
                  </a:cubicBezTo>
                  <a:cubicBezTo>
                    <a:pt x="116" y="124"/>
                    <a:pt x="116" y="125"/>
                    <a:pt x="116" y="126"/>
                  </a:cubicBezTo>
                  <a:cubicBezTo>
                    <a:pt x="116" y="128"/>
                    <a:pt x="118" y="128"/>
                    <a:pt x="119" y="129"/>
                  </a:cubicBezTo>
                  <a:cubicBezTo>
                    <a:pt x="120" y="130"/>
                    <a:pt x="121" y="130"/>
                    <a:pt x="121" y="132"/>
                  </a:cubicBezTo>
                  <a:cubicBezTo>
                    <a:pt x="120" y="133"/>
                    <a:pt x="119" y="133"/>
                    <a:pt x="118" y="134"/>
                  </a:cubicBezTo>
                  <a:cubicBezTo>
                    <a:pt x="116" y="135"/>
                    <a:pt x="118" y="136"/>
                    <a:pt x="118" y="138"/>
                  </a:cubicBezTo>
                  <a:cubicBezTo>
                    <a:pt x="119" y="140"/>
                    <a:pt x="118" y="143"/>
                    <a:pt x="119" y="146"/>
                  </a:cubicBezTo>
                  <a:cubicBezTo>
                    <a:pt x="119" y="146"/>
                    <a:pt x="119" y="147"/>
                    <a:pt x="120" y="147"/>
                  </a:cubicBezTo>
                  <a:cubicBezTo>
                    <a:pt x="120" y="147"/>
                    <a:pt x="121" y="147"/>
                    <a:pt x="121" y="147"/>
                  </a:cubicBezTo>
                  <a:cubicBezTo>
                    <a:pt x="122" y="148"/>
                    <a:pt x="120" y="150"/>
                    <a:pt x="119" y="150"/>
                  </a:cubicBezTo>
                  <a:cubicBezTo>
                    <a:pt x="118" y="151"/>
                    <a:pt x="117" y="152"/>
                    <a:pt x="117" y="153"/>
                  </a:cubicBezTo>
                  <a:cubicBezTo>
                    <a:pt x="118" y="154"/>
                    <a:pt x="119" y="152"/>
                    <a:pt x="119" y="153"/>
                  </a:cubicBezTo>
                  <a:cubicBezTo>
                    <a:pt x="120" y="154"/>
                    <a:pt x="119" y="154"/>
                    <a:pt x="119" y="155"/>
                  </a:cubicBezTo>
                  <a:cubicBezTo>
                    <a:pt x="119" y="155"/>
                    <a:pt x="120" y="156"/>
                    <a:pt x="120" y="156"/>
                  </a:cubicBezTo>
                  <a:cubicBezTo>
                    <a:pt x="120" y="157"/>
                    <a:pt x="120" y="158"/>
                    <a:pt x="120" y="158"/>
                  </a:cubicBezTo>
                  <a:cubicBezTo>
                    <a:pt x="119" y="159"/>
                    <a:pt x="119" y="159"/>
                    <a:pt x="118" y="159"/>
                  </a:cubicBezTo>
                  <a:cubicBezTo>
                    <a:pt x="117" y="159"/>
                    <a:pt x="117" y="159"/>
                    <a:pt x="116" y="160"/>
                  </a:cubicBezTo>
                  <a:cubicBezTo>
                    <a:pt x="116" y="160"/>
                    <a:pt x="116" y="160"/>
                    <a:pt x="116" y="160"/>
                  </a:cubicBezTo>
                  <a:cubicBezTo>
                    <a:pt x="114" y="160"/>
                    <a:pt x="114" y="160"/>
                    <a:pt x="114" y="160"/>
                  </a:cubicBezTo>
                  <a:cubicBezTo>
                    <a:pt x="113" y="161"/>
                    <a:pt x="113" y="163"/>
                    <a:pt x="112" y="164"/>
                  </a:cubicBezTo>
                  <a:cubicBezTo>
                    <a:pt x="112" y="165"/>
                    <a:pt x="110" y="165"/>
                    <a:pt x="110" y="166"/>
                  </a:cubicBezTo>
                  <a:cubicBezTo>
                    <a:pt x="109" y="166"/>
                    <a:pt x="108" y="166"/>
                    <a:pt x="108" y="166"/>
                  </a:cubicBezTo>
                  <a:cubicBezTo>
                    <a:pt x="107" y="167"/>
                    <a:pt x="107" y="167"/>
                    <a:pt x="106" y="167"/>
                  </a:cubicBezTo>
                  <a:cubicBezTo>
                    <a:pt x="105" y="167"/>
                    <a:pt x="105" y="166"/>
                    <a:pt x="105" y="166"/>
                  </a:cubicBezTo>
                  <a:cubicBezTo>
                    <a:pt x="104" y="166"/>
                    <a:pt x="103" y="166"/>
                    <a:pt x="103" y="166"/>
                  </a:cubicBezTo>
                  <a:cubicBezTo>
                    <a:pt x="102" y="165"/>
                    <a:pt x="104" y="164"/>
                    <a:pt x="104" y="163"/>
                  </a:cubicBezTo>
                  <a:cubicBezTo>
                    <a:pt x="105" y="162"/>
                    <a:pt x="105" y="161"/>
                    <a:pt x="105" y="159"/>
                  </a:cubicBezTo>
                  <a:cubicBezTo>
                    <a:pt x="105" y="158"/>
                    <a:pt x="104" y="157"/>
                    <a:pt x="104" y="156"/>
                  </a:cubicBezTo>
                  <a:cubicBezTo>
                    <a:pt x="104" y="155"/>
                    <a:pt x="105" y="155"/>
                    <a:pt x="105" y="153"/>
                  </a:cubicBezTo>
                  <a:close/>
                  <a:moveTo>
                    <a:pt x="123" y="141"/>
                  </a:moveTo>
                  <a:cubicBezTo>
                    <a:pt x="125" y="141"/>
                    <a:pt x="125" y="139"/>
                    <a:pt x="125" y="138"/>
                  </a:cubicBezTo>
                  <a:cubicBezTo>
                    <a:pt x="125" y="136"/>
                    <a:pt x="126" y="135"/>
                    <a:pt x="126" y="133"/>
                  </a:cubicBezTo>
                  <a:cubicBezTo>
                    <a:pt x="126" y="132"/>
                    <a:pt x="126" y="130"/>
                    <a:pt x="127" y="129"/>
                  </a:cubicBezTo>
                  <a:cubicBezTo>
                    <a:pt x="127" y="128"/>
                    <a:pt x="127" y="127"/>
                    <a:pt x="127" y="126"/>
                  </a:cubicBezTo>
                  <a:cubicBezTo>
                    <a:pt x="126" y="124"/>
                    <a:pt x="125" y="126"/>
                    <a:pt x="125" y="127"/>
                  </a:cubicBezTo>
                  <a:cubicBezTo>
                    <a:pt x="125" y="128"/>
                    <a:pt x="124" y="128"/>
                    <a:pt x="123" y="129"/>
                  </a:cubicBezTo>
                  <a:cubicBezTo>
                    <a:pt x="122" y="130"/>
                    <a:pt x="122" y="131"/>
                    <a:pt x="122" y="132"/>
                  </a:cubicBezTo>
                  <a:cubicBezTo>
                    <a:pt x="122" y="133"/>
                    <a:pt x="121" y="134"/>
                    <a:pt x="121" y="135"/>
                  </a:cubicBezTo>
                  <a:cubicBezTo>
                    <a:pt x="120" y="136"/>
                    <a:pt x="121" y="136"/>
                    <a:pt x="121" y="137"/>
                  </a:cubicBezTo>
                  <a:cubicBezTo>
                    <a:pt x="122" y="138"/>
                    <a:pt x="122" y="141"/>
                    <a:pt x="123" y="141"/>
                  </a:cubicBezTo>
                  <a:close/>
                  <a:moveTo>
                    <a:pt x="120" y="63"/>
                  </a:moveTo>
                  <a:cubicBezTo>
                    <a:pt x="115" y="61"/>
                    <a:pt x="115" y="61"/>
                    <a:pt x="115" y="61"/>
                  </a:cubicBezTo>
                  <a:cubicBezTo>
                    <a:pt x="108" y="61"/>
                    <a:pt x="108" y="61"/>
                    <a:pt x="108" y="61"/>
                  </a:cubicBezTo>
                  <a:cubicBezTo>
                    <a:pt x="99" y="60"/>
                    <a:pt x="99" y="60"/>
                    <a:pt x="99" y="60"/>
                  </a:cubicBezTo>
                  <a:cubicBezTo>
                    <a:pt x="96" y="61"/>
                    <a:pt x="96" y="61"/>
                    <a:pt x="96" y="61"/>
                  </a:cubicBezTo>
                  <a:cubicBezTo>
                    <a:pt x="92" y="65"/>
                    <a:pt x="92" y="65"/>
                    <a:pt x="92" y="65"/>
                  </a:cubicBezTo>
                  <a:cubicBezTo>
                    <a:pt x="90" y="60"/>
                    <a:pt x="90" y="60"/>
                    <a:pt x="90" y="60"/>
                  </a:cubicBezTo>
                  <a:cubicBezTo>
                    <a:pt x="91" y="58"/>
                    <a:pt x="91" y="58"/>
                    <a:pt x="91" y="58"/>
                  </a:cubicBezTo>
                  <a:cubicBezTo>
                    <a:pt x="89" y="54"/>
                    <a:pt x="89" y="54"/>
                    <a:pt x="89" y="54"/>
                  </a:cubicBezTo>
                  <a:cubicBezTo>
                    <a:pt x="89" y="49"/>
                    <a:pt x="89" y="49"/>
                    <a:pt x="89" y="49"/>
                  </a:cubicBezTo>
                  <a:cubicBezTo>
                    <a:pt x="91" y="46"/>
                    <a:pt x="91" y="46"/>
                    <a:pt x="91" y="46"/>
                  </a:cubicBezTo>
                  <a:cubicBezTo>
                    <a:pt x="88" y="44"/>
                    <a:pt x="88" y="44"/>
                    <a:pt x="88" y="44"/>
                  </a:cubicBezTo>
                  <a:cubicBezTo>
                    <a:pt x="84" y="43"/>
                    <a:pt x="84" y="43"/>
                    <a:pt x="84" y="43"/>
                  </a:cubicBezTo>
                  <a:cubicBezTo>
                    <a:pt x="85" y="40"/>
                    <a:pt x="85" y="40"/>
                    <a:pt x="85" y="40"/>
                  </a:cubicBezTo>
                  <a:cubicBezTo>
                    <a:pt x="82" y="39"/>
                    <a:pt x="82" y="39"/>
                    <a:pt x="82" y="39"/>
                  </a:cubicBezTo>
                  <a:cubicBezTo>
                    <a:pt x="85" y="36"/>
                    <a:pt x="85" y="36"/>
                    <a:pt x="85" y="36"/>
                  </a:cubicBezTo>
                  <a:cubicBezTo>
                    <a:pt x="84" y="31"/>
                    <a:pt x="84" y="31"/>
                    <a:pt x="84" y="31"/>
                  </a:cubicBezTo>
                  <a:cubicBezTo>
                    <a:pt x="84" y="29"/>
                    <a:pt x="84" y="29"/>
                    <a:pt x="84" y="29"/>
                  </a:cubicBezTo>
                  <a:cubicBezTo>
                    <a:pt x="81" y="28"/>
                    <a:pt x="81" y="28"/>
                    <a:pt x="81" y="28"/>
                  </a:cubicBezTo>
                  <a:cubicBezTo>
                    <a:pt x="81" y="25"/>
                    <a:pt x="81" y="25"/>
                    <a:pt x="81" y="25"/>
                  </a:cubicBezTo>
                  <a:cubicBezTo>
                    <a:pt x="81" y="23"/>
                    <a:pt x="81" y="23"/>
                    <a:pt x="81" y="23"/>
                  </a:cubicBezTo>
                  <a:cubicBezTo>
                    <a:pt x="81" y="21"/>
                    <a:pt x="81" y="21"/>
                    <a:pt x="81" y="21"/>
                  </a:cubicBezTo>
                  <a:cubicBezTo>
                    <a:pt x="78" y="16"/>
                    <a:pt x="78" y="16"/>
                    <a:pt x="78" y="16"/>
                  </a:cubicBezTo>
                  <a:cubicBezTo>
                    <a:pt x="79" y="13"/>
                    <a:pt x="79" y="13"/>
                    <a:pt x="79" y="13"/>
                  </a:cubicBezTo>
                  <a:cubicBezTo>
                    <a:pt x="80" y="8"/>
                    <a:pt x="80" y="8"/>
                    <a:pt x="80" y="8"/>
                  </a:cubicBezTo>
                  <a:cubicBezTo>
                    <a:pt x="85" y="2"/>
                    <a:pt x="85" y="2"/>
                    <a:pt x="85" y="2"/>
                  </a:cubicBezTo>
                  <a:cubicBezTo>
                    <a:pt x="86" y="0"/>
                    <a:pt x="86" y="0"/>
                    <a:pt x="86" y="0"/>
                  </a:cubicBezTo>
                  <a:cubicBezTo>
                    <a:pt x="80" y="1"/>
                    <a:pt x="80" y="1"/>
                    <a:pt x="80" y="1"/>
                  </a:cubicBezTo>
                  <a:cubicBezTo>
                    <a:pt x="73" y="4"/>
                    <a:pt x="73" y="4"/>
                    <a:pt x="73" y="4"/>
                  </a:cubicBezTo>
                  <a:cubicBezTo>
                    <a:pt x="65" y="7"/>
                    <a:pt x="65" y="7"/>
                    <a:pt x="65" y="7"/>
                  </a:cubicBezTo>
                  <a:cubicBezTo>
                    <a:pt x="59" y="30"/>
                    <a:pt x="59" y="30"/>
                    <a:pt x="59" y="30"/>
                  </a:cubicBezTo>
                  <a:cubicBezTo>
                    <a:pt x="59" y="35"/>
                    <a:pt x="59" y="35"/>
                    <a:pt x="59" y="35"/>
                  </a:cubicBezTo>
                  <a:cubicBezTo>
                    <a:pt x="65" y="35"/>
                    <a:pt x="65" y="35"/>
                    <a:pt x="65" y="35"/>
                  </a:cubicBezTo>
                  <a:cubicBezTo>
                    <a:pt x="65" y="37"/>
                    <a:pt x="65" y="37"/>
                    <a:pt x="65" y="37"/>
                  </a:cubicBezTo>
                  <a:cubicBezTo>
                    <a:pt x="65" y="39"/>
                    <a:pt x="65" y="39"/>
                    <a:pt x="65" y="39"/>
                  </a:cubicBezTo>
                  <a:cubicBezTo>
                    <a:pt x="63" y="42"/>
                    <a:pt x="63" y="42"/>
                    <a:pt x="63" y="42"/>
                  </a:cubicBezTo>
                  <a:cubicBezTo>
                    <a:pt x="64" y="44"/>
                    <a:pt x="64" y="44"/>
                    <a:pt x="64" y="44"/>
                  </a:cubicBezTo>
                  <a:cubicBezTo>
                    <a:pt x="60" y="46"/>
                    <a:pt x="60" y="46"/>
                    <a:pt x="60" y="46"/>
                  </a:cubicBezTo>
                  <a:cubicBezTo>
                    <a:pt x="58" y="50"/>
                    <a:pt x="58" y="50"/>
                    <a:pt x="58" y="50"/>
                  </a:cubicBezTo>
                  <a:cubicBezTo>
                    <a:pt x="57" y="55"/>
                    <a:pt x="57" y="55"/>
                    <a:pt x="57" y="55"/>
                  </a:cubicBezTo>
                  <a:cubicBezTo>
                    <a:pt x="54" y="55"/>
                    <a:pt x="54" y="55"/>
                    <a:pt x="54" y="55"/>
                  </a:cubicBezTo>
                  <a:cubicBezTo>
                    <a:pt x="39" y="67"/>
                    <a:pt x="39" y="67"/>
                    <a:pt x="39" y="67"/>
                  </a:cubicBezTo>
                  <a:cubicBezTo>
                    <a:pt x="36" y="68"/>
                    <a:pt x="36" y="68"/>
                    <a:pt x="36" y="68"/>
                  </a:cubicBezTo>
                  <a:cubicBezTo>
                    <a:pt x="27" y="78"/>
                    <a:pt x="27" y="78"/>
                    <a:pt x="27" y="78"/>
                  </a:cubicBezTo>
                  <a:cubicBezTo>
                    <a:pt x="27" y="83"/>
                    <a:pt x="27" y="83"/>
                    <a:pt x="27" y="83"/>
                  </a:cubicBezTo>
                  <a:cubicBezTo>
                    <a:pt x="25" y="85"/>
                    <a:pt x="25" y="85"/>
                    <a:pt x="25" y="85"/>
                  </a:cubicBezTo>
                  <a:cubicBezTo>
                    <a:pt x="21" y="87"/>
                    <a:pt x="21" y="87"/>
                    <a:pt x="21" y="87"/>
                  </a:cubicBezTo>
                  <a:cubicBezTo>
                    <a:pt x="20" y="89"/>
                    <a:pt x="20" y="89"/>
                    <a:pt x="20" y="89"/>
                  </a:cubicBezTo>
                  <a:cubicBezTo>
                    <a:pt x="15" y="91"/>
                    <a:pt x="15" y="91"/>
                    <a:pt x="15" y="91"/>
                  </a:cubicBezTo>
                  <a:cubicBezTo>
                    <a:pt x="16" y="95"/>
                    <a:pt x="16" y="95"/>
                    <a:pt x="16" y="95"/>
                  </a:cubicBezTo>
                  <a:cubicBezTo>
                    <a:pt x="13" y="95"/>
                    <a:pt x="13" y="95"/>
                    <a:pt x="13" y="95"/>
                  </a:cubicBezTo>
                  <a:cubicBezTo>
                    <a:pt x="11" y="97"/>
                    <a:pt x="11" y="97"/>
                    <a:pt x="11" y="97"/>
                  </a:cubicBezTo>
                  <a:cubicBezTo>
                    <a:pt x="11" y="101"/>
                    <a:pt x="11" y="101"/>
                    <a:pt x="11" y="101"/>
                  </a:cubicBezTo>
                  <a:cubicBezTo>
                    <a:pt x="10" y="104"/>
                    <a:pt x="10" y="104"/>
                    <a:pt x="10" y="104"/>
                  </a:cubicBezTo>
                  <a:cubicBezTo>
                    <a:pt x="11" y="108"/>
                    <a:pt x="11" y="108"/>
                    <a:pt x="11" y="108"/>
                  </a:cubicBezTo>
                  <a:cubicBezTo>
                    <a:pt x="5" y="113"/>
                    <a:pt x="5" y="113"/>
                    <a:pt x="5" y="113"/>
                  </a:cubicBezTo>
                  <a:cubicBezTo>
                    <a:pt x="5" y="117"/>
                    <a:pt x="5" y="117"/>
                    <a:pt x="5" y="117"/>
                  </a:cubicBezTo>
                  <a:cubicBezTo>
                    <a:pt x="2" y="118"/>
                    <a:pt x="2" y="118"/>
                    <a:pt x="2" y="118"/>
                  </a:cubicBezTo>
                  <a:cubicBezTo>
                    <a:pt x="1" y="123"/>
                    <a:pt x="1" y="123"/>
                    <a:pt x="1" y="123"/>
                  </a:cubicBezTo>
                  <a:cubicBezTo>
                    <a:pt x="0" y="129"/>
                    <a:pt x="0" y="129"/>
                    <a:pt x="0" y="129"/>
                  </a:cubicBezTo>
                  <a:cubicBezTo>
                    <a:pt x="1" y="130"/>
                    <a:pt x="2" y="131"/>
                    <a:pt x="3" y="132"/>
                  </a:cubicBezTo>
                  <a:cubicBezTo>
                    <a:pt x="4" y="133"/>
                    <a:pt x="7" y="135"/>
                    <a:pt x="8" y="133"/>
                  </a:cubicBezTo>
                  <a:cubicBezTo>
                    <a:pt x="8" y="133"/>
                    <a:pt x="8" y="131"/>
                    <a:pt x="8" y="131"/>
                  </a:cubicBezTo>
                  <a:cubicBezTo>
                    <a:pt x="8" y="130"/>
                    <a:pt x="8" y="129"/>
                    <a:pt x="8" y="128"/>
                  </a:cubicBezTo>
                  <a:cubicBezTo>
                    <a:pt x="8" y="127"/>
                    <a:pt x="9" y="126"/>
                    <a:pt x="9" y="124"/>
                  </a:cubicBezTo>
                  <a:cubicBezTo>
                    <a:pt x="10" y="123"/>
                    <a:pt x="10" y="122"/>
                    <a:pt x="10" y="120"/>
                  </a:cubicBezTo>
                  <a:cubicBezTo>
                    <a:pt x="11" y="120"/>
                    <a:pt x="12" y="118"/>
                    <a:pt x="13" y="118"/>
                  </a:cubicBezTo>
                  <a:cubicBezTo>
                    <a:pt x="14" y="119"/>
                    <a:pt x="12" y="121"/>
                    <a:pt x="12" y="122"/>
                  </a:cubicBezTo>
                  <a:cubicBezTo>
                    <a:pt x="12" y="123"/>
                    <a:pt x="11" y="124"/>
                    <a:pt x="11" y="126"/>
                  </a:cubicBezTo>
                  <a:cubicBezTo>
                    <a:pt x="10" y="128"/>
                    <a:pt x="11" y="131"/>
                    <a:pt x="11" y="133"/>
                  </a:cubicBezTo>
                  <a:cubicBezTo>
                    <a:pt x="11" y="135"/>
                    <a:pt x="11" y="136"/>
                    <a:pt x="12" y="137"/>
                  </a:cubicBezTo>
                  <a:cubicBezTo>
                    <a:pt x="13" y="137"/>
                    <a:pt x="14" y="138"/>
                    <a:pt x="15" y="139"/>
                  </a:cubicBezTo>
                  <a:cubicBezTo>
                    <a:pt x="17" y="141"/>
                    <a:pt x="17" y="144"/>
                    <a:pt x="17" y="147"/>
                  </a:cubicBezTo>
                  <a:cubicBezTo>
                    <a:pt x="16" y="149"/>
                    <a:pt x="16" y="151"/>
                    <a:pt x="16" y="153"/>
                  </a:cubicBezTo>
                  <a:cubicBezTo>
                    <a:pt x="15" y="155"/>
                    <a:pt x="16" y="158"/>
                    <a:pt x="17" y="161"/>
                  </a:cubicBezTo>
                  <a:cubicBezTo>
                    <a:pt x="17" y="163"/>
                    <a:pt x="17" y="165"/>
                    <a:pt x="17" y="167"/>
                  </a:cubicBezTo>
                  <a:cubicBezTo>
                    <a:pt x="18" y="169"/>
                    <a:pt x="18" y="170"/>
                    <a:pt x="18" y="172"/>
                  </a:cubicBezTo>
                  <a:cubicBezTo>
                    <a:pt x="18" y="173"/>
                    <a:pt x="17" y="174"/>
                    <a:pt x="18" y="175"/>
                  </a:cubicBezTo>
                  <a:cubicBezTo>
                    <a:pt x="18" y="175"/>
                    <a:pt x="19" y="175"/>
                    <a:pt x="19" y="175"/>
                  </a:cubicBezTo>
                  <a:cubicBezTo>
                    <a:pt x="21" y="175"/>
                    <a:pt x="22" y="174"/>
                    <a:pt x="23" y="173"/>
                  </a:cubicBezTo>
                  <a:cubicBezTo>
                    <a:pt x="25" y="172"/>
                    <a:pt x="27" y="171"/>
                    <a:pt x="29" y="169"/>
                  </a:cubicBezTo>
                  <a:cubicBezTo>
                    <a:pt x="31" y="168"/>
                    <a:pt x="33" y="167"/>
                    <a:pt x="36" y="166"/>
                  </a:cubicBezTo>
                  <a:cubicBezTo>
                    <a:pt x="37" y="166"/>
                    <a:pt x="39" y="165"/>
                    <a:pt x="41" y="164"/>
                  </a:cubicBezTo>
                  <a:cubicBezTo>
                    <a:pt x="44" y="163"/>
                    <a:pt x="47" y="161"/>
                    <a:pt x="51" y="160"/>
                  </a:cubicBezTo>
                  <a:cubicBezTo>
                    <a:pt x="53" y="159"/>
                    <a:pt x="56" y="159"/>
                    <a:pt x="58" y="157"/>
                  </a:cubicBezTo>
                  <a:cubicBezTo>
                    <a:pt x="59" y="156"/>
                    <a:pt x="62" y="155"/>
                    <a:pt x="63" y="155"/>
                  </a:cubicBezTo>
                  <a:cubicBezTo>
                    <a:pt x="65" y="153"/>
                    <a:pt x="67" y="152"/>
                    <a:pt x="70" y="151"/>
                  </a:cubicBezTo>
                  <a:cubicBezTo>
                    <a:pt x="75" y="150"/>
                    <a:pt x="80" y="149"/>
                    <a:pt x="84" y="146"/>
                  </a:cubicBezTo>
                  <a:cubicBezTo>
                    <a:pt x="87" y="144"/>
                    <a:pt x="90" y="141"/>
                    <a:pt x="94" y="140"/>
                  </a:cubicBezTo>
                  <a:cubicBezTo>
                    <a:pt x="95" y="140"/>
                    <a:pt x="97" y="140"/>
                    <a:pt x="98" y="140"/>
                  </a:cubicBezTo>
                  <a:cubicBezTo>
                    <a:pt x="99" y="140"/>
                    <a:pt x="100" y="139"/>
                    <a:pt x="100" y="138"/>
                  </a:cubicBezTo>
                  <a:cubicBezTo>
                    <a:pt x="100" y="137"/>
                    <a:pt x="100" y="136"/>
                    <a:pt x="100" y="134"/>
                  </a:cubicBezTo>
                  <a:cubicBezTo>
                    <a:pt x="101" y="133"/>
                    <a:pt x="101" y="131"/>
                    <a:pt x="101" y="130"/>
                  </a:cubicBezTo>
                  <a:cubicBezTo>
                    <a:pt x="102" y="127"/>
                    <a:pt x="103" y="125"/>
                    <a:pt x="105" y="122"/>
                  </a:cubicBezTo>
                  <a:cubicBezTo>
                    <a:pt x="106" y="120"/>
                    <a:pt x="108" y="119"/>
                    <a:pt x="110" y="118"/>
                  </a:cubicBezTo>
                  <a:cubicBezTo>
                    <a:pt x="111" y="118"/>
                    <a:pt x="111" y="118"/>
                    <a:pt x="112" y="117"/>
                  </a:cubicBezTo>
                  <a:cubicBezTo>
                    <a:pt x="112" y="116"/>
                    <a:pt x="112" y="116"/>
                    <a:pt x="111" y="115"/>
                  </a:cubicBezTo>
                  <a:cubicBezTo>
                    <a:pt x="111" y="114"/>
                    <a:pt x="111" y="113"/>
                    <a:pt x="110" y="113"/>
                  </a:cubicBezTo>
                  <a:cubicBezTo>
                    <a:pt x="109" y="112"/>
                    <a:pt x="109" y="112"/>
                    <a:pt x="108" y="112"/>
                  </a:cubicBezTo>
                  <a:cubicBezTo>
                    <a:pt x="107" y="112"/>
                    <a:pt x="107" y="112"/>
                    <a:pt x="106" y="112"/>
                  </a:cubicBezTo>
                  <a:cubicBezTo>
                    <a:pt x="107" y="110"/>
                    <a:pt x="110" y="111"/>
                    <a:pt x="112" y="111"/>
                  </a:cubicBezTo>
                  <a:cubicBezTo>
                    <a:pt x="113" y="112"/>
                    <a:pt x="113" y="111"/>
                    <a:pt x="114" y="111"/>
                  </a:cubicBezTo>
                  <a:cubicBezTo>
                    <a:pt x="115" y="110"/>
                    <a:pt x="116" y="111"/>
                    <a:pt x="117" y="110"/>
                  </a:cubicBezTo>
                  <a:cubicBezTo>
                    <a:pt x="117" y="109"/>
                    <a:pt x="116" y="109"/>
                    <a:pt x="116" y="109"/>
                  </a:cubicBezTo>
                  <a:cubicBezTo>
                    <a:pt x="115" y="109"/>
                    <a:pt x="114" y="108"/>
                    <a:pt x="113" y="107"/>
                  </a:cubicBezTo>
                  <a:cubicBezTo>
                    <a:pt x="112" y="107"/>
                    <a:pt x="112" y="106"/>
                    <a:pt x="112" y="105"/>
                  </a:cubicBezTo>
                  <a:cubicBezTo>
                    <a:pt x="111" y="105"/>
                    <a:pt x="112" y="104"/>
                    <a:pt x="111" y="103"/>
                  </a:cubicBezTo>
                  <a:cubicBezTo>
                    <a:pt x="111" y="103"/>
                    <a:pt x="111" y="103"/>
                    <a:pt x="111" y="103"/>
                  </a:cubicBezTo>
                  <a:cubicBezTo>
                    <a:pt x="110" y="102"/>
                    <a:pt x="110" y="101"/>
                    <a:pt x="109" y="101"/>
                  </a:cubicBezTo>
                  <a:cubicBezTo>
                    <a:pt x="108" y="101"/>
                    <a:pt x="107" y="103"/>
                    <a:pt x="107" y="102"/>
                  </a:cubicBezTo>
                  <a:cubicBezTo>
                    <a:pt x="107" y="100"/>
                    <a:pt x="108" y="101"/>
                    <a:pt x="107" y="100"/>
                  </a:cubicBezTo>
                  <a:cubicBezTo>
                    <a:pt x="106" y="98"/>
                    <a:pt x="108" y="98"/>
                    <a:pt x="108" y="97"/>
                  </a:cubicBezTo>
                  <a:cubicBezTo>
                    <a:pt x="109" y="95"/>
                    <a:pt x="106" y="91"/>
                    <a:pt x="109" y="91"/>
                  </a:cubicBezTo>
                  <a:cubicBezTo>
                    <a:pt x="110" y="92"/>
                    <a:pt x="110" y="95"/>
                    <a:pt x="110" y="96"/>
                  </a:cubicBezTo>
                  <a:cubicBezTo>
                    <a:pt x="110" y="97"/>
                    <a:pt x="110" y="98"/>
                    <a:pt x="111" y="98"/>
                  </a:cubicBezTo>
                  <a:cubicBezTo>
                    <a:pt x="111" y="99"/>
                    <a:pt x="111" y="99"/>
                    <a:pt x="112" y="99"/>
                  </a:cubicBezTo>
                  <a:cubicBezTo>
                    <a:pt x="112" y="99"/>
                    <a:pt x="112" y="99"/>
                    <a:pt x="112" y="98"/>
                  </a:cubicBezTo>
                  <a:cubicBezTo>
                    <a:pt x="114" y="98"/>
                    <a:pt x="114" y="101"/>
                    <a:pt x="114" y="102"/>
                  </a:cubicBezTo>
                  <a:cubicBezTo>
                    <a:pt x="114" y="103"/>
                    <a:pt x="116" y="103"/>
                    <a:pt x="117" y="102"/>
                  </a:cubicBezTo>
                  <a:cubicBezTo>
                    <a:pt x="119" y="101"/>
                    <a:pt x="121" y="98"/>
                    <a:pt x="122" y="96"/>
                  </a:cubicBezTo>
                  <a:cubicBezTo>
                    <a:pt x="122" y="95"/>
                    <a:pt x="123" y="94"/>
                    <a:pt x="123" y="93"/>
                  </a:cubicBezTo>
                  <a:cubicBezTo>
                    <a:pt x="123" y="91"/>
                    <a:pt x="123" y="90"/>
                    <a:pt x="123" y="89"/>
                  </a:cubicBezTo>
                  <a:cubicBezTo>
                    <a:pt x="122" y="86"/>
                    <a:pt x="123" y="84"/>
                    <a:pt x="124" y="81"/>
                  </a:cubicBezTo>
                  <a:cubicBezTo>
                    <a:pt x="125" y="80"/>
                    <a:pt x="126" y="79"/>
                    <a:pt x="125" y="77"/>
                  </a:cubicBezTo>
                  <a:cubicBezTo>
                    <a:pt x="125" y="76"/>
                    <a:pt x="124" y="77"/>
                    <a:pt x="124" y="76"/>
                  </a:cubicBezTo>
                  <a:cubicBezTo>
                    <a:pt x="123" y="76"/>
                    <a:pt x="123" y="76"/>
                    <a:pt x="123" y="76"/>
                  </a:cubicBezTo>
                  <a:cubicBezTo>
                    <a:pt x="122" y="76"/>
                    <a:pt x="122" y="76"/>
                    <a:pt x="122" y="76"/>
                  </a:cubicBezTo>
                  <a:cubicBezTo>
                    <a:pt x="121" y="76"/>
                    <a:pt x="121" y="76"/>
                    <a:pt x="121" y="77"/>
                  </a:cubicBezTo>
                  <a:cubicBezTo>
                    <a:pt x="121" y="78"/>
                    <a:pt x="120" y="78"/>
                    <a:pt x="120" y="78"/>
                  </a:cubicBezTo>
                  <a:cubicBezTo>
                    <a:pt x="119" y="78"/>
                    <a:pt x="119" y="78"/>
                    <a:pt x="119" y="78"/>
                  </a:cubicBezTo>
                  <a:cubicBezTo>
                    <a:pt x="120" y="78"/>
                    <a:pt x="120" y="78"/>
                    <a:pt x="120" y="78"/>
                  </a:cubicBezTo>
                  <a:cubicBezTo>
                    <a:pt x="120" y="77"/>
                    <a:pt x="120" y="77"/>
                    <a:pt x="120" y="77"/>
                  </a:cubicBezTo>
                  <a:cubicBezTo>
                    <a:pt x="120" y="77"/>
                    <a:pt x="120" y="76"/>
                    <a:pt x="120" y="76"/>
                  </a:cubicBezTo>
                  <a:cubicBezTo>
                    <a:pt x="120" y="76"/>
                    <a:pt x="120" y="75"/>
                    <a:pt x="121" y="75"/>
                  </a:cubicBezTo>
                  <a:cubicBezTo>
                    <a:pt x="121" y="74"/>
                    <a:pt x="121" y="74"/>
                    <a:pt x="121" y="74"/>
                  </a:cubicBezTo>
                  <a:cubicBezTo>
                    <a:pt x="122" y="73"/>
                    <a:pt x="122" y="73"/>
                    <a:pt x="122" y="73"/>
                  </a:cubicBezTo>
                  <a:cubicBezTo>
                    <a:pt x="122" y="73"/>
                    <a:pt x="123" y="73"/>
                    <a:pt x="123" y="73"/>
                  </a:cubicBezTo>
                  <a:cubicBezTo>
                    <a:pt x="124" y="73"/>
                    <a:pt x="124" y="73"/>
                    <a:pt x="125" y="73"/>
                  </a:cubicBezTo>
                  <a:cubicBezTo>
                    <a:pt x="126" y="73"/>
                    <a:pt x="126" y="73"/>
                    <a:pt x="126" y="73"/>
                  </a:cubicBezTo>
                  <a:cubicBezTo>
                    <a:pt x="126" y="73"/>
                    <a:pt x="126" y="72"/>
                    <a:pt x="127" y="72"/>
                  </a:cubicBezTo>
                  <a:cubicBezTo>
                    <a:pt x="128" y="72"/>
                    <a:pt x="128" y="72"/>
                    <a:pt x="128" y="72"/>
                  </a:cubicBezTo>
                  <a:cubicBezTo>
                    <a:pt x="129" y="72"/>
                    <a:pt x="129" y="72"/>
                    <a:pt x="129" y="72"/>
                  </a:cubicBezTo>
                  <a:cubicBezTo>
                    <a:pt x="130" y="73"/>
                    <a:pt x="130" y="74"/>
                    <a:pt x="130" y="74"/>
                  </a:cubicBezTo>
                  <a:cubicBezTo>
                    <a:pt x="130" y="75"/>
                    <a:pt x="130" y="76"/>
                    <a:pt x="130" y="76"/>
                  </a:cubicBezTo>
                  <a:cubicBezTo>
                    <a:pt x="132" y="76"/>
                    <a:pt x="132" y="76"/>
                    <a:pt x="132" y="76"/>
                  </a:cubicBezTo>
                  <a:cubicBezTo>
                    <a:pt x="132" y="76"/>
                    <a:pt x="132" y="75"/>
                    <a:pt x="133" y="75"/>
                  </a:cubicBezTo>
                  <a:cubicBezTo>
                    <a:pt x="133" y="74"/>
                    <a:pt x="133" y="74"/>
                    <a:pt x="133" y="74"/>
                  </a:cubicBezTo>
                  <a:cubicBezTo>
                    <a:pt x="133" y="73"/>
                    <a:pt x="133" y="72"/>
                    <a:pt x="133" y="71"/>
                  </a:cubicBezTo>
                  <a:cubicBezTo>
                    <a:pt x="134" y="70"/>
                    <a:pt x="134" y="69"/>
                    <a:pt x="134" y="68"/>
                  </a:cubicBezTo>
                  <a:cubicBezTo>
                    <a:pt x="135" y="67"/>
                    <a:pt x="135" y="67"/>
                    <a:pt x="135" y="66"/>
                  </a:cubicBezTo>
                  <a:cubicBezTo>
                    <a:pt x="127" y="64"/>
                    <a:pt x="127" y="64"/>
                    <a:pt x="127" y="64"/>
                  </a:cubicBezTo>
                  <a:lnTo>
                    <a:pt x="120" y="63"/>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1" name="Freeform 70">
              <a:extLst>
                <a:ext uri="{FF2B5EF4-FFF2-40B4-BE49-F238E27FC236}">
                  <a16:creationId xmlns:a16="http://schemas.microsoft.com/office/drawing/2014/main" id="{7175CA48-AC06-5344-7A7D-25FAA00DD56A}"/>
                </a:ext>
              </a:extLst>
            </p:cNvPr>
            <p:cNvSpPr>
              <a:spLocks noEditPoints="1"/>
            </p:cNvSpPr>
            <p:nvPr/>
          </p:nvSpPr>
          <p:spPr bwMode="auto">
            <a:xfrm>
              <a:off x="2619375" y="2844800"/>
              <a:ext cx="1249363" cy="1139825"/>
            </a:xfrm>
            <a:custGeom>
              <a:avLst/>
              <a:gdLst>
                <a:gd name="T0" fmla="*/ 37 w 328"/>
                <a:gd name="T1" fmla="*/ 281 h 299"/>
                <a:gd name="T2" fmla="*/ 46 w 328"/>
                <a:gd name="T3" fmla="*/ 279 h 299"/>
                <a:gd name="T4" fmla="*/ 45 w 328"/>
                <a:gd name="T5" fmla="*/ 296 h 299"/>
                <a:gd name="T6" fmla="*/ 40 w 328"/>
                <a:gd name="T7" fmla="*/ 276 h 299"/>
                <a:gd name="T8" fmla="*/ 60 w 328"/>
                <a:gd name="T9" fmla="*/ 265 h 299"/>
                <a:gd name="T10" fmla="*/ 54 w 328"/>
                <a:gd name="T11" fmla="*/ 259 h 299"/>
                <a:gd name="T12" fmla="*/ 47 w 328"/>
                <a:gd name="T13" fmla="*/ 266 h 299"/>
                <a:gd name="T14" fmla="*/ 48 w 328"/>
                <a:gd name="T15" fmla="*/ 275 h 299"/>
                <a:gd name="T16" fmla="*/ 61 w 328"/>
                <a:gd name="T17" fmla="*/ 271 h 299"/>
                <a:gd name="T18" fmla="*/ 70 w 328"/>
                <a:gd name="T19" fmla="*/ 277 h 299"/>
                <a:gd name="T20" fmla="*/ 72 w 328"/>
                <a:gd name="T21" fmla="*/ 271 h 299"/>
                <a:gd name="T22" fmla="*/ 47 w 328"/>
                <a:gd name="T23" fmla="*/ 243 h 299"/>
                <a:gd name="T24" fmla="*/ 59 w 328"/>
                <a:gd name="T25" fmla="*/ 256 h 299"/>
                <a:gd name="T26" fmla="*/ 48 w 328"/>
                <a:gd name="T27" fmla="*/ 243 h 299"/>
                <a:gd name="T28" fmla="*/ 40 w 328"/>
                <a:gd name="T29" fmla="*/ 248 h 299"/>
                <a:gd name="T30" fmla="*/ 45 w 328"/>
                <a:gd name="T31" fmla="*/ 256 h 299"/>
                <a:gd name="T32" fmla="*/ 37 w 328"/>
                <a:gd name="T33" fmla="*/ 236 h 299"/>
                <a:gd name="T34" fmla="*/ 49 w 328"/>
                <a:gd name="T35" fmla="*/ 235 h 299"/>
                <a:gd name="T36" fmla="*/ 5 w 328"/>
                <a:gd name="T37" fmla="*/ 212 h 299"/>
                <a:gd name="T38" fmla="*/ 1 w 328"/>
                <a:gd name="T39" fmla="*/ 207 h 299"/>
                <a:gd name="T40" fmla="*/ 7 w 328"/>
                <a:gd name="T41" fmla="*/ 204 h 299"/>
                <a:gd name="T42" fmla="*/ 3 w 328"/>
                <a:gd name="T43" fmla="*/ 196 h 299"/>
                <a:gd name="T44" fmla="*/ 14 w 328"/>
                <a:gd name="T45" fmla="*/ 198 h 299"/>
                <a:gd name="T46" fmla="*/ 7 w 328"/>
                <a:gd name="T47" fmla="*/ 197 h 299"/>
                <a:gd name="T48" fmla="*/ 22 w 328"/>
                <a:gd name="T49" fmla="*/ 196 h 299"/>
                <a:gd name="T50" fmla="*/ 24 w 328"/>
                <a:gd name="T51" fmla="*/ 186 h 299"/>
                <a:gd name="T52" fmla="*/ 17 w 328"/>
                <a:gd name="T53" fmla="*/ 188 h 299"/>
                <a:gd name="T54" fmla="*/ 26 w 328"/>
                <a:gd name="T55" fmla="*/ 207 h 299"/>
                <a:gd name="T56" fmla="*/ 33 w 328"/>
                <a:gd name="T57" fmla="*/ 215 h 299"/>
                <a:gd name="T58" fmla="*/ 29 w 328"/>
                <a:gd name="T59" fmla="*/ 209 h 299"/>
                <a:gd name="T60" fmla="*/ 27 w 328"/>
                <a:gd name="T61" fmla="*/ 203 h 299"/>
                <a:gd name="T62" fmla="*/ 26 w 328"/>
                <a:gd name="T63" fmla="*/ 201 h 299"/>
                <a:gd name="T64" fmla="*/ 23 w 328"/>
                <a:gd name="T65" fmla="*/ 204 h 299"/>
                <a:gd name="T66" fmla="*/ 38 w 328"/>
                <a:gd name="T67" fmla="*/ 197 h 299"/>
                <a:gd name="T68" fmla="*/ 45 w 328"/>
                <a:gd name="T69" fmla="*/ 196 h 299"/>
                <a:gd name="T70" fmla="*/ 44 w 328"/>
                <a:gd name="T71" fmla="*/ 202 h 299"/>
                <a:gd name="T72" fmla="*/ 55 w 328"/>
                <a:gd name="T73" fmla="*/ 207 h 299"/>
                <a:gd name="T74" fmla="*/ 59 w 328"/>
                <a:gd name="T75" fmla="*/ 203 h 299"/>
                <a:gd name="T76" fmla="*/ 57 w 328"/>
                <a:gd name="T77" fmla="*/ 202 h 299"/>
                <a:gd name="T78" fmla="*/ 55 w 328"/>
                <a:gd name="T79" fmla="*/ 190 h 299"/>
                <a:gd name="T80" fmla="*/ 50 w 328"/>
                <a:gd name="T81" fmla="*/ 185 h 299"/>
                <a:gd name="T82" fmla="*/ 43 w 328"/>
                <a:gd name="T83" fmla="*/ 185 h 299"/>
                <a:gd name="T84" fmla="*/ 36 w 328"/>
                <a:gd name="T85" fmla="*/ 189 h 299"/>
                <a:gd name="T86" fmla="*/ 67 w 328"/>
                <a:gd name="T87" fmla="*/ 197 h 299"/>
                <a:gd name="T88" fmla="*/ 67 w 328"/>
                <a:gd name="T89" fmla="*/ 197 h 299"/>
                <a:gd name="T90" fmla="*/ 60 w 328"/>
                <a:gd name="T91" fmla="*/ 210 h 299"/>
                <a:gd name="T92" fmla="*/ 54 w 328"/>
                <a:gd name="T93" fmla="*/ 214 h 299"/>
                <a:gd name="T94" fmla="*/ 28 w 328"/>
                <a:gd name="T95" fmla="*/ 92 h 299"/>
                <a:gd name="T96" fmla="*/ 123 w 328"/>
                <a:gd name="T97" fmla="*/ 86 h 299"/>
                <a:gd name="T98" fmla="*/ 127 w 328"/>
                <a:gd name="T99" fmla="*/ 76 h 299"/>
                <a:gd name="T100" fmla="*/ 123 w 328"/>
                <a:gd name="T101" fmla="*/ 86 h 299"/>
                <a:gd name="T102" fmla="*/ 152 w 328"/>
                <a:gd name="T103" fmla="*/ 56 h 299"/>
                <a:gd name="T104" fmla="*/ 156 w 328"/>
                <a:gd name="T105" fmla="*/ 56 h 299"/>
                <a:gd name="T106" fmla="*/ 260 w 328"/>
                <a:gd name="T107" fmla="*/ 18 h 299"/>
                <a:gd name="T108" fmla="*/ 276 w 328"/>
                <a:gd name="T109" fmla="*/ 28 h 299"/>
                <a:gd name="T110" fmla="*/ 271 w 328"/>
                <a:gd name="T111" fmla="*/ 37 h 299"/>
                <a:gd name="T112" fmla="*/ 284 w 328"/>
                <a:gd name="T113" fmla="*/ 22 h 299"/>
                <a:gd name="T114" fmla="*/ 275 w 328"/>
                <a:gd name="T115" fmla="*/ 4 h 299"/>
                <a:gd name="T116" fmla="*/ 259 w 328"/>
                <a:gd name="T117" fmla="*/ 14 h 299"/>
                <a:gd name="T118" fmla="*/ 312 w 328"/>
                <a:gd name="T119" fmla="*/ 75 h 299"/>
                <a:gd name="T120" fmla="*/ 327 w 328"/>
                <a:gd name="T121" fmla="*/ 10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299">
                  <a:moveTo>
                    <a:pt x="34" y="289"/>
                  </a:moveTo>
                  <a:cubicBezTo>
                    <a:pt x="33" y="288"/>
                    <a:pt x="32" y="287"/>
                    <a:pt x="32" y="286"/>
                  </a:cubicBezTo>
                  <a:cubicBezTo>
                    <a:pt x="33" y="286"/>
                    <a:pt x="33" y="285"/>
                    <a:pt x="33" y="285"/>
                  </a:cubicBezTo>
                  <a:cubicBezTo>
                    <a:pt x="33" y="284"/>
                    <a:pt x="33" y="283"/>
                    <a:pt x="34" y="283"/>
                  </a:cubicBezTo>
                  <a:cubicBezTo>
                    <a:pt x="34" y="282"/>
                    <a:pt x="34" y="282"/>
                    <a:pt x="35" y="282"/>
                  </a:cubicBezTo>
                  <a:cubicBezTo>
                    <a:pt x="36" y="281"/>
                    <a:pt x="36" y="281"/>
                    <a:pt x="36" y="281"/>
                  </a:cubicBezTo>
                  <a:cubicBezTo>
                    <a:pt x="36" y="280"/>
                    <a:pt x="36" y="280"/>
                    <a:pt x="36" y="280"/>
                  </a:cubicBezTo>
                  <a:cubicBezTo>
                    <a:pt x="37" y="280"/>
                    <a:pt x="37" y="281"/>
                    <a:pt x="37" y="281"/>
                  </a:cubicBezTo>
                  <a:cubicBezTo>
                    <a:pt x="37" y="282"/>
                    <a:pt x="36" y="282"/>
                    <a:pt x="36" y="283"/>
                  </a:cubicBezTo>
                  <a:cubicBezTo>
                    <a:pt x="36" y="284"/>
                    <a:pt x="36" y="284"/>
                    <a:pt x="37" y="284"/>
                  </a:cubicBezTo>
                  <a:cubicBezTo>
                    <a:pt x="38" y="285"/>
                    <a:pt x="38" y="285"/>
                    <a:pt x="38" y="284"/>
                  </a:cubicBezTo>
                  <a:cubicBezTo>
                    <a:pt x="38" y="283"/>
                    <a:pt x="38" y="282"/>
                    <a:pt x="39" y="283"/>
                  </a:cubicBezTo>
                  <a:cubicBezTo>
                    <a:pt x="40" y="283"/>
                    <a:pt x="40" y="283"/>
                    <a:pt x="41" y="283"/>
                  </a:cubicBezTo>
                  <a:cubicBezTo>
                    <a:pt x="42" y="283"/>
                    <a:pt x="43" y="282"/>
                    <a:pt x="43" y="280"/>
                  </a:cubicBezTo>
                  <a:cubicBezTo>
                    <a:pt x="43" y="280"/>
                    <a:pt x="43" y="279"/>
                    <a:pt x="44" y="279"/>
                  </a:cubicBezTo>
                  <a:cubicBezTo>
                    <a:pt x="44" y="279"/>
                    <a:pt x="45" y="278"/>
                    <a:pt x="46" y="279"/>
                  </a:cubicBezTo>
                  <a:cubicBezTo>
                    <a:pt x="46" y="279"/>
                    <a:pt x="47" y="280"/>
                    <a:pt x="47" y="280"/>
                  </a:cubicBezTo>
                  <a:cubicBezTo>
                    <a:pt x="48" y="280"/>
                    <a:pt x="49" y="281"/>
                    <a:pt x="49" y="281"/>
                  </a:cubicBezTo>
                  <a:cubicBezTo>
                    <a:pt x="50" y="282"/>
                    <a:pt x="51" y="283"/>
                    <a:pt x="51" y="284"/>
                  </a:cubicBezTo>
                  <a:cubicBezTo>
                    <a:pt x="52" y="285"/>
                    <a:pt x="53" y="285"/>
                    <a:pt x="53" y="286"/>
                  </a:cubicBezTo>
                  <a:cubicBezTo>
                    <a:pt x="54" y="287"/>
                    <a:pt x="53" y="287"/>
                    <a:pt x="52" y="288"/>
                  </a:cubicBezTo>
                  <a:cubicBezTo>
                    <a:pt x="51" y="289"/>
                    <a:pt x="50" y="290"/>
                    <a:pt x="49" y="291"/>
                  </a:cubicBezTo>
                  <a:cubicBezTo>
                    <a:pt x="48" y="293"/>
                    <a:pt x="48" y="295"/>
                    <a:pt x="48" y="297"/>
                  </a:cubicBezTo>
                  <a:cubicBezTo>
                    <a:pt x="47" y="297"/>
                    <a:pt x="46" y="297"/>
                    <a:pt x="45" y="296"/>
                  </a:cubicBezTo>
                  <a:cubicBezTo>
                    <a:pt x="44" y="295"/>
                    <a:pt x="43" y="294"/>
                    <a:pt x="42" y="295"/>
                  </a:cubicBezTo>
                  <a:cubicBezTo>
                    <a:pt x="40" y="296"/>
                    <a:pt x="41" y="297"/>
                    <a:pt x="40" y="298"/>
                  </a:cubicBezTo>
                  <a:cubicBezTo>
                    <a:pt x="40" y="299"/>
                    <a:pt x="39" y="299"/>
                    <a:pt x="39" y="299"/>
                  </a:cubicBezTo>
                  <a:cubicBezTo>
                    <a:pt x="38" y="299"/>
                    <a:pt x="38" y="299"/>
                    <a:pt x="38" y="298"/>
                  </a:cubicBezTo>
                  <a:cubicBezTo>
                    <a:pt x="38" y="297"/>
                    <a:pt x="37" y="296"/>
                    <a:pt x="37" y="295"/>
                  </a:cubicBezTo>
                  <a:cubicBezTo>
                    <a:pt x="36" y="294"/>
                    <a:pt x="36" y="292"/>
                    <a:pt x="36" y="291"/>
                  </a:cubicBezTo>
                  <a:cubicBezTo>
                    <a:pt x="36" y="290"/>
                    <a:pt x="34" y="290"/>
                    <a:pt x="34" y="289"/>
                  </a:cubicBezTo>
                  <a:close/>
                  <a:moveTo>
                    <a:pt x="40" y="276"/>
                  </a:moveTo>
                  <a:cubicBezTo>
                    <a:pt x="40" y="277"/>
                    <a:pt x="41" y="277"/>
                    <a:pt x="42" y="277"/>
                  </a:cubicBezTo>
                  <a:cubicBezTo>
                    <a:pt x="43" y="277"/>
                    <a:pt x="43" y="278"/>
                    <a:pt x="44" y="278"/>
                  </a:cubicBezTo>
                  <a:cubicBezTo>
                    <a:pt x="45" y="278"/>
                    <a:pt x="46" y="277"/>
                    <a:pt x="46" y="276"/>
                  </a:cubicBezTo>
                  <a:cubicBezTo>
                    <a:pt x="46" y="275"/>
                    <a:pt x="45" y="276"/>
                    <a:pt x="45" y="276"/>
                  </a:cubicBezTo>
                  <a:cubicBezTo>
                    <a:pt x="44" y="276"/>
                    <a:pt x="43" y="276"/>
                    <a:pt x="42" y="275"/>
                  </a:cubicBezTo>
                  <a:cubicBezTo>
                    <a:pt x="41" y="275"/>
                    <a:pt x="41" y="276"/>
                    <a:pt x="40" y="276"/>
                  </a:cubicBezTo>
                  <a:close/>
                  <a:moveTo>
                    <a:pt x="62" y="267"/>
                  </a:moveTo>
                  <a:cubicBezTo>
                    <a:pt x="61" y="266"/>
                    <a:pt x="61" y="266"/>
                    <a:pt x="60" y="265"/>
                  </a:cubicBezTo>
                  <a:cubicBezTo>
                    <a:pt x="60" y="264"/>
                    <a:pt x="59" y="264"/>
                    <a:pt x="59" y="263"/>
                  </a:cubicBezTo>
                  <a:cubicBezTo>
                    <a:pt x="58" y="263"/>
                    <a:pt x="58" y="263"/>
                    <a:pt x="58" y="263"/>
                  </a:cubicBezTo>
                  <a:cubicBezTo>
                    <a:pt x="57" y="263"/>
                    <a:pt x="57" y="263"/>
                    <a:pt x="57" y="263"/>
                  </a:cubicBezTo>
                  <a:cubicBezTo>
                    <a:pt x="57" y="264"/>
                    <a:pt x="57" y="264"/>
                    <a:pt x="56" y="264"/>
                  </a:cubicBezTo>
                  <a:cubicBezTo>
                    <a:pt x="56" y="263"/>
                    <a:pt x="56" y="263"/>
                    <a:pt x="56" y="263"/>
                  </a:cubicBezTo>
                  <a:cubicBezTo>
                    <a:pt x="55" y="263"/>
                    <a:pt x="56" y="263"/>
                    <a:pt x="56" y="263"/>
                  </a:cubicBezTo>
                  <a:cubicBezTo>
                    <a:pt x="57" y="263"/>
                    <a:pt x="58" y="262"/>
                    <a:pt x="57" y="261"/>
                  </a:cubicBezTo>
                  <a:cubicBezTo>
                    <a:pt x="56" y="260"/>
                    <a:pt x="55" y="259"/>
                    <a:pt x="54" y="259"/>
                  </a:cubicBezTo>
                  <a:cubicBezTo>
                    <a:pt x="53" y="258"/>
                    <a:pt x="52" y="257"/>
                    <a:pt x="52" y="257"/>
                  </a:cubicBezTo>
                  <a:cubicBezTo>
                    <a:pt x="50" y="257"/>
                    <a:pt x="50" y="257"/>
                    <a:pt x="50" y="257"/>
                  </a:cubicBezTo>
                  <a:cubicBezTo>
                    <a:pt x="50" y="258"/>
                    <a:pt x="50" y="258"/>
                    <a:pt x="50" y="258"/>
                  </a:cubicBezTo>
                  <a:cubicBezTo>
                    <a:pt x="50" y="258"/>
                    <a:pt x="48" y="258"/>
                    <a:pt x="48" y="258"/>
                  </a:cubicBezTo>
                  <a:cubicBezTo>
                    <a:pt x="47" y="259"/>
                    <a:pt x="47" y="260"/>
                    <a:pt x="48" y="261"/>
                  </a:cubicBezTo>
                  <a:cubicBezTo>
                    <a:pt x="48" y="261"/>
                    <a:pt x="48" y="262"/>
                    <a:pt x="48" y="263"/>
                  </a:cubicBezTo>
                  <a:cubicBezTo>
                    <a:pt x="48" y="263"/>
                    <a:pt x="48" y="264"/>
                    <a:pt x="48" y="265"/>
                  </a:cubicBezTo>
                  <a:cubicBezTo>
                    <a:pt x="48" y="265"/>
                    <a:pt x="48" y="266"/>
                    <a:pt x="47" y="266"/>
                  </a:cubicBezTo>
                  <a:cubicBezTo>
                    <a:pt x="46" y="266"/>
                    <a:pt x="45" y="267"/>
                    <a:pt x="45" y="268"/>
                  </a:cubicBezTo>
                  <a:cubicBezTo>
                    <a:pt x="45" y="269"/>
                    <a:pt x="45" y="269"/>
                    <a:pt x="44" y="270"/>
                  </a:cubicBezTo>
                  <a:cubicBezTo>
                    <a:pt x="44" y="270"/>
                    <a:pt x="43" y="271"/>
                    <a:pt x="43" y="272"/>
                  </a:cubicBezTo>
                  <a:cubicBezTo>
                    <a:pt x="42" y="273"/>
                    <a:pt x="43" y="273"/>
                    <a:pt x="44" y="273"/>
                  </a:cubicBezTo>
                  <a:cubicBezTo>
                    <a:pt x="45" y="273"/>
                    <a:pt x="46" y="273"/>
                    <a:pt x="46" y="273"/>
                  </a:cubicBezTo>
                  <a:cubicBezTo>
                    <a:pt x="47" y="273"/>
                    <a:pt x="47" y="273"/>
                    <a:pt x="47" y="274"/>
                  </a:cubicBezTo>
                  <a:cubicBezTo>
                    <a:pt x="47" y="274"/>
                    <a:pt x="47" y="274"/>
                    <a:pt x="47" y="274"/>
                  </a:cubicBezTo>
                  <a:cubicBezTo>
                    <a:pt x="47" y="275"/>
                    <a:pt x="47" y="275"/>
                    <a:pt x="48" y="275"/>
                  </a:cubicBezTo>
                  <a:cubicBezTo>
                    <a:pt x="49" y="275"/>
                    <a:pt x="49" y="275"/>
                    <a:pt x="50" y="274"/>
                  </a:cubicBezTo>
                  <a:cubicBezTo>
                    <a:pt x="50" y="274"/>
                    <a:pt x="51" y="273"/>
                    <a:pt x="51" y="273"/>
                  </a:cubicBezTo>
                  <a:cubicBezTo>
                    <a:pt x="52" y="273"/>
                    <a:pt x="53" y="273"/>
                    <a:pt x="53" y="273"/>
                  </a:cubicBezTo>
                  <a:cubicBezTo>
                    <a:pt x="54" y="273"/>
                    <a:pt x="54" y="273"/>
                    <a:pt x="54" y="272"/>
                  </a:cubicBezTo>
                  <a:cubicBezTo>
                    <a:pt x="55" y="272"/>
                    <a:pt x="55" y="272"/>
                    <a:pt x="55" y="271"/>
                  </a:cubicBezTo>
                  <a:cubicBezTo>
                    <a:pt x="56" y="271"/>
                    <a:pt x="57" y="271"/>
                    <a:pt x="57" y="271"/>
                  </a:cubicBezTo>
                  <a:cubicBezTo>
                    <a:pt x="58" y="270"/>
                    <a:pt x="59" y="270"/>
                    <a:pt x="59" y="270"/>
                  </a:cubicBezTo>
                  <a:cubicBezTo>
                    <a:pt x="60" y="271"/>
                    <a:pt x="60" y="271"/>
                    <a:pt x="61" y="271"/>
                  </a:cubicBezTo>
                  <a:cubicBezTo>
                    <a:pt x="61" y="272"/>
                    <a:pt x="62" y="272"/>
                    <a:pt x="62" y="272"/>
                  </a:cubicBezTo>
                  <a:cubicBezTo>
                    <a:pt x="62" y="272"/>
                    <a:pt x="63" y="273"/>
                    <a:pt x="63" y="273"/>
                  </a:cubicBezTo>
                  <a:cubicBezTo>
                    <a:pt x="63" y="274"/>
                    <a:pt x="64" y="273"/>
                    <a:pt x="65" y="274"/>
                  </a:cubicBezTo>
                  <a:cubicBezTo>
                    <a:pt x="65" y="275"/>
                    <a:pt x="65" y="275"/>
                    <a:pt x="65" y="275"/>
                  </a:cubicBezTo>
                  <a:cubicBezTo>
                    <a:pt x="66" y="275"/>
                    <a:pt x="66" y="275"/>
                    <a:pt x="66" y="275"/>
                  </a:cubicBezTo>
                  <a:cubicBezTo>
                    <a:pt x="66" y="275"/>
                    <a:pt x="67" y="276"/>
                    <a:pt x="67" y="276"/>
                  </a:cubicBezTo>
                  <a:cubicBezTo>
                    <a:pt x="68" y="277"/>
                    <a:pt x="68" y="277"/>
                    <a:pt x="68" y="277"/>
                  </a:cubicBezTo>
                  <a:cubicBezTo>
                    <a:pt x="69" y="277"/>
                    <a:pt x="69" y="277"/>
                    <a:pt x="70" y="277"/>
                  </a:cubicBezTo>
                  <a:cubicBezTo>
                    <a:pt x="71" y="278"/>
                    <a:pt x="72" y="278"/>
                    <a:pt x="73" y="278"/>
                  </a:cubicBezTo>
                  <a:cubicBezTo>
                    <a:pt x="72" y="277"/>
                    <a:pt x="72" y="277"/>
                    <a:pt x="72" y="277"/>
                  </a:cubicBezTo>
                  <a:cubicBezTo>
                    <a:pt x="72" y="276"/>
                    <a:pt x="72" y="276"/>
                    <a:pt x="72" y="276"/>
                  </a:cubicBezTo>
                  <a:cubicBezTo>
                    <a:pt x="72" y="275"/>
                    <a:pt x="72" y="275"/>
                    <a:pt x="73" y="275"/>
                  </a:cubicBezTo>
                  <a:cubicBezTo>
                    <a:pt x="75" y="275"/>
                    <a:pt x="76" y="277"/>
                    <a:pt x="78" y="276"/>
                  </a:cubicBezTo>
                  <a:cubicBezTo>
                    <a:pt x="78" y="276"/>
                    <a:pt x="78" y="275"/>
                    <a:pt x="77" y="275"/>
                  </a:cubicBezTo>
                  <a:cubicBezTo>
                    <a:pt x="76" y="275"/>
                    <a:pt x="75" y="275"/>
                    <a:pt x="74" y="274"/>
                  </a:cubicBezTo>
                  <a:cubicBezTo>
                    <a:pt x="73" y="273"/>
                    <a:pt x="72" y="272"/>
                    <a:pt x="72" y="271"/>
                  </a:cubicBezTo>
                  <a:cubicBezTo>
                    <a:pt x="71" y="270"/>
                    <a:pt x="70" y="269"/>
                    <a:pt x="69" y="269"/>
                  </a:cubicBezTo>
                  <a:cubicBezTo>
                    <a:pt x="69" y="268"/>
                    <a:pt x="68" y="267"/>
                    <a:pt x="67" y="267"/>
                  </a:cubicBezTo>
                  <a:cubicBezTo>
                    <a:pt x="67" y="266"/>
                    <a:pt x="67" y="267"/>
                    <a:pt x="67" y="268"/>
                  </a:cubicBezTo>
                  <a:cubicBezTo>
                    <a:pt x="67" y="268"/>
                    <a:pt x="67" y="269"/>
                    <a:pt x="67" y="270"/>
                  </a:cubicBezTo>
                  <a:cubicBezTo>
                    <a:pt x="66" y="270"/>
                    <a:pt x="65" y="270"/>
                    <a:pt x="64" y="270"/>
                  </a:cubicBezTo>
                  <a:cubicBezTo>
                    <a:pt x="64" y="270"/>
                    <a:pt x="63" y="269"/>
                    <a:pt x="62" y="268"/>
                  </a:cubicBezTo>
                  <a:cubicBezTo>
                    <a:pt x="62" y="268"/>
                    <a:pt x="62" y="267"/>
                    <a:pt x="62" y="267"/>
                  </a:cubicBezTo>
                  <a:close/>
                  <a:moveTo>
                    <a:pt x="47" y="243"/>
                  </a:moveTo>
                  <a:cubicBezTo>
                    <a:pt x="47" y="244"/>
                    <a:pt x="47" y="244"/>
                    <a:pt x="47" y="244"/>
                  </a:cubicBezTo>
                  <a:cubicBezTo>
                    <a:pt x="47" y="245"/>
                    <a:pt x="48" y="247"/>
                    <a:pt x="48" y="247"/>
                  </a:cubicBezTo>
                  <a:cubicBezTo>
                    <a:pt x="49" y="248"/>
                    <a:pt x="50" y="249"/>
                    <a:pt x="51" y="250"/>
                  </a:cubicBezTo>
                  <a:cubicBezTo>
                    <a:pt x="52" y="251"/>
                    <a:pt x="53" y="252"/>
                    <a:pt x="54" y="253"/>
                  </a:cubicBezTo>
                  <a:cubicBezTo>
                    <a:pt x="55" y="254"/>
                    <a:pt x="55" y="254"/>
                    <a:pt x="56" y="254"/>
                  </a:cubicBezTo>
                  <a:cubicBezTo>
                    <a:pt x="57" y="255"/>
                    <a:pt x="57" y="255"/>
                    <a:pt x="57" y="255"/>
                  </a:cubicBezTo>
                  <a:cubicBezTo>
                    <a:pt x="57" y="256"/>
                    <a:pt x="58" y="256"/>
                    <a:pt x="58" y="256"/>
                  </a:cubicBezTo>
                  <a:cubicBezTo>
                    <a:pt x="58" y="257"/>
                    <a:pt x="59" y="256"/>
                    <a:pt x="59" y="256"/>
                  </a:cubicBezTo>
                  <a:cubicBezTo>
                    <a:pt x="59" y="256"/>
                    <a:pt x="60" y="255"/>
                    <a:pt x="60" y="255"/>
                  </a:cubicBezTo>
                  <a:cubicBezTo>
                    <a:pt x="59" y="254"/>
                    <a:pt x="59" y="254"/>
                    <a:pt x="58" y="254"/>
                  </a:cubicBezTo>
                  <a:cubicBezTo>
                    <a:pt x="58" y="254"/>
                    <a:pt x="58" y="254"/>
                    <a:pt x="58" y="254"/>
                  </a:cubicBezTo>
                  <a:cubicBezTo>
                    <a:pt x="57" y="253"/>
                    <a:pt x="57" y="253"/>
                    <a:pt x="57" y="253"/>
                  </a:cubicBezTo>
                  <a:cubicBezTo>
                    <a:pt x="57" y="253"/>
                    <a:pt x="56" y="252"/>
                    <a:pt x="56" y="252"/>
                  </a:cubicBezTo>
                  <a:cubicBezTo>
                    <a:pt x="56" y="251"/>
                    <a:pt x="55" y="251"/>
                    <a:pt x="55" y="250"/>
                  </a:cubicBezTo>
                  <a:cubicBezTo>
                    <a:pt x="53" y="248"/>
                    <a:pt x="52" y="247"/>
                    <a:pt x="50" y="245"/>
                  </a:cubicBezTo>
                  <a:cubicBezTo>
                    <a:pt x="50" y="244"/>
                    <a:pt x="49" y="244"/>
                    <a:pt x="48" y="243"/>
                  </a:cubicBezTo>
                  <a:cubicBezTo>
                    <a:pt x="48" y="243"/>
                    <a:pt x="47" y="243"/>
                    <a:pt x="47" y="243"/>
                  </a:cubicBezTo>
                  <a:close/>
                  <a:moveTo>
                    <a:pt x="45" y="251"/>
                  </a:moveTo>
                  <a:cubicBezTo>
                    <a:pt x="44" y="250"/>
                    <a:pt x="44" y="250"/>
                    <a:pt x="43" y="249"/>
                  </a:cubicBezTo>
                  <a:cubicBezTo>
                    <a:pt x="43" y="249"/>
                    <a:pt x="42" y="249"/>
                    <a:pt x="42" y="249"/>
                  </a:cubicBezTo>
                  <a:cubicBezTo>
                    <a:pt x="42" y="250"/>
                    <a:pt x="43" y="251"/>
                    <a:pt x="42" y="251"/>
                  </a:cubicBezTo>
                  <a:cubicBezTo>
                    <a:pt x="41" y="252"/>
                    <a:pt x="41" y="250"/>
                    <a:pt x="41" y="250"/>
                  </a:cubicBezTo>
                  <a:cubicBezTo>
                    <a:pt x="40" y="249"/>
                    <a:pt x="40" y="249"/>
                    <a:pt x="40" y="249"/>
                  </a:cubicBezTo>
                  <a:cubicBezTo>
                    <a:pt x="40" y="249"/>
                    <a:pt x="40" y="248"/>
                    <a:pt x="40" y="248"/>
                  </a:cubicBezTo>
                  <a:cubicBezTo>
                    <a:pt x="39" y="248"/>
                    <a:pt x="39" y="248"/>
                    <a:pt x="39" y="248"/>
                  </a:cubicBezTo>
                  <a:cubicBezTo>
                    <a:pt x="38" y="248"/>
                    <a:pt x="39" y="248"/>
                    <a:pt x="39" y="248"/>
                  </a:cubicBezTo>
                  <a:cubicBezTo>
                    <a:pt x="39" y="249"/>
                    <a:pt x="40" y="250"/>
                    <a:pt x="40" y="251"/>
                  </a:cubicBezTo>
                  <a:cubicBezTo>
                    <a:pt x="41" y="251"/>
                    <a:pt x="41" y="252"/>
                    <a:pt x="41" y="252"/>
                  </a:cubicBezTo>
                  <a:cubicBezTo>
                    <a:pt x="42" y="253"/>
                    <a:pt x="42" y="253"/>
                    <a:pt x="43" y="254"/>
                  </a:cubicBezTo>
                  <a:cubicBezTo>
                    <a:pt x="44" y="255"/>
                    <a:pt x="44" y="255"/>
                    <a:pt x="44" y="255"/>
                  </a:cubicBezTo>
                  <a:cubicBezTo>
                    <a:pt x="44" y="255"/>
                    <a:pt x="45" y="255"/>
                    <a:pt x="45" y="256"/>
                  </a:cubicBezTo>
                  <a:cubicBezTo>
                    <a:pt x="45" y="256"/>
                    <a:pt x="45" y="256"/>
                    <a:pt x="45" y="256"/>
                  </a:cubicBezTo>
                  <a:cubicBezTo>
                    <a:pt x="46" y="256"/>
                    <a:pt x="46" y="256"/>
                    <a:pt x="46" y="256"/>
                  </a:cubicBezTo>
                  <a:cubicBezTo>
                    <a:pt x="46" y="255"/>
                    <a:pt x="46" y="255"/>
                    <a:pt x="47" y="254"/>
                  </a:cubicBezTo>
                  <a:cubicBezTo>
                    <a:pt x="47" y="254"/>
                    <a:pt x="46" y="253"/>
                    <a:pt x="46" y="252"/>
                  </a:cubicBezTo>
                  <a:cubicBezTo>
                    <a:pt x="45" y="252"/>
                    <a:pt x="45" y="251"/>
                    <a:pt x="45" y="251"/>
                  </a:cubicBezTo>
                  <a:close/>
                  <a:moveTo>
                    <a:pt x="41" y="237"/>
                  </a:moveTo>
                  <a:cubicBezTo>
                    <a:pt x="40" y="237"/>
                    <a:pt x="40" y="237"/>
                    <a:pt x="39" y="236"/>
                  </a:cubicBezTo>
                  <a:cubicBezTo>
                    <a:pt x="38" y="235"/>
                    <a:pt x="38" y="235"/>
                    <a:pt x="38" y="235"/>
                  </a:cubicBezTo>
                  <a:cubicBezTo>
                    <a:pt x="38" y="235"/>
                    <a:pt x="38" y="235"/>
                    <a:pt x="37" y="236"/>
                  </a:cubicBezTo>
                  <a:cubicBezTo>
                    <a:pt x="37" y="236"/>
                    <a:pt x="38" y="236"/>
                    <a:pt x="38" y="237"/>
                  </a:cubicBezTo>
                  <a:cubicBezTo>
                    <a:pt x="38" y="238"/>
                    <a:pt x="38" y="238"/>
                    <a:pt x="38" y="238"/>
                  </a:cubicBezTo>
                  <a:cubicBezTo>
                    <a:pt x="39" y="239"/>
                    <a:pt x="39" y="239"/>
                    <a:pt x="39" y="239"/>
                  </a:cubicBezTo>
                  <a:cubicBezTo>
                    <a:pt x="40" y="239"/>
                    <a:pt x="41" y="240"/>
                    <a:pt x="42" y="240"/>
                  </a:cubicBezTo>
                  <a:cubicBezTo>
                    <a:pt x="42" y="239"/>
                    <a:pt x="42" y="239"/>
                    <a:pt x="42" y="239"/>
                  </a:cubicBezTo>
                  <a:cubicBezTo>
                    <a:pt x="42" y="239"/>
                    <a:pt x="42" y="239"/>
                    <a:pt x="42" y="238"/>
                  </a:cubicBezTo>
                  <a:cubicBezTo>
                    <a:pt x="42" y="238"/>
                    <a:pt x="41" y="238"/>
                    <a:pt x="41" y="237"/>
                  </a:cubicBezTo>
                  <a:close/>
                  <a:moveTo>
                    <a:pt x="49" y="235"/>
                  </a:moveTo>
                  <a:cubicBezTo>
                    <a:pt x="50" y="234"/>
                    <a:pt x="50" y="234"/>
                    <a:pt x="50" y="234"/>
                  </a:cubicBezTo>
                  <a:cubicBezTo>
                    <a:pt x="50" y="233"/>
                    <a:pt x="50" y="233"/>
                    <a:pt x="50" y="233"/>
                  </a:cubicBezTo>
                  <a:cubicBezTo>
                    <a:pt x="50" y="233"/>
                    <a:pt x="48" y="232"/>
                    <a:pt x="48" y="233"/>
                  </a:cubicBezTo>
                  <a:cubicBezTo>
                    <a:pt x="48" y="233"/>
                    <a:pt x="48" y="233"/>
                    <a:pt x="48" y="233"/>
                  </a:cubicBezTo>
                  <a:cubicBezTo>
                    <a:pt x="49" y="233"/>
                    <a:pt x="49" y="234"/>
                    <a:pt x="49" y="234"/>
                  </a:cubicBezTo>
                  <a:lnTo>
                    <a:pt x="49" y="235"/>
                  </a:lnTo>
                  <a:close/>
                  <a:moveTo>
                    <a:pt x="2" y="209"/>
                  </a:moveTo>
                  <a:cubicBezTo>
                    <a:pt x="3" y="210"/>
                    <a:pt x="4" y="211"/>
                    <a:pt x="5" y="212"/>
                  </a:cubicBezTo>
                  <a:cubicBezTo>
                    <a:pt x="6" y="212"/>
                    <a:pt x="6" y="212"/>
                    <a:pt x="7" y="211"/>
                  </a:cubicBezTo>
                  <a:cubicBezTo>
                    <a:pt x="7" y="211"/>
                    <a:pt x="7" y="210"/>
                    <a:pt x="7" y="210"/>
                  </a:cubicBezTo>
                  <a:cubicBezTo>
                    <a:pt x="7" y="209"/>
                    <a:pt x="7" y="208"/>
                    <a:pt x="6" y="208"/>
                  </a:cubicBezTo>
                  <a:cubicBezTo>
                    <a:pt x="6" y="207"/>
                    <a:pt x="5" y="206"/>
                    <a:pt x="4" y="205"/>
                  </a:cubicBezTo>
                  <a:cubicBezTo>
                    <a:pt x="4" y="204"/>
                    <a:pt x="4" y="204"/>
                    <a:pt x="4" y="204"/>
                  </a:cubicBezTo>
                  <a:cubicBezTo>
                    <a:pt x="3" y="204"/>
                    <a:pt x="2" y="204"/>
                    <a:pt x="1" y="204"/>
                  </a:cubicBezTo>
                  <a:cubicBezTo>
                    <a:pt x="1" y="204"/>
                    <a:pt x="1" y="205"/>
                    <a:pt x="0" y="205"/>
                  </a:cubicBezTo>
                  <a:cubicBezTo>
                    <a:pt x="0" y="206"/>
                    <a:pt x="0" y="207"/>
                    <a:pt x="1" y="207"/>
                  </a:cubicBezTo>
                  <a:cubicBezTo>
                    <a:pt x="1" y="208"/>
                    <a:pt x="2" y="208"/>
                    <a:pt x="2" y="209"/>
                  </a:cubicBezTo>
                  <a:close/>
                  <a:moveTo>
                    <a:pt x="7" y="206"/>
                  </a:moveTo>
                  <a:cubicBezTo>
                    <a:pt x="8" y="207"/>
                    <a:pt x="8" y="207"/>
                    <a:pt x="9" y="208"/>
                  </a:cubicBezTo>
                  <a:cubicBezTo>
                    <a:pt x="9" y="209"/>
                    <a:pt x="11" y="210"/>
                    <a:pt x="12" y="211"/>
                  </a:cubicBezTo>
                  <a:cubicBezTo>
                    <a:pt x="12" y="211"/>
                    <a:pt x="13" y="211"/>
                    <a:pt x="13" y="211"/>
                  </a:cubicBezTo>
                  <a:cubicBezTo>
                    <a:pt x="14" y="210"/>
                    <a:pt x="13" y="210"/>
                    <a:pt x="13" y="209"/>
                  </a:cubicBezTo>
                  <a:cubicBezTo>
                    <a:pt x="12" y="207"/>
                    <a:pt x="10" y="206"/>
                    <a:pt x="9" y="205"/>
                  </a:cubicBezTo>
                  <a:cubicBezTo>
                    <a:pt x="8" y="204"/>
                    <a:pt x="8" y="204"/>
                    <a:pt x="7" y="204"/>
                  </a:cubicBezTo>
                  <a:cubicBezTo>
                    <a:pt x="6" y="204"/>
                    <a:pt x="6" y="204"/>
                    <a:pt x="6" y="204"/>
                  </a:cubicBezTo>
                  <a:cubicBezTo>
                    <a:pt x="6" y="205"/>
                    <a:pt x="6" y="205"/>
                    <a:pt x="6" y="205"/>
                  </a:cubicBezTo>
                  <a:cubicBezTo>
                    <a:pt x="6" y="205"/>
                    <a:pt x="7" y="206"/>
                    <a:pt x="7" y="206"/>
                  </a:cubicBezTo>
                  <a:close/>
                  <a:moveTo>
                    <a:pt x="5" y="198"/>
                  </a:moveTo>
                  <a:cubicBezTo>
                    <a:pt x="5" y="197"/>
                    <a:pt x="5" y="197"/>
                    <a:pt x="4" y="196"/>
                  </a:cubicBezTo>
                  <a:cubicBezTo>
                    <a:pt x="4" y="196"/>
                    <a:pt x="4" y="195"/>
                    <a:pt x="4" y="195"/>
                  </a:cubicBezTo>
                  <a:cubicBezTo>
                    <a:pt x="4" y="194"/>
                    <a:pt x="3" y="194"/>
                    <a:pt x="3" y="195"/>
                  </a:cubicBezTo>
                  <a:cubicBezTo>
                    <a:pt x="2" y="195"/>
                    <a:pt x="2" y="196"/>
                    <a:pt x="3" y="196"/>
                  </a:cubicBezTo>
                  <a:cubicBezTo>
                    <a:pt x="3" y="197"/>
                    <a:pt x="4" y="198"/>
                    <a:pt x="5" y="198"/>
                  </a:cubicBezTo>
                  <a:close/>
                  <a:moveTo>
                    <a:pt x="7" y="198"/>
                  </a:moveTo>
                  <a:cubicBezTo>
                    <a:pt x="8" y="199"/>
                    <a:pt x="8" y="199"/>
                    <a:pt x="9" y="200"/>
                  </a:cubicBezTo>
                  <a:cubicBezTo>
                    <a:pt x="10" y="200"/>
                    <a:pt x="11" y="201"/>
                    <a:pt x="12" y="201"/>
                  </a:cubicBezTo>
                  <a:cubicBezTo>
                    <a:pt x="12" y="202"/>
                    <a:pt x="13" y="203"/>
                    <a:pt x="14" y="202"/>
                  </a:cubicBezTo>
                  <a:cubicBezTo>
                    <a:pt x="14" y="202"/>
                    <a:pt x="14" y="201"/>
                    <a:pt x="14" y="201"/>
                  </a:cubicBezTo>
                  <a:cubicBezTo>
                    <a:pt x="15" y="200"/>
                    <a:pt x="15" y="200"/>
                    <a:pt x="15" y="200"/>
                  </a:cubicBezTo>
                  <a:cubicBezTo>
                    <a:pt x="15" y="199"/>
                    <a:pt x="14" y="198"/>
                    <a:pt x="14" y="198"/>
                  </a:cubicBezTo>
                  <a:cubicBezTo>
                    <a:pt x="13" y="197"/>
                    <a:pt x="12" y="197"/>
                    <a:pt x="11" y="196"/>
                  </a:cubicBezTo>
                  <a:cubicBezTo>
                    <a:pt x="11" y="196"/>
                    <a:pt x="10" y="195"/>
                    <a:pt x="10" y="195"/>
                  </a:cubicBezTo>
                  <a:cubicBezTo>
                    <a:pt x="9" y="194"/>
                    <a:pt x="9" y="194"/>
                    <a:pt x="9" y="194"/>
                  </a:cubicBezTo>
                  <a:cubicBezTo>
                    <a:pt x="9" y="194"/>
                    <a:pt x="8" y="193"/>
                    <a:pt x="8" y="194"/>
                  </a:cubicBezTo>
                  <a:cubicBezTo>
                    <a:pt x="7" y="194"/>
                    <a:pt x="7" y="194"/>
                    <a:pt x="7" y="194"/>
                  </a:cubicBezTo>
                  <a:cubicBezTo>
                    <a:pt x="7" y="195"/>
                    <a:pt x="8" y="195"/>
                    <a:pt x="8" y="196"/>
                  </a:cubicBezTo>
                  <a:cubicBezTo>
                    <a:pt x="8" y="196"/>
                    <a:pt x="7" y="196"/>
                    <a:pt x="7" y="197"/>
                  </a:cubicBezTo>
                  <a:cubicBezTo>
                    <a:pt x="7" y="197"/>
                    <a:pt x="7" y="197"/>
                    <a:pt x="7" y="197"/>
                  </a:cubicBezTo>
                  <a:lnTo>
                    <a:pt x="7" y="198"/>
                  </a:lnTo>
                  <a:close/>
                  <a:moveTo>
                    <a:pt x="13" y="193"/>
                  </a:moveTo>
                  <a:cubicBezTo>
                    <a:pt x="13" y="194"/>
                    <a:pt x="13" y="194"/>
                    <a:pt x="13" y="195"/>
                  </a:cubicBezTo>
                  <a:cubicBezTo>
                    <a:pt x="14" y="195"/>
                    <a:pt x="15" y="195"/>
                    <a:pt x="16" y="196"/>
                  </a:cubicBezTo>
                  <a:cubicBezTo>
                    <a:pt x="16" y="196"/>
                    <a:pt x="17" y="196"/>
                    <a:pt x="17" y="197"/>
                  </a:cubicBezTo>
                  <a:cubicBezTo>
                    <a:pt x="18" y="197"/>
                    <a:pt x="18" y="197"/>
                    <a:pt x="18" y="197"/>
                  </a:cubicBezTo>
                  <a:cubicBezTo>
                    <a:pt x="19" y="197"/>
                    <a:pt x="19" y="197"/>
                    <a:pt x="20" y="197"/>
                  </a:cubicBezTo>
                  <a:cubicBezTo>
                    <a:pt x="21" y="198"/>
                    <a:pt x="22" y="197"/>
                    <a:pt x="22" y="196"/>
                  </a:cubicBezTo>
                  <a:cubicBezTo>
                    <a:pt x="22" y="195"/>
                    <a:pt x="21" y="195"/>
                    <a:pt x="21" y="195"/>
                  </a:cubicBezTo>
                  <a:cubicBezTo>
                    <a:pt x="21" y="194"/>
                    <a:pt x="20" y="194"/>
                    <a:pt x="20" y="193"/>
                  </a:cubicBezTo>
                  <a:cubicBezTo>
                    <a:pt x="20" y="193"/>
                    <a:pt x="21" y="192"/>
                    <a:pt x="21" y="192"/>
                  </a:cubicBezTo>
                  <a:cubicBezTo>
                    <a:pt x="22" y="193"/>
                    <a:pt x="23" y="193"/>
                    <a:pt x="23" y="194"/>
                  </a:cubicBezTo>
                  <a:cubicBezTo>
                    <a:pt x="24" y="194"/>
                    <a:pt x="25" y="194"/>
                    <a:pt x="25" y="194"/>
                  </a:cubicBezTo>
                  <a:cubicBezTo>
                    <a:pt x="25" y="193"/>
                    <a:pt x="25" y="193"/>
                    <a:pt x="25" y="192"/>
                  </a:cubicBezTo>
                  <a:cubicBezTo>
                    <a:pt x="25" y="191"/>
                    <a:pt x="26" y="190"/>
                    <a:pt x="25" y="189"/>
                  </a:cubicBezTo>
                  <a:cubicBezTo>
                    <a:pt x="25" y="188"/>
                    <a:pt x="24" y="187"/>
                    <a:pt x="24" y="186"/>
                  </a:cubicBezTo>
                  <a:cubicBezTo>
                    <a:pt x="23" y="186"/>
                    <a:pt x="23" y="186"/>
                    <a:pt x="22" y="186"/>
                  </a:cubicBezTo>
                  <a:cubicBezTo>
                    <a:pt x="21" y="186"/>
                    <a:pt x="21" y="186"/>
                    <a:pt x="22" y="186"/>
                  </a:cubicBezTo>
                  <a:cubicBezTo>
                    <a:pt x="22" y="187"/>
                    <a:pt x="22" y="188"/>
                    <a:pt x="22" y="188"/>
                  </a:cubicBezTo>
                  <a:cubicBezTo>
                    <a:pt x="21" y="189"/>
                    <a:pt x="21" y="188"/>
                    <a:pt x="20" y="188"/>
                  </a:cubicBezTo>
                  <a:cubicBezTo>
                    <a:pt x="20" y="188"/>
                    <a:pt x="20" y="187"/>
                    <a:pt x="19" y="187"/>
                  </a:cubicBezTo>
                  <a:cubicBezTo>
                    <a:pt x="19" y="186"/>
                    <a:pt x="19" y="186"/>
                    <a:pt x="19" y="186"/>
                  </a:cubicBezTo>
                  <a:cubicBezTo>
                    <a:pt x="17" y="186"/>
                    <a:pt x="17" y="186"/>
                    <a:pt x="17" y="186"/>
                  </a:cubicBezTo>
                  <a:cubicBezTo>
                    <a:pt x="17" y="186"/>
                    <a:pt x="17" y="187"/>
                    <a:pt x="17" y="188"/>
                  </a:cubicBezTo>
                  <a:cubicBezTo>
                    <a:pt x="17" y="189"/>
                    <a:pt x="16" y="189"/>
                    <a:pt x="16" y="189"/>
                  </a:cubicBezTo>
                  <a:cubicBezTo>
                    <a:pt x="15" y="189"/>
                    <a:pt x="15" y="189"/>
                    <a:pt x="14" y="189"/>
                  </a:cubicBezTo>
                  <a:cubicBezTo>
                    <a:pt x="13" y="189"/>
                    <a:pt x="13" y="189"/>
                    <a:pt x="13" y="190"/>
                  </a:cubicBezTo>
                  <a:cubicBezTo>
                    <a:pt x="13" y="190"/>
                    <a:pt x="13" y="191"/>
                    <a:pt x="13" y="191"/>
                  </a:cubicBezTo>
                  <a:cubicBezTo>
                    <a:pt x="13" y="192"/>
                    <a:pt x="12" y="192"/>
                    <a:pt x="13" y="193"/>
                  </a:cubicBezTo>
                  <a:close/>
                  <a:moveTo>
                    <a:pt x="23" y="204"/>
                  </a:moveTo>
                  <a:cubicBezTo>
                    <a:pt x="23" y="205"/>
                    <a:pt x="24" y="205"/>
                    <a:pt x="25" y="206"/>
                  </a:cubicBezTo>
                  <a:cubicBezTo>
                    <a:pt x="25" y="206"/>
                    <a:pt x="26" y="207"/>
                    <a:pt x="26" y="207"/>
                  </a:cubicBezTo>
                  <a:cubicBezTo>
                    <a:pt x="27" y="207"/>
                    <a:pt x="27" y="208"/>
                    <a:pt x="27" y="209"/>
                  </a:cubicBezTo>
                  <a:cubicBezTo>
                    <a:pt x="27" y="210"/>
                    <a:pt x="28" y="210"/>
                    <a:pt x="28" y="211"/>
                  </a:cubicBezTo>
                  <a:cubicBezTo>
                    <a:pt x="28" y="213"/>
                    <a:pt x="29" y="214"/>
                    <a:pt x="30" y="216"/>
                  </a:cubicBezTo>
                  <a:cubicBezTo>
                    <a:pt x="30" y="217"/>
                    <a:pt x="31" y="217"/>
                    <a:pt x="32" y="218"/>
                  </a:cubicBezTo>
                  <a:cubicBezTo>
                    <a:pt x="32" y="219"/>
                    <a:pt x="33" y="220"/>
                    <a:pt x="34" y="220"/>
                  </a:cubicBezTo>
                  <a:cubicBezTo>
                    <a:pt x="35" y="220"/>
                    <a:pt x="33" y="217"/>
                    <a:pt x="33" y="217"/>
                  </a:cubicBezTo>
                  <a:cubicBezTo>
                    <a:pt x="32" y="216"/>
                    <a:pt x="30" y="215"/>
                    <a:pt x="31" y="214"/>
                  </a:cubicBezTo>
                  <a:cubicBezTo>
                    <a:pt x="32" y="214"/>
                    <a:pt x="32" y="215"/>
                    <a:pt x="33" y="215"/>
                  </a:cubicBezTo>
                  <a:cubicBezTo>
                    <a:pt x="33" y="215"/>
                    <a:pt x="34" y="215"/>
                    <a:pt x="35" y="215"/>
                  </a:cubicBezTo>
                  <a:cubicBezTo>
                    <a:pt x="35" y="215"/>
                    <a:pt x="35" y="215"/>
                    <a:pt x="35" y="214"/>
                  </a:cubicBezTo>
                  <a:cubicBezTo>
                    <a:pt x="34" y="213"/>
                    <a:pt x="33" y="213"/>
                    <a:pt x="33" y="212"/>
                  </a:cubicBezTo>
                  <a:cubicBezTo>
                    <a:pt x="33" y="211"/>
                    <a:pt x="32" y="211"/>
                    <a:pt x="32" y="210"/>
                  </a:cubicBezTo>
                  <a:cubicBezTo>
                    <a:pt x="32" y="210"/>
                    <a:pt x="32" y="209"/>
                    <a:pt x="32" y="209"/>
                  </a:cubicBezTo>
                  <a:cubicBezTo>
                    <a:pt x="31" y="209"/>
                    <a:pt x="31" y="209"/>
                    <a:pt x="31" y="209"/>
                  </a:cubicBezTo>
                  <a:cubicBezTo>
                    <a:pt x="30" y="210"/>
                    <a:pt x="30" y="210"/>
                    <a:pt x="30" y="210"/>
                  </a:cubicBezTo>
                  <a:cubicBezTo>
                    <a:pt x="29" y="209"/>
                    <a:pt x="29" y="209"/>
                    <a:pt x="29" y="209"/>
                  </a:cubicBezTo>
                  <a:cubicBezTo>
                    <a:pt x="29" y="209"/>
                    <a:pt x="29" y="209"/>
                    <a:pt x="29" y="209"/>
                  </a:cubicBezTo>
                  <a:cubicBezTo>
                    <a:pt x="29" y="208"/>
                    <a:pt x="30" y="208"/>
                    <a:pt x="31" y="208"/>
                  </a:cubicBezTo>
                  <a:cubicBezTo>
                    <a:pt x="31" y="207"/>
                    <a:pt x="31" y="207"/>
                    <a:pt x="31" y="207"/>
                  </a:cubicBezTo>
                  <a:cubicBezTo>
                    <a:pt x="32" y="207"/>
                    <a:pt x="32" y="207"/>
                    <a:pt x="32" y="207"/>
                  </a:cubicBezTo>
                  <a:cubicBezTo>
                    <a:pt x="33" y="207"/>
                    <a:pt x="32" y="206"/>
                    <a:pt x="32" y="206"/>
                  </a:cubicBezTo>
                  <a:cubicBezTo>
                    <a:pt x="31" y="205"/>
                    <a:pt x="31" y="204"/>
                    <a:pt x="30" y="204"/>
                  </a:cubicBezTo>
                  <a:cubicBezTo>
                    <a:pt x="29" y="204"/>
                    <a:pt x="28" y="205"/>
                    <a:pt x="28" y="204"/>
                  </a:cubicBezTo>
                  <a:cubicBezTo>
                    <a:pt x="27" y="203"/>
                    <a:pt x="27" y="203"/>
                    <a:pt x="27" y="203"/>
                  </a:cubicBezTo>
                  <a:cubicBezTo>
                    <a:pt x="27" y="203"/>
                    <a:pt x="26" y="202"/>
                    <a:pt x="26" y="202"/>
                  </a:cubicBezTo>
                  <a:cubicBezTo>
                    <a:pt x="25" y="201"/>
                    <a:pt x="27" y="201"/>
                    <a:pt x="27" y="201"/>
                  </a:cubicBezTo>
                  <a:cubicBezTo>
                    <a:pt x="28" y="201"/>
                    <a:pt x="29" y="201"/>
                    <a:pt x="29" y="200"/>
                  </a:cubicBezTo>
                  <a:cubicBezTo>
                    <a:pt x="29" y="199"/>
                    <a:pt x="27" y="200"/>
                    <a:pt x="27" y="199"/>
                  </a:cubicBezTo>
                  <a:cubicBezTo>
                    <a:pt x="27" y="198"/>
                    <a:pt x="27" y="198"/>
                    <a:pt x="27" y="198"/>
                  </a:cubicBezTo>
                  <a:cubicBezTo>
                    <a:pt x="26" y="198"/>
                    <a:pt x="26" y="198"/>
                    <a:pt x="26" y="198"/>
                  </a:cubicBezTo>
                  <a:cubicBezTo>
                    <a:pt x="26" y="199"/>
                    <a:pt x="25" y="199"/>
                    <a:pt x="26" y="200"/>
                  </a:cubicBezTo>
                  <a:cubicBezTo>
                    <a:pt x="26" y="200"/>
                    <a:pt x="26" y="201"/>
                    <a:pt x="26" y="201"/>
                  </a:cubicBezTo>
                  <a:cubicBezTo>
                    <a:pt x="25" y="201"/>
                    <a:pt x="24" y="200"/>
                    <a:pt x="24" y="200"/>
                  </a:cubicBezTo>
                  <a:cubicBezTo>
                    <a:pt x="23" y="200"/>
                    <a:pt x="23" y="199"/>
                    <a:pt x="23" y="199"/>
                  </a:cubicBezTo>
                  <a:cubicBezTo>
                    <a:pt x="22" y="199"/>
                    <a:pt x="22" y="200"/>
                    <a:pt x="21" y="200"/>
                  </a:cubicBezTo>
                  <a:cubicBezTo>
                    <a:pt x="20" y="199"/>
                    <a:pt x="20" y="199"/>
                    <a:pt x="20" y="199"/>
                  </a:cubicBezTo>
                  <a:cubicBezTo>
                    <a:pt x="21" y="201"/>
                    <a:pt x="21" y="201"/>
                    <a:pt x="21" y="201"/>
                  </a:cubicBezTo>
                  <a:cubicBezTo>
                    <a:pt x="21" y="202"/>
                    <a:pt x="22" y="201"/>
                    <a:pt x="23" y="202"/>
                  </a:cubicBezTo>
                  <a:cubicBezTo>
                    <a:pt x="23" y="202"/>
                    <a:pt x="23" y="202"/>
                    <a:pt x="23" y="203"/>
                  </a:cubicBezTo>
                  <a:cubicBezTo>
                    <a:pt x="23" y="203"/>
                    <a:pt x="23" y="204"/>
                    <a:pt x="23" y="204"/>
                  </a:cubicBezTo>
                  <a:close/>
                  <a:moveTo>
                    <a:pt x="30" y="195"/>
                  </a:moveTo>
                  <a:cubicBezTo>
                    <a:pt x="31" y="196"/>
                    <a:pt x="32" y="196"/>
                    <a:pt x="33" y="197"/>
                  </a:cubicBezTo>
                  <a:cubicBezTo>
                    <a:pt x="34" y="197"/>
                    <a:pt x="34" y="196"/>
                    <a:pt x="35" y="197"/>
                  </a:cubicBezTo>
                  <a:cubicBezTo>
                    <a:pt x="36" y="197"/>
                    <a:pt x="36" y="197"/>
                    <a:pt x="36" y="197"/>
                  </a:cubicBezTo>
                  <a:cubicBezTo>
                    <a:pt x="36" y="198"/>
                    <a:pt x="36" y="198"/>
                    <a:pt x="36" y="198"/>
                  </a:cubicBezTo>
                  <a:cubicBezTo>
                    <a:pt x="37" y="197"/>
                    <a:pt x="37" y="197"/>
                    <a:pt x="37" y="197"/>
                  </a:cubicBezTo>
                  <a:cubicBezTo>
                    <a:pt x="37" y="196"/>
                    <a:pt x="38" y="196"/>
                    <a:pt x="38" y="196"/>
                  </a:cubicBezTo>
                  <a:cubicBezTo>
                    <a:pt x="38" y="196"/>
                    <a:pt x="38" y="197"/>
                    <a:pt x="38" y="197"/>
                  </a:cubicBezTo>
                  <a:cubicBezTo>
                    <a:pt x="39" y="198"/>
                    <a:pt x="39" y="198"/>
                    <a:pt x="40" y="198"/>
                  </a:cubicBezTo>
                  <a:cubicBezTo>
                    <a:pt x="40" y="198"/>
                    <a:pt x="41" y="198"/>
                    <a:pt x="41" y="198"/>
                  </a:cubicBezTo>
                  <a:cubicBezTo>
                    <a:pt x="41" y="196"/>
                    <a:pt x="41" y="196"/>
                    <a:pt x="41" y="196"/>
                  </a:cubicBezTo>
                  <a:cubicBezTo>
                    <a:pt x="41" y="196"/>
                    <a:pt x="41" y="194"/>
                    <a:pt x="42" y="194"/>
                  </a:cubicBezTo>
                  <a:cubicBezTo>
                    <a:pt x="42" y="194"/>
                    <a:pt x="43" y="194"/>
                    <a:pt x="44" y="194"/>
                  </a:cubicBezTo>
                  <a:cubicBezTo>
                    <a:pt x="44" y="194"/>
                    <a:pt x="44" y="194"/>
                    <a:pt x="45" y="194"/>
                  </a:cubicBezTo>
                  <a:cubicBezTo>
                    <a:pt x="46" y="195"/>
                    <a:pt x="46" y="195"/>
                    <a:pt x="46" y="195"/>
                  </a:cubicBezTo>
                  <a:cubicBezTo>
                    <a:pt x="46" y="196"/>
                    <a:pt x="45" y="196"/>
                    <a:pt x="45" y="196"/>
                  </a:cubicBezTo>
                  <a:cubicBezTo>
                    <a:pt x="44" y="196"/>
                    <a:pt x="44" y="196"/>
                    <a:pt x="44" y="197"/>
                  </a:cubicBezTo>
                  <a:cubicBezTo>
                    <a:pt x="44" y="197"/>
                    <a:pt x="45" y="198"/>
                    <a:pt x="44" y="198"/>
                  </a:cubicBezTo>
                  <a:cubicBezTo>
                    <a:pt x="44" y="198"/>
                    <a:pt x="44" y="198"/>
                    <a:pt x="44" y="198"/>
                  </a:cubicBezTo>
                  <a:cubicBezTo>
                    <a:pt x="43" y="198"/>
                    <a:pt x="43" y="198"/>
                    <a:pt x="43" y="198"/>
                  </a:cubicBezTo>
                  <a:cubicBezTo>
                    <a:pt x="43" y="199"/>
                    <a:pt x="42" y="199"/>
                    <a:pt x="42" y="199"/>
                  </a:cubicBezTo>
                  <a:cubicBezTo>
                    <a:pt x="42" y="200"/>
                    <a:pt x="43" y="200"/>
                    <a:pt x="44" y="200"/>
                  </a:cubicBezTo>
                  <a:cubicBezTo>
                    <a:pt x="44" y="200"/>
                    <a:pt x="45" y="201"/>
                    <a:pt x="45" y="202"/>
                  </a:cubicBezTo>
                  <a:cubicBezTo>
                    <a:pt x="45" y="202"/>
                    <a:pt x="44" y="202"/>
                    <a:pt x="44" y="202"/>
                  </a:cubicBezTo>
                  <a:cubicBezTo>
                    <a:pt x="44" y="203"/>
                    <a:pt x="45" y="203"/>
                    <a:pt x="46" y="204"/>
                  </a:cubicBezTo>
                  <a:cubicBezTo>
                    <a:pt x="46" y="204"/>
                    <a:pt x="46" y="205"/>
                    <a:pt x="46" y="205"/>
                  </a:cubicBezTo>
                  <a:cubicBezTo>
                    <a:pt x="46" y="206"/>
                    <a:pt x="46" y="206"/>
                    <a:pt x="46" y="207"/>
                  </a:cubicBezTo>
                  <a:cubicBezTo>
                    <a:pt x="47" y="207"/>
                    <a:pt x="48" y="207"/>
                    <a:pt x="49" y="207"/>
                  </a:cubicBezTo>
                  <a:cubicBezTo>
                    <a:pt x="50" y="207"/>
                    <a:pt x="50" y="208"/>
                    <a:pt x="51" y="208"/>
                  </a:cubicBezTo>
                  <a:cubicBezTo>
                    <a:pt x="52" y="208"/>
                    <a:pt x="52" y="208"/>
                    <a:pt x="53" y="208"/>
                  </a:cubicBezTo>
                  <a:cubicBezTo>
                    <a:pt x="54" y="208"/>
                    <a:pt x="54" y="208"/>
                    <a:pt x="55" y="208"/>
                  </a:cubicBezTo>
                  <a:cubicBezTo>
                    <a:pt x="55" y="207"/>
                    <a:pt x="55" y="207"/>
                    <a:pt x="55" y="207"/>
                  </a:cubicBezTo>
                  <a:cubicBezTo>
                    <a:pt x="55" y="207"/>
                    <a:pt x="55" y="206"/>
                    <a:pt x="55" y="206"/>
                  </a:cubicBezTo>
                  <a:cubicBezTo>
                    <a:pt x="56" y="206"/>
                    <a:pt x="55" y="208"/>
                    <a:pt x="56" y="208"/>
                  </a:cubicBezTo>
                  <a:cubicBezTo>
                    <a:pt x="57" y="208"/>
                    <a:pt x="57" y="208"/>
                    <a:pt x="57" y="208"/>
                  </a:cubicBezTo>
                  <a:cubicBezTo>
                    <a:pt x="57" y="207"/>
                    <a:pt x="57" y="207"/>
                    <a:pt x="57" y="207"/>
                  </a:cubicBezTo>
                  <a:cubicBezTo>
                    <a:pt x="57" y="207"/>
                    <a:pt x="57" y="205"/>
                    <a:pt x="58" y="205"/>
                  </a:cubicBezTo>
                  <a:cubicBezTo>
                    <a:pt x="58" y="205"/>
                    <a:pt x="59" y="207"/>
                    <a:pt x="59" y="206"/>
                  </a:cubicBezTo>
                  <a:cubicBezTo>
                    <a:pt x="59" y="204"/>
                    <a:pt x="59" y="204"/>
                    <a:pt x="59" y="204"/>
                  </a:cubicBezTo>
                  <a:cubicBezTo>
                    <a:pt x="59" y="204"/>
                    <a:pt x="59" y="204"/>
                    <a:pt x="59" y="203"/>
                  </a:cubicBezTo>
                  <a:cubicBezTo>
                    <a:pt x="59" y="203"/>
                    <a:pt x="59" y="203"/>
                    <a:pt x="59" y="203"/>
                  </a:cubicBezTo>
                  <a:cubicBezTo>
                    <a:pt x="58" y="204"/>
                    <a:pt x="58" y="204"/>
                    <a:pt x="58" y="204"/>
                  </a:cubicBezTo>
                  <a:cubicBezTo>
                    <a:pt x="58" y="204"/>
                    <a:pt x="58" y="204"/>
                    <a:pt x="58" y="204"/>
                  </a:cubicBezTo>
                  <a:cubicBezTo>
                    <a:pt x="57" y="205"/>
                    <a:pt x="57" y="204"/>
                    <a:pt x="57" y="204"/>
                  </a:cubicBezTo>
                  <a:cubicBezTo>
                    <a:pt x="57" y="203"/>
                    <a:pt x="57" y="203"/>
                    <a:pt x="57" y="203"/>
                  </a:cubicBezTo>
                  <a:cubicBezTo>
                    <a:pt x="56" y="203"/>
                    <a:pt x="56" y="203"/>
                    <a:pt x="56" y="203"/>
                  </a:cubicBezTo>
                  <a:cubicBezTo>
                    <a:pt x="57" y="203"/>
                    <a:pt x="57" y="203"/>
                    <a:pt x="57" y="203"/>
                  </a:cubicBezTo>
                  <a:cubicBezTo>
                    <a:pt x="57" y="202"/>
                    <a:pt x="57" y="202"/>
                    <a:pt x="57" y="202"/>
                  </a:cubicBezTo>
                  <a:cubicBezTo>
                    <a:pt x="57" y="201"/>
                    <a:pt x="56" y="201"/>
                    <a:pt x="56" y="200"/>
                  </a:cubicBezTo>
                  <a:cubicBezTo>
                    <a:pt x="56" y="200"/>
                    <a:pt x="55" y="199"/>
                    <a:pt x="56" y="199"/>
                  </a:cubicBezTo>
                  <a:cubicBezTo>
                    <a:pt x="56" y="198"/>
                    <a:pt x="56" y="198"/>
                    <a:pt x="56" y="198"/>
                  </a:cubicBezTo>
                  <a:cubicBezTo>
                    <a:pt x="56" y="198"/>
                    <a:pt x="56" y="197"/>
                    <a:pt x="56" y="197"/>
                  </a:cubicBezTo>
                  <a:cubicBezTo>
                    <a:pt x="56" y="197"/>
                    <a:pt x="57" y="197"/>
                    <a:pt x="57" y="196"/>
                  </a:cubicBezTo>
                  <a:cubicBezTo>
                    <a:pt x="57" y="195"/>
                    <a:pt x="57" y="195"/>
                    <a:pt x="57" y="195"/>
                  </a:cubicBezTo>
                  <a:cubicBezTo>
                    <a:pt x="56" y="194"/>
                    <a:pt x="57" y="193"/>
                    <a:pt x="56" y="193"/>
                  </a:cubicBezTo>
                  <a:cubicBezTo>
                    <a:pt x="56" y="192"/>
                    <a:pt x="56" y="191"/>
                    <a:pt x="55" y="190"/>
                  </a:cubicBezTo>
                  <a:cubicBezTo>
                    <a:pt x="55" y="190"/>
                    <a:pt x="54" y="189"/>
                    <a:pt x="53" y="189"/>
                  </a:cubicBezTo>
                  <a:cubicBezTo>
                    <a:pt x="53" y="188"/>
                    <a:pt x="52" y="188"/>
                    <a:pt x="52" y="187"/>
                  </a:cubicBezTo>
                  <a:cubicBezTo>
                    <a:pt x="52" y="186"/>
                    <a:pt x="52" y="186"/>
                    <a:pt x="52" y="186"/>
                  </a:cubicBezTo>
                  <a:cubicBezTo>
                    <a:pt x="52" y="186"/>
                    <a:pt x="52" y="186"/>
                    <a:pt x="52" y="186"/>
                  </a:cubicBezTo>
                  <a:cubicBezTo>
                    <a:pt x="52" y="185"/>
                    <a:pt x="52" y="185"/>
                    <a:pt x="52" y="184"/>
                  </a:cubicBezTo>
                  <a:cubicBezTo>
                    <a:pt x="52" y="184"/>
                    <a:pt x="52" y="184"/>
                    <a:pt x="52" y="183"/>
                  </a:cubicBezTo>
                  <a:cubicBezTo>
                    <a:pt x="51" y="183"/>
                    <a:pt x="51" y="183"/>
                    <a:pt x="50" y="183"/>
                  </a:cubicBezTo>
                  <a:cubicBezTo>
                    <a:pt x="50" y="184"/>
                    <a:pt x="51" y="184"/>
                    <a:pt x="50" y="185"/>
                  </a:cubicBezTo>
                  <a:cubicBezTo>
                    <a:pt x="50" y="185"/>
                    <a:pt x="49" y="185"/>
                    <a:pt x="49" y="186"/>
                  </a:cubicBezTo>
                  <a:cubicBezTo>
                    <a:pt x="49" y="186"/>
                    <a:pt x="49" y="186"/>
                    <a:pt x="49" y="186"/>
                  </a:cubicBezTo>
                  <a:cubicBezTo>
                    <a:pt x="48" y="187"/>
                    <a:pt x="48" y="187"/>
                    <a:pt x="48" y="187"/>
                  </a:cubicBezTo>
                  <a:cubicBezTo>
                    <a:pt x="48" y="187"/>
                    <a:pt x="47" y="187"/>
                    <a:pt x="46" y="186"/>
                  </a:cubicBezTo>
                  <a:cubicBezTo>
                    <a:pt x="46" y="186"/>
                    <a:pt x="46" y="186"/>
                    <a:pt x="45" y="186"/>
                  </a:cubicBezTo>
                  <a:cubicBezTo>
                    <a:pt x="45" y="186"/>
                    <a:pt x="44" y="186"/>
                    <a:pt x="44" y="185"/>
                  </a:cubicBezTo>
                  <a:cubicBezTo>
                    <a:pt x="44" y="185"/>
                    <a:pt x="44" y="185"/>
                    <a:pt x="44" y="185"/>
                  </a:cubicBezTo>
                  <a:cubicBezTo>
                    <a:pt x="43" y="185"/>
                    <a:pt x="43" y="185"/>
                    <a:pt x="43" y="185"/>
                  </a:cubicBezTo>
                  <a:cubicBezTo>
                    <a:pt x="42" y="185"/>
                    <a:pt x="42" y="184"/>
                    <a:pt x="41" y="184"/>
                  </a:cubicBezTo>
                  <a:cubicBezTo>
                    <a:pt x="41" y="185"/>
                    <a:pt x="41" y="185"/>
                    <a:pt x="41" y="185"/>
                  </a:cubicBezTo>
                  <a:cubicBezTo>
                    <a:pt x="40" y="186"/>
                    <a:pt x="40" y="186"/>
                    <a:pt x="40" y="186"/>
                  </a:cubicBezTo>
                  <a:cubicBezTo>
                    <a:pt x="39" y="186"/>
                    <a:pt x="38" y="186"/>
                    <a:pt x="38" y="186"/>
                  </a:cubicBezTo>
                  <a:cubicBezTo>
                    <a:pt x="37" y="186"/>
                    <a:pt x="37" y="186"/>
                    <a:pt x="37" y="186"/>
                  </a:cubicBezTo>
                  <a:cubicBezTo>
                    <a:pt x="37" y="187"/>
                    <a:pt x="37" y="187"/>
                    <a:pt x="37" y="188"/>
                  </a:cubicBezTo>
                  <a:cubicBezTo>
                    <a:pt x="37" y="188"/>
                    <a:pt x="37" y="188"/>
                    <a:pt x="37" y="188"/>
                  </a:cubicBezTo>
                  <a:cubicBezTo>
                    <a:pt x="36" y="189"/>
                    <a:pt x="36" y="189"/>
                    <a:pt x="36" y="189"/>
                  </a:cubicBezTo>
                  <a:cubicBezTo>
                    <a:pt x="35" y="189"/>
                    <a:pt x="35" y="189"/>
                    <a:pt x="35" y="189"/>
                  </a:cubicBezTo>
                  <a:cubicBezTo>
                    <a:pt x="34" y="189"/>
                    <a:pt x="34" y="189"/>
                    <a:pt x="34" y="189"/>
                  </a:cubicBezTo>
                  <a:cubicBezTo>
                    <a:pt x="33" y="190"/>
                    <a:pt x="33" y="189"/>
                    <a:pt x="32" y="190"/>
                  </a:cubicBezTo>
                  <a:cubicBezTo>
                    <a:pt x="31" y="190"/>
                    <a:pt x="31" y="190"/>
                    <a:pt x="31" y="191"/>
                  </a:cubicBezTo>
                  <a:cubicBezTo>
                    <a:pt x="31" y="192"/>
                    <a:pt x="30" y="192"/>
                    <a:pt x="30" y="192"/>
                  </a:cubicBezTo>
                  <a:cubicBezTo>
                    <a:pt x="30" y="193"/>
                    <a:pt x="30" y="194"/>
                    <a:pt x="30" y="194"/>
                  </a:cubicBezTo>
                  <a:cubicBezTo>
                    <a:pt x="30" y="194"/>
                    <a:pt x="30" y="195"/>
                    <a:pt x="30" y="195"/>
                  </a:cubicBezTo>
                  <a:close/>
                  <a:moveTo>
                    <a:pt x="67" y="197"/>
                  </a:moveTo>
                  <a:cubicBezTo>
                    <a:pt x="67" y="198"/>
                    <a:pt x="67" y="199"/>
                    <a:pt x="68" y="199"/>
                  </a:cubicBezTo>
                  <a:cubicBezTo>
                    <a:pt x="69" y="199"/>
                    <a:pt x="69" y="198"/>
                    <a:pt x="69" y="198"/>
                  </a:cubicBezTo>
                  <a:cubicBezTo>
                    <a:pt x="68" y="196"/>
                    <a:pt x="68" y="196"/>
                    <a:pt x="68" y="196"/>
                  </a:cubicBezTo>
                  <a:cubicBezTo>
                    <a:pt x="67" y="196"/>
                    <a:pt x="67" y="196"/>
                    <a:pt x="67" y="196"/>
                  </a:cubicBezTo>
                  <a:cubicBezTo>
                    <a:pt x="67" y="196"/>
                    <a:pt x="67" y="196"/>
                    <a:pt x="67" y="196"/>
                  </a:cubicBezTo>
                  <a:cubicBezTo>
                    <a:pt x="66" y="196"/>
                    <a:pt x="65" y="196"/>
                    <a:pt x="65" y="196"/>
                  </a:cubicBezTo>
                  <a:cubicBezTo>
                    <a:pt x="65" y="196"/>
                    <a:pt x="65" y="196"/>
                    <a:pt x="66" y="197"/>
                  </a:cubicBezTo>
                  <a:cubicBezTo>
                    <a:pt x="66" y="197"/>
                    <a:pt x="66" y="197"/>
                    <a:pt x="67" y="197"/>
                  </a:cubicBezTo>
                  <a:close/>
                  <a:moveTo>
                    <a:pt x="60" y="214"/>
                  </a:moveTo>
                  <a:cubicBezTo>
                    <a:pt x="61" y="214"/>
                    <a:pt x="61" y="214"/>
                    <a:pt x="61" y="214"/>
                  </a:cubicBezTo>
                  <a:cubicBezTo>
                    <a:pt x="62" y="214"/>
                    <a:pt x="63" y="214"/>
                    <a:pt x="63" y="214"/>
                  </a:cubicBezTo>
                  <a:cubicBezTo>
                    <a:pt x="63" y="213"/>
                    <a:pt x="61" y="213"/>
                    <a:pt x="61" y="212"/>
                  </a:cubicBezTo>
                  <a:cubicBezTo>
                    <a:pt x="62" y="212"/>
                    <a:pt x="62" y="212"/>
                    <a:pt x="63" y="212"/>
                  </a:cubicBezTo>
                  <a:cubicBezTo>
                    <a:pt x="63" y="211"/>
                    <a:pt x="63" y="211"/>
                    <a:pt x="62" y="211"/>
                  </a:cubicBezTo>
                  <a:cubicBezTo>
                    <a:pt x="61" y="210"/>
                    <a:pt x="61" y="210"/>
                    <a:pt x="61" y="210"/>
                  </a:cubicBezTo>
                  <a:cubicBezTo>
                    <a:pt x="61" y="210"/>
                    <a:pt x="60" y="210"/>
                    <a:pt x="60" y="210"/>
                  </a:cubicBezTo>
                  <a:cubicBezTo>
                    <a:pt x="60" y="210"/>
                    <a:pt x="60" y="211"/>
                    <a:pt x="59" y="211"/>
                  </a:cubicBezTo>
                  <a:cubicBezTo>
                    <a:pt x="59" y="212"/>
                    <a:pt x="59" y="212"/>
                    <a:pt x="60" y="213"/>
                  </a:cubicBezTo>
                  <a:lnTo>
                    <a:pt x="60" y="214"/>
                  </a:lnTo>
                  <a:close/>
                  <a:moveTo>
                    <a:pt x="55" y="215"/>
                  </a:moveTo>
                  <a:cubicBezTo>
                    <a:pt x="55" y="215"/>
                    <a:pt x="56" y="214"/>
                    <a:pt x="56" y="214"/>
                  </a:cubicBezTo>
                  <a:cubicBezTo>
                    <a:pt x="56" y="213"/>
                    <a:pt x="57" y="213"/>
                    <a:pt x="56" y="212"/>
                  </a:cubicBezTo>
                  <a:cubicBezTo>
                    <a:pt x="56" y="212"/>
                    <a:pt x="55" y="213"/>
                    <a:pt x="55" y="213"/>
                  </a:cubicBezTo>
                  <a:cubicBezTo>
                    <a:pt x="54" y="213"/>
                    <a:pt x="54" y="214"/>
                    <a:pt x="54" y="214"/>
                  </a:cubicBezTo>
                  <a:cubicBezTo>
                    <a:pt x="54" y="215"/>
                    <a:pt x="54" y="216"/>
                    <a:pt x="55" y="215"/>
                  </a:cubicBezTo>
                  <a:close/>
                  <a:moveTo>
                    <a:pt x="53" y="210"/>
                  </a:moveTo>
                  <a:cubicBezTo>
                    <a:pt x="52" y="211"/>
                    <a:pt x="52" y="211"/>
                    <a:pt x="52" y="211"/>
                  </a:cubicBezTo>
                  <a:cubicBezTo>
                    <a:pt x="52" y="211"/>
                    <a:pt x="53" y="212"/>
                    <a:pt x="53" y="212"/>
                  </a:cubicBezTo>
                  <a:cubicBezTo>
                    <a:pt x="54" y="212"/>
                    <a:pt x="54" y="211"/>
                    <a:pt x="54" y="211"/>
                  </a:cubicBezTo>
                  <a:cubicBezTo>
                    <a:pt x="54" y="210"/>
                    <a:pt x="54" y="210"/>
                    <a:pt x="53" y="210"/>
                  </a:cubicBezTo>
                  <a:close/>
                  <a:moveTo>
                    <a:pt x="25" y="90"/>
                  </a:moveTo>
                  <a:cubicBezTo>
                    <a:pt x="26" y="91"/>
                    <a:pt x="27" y="91"/>
                    <a:pt x="28" y="92"/>
                  </a:cubicBezTo>
                  <a:cubicBezTo>
                    <a:pt x="30" y="92"/>
                    <a:pt x="30" y="91"/>
                    <a:pt x="30" y="90"/>
                  </a:cubicBezTo>
                  <a:cubicBezTo>
                    <a:pt x="29" y="88"/>
                    <a:pt x="28" y="87"/>
                    <a:pt x="28" y="85"/>
                  </a:cubicBezTo>
                  <a:cubicBezTo>
                    <a:pt x="28" y="84"/>
                    <a:pt x="29" y="83"/>
                    <a:pt x="28" y="82"/>
                  </a:cubicBezTo>
                  <a:cubicBezTo>
                    <a:pt x="28" y="82"/>
                    <a:pt x="27" y="81"/>
                    <a:pt x="26" y="82"/>
                  </a:cubicBezTo>
                  <a:cubicBezTo>
                    <a:pt x="26" y="83"/>
                    <a:pt x="26" y="84"/>
                    <a:pt x="26" y="84"/>
                  </a:cubicBezTo>
                  <a:cubicBezTo>
                    <a:pt x="26" y="85"/>
                    <a:pt x="26" y="86"/>
                    <a:pt x="25" y="86"/>
                  </a:cubicBezTo>
                  <a:cubicBezTo>
                    <a:pt x="25" y="87"/>
                    <a:pt x="24" y="90"/>
                    <a:pt x="25" y="90"/>
                  </a:cubicBezTo>
                  <a:close/>
                  <a:moveTo>
                    <a:pt x="123" y="86"/>
                  </a:moveTo>
                  <a:cubicBezTo>
                    <a:pt x="123" y="86"/>
                    <a:pt x="124" y="85"/>
                    <a:pt x="123" y="84"/>
                  </a:cubicBezTo>
                  <a:cubicBezTo>
                    <a:pt x="123" y="84"/>
                    <a:pt x="122" y="84"/>
                    <a:pt x="123" y="83"/>
                  </a:cubicBezTo>
                  <a:cubicBezTo>
                    <a:pt x="124" y="83"/>
                    <a:pt x="124" y="83"/>
                    <a:pt x="124" y="82"/>
                  </a:cubicBezTo>
                  <a:cubicBezTo>
                    <a:pt x="125" y="81"/>
                    <a:pt x="125" y="81"/>
                    <a:pt x="125" y="81"/>
                  </a:cubicBezTo>
                  <a:cubicBezTo>
                    <a:pt x="126" y="81"/>
                    <a:pt x="127" y="81"/>
                    <a:pt x="128" y="80"/>
                  </a:cubicBezTo>
                  <a:cubicBezTo>
                    <a:pt x="128" y="79"/>
                    <a:pt x="127" y="79"/>
                    <a:pt x="127" y="79"/>
                  </a:cubicBezTo>
                  <a:cubicBezTo>
                    <a:pt x="128" y="78"/>
                    <a:pt x="128" y="78"/>
                    <a:pt x="128" y="78"/>
                  </a:cubicBezTo>
                  <a:cubicBezTo>
                    <a:pt x="129" y="77"/>
                    <a:pt x="129" y="76"/>
                    <a:pt x="127" y="76"/>
                  </a:cubicBezTo>
                  <a:cubicBezTo>
                    <a:pt x="126" y="77"/>
                    <a:pt x="126" y="77"/>
                    <a:pt x="124" y="77"/>
                  </a:cubicBezTo>
                  <a:cubicBezTo>
                    <a:pt x="123" y="77"/>
                    <a:pt x="123" y="75"/>
                    <a:pt x="123" y="74"/>
                  </a:cubicBezTo>
                  <a:cubicBezTo>
                    <a:pt x="122" y="73"/>
                    <a:pt x="121" y="72"/>
                    <a:pt x="120" y="74"/>
                  </a:cubicBezTo>
                  <a:cubicBezTo>
                    <a:pt x="120" y="75"/>
                    <a:pt x="121" y="75"/>
                    <a:pt x="121" y="76"/>
                  </a:cubicBezTo>
                  <a:cubicBezTo>
                    <a:pt x="121" y="76"/>
                    <a:pt x="121" y="77"/>
                    <a:pt x="121" y="78"/>
                  </a:cubicBezTo>
                  <a:cubicBezTo>
                    <a:pt x="121" y="79"/>
                    <a:pt x="120" y="79"/>
                    <a:pt x="120" y="80"/>
                  </a:cubicBezTo>
                  <a:cubicBezTo>
                    <a:pt x="120" y="81"/>
                    <a:pt x="120" y="82"/>
                    <a:pt x="120" y="83"/>
                  </a:cubicBezTo>
                  <a:cubicBezTo>
                    <a:pt x="120" y="84"/>
                    <a:pt x="121" y="87"/>
                    <a:pt x="123" y="86"/>
                  </a:cubicBezTo>
                  <a:close/>
                  <a:moveTo>
                    <a:pt x="152" y="61"/>
                  </a:moveTo>
                  <a:cubicBezTo>
                    <a:pt x="152" y="62"/>
                    <a:pt x="152" y="62"/>
                    <a:pt x="151" y="63"/>
                  </a:cubicBezTo>
                  <a:cubicBezTo>
                    <a:pt x="152" y="65"/>
                    <a:pt x="151" y="68"/>
                    <a:pt x="154" y="69"/>
                  </a:cubicBezTo>
                  <a:cubicBezTo>
                    <a:pt x="156" y="70"/>
                    <a:pt x="156" y="65"/>
                    <a:pt x="155" y="64"/>
                  </a:cubicBezTo>
                  <a:cubicBezTo>
                    <a:pt x="154" y="62"/>
                    <a:pt x="153" y="61"/>
                    <a:pt x="152" y="61"/>
                  </a:cubicBezTo>
                  <a:close/>
                  <a:moveTo>
                    <a:pt x="151" y="56"/>
                  </a:moveTo>
                  <a:cubicBezTo>
                    <a:pt x="151" y="56"/>
                    <a:pt x="151" y="56"/>
                    <a:pt x="151" y="56"/>
                  </a:cubicBezTo>
                  <a:cubicBezTo>
                    <a:pt x="152" y="56"/>
                    <a:pt x="152" y="56"/>
                    <a:pt x="152" y="56"/>
                  </a:cubicBezTo>
                  <a:cubicBezTo>
                    <a:pt x="152" y="56"/>
                    <a:pt x="153" y="52"/>
                    <a:pt x="152" y="52"/>
                  </a:cubicBezTo>
                  <a:cubicBezTo>
                    <a:pt x="150" y="54"/>
                    <a:pt x="150" y="54"/>
                    <a:pt x="150" y="54"/>
                  </a:cubicBezTo>
                  <a:cubicBezTo>
                    <a:pt x="150" y="54"/>
                    <a:pt x="150" y="55"/>
                    <a:pt x="150" y="56"/>
                  </a:cubicBezTo>
                  <a:cubicBezTo>
                    <a:pt x="150" y="56"/>
                    <a:pt x="151" y="56"/>
                    <a:pt x="151" y="56"/>
                  </a:cubicBezTo>
                  <a:close/>
                  <a:moveTo>
                    <a:pt x="155" y="60"/>
                  </a:moveTo>
                  <a:cubicBezTo>
                    <a:pt x="155" y="60"/>
                    <a:pt x="155" y="59"/>
                    <a:pt x="155" y="58"/>
                  </a:cubicBezTo>
                  <a:cubicBezTo>
                    <a:pt x="155" y="59"/>
                    <a:pt x="156" y="60"/>
                    <a:pt x="156" y="60"/>
                  </a:cubicBezTo>
                  <a:cubicBezTo>
                    <a:pt x="157" y="59"/>
                    <a:pt x="156" y="57"/>
                    <a:pt x="156" y="56"/>
                  </a:cubicBezTo>
                  <a:cubicBezTo>
                    <a:pt x="156" y="55"/>
                    <a:pt x="156" y="55"/>
                    <a:pt x="156" y="54"/>
                  </a:cubicBezTo>
                  <a:cubicBezTo>
                    <a:pt x="156" y="53"/>
                    <a:pt x="156" y="53"/>
                    <a:pt x="156" y="52"/>
                  </a:cubicBezTo>
                  <a:cubicBezTo>
                    <a:pt x="155" y="52"/>
                    <a:pt x="155" y="52"/>
                    <a:pt x="155" y="53"/>
                  </a:cubicBezTo>
                  <a:cubicBezTo>
                    <a:pt x="155" y="54"/>
                    <a:pt x="154" y="54"/>
                    <a:pt x="154" y="55"/>
                  </a:cubicBezTo>
                  <a:cubicBezTo>
                    <a:pt x="154" y="56"/>
                    <a:pt x="154" y="57"/>
                    <a:pt x="153" y="59"/>
                  </a:cubicBezTo>
                  <a:cubicBezTo>
                    <a:pt x="153" y="60"/>
                    <a:pt x="154" y="61"/>
                    <a:pt x="155" y="60"/>
                  </a:cubicBezTo>
                  <a:close/>
                  <a:moveTo>
                    <a:pt x="260" y="16"/>
                  </a:moveTo>
                  <a:cubicBezTo>
                    <a:pt x="260" y="16"/>
                    <a:pt x="260" y="17"/>
                    <a:pt x="260" y="18"/>
                  </a:cubicBezTo>
                  <a:cubicBezTo>
                    <a:pt x="261" y="19"/>
                    <a:pt x="261" y="19"/>
                    <a:pt x="261" y="19"/>
                  </a:cubicBezTo>
                  <a:cubicBezTo>
                    <a:pt x="262" y="20"/>
                    <a:pt x="262" y="20"/>
                    <a:pt x="262" y="20"/>
                  </a:cubicBezTo>
                  <a:cubicBezTo>
                    <a:pt x="262" y="21"/>
                    <a:pt x="262" y="21"/>
                    <a:pt x="262" y="21"/>
                  </a:cubicBezTo>
                  <a:cubicBezTo>
                    <a:pt x="262" y="22"/>
                    <a:pt x="263" y="22"/>
                    <a:pt x="264" y="22"/>
                  </a:cubicBezTo>
                  <a:cubicBezTo>
                    <a:pt x="264" y="23"/>
                    <a:pt x="264" y="24"/>
                    <a:pt x="265" y="24"/>
                  </a:cubicBezTo>
                  <a:cubicBezTo>
                    <a:pt x="266" y="25"/>
                    <a:pt x="267" y="25"/>
                    <a:pt x="269" y="25"/>
                  </a:cubicBezTo>
                  <a:cubicBezTo>
                    <a:pt x="270" y="26"/>
                    <a:pt x="271" y="26"/>
                    <a:pt x="273" y="26"/>
                  </a:cubicBezTo>
                  <a:cubicBezTo>
                    <a:pt x="274" y="26"/>
                    <a:pt x="276" y="27"/>
                    <a:pt x="276" y="28"/>
                  </a:cubicBezTo>
                  <a:cubicBezTo>
                    <a:pt x="276" y="29"/>
                    <a:pt x="277" y="30"/>
                    <a:pt x="277" y="30"/>
                  </a:cubicBezTo>
                  <a:cubicBezTo>
                    <a:pt x="277" y="32"/>
                    <a:pt x="276" y="31"/>
                    <a:pt x="275" y="30"/>
                  </a:cubicBezTo>
                  <a:cubicBezTo>
                    <a:pt x="274" y="30"/>
                    <a:pt x="273" y="28"/>
                    <a:pt x="272" y="28"/>
                  </a:cubicBezTo>
                  <a:cubicBezTo>
                    <a:pt x="271" y="28"/>
                    <a:pt x="271" y="29"/>
                    <a:pt x="270" y="29"/>
                  </a:cubicBezTo>
                  <a:cubicBezTo>
                    <a:pt x="269" y="29"/>
                    <a:pt x="268" y="29"/>
                    <a:pt x="268" y="30"/>
                  </a:cubicBezTo>
                  <a:cubicBezTo>
                    <a:pt x="267" y="30"/>
                    <a:pt x="267" y="32"/>
                    <a:pt x="267" y="33"/>
                  </a:cubicBezTo>
                  <a:cubicBezTo>
                    <a:pt x="267" y="34"/>
                    <a:pt x="269" y="34"/>
                    <a:pt x="269" y="35"/>
                  </a:cubicBezTo>
                  <a:cubicBezTo>
                    <a:pt x="270" y="36"/>
                    <a:pt x="270" y="37"/>
                    <a:pt x="271" y="37"/>
                  </a:cubicBezTo>
                  <a:cubicBezTo>
                    <a:pt x="273" y="36"/>
                    <a:pt x="274" y="35"/>
                    <a:pt x="276" y="35"/>
                  </a:cubicBezTo>
                  <a:cubicBezTo>
                    <a:pt x="278" y="35"/>
                    <a:pt x="279" y="36"/>
                    <a:pt x="279" y="34"/>
                  </a:cubicBezTo>
                  <a:cubicBezTo>
                    <a:pt x="280" y="32"/>
                    <a:pt x="280" y="30"/>
                    <a:pt x="281" y="29"/>
                  </a:cubicBezTo>
                  <a:cubicBezTo>
                    <a:pt x="282" y="29"/>
                    <a:pt x="282" y="29"/>
                    <a:pt x="283" y="28"/>
                  </a:cubicBezTo>
                  <a:cubicBezTo>
                    <a:pt x="284" y="28"/>
                    <a:pt x="284" y="27"/>
                    <a:pt x="284" y="27"/>
                  </a:cubicBezTo>
                  <a:cubicBezTo>
                    <a:pt x="284" y="25"/>
                    <a:pt x="286" y="24"/>
                    <a:pt x="286" y="23"/>
                  </a:cubicBezTo>
                  <a:cubicBezTo>
                    <a:pt x="285" y="21"/>
                    <a:pt x="285" y="21"/>
                    <a:pt x="285" y="21"/>
                  </a:cubicBezTo>
                  <a:cubicBezTo>
                    <a:pt x="285" y="21"/>
                    <a:pt x="285" y="22"/>
                    <a:pt x="284" y="22"/>
                  </a:cubicBezTo>
                  <a:cubicBezTo>
                    <a:pt x="283" y="22"/>
                    <a:pt x="282" y="21"/>
                    <a:pt x="282" y="20"/>
                  </a:cubicBezTo>
                  <a:cubicBezTo>
                    <a:pt x="283" y="19"/>
                    <a:pt x="284" y="20"/>
                    <a:pt x="285" y="20"/>
                  </a:cubicBezTo>
                  <a:cubicBezTo>
                    <a:pt x="285" y="19"/>
                    <a:pt x="285" y="17"/>
                    <a:pt x="284" y="16"/>
                  </a:cubicBezTo>
                  <a:cubicBezTo>
                    <a:pt x="284" y="15"/>
                    <a:pt x="283" y="15"/>
                    <a:pt x="282" y="14"/>
                  </a:cubicBezTo>
                  <a:cubicBezTo>
                    <a:pt x="281" y="13"/>
                    <a:pt x="280" y="12"/>
                    <a:pt x="279" y="12"/>
                  </a:cubicBezTo>
                  <a:cubicBezTo>
                    <a:pt x="279" y="11"/>
                    <a:pt x="279" y="10"/>
                    <a:pt x="278" y="9"/>
                  </a:cubicBezTo>
                  <a:cubicBezTo>
                    <a:pt x="277" y="9"/>
                    <a:pt x="277" y="8"/>
                    <a:pt x="276" y="8"/>
                  </a:cubicBezTo>
                  <a:cubicBezTo>
                    <a:pt x="275" y="7"/>
                    <a:pt x="275" y="6"/>
                    <a:pt x="275" y="4"/>
                  </a:cubicBezTo>
                  <a:cubicBezTo>
                    <a:pt x="275" y="4"/>
                    <a:pt x="275" y="2"/>
                    <a:pt x="275" y="1"/>
                  </a:cubicBezTo>
                  <a:cubicBezTo>
                    <a:pt x="275" y="0"/>
                    <a:pt x="273" y="1"/>
                    <a:pt x="273" y="1"/>
                  </a:cubicBezTo>
                  <a:cubicBezTo>
                    <a:pt x="272" y="2"/>
                    <a:pt x="272" y="3"/>
                    <a:pt x="271" y="4"/>
                  </a:cubicBezTo>
                  <a:cubicBezTo>
                    <a:pt x="270" y="6"/>
                    <a:pt x="268" y="7"/>
                    <a:pt x="267" y="8"/>
                  </a:cubicBezTo>
                  <a:cubicBezTo>
                    <a:pt x="266" y="8"/>
                    <a:pt x="265" y="9"/>
                    <a:pt x="265" y="10"/>
                  </a:cubicBezTo>
                  <a:cubicBezTo>
                    <a:pt x="264" y="11"/>
                    <a:pt x="264" y="11"/>
                    <a:pt x="263" y="11"/>
                  </a:cubicBezTo>
                  <a:cubicBezTo>
                    <a:pt x="262" y="11"/>
                    <a:pt x="261" y="12"/>
                    <a:pt x="261" y="12"/>
                  </a:cubicBezTo>
                  <a:cubicBezTo>
                    <a:pt x="260" y="13"/>
                    <a:pt x="259" y="13"/>
                    <a:pt x="259" y="14"/>
                  </a:cubicBezTo>
                  <a:cubicBezTo>
                    <a:pt x="259" y="14"/>
                    <a:pt x="260" y="15"/>
                    <a:pt x="260" y="15"/>
                  </a:cubicBezTo>
                  <a:cubicBezTo>
                    <a:pt x="260" y="15"/>
                    <a:pt x="260" y="15"/>
                    <a:pt x="260" y="16"/>
                  </a:cubicBezTo>
                  <a:close/>
                  <a:moveTo>
                    <a:pt x="311" y="85"/>
                  </a:moveTo>
                  <a:cubicBezTo>
                    <a:pt x="312" y="85"/>
                    <a:pt x="313" y="84"/>
                    <a:pt x="314" y="83"/>
                  </a:cubicBezTo>
                  <a:cubicBezTo>
                    <a:pt x="314" y="82"/>
                    <a:pt x="315" y="79"/>
                    <a:pt x="314" y="77"/>
                  </a:cubicBezTo>
                  <a:cubicBezTo>
                    <a:pt x="314" y="76"/>
                    <a:pt x="313" y="76"/>
                    <a:pt x="313" y="75"/>
                  </a:cubicBezTo>
                  <a:cubicBezTo>
                    <a:pt x="313" y="74"/>
                    <a:pt x="314" y="72"/>
                    <a:pt x="313" y="72"/>
                  </a:cubicBezTo>
                  <a:cubicBezTo>
                    <a:pt x="312" y="73"/>
                    <a:pt x="312" y="74"/>
                    <a:pt x="312" y="75"/>
                  </a:cubicBezTo>
                  <a:cubicBezTo>
                    <a:pt x="312" y="76"/>
                    <a:pt x="312" y="77"/>
                    <a:pt x="311" y="77"/>
                  </a:cubicBezTo>
                  <a:cubicBezTo>
                    <a:pt x="311" y="79"/>
                    <a:pt x="309" y="80"/>
                    <a:pt x="309" y="82"/>
                  </a:cubicBezTo>
                  <a:cubicBezTo>
                    <a:pt x="309" y="83"/>
                    <a:pt x="310" y="85"/>
                    <a:pt x="311" y="85"/>
                  </a:cubicBezTo>
                  <a:close/>
                  <a:moveTo>
                    <a:pt x="322" y="105"/>
                  </a:moveTo>
                  <a:cubicBezTo>
                    <a:pt x="323" y="106"/>
                    <a:pt x="322" y="107"/>
                    <a:pt x="323" y="107"/>
                  </a:cubicBezTo>
                  <a:cubicBezTo>
                    <a:pt x="324" y="107"/>
                    <a:pt x="325" y="106"/>
                    <a:pt x="325" y="106"/>
                  </a:cubicBezTo>
                  <a:cubicBezTo>
                    <a:pt x="325" y="106"/>
                    <a:pt x="326" y="106"/>
                    <a:pt x="327" y="106"/>
                  </a:cubicBezTo>
                  <a:cubicBezTo>
                    <a:pt x="328" y="106"/>
                    <a:pt x="328" y="104"/>
                    <a:pt x="327" y="104"/>
                  </a:cubicBezTo>
                  <a:cubicBezTo>
                    <a:pt x="327" y="103"/>
                    <a:pt x="326" y="104"/>
                    <a:pt x="326" y="104"/>
                  </a:cubicBezTo>
                  <a:cubicBezTo>
                    <a:pt x="325" y="104"/>
                    <a:pt x="325" y="103"/>
                    <a:pt x="324" y="103"/>
                  </a:cubicBezTo>
                  <a:cubicBezTo>
                    <a:pt x="323" y="102"/>
                    <a:pt x="321" y="102"/>
                    <a:pt x="321" y="103"/>
                  </a:cubicBezTo>
                  <a:cubicBezTo>
                    <a:pt x="319" y="104"/>
                    <a:pt x="322" y="105"/>
                    <a:pt x="322" y="10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2" name="Freeform 71">
              <a:extLst>
                <a:ext uri="{FF2B5EF4-FFF2-40B4-BE49-F238E27FC236}">
                  <a16:creationId xmlns:a16="http://schemas.microsoft.com/office/drawing/2014/main" id="{01ECF286-589C-43A1-04A9-A3F48B375DE7}"/>
                </a:ext>
              </a:extLst>
            </p:cNvPr>
            <p:cNvSpPr>
              <a:spLocks noEditPoints="1"/>
            </p:cNvSpPr>
            <p:nvPr/>
          </p:nvSpPr>
          <p:spPr bwMode="auto">
            <a:xfrm>
              <a:off x="1762125" y="3240088"/>
              <a:ext cx="879475" cy="846137"/>
            </a:xfrm>
            <a:custGeom>
              <a:avLst/>
              <a:gdLst>
                <a:gd name="T0" fmla="*/ 98 w 231"/>
                <a:gd name="T1" fmla="*/ 25 h 222"/>
                <a:gd name="T2" fmla="*/ 103 w 231"/>
                <a:gd name="T3" fmla="*/ 47 h 222"/>
                <a:gd name="T4" fmla="*/ 84 w 231"/>
                <a:gd name="T5" fmla="*/ 41 h 222"/>
                <a:gd name="T6" fmla="*/ 147 w 231"/>
                <a:gd name="T7" fmla="*/ 61 h 222"/>
                <a:gd name="T8" fmla="*/ 139 w 231"/>
                <a:gd name="T9" fmla="*/ 94 h 222"/>
                <a:gd name="T10" fmla="*/ 148 w 231"/>
                <a:gd name="T11" fmla="*/ 83 h 222"/>
                <a:gd name="T12" fmla="*/ 133 w 231"/>
                <a:gd name="T13" fmla="*/ 74 h 222"/>
                <a:gd name="T14" fmla="*/ 172 w 231"/>
                <a:gd name="T15" fmla="*/ 95 h 222"/>
                <a:gd name="T16" fmla="*/ 187 w 231"/>
                <a:gd name="T17" fmla="*/ 95 h 222"/>
                <a:gd name="T18" fmla="*/ 161 w 231"/>
                <a:gd name="T19" fmla="*/ 88 h 222"/>
                <a:gd name="T20" fmla="*/ 145 w 231"/>
                <a:gd name="T21" fmla="*/ 101 h 222"/>
                <a:gd name="T22" fmla="*/ 181 w 231"/>
                <a:gd name="T23" fmla="*/ 102 h 222"/>
                <a:gd name="T24" fmla="*/ 155 w 231"/>
                <a:gd name="T25" fmla="*/ 86 h 222"/>
                <a:gd name="T26" fmla="*/ 199 w 231"/>
                <a:gd name="T27" fmla="*/ 120 h 222"/>
                <a:gd name="T28" fmla="*/ 207 w 231"/>
                <a:gd name="T29" fmla="*/ 98 h 222"/>
                <a:gd name="T30" fmla="*/ 204 w 231"/>
                <a:gd name="T31" fmla="*/ 112 h 222"/>
                <a:gd name="T32" fmla="*/ 210 w 231"/>
                <a:gd name="T33" fmla="*/ 105 h 222"/>
                <a:gd name="T34" fmla="*/ 201 w 231"/>
                <a:gd name="T35" fmla="*/ 92 h 222"/>
                <a:gd name="T36" fmla="*/ 200 w 231"/>
                <a:gd name="T37" fmla="*/ 87 h 222"/>
                <a:gd name="T38" fmla="*/ 212 w 231"/>
                <a:gd name="T39" fmla="*/ 168 h 222"/>
                <a:gd name="T40" fmla="*/ 198 w 231"/>
                <a:gd name="T41" fmla="*/ 172 h 222"/>
                <a:gd name="T42" fmla="*/ 227 w 231"/>
                <a:gd name="T43" fmla="*/ 172 h 222"/>
                <a:gd name="T44" fmla="*/ 210 w 231"/>
                <a:gd name="T45" fmla="*/ 173 h 222"/>
                <a:gd name="T46" fmla="*/ 205 w 231"/>
                <a:gd name="T47" fmla="*/ 182 h 222"/>
                <a:gd name="T48" fmla="*/ 215 w 231"/>
                <a:gd name="T49" fmla="*/ 183 h 222"/>
                <a:gd name="T50" fmla="*/ 202 w 231"/>
                <a:gd name="T51" fmla="*/ 178 h 222"/>
                <a:gd name="T52" fmla="*/ 183 w 231"/>
                <a:gd name="T53" fmla="*/ 116 h 222"/>
                <a:gd name="T54" fmla="*/ 228 w 231"/>
                <a:gd name="T55" fmla="*/ 147 h 222"/>
                <a:gd name="T56" fmla="*/ 207 w 231"/>
                <a:gd name="T57" fmla="*/ 123 h 222"/>
                <a:gd name="T58" fmla="*/ 173 w 231"/>
                <a:gd name="T59" fmla="*/ 138 h 222"/>
                <a:gd name="T60" fmla="*/ 158 w 231"/>
                <a:gd name="T61" fmla="*/ 140 h 222"/>
                <a:gd name="T62" fmla="*/ 181 w 231"/>
                <a:gd name="T63" fmla="*/ 115 h 222"/>
                <a:gd name="T64" fmla="*/ 142 w 231"/>
                <a:gd name="T65" fmla="*/ 101 h 222"/>
                <a:gd name="T66" fmla="*/ 130 w 231"/>
                <a:gd name="T67" fmla="*/ 82 h 222"/>
                <a:gd name="T68" fmla="*/ 122 w 231"/>
                <a:gd name="T69" fmla="*/ 67 h 222"/>
                <a:gd name="T70" fmla="*/ 85 w 231"/>
                <a:gd name="T71" fmla="*/ 51 h 222"/>
                <a:gd name="T72" fmla="*/ 64 w 231"/>
                <a:gd name="T73" fmla="*/ 18 h 222"/>
                <a:gd name="T74" fmla="*/ 42 w 231"/>
                <a:gd name="T75" fmla="*/ 17 h 222"/>
                <a:gd name="T76" fmla="*/ 56 w 231"/>
                <a:gd name="T77" fmla="*/ 44 h 222"/>
                <a:gd name="T78" fmla="*/ 45 w 231"/>
                <a:gd name="T79" fmla="*/ 28 h 222"/>
                <a:gd name="T80" fmla="*/ 18 w 231"/>
                <a:gd name="T81" fmla="*/ 0 h 222"/>
                <a:gd name="T82" fmla="*/ 20 w 231"/>
                <a:gd name="T83" fmla="*/ 45 h 222"/>
                <a:gd name="T84" fmla="*/ 17 w 231"/>
                <a:gd name="T85" fmla="*/ 66 h 222"/>
                <a:gd name="T86" fmla="*/ 6 w 231"/>
                <a:gd name="T87" fmla="*/ 87 h 222"/>
                <a:gd name="T88" fmla="*/ 13 w 231"/>
                <a:gd name="T89" fmla="*/ 109 h 222"/>
                <a:gd name="T90" fmla="*/ 34 w 231"/>
                <a:gd name="T91" fmla="*/ 138 h 222"/>
                <a:gd name="T92" fmla="*/ 47 w 231"/>
                <a:gd name="T93" fmla="*/ 151 h 222"/>
                <a:gd name="T94" fmla="*/ 60 w 231"/>
                <a:gd name="T95" fmla="*/ 175 h 222"/>
                <a:gd name="T96" fmla="*/ 101 w 231"/>
                <a:gd name="T97" fmla="*/ 208 h 222"/>
                <a:gd name="T98" fmla="*/ 138 w 231"/>
                <a:gd name="T99" fmla="*/ 211 h 222"/>
                <a:gd name="T100" fmla="*/ 166 w 231"/>
                <a:gd name="T101" fmla="*/ 218 h 222"/>
                <a:gd name="T102" fmla="*/ 209 w 231"/>
                <a:gd name="T103" fmla="*/ 199 h 222"/>
                <a:gd name="T104" fmla="*/ 206 w 231"/>
                <a:gd name="T105" fmla="*/ 185 h 222"/>
                <a:gd name="T106" fmla="*/ 195 w 231"/>
                <a:gd name="T107" fmla="*/ 171 h 222"/>
                <a:gd name="T108" fmla="*/ 211 w 231"/>
                <a:gd name="T109" fmla="*/ 161 h 222"/>
                <a:gd name="T110" fmla="*/ 223 w 231"/>
                <a:gd name="T111" fmla="*/ 15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222">
                  <a:moveTo>
                    <a:pt x="84" y="41"/>
                  </a:moveTo>
                  <a:cubicBezTo>
                    <a:pt x="83" y="39"/>
                    <a:pt x="83" y="37"/>
                    <a:pt x="83" y="35"/>
                  </a:cubicBezTo>
                  <a:cubicBezTo>
                    <a:pt x="84" y="34"/>
                    <a:pt x="84" y="32"/>
                    <a:pt x="85" y="31"/>
                  </a:cubicBezTo>
                  <a:cubicBezTo>
                    <a:pt x="85" y="30"/>
                    <a:pt x="85" y="29"/>
                    <a:pt x="86" y="28"/>
                  </a:cubicBezTo>
                  <a:cubicBezTo>
                    <a:pt x="88" y="28"/>
                    <a:pt x="89" y="28"/>
                    <a:pt x="90" y="29"/>
                  </a:cubicBezTo>
                  <a:cubicBezTo>
                    <a:pt x="91" y="30"/>
                    <a:pt x="92" y="30"/>
                    <a:pt x="93" y="29"/>
                  </a:cubicBezTo>
                  <a:cubicBezTo>
                    <a:pt x="95" y="28"/>
                    <a:pt x="95" y="25"/>
                    <a:pt x="98" y="25"/>
                  </a:cubicBezTo>
                  <a:cubicBezTo>
                    <a:pt x="101" y="24"/>
                    <a:pt x="102" y="27"/>
                    <a:pt x="103" y="29"/>
                  </a:cubicBezTo>
                  <a:cubicBezTo>
                    <a:pt x="103" y="30"/>
                    <a:pt x="103" y="30"/>
                    <a:pt x="104" y="30"/>
                  </a:cubicBezTo>
                  <a:cubicBezTo>
                    <a:pt x="105" y="30"/>
                    <a:pt x="105" y="30"/>
                    <a:pt x="106" y="31"/>
                  </a:cubicBezTo>
                  <a:cubicBezTo>
                    <a:pt x="106" y="32"/>
                    <a:pt x="107" y="34"/>
                    <a:pt x="107" y="35"/>
                  </a:cubicBezTo>
                  <a:cubicBezTo>
                    <a:pt x="107" y="36"/>
                    <a:pt x="106" y="37"/>
                    <a:pt x="105" y="39"/>
                  </a:cubicBezTo>
                  <a:cubicBezTo>
                    <a:pt x="105" y="40"/>
                    <a:pt x="105" y="42"/>
                    <a:pt x="105" y="44"/>
                  </a:cubicBezTo>
                  <a:cubicBezTo>
                    <a:pt x="104" y="45"/>
                    <a:pt x="104" y="46"/>
                    <a:pt x="103" y="47"/>
                  </a:cubicBezTo>
                  <a:cubicBezTo>
                    <a:pt x="101" y="48"/>
                    <a:pt x="100" y="48"/>
                    <a:pt x="99" y="49"/>
                  </a:cubicBezTo>
                  <a:cubicBezTo>
                    <a:pt x="99" y="50"/>
                    <a:pt x="98" y="50"/>
                    <a:pt x="97" y="51"/>
                  </a:cubicBezTo>
                  <a:cubicBezTo>
                    <a:pt x="96" y="51"/>
                    <a:pt x="94" y="51"/>
                    <a:pt x="92" y="50"/>
                  </a:cubicBezTo>
                  <a:cubicBezTo>
                    <a:pt x="90" y="50"/>
                    <a:pt x="89" y="50"/>
                    <a:pt x="87" y="49"/>
                  </a:cubicBezTo>
                  <a:cubicBezTo>
                    <a:pt x="87" y="48"/>
                    <a:pt x="87" y="48"/>
                    <a:pt x="86" y="47"/>
                  </a:cubicBezTo>
                  <a:cubicBezTo>
                    <a:pt x="85" y="46"/>
                    <a:pt x="86" y="45"/>
                    <a:pt x="85" y="44"/>
                  </a:cubicBezTo>
                  <a:cubicBezTo>
                    <a:pt x="85" y="43"/>
                    <a:pt x="85" y="42"/>
                    <a:pt x="84" y="41"/>
                  </a:cubicBezTo>
                  <a:close/>
                  <a:moveTo>
                    <a:pt x="126" y="64"/>
                  </a:moveTo>
                  <a:cubicBezTo>
                    <a:pt x="129" y="66"/>
                    <a:pt x="132" y="67"/>
                    <a:pt x="136" y="67"/>
                  </a:cubicBezTo>
                  <a:cubicBezTo>
                    <a:pt x="138" y="67"/>
                    <a:pt x="140" y="68"/>
                    <a:pt x="141" y="70"/>
                  </a:cubicBezTo>
                  <a:cubicBezTo>
                    <a:pt x="143" y="71"/>
                    <a:pt x="144" y="73"/>
                    <a:pt x="145" y="74"/>
                  </a:cubicBezTo>
                  <a:cubicBezTo>
                    <a:pt x="147" y="75"/>
                    <a:pt x="149" y="76"/>
                    <a:pt x="150" y="77"/>
                  </a:cubicBezTo>
                  <a:cubicBezTo>
                    <a:pt x="150" y="74"/>
                    <a:pt x="150" y="71"/>
                    <a:pt x="150" y="68"/>
                  </a:cubicBezTo>
                  <a:cubicBezTo>
                    <a:pt x="149" y="66"/>
                    <a:pt x="149" y="63"/>
                    <a:pt x="147" y="61"/>
                  </a:cubicBezTo>
                  <a:cubicBezTo>
                    <a:pt x="145" y="59"/>
                    <a:pt x="142" y="60"/>
                    <a:pt x="139" y="60"/>
                  </a:cubicBezTo>
                  <a:cubicBezTo>
                    <a:pt x="135" y="60"/>
                    <a:pt x="132" y="58"/>
                    <a:pt x="128" y="58"/>
                  </a:cubicBezTo>
                  <a:cubicBezTo>
                    <a:pt x="126" y="57"/>
                    <a:pt x="123" y="56"/>
                    <a:pt x="121" y="56"/>
                  </a:cubicBezTo>
                  <a:cubicBezTo>
                    <a:pt x="120" y="58"/>
                    <a:pt x="122" y="59"/>
                    <a:pt x="123" y="60"/>
                  </a:cubicBezTo>
                  <a:cubicBezTo>
                    <a:pt x="124" y="62"/>
                    <a:pt x="125" y="63"/>
                    <a:pt x="126" y="64"/>
                  </a:cubicBezTo>
                  <a:close/>
                  <a:moveTo>
                    <a:pt x="137" y="92"/>
                  </a:moveTo>
                  <a:cubicBezTo>
                    <a:pt x="137" y="93"/>
                    <a:pt x="138" y="94"/>
                    <a:pt x="139" y="94"/>
                  </a:cubicBezTo>
                  <a:cubicBezTo>
                    <a:pt x="139" y="95"/>
                    <a:pt x="140" y="95"/>
                    <a:pt x="141" y="96"/>
                  </a:cubicBezTo>
                  <a:cubicBezTo>
                    <a:pt x="142" y="97"/>
                    <a:pt x="143" y="98"/>
                    <a:pt x="145" y="98"/>
                  </a:cubicBezTo>
                  <a:cubicBezTo>
                    <a:pt x="145" y="97"/>
                    <a:pt x="146" y="97"/>
                    <a:pt x="146" y="96"/>
                  </a:cubicBezTo>
                  <a:cubicBezTo>
                    <a:pt x="147" y="96"/>
                    <a:pt x="148" y="96"/>
                    <a:pt x="149" y="96"/>
                  </a:cubicBezTo>
                  <a:cubicBezTo>
                    <a:pt x="149" y="95"/>
                    <a:pt x="149" y="93"/>
                    <a:pt x="148" y="93"/>
                  </a:cubicBezTo>
                  <a:cubicBezTo>
                    <a:pt x="148" y="91"/>
                    <a:pt x="146" y="90"/>
                    <a:pt x="147" y="88"/>
                  </a:cubicBezTo>
                  <a:cubicBezTo>
                    <a:pt x="147" y="87"/>
                    <a:pt x="148" y="84"/>
                    <a:pt x="148" y="83"/>
                  </a:cubicBezTo>
                  <a:cubicBezTo>
                    <a:pt x="148" y="83"/>
                    <a:pt x="148" y="82"/>
                    <a:pt x="148" y="82"/>
                  </a:cubicBezTo>
                  <a:cubicBezTo>
                    <a:pt x="148" y="81"/>
                    <a:pt x="148" y="80"/>
                    <a:pt x="148" y="80"/>
                  </a:cubicBezTo>
                  <a:cubicBezTo>
                    <a:pt x="148" y="78"/>
                    <a:pt x="147" y="78"/>
                    <a:pt x="146" y="77"/>
                  </a:cubicBezTo>
                  <a:cubicBezTo>
                    <a:pt x="143" y="76"/>
                    <a:pt x="141" y="73"/>
                    <a:pt x="139" y="71"/>
                  </a:cubicBezTo>
                  <a:cubicBezTo>
                    <a:pt x="138" y="70"/>
                    <a:pt x="135" y="67"/>
                    <a:pt x="133" y="68"/>
                  </a:cubicBezTo>
                  <a:cubicBezTo>
                    <a:pt x="132" y="69"/>
                    <a:pt x="133" y="70"/>
                    <a:pt x="133" y="71"/>
                  </a:cubicBezTo>
                  <a:cubicBezTo>
                    <a:pt x="134" y="72"/>
                    <a:pt x="134" y="73"/>
                    <a:pt x="133" y="74"/>
                  </a:cubicBezTo>
                  <a:cubicBezTo>
                    <a:pt x="132" y="75"/>
                    <a:pt x="132" y="76"/>
                    <a:pt x="133" y="77"/>
                  </a:cubicBezTo>
                  <a:cubicBezTo>
                    <a:pt x="133" y="78"/>
                    <a:pt x="134" y="78"/>
                    <a:pt x="135" y="79"/>
                  </a:cubicBezTo>
                  <a:cubicBezTo>
                    <a:pt x="136" y="81"/>
                    <a:pt x="135" y="84"/>
                    <a:pt x="135" y="86"/>
                  </a:cubicBezTo>
                  <a:cubicBezTo>
                    <a:pt x="135" y="88"/>
                    <a:pt x="135" y="90"/>
                    <a:pt x="137" y="92"/>
                  </a:cubicBezTo>
                  <a:close/>
                  <a:moveTo>
                    <a:pt x="162" y="92"/>
                  </a:moveTo>
                  <a:cubicBezTo>
                    <a:pt x="164" y="92"/>
                    <a:pt x="166" y="91"/>
                    <a:pt x="168" y="92"/>
                  </a:cubicBezTo>
                  <a:cubicBezTo>
                    <a:pt x="170" y="93"/>
                    <a:pt x="171" y="94"/>
                    <a:pt x="172" y="95"/>
                  </a:cubicBezTo>
                  <a:cubicBezTo>
                    <a:pt x="174" y="95"/>
                    <a:pt x="175" y="96"/>
                    <a:pt x="177" y="97"/>
                  </a:cubicBezTo>
                  <a:cubicBezTo>
                    <a:pt x="178" y="98"/>
                    <a:pt x="178" y="99"/>
                    <a:pt x="180" y="100"/>
                  </a:cubicBezTo>
                  <a:cubicBezTo>
                    <a:pt x="181" y="101"/>
                    <a:pt x="183" y="101"/>
                    <a:pt x="184" y="102"/>
                  </a:cubicBezTo>
                  <a:cubicBezTo>
                    <a:pt x="184" y="103"/>
                    <a:pt x="185" y="105"/>
                    <a:pt x="186" y="105"/>
                  </a:cubicBezTo>
                  <a:cubicBezTo>
                    <a:pt x="187" y="106"/>
                    <a:pt x="188" y="104"/>
                    <a:pt x="189" y="103"/>
                  </a:cubicBezTo>
                  <a:cubicBezTo>
                    <a:pt x="190" y="103"/>
                    <a:pt x="191" y="102"/>
                    <a:pt x="191" y="101"/>
                  </a:cubicBezTo>
                  <a:cubicBezTo>
                    <a:pt x="191" y="98"/>
                    <a:pt x="188" y="97"/>
                    <a:pt x="187" y="95"/>
                  </a:cubicBezTo>
                  <a:cubicBezTo>
                    <a:pt x="185" y="94"/>
                    <a:pt x="183" y="91"/>
                    <a:pt x="181" y="89"/>
                  </a:cubicBezTo>
                  <a:cubicBezTo>
                    <a:pt x="180" y="87"/>
                    <a:pt x="177" y="86"/>
                    <a:pt x="175" y="85"/>
                  </a:cubicBezTo>
                  <a:cubicBezTo>
                    <a:pt x="174" y="85"/>
                    <a:pt x="173" y="85"/>
                    <a:pt x="171" y="84"/>
                  </a:cubicBezTo>
                  <a:cubicBezTo>
                    <a:pt x="170" y="84"/>
                    <a:pt x="169" y="83"/>
                    <a:pt x="168" y="83"/>
                  </a:cubicBezTo>
                  <a:cubicBezTo>
                    <a:pt x="167" y="83"/>
                    <a:pt x="166" y="84"/>
                    <a:pt x="165" y="84"/>
                  </a:cubicBezTo>
                  <a:cubicBezTo>
                    <a:pt x="164" y="85"/>
                    <a:pt x="163" y="85"/>
                    <a:pt x="162" y="86"/>
                  </a:cubicBezTo>
                  <a:cubicBezTo>
                    <a:pt x="161" y="86"/>
                    <a:pt x="161" y="87"/>
                    <a:pt x="161" y="88"/>
                  </a:cubicBezTo>
                  <a:cubicBezTo>
                    <a:pt x="160" y="89"/>
                    <a:pt x="160" y="90"/>
                    <a:pt x="159" y="91"/>
                  </a:cubicBezTo>
                  <a:cubicBezTo>
                    <a:pt x="160" y="92"/>
                    <a:pt x="161" y="92"/>
                    <a:pt x="162" y="92"/>
                  </a:cubicBezTo>
                  <a:close/>
                  <a:moveTo>
                    <a:pt x="149" y="87"/>
                  </a:moveTo>
                  <a:cubicBezTo>
                    <a:pt x="148" y="89"/>
                    <a:pt x="150" y="91"/>
                    <a:pt x="150" y="93"/>
                  </a:cubicBezTo>
                  <a:cubicBezTo>
                    <a:pt x="151" y="94"/>
                    <a:pt x="150" y="97"/>
                    <a:pt x="148" y="98"/>
                  </a:cubicBezTo>
                  <a:cubicBezTo>
                    <a:pt x="147" y="98"/>
                    <a:pt x="146" y="98"/>
                    <a:pt x="146" y="99"/>
                  </a:cubicBezTo>
                  <a:cubicBezTo>
                    <a:pt x="146" y="100"/>
                    <a:pt x="145" y="101"/>
                    <a:pt x="145" y="101"/>
                  </a:cubicBezTo>
                  <a:cubicBezTo>
                    <a:pt x="145" y="103"/>
                    <a:pt x="149" y="105"/>
                    <a:pt x="150" y="105"/>
                  </a:cubicBezTo>
                  <a:cubicBezTo>
                    <a:pt x="153" y="107"/>
                    <a:pt x="155" y="107"/>
                    <a:pt x="158" y="107"/>
                  </a:cubicBezTo>
                  <a:cubicBezTo>
                    <a:pt x="162" y="106"/>
                    <a:pt x="165" y="106"/>
                    <a:pt x="169" y="106"/>
                  </a:cubicBezTo>
                  <a:cubicBezTo>
                    <a:pt x="171" y="106"/>
                    <a:pt x="172" y="106"/>
                    <a:pt x="173" y="107"/>
                  </a:cubicBezTo>
                  <a:cubicBezTo>
                    <a:pt x="174" y="107"/>
                    <a:pt x="176" y="107"/>
                    <a:pt x="177" y="108"/>
                  </a:cubicBezTo>
                  <a:cubicBezTo>
                    <a:pt x="178" y="109"/>
                    <a:pt x="182" y="116"/>
                    <a:pt x="183" y="110"/>
                  </a:cubicBezTo>
                  <a:cubicBezTo>
                    <a:pt x="184" y="107"/>
                    <a:pt x="185" y="103"/>
                    <a:pt x="181" y="102"/>
                  </a:cubicBezTo>
                  <a:cubicBezTo>
                    <a:pt x="179" y="102"/>
                    <a:pt x="178" y="101"/>
                    <a:pt x="177" y="100"/>
                  </a:cubicBezTo>
                  <a:cubicBezTo>
                    <a:pt x="176" y="99"/>
                    <a:pt x="176" y="98"/>
                    <a:pt x="174" y="98"/>
                  </a:cubicBezTo>
                  <a:cubicBezTo>
                    <a:pt x="172" y="96"/>
                    <a:pt x="170" y="95"/>
                    <a:pt x="168" y="94"/>
                  </a:cubicBezTo>
                  <a:cubicBezTo>
                    <a:pt x="167" y="94"/>
                    <a:pt x="165" y="94"/>
                    <a:pt x="164" y="93"/>
                  </a:cubicBezTo>
                  <a:cubicBezTo>
                    <a:pt x="162" y="93"/>
                    <a:pt x="161" y="94"/>
                    <a:pt x="160" y="94"/>
                  </a:cubicBezTo>
                  <a:cubicBezTo>
                    <a:pt x="158" y="94"/>
                    <a:pt x="158" y="94"/>
                    <a:pt x="157" y="92"/>
                  </a:cubicBezTo>
                  <a:cubicBezTo>
                    <a:pt x="157" y="91"/>
                    <a:pt x="155" y="87"/>
                    <a:pt x="155" y="86"/>
                  </a:cubicBezTo>
                  <a:cubicBezTo>
                    <a:pt x="153" y="84"/>
                    <a:pt x="150" y="85"/>
                    <a:pt x="149" y="87"/>
                  </a:cubicBezTo>
                  <a:close/>
                  <a:moveTo>
                    <a:pt x="190" y="115"/>
                  </a:moveTo>
                  <a:cubicBezTo>
                    <a:pt x="190" y="116"/>
                    <a:pt x="190" y="117"/>
                    <a:pt x="189" y="118"/>
                  </a:cubicBezTo>
                  <a:cubicBezTo>
                    <a:pt x="189" y="119"/>
                    <a:pt x="190" y="120"/>
                    <a:pt x="190" y="121"/>
                  </a:cubicBezTo>
                  <a:cubicBezTo>
                    <a:pt x="190" y="124"/>
                    <a:pt x="193" y="123"/>
                    <a:pt x="194" y="122"/>
                  </a:cubicBezTo>
                  <a:cubicBezTo>
                    <a:pt x="195" y="122"/>
                    <a:pt x="196" y="122"/>
                    <a:pt x="197" y="122"/>
                  </a:cubicBezTo>
                  <a:cubicBezTo>
                    <a:pt x="198" y="121"/>
                    <a:pt x="198" y="121"/>
                    <a:pt x="199" y="120"/>
                  </a:cubicBezTo>
                  <a:cubicBezTo>
                    <a:pt x="200" y="118"/>
                    <a:pt x="199" y="116"/>
                    <a:pt x="198" y="114"/>
                  </a:cubicBezTo>
                  <a:cubicBezTo>
                    <a:pt x="197" y="113"/>
                    <a:pt x="196" y="113"/>
                    <a:pt x="195" y="112"/>
                  </a:cubicBezTo>
                  <a:cubicBezTo>
                    <a:pt x="194" y="111"/>
                    <a:pt x="194" y="111"/>
                    <a:pt x="193" y="111"/>
                  </a:cubicBezTo>
                  <a:cubicBezTo>
                    <a:pt x="192" y="112"/>
                    <a:pt x="191" y="112"/>
                    <a:pt x="191" y="113"/>
                  </a:cubicBezTo>
                  <a:cubicBezTo>
                    <a:pt x="190" y="114"/>
                    <a:pt x="190" y="114"/>
                    <a:pt x="190" y="115"/>
                  </a:cubicBezTo>
                  <a:close/>
                  <a:moveTo>
                    <a:pt x="207" y="96"/>
                  </a:moveTo>
                  <a:cubicBezTo>
                    <a:pt x="206" y="97"/>
                    <a:pt x="206" y="97"/>
                    <a:pt x="207" y="98"/>
                  </a:cubicBezTo>
                  <a:cubicBezTo>
                    <a:pt x="207" y="99"/>
                    <a:pt x="208" y="100"/>
                    <a:pt x="207" y="100"/>
                  </a:cubicBezTo>
                  <a:cubicBezTo>
                    <a:pt x="206" y="100"/>
                    <a:pt x="205" y="99"/>
                    <a:pt x="204" y="100"/>
                  </a:cubicBezTo>
                  <a:cubicBezTo>
                    <a:pt x="204" y="100"/>
                    <a:pt x="203" y="101"/>
                    <a:pt x="203" y="101"/>
                  </a:cubicBezTo>
                  <a:cubicBezTo>
                    <a:pt x="203" y="102"/>
                    <a:pt x="202" y="103"/>
                    <a:pt x="202" y="103"/>
                  </a:cubicBezTo>
                  <a:cubicBezTo>
                    <a:pt x="202" y="104"/>
                    <a:pt x="202" y="105"/>
                    <a:pt x="202" y="106"/>
                  </a:cubicBezTo>
                  <a:cubicBezTo>
                    <a:pt x="202" y="107"/>
                    <a:pt x="202" y="108"/>
                    <a:pt x="202" y="109"/>
                  </a:cubicBezTo>
                  <a:cubicBezTo>
                    <a:pt x="203" y="110"/>
                    <a:pt x="203" y="111"/>
                    <a:pt x="204" y="112"/>
                  </a:cubicBezTo>
                  <a:cubicBezTo>
                    <a:pt x="205" y="113"/>
                    <a:pt x="205" y="114"/>
                    <a:pt x="206" y="114"/>
                  </a:cubicBezTo>
                  <a:cubicBezTo>
                    <a:pt x="206" y="115"/>
                    <a:pt x="207" y="115"/>
                    <a:pt x="208" y="115"/>
                  </a:cubicBezTo>
                  <a:cubicBezTo>
                    <a:pt x="210" y="116"/>
                    <a:pt x="209" y="114"/>
                    <a:pt x="210" y="113"/>
                  </a:cubicBezTo>
                  <a:cubicBezTo>
                    <a:pt x="210" y="112"/>
                    <a:pt x="210" y="112"/>
                    <a:pt x="211" y="111"/>
                  </a:cubicBezTo>
                  <a:cubicBezTo>
                    <a:pt x="211" y="111"/>
                    <a:pt x="211" y="110"/>
                    <a:pt x="212" y="110"/>
                  </a:cubicBezTo>
                  <a:cubicBezTo>
                    <a:pt x="212" y="109"/>
                    <a:pt x="212" y="109"/>
                    <a:pt x="212" y="109"/>
                  </a:cubicBezTo>
                  <a:cubicBezTo>
                    <a:pt x="211" y="107"/>
                    <a:pt x="209" y="107"/>
                    <a:pt x="210" y="105"/>
                  </a:cubicBezTo>
                  <a:cubicBezTo>
                    <a:pt x="210" y="104"/>
                    <a:pt x="211" y="105"/>
                    <a:pt x="212" y="106"/>
                  </a:cubicBezTo>
                  <a:cubicBezTo>
                    <a:pt x="212" y="106"/>
                    <a:pt x="213" y="107"/>
                    <a:pt x="214" y="107"/>
                  </a:cubicBezTo>
                  <a:cubicBezTo>
                    <a:pt x="215" y="107"/>
                    <a:pt x="213" y="105"/>
                    <a:pt x="212" y="104"/>
                  </a:cubicBezTo>
                  <a:cubicBezTo>
                    <a:pt x="211" y="103"/>
                    <a:pt x="210" y="102"/>
                    <a:pt x="210" y="100"/>
                  </a:cubicBezTo>
                  <a:cubicBezTo>
                    <a:pt x="210" y="98"/>
                    <a:pt x="210" y="97"/>
                    <a:pt x="209" y="96"/>
                  </a:cubicBezTo>
                  <a:cubicBezTo>
                    <a:pt x="209" y="95"/>
                    <a:pt x="208" y="95"/>
                    <a:pt x="207" y="96"/>
                  </a:cubicBezTo>
                  <a:close/>
                  <a:moveTo>
                    <a:pt x="201" y="92"/>
                  </a:moveTo>
                  <a:cubicBezTo>
                    <a:pt x="202" y="92"/>
                    <a:pt x="203" y="93"/>
                    <a:pt x="204" y="93"/>
                  </a:cubicBezTo>
                  <a:cubicBezTo>
                    <a:pt x="205" y="93"/>
                    <a:pt x="206" y="94"/>
                    <a:pt x="207" y="93"/>
                  </a:cubicBezTo>
                  <a:cubicBezTo>
                    <a:pt x="208" y="92"/>
                    <a:pt x="207" y="91"/>
                    <a:pt x="206" y="90"/>
                  </a:cubicBezTo>
                  <a:cubicBezTo>
                    <a:pt x="205" y="89"/>
                    <a:pt x="204" y="89"/>
                    <a:pt x="204" y="87"/>
                  </a:cubicBezTo>
                  <a:cubicBezTo>
                    <a:pt x="204" y="86"/>
                    <a:pt x="204" y="85"/>
                    <a:pt x="203" y="85"/>
                  </a:cubicBezTo>
                  <a:cubicBezTo>
                    <a:pt x="202" y="85"/>
                    <a:pt x="202" y="86"/>
                    <a:pt x="202" y="86"/>
                  </a:cubicBezTo>
                  <a:cubicBezTo>
                    <a:pt x="201" y="87"/>
                    <a:pt x="201" y="87"/>
                    <a:pt x="200" y="87"/>
                  </a:cubicBezTo>
                  <a:cubicBezTo>
                    <a:pt x="200" y="88"/>
                    <a:pt x="200" y="88"/>
                    <a:pt x="200" y="89"/>
                  </a:cubicBezTo>
                  <a:cubicBezTo>
                    <a:pt x="200" y="90"/>
                    <a:pt x="201" y="91"/>
                    <a:pt x="201" y="92"/>
                  </a:cubicBezTo>
                  <a:close/>
                  <a:moveTo>
                    <a:pt x="205" y="175"/>
                  </a:moveTo>
                  <a:cubicBezTo>
                    <a:pt x="206" y="175"/>
                    <a:pt x="207" y="175"/>
                    <a:pt x="208" y="174"/>
                  </a:cubicBezTo>
                  <a:cubicBezTo>
                    <a:pt x="208" y="173"/>
                    <a:pt x="209" y="172"/>
                    <a:pt x="210" y="171"/>
                  </a:cubicBezTo>
                  <a:cubicBezTo>
                    <a:pt x="210" y="171"/>
                    <a:pt x="210" y="170"/>
                    <a:pt x="210" y="169"/>
                  </a:cubicBezTo>
                  <a:cubicBezTo>
                    <a:pt x="211" y="169"/>
                    <a:pt x="211" y="169"/>
                    <a:pt x="212" y="168"/>
                  </a:cubicBezTo>
                  <a:cubicBezTo>
                    <a:pt x="212" y="167"/>
                    <a:pt x="213" y="166"/>
                    <a:pt x="213" y="166"/>
                  </a:cubicBezTo>
                  <a:cubicBezTo>
                    <a:pt x="214" y="165"/>
                    <a:pt x="212" y="165"/>
                    <a:pt x="212" y="165"/>
                  </a:cubicBezTo>
                  <a:cubicBezTo>
                    <a:pt x="211" y="165"/>
                    <a:pt x="210" y="166"/>
                    <a:pt x="210" y="167"/>
                  </a:cubicBezTo>
                  <a:cubicBezTo>
                    <a:pt x="209" y="167"/>
                    <a:pt x="208" y="168"/>
                    <a:pt x="207" y="168"/>
                  </a:cubicBezTo>
                  <a:cubicBezTo>
                    <a:pt x="205" y="169"/>
                    <a:pt x="204" y="170"/>
                    <a:pt x="202" y="170"/>
                  </a:cubicBezTo>
                  <a:cubicBezTo>
                    <a:pt x="201" y="170"/>
                    <a:pt x="199" y="170"/>
                    <a:pt x="198" y="171"/>
                  </a:cubicBezTo>
                  <a:cubicBezTo>
                    <a:pt x="197" y="171"/>
                    <a:pt x="198" y="171"/>
                    <a:pt x="198" y="172"/>
                  </a:cubicBezTo>
                  <a:cubicBezTo>
                    <a:pt x="199" y="173"/>
                    <a:pt x="200" y="174"/>
                    <a:pt x="202" y="175"/>
                  </a:cubicBezTo>
                  <a:cubicBezTo>
                    <a:pt x="203" y="176"/>
                    <a:pt x="204" y="176"/>
                    <a:pt x="205" y="175"/>
                  </a:cubicBezTo>
                  <a:close/>
                  <a:moveTo>
                    <a:pt x="221" y="176"/>
                  </a:moveTo>
                  <a:cubicBezTo>
                    <a:pt x="222" y="176"/>
                    <a:pt x="224" y="176"/>
                    <a:pt x="225" y="176"/>
                  </a:cubicBezTo>
                  <a:cubicBezTo>
                    <a:pt x="226" y="175"/>
                    <a:pt x="227" y="175"/>
                    <a:pt x="228" y="175"/>
                  </a:cubicBezTo>
                  <a:cubicBezTo>
                    <a:pt x="228" y="174"/>
                    <a:pt x="228" y="173"/>
                    <a:pt x="228" y="173"/>
                  </a:cubicBezTo>
                  <a:cubicBezTo>
                    <a:pt x="228" y="172"/>
                    <a:pt x="227" y="172"/>
                    <a:pt x="227" y="172"/>
                  </a:cubicBezTo>
                  <a:cubicBezTo>
                    <a:pt x="226" y="171"/>
                    <a:pt x="226" y="171"/>
                    <a:pt x="225" y="170"/>
                  </a:cubicBezTo>
                  <a:cubicBezTo>
                    <a:pt x="224" y="170"/>
                    <a:pt x="223" y="170"/>
                    <a:pt x="222" y="169"/>
                  </a:cubicBezTo>
                  <a:cubicBezTo>
                    <a:pt x="222" y="169"/>
                    <a:pt x="221" y="169"/>
                    <a:pt x="220" y="169"/>
                  </a:cubicBezTo>
                  <a:cubicBezTo>
                    <a:pt x="219" y="168"/>
                    <a:pt x="217" y="168"/>
                    <a:pt x="216" y="168"/>
                  </a:cubicBezTo>
                  <a:cubicBezTo>
                    <a:pt x="215" y="167"/>
                    <a:pt x="214" y="168"/>
                    <a:pt x="213" y="169"/>
                  </a:cubicBezTo>
                  <a:cubicBezTo>
                    <a:pt x="212" y="170"/>
                    <a:pt x="212" y="171"/>
                    <a:pt x="211" y="172"/>
                  </a:cubicBezTo>
                  <a:cubicBezTo>
                    <a:pt x="211" y="172"/>
                    <a:pt x="210" y="172"/>
                    <a:pt x="210" y="173"/>
                  </a:cubicBezTo>
                  <a:cubicBezTo>
                    <a:pt x="209" y="174"/>
                    <a:pt x="209" y="175"/>
                    <a:pt x="210" y="176"/>
                  </a:cubicBezTo>
                  <a:cubicBezTo>
                    <a:pt x="211" y="176"/>
                    <a:pt x="212" y="176"/>
                    <a:pt x="213" y="176"/>
                  </a:cubicBezTo>
                  <a:cubicBezTo>
                    <a:pt x="214" y="176"/>
                    <a:pt x="215" y="177"/>
                    <a:pt x="216" y="177"/>
                  </a:cubicBezTo>
                  <a:cubicBezTo>
                    <a:pt x="216" y="177"/>
                    <a:pt x="217" y="177"/>
                    <a:pt x="218" y="177"/>
                  </a:cubicBezTo>
                  <a:cubicBezTo>
                    <a:pt x="219" y="177"/>
                    <a:pt x="220" y="177"/>
                    <a:pt x="221" y="176"/>
                  </a:cubicBezTo>
                  <a:close/>
                  <a:moveTo>
                    <a:pt x="203" y="180"/>
                  </a:moveTo>
                  <a:cubicBezTo>
                    <a:pt x="204" y="181"/>
                    <a:pt x="204" y="181"/>
                    <a:pt x="205" y="182"/>
                  </a:cubicBezTo>
                  <a:cubicBezTo>
                    <a:pt x="205" y="182"/>
                    <a:pt x="205" y="182"/>
                    <a:pt x="205" y="183"/>
                  </a:cubicBezTo>
                  <a:cubicBezTo>
                    <a:pt x="205" y="184"/>
                    <a:pt x="206" y="184"/>
                    <a:pt x="207" y="184"/>
                  </a:cubicBezTo>
                  <a:cubicBezTo>
                    <a:pt x="207" y="185"/>
                    <a:pt x="208" y="185"/>
                    <a:pt x="208" y="185"/>
                  </a:cubicBezTo>
                  <a:cubicBezTo>
                    <a:pt x="209" y="185"/>
                    <a:pt x="209" y="185"/>
                    <a:pt x="210" y="185"/>
                  </a:cubicBezTo>
                  <a:cubicBezTo>
                    <a:pt x="211" y="185"/>
                    <a:pt x="212" y="185"/>
                    <a:pt x="213" y="185"/>
                  </a:cubicBezTo>
                  <a:cubicBezTo>
                    <a:pt x="213" y="185"/>
                    <a:pt x="214" y="185"/>
                    <a:pt x="214" y="184"/>
                  </a:cubicBezTo>
                  <a:cubicBezTo>
                    <a:pt x="215" y="184"/>
                    <a:pt x="215" y="183"/>
                    <a:pt x="215" y="183"/>
                  </a:cubicBezTo>
                  <a:cubicBezTo>
                    <a:pt x="216" y="183"/>
                    <a:pt x="217" y="182"/>
                    <a:pt x="217" y="182"/>
                  </a:cubicBezTo>
                  <a:cubicBezTo>
                    <a:pt x="217" y="182"/>
                    <a:pt x="217" y="181"/>
                    <a:pt x="217" y="181"/>
                  </a:cubicBezTo>
                  <a:cubicBezTo>
                    <a:pt x="217" y="180"/>
                    <a:pt x="216" y="179"/>
                    <a:pt x="216" y="179"/>
                  </a:cubicBezTo>
                  <a:cubicBezTo>
                    <a:pt x="214" y="179"/>
                    <a:pt x="213" y="179"/>
                    <a:pt x="212" y="178"/>
                  </a:cubicBezTo>
                  <a:cubicBezTo>
                    <a:pt x="211" y="177"/>
                    <a:pt x="211" y="177"/>
                    <a:pt x="210" y="177"/>
                  </a:cubicBezTo>
                  <a:cubicBezTo>
                    <a:pt x="208" y="177"/>
                    <a:pt x="207" y="177"/>
                    <a:pt x="206" y="177"/>
                  </a:cubicBezTo>
                  <a:cubicBezTo>
                    <a:pt x="205" y="177"/>
                    <a:pt x="202" y="176"/>
                    <a:pt x="202" y="178"/>
                  </a:cubicBezTo>
                  <a:cubicBezTo>
                    <a:pt x="202" y="178"/>
                    <a:pt x="202" y="179"/>
                    <a:pt x="202" y="180"/>
                  </a:cubicBezTo>
                  <a:cubicBezTo>
                    <a:pt x="203" y="180"/>
                    <a:pt x="203" y="180"/>
                    <a:pt x="203" y="180"/>
                  </a:cubicBezTo>
                  <a:close/>
                  <a:moveTo>
                    <a:pt x="185" y="116"/>
                  </a:moveTo>
                  <a:cubicBezTo>
                    <a:pt x="185" y="116"/>
                    <a:pt x="185" y="115"/>
                    <a:pt x="185" y="115"/>
                  </a:cubicBezTo>
                  <a:cubicBezTo>
                    <a:pt x="185" y="114"/>
                    <a:pt x="184" y="114"/>
                    <a:pt x="183" y="114"/>
                  </a:cubicBezTo>
                  <a:cubicBezTo>
                    <a:pt x="183" y="114"/>
                    <a:pt x="182" y="115"/>
                    <a:pt x="183" y="115"/>
                  </a:cubicBezTo>
                  <a:cubicBezTo>
                    <a:pt x="183" y="115"/>
                    <a:pt x="183" y="116"/>
                    <a:pt x="183" y="116"/>
                  </a:cubicBezTo>
                  <a:cubicBezTo>
                    <a:pt x="184" y="117"/>
                    <a:pt x="184" y="117"/>
                    <a:pt x="184" y="117"/>
                  </a:cubicBezTo>
                  <a:cubicBezTo>
                    <a:pt x="184" y="118"/>
                    <a:pt x="185" y="119"/>
                    <a:pt x="185" y="119"/>
                  </a:cubicBezTo>
                  <a:cubicBezTo>
                    <a:pt x="186" y="118"/>
                    <a:pt x="186" y="118"/>
                    <a:pt x="186" y="118"/>
                  </a:cubicBezTo>
                  <a:cubicBezTo>
                    <a:pt x="186" y="118"/>
                    <a:pt x="186" y="118"/>
                    <a:pt x="186" y="117"/>
                  </a:cubicBezTo>
                  <a:cubicBezTo>
                    <a:pt x="186" y="117"/>
                    <a:pt x="185" y="116"/>
                    <a:pt x="185" y="116"/>
                  </a:cubicBezTo>
                  <a:close/>
                  <a:moveTo>
                    <a:pt x="229" y="152"/>
                  </a:moveTo>
                  <a:cubicBezTo>
                    <a:pt x="229" y="151"/>
                    <a:pt x="228" y="149"/>
                    <a:pt x="228" y="147"/>
                  </a:cubicBezTo>
                  <a:cubicBezTo>
                    <a:pt x="228" y="145"/>
                    <a:pt x="227" y="143"/>
                    <a:pt x="227" y="143"/>
                  </a:cubicBezTo>
                  <a:cubicBezTo>
                    <a:pt x="227" y="143"/>
                    <a:pt x="225" y="138"/>
                    <a:pt x="224" y="136"/>
                  </a:cubicBezTo>
                  <a:cubicBezTo>
                    <a:pt x="224" y="134"/>
                    <a:pt x="222" y="134"/>
                    <a:pt x="222" y="134"/>
                  </a:cubicBezTo>
                  <a:cubicBezTo>
                    <a:pt x="221" y="134"/>
                    <a:pt x="219" y="133"/>
                    <a:pt x="218" y="132"/>
                  </a:cubicBezTo>
                  <a:cubicBezTo>
                    <a:pt x="217" y="131"/>
                    <a:pt x="216" y="129"/>
                    <a:pt x="215" y="128"/>
                  </a:cubicBezTo>
                  <a:cubicBezTo>
                    <a:pt x="213" y="127"/>
                    <a:pt x="212" y="126"/>
                    <a:pt x="211" y="126"/>
                  </a:cubicBezTo>
                  <a:cubicBezTo>
                    <a:pt x="210" y="126"/>
                    <a:pt x="208" y="124"/>
                    <a:pt x="207" y="123"/>
                  </a:cubicBezTo>
                  <a:cubicBezTo>
                    <a:pt x="206" y="123"/>
                    <a:pt x="202" y="121"/>
                    <a:pt x="200" y="122"/>
                  </a:cubicBezTo>
                  <a:cubicBezTo>
                    <a:pt x="199" y="123"/>
                    <a:pt x="198" y="123"/>
                    <a:pt x="196" y="124"/>
                  </a:cubicBezTo>
                  <a:cubicBezTo>
                    <a:pt x="195" y="124"/>
                    <a:pt x="194" y="125"/>
                    <a:pt x="193" y="126"/>
                  </a:cubicBezTo>
                  <a:cubicBezTo>
                    <a:pt x="192" y="127"/>
                    <a:pt x="191" y="129"/>
                    <a:pt x="190" y="129"/>
                  </a:cubicBezTo>
                  <a:cubicBezTo>
                    <a:pt x="188" y="130"/>
                    <a:pt x="187" y="130"/>
                    <a:pt x="187" y="130"/>
                  </a:cubicBezTo>
                  <a:cubicBezTo>
                    <a:pt x="187" y="130"/>
                    <a:pt x="182" y="134"/>
                    <a:pt x="179" y="136"/>
                  </a:cubicBezTo>
                  <a:cubicBezTo>
                    <a:pt x="176" y="137"/>
                    <a:pt x="174" y="138"/>
                    <a:pt x="173" y="138"/>
                  </a:cubicBezTo>
                  <a:cubicBezTo>
                    <a:pt x="172" y="138"/>
                    <a:pt x="168" y="139"/>
                    <a:pt x="167" y="139"/>
                  </a:cubicBezTo>
                  <a:cubicBezTo>
                    <a:pt x="167" y="139"/>
                    <a:pt x="161" y="141"/>
                    <a:pt x="160" y="141"/>
                  </a:cubicBezTo>
                  <a:cubicBezTo>
                    <a:pt x="159" y="142"/>
                    <a:pt x="157" y="143"/>
                    <a:pt x="157" y="144"/>
                  </a:cubicBezTo>
                  <a:cubicBezTo>
                    <a:pt x="157" y="144"/>
                    <a:pt x="152" y="144"/>
                    <a:pt x="152" y="143"/>
                  </a:cubicBezTo>
                  <a:cubicBezTo>
                    <a:pt x="152" y="142"/>
                    <a:pt x="154" y="142"/>
                    <a:pt x="154" y="142"/>
                  </a:cubicBezTo>
                  <a:cubicBezTo>
                    <a:pt x="155" y="142"/>
                    <a:pt x="156" y="142"/>
                    <a:pt x="156" y="141"/>
                  </a:cubicBezTo>
                  <a:cubicBezTo>
                    <a:pt x="156" y="141"/>
                    <a:pt x="158" y="140"/>
                    <a:pt x="158" y="140"/>
                  </a:cubicBezTo>
                  <a:cubicBezTo>
                    <a:pt x="159" y="140"/>
                    <a:pt x="162" y="138"/>
                    <a:pt x="163" y="138"/>
                  </a:cubicBezTo>
                  <a:cubicBezTo>
                    <a:pt x="164" y="138"/>
                    <a:pt x="167" y="137"/>
                    <a:pt x="167" y="136"/>
                  </a:cubicBezTo>
                  <a:cubicBezTo>
                    <a:pt x="167" y="136"/>
                    <a:pt x="175" y="134"/>
                    <a:pt x="176" y="133"/>
                  </a:cubicBezTo>
                  <a:cubicBezTo>
                    <a:pt x="177" y="132"/>
                    <a:pt x="187" y="127"/>
                    <a:pt x="187" y="127"/>
                  </a:cubicBezTo>
                  <a:cubicBezTo>
                    <a:pt x="188" y="126"/>
                    <a:pt x="187" y="125"/>
                    <a:pt x="187" y="124"/>
                  </a:cubicBezTo>
                  <a:cubicBezTo>
                    <a:pt x="187" y="123"/>
                    <a:pt x="185" y="122"/>
                    <a:pt x="184" y="122"/>
                  </a:cubicBezTo>
                  <a:cubicBezTo>
                    <a:pt x="184" y="121"/>
                    <a:pt x="181" y="116"/>
                    <a:pt x="181" y="115"/>
                  </a:cubicBezTo>
                  <a:cubicBezTo>
                    <a:pt x="180" y="115"/>
                    <a:pt x="175" y="111"/>
                    <a:pt x="173" y="109"/>
                  </a:cubicBezTo>
                  <a:cubicBezTo>
                    <a:pt x="171" y="108"/>
                    <a:pt x="172" y="109"/>
                    <a:pt x="170" y="109"/>
                  </a:cubicBezTo>
                  <a:cubicBezTo>
                    <a:pt x="169" y="110"/>
                    <a:pt x="165" y="109"/>
                    <a:pt x="165" y="109"/>
                  </a:cubicBezTo>
                  <a:cubicBezTo>
                    <a:pt x="164" y="108"/>
                    <a:pt x="163" y="108"/>
                    <a:pt x="162" y="108"/>
                  </a:cubicBezTo>
                  <a:cubicBezTo>
                    <a:pt x="162" y="108"/>
                    <a:pt x="156" y="109"/>
                    <a:pt x="155" y="109"/>
                  </a:cubicBezTo>
                  <a:cubicBezTo>
                    <a:pt x="154" y="109"/>
                    <a:pt x="149" y="108"/>
                    <a:pt x="148" y="107"/>
                  </a:cubicBezTo>
                  <a:cubicBezTo>
                    <a:pt x="146" y="106"/>
                    <a:pt x="142" y="102"/>
                    <a:pt x="142" y="101"/>
                  </a:cubicBezTo>
                  <a:cubicBezTo>
                    <a:pt x="141" y="100"/>
                    <a:pt x="140" y="98"/>
                    <a:pt x="140" y="98"/>
                  </a:cubicBezTo>
                  <a:cubicBezTo>
                    <a:pt x="140" y="98"/>
                    <a:pt x="137" y="96"/>
                    <a:pt x="135" y="94"/>
                  </a:cubicBezTo>
                  <a:cubicBezTo>
                    <a:pt x="133" y="92"/>
                    <a:pt x="133" y="90"/>
                    <a:pt x="133" y="89"/>
                  </a:cubicBezTo>
                  <a:cubicBezTo>
                    <a:pt x="132" y="88"/>
                    <a:pt x="132" y="85"/>
                    <a:pt x="132" y="84"/>
                  </a:cubicBezTo>
                  <a:cubicBezTo>
                    <a:pt x="132" y="84"/>
                    <a:pt x="132" y="82"/>
                    <a:pt x="132" y="81"/>
                  </a:cubicBezTo>
                  <a:cubicBezTo>
                    <a:pt x="132" y="80"/>
                    <a:pt x="131" y="79"/>
                    <a:pt x="131" y="79"/>
                  </a:cubicBezTo>
                  <a:cubicBezTo>
                    <a:pt x="130" y="82"/>
                    <a:pt x="130" y="82"/>
                    <a:pt x="130" y="82"/>
                  </a:cubicBezTo>
                  <a:cubicBezTo>
                    <a:pt x="130" y="85"/>
                    <a:pt x="130" y="85"/>
                    <a:pt x="130" y="85"/>
                  </a:cubicBezTo>
                  <a:cubicBezTo>
                    <a:pt x="130" y="85"/>
                    <a:pt x="128" y="86"/>
                    <a:pt x="128" y="85"/>
                  </a:cubicBezTo>
                  <a:cubicBezTo>
                    <a:pt x="129" y="85"/>
                    <a:pt x="130" y="83"/>
                    <a:pt x="129" y="82"/>
                  </a:cubicBezTo>
                  <a:cubicBezTo>
                    <a:pt x="129" y="81"/>
                    <a:pt x="129" y="77"/>
                    <a:pt x="129" y="77"/>
                  </a:cubicBezTo>
                  <a:cubicBezTo>
                    <a:pt x="129" y="76"/>
                    <a:pt x="129" y="71"/>
                    <a:pt x="129" y="71"/>
                  </a:cubicBezTo>
                  <a:cubicBezTo>
                    <a:pt x="129" y="71"/>
                    <a:pt x="129" y="70"/>
                    <a:pt x="129" y="70"/>
                  </a:cubicBezTo>
                  <a:cubicBezTo>
                    <a:pt x="128" y="70"/>
                    <a:pt x="123" y="67"/>
                    <a:pt x="122" y="67"/>
                  </a:cubicBezTo>
                  <a:cubicBezTo>
                    <a:pt x="121" y="66"/>
                    <a:pt x="115" y="62"/>
                    <a:pt x="114" y="61"/>
                  </a:cubicBezTo>
                  <a:cubicBezTo>
                    <a:pt x="114" y="61"/>
                    <a:pt x="106" y="54"/>
                    <a:pt x="105" y="53"/>
                  </a:cubicBezTo>
                  <a:cubicBezTo>
                    <a:pt x="104" y="53"/>
                    <a:pt x="102" y="53"/>
                    <a:pt x="101" y="53"/>
                  </a:cubicBezTo>
                  <a:cubicBezTo>
                    <a:pt x="99" y="53"/>
                    <a:pt x="97" y="54"/>
                    <a:pt x="96" y="54"/>
                  </a:cubicBezTo>
                  <a:cubicBezTo>
                    <a:pt x="95" y="54"/>
                    <a:pt x="93" y="54"/>
                    <a:pt x="93" y="54"/>
                  </a:cubicBezTo>
                  <a:cubicBezTo>
                    <a:pt x="92" y="54"/>
                    <a:pt x="89" y="52"/>
                    <a:pt x="89" y="52"/>
                  </a:cubicBezTo>
                  <a:cubicBezTo>
                    <a:pt x="88" y="52"/>
                    <a:pt x="88" y="53"/>
                    <a:pt x="85" y="51"/>
                  </a:cubicBezTo>
                  <a:cubicBezTo>
                    <a:pt x="81" y="49"/>
                    <a:pt x="81" y="45"/>
                    <a:pt x="81" y="44"/>
                  </a:cubicBezTo>
                  <a:cubicBezTo>
                    <a:pt x="81" y="43"/>
                    <a:pt x="81" y="42"/>
                    <a:pt x="80" y="41"/>
                  </a:cubicBezTo>
                  <a:cubicBezTo>
                    <a:pt x="80" y="40"/>
                    <a:pt x="79" y="38"/>
                    <a:pt x="79" y="36"/>
                  </a:cubicBezTo>
                  <a:cubicBezTo>
                    <a:pt x="78" y="34"/>
                    <a:pt x="78" y="33"/>
                    <a:pt x="78" y="30"/>
                  </a:cubicBezTo>
                  <a:cubicBezTo>
                    <a:pt x="77" y="28"/>
                    <a:pt x="76" y="28"/>
                    <a:pt x="75" y="27"/>
                  </a:cubicBezTo>
                  <a:cubicBezTo>
                    <a:pt x="74" y="26"/>
                    <a:pt x="70" y="24"/>
                    <a:pt x="68" y="23"/>
                  </a:cubicBezTo>
                  <a:cubicBezTo>
                    <a:pt x="66" y="22"/>
                    <a:pt x="65" y="20"/>
                    <a:pt x="64" y="18"/>
                  </a:cubicBezTo>
                  <a:cubicBezTo>
                    <a:pt x="64" y="16"/>
                    <a:pt x="62" y="15"/>
                    <a:pt x="61" y="15"/>
                  </a:cubicBezTo>
                  <a:cubicBezTo>
                    <a:pt x="61" y="15"/>
                    <a:pt x="59" y="15"/>
                    <a:pt x="58" y="14"/>
                  </a:cubicBezTo>
                  <a:cubicBezTo>
                    <a:pt x="56" y="14"/>
                    <a:pt x="53" y="14"/>
                    <a:pt x="52" y="14"/>
                  </a:cubicBezTo>
                  <a:cubicBezTo>
                    <a:pt x="52" y="14"/>
                    <a:pt x="50" y="14"/>
                    <a:pt x="49" y="15"/>
                  </a:cubicBezTo>
                  <a:cubicBezTo>
                    <a:pt x="49" y="15"/>
                    <a:pt x="47" y="17"/>
                    <a:pt x="47" y="17"/>
                  </a:cubicBezTo>
                  <a:cubicBezTo>
                    <a:pt x="47" y="17"/>
                    <a:pt x="45" y="18"/>
                    <a:pt x="44" y="17"/>
                  </a:cubicBezTo>
                  <a:cubicBezTo>
                    <a:pt x="44" y="16"/>
                    <a:pt x="42" y="17"/>
                    <a:pt x="42" y="17"/>
                  </a:cubicBezTo>
                  <a:cubicBezTo>
                    <a:pt x="41" y="17"/>
                    <a:pt x="41" y="20"/>
                    <a:pt x="41" y="20"/>
                  </a:cubicBezTo>
                  <a:cubicBezTo>
                    <a:pt x="42" y="20"/>
                    <a:pt x="43" y="22"/>
                    <a:pt x="45" y="24"/>
                  </a:cubicBezTo>
                  <a:cubicBezTo>
                    <a:pt x="47" y="25"/>
                    <a:pt x="49" y="27"/>
                    <a:pt x="50" y="27"/>
                  </a:cubicBezTo>
                  <a:cubicBezTo>
                    <a:pt x="52" y="28"/>
                    <a:pt x="53" y="31"/>
                    <a:pt x="54" y="32"/>
                  </a:cubicBezTo>
                  <a:cubicBezTo>
                    <a:pt x="54" y="33"/>
                    <a:pt x="55" y="37"/>
                    <a:pt x="55" y="38"/>
                  </a:cubicBezTo>
                  <a:cubicBezTo>
                    <a:pt x="55" y="39"/>
                    <a:pt x="55" y="40"/>
                    <a:pt x="56" y="41"/>
                  </a:cubicBezTo>
                  <a:cubicBezTo>
                    <a:pt x="56" y="41"/>
                    <a:pt x="56" y="43"/>
                    <a:pt x="56" y="44"/>
                  </a:cubicBezTo>
                  <a:cubicBezTo>
                    <a:pt x="56" y="44"/>
                    <a:pt x="55" y="44"/>
                    <a:pt x="55" y="44"/>
                  </a:cubicBezTo>
                  <a:cubicBezTo>
                    <a:pt x="54" y="43"/>
                    <a:pt x="54" y="43"/>
                    <a:pt x="54" y="43"/>
                  </a:cubicBezTo>
                  <a:cubicBezTo>
                    <a:pt x="53" y="41"/>
                    <a:pt x="53" y="41"/>
                    <a:pt x="53" y="41"/>
                  </a:cubicBezTo>
                  <a:cubicBezTo>
                    <a:pt x="53" y="41"/>
                    <a:pt x="54" y="40"/>
                    <a:pt x="54" y="39"/>
                  </a:cubicBezTo>
                  <a:cubicBezTo>
                    <a:pt x="54" y="38"/>
                    <a:pt x="53" y="36"/>
                    <a:pt x="52" y="35"/>
                  </a:cubicBezTo>
                  <a:cubicBezTo>
                    <a:pt x="52" y="34"/>
                    <a:pt x="50" y="32"/>
                    <a:pt x="49" y="31"/>
                  </a:cubicBezTo>
                  <a:cubicBezTo>
                    <a:pt x="49" y="30"/>
                    <a:pt x="45" y="28"/>
                    <a:pt x="45" y="28"/>
                  </a:cubicBezTo>
                  <a:cubicBezTo>
                    <a:pt x="44" y="28"/>
                    <a:pt x="39" y="26"/>
                    <a:pt x="38" y="25"/>
                  </a:cubicBezTo>
                  <a:cubicBezTo>
                    <a:pt x="38" y="25"/>
                    <a:pt x="33" y="22"/>
                    <a:pt x="32" y="22"/>
                  </a:cubicBezTo>
                  <a:cubicBezTo>
                    <a:pt x="31" y="22"/>
                    <a:pt x="27" y="18"/>
                    <a:pt x="27" y="18"/>
                  </a:cubicBezTo>
                  <a:cubicBezTo>
                    <a:pt x="26" y="17"/>
                    <a:pt x="23" y="13"/>
                    <a:pt x="22" y="12"/>
                  </a:cubicBezTo>
                  <a:cubicBezTo>
                    <a:pt x="21" y="10"/>
                    <a:pt x="20" y="7"/>
                    <a:pt x="20" y="5"/>
                  </a:cubicBezTo>
                  <a:cubicBezTo>
                    <a:pt x="19" y="3"/>
                    <a:pt x="19" y="1"/>
                    <a:pt x="18" y="0"/>
                  </a:cubicBezTo>
                  <a:cubicBezTo>
                    <a:pt x="18" y="0"/>
                    <a:pt x="18" y="0"/>
                    <a:pt x="18" y="0"/>
                  </a:cubicBezTo>
                  <a:cubicBezTo>
                    <a:pt x="18" y="2"/>
                    <a:pt x="16" y="5"/>
                    <a:pt x="16" y="7"/>
                  </a:cubicBezTo>
                  <a:cubicBezTo>
                    <a:pt x="16" y="11"/>
                    <a:pt x="17" y="13"/>
                    <a:pt x="18" y="16"/>
                  </a:cubicBezTo>
                  <a:cubicBezTo>
                    <a:pt x="19" y="20"/>
                    <a:pt x="20" y="22"/>
                    <a:pt x="19" y="26"/>
                  </a:cubicBezTo>
                  <a:cubicBezTo>
                    <a:pt x="18" y="29"/>
                    <a:pt x="17" y="32"/>
                    <a:pt x="17" y="36"/>
                  </a:cubicBezTo>
                  <a:cubicBezTo>
                    <a:pt x="16" y="38"/>
                    <a:pt x="15" y="40"/>
                    <a:pt x="15" y="42"/>
                  </a:cubicBezTo>
                  <a:cubicBezTo>
                    <a:pt x="15" y="43"/>
                    <a:pt x="16" y="44"/>
                    <a:pt x="17" y="45"/>
                  </a:cubicBezTo>
                  <a:cubicBezTo>
                    <a:pt x="17" y="46"/>
                    <a:pt x="19" y="45"/>
                    <a:pt x="20" y="45"/>
                  </a:cubicBezTo>
                  <a:cubicBezTo>
                    <a:pt x="20" y="47"/>
                    <a:pt x="19" y="48"/>
                    <a:pt x="19" y="49"/>
                  </a:cubicBezTo>
                  <a:cubicBezTo>
                    <a:pt x="20" y="51"/>
                    <a:pt x="21" y="50"/>
                    <a:pt x="22" y="52"/>
                  </a:cubicBezTo>
                  <a:cubicBezTo>
                    <a:pt x="23" y="53"/>
                    <a:pt x="22" y="55"/>
                    <a:pt x="22" y="56"/>
                  </a:cubicBezTo>
                  <a:cubicBezTo>
                    <a:pt x="22" y="58"/>
                    <a:pt x="23" y="59"/>
                    <a:pt x="23" y="60"/>
                  </a:cubicBezTo>
                  <a:cubicBezTo>
                    <a:pt x="23" y="62"/>
                    <a:pt x="23" y="63"/>
                    <a:pt x="22" y="64"/>
                  </a:cubicBezTo>
                  <a:cubicBezTo>
                    <a:pt x="21" y="66"/>
                    <a:pt x="21" y="64"/>
                    <a:pt x="19" y="64"/>
                  </a:cubicBezTo>
                  <a:cubicBezTo>
                    <a:pt x="17" y="64"/>
                    <a:pt x="18" y="65"/>
                    <a:pt x="17" y="66"/>
                  </a:cubicBezTo>
                  <a:cubicBezTo>
                    <a:pt x="16" y="68"/>
                    <a:pt x="15" y="68"/>
                    <a:pt x="14" y="69"/>
                  </a:cubicBezTo>
                  <a:cubicBezTo>
                    <a:pt x="11" y="69"/>
                    <a:pt x="8" y="69"/>
                    <a:pt x="5" y="69"/>
                  </a:cubicBezTo>
                  <a:cubicBezTo>
                    <a:pt x="2" y="69"/>
                    <a:pt x="0" y="69"/>
                    <a:pt x="0" y="73"/>
                  </a:cubicBezTo>
                  <a:cubicBezTo>
                    <a:pt x="0" y="75"/>
                    <a:pt x="1" y="75"/>
                    <a:pt x="3" y="76"/>
                  </a:cubicBezTo>
                  <a:cubicBezTo>
                    <a:pt x="4" y="77"/>
                    <a:pt x="4" y="78"/>
                    <a:pt x="5" y="79"/>
                  </a:cubicBezTo>
                  <a:cubicBezTo>
                    <a:pt x="5" y="81"/>
                    <a:pt x="6" y="82"/>
                    <a:pt x="7" y="83"/>
                  </a:cubicBezTo>
                  <a:cubicBezTo>
                    <a:pt x="9" y="85"/>
                    <a:pt x="8" y="85"/>
                    <a:pt x="6" y="87"/>
                  </a:cubicBezTo>
                  <a:cubicBezTo>
                    <a:pt x="6" y="88"/>
                    <a:pt x="5" y="89"/>
                    <a:pt x="5" y="91"/>
                  </a:cubicBezTo>
                  <a:cubicBezTo>
                    <a:pt x="6" y="91"/>
                    <a:pt x="7" y="92"/>
                    <a:pt x="7" y="93"/>
                  </a:cubicBezTo>
                  <a:cubicBezTo>
                    <a:pt x="7" y="93"/>
                    <a:pt x="7" y="94"/>
                    <a:pt x="7" y="95"/>
                  </a:cubicBezTo>
                  <a:cubicBezTo>
                    <a:pt x="6" y="97"/>
                    <a:pt x="6" y="100"/>
                    <a:pt x="5" y="102"/>
                  </a:cubicBezTo>
                  <a:cubicBezTo>
                    <a:pt x="5" y="103"/>
                    <a:pt x="5" y="104"/>
                    <a:pt x="5" y="106"/>
                  </a:cubicBezTo>
                  <a:cubicBezTo>
                    <a:pt x="7" y="106"/>
                    <a:pt x="8" y="106"/>
                    <a:pt x="9" y="107"/>
                  </a:cubicBezTo>
                  <a:cubicBezTo>
                    <a:pt x="10" y="108"/>
                    <a:pt x="12" y="108"/>
                    <a:pt x="13" y="109"/>
                  </a:cubicBezTo>
                  <a:cubicBezTo>
                    <a:pt x="14" y="111"/>
                    <a:pt x="13" y="111"/>
                    <a:pt x="12" y="112"/>
                  </a:cubicBezTo>
                  <a:cubicBezTo>
                    <a:pt x="10" y="114"/>
                    <a:pt x="8" y="117"/>
                    <a:pt x="9" y="120"/>
                  </a:cubicBezTo>
                  <a:cubicBezTo>
                    <a:pt x="10" y="122"/>
                    <a:pt x="13" y="120"/>
                    <a:pt x="14" y="123"/>
                  </a:cubicBezTo>
                  <a:cubicBezTo>
                    <a:pt x="14" y="124"/>
                    <a:pt x="13" y="126"/>
                    <a:pt x="14" y="127"/>
                  </a:cubicBezTo>
                  <a:cubicBezTo>
                    <a:pt x="15" y="132"/>
                    <a:pt x="23" y="128"/>
                    <a:pt x="26" y="129"/>
                  </a:cubicBezTo>
                  <a:cubicBezTo>
                    <a:pt x="28" y="129"/>
                    <a:pt x="28" y="131"/>
                    <a:pt x="29" y="132"/>
                  </a:cubicBezTo>
                  <a:cubicBezTo>
                    <a:pt x="31" y="134"/>
                    <a:pt x="33" y="136"/>
                    <a:pt x="34" y="138"/>
                  </a:cubicBezTo>
                  <a:cubicBezTo>
                    <a:pt x="35" y="139"/>
                    <a:pt x="37" y="142"/>
                    <a:pt x="39" y="142"/>
                  </a:cubicBezTo>
                  <a:cubicBezTo>
                    <a:pt x="40" y="141"/>
                    <a:pt x="40" y="140"/>
                    <a:pt x="41" y="140"/>
                  </a:cubicBezTo>
                  <a:cubicBezTo>
                    <a:pt x="42" y="139"/>
                    <a:pt x="44" y="139"/>
                    <a:pt x="45" y="139"/>
                  </a:cubicBezTo>
                  <a:cubicBezTo>
                    <a:pt x="48" y="139"/>
                    <a:pt x="48" y="139"/>
                    <a:pt x="49" y="141"/>
                  </a:cubicBezTo>
                  <a:cubicBezTo>
                    <a:pt x="49" y="143"/>
                    <a:pt x="49" y="144"/>
                    <a:pt x="48" y="145"/>
                  </a:cubicBezTo>
                  <a:cubicBezTo>
                    <a:pt x="47" y="146"/>
                    <a:pt x="45" y="146"/>
                    <a:pt x="45" y="148"/>
                  </a:cubicBezTo>
                  <a:cubicBezTo>
                    <a:pt x="45" y="150"/>
                    <a:pt x="46" y="150"/>
                    <a:pt x="47" y="151"/>
                  </a:cubicBezTo>
                  <a:cubicBezTo>
                    <a:pt x="49" y="151"/>
                    <a:pt x="50" y="153"/>
                    <a:pt x="49" y="154"/>
                  </a:cubicBezTo>
                  <a:cubicBezTo>
                    <a:pt x="48" y="156"/>
                    <a:pt x="46" y="155"/>
                    <a:pt x="45" y="156"/>
                  </a:cubicBezTo>
                  <a:cubicBezTo>
                    <a:pt x="43" y="158"/>
                    <a:pt x="45" y="160"/>
                    <a:pt x="44" y="162"/>
                  </a:cubicBezTo>
                  <a:cubicBezTo>
                    <a:pt x="45" y="164"/>
                    <a:pt x="45" y="166"/>
                    <a:pt x="46" y="168"/>
                  </a:cubicBezTo>
                  <a:cubicBezTo>
                    <a:pt x="47" y="170"/>
                    <a:pt x="49" y="171"/>
                    <a:pt x="50" y="174"/>
                  </a:cubicBezTo>
                  <a:cubicBezTo>
                    <a:pt x="51" y="176"/>
                    <a:pt x="53" y="175"/>
                    <a:pt x="55" y="174"/>
                  </a:cubicBezTo>
                  <a:cubicBezTo>
                    <a:pt x="57" y="173"/>
                    <a:pt x="59" y="172"/>
                    <a:pt x="60" y="175"/>
                  </a:cubicBezTo>
                  <a:cubicBezTo>
                    <a:pt x="62" y="177"/>
                    <a:pt x="61" y="179"/>
                    <a:pt x="62" y="181"/>
                  </a:cubicBezTo>
                  <a:cubicBezTo>
                    <a:pt x="63" y="183"/>
                    <a:pt x="65" y="185"/>
                    <a:pt x="67" y="186"/>
                  </a:cubicBezTo>
                  <a:cubicBezTo>
                    <a:pt x="70" y="189"/>
                    <a:pt x="74" y="192"/>
                    <a:pt x="78" y="193"/>
                  </a:cubicBezTo>
                  <a:cubicBezTo>
                    <a:pt x="80" y="194"/>
                    <a:pt x="82" y="196"/>
                    <a:pt x="84" y="198"/>
                  </a:cubicBezTo>
                  <a:cubicBezTo>
                    <a:pt x="86" y="200"/>
                    <a:pt x="87" y="203"/>
                    <a:pt x="90" y="204"/>
                  </a:cubicBezTo>
                  <a:cubicBezTo>
                    <a:pt x="93" y="205"/>
                    <a:pt x="96" y="204"/>
                    <a:pt x="99" y="206"/>
                  </a:cubicBezTo>
                  <a:cubicBezTo>
                    <a:pt x="99" y="206"/>
                    <a:pt x="101" y="207"/>
                    <a:pt x="101" y="208"/>
                  </a:cubicBezTo>
                  <a:cubicBezTo>
                    <a:pt x="102" y="209"/>
                    <a:pt x="101" y="210"/>
                    <a:pt x="102" y="212"/>
                  </a:cubicBezTo>
                  <a:cubicBezTo>
                    <a:pt x="104" y="214"/>
                    <a:pt x="108" y="214"/>
                    <a:pt x="111" y="213"/>
                  </a:cubicBezTo>
                  <a:cubicBezTo>
                    <a:pt x="115" y="213"/>
                    <a:pt x="116" y="209"/>
                    <a:pt x="120" y="209"/>
                  </a:cubicBezTo>
                  <a:cubicBezTo>
                    <a:pt x="123" y="208"/>
                    <a:pt x="126" y="211"/>
                    <a:pt x="129" y="210"/>
                  </a:cubicBezTo>
                  <a:cubicBezTo>
                    <a:pt x="130" y="210"/>
                    <a:pt x="130" y="210"/>
                    <a:pt x="131" y="210"/>
                  </a:cubicBezTo>
                  <a:cubicBezTo>
                    <a:pt x="132" y="210"/>
                    <a:pt x="132" y="211"/>
                    <a:pt x="133" y="211"/>
                  </a:cubicBezTo>
                  <a:cubicBezTo>
                    <a:pt x="135" y="212"/>
                    <a:pt x="136" y="210"/>
                    <a:pt x="138" y="211"/>
                  </a:cubicBezTo>
                  <a:cubicBezTo>
                    <a:pt x="140" y="212"/>
                    <a:pt x="142" y="213"/>
                    <a:pt x="143" y="214"/>
                  </a:cubicBezTo>
                  <a:cubicBezTo>
                    <a:pt x="144" y="215"/>
                    <a:pt x="144" y="216"/>
                    <a:pt x="144" y="216"/>
                  </a:cubicBezTo>
                  <a:cubicBezTo>
                    <a:pt x="145" y="218"/>
                    <a:pt x="145" y="217"/>
                    <a:pt x="147" y="217"/>
                  </a:cubicBezTo>
                  <a:cubicBezTo>
                    <a:pt x="148" y="217"/>
                    <a:pt x="148" y="218"/>
                    <a:pt x="149" y="219"/>
                  </a:cubicBezTo>
                  <a:cubicBezTo>
                    <a:pt x="150" y="220"/>
                    <a:pt x="151" y="220"/>
                    <a:pt x="153" y="220"/>
                  </a:cubicBezTo>
                  <a:cubicBezTo>
                    <a:pt x="155" y="221"/>
                    <a:pt x="158" y="222"/>
                    <a:pt x="160" y="221"/>
                  </a:cubicBezTo>
                  <a:cubicBezTo>
                    <a:pt x="162" y="221"/>
                    <a:pt x="165" y="219"/>
                    <a:pt x="166" y="218"/>
                  </a:cubicBezTo>
                  <a:cubicBezTo>
                    <a:pt x="167" y="217"/>
                    <a:pt x="167" y="216"/>
                    <a:pt x="167" y="216"/>
                  </a:cubicBezTo>
                  <a:cubicBezTo>
                    <a:pt x="168" y="214"/>
                    <a:pt x="169" y="214"/>
                    <a:pt x="170" y="214"/>
                  </a:cubicBezTo>
                  <a:cubicBezTo>
                    <a:pt x="174" y="212"/>
                    <a:pt x="177" y="209"/>
                    <a:pt x="179" y="206"/>
                  </a:cubicBezTo>
                  <a:cubicBezTo>
                    <a:pt x="180" y="203"/>
                    <a:pt x="182" y="200"/>
                    <a:pt x="186" y="200"/>
                  </a:cubicBezTo>
                  <a:cubicBezTo>
                    <a:pt x="189" y="200"/>
                    <a:pt x="192" y="200"/>
                    <a:pt x="195" y="201"/>
                  </a:cubicBezTo>
                  <a:cubicBezTo>
                    <a:pt x="198" y="201"/>
                    <a:pt x="201" y="202"/>
                    <a:pt x="204" y="202"/>
                  </a:cubicBezTo>
                  <a:cubicBezTo>
                    <a:pt x="206" y="201"/>
                    <a:pt x="208" y="201"/>
                    <a:pt x="209" y="199"/>
                  </a:cubicBezTo>
                  <a:cubicBezTo>
                    <a:pt x="209" y="199"/>
                    <a:pt x="208" y="198"/>
                    <a:pt x="208" y="198"/>
                  </a:cubicBezTo>
                  <a:cubicBezTo>
                    <a:pt x="207" y="197"/>
                    <a:pt x="204" y="195"/>
                    <a:pt x="204" y="195"/>
                  </a:cubicBezTo>
                  <a:cubicBezTo>
                    <a:pt x="206" y="195"/>
                    <a:pt x="206" y="195"/>
                    <a:pt x="206" y="195"/>
                  </a:cubicBezTo>
                  <a:cubicBezTo>
                    <a:pt x="206" y="193"/>
                    <a:pt x="206" y="193"/>
                    <a:pt x="206" y="193"/>
                  </a:cubicBezTo>
                  <a:cubicBezTo>
                    <a:pt x="205" y="193"/>
                    <a:pt x="206" y="192"/>
                    <a:pt x="206" y="191"/>
                  </a:cubicBezTo>
                  <a:cubicBezTo>
                    <a:pt x="207" y="190"/>
                    <a:pt x="207" y="188"/>
                    <a:pt x="207" y="188"/>
                  </a:cubicBezTo>
                  <a:cubicBezTo>
                    <a:pt x="207" y="187"/>
                    <a:pt x="206" y="185"/>
                    <a:pt x="206" y="185"/>
                  </a:cubicBezTo>
                  <a:cubicBezTo>
                    <a:pt x="206" y="185"/>
                    <a:pt x="204" y="184"/>
                    <a:pt x="203" y="184"/>
                  </a:cubicBezTo>
                  <a:cubicBezTo>
                    <a:pt x="203" y="184"/>
                    <a:pt x="203" y="183"/>
                    <a:pt x="203" y="182"/>
                  </a:cubicBezTo>
                  <a:cubicBezTo>
                    <a:pt x="203" y="182"/>
                    <a:pt x="201" y="180"/>
                    <a:pt x="201" y="180"/>
                  </a:cubicBezTo>
                  <a:cubicBezTo>
                    <a:pt x="200" y="180"/>
                    <a:pt x="200" y="179"/>
                    <a:pt x="200" y="179"/>
                  </a:cubicBezTo>
                  <a:cubicBezTo>
                    <a:pt x="200" y="179"/>
                    <a:pt x="202" y="177"/>
                    <a:pt x="201" y="177"/>
                  </a:cubicBezTo>
                  <a:cubicBezTo>
                    <a:pt x="200" y="176"/>
                    <a:pt x="197" y="174"/>
                    <a:pt x="196" y="173"/>
                  </a:cubicBezTo>
                  <a:cubicBezTo>
                    <a:pt x="195" y="172"/>
                    <a:pt x="195" y="171"/>
                    <a:pt x="195" y="171"/>
                  </a:cubicBezTo>
                  <a:cubicBezTo>
                    <a:pt x="195" y="170"/>
                    <a:pt x="197" y="169"/>
                    <a:pt x="197" y="169"/>
                  </a:cubicBezTo>
                  <a:cubicBezTo>
                    <a:pt x="197" y="169"/>
                    <a:pt x="200" y="168"/>
                    <a:pt x="201" y="168"/>
                  </a:cubicBezTo>
                  <a:cubicBezTo>
                    <a:pt x="202" y="168"/>
                    <a:pt x="204" y="167"/>
                    <a:pt x="207" y="166"/>
                  </a:cubicBezTo>
                  <a:cubicBezTo>
                    <a:pt x="211" y="165"/>
                    <a:pt x="209" y="164"/>
                    <a:pt x="210" y="164"/>
                  </a:cubicBezTo>
                  <a:cubicBezTo>
                    <a:pt x="212" y="164"/>
                    <a:pt x="211" y="163"/>
                    <a:pt x="211" y="163"/>
                  </a:cubicBezTo>
                  <a:cubicBezTo>
                    <a:pt x="210" y="160"/>
                    <a:pt x="210" y="160"/>
                    <a:pt x="210" y="160"/>
                  </a:cubicBezTo>
                  <a:cubicBezTo>
                    <a:pt x="211" y="161"/>
                    <a:pt x="211" y="161"/>
                    <a:pt x="211" y="161"/>
                  </a:cubicBezTo>
                  <a:cubicBezTo>
                    <a:pt x="211" y="161"/>
                    <a:pt x="217" y="160"/>
                    <a:pt x="217" y="160"/>
                  </a:cubicBezTo>
                  <a:cubicBezTo>
                    <a:pt x="218" y="159"/>
                    <a:pt x="216" y="159"/>
                    <a:pt x="215" y="158"/>
                  </a:cubicBezTo>
                  <a:cubicBezTo>
                    <a:pt x="214" y="157"/>
                    <a:pt x="216" y="158"/>
                    <a:pt x="217" y="157"/>
                  </a:cubicBezTo>
                  <a:cubicBezTo>
                    <a:pt x="218" y="157"/>
                    <a:pt x="217" y="156"/>
                    <a:pt x="216" y="155"/>
                  </a:cubicBezTo>
                  <a:cubicBezTo>
                    <a:pt x="216" y="155"/>
                    <a:pt x="218" y="155"/>
                    <a:pt x="218" y="155"/>
                  </a:cubicBezTo>
                  <a:cubicBezTo>
                    <a:pt x="218" y="155"/>
                    <a:pt x="221" y="157"/>
                    <a:pt x="221" y="156"/>
                  </a:cubicBezTo>
                  <a:cubicBezTo>
                    <a:pt x="222" y="156"/>
                    <a:pt x="222" y="156"/>
                    <a:pt x="223" y="156"/>
                  </a:cubicBezTo>
                  <a:cubicBezTo>
                    <a:pt x="223" y="156"/>
                    <a:pt x="227" y="155"/>
                    <a:pt x="228" y="155"/>
                  </a:cubicBezTo>
                  <a:cubicBezTo>
                    <a:pt x="228" y="155"/>
                    <a:pt x="231" y="155"/>
                    <a:pt x="231" y="155"/>
                  </a:cubicBezTo>
                  <a:cubicBezTo>
                    <a:pt x="231" y="155"/>
                    <a:pt x="230" y="153"/>
                    <a:pt x="229" y="15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3" name="Freeform 34">
              <a:extLst>
                <a:ext uri="{FF2B5EF4-FFF2-40B4-BE49-F238E27FC236}">
                  <a16:creationId xmlns:a16="http://schemas.microsoft.com/office/drawing/2014/main" id="{EEE19311-5528-E43A-9485-7D189295A117}"/>
                </a:ext>
              </a:extLst>
            </p:cNvPr>
            <p:cNvSpPr>
              <a:spLocks noEditPoints="1"/>
            </p:cNvSpPr>
            <p:nvPr/>
          </p:nvSpPr>
          <p:spPr bwMode="auto">
            <a:xfrm>
              <a:off x="9858375" y="3968750"/>
              <a:ext cx="1500188" cy="1997075"/>
            </a:xfrm>
            <a:custGeom>
              <a:avLst/>
              <a:gdLst>
                <a:gd name="T0" fmla="*/ 263 w 394"/>
                <a:gd name="T1" fmla="*/ 456 h 524"/>
                <a:gd name="T2" fmla="*/ 247 w 394"/>
                <a:gd name="T3" fmla="*/ 416 h 524"/>
                <a:gd name="T4" fmla="*/ 222 w 394"/>
                <a:gd name="T5" fmla="*/ 478 h 524"/>
                <a:gd name="T6" fmla="*/ 76 w 394"/>
                <a:gd name="T7" fmla="*/ 33 h 524"/>
                <a:gd name="T8" fmla="*/ 90 w 394"/>
                <a:gd name="T9" fmla="*/ 18 h 524"/>
                <a:gd name="T10" fmla="*/ 61 w 394"/>
                <a:gd name="T11" fmla="*/ 4 h 524"/>
                <a:gd name="T12" fmla="*/ 69 w 394"/>
                <a:gd name="T13" fmla="*/ 12 h 524"/>
                <a:gd name="T14" fmla="*/ 94 w 394"/>
                <a:gd name="T15" fmla="*/ 64 h 524"/>
                <a:gd name="T16" fmla="*/ 68 w 394"/>
                <a:gd name="T17" fmla="*/ 66 h 524"/>
                <a:gd name="T18" fmla="*/ 113 w 394"/>
                <a:gd name="T19" fmla="*/ 78 h 524"/>
                <a:gd name="T20" fmla="*/ 17 w 394"/>
                <a:gd name="T21" fmla="*/ 32 h 524"/>
                <a:gd name="T22" fmla="*/ 265 w 394"/>
                <a:gd name="T23" fmla="*/ 402 h 524"/>
                <a:gd name="T24" fmla="*/ 277 w 394"/>
                <a:gd name="T25" fmla="*/ 390 h 524"/>
                <a:gd name="T26" fmla="*/ 250 w 394"/>
                <a:gd name="T27" fmla="*/ 382 h 524"/>
                <a:gd name="T28" fmla="*/ 258 w 394"/>
                <a:gd name="T29" fmla="*/ 375 h 524"/>
                <a:gd name="T30" fmla="*/ 183 w 394"/>
                <a:gd name="T31" fmla="*/ 59 h 524"/>
                <a:gd name="T32" fmla="*/ 383 w 394"/>
                <a:gd name="T33" fmla="*/ 373 h 524"/>
                <a:gd name="T34" fmla="*/ 388 w 394"/>
                <a:gd name="T35" fmla="*/ 359 h 524"/>
                <a:gd name="T36" fmla="*/ 393 w 394"/>
                <a:gd name="T37" fmla="*/ 122 h 524"/>
                <a:gd name="T38" fmla="*/ 359 w 394"/>
                <a:gd name="T39" fmla="*/ 111 h 524"/>
                <a:gd name="T40" fmla="*/ 313 w 394"/>
                <a:gd name="T41" fmla="*/ 106 h 524"/>
                <a:gd name="T42" fmla="*/ 254 w 394"/>
                <a:gd name="T43" fmla="*/ 76 h 524"/>
                <a:gd name="T44" fmla="*/ 202 w 394"/>
                <a:gd name="T45" fmla="*/ 54 h 524"/>
                <a:gd name="T46" fmla="*/ 157 w 394"/>
                <a:gd name="T47" fmla="*/ 76 h 524"/>
                <a:gd name="T48" fmla="*/ 135 w 394"/>
                <a:gd name="T49" fmla="*/ 99 h 524"/>
                <a:gd name="T50" fmla="*/ 83 w 394"/>
                <a:gd name="T51" fmla="*/ 134 h 524"/>
                <a:gd name="T52" fmla="*/ 43 w 394"/>
                <a:gd name="T53" fmla="*/ 170 h 524"/>
                <a:gd name="T54" fmla="*/ 16 w 394"/>
                <a:gd name="T55" fmla="*/ 156 h 524"/>
                <a:gd name="T56" fmla="*/ 6 w 394"/>
                <a:gd name="T57" fmla="*/ 140 h 524"/>
                <a:gd name="T58" fmla="*/ 22 w 394"/>
                <a:gd name="T59" fmla="*/ 218 h 524"/>
                <a:gd name="T60" fmla="*/ 69 w 394"/>
                <a:gd name="T61" fmla="*/ 238 h 524"/>
                <a:gd name="T62" fmla="*/ 95 w 394"/>
                <a:gd name="T63" fmla="*/ 246 h 524"/>
                <a:gd name="T64" fmla="*/ 131 w 394"/>
                <a:gd name="T65" fmla="*/ 261 h 524"/>
                <a:gd name="T66" fmla="*/ 137 w 394"/>
                <a:gd name="T67" fmla="*/ 264 h 524"/>
                <a:gd name="T68" fmla="*/ 151 w 394"/>
                <a:gd name="T69" fmla="*/ 265 h 524"/>
                <a:gd name="T70" fmla="*/ 156 w 394"/>
                <a:gd name="T71" fmla="*/ 267 h 524"/>
                <a:gd name="T72" fmla="*/ 162 w 394"/>
                <a:gd name="T73" fmla="*/ 269 h 524"/>
                <a:gd name="T74" fmla="*/ 169 w 394"/>
                <a:gd name="T75" fmla="*/ 273 h 524"/>
                <a:gd name="T76" fmla="*/ 181 w 394"/>
                <a:gd name="T77" fmla="*/ 275 h 524"/>
                <a:gd name="T78" fmla="*/ 187 w 394"/>
                <a:gd name="T79" fmla="*/ 273 h 524"/>
                <a:gd name="T80" fmla="*/ 194 w 394"/>
                <a:gd name="T81" fmla="*/ 288 h 524"/>
                <a:gd name="T82" fmla="*/ 211 w 394"/>
                <a:gd name="T83" fmla="*/ 284 h 524"/>
                <a:gd name="T84" fmla="*/ 209 w 394"/>
                <a:gd name="T85" fmla="*/ 294 h 524"/>
                <a:gd name="T86" fmla="*/ 212 w 394"/>
                <a:gd name="T87" fmla="*/ 299 h 524"/>
                <a:gd name="T88" fmla="*/ 226 w 394"/>
                <a:gd name="T89" fmla="*/ 295 h 524"/>
                <a:gd name="T90" fmla="*/ 212 w 394"/>
                <a:gd name="T91" fmla="*/ 306 h 524"/>
                <a:gd name="T92" fmla="*/ 240 w 394"/>
                <a:gd name="T93" fmla="*/ 305 h 524"/>
                <a:gd name="T94" fmla="*/ 233 w 394"/>
                <a:gd name="T95" fmla="*/ 317 h 524"/>
                <a:gd name="T96" fmla="*/ 231 w 394"/>
                <a:gd name="T97" fmla="*/ 322 h 524"/>
                <a:gd name="T98" fmla="*/ 243 w 394"/>
                <a:gd name="T99" fmla="*/ 360 h 524"/>
                <a:gd name="T100" fmla="*/ 284 w 394"/>
                <a:gd name="T101" fmla="*/ 393 h 524"/>
                <a:gd name="T102" fmla="*/ 318 w 394"/>
                <a:gd name="T103" fmla="*/ 400 h 524"/>
                <a:gd name="T104" fmla="*/ 299 w 394"/>
                <a:gd name="T105" fmla="*/ 408 h 524"/>
                <a:gd name="T106" fmla="*/ 272 w 394"/>
                <a:gd name="T107" fmla="*/ 408 h 524"/>
                <a:gd name="T108" fmla="*/ 263 w 394"/>
                <a:gd name="T109" fmla="*/ 415 h 524"/>
                <a:gd name="T110" fmla="*/ 265 w 394"/>
                <a:gd name="T111" fmla="*/ 454 h 524"/>
                <a:gd name="T112" fmla="*/ 272 w 394"/>
                <a:gd name="T113" fmla="*/ 465 h 524"/>
                <a:gd name="T114" fmla="*/ 291 w 394"/>
                <a:gd name="T115" fmla="*/ 467 h 524"/>
                <a:gd name="T116" fmla="*/ 335 w 394"/>
                <a:gd name="T117" fmla="*/ 451 h 524"/>
                <a:gd name="T118" fmla="*/ 339 w 394"/>
                <a:gd name="T119" fmla="*/ 473 h 524"/>
                <a:gd name="T120" fmla="*/ 354 w 394"/>
                <a:gd name="T121" fmla="*/ 48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524">
                  <a:moveTo>
                    <a:pt x="261" y="470"/>
                  </a:moveTo>
                  <a:cubicBezTo>
                    <a:pt x="261" y="471"/>
                    <a:pt x="262" y="472"/>
                    <a:pt x="263" y="472"/>
                  </a:cubicBezTo>
                  <a:cubicBezTo>
                    <a:pt x="265" y="473"/>
                    <a:pt x="265" y="475"/>
                    <a:pt x="265" y="476"/>
                  </a:cubicBezTo>
                  <a:cubicBezTo>
                    <a:pt x="264" y="480"/>
                    <a:pt x="258" y="478"/>
                    <a:pt x="255" y="477"/>
                  </a:cubicBezTo>
                  <a:cubicBezTo>
                    <a:pt x="253" y="477"/>
                    <a:pt x="249" y="477"/>
                    <a:pt x="246" y="477"/>
                  </a:cubicBezTo>
                  <a:cubicBezTo>
                    <a:pt x="244" y="477"/>
                    <a:pt x="241" y="476"/>
                    <a:pt x="243" y="474"/>
                  </a:cubicBezTo>
                  <a:cubicBezTo>
                    <a:pt x="244" y="473"/>
                    <a:pt x="245" y="472"/>
                    <a:pt x="246" y="472"/>
                  </a:cubicBezTo>
                  <a:cubicBezTo>
                    <a:pt x="246" y="471"/>
                    <a:pt x="248" y="471"/>
                    <a:pt x="248" y="470"/>
                  </a:cubicBezTo>
                  <a:cubicBezTo>
                    <a:pt x="250" y="469"/>
                    <a:pt x="249" y="466"/>
                    <a:pt x="251" y="465"/>
                  </a:cubicBezTo>
                  <a:cubicBezTo>
                    <a:pt x="253" y="464"/>
                    <a:pt x="253" y="465"/>
                    <a:pt x="255" y="465"/>
                  </a:cubicBezTo>
                  <a:cubicBezTo>
                    <a:pt x="256" y="465"/>
                    <a:pt x="256" y="464"/>
                    <a:pt x="257" y="464"/>
                  </a:cubicBezTo>
                  <a:cubicBezTo>
                    <a:pt x="259" y="466"/>
                    <a:pt x="259" y="469"/>
                    <a:pt x="261" y="470"/>
                  </a:cubicBezTo>
                  <a:close/>
                  <a:moveTo>
                    <a:pt x="263" y="458"/>
                  </a:moveTo>
                  <a:cubicBezTo>
                    <a:pt x="263" y="458"/>
                    <a:pt x="263" y="457"/>
                    <a:pt x="263" y="456"/>
                  </a:cubicBezTo>
                  <a:cubicBezTo>
                    <a:pt x="262" y="455"/>
                    <a:pt x="263" y="453"/>
                    <a:pt x="263" y="451"/>
                  </a:cubicBezTo>
                  <a:cubicBezTo>
                    <a:pt x="263" y="448"/>
                    <a:pt x="265" y="448"/>
                    <a:pt x="267" y="447"/>
                  </a:cubicBezTo>
                  <a:cubicBezTo>
                    <a:pt x="268" y="446"/>
                    <a:pt x="269" y="446"/>
                    <a:pt x="270" y="445"/>
                  </a:cubicBezTo>
                  <a:cubicBezTo>
                    <a:pt x="270" y="444"/>
                    <a:pt x="270" y="443"/>
                    <a:pt x="269" y="442"/>
                  </a:cubicBezTo>
                  <a:cubicBezTo>
                    <a:pt x="269" y="440"/>
                    <a:pt x="270" y="438"/>
                    <a:pt x="271" y="436"/>
                  </a:cubicBezTo>
                  <a:cubicBezTo>
                    <a:pt x="271" y="435"/>
                    <a:pt x="272" y="435"/>
                    <a:pt x="272" y="434"/>
                  </a:cubicBezTo>
                  <a:cubicBezTo>
                    <a:pt x="273" y="433"/>
                    <a:pt x="272" y="432"/>
                    <a:pt x="273" y="431"/>
                  </a:cubicBezTo>
                  <a:cubicBezTo>
                    <a:pt x="273" y="430"/>
                    <a:pt x="275" y="429"/>
                    <a:pt x="274" y="428"/>
                  </a:cubicBezTo>
                  <a:cubicBezTo>
                    <a:pt x="274" y="427"/>
                    <a:pt x="272" y="427"/>
                    <a:pt x="271" y="427"/>
                  </a:cubicBezTo>
                  <a:cubicBezTo>
                    <a:pt x="270" y="427"/>
                    <a:pt x="269" y="427"/>
                    <a:pt x="268" y="427"/>
                  </a:cubicBezTo>
                  <a:cubicBezTo>
                    <a:pt x="267" y="426"/>
                    <a:pt x="267" y="426"/>
                    <a:pt x="266" y="425"/>
                  </a:cubicBezTo>
                  <a:cubicBezTo>
                    <a:pt x="265" y="424"/>
                    <a:pt x="264" y="423"/>
                    <a:pt x="263" y="422"/>
                  </a:cubicBezTo>
                  <a:cubicBezTo>
                    <a:pt x="261" y="420"/>
                    <a:pt x="260" y="418"/>
                    <a:pt x="257" y="417"/>
                  </a:cubicBezTo>
                  <a:cubicBezTo>
                    <a:pt x="254" y="415"/>
                    <a:pt x="251" y="416"/>
                    <a:pt x="247" y="416"/>
                  </a:cubicBezTo>
                  <a:cubicBezTo>
                    <a:pt x="242" y="416"/>
                    <a:pt x="237" y="418"/>
                    <a:pt x="232" y="418"/>
                  </a:cubicBezTo>
                  <a:cubicBezTo>
                    <a:pt x="227" y="419"/>
                    <a:pt x="224" y="421"/>
                    <a:pt x="220" y="424"/>
                  </a:cubicBezTo>
                  <a:cubicBezTo>
                    <a:pt x="217" y="426"/>
                    <a:pt x="214" y="428"/>
                    <a:pt x="212" y="431"/>
                  </a:cubicBezTo>
                  <a:cubicBezTo>
                    <a:pt x="210" y="433"/>
                    <a:pt x="208" y="435"/>
                    <a:pt x="206" y="437"/>
                  </a:cubicBezTo>
                  <a:cubicBezTo>
                    <a:pt x="203" y="442"/>
                    <a:pt x="200" y="447"/>
                    <a:pt x="198" y="452"/>
                  </a:cubicBezTo>
                  <a:cubicBezTo>
                    <a:pt x="197" y="454"/>
                    <a:pt x="197" y="456"/>
                    <a:pt x="196" y="458"/>
                  </a:cubicBezTo>
                  <a:cubicBezTo>
                    <a:pt x="195" y="460"/>
                    <a:pt x="193" y="461"/>
                    <a:pt x="192" y="462"/>
                  </a:cubicBezTo>
                  <a:cubicBezTo>
                    <a:pt x="191" y="464"/>
                    <a:pt x="190" y="467"/>
                    <a:pt x="189" y="469"/>
                  </a:cubicBezTo>
                  <a:cubicBezTo>
                    <a:pt x="189" y="471"/>
                    <a:pt x="188" y="472"/>
                    <a:pt x="188" y="474"/>
                  </a:cubicBezTo>
                  <a:cubicBezTo>
                    <a:pt x="188" y="476"/>
                    <a:pt x="186" y="479"/>
                    <a:pt x="187" y="481"/>
                  </a:cubicBezTo>
                  <a:cubicBezTo>
                    <a:pt x="188" y="482"/>
                    <a:pt x="190" y="481"/>
                    <a:pt x="191" y="480"/>
                  </a:cubicBezTo>
                  <a:cubicBezTo>
                    <a:pt x="193" y="479"/>
                    <a:pt x="196" y="479"/>
                    <a:pt x="198" y="478"/>
                  </a:cubicBezTo>
                  <a:cubicBezTo>
                    <a:pt x="201" y="478"/>
                    <a:pt x="203" y="478"/>
                    <a:pt x="206" y="478"/>
                  </a:cubicBezTo>
                  <a:cubicBezTo>
                    <a:pt x="211" y="478"/>
                    <a:pt x="216" y="478"/>
                    <a:pt x="222" y="478"/>
                  </a:cubicBezTo>
                  <a:cubicBezTo>
                    <a:pt x="225" y="479"/>
                    <a:pt x="229" y="478"/>
                    <a:pt x="232" y="477"/>
                  </a:cubicBezTo>
                  <a:cubicBezTo>
                    <a:pt x="234" y="477"/>
                    <a:pt x="237" y="475"/>
                    <a:pt x="239" y="474"/>
                  </a:cubicBezTo>
                  <a:cubicBezTo>
                    <a:pt x="241" y="472"/>
                    <a:pt x="243" y="471"/>
                    <a:pt x="245" y="470"/>
                  </a:cubicBezTo>
                  <a:cubicBezTo>
                    <a:pt x="247" y="469"/>
                    <a:pt x="247" y="468"/>
                    <a:pt x="248" y="466"/>
                  </a:cubicBezTo>
                  <a:cubicBezTo>
                    <a:pt x="249" y="464"/>
                    <a:pt x="250" y="463"/>
                    <a:pt x="252" y="463"/>
                  </a:cubicBezTo>
                  <a:cubicBezTo>
                    <a:pt x="254" y="463"/>
                    <a:pt x="256" y="463"/>
                    <a:pt x="257" y="461"/>
                  </a:cubicBezTo>
                  <a:cubicBezTo>
                    <a:pt x="258" y="460"/>
                    <a:pt x="259" y="458"/>
                    <a:pt x="261" y="459"/>
                  </a:cubicBezTo>
                  <a:cubicBezTo>
                    <a:pt x="262" y="459"/>
                    <a:pt x="263" y="459"/>
                    <a:pt x="263" y="458"/>
                  </a:cubicBezTo>
                  <a:close/>
                  <a:moveTo>
                    <a:pt x="69" y="12"/>
                  </a:moveTo>
                  <a:cubicBezTo>
                    <a:pt x="70" y="12"/>
                    <a:pt x="70" y="12"/>
                    <a:pt x="70" y="12"/>
                  </a:cubicBezTo>
                  <a:cubicBezTo>
                    <a:pt x="70" y="14"/>
                    <a:pt x="72" y="16"/>
                    <a:pt x="72" y="18"/>
                  </a:cubicBezTo>
                  <a:cubicBezTo>
                    <a:pt x="73" y="20"/>
                    <a:pt x="73" y="21"/>
                    <a:pt x="74" y="23"/>
                  </a:cubicBezTo>
                  <a:cubicBezTo>
                    <a:pt x="74" y="25"/>
                    <a:pt x="75" y="27"/>
                    <a:pt x="75" y="28"/>
                  </a:cubicBezTo>
                  <a:cubicBezTo>
                    <a:pt x="75" y="30"/>
                    <a:pt x="74" y="32"/>
                    <a:pt x="76" y="33"/>
                  </a:cubicBezTo>
                  <a:cubicBezTo>
                    <a:pt x="77" y="35"/>
                    <a:pt x="80" y="35"/>
                    <a:pt x="82" y="34"/>
                  </a:cubicBezTo>
                  <a:cubicBezTo>
                    <a:pt x="83" y="33"/>
                    <a:pt x="87" y="33"/>
                    <a:pt x="89" y="33"/>
                  </a:cubicBezTo>
                  <a:cubicBezTo>
                    <a:pt x="91" y="34"/>
                    <a:pt x="92" y="36"/>
                    <a:pt x="94" y="36"/>
                  </a:cubicBezTo>
                  <a:cubicBezTo>
                    <a:pt x="95" y="36"/>
                    <a:pt x="97" y="36"/>
                    <a:pt x="98" y="35"/>
                  </a:cubicBezTo>
                  <a:cubicBezTo>
                    <a:pt x="99" y="35"/>
                    <a:pt x="101" y="35"/>
                    <a:pt x="102" y="35"/>
                  </a:cubicBezTo>
                  <a:cubicBezTo>
                    <a:pt x="103" y="34"/>
                    <a:pt x="104" y="34"/>
                    <a:pt x="105" y="33"/>
                  </a:cubicBezTo>
                  <a:cubicBezTo>
                    <a:pt x="106" y="32"/>
                    <a:pt x="108" y="32"/>
                    <a:pt x="109" y="31"/>
                  </a:cubicBezTo>
                  <a:cubicBezTo>
                    <a:pt x="112" y="28"/>
                    <a:pt x="105" y="28"/>
                    <a:pt x="104" y="27"/>
                  </a:cubicBezTo>
                  <a:cubicBezTo>
                    <a:pt x="104" y="26"/>
                    <a:pt x="105" y="25"/>
                    <a:pt x="103" y="24"/>
                  </a:cubicBezTo>
                  <a:cubicBezTo>
                    <a:pt x="102" y="24"/>
                    <a:pt x="100" y="25"/>
                    <a:pt x="99" y="26"/>
                  </a:cubicBezTo>
                  <a:cubicBezTo>
                    <a:pt x="97" y="26"/>
                    <a:pt x="96" y="26"/>
                    <a:pt x="95" y="24"/>
                  </a:cubicBezTo>
                  <a:cubicBezTo>
                    <a:pt x="94" y="24"/>
                    <a:pt x="94" y="23"/>
                    <a:pt x="94" y="22"/>
                  </a:cubicBezTo>
                  <a:cubicBezTo>
                    <a:pt x="93" y="22"/>
                    <a:pt x="92" y="22"/>
                    <a:pt x="92" y="21"/>
                  </a:cubicBezTo>
                  <a:cubicBezTo>
                    <a:pt x="91" y="20"/>
                    <a:pt x="91" y="19"/>
                    <a:pt x="90" y="18"/>
                  </a:cubicBezTo>
                  <a:cubicBezTo>
                    <a:pt x="90" y="17"/>
                    <a:pt x="89" y="17"/>
                    <a:pt x="89" y="17"/>
                  </a:cubicBezTo>
                  <a:cubicBezTo>
                    <a:pt x="88" y="16"/>
                    <a:pt x="89" y="16"/>
                    <a:pt x="88" y="15"/>
                  </a:cubicBezTo>
                  <a:cubicBezTo>
                    <a:pt x="88" y="14"/>
                    <a:pt x="86" y="13"/>
                    <a:pt x="84" y="12"/>
                  </a:cubicBezTo>
                  <a:cubicBezTo>
                    <a:pt x="83" y="11"/>
                    <a:pt x="82" y="11"/>
                    <a:pt x="81" y="10"/>
                  </a:cubicBezTo>
                  <a:cubicBezTo>
                    <a:pt x="81" y="10"/>
                    <a:pt x="81" y="9"/>
                    <a:pt x="80" y="8"/>
                  </a:cubicBezTo>
                  <a:cubicBezTo>
                    <a:pt x="79" y="7"/>
                    <a:pt x="78" y="7"/>
                    <a:pt x="78" y="6"/>
                  </a:cubicBezTo>
                  <a:cubicBezTo>
                    <a:pt x="76" y="5"/>
                    <a:pt x="75" y="5"/>
                    <a:pt x="74" y="6"/>
                  </a:cubicBezTo>
                  <a:cubicBezTo>
                    <a:pt x="73" y="6"/>
                    <a:pt x="72" y="7"/>
                    <a:pt x="71" y="7"/>
                  </a:cubicBezTo>
                  <a:cubicBezTo>
                    <a:pt x="70" y="7"/>
                    <a:pt x="70" y="7"/>
                    <a:pt x="69" y="7"/>
                  </a:cubicBezTo>
                  <a:cubicBezTo>
                    <a:pt x="69" y="6"/>
                    <a:pt x="68" y="7"/>
                    <a:pt x="67" y="6"/>
                  </a:cubicBezTo>
                  <a:cubicBezTo>
                    <a:pt x="66" y="6"/>
                    <a:pt x="66" y="5"/>
                    <a:pt x="65" y="5"/>
                  </a:cubicBezTo>
                  <a:cubicBezTo>
                    <a:pt x="65" y="4"/>
                    <a:pt x="65" y="4"/>
                    <a:pt x="64" y="4"/>
                  </a:cubicBezTo>
                  <a:cubicBezTo>
                    <a:pt x="63" y="3"/>
                    <a:pt x="63" y="4"/>
                    <a:pt x="62" y="4"/>
                  </a:cubicBezTo>
                  <a:cubicBezTo>
                    <a:pt x="61" y="4"/>
                    <a:pt x="61" y="4"/>
                    <a:pt x="61" y="4"/>
                  </a:cubicBezTo>
                  <a:cubicBezTo>
                    <a:pt x="60" y="4"/>
                    <a:pt x="59" y="4"/>
                    <a:pt x="59" y="4"/>
                  </a:cubicBezTo>
                  <a:cubicBezTo>
                    <a:pt x="57" y="4"/>
                    <a:pt x="55" y="3"/>
                    <a:pt x="53" y="3"/>
                  </a:cubicBezTo>
                  <a:cubicBezTo>
                    <a:pt x="51" y="3"/>
                    <a:pt x="50" y="2"/>
                    <a:pt x="49" y="1"/>
                  </a:cubicBezTo>
                  <a:cubicBezTo>
                    <a:pt x="48" y="1"/>
                    <a:pt x="46" y="0"/>
                    <a:pt x="46" y="2"/>
                  </a:cubicBezTo>
                  <a:cubicBezTo>
                    <a:pt x="46" y="2"/>
                    <a:pt x="47" y="2"/>
                    <a:pt x="47" y="3"/>
                  </a:cubicBezTo>
                  <a:cubicBezTo>
                    <a:pt x="48" y="4"/>
                    <a:pt x="48" y="5"/>
                    <a:pt x="48" y="6"/>
                  </a:cubicBezTo>
                  <a:cubicBezTo>
                    <a:pt x="49" y="8"/>
                    <a:pt x="52" y="9"/>
                    <a:pt x="53" y="10"/>
                  </a:cubicBezTo>
                  <a:cubicBezTo>
                    <a:pt x="54" y="11"/>
                    <a:pt x="55" y="13"/>
                    <a:pt x="55" y="14"/>
                  </a:cubicBezTo>
                  <a:cubicBezTo>
                    <a:pt x="56" y="15"/>
                    <a:pt x="57" y="15"/>
                    <a:pt x="57" y="16"/>
                  </a:cubicBezTo>
                  <a:cubicBezTo>
                    <a:pt x="59" y="15"/>
                    <a:pt x="58" y="14"/>
                    <a:pt x="57" y="13"/>
                  </a:cubicBezTo>
                  <a:cubicBezTo>
                    <a:pt x="57" y="12"/>
                    <a:pt x="56" y="10"/>
                    <a:pt x="55" y="9"/>
                  </a:cubicBezTo>
                  <a:cubicBezTo>
                    <a:pt x="58" y="11"/>
                    <a:pt x="59" y="13"/>
                    <a:pt x="62" y="14"/>
                  </a:cubicBezTo>
                  <a:cubicBezTo>
                    <a:pt x="63" y="15"/>
                    <a:pt x="64" y="16"/>
                    <a:pt x="66" y="15"/>
                  </a:cubicBezTo>
                  <a:cubicBezTo>
                    <a:pt x="67" y="15"/>
                    <a:pt x="68" y="13"/>
                    <a:pt x="69" y="12"/>
                  </a:cubicBezTo>
                  <a:close/>
                  <a:moveTo>
                    <a:pt x="134" y="74"/>
                  </a:moveTo>
                  <a:cubicBezTo>
                    <a:pt x="135" y="74"/>
                    <a:pt x="140" y="75"/>
                    <a:pt x="140" y="73"/>
                  </a:cubicBezTo>
                  <a:cubicBezTo>
                    <a:pt x="141" y="72"/>
                    <a:pt x="138" y="71"/>
                    <a:pt x="138" y="71"/>
                  </a:cubicBezTo>
                  <a:cubicBezTo>
                    <a:pt x="137" y="70"/>
                    <a:pt x="136" y="70"/>
                    <a:pt x="136" y="70"/>
                  </a:cubicBezTo>
                  <a:cubicBezTo>
                    <a:pt x="134" y="69"/>
                    <a:pt x="133" y="70"/>
                    <a:pt x="132" y="69"/>
                  </a:cubicBezTo>
                  <a:cubicBezTo>
                    <a:pt x="130" y="69"/>
                    <a:pt x="128" y="69"/>
                    <a:pt x="127" y="69"/>
                  </a:cubicBezTo>
                  <a:cubicBezTo>
                    <a:pt x="124" y="69"/>
                    <a:pt x="122" y="68"/>
                    <a:pt x="119" y="68"/>
                  </a:cubicBezTo>
                  <a:cubicBezTo>
                    <a:pt x="118" y="68"/>
                    <a:pt x="117" y="67"/>
                    <a:pt x="116" y="67"/>
                  </a:cubicBezTo>
                  <a:cubicBezTo>
                    <a:pt x="116" y="67"/>
                    <a:pt x="115" y="66"/>
                    <a:pt x="114" y="66"/>
                  </a:cubicBezTo>
                  <a:cubicBezTo>
                    <a:pt x="113" y="67"/>
                    <a:pt x="112" y="67"/>
                    <a:pt x="110" y="67"/>
                  </a:cubicBezTo>
                  <a:cubicBezTo>
                    <a:pt x="109" y="67"/>
                    <a:pt x="107" y="67"/>
                    <a:pt x="106" y="67"/>
                  </a:cubicBezTo>
                  <a:cubicBezTo>
                    <a:pt x="104" y="66"/>
                    <a:pt x="104" y="65"/>
                    <a:pt x="102" y="65"/>
                  </a:cubicBezTo>
                  <a:cubicBezTo>
                    <a:pt x="101" y="65"/>
                    <a:pt x="99" y="64"/>
                    <a:pt x="98" y="64"/>
                  </a:cubicBezTo>
                  <a:cubicBezTo>
                    <a:pt x="96" y="64"/>
                    <a:pt x="95" y="64"/>
                    <a:pt x="94" y="64"/>
                  </a:cubicBezTo>
                  <a:cubicBezTo>
                    <a:pt x="92" y="64"/>
                    <a:pt x="91" y="64"/>
                    <a:pt x="90" y="64"/>
                  </a:cubicBezTo>
                  <a:cubicBezTo>
                    <a:pt x="85" y="64"/>
                    <a:pt x="81" y="64"/>
                    <a:pt x="76" y="63"/>
                  </a:cubicBezTo>
                  <a:cubicBezTo>
                    <a:pt x="75" y="63"/>
                    <a:pt x="73" y="63"/>
                    <a:pt x="71" y="63"/>
                  </a:cubicBezTo>
                  <a:cubicBezTo>
                    <a:pt x="70" y="63"/>
                    <a:pt x="69" y="62"/>
                    <a:pt x="67" y="62"/>
                  </a:cubicBezTo>
                  <a:cubicBezTo>
                    <a:pt x="65" y="62"/>
                    <a:pt x="64" y="62"/>
                    <a:pt x="62" y="62"/>
                  </a:cubicBezTo>
                  <a:cubicBezTo>
                    <a:pt x="61" y="62"/>
                    <a:pt x="60" y="62"/>
                    <a:pt x="58" y="62"/>
                  </a:cubicBezTo>
                  <a:cubicBezTo>
                    <a:pt x="57" y="62"/>
                    <a:pt x="56" y="62"/>
                    <a:pt x="55" y="61"/>
                  </a:cubicBezTo>
                  <a:cubicBezTo>
                    <a:pt x="54" y="61"/>
                    <a:pt x="52" y="60"/>
                    <a:pt x="52" y="61"/>
                  </a:cubicBezTo>
                  <a:cubicBezTo>
                    <a:pt x="53" y="62"/>
                    <a:pt x="53" y="64"/>
                    <a:pt x="54" y="65"/>
                  </a:cubicBezTo>
                  <a:cubicBezTo>
                    <a:pt x="55" y="66"/>
                    <a:pt x="56" y="66"/>
                    <a:pt x="57" y="66"/>
                  </a:cubicBezTo>
                  <a:cubicBezTo>
                    <a:pt x="58" y="66"/>
                    <a:pt x="58" y="65"/>
                    <a:pt x="59" y="65"/>
                  </a:cubicBezTo>
                  <a:cubicBezTo>
                    <a:pt x="61" y="64"/>
                    <a:pt x="63" y="65"/>
                    <a:pt x="64" y="66"/>
                  </a:cubicBezTo>
                  <a:cubicBezTo>
                    <a:pt x="65" y="66"/>
                    <a:pt x="65" y="67"/>
                    <a:pt x="67" y="67"/>
                  </a:cubicBezTo>
                  <a:cubicBezTo>
                    <a:pt x="67" y="67"/>
                    <a:pt x="67" y="66"/>
                    <a:pt x="68" y="66"/>
                  </a:cubicBezTo>
                  <a:cubicBezTo>
                    <a:pt x="69" y="66"/>
                    <a:pt x="70" y="67"/>
                    <a:pt x="72" y="68"/>
                  </a:cubicBezTo>
                  <a:cubicBezTo>
                    <a:pt x="73" y="68"/>
                    <a:pt x="73" y="68"/>
                    <a:pt x="74" y="69"/>
                  </a:cubicBezTo>
                  <a:cubicBezTo>
                    <a:pt x="76" y="70"/>
                    <a:pt x="76" y="69"/>
                    <a:pt x="78" y="70"/>
                  </a:cubicBezTo>
                  <a:cubicBezTo>
                    <a:pt x="78" y="70"/>
                    <a:pt x="79" y="71"/>
                    <a:pt x="79" y="71"/>
                  </a:cubicBezTo>
                  <a:cubicBezTo>
                    <a:pt x="80" y="72"/>
                    <a:pt x="80" y="71"/>
                    <a:pt x="81" y="71"/>
                  </a:cubicBezTo>
                  <a:cubicBezTo>
                    <a:pt x="82" y="71"/>
                    <a:pt x="83" y="71"/>
                    <a:pt x="84" y="72"/>
                  </a:cubicBezTo>
                  <a:cubicBezTo>
                    <a:pt x="85" y="73"/>
                    <a:pt x="85" y="74"/>
                    <a:pt x="87" y="74"/>
                  </a:cubicBezTo>
                  <a:cubicBezTo>
                    <a:pt x="90" y="75"/>
                    <a:pt x="92" y="76"/>
                    <a:pt x="95" y="77"/>
                  </a:cubicBezTo>
                  <a:cubicBezTo>
                    <a:pt x="96" y="77"/>
                    <a:pt x="97" y="77"/>
                    <a:pt x="98" y="77"/>
                  </a:cubicBezTo>
                  <a:cubicBezTo>
                    <a:pt x="99" y="77"/>
                    <a:pt x="100" y="78"/>
                    <a:pt x="101" y="78"/>
                  </a:cubicBezTo>
                  <a:cubicBezTo>
                    <a:pt x="102" y="79"/>
                    <a:pt x="103" y="78"/>
                    <a:pt x="104" y="77"/>
                  </a:cubicBezTo>
                  <a:cubicBezTo>
                    <a:pt x="105" y="77"/>
                    <a:pt x="106" y="77"/>
                    <a:pt x="107" y="77"/>
                  </a:cubicBezTo>
                  <a:cubicBezTo>
                    <a:pt x="108" y="77"/>
                    <a:pt x="109" y="77"/>
                    <a:pt x="110" y="77"/>
                  </a:cubicBezTo>
                  <a:cubicBezTo>
                    <a:pt x="111" y="77"/>
                    <a:pt x="112" y="78"/>
                    <a:pt x="113" y="78"/>
                  </a:cubicBezTo>
                  <a:cubicBezTo>
                    <a:pt x="115" y="78"/>
                    <a:pt x="118" y="79"/>
                    <a:pt x="119" y="79"/>
                  </a:cubicBezTo>
                  <a:cubicBezTo>
                    <a:pt x="119" y="78"/>
                    <a:pt x="118" y="77"/>
                    <a:pt x="118" y="77"/>
                  </a:cubicBezTo>
                  <a:cubicBezTo>
                    <a:pt x="119" y="76"/>
                    <a:pt x="120" y="77"/>
                    <a:pt x="121" y="77"/>
                  </a:cubicBezTo>
                  <a:cubicBezTo>
                    <a:pt x="122" y="77"/>
                    <a:pt x="123" y="77"/>
                    <a:pt x="123" y="77"/>
                  </a:cubicBezTo>
                  <a:cubicBezTo>
                    <a:pt x="124" y="77"/>
                    <a:pt x="125" y="77"/>
                    <a:pt x="125" y="77"/>
                  </a:cubicBezTo>
                  <a:cubicBezTo>
                    <a:pt x="127" y="77"/>
                    <a:pt x="128" y="74"/>
                    <a:pt x="130" y="74"/>
                  </a:cubicBezTo>
                  <a:cubicBezTo>
                    <a:pt x="132" y="74"/>
                    <a:pt x="133" y="74"/>
                    <a:pt x="134" y="74"/>
                  </a:cubicBezTo>
                  <a:close/>
                  <a:moveTo>
                    <a:pt x="19" y="21"/>
                  </a:moveTo>
                  <a:cubicBezTo>
                    <a:pt x="19" y="21"/>
                    <a:pt x="18" y="20"/>
                    <a:pt x="17" y="20"/>
                  </a:cubicBezTo>
                  <a:cubicBezTo>
                    <a:pt x="17" y="20"/>
                    <a:pt x="16" y="20"/>
                    <a:pt x="15" y="20"/>
                  </a:cubicBezTo>
                  <a:cubicBezTo>
                    <a:pt x="14" y="21"/>
                    <a:pt x="13" y="21"/>
                    <a:pt x="13" y="22"/>
                  </a:cubicBezTo>
                  <a:cubicBezTo>
                    <a:pt x="13" y="23"/>
                    <a:pt x="13" y="23"/>
                    <a:pt x="13" y="24"/>
                  </a:cubicBezTo>
                  <a:cubicBezTo>
                    <a:pt x="13" y="26"/>
                    <a:pt x="14" y="27"/>
                    <a:pt x="15" y="28"/>
                  </a:cubicBezTo>
                  <a:cubicBezTo>
                    <a:pt x="16" y="29"/>
                    <a:pt x="16" y="31"/>
                    <a:pt x="17" y="32"/>
                  </a:cubicBezTo>
                  <a:cubicBezTo>
                    <a:pt x="18" y="33"/>
                    <a:pt x="19" y="32"/>
                    <a:pt x="20" y="32"/>
                  </a:cubicBezTo>
                  <a:cubicBezTo>
                    <a:pt x="22" y="31"/>
                    <a:pt x="23" y="30"/>
                    <a:pt x="23" y="29"/>
                  </a:cubicBezTo>
                  <a:cubicBezTo>
                    <a:pt x="23" y="28"/>
                    <a:pt x="24" y="26"/>
                    <a:pt x="23" y="25"/>
                  </a:cubicBezTo>
                  <a:cubicBezTo>
                    <a:pt x="22" y="25"/>
                    <a:pt x="20" y="31"/>
                    <a:pt x="21" y="26"/>
                  </a:cubicBezTo>
                  <a:cubicBezTo>
                    <a:pt x="21" y="23"/>
                    <a:pt x="20" y="22"/>
                    <a:pt x="19" y="21"/>
                  </a:cubicBezTo>
                  <a:close/>
                  <a:moveTo>
                    <a:pt x="253" y="386"/>
                  </a:moveTo>
                  <a:cubicBezTo>
                    <a:pt x="252" y="387"/>
                    <a:pt x="252" y="386"/>
                    <a:pt x="251" y="386"/>
                  </a:cubicBezTo>
                  <a:cubicBezTo>
                    <a:pt x="250" y="386"/>
                    <a:pt x="249" y="386"/>
                    <a:pt x="249" y="386"/>
                  </a:cubicBezTo>
                  <a:cubicBezTo>
                    <a:pt x="247" y="386"/>
                    <a:pt x="246" y="385"/>
                    <a:pt x="245" y="386"/>
                  </a:cubicBezTo>
                  <a:cubicBezTo>
                    <a:pt x="244" y="387"/>
                    <a:pt x="243" y="388"/>
                    <a:pt x="244" y="389"/>
                  </a:cubicBezTo>
                  <a:cubicBezTo>
                    <a:pt x="244" y="390"/>
                    <a:pt x="245" y="391"/>
                    <a:pt x="246" y="392"/>
                  </a:cubicBezTo>
                  <a:cubicBezTo>
                    <a:pt x="247" y="394"/>
                    <a:pt x="248" y="394"/>
                    <a:pt x="250" y="395"/>
                  </a:cubicBezTo>
                  <a:cubicBezTo>
                    <a:pt x="253" y="397"/>
                    <a:pt x="256" y="400"/>
                    <a:pt x="259" y="402"/>
                  </a:cubicBezTo>
                  <a:cubicBezTo>
                    <a:pt x="261" y="403"/>
                    <a:pt x="263" y="402"/>
                    <a:pt x="265" y="402"/>
                  </a:cubicBezTo>
                  <a:cubicBezTo>
                    <a:pt x="267" y="402"/>
                    <a:pt x="269" y="403"/>
                    <a:pt x="270" y="403"/>
                  </a:cubicBezTo>
                  <a:cubicBezTo>
                    <a:pt x="273" y="404"/>
                    <a:pt x="278" y="407"/>
                    <a:pt x="280" y="405"/>
                  </a:cubicBezTo>
                  <a:cubicBezTo>
                    <a:pt x="281" y="403"/>
                    <a:pt x="283" y="402"/>
                    <a:pt x="285" y="402"/>
                  </a:cubicBezTo>
                  <a:cubicBezTo>
                    <a:pt x="286" y="402"/>
                    <a:pt x="287" y="403"/>
                    <a:pt x="287" y="404"/>
                  </a:cubicBezTo>
                  <a:cubicBezTo>
                    <a:pt x="288" y="404"/>
                    <a:pt x="288" y="405"/>
                    <a:pt x="289" y="405"/>
                  </a:cubicBezTo>
                  <a:cubicBezTo>
                    <a:pt x="289" y="405"/>
                    <a:pt x="290" y="406"/>
                    <a:pt x="291" y="406"/>
                  </a:cubicBezTo>
                  <a:cubicBezTo>
                    <a:pt x="292" y="406"/>
                    <a:pt x="292" y="405"/>
                    <a:pt x="291" y="404"/>
                  </a:cubicBezTo>
                  <a:cubicBezTo>
                    <a:pt x="291" y="403"/>
                    <a:pt x="290" y="403"/>
                    <a:pt x="291" y="402"/>
                  </a:cubicBezTo>
                  <a:cubicBezTo>
                    <a:pt x="291" y="401"/>
                    <a:pt x="292" y="400"/>
                    <a:pt x="292" y="399"/>
                  </a:cubicBezTo>
                  <a:cubicBezTo>
                    <a:pt x="291" y="398"/>
                    <a:pt x="290" y="397"/>
                    <a:pt x="289" y="397"/>
                  </a:cubicBezTo>
                  <a:cubicBezTo>
                    <a:pt x="288" y="396"/>
                    <a:pt x="287" y="395"/>
                    <a:pt x="286" y="395"/>
                  </a:cubicBezTo>
                  <a:cubicBezTo>
                    <a:pt x="284" y="394"/>
                    <a:pt x="282" y="393"/>
                    <a:pt x="281" y="393"/>
                  </a:cubicBezTo>
                  <a:cubicBezTo>
                    <a:pt x="280" y="392"/>
                    <a:pt x="280" y="392"/>
                    <a:pt x="279" y="391"/>
                  </a:cubicBezTo>
                  <a:cubicBezTo>
                    <a:pt x="278" y="391"/>
                    <a:pt x="277" y="390"/>
                    <a:pt x="277" y="390"/>
                  </a:cubicBezTo>
                  <a:cubicBezTo>
                    <a:pt x="275" y="389"/>
                    <a:pt x="273" y="388"/>
                    <a:pt x="272" y="386"/>
                  </a:cubicBezTo>
                  <a:cubicBezTo>
                    <a:pt x="270" y="385"/>
                    <a:pt x="268" y="383"/>
                    <a:pt x="266" y="383"/>
                  </a:cubicBezTo>
                  <a:cubicBezTo>
                    <a:pt x="263" y="382"/>
                    <a:pt x="260" y="383"/>
                    <a:pt x="258" y="383"/>
                  </a:cubicBezTo>
                  <a:cubicBezTo>
                    <a:pt x="256" y="384"/>
                    <a:pt x="254" y="386"/>
                    <a:pt x="253" y="386"/>
                  </a:cubicBezTo>
                  <a:close/>
                  <a:moveTo>
                    <a:pt x="257" y="381"/>
                  </a:moveTo>
                  <a:cubicBezTo>
                    <a:pt x="257" y="381"/>
                    <a:pt x="256" y="380"/>
                    <a:pt x="256" y="380"/>
                  </a:cubicBezTo>
                  <a:cubicBezTo>
                    <a:pt x="255" y="379"/>
                    <a:pt x="255" y="379"/>
                    <a:pt x="255" y="379"/>
                  </a:cubicBezTo>
                  <a:cubicBezTo>
                    <a:pt x="254" y="378"/>
                    <a:pt x="254" y="378"/>
                    <a:pt x="253" y="377"/>
                  </a:cubicBezTo>
                  <a:cubicBezTo>
                    <a:pt x="253" y="377"/>
                    <a:pt x="252" y="377"/>
                    <a:pt x="251" y="377"/>
                  </a:cubicBezTo>
                  <a:cubicBezTo>
                    <a:pt x="251" y="377"/>
                    <a:pt x="250" y="377"/>
                    <a:pt x="249" y="377"/>
                  </a:cubicBezTo>
                  <a:cubicBezTo>
                    <a:pt x="249" y="377"/>
                    <a:pt x="248" y="376"/>
                    <a:pt x="248" y="376"/>
                  </a:cubicBezTo>
                  <a:cubicBezTo>
                    <a:pt x="246" y="376"/>
                    <a:pt x="246" y="378"/>
                    <a:pt x="247" y="379"/>
                  </a:cubicBezTo>
                  <a:cubicBezTo>
                    <a:pt x="247" y="380"/>
                    <a:pt x="248" y="380"/>
                    <a:pt x="248" y="380"/>
                  </a:cubicBezTo>
                  <a:cubicBezTo>
                    <a:pt x="249" y="381"/>
                    <a:pt x="249" y="381"/>
                    <a:pt x="250" y="382"/>
                  </a:cubicBezTo>
                  <a:cubicBezTo>
                    <a:pt x="250" y="382"/>
                    <a:pt x="250" y="383"/>
                    <a:pt x="250" y="383"/>
                  </a:cubicBezTo>
                  <a:cubicBezTo>
                    <a:pt x="250" y="384"/>
                    <a:pt x="250" y="384"/>
                    <a:pt x="250" y="384"/>
                  </a:cubicBezTo>
                  <a:cubicBezTo>
                    <a:pt x="251" y="385"/>
                    <a:pt x="252" y="385"/>
                    <a:pt x="253" y="385"/>
                  </a:cubicBezTo>
                  <a:cubicBezTo>
                    <a:pt x="253" y="385"/>
                    <a:pt x="254" y="385"/>
                    <a:pt x="254" y="384"/>
                  </a:cubicBezTo>
                  <a:cubicBezTo>
                    <a:pt x="255" y="384"/>
                    <a:pt x="255" y="384"/>
                    <a:pt x="255" y="383"/>
                  </a:cubicBezTo>
                  <a:cubicBezTo>
                    <a:pt x="256" y="383"/>
                    <a:pt x="256" y="383"/>
                    <a:pt x="257" y="382"/>
                  </a:cubicBezTo>
                  <a:lnTo>
                    <a:pt x="257" y="381"/>
                  </a:lnTo>
                  <a:close/>
                  <a:moveTo>
                    <a:pt x="261" y="382"/>
                  </a:moveTo>
                  <a:cubicBezTo>
                    <a:pt x="261" y="382"/>
                    <a:pt x="262" y="382"/>
                    <a:pt x="263" y="382"/>
                  </a:cubicBezTo>
                  <a:cubicBezTo>
                    <a:pt x="263" y="382"/>
                    <a:pt x="264" y="381"/>
                    <a:pt x="264" y="381"/>
                  </a:cubicBezTo>
                  <a:cubicBezTo>
                    <a:pt x="264" y="380"/>
                    <a:pt x="262" y="380"/>
                    <a:pt x="261" y="380"/>
                  </a:cubicBezTo>
                  <a:cubicBezTo>
                    <a:pt x="260" y="380"/>
                    <a:pt x="259" y="380"/>
                    <a:pt x="259" y="379"/>
                  </a:cubicBezTo>
                  <a:cubicBezTo>
                    <a:pt x="259" y="378"/>
                    <a:pt x="259" y="377"/>
                    <a:pt x="259" y="377"/>
                  </a:cubicBezTo>
                  <a:cubicBezTo>
                    <a:pt x="258" y="376"/>
                    <a:pt x="258" y="375"/>
                    <a:pt x="258" y="375"/>
                  </a:cubicBezTo>
                  <a:cubicBezTo>
                    <a:pt x="258" y="374"/>
                    <a:pt x="258" y="374"/>
                    <a:pt x="257" y="373"/>
                  </a:cubicBezTo>
                  <a:cubicBezTo>
                    <a:pt x="256" y="372"/>
                    <a:pt x="255" y="372"/>
                    <a:pt x="254" y="371"/>
                  </a:cubicBezTo>
                  <a:cubicBezTo>
                    <a:pt x="253" y="371"/>
                    <a:pt x="252" y="371"/>
                    <a:pt x="252" y="371"/>
                  </a:cubicBezTo>
                  <a:cubicBezTo>
                    <a:pt x="251" y="370"/>
                    <a:pt x="251" y="370"/>
                    <a:pt x="250" y="371"/>
                  </a:cubicBezTo>
                  <a:cubicBezTo>
                    <a:pt x="250" y="371"/>
                    <a:pt x="250" y="372"/>
                    <a:pt x="250" y="373"/>
                  </a:cubicBezTo>
                  <a:cubicBezTo>
                    <a:pt x="250" y="374"/>
                    <a:pt x="250" y="374"/>
                    <a:pt x="250" y="375"/>
                  </a:cubicBezTo>
                  <a:cubicBezTo>
                    <a:pt x="250" y="376"/>
                    <a:pt x="251" y="376"/>
                    <a:pt x="251" y="376"/>
                  </a:cubicBezTo>
                  <a:cubicBezTo>
                    <a:pt x="253" y="376"/>
                    <a:pt x="254" y="376"/>
                    <a:pt x="255" y="377"/>
                  </a:cubicBezTo>
                  <a:cubicBezTo>
                    <a:pt x="256" y="378"/>
                    <a:pt x="257" y="378"/>
                    <a:pt x="257" y="379"/>
                  </a:cubicBezTo>
                  <a:cubicBezTo>
                    <a:pt x="258" y="380"/>
                    <a:pt x="258" y="380"/>
                    <a:pt x="258" y="380"/>
                  </a:cubicBezTo>
                  <a:cubicBezTo>
                    <a:pt x="259" y="381"/>
                    <a:pt x="259" y="381"/>
                    <a:pt x="260" y="381"/>
                  </a:cubicBezTo>
                  <a:cubicBezTo>
                    <a:pt x="260" y="381"/>
                    <a:pt x="260" y="382"/>
                    <a:pt x="261" y="382"/>
                  </a:cubicBezTo>
                  <a:close/>
                  <a:moveTo>
                    <a:pt x="183" y="59"/>
                  </a:moveTo>
                  <a:cubicBezTo>
                    <a:pt x="183" y="59"/>
                    <a:pt x="183" y="59"/>
                    <a:pt x="183" y="59"/>
                  </a:cubicBezTo>
                  <a:cubicBezTo>
                    <a:pt x="183" y="59"/>
                    <a:pt x="183" y="59"/>
                    <a:pt x="183" y="59"/>
                  </a:cubicBezTo>
                  <a:cubicBezTo>
                    <a:pt x="183" y="59"/>
                    <a:pt x="183" y="59"/>
                    <a:pt x="183" y="59"/>
                  </a:cubicBezTo>
                  <a:close/>
                  <a:moveTo>
                    <a:pt x="393" y="387"/>
                  </a:moveTo>
                  <a:cubicBezTo>
                    <a:pt x="393" y="388"/>
                    <a:pt x="391" y="386"/>
                    <a:pt x="391" y="386"/>
                  </a:cubicBezTo>
                  <a:cubicBezTo>
                    <a:pt x="391" y="386"/>
                    <a:pt x="390" y="387"/>
                    <a:pt x="390" y="386"/>
                  </a:cubicBezTo>
                  <a:cubicBezTo>
                    <a:pt x="390" y="385"/>
                    <a:pt x="390" y="384"/>
                    <a:pt x="390" y="384"/>
                  </a:cubicBezTo>
                  <a:cubicBezTo>
                    <a:pt x="388" y="385"/>
                    <a:pt x="388" y="385"/>
                    <a:pt x="388" y="385"/>
                  </a:cubicBezTo>
                  <a:cubicBezTo>
                    <a:pt x="386" y="383"/>
                    <a:pt x="386" y="383"/>
                    <a:pt x="386" y="383"/>
                  </a:cubicBezTo>
                  <a:cubicBezTo>
                    <a:pt x="387" y="381"/>
                    <a:pt x="387" y="381"/>
                    <a:pt x="387" y="381"/>
                  </a:cubicBezTo>
                  <a:cubicBezTo>
                    <a:pt x="386" y="380"/>
                    <a:pt x="386" y="380"/>
                    <a:pt x="386" y="380"/>
                  </a:cubicBezTo>
                  <a:cubicBezTo>
                    <a:pt x="385" y="380"/>
                    <a:pt x="385" y="380"/>
                    <a:pt x="385" y="380"/>
                  </a:cubicBezTo>
                  <a:cubicBezTo>
                    <a:pt x="386" y="377"/>
                    <a:pt x="386" y="377"/>
                    <a:pt x="386" y="377"/>
                  </a:cubicBezTo>
                  <a:cubicBezTo>
                    <a:pt x="383" y="375"/>
                    <a:pt x="383" y="375"/>
                    <a:pt x="383" y="375"/>
                  </a:cubicBezTo>
                  <a:cubicBezTo>
                    <a:pt x="383" y="373"/>
                    <a:pt x="383" y="373"/>
                    <a:pt x="383" y="373"/>
                  </a:cubicBezTo>
                  <a:cubicBezTo>
                    <a:pt x="385" y="373"/>
                    <a:pt x="385" y="373"/>
                    <a:pt x="385" y="373"/>
                  </a:cubicBezTo>
                  <a:cubicBezTo>
                    <a:pt x="385" y="373"/>
                    <a:pt x="384" y="371"/>
                    <a:pt x="384" y="371"/>
                  </a:cubicBezTo>
                  <a:cubicBezTo>
                    <a:pt x="384" y="371"/>
                    <a:pt x="385" y="371"/>
                    <a:pt x="385" y="370"/>
                  </a:cubicBezTo>
                  <a:cubicBezTo>
                    <a:pt x="385" y="369"/>
                    <a:pt x="384" y="369"/>
                    <a:pt x="384" y="369"/>
                  </a:cubicBezTo>
                  <a:cubicBezTo>
                    <a:pt x="383" y="368"/>
                    <a:pt x="383" y="368"/>
                    <a:pt x="383" y="368"/>
                  </a:cubicBezTo>
                  <a:cubicBezTo>
                    <a:pt x="386" y="368"/>
                    <a:pt x="386" y="368"/>
                    <a:pt x="386" y="368"/>
                  </a:cubicBezTo>
                  <a:cubicBezTo>
                    <a:pt x="387" y="367"/>
                    <a:pt x="387" y="367"/>
                    <a:pt x="387" y="367"/>
                  </a:cubicBezTo>
                  <a:cubicBezTo>
                    <a:pt x="387" y="366"/>
                    <a:pt x="387" y="366"/>
                    <a:pt x="387" y="366"/>
                  </a:cubicBezTo>
                  <a:cubicBezTo>
                    <a:pt x="386" y="365"/>
                    <a:pt x="386" y="365"/>
                    <a:pt x="386" y="365"/>
                  </a:cubicBezTo>
                  <a:cubicBezTo>
                    <a:pt x="386" y="365"/>
                    <a:pt x="388" y="365"/>
                    <a:pt x="388" y="364"/>
                  </a:cubicBezTo>
                  <a:cubicBezTo>
                    <a:pt x="388" y="364"/>
                    <a:pt x="388" y="361"/>
                    <a:pt x="388" y="361"/>
                  </a:cubicBezTo>
                  <a:cubicBezTo>
                    <a:pt x="390" y="361"/>
                    <a:pt x="390" y="361"/>
                    <a:pt x="390" y="361"/>
                  </a:cubicBezTo>
                  <a:cubicBezTo>
                    <a:pt x="390" y="359"/>
                    <a:pt x="390" y="359"/>
                    <a:pt x="390" y="359"/>
                  </a:cubicBezTo>
                  <a:cubicBezTo>
                    <a:pt x="388" y="359"/>
                    <a:pt x="388" y="359"/>
                    <a:pt x="388" y="359"/>
                  </a:cubicBezTo>
                  <a:cubicBezTo>
                    <a:pt x="388" y="358"/>
                    <a:pt x="388" y="358"/>
                    <a:pt x="388" y="358"/>
                  </a:cubicBezTo>
                  <a:cubicBezTo>
                    <a:pt x="388" y="357"/>
                    <a:pt x="388" y="357"/>
                    <a:pt x="388" y="357"/>
                  </a:cubicBezTo>
                  <a:cubicBezTo>
                    <a:pt x="390" y="358"/>
                    <a:pt x="390" y="358"/>
                    <a:pt x="390" y="358"/>
                  </a:cubicBezTo>
                  <a:cubicBezTo>
                    <a:pt x="390" y="358"/>
                    <a:pt x="390" y="357"/>
                    <a:pt x="390" y="357"/>
                  </a:cubicBezTo>
                  <a:cubicBezTo>
                    <a:pt x="390" y="356"/>
                    <a:pt x="390" y="356"/>
                    <a:pt x="390" y="356"/>
                  </a:cubicBezTo>
                  <a:cubicBezTo>
                    <a:pt x="391" y="355"/>
                    <a:pt x="391" y="355"/>
                    <a:pt x="391" y="355"/>
                  </a:cubicBezTo>
                  <a:cubicBezTo>
                    <a:pt x="389" y="354"/>
                    <a:pt x="389" y="354"/>
                    <a:pt x="389" y="354"/>
                  </a:cubicBezTo>
                  <a:cubicBezTo>
                    <a:pt x="391" y="353"/>
                    <a:pt x="391" y="353"/>
                    <a:pt x="391" y="353"/>
                  </a:cubicBezTo>
                  <a:cubicBezTo>
                    <a:pt x="391" y="352"/>
                    <a:pt x="391" y="352"/>
                    <a:pt x="391" y="352"/>
                  </a:cubicBezTo>
                  <a:cubicBezTo>
                    <a:pt x="390" y="351"/>
                    <a:pt x="390" y="351"/>
                    <a:pt x="390" y="351"/>
                  </a:cubicBezTo>
                  <a:cubicBezTo>
                    <a:pt x="390" y="351"/>
                    <a:pt x="390" y="351"/>
                    <a:pt x="390" y="351"/>
                  </a:cubicBezTo>
                  <a:cubicBezTo>
                    <a:pt x="392" y="351"/>
                    <a:pt x="392" y="351"/>
                    <a:pt x="392" y="351"/>
                  </a:cubicBezTo>
                  <a:cubicBezTo>
                    <a:pt x="392" y="271"/>
                    <a:pt x="392" y="271"/>
                    <a:pt x="392" y="271"/>
                  </a:cubicBezTo>
                  <a:cubicBezTo>
                    <a:pt x="393" y="122"/>
                    <a:pt x="393" y="122"/>
                    <a:pt x="393" y="122"/>
                  </a:cubicBezTo>
                  <a:cubicBezTo>
                    <a:pt x="392" y="123"/>
                    <a:pt x="390" y="123"/>
                    <a:pt x="389" y="123"/>
                  </a:cubicBezTo>
                  <a:cubicBezTo>
                    <a:pt x="388" y="123"/>
                    <a:pt x="387" y="123"/>
                    <a:pt x="386" y="123"/>
                  </a:cubicBezTo>
                  <a:cubicBezTo>
                    <a:pt x="385" y="122"/>
                    <a:pt x="384" y="123"/>
                    <a:pt x="383" y="123"/>
                  </a:cubicBezTo>
                  <a:cubicBezTo>
                    <a:pt x="382" y="122"/>
                    <a:pt x="381" y="122"/>
                    <a:pt x="380" y="123"/>
                  </a:cubicBezTo>
                  <a:cubicBezTo>
                    <a:pt x="379" y="123"/>
                    <a:pt x="378" y="124"/>
                    <a:pt x="377" y="124"/>
                  </a:cubicBezTo>
                  <a:cubicBezTo>
                    <a:pt x="376" y="124"/>
                    <a:pt x="374" y="124"/>
                    <a:pt x="374" y="122"/>
                  </a:cubicBezTo>
                  <a:cubicBezTo>
                    <a:pt x="373" y="122"/>
                    <a:pt x="374" y="121"/>
                    <a:pt x="374" y="120"/>
                  </a:cubicBezTo>
                  <a:cubicBezTo>
                    <a:pt x="375" y="119"/>
                    <a:pt x="378" y="117"/>
                    <a:pt x="376" y="116"/>
                  </a:cubicBezTo>
                  <a:cubicBezTo>
                    <a:pt x="375" y="114"/>
                    <a:pt x="374" y="114"/>
                    <a:pt x="372" y="114"/>
                  </a:cubicBezTo>
                  <a:cubicBezTo>
                    <a:pt x="372" y="114"/>
                    <a:pt x="371" y="114"/>
                    <a:pt x="370" y="114"/>
                  </a:cubicBezTo>
                  <a:cubicBezTo>
                    <a:pt x="370" y="113"/>
                    <a:pt x="370" y="113"/>
                    <a:pt x="369" y="113"/>
                  </a:cubicBezTo>
                  <a:cubicBezTo>
                    <a:pt x="369" y="112"/>
                    <a:pt x="367" y="112"/>
                    <a:pt x="366" y="112"/>
                  </a:cubicBezTo>
                  <a:cubicBezTo>
                    <a:pt x="365" y="112"/>
                    <a:pt x="363" y="112"/>
                    <a:pt x="362" y="112"/>
                  </a:cubicBezTo>
                  <a:cubicBezTo>
                    <a:pt x="361" y="112"/>
                    <a:pt x="360" y="112"/>
                    <a:pt x="359" y="111"/>
                  </a:cubicBezTo>
                  <a:cubicBezTo>
                    <a:pt x="358" y="111"/>
                    <a:pt x="357" y="110"/>
                    <a:pt x="356" y="110"/>
                  </a:cubicBezTo>
                  <a:cubicBezTo>
                    <a:pt x="355" y="110"/>
                    <a:pt x="354" y="110"/>
                    <a:pt x="353" y="111"/>
                  </a:cubicBezTo>
                  <a:cubicBezTo>
                    <a:pt x="354" y="112"/>
                    <a:pt x="354" y="112"/>
                    <a:pt x="354" y="112"/>
                  </a:cubicBezTo>
                  <a:cubicBezTo>
                    <a:pt x="354" y="112"/>
                    <a:pt x="354" y="113"/>
                    <a:pt x="354" y="113"/>
                  </a:cubicBezTo>
                  <a:cubicBezTo>
                    <a:pt x="353" y="113"/>
                    <a:pt x="352" y="112"/>
                    <a:pt x="351" y="112"/>
                  </a:cubicBezTo>
                  <a:cubicBezTo>
                    <a:pt x="350" y="112"/>
                    <a:pt x="349" y="112"/>
                    <a:pt x="348" y="111"/>
                  </a:cubicBezTo>
                  <a:cubicBezTo>
                    <a:pt x="347" y="111"/>
                    <a:pt x="347" y="111"/>
                    <a:pt x="346" y="110"/>
                  </a:cubicBezTo>
                  <a:cubicBezTo>
                    <a:pt x="345" y="110"/>
                    <a:pt x="344" y="110"/>
                    <a:pt x="344" y="109"/>
                  </a:cubicBezTo>
                  <a:cubicBezTo>
                    <a:pt x="343" y="109"/>
                    <a:pt x="343" y="108"/>
                    <a:pt x="342" y="108"/>
                  </a:cubicBezTo>
                  <a:cubicBezTo>
                    <a:pt x="341" y="107"/>
                    <a:pt x="340" y="106"/>
                    <a:pt x="338" y="106"/>
                  </a:cubicBezTo>
                  <a:cubicBezTo>
                    <a:pt x="336" y="106"/>
                    <a:pt x="334" y="107"/>
                    <a:pt x="332" y="107"/>
                  </a:cubicBezTo>
                  <a:cubicBezTo>
                    <a:pt x="330" y="108"/>
                    <a:pt x="328" y="108"/>
                    <a:pt x="326" y="108"/>
                  </a:cubicBezTo>
                  <a:cubicBezTo>
                    <a:pt x="323" y="108"/>
                    <a:pt x="320" y="109"/>
                    <a:pt x="317" y="108"/>
                  </a:cubicBezTo>
                  <a:cubicBezTo>
                    <a:pt x="316" y="107"/>
                    <a:pt x="314" y="106"/>
                    <a:pt x="313" y="106"/>
                  </a:cubicBezTo>
                  <a:cubicBezTo>
                    <a:pt x="312" y="105"/>
                    <a:pt x="312" y="103"/>
                    <a:pt x="310" y="103"/>
                  </a:cubicBezTo>
                  <a:cubicBezTo>
                    <a:pt x="309" y="102"/>
                    <a:pt x="307" y="102"/>
                    <a:pt x="305" y="101"/>
                  </a:cubicBezTo>
                  <a:cubicBezTo>
                    <a:pt x="304" y="101"/>
                    <a:pt x="303" y="100"/>
                    <a:pt x="302" y="100"/>
                  </a:cubicBezTo>
                  <a:cubicBezTo>
                    <a:pt x="301" y="99"/>
                    <a:pt x="300" y="98"/>
                    <a:pt x="299" y="97"/>
                  </a:cubicBezTo>
                  <a:cubicBezTo>
                    <a:pt x="295" y="96"/>
                    <a:pt x="291" y="94"/>
                    <a:pt x="288" y="93"/>
                  </a:cubicBezTo>
                  <a:cubicBezTo>
                    <a:pt x="284" y="91"/>
                    <a:pt x="281" y="89"/>
                    <a:pt x="277" y="87"/>
                  </a:cubicBezTo>
                  <a:cubicBezTo>
                    <a:pt x="276" y="86"/>
                    <a:pt x="274" y="86"/>
                    <a:pt x="273" y="85"/>
                  </a:cubicBezTo>
                  <a:cubicBezTo>
                    <a:pt x="272" y="85"/>
                    <a:pt x="272" y="84"/>
                    <a:pt x="271" y="84"/>
                  </a:cubicBezTo>
                  <a:cubicBezTo>
                    <a:pt x="271" y="84"/>
                    <a:pt x="270" y="84"/>
                    <a:pt x="269" y="83"/>
                  </a:cubicBezTo>
                  <a:cubicBezTo>
                    <a:pt x="268" y="83"/>
                    <a:pt x="266" y="82"/>
                    <a:pt x="265" y="83"/>
                  </a:cubicBezTo>
                  <a:cubicBezTo>
                    <a:pt x="264" y="83"/>
                    <a:pt x="263" y="83"/>
                    <a:pt x="261" y="83"/>
                  </a:cubicBezTo>
                  <a:cubicBezTo>
                    <a:pt x="260" y="82"/>
                    <a:pt x="259" y="81"/>
                    <a:pt x="257" y="80"/>
                  </a:cubicBezTo>
                  <a:cubicBezTo>
                    <a:pt x="256" y="79"/>
                    <a:pt x="256" y="79"/>
                    <a:pt x="256" y="77"/>
                  </a:cubicBezTo>
                  <a:cubicBezTo>
                    <a:pt x="255" y="76"/>
                    <a:pt x="255" y="76"/>
                    <a:pt x="254" y="76"/>
                  </a:cubicBezTo>
                  <a:cubicBezTo>
                    <a:pt x="253" y="75"/>
                    <a:pt x="253" y="75"/>
                    <a:pt x="252" y="74"/>
                  </a:cubicBezTo>
                  <a:cubicBezTo>
                    <a:pt x="250" y="73"/>
                    <a:pt x="249" y="73"/>
                    <a:pt x="248" y="73"/>
                  </a:cubicBezTo>
                  <a:cubicBezTo>
                    <a:pt x="246" y="72"/>
                    <a:pt x="245" y="72"/>
                    <a:pt x="244" y="71"/>
                  </a:cubicBezTo>
                  <a:cubicBezTo>
                    <a:pt x="242" y="71"/>
                    <a:pt x="240" y="71"/>
                    <a:pt x="239" y="70"/>
                  </a:cubicBezTo>
                  <a:cubicBezTo>
                    <a:pt x="235" y="69"/>
                    <a:pt x="232" y="69"/>
                    <a:pt x="229" y="67"/>
                  </a:cubicBezTo>
                  <a:cubicBezTo>
                    <a:pt x="227" y="66"/>
                    <a:pt x="226" y="65"/>
                    <a:pt x="224" y="64"/>
                  </a:cubicBezTo>
                  <a:cubicBezTo>
                    <a:pt x="224" y="64"/>
                    <a:pt x="222" y="64"/>
                    <a:pt x="221" y="63"/>
                  </a:cubicBezTo>
                  <a:cubicBezTo>
                    <a:pt x="219" y="63"/>
                    <a:pt x="216" y="62"/>
                    <a:pt x="214" y="61"/>
                  </a:cubicBezTo>
                  <a:cubicBezTo>
                    <a:pt x="213" y="60"/>
                    <a:pt x="211" y="60"/>
                    <a:pt x="210" y="59"/>
                  </a:cubicBezTo>
                  <a:cubicBezTo>
                    <a:pt x="209" y="59"/>
                    <a:pt x="210" y="58"/>
                    <a:pt x="209" y="57"/>
                  </a:cubicBezTo>
                  <a:cubicBezTo>
                    <a:pt x="209" y="58"/>
                    <a:pt x="208" y="58"/>
                    <a:pt x="208" y="58"/>
                  </a:cubicBezTo>
                  <a:cubicBezTo>
                    <a:pt x="207" y="58"/>
                    <a:pt x="207" y="56"/>
                    <a:pt x="206" y="56"/>
                  </a:cubicBezTo>
                  <a:cubicBezTo>
                    <a:pt x="206" y="55"/>
                    <a:pt x="205" y="53"/>
                    <a:pt x="204" y="52"/>
                  </a:cubicBezTo>
                  <a:cubicBezTo>
                    <a:pt x="203" y="53"/>
                    <a:pt x="203" y="54"/>
                    <a:pt x="202" y="54"/>
                  </a:cubicBezTo>
                  <a:cubicBezTo>
                    <a:pt x="202" y="54"/>
                    <a:pt x="202" y="53"/>
                    <a:pt x="202" y="52"/>
                  </a:cubicBezTo>
                  <a:cubicBezTo>
                    <a:pt x="201" y="52"/>
                    <a:pt x="199" y="53"/>
                    <a:pt x="197" y="53"/>
                  </a:cubicBezTo>
                  <a:cubicBezTo>
                    <a:pt x="195" y="53"/>
                    <a:pt x="193" y="54"/>
                    <a:pt x="191" y="55"/>
                  </a:cubicBezTo>
                  <a:cubicBezTo>
                    <a:pt x="188" y="56"/>
                    <a:pt x="186" y="57"/>
                    <a:pt x="183" y="59"/>
                  </a:cubicBezTo>
                  <a:cubicBezTo>
                    <a:pt x="182" y="60"/>
                    <a:pt x="180" y="60"/>
                    <a:pt x="179" y="61"/>
                  </a:cubicBezTo>
                  <a:cubicBezTo>
                    <a:pt x="177" y="61"/>
                    <a:pt x="176" y="62"/>
                    <a:pt x="174" y="63"/>
                  </a:cubicBezTo>
                  <a:cubicBezTo>
                    <a:pt x="172" y="65"/>
                    <a:pt x="169" y="66"/>
                    <a:pt x="166" y="67"/>
                  </a:cubicBezTo>
                  <a:cubicBezTo>
                    <a:pt x="165" y="68"/>
                    <a:pt x="163" y="68"/>
                    <a:pt x="164" y="70"/>
                  </a:cubicBezTo>
                  <a:cubicBezTo>
                    <a:pt x="165" y="72"/>
                    <a:pt x="170" y="70"/>
                    <a:pt x="169" y="73"/>
                  </a:cubicBezTo>
                  <a:cubicBezTo>
                    <a:pt x="168" y="73"/>
                    <a:pt x="166" y="73"/>
                    <a:pt x="165" y="73"/>
                  </a:cubicBezTo>
                  <a:cubicBezTo>
                    <a:pt x="163" y="72"/>
                    <a:pt x="162" y="69"/>
                    <a:pt x="161" y="69"/>
                  </a:cubicBezTo>
                  <a:cubicBezTo>
                    <a:pt x="159" y="69"/>
                    <a:pt x="159" y="71"/>
                    <a:pt x="159" y="72"/>
                  </a:cubicBezTo>
                  <a:cubicBezTo>
                    <a:pt x="159" y="72"/>
                    <a:pt x="159" y="73"/>
                    <a:pt x="159" y="74"/>
                  </a:cubicBezTo>
                  <a:cubicBezTo>
                    <a:pt x="158" y="74"/>
                    <a:pt x="157" y="76"/>
                    <a:pt x="157" y="76"/>
                  </a:cubicBezTo>
                  <a:cubicBezTo>
                    <a:pt x="156" y="76"/>
                    <a:pt x="156" y="74"/>
                    <a:pt x="156" y="73"/>
                  </a:cubicBezTo>
                  <a:cubicBezTo>
                    <a:pt x="156" y="72"/>
                    <a:pt x="157" y="71"/>
                    <a:pt x="155" y="71"/>
                  </a:cubicBezTo>
                  <a:cubicBezTo>
                    <a:pt x="153" y="72"/>
                    <a:pt x="153" y="76"/>
                    <a:pt x="152" y="77"/>
                  </a:cubicBezTo>
                  <a:cubicBezTo>
                    <a:pt x="152" y="78"/>
                    <a:pt x="154" y="79"/>
                    <a:pt x="154" y="79"/>
                  </a:cubicBezTo>
                  <a:cubicBezTo>
                    <a:pt x="155" y="79"/>
                    <a:pt x="155" y="78"/>
                    <a:pt x="155" y="78"/>
                  </a:cubicBezTo>
                  <a:cubicBezTo>
                    <a:pt x="156" y="78"/>
                    <a:pt x="157" y="80"/>
                    <a:pt x="158" y="81"/>
                  </a:cubicBezTo>
                  <a:cubicBezTo>
                    <a:pt x="159" y="82"/>
                    <a:pt x="161" y="83"/>
                    <a:pt x="161" y="85"/>
                  </a:cubicBezTo>
                  <a:cubicBezTo>
                    <a:pt x="162" y="87"/>
                    <a:pt x="162" y="88"/>
                    <a:pt x="162" y="90"/>
                  </a:cubicBezTo>
                  <a:cubicBezTo>
                    <a:pt x="160" y="91"/>
                    <a:pt x="160" y="90"/>
                    <a:pt x="158" y="90"/>
                  </a:cubicBezTo>
                  <a:cubicBezTo>
                    <a:pt x="157" y="91"/>
                    <a:pt x="156" y="91"/>
                    <a:pt x="155" y="92"/>
                  </a:cubicBezTo>
                  <a:cubicBezTo>
                    <a:pt x="152" y="92"/>
                    <a:pt x="150" y="92"/>
                    <a:pt x="148" y="92"/>
                  </a:cubicBezTo>
                  <a:cubicBezTo>
                    <a:pt x="145" y="92"/>
                    <a:pt x="143" y="95"/>
                    <a:pt x="141" y="96"/>
                  </a:cubicBezTo>
                  <a:cubicBezTo>
                    <a:pt x="139" y="97"/>
                    <a:pt x="137" y="95"/>
                    <a:pt x="136" y="97"/>
                  </a:cubicBezTo>
                  <a:cubicBezTo>
                    <a:pt x="135" y="98"/>
                    <a:pt x="135" y="98"/>
                    <a:pt x="135" y="99"/>
                  </a:cubicBezTo>
                  <a:cubicBezTo>
                    <a:pt x="134" y="99"/>
                    <a:pt x="133" y="100"/>
                    <a:pt x="133" y="100"/>
                  </a:cubicBezTo>
                  <a:cubicBezTo>
                    <a:pt x="131" y="99"/>
                    <a:pt x="130" y="100"/>
                    <a:pt x="129" y="100"/>
                  </a:cubicBezTo>
                  <a:cubicBezTo>
                    <a:pt x="127" y="101"/>
                    <a:pt x="127" y="101"/>
                    <a:pt x="126" y="100"/>
                  </a:cubicBezTo>
                  <a:cubicBezTo>
                    <a:pt x="124" y="100"/>
                    <a:pt x="123" y="100"/>
                    <a:pt x="122" y="99"/>
                  </a:cubicBezTo>
                  <a:cubicBezTo>
                    <a:pt x="121" y="98"/>
                    <a:pt x="121" y="98"/>
                    <a:pt x="120" y="98"/>
                  </a:cubicBezTo>
                  <a:cubicBezTo>
                    <a:pt x="119" y="98"/>
                    <a:pt x="118" y="98"/>
                    <a:pt x="117" y="98"/>
                  </a:cubicBezTo>
                  <a:cubicBezTo>
                    <a:pt x="115" y="98"/>
                    <a:pt x="112" y="97"/>
                    <a:pt x="110" y="98"/>
                  </a:cubicBezTo>
                  <a:cubicBezTo>
                    <a:pt x="109" y="99"/>
                    <a:pt x="107" y="101"/>
                    <a:pt x="107" y="103"/>
                  </a:cubicBezTo>
                  <a:cubicBezTo>
                    <a:pt x="108" y="105"/>
                    <a:pt x="108" y="105"/>
                    <a:pt x="106" y="107"/>
                  </a:cubicBezTo>
                  <a:cubicBezTo>
                    <a:pt x="105" y="109"/>
                    <a:pt x="105" y="111"/>
                    <a:pt x="105" y="113"/>
                  </a:cubicBezTo>
                  <a:cubicBezTo>
                    <a:pt x="103" y="117"/>
                    <a:pt x="103" y="121"/>
                    <a:pt x="99" y="123"/>
                  </a:cubicBezTo>
                  <a:cubicBezTo>
                    <a:pt x="95" y="125"/>
                    <a:pt x="89" y="124"/>
                    <a:pt x="88" y="128"/>
                  </a:cubicBezTo>
                  <a:cubicBezTo>
                    <a:pt x="87" y="130"/>
                    <a:pt x="87" y="130"/>
                    <a:pt x="86" y="131"/>
                  </a:cubicBezTo>
                  <a:cubicBezTo>
                    <a:pt x="85" y="132"/>
                    <a:pt x="84" y="132"/>
                    <a:pt x="83" y="134"/>
                  </a:cubicBezTo>
                  <a:cubicBezTo>
                    <a:pt x="83" y="134"/>
                    <a:pt x="83" y="135"/>
                    <a:pt x="83" y="136"/>
                  </a:cubicBezTo>
                  <a:cubicBezTo>
                    <a:pt x="82" y="136"/>
                    <a:pt x="81" y="137"/>
                    <a:pt x="81" y="138"/>
                  </a:cubicBezTo>
                  <a:cubicBezTo>
                    <a:pt x="79" y="140"/>
                    <a:pt x="82" y="140"/>
                    <a:pt x="82" y="142"/>
                  </a:cubicBezTo>
                  <a:cubicBezTo>
                    <a:pt x="82" y="143"/>
                    <a:pt x="80" y="145"/>
                    <a:pt x="79" y="146"/>
                  </a:cubicBezTo>
                  <a:cubicBezTo>
                    <a:pt x="78" y="147"/>
                    <a:pt x="77" y="147"/>
                    <a:pt x="75" y="148"/>
                  </a:cubicBezTo>
                  <a:cubicBezTo>
                    <a:pt x="74" y="148"/>
                    <a:pt x="70" y="149"/>
                    <a:pt x="71" y="151"/>
                  </a:cubicBezTo>
                  <a:cubicBezTo>
                    <a:pt x="71" y="152"/>
                    <a:pt x="71" y="152"/>
                    <a:pt x="71" y="153"/>
                  </a:cubicBezTo>
                  <a:cubicBezTo>
                    <a:pt x="71" y="154"/>
                    <a:pt x="71" y="154"/>
                    <a:pt x="71" y="154"/>
                  </a:cubicBezTo>
                  <a:cubicBezTo>
                    <a:pt x="69" y="156"/>
                    <a:pt x="65" y="157"/>
                    <a:pt x="63" y="158"/>
                  </a:cubicBezTo>
                  <a:cubicBezTo>
                    <a:pt x="61" y="160"/>
                    <a:pt x="60" y="162"/>
                    <a:pt x="58" y="165"/>
                  </a:cubicBezTo>
                  <a:cubicBezTo>
                    <a:pt x="57" y="167"/>
                    <a:pt x="56" y="168"/>
                    <a:pt x="54" y="169"/>
                  </a:cubicBezTo>
                  <a:cubicBezTo>
                    <a:pt x="53" y="169"/>
                    <a:pt x="52" y="169"/>
                    <a:pt x="51" y="169"/>
                  </a:cubicBezTo>
                  <a:cubicBezTo>
                    <a:pt x="50" y="169"/>
                    <a:pt x="50" y="170"/>
                    <a:pt x="49" y="170"/>
                  </a:cubicBezTo>
                  <a:cubicBezTo>
                    <a:pt x="47" y="171"/>
                    <a:pt x="45" y="171"/>
                    <a:pt x="43" y="170"/>
                  </a:cubicBezTo>
                  <a:cubicBezTo>
                    <a:pt x="42" y="170"/>
                    <a:pt x="40" y="170"/>
                    <a:pt x="39" y="170"/>
                  </a:cubicBezTo>
                  <a:cubicBezTo>
                    <a:pt x="38" y="170"/>
                    <a:pt x="37" y="170"/>
                    <a:pt x="35" y="170"/>
                  </a:cubicBezTo>
                  <a:cubicBezTo>
                    <a:pt x="34" y="170"/>
                    <a:pt x="34" y="170"/>
                    <a:pt x="33" y="169"/>
                  </a:cubicBezTo>
                  <a:cubicBezTo>
                    <a:pt x="31" y="169"/>
                    <a:pt x="30" y="168"/>
                    <a:pt x="29" y="167"/>
                  </a:cubicBezTo>
                  <a:cubicBezTo>
                    <a:pt x="28" y="167"/>
                    <a:pt x="27" y="167"/>
                    <a:pt x="25" y="167"/>
                  </a:cubicBezTo>
                  <a:cubicBezTo>
                    <a:pt x="25" y="166"/>
                    <a:pt x="24" y="166"/>
                    <a:pt x="23" y="165"/>
                  </a:cubicBezTo>
                  <a:cubicBezTo>
                    <a:pt x="22" y="165"/>
                    <a:pt x="22" y="164"/>
                    <a:pt x="22" y="164"/>
                  </a:cubicBezTo>
                  <a:cubicBezTo>
                    <a:pt x="22" y="163"/>
                    <a:pt x="22" y="163"/>
                    <a:pt x="22" y="163"/>
                  </a:cubicBezTo>
                  <a:cubicBezTo>
                    <a:pt x="21" y="162"/>
                    <a:pt x="20" y="162"/>
                    <a:pt x="20" y="163"/>
                  </a:cubicBezTo>
                  <a:cubicBezTo>
                    <a:pt x="19" y="162"/>
                    <a:pt x="18" y="162"/>
                    <a:pt x="18" y="162"/>
                  </a:cubicBezTo>
                  <a:cubicBezTo>
                    <a:pt x="17" y="161"/>
                    <a:pt x="18" y="161"/>
                    <a:pt x="17" y="160"/>
                  </a:cubicBezTo>
                  <a:cubicBezTo>
                    <a:pt x="17" y="160"/>
                    <a:pt x="17" y="160"/>
                    <a:pt x="16" y="160"/>
                  </a:cubicBezTo>
                  <a:cubicBezTo>
                    <a:pt x="16" y="159"/>
                    <a:pt x="16" y="159"/>
                    <a:pt x="16" y="158"/>
                  </a:cubicBezTo>
                  <a:cubicBezTo>
                    <a:pt x="16" y="157"/>
                    <a:pt x="16" y="156"/>
                    <a:pt x="16" y="156"/>
                  </a:cubicBezTo>
                  <a:cubicBezTo>
                    <a:pt x="15" y="155"/>
                    <a:pt x="14" y="156"/>
                    <a:pt x="14" y="155"/>
                  </a:cubicBezTo>
                  <a:cubicBezTo>
                    <a:pt x="13" y="154"/>
                    <a:pt x="13" y="153"/>
                    <a:pt x="14" y="152"/>
                  </a:cubicBezTo>
                  <a:cubicBezTo>
                    <a:pt x="14" y="151"/>
                    <a:pt x="14" y="150"/>
                    <a:pt x="14" y="149"/>
                  </a:cubicBezTo>
                  <a:cubicBezTo>
                    <a:pt x="13" y="147"/>
                    <a:pt x="14" y="148"/>
                    <a:pt x="15" y="147"/>
                  </a:cubicBezTo>
                  <a:cubicBezTo>
                    <a:pt x="16" y="146"/>
                    <a:pt x="15" y="145"/>
                    <a:pt x="15" y="145"/>
                  </a:cubicBezTo>
                  <a:cubicBezTo>
                    <a:pt x="15" y="144"/>
                    <a:pt x="16" y="143"/>
                    <a:pt x="16" y="142"/>
                  </a:cubicBezTo>
                  <a:cubicBezTo>
                    <a:pt x="16" y="141"/>
                    <a:pt x="15" y="140"/>
                    <a:pt x="14" y="140"/>
                  </a:cubicBezTo>
                  <a:cubicBezTo>
                    <a:pt x="14" y="141"/>
                    <a:pt x="14" y="142"/>
                    <a:pt x="14" y="142"/>
                  </a:cubicBezTo>
                  <a:cubicBezTo>
                    <a:pt x="14" y="143"/>
                    <a:pt x="14" y="143"/>
                    <a:pt x="13" y="143"/>
                  </a:cubicBezTo>
                  <a:cubicBezTo>
                    <a:pt x="11" y="143"/>
                    <a:pt x="11" y="143"/>
                    <a:pt x="11" y="143"/>
                  </a:cubicBezTo>
                  <a:cubicBezTo>
                    <a:pt x="11" y="144"/>
                    <a:pt x="12" y="146"/>
                    <a:pt x="10" y="146"/>
                  </a:cubicBezTo>
                  <a:cubicBezTo>
                    <a:pt x="10" y="146"/>
                    <a:pt x="8" y="146"/>
                    <a:pt x="7" y="145"/>
                  </a:cubicBezTo>
                  <a:cubicBezTo>
                    <a:pt x="6" y="145"/>
                    <a:pt x="6" y="143"/>
                    <a:pt x="5" y="143"/>
                  </a:cubicBezTo>
                  <a:cubicBezTo>
                    <a:pt x="5" y="142"/>
                    <a:pt x="6" y="141"/>
                    <a:pt x="6" y="140"/>
                  </a:cubicBezTo>
                  <a:cubicBezTo>
                    <a:pt x="6" y="140"/>
                    <a:pt x="5" y="139"/>
                    <a:pt x="5" y="138"/>
                  </a:cubicBezTo>
                  <a:cubicBezTo>
                    <a:pt x="4" y="137"/>
                    <a:pt x="5" y="135"/>
                    <a:pt x="4" y="134"/>
                  </a:cubicBezTo>
                  <a:cubicBezTo>
                    <a:pt x="4" y="132"/>
                    <a:pt x="4" y="130"/>
                    <a:pt x="4" y="128"/>
                  </a:cubicBezTo>
                  <a:cubicBezTo>
                    <a:pt x="4" y="126"/>
                    <a:pt x="4" y="124"/>
                    <a:pt x="4" y="121"/>
                  </a:cubicBezTo>
                  <a:cubicBezTo>
                    <a:pt x="4" y="120"/>
                    <a:pt x="4" y="118"/>
                    <a:pt x="4" y="116"/>
                  </a:cubicBezTo>
                  <a:cubicBezTo>
                    <a:pt x="3" y="115"/>
                    <a:pt x="2" y="115"/>
                    <a:pt x="0" y="115"/>
                  </a:cubicBezTo>
                  <a:cubicBezTo>
                    <a:pt x="7" y="165"/>
                    <a:pt x="7" y="165"/>
                    <a:pt x="7" y="165"/>
                  </a:cubicBezTo>
                  <a:cubicBezTo>
                    <a:pt x="8" y="168"/>
                    <a:pt x="8" y="168"/>
                    <a:pt x="8" y="168"/>
                  </a:cubicBezTo>
                  <a:cubicBezTo>
                    <a:pt x="8" y="171"/>
                    <a:pt x="8" y="171"/>
                    <a:pt x="8" y="171"/>
                  </a:cubicBezTo>
                  <a:cubicBezTo>
                    <a:pt x="3" y="179"/>
                    <a:pt x="3" y="179"/>
                    <a:pt x="3" y="179"/>
                  </a:cubicBezTo>
                  <a:cubicBezTo>
                    <a:pt x="3" y="180"/>
                    <a:pt x="3" y="180"/>
                    <a:pt x="3" y="180"/>
                  </a:cubicBezTo>
                  <a:cubicBezTo>
                    <a:pt x="20" y="185"/>
                    <a:pt x="20" y="185"/>
                    <a:pt x="20" y="185"/>
                  </a:cubicBezTo>
                  <a:cubicBezTo>
                    <a:pt x="41" y="192"/>
                    <a:pt x="41" y="192"/>
                    <a:pt x="41" y="192"/>
                  </a:cubicBezTo>
                  <a:cubicBezTo>
                    <a:pt x="22" y="218"/>
                    <a:pt x="22" y="218"/>
                    <a:pt x="22" y="218"/>
                  </a:cubicBezTo>
                  <a:cubicBezTo>
                    <a:pt x="17" y="224"/>
                    <a:pt x="17" y="224"/>
                    <a:pt x="17" y="224"/>
                  </a:cubicBezTo>
                  <a:cubicBezTo>
                    <a:pt x="17" y="224"/>
                    <a:pt x="17" y="224"/>
                    <a:pt x="17" y="224"/>
                  </a:cubicBezTo>
                  <a:cubicBezTo>
                    <a:pt x="18" y="224"/>
                    <a:pt x="18" y="224"/>
                    <a:pt x="19" y="225"/>
                  </a:cubicBezTo>
                  <a:cubicBezTo>
                    <a:pt x="20" y="225"/>
                    <a:pt x="21" y="225"/>
                    <a:pt x="21" y="226"/>
                  </a:cubicBezTo>
                  <a:cubicBezTo>
                    <a:pt x="22" y="226"/>
                    <a:pt x="23" y="226"/>
                    <a:pt x="23" y="227"/>
                  </a:cubicBezTo>
                  <a:cubicBezTo>
                    <a:pt x="24" y="227"/>
                    <a:pt x="24" y="228"/>
                    <a:pt x="25" y="229"/>
                  </a:cubicBezTo>
                  <a:cubicBezTo>
                    <a:pt x="25" y="229"/>
                    <a:pt x="26" y="229"/>
                    <a:pt x="26" y="230"/>
                  </a:cubicBezTo>
                  <a:cubicBezTo>
                    <a:pt x="28" y="231"/>
                    <a:pt x="29" y="232"/>
                    <a:pt x="31" y="233"/>
                  </a:cubicBezTo>
                  <a:cubicBezTo>
                    <a:pt x="32" y="234"/>
                    <a:pt x="33" y="234"/>
                    <a:pt x="34" y="235"/>
                  </a:cubicBezTo>
                  <a:cubicBezTo>
                    <a:pt x="35" y="235"/>
                    <a:pt x="36" y="236"/>
                    <a:pt x="37" y="236"/>
                  </a:cubicBezTo>
                  <a:cubicBezTo>
                    <a:pt x="39" y="236"/>
                    <a:pt x="41" y="236"/>
                    <a:pt x="43" y="235"/>
                  </a:cubicBezTo>
                  <a:cubicBezTo>
                    <a:pt x="48" y="234"/>
                    <a:pt x="52" y="234"/>
                    <a:pt x="57" y="235"/>
                  </a:cubicBezTo>
                  <a:cubicBezTo>
                    <a:pt x="59" y="236"/>
                    <a:pt x="61" y="236"/>
                    <a:pt x="63" y="237"/>
                  </a:cubicBezTo>
                  <a:cubicBezTo>
                    <a:pt x="65" y="237"/>
                    <a:pt x="67" y="238"/>
                    <a:pt x="69" y="238"/>
                  </a:cubicBezTo>
                  <a:cubicBezTo>
                    <a:pt x="71" y="238"/>
                    <a:pt x="72" y="238"/>
                    <a:pt x="74" y="237"/>
                  </a:cubicBezTo>
                  <a:cubicBezTo>
                    <a:pt x="75" y="237"/>
                    <a:pt x="76" y="237"/>
                    <a:pt x="77" y="237"/>
                  </a:cubicBezTo>
                  <a:cubicBezTo>
                    <a:pt x="78" y="238"/>
                    <a:pt x="80" y="238"/>
                    <a:pt x="80" y="238"/>
                  </a:cubicBezTo>
                  <a:cubicBezTo>
                    <a:pt x="81" y="239"/>
                    <a:pt x="82" y="239"/>
                    <a:pt x="83" y="240"/>
                  </a:cubicBezTo>
                  <a:cubicBezTo>
                    <a:pt x="83" y="240"/>
                    <a:pt x="84" y="240"/>
                    <a:pt x="85" y="240"/>
                  </a:cubicBezTo>
                  <a:cubicBezTo>
                    <a:pt x="85" y="239"/>
                    <a:pt x="85" y="239"/>
                    <a:pt x="85" y="239"/>
                  </a:cubicBezTo>
                  <a:cubicBezTo>
                    <a:pt x="86" y="240"/>
                    <a:pt x="86" y="240"/>
                    <a:pt x="86" y="240"/>
                  </a:cubicBezTo>
                  <a:cubicBezTo>
                    <a:pt x="86" y="240"/>
                    <a:pt x="86" y="240"/>
                    <a:pt x="86" y="240"/>
                  </a:cubicBezTo>
                  <a:cubicBezTo>
                    <a:pt x="86" y="241"/>
                    <a:pt x="86" y="241"/>
                    <a:pt x="86" y="241"/>
                  </a:cubicBezTo>
                  <a:cubicBezTo>
                    <a:pt x="87" y="242"/>
                    <a:pt x="88" y="242"/>
                    <a:pt x="89" y="243"/>
                  </a:cubicBezTo>
                  <a:cubicBezTo>
                    <a:pt x="89" y="244"/>
                    <a:pt x="90" y="244"/>
                    <a:pt x="91" y="244"/>
                  </a:cubicBezTo>
                  <a:cubicBezTo>
                    <a:pt x="91" y="245"/>
                    <a:pt x="92" y="245"/>
                    <a:pt x="92" y="246"/>
                  </a:cubicBezTo>
                  <a:cubicBezTo>
                    <a:pt x="93" y="246"/>
                    <a:pt x="94" y="245"/>
                    <a:pt x="95" y="245"/>
                  </a:cubicBezTo>
                  <a:cubicBezTo>
                    <a:pt x="95" y="245"/>
                    <a:pt x="95" y="246"/>
                    <a:pt x="95" y="246"/>
                  </a:cubicBezTo>
                  <a:cubicBezTo>
                    <a:pt x="95" y="247"/>
                    <a:pt x="96" y="247"/>
                    <a:pt x="97" y="248"/>
                  </a:cubicBezTo>
                  <a:cubicBezTo>
                    <a:pt x="99" y="248"/>
                    <a:pt x="101" y="249"/>
                    <a:pt x="103" y="249"/>
                  </a:cubicBezTo>
                  <a:cubicBezTo>
                    <a:pt x="105" y="249"/>
                    <a:pt x="107" y="249"/>
                    <a:pt x="108" y="250"/>
                  </a:cubicBezTo>
                  <a:cubicBezTo>
                    <a:pt x="109" y="250"/>
                    <a:pt x="109" y="250"/>
                    <a:pt x="109" y="250"/>
                  </a:cubicBezTo>
                  <a:cubicBezTo>
                    <a:pt x="110" y="251"/>
                    <a:pt x="110" y="251"/>
                    <a:pt x="111" y="251"/>
                  </a:cubicBezTo>
                  <a:cubicBezTo>
                    <a:pt x="111" y="252"/>
                    <a:pt x="112" y="252"/>
                    <a:pt x="112" y="252"/>
                  </a:cubicBezTo>
                  <a:cubicBezTo>
                    <a:pt x="113" y="253"/>
                    <a:pt x="113" y="253"/>
                    <a:pt x="114" y="253"/>
                  </a:cubicBezTo>
                  <a:cubicBezTo>
                    <a:pt x="115" y="253"/>
                    <a:pt x="116" y="253"/>
                    <a:pt x="117" y="254"/>
                  </a:cubicBezTo>
                  <a:cubicBezTo>
                    <a:pt x="117" y="254"/>
                    <a:pt x="118" y="255"/>
                    <a:pt x="118" y="255"/>
                  </a:cubicBezTo>
                  <a:cubicBezTo>
                    <a:pt x="119" y="256"/>
                    <a:pt x="119" y="256"/>
                    <a:pt x="119" y="256"/>
                  </a:cubicBezTo>
                  <a:cubicBezTo>
                    <a:pt x="121" y="256"/>
                    <a:pt x="121" y="257"/>
                    <a:pt x="122" y="258"/>
                  </a:cubicBezTo>
                  <a:cubicBezTo>
                    <a:pt x="124" y="258"/>
                    <a:pt x="125" y="258"/>
                    <a:pt x="127" y="258"/>
                  </a:cubicBezTo>
                  <a:cubicBezTo>
                    <a:pt x="128" y="258"/>
                    <a:pt x="128" y="259"/>
                    <a:pt x="129" y="260"/>
                  </a:cubicBezTo>
                  <a:cubicBezTo>
                    <a:pt x="130" y="260"/>
                    <a:pt x="131" y="260"/>
                    <a:pt x="131" y="261"/>
                  </a:cubicBezTo>
                  <a:cubicBezTo>
                    <a:pt x="132" y="261"/>
                    <a:pt x="132" y="262"/>
                    <a:pt x="133" y="261"/>
                  </a:cubicBezTo>
                  <a:cubicBezTo>
                    <a:pt x="133" y="261"/>
                    <a:pt x="133" y="261"/>
                    <a:pt x="133" y="261"/>
                  </a:cubicBezTo>
                  <a:cubicBezTo>
                    <a:pt x="133" y="260"/>
                    <a:pt x="133" y="260"/>
                    <a:pt x="133" y="260"/>
                  </a:cubicBezTo>
                  <a:cubicBezTo>
                    <a:pt x="133" y="260"/>
                    <a:pt x="133" y="259"/>
                    <a:pt x="133" y="259"/>
                  </a:cubicBezTo>
                  <a:cubicBezTo>
                    <a:pt x="133" y="258"/>
                    <a:pt x="132" y="256"/>
                    <a:pt x="133" y="257"/>
                  </a:cubicBezTo>
                  <a:cubicBezTo>
                    <a:pt x="134" y="257"/>
                    <a:pt x="134" y="257"/>
                    <a:pt x="134" y="258"/>
                  </a:cubicBezTo>
                  <a:cubicBezTo>
                    <a:pt x="134" y="258"/>
                    <a:pt x="134" y="258"/>
                    <a:pt x="135" y="258"/>
                  </a:cubicBezTo>
                  <a:cubicBezTo>
                    <a:pt x="136" y="259"/>
                    <a:pt x="136" y="259"/>
                    <a:pt x="137" y="258"/>
                  </a:cubicBezTo>
                  <a:cubicBezTo>
                    <a:pt x="138" y="258"/>
                    <a:pt x="138" y="258"/>
                    <a:pt x="139" y="258"/>
                  </a:cubicBezTo>
                  <a:cubicBezTo>
                    <a:pt x="140" y="260"/>
                    <a:pt x="137" y="259"/>
                    <a:pt x="136" y="260"/>
                  </a:cubicBezTo>
                  <a:cubicBezTo>
                    <a:pt x="136" y="260"/>
                    <a:pt x="135" y="260"/>
                    <a:pt x="135" y="261"/>
                  </a:cubicBezTo>
                  <a:cubicBezTo>
                    <a:pt x="135" y="261"/>
                    <a:pt x="135" y="262"/>
                    <a:pt x="135" y="262"/>
                  </a:cubicBezTo>
                  <a:cubicBezTo>
                    <a:pt x="135" y="263"/>
                    <a:pt x="135" y="263"/>
                    <a:pt x="136" y="263"/>
                  </a:cubicBezTo>
                  <a:cubicBezTo>
                    <a:pt x="136" y="264"/>
                    <a:pt x="136" y="264"/>
                    <a:pt x="137" y="264"/>
                  </a:cubicBezTo>
                  <a:cubicBezTo>
                    <a:pt x="138" y="264"/>
                    <a:pt x="138" y="264"/>
                    <a:pt x="139" y="263"/>
                  </a:cubicBezTo>
                  <a:cubicBezTo>
                    <a:pt x="140" y="263"/>
                    <a:pt x="140" y="263"/>
                    <a:pt x="141" y="262"/>
                  </a:cubicBezTo>
                  <a:cubicBezTo>
                    <a:pt x="141" y="262"/>
                    <a:pt x="141" y="261"/>
                    <a:pt x="142" y="261"/>
                  </a:cubicBezTo>
                  <a:cubicBezTo>
                    <a:pt x="143" y="261"/>
                    <a:pt x="144" y="261"/>
                    <a:pt x="144" y="261"/>
                  </a:cubicBezTo>
                  <a:cubicBezTo>
                    <a:pt x="145" y="261"/>
                    <a:pt x="145" y="261"/>
                    <a:pt x="146" y="260"/>
                  </a:cubicBezTo>
                  <a:cubicBezTo>
                    <a:pt x="146" y="260"/>
                    <a:pt x="147" y="260"/>
                    <a:pt x="147" y="261"/>
                  </a:cubicBezTo>
                  <a:cubicBezTo>
                    <a:pt x="147" y="262"/>
                    <a:pt x="147" y="262"/>
                    <a:pt x="147" y="262"/>
                  </a:cubicBezTo>
                  <a:cubicBezTo>
                    <a:pt x="147" y="262"/>
                    <a:pt x="147" y="262"/>
                    <a:pt x="147" y="262"/>
                  </a:cubicBezTo>
                  <a:cubicBezTo>
                    <a:pt x="147" y="263"/>
                    <a:pt x="147" y="263"/>
                    <a:pt x="146" y="263"/>
                  </a:cubicBezTo>
                  <a:cubicBezTo>
                    <a:pt x="146" y="263"/>
                    <a:pt x="146" y="262"/>
                    <a:pt x="146" y="261"/>
                  </a:cubicBezTo>
                  <a:cubicBezTo>
                    <a:pt x="145" y="261"/>
                    <a:pt x="143" y="262"/>
                    <a:pt x="143" y="263"/>
                  </a:cubicBezTo>
                  <a:cubicBezTo>
                    <a:pt x="143" y="264"/>
                    <a:pt x="144" y="264"/>
                    <a:pt x="144" y="264"/>
                  </a:cubicBezTo>
                  <a:cubicBezTo>
                    <a:pt x="145" y="264"/>
                    <a:pt x="146" y="265"/>
                    <a:pt x="146" y="265"/>
                  </a:cubicBezTo>
                  <a:cubicBezTo>
                    <a:pt x="148" y="265"/>
                    <a:pt x="149" y="265"/>
                    <a:pt x="151" y="265"/>
                  </a:cubicBezTo>
                  <a:cubicBezTo>
                    <a:pt x="152" y="264"/>
                    <a:pt x="152" y="262"/>
                    <a:pt x="152" y="261"/>
                  </a:cubicBezTo>
                  <a:cubicBezTo>
                    <a:pt x="152" y="261"/>
                    <a:pt x="153" y="260"/>
                    <a:pt x="153" y="260"/>
                  </a:cubicBezTo>
                  <a:cubicBezTo>
                    <a:pt x="154" y="260"/>
                    <a:pt x="153" y="260"/>
                    <a:pt x="153" y="261"/>
                  </a:cubicBezTo>
                  <a:cubicBezTo>
                    <a:pt x="153" y="262"/>
                    <a:pt x="153" y="263"/>
                    <a:pt x="152" y="264"/>
                  </a:cubicBezTo>
                  <a:cubicBezTo>
                    <a:pt x="152" y="264"/>
                    <a:pt x="151" y="265"/>
                    <a:pt x="151" y="266"/>
                  </a:cubicBezTo>
                  <a:cubicBezTo>
                    <a:pt x="152" y="267"/>
                    <a:pt x="153" y="268"/>
                    <a:pt x="154" y="268"/>
                  </a:cubicBezTo>
                  <a:cubicBezTo>
                    <a:pt x="155" y="268"/>
                    <a:pt x="156" y="266"/>
                    <a:pt x="155" y="265"/>
                  </a:cubicBezTo>
                  <a:cubicBezTo>
                    <a:pt x="155" y="264"/>
                    <a:pt x="155" y="263"/>
                    <a:pt x="155" y="262"/>
                  </a:cubicBezTo>
                  <a:cubicBezTo>
                    <a:pt x="156" y="262"/>
                    <a:pt x="156" y="261"/>
                    <a:pt x="156" y="260"/>
                  </a:cubicBezTo>
                  <a:cubicBezTo>
                    <a:pt x="157" y="260"/>
                    <a:pt x="157" y="261"/>
                    <a:pt x="157" y="261"/>
                  </a:cubicBezTo>
                  <a:cubicBezTo>
                    <a:pt x="157" y="262"/>
                    <a:pt x="156" y="262"/>
                    <a:pt x="156" y="263"/>
                  </a:cubicBezTo>
                  <a:cubicBezTo>
                    <a:pt x="156" y="263"/>
                    <a:pt x="156" y="263"/>
                    <a:pt x="156" y="264"/>
                  </a:cubicBezTo>
                  <a:cubicBezTo>
                    <a:pt x="156" y="265"/>
                    <a:pt x="157" y="265"/>
                    <a:pt x="157" y="266"/>
                  </a:cubicBezTo>
                  <a:cubicBezTo>
                    <a:pt x="156" y="266"/>
                    <a:pt x="156" y="266"/>
                    <a:pt x="156" y="267"/>
                  </a:cubicBezTo>
                  <a:cubicBezTo>
                    <a:pt x="156" y="267"/>
                    <a:pt x="156" y="267"/>
                    <a:pt x="156" y="267"/>
                  </a:cubicBezTo>
                  <a:cubicBezTo>
                    <a:pt x="157" y="268"/>
                    <a:pt x="157" y="268"/>
                    <a:pt x="157" y="268"/>
                  </a:cubicBezTo>
                  <a:cubicBezTo>
                    <a:pt x="157" y="268"/>
                    <a:pt x="157" y="268"/>
                    <a:pt x="157" y="268"/>
                  </a:cubicBezTo>
                  <a:cubicBezTo>
                    <a:pt x="157" y="269"/>
                    <a:pt x="158" y="269"/>
                    <a:pt x="158" y="269"/>
                  </a:cubicBezTo>
                  <a:cubicBezTo>
                    <a:pt x="159" y="269"/>
                    <a:pt x="159" y="269"/>
                    <a:pt x="159" y="269"/>
                  </a:cubicBezTo>
                  <a:cubicBezTo>
                    <a:pt x="160" y="268"/>
                    <a:pt x="160" y="268"/>
                    <a:pt x="160" y="268"/>
                  </a:cubicBezTo>
                  <a:cubicBezTo>
                    <a:pt x="161" y="268"/>
                    <a:pt x="161" y="267"/>
                    <a:pt x="162" y="267"/>
                  </a:cubicBezTo>
                  <a:cubicBezTo>
                    <a:pt x="162" y="266"/>
                    <a:pt x="162" y="266"/>
                    <a:pt x="162" y="265"/>
                  </a:cubicBezTo>
                  <a:cubicBezTo>
                    <a:pt x="163" y="264"/>
                    <a:pt x="163" y="264"/>
                    <a:pt x="164" y="264"/>
                  </a:cubicBezTo>
                  <a:cubicBezTo>
                    <a:pt x="165" y="264"/>
                    <a:pt x="166" y="264"/>
                    <a:pt x="166" y="264"/>
                  </a:cubicBezTo>
                  <a:cubicBezTo>
                    <a:pt x="166" y="265"/>
                    <a:pt x="165" y="264"/>
                    <a:pt x="164" y="265"/>
                  </a:cubicBezTo>
                  <a:cubicBezTo>
                    <a:pt x="163" y="265"/>
                    <a:pt x="163" y="266"/>
                    <a:pt x="163" y="267"/>
                  </a:cubicBezTo>
                  <a:cubicBezTo>
                    <a:pt x="163" y="267"/>
                    <a:pt x="163" y="268"/>
                    <a:pt x="163" y="268"/>
                  </a:cubicBezTo>
                  <a:cubicBezTo>
                    <a:pt x="162" y="269"/>
                    <a:pt x="162" y="269"/>
                    <a:pt x="162" y="269"/>
                  </a:cubicBezTo>
                  <a:cubicBezTo>
                    <a:pt x="162" y="270"/>
                    <a:pt x="164" y="270"/>
                    <a:pt x="164" y="270"/>
                  </a:cubicBezTo>
                  <a:cubicBezTo>
                    <a:pt x="165" y="270"/>
                    <a:pt x="165" y="270"/>
                    <a:pt x="165" y="269"/>
                  </a:cubicBezTo>
                  <a:cubicBezTo>
                    <a:pt x="165" y="269"/>
                    <a:pt x="165" y="268"/>
                    <a:pt x="165" y="268"/>
                  </a:cubicBezTo>
                  <a:cubicBezTo>
                    <a:pt x="167" y="267"/>
                    <a:pt x="167" y="267"/>
                    <a:pt x="167" y="267"/>
                  </a:cubicBezTo>
                  <a:cubicBezTo>
                    <a:pt x="167" y="267"/>
                    <a:pt x="168" y="267"/>
                    <a:pt x="168" y="267"/>
                  </a:cubicBezTo>
                  <a:cubicBezTo>
                    <a:pt x="169" y="267"/>
                    <a:pt x="168" y="268"/>
                    <a:pt x="168" y="268"/>
                  </a:cubicBezTo>
                  <a:cubicBezTo>
                    <a:pt x="167" y="268"/>
                    <a:pt x="166" y="268"/>
                    <a:pt x="166" y="269"/>
                  </a:cubicBezTo>
                  <a:cubicBezTo>
                    <a:pt x="166" y="270"/>
                    <a:pt x="167" y="270"/>
                    <a:pt x="167" y="270"/>
                  </a:cubicBezTo>
                  <a:cubicBezTo>
                    <a:pt x="167" y="271"/>
                    <a:pt x="168" y="271"/>
                    <a:pt x="168" y="270"/>
                  </a:cubicBezTo>
                  <a:cubicBezTo>
                    <a:pt x="168" y="270"/>
                    <a:pt x="169" y="269"/>
                    <a:pt x="169" y="269"/>
                  </a:cubicBezTo>
                  <a:cubicBezTo>
                    <a:pt x="170" y="268"/>
                    <a:pt x="171" y="267"/>
                    <a:pt x="171" y="267"/>
                  </a:cubicBezTo>
                  <a:cubicBezTo>
                    <a:pt x="172" y="267"/>
                    <a:pt x="171" y="269"/>
                    <a:pt x="171" y="270"/>
                  </a:cubicBezTo>
                  <a:cubicBezTo>
                    <a:pt x="170" y="270"/>
                    <a:pt x="169" y="271"/>
                    <a:pt x="169" y="272"/>
                  </a:cubicBezTo>
                  <a:cubicBezTo>
                    <a:pt x="169" y="273"/>
                    <a:pt x="169" y="273"/>
                    <a:pt x="169" y="273"/>
                  </a:cubicBezTo>
                  <a:cubicBezTo>
                    <a:pt x="170" y="274"/>
                    <a:pt x="170" y="274"/>
                    <a:pt x="170" y="274"/>
                  </a:cubicBezTo>
                  <a:cubicBezTo>
                    <a:pt x="170" y="275"/>
                    <a:pt x="170" y="275"/>
                    <a:pt x="171" y="275"/>
                  </a:cubicBezTo>
                  <a:cubicBezTo>
                    <a:pt x="171" y="275"/>
                    <a:pt x="172" y="276"/>
                    <a:pt x="172" y="276"/>
                  </a:cubicBezTo>
                  <a:cubicBezTo>
                    <a:pt x="173" y="276"/>
                    <a:pt x="173" y="276"/>
                    <a:pt x="174" y="277"/>
                  </a:cubicBezTo>
                  <a:cubicBezTo>
                    <a:pt x="175" y="276"/>
                    <a:pt x="175" y="274"/>
                    <a:pt x="175" y="274"/>
                  </a:cubicBezTo>
                  <a:cubicBezTo>
                    <a:pt x="175" y="272"/>
                    <a:pt x="176" y="270"/>
                    <a:pt x="178" y="271"/>
                  </a:cubicBezTo>
                  <a:cubicBezTo>
                    <a:pt x="178" y="271"/>
                    <a:pt x="178" y="271"/>
                    <a:pt x="178" y="272"/>
                  </a:cubicBezTo>
                  <a:cubicBezTo>
                    <a:pt x="177" y="272"/>
                    <a:pt x="177" y="272"/>
                    <a:pt x="177" y="272"/>
                  </a:cubicBezTo>
                  <a:cubicBezTo>
                    <a:pt x="177" y="273"/>
                    <a:pt x="176" y="273"/>
                    <a:pt x="176" y="273"/>
                  </a:cubicBezTo>
                  <a:cubicBezTo>
                    <a:pt x="176" y="274"/>
                    <a:pt x="176" y="275"/>
                    <a:pt x="176" y="276"/>
                  </a:cubicBezTo>
                  <a:cubicBezTo>
                    <a:pt x="177" y="276"/>
                    <a:pt x="177" y="276"/>
                    <a:pt x="177" y="276"/>
                  </a:cubicBezTo>
                  <a:cubicBezTo>
                    <a:pt x="177" y="277"/>
                    <a:pt x="177" y="277"/>
                    <a:pt x="178" y="278"/>
                  </a:cubicBezTo>
                  <a:cubicBezTo>
                    <a:pt x="179" y="278"/>
                    <a:pt x="179" y="278"/>
                    <a:pt x="180" y="277"/>
                  </a:cubicBezTo>
                  <a:cubicBezTo>
                    <a:pt x="180" y="277"/>
                    <a:pt x="181" y="276"/>
                    <a:pt x="181" y="275"/>
                  </a:cubicBezTo>
                  <a:cubicBezTo>
                    <a:pt x="182" y="275"/>
                    <a:pt x="181" y="274"/>
                    <a:pt x="181" y="273"/>
                  </a:cubicBezTo>
                  <a:cubicBezTo>
                    <a:pt x="182" y="272"/>
                    <a:pt x="182" y="270"/>
                    <a:pt x="183" y="270"/>
                  </a:cubicBezTo>
                  <a:cubicBezTo>
                    <a:pt x="183" y="270"/>
                    <a:pt x="184" y="270"/>
                    <a:pt x="185" y="269"/>
                  </a:cubicBezTo>
                  <a:cubicBezTo>
                    <a:pt x="185" y="269"/>
                    <a:pt x="185" y="269"/>
                    <a:pt x="185" y="269"/>
                  </a:cubicBezTo>
                  <a:cubicBezTo>
                    <a:pt x="185" y="269"/>
                    <a:pt x="185" y="268"/>
                    <a:pt x="186" y="269"/>
                  </a:cubicBezTo>
                  <a:cubicBezTo>
                    <a:pt x="186" y="271"/>
                    <a:pt x="186" y="271"/>
                    <a:pt x="186" y="271"/>
                  </a:cubicBezTo>
                  <a:cubicBezTo>
                    <a:pt x="185" y="271"/>
                    <a:pt x="185" y="271"/>
                    <a:pt x="184" y="272"/>
                  </a:cubicBezTo>
                  <a:cubicBezTo>
                    <a:pt x="183" y="272"/>
                    <a:pt x="183" y="273"/>
                    <a:pt x="183" y="274"/>
                  </a:cubicBezTo>
                  <a:cubicBezTo>
                    <a:pt x="182" y="275"/>
                    <a:pt x="182" y="275"/>
                    <a:pt x="182" y="276"/>
                  </a:cubicBezTo>
                  <a:cubicBezTo>
                    <a:pt x="182" y="277"/>
                    <a:pt x="182" y="278"/>
                    <a:pt x="182" y="278"/>
                  </a:cubicBezTo>
                  <a:cubicBezTo>
                    <a:pt x="183" y="279"/>
                    <a:pt x="185" y="278"/>
                    <a:pt x="185" y="276"/>
                  </a:cubicBezTo>
                  <a:cubicBezTo>
                    <a:pt x="185" y="276"/>
                    <a:pt x="185" y="275"/>
                    <a:pt x="185" y="275"/>
                  </a:cubicBezTo>
                  <a:cubicBezTo>
                    <a:pt x="185" y="274"/>
                    <a:pt x="185" y="274"/>
                    <a:pt x="186" y="273"/>
                  </a:cubicBezTo>
                  <a:cubicBezTo>
                    <a:pt x="186" y="273"/>
                    <a:pt x="187" y="273"/>
                    <a:pt x="187" y="273"/>
                  </a:cubicBezTo>
                  <a:cubicBezTo>
                    <a:pt x="186" y="274"/>
                    <a:pt x="186" y="274"/>
                    <a:pt x="186" y="274"/>
                  </a:cubicBezTo>
                  <a:cubicBezTo>
                    <a:pt x="186" y="275"/>
                    <a:pt x="186" y="275"/>
                    <a:pt x="186" y="276"/>
                  </a:cubicBezTo>
                  <a:cubicBezTo>
                    <a:pt x="187" y="277"/>
                    <a:pt x="186" y="278"/>
                    <a:pt x="185" y="278"/>
                  </a:cubicBezTo>
                  <a:cubicBezTo>
                    <a:pt x="184" y="278"/>
                    <a:pt x="183" y="278"/>
                    <a:pt x="182" y="279"/>
                  </a:cubicBezTo>
                  <a:cubicBezTo>
                    <a:pt x="181" y="281"/>
                    <a:pt x="187" y="282"/>
                    <a:pt x="188" y="282"/>
                  </a:cubicBezTo>
                  <a:cubicBezTo>
                    <a:pt x="189" y="282"/>
                    <a:pt x="189" y="281"/>
                    <a:pt x="189" y="280"/>
                  </a:cubicBezTo>
                  <a:cubicBezTo>
                    <a:pt x="190" y="280"/>
                    <a:pt x="191" y="277"/>
                    <a:pt x="192" y="278"/>
                  </a:cubicBezTo>
                  <a:cubicBezTo>
                    <a:pt x="192" y="278"/>
                    <a:pt x="192" y="279"/>
                    <a:pt x="191" y="280"/>
                  </a:cubicBezTo>
                  <a:cubicBezTo>
                    <a:pt x="191" y="280"/>
                    <a:pt x="191" y="280"/>
                    <a:pt x="192" y="281"/>
                  </a:cubicBezTo>
                  <a:cubicBezTo>
                    <a:pt x="192" y="282"/>
                    <a:pt x="190" y="282"/>
                    <a:pt x="190" y="283"/>
                  </a:cubicBezTo>
                  <a:cubicBezTo>
                    <a:pt x="190" y="284"/>
                    <a:pt x="190" y="285"/>
                    <a:pt x="191" y="286"/>
                  </a:cubicBezTo>
                  <a:cubicBezTo>
                    <a:pt x="191" y="286"/>
                    <a:pt x="192" y="287"/>
                    <a:pt x="193" y="287"/>
                  </a:cubicBezTo>
                  <a:cubicBezTo>
                    <a:pt x="193" y="287"/>
                    <a:pt x="194" y="287"/>
                    <a:pt x="194" y="286"/>
                  </a:cubicBezTo>
                  <a:cubicBezTo>
                    <a:pt x="195" y="286"/>
                    <a:pt x="195" y="287"/>
                    <a:pt x="194" y="288"/>
                  </a:cubicBezTo>
                  <a:cubicBezTo>
                    <a:pt x="194" y="288"/>
                    <a:pt x="193" y="288"/>
                    <a:pt x="192" y="289"/>
                  </a:cubicBezTo>
                  <a:cubicBezTo>
                    <a:pt x="192" y="290"/>
                    <a:pt x="191" y="291"/>
                    <a:pt x="192" y="292"/>
                  </a:cubicBezTo>
                  <a:cubicBezTo>
                    <a:pt x="193" y="292"/>
                    <a:pt x="193" y="292"/>
                    <a:pt x="193" y="292"/>
                  </a:cubicBezTo>
                  <a:cubicBezTo>
                    <a:pt x="194" y="291"/>
                    <a:pt x="194" y="291"/>
                    <a:pt x="194" y="291"/>
                  </a:cubicBezTo>
                  <a:cubicBezTo>
                    <a:pt x="194" y="290"/>
                    <a:pt x="194" y="290"/>
                    <a:pt x="195" y="289"/>
                  </a:cubicBezTo>
                  <a:cubicBezTo>
                    <a:pt x="196" y="289"/>
                    <a:pt x="197" y="288"/>
                    <a:pt x="198" y="288"/>
                  </a:cubicBezTo>
                  <a:cubicBezTo>
                    <a:pt x="197" y="289"/>
                    <a:pt x="195" y="290"/>
                    <a:pt x="196" y="291"/>
                  </a:cubicBezTo>
                  <a:cubicBezTo>
                    <a:pt x="196" y="292"/>
                    <a:pt x="196" y="293"/>
                    <a:pt x="197" y="293"/>
                  </a:cubicBezTo>
                  <a:cubicBezTo>
                    <a:pt x="198" y="293"/>
                    <a:pt x="199" y="292"/>
                    <a:pt x="200" y="292"/>
                  </a:cubicBezTo>
                  <a:cubicBezTo>
                    <a:pt x="201" y="291"/>
                    <a:pt x="201" y="290"/>
                    <a:pt x="202" y="290"/>
                  </a:cubicBezTo>
                  <a:cubicBezTo>
                    <a:pt x="202" y="289"/>
                    <a:pt x="203" y="289"/>
                    <a:pt x="204" y="288"/>
                  </a:cubicBezTo>
                  <a:cubicBezTo>
                    <a:pt x="204" y="288"/>
                    <a:pt x="205" y="287"/>
                    <a:pt x="205" y="287"/>
                  </a:cubicBezTo>
                  <a:cubicBezTo>
                    <a:pt x="206" y="286"/>
                    <a:pt x="207" y="286"/>
                    <a:pt x="207" y="286"/>
                  </a:cubicBezTo>
                  <a:cubicBezTo>
                    <a:pt x="209" y="286"/>
                    <a:pt x="210" y="284"/>
                    <a:pt x="211" y="284"/>
                  </a:cubicBezTo>
                  <a:cubicBezTo>
                    <a:pt x="211" y="285"/>
                    <a:pt x="210" y="285"/>
                    <a:pt x="209" y="286"/>
                  </a:cubicBezTo>
                  <a:cubicBezTo>
                    <a:pt x="208" y="286"/>
                    <a:pt x="208" y="287"/>
                    <a:pt x="207" y="287"/>
                  </a:cubicBezTo>
                  <a:cubicBezTo>
                    <a:pt x="206" y="287"/>
                    <a:pt x="206" y="288"/>
                    <a:pt x="205" y="288"/>
                  </a:cubicBezTo>
                  <a:cubicBezTo>
                    <a:pt x="205" y="289"/>
                    <a:pt x="205" y="289"/>
                    <a:pt x="204" y="290"/>
                  </a:cubicBezTo>
                  <a:cubicBezTo>
                    <a:pt x="203" y="290"/>
                    <a:pt x="202" y="290"/>
                    <a:pt x="202" y="291"/>
                  </a:cubicBezTo>
                  <a:cubicBezTo>
                    <a:pt x="201" y="292"/>
                    <a:pt x="202" y="292"/>
                    <a:pt x="202" y="292"/>
                  </a:cubicBezTo>
                  <a:cubicBezTo>
                    <a:pt x="203" y="294"/>
                    <a:pt x="205" y="295"/>
                    <a:pt x="206" y="296"/>
                  </a:cubicBezTo>
                  <a:cubicBezTo>
                    <a:pt x="207" y="297"/>
                    <a:pt x="207" y="297"/>
                    <a:pt x="208" y="297"/>
                  </a:cubicBezTo>
                  <a:cubicBezTo>
                    <a:pt x="208" y="298"/>
                    <a:pt x="208" y="298"/>
                    <a:pt x="208" y="298"/>
                  </a:cubicBezTo>
                  <a:cubicBezTo>
                    <a:pt x="209" y="299"/>
                    <a:pt x="209" y="299"/>
                    <a:pt x="210" y="299"/>
                  </a:cubicBezTo>
                  <a:cubicBezTo>
                    <a:pt x="210" y="298"/>
                    <a:pt x="210" y="298"/>
                    <a:pt x="210" y="297"/>
                  </a:cubicBezTo>
                  <a:cubicBezTo>
                    <a:pt x="210" y="296"/>
                    <a:pt x="209" y="296"/>
                    <a:pt x="209" y="295"/>
                  </a:cubicBezTo>
                  <a:cubicBezTo>
                    <a:pt x="208" y="295"/>
                    <a:pt x="208" y="294"/>
                    <a:pt x="208" y="293"/>
                  </a:cubicBezTo>
                  <a:cubicBezTo>
                    <a:pt x="209" y="293"/>
                    <a:pt x="209" y="294"/>
                    <a:pt x="209" y="294"/>
                  </a:cubicBezTo>
                  <a:cubicBezTo>
                    <a:pt x="209" y="295"/>
                    <a:pt x="210" y="295"/>
                    <a:pt x="210" y="295"/>
                  </a:cubicBezTo>
                  <a:cubicBezTo>
                    <a:pt x="211" y="295"/>
                    <a:pt x="211" y="295"/>
                    <a:pt x="212" y="295"/>
                  </a:cubicBezTo>
                  <a:cubicBezTo>
                    <a:pt x="212" y="294"/>
                    <a:pt x="212" y="294"/>
                    <a:pt x="212" y="294"/>
                  </a:cubicBezTo>
                  <a:cubicBezTo>
                    <a:pt x="212" y="293"/>
                    <a:pt x="212" y="293"/>
                    <a:pt x="212" y="293"/>
                  </a:cubicBezTo>
                  <a:cubicBezTo>
                    <a:pt x="213" y="292"/>
                    <a:pt x="213" y="292"/>
                    <a:pt x="214" y="292"/>
                  </a:cubicBezTo>
                  <a:cubicBezTo>
                    <a:pt x="214" y="292"/>
                    <a:pt x="214" y="292"/>
                    <a:pt x="215" y="291"/>
                  </a:cubicBezTo>
                  <a:cubicBezTo>
                    <a:pt x="216" y="291"/>
                    <a:pt x="217" y="291"/>
                    <a:pt x="218" y="291"/>
                  </a:cubicBezTo>
                  <a:cubicBezTo>
                    <a:pt x="218" y="291"/>
                    <a:pt x="219" y="290"/>
                    <a:pt x="219" y="290"/>
                  </a:cubicBezTo>
                  <a:cubicBezTo>
                    <a:pt x="220" y="289"/>
                    <a:pt x="220" y="290"/>
                    <a:pt x="220" y="291"/>
                  </a:cubicBezTo>
                  <a:cubicBezTo>
                    <a:pt x="220" y="291"/>
                    <a:pt x="220" y="292"/>
                    <a:pt x="219" y="292"/>
                  </a:cubicBezTo>
                  <a:cubicBezTo>
                    <a:pt x="219" y="293"/>
                    <a:pt x="219" y="293"/>
                    <a:pt x="219" y="293"/>
                  </a:cubicBezTo>
                  <a:cubicBezTo>
                    <a:pt x="217" y="293"/>
                    <a:pt x="215" y="293"/>
                    <a:pt x="214" y="294"/>
                  </a:cubicBezTo>
                  <a:cubicBezTo>
                    <a:pt x="213" y="295"/>
                    <a:pt x="213" y="295"/>
                    <a:pt x="213" y="296"/>
                  </a:cubicBezTo>
                  <a:cubicBezTo>
                    <a:pt x="213" y="297"/>
                    <a:pt x="212" y="298"/>
                    <a:pt x="212" y="299"/>
                  </a:cubicBezTo>
                  <a:cubicBezTo>
                    <a:pt x="212" y="300"/>
                    <a:pt x="212" y="301"/>
                    <a:pt x="213" y="301"/>
                  </a:cubicBezTo>
                  <a:cubicBezTo>
                    <a:pt x="213" y="301"/>
                    <a:pt x="214" y="302"/>
                    <a:pt x="214" y="302"/>
                  </a:cubicBezTo>
                  <a:cubicBezTo>
                    <a:pt x="215" y="303"/>
                    <a:pt x="216" y="301"/>
                    <a:pt x="216" y="301"/>
                  </a:cubicBezTo>
                  <a:cubicBezTo>
                    <a:pt x="216" y="299"/>
                    <a:pt x="217" y="298"/>
                    <a:pt x="218" y="297"/>
                  </a:cubicBezTo>
                  <a:cubicBezTo>
                    <a:pt x="218" y="297"/>
                    <a:pt x="219" y="296"/>
                    <a:pt x="219" y="296"/>
                  </a:cubicBezTo>
                  <a:cubicBezTo>
                    <a:pt x="220" y="296"/>
                    <a:pt x="221" y="297"/>
                    <a:pt x="221" y="298"/>
                  </a:cubicBezTo>
                  <a:cubicBezTo>
                    <a:pt x="222" y="297"/>
                    <a:pt x="224" y="296"/>
                    <a:pt x="225" y="295"/>
                  </a:cubicBezTo>
                  <a:cubicBezTo>
                    <a:pt x="226" y="294"/>
                    <a:pt x="226" y="292"/>
                    <a:pt x="227" y="292"/>
                  </a:cubicBezTo>
                  <a:cubicBezTo>
                    <a:pt x="228" y="292"/>
                    <a:pt x="228" y="293"/>
                    <a:pt x="229" y="293"/>
                  </a:cubicBezTo>
                  <a:cubicBezTo>
                    <a:pt x="229" y="294"/>
                    <a:pt x="230" y="294"/>
                    <a:pt x="230" y="295"/>
                  </a:cubicBezTo>
                  <a:cubicBezTo>
                    <a:pt x="229" y="295"/>
                    <a:pt x="229" y="295"/>
                    <a:pt x="229" y="295"/>
                  </a:cubicBezTo>
                  <a:cubicBezTo>
                    <a:pt x="229" y="295"/>
                    <a:pt x="229" y="295"/>
                    <a:pt x="229" y="295"/>
                  </a:cubicBezTo>
                  <a:cubicBezTo>
                    <a:pt x="229" y="294"/>
                    <a:pt x="228" y="294"/>
                    <a:pt x="228" y="293"/>
                  </a:cubicBezTo>
                  <a:cubicBezTo>
                    <a:pt x="227" y="293"/>
                    <a:pt x="227" y="294"/>
                    <a:pt x="226" y="295"/>
                  </a:cubicBezTo>
                  <a:cubicBezTo>
                    <a:pt x="226" y="295"/>
                    <a:pt x="226" y="295"/>
                    <a:pt x="225" y="296"/>
                  </a:cubicBezTo>
                  <a:cubicBezTo>
                    <a:pt x="225" y="296"/>
                    <a:pt x="224" y="296"/>
                    <a:pt x="224" y="297"/>
                  </a:cubicBezTo>
                  <a:cubicBezTo>
                    <a:pt x="224" y="298"/>
                    <a:pt x="224" y="298"/>
                    <a:pt x="224" y="298"/>
                  </a:cubicBezTo>
                  <a:cubicBezTo>
                    <a:pt x="224" y="298"/>
                    <a:pt x="225" y="299"/>
                    <a:pt x="226" y="299"/>
                  </a:cubicBezTo>
                  <a:cubicBezTo>
                    <a:pt x="226" y="299"/>
                    <a:pt x="227" y="299"/>
                    <a:pt x="226" y="300"/>
                  </a:cubicBezTo>
                  <a:cubicBezTo>
                    <a:pt x="225" y="301"/>
                    <a:pt x="225" y="300"/>
                    <a:pt x="224" y="300"/>
                  </a:cubicBezTo>
                  <a:cubicBezTo>
                    <a:pt x="224" y="299"/>
                    <a:pt x="224" y="299"/>
                    <a:pt x="223" y="299"/>
                  </a:cubicBezTo>
                  <a:cubicBezTo>
                    <a:pt x="223" y="298"/>
                    <a:pt x="223" y="298"/>
                    <a:pt x="223" y="298"/>
                  </a:cubicBezTo>
                  <a:cubicBezTo>
                    <a:pt x="222" y="299"/>
                    <a:pt x="222" y="299"/>
                    <a:pt x="222" y="299"/>
                  </a:cubicBezTo>
                  <a:cubicBezTo>
                    <a:pt x="221" y="300"/>
                    <a:pt x="220" y="299"/>
                    <a:pt x="219" y="299"/>
                  </a:cubicBezTo>
                  <a:cubicBezTo>
                    <a:pt x="218" y="298"/>
                    <a:pt x="218" y="299"/>
                    <a:pt x="218" y="300"/>
                  </a:cubicBezTo>
                  <a:cubicBezTo>
                    <a:pt x="217" y="301"/>
                    <a:pt x="217" y="302"/>
                    <a:pt x="216" y="303"/>
                  </a:cubicBezTo>
                  <a:cubicBezTo>
                    <a:pt x="216" y="303"/>
                    <a:pt x="215" y="303"/>
                    <a:pt x="215" y="303"/>
                  </a:cubicBezTo>
                  <a:cubicBezTo>
                    <a:pt x="213" y="304"/>
                    <a:pt x="212" y="304"/>
                    <a:pt x="212" y="306"/>
                  </a:cubicBezTo>
                  <a:cubicBezTo>
                    <a:pt x="212" y="308"/>
                    <a:pt x="212" y="310"/>
                    <a:pt x="212" y="311"/>
                  </a:cubicBezTo>
                  <a:cubicBezTo>
                    <a:pt x="212" y="312"/>
                    <a:pt x="213" y="314"/>
                    <a:pt x="213" y="314"/>
                  </a:cubicBezTo>
                  <a:cubicBezTo>
                    <a:pt x="214" y="315"/>
                    <a:pt x="215" y="314"/>
                    <a:pt x="217" y="313"/>
                  </a:cubicBezTo>
                  <a:cubicBezTo>
                    <a:pt x="218" y="313"/>
                    <a:pt x="218" y="314"/>
                    <a:pt x="219" y="314"/>
                  </a:cubicBezTo>
                  <a:cubicBezTo>
                    <a:pt x="220" y="314"/>
                    <a:pt x="220" y="313"/>
                    <a:pt x="220" y="313"/>
                  </a:cubicBezTo>
                  <a:cubicBezTo>
                    <a:pt x="221" y="312"/>
                    <a:pt x="221" y="312"/>
                    <a:pt x="222" y="311"/>
                  </a:cubicBezTo>
                  <a:cubicBezTo>
                    <a:pt x="222" y="311"/>
                    <a:pt x="222" y="310"/>
                    <a:pt x="223" y="310"/>
                  </a:cubicBezTo>
                  <a:cubicBezTo>
                    <a:pt x="223" y="309"/>
                    <a:pt x="225" y="308"/>
                    <a:pt x="224" y="310"/>
                  </a:cubicBezTo>
                  <a:cubicBezTo>
                    <a:pt x="224" y="310"/>
                    <a:pt x="223" y="311"/>
                    <a:pt x="223" y="311"/>
                  </a:cubicBezTo>
                  <a:cubicBezTo>
                    <a:pt x="223" y="312"/>
                    <a:pt x="222" y="312"/>
                    <a:pt x="222" y="312"/>
                  </a:cubicBezTo>
                  <a:cubicBezTo>
                    <a:pt x="224" y="312"/>
                    <a:pt x="226" y="310"/>
                    <a:pt x="228" y="310"/>
                  </a:cubicBezTo>
                  <a:cubicBezTo>
                    <a:pt x="230" y="310"/>
                    <a:pt x="234" y="311"/>
                    <a:pt x="236" y="309"/>
                  </a:cubicBezTo>
                  <a:cubicBezTo>
                    <a:pt x="237" y="308"/>
                    <a:pt x="237" y="307"/>
                    <a:pt x="237" y="306"/>
                  </a:cubicBezTo>
                  <a:cubicBezTo>
                    <a:pt x="238" y="305"/>
                    <a:pt x="239" y="305"/>
                    <a:pt x="240" y="305"/>
                  </a:cubicBezTo>
                  <a:cubicBezTo>
                    <a:pt x="242" y="306"/>
                    <a:pt x="245" y="306"/>
                    <a:pt x="246" y="307"/>
                  </a:cubicBezTo>
                  <a:cubicBezTo>
                    <a:pt x="246" y="308"/>
                    <a:pt x="245" y="307"/>
                    <a:pt x="245" y="307"/>
                  </a:cubicBezTo>
                  <a:cubicBezTo>
                    <a:pt x="244" y="307"/>
                    <a:pt x="242" y="307"/>
                    <a:pt x="241" y="306"/>
                  </a:cubicBezTo>
                  <a:cubicBezTo>
                    <a:pt x="240" y="306"/>
                    <a:pt x="239" y="306"/>
                    <a:pt x="239" y="306"/>
                  </a:cubicBezTo>
                  <a:cubicBezTo>
                    <a:pt x="238" y="306"/>
                    <a:pt x="238" y="307"/>
                    <a:pt x="237" y="308"/>
                  </a:cubicBezTo>
                  <a:cubicBezTo>
                    <a:pt x="237" y="309"/>
                    <a:pt x="236" y="310"/>
                    <a:pt x="234" y="310"/>
                  </a:cubicBezTo>
                  <a:cubicBezTo>
                    <a:pt x="232" y="311"/>
                    <a:pt x="231" y="311"/>
                    <a:pt x="229" y="311"/>
                  </a:cubicBezTo>
                  <a:cubicBezTo>
                    <a:pt x="228" y="311"/>
                    <a:pt x="227" y="312"/>
                    <a:pt x="225" y="312"/>
                  </a:cubicBezTo>
                  <a:cubicBezTo>
                    <a:pt x="224" y="313"/>
                    <a:pt x="223" y="313"/>
                    <a:pt x="222" y="314"/>
                  </a:cubicBezTo>
                  <a:cubicBezTo>
                    <a:pt x="221" y="314"/>
                    <a:pt x="220" y="314"/>
                    <a:pt x="219" y="316"/>
                  </a:cubicBezTo>
                  <a:cubicBezTo>
                    <a:pt x="219" y="316"/>
                    <a:pt x="218" y="317"/>
                    <a:pt x="219" y="318"/>
                  </a:cubicBezTo>
                  <a:cubicBezTo>
                    <a:pt x="220" y="321"/>
                    <a:pt x="224" y="320"/>
                    <a:pt x="226" y="321"/>
                  </a:cubicBezTo>
                  <a:cubicBezTo>
                    <a:pt x="228" y="322"/>
                    <a:pt x="232" y="322"/>
                    <a:pt x="233" y="319"/>
                  </a:cubicBezTo>
                  <a:cubicBezTo>
                    <a:pt x="233" y="318"/>
                    <a:pt x="233" y="317"/>
                    <a:pt x="233" y="317"/>
                  </a:cubicBezTo>
                  <a:cubicBezTo>
                    <a:pt x="233" y="316"/>
                    <a:pt x="232" y="316"/>
                    <a:pt x="232" y="315"/>
                  </a:cubicBezTo>
                  <a:cubicBezTo>
                    <a:pt x="232" y="314"/>
                    <a:pt x="232" y="313"/>
                    <a:pt x="233" y="313"/>
                  </a:cubicBezTo>
                  <a:cubicBezTo>
                    <a:pt x="233" y="312"/>
                    <a:pt x="234" y="312"/>
                    <a:pt x="235" y="312"/>
                  </a:cubicBezTo>
                  <a:cubicBezTo>
                    <a:pt x="236" y="312"/>
                    <a:pt x="236" y="311"/>
                    <a:pt x="237" y="311"/>
                  </a:cubicBezTo>
                  <a:cubicBezTo>
                    <a:pt x="238" y="310"/>
                    <a:pt x="239" y="310"/>
                    <a:pt x="240" y="310"/>
                  </a:cubicBezTo>
                  <a:cubicBezTo>
                    <a:pt x="240" y="309"/>
                    <a:pt x="243" y="309"/>
                    <a:pt x="243" y="310"/>
                  </a:cubicBezTo>
                  <a:cubicBezTo>
                    <a:pt x="243" y="310"/>
                    <a:pt x="242" y="310"/>
                    <a:pt x="241" y="310"/>
                  </a:cubicBezTo>
                  <a:cubicBezTo>
                    <a:pt x="240" y="311"/>
                    <a:pt x="239" y="311"/>
                    <a:pt x="238" y="311"/>
                  </a:cubicBezTo>
                  <a:cubicBezTo>
                    <a:pt x="237" y="312"/>
                    <a:pt x="237" y="312"/>
                    <a:pt x="236" y="313"/>
                  </a:cubicBezTo>
                  <a:cubicBezTo>
                    <a:pt x="235" y="313"/>
                    <a:pt x="234" y="313"/>
                    <a:pt x="233" y="314"/>
                  </a:cubicBezTo>
                  <a:cubicBezTo>
                    <a:pt x="233" y="314"/>
                    <a:pt x="233" y="315"/>
                    <a:pt x="234" y="315"/>
                  </a:cubicBezTo>
                  <a:cubicBezTo>
                    <a:pt x="234" y="316"/>
                    <a:pt x="234" y="316"/>
                    <a:pt x="234" y="316"/>
                  </a:cubicBezTo>
                  <a:cubicBezTo>
                    <a:pt x="234" y="317"/>
                    <a:pt x="234" y="318"/>
                    <a:pt x="234" y="319"/>
                  </a:cubicBezTo>
                  <a:cubicBezTo>
                    <a:pt x="234" y="321"/>
                    <a:pt x="232" y="322"/>
                    <a:pt x="231" y="322"/>
                  </a:cubicBezTo>
                  <a:cubicBezTo>
                    <a:pt x="230" y="322"/>
                    <a:pt x="229" y="322"/>
                    <a:pt x="228" y="322"/>
                  </a:cubicBezTo>
                  <a:cubicBezTo>
                    <a:pt x="227" y="322"/>
                    <a:pt x="225" y="322"/>
                    <a:pt x="224" y="324"/>
                  </a:cubicBezTo>
                  <a:cubicBezTo>
                    <a:pt x="224" y="324"/>
                    <a:pt x="224" y="325"/>
                    <a:pt x="224" y="325"/>
                  </a:cubicBezTo>
                  <a:cubicBezTo>
                    <a:pt x="225" y="327"/>
                    <a:pt x="226" y="329"/>
                    <a:pt x="227" y="331"/>
                  </a:cubicBezTo>
                  <a:cubicBezTo>
                    <a:pt x="228" y="332"/>
                    <a:pt x="229" y="332"/>
                    <a:pt x="229" y="333"/>
                  </a:cubicBezTo>
                  <a:cubicBezTo>
                    <a:pt x="230" y="334"/>
                    <a:pt x="230" y="334"/>
                    <a:pt x="230" y="335"/>
                  </a:cubicBezTo>
                  <a:cubicBezTo>
                    <a:pt x="231" y="337"/>
                    <a:pt x="231" y="338"/>
                    <a:pt x="232" y="340"/>
                  </a:cubicBezTo>
                  <a:cubicBezTo>
                    <a:pt x="232" y="340"/>
                    <a:pt x="233" y="341"/>
                    <a:pt x="233" y="342"/>
                  </a:cubicBezTo>
                  <a:cubicBezTo>
                    <a:pt x="233" y="342"/>
                    <a:pt x="233" y="343"/>
                    <a:pt x="233" y="344"/>
                  </a:cubicBezTo>
                  <a:cubicBezTo>
                    <a:pt x="233" y="345"/>
                    <a:pt x="233" y="346"/>
                    <a:pt x="233" y="347"/>
                  </a:cubicBezTo>
                  <a:cubicBezTo>
                    <a:pt x="233" y="348"/>
                    <a:pt x="234" y="349"/>
                    <a:pt x="234" y="350"/>
                  </a:cubicBezTo>
                  <a:cubicBezTo>
                    <a:pt x="235" y="350"/>
                    <a:pt x="234" y="352"/>
                    <a:pt x="234" y="353"/>
                  </a:cubicBezTo>
                  <a:cubicBezTo>
                    <a:pt x="234" y="354"/>
                    <a:pt x="236" y="355"/>
                    <a:pt x="237" y="355"/>
                  </a:cubicBezTo>
                  <a:cubicBezTo>
                    <a:pt x="239" y="357"/>
                    <a:pt x="241" y="358"/>
                    <a:pt x="243" y="360"/>
                  </a:cubicBezTo>
                  <a:cubicBezTo>
                    <a:pt x="244" y="361"/>
                    <a:pt x="246" y="363"/>
                    <a:pt x="247" y="365"/>
                  </a:cubicBezTo>
                  <a:cubicBezTo>
                    <a:pt x="249" y="367"/>
                    <a:pt x="251" y="368"/>
                    <a:pt x="253" y="369"/>
                  </a:cubicBezTo>
                  <a:cubicBezTo>
                    <a:pt x="255" y="370"/>
                    <a:pt x="256" y="371"/>
                    <a:pt x="258" y="372"/>
                  </a:cubicBezTo>
                  <a:cubicBezTo>
                    <a:pt x="259" y="373"/>
                    <a:pt x="260" y="375"/>
                    <a:pt x="260" y="377"/>
                  </a:cubicBezTo>
                  <a:cubicBezTo>
                    <a:pt x="260" y="377"/>
                    <a:pt x="260" y="378"/>
                    <a:pt x="260" y="378"/>
                  </a:cubicBezTo>
                  <a:cubicBezTo>
                    <a:pt x="260" y="379"/>
                    <a:pt x="261" y="379"/>
                    <a:pt x="261" y="379"/>
                  </a:cubicBezTo>
                  <a:cubicBezTo>
                    <a:pt x="262" y="379"/>
                    <a:pt x="264" y="379"/>
                    <a:pt x="265" y="380"/>
                  </a:cubicBezTo>
                  <a:cubicBezTo>
                    <a:pt x="266" y="380"/>
                    <a:pt x="266" y="380"/>
                    <a:pt x="267" y="381"/>
                  </a:cubicBezTo>
                  <a:cubicBezTo>
                    <a:pt x="268" y="381"/>
                    <a:pt x="269" y="381"/>
                    <a:pt x="269" y="382"/>
                  </a:cubicBezTo>
                  <a:cubicBezTo>
                    <a:pt x="270" y="382"/>
                    <a:pt x="271" y="383"/>
                    <a:pt x="271" y="384"/>
                  </a:cubicBezTo>
                  <a:cubicBezTo>
                    <a:pt x="273" y="385"/>
                    <a:pt x="274" y="385"/>
                    <a:pt x="275" y="386"/>
                  </a:cubicBezTo>
                  <a:cubicBezTo>
                    <a:pt x="276" y="387"/>
                    <a:pt x="276" y="388"/>
                    <a:pt x="277" y="389"/>
                  </a:cubicBezTo>
                  <a:cubicBezTo>
                    <a:pt x="278" y="389"/>
                    <a:pt x="280" y="390"/>
                    <a:pt x="281" y="390"/>
                  </a:cubicBezTo>
                  <a:cubicBezTo>
                    <a:pt x="282" y="391"/>
                    <a:pt x="283" y="392"/>
                    <a:pt x="284" y="393"/>
                  </a:cubicBezTo>
                  <a:cubicBezTo>
                    <a:pt x="285" y="393"/>
                    <a:pt x="286" y="393"/>
                    <a:pt x="287" y="394"/>
                  </a:cubicBezTo>
                  <a:cubicBezTo>
                    <a:pt x="290" y="395"/>
                    <a:pt x="291" y="397"/>
                    <a:pt x="293" y="398"/>
                  </a:cubicBezTo>
                  <a:cubicBezTo>
                    <a:pt x="294" y="399"/>
                    <a:pt x="295" y="400"/>
                    <a:pt x="296" y="400"/>
                  </a:cubicBezTo>
                  <a:cubicBezTo>
                    <a:pt x="297" y="401"/>
                    <a:pt x="298" y="401"/>
                    <a:pt x="299" y="401"/>
                  </a:cubicBezTo>
                  <a:cubicBezTo>
                    <a:pt x="299" y="402"/>
                    <a:pt x="300" y="403"/>
                    <a:pt x="300" y="404"/>
                  </a:cubicBezTo>
                  <a:cubicBezTo>
                    <a:pt x="300" y="404"/>
                    <a:pt x="300" y="405"/>
                    <a:pt x="300" y="406"/>
                  </a:cubicBezTo>
                  <a:cubicBezTo>
                    <a:pt x="300" y="407"/>
                    <a:pt x="301" y="408"/>
                    <a:pt x="302" y="408"/>
                  </a:cubicBezTo>
                  <a:cubicBezTo>
                    <a:pt x="302" y="408"/>
                    <a:pt x="303" y="408"/>
                    <a:pt x="304" y="407"/>
                  </a:cubicBezTo>
                  <a:cubicBezTo>
                    <a:pt x="305" y="406"/>
                    <a:pt x="304" y="404"/>
                    <a:pt x="306" y="403"/>
                  </a:cubicBezTo>
                  <a:cubicBezTo>
                    <a:pt x="308" y="403"/>
                    <a:pt x="309" y="403"/>
                    <a:pt x="310" y="404"/>
                  </a:cubicBezTo>
                  <a:cubicBezTo>
                    <a:pt x="310" y="406"/>
                    <a:pt x="311" y="409"/>
                    <a:pt x="313" y="408"/>
                  </a:cubicBezTo>
                  <a:cubicBezTo>
                    <a:pt x="314" y="407"/>
                    <a:pt x="315" y="406"/>
                    <a:pt x="316" y="405"/>
                  </a:cubicBezTo>
                  <a:cubicBezTo>
                    <a:pt x="316" y="404"/>
                    <a:pt x="316" y="403"/>
                    <a:pt x="317" y="402"/>
                  </a:cubicBezTo>
                  <a:cubicBezTo>
                    <a:pt x="317" y="401"/>
                    <a:pt x="317" y="400"/>
                    <a:pt x="318" y="400"/>
                  </a:cubicBezTo>
                  <a:cubicBezTo>
                    <a:pt x="318" y="399"/>
                    <a:pt x="319" y="398"/>
                    <a:pt x="320" y="398"/>
                  </a:cubicBezTo>
                  <a:cubicBezTo>
                    <a:pt x="320" y="398"/>
                    <a:pt x="321" y="398"/>
                    <a:pt x="321" y="398"/>
                  </a:cubicBezTo>
                  <a:cubicBezTo>
                    <a:pt x="322" y="399"/>
                    <a:pt x="319" y="400"/>
                    <a:pt x="319" y="400"/>
                  </a:cubicBezTo>
                  <a:cubicBezTo>
                    <a:pt x="318" y="401"/>
                    <a:pt x="318" y="403"/>
                    <a:pt x="317" y="404"/>
                  </a:cubicBezTo>
                  <a:cubicBezTo>
                    <a:pt x="317" y="405"/>
                    <a:pt x="316" y="406"/>
                    <a:pt x="315" y="407"/>
                  </a:cubicBezTo>
                  <a:cubicBezTo>
                    <a:pt x="315" y="408"/>
                    <a:pt x="314" y="409"/>
                    <a:pt x="313" y="410"/>
                  </a:cubicBezTo>
                  <a:cubicBezTo>
                    <a:pt x="313" y="411"/>
                    <a:pt x="312" y="411"/>
                    <a:pt x="311" y="411"/>
                  </a:cubicBezTo>
                  <a:cubicBezTo>
                    <a:pt x="311" y="411"/>
                    <a:pt x="310" y="410"/>
                    <a:pt x="310" y="409"/>
                  </a:cubicBezTo>
                  <a:cubicBezTo>
                    <a:pt x="309" y="408"/>
                    <a:pt x="309" y="407"/>
                    <a:pt x="309" y="407"/>
                  </a:cubicBezTo>
                  <a:cubicBezTo>
                    <a:pt x="309" y="406"/>
                    <a:pt x="308" y="405"/>
                    <a:pt x="308" y="404"/>
                  </a:cubicBezTo>
                  <a:cubicBezTo>
                    <a:pt x="306" y="404"/>
                    <a:pt x="306" y="407"/>
                    <a:pt x="306" y="408"/>
                  </a:cubicBezTo>
                  <a:cubicBezTo>
                    <a:pt x="306" y="409"/>
                    <a:pt x="305" y="410"/>
                    <a:pt x="304" y="410"/>
                  </a:cubicBezTo>
                  <a:cubicBezTo>
                    <a:pt x="304" y="410"/>
                    <a:pt x="303" y="410"/>
                    <a:pt x="302" y="410"/>
                  </a:cubicBezTo>
                  <a:cubicBezTo>
                    <a:pt x="301" y="410"/>
                    <a:pt x="300" y="409"/>
                    <a:pt x="299" y="408"/>
                  </a:cubicBezTo>
                  <a:cubicBezTo>
                    <a:pt x="298" y="407"/>
                    <a:pt x="299" y="406"/>
                    <a:pt x="299" y="405"/>
                  </a:cubicBezTo>
                  <a:cubicBezTo>
                    <a:pt x="299" y="404"/>
                    <a:pt x="298" y="403"/>
                    <a:pt x="298" y="402"/>
                  </a:cubicBezTo>
                  <a:cubicBezTo>
                    <a:pt x="296" y="401"/>
                    <a:pt x="293" y="401"/>
                    <a:pt x="292" y="402"/>
                  </a:cubicBezTo>
                  <a:cubicBezTo>
                    <a:pt x="291" y="404"/>
                    <a:pt x="295" y="405"/>
                    <a:pt x="296" y="405"/>
                  </a:cubicBezTo>
                  <a:cubicBezTo>
                    <a:pt x="297" y="405"/>
                    <a:pt x="297" y="406"/>
                    <a:pt x="297" y="406"/>
                  </a:cubicBezTo>
                  <a:cubicBezTo>
                    <a:pt x="297" y="407"/>
                    <a:pt x="297" y="407"/>
                    <a:pt x="296" y="407"/>
                  </a:cubicBezTo>
                  <a:cubicBezTo>
                    <a:pt x="295" y="407"/>
                    <a:pt x="293" y="407"/>
                    <a:pt x="292" y="407"/>
                  </a:cubicBezTo>
                  <a:cubicBezTo>
                    <a:pt x="291" y="407"/>
                    <a:pt x="289" y="407"/>
                    <a:pt x="288" y="407"/>
                  </a:cubicBezTo>
                  <a:cubicBezTo>
                    <a:pt x="287" y="407"/>
                    <a:pt x="286" y="406"/>
                    <a:pt x="286" y="405"/>
                  </a:cubicBezTo>
                  <a:cubicBezTo>
                    <a:pt x="286" y="405"/>
                    <a:pt x="286" y="405"/>
                    <a:pt x="286" y="404"/>
                  </a:cubicBezTo>
                  <a:cubicBezTo>
                    <a:pt x="286" y="404"/>
                    <a:pt x="285" y="403"/>
                    <a:pt x="285" y="403"/>
                  </a:cubicBezTo>
                  <a:cubicBezTo>
                    <a:pt x="284" y="402"/>
                    <a:pt x="283" y="405"/>
                    <a:pt x="283" y="406"/>
                  </a:cubicBezTo>
                  <a:cubicBezTo>
                    <a:pt x="282" y="407"/>
                    <a:pt x="280" y="407"/>
                    <a:pt x="279" y="407"/>
                  </a:cubicBezTo>
                  <a:cubicBezTo>
                    <a:pt x="277" y="408"/>
                    <a:pt x="275" y="408"/>
                    <a:pt x="272" y="408"/>
                  </a:cubicBezTo>
                  <a:cubicBezTo>
                    <a:pt x="271" y="407"/>
                    <a:pt x="270" y="407"/>
                    <a:pt x="269" y="406"/>
                  </a:cubicBezTo>
                  <a:cubicBezTo>
                    <a:pt x="268" y="406"/>
                    <a:pt x="268" y="406"/>
                    <a:pt x="267" y="405"/>
                  </a:cubicBezTo>
                  <a:cubicBezTo>
                    <a:pt x="267" y="405"/>
                    <a:pt x="266" y="405"/>
                    <a:pt x="266" y="405"/>
                  </a:cubicBezTo>
                  <a:cubicBezTo>
                    <a:pt x="264" y="405"/>
                    <a:pt x="263" y="405"/>
                    <a:pt x="262" y="405"/>
                  </a:cubicBezTo>
                  <a:cubicBezTo>
                    <a:pt x="261" y="405"/>
                    <a:pt x="259" y="405"/>
                    <a:pt x="258" y="405"/>
                  </a:cubicBezTo>
                  <a:cubicBezTo>
                    <a:pt x="257" y="405"/>
                    <a:pt x="257" y="405"/>
                    <a:pt x="256" y="405"/>
                  </a:cubicBezTo>
                  <a:cubicBezTo>
                    <a:pt x="256" y="405"/>
                    <a:pt x="255" y="405"/>
                    <a:pt x="255" y="405"/>
                  </a:cubicBezTo>
                  <a:cubicBezTo>
                    <a:pt x="254" y="405"/>
                    <a:pt x="253" y="405"/>
                    <a:pt x="252" y="405"/>
                  </a:cubicBezTo>
                  <a:cubicBezTo>
                    <a:pt x="251" y="405"/>
                    <a:pt x="250" y="405"/>
                    <a:pt x="250" y="405"/>
                  </a:cubicBezTo>
                  <a:cubicBezTo>
                    <a:pt x="249" y="406"/>
                    <a:pt x="250" y="406"/>
                    <a:pt x="251" y="406"/>
                  </a:cubicBezTo>
                  <a:cubicBezTo>
                    <a:pt x="252" y="407"/>
                    <a:pt x="253" y="407"/>
                    <a:pt x="254" y="408"/>
                  </a:cubicBezTo>
                  <a:cubicBezTo>
                    <a:pt x="256" y="408"/>
                    <a:pt x="257" y="409"/>
                    <a:pt x="258" y="410"/>
                  </a:cubicBezTo>
                  <a:cubicBezTo>
                    <a:pt x="259" y="411"/>
                    <a:pt x="260" y="411"/>
                    <a:pt x="261" y="412"/>
                  </a:cubicBezTo>
                  <a:cubicBezTo>
                    <a:pt x="262" y="413"/>
                    <a:pt x="262" y="414"/>
                    <a:pt x="263" y="415"/>
                  </a:cubicBezTo>
                  <a:cubicBezTo>
                    <a:pt x="265" y="418"/>
                    <a:pt x="267" y="421"/>
                    <a:pt x="268" y="424"/>
                  </a:cubicBezTo>
                  <a:cubicBezTo>
                    <a:pt x="268" y="425"/>
                    <a:pt x="268" y="425"/>
                    <a:pt x="269" y="425"/>
                  </a:cubicBezTo>
                  <a:cubicBezTo>
                    <a:pt x="271" y="425"/>
                    <a:pt x="272" y="425"/>
                    <a:pt x="273" y="425"/>
                  </a:cubicBezTo>
                  <a:cubicBezTo>
                    <a:pt x="274" y="425"/>
                    <a:pt x="275" y="425"/>
                    <a:pt x="276" y="426"/>
                  </a:cubicBezTo>
                  <a:cubicBezTo>
                    <a:pt x="277" y="426"/>
                    <a:pt x="277" y="427"/>
                    <a:pt x="277" y="428"/>
                  </a:cubicBezTo>
                  <a:cubicBezTo>
                    <a:pt x="277" y="430"/>
                    <a:pt x="275" y="431"/>
                    <a:pt x="275" y="432"/>
                  </a:cubicBezTo>
                  <a:cubicBezTo>
                    <a:pt x="274" y="433"/>
                    <a:pt x="274" y="434"/>
                    <a:pt x="274" y="435"/>
                  </a:cubicBezTo>
                  <a:cubicBezTo>
                    <a:pt x="273" y="435"/>
                    <a:pt x="273" y="436"/>
                    <a:pt x="273" y="437"/>
                  </a:cubicBezTo>
                  <a:cubicBezTo>
                    <a:pt x="272" y="438"/>
                    <a:pt x="271" y="439"/>
                    <a:pt x="271" y="441"/>
                  </a:cubicBezTo>
                  <a:cubicBezTo>
                    <a:pt x="271" y="442"/>
                    <a:pt x="272" y="444"/>
                    <a:pt x="271" y="445"/>
                  </a:cubicBezTo>
                  <a:cubicBezTo>
                    <a:pt x="270" y="446"/>
                    <a:pt x="269" y="446"/>
                    <a:pt x="268" y="447"/>
                  </a:cubicBezTo>
                  <a:cubicBezTo>
                    <a:pt x="267" y="448"/>
                    <a:pt x="265" y="449"/>
                    <a:pt x="265" y="450"/>
                  </a:cubicBezTo>
                  <a:cubicBezTo>
                    <a:pt x="265" y="451"/>
                    <a:pt x="266" y="452"/>
                    <a:pt x="266" y="452"/>
                  </a:cubicBezTo>
                  <a:cubicBezTo>
                    <a:pt x="266" y="453"/>
                    <a:pt x="266" y="453"/>
                    <a:pt x="265" y="454"/>
                  </a:cubicBezTo>
                  <a:cubicBezTo>
                    <a:pt x="265" y="455"/>
                    <a:pt x="265" y="455"/>
                    <a:pt x="264" y="456"/>
                  </a:cubicBezTo>
                  <a:cubicBezTo>
                    <a:pt x="265" y="456"/>
                    <a:pt x="265" y="457"/>
                    <a:pt x="265" y="457"/>
                  </a:cubicBezTo>
                  <a:cubicBezTo>
                    <a:pt x="266" y="458"/>
                    <a:pt x="266" y="459"/>
                    <a:pt x="265" y="460"/>
                  </a:cubicBezTo>
                  <a:cubicBezTo>
                    <a:pt x="263" y="461"/>
                    <a:pt x="261" y="459"/>
                    <a:pt x="260" y="462"/>
                  </a:cubicBezTo>
                  <a:cubicBezTo>
                    <a:pt x="259" y="463"/>
                    <a:pt x="260" y="465"/>
                    <a:pt x="261" y="466"/>
                  </a:cubicBezTo>
                  <a:cubicBezTo>
                    <a:pt x="262" y="468"/>
                    <a:pt x="264" y="469"/>
                    <a:pt x="265" y="471"/>
                  </a:cubicBezTo>
                  <a:cubicBezTo>
                    <a:pt x="266" y="472"/>
                    <a:pt x="266" y="476"/>
                    <a:pt x="269" y="474"/>
                  </a:cubicBezTo>
                  <a:cubicBezTo>
                    <a:pt x="270" y="474"/>
                    <a:pt x="269" y="473"/>
                    <a:pt x="270" y="472"/>
                  </a:cubicBezTo>
                  <a:cubicBezTo>
                    <a:pt x="270" y="472"/>
                    <a:pt x="270" y="471"/>
                    <a:pt x="270" y="471"/>
                  </a:cubicBezTo>
                  <a:cubicBezTo>
                    <a:pt x="270" y="470"/>
                    <a:pt x="269" y="470"/>
                    <a:pt x="269" y="469"/>
                  </a:cubicBezTo>
                  <a:cubicBezTo>
                    <a:pt x="269" y="469"/>
                    <a:pt x="270" y="468"/>
                    <a:pt x="270" y="468"/>
                  </a:cubicBezTo>
                  <a:cubicBezTo>
                    <a:pt x="269" y="468"/>
                    <a:pt x="268" y="468"/>
                    <a:pt x="268" y="467"/>
                  </a:cubicBezTo>
                  <a:cubicBezTo>
                    <a:pt x="269" y="466"/>
                    <a:pt x="270" y="466"/>
                    <a:pt x="270" y="466"/>
                  </a:cubicBezTo>
                  <a:cubicBezTo>
                    <a:pt x="271" y="465"/>
                    <a:pt x="272" y="465"/>
                    <a:pt x="272" y="465"/>
                  </a:cubicBezTo>
                  <a:cubicBezTo>
                    <a:pt x="273" y="464"/>
                    <a:pt x="273" y="464"/>
                    <a:pt x="273" y="463"/>
                  </a:cubicBezTo>
                  <a:cubicBezTo>
                    <a:pt x="273" y="463"/>
                    <a:pt x="274" y="463"/>
                    <a:pt x="274" y="463"/>
                  </a:cubicBezTo>
                  <a:cubicBezTo>
                    <a:pt x="276" y="463"/>
                    <a:pt x="278" y="462"/>
                    <a:pt x="280" y="462"/>
                  </a:cubicBezTo>
                  <a:cubicBezTo>
                    <a:pt x="281" y="462"/>
                    <a:pt x="282" y="461"/>
                    <a:pt x="283" y="461"/>
                  </a:cubicBezTo>
                  <a:cubicBezTo>
                    <a:pt x="283" y="460"/>
                    <a:pt x="284" y="460"/>
                    <a:pt x="284" y="459"/>
                  </a:cubicBezTo>
                  <a:cubicBezTo>
                    <a:pt x="284" y="458"/>
                    <a:pt x="284" y="457"/>
                    <a:pt x="284" y="456"/>
                  </a:cubicBezTo>
                  <a:cubicBezTo>
                    <a:pt x="284" y="456"/>
                    <a:pt x="284" y="455"/>
                    <a:pt x="285" y="456"/>
                  </a:cubicBezTo>
                  <a:cubicBezTo>
                    <a:pt x="285" y="456"/>
                    <a:pt x="285" y="456"/>
                    <a:pt x="285" y="457"/>
                  </a:cubicBezTo>
                  <a:cubicBezTo>
                    <a:pt x="285" y="458"/>
                    <a:pt x="285" y="459"/>
                    <a:pt x="285" y="459"/>
                  </a:cubicBezTo>
                  <a:cubicBezTo>
                    <a:pt x="285" y="460"/>
                    <a:pt x="284" y="461"/>
                    <a:pt x="284" y="462"/>
                  </a:cubicBezTo>
                  <a:cubicBezTo>
                    <a:pt x="285" y="463"/>
                    <a:pt x="285" y="464"/>
                    <a:pt x="286" y="464"/>
                  </a:cubicBezTo>
                  <a:cubicBezTo>
                    <a:pt x="287" y="465"/>
                    <a:pt x="288" y="465"/>
                    <a:pt x="289" y="466"/>
                  </a:cubicBezTo>
                  <a:cubicBezTo>
                    <a:pt x="289" y="466"/>
                    <a:pt x="289" y="466"/>
                    <a:pt x="290" y="467"/>
                  </a:cubicBezTo>
                  <a:cubicBezTo>
                    <a:pt x="290" y="467"/>
                    <a:pt x="291" y="467"/>
                    <a:pt x="291" y="467"/>
                  </a:cubicBezTo>
                  <a:cubicBezTo>
                    <a:pt x="293" y="467"/>
                    <a:pt x="295" y="467"/>
                    <a:pt x="297" y="466"/>
                  </a:cubicBezTo>
                  <a:cubicBezTo>
                    <a:pt x="298" y="466"/>
                    <a:pt x="300" y="465"/>
                    <a:pt x="301" y="465"/>
                  </a:cubicBezTo>
                  <a:cubicBezTo>
                    <a:pt x="302" y="464"/>
                    <a:pt x="303" y="464"/>
                    <a:pt x="304" y="464"/>
                  </a:cubicBezTo>
                  <a:cubicBezTo>
                    <a:pt x="305" y="463"/>
                    <a:pt x="306" y="463"/>
                    <a:pt x="307" y="462"/>
                  </a:cubicBezTo>
                  <a:cubicBezTo>
                    <a:pt x="308" y="461"/>
                    <a:pt x="309" y="461"/>
                    <a:pt x="311" y="461"/>
                  </a:cubicBezTo>
                  <a:cubicBezTo>
                    <a:pt x="314" y="460"/>
                    <a:pt x="318" y="460"/>
                    <a:pt x="321" y="461"/>
                  </a:cubicBezTo>
                  <a:cubicBezTo>
                    <a:pt x="322" y="461"/>
                    <a:pt x="323" y="461"/>
                    <a:pt x="325" y="461"/>
                  </a:cubicBezTo>
                  <a:cubicBezTo>
                    <a:pt x="326" y="461"/>
                    <a:pt x="327" y="461"/>
                    <a:pt x="328" y="461"/>
                  </a:cubicBezTo>
                  <a:cubicBezTo>
                    <a:pt x="329" y="461"/>
                    <a:pt x="329" y="460"/>
                    <a:pt x="330" y="459"/>
                  </a:cubicBezTo>
                  <a:cubicBezTo>
                    <a:pt x="331" y="459"/>
                    <a:pt x="332" y="459"/>
                    <a:pt x="334" y="458"/>
                  </a:cubicBezTo>
                  <a:cubicBezTo>
                    <a:pt x="335" y="458"/>
                    <a:pt x="334" y="458"/>
                    <a:pt x="334" y="457"/>
                  </a:cubicBezTo>
                  <a:cubicBezTo>
                    <a:pt x="334" y="456"/>
                    <a:pt x="334" y="455"/>
                    <a:pt x="334" y="455"/>
                  </a:cubicBezTo>
                  <a:cubicBezTo>
                    <a:pt x="334" y="454"/>
                    <a:pt x="334" y="453"/>
                    <a:pt x="334" y="452"/>
                  </a:cubicBezTo>
                  <a:cubicBezTo>
                    <a:pt x="335" y="451"/>
                    <a:pt x="335" y="451"/>
                    <a:pt x="335" y="451"/>
                  </a:cubicBezTo>
                  <a:cubicBezTo>
                    <a:pt x="336" y="451"/>
                    <a:pt x="336" y="451"/>
                    <a:pt x="336" y="451"/>
                  </a:cubicBezTo>
                  <a:cubicBezTo>
                    <a:pt x="336" y="452"/>
                    <a:pt x="335" y="453"/>
                    <a:pt x="335" y="454"/>
                  </a:cubicBezTo>
                  <a:cubicBezTo>
                    <a:pt x="335" y="454"/>
                    <a:pt x="335" y="455"/>
                    <a:pt x="335" y="455"/>
                  </a:cubicBezTo>
                  <a:cubicBezTo>
                    <a:pt x="335" y="456"/>
                    <a:pt x="335" y="457"/>
                    <a:pt x="335" y="457"/>
                  </a:cubicBezTo>
                  <a:cubicBezTo>
                    <a:pt x="335" y="458"/>
                    <a:pt x="336" y="459"/>
                    <a:pt x="335" y="459"/>
                  </a:cubicBezTo>
                  <a:cubicBezTo>
                    <a:pt x="335" y="459"/>
                    <a:pt x="334" y="459"/>
                    <a:pt x="334" y="459"/>
                  </a:cubicBezTo>
                  <a:cubicBezTo>
                    <a:pt x="333" y="459"/>
                    <a:pt x="333" y="459"/>
                    <a:pt x="332" y="460"/>
                  </a:cubicBezTo>
                  <a:cubicBezTo>
                    <a:pt x="332" y="460"/>
                    <a:pt x="331" y="460"/>
                    <a:pt x="331" y="461"/>
                  </a:cubicBezTo>
                  <a:cubicBezTo>
                    <a:pt x="331" y="461"/>
                    <a:pt x="330" y="461"/>
                    <a:pt x="330" y="461"/>
                  </a:cubicBezTo>
                  <a:cubicBezTo>
                    <a:pt x="329" y="461"/>
                    <a:pt x="329" y="462"/>
                    <a:pt x="329" y="462"/>
                  </a:cubicBezTo>
                  <a:cubicBezTo>
                    <a:pt x="329" y="463"/>
                    <a:pt x="329" y="463"/>
                    <a:pt x="329" y="464"/>
                  </a:cubicBezTo>
                  <a:cubicBezTo>
                    <a:pt x="330" y="465"/>
                    <a:pt x="331" y="466"/>
                    <a:pt x="332" y="467"/>
                  </a:cubicBezTo>
                  <a:cubicBezTo>
                    <a:pt x="333" y="468"/>
                    <a:pt x="334" y="469"/>
                    <a:pt x="335" y="470"/>
                  </a:cubicBezTo>
                  <a:cubicBezTo>
                    <a:pt x="336" y="471"/>
                    <a:pt x="338" y="472"/>
                    <a:pt x="339" y="473"/>
                  </a:cubicBezTo>
                  <a:cubicBezTo>
                    <a:pt x="340" y="473"/>
                    <a:pt x="341" y="474"/>
                    <a:pt x="342" y="475"/>
                  </a:cubicBezTo>
                  <a:cubicBezTo>
                    <a:pt x="342" y="475"/>
                    <a:pt x="342" y="475"/>
                    <a:pt x="343" y="476"/>
                  </a:cubicBezTo>
                  <a:cubicBezTo>
                    <a:pt x="343" y="476"/>
                    <a:pt x="344" y="476"/>
                    <a:pt x="345" y="477"/>
                  </a:cubicBezTo>
                  <a:cubicBezTo>
                    <a:pt x="345" y="477"/>
                    <a:pt x="345" y="477"/>
                    <a:pt x="345" y="477"/>
                  </a:cubicBezTo>
                  <a:cubicBezTo>
                    <a:pt x="346" y="478"/>
                    <a:pt x="347" y="479"/>
                    <a:pt x="347" y="479"/>
                  </a:cubicBezTo>
                  <a:cubicBezTo>
                    <a:pt x="348" y="480"/>
                    <a:pt x="348" y="481"/>
                    <a:pt x="349" y="482"/>
                  </a:cubicBezTo>
                  <a:cubicBezTo>
                    <a:pt x="350" y="482"/>
                    <a:pt x="351" y="483"/>
                    <a:pt x="352" y="483"/>
                  </a:cubicBezTo>
                  <a:cubicBezTo>
                    <a:pt x="353" y="483"/>
                    <a:pt x="353" y="483"/>
                    <a:pt x="354" y="482"/>
                  </a:cubicBezTo>
                  <a:cubicBezTo>
                    <a:pt x="355" y="482"/>
                    <a:pt x="356" y="482"/>
                    <a:pt x="356" y="483"/>
                  </a:cubicBezTo>
                  <a:cubicBezTo>
                    <a:pt x="357" y="483"/>
                    <a:pt x="357" y="483"/>
                    <a:pt x="358" y="484"/>
                  </a:cubicBezTo>
                  <a:cubicBezTo>
                    <a:pt x="358" y="484"/>
                    <a:pt x="359" y="483"/>
                    <a:pt x="359" y="483"/>
                  </a:cubicBezTo>
                  <a:cubicBezTo>
                    <a:pt x="359" y="484"/>
                    <a:pt x="359" y="484"/>
                    <a:pt x="359" y="484"/>
                  </a:cubicBezTo>
                  <a:cubicBezTo>
                    <a:pt x="357" y="484"/>
                    <a:pt x="357" y="483"/>
                    <a:pt x="356" y="483"/>
                  </a:cubicBezTo>
                  <a:cubicBezTo>
                    <a:pt x="355" y="484"/>
                    <a:pt x="354" y="484"/>
                    <a:pt x="354" y="485"/>
                  </a:cubicBezTo>
                  <a:cubicBezTo>
                    <a:pt x="355" y="486"/>
                    <a:pt x="356" y="488"/>
                    <a:pt x="358" y="489"/>
                  </a:cubicBezTo>
                  <a:cubicBezTo>
                    <a:pt x="360" y="490"/>
                    <a:pt x="362" y="492"/>
                    <a:pt x="363" y="495"/>
                  </a:cubicBezTo>
                  <a:cubicBezTo>
                    <a:pt x="364" y="497"/>
                    <a:pt x="365" y="498"/>
                    <a:pt x="366" y="499"/>
                  </a:cubicBezTo>
                  <a:cubicBezTo>
                    <a:pt x="368" y="501"/>
                    <a:pt x="369" y="504"/>
                    <a:pt x="370" y="506"/>
                  </a:cubicBezTo>
                  <a:cubicBezTo>
                    <a:pt x="372" y="508"/>
                    <a:pt x="373" y="509"/>
                    <a:pt x="375" y="510"/>
                  </a:cubicBezTo>
                  <a:cubicBezTo>
                    <a:pt x="377" y="512"/>
                    <a:pt x="378" y="514"/>
                    <a:pt x="380" y="515"/>
                  </a:cubicBezTo>
                  <a:cubicBezTo>
                    <a:pt x="382" y="517"/>
                    <a:pt x="383" y="518"/>
                    <a:pt x="384" y="519"/>
                  </a:cubicBezTo>
                  <a:cubicBezTo>
                    <a:pt x="385" y="521"/>
                    <a:pt x="386" y="521"/>
                    <a:pt x="387" y="522"/>
                  </a:cubicBezTo>
                  <a:cubicBezTo>
                    <a:pt x="390" y="523"/>
                    <a:pt x="392" y="523"/>
                    <a:pt x="394" y="524"/>
                  </a:cubicBezTo>
                  <a:cubicBezTo>
                    <a:pt x="394" y="386"/>
                    <a:pt x="394" y="386"/>
                    <a:pt x="394" y="386"/>
                  </a:cubicBezTo>
                  <a:cubicBezTo>
                    <a:pt x="394" y="386"/>
                    <a:pt x="393" y="387"/>
                    <a:pt x="393" y="38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4" name="Freeform 36">
              <a:extLst>
                <a:ext uri="{FF2B5EF4-FFF2-40B4-BE49-F238E27FC236}">
                  <a16:creationId xmlns:a16="http://schemas.microsoft.com/office/drawing/2014/main" id="{2A5A08BB-C2C6-9041-66BC-02363D072006}"/>
                </a:ext>
              </a:extLst>
            </p:cNvPr>
            <p:cNvSpPr>
              <a:spLocks noEditPoints="1"/>
            </p:cNvSpPr>
            <p:nvPr/>
          </p:nvSpPr>
          <p:spPr bwMode="auto">
            <a:xfrm>
              <a:off x="1076325" y="2828925"/>
              <a:ext cx="773113" cy="1136650"/>
            </a:xfrm>
            <a:custGeom>
              <a:avLst/>
              <a:gdLst>
                <a:gd name="T0" fmla="*/ 51 w 203"/>
                <a:gd name="T1" fmla="*/ 213 h 298"/>
                <a:gd name="T2" fmla="*/ 48 w 203"/>
                <a:gd name="T3" fmla="*/ 227 h 298"/>
                <a:gd name="T4" fmla="*/ 37 w 203"/>
                <a:gd name="T5" fmla="*/ 227 h 298"/>
                <a:gd name="T6" fmla="*/ 26 w 203"/>
                <a:gd name="T7" fmla="*/ 206 h 298"/>
                <a:gd name="T8" fmla="*/ 15 w 203"/>
                <a:gd name="T9" fmla="*/ 191 h 298"/>
                <a:gd name="T10" fmla="*/ 3 w 203"/>
                <a:gd name="T11" fmla="*/ 178 h 298"/>
                <a:gd name="T12" fmla="*/ 13 w 203"/>
                <a:gd name="T13" fmla="*/ 174 h 298"/>
                <a:gd name="T14" fmla="*/ 20 w 203"/>
                <a:gd name="T15" fmla="*/ 170 h 298"/>
                <a:gd name="T16" fmla="*/ 29 w 203"/>
                <a:gd name="T17" fmla="*/ 176 h 298"/>
                <a:gd name="T18" fmla="*/ 37 w 203"/>
                <a:gd name="T19" fmla="*/ 189 h 298"/>
                <a:gd name="T20" fmla="*/ 52 w 203"/>
                <a:gd name="T21" fmla="*/ 201 h 298"/>
                <a:gd name="T22" fmla="*/ 79 w 203"/>
                <a:gd name="T23" fmla="*/ 284 h 298"/>
                <a:gd name="T24" fmla="*/ 76 w 203"/>
                <a:gd name="T25" fmla="*/ 293 h 298"/>
                <a:gd name="T26" fmla="*/ 81 w 203"/>
                <a:gd name="T27" fmla="*/ 297 h 298"/>
                <a:gd name="T28" fmla="*/ 86 w 203"/>
                <a:gd name="T29" fmla="*/ 294 h 298"/>
                <a:gd name="T30" fmla="*/ 83 w 203"/>
                <a:gd name="T31" fmla="*/ 277 h 298"/>
                <a:gd name="T32" fmla="*/ 86 w 203"/>
                <a:gd name="T33" fmla="*/ 270 h 298"/>
                <a:gd name="T34" fmla="*/ 77 w 203"/>
                <a:gd name="T35" fmla="*/ 262 h 298"/>
                <a:gd name="T36" fmla="*/ 80 w 203"/>
                <a:gd name="T37" fmla="*/ 271 h 298"/>
                <a:gd name="T38" fmla="*/ 88 w 203"/>
                <a:gd name="T39" fmla="*/ 280 h 298"/>
                <a:gd name="T40" fmla="*/ 102 w 203"/>
                <a:gd name="T41" fmla="*/ 257 h 298"/>
                <a:gd name="T42" fmla="*/ 106 w 203"/>
                <a:gd name="T43" fmla="*/ 253 h 298"/>
                <a:gd name="T44" fmla="*/ 97 w 203"/>
                <a:gd name="T45" fmla="*/ 251 h 298"/>
                <a:gd name="T46" fmla="*/ 92 w 203"/>
                <a:gd name="T47" fmla="*/ 256 h 298"/>
                <a:gd name="T48" fmla="*/ 47 w 203"/>
                <a:gd name="T49" fmla="*/ 266 h 298"/>
                <a:gd name="T50" fmla="*/ 187 w 203"/>
                <a:gd name="T51" fmla="*/ 201 h 298"/>
                <a:gd name="T52" fmla="*/ 183 w 203"/>
                <a:gd name="T53" fmla="*/ 184 h 298"/>
                <a:gd name="T54" fmla="*/ 199 w 203"/>
                <a:gd name="T55" fmla="*/ 172 h 298"/>
                <a:gd name="T56" fmla="*/ 199 w 203"/>
                <a:gd name="T57" fmla="*/ 157 h 298"/>
                <a:gd name="T58" fmla="*/ 199 w 203"/>
                <a:gd name="T59" fmla="*/ 134 h 298"/>
                <a:gd name="T60" fmla="*/ 193 w 203"/>
                <a:gd name="T61" fmla="*/ 102 h 298"/>
                <a:gd name="T62" fmla="*/ 186 w 203"/>
                <a:gd name="T63" fmla="*/ 104 h 298"/>
                <a:gd name="T64" fmla="*/ 184 w 203"/>
                <a:gd name="T65" fmla="*/ 102 h 298"/>
                <a:gd name="T66" fmla="*/ 173 w 203"/>
                <a:gd name="T67" fmla="*/ 80 h 298"/>
                <a:gd name="T68" fmla="*/ 160 w 203"/>
                <a:gd name="T69" fmla="*/ 67 h 298"/>
                <a:gd name="T70" fmla="*/ 137 w 203"/>
                <a:gd name="T71" fmla="*/ 52 h 298"/>
                <a:gd name="T72" fmla="*/ 106 w 203"/>
                <a:gd name="T73" fmla="*/ 36 h 298"/>
                <a:gd name="T74" fmla="*/ 99 w 203"/>
                <a:gd name="T75" fmla="*/ 30 h 298"/>
                <a:gd name="T76" fmla="*/ 89 w 203"/>
                <a:gd name="T77" fmla="*/ 17 h 298"/>
                <a:gd name="T78" fmla="*/ 75 w 203"/>
                <a:gd name="T79" fmla="*/ 13 h 298"/>
                <a:gd name="T80" fmla="*/ 71 w 203"/>
                <a:gd name="T81" fmla="*/ 6 h 298"/>
                <a:gd name="T82" fmla="*/ 61 w 203"/>
                <a:gd name="T83" fmla="*/ 5 h 298"/>
                <a:gd name="T84" fmla="*/ 46 w 203"/>
                <a:gd name="T85" fmla="*/ 33 h 298"/>
                <a:gd name="T86" fmla="*/ 53 w 203"/>
                <a:gd name="T87" fmla="*/ 50 h 298"/>
                <a:gd name="T88" fmla="*/ 52 w 203"/>
                <a:gd name="T89" fmla="*/ 66 h 298"/>
                <a:gd name="T90" fmla="*/ 58 w 203"/>
                <a:gd name="T91" fmla="*/ 88 h 298"/>
                <a:gd name="T92" fmla="*/ 63 w 203"/>
                <a:gd name="T93" fmla="*/ 113 h 298"/>
                <a:gd name="T94" fmla="*/ 74 w 203"/>
                <a:gd name="T95" fmla="*/ 137 h 298"/>
                <a:gd name="T96" fmla="*/ 86 w 203"/>
                <a:gd name="T97" fmla="*/ 144 h 298"/>
                <a:gd name="T98" fmla="*/ 100 w 203"/>
                <a:gd name="T99" fmla="*/ 153 h 298"/>
                <a:gd name="T100" fmla="*/ 106 w 203"/>
                <a:gd name="T101" fmla="*/ 164 h 298"/>
                <a:gd name="T102" fmla="*/ 100 w 203"/>
                <a:gd name="T103" fmla="*/ 167 h 298"/>
                <a:gd name="T104" fmla="*/ 110 w 203"/>
                <a:gd name="T105" fmla="*/ 190 h 298"/>
                <a:gd name="T106" fmla="*/ 119 w 203"/>
                <a:gd name="T107" fmla="*/ 214 h 298"/>
                <a:gd name="T108" fmla="*/ 124 w 203"/>
                <a:gd name="T109" fmla="*/ 231 h 298"/>
                <a:gd name="T110" fmla="*/ 129 w 203"/>
                <a:gd name="T111" fmla="*/ 246 h 298"/>
                <a:gd name="T112" fmla="*/ 144 w 203"/>
                <a:gd name="T113" fmla="*/ 232 h 298"/>
                <a:gd name="T114" fmla="*/ 160 w 203"/>
                <a:gd name="T115" fmla="*/ 234 h 298"/>
                <a:gd name="T116" fmla="*/ 167 w 203"/>
                <a:gd name="T117" fmla="*/ 217 h 298"/>
                <a:gd name="T118" fmla="*/ 185 w 203"/>
                <a:gd name="T119" fmla="*/ 2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298">
                  <a:moveTo>
                    <a:pt x="52" y="201"/>
                  </a:moveTo>
                  <a:cubicBezTo>
                    <a:pt x="53" y="202"/>
                    <a:pt x="54" y="204"/>
                    <a:pt x="53" y="206"/>
                  </a:cubicBezTo>
                  <a:cubicBezTo>
                    <a:pt x="52" y="207"/>
                    <a:pt x="51" y="208"/>
                    <a:pt x="51" y="209"/>
                  </a:cubicBezTo>
                  <a:cubicBezTo>
                    <a:pt x="50" y="209"/>
                    <a:pt x="49" y="211"/>
                    <a:pt x="50" y="212"/>
                  </a:cubicBezTo>
                  <a:cubicBezTo>
                    <a:pt x="50" y="212"/>
                    <a:pt x="51" y="212"/>
                    <a:pt x="51" y="213"/>
                  </a:cubicBezTo>
                  <a:cubicBezTo>
                    <a:pt x="51" y="214"/>
                    <a:pt x="50" y="214"/>
                    <a:pt x="50" y="215"/>
                  </a:cubicBezTo>
                  <a:cubicBezTo>
                    <a:pt x="50" y="215"/>
                    <a:pt x="50" y="216"/>
                    <a:pt x="49" y="217"/>
                  </a:cubicBezTo>
                  <a:cubicBezTo>
                    <a:pt x="49" y="218"/>
                    <a:pt x="50" y="219"/>
                    <a:pt x="50" y="220"/>
                  </a:cubicBezTo>
                  <a:cubicBezTo>
                    <a:pt x="50" y="222"/>
                    <a:pt x="50" y="224"/>
                    <a:pt x="50" y="225"/>
                  </a:cubicBezTo>
                  <a:cubicBezTo>
                    <a:pt x="49" y="226"/>
                    <a:pt x="49" y="226"/>
                    <a:pt x="48" y="227"/>
                  </a:cubicBezTo>
                  <a:cubicBezTo>
                    <a:pt x="47" y="228"/>
                    <a:pt x="46" y="229"/>
                    <a:pt x="45" y="229"/>
                  </a:cubicBezTo>
                  <a:cubicBezTo>
                    <a:pt x="44" y="228"/>
                    <a:pt x="44" y="227"/>
                    <a:pt x="43" y="227"/>
                  </a:cubicBezTo>
                  <a:cubicBezTo>
                    <a:pt x="43" y="227"/>
                    <a:pt x="42" y="228"/>
                    <a:pt x="42" y="228"/>
                  </a:cubicBezTo>
                  <a:cubicBezTo>
                    <a:pt x="41" y="228"/>
                    <a:pt x="41" y="228"/>
                    <a:pt x="41" y="228"/>
                  </a:cubicBezTo>
                  <a:cubicBezTo>
                    <a:pt x="40" y="227"/>
                    <a:pt x="38" y="228"/>
                    <a:pt x="37" y="227"/>
                  </a:cubicBezTo>
                  <a:cubicBezTo>
                    <a:pt x="37" y="227"/>
                    <a:pt x="37" y="226"/>
                    <a:pt x="37" y="225"/>
                  </a:cubicBezTo>
                  <a:cubicBezTo>
                    <a:pt x="37" y="223"/>
                    <a:pt x="37" y="223"/>
                    <a:pt x="36" y="222"/>
                  </a:cubicBezTo>
                  <a:cubicBezTo>
                    <a:pt x="36" y="220"/>
                    <a:pt x="35" y="219"/>
                    <a:pt x="34" y="217"/>
                  </a:cubicBezTo>
                  <a:cubicBezTo>
                    <a:pt x="34" y="214"/>
                    <a:pt x="33" y="212"/>
                    <a:pt x="30" y="209"/>
                  </a:cubicBezTo>
                  <a:cubicBezTo>
                    <a:pt x="29" y="208"/>
                    <a:pt x="27" y="207"/>
                    <a:pt x="26" y="206"/>
                  </a:cubicBezTo>
                  <a:cubicBezTo>
                    <a:pt x="24" y="205"/>
                    <a:pt x="22" y="205"/>
                    <a:pt x="20" y="204"/>
                  </a:cubicBezTo>
                  <a:cubicBezTo>
                    <a:pt x="20" y="204"/>
                    <a:pt x="20" y="203"/>
                    <a:pt x="20" y="203"/>
                  </a:cubicBezTo>
                  <a:cubicBezTo>
                    <a:pt x="20" y="202"/>
                    <a:pt x="20" y="202"/>
                    <a:pt x="20" y="202"/>
                  </a:cubicBezTo>
                  <a:cubicBezTo>
                    <a:pt x="20" y="200"/>
                    <a:pt x="19" y="198"/>
                    <a:pt x="18" y="196"/>
                  </a:cubicBezTo>
                  <a:cubicBezTo>
                    <a:pt x="17" y="194"/>
                    <a:pt x="17" y="192"/>
                    <a:pt x="15" y="191"/>
                  </a:cubicBezTo>
                  <a:cubicBezTo>
                    <a:pt x="14" y="190"/>
                    <a:pt x="12" y="189"/>
                    <a:pt x="12" y="188"/>
                  </a:cubicBezTo>
                  <a:cubicBezTo>
                    <a:pt x="11" y="188"/>
                    <a:pt x="11" y="186"/>
                    <a:pt x="10" y="185"/>
                  </a:cubicBezTo>
                  <a:cubicBezTo>
                    <a:pt x="10" y="184"/>
                    <a:pt x="9" y="184"/>
                    <a:pt x="8" y="183"/>
                  </a:cubicBezTo>
                  <a:cubicBezTo>
                    <a:pt x="7" y="182"/>
                    <a:pt x="6" y="181"/>
                    <a:pt x="5" y="180"/>
                  </a:cubicBezTo>
                  <a:cubicBezTo>
                    <a:pt x="5" y="179"/>
                    <a:pt x="4" y="178"/>
                    <a:pt x="3" y="178"/>
                  </a:cubicBezTo>
                  <a:cubicBezTo>
                    <a:pt x="2" y="177"/>
                    <a:pt x="1" y="176"/>
                    <a:pt x="0" y="175"/>
                  </a:cubicBezTo>
                  <a:cubicBezTo>
                    <a:pt x="1" y="174"/>
                    <a:pt x="3" y="175"/>
                    <a:pt x="4" y="175"/>
                  </a:cubicBezTo>
                  <a:cubicBezTo>
                    <a:pt x="6" y="176"/>
                    <a:pt x="7" y="176"/>
                    <a:pt x="9" y="176"/>
                  </a:cubicBezTo>
                  <a:cubicBezTo>
                    <a:pt x="10" y="176"/>
                    <a:pt x="12" y="176"/>
                    <a:pt x="12" y="175"/>
                  </a:cubicBezTo>
                  <a:cubicBezTo>
                    <a:pt x="13" y="174"/>
                    <a:pt x="13" y="174"/>
                    <a:pt x="13" y="174"/>
                  </a:cubicBezTo>
                  <a:cubicBezTo>
                    <a:pt x="14" y="173"/>
                    <a:pt x="15" y="173"/>
                    <a:pt x="15" y="173"/>
                  </a:cubicBezTo>
                  <a:cubicBezTo>
                    <a:pt x="16" y="172"/>
                    <a:pt x="16" y="171"/>
                    <a:pt x="17" y="171"/>
                  </a:cubicBezTo>
                  <a:cubicBezTo>
                    <a:pt x="17" y="170"/>
                    <a:pt x="16" y="169"/>
                    <a:pt x="17" y="168"/>
                  </a:cubicBezTo>
                  <a:cubicBezTo>
                    <a:pt x="18" y="168"/>
                    <a:pt x="18" y="169"/>
                    <a:pt x="19" y="170"/>
                  </a:cubicBezTo>
                  <a:cubicBezTo>
                    <a:pt x="19" y="170"/>
                    <a:pt x="19" y="170"/>
                    <a:pt x="20" y="170"/>
                  </a:cubicBezTo>
                  <a:cubicBezTo>
                    <a:pt x="21" y="169"/>
                    <a:pt x="22" y="170"/>
                    <a:pt x="22" y="171"/>
                  </a:cubicBezTo>
                  <a:cubicBezTo>
                    <a:pt x="23" y="172"/>
                    <a:pt x="24" y="172"/>
                    <a:pt x="25" y="172"/>
                  </a:cubicBezTo>
                  <a:cubicBezTo>
                    <a:pt x="25" y="172"/>
                    <a:pt x="25" y="172"/>
                    <a:pt x="25" y="172"/>
                  </a:cubicBezTo>
                  <a:cubicBezTo>
                    <a:pt x="26" y="173"/>
                    <a:pt x="26" y="174"/>
                    <a:pt x="27" y="174"/>
                  </a:cubicBezTo>
                  <a:cubicBezTo>
                    <a:pt x="27" y="175"/>
                    <a:pt x="28" y="175"/>
                    <a:pt x="29" y="176"/>
                  </a:cubicBezTo>
                  <a:cubicBezTo>
                    <a:pt x="29" y="176"/>
                    <a:pt x="29" y="177"/>
                    <a:pt x="29" y="178"/>
                  </a:cubicBezTo>
                  <a:cubicBezTo>
                    <a:pt x="29" y="178"/>
                    <a:pt x="29" y="178"/>
                    <a:pt x="30" y="179"/>
                  </a:cubicBezTo>
                  <a:cubicBezTo>
                    <a:pt x="31" y="180"/>
                    <a:pt x="31" y="181"/>
                    <a:pt x="32" y="182"/>
                  </a:cubicBezTo>
                  <a:cubicBezTo>
                    <a:pt x="33" y="183"/>
                    <a:pt x="34" y="184"/>
                    <a:pt x="34" y="185"/>
                  </a:cubicBezTo>
                  <a:cubicBezTo>
                    <a:pt x="35" y="187"/>
                    <a:pt x="36" y="188"/>
                    <a:pt x="37" y="189"/>
                  </a:cubicBezTo>
                  <a:cubicBezTo>
                    <a:pt x="38" y="190"/>
                    <a:pt x="39" y="191"/>
                    <a:pt x="40" y="191"/>
                  </a:cubicBezTo>
                  <a:cubicBezTo>
                    <a:pt x="42" y="192"/>
                    <a:pt x="43" y="192"/>
                    <a:pt x="45" y="193"/>
                  </a:cubicBezTo>
                  <a:cubicBezTo>
                    <a:pt x="47" y="194"/>
                    <a:pt x="47" y="196"/>
                    <a:pt x="49" y="197"/>
                  </a:cubicBezTo>
                  <a:cubicBezTo>
                    <a:pt x="49" y="198"/>
                    <a:pt x="50" y="198"/>
                    <a:pt x="50" y="198"/>
                  </a:cubicBezTo>
                  <a:cubicBezTo>
                    <a:pt x="51" y="199"/>
                    <a:pt x="51" y="200"/>
                    <a:pt x="52" y="201"/>
                  </a:cubicBezTo>
                  <a:close/>
                  <a:moveTo>
                    <a:pt x="83" y="277"/>
                  </a:moveTo>
                  <a:cubicBezTo>
                    <a:pt x="83" y="277"/>
                    <a:pt x="83" y="277"/>
                    <a:pt x="82" y="277"/>
                  </a:cubicBezTo>
                  <a:cubicBezTo>
                    <a:pt x="82" y="277"/>
                    <a:pt x="82" y="279"/>
                    <a:pt x="82" y="279"/>
                  </a:cubicBezTo>
                  <a:cubicBezTo>
                    <a:pt x="82" y="280"/>
                    <a:pt x="81" y="281"/>
                    <a:pt x="81" y="282"/>
                  </a:cubicBezTo>
                  <a:cubicBezTo>
                    <a:pt x="80" y="282"/>
                    <a:pt x="80" y="283"/>
                    <a:pt x="79" y="284"/>
                  </a:cubicBezTo>
                  <a:cubicBezTo>
                    <a:pt x="79" y="285"/>
                    <a:pt x="79" y="286"/>
                    <a:pt x="79" y="287"/>
                  </a:cubicBezTo>
                  <a:cubicBezTo>
                    <a:pt x="79" y="288"/>
                    <a:pt x="79" y="289"/>
                    <a:pt x="79" y="289"/>
                  </a:cubicBezTo>
                  <a:cubicBezTo>
                    <a:pt x="79" y="290"/>
                    <a:pt x="78" y="290"/>
                    <a:pt x="78" y="291"/>
                  </a:cubicBezTo>
                  <a:cubicBezTo>
                    <a:pt x="78" y="292"/>
                    <a:pt x="78" y="292"/>
                    <a:pt x="77" y="293"/>
                  </a:cubicBezTo>
                  <a:cubicBezTo>
                    <a:pt x="77" y="293"/>
                    <a:pt x="76" y="293"/>
                    <a:pt x="76" y="293"/>
                  </a:cubicBezTo>
                  <a:cubicBezTo>
                    <a:pt x="75" y="293"/>
                    <a:pt x="74" y="293"/>
                    <a:pt x="74" y="294"/>
                  </a:cubicBezTo>
                  <a:cubicBezTo>
                    <a:pt x="73" y="294"/>
                    <a:pt x="75" y="295"/>
                    <a:pt x="75" y="295"/>
                  </a:cubicBezTo>
                  <a:cubicBezTo>
                    <a:pt x="76" y="295"/>
                    <a:pt x="77" y="295"/>
                    <a:pt x="78" y="295"/>
                  </a:cubicBezTo>
                  <a:cubicBezTo>
                    <a:pt x="79" y="296"/>
                    <a:pt x="79" y="296"/>
                    <a:pt x="79" y="296"/>
                  </a:cubicBezTo>
                  <a:cubicBezTo>
                    <a:pt x="80" y="297"/>
                    <a:pt x="81" y="298"/>
                    <a:pt x="81" y="297"/>
                  </a:cubicBezTo>
                  <a:cubicBezTo>
                    <a:pt x="82" y="296"/>
                    <a:pt x="82" y="296"/>
                    <a:pt x="82" y="296"/>
                  </a:cubicBezTo>
                  <a:cubicBezTo>
                    <a:pt x="82" y="295"/>
                    <a:pt x="83" y="294"/>
                    <a:pt x="84" y="295"/>
                  </a:cubicBezTo>
                  <a:cubicBezTo>
                    <a:pt x="85" y="295"/>
                    <a:pt x="85" y="297"/>
                    <a:pt x="86" y="297"/>
                  </a:cubicBezTo>
                  <a:cubicBezTo>
                    <a:pt x="86" y="297"/>
                    <a:pt x="87" y="296"/>
                    <a:pt x="87" y="295"/>
                  </a:cubicBezTo>
                  <a:cubicBezTo>
                    <a:pt x="87" y="294"/>
                    <a:pt x="86" y="294"/>
                    <a:pt x="86" y="294"/>
                  </a:cubicBezTo>
                  <a:cubicBezTo>
                    <a:pt x="86" y="293"/>
                    <a:pt x="87" y="292"/>
                    <a:pt x="87" y="292"/>
                  </a:cubicBezTo>
                  <a:cubicBezTo>
                    <a:pt x="87" y="291"/>
                    <a:pt x="87" y="289"/>
                    <a:pt x="87" y="288"/>
                  </a:cubicBezTo>
                  <a:cubicBezTo>
                    <a:pt x="87" y="288"/>
                    <a:pt x="87" y="287"/>
                    <a:pt x="88" y="286"/>
                  </a:cubicBezTo>
                  <a:cubicBezTo>
                    <a:pt x="88" y="285"/>
                    <a:pt x="88" y="284"/>
                    <a:pt x="87" y="283"/>
                  </a:cubicBezTo>
                  <a:cubicBezTo>
                    <a:pt x="86" y="281"/>
                    <a:pt x="84" y="279"/>
                    <a:pt x="83" y="277"/>
                  </a:cubicBezTo>
                  <a:close/>
                  <a:moveTo>
                    <a:pt x="90" y="279"/>
                  </a:moveTo>
                  <a:cubicBezTo>
                    <a:pt x="90" y="278"/>
                    <a:pt x="90" y="278"/>
                    <a:pt x="90" y="277"/>
                  </a:cubicBezTo>
                  <a:cubicBezTo>
                    <a:pt x="90" y="276"/>
                    <a:pt x="89" y="276"/>
                    <a:pt x="88" y="276"/>
                  </a:cubicBezTo>
                  <a:cubicBezTo>
                    <a:pt x="87" y="275"/>
                    <a:pt x="87" y="274"/>
                    <a:pt x="86" y="273"/>
                  </a:cubicBezTo>
                  <a:cubicBezTo>
                    <a:pt x="86" y="272"/>
                    <a:pt x="86" y="271"/>
                    <a:pt x="86" y="270"/>
                  </a:cubicBezTo>
                  <a:cubicBezTo>
                    <a:pt x="86" y="269"/>
                    <a:pt x="86" y="268"/>
                    <a:pt x="85" y="267"/>
                  </a:cubicBezTo>
                  <a:cubicBezTo>
                    <a:pt x="84" y="267"/>
                    <a:pt x="83" y="266"/>
                    <a:pt x="83" y="266"/>
                  </a:cubicBezTo>
                  <a:cubicBezTo>
                    <a:pt x="82" y="265"/>
                    <a:pt x="82" y="264"/>
                    <a:pt x="81" y="263"/>
                  </a:cubicBezTo>
                  <a:cubicBezTo>
                    <a:pt x="81" y="263"/>
                    <a:pt x="81" y="262"/>
                    <a:pt x="80" y="262"/>
                  </a:cubicBezTo>
                  <a:cubicBezTo>
                    <a:pt x="79" y="262"/>
                    <a:pt x="78" y="262"/>
                    <a:pt x="77" y="262"/>
                  </a:cubicBezTo>
                  <a:cubicBezTo>
                    <a:pt x="77" y="263"/>
                    <a:pt x="75" y="263"/>
                    <a:pt x="75" y="263"/>
                  </a:cubicBezTo>
                  <a:cubicBezTo>
                    <a:pt x="74" y="264"/>
                    <a:pt x="76" y="264"/>
                    <a:pt x="77" y="264"/>
                  </a:cubicBezTo>
                  <a:cubicBezTo>
                    <a:pt x="78" y="264"/>
                    <a:pt x="79" y="265"/>
                    <a:pt x="79" y="267"/>
                  </a:cubicBezTo>
                  <a:cubicBezTo>
                    <a:pt x="79" y="267"/>
                    <a:pt x="79" y="268"/>
                    <a:pt x="79" y="269"/>
                  </a:cubicBezTo>
                  <a:cubicBezTo>
                    <a:pt x="79" y="270"/>
                    <a:pt x="80" y="270"/>
                    <a:pt x="80" y="271"/>
                  </a:cubicBezTo>
                  <a:cubicBezTo>
                    <a:pt x="81" y="272"/>
                    <a:pt x="82" y="273"/>
                    <a:pt x="83" y="274"/>
                  </a:cubicBezTo>
                  <a:cubicBezTo>
                    <a:pt x="83" y="275"/>
                    <a:pt x="83" y="275"/>
                    <a:pt x="83" y="275"/>
                  </a:cubicBezTo>
                  <a:cubicBezTo>
                    <a:pt x="84" y="275"/>
                    <a:pt x="84" y="276"/>
                    <a:pt x="85" y="276"/>
                  </a:cubicBezTo>
                  <a:cubicBezTo>
                    <a:pt x="85" y="277"/>
                    <a:pt x="86" y="277"/>
                    <a:pt x="86" y="278"/>
                  </a:cubicBezTo>
                  <a:cubicBezTo>
                    <a:pt x="87" y="279"/>
                    <a:pt x="87" y="279"/>
                    <a:pt x="88" y="280"/>
                  </a:cubicBezTo>
                  <a:cubicBezTo>
                    <a:pt x="88" y="281"/>
                    <a:pt x="89" y="282"/>
                    <a:pt x="89" y="282"/>
                  </a:cubicBezTo>
                  <a:cubicBezTo>
                    <a:pt x="91" y="283"/>
                    <a:pt x="91" y="281"/>
                    <a:pt x="91" y="280"/>
                  </a:cubicBezTo>
                  <a:cubicBezTo>
                    <a:pt x="91" y="280"/>
                    <a:pt x="91" y="279"/>
                    <a:pt x="90" y="279"/>
                  </a:cubicBezTo>
                  <a:close/>
                  <a:moveTo>
                    <a:pt x="97" y="257"/>
                  </a:moveTo>
                  <a:cubicBezTo>
                    <a:pt x="99" y="257"/>
                    <a:pt x="100" y="257"/>
                    <a:pt x="102" y="257"/>
                  </a:cubicBezTo>
                  <a:cubicBezTo>
                    <a:pt x="102" y="257"/>
                    <a:pt x="103" y="256"/>
                    <a:pt x="104" y="256"/>
                  </a:cubicBezTo>
                  <a:cubicBezTo>
                    <a:pt x="104" y="256"/>
                    <a:pt x="105" y="257"/>
                    <a:pt x="106" y="257"/>
                  </a:cubicBezTo>
                  <a:cubicBezTo>
                    <a:pt x="107" y="257"/>
                    <a:pt x="108" y="257"/>
                    <a:pt x="108" y="256"/>
                  </a:cubicBezTo>
                  <a:cubicBezTo>
                    <a:pt x="108" y="256"/>
                    <a:pt x="108" y="255"/>
                    <a:pt x="108" y="254"/>
                  </a:cubicBezTo>
                  <a:cubicBezTo>
                    <a:pt x="107" y="254"/>
                    <a:pt x="107" y="253"/>
                    <a:pt x="106" y="253"/>
                  </a:cubicBezTo>
                  <a:cubicBezTo>
                    <a:pt x="106" y="252"/>
                    <a:pt x="106" y="251"/>
                    <a:pt x="105" y="251"/>
                  </a:cubicBezTo>
                  <a:cubicBezTo>
                    <a:pt x="104" y="251"/>
                    <a:pt x="103" y="252"/>
                    <a:pt x="103" y="252"/>
                  </a:cubicBezTo>
                  <a:cubicBezTo>
                    <a:pt x="102" y="252"/>
                    <a:pt x="101" y="252"/>
                    <a:pt x="101" y="252"/>
                  </a:cubicBezTo>
                  <a:cubicBezTo>
                    <a:pt x="100" y="252"/>
                    <a:pt x="99" y="252"/>
                    <a:pt x="99" y="252"/>
                  </a:cubicBezTo>
                  <a:cubicBezTo>
                    <a:pt x="98" y="251"/>
                    <a:pt x="97" y="252"/>
                    <a:pt x="97" y="251"/>
                  </a:cubicBezTo>
                  <a:cubicBezTo>
                    <a:pt x="96" y="251"/>
                    <a:pt x="95" y="251"/>
                    <a:pt x="95" y="251"/>
                  </a:cubicBezTo>
                  <a:cubicBezTo>
                    <a:pt x="94" y="251"/>
                    <a:pt x="94" y="251"/>
                    <a:pt x="93" y="251"/>
                  </a:cubicBezTo>
                  <a:cubicBezTo>
                    <a:pt x="91" y="251"/>
                    <a:pt x="88" y="252"/>
                    <a:pt x="89" y="254"/>
                  </a:cubicBezTo>
                  <a:cubicBezTo>
                    <a:pt x="90" y="255"/>
                    <a:pt x="90" y="256"/>
                    <a:pt x="91" y="256"/>
                  </a:cubicBezTo>
                  <a:cubicBezTo>
                    <a:pt x="91" y="256"/>
                    <a:pt x="92" y="256"/>
                    <a:pt x="92" y="256"/>
                  </a:cubicBezTo>
                  <a:cubicBezTo>
                    <a:pt x="93" y="256"/>
                    <a:pt x="94" y="256"/>
                    <a:pt x="94" y="257"/>
                  </a:cubicBezTo>
                  <a:cubicBezTo>
                    <a:pt x="95" y="257"/>
                    <a:pt x="96" y="257"/>
                    <a:pt x="97" y="257"/>
                  </a:cubicBezTo>
                  <a:close/>
                  <a:moveTo>
                    <a:pt x="49" y="266"/>
                  </a:moveTo>
                  <a:cubicBezTo>
                    <a:pt x="48" y="266"/>
                    <a:pt x="47" y="266"/>
                    <a:pt x="47" y="266"/>
                  </a:cubicBezTo>
                  <a:cubicBezTo>
                    <a:pt x="47" y="266"/>
                    <a:pt x="47" y="266"/>
                    <a:pt x="47" y="266"/>
                  </a:cubicBezTo>
                  <a:cubicBezTo>
                    <a:pt x="47" y="267"/>
                    <a:pt x="48" y="268"/>
                    <a:pt x="49" y="268"/>
                  </a:cubicBezTo>
                  <a:cubicBezTo>
                    <a:pt x="49" y="268"/>
                    <a:pt x="50" y="268"/>
                    <a:pt x="50" y="267"/>
                  </a:cubicBezTo>
                  <a:cubicBezTo>
                    <a:pt x="50" y="266"/>
                    <a:pt x="50" y="266"/>
                    <a:pt x="49" y="266"/>
                  </a:cubicBezTo>
                  <a:close/>
                  <a:moveTo>
                    <a:pt x="187" y="203"/>
                  </a:moveTo>
                  <a:cubicBezTo>
                    <a:pt x="187" y="202"/>
                    <a:pt x="187" y="201"/>
                    <a:pt x="187" y="201"/>
                  </a:cubicBezTo>
                  <a:cubicBezTo>
                    <a:pt x="187" y="200"/>
                    <a:pt x="186" y="199"/>
                    <a:pt x="185" y="199"/>
                  </a:cubicBezTo>
                  <a:cubicBezTo>
                    <a:pt x="185" y="197"/>
                    <a:pt x="186" y="196"/>
                    <a:pt x="186" y="195"/>
                  </a:cubicBezTo>
                  <a:cubicBezTo>
                    <a:pt x="188" y="193"/>
                    <a:pt x="189" y="193"/>
                    <a:pt x="187" y="191"/>
                  </a:cubicBezTo>
                  <a:cubicBezTo>
                    <a:pt x="186" y="190"/>
                    <a:pt x="185" y="189"/>
                    <a:pt x="185" y="187"/>
                  </a:cubicBezTo>
                  <a:cubicBezTo>
                    <a:pt x="184" y="186"/>
                    <a:pt x="184" y="185"/>
                    <a:pt x="183" y="184"/>
                  </a:cubicBezTo>
                  <a:cubicBezTo>
                    <a:pt x="181" y="183"/>
                    <a:pt x="180" y="183"/>
                    <a:pt x="180" y="181"/>
                  </a:cubicBezTo>
                  <a:cubicBezTo>
                    <a:pt x="180" y="177"/>
                    <a:pt x="182" y="177"/>
                    <a:pt x="185" y="177"/>
                  </a:cubicBezTo>
                  <a:cubicBezTo>
                    <a:pt x="188" y="177"/>
                    <a:pt x="191" y="177"/>
                    <a:pt x="194" y="177"/>
                  </a:cubicBezTo>
                  <a:cubicBezTo>
                    <a:pt x="195" y="176"/>
                    <a:pt x="196" y="176"/>
                    <a:pt x="197" y="174"/>
                  </a:cubicBezTo>
                  <a:cubicBezTo>
                    <a:pt x="198" y="173"/>
                    <a:pt x="197" y="172"/>
                    <a:pt x="199" y="172"/>
                  </a:cubicBezTo>
                  <a:cubicBezTo>
                    <a:pt x="201" y="172"/>
                    <a:pt x="201" y="174"/>
                    <a:pt x="202" y="172"/>
                  </a:cubicBezTo>
                  <a:cubicBezTo>
                    <a:pt x="203" y="171"/>
                    <a:pt x="203" y="170"/>
                    <a:pt x="203" y="168"/>
                  </a:cubicBezTo>
                  <a:cubicBezTo>
                    <a:pt x="203" y="167"/>
                    <a:pt x="202" y="166"/>
                    <a:pt x="202" y="164"/>
                  </a:cubicBezTo>
                  <a:cubicBezTo>
                    <a:pt x="202" y="163"/>
                    <a:pt x="203" y="161"/>
                    <a:pt x="202" y="160"/>
                  </a:cubicBezTo>
                  <a:cubicBezTo>
                    <a:pt x="201" y="158"/>
                    <a:pt x="200" y="159"/>
                    <a:pt x="199" y="157"/>
                  </a:cubicBezTo>
                  <a:cubicBezTo>
                    <a:pt x="199" y="156"/>
                    <a:pt x="200" y="155"/>
                    <a:pt x="200" y="153"/>
                  </a:cubicBezTo>
                  <a:cubicBezTo>
                    <a:pt x="199" y="153"/>
                    <a:pt x="197" y="154"/>
                    <a:pt x="197" y="153"/>
                  </a:cubicBezTo>
                  <a:cubicBezTo>
                    <a:pt x="196" y="152"/>
                    <a:pt x="195" y="151"/>
                    <a:pt x="195" y="150"/>
                  </a:cubicBezTo>
                  <a:cubicBezTo>
                    <a:pt x="195" y="148"/>
                    <a:pt x="196" y="146"/>
                    <a:pt x="197" y="144"/>
                  </a:cubicBezTo>
                  <a:cubicBezTo>
                    <a:pt x="197" y="140"/>
                    <a:pt x="198" y="137"/>
                    <a:pt x="199" y="134"/>
                  </a:cubicBezTo>
                  <a:cubicBezTo>
                    <a:pt x="200" y="130"/>
                    <a:pt x="199" y="128"/>
                    <a:pt x="198" y="124"/>
                  </a:cubicBezTo>
                  <a:cubicBezTo>
                    <a:pt x="197" y="121"/>
                    <a:pt x="196" y="119"/>
                    <a:pt x="196" y="115"/>
                  </a:cubicBezTo>
                  <a:cubicBezTo>
                    <a:pt x="196" y="113"/>
                    <a:pt x="198" y="110"/>
                    <a:pt x="198" y="108"/>
                  </a:cubicBezTo>
                  <a:cubicBezTo>
                    <a:pt x="198" y="107"/>
                    <a:pt x="196" y="105"/>
                    <a:pt x="196" y="104"/>
                  </a:cubicBezTo>
                  <a:cubicBezTo>
                    <a:pt x="195" y="104"/>
                    <a:pt x="194" y="102"/>
                    <a:pt x="193" y="102"/>
                  </a:cubicBezTo>
                  <a:cubicBezTo>
                    <a:pt x="192" y="101"/>
                    <a:pt x="192" y="100"/>
                    <a:pt x="192" y="99"/>
                  </a:cubicBezTo>
                  <a:cubicBezTo>
                    <a:pt x="192" y="99"/>
                    <a:pt x="191" y="97"/>
                    <a:pt x="190" y="97"/>
                  </a:cubicBezTo>
                  <a:cubicBezTo>
                    <a:pt x="190" y="97"/>
                    <a:pt x="188" y="97"/>
                    <a:pt x="188" y="97"/>
                  </a:cubicBezTo>
                  <a:cubicBezTo>
                    <a:pt x="187" y="97"/>
                    <a:pt x="186" y="99"/>
                    <a:pt x="186" y="100"/>
                  </a:cubicBezTo>
                  <a:cubicBezTo>
                    <a:pt x="186" y="101"/>
                    <a:pt x="186" y="103"/>
                    <a:pt x="186" y="104"/>
                  </a:cubicBezTo>
                  <a:cubicBezTo>
                    <a:pt x="186" y="105"/>
                    <a:pt x="187" y="108"/>
                    <a:pt x="187" y="108"/>
                  </a:cubicBezTo>
                  <a:cubicBezTo>
                    <a:pt x="186" y="109"/>
                    <a:pt x="186" y="109"/>
                    <a:pt x="186" y="109"/>
                  </a:cubicBezTo>
                  <a:cubicBezTo>
                    <a:pt x="186" y="109"/>
                    <a:pt x="185" y="107"/>
                    <a:pt x="185" y="107"/>
                  </a:cubicBezTo>
                  <a:cubicBezTo>
                    <a:pt x="185" y="107"/>
                    <a:pt x="184" y="105"/>
                    <a:pt x="184" y="104"/>
                  </a:cubicBezTo>
                  <a:cubicBezTo>
                    <a:pt x="184" y="104"/>
                    <a:pt x="184" y="102"/>
                    <a:pt x="184" y="102"/>
                  </a:cubicBezTo>
                  <a:cubicBezTo>
                    <a:pt x="184" y="102"/>
                    <a:pt x="183" y="100"/>
                    <a:pt x="183" y="99"/>
                  </a:cubicBezTo>
                  <a:cubicBezTo>
                    <a:pt x="183" y="98"/>
                    <a:pt x="182" y="96"/>
                    <a:pt x="182" y="95"/>
                  </a:cubicBezTo>
                  <a:cubicBezTo>
                    <a:pt x="181" y="94"/>
                    <a:pt x="177" y="93"/>
                    <a:pt x="177" y="93"/>
                  </a:cubicBezTo>
                  <a:cubicBezTo>
                    <a:pt x="177" y="83"/>
                    <a:pt x="177" y="83"/>
                    <a:pt x="177" y="83"/>
                  </a:cubicBezTo>
                  <a:cubicBezTo>
                    <a:pt x="177" y="83"/>
                    <a:pt x="174" y="80"/>
                    <a:pt x="173" y="80"/>
                  </a:cubicBezTo>
                  <a:cubicBezTo>
                    <a:pt x="172" y="79"/>
                    <a:pt x="171" y="77"/>
                    <a:pt x="171" y="77"/>
                  </a:cubicBezTo>
                  <a:cubicBezTo>
                    <a:pt x="170" y="80"/>
                    <a:pt x="170" y="80"/>
                    <a:pt x="170" y="80"/>
                  </a:cubicBezTo>
                  <a:cubicBezTo>
                    <a:pt x="168" y="75"/>
                    <a:pt x="168" y="75"/>
                    <a:pt x="168" y="75"/>
                  </a:cubicBezTo>
                  <a:cubicBezTo>
                    <a:pt x="168" y="75"/>
                    <a:pt x="166" y="72"/>
                    <a:pt x="165" y="71"/>
                  </a:cubicBezTo>
                  <a:cubicBezTo>
                    <a:pt x="164" y="70"/>
                    <a:pt x="161" y="68"/>
                    <a:pt x="160" y="67"/>
                  </a:cubicBezTo>
                  <a:cubicBezTo>
                    <a:pt x="159" y="66"/>
                    <a:pt x="156" y="66"/>
                    <a:pt x="155" y="66"/>
                  </a:cubicBezTo>
                  <a:cubicBezTo>
                    <a:pt x="154" y="66"/>
                    <a:pt x="152" y="65"/>
                    <a:pt x="150" y="63"/>
                  </a:cubicBezTo>
                  <a:cubicBezTo>
                    <a:pt x="148" y="62"/>
                    <a:pt x="147" y="60"/>
                    <a:pt x="146" y="59"/>
                  </a:cubicBezTo>
                  <a:cubicBezTo>
                    <a:pt x="146" y="58"/>
                    <a:pt x="143" y="56"/>
                    <a:pt x="142" y="55"/>
                  </a:cubicBezTo>
                  <a:cubicBezTo>
                    <a:pt x="141" y="55"/>
                    <a:pt x="138" y="54"/>
                    <a:pt x="137" y="52"/>
                  </a:cubicBezTo>
                  <a:cubicBezTo>
                    <a:pt x="135" y="50"/>
                    <a:pt x="134" y="50"/>
                    <a:pt x="134" y="49"/>
                  </a:cubicBezTo>
                  <a:cubicBezTo>
                    <a:pt x="134" y="49"/>
                    <a:pt x="128" y="46"/>
                    <a:pt x="127" y="46"/>
                  </a:cubicBezTo>
                  <a:cubicBezTo>
                    <a:pt x="127" y="45"/>
                    <a:pt x="123" y="42"/>
                    <a:pt x="122" y="42"/>
                  </a:cubicBezTo>
                  <a:cubicBezTo>
                    <a:pt x="122" y="42"/>
                    <a:pt x="115" y="39"/>
                    <a:pt x="114" y="39"/>
                  </a:cubicBezTo>
                  <a:cubicBezTo>
                    <a:pt x="113" y="38"/>
                    <a:pt x="107" y="36"/>
                    <a:pt x="106" y="36"/>
                  </a:cubicBezTo>
                  <a:cubicBezTo>
                    <a:pt x="105" y="36"/>
                    <a:pt x="102" y="33"/>
                    <a:pt x="102" y="33"/>
                  </a:cubicBezTo>
                  <a:cubicBezTo>
                    <a:pt x="98" y="31"/>
                    <a:pt x="98" y="31"/>
                    <a:pt x="98" y="31"/>
                  </a:cubicBezTo>
                  <a:cubicBezTo>
                    <a:pt x="96" y="31"/>
                    <a:pt x="96" y="31"/>
                    <a:pt x="96" y="31"/>
                  </a:cubicBezTo>
                  <a:cubicBezTo>
                    <a:pt x="96" y="29"/>
                    <a:pt x="96" y="29"/>
                    <a:pt x="96" y="29"/>
                  </a:cubicBezTo>
                  <a:cubicBezTo>
                    <a:pt x="96" y="29"/>
                    <a:pt x="98" y="30"/>
                    <a:pt x="99" y="30"/>
                  </a:cubicBezTo>
                  <a:cubicBezTo>
                    <a:pt x="100" y="30"/>
                    <a:pt x="99" y="29"/>
                    <a:pt x="99" y="28"/>
                  </a:cubicBezTo>
                  <a:cubicBezTo>
                    <a:pt x="99" y="27"/>
                    <a:pt x="97" y="24"/>
                    <a:pt x="97" y="24"/>
                  </a:cubicBezTo>
                  <a:cubicBezTo>
                    <a:pt x="97" y="23"/>
                    <a:pt x="93" y="22"/>
                    <a:pt x="93" y="22"/>
                  </a:cubicBezTo>
                  <a:cubicBezTo>
                    <a:pt x="93" y="22"/>
                    <a:pt x="91" y="22"/>
                    <a:pt x="90" y="21"/>
                  </a:cubicBezTo>
                  <a:cubicBezTo>
                    <a:pt x="89" y="20"/>
                    <a:pt x="89" y="17"/>
                    <a:pt x="89" y="17"/>
                  </a:cubicBezTo>
                  <a:cubicBezTo>
                    <a:pt x="88" y="16"/>
                    <a:pt x="87" y="17"/>
                    <a:pt x="87" y="17"/>
                  </a:cubicBezTo>
                  <a:cubicBezTo>
                    <a:pt x="85" y="16"/>
                    <a:pt x="85" y="16"/>
                    <a:pt x="85" y="16"/>
                  </a:cubicBezTo>
                  <a:cubicBezTo>
                    <a:pt x="85" y="16"/>
                    <a:pt x="81" y="14"/>
                    <a:pt x="81" y="13"/>
                  </a:cubicBezTo>
                  <a:cubicBezTo>
                    <a:pt x="80" y="13"/>
                    <a:pt x="78" y="13"/>
                    <a:pt x="78" y="13"/>
                  </a:cubicBezTo>
                  <a:cubicBezTo>
                    <a:pt x="75" y="13"/>
                    <a:pt x="75" y="13"/>
                    <a:pt x="75" y="13"/>
                  </a:cubicBezTo>
                  <a:cubicBezTo>
                    <a:pt x="73" y="11"/>
                    <a:pt x="73" y="11"/>
                    <a:pt x="73" y="11"/>
                  </a:cubicBezTo>
                  <a:cubicBezTo>
                    <a:pt x="70" y="10"/>
                    <a:pt x="70" y="10"/>
                    <a:pt x="70" y="10"/>
                  </a:cubicBezTo>
                  <a:cubicBezTo>
                    <a:pt x="67" y="11"/>
                    <a:pt x="67" y="11"/>
                    <a:pt x="67" y="11"/>
                  </a:cubicBezTo>
                  <a:cubicBezTo>
                    <a:pt x="67" y="11"/>
                    <a:pt x="66" y="9"/>
                    <a:pt x="66" y="8"/>
                  </a:cubicBezTo>
                  <a:cubicBezTo>
                    <a:pt x="66" y="8"/>
                    <a:pt x="71" y="6"/>
                    <a:pt x="71" y="6"/>
                  </a:cubicBezTo>
                  <a:cubicBezTo>
                    <a:pt x="72" y="5"/>
                    <a:pt x="71" y="3"/>
                    <a:pt x="71" y="2"/>
                  </a:cubicBezTo>
                  <a:cubicBezTo>
                    <a:pt x="71" y="2"/>
                    <a:pt x="71" y="1"/>
                    <a:pt x="72" y="1"/>
                  </a:cubicBezTo>
                  <a:cubicBezTo>
                    <a:pt x="71" y="0"/>
                    <a:pt x="70" y="0"/>
                    <a:pt x="70" y="0"/>
                  </a:cubicBezTo>
                  <a:cubicBezTo>
                    <a:pt x="68" y="0"/>
                    <a:pt x="68" y="0"/>
                    <a:pt x="67" y="1"/>
                  </a:cubicBezTo>
                  <a:cubicBezTo>
                    <a:pt x="64" y="2"/>
                    <a:pt x="62" y="2"/>
                    <a:pt x="61" y="5"/>
                  </a:cubicBezTo>
                  <a:cubicBezTo>
                    <a:pt x="60" y="8"/>
                    <a:pt x="59" y="11"/>
                    <a:pt x="58" y="13"/>
                  </a:cubicBezTo>
                  <a:cubicBezTo>
                    <a:pt x="57" y="16"/>
                    <a:pt x="58" y="18"/>
                    <a:pt x="57" y="20"/>
                  </a:cubicBezTo>
                  <a:cubicBezTo>
                    <a:pt x="55" y="23"/>
                    <a:pt x="53" y="24"/>
                    <a:pt x="51" y="24"/>
                  </a:cubicBezTo>
                  <a:cubicBezTo>
                    <a:pt x="51" y="26"/>
                    <a:pt x="51" y="28"/>
                    <a:pt x="50" y="29"/>
                  </a:cubicBezTo>
                  <a:cubicBezTo>
                    <a:pt x="49" y="31"/>
                    <a:pt x="48" y="32"/>
                    <a:pt x="46" y="33"/>
                  </a:cubicBezTo>
                  <a:cubicBezTo>
                    <a:pt x="44" y="34"/>
                    <a:pt x="43" y="35"/>
                    <a:pt x="44" y="37"/>
                  </a:cubicBezTo>
                  <a:cubicBezTo>
                    <a:pt x="45" y="39"/>
                    <a:pt x="45" y="41"/>
                    <a:pt x="47" y="43"/>
                  </a:cubicBezTo>
                  <a:cubicBezTo>
                    <a:pt x="47" y="44"/>
                    <a:pt x="49" y="44"/>
                    <a:pt x="50" y="46"/>
                  </a:cubicBezTo>
                  <a:cubicBezTo>
                    <a:pt x="51" y="47"/>
                    <a:pt x="51" y="47"/>
                    <a:pt x="52" y="48"/>
                  </a:cubicBezTo>
                  <a:cubicBezTo>
                    <a:pt x="53" y="49"/>
                    <a:pt x="54" y="49"/>
                    <a:pt x="53" y="50"/>
                  </a:cubicBezTo>
                  <a:cubicBezTo>
                    <a:pt x="53" y="52"/>
                    <a:pt x="50" y="52"/>
                    <a:pt x="50" y="54"/>
                  </a:cubicBezTo>
                  <a:cubicBezTo>
                    <a:pt x="51" y="56"/>
                    <a:pt x="55" y="56"/>
                    <a:pt x="56" y="57"/>
                  </a:cubicBezTo>
                  <a:cubicBezTo>
                    <a:pt x="58" y="59"/>
                    <a:pt x="56" y="61"/>
                    <a:pt x="55" y="62"/>
                  </a:cubicBezTo>
                  <a:cubicBezTo>
                    <a:pt x="54" y="62"/>
                    <a:pt x="53" y="63"/>
                    <a:pt x="52" y="63"/>
                  </a:cubicBezTo>
                  <a:cubicBezTo>
                    <a:pt x="51" y="64"/>
                    <a:pt x="52" y="65"/>
                    <a:pt x="52" y="66"/>
                  </a:cubicBezTo>
                  <a:cubicBezTo>
                    <a:pt x="53" y="67"/>
                    <a:pt x="53" y="69"/>
                    <a:pt x="53" y="70"/>
                  </a:cubicBezTo>
                  <a:cubicBezTo>
                    <a:pt x="54" y="71"/>
                    <a:pt x="54" y="71"/>
                    <a:pt x="54" y="72"/>
                  </a:cubicBezTo>
                  <a:cubicBezTo>
                    <a:pt x="55" y="73"/>
                    <a:pt x="54" y="74"/>
                    <a:pt x="53" y="75"/>
                  </a:cubicBezTo>
                  <a:cubicBezTo>
                    <a:pt x="53" y="76"/>
                    <a:pt x="53" y="77"/>
                    <a:pt x="53" y="78"/>
                  </a:cubicBezTo>
                  <a:cubicBezTo>
                    <a:pt x="53" y="82"/>
                    <a:pt x="53" y="86"/>
                    <a:pt x="58" y="88"/>
                  </a:cubicBezTo>
                  <a:cubicBezTo>
                    <a:pt x="59" y="89"/>
                    <a:pt x="60" y="89"/>
                    <a:pt x="61" y="90"/>
                  </a:cubicBezTo>
                  <a:cubicBezTo>
                    <a:pt x="61" y="91"/>
                    <a:pt x="62" y="91"/>
                    <a:pt x="62" y="92"/>
                  </a:cubicBezTo>
                  <a:cubicBezTo>
                    <a:pt x="62" y="93"/>
                    <a:pt x="61" y="92"/>
                    <a:pt x="61" y="93"/>
                  </a:cubicBezTo>
                  <a:cubicBezTo>
                    <a:pt x="60" y="95"/>
                    <a:pt x="62" y="98"/>
                    <a:pt x="62" y="100"/>
                  </a:cubicBezTo>
                  <a:cubicBezTo>
                    <a:pt x="62" y="104"/>
                    <a:pt x="60" y="109"/>
                    <a:pt x="63" y="113"/>
                  </a:cubicBezTo>
                  <a:cubicBezTo>
                    <a:pt x="65" y="115"/>
                    <a:pt x="66" y="117"/>
                    <a:pt x="66" y="119"/>
                  </a:cubicBezTo>
                  <a:cubicBezTo>
                    <a:pt x="67" y="122"/>
                    <a:pt x="66" y="124"/>
                    <a:pt x="66" y="127"/>
                  </a:cubicBezTo>
                  <a:cubicBezTo>
                    <a:pt x="66" y="129"/>
                    <a:pt x="65" y="129"/>
                    <a:pt x="65" y="130"/>
                  </a:cubicBezTo>
                  <a:cubicBezTo>
                    <a:pt x="67" y="132"/>
                    <a:pt x="68" y="133"/>
                    <a:pt x="69" y="134"/>
                  </a:cubicBezTo>
                  <a:cubicBezTo>
                    <a:pt x="70" y="135"/>
                    <a:pt x="72" y="137"/>
                    <a:pt x="74" y="137"/>
                  </a:cubicBezTo>
                  <a:cubicBezTo>
                    <a:pt x="75" y="138"/>
                    <a:pt x="76" y="138"/>
                    <a:pt x="77" y="138"/>
                  </a:cubicBezTo>
                  <a:cubicBezTo>
                    <a:pt x="78" y="138"/>
                    <a:pt x="78" y="139"/>
                    <a:pt x="78" y="139"/>
                  </a:cubicBezTo>
                  <a:cubicBezTo>
                    <a:pt x="78" y="140"/>
                    <a:pt x="80" y="140"/>
                    <a:pt x="81" y="139"/>
                  </a:cubicBezTo>
                  <a:cubicBezTo>
                    <a:pt x="83" y="139"/>
                    <a:pt x="83" y="140"/>
                    <a:pt x="84" y="141"/>
                  </a:cubicBezTo>
                  <a:cubicBezTo>
                    <a:pt x="85" y="142"/>
                    <a:pt x="86" y="143"/>
                    <a:pt x="86" y="144"/>
                  </a:cubicBezTo>
                  <a:cubicBezTo>
                    <a:pt x="86" y="145"/>
                    <a:pt x="87" y="144"/>
                    <a:pt x="89" y="146"/>
                  </a:cubicBezTo>
                  <a:cubicBezTo>
                    <a:pt x="90" y="148"/>
                    <a:pt x="93" y="150"/>
                    <a:pt x="94" y="151"/>
                  </a:cubicBezTo>
                  <a:cubicBezTo>
                    <a:pt x="95" y="153"/>
                    <a:pt x="96" y="154"/>
                    <a:pt x="97" y="154"/>
                  </a:cubicBezTo>
                  <a:cubicBezTo>
                    <a:pt x="98" y="155"/>
                    <a:pt x="100" y="157"/>
                    <a:pt x="101" y="157"/>
                  </a:cubicBezTo>
                  <a:cubicBezTo>
                    <a:pt x="101" y="157"/>
                    <a:pt x="100" y="155"/>
                    <a:pt x="100" y="153"/>
                  </a:cubicBezTo>
                  <a:cubicBezTo>
                    <a:pt x="100" y="151"/>
                    <a:pt x="101" y="153"/>
                    <a:pt x="103" y="154"/>
                  </a:cubicBezTo>
                  <a:cubicBezTo>
                    <a:pt x="104" y="155"/>
                    <a:pt x="105" y="156"/>
                    <a:pt x="105" y="158"/>
                  </a:cubicBezTo>
                  <a:cubicBezTo>
                    <a:pt x="105" y="159"/>
                    <a:pt x="106" y="159"/>
                    <a:pt x="106" y="160"/>
                  </a:cubicBezTo>
                  <a:cubicBezTo>
                    <a:pt x="107" y="161"/>
                    <a:pt x="107" y="162"/>
                    <a:pt x="107" y="162"/>
                  </a:cubicBezTo>
                  <a:cubicBezTo>
                    <a:pt x="106" y="164"/>
                    <a:pt x="106" y="164"/>
                    <a:pt x="106" y="164"/>
                  </a:cubicBezTo>
                  <a:cubicBezTo>
                    <a:pt x="106" y="164"/>
                    <a:pt x="106" y="164"/>
                    <a:pt x="106" y="165"/>
                  </a:cubicBezTo>
                  <a:cubicBezTo>
                    <a:pt x="106" y="166"/>
                    <a:pt x="105" y="167"/>
                    <a:pt x="105" y="167"/>
                  </a:cubicBezTo>
                  <a:cubicBezTo>
                    <a:pt x="103" y="167"/>
                    <a:pt x="103" y="167"/>
                    <a:pt x="103" y="167"/>
                  </a:cubicBezTo>
                  <a:cubicBezTo>
                    <a:pt x="103" y="167"/>
                    <a:pt x="102" y="168"/>
                    <a:pt x="102" y="167"/>
                  </a:cubicBezTo>
                  <a:cubicBezTo>
                    <a:pt x="101" y="167"/>
                    <a:pt x="100" y="167"/>
                    <a:pt x="100" y="167"/>
                  </a:cubicBezTo>
                  <a:cubicBezTo>
                    <a:pt x="100" y="167"/>
                    <a:pt x="101" y="169"/>
                    <a:pt x="102" y="171"/>
                  </a:cubicBezTo>
                  <a:cubicBezTo>
                    <a:pt x="104" y="172"/>
                    <a:pt x="103" y="173"/>
                    <a:pt x="104" y="175"/>
                  </a:cubicBezTo>
                  <a:cubicBezTo>
                    <a:pt x="105" y="177"/>
                    <a:pt x="107" y="179"/>
                    <a:pt x="108" y="181"/>
                  </a:cubicBezTo>
                  <a:cubicBezTo>
                    <a:pt x="109" y="183"/>
                    <a:pt x="108" y="184"/>
                    <a:pt x="108" y="186"/>
                  </a:cubicBezTo>
                  <a:cubicBezTo>
                    <a:pt x="108" y="188"/>
                    <a:pt x="109" y="189"/>
                    <a:pt x="110" y="190"/>
                  </a:cubicBezTo>
                  <a:cubicBezTo>
                    <a:pt x="112" y="192"/>
                    <a:pt x="111" y="193"/>
                    <a:pt x="112" y="196"/>
                  </a:cubicBezTo>
                  <a:cubicBezTo>
                    <a:pt x="113" y="199"/>
                    <a:pt x="114" y="201"/>
                    <a:pt x="115" y="203"/>
                  </a:cubicBezTo>
                  <a:cubicBezTo>
                    <a:pt x="115" y="205"/>
                    <a:pt x="116" y="208"/>
                    <a:pt x="116" y="209"/>
                  </a:cubicBezTo>
                  <a:cubicBezTo>
                    <a:pt x="116" y="210"/>
                    <a:pt x="117" y="211"/>
                    <a:pt x="118" y="212"/>
                  </a:cubicBezTo>
                  <a:cubicBezTo>
                    <a:pt x="119" y="213"/>
                    <a:pt x="119" y="214"/>
                    <a:pt x="119" y="214"/>
                  </a:cubicBezTo>
                  <a:cubicBezTo>
                    <a:pt x="119" y="215"/>
                    <a:pt x="120" y="217"/>
                    <a:pt x="121" y="218"/>
                  </a:cubicBezTo>
                  <a:cubicBezTo>
                    <a:pt x="121" y="218"/>
                    <a:pt x="121" y="221"/>
                    <a:pt x="120" y="222"/>
                  </a:cubicBezTo>
                  <a:cubicBezTo>
                    <a:pt x="120" y="224"/>
                    <a:pt x="121" y="223"/>
                    <a:pt x="122" y="225"/>
                  </a:cubicBezTo>
                  <a:cubicBezTo>
                    <a:pt x="124" y="226"/>
                    <a:pt x="123" y="229"/>
                    <a:pt x="123" y="229"/>
                  </a:cubicBezTo>
                  <a:cubicBezTo>
                    <a:pt x="123" y="229"/>
                    <a:pt x="123" y="231"/>
                    <a:pt x="124" y="231"/>
                  </a:cubicBezTo>
                  <a:cubicBezTo>
                    <a:pt x="125" y="232"/>
                    <a:pt x="125" y="235"/>
                    <a:pt x="125" y="236"/>
                  </a:cubicBezTo>
                  <a:cubicBezTo>
                    <a:pt x="125" y="238"/>
                    <a:pt x="123" y="240"/>
                    <a:pt x="124" y="241"/>
                  </a:cubicBezTo>
                  <a:cubicBezTo>
                    <a:pt x="124" y="241"/>
                    <a:pt x="126" y="243"/>
                    <a:pt x="126" y="244"/>
                  </a:cubicBezTo>
                  <a:cubicBezTo>
                    <a:pt x="126" y="245"/>
                    <a:pt x="127" y="246"/>
                    <a:pt x="127" y="247"/>
                  </a:cubicBezTo>
                  <a:cubicBezTo>
                    <a:pt x="128" y="247"/>
                    <a:pt x="128" y="246"/>
                    <a:pt x="129" y="246"/>
                  </a:cubicBezTo>
                  <a:cubicBezTo>
                    <a:pt x="131" y="244"/>
                    <a:pt x="131" y="242"/>
                    <a:pt x="135" y="242"/>
                  </a:cubicBezTo>
                  <a:cubicBezTo>
                    <a:pt x="137" y="242"/>
                    <a:pt x="137" y="242"/>
                    <a:pt x="138" y="240"/>
                  </a:cubicBezTo>
                  <a:cubicBezTo>
                    <a:pt x="138" y="239"/>
                    <a:pt x="138" y="238"/>
                    <a:pt x="139" y="237"/>
                  </a:cubicBezTo>
                  <a:cubicBezTo>
                    <a:pt x="140" y="236"/>
                    <a:pt x="140" y="235"/>
                    <a:pt x="141" y="234"/>
                  </a:cubicBezTo>
                  <a:cubicBezTo>
                    <a:pt x="142" y="232"/>
                    <a:pt x="143" y="233"/>
                    <a:pt x="144" y="232"/>
                  </a:cubicBezTo>
                  <a:cubicBezTo>
                    <a:pt x="146" y="231"/>
                    <a:pt x="146" y="230"/>
                    <a:pt x="147" y="229"/>
                  </a:cubicBezTo>
                  <a:cubicBezTo>
                    <a:pt x="149" y="228"/>
                    <a:pt x="149" y="230"/>
                    <a:pt x="151" y="230"/>
                  </a:cubicBezTo>
                  <a:cubicBezTo>
                    <a:pt x="151" y="231"/>
                    <a:pt x="151" y="231"/>
                    <a:pt x="151" y="231"/>
                  </a:cubicBezTo>
                  <a:cubicBezTo>
                    <a:pt x="153" y="231"/>
                    <a:pt x="154" y="229"/>
                    <a:pt x="156" y="230"/>
                  </a:cubicBezTo>
                  <a:cubicBezTo>
                    <a:pt x="158" y="230"/>
                    <a:pt x="158" y="232"/>
                    <a:pt x="160" y="234"/>
                  </a:cubicBezTo>
                  <a:cubicBezTo>
                    <a:pt x="162" y="236"/>
                    <a:pt x="164" y="233"/>
                    <a:pt x="167" y="233"/>
                  </a:cubicBezTo>
                  <a:cubicBezTo>
                    <a:pt x="169" y="233"/>
                    <a:pt x="171" y="234"/>
                    <a:pt x="173" y="233"/>
                  </a:cubicBezTo>
                  <a:cubicBezTo>
                    <a:pt x="175" y="231"/>
                    <a:pt x="175" y="229"/>
                    <a:pt x="174" y="228"/>
                  </a:cubicBezTo>
                  <a:cubicBezTo>
                    <a:pt x="173" y="225"/>
                    <a:pt x="174" y="223"/>
                    <a:pt x="172" y="222"/>
                  </a:cubicBezTo>
                  <a:cubicBezTo>
                    <a:pt x="170" y="221"/>
                    <a:pt x="167" y="220"/>
                    <a:pt x="167" y="217"/>
                  </a:cubicBezTo>
                  <a:cubicBezTo>
                    <a:pt x="167" y="216"/>
                    <a:pt x="168" y="215"/>
                    <a:pt x="168" y="213"/>
                  </a:cubicBezTo>
                  <a:cubicBezTo>
                    <a:pt x="168" y="212"/>
                    <a:pt x="168" y="210"/>
                    <a:pt x="168" y="209"/>
                  </a:cubicBezTo>
                  <a:cubicBezTo>
                    <a:pt x="171" y="206"/>
                    <a:pt x="174" y="209"/>
                    <a:pt x="176" y="210"/>
                  </a:cubicBezTo>
                  <a:cubicBezTo>
                    <a:pt x="177" y="211"/>
                    <a:pt x="180" y="212"/>
                    <a:pt x="181" y="213"/>
                  </a:cubicBezTo>
                  <a:cubicBezTo>
                    <a:pt x="183" y="213"/>
                    <a:pt x="184" y="213"/>
                    <a:pt x="185" y="214"/>
                  </a:cubicBezTo>
                  <a:cubicBezTo>
                    <a:pt x="185" y="212"/>
                    <a:pt x="185" y="211"/>
                    <a:pt x="185" y="210"/>
                  </a:cubicBezTo>
                  <a:cubicBezTo>
                    <a:pt x="186" y="208"/>
                    <a:pt x="186" y="205"/>
                    <a:pt x="187" y="203"/>
                  </a:cubicBezTo>
                  <a:close/>
                </a:path>
              </a:pathLst>
            </a:custGeom>
            <a:solidFill>
              <a:srgbClr val="F1A3CB"/>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5" name="Freeform 38">
              <a:extLst>
                <a:ext uri="{FF2B5EF4-FFF2-40B4-BE49-F238E27FC236}">
                  <a16:creationId xmlns:a16="http://schemas.microsoft.com/office/drawing/2014/main" id="{39845260-5CDF-A943-C11D-0FBFF9F510D0}"/>
                </a:ext>
              </a:extLst>
            </p:cNvPr>
            <p:cNvSpPr>
              <a:spLocks noEditPoints="1"/>
            </p:cNvSpPr>
            <p:nvPr/>
          </p:nvSpPr>
          <p:spPr bwMode="auto">
            <a:xfrm>
              <a:off x="7180263" y="2763838"/>
              <a:ext cx="892175" cy="995362"/>
            </a:xfrm>
            <a:custGeom>
              <a:avLst/>
              <a:gdLst>
                <a:gd name="T0" fmla="*/ 123 w 234"/>
                <a:gd name="T1" fmla="*/ 195 h 261"/>
                <a:gd name="T2" fmla="*/ 117 w 234"/>
                <a:gd name="T3" fmla="*/ 210 h 261"/>
                <a:gd name="T4" fmla="*/ 105 w 234"/>
                <a:gd name="T5" fmla="*/ 221 h 261"/>
                <a:gd name="T6" fmla="*/ 95 w 234"/>
                <a:gd name="T7" fmla="*/ 231 h 261"/>
                <a:gd name="T8" fmla="*/ 91 w 234"/>
                <a:gd name="T9" fmla="*/ 238 h 261"/>
                <a:gd name="T10" fmla="*/ 87 w 234"/>
                <a:gd name="T11" fmla="*/ 245 h 261"/>
                <a:gd name="T12" fmla="*/ 85 w 234"/>
                <a:gd name="T13" fmla="*/ 250 h 261"/>
                <a:gd name="T14" fmla="*/ 75 w 234"/>
                <a:gd name="T15" fmla="*/ 252 h 261"/>
                <a:gd name="T16" fmla="*/ 63 w 234"/>
                <a:gd name="T17" fmla="*/ 255 h 261"/>
                <a:gd name="T18" fmla="*/ 49 w 234"/>
                <a:gd name="T19" fmla="*/ 257 h 261"/>
                <a:gd name="T20" fmla="*/ 34 w 234"/>
                <a:gd name="T21" fmla="*/ 261 h 261"/>
                <a:gd name="T22" fmla="*/ 24 w 234"/>
                <a:gd name="T23" fmla="*/ 257 h 261"/>
                <a:gd name="T24" fmla="*/ 20 w 234"/>
                <a:gd name="T25" fmla="*/ 241 h 261"/>
                <a:gd name="T26" fmla="*/ 12 w 234"/>
                <a:gd name="T27" fmla="*/ 237 h 261"/>
                <a:gd name="T28" fmla="*/ 8 w 234"/>
                <a:gd name="T29" fmla="*/ 228 h 261"/>
                <a:gd name="T30" fmla="*/ 0 w 234"/>
                <a:gd name="T31" fmla="*/ 222 h 261"/>
                <a:gd name="T32" fmla="*/ 7 w 234"/>
                <a:gd name="T33" fmla="*/ 221 h 261"/>
                <a:gd name="T34" fmla="*/ 18 w 234"/>
                <a:gd name="T35" fmla="*/ 222 h 261"/>
                <a:gd name="T36" fmla="*/ 29 w 234"/>
                <a:gd name="T37" fmla="*/ 224 h 261"/>
                <a:gd name="T38" fmla="*/ 43 w 234"/>
                <a:gd name="T39" fmla="*/ 228 h 261"/>
                <a:gd name="T40" fmla="*/ 49 w 234"/>
                <a:gd name="T41" fmla="*/ 227 h 261"/>
                <a:gd name="T42" fmla="*/ 60 w 234"/>
                <a:gd name="T43" fmla="*/ 223 h 261"/>
                <a:gd name="T44" fmla="*/ 75 w 234"/>
                <a:gd name="T45" fmla="*/ 217 h 261"/>
                <a:gd name="T46" fmla="*/ 81 w 234"/>
                <a:gd name="T47" fmla="*/ 207 h 261"/>
                <a:gd name="T48" fmla="*/ 89 w 234"/>
                <a:gd name="T49" fmla="*/ 205 h 261"/>
                <a:gd name="T50" fmla="*/ 94 w 234"/>
                <a:gd name="T51" fmla="*/ 202 h 261"/>
                <a:gd name="T52" fmla="*/ 89 w 234"/>
                <a:gd name="T53" fmla="*/ 199 h 261"/>
                <a:gd name="T54" fmla="*/ 91 w 234"/>
                <a:gd name="T55" fmla="*/ 193 h 261"/>
                <a:gd name="T56" fmla="*/ 101 w 234"/>
                <a:gd name="T57" fmla="*/ 191 h 261"/>
                <a:gd name="T58" fmla="*/ 107 w 234"/>
                <a:gd name="T59" fmla="*/ 188 h 261"/>
                <a:gd name="T60" fmla="*/ 105 w 234"/>
                <a:gd name="T61" fmla="*/ 183 h 261"/>
                <a:gd name="T62" fmla="*/ 112 w 234"/>
                <a:gd name="T63" fmla="*/ 177 h 261"/>
                <a:gd name="T64" fmla="*/ 117 w 234"/>
                <a:gd name="T65" fmla="*/ 173 h 261"/>
                <a:gd name="T66" fmla="*/ 125 w 234"/>
                <a:gd name="T67" fmla="*/ 177 h 261"/>
                <a:gd name="T68" fmla="*/ 128 w 234"/>
                <a:gd name="T69" fmla="*/ 182 h 261"/>
                <a:gd name="T70" fmla="*/ 158 w 234"/>
                <a:gd name="T71" fmla="*/ 66 h 261"/>
                <a:gd name="T72" fmla="*/ 147 w 234"/>
                <a:gd name="T73" fmla="*/ 51 h 261"/>
                <a:gd name="T74" fmla="*/ 148 w 234"/>
                <a:gd name="T75" fmla="*/ 60 h 261"/>
                <a:gd name="T76" fmla="*/ 154 w 234"/>
                <a:gd name="T77" fmla="*/ 70 h 261"/>
                <a:gd name="T78" fmla="*/ 228 w 234"/>
                <a:gd name="T79" fmla="*/ 29 h 261"/>
                <a:gd name="T80" fmla="*/ 233 w 234"/>
                <a:gd name="T81" fmla="*/ 17 h 261"/>
                <a:gd name="T82" fmla="*/ 227 w 234"/>
                <a:gd name="T83" fmla="*/ 1 h 261"/>
                <a:gd name="T84" fmla="*/ 222 w 234"/>
                <a:gd name="T85" fmla="*/ 9 h 261"/>
                <a:gd name="T86" fmla="*/ 226 w 234"/>
                <a:gd name="T87" fmla="*/ 21 h 261"/>
                <a:gd name="T88" fmla="*/ 223 w 234"/>
                <a:gd name="T89" fmla="*/ 34 h 261"/>
                <a:gd name="T90" fmla="*/ 229 w 234"/>
                <a:gd name="T91" fmla="*/ 50 h 261"/>
                <a:gd name="T92" fmla="*/ 222 w 234"/>
                <a:gd name="T93" fmla="*/ 44 h 261"/>
                <a:gd name="T94" fmla="*/ 216 w 234"/>
                <a:gd name="T95" fmla="*/ 33 h 261"/>
                <a:gd name="T96" fmla="*/ 143 w 234"/>
                <a:gd name="T97" fmla="*/ 117 h 261"/>
                <a:gd name="T98" fmla="*/ 145 w 234"/>
                <a:gd name="T99" fmla="*/ 110 h 261"/>
                <a:gd name="T100" fmla="*/ 141 w 234"/>
                <a:gd name="T101"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4" h="261">
                  <a:moveTo>
                    <a:pt x="130" y="190"/>
                  </a:moveTo>
                  <a:cubicBezTo>
                    <a:pt x="129" y="191"/>
                    <a:pt x="127" y="191"/>
                    <a:pt x="126" y="192"/>
                  </a:cubicBezTo>
                  <a:cubicBezTo>
                    <a:pt x="124" y="193"/>
                    <a:pt x="123" y="194"/>
                    <a:pt x="123" y="195"/>
                  </a:cubicBezTo>
                  <a:cubicBezTo>
                    <a:pt x="122" y="196"/>
                    <a:pt x="121" y="197"/>
                    <a:pt x="121" y="198"/>
                  </a:cubicBezTo>
                  <a:cubicBezTo>
                    <a:pt x="121" y="200"/>
                    <a:pt x="121" y="202"/>
                    <a:pt x="120" y="204"/>
                  </a:cubicBezTo>
                  <a:cubicBezTo>
                    <a:pt x="120" y="206"/>
                    <a:pt x="119" y="208"/>
                    <a:pt x="117" y="210"/>
                  </a:cubicBezTo>
                  <a:cubicBezTo>
                    <a:pt x="116" y="212"/>
                    <a:pt x="115" y="214"/>
                    <a:pt x="113" y="215"/>
                  </a:cubicBezTo>
                  <a:cubicBezTo>
                    <a:pt x="111" y="216"/>
                    <a:pt x="110" y="218"/>
                    <a:pt x="108" y="219"/>
                  </a:cubicBezTo>
                  <a:cubicBezTo>
                    <a:pt x="107" y="220"/>
                    <a:pt x="106" y="220"/>
                    <a:pt x="105" y="221"/>
                  </a:cubicBezTo>
                  <a:cubicBezTo>
                    <a:pt x="104" y="223"/>
                    <a:pt x="102" y="223"/>
                    <a:pt x="100" y="225"/>
                  </a:cubicBezTo>
                  <a:cubicBezTo>
                    <a:pt x="99" y="226"/>
                    <a:pt x="99" y="227"/>
                    <a:pt x="98" y="228"/>
                  </a:cubicBezTo>
                  <a:cubicBezTo>
                    <a:pt x="97" y="229"/>
                    <a:pt x="96" y="230"/>
                    <a:pt x="95" y="231"/>
                  </a:cubicBezTo>
                  <a:cubicBezTo>
                    <a:pt x="95" y="232"/>
                    <a:pt x="95" y="233"/>
                    <a:pt x="95" y="234"/>
                  </a:cubicBezTo>
                  <a:cubicBezTo>
                    <a:pt x="94" y="235"/>
                    <a:pt x="94" y="235"/>
                    <a:pt x="93" y="236"/>
                  </a:cubicBezTo>
                  <a:cubicBezTo>
                    <a:pt x="92" y="236"/>
                    <a:pt x="91" y="237"/>
                    <a:pt x="91" y="238"/>
                  </a:cubicBezTo>
                  <a:cubicBezTo>
                    <a:pt x="90" y="239"/>
                    <a:pt x="90" y="239"/>
                    <a:pt x="90" y="240"/>
                  </a:cubicBezTo>
                  <a:cubicBezTo>
                    <a:pt x="89" y="241"/>
                    <a:pt x="90" y="242"/>
                    <a:pt x="90" y="243"/>
                  </a:cubicBezTo>
                  <a:cubicBezTo>
                    <a:pt x="89" y="244"/>
                    <a:pt x="88" y="244"/>
                    <a:pt x="87" y="245"/>
                  </a:cubicBezTo>
                  <a:cubicBezTo>
                    <a:pt x="86" y="245"/>
                    <a:pt x="86" y="246"/>
                    <a:pt x="86" y="247"/>
                  </a:cubicBezTo>
                  <a:cubicBezTo>
                    <a:pt x="86" y="248"/>
                    <a:pt x="86" y="249"/>
                    <a:pt x="86" y="250"/>
                  </a:cubicBezTo>
                  <a:cubicBezTo>
                    <a:pt x="85" y="250"/>
                    <a:pt x="85" y="250"/>
                    <a:pt x="85" y="250"/>
                  </a:cubicBezTo>
                  <a:cubicBezTo>
                    <a:pt x="84" y="250"/>
                    <a:pt x="84" y="250"/>
                    <a:pt x="84" y="251"/>
                  </a:cubicBezTo>
                  <a:cubicBezTo>
                    <a:pt x="82" y="251"/>
                    <a:pt x="81" y="252"/>
                    <a:pt x="79" y="252"/>
                  </a:cubicBezTo>
                  <a:cubicBezTo>
                    <a:pt x="78" y="252"/>
                    <a:pt x="76" y="251"/>
                    <a:pt x="75" y="252"/>
                  </a:cubicBezTo>
                  <a:cubicBezTo>
                    <a:pt x="75" y="252"/>
                    <a:pt x="74" y="253"/>
                    <a:pt x="73" y="253"/>
                  </a:cubicBezTo>
                  <a:cubicBezTo>
                    <a:pt x="72" y="254"/>
                    <a:pt x="72" y="254"/>
                    <a:pt x="71" y="254"/>
                  </a:cubicBezTo>
                  <a:cubicBezTo>
                    <a:pt x="68" y="254"/>
                    <a:pt x="66" y="255"/>
                    <a:pt x="63" y="255"/>
                  </a:cubicBezTo>
                  <a:cubicBezTo>
                    <a:pt x="61" y="255"/>
                    <a:pt x="58" y="255"/>
                    <a:pt x="55" y="256"/>
                  </a:cubicBezTo>
                  <a:cubicBezTo>
                    <a:pt x="54" y="256"/>
                    <a:pt x="53" y="257"/>
                    <a:pt x="52" y="257"/>
                  </a:cubicBezTo>
                  <a:cubicBezTo>
                    <a:pt x="52" y="257"/>
                    <a:pt x="50" y="257"/>
                    <a:pt x="49" y="257"/>
                  </a:cubicBezTo>
                  <a:cubicBezTo>
                    <a:pt x="47" y="258"/>
                    <a:pt x="45" y="259"/>
                    <a:pt x="43" y="259"/>
                  </a:cubicBezTo>
                  <a:cubicBezTo>
                    <a:pt x="41" y="259"/>
                    <a:pt x="39" y="259"/>
                    <a:pt x="37" y="260"/>
                  </a:cubicBezTo>
                  <a:cubicBezTo>
                    <a:pt x="36" y="261"/>
                    <a:pt x="35" y="261"/>
                    <a:pt x="34" y="261"/>
                  </a:cubicBezTo>
                  <a:cubicBezTo>
                    <a:pt x="33" y="261"/>
                    <a:pt x="32" y="260"/>
                    <a:pt x="31" y="260"/>
                  </a:cubicBezTo>
                  <a:cubicBezTo>
                    <a:pt x="29" y="259"/>
                    <a:pt x="26" y="259"/>
                    <a:pt x="23" y="259"/>
                  </a:cubicBezTo>
                  <a:cubicBezTo>
                    <a:pt x="23" y="258"/>
                    <a:pt x="24" y="257"/>
                    <a:pt x="24" y="257"/>
                  </a:cubicBezTo>
                  <a:cubicBezTo>
                    <a:pt x="25" y="256"/>
                    <a:pt x="26" y="254"/>
                    <a:pt x="26" y="253"/>
                  </a:cubicBezTo>
                  <a:cubicBezTo>
                    <a:pt x="26" y="252"/>
                    <a:pt x="26" y="251"/>
                    <a:pt x="26" y="249"/>
                  </a:cubicBezTo>
                  <a:cubicBezTo>
                    <a:pt x="26" y="246"/>
                    <a:pt x="24" y="243"/>
                    <a:pt x="20" y="241"/>
                  </a:cubicBezTo>
                  <a:cubicBezTo>
                    <a:pt x="20" y="241"/>
                    <a:pt x="19" y="241"/>
                    <a:pt x="18" y="241"/>
                  </a:cubicBezTo>
                  <a:cubicBezTo>
                    <a:pt x="17" y="240"/>
                    <a:pt x="16" y="240"/>
                    <a:pt x="15" y="239"/>
                  </a:cubicBezTo>
                  <a:cubicBezTo>
                    <a:pt x="14" y="238"/>
                    <a:pt x="13" y="238"/>
                    <a:pt x="12" y="237"/>
                  </a:cubicBezTo>
                  <a:cubicBezTo>
                    <a:pt x="11" y="236"/>
                    <a:pt x="9" y="235"/>
                    <a:pt x="9" y="235"/>
                  </a:cubicBezTo>
                  <a:cubicBezTo>
                    <a:pt x="9" y="234"/>
                    <a:pt x="9" y="232"/>
                    <a:pt x="9" y="231"/>
                  </a:cubicBezTo>
                  <a:cubicBezTo>
                    <a:pt x="9" y="230"/>
                    <a:pt x="9" y="229"/>
                    <a:pt x="8" y="228"/>
                  </a:cubicBezTo>
                  <a:cubicBezTo>
                    <a:pt x="6" y="227"/>
                    <a:pt x="3" y="227"/>
                    <a:pt x="2" y="225"/>
                  </a:cubicBezTo>
                  <a:cubicBezTo>
                    <a:pt x="1" y="224"/>
                    <a:pt x="0" y="223"/>
                    <a:pt x="0" y="222"/>
                  </a:cubicBezTo>
                  <a:cubicBezTo>
                    <a:pt x="0" y="222"/>
                    <a:pt x="0" y="222"/>
                    <a:pt x="0" y="222"/>
                  </a:cubicBezTo>
                  <a:cubicBezTo>
                    <a:pt x="1" y="222"/>
                    <a:pt x="2" y="222"/>
                    <a:pt x="4" y="222"/>
                  </a:cubicBezTo>
                  <a:cubicBezTo>
                    <a:pt x="4" y="222"/>
                    <a:pt x="5" y="223"/>
                    <a:pt x="6" y="223"/>
                  </a:cubicBezTo>
                  <a:cubicBezTo>
                    <a:pt x="7" y="223"/>
                    <a:pt x="7" y="222"/>
                    <a:pt x="7" y="221"/>
                  </a:cubicBezTo>
                  <a:cubicBezTo>
                    <a:pt x="7" y="221"/>
                    <a:pt x="11" y="222"/>
                    <a:pt x="12" y="222"/>
                  </a:cubicBezTo>
                  <a:cubicBezTo>
                    <a:pt x="13" y="222"/>
                    <a:pt x="13" y="223"/>
                    <a:pt x="14" y="223"/>
                  </a:cubicBezTo>
                  <a:cubicBezTo>
                    <a:pt x="15" y="223"/>
                    <a:pt x="17" y="223"/>
                    <a:pt x="18" y="222"/>
                  </a:cubicBezTo>
                  <a:cubicBezTo>
                    <a:pt x="19" y="222"/>
                    <a:pt x="20" y="223"/>
                    <a:pt x="21" y="224"/>
                  </a:cubicBezTo>
                  <a:cubicBezTo>
                    <a:pt x="23" y="224"/>
                    <a:pt x="24" y="224"/>
                    <a:pt x="26" y="224"/>
                  </a:cubicBezTo>
                  <a:cubicBezTo>
                    <a:pt x="27" y="224"/>
                    <a:pt x="28" y="224"/>
                    <a:pt x="29" y="224"/>
                  </a:cubicBezTo>
                  <a:cubicBezTo>
                    <a:pt x="30" y="224"/>
                    <a:pt x="31" y="224"/>
                    <a:pt x="32" y="224"/>
                  </a:cubicBezTo>
                  <a:cubicBezTo>
                    <a:pt x="35" y="223"/>
                    <a:pt x="37" y="225"/>
                    <a:pt x="39" y="226"/>
                  </a:cubicBezTo>
                  <a:cubicBezTo>
                    <a:pt x="40" y="227"/>
                    <a:pt x="42" y="228"/>
                    <a:pt x="43" y="228"/>
                  </a:cubicBezTo>
                  <a:cubicBezTo>
                    <a:pt x="44" y="228"/>
                    <a:pt x="45" y="227"/>
                    <a:pt x="46" y="227"/>
                  </a:cubicBezTo>
                  <a:cubicBezTo>
                    <a:pt x="46" y="227"/>
                    <a:pt x="47" y="227"/>
                    <a:pt x="47" y="227"/>
                  </a:cubicBezTo>
                  <a:cubicBezTo>
                    <a:pt x="48" y="228"/>
                    <a:pt x="48" y="227"/>
                    <a:pt x="49" y="227"/>
                  </a:cubicBezTo>
                  <a:cubicBezTo>
                    <a:pt x="50" y="227"/>
                    <a:pt x="51" y="227"/>
                    <a:pt x="53" y="227"/>
                  </a:cubicBezTo>
                  <a:cubicBezTo>
                    <a:pt x="54" y="226"/>
                    <a:pt x="55" y="225"/>
                    <a:pt x="56" y="225"/>
                  </a:cubicBezTo>
                  <a:cubicBezTo>
                    <a:pt x="57" y="224"/>
                    <a:pt x="59" y="223"/>
                    <a:pt x="60" y="223"/>
                  </a:cubicBezTo>
                  <a:cubicBezTo>
                    <a:pt x="62" y="223"/>
                    <a:pt x="64" y="223"/>
                    <a:pt x="65" y="221"/>
                  </a:cubicBezTo>
                  <a:cubicBezTo>
                    <a:pt x="67" y="220"/>
                    <a:pt x="68" y="219"/>
                    <a:pt x="70" y="218"/>
                  </a:cubicBezTo>
                  <a:cubicBezTo>
                    <a:pt x="71" y="218"/>
                    <a:pt x="73" y="218"/>
                    <a:pt x="75" y="217"/>
                  </a:cubicBezTo>
                  <a:cubicBezTo>
                    <a:pt x="76" y="216"/>
                    <a:pt x="77" y="213"/>
                    <a:pt x="77" y="211"/>
                  </a:cubicBezTo>
                  <a:cubicBezTo>
                    <a:pt x="77" y="211"/>
                    <a:pt x="78" y="210"/>
                    <a:pt x="78" y="209"/>
                  </a:cubicBezTo>
                  <a:cubicBezTo>
                    <a:pt x="79" y="208"/>
                    <a:pt x="80" y="207"/>
                    <a:pt x="81" y="207"/>
                  </a:cubicBezTo>
                  <a:cubicBezTo>
                    <a:pt x="82" y="206"/>
                    <a:pt x="83" y="206"/>
                    <a:pt x="85" y="206"/>
                  </a:cubicBezTo>
                  <a:cubicBezTo>
                    <a:pt x="86" y="206"/>
                    <a:pt x="87" y="206"/>
                    <a:pt x="88" y="206"/>
                  </a:cubicBezTo>
                  <a:cubicBezTo>
                    <a:pt x="88" y="205"/>
                    <a:pt x="89" y="205"/>
                    <a:pt x="89" y="205"/>
                  </a:cubicBezTo>
                  <a:cubicBezTo>
                    <a:pt x="90" y="205"/>
                    <a:pt x="90" y="205"/>
                    <a:pt x="90" y="205"/>
                  </a:cubicBezTo>
                  <a:cubicBezTo>
                    <a:pt x="91" y="205"/>
                    <a:pt x="92" y="205"/>
                    <a:pt x="93" y="204"/>
                  </a:cubicBezTo>
                  <a:cubicBezTo>
                    <a:pt x="94" y="204"/>
                    <a:pt x="94" y="203"/>
                    <a:pt x="94" y="202"/>
                  </a:cubicBezTo>
                  <a:cubicBezTo>
                    <a:pt x="93" y="201"/>
                    <a:pt x="93" y="200"/>
                    <a:pt x="92" y="201"/>
                  </a:cubicBezTo>
                  <a:cubicBezTo>
                    <a:pt x="91" y="201"/>
                    <a:pt x="91" y="201"/>
                    <a:pt x="90" y="201"/>
                  </a:cubicBezTo>
                  <a:cubicBezTo>
                    <a:pt x="89" y="201"/>
                    <a:pt x="89" y="200"/>
                    <a:pt x="89" y="199"/>
                  </a:cubicBezTo>
                  <a:cubicBezTo>
                    <a:pt x="89" y="199"/>
                    <a:pt x="88" y="197"/>
                    <a:pt x="88" y="196"/>
                  </a:cubicBezTo>
                  <a:cubicBezTo>
                    <a:pt x="89" y="196"/>
                    <a:pt x="90" y="195"/>
                    <a:pt x="90" y="195"/>
                  </a:cubicBezTo>
                  <a:cubicBezTo>
                    <a:pt x="91" y="194"/>
                    <a:pt x="91" y="194"/>
                    <a:pt x="91" y="193"/>
                  </a:cubicBezTo>
                  <a:cubicBezTo>
                    <a:pt x="92" y="193"/>
                    <a:pt x="93" y="193"/>
                    <a:pt x="93" y="192"/>
                  </a:cubicBezTo>
                  <a:cubicBezTo>
                    <a:pt x="94" y="192"/>
                    <a:pt x="95" y="192"/>
                    <a:pt x="95" y="193"/>
                  </a:cubicBezTo>
                  <a:cubicBezTo>
                    <a:pt x="97" y="193"/>
                    <a:pt x="100" y="193"/>
                    <a:pt x="101" y="191"/>
                  </a:cubicBezTo>
                  <a:cubicBezTo>
                    <a:pt x="102" y="191"/>
                    <a:pt x="102" y="190"/>
                    <a:pt x="103" y="190"/>
                  </a:cubicBezTo>
                  <a:cubicBezTo>
                    <a:pt x="103" y="189"/>
                    <a:pt x="104" y="189"/>
                    <a:pt x="104" y="189"/>
                  </a:cubicBezTo>
                  <a:cubicBezTo>
                    <a:pt x="105" y="189"/>
                    <a:pt x="106" y="189"/>
                    <a:pt x="107" y="188"/>
                  </a:cubicBezTo>
                  <a:cubicBezTo>
                    <a:pt x="107" y="188"/>
                    <a:pt x="108" y="187"/>
                    <a:pt x="108" y="186"/>
                  </a:cubicBezTo>
                  <a:cubicBezTo>
                    <a:pt x="107" y="185"/>
                    <a:pt x="106" y="184"/>
                    <a:pt x="106" y="183"/>
                  </a:cubicBezTo>
                  <a:cubicBezTo>
                    <a:pt x="106" y="183"/>
                    <a:pt x="105" y="183"/>
                    <a:pt x="105" y="183"/>
                  </a:cubicBezTo>
                  <a:cubicBezTo>
                    <a:pt x="105" y="182"/>
                    <a:pt x="106" y="182"/>
                    <a:pt x="107" y="181"/>
                  </a:cubicBezTo>
                  <a:cubicBezTo>
                    <a:pt x="108" y="181"/>
                    <a:pt x="109" y="180"/>
                    <a:pt x="110" y="180"/>
                  </a:cubicBezTo>
                  <a:cubicBezTo>
                    <a:pt x="111" y="179"/>
                    <a:pt x="111" y="178"/>
                    <a:pt x="112" y="177"/>
                  </a:cubicBezTo>
                  <a:cubicBezTo>
                    <a:pt x="113" y="176"/>
                    <a:pt x="114" y="176"/>
                    <a:pt x="114" y="176"/>
                  </a:cubicBezTo>
                  <a:cubicBezTo>
                    <a:pt x="115" y="175"/>
                    <a:pt x="115" y="175"/>
                    <a:pt x="115" y="174"/>
                  </a:cubicBezTo>
                  <a:cubicBezTo>
                    <a:pt x="115" y="173"/>
                    <a:pt x="117" y="173"/>
                    <a:pt x="117" y="173"/>
                  </a:cubicBezTo>
                  <a:cubicBezTo>
                    <a:pt x="119" y="173"/>
                    <a:pt x="119" y="174"/>
                    <a:pt x="119" y="175"/>
                  </a:cubicBezTo>
                  <a:cubicBezTo>
                    <a:pt x="120" y="176"/>
                    <a:pt x="120" y="176"/>
                    <a:pt x="121" y="176"/>
                  </a:cubicBezTo>
                  <a:cubicBezTo>
                    <a:pt x="123" y="176"/>
                    <a:pt x="124" y="177"/>
                    <a:pt x="125" y="177"/>
                  </a:cubicBezTo>
                  <a:cubicBezTo>
                    <a:pt x="126" y="177"/>
                    <a:pt x="126" y="176"/>
                    <a:pt x="127" y="176"/>
                  </a:cubicBezTo>
                  <a:cubicBezTo>
                    <a:pt x="128" y="178"/>
                    <a:pt x="126" y="179"/>
                    <a:pt x="126" y="180"/>
                  </a:cubicBezTo>
                  <a:cubicBezTo>
                    <a:pt x="126" y="181"/>
                    <a:pt x="127" y="182"/>
                    <a:pt x="128" y="182"/>
                  </a:cubicBezTo>
                  <a:cubicBezTo>
                    <a:pt x="129" y="183"/>
                    <a:pt x="130" y="184"/>
                    <a:pt x="131" y="185"/>
                  </a:cubicBezTo>
                  <a:cubicBezTo>
                    <a:pt x="133" y="187"/>
                    <a:pt x="132" y="188"/>
                    <a:pt x="130" y="190"/>
                  </a:cubicBezTo>
                  <a:close/>
                  <a:moveTo>
                    <a:pt x="158" y="66"/>
                  </a:moveTo>
                  <a:cubicBezTo>
                    <a:pt x="157" y="65"/>
                    <a:pt x="156" y="65"/>
                    <a:pt x="155" y="64"/>
                  </a:cubicBezTo>
                  <a:cubicBezTo>
                    <a:pt x="155" y="63"/>
                    <a:pt x="154" y="62"/>
                    <a:pt x="153" y="60"/>
                  </a:cubicBezTo>
                  <a:cubicBezTo>
                    <a:pt x="152" y="57"/>
                    <a:pt x="152" y="52"/>
                    <a:pt x="147" y="51"/>
                  </a:cubicBezTo>
                  <a:cubicBezTo>
                    <a:pt x="146" y="50"/>
                    <a:pt x="143" y="50"/>
                    <a:pt x="143" y="52"/>
                  </a:cubicBezTo>
                  <a:cubicBezTo>
                    <a:pt x="142" y="53"/>
                    <a:pt x="144" y="55"/>
                    <a:pt x="145" y="56"/>
                  </a:cubicBezTo>
                  <a:cubicBezTo>
                    <a:pt x="146" y="57"/>
                    <a:pt x="148" y="58"/>
                    <a:pt x="148" y="60"/>
                  </a:cubicBezTo>
                  <a:cubicBezTo>
                    <a:pt x="148" y="62"/>
                    <a:pt x="147" y="64"/>
                    <a:pt x="148" y="66"/>
                  </a:cubicBezTo>
                  <a:cubicBezTo>
                    <a:pt x="148" y="67"/>
                    <a:pt x="150" y="69"/>
                    <a:pt x="151" y="69"/>
                  </a:cubicBezTo>
                  <a:cubicBezTo>
                    <a:pt x="152" y="70"/>
                    <a:pt x="153" y="69"/>
                    <a:pt x="154" y="70"/>
                  </a:cubicBezTo>
                  <a:cubicBezTo>
                    <a:pt x="154" y="70"/>
                    <a:pt x="154" y="71"/>
                    <a:pt x="155" y="72"/>
                  </a:cubicBezTo>
                  <a:cubicBezTo>
                    <a:pt x="159" y="72"/>
                    <a:pt x="159" y="68"/>
                    <a:pt x="158" y="66"/>
                  </a:cubicBezTo>
                  <a:close/>
                  <a:moveTo>
                    <a:pt x="228" y="29"/>
                  </a:moveTo>
                  <a:cubicBezTo>
                    <a:pt x="228" y="28"/>
                    <a:pt x="227" y="26"/>
                    <a:pt x="228" y="25"/>
                  </a:cubicBezTo>
                  <a:cubicBezTo>
                    <a:pt x="228" y="24"/>
                    <a:pt x="229" y="24"/>
                    <a:pt x="230" y="23"/>
                  </a:cubicBezTo>
                  <a:cubicBezTo>
                    <a:pt x="232" y="22"/>
                    <a:pt x="233" y="19"/>
                    <a:pt x="233" y="17"/>
                  </a:cubicBezTo>
                  <a:cubicBezTo>
                    <a:pt x="234" y="15"/>
                    <a:pt x="232" y="14"/>
                    <a:pt x="232" y="12"/>
                  </a:cubicBezTo>
                  <a:cubicBezTo>
                    <a:pt x="231" y="9"/>
                    <a:pt x="232" y="7"/>
                    <a:pt x="231" y="5"/>
                  </a:cubicBezTo>
                  <a:cubicBezTo>
                    <a:pt x="231" y="4"/>
                    <a:pt x="229" y="2"/>
                    <a:pt x="227" y="1"/>
                  </a:cubicBezTo>
                  <a:cubicBezTo>
                    <a:pt x="226" y="1"/>
                    <a:pt x="224" y="0"/>
                    <a:pt x="224" y="1"/>
                  </a:cubicBezTo>
                  <a:cubicBezTo>
                    <a:pt x="223" y="1"/>
                    <a:pt x="223" y="3"/>
                    <a:pt x="223" y="4"/>
                  </a:cubicBezTo>
                  <a:cubicBezTo>
                    <a:pt x="223" y="6"/>
                    <a:pt x="222" y="7"/>
                    <a:pt x="222" y="9"/>
                  </a:cubicBezTo>
                  <a:cubicBezTo>
                    <a:pt x="221" y="11"/>
                    <a:pt x="221" y="12"/>
                    <a:pt x="222" y="14"/>
                  </a:cubicBezTo>
                  <a:cubicBezTo>
                    <a:pt x="222" y="15"/>
                    <a:pt x="223" y="17"/>
                    <a:pt x="224" y="18"/>
                  </a:cubicBezTo>
                  <a:cubicBezTo>
                    <a:pt x="225" y="18"/>
                    <a:pt x="226" y="19"/>
                    <a:pt x="226" y="21"/>
                  </a:cubicBezTo>
                  <a:cubicBezTo>
                    <a:pt x="226" y="23"/>
                    <a:pt x="224" y="25"/>
                    <a:pt x="222" y="27"/>
                  </a:cubicBezTo>
                  <a:cubicBezTo>
                    <a:pt x="221" y="29"/>
                    <a:pt x="220" y="30"/>
                    <a:pt x="220" y="31"/>
                  </a:cubicBezTo>
                  <a:cubicBezTo>
                    <a:pt x="221" y="33"/>
                    <a:pt x="222" y="33"/>
                    <a:pt x="223" y="34"/>
                  </a:cubicBezTo>
                  <a:cubicBezTo>
                    <a:pt x="226" y="34"/>
                    <a:pt x="227" y="32"/>
                    <a:pt x="228" y="29"/>
                  </a:cubicBezTo>
                  <a:close/>
                  <a:moveTo>
                    <a:pt x="225" y="43"/>
                  </a:moveTo>
                  <a:cubicBezTo>
                    <a:pt x="225" y="45"/>
                    <a:pt x="226" y="48"/>
                    <a:pt x="229" y="50"/>
                  </a:cubicBezTo>
                  <a:cubicBezTo>
                    <a:pt x="230" y="49"/>
                    <a:pt x="230" y="47"/>
                    <a:pt x="230" y="45"/>
                  </a:cubicBezTo>
                  <a:cubicBezTo>
                    <a:pt x="229" y="43"/>
                    <a:pt x="228" y="43"/>
                    <a:pt x="225" y="43"/>
                  </a:cubicBezTo>
                  <a:close/>
                  <a:moveTo>
                    <a:pt x="222" y="44"/>
                  </a:moveTo>
                  <a:cubicBezTo>
                    <a:pt x="221" y="42"/>
                    <a:pt x="222" y="41"/>
                    <a:pt x="222" y="39"/>
                  </a:cubicBezTo>
                  <a:cubicBezTo>
                    <a:pt x="221" y="37"/>
                    <a:pt x="219" y="36"/>
                    <a:pt x="219" y="34"/>
                  </a:cubicBezTo>
                  <a:cubicBezTo>
                    <a:pt x="218" y="32"/>
                    <a:pt x="216" y="30"/>
                    <a:pt x="216" y="33"/>
                  </a:cubicBezTo>
                  <a:cubicBezTo>
                    <a:pt x="216" y="35"/>
                    <a:pt x="218" y="36"/>
                    <a:pt x="219" y="38"/>
                  </a:cubicBezTo>
                  <a:cubicBezTo>
                    <a:pt x="220" y="40"/>
                    <a:pt x="219" y="44"/>
                    <a:pt x="222" y="44"/>
                  </a:cubicBezTo>
                  <a:close/>
                  <a:moveTo>
                    <a:pt x="143" y="117"/>
                  </a:moveTo>
                  <a:cubicBezTo>
                    <a:pt x="143" y="116"/>
                    <a:pt x="142" y="116"/>
                    <a:pt x="142" y="115"/>
                  </a:cubicBezTo>
                  <a:cubicBezTo>
                    <a:pt x="141" y="114"/>
                    <a:pt x="142" y="113"/>
                    <a:pt x="142" y="113"/>
                  </a:cubicBezTo>
                  <a:cubicBezTo>
                    <a:pt x="143" y="112"/>
                    <a:pt x="145" y="111"/>
                    <a:pt x="145" y="110"/>
                  </a:cubicBezTo>
                  <a:cubicBezTo>
                    <a:pt x="145" y="108"/>
                    <a:pt x="142" y="107"/>
                    <a:pt x="141" y="108"/>
                  </a:cubicBezTo>
                  <a:cubicBezTo>
                    <a:pt x="139" y="109"/>
                    <a:pt x="140" y="111"/>
                    <a:pt x="140" y="112"/>
                  </a:cubicBezTo>
                  <a:cubicBezTo>
                    <a:pt x="140" y="114"/>
                    <a:pt x="140" y="115"/>
                    <a:pt x="141" y="117"/>
                  </a:cubicBezTo>
                  <a:cubicBezTo>
                    <a:pt x="142" y="117"/>
                    <a:pt x="142" y="117"/>
                    <a:pt x="143" y="117"/>
                  </a:cubicBez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76" name="Freeform 40">
              <a:extLst>
                <a:ext uri="{FF2B5EF4-FFF2-40B4-BE49-F238E27FC236}">
                  <a16:creationId xmlns:a16="http://schemas.microsoft.com/office/drawing/2014/main" id="{AC619AC0-3CC5-CF42-8E58-1E6EEFA0195C}"/>
                </a:ext>
              </a:extLst>
            </p:cNvPr>
            <p:cNvSpPr>
              <a:spLocks noEditPoints="1"/>
            </p:cNvSpPr>
            <p:nvPr/>
          </p:nvSpPr>
          <p:spPr bwMode="auto">
            <a:xfrm>
              <a:off x="7481888" y="3217863"/>
              <a:ext cx="1023938" cy="1177925"/>
            </a:xfrm>
            <a:custGeom>
              <a:avLst/>
              <a:gdLst>
                <a:gd name="T0" fmla="*/ 97 w 269"/>
                <a:gd name="T1" fmla="*/ 301 h 309"/>
                <a:gd name="T2" fmla="*/ 96 w 269"/>
                <a:gd name="T3" fmla="*/ 290 h 309"/>
                <a:gd name="T4" fmla="*/ 61 w 269"/>
                <a:gd name="T5" fmla="*/ 272 h 309"/>
                <a:gd name="T6" fmla="*/ 79 w 269"/>
                <a:gd name="T7" fmla="*/ 276 h 309"/>
                <a:gd name="T8" fmla="*/ 106 w 269"/>
                <a:gd name="T9" fmla="*/ 273 h 309"/>
                <a:gd name="T10" fmla="*/ 109 w 269"/>
                <a:gd name="T11" fmla="*/ 271 h 309"/>
                <a:gd name="T12" fmla="*/ 72 w 269"/>
                <a:gd name="T13" fmla="*/ 270 h 309"/>
                <a:gd name="T14" fmla="*/ 45 w 269"/>
                <a:gd name="T15" fmla="*/ 263 h 309"/>
                <a:gd name="T16" fmla="*/ 7 w 269"/>
                <a:gd name="T17" fmla="*/ 282 h 309"/>
                <a:gd name="T18" fmla="*/ 44 w 269"/>
                <a:gd name="T19" fmla="*/ 274 h 309"/>
                <a:gd name="T20" fmla="*/ 57 w 269"/>
                <a:gd name="T21" fmla="*/ 271 h 309"/>
                <a:gd name="T22" fmla="*/ 53 w 269"/>
                <a:gd name="T23" fmla="*/ 269 h 309"/>
                <a:gd name="T24" fmla="*/ 45 w 269"/>
                <a:gd name="T25" fmla="*/ 263 h 309"/>
                <a:gd name="T26" fmla="*/ 30 w 269"/>
                <a:gd name="T27" fmla="*/ 263 h 309"/>
                <a:gd name="T28" fmla="*/ 190 w 269"/>
                <a:gd name="T29" fmla="*/ 248 h 309"/>
                <a:gd name="T30" fmla="*/ 195 w 269"/>
                <a:gd name="T31" fmla="*/ 263 h 309"/>
                <a:gd name="T32" fmla="*/ 230 w 269"/>
                <a:gd name="T33" fmla="*/ 258 h 309"/>
                <a:gd name="T34" fmla="*/ 206 w 269"/>
                <a:gd name="T35" fmla="*/ 242 h 309"/>
                <a:gd name="T36" fmla="*/ 174 w 269"/>
                <a:gd name="T37" fmla="*/ 205 h 309"/>
                <a:gd name="T38" fmla="*/ 175 w 269"/>
                <a:gd name="T39" fmla="*/ 198 h 309"/>
                <a:gd name="T40" fmla="*/ 182 w 269"/>
                <a:gd name="T41" fmla="*/ 181 h 309"/>
                <a:gd name="T42" fmla="*/ 190 w 269"/>
                <a:gd name="T43" fmla="*/ 199 h 309"/>
                <a:gd name="T44" fmla="*/ 203 w 269"/>
                <a:gd name="T45" fmla="*/ 210 h 309"/>
                <a:gd name="T46" fmla="*/ 202 w 269"/>
                <a:gd name="T47" fmla="*/ 203 h 309"/>
                <a:gd name="T48" fmla="*/ 197 w 269"/>
                <a:gd name="T49" fmla="*/ 185 h 309"/>
                <a:gd name="T50" fmla="*/ 168 w 269"/>
                <a:gd name="T51" fmla="*/ 184 h 309"/>
                <a:gd name="T52" fmla="*/ 174 w 269"/>
                <a:gd name="T53" fmla="*/ 189 h 309"/>
                <a:gd name="T54" fmla="*/ 267 w 269"/>
                <a:gd name="T55" fmla="*/ 141 h 309"/>
                <a:gd name="T56" fmla="*/ 208 w 269"/>
                <a:gd name="T57" fmla="*/ 39 h 309"/>
                <a:gd name="T58" fmla="*/ 194 w 269"/>
                <a:gd name="T59" fmla="*/ 63 h 309"/>
                <a:gd name="T60" fmla="*/ 185 w 269"/>
                <a:gd name="T61" fmla="*/ 94 h 309"/>
                <a:gd name="T62" fmla="*/ 198 w 269"/>
                <a:gd name="T63" fmla="*/ 106 h 309"/>
                <a:gd name="T64" fmla="*/ 200 w 269"/>
                <a:gd name="T65" fmla="*/ 137 h 309"/>
                <a:gd name="T66" fmla="*/ 210 w 269"/>
                <a:gd name="T67" fmla="*/ 179 h 309"/>
                <a:gd name="T68" fmla="*/ 237 w 269"/>
                <a:gd name="T69" fmla="*/ 210 h 309"/>
                <a:gd name="T70" fmla="*/ 240 w 269"/>
                <a:gd name="T71" fmla="*/ 208 h 309"/>
                <a:gd name="T72" fmla="*/ 213 w 269"/>
                <a:gd name="T73" fmla="*/ 159 h 309"/>
                <a:gd name="T74" fmla="*/ 214 w 269"/>
                <a:gd name="T75" fmla="*/ 143 h 309"/>
                <a:gd name="T76" fmla="*/ 226 w 269"/>
                <a:gd name="T77" fmla="*/ 130 h 309"/>
                <a:gd name="T78" fmla="*/ 255 w 269"/>
                <a:gd name="T79" fmla="*/ 139 h 309"/>
                <a:gd name="T80" fmla="*/ 257 w 269"/>
                <a:gd name="T81" fmla="*/ 126 h 309"/>
                <a:gd name="T82" fmla="*/ 239 w 269"/>
                <a:gd name="T83" fmla="*/ 118 h 309"/>
                <a:gd name="T84" fmla="*/ 237 w 269"/>
                <a:gd name="T85" fmla="*/ 108 h 309"/>
                <a:gd name="T86" fmla="*/ 257 w 269"/>
                <a:gd name="T87" fmla="*/ 96 h 309"/>
                <a:gd name="T88" fmla="*/ 262 w 269"/>
                <a:gd name="T89" fmla="*/ 90 h 309"/>
                <a:gd name="T90" fmla="*/ 265 w 269"/>
                <a:gd name="T91" fmla="*/ 79 h 309"/>
                <a:gd name="T92" fmla="*/ 262 w 269"/>
                <a:gd name="T93" fmla="*/ 69 h 309"/>
                <a:gd name="T94" fmla="*/ 256 w 269"/>
                <a:gd name="T95" fmla="*/ 65 h 309"/>
                <a:gd name="T96" fmla="*/ 234 w 269"/>
                <a:gd name="T97" fmla="*/ 76 h 309"/>
                <a:gd name="T98" fmla="*/ 230 w 269"/>
                <a:gd name="T99" fmla="*/ 92 h 309"/>
                <a:gd name="T100" fmla="*/ 211 w 269"/>
                <a:gd name="T101" fmla="*/ 111 h 309"/>
                <a:gd name="T102" fmla="*/ 202 w 269"/>
                <a:gd name="T103" fmla="*/ 107 h 309"/>
                <a:gd name="T104" fmla="*/ 204 w 269"/>
                <a:gd name="T105" fmla="*/ 94 h 309"/>
                <a:gd name="T106" fmla="*/ 214 w 269"/>
                <a:gd name="T107" fmla="*/ 88 h 309"/>
                <a:gd name="T108" fmla="*/ 219 w 269"/>
                <a:gd name="T109" fmla="*/ 75 h 309"/>
                <a:gd name="T110" fmla="*/ 222 w 269"/>
                <a:gd name="T111" fmla="*/ 66 h 309"/>
                <a:gd name="T112" fmla="*/ 220 w 269"/>
                <a:gd name="T113" fmla="*/ 53 h 309"/>
                <a:gd name="T114" fmla="*/ 211 w 269"/>
                <a:gd name="T115" fmla="*/ 47 h 309"/>
                <a:gd name="T116" fmla="*/ 255 w 269"/>
                <a:gd name="T117" fmla="*/ 1 h 309"/>
                <a:gd name="T118" fmla="*/ 237 w 269"/>
                <a:gd name="T119" fmla="*/ 24 h 309"/>
                <a:gd name="T120" fmla="*/ 251 w 269"/>
                <a:gd name="T121" fmla="*/ 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 h="309">
                  <a:moveTo>
                    <a:pt x="94" y="281"/>
                  </a:moveTo>
                  <a:cubicBezTo>
                    <a:pt x="94" y="281"/>
                    <a:pt x="94" y="281"/>
                    <a:pt x="94" y="281"/>
                  </a:cubicBezTo>
                  <a:cubicBezTo>
                    <a:pt x="94" y="281"/>
                    <a:pt x="94" y="281"/>
                    <a:pt x="94" y="281"/>
                  </a:cubicBezTo>
                  <a:cubicBezTo>
                    <a:pt x="94" y="281"/>
                    <a:pt x="94" y="281"/>
                    <a:pt x="94" y="281"/>
                  </a:cubicBezTo>
                  <a:cubicBezTo>
                    <a:pt x="94" y="282"/>
                    <a:pt x="94" y="282"/>
                    <a:pt x="94" y="282"/>
                  </a:cubicBezTo>
                  <a:cubicBezTo>
                    <a:pt x="93" y="283"/>
                    <a:pt x="93" y="283"/>
                    <a:pt x="92" y="284"/>
                  </a:cubicBezTo>
                  <a:cubicBezTo>
                    <a:pt x="92" y="284"/>
                    <a:pt x="92" y="285"/>
                    <a:pt x="92" y="285"/>
                  </a:cubicBezTo>
                  <a:cubicBezTo>
                    <a:pt x="92" y="285"/>
                    <a:pt x="92" y="285"/>
                    <a:pt x="92" y="285"/>
                  </a:cubicBezTo>
                  <a:cubicBezTo>
                    <a:pt x="92" y="285"/>
                    <a:pt x="92" y="286"/>
                    <a:pt x="92" y="286"/>
                  </a:cubicBezTo>
                  <a:cubicBezTo>
                    <a:pt x="92" y="287"/>
                    <a:pt x="92" y="287"/>
                    <a:pt x="92" y="287"/>
                  </a:cubicBezTo>
                  <a:cubicBezTo>
                    <a:pt x="92" y="288"/>
                    <a:pt x="92" y="289"/>
                    <a:pt x="92" y="289"/>
                  </a:cubicBezTo>
                  <a:cubicBezTo>
                    <a:pt x="93" y="290"/>
                    <a:pt x="93" y="292"/>
                    <a:pt x="93" y="293"/>
                  </a:cubicBezTo>
                  <a:cubicBezTo>
                    <a:pt x="93" y="294"/>
                    <a:pt x="93" y="295"/>
                    <a:pt x="94" y="295"/>
                  </a:cubicBezTo>
                  <a:cubicBezTo>
                    <a:pt x="94" y="296"/>
                    <a:pt x="95" y="297"/>
                    <a:pt x="96" y="298"/>
                  </a:cubicBezTo>
                  <a:cubicBezTo>
                    <a:pt x="96" y="299"/>
                    <a:pt x="97" y="300"/>
                    <a:pt x="97" y="301"/>
                  </a:cubicBezTo>
                  <a:cubicBezTo>
                    <a:pt x="98" y="303"/>
                    <a:pt x="97" y="304"/>
                    <a:pt x="98" y="305"/>
                  </a:cubicBezTo>
                  <a:cubicBezTo>
                    <a:pt x="98" y="305"/>
                    <a:pt x="98" y="305"/>
                    <a:pt x="98" y="306"/>
                  </a:cubicBezTo>
                  <a:cubicBezTo>
                    <a:pt x="98" y="306"/>
                    <a:pt x="98" y="306"/>
                    <a:pt x="98" y="306"/>
                  </a:cubicBezTo>
                  <a:cubicBezTo>
                    <a:pt x="99" y="306"/>
                    <a:pt x="99" y="306"/>
                    <a:pt x="99" y="306"/>
                  </a:cubicBezTo>
                  <a:cubicBezTo>
                    <a:pt x="100" y="307"/>
                    <a:pt x="101" y="307"/>
                    <a:pt x="102" y="309"/>
                  </a:cubicBezTo>
                  <a:cubicBezTo>
                    <a:pt x="102" y="309"/>
                    <a:pt x="102" y="309"/>
                    <a:pt x="102" y="309"/>
                  </a:cubicBezTo>
                  <a:cubicBezTo>
                    <a:pt x="102" y="309"/>
                    <a:pt x="102" y="309"/>
                    <a:pt x="102" y="309"/>
                  </a:cubicBezTo>
                  <a:cubicBezTo>
                    <a:pt x="102" y="309"/>
                    <a:pt x="102" y="309"/>
                    <a:pt x="102" y="309"/>
                  </a:cubicBezTo>
                  <a:cubicBezTo>
                    <a:pt x="102" y="308"/>
                    <a:pt x="102" y="308"/>
                    <a:pt x="102" y="308"/>
                  </a:cubicBezTo>
                  <a:cubicBezTo>
                    <a:pt x="102" y="307"/>
                    <a:pt x="102" y="307"/>
                    <a:pt x="102" y="306"/>
                  </a:cubicBezTo>
                  <a:cubicBezTo>
                    <a:pt x="101" y="305"/>
                    <a:pt x="101" y="304"/>
                    <a:pt x="100" y="303"/>
                  </a:cubicBezTo>
                  <a:cubicBezTo>
                    <a:pt x="99" y="300"/>
                    <a:pt x="98" y="297"/>
                    <a:pt x="97" y="294"/>
                  </a:cubicBezTo>
                  <a:cubicBezTo>
                    <a:pt x="96" y="293"/>
                    <a:pt x="96" y="292"/>
                    <a:pt x="95" y="291"/>
                  </a:cubicBezTo>
                  <a:cubicBezTo>
                    <a:pt x="96" y="290"/>
                    <a:pt x="96" y="290"/>
                    <a:pt x="96" y="290"/>
                  </a:cubicBezTo>
                  <a:cubicBezTo>
                    <a:pt x="96" y="290"/>
                    <a:pt x="96" y="290"/>
                    <a:pt x="96" y="290"/>
                  </a:cubicBezTo>
                  <a:cubicBezTo>
                    <a:pt x="96" y="289"/>
                    <a:pt x="96" y="288"/>
                    <a:pt x="96" y="287"/>
                  </a:cubicBezTo>
                  <a:cubicBezTo>
                    <a:pt x="97" y="286"/>
                    <a:pt x="97" y="285"/>
                    <a:pt x="97" y="284"/>
                  </a:cubicBezTo>
                  <a:cubicBezTo>
                    <a:pt x="97" y="284"/>
                    <a:pt x="97" y="284"/>
                    <a:pt x="97" y="284"/>
                  </a:cubicBezTo>
                  <a:cubicBezTo>
                    <a:pt x="97" y="283"/>
                    <a:pt x="97" y="283"/>
                    <a:pt x="97" y="283"/>
                  </a:cubicBezTo>
                  <a:cubicBezTo>
                    <a:pt x="97" y="283"/>
                    <a:pt x="97" y="283"/>
                    <a:pt x="97" y="283"/>
                  </a:cubicBezTo>
                  <a:cubicBezTo>
                    <a:pt x="96" y="283"/>
                    <a:pt x="96" y="282"/>
                    <a:pt x="96" y="282"/>
                  </a:cubicBezTo>
                  <a:cubicBezTo>
                    <a:pt x="95" y="282"/>
                    <a:pt x="95" y="281"/>
                    <a:pt x="94" y="281"/>
                  </a:cubicBezTo>
                  <a:cubicBezTo>
                    <a:pt x="94" y="281"/>
                    <a:pt x="94" y="281"/>
                    <a:pt x="94" y="281"/>
                  </a:cubicBezTo>
                  <a:moveTo>
                    <a:pt x="61" y="269"/>
                  </a:moveTo>
                  <a:cubicBezTo>
                    <a:pt x="61" y="269"/>
                    <a:pt x="61" y="269"/>
                    <a:pt x="61" y="269"/>
                  </a:cubicBezTo>
                  <a:cubicBezTo>
                    <a:pt x="61" y="269"/>
                    <a:pt x="61" y="270"/>
                    <a:pt x="60" y="270"/>
                  </a:cubicBezTo>
                  <a:cubicBezTo>
                    <a:pt x="60" y="271"/>
                    <a:pt x="60" y="271"/>
                    <a:pt x="60" y="272"/>
                  </a:cubicBezTo>
                  <a:cubicBezTo>
                    <a:pt x="60" y="272"/>
                    <a:pt x="60" y="272"/>
                    <a:pt x="60" y="272"/>
                  </a:cubicBezTo>
                  <a:cubicBezTo>
                    <a:pt x="60" y="272"/>
                    <a:pt x="60" y="272"/>
                    <a:pt x="60" y="272"/>
                  </a:cubicBezTo>
                  <a:cubicBezTo>
                    <a:pt x="61" y="272"/>
                    <a:pt x="61" y="272"/>
                    <a:pt x="61" y="272"/>
                  </a:cubicBezTo>
                  <a:cubicBezTo>
                    <a:pt x="61" y="272"/>
                    <a:pt x="61" y="272"/>
                    <a:pt x="61" y="272"/>
                  </a:cubicBezTo>
                  <a:cubicBezTo>
                    <a:pt x="63" y="272"/>
                    <a:pt x="64" y="273"/>
                    <a:pt x="65" y="274"/>
                  </a:cubicBezTo>
                  <a:cubicBezTo>
                    <a:pt x="65" y="274"/>
                    <a:pt x="66" y="275"/>
                    <a:pt x="66" y="276"/>
                  </a:cubicBezTo>
                  <a:cubicBezTo>
                    <a:pt x="66" y="276"/>
                    <a:pt x="66" y="276"/>
                    <a:pt x="66" y="277"/>
                  </a:cubicBezTo>
                  <a:cubicBezTo>
                    <a:pt x="66" y="277"/>
                    <a:pt x="66" y="277"/>
                    <a:pt x="66" y="277"/>
                  </a:cubicBezTo>
                  <a:cubicBezTo>
                    <a:pt x="66" y="276"/>
                    <a:pt x="66" y="276"/>
                    <a:pt x="67" y="276"/>
                  </a:cubicBezTo>
                  <a:cubicBezTo>
                    <a:pt x="67" y="276"/>
                    <a:pt x="67" y="276"/>
                    <a:pt x="67" y="276"/>
                  </a:cubicBezTo>
                  <a:cubicBezTo>
                    <a:pt x="67" y="276"/>
                    <a:pt x="68" y="276"/>
                    <a:pt x="68" y="276"/>
                  </a:cubicBezTo>
                  <a:cubicBezTo>
                    <a:pt x="69" y="277"/>
                    <a:pt x="69" y="277"/>
                    <a:pt x="69" y="277"/>
                  </a:cubicBezTo>
                  <a:cubicBezTo>
                    <a:pt x="69" y="277"/>
                    <a:pt x="69" y="277"/>
                    <a:pt x="69" y="277"/>
                  </a:cubicBezTo>
                  <a:cubicBezTo>
                    <a:pt x="70" y="277"/>
                    <a:pt x="70" y="277"/>
                    <a:pt x="70" y="277"/>
                  </a:cubicBezTo>
                  <a:cubicBezTo>
                    <a:pt x="70" y="277"/>
                    <a:pt x="70" y="277"/>
                    <a:pt x="70" y="277"/>
                  </a:cubicBezTo>
                  <a:cubicBezTo>
                    <a:pt x="70" y="277"/>
                    <a:pt x="71" y="277"/>
                    <a:pt x="72" y="276"/>
                  </a:cubicBezTo>
                  <a:cubicBezTo>
                    <a:pt x="73" y="276"/>
                    <a:pt x="74" y="276"/>
                    <a:pt x="75" y="276"/>
                  </a:cubicBezTo>
                  <a:cubicBezTo>
                    <a:pt x="76" y="276"/>
                    <a:pt x="77" y="276"/>
                    <a:pt x="79" y="276"/>
                  </a:cubicBezTo>
                  <a:cubicBezTo>
                    <a:pt x="80" y="276"/>
                    <a:pt x="80" y="276"/>
                    <a:pt x="80" y="276"/>
                  </a:cubicBezTo>
                  <a:cubicBezTo>
                    <a:pt x="81" y="276"/>
                    <a:pt x="82" y="276"/>
                    <a:pt x="83" y="276"/>
                  </a:cubicBezTo>
                  <a:cubicBezTo>
                    <a:pt x="83" y="276"/>
                    <a:pt x="84" y="276"/>
                    <a:pt x="84" y="276"/>
                  </a:cubicBezTo>
                  <a:cubicBezTo>
                    <a:pt x="85" y="276"/>
                    <a:pt x="85" y="276"/>
                    <a:pt x="86" y="276"/>
                  </a:cubicBezTo>
                  <a:cubicBezTo>
                    <a:pt x="87" y="275"/>
                    <a:pt x="87" y="275"/>
                    <a:pt x="88" y="275"/>
                  </a:cubicBezTo>
                  <a:cubicBezTo>
                    <a:pt x="88" y="275"/>
                    <a:pt x="88" y="275"/>
                    <a:pt x="89" y="275"/>
                  </a:cubicBezTo>
                  <a:cubicBezTo>
                    <a:pt x="90" y="275"/>
                    <a:pt x="90" y="275"/>
                    <a:pt x="90" y="275"/>
                  </a:cubicBezTo>
                  <a:cubicBezTo>
                    <a:pt x="91" y="275"/>
                    <a:pt x="92" y="275"/>
                    <a:pt x="92" y="276"/>
                  </a:cubicBezTo>
                  <a:cubicBezTo>
                    <a:pt x="93" y="276"/>
                    <a:pt x="93" y="277"/>
                    <a:pt x="94" y="277"/>
                  </a:cubicBezTo>
                  <a:cubicBezTo>
                    <a:pt x="94" y="277"/>
                    <a:pt x="94" y="277"/>
                    <a:pt x="94" y="277"/>
                  </a:cubicBezTo>
                  <a:cubicBezTo>
                    <a:pt x="94" y="277"/>
                    <a:pt x="94" y="277"/>
                    <a:pt x="94" y="277"/>
                  </a:cubicBezTo>
                  <a:cubicBezTo>
                    <a:pt x="94" y="277"/>
                    <a:pt x="94" y="277"/>
                    <a:pt x="94" y="277"/>
                  </a:cubicBezTo>
                  <a:cubicBezTo>
                    <a:pt x="94" y="277"/>
                    <a:pt x="95" y="277"/>
                    <a:pt x="95" y="276"/>
                  </a:cubicBezTo>
                  <a:cubicBezTo>
                    <a:pt x="96" y="276"/>
                    <a:pt x="97" y="275"/>
                    <a:pt x="98" y="275"/>
                  </a:cubicBezTo>
                  <a:cubicBezTo>
                    <a:pt x="101" y="273"/>
                    <a:pt x="104" y="274"/>
                    <a:pt x="106" y="273"/>
                  </a:cubicBezTo>
                  <a:cubicBezTo>
                    <a:pt x="107" y="273"/>
                    <a:pt x="108" y="273"/>
                    <a:pt x="110" y="273"/>
                  </a:cubicBezTo>
                  <a:cubicBezTo>
                    <a:pt x="110" y="273"/>
                    <a:pt x="111" y="273"/>
                    <a:pt x="112" y="273"/>
                  </a:cubicBezTo>
                  <a:cubicBezTo>
                    <a:pt x="112" y="273"/>
                    <a:pt x="112" y="273"/>
                    <a:pt x="112" y="273"/>
                  </a:cubicBezTo>
                  <a:cubicBezTo>
                    <a:pt x="112" y="273"/>
                    <a:pt x="113" y="273"/>
                    <a:pt x="113" y="273"/>
                  </a:cubicBezTo>
                  <a:cubicBezTo>
                    <a:pt x="114" y="273"/>
                    <a:pt x="114" y="273"/>
                    <a:pt x="114" y="273"/>
                  </a:cubicBezTo>
                  <a:cubicBezTo>
                    <a:pt x="115" y="273"/>
                    <a:pt x="115" y="273"/>
                    <a:pt x="116" y="272"/>
                  </a:cubicBezTo>
                  <a:cubicBezTo>
                    <a:pt x="117" y="272"/>
                    <a:pt x="117" y="272"/>
                    <a:pt x="118" y="272"/>
                  </a:cubicBezTo>
                  <a:cubicBezTo>
                    <a:pt x="118" y="271"/>
                    <a:pt x="118" y="271"/>
                    <a:pt x="118" y="271"/>
                  </a:cubicBezTo>
                  <a:cubicBezTo>
                    <a:pt x="117" y="272"/>
                    <a:pt x="116" y="272"/>
                    <a:pt x="115" y="272"/>
                  </a:cubicBezTo>
                  <a:cubicBezTo>
                    <a:pt x="114" y="272"/>
                    <a:pt x="113" y="272"/>
                    <a:pt x="112" y="271"/>
                  </a:cubicBezTo>
                  <a:cubicBezTo>
                    <a:pt x="111" y="271"/>
                    <a:pt x="111" y="271"/>
                    <a:pt x="110" y="271"/>
                  </a:cubicBezTo>
                  <a:cubicBezTo>
                    <a:pt x="110" y="271"/>
                    <a:pt x="109" y="271"/>
                    <a:pt x="109" y="271"/>
                  </a:cubicBezTo>
                  <a:cubicBezTo>
                    <a:pt x="109" y="271"/>
                    <a:pt x="109" y="271"/>
                    <a:pt x="109" y="271"/>
                  </a:cubicBezTo>
                  <a:cubicBezTo>
                    <a:pt x="109" y="271"/>
                    <a:pt x="109" y="271"/>
                    <a:pt x="109" y="271"/>
                  </a:cubicBezTo>
                  <a:cubicBezTo>
                    <a:pt x="109" y="271"/>
                    <a:pt x="109" y="271"/>
                    <a:pt x="109" y="271"/>
                  </a:cubicBezTo>
                  <a:cubicBezTo>
                    <a:pt x="108" y="271"/>
                    <a:pt x="107" y="271"/>
                    <a:pt x="107" y="271"/>
                  </a:cubicBezTo>
                  <a:cubicBezTo>
                    <a:pt x="104" y="271"/>
                    <a:pt x="102" y="270"/>
                    <a:pt x="100" y="270"/>
                  </a:cubicBezTo>
                  <a:cubicBezTo>
                    <a:pt x="99" y="270"/>
                    <a:pt x="99" y="270"/>
                    <a:pt x="98" y="270"/>
                  </a:cubicBezTo>
                  <a:cubicBezTo>
                    <a:pt x="97" y="270"/>
                    <a:pt x="95" y="270"/>
                    <a:pt x="94" y="270"/>
                  </a:cubicBezTo>
                  <a:cubicBezTo>
                    <a:pt x="94" y="270"/>
                    <a:pt x="93" y="270"/>
                    <a:pt x="92" y="271"/>
                  </a:cubicBezTo>
                  <a:cubicBezTo>
                    <a:pt x="92" y="271"/>
                    <a:pt x="91" y="271"/>
                    <a:pt x="91" y="271"/>
                  </a:cubicBezTo>
                  <a:cubicBezTo>
                    <a:pt x="89" y="271"/>
                    <a:pt x="88" y="270"/>
                    <a:pt x="86" y="270"/>
                  </a:cubicBezTo>
                  <a:cubicBezTo>
                    <a:pt x="86" y="270"/>
                    <a:pt x="85" y="270"/>
                    <a:pt x="85" y="270"/>
                  </a:cubicBezTo>
                  <a:cubicBezTo>
                    <a:pt x="84" y="271"/>
                    <a:pt x="82" y="271"/>
                    <a:pt x="81" y="271"/>
                  </a:cubicBezTo>
                  <a:cubicBezTo>
                    <a:pt x="80" y="271"/>
                    <a:pt x="79" y="271"/>
                    <a:pt x="78" y="271"/>
                  </a:cubicBezTo>
                  <a:cubicBezTo>
                    <a:pt x="78" y="271"/>
                    <a:pt x="78" y="271"/>
                    <a:pt x="78" y="271"/>
                  </a:cubicBezTo>
                  <a:cubicBezTo>
                    <a:pt x="78" y="271"/>
                    <a:pt x="78" y="271"/>
                    <a:pt x="78" y="271"/>
                  </a:cubicBezTo>
                  <a:cubicBezTo>
                    <a:pt x="76" y="271"/>
                    <a:pt x="75" y="271"/>
                    <a:pt x="74" y="271"/>
                  </a:cubicBezTo>
                  <a:cubicBezTo>
                    <a:pt x="73" y="270"/>
                    <a:pt x="73" y="270"/>
                    <a:pt x="72" y="270"/>
                  </a:cubicBezTo>
                  <a:cubicBezTo>
                    <a:pt x="72" y="270"/>
                    <a:pt x="72" y="270"/>
                    <a:pt x="72" y="270"/>
                  </a:cubicBezTo>
                  <a:cubicBezTo>
                    <a:pt x="72" y="270"/>
                    <a:pt x="72" y="270"/>
                    <a:pt x="72" y="270"/>
                  </a:cubicBezTo>
                  <a:cubicBezTo>
                    <a:pt x="72" y="270"/>
                    <a:pt x="72" y="270"/>
                    <a:pt x="72" y="270"/>
                  </a:cubicBezTo>
                  <a:cubicBezTo>
                    <a:pt x="71" y="270"/>
                    <a:pt x="71" y="270"/>
                    <a:pt x="70" y="270"/>
                  </a:cubicBezTo>
                  <a:cubicBezTo>
                    <a:pt x="69" y="270"/>
                    <a:pt x="69" y="270"/>
                    <a:pt x="69" y="270"/>
                  </a:cubicBezTo>
                  <a:cubicBezTo>
                    <a:pt x="68" y="270"/>
                    <a:pt x="68" y="270"/>
                    <a:pt x="68" y="270"/>
                  </a:cubicBezTo>
                  <a:cubicBezTo>
                    <a:pt x="67" y="270"/>
                    <a:pt x="67" y="270"/>
                    <a:pt x="67" y="269"/>
                  </a:cubicBezTo>
                  <a:cubicBezTo>
                    <a:pt x="66" y="270"/>
                    <a:pt x="66" y="270"/>
                    <a:pt x="66" y="270"/>
                  </a:cubicBezTo>
                  <a:cubicBezTo>
                    <a:pt x="66" y="270"/>
                    <a:pt x="66" y="271"/>
                    <a:pt x="65" y="271"/>
                  </a:cubicBezTo>
                  <a:cubicBezTo>
                    <a:pt x="65" y="271"/>
                    <a:pt x="65" y="271"/>
                    <a:pt x="65" y="271"/>
                  </a:cubicBezTo>
                  <a:cubicBezTo>
                    <a:pt x="64" y="270"/>
                    <a:pt x="64" y="270"/>
                    <a:pt x="64" y="270"/>
                  </a:cubicBezTo>
                  <a:cubicBezTo>
                    <a:pt x="64" y="270"/>
                    <a:pt x="64" y="270"/>
                    <a:pt x="64" y="270"/>
                  </a:cubicBezTo>
                  <a:cubicBezTo>
                    <a:pt x="63" y="270"/>
                    <a:pt x="62" y="269"/>
                    <a:pt x="61" y="269"/>
                  </a:cubicBezTo>
                  <a:cubicBezTo>
                    <a:pt x="61" y="269"/>
                    <a:pt x="61" y="269"/>
                    <a:pt x="61" y="269"/>
                  </a:cubicBezTo>
                  <a:moveTo>
                    <a:pt x="45" y="263"/>
                  </a:moveTo>
                  <a:cubicBezTo>
                    <a:pt x="45" y="263"/>
                    <a:pt x="45" y="263"/>
                    <a:pt x="45" y="263"/>
                  </a:cubicBezTo>
                  <a:moveTo>
                    <a:pt x="14" y="261"/>
                  </a:moveTo>
                  <a:cubicBezTo>
                    <a:pt x="12" y="261"/>
                    <a:pt x="10" y="261"/>
                    <a:pt x="8" y="261"/>
                  </a:cubicBezTo>
                  <a:cubicBezTo>
                    <a:pt x="7" y="261"/>
                    <a:pt x="6" y="261"/>
                    <a:pt x="4" y="261"/>
                  </a:cubicBezTo>
                  <a:cubicBezTo>
                    <a:pt x="4" y="261"/>
                    <a:pt x="3" y="262"/>
                    <a:pt x="3" y="262"/>
                  </a:cubicBezTo>
                  <a:cubicBezTo>
                    <a:pt x="2" y="262"/>
                    <a:pt x="2" y="262"/>
                    <a:pt x="1" y="262"/>
                  </a:cubicBezTo>
                  <a:cubicBezTo>
                    <a:pt x="1" y="263"/>
                    <a:pt x="1" y="264"/>
                    <a:pt x="1" y="265"/>
                  </a:cubicBezTo>
                  <a:cubicBezTo>
                    <a:pt x="1" y="266"/>
                    <a:pt x="0" y="266"/>
                    <a:pt x="0" y="267"/>
                  </a:cubicBezTo>
                  <a:cubicBezTo>
                    <a:pt x="0" y="269"/>
                    <a:pt x="0" y="270"/>
                    <a:pt x="0" y="272"/>
                  </a:cubicBezTo>
                  <a:cubicBezTo>
                    <a:pt x="0" y="272"/>
                    <a:pt x="0" y="273"/>
                    <a:pt x="0" y="273"/>
                  </a:cubicBezTo>
                  <a:cubicBezTo>
                    <a:pt x="0" y="274"/>
                    <a:pt x="0" y="275"/>
                    <a:pt x="0" y="276"/>
                  </a:cubicBezTo>
                  <a:cubicBezTo>
                    <a:pt x="0" y="276"/>
                    <a:pt x="0" y="277"/>
                    <a:pt x="1" y="277"/>
                  </a:cubicBezTo>
                  <a:cubicBezTo>
                    <a:pt x="2" y="278"/>
                    <a:pt x="3" y="280"/>
                    <a:pt x="3" y="281"/>
                  </a:cubicBezTo>
                  <a:cubicBezTo>
                    <a:pt x="3" y="281"/>
                    <a:pt x="3" y="281"/>
                    <a:pt x="3" y="282"/>
                  </a:cubicBezTo>
                  <a:cubicBezTo>
                    <a:pt x="3" y="282"/>
                    <a:pt x="3" y="282"/>
                    <a:pt x="4" y="282"/>
                  </a:cubicBezTo>
                  <a:cubicBezTo>
                    <a:pt x="5" y="282"/>
                    <a:pt x="6" y="282"/>
                    <a:pt x="7" y="282"/>
                  </a:cubicBezTo>
                  <a:cubicBezTo>
                    <a:pt x="8" y="282"/>
                    <a:pt x="9" y="282"/>
                    <a:pt x="9" y="281"/>
                  </a:cubicBezTo>
                  <a:cubicBezTo>
                    <a:pt x="12" y="281"/>
                    <a:pt x="15" y="281"/>
                    <a:pt x="17" y="279"/>
                  </a:cubicBezTo>
                  <a:cubicBezTo>
                    <a:pt x="18" y="278"/>
                    <a:pt x="19" y="278"/>
                    <a:pt x="21" y="277"/>
                  </a:cubicBezTo>
                  <a:cubicBezTo>
                    <a:pt x="22" y="276"/>
                    <a:pt x="24" y="275"/>
                    <a:pt x="25" y="275"/>
                  </a:cubicBezTo>
                  <a:cubicBezTo>
                    <a:pt x="26" y="274"/>
                    <a:pt x="27" y="274"/>
                    <a:pt x="28" y="274"/>
                  </a:cubicBezTo>
                  <a:cubicBezTo>
                    <a:pt x="29" y="274"/>
                    <a:pt x="30" y="275"/>
                    <a:pt x="31" y="275"/>
                  </a:cubicBezTo>
                  <a:cubicBezTo>
                    <a:pt x="32" y="276"/>
                    <a:pt x="32" y="276"/>
                    <a:pt x="32" y="276"/>
                  </a:cubicBezTo>
                  <a:cubicBezTo>
                    <a:pt x="33" y="276"/>
                    <a:pt x="33" y="276"/>
                    <a:pt x="34" y="276"/>
                  </a:cubicBezTo>
                  <a:cubicBezTo>
                    <a:pt x="34" y="277"/>
                    <a:pt x="35" y="277"/>
                    <a:pt x="35" y="277"/>
                  </a:cubicBezTo>
                  <a:cubicBezTo>
                    <a:pt x="36" y="277"/>
                    <a:pt x="37" y="276"/>
                    <a:pt x="38" y="275"/>
                  </a:cubicBezTo>
                  <a:cubicBezTo>
                    <a:pt x="39" y="275"/>
                    <a:pt x="39" y="275"/>
                    <a:pt x="40" y="274"/>
                  </a:cubicBezTo>
                  <a:cubicBezTo>
                    <a:pt x="40" y="274"/>
                    <a:pt x="41" y="274"/>
                    <a:pt x="41" y="274"/>
                  </a:cubicBezTo>
                  <a:cubicBezTo>
                    <a:pt x="41" y="274"/>
                    <a:pt x="41" y="274"/>
                    <a:pt x="41" y="274"/>
                  </a:cubicBezTo>
                  <a:cubicBezTo>
                    <a:pt x="42" y="274"/>
                    <a:pt x="42" y="274"/>
                    <a:pt x="42" y="274"/>
                  </a:cubicBezTo>
                  <a:cubicBezTo>
                    <a:pt x="42" y="274"/>
                    <a:pt x="43" y="274"/>
                    <a:pt x="44" y="274"/>
                  </a:cubicBezTo>
                  <a:cubicBezTo>
                    <a:pt x="44" y="274"/>
                    <a:pt x="44" y="275"/>
                    <a:pt x="44" y="275"/>
                  </a:cubicBezTo>
                  <a:cubicBezTo>
                    <a:pt x="44" y="275"/>
                    <a:pt x="44" y="275"/>
                    <a:pt x="44" y="275"/>
                  </a:cubicBezTo>
                  <a:cubicBezTo>
                    <a:pt x="44" y="275"/>
                    <a:pt x="44" y="275"/>
                    <a:pt x="44" y="275"/>
                  </a:cubicBezTo>
                  <a:cubicBezTo>
                    <a:pt x="45" y="275"/>
                    <a:pt x="45" y="275"/>
                    <a:pt x="45" y="274"/>
                  </a:cubicBezTo>
                  <a:cubicBezTo>
                    <a:pt x="46" y="274"/>
                    <a:pt x="46" y="274"/>
                    <a:pt x="47" y="273"/>
                  </a:cubicBezTo>
                  <a:cubicBezTo>
                    <a:pt x="47" y="273"/>
                    <a:pt x="48" y="273"/>
                    <a:pt x="49" y="273"/>
                  </a:cubicBezTo>
                  <a:cubicBezTo>
                    <a:pt x="49" y="273"/>
                    <a:pt x="49" y="273"/>
                    <a:pt x="49" y="273"/>
                  </a:cubicBezTo>
                  <a:cubicBezTo>
                    <a:pt x="50" y="273"/>
                    <a:pt x="51" y="273"/>
                    <a:pt x="53" y="273"/>
                  </a:cubicBezTo>
                  <a:cubicBezTo>
                    <a:pt x="53" y="273"/>
                    <a:pt x="53" y="273"/>
                    <a:pt x="53" y="273"/>
                  </a:cubicBezTo>
                  <a:cubicBezTo>
                    <a:pt x="53" y="273"/>
                    <a:pt x="54" y="273"/>
                    <a:pt x="54" y="273"/>
                  </a:cubicBezTo>
                  <a:cubicBezTo>
                    <a:pt x="55" y="273"/>
                    <a:pt x="56" y="274"/>
                    <a:pt x="56" y="274"/>
                  </a:cubicBezTo>
                  <a:cubicBezTo>
                    <a:pt x="56" y="274"/>
                    <a:pt x="56" y="274"/>
                    <a:pt x="56" y="274"/>
                  </a:cubicBezTo>
                  <a:cubicBezTo>
                    <a:pt x="56" y="274"/>
                    <a:pt x="56" y="274"/>
                    <a:pt x="56" y="274"/>
                  </a:cubicBezTo>
                  <a:cubicBezTo>
                    <a:pt x="56" y="274"/>
                    <a:pt x="56" y="274"/>
                    <a:pt x="56" y="273"/>
                  </a:cubicBezTo>
                  <a:cubicBezTo>
                    <a:pt x="57" y="273"/>
                    <a:pt x="57" y="272"/>
                    <a:pt x="57" y="271"/>
                  </a:cubicBezTo>
                  <a:cubicBezTo>
                    <a:pt x="57" y="271"/>
                    <a:pt x="57" y="270"/>
                    <a:pt x="57" y="269"/>
                  </a:cubicBezTo>
                  <a:cubicBezTo>
                    <a:pt x="56" y="269"/>
                    <a:pt x="56" y="270"/>
                    <a:pt x="56" y="270"/>
                  </a:cubicBezTo>
                  <a:cubicBezTo>
                    <a:pt x="56" y="270"/>
                    <a:pt x="56" y="270"/>
                    <a:pt x="56" y="270"/>
                  </a:cubicBezTo>
                  <a:cubicBezTo>
                    <a:pt x="55" y="270"/>
                    <a:pt x="55" y="269"/>
                    <a:pt x="55" y="269"/>
                  </a:cubicBezTo>
                  <a:cubicBezTo>
                    <a:pt x="54" y="269"/>
                    <a:pt x="54" y="268"/>
                    <a:pt x="54" y="268"/>
                  </a:cubicBezTo>
                  <a:cubicBezTo>
                    <a:pt x="54" y="267"/>
                    <a:pt x="54" y="267"/>
                    <a:pt x="55" y="267"/>
                  </a:cubicBezTo>
                  <a:cubicBezTo>
                    <a:pt x="55" y="266"/>
                    <a:pt x="55" y="266"/>
                    <a:pt x="55" y="266"/>
                  </a:cubicBezTo>
                  <a:cubicBezTo>
                    <a:pt x="55" y="266"/>
                    <a:pt x="55" y="266"/>
                    <a:pt x="55" y="266"/>
                  </a:cubicBezTo>
                  <a:cubicBezTo>
                    <a:pt x="54" y="266"/>
                    <a:pt x="54" y="266"/>
                    <a:pt x="54" y="266"/>
                  </a:cubicBezTo>
                  <a:cubicBezTo>
                    <a:pt x="54" y="266"/>
                    <a:pt x="54" y="266"/>
                    <a:pt x="54" y="266"/>
                  </a:cubicBezTo>
                  <a:cubicBezTo>
                    <a:pt x="53" y="266"/>
                    <a:pt x="53" y="266"/>
                    <a:pt x="53" y="266"/>
                  </a:cubicBezTo>
                  <a:cubicBezTo>
                    <a:pt x="53" y="266"/>
                    <a:pt x="53" y="266"/>
                    <a:pt x="53" y="266"/>
                  </a:cubicBezTo>
                  <a:cubicBezTo>
                    <a:pt x="53" y="266"/>
                    <a:pt x="53" y="266"/>
                    <a:pt x="53" y="266"/>
                  </a:cubicBezTo>
                  <a:cubicBezTo>
                    <a:pt x="53" y="267"/>
                    <a:pt x="53" y="267"/>
                    <a:pt x="53" y="267"/>
                  </a:cubicBezTo>
                  <a:cubicBezTo>
                    <a:pt x="53" y="267"/>
                    <a:pt x="53" y="268"/>
                    <a:pt x="53" y="269"/>
                  </a:cubicBezTo>
                  <a:cubicBezTo>
                    <a:pt x="52" y="269"/>
                    <a:pt x="52" y="269"/>
                    <a:pt x="51" y="270"/>
                  </a:cubicBezTo>
                  <a:cubicBezTo>
                    <a:pt x="51" y="270"/>
                    <a:pt x="51" y="270"/>
                    <a:pt x="51" y="270"/>
                  </a:cubicBezTo>
                  <a:cubicBezTo>
                    <a:pt x="51" y="270"/>
                    <a:pt x="51" y="270"/>
                    <a:pt x="51" y="270"/>
                  </a:cubicBezTo>
                  <a:cubicBezTo>
                    <a:pt x="51" y="270"/>
                    <a:pt x="51" y="270"/>
                    <a:pt x="51" y="270"/>
                  </a:cubicBezTo>
                  <a:cubicBezTo>
                    <a:pt x="50" y="270"/>
                    <a:pt x="49" y="269"/>
                    <a:pt x="49" y="269"/>
                  </a:cubicBezTo>
                  <a:cubicBezTo>
                    <a:pt x="49" y="268"/>
                    <a:pt x="49" y="268"/>
                    <a:pt x="49" y="267"/>
                  </a:cubicBezTo>
                  <a:cubicBezTo>
                    <a:pt x="49" y="267"/>
                    <a:pt x="49" y="267"/>
                    <a:pt x="49" y="266"/>
                  </a:cubicBezTo>
                  <a:cubicBezTo>
                    <a:pt x="49" y="266"/>
                    <a:pt x="49" y="265"/>
                    <a:pt x="49" y="265"/>
                  </a:cubicBezTo>
                  <a:cubicBezTo>
                    <a:pt x="49" y="265"/>
                    <a:pt x="49" y="265"/>
                    <a:pt x="49" y="265"/>
                  </a:cubicBezTo>
                  <a:cubicBezTo>
                    <a:pt x="49" y="265"/>
                    <a:pt x="48" y="264"/>
                    <a:pt x="48" y="264"/>
                  </a:cubicBezTo>
                  <a:cubicBezTo>
                    <a:pt x="47" y="264"/>
                    <a:pt x="47" y="264"/>
                    <a:pt x="46" y="263"/>
                  </a:cubicBezTo>
                  <a:cubicBezTo>
                    <a:pt x="46" y="263"/>
                    <a:pt x="46" y="263"/>
                    <a:pt x="46" y="263"/>
                  </a:cubicBezTo>
                  <a:cubicBezTo>
                    <a:pt x="46" y="263"/>
                    <a:pt x="46" y="263"/>
                    <a:pt x="46" y="263"/>
                  </a:cubicBezTo>
                  <a:cubicBezTo>
                    <a:pt x="46" y="263"/>
                    <a:pt x="46" y="263"/>
                    <a:pt x="45" y="263"/>
                  </a:cubicBezTo>
                  <a:cubicBezTo>
                    <a:pt x="45" y="263"/>
                    <a:pt x="45" y="263"/>
                    <a:pt x="45" y="263"/>
                  </a:cubicBezTo>
                  <a:cubicBezTo>
                    <a:pt x="45" y="264"/>
                    <a:pt x="45" y="264"/>
                    <a:pt x="46" y="265"/>
                  </a:cubicBezTo>
                  <a:cubicBezTo>
                    <a:pt x="45" y="265"/>
                    <a:pt x="45" y="265"/>
                    <a:pt x="45" y="265"/>
                  </a:cubicBezTo>
                  <a:cubicBezTo>
                    <a:pt x="45" y="266"/>
                    <a:pt x="45" y="266"/>
                    <a:pt x="45" y="267"/>
                  </a:cubicBezTo>
                  <a:cubicBezTo>
                    <a:pt x="44" y="268"/>
                    <a:pt x="43" y="268"/>
                    <a:pt x="42" y="268"/>
                  </a:cubicBezTo>
                  <a:cubicBezTo>
                    <a:pt x="42" y="268"/>
                    <a:pt x="42" y="268"/>
                    <a:pt x="42" y="268"/>
                  </a:cubicBezTo>
                  <a:cubicBezTo>
                    <a:pt x="41" y="268"/>
                    <a:pt x="41" y="268"/>
                    <a:pt x="40" y="267"/>
                  </a:cubicBezTo>
                  <a:cubicBezTo>
                    <a:pt x="39" y="267"/>
                    <a:pt x="38" y="266"/>
                    <a:pt x="38" y="265"/>
                  </a:cubicBezTo>
                  <a:cubicBezTo>
                    <a:pt x="38" y="265"/>
                    <a:pt x="38" y="265"/>
                    <a:pt x="38" y="265"/>
                  </a:cubicBezTo>
                  <a:cubicBezTo>
                    <a:pt x="38" y="265"/>
                    <a:pt x="38" y="265"/>
                    <a:pt x="38" y="265"/>
                  </a:cubicBezTo>
                  <a:cubicBezTo>
                    <a:pt x="37" y="265"/>
                    <a:pt x="37" y="265"/>
                    <a:pt x="36" y="264"/>
                  </a:cubicBezTo>
                  <a:cubicBezTo>
                    <a:pt x="36" y="264"/>
                    <a:pt x="35" y="264"/>
                    <a:pt x="35" y="264"/>
                  </a:cubicBezTo>
                  <a:cubicBezTo>
                    <a:pt x="35" y="264"/>
                    <a:pt x="35" y="264"/>
                    <a:pt x="35" y="264"/>
                  </a:cubicBezTo>
                  <a:cubicBezTo>
                    <a:pt x="35" y="264"/>
                    <a:pt x="35" y="264"/>
                    <a:pt x="35" y="264"/>
                  </a:cubicBezTo>
                  <a:cubicBezTo>
                    <a:pt x="34" y="264"/>
                    <a:pt x="33" y="264"/>
                    <a:pt x="33" y="264"/>
                  </a:cubicBezTo>
                  <a:cubicBezTo>
                    <a:pt x="32" y="264"/>
                    <a:pt x="31" y="264"/>
                    <a:pt x="30" y="263"/>
                  </a:cubicBezTo>
                  <a:cubicBezTo>
                    <a:pt x="30" y="263"/>
                    <a:pt x="30" y="263"/>
                    <a:pt x="30" y="263"/>
                  </a:cubicBezTo>
                  <a:cubicBezTo>
                    <a:pt x="30" y="263"/>
                    <a:pt x="30" y="263"/>
                    <a:pt x="30" y="263"/>
                  </a:cubicBezTo>
                  <a:cubicBezTo>
                    <a:pt x="29" y="263"/>
                    <a:pt x="29" y="263"/>
                    <a:pt x="28" y="263"/>
                  </a:cubicBezTo>
                  <a:cubicBezTo>
                    <a:pt x="28" y="263"/>
                    <a:pt x="28" y="263"/>
                    <a:pt x="28" y="263"/>
                  </a:cubicBezTo>
                  <a:cubicBezTo>
                    <a:pt x="28" y="263"/>
                    <a:pt x="28" y="263"/>
                    <a:pt x="28" y="263"/>
                  </a:cubicBezTo>
                  <a:cubicBezTo>
                    <a:pt x="24" y="263"/>
                    <a:pt x="21" y="261"/>
                    <a:pt x="17" y="261"/>
                  </a:cubicBezTo>
                  <a:cubicBezTo>
                    <a:pt x="16" y="261"/>
                    <a:pt x="15" y="261"/>
                    <a:pt x="14" y="261"/>
                  </a:cubicBezTo>
                  <a:moveTo>
                    <a:pt x="205" y="242"/>
                  </a:moveTo>
                  <a:cubicBezTo>
                    <a:pt x="205" y="242"/>
                    <a:pt x="205" y="242"/>
                    <a:pt x="204" y="242"/>
                  </a:cubicBezTo>
                  <a:cubicBezTo>
                    <a:pt x="203" y="242"/>
                    <a:pt x="203" y="242"/>
                    <a:pt x="203" y="242"/>
                  </a:cubicBezTo>
                  <a:cubicBezTo>
                    <a:pt x="202" y="242"/>
                    <a:pt x="202" y="242"/>
                    <a:pt x="201" y="242"/>
                  </a:cubicBezTo>
                  <a:cubicBezTo>
                    <a:pt x="200" y="242"/>
                    <a:pt x="200" y="242"/>
                    <a:pt x="199" y="242"/>
                  </a:cubicBezTo>
                  <a:cubicBezTo>
                    <a:pt x="198" y="242"/>
                    <a:pt x="196" y="244"/>
                    <a:pt x="195" y="245"/>
                  </a:cubicBezTo>
                  <a:cubicBezTo>
                    <a:pt x="194" y="246"/>
                    <a:pt x="193" y="247"/>
                    <a:pt x="191" y="248"/>
                  </a:cubicBezTo>
                  <a:cubicBezTo>
                    <a:pt x="191" y="248"/>
                    <a:pt x="190" y="248"/>
                    <a:pt x="190" y="248"/>
                  </a:cubicBezTo>
                  <a:cubicBezTo>
                    <a:pt x="189" y="248"/>
                    <a:pt x="189" y="248"/>
                    <a:pt x="188" y="248"/>
                  </a:cubicBezTo>
                  <a:cubicBezTo>
                    <a:pt x="188" y="248"/>
                    <a:pt x="188" y="248"/>
                    <a:pt x="188" y="248"/>
                  </a:cubicBezTo>
                  <a:cubicBezTo>
                    <a:pt x="188" y="248"/>
                    <a:pt x="188" y="248"/>
                    <a:pt x="188" y="248"/>
                  </a:cubicBezTo>
                  <a:cubicBezTo>
                    <a:pt x="187" y="248"/>
                    <a:pt x="187" y="248"/>
                    <a:pt x="187" y="248"/>
                  </a:cubicBezTo>
                  <a:cubicBezTo>
                    <a:pt x="187" y="249"/>
                    <a:pt x="187" y="249"/>
                    <a:pt x="187" y="249"/>
                  </a:cubicBezTo>
                  <a:cubicBezTo>
                    <a:pt x="187" y="250"/>
                    <a:pt x="187" y="251"/>
                    <a:pt x="187" y="251"/>
                  </a:cubicBezTo>
                  <a:cubicBezTo>
                    <a:pt x="186" y="253"/>
                    <a:pt x="186" y="254"/>
                    <a:pt x="186" y="255"/>
                  </a:cubicBezTo>
                  <a:cubicBezTo>
                    <a:pt x="185" y="256"/>
                    <a:pt x="185" y="257"/>
                    <a:pt x="185" y="258"/>
                  </a:cubicBezTo>
                  <a:cubicBezTo>
                    <a:pt x="185" y="258"/>
                    <a:pt x="185" y="259"/>
                    <a:pt x="186" y="260"/>
                  </a:cubicBezTo>
                  <a:cubicBezTo>
                    <a:pt x="186" y="260"/>
                    <a:pt x="187" y="260"/>
                    <a:pt x="187" y="260"/>
                  </a:cubicBezTo>
                  <a:cubicBezTo>
                    <a:pt x="188" y="261"/>
                    <a:pt x="188" y="261"/>
                    <a:pt x="189" y="262"/>
                  </a:cubicBezTo>
                  <a:cubicBezTo>
                    <a:pt x="189" y="262"/>
                    <a:pt x="189" y="262"/>
                    <a:pt x="189" y="262"/>
                  </a:cubicBezTo>
                  <a:cubicBezTo>
                    <a:pt x="189" y="262"/>
                    <a:pt x="190" y="263"/>
                    <a:pt x="190" y="263"/>
                  </a:cubicBezTo>
                  <a:cubicBezTo>
                    <a:pt x="190" y="263"/>
                    <a:pt x="190" y="263"/>
                    <a:pt x="190" y="263"/>
                  </a:cubicBezTo>
                  <a:cubicBezTo>
                    <a:pt x="191" y="263"/>
                    <a:pt x="193" y="263"/>
                    <a:pt x="195" y="263"/>
                  </a:cubicBezTo>
                  <a:cubicBezTo>
                    <a:pt x="195" y="263"/>
                    <a:pt x="195" y="263"/>
                    <a:pt x="195" y="263"/>
                  </a:cubicBezTo>
                  <a:cubicBezTo>
                    <a:pt x="196" y="263"/>
                    <a:pt x="198" y="263"/>
                    <a:pt x="199" y="263"/>
                  </a:cubicBezTo>
                  <a:cubicBezTo>
                    <a:pt x="200" y="263"/>
                    <a:pt x="201" y="262"/>
                    <a:pt x="203" y="262"/>
                  </a:cubicBezTo>
                  <a:cubicBezTo>
                    <a:pt x="204" y="262"/>
                    <a:pt x="204" y="262"/>
                    <a:pt x="205" y="262"/>
                  </a:cubicBezTo>
                  <a:cubicBezTo>
                    <a:pt x="206" y="262"/>
                    <a:pt x="207" y="262"/>
                    <a:pt x="207" y="262"/>
                  </a:cubicBezTo>
                  <a:cubicBezTo>
                    <a:pt x="207" y="262"/>
                    <a:pt x="207" y="262"/>
                    <a:pt x="207" y="262"/>
                  </a:cubicBezTo>
                  <a:cubicBezTo>
                    <a:pt x="209" y="262"/>
                    <a:pt x="211" y="261"/>
                    <a:pt x="214" y="261"/>
                  </a:cubicBezTo>
                  <a:cubicBezTo>
                    <a:pt x="215" y="261"/>
                    <a:pt x="217" y="261"/>
                    <a:pt x="218" y="262"/>
                  </a:cubicBezTo>
                  <a:cubicBezTo>
                    <a:pt x="219" y="263"/>
                    <a:pt x="220" y="263"/>
                    <a:pt x="221" y="264"/>
                  </a:cubicBezTo>
                  <a:cubicBezTo>
                    <a:pt x="222" y="264"/>
                    <a:pt x="223" y="264"/>
                    <a:pt x="224" y="264"/>
                  </a:cubicBezTo>
                  <a:cubicBezTo>
                    <a:pt x="224" y="264"/>
                    <a:pt x="224" y="264"/>
                    <a:pt x="224" y="264"/>
                  </a:cubicBezTo>
                  <a:cubicBezTo>
                    <a:pt x="224" y="264"/>
                    <a:pt x="224" y="264"/>
                    <a:pt x="224" y="264"/>
                  </a:cubicBezTo>
                  <a:cubicBezTo>
                    <a:pt x="226" y="264"/>
                    <a:pt x="228" y="264"/>
                    <a:pt x="229" y="262"/>
                  </a:cubicBezTo>
                  <a:cubicBezTo>
                    <a:pt x="230" y="262"/>
                    <a:pt x="230" y="261"/>
                    <a:pt x="230" y="260"/>
                  </a:cubicBezTo>
                  <a:cubicBezTo>
                    <a:pt x="230" y="259"/>
                    <a:pt x="230" y="259"/>
                    <a:pt x="230" y="258"/>
                  </a:cubicBezTo>
                  <a:cubicBezTo>
                    <a:pt x="230" y="258"/>
                    <a:pt x="229" y="257"/>
                    <a:pt x="229" y="257"/>
                  </a:cubicBezTo>
                  <a:cubicBezTo>
                    <a:pt x="228" y="257"/>
                    <a:pt x="228" y="257"/>
                    <a:pt x="228" y="257"/>
                  </a:cubicBezTo>
                  <a:cubicBezTo>
                    <a:pt x="228" y="257"/>
                    <a:pt x="228" y="257"/>
                    <a:pt x="228" y="257"/>
                  </a:cubicBezTo>
                  <a:cubicBezTo>
                    <a:pt x="228" y="257"/>
                    <a:pt x="228" y="257"/>
                    <a:pt x="227" y="257"/>
                  </a:cubicBezTo>
                  <a:cubicBezTo>
                    <a:pt x="226" y="257"/>
                    <a:pt x="226" y="257"/>
                    <a:pt x="226" y="257"/>
                  </a:cubicBezTo>
                  <a:cubicBezTo>
                    <a:pt x="226" y="257"/>
                    <a:pt x="226" y="257"/>
                    <a:pt x="226" y="257"/>
                  </a:cubicBezTo>
                  <a:cubicBezTo>
                    <a:pt x="225" y="256"/>
                    <a:pt x="225" y="256"/>
                    <a:pt x="224" y="256"/>
                  </a:cubicBezTo>
                  <a:cubicBezTo>
                    <a:pt x="224" y="255"/>
                    <a:pt x="224" y="255"/>
                    <a:pt x="223" y="254"/>
                  </a:cubicBezTo>
                  <a:cubicBezTo>
                    <a:pt x="222" y="254"/>
                    <a:pt x="222" y="253"/>
                    <a:pt x="221" y="252"/>
                  </a:cubicBezTo>
                  <a:cubicBezTo>
                    <a:pt x="219" y="251"/>
                    <a:pt x="217" y="249"/>
                    <a:pt x="215" y="248"/>
                  </a:cubicBezTo>
                  <a:cubicBezTo>
                    <a:pt x="215" y="248"/>
                    <a:pt x="215" y="248"/>
                    <a:pt x="214" y="248"/>
                  </a:cubicBezTo>
                  <a:cubicBezTo>
                    <a:pt x="214" y="247"/>
                    <a:pt x="214" y="247"/>
                    <a:pt x="214" y="247"/>
                  </a:cubicBezTo>
                  <a:cubicBezTo>
                    <a:pt x="213" y="247"/>
                    <a:pt x="212" y="247"/>
                    <a:pt x="211" y="247"/>
                  </a:cubicBezTo>
                  <a:cubicBezTo>
                    <a:pt x="210" y="246"/>
                    <a:pt x="209" y="245"/>
                    <a:pt x="208" y="244"/>
                  </a:cubicBezTo>
                  <a:cubicBezTo>
                    <a:pt x="207" y="243"/>
                    <a:pt x="207" y="243"/>
                    <a:pt x="206" y="242"/>
                  </a:cubicBezTo>
                  <a:cubicBezTo>
                    <a:pt x="205" y="242"/>
                    <a:pt x="205" y="242"/>
                    <a:pt x="205" y="242"/>
                  </a:cubicBezTo>
                  <a:cubicBezTo>
                    <a:pt x="205" y="242"/>
                    <a:pt x="205" y="242"/>
                    <a:pt x="205" y="242"/>
                  </a:cubicBezTo>
                  <a:moveTo>
                    <a:pt x="174" y="197"/>
                  </a:moveTo>
                  <a:cubicBezTo>
                    <a:pt x="174" y="197"/>
                    <a:pt x="174" y="197"/>
                    <a:pt x="174" y="197"/>
                  </a:cubicBezTo>
                  <a:cubicBezTo>
                    <a:pt x="174" y="198"/>
                    <a:pt x="174" y="198"/>
                    <a:pt x="174" y="199"/>
                  </a:cubicBezTo>
                  <a:cubicBezTo>
                    <a:pt x="174" y="199"/>
                    <a:pt x="174" y="199"/>
                    <a:pt x="174" y="199"/>
                  </a:cubicBezTo>
                  <a:cubicBezTo>
                    <a:pt x="174" y="200"/>
                    <a:pt x="173" y="201"/>
                    <a:pt x="173" y="201"/>
                  </a:cubicBezTo>
                  <a:cubicBezTo>
                    <a:pt x="173" y="202"/>
                    <a:pt x="172" y="202"/>
                    <a:pt x="172" y="203"/>
                  </a:cubicBezTo>
                  <a:cubicBezTo>
                    <a:pt x="172" y="203"/>
                    <a:pt x="172" y="203"/>
                    <a:pt x="172" y="204"/>
                  </a:cubicBezTo>
                  <a:cubicBezTo>
                    <a:pt x="172" y="204"/>
                    <a:pt x="172" y="204"/>
                    <a:pt x="172" y="204"/>
                  </a:cubicBezTo>
                  <a:cubicBezTo>
                    <a:pt x="172" y="204"/>
                    <a:pt x="172" y="204"/>
                    <a:pt x="172" y="204"/>
                  </a:cubicBezTo>
                  <a:cubicBezTo>
                    <a:pt x="172" y="205"/>
                    <a:pt x="172" y="205"/>
                    <a:pt x="172" y="205"/>
                  </a:cubicBezTo>
                  <a:cubicBezTo>
                    <a:pt x="173" y="205"/>
                    <a:pt x="173" y="205"/>
                    <a:pt x="173" y="205"/>
                  </a:cubicBezTo>
                  <a:cubicBezTo>
                    <a:pt x="173" y="205"/>
                    <a:pt x="174" y="205"/>
                    <a:pt x="174" y="205"/>
                  </a:cubicBezTo>
                  <a:cubicBezTo>
                    <a:pt x="174" y="205"/>
                    <a:pt x="174" y="205"/>
                    <a:pt x="174" y="205"/>
                  </a:cubicBezTo>
                  <a:cubicBezTo>
                    <a:pt x="174" y="205"/>
                    <a:pt x="174" y="205"/>
                    <a:pt x="174" y="205"/>
                  </a:cubicBezTo>
                  <a:cubicBezTo>
                    <a:pt x="174" y="205"/>
                    <a:pt x="174" y="205"/>
                    <a:pt x="174" y="205"/>
                  </a:cubicBezTo>
                  <a:cubicBezTo>
                    <a:pt x="175" y="205"/>
                    <a:pt x="175" y="205"/>
                    <a:pt x="175" y="205"/>
                  </a:cubicBezTo>
                  <a:cubicBezTo>
                    <a:pt x="176" y="205"/>
                    <a:pt x="176" y="205"/>
                    <a:pt x="176" y="205"/>
                  </a:cubicBezTo>
                  <a:cubicBezTo>
                    <a:pt x="176" y="205"/>
                    <a:pt x="176" y="205"/>
                    <a:pt x="176" y="205"/>
                  </a:cubicBezTo>
                  <a:cubicBezTo>
                    <a:pt x="176" y="205"/>
                    <a:pt x="177" y="206"/>
                    <a:pt x="177" y="206"/>
                  </a:cubicBezTo>
                  <a:cubicBezTo>
                    <a:pt x="177" y="206"/>
                    <a:pt x="177" y="206"/>
                    <a:pt x="178" y="206"/>
                  </a:cubicBezTo>
                  <a:cubicBezTo>
                    <a:pt x="177" y="205"/>
                    <a:pt x="177" y="204"/>
                    <a:pt x="177" y="203"/>
                  </a:cubicBezTo>
                  <a:cubicBezTo>
                    <a:pt x="177" y="202"/>
                    <a:pt x="177" y="202"/>
                    <a:pt x="177" y="202"/>
                  </a:cubicBezTo>
                  <a:cubicBezTo>
                    <a:pt x="177" y="202"/>
                    <a:pt x="177" y="202"/>
                    <a:pt x="177" y="202"/>
                  </a:cubicBezTo>
                  <a:cubicBezTo>
                    <a:pt x="177" y="202"/>
                    <a:pt x="177" y="202"/>
                    <a:pt x="177" y="202"/>
                  </a:cubicBezTo>
                  <a:cubicBezTo>
                    <a:pt x="177" y="201"/>
                    <a:pt x="177" y="201"/>
                    <a:pt x="177" y="201"/>
                  </a:cubicBezTo>
                  <a:cubicBezTo>
                    <a:pt x="177" y="201"/>
                    <a:pt x="177" y="201"/>
                    <a:pt x="177" y="201"/>
                  </a:cubicBezTo>
                  <a:cubicBezTo>
                    <a:pt x="176" y="201"/>
                    <a:pt x="176" y="201"/>
                    <a:pt x="175" y="201"/>
                  </a:cubicBezTo>
                  <a:cubicBezTo>
                    <a:pt x="175" y="200"/>
                    <a:pt x="175" y="199"/>
                    <a:pt x="175" y="198"/>
                  </a:cubicBezTo>
                  <a:cubicBezTo>
                    <a:pt x="175" y="198"/>
                    <a:pt x="175" y="198"/>
                    <a:pt x="175" y="198"/>
                  </a:cubicBezTo>
                  <a:cubicBezTo>
                    <a:pt x="175" y="198"/>
                    <a:pt x="175" y="198"/>
                    <a:pt x="175" y="198"/>
                  </a:cubicBezTo>
                  <a:cubicBezTo>
                    <a:pt x="174" y="198"/>
                    <a:pt x="174" y="197"/>
                    <a:pt x="174" y="197"/>
                  </a:cubicBezTo>
                  <a:moveTo>
                    <a:pt x="192" y="179"/>
                  </a:moveTo>
                  <a:cubicBezTo>
                    <a:pt x="192" y="180"/>
                    <a:pt x="192" y="180"/>
                    <a:pt x="192" y="180"/>
                  </a:cubicBezTo>
                  <a:cubicBezTo>
                    <a:pt x="192" y="180"/>
                    <a:pt x="192" y="181"/>
                    <a:pt x="192" y="182"/>
                  </a:cubicBezTo>
                  <a:cubicBezTo>
                    <a:pt x="191" y="182"/>
                    <a:pt x="191" y="183"/>
                    <a:pt x="190" y="184"/>
                  </a:cubicBezTo>
                  <a:cubicBezTo>
                    <a:pt x="190" y="185"/>
                    <a:pt x="189" y="186"/>
                    <a:pt x="188" y="186"/>
                  </a:cubicBezTo>
                  <a:cubicBezTo>
                    <a:pt x="187" y="186"/>
                    <a:pt x="187" y="186"/>
                    <a:pt x="187" y="186"/>
                  </a:cubicBezTo>
                  <a:cubicBezTo>
                    <a:pt x="187" y="186"/>
                    <a:pt x="187" y="186"/>
                    <a:pt x="187" y="186"/>
                  </a:cubicBezTo>
                  <a:cubicBezTo>
                    <a:pt x="186" y="185"/>
                    <a:pt x="186" y="185"/>
                    <a:pt x="185" y="184"/>
                  </a:cubicBezTo>
                  <a:cubicBezTo>
                    <a:pt x="184" y="184"/>
                    <a:pt x="184" y="183"/>
                    <a:pt x="183" y="183"/>
                  </a:cubicBezTo>
                  <a:cubicBezTo>
                    <a:pt x="183" y="182"/>
                    <a:pt x="183" y="182"/>
                    <a:pt x="182" y="181"/>
                  </a:cubicBezTo>
                  <a:cubicBezTo>
                    <a:pt x="182" y="181"/>
                    <a:pt x="182" y="181"/>
                    <a:pt x="181" y="180"/>
                  </a:cubicBezTo>
                  <a:cubicBezTo>
                    <a:pt x="181" y="181"/>
                    <a:pt x="181" y="181"/>
                    <a:pt x="182" y="181"/>
                  </a:cubicBezTo>
                  <a:cubicBezTo>
                    <a:pt x="182" y="182"/>
                    <a:pt x="182" y="182"/>
                    <a:pt x="182" y="183"/>
                  </a:cubicBezTo>
                  <a:cubicBezTo>
                    <a:pt x="182" y="183"/>
                    <a:pt x="182" y="183"/>
                    <a:pt x="182" y="183"/>
                  </a:cubicBezTo>
                  <a:cubicBezTo>
                    <a:pt x="182" y="183"/>
                    <a:pt x="182" y="183"/>
                    <a:pt x="182" y="183"/>
                  </a:cubicBezTo>
                  <a:cubicBezTo>
                    <a:pt x="182" y="184"/>
                    <a:pt x="181" y="185"/>
                    <a:pt x="180" y="185"/>
                  </a:cubicBezTo>
                  <a:cubicBezTo>
                    <a:pt x="180" y="186"/>
                    <a:pt x="179" y="187"/>
                    <a:pt x="179" y="187"/>
                  </a:cubicBezTo>
                  <a:cubicBezTo>
                    <a:pt x="179" y="188"/>
                    <a:pt x="179" y="188"/>
                    <a:pt x="179" y="188"/>
                  </a:cubicBezTo>
                  <a:cubicBezTo>
                    <a:pt x="179" y="189"/>
                    <a:pt x="179" y="189"/>
                    <a:pt x="180" y="190"/>
                  </a:cubicBezTo>
                  <a:cubicBezTo>
                    <a:pt x="181" y="191"/>
                    <a:pt x="182" y="192"/>
                    <a:pt x="183" y="193"/>
                  </a:cubicBezTo>
                  <a:cubicBezTo>
                    <a:pt x="183" y="193"/>
                    <a:pt x="183" y="193"/>
                    <a:pt x="183" y="193"/>
                  </a:cubicBezTo>
                  <a:cubicBezTo>
                    <a:pt x="184" y="194"/>
                    <a:pt x="184" y="195"/>
                    <a:pt x="184" y="195"/>
                  </a:cubicBezTo>
                  <a:cubicBezTo>
                    <a:pt x="185" y="195"/>
                    <a:pt x="185" y="195"/>
                    <a:pt x="186" y="196"/>
                  </a:cubicBezTo>
                  <a:cubicBezTo>
                    <a:pt x="186" y="196"/>
                    <a:pt x="186" y="196"/>
                    <a:pt x="186" y="196"/>
                  </a:cubicBezTo>
                  <a:cubicBezTo>
                    <a:pt x="186" y="196"/>
                    <a:pt x="187" y="196"/>
                    <a:pt x="188" y="196"/>
                  </a:cubicBezTo>
                  <a:cubicBezTo>
                    <a:pt x="188" y="196"/>
                    <a:pt x="189" y="196"/>
                    <a:pt x="190" y="197"/>
                  </a:cubicBezTo>
                  <a:cubicBezTo>
                    <a:pt x="190" y="198"/>
                    <a:pt x="190" y="198"/>
                    <a:pt x="190" y="199"/>
                  </a:cubicBezTo>
                  <a:cubicBezTo>
                    <a:pt x="190" y="199"/>
                    <a:pt x="190" y="199"/>
                    <a:pt x="190" y="199"/>
                  </a:cubicBezTo>
                  <a:cubicBezTo>
                    <a:pt x="190" y="202"/>
                    <a:pt x="188" y="203"/>
                    <a:pt x="188" y="204"/>
                  </a:cubicBezTo>
                  <a:cubicBezTo>
                    <a:pt x="188" y="205"/>
                    <a:pt x="188" y="205"/>
                    <a:pt x="188" y="205"/>
                  </a:cubicBezTo>
                  <a:cubicBezTo>
                    <a:pt x="188" y="206"/>
                    <a:pt x="189" y="207"/>
                    <a:pt x="189" y="208"/>
                  </a:cubicBezTo>
                  <a:cubicBezTo>
                    <a:pt x="189" y="208"/>
                    <a:pt x="190" y="208"/>
                    <a:pt x="190" y="208"/>
                  </a:cubicBezTo>
                  <a:cubicBezTo>
                    <a:pt x="191" y="207"/>
                    <a:pt x="192" y="207"/>
                    <a:pt x="193" y="207"/>
                  </a:cubicBezTo>
                  <a:cubicBezTo>
                    <a:pt x="193" y="207"/>
                    <a:pt x="194" y="206"/>
                    <a:pt x="195" y="205"/>
                  </a:cubicBezTo>
                  <a:cubicBezTo>
                    <a:pt x="196" y="205"/>
                    <a:pt x="197" y="204"/>
                    <a:pt x="198" y="204"/>
                  </a:cubicBezTo>
                  <a:cubicBezTo>
                    <a:pt x="199" y="204"/>
                    <a:pt x="199" y="204"/>
                    <a:pt x="199" y="204"/>
                  </a:cubicBezTo>
                  <a:cubicBezTo>
                    <a:pt x="199" y="204"/>
                    <a:pt x="201" y="205"/>
                    <a:pt x="201" y="206"/>
                  </a:cubicBezTo>
                  <a:cubicBezTo>
                    <a:pt x="201" y="206"/>
                    <a:pt x="201" y="207"/>
                    <a:pt x="201" y="207"/>
                  </a:cubicBezTo>
                  <a:cubicBezTo>
                    <a:pt x="201" y="207"/>
                    <a:pt x="201" y="208"/>
                    <a:pt x="201" y="208"/>
                  </a:cubicBezTo>
                  <a:cubicBezTo>
                    <a:pt x="201" y="209"/>
                    <a:pt x="201" y="209"/>
                    <a:pt x="201" y="209"/>
                  </a:cubicBezTo>
                  <a:cubicBezTo>
                    <a:pt x="202" y="209"/>
                    <a:pt x="202" y="209"/>
                    <a:pt x="202" y="209"/>
                  </a:cubicBezTo>
                  <a:cubicBezTo>
                    <a:pt x="202" y="209"/>
                    <a:pt x="202" y="209"/>
                    <a:pt x="203" y="210"/>
                  </a:cubicBezTo>
                  <a:cubicBezTo>
                    <a:pt x="203" y="210"/>
                    <a:pt x="204" y="210"/>
                    <a:pt x="205" y="210"/>
                  </a:cubicBezTo>
                  <a:cubicBezTo>
                    <a:pt x="206" y="211"/>
                    <a:pt x="206" y="211"/>
                    <a:pt x="207" y="211"/>
                  </a:cubicBezTo>
                  <a:cubicBezTo>
                    <a:pt x="207" y="212"/>
                    <a:pt x="207" y="212"/>
                    <a:pt x="207" y="212"/>
                  </a:cubicBezTo>
                  <a:cubicBezTo>
                    <a:pt x="207" y="211"/>
                    <a:pt x="207" y="211"/>
                    <a:pt x="207" y="211"/>
                  </a:cubicBezTo>
                  <a:cubicBezTo>
                    <a:pt x="208" y="211"/>
                    <a:pt x="208" y="211"/>
                    <a:pt x="208" y="210"/>
                  </a:cubicBezTo>
                  <a:cubicBezTo>
                    <a:pt x="210" y="209"/>
                    <a:pt x="211" y="209"/>
                    <a:pt x="212" y="209"/>
                  </a:cubicBezTo>
                  <a:cubicBezTo>
                    <a:pt x="213" y="209"/>
                    <a:pt x="213" y="209"/>
                    <a:pt x="213" y="209"/>
                  </a:cubicBezTo>
                  <a:cubicBezTo>
                    <a:pt x="213" y="209"/>
                    <a:pt x="213" y="209"/>
                    <a:pt x="213" y="209"/>
                  </a:cubicBezTo>
                  <a:cubicBezTo>
                    <a:pt x="213" y="208"/>
                    <a:pt x="213" y="208"/>
                    <a:pt x="213" y="208"/>
                  </a:cubicBezTo>
                  <a:cubicBezTo>
                    <a:pt x="213" y="205"/>
                    <a:pt x="212" y="204"/>
                    <a:pt x="211" y="203"/>
                  </a:cubicBezTo>
                  <a:cubicBezTo>
                    <a:pt x="210" y="202"/>
                    <a:pt x="210" y="202"/>
                    <a:pt x="209" y="202"/>
                  </a:cubicBezTo>
                  <a:cubicBezTo>
                    <a:pt x="209" y="202"/>
                    <a:pt x="209" y="202"/>
                    <a:pt x="209" y="202"/>
                  </a:cubicBezTo>
                  <a:cubicBezTo>
                    <a:pt x="209" y="202"/>
                    <a:pt x="209" y="202"/>
                    <a:pt x="209" y="202"/>
                  </a:cubicBezTo>
                  <a:cubicBezTo>
                    <a:pt x="207" y="202"/>
                    <a:pt x="205" y="203"/>
                    <a:pt x="204" y="203"/>
                  </a:cubicBezTo>
                  <a:cubicBezTo>
                    <a:pt x="203" y="203"/>
                    <a:pt x="203" y="203"/>
                    <a:pt x="202" y="203"/>
                  </a:cubicBezTo>
                  <a:cubicBezTo>
                    <a:pt x="202" y="203"/>
                    <a:pt x="201" y="203"/>
                    <a:pt x="201" y="203"/>
                  </a:cubicBezTo>
                  <a:cubicBezTo>
                    <a:pt x="200" y="203"/>
                    <a:pt x="199" y="202"/>
                    <a:pt x="199" y="202"/>
                  </a:cubicBezTo>
                  <a:cubicBezTo>
                    <a:pt x="199" y="201"/>
                    <a:pt x="199" y="201"/>
                    <a:pt x="199" y="200"/>
                  </a:cubicBezTo>
                  <a:cubicBezTo>
                    <a:pt x="199" y="200"/>
                    <a:pt x="199" y="200"/>
                    <a:pt x="199" y="200"/>
                  </a:cubicBezTo>
                  <a:cubicBezTo>
                    <a:pt x="199" y="199"/>
                    <a:pt x="199" y="199"/>
                    <a:pt x="199" y="199"/>
                  </a:cubicBezTo>
                  <a:cubicBezTo>
                    <a:pt x="199" y="199"/>
                    <a:pt x="198" y="199"/>
                    <a:pt x="198" y="199"/>
                  </a:cubicBezTo>
                  <a:cubicBezTo>
                    <a:pt x="197" y="198"/>
                    <a:pt x="197" y="198"/>
                    <a:pt x="196" y="197"/>
                  </a:cubicBezTo>
                  <a:cubicBezTo>
                    <a:pt x="196" y="197"/>
                    <a:pt x="196" y="197"/>
                    <a:pt x="196" y="196"/>
                  </a:cubicBezTo>
                  <a:cubicBezTo>
                    <a:pt x="196" y="196"/>
                    <a:pt x="196" y="196"/>
                    <a:pt x="196" y="196"/>
                  </a:cubicBezTo>
                  <a:cubicBezTo>
                    <a:pt x="196" y="194"/>
                    <a:pt x="197" y="193"/>
                    <a:pt x="198" y="192"/>
                  </a:cubicBezTo>
                  <a:cubicBezTo>
                    <a:pt x="199" y="191"/>
                    <a:pt x="200" y="190"/>
                    <a:pt x="201" y="190"/>
                  </a:cubicBezTo>
                  <a:cubicBezTo>
                    <a:pt x="201" y="189"/>
                    <a:pt x="201" y="189"/>
                    <a:pt x="201" y="189"/>
                  </a:cubicBezTo>
                  <a:cubicBezTo>
                    <a:pt x="201" y="188"/>
                    <a:pt x="201" y="188"/>
                    <a:pt x="201" y="188"/>
                  </a:cubicBezTo>
                  <a:cubicBezTo>
                    <a:pt x="201" y="188"/>
                    <a:pt x="200" y="188"/>
                    <a:pt x="200" y="187"/>
                  </a:cubicBezTo>
                  <a:cubicBezTo>
                    <a:pt x="199" y="187"/>
                    <a:pt x="198" y="187"/>
                    <a:pt x="197" y="185"/>
                  </a:cubicBezTo>
                  <a:cubicBezTo>
                    <a:pt x="196" y="184"/>
                    <a:pt x="196" y="184"/>
                    <a:pt x="196" y="184"/>
                  </a:cubicBezTo>
                  <a:cubicBezTo>
                    <a:pt x="195" y="183"/>
                    <a:pt x="195" y="182"/>
                    <a:pt x="194" y="182"/>
                  </a:cubicBezTo>
                  <a:cubicBezTo>
                    <a:pt x="193" y="181"/>
                    <a:pt x="193" y="180"/>
                    <a:pt x="192" y="180"/>
                  </a:cubicBezTo>
                  <a:cubicBezTo>
                    <a:pt x="192" y="179"/>
                    <a:pt x="192" y="179"/>
                    <a:pt x="192" y="179"/>
                  </a:cubicBezTo>
                  <a:moveTo>
                    <a:pt x="175" y="176"/>
                  </a:moveTo>
                  <a:cubicBezTo>
                    <a:pt x="174" y="176"/>
                    <a:pt x="174" y="176"/>
                    <a:pt x="174" y="176"/>
                  </a:cubicBezTo>
                  <a:cubicBezTo>
                    <a:pt x="174" y="176"/>
                    <a:pt x="174" y="176"/>
                    <a:pt x="174" y="176"/>
                  </a:cubicBezTo>
                  <a:cubicBezTo>
                    <a:pt x="173" y="176"/>
                    <a:pt x="172" y="176"/>
                    <a:pt x="172" y="176"/>
                  </a:cubicBezTo>
                  <a:cubicBezTo>
                    <a:pt x="171" y="177"/>
                    <a:pt x="170" y="177"/>
                    <a:pt x="169" y="177"/>
                  </a:cubicBezTo>
                  <a:cubicBezTo>
                    <a:pt x="169" y="177"/>
                    <a:pt x="169" y="177"/>
                    <a:pt x="169" y="178"/>
                  </a:cubicBezTo>
                  <a:cubicBezTo>
                    <a:pt x="168" y="178"/>
                    <a:pt x="168" y="178"/>
                    <a:pt x="168" y="178"/>
                  </a:cubicBezTo>
                  <a:cubicBezTo>
                    <a:pt x="169" y="179"/>
                    <a:pt x="169" y="179"/>
                    <a:pt x="169" y="179"/>
                  </a:cubicBezTo>
                  <a:cubicBezTo>
                    <a:pt x="169" y="180"/>
                    <a:pt x="169" y="180"/>
                    <a:pt x="169" y="180"/>
                  </a:cubicBezTo>
                  <a:cubicBezTo>
                    <a:pt x="169" y="181"/>
                    <a:pt x="168" y="182"/>
                    <a:pt x="168" y="182"/>
                  </a:cubicBezTo>
                  <a:cubicBezTo>
                    <a:pt x="168" y="183"/>
                    <a:pt x="168" y="183"/>
                    <a:pt x="168" y="184"/>
                  </a:cubicBezTo>
                  <a:cubicBezTo>
                    <a:pt x="168" y="184"/>
                    <a:pt x="168" y="184"/>
                    <a:pt x="168" y="184"/>
                  </a:cubicBezTo>
                  <a:cubicBezTo>
                    <a:pt x="168" y="185"/>
                    <a:pt x="168" y="185"/>
                    <a:pt x="169" y="187"/>
                  </a:cubicBezTo>
                  <a:cubicBezTo>
                    <a:pt x="169" y="187"/>
                    <a:pt x="169" y="187"/>
                    <a:pt x="169" y="187"/>
                  </a:cubicBezTo>
                  <a:cubicBezTo>
                    <a:pt x="169" y="188"/>
                    <a:pt x="169" y="188"/>
                    <a:pt x="169" y="188"/>
                  </a:cubicBezTo>
                  <a:cubicBezTo>
                    <a:pt x="169" y="189"/>
                    <a:pt x="169" y="189"/>
                    <a:pt x="169" y="189"/>
                  </a:cubicBezTo>
                  <a:cubicBezTo>
                    <a:pt x="169" y="189"/>
                    <a:pt x="169" y="189"/>
                    <a:pt x="169" y="189"/>
                  </a:cubicBezTo>
                  <a:cubicBezTo>
                    <a:pt x="169" y="189"/>
                    <a:pt x="169" y="189"/>
                    <a:pt x="169" y="189"/>
                  </a:cubicBezTo>
                  <a:cubicBezTo>
                    <a:pt x="169" y="190"/>
                    <a:pt x="169" y="190"/>
                    <a:pt x="169" y="190"/>
                  </a:cubicBezTo>
                  <a:cubicBezTo>
                    <a:pt x="169" y="190"/>
                    <a:pt x="169" y="190"/>
                    <a:pt x="169" y="190"/>
                  </a:cubicBezTo>
                  <a:cubicBezTo>
                    <a:pt x="170" y="190"/>
                    <a:pt x="170" y="190"/>
                    <a:pt x="170" y="190"/>
                  </a:cubicBezTo>
                  <a:cubicBezTo>
                    <a:pt x="170" y="190"/>
                    <a:pt x="170" y="190"/>
                    <a:pt x="170" y="190"/>
                  </a:cubicBezTo>
                  <a:cubicBezTo>
                    <a:pt x="170" y="190"/>
                    <a:pt x="170" y="190"/>
                    <a:pt x="170" y="190"/>
                  </a:cubicBezTo>
                  <a:cubicBezTo>
                    <a:pt x="170" y="190"/>
                    <a:pt x="170" y="190"/>
                    <a:pt x="170" y="190"/>
                  </a:cubicBezTo>
                  <a:cubicBezTo>
                    <a:pt x="171" y="190"/>
                    <a:pt x="172" y="190"/>
                    <a:pt x="173" y="189"/>
                  </a:cubicBezTo>
                  <a:cubicBezTo>
                    <a:pt x="173" y="189"/>
                    <a:pt x="174" y="189"/>
                    <a:pt x="174" y="189"/>
                  </a:cubicBezTo>
                  <a:cubicBezTo>
                    <a:pt x="175" y="189"/>
                    <a:pt x="175" y="189"/>
                    <a:pt x="175" y="189"/>
                  </a:cubicBezTo>
                  <a:cubicBezTo>
                    <a:pt x="175" y="189"/>
                    <a:pt x="175" y="188"/>
                    <a:pt x="175" y="188"/>
                  </a:cubicBezTo>
                  <a:cubicBezTo>
                    <a:pt x="175" y="187"/>
                    <a:pt x="175" y="187"/>
                    <a:pt x="176" y="186"/>
                  </a:cubicBezTo>
                  <a:cubicBezTo>
                    <a:pt x="176" y="185"/>
                    <a:pt x="176" y="185"/>
                    <a:pt x="176" y="184"/>
                  </a:cubicBezTo>
                  <a:cubicBezTo>
                    <a:pt x="176" y="184"/>
                    <a:pt x="176" y="184"/>
                    <a:pt x="176" y="184"/>
                  </a:cubicBezTo>
                  <a:cubicBezTo>
                    <a:pt x="176" y="184"/>
                    <a:pt x="176" y="183"/>
                    <a:pt x="176" y="183"/>
                  </a:cubicBezTo>
                  <a:cubicBezTo>
                    <a:pt x="176" y="182"/>
                    <a:pt x="176" y="181"/>
                    <a:pt x="176" y="180"/>
                  </a:cubicBezTo>
                  <a:cubicBezTo>
                    <a:pt x="176" y="179"/>
                    <a:pt x="176" y="179"/>
                    <a:pt x="176" y="178"/>
                  </a:cubicBezTo>
                  <a:cubicBezTo>
                    <a:pt x="176" y="178"/>
                    <a:pt x="176" y="178"/>
                    <a:pt x="176" y="178"/>
                  </a:cubicBezTo>
                  <a:cubicBezTo>
                    <a:pt x="176" y="177"/>
                    <a:pt x="175" y="177"/>
                    <a:pt x="175" y="177"/>
                  </a:cubicBezTo>
                  <a:cubicBezTo>
                    <a:pt x="175" y="176"/>
                    <a:pt x="175" y="176"/>
                    <a:pt x="175" y="176"/>
                  </a:cubicBezTo>
                  <a:moveTo>
                    <a:pt x="266" y="141"/>
                  </a:moveTo>
                  <a:cubicBezTo>
                    <a:pt x="267" y="141"/>
                    <a:pt x="268" y="141"/>
                    <a:pt x="269" y="142"/>
                  </a:cubicBezTo>
                  <a:cubicBezTo>
                    <a:pt x="269" y="141"/>
                    <a:pt x="268" y="141"/>
                    <a:pt x="267" y="141"/>
                  </a:cubicBezTo>
                  <a:cubicBezTo>
                    <a:pt x="267" y="141"/>
                    <a:pt x="267" y="141"/>
                    <a:pt x="267" y="141"/>
                  </a:cubicBezTo>
                  <a:cubicBezTo>
                    <a:pt x="267" y="141"/>
                    <a:pt x="266" y="141"/>
                    <a:pt x="266" y="141"/>
                  </a:cubicBezTo>
                  <a:moveTo>
                    <a:pt x="261" y="95"/>
                  </a:moveTo>
                  <a:cubicBezTo>
                    <a:pt x="261" y="95"/>
                    <a:pt x="261" y="95"/>
                    <a:pt x="261" y="95"/>
                  </a:cubicBezTo>
                  <a:moveTo>
                    <a:pt x="223" y="27"/>
                  </a:moveTo>
                  <a:cubicBezTo>
                    <a:pt x="223" y="27"/>
                    <a:pt x="223" y="27"/>
                    <a:pt x="223" y="27"/>
                  </a:cubicBezTo>
                  <a:cubicBezTo>
                    <a:pt x="223" y="27"/>
                    <a:pt x="222" y="27"/>
                    <a:pt x="221" y="27"/>
                  </a:cubicBezTo>
                  <a:cubicBezTo>
                    <a:pt x="221" y="27"/>
                    <a:pt x="221" y="27"/>
                    <a:pt x="221" y="27"/>
                  </a:cubicBezTo>
                  <a:cubicBezTo>
                    <a:pt x="221" y="27"/>
                    <a:pt x="221" y="27"/>
                    <a:pt x="221" y="27"/>
                  </a:cubicBezTo>
                  <a:cubicBezTo>
                    <a:pt x="220" y="27"/>
                    <a:pt x="220" y="27"/>
                    <a:pt x="219" y="27"/>
                  </a:cubicBezTo>
                  <a:cubicBezTo>
                    <a:pt x="219" y="27"/>
                    <a:pt x="219" y="27"/>
                    <a:pt x="219" y="27"/>
                  </a:cubicBezTo>
                  <a:cubicBezTo>
                    <a:pt x="218" y="27"/>
                    <a:pt x="218" y="27"/>
                    <a:pt x="218" y="27"/>
                  </a:cubicBezTo>
                  <a:cubicBezTo>
                    <a:pt x="218" y="28"/>
                    <a:pt x="217" y="29"/>
                    <a:pt x="217" y="29"/>
                  </a:cubicBezTo>
                  <a:cubicBezTo>
                    <a:pt x="216" y="30"/>
                    <a:pt x="215" y="31"/>
                    <a:pt x="215" y="31"/>
                  </a:cubicBezTo>
                  <a:cubicBezTo>
                    <a:pt x="213" y="32"/>
                    <a:pt x="212" y="33"/>
                    <a:pt x="211" y="34"/>
                  </a:cubicBezTo>
                  <a:cubicBezTo>
                    <a:pt x="210" y="36"/>
                    <a:pt x="209" y="37"/>
                    <a:pt x="208" y="39"/>
                  </a:cubicBezTo>
                  <a:cubicBezTo>
                    <a:pt x="207" y="40"/>
                    <a:pt x="206" y="42"/>
                    <a:pt x="204" y="43"/>
                  </a:cubicBezTo>
                  <a:cubicBezTo>
                    <a:pt x="203" y="44"/>
                    <a:pt x="203" y="45"/>
                    <a:pt x="202" y="46"/>
                  </a:cubicBezTo>
                  <a:cubicBezTo>
                    <a:pt x="201" y="47"/>
                    <a:pt x="201" y="48"/>
                    <a:pt x="200" y="49"/>
                  </a:cubicBezTo>
                  <a:cubicBezTo>
                    <a:pt x="198" y="51"/>
                    <a:pt x="197" y="52"/>
                    <a:pt x="196" y="54"/>
                  </a:cubicBezTo>
                  <a:cubicBezTo>
                    <a:pt x="196" y="54"/>
                    <a:pt x="196" y="54"/>
                    <a:pt x="196" y="55"/>
                  </a:cubicBezTo>
                  <a:cubicBezTo>
                    <a:pt x="196" y="56"/>
                    <a:pt x="196" y="56"/>
                    <a:pt x="196" y="56"/>
                  </a:cubicBezTo>
                  <a:cubicBezTo>
                    <a:pt x="196" y="56"/>
                    <a:pt x="196" y="56"/>
                    <a:pt x="196" y="57"/>
                  </a:cubicBezTo>
                  <a:cubicBezTo>
                    <a:pt x="196" y="58"/>
                    <a:pt x="196" y="58"/>
                    <a:pt x="196" y="59"/>
                  </a:cubicBezTo>
                  <a:cubicBezTo>
                    <a:pt x="196" y="59"/>
                    <a:pt x="195" y="59"/>
                    <a:pt x="195" y="59"/>
                  </a:cubicBezTo>
                  <a:cubicBezTo>
                    <a:pt x="195" y="59"/>
                    <a:pt x="195" y="59"/>
                    <a:pt x="195" y="59"/>
                  </a:cubicBezTo>
                  <a:cubicBezTo>
                    <a:pt x="195" y="59"/>
                    <a:pt x="194" y="59"/>
                    <a:pt x="194" y="59"/>
                  </a:cubicBezTo>
                  <a:cubicBezTo>
                    <a:pt x="194" y="59"/>
                    <a:pt x="194" y="59"/>
                    <a:pt x="194" y="59"/>
                  </a:cubicBezTo>
                  <a:cubicBezTo>
                    <a:pt x="194" y="60"/>
                    <a:pt x="194" y="60"/>
                    <a:pt x="194" y="60"/>
                  </a:cubicBezTo>
                  <a:cubicBezTo>
                    <a:pt x="195" y="60"/>
                    <a:pt x="195" y="60"/>
                    <a:pt x="195" y="61"/>
                  </a:cubicBezTo>
                  <a:cubicBezTo>
                    <a:pt x="195" y="62"/>
                    <a:pt x="194" y="62"/>
                    <a:pt x="194" y="63"/>
                  </a:cubicBezTo>
                  <a:cubicBezTo>
                    <a:pt x="193" y="63"/>
                    <a:pt x="193" y="63"/>
                    <a:pt x="193" y="64"/>
                  </a:cubicBezTo>
                  <a:cubicBezTo>
                    <a:pt x="193" y="64"/>
                    <a:pt x="193" y="64"/>
                    <a:pt x="193" y="64"/>
                  </a:cubicBezTo>
                  <a:cubicBezTo>
                    <a:pt x="193" y="65"/>
                    <a:pt x="193" y="66"/>
                    <a:pt x="194" y="67"/>
                  </a:cubicBezTo>
                  <a:cubicBezTo>
                    <a:pt x="194" y="68"/>
                    <a:pt x="194" y="69"/>
                    <a:pt x="194" y="69"/>
                  </a:cubicBezTo>
                  <a:cubicBezTo>
                    <a:pt x="194" y="70"/>
                    <a:pt x="194" y="70"/>
                    <a:pt x="194" y="71"/>
                  </a:cubicBezTo>
                  <a:cubicBezTo>
                    <a:pt x="194" y="71"/>
                    <a:pt x="194" y="72"/>
                    <a:pt x="193" y="73"/>
                  </a:cubicBezTo>
                  <a:cubicBezTo>
                    <a:pt x="193" y="74"/>
                    <a:pt x="192" y="74"/>
                    <a:pt x="192" y="75"/>
                  </a:cubicBezTo>
                  <a:cubicBezTo>
                    <a:pt x="190" y="77"/>
                    <a:pt x="189" y="80"/>
                    <a:pt x="187" y="83"/>
                  </a:cubicBezTo>
                  <a:cubicBezTo>
                    <a:pt x="186" y="84"/>
                    <a:pt x="186" y="84"/>
                    <a:pt x="186" y="85"/>
                  </a:cubicBezTo>
                  <a:cubicBezTo>
                    <a:pt x="186" y="86"/>
                    <a:pt x="187" y="88"/>
                    <a:pt x="187" y="90"/>
                  </a:cubicBezTo>
                  <a:cubicBezTo>
                    <a:pt x="187" y="91"/>
                    <a:pt x="187" y="91"/>
                    <a:pt x="187" y="91"/>
                  </a:cubicBezTo>
                  <a:cubicBezTo>
                    <a:pt x="187" y="91"/>
                    <a:pt x="187" y="92"/>
                    <a:pt x="186" y="93"/>
                  </a:cubicBezTo>
                  <a:cubicBezTo>
                    <a:pt x="186" y="93"/>
                    <a:pt x="186" y="94"/>
                    <a:pt x="186" y="94"/>
                  </a:cubicBezTo>
                  <a:cubicBezTo>
                    <a:pt x="185" y="94"/>
                    <a:pt x="185" y="94"/>
                    <a:pt x="185" y="94"/>
                  </a:cubicBezTo>
                  <a:cubicBezTo>
                    <a:pt x="185" y="94"/>
                    <a:pt x="185" y="94"/>
                    <a:pt x="185" y="94"/>
                  </a:cubicBezTo>
                  <a:cubicBezTo>
                    <a:pt x="185" y="94"/>
                    <a:pt x="185" y="94"/>
                    <a:pt x="185" y="94"/>
                  </a:cubicBezTo>
                  <a:cubicBezTo>
                    <a:pt x="185" y="95"/>
                    <a:pt x="185" y="95"/>
                    <a:pt x="185" y="95"/>
                  </a:cubicBezTo>
                  <a:cubicBezTo>
                    <a:pt x="186" y="95"/>
                    <a:pt x="186" y="95"/>
                    <a:pt x="186" y="95"/>
                  </a:cubicBezTo>
                  <a:cubicBezTo>
                    <a:pt x="187" y="95"/>
                    <a:pt x="187" y="95"/>
                    <a:pt x="187" y="95"/>
                  </a:cubicBezTo>
                  <a:cubicBezTo>
                    <a:pt x="188" y="94"/>
                    <a:pt x="188" y="94"/>
                    <a:pt x="189" y="94"/>
                  </a:cubicBezTo>
                  <a:cubicBezTo>
                    <a:pt x="189" y="94"/>
                    <a:pt x="189" y="94"/>
                    <a:pt x="189" y="94"/>
                  </a:cubicBezTo>
                  <a:cubicBezTo>
                    <a:pt x="189" y="94"/>
                    <a:pt x="190" y="94"/>
                    <a:pt x="190" y="95"/>
                  </a:cubicBezTo>
                  <a:cubicBezTo>
                    <a:pt x="190" y="95"/>
                    <a:pt x="191" y="96"/>
                    <a:pt x="191" y="96"/>
                  </a:cubicBezTo>
                  <a:cubicBezTo>
                    <a:pt x="191" y="97"/>
                    <a:pt x="191" y="98"/>
                    <a:pt x="191" y="99"/>
                  </a:cubicBezTo>
                  <a:cubicBezTo>
                    <a:pt x="192" y="99"/>
                    <a:pt x="192" y="100"/>
                    <a:pt x="192" y="100"/>
                  </a:cubicBezTo>
                  <a:cubicBezTo>
                    <a:pt x="192" y="101"/>
                    <a:pt x="191" y="102"/>
                    <a:pt x="191" y="103"/>
                  </a:cubicBezTo>
                  <a:cubicBezTo>
                    <a:pt x="191" y="103"/>
                    <a:pt x="191" y="104"/>
                    <a:pt x="192" y="104"/>
                  </a:cubicBezTo>
                  <a:cubicBezTo>
                    <a:pt x="192" y="104"/>
                    <a:pt x="192" y="104"/>
                    <a:pt x="192" y="105"/>
                  </a:cubicBezTo>
                  <a:cubicBezTo>
                    <a:pt x="193" y="105"/>
                    <a:pt x="194" y="105"/>
                    <a:pt x="195" y="105"/>
                  </a:cubicBezTo>
                  <a:cubicBezTo>
                    <a:pt x="196" y="105"/>
                    <a:pt x="197" y="106"/>
                    <a:pt x="198" y="106"/>
                  </a:cubicBezTo>
                  <a:cubicBezTo>
                    <a:pt x="199" y="107"/>
                    <a:pt x="199" y="107"/>
                    <a:pt x="200" y="108"/>
                  </a:cubicBezTo>
                  <a:cubicBezTo>
                    <a:pt x="200" y="108"/>
                    <a:pt x="200" y="109"/>
                    <a:pt x="200" y="109"/>
                  </a:cubicBezTo>
                  <a:cubicBezTo>
                    <a:pt x="200" y="110"/>
                    <a:pt x="199" y="111"/>
                    <a:pt x="199" y="111"/>
                  </a:cubicBezTo>
                  <a:cubicBezTo>
                    <a:pt x="199" y="112"/>
                    <a:pt x="198" y="112"/>
                    <a:pt x="198" y="113"/>
                  </a:cubicBezTo>
                  <a:cubicBezTo>
                    <a:pt x="196" y="113"/>
                    <a:pt x="195" y="114"/>
                    <a:pt x="195" y="114"/>
                  </a:cubicBezTo>
                  <a:cubicBezTo>
                    <a:pt x="194" y="114"/>
                    <a:pt x="194" y="115"/>
                    <a:pt x="194" y="116"/>
                  </a:cubicBezTo>
                  <a:cubicBezTo>
                    <a:pt x="194" y="118"/>
                    <a:pt x="194" y="119"/>
                    <a:pt x="194" y="120"/>
                  </a:cubicBezTo>
                  <a:cubicBezTo>
                    <a:pt x="193" y="121"/>
                    <a:pt x="193" y="122"/>
                    <a:pt x="193" y="123"/>
                  </a:cubicBezTo>
                  <a:cubicBezTo>
                    <a:pt x="193" y="124"/>
                    <a:pt x="194" y="125"/>
                    <a:pt x="195" y="127"/>
                  </a:cubicBezTo>
                  <a:cubicBezTo>
                    <a:pt x="195" y="128"/>
                    <a:pt x="196" y="129"/>
                    <a:pt x="196" y="130"/>
                  </a:cubicBezTo>
                  <a:cubicBezTo>
                    <a:pt x="196" y="131"/>
                    <a:pt x="196" y="132"/>
                    <a:pt x="196" y="132"/>
                  </a:cubicBezTo>
                  <a:cubicBezTo>
                    <a:pt x="196" y="132"/>
                    <a:pt x="196" y="133"/>
                    <a:pt x="196" y="133"/>
                  </a:cubicBezTo>
                  <a:cubicBezTo>
                    <a:pt x="197" y="134"/>
                    <a:pt x="197" y="134"/>
                    <a:pt x="198" y="135"/>
                  </a:cubicBezTo>
                  <a:cubicBezTo>
                    <a:pt x="199" y="136"/>
                    <a:pt x="199" y="136"/>
                    <a:pt x="199" y="137"/>
                  </a:cubicBezTo>
                  <a:cubicBezTo>
                    <a:pt x="200" y="137"/>
                    <a:pt x="200" y="137"/>
                    <a:pt x="200" y="137"/>
                  </a:cubicBezTo>
                  <a:cubicBezTo>
                    <a:pt x="201" y="137"/>
                    <a:pt x="203" y="137"/>
                    <a:pt x="204" y="138"/>
                  </a:cubicBezTo>
                  <a:cubicBezTo>
                    <a:pt x="205" y="139"/>
                    <a:pt x="205" y="140"/>
                    <a:pt x="205" y="141"/>
                  </a:cubicBezTo>
                  <a:cubicBezTo>
                    <a:pt x="205" y="142"/>
                    <a:pt x="205" y="142"/>
                    <a:pt x="205" y="142"/>
                  </a:cubicBezTo>
                  <a:cubicBezTo>
                    <a:pt x="205" y="144"/>
                    <a:pt x="204" y="147"/>
                    <a:pt x="204" y="149"/>
                  </a:cubicBezTo>
                  <a:cubicBezTo>
                    <a:pt x="203" y="150"/>
                    <a:pt x="203" y="151"/>
                    <a:pt x="203" y="152"/>
                  </a:cubicBezTo>
                  <a:cubicBezTo>
                    <a:pt x="203" y="152"/>
                    <a:pt x="203" y="152"/>
                    <a:pt x="203" y="152"/>
                  </a:cubicBezTo>
                  <a:cubicBezTo>
                    <a:pt x="204" y="153"/>
                    <a:pt x="204" y="153"/>
                    <a:pt x="204" y="153"/>
                  </a:cubicBezTo>
                  <a:cubicBezTo>
                    <a:pt x="204" y="153"/>
                    <a:pt x="204" y="153"/>
                    <a:pt x="205" y="154"/>
                  </a:cubicBezTo>
                  <a:cubicBezTo>
                    <a:pt x="205" y="155"/>
                    <a:pt x="205" y="155"/>
                    <a:pt x="205" y="156"/>
                  </a:cubicBezTo>
                  <a:cubicBezTo>
                    <a:pt x="205" y="158"/>
                    <a:pt x="204" y="159"/>
                    <a:pt x="204" y="161"/>
                  </a:cubicBezTo>
                  <a:cubicBezTo>
                    <a:pt x="204" y="163"/>
                    <a:pt x="204" y="165"/>
                    <a:pt x="203" y="167"/>
                  </a:cubicBezTo>
                  <a:cubicBezTo>
                    <a:pt x="203" y="169"/>
                    <a:pt x="202" y="170"/>
                    <a:pt x="202" y="172"/>
                  </a:cubicBezTo>
                  <a:cubicBezTo>
                    <a:pt x="202" y="172"/>
                    <a:pt x="202" y="173"/>
                    <a:pt x="202" y="173"/>
                  </a:cubicBezTo>
                  <a:cubicBezTo>
                    <a:pt x="203" y="174"/>
                    <a:pt x="203" y="175"/>
                    <a:pt x="205" y="177"/>
                  </a:cubicBezTo>
                  <a:cubicBezTo>
                    <a:pt x="206" y="178"/>
                    <a:pt x="208" y="178"/>
                    <a:pt x="210" y="179"/>
                  </a:cubicBezTo>
                  <a:cubicBezTo>
                    <a:pt x="212" y="180"/>
                    <a:pt x="213" y="182"/>
                    <a:pt x="214" y="183"/>
                  </a:cubicBezTo>
                  <a:cubicBezTo>
                    <a:pt x="214" y="184"/>
                    <a:pt x="215" y="184"/>
                    <a:pt x="215" y="185"/>
                  </a:cubicBezTo>
                  <a:cubicBezTo>
                    <a:pt x="215" y="185"/>
                    <a:pt x="215" y="185"/>
                    <a:pt x="215" y="185"/>
                  </a:cubicBezTo>
                  <a:cubicBezTo>
                    <a:pt x="216" y="186"/>
                    <a:pt x="216" y="187"/>
                    <a:pt x="216" y="187"/>
                  </a:cubicBezTo>
                  <a:cubicBezTo>
                    <a:pt x="216" y="187"/>
                    <a:pt x="217" y="188"/>
                    <a:pt x="217" y="188"/>
                  </a:cubicBezTo>
                  <a:cubicBezTo>
                    <a:pt x="217" y="189"/>
                    <a:pt x="218" y="189"/>
                    <a:pt x="218" y="190"/>
                  </a:cubicBezTo>
                  <a:cubicBezTo>
                    <a:pt x="219" y="192"/>
                    <a:pt x="219" y="194"/>
                    <a:pt x="220" y="196"/>
                  </a:cubicBezTo>
                  <a:cubicBezTo>
                    <a:pt x="221" y="197"/>
                    <a:pt x="221" y="198"/>
                    <a:pt x="222" y="199"/>
                  </a:cubicBezTo>
                  <a:cubicBezTo>
                    <a:pt x="223" y="201"/>
                    <a:pt x="224" y="201"/>
                    <a:pt x="226" y="202"/>
                  </a:cubicBezTo>
                  <a:cubicBezTo>
                    <a:pt x="229" y="203"/>
                    <a:pt x="232" y="203"/>
                    <a:pt x="235" y="205"/>
                  </a:cubicBezTo>
                  <a:cubicBezTo>
                    <a:pt x="235" y="206"/>
                    <a:pt x="236" y="206"/>
                    <a:pt x="236" y="206"/>
                  </a:cubicBezTo>
                  <a:cubicBezTo>
                    <a:pt x="237" y="207"/>
                    <a:pt x="237" y="207"/>
                    <a:pt x="237" y="208"/>
                  </a:cubicBezTo>
                  <a:cubicBezTo>
                    <a:pt x="237" y="208"/>
                    <a:pt x="237" y="208"/>
                    <a:pt x="238" y="209"/>
                  </a:cubicBezTo>
                  <a:cubicBezTo>
                    <a:pt x="238" y="209"/>
                    <a:pt x="237" y="210"/>
                    <a:pt x="237" y="210"/>
                  </a:cubicBezTo>
                  <a:cubicBezTo>
                    <a:pt x="237" y="210"/>
                    <a:pt x="237" y="210"/>
                    <a:pt x="237" y="210"/>
                  </a:cubicBezTo>
                  <a:cubicBezTo>
                    <a:pt x="237" y="211"/>
                    <a:pt x="237" y="211"/>
                    <a:pt x="236" y="211"/>
                  </a:cubicBezTo>
                  <a:cubicBezTo>
                    <a:pt x="237" y="211"/>
                    <a:pt x="237" y="211"/>
                    <a:pt x="237" y="211"/>
                  </a:cubicBezTo>
                  <a:cubicBezTo>
                    <a:pt x="237" y="211"/>
                    <a:pt x="238" y="211"/>
                    <a:pt x="239" y="212"/>
                  </a:cubicBezTo>
                  <a:cubicBezTo>
                    <a:pt x="239" y="212"/>
                    <a:pt x="239" y="212"/>
                    <a:pt x="239" y="212"/>
                  </a:cubicBezTo>
                  <a:cubicBezTo>
                    <a:pt x="240" y="211"/>
                    <a:pt x="240" y="211"/>
                    <a:pt x="240" y="211"/>
                  </a:cubicBezTo>
                  <a:cubicBezTo>
                    <a:pt x="240" y="211"/>
                    <a:pt x="240" y="211"/>
                    <a:pt x="241" y="211"/>
                  </a:cubicBezTo>
                  <a:cubicBezTo>
                    <a:pt x="241" y="211"/>
                    <a:pt x="241" y="211"/>
                    <a:pt x="241" y="211"/>
                  </a:cubicBezTo>
                  <a:cubicBezTo>
                    <a:pt x="241" y="211"/>
                    <a:pt x="242" y="211"/>
                    <a:pt x="242" y="212"/>
                  </a:cubicBezTo>
                  <a:cubicBezTo>
                    <a:pt x="242" y="212"/>
                    <a:pt x="242" y="212"/>
                    <a:pt x="242" y="212"/>
                  </a:cubicBezTo>
                  <a:cubicBezTo>
                    <a:pt x="243" y="213"/>
                    <a:pt x="243" y="213"/>
                    <a:pt x="243" y="213"/>
                  </a:cubicBezTo>
                  <a:cubicBezTo>
                    <a:pt x="243" y="213"/>
                    <a:pt x="243" y="213"/>
                    <a:pt x="243" y="213"/>
                  </a:cubicBezTo>
                  <a:cubicBezTo>
                    <a:pt x="243" y="213"/>
                    <a:pt x="243" y="213"/>
                    <a:pt x="243" y="213"/>
                  </a:cubicBezTo>
                  <a:cubicBezTo>
                    <a:pt x="244" y="213"/>
                    <a:pt x="244" y="213"/>
                    <a:pt x="244" y="213"/>
                  </a:cubicBezTo>
                  <a:cubicBezTo>
                    <a:pt x="244" y="212"/>
                    <a:pt x="243" y="211"/>
                    <a:pt x="242" y="211"/>
                  </a:cubicBezTo>
                  <a:cubicBezTo>
                    <a:pt x="241" y="210"/>
                    <a:pt x="241" y="209"/>
                    <a:pt x="240" y="208"/>
                  </a:cubicBezTo>
                  <a:cubicBezTo>
                    <a:pt x="239" y="208"/>
                    <a:pt x="239" y="207"/>
                    <a:pt x="238" y="207"/>
                  </a:cubicBezTo>
                  <a:cubicBezTo>
                    <a:pt x="237" y="206"/>
                    <a:pt x="236" y="206"/>
                    <a:pt x="236" y="205"/>
                  </a:cubicBezTo>
                  <a:cubicBezTo>
                    <a:pt x="236" y="205"/>
                    <a:pt x="235" y="205"/>
                    <a:pt x="234" y="204"/>
                  </a:cubicBezTo>
                  <a:cubicBezTo>
                    <a:pt x="234" y="203"/>
                    <a:pt x="234" y="203"/>
                    <a:pt x="233" y="202"/>
                  </a:cubicBezTo>
                  <a:cubicBezTo>
                    <a:pt x="233" y="201"/>
                    <a:pt x="232" y="200"/>
                    <a:pt x="232" y="200"/>
                  </a:cubicBezTo>
                  <a:cubicBezTo>
                    <a:pt x="231" y="199"/>
                    <a:pt x="230" y="198"/>
                    <a:pt x="230" y="197"/>
                  </a:cubicBezTo>
                  <a:cubicBezTo>
                    <a:pt x="228" y="194"/>
                    <a:pt x="226" y="190"/>
                    <a:pt x="224" y="187"/>
                  </a:cubicBezTo>
                  <a:cubicBezTo>
                    <a:pt x="224" y="185"/>
                    <a:pt x="222" y="184"/>
                    <a:pt x="222" y="182"/>
                  </a:cubicBezTo>
                  <a:cubicBezTo>
                    <a:pt x="221" y="181"/>
                    <a:pt x="220" y="179"/>
                    <a:pt x="220" y="177"/>
                  </a:cubicBezTo>
                  <a:cubicBezTo>
                    <a:pt x="219" y="177"/>
                    <a:pt x="219" y="176"/>
                    <a:pt x="219" y="175"/>
                  </a:cubicBezTo>
                  <a:cubicBezTo>
                    <a:pt x="219" y="173"/>
                    <a:pt x="219" y="172"/>
                    <a:pt x="218" y="172"/>
                  </a:cubicBezTo>
                  <a:cubicBezTo>
                    <a:pt x="218" y="169"/>
                    <a:pt x="217" y="167"/>
                    <a:pt x="216" y="165"/>
                  </a:cubicBezTo>
                  <a:cubicBezTo>
                    <a:pt x="215" y="164"/>
                    <a:pt x="215" y="163"/>
                    <a:pt x="214" y="162"/>
                  </a:cubicBezTo>
                  <a:cubicBezTo>
                    <a:pt x="213" y="161"/>
                    <a:pt x="213" y="160"/>
                    <a:pt x="213" y="159"/>
                  </a:cubicBezTo>
                  <a:cubicBezTo>
                    <a:pt x="213" y="159"/>
                    <a:pt x="213" y="159"/>
                    <a:pt x="213" y="159"/>
                  </a:cubicBezTo>
                  <a:cubicBezTo>
                    <a:pt x="213" y="157"/>
                    <a:pt x="214" y="156"/>
                    <a:pt x="214" y="156"/>
                  </a:cubicBezTo>
                  <a:cubicBezTo>
                    <a:pt x="213" y="155"/>
                    <a:pt x="213" y="155"/>
                    <a:pt x="213" y="155"/>
                  </a:cubicBezTo>
                  <a:cubicBezTo>
                    <a:pt x="213" y="154"/>
                    <a:pt x="213" y="154"/>
                    <a:pt x="213" y="154"/>
                  </a:cubicBezTo>
                  <a:cubicBezTo>
                    <a:pt x="213" y="154"/>
                    <a:pt x="214" y="153"/>
                    <a:pt x="214" y="153"/>
                  </a:cubicBezTo>
                  <a:cubicBezTo>
                    <a:pt x="214" y="153"/>
                    <a:pt x="214" y="153"/>
                    <a:pt x="214" y="153"/>
                  </a:cubicBezTo>
                  <a:cubicBezTo>
                    <a:pt x="215" y="152"/>
                    <a:pt x="215" y="152"/>
                    <a:pt x="215" y="152"/>
                  </a:cubicBezTo>
                  <a:cubicBezTo>
                    <a:pt x="215" y="152"/>
                    <a:pt x="215" y="151"/>
                    <a:pt x="215" y="151"/>
                  </a:cubicBezTo>
                  <a:cubicBezTo>
                    <a:pt x="215" y="150"/>
                    <a:pt x="215" y="149"/>
                    <a:pt x="215" y="148"/>
                  </a:cubicBezTo>
                  <a:cubicBezTo>
                    <a:pt x="215" y="147"/>
                    <a:pt x="215" y="147"/>
                    <a:pt x="215" y="147"/>
                  </a:cubicBezTo>
                  <a:cubicBezTo>
                    <a:pt x="215" y="147"/>
                    <a:pt x="215" y="147"/>
                    <a:pt x="215" y="147"/>
                  </a:cubicBezTo>
                  <a:cubicBezTo>
                    <a:pt x="215" y="146"/>
                    <a:pt x="216" y="145"/>
                    <a:pt x="216" y="145"/>
                  </a:cubicBezTo>
                  <a:cubicBezTo>
                    <a:pt x="215" y="144"/>
                    <a:pt x="215" y="144"/>
                    <a:pt x="215" y="144"/>
                  </a:cubicBezTo>
                  <a:cubicBezTo>
                    <a:pt x="215" y="144"/>
                    <a:pt x="215" y="144"/>
                    <a:pt x="215" y="144"/>
                  </a:cubicBezTo>
                  <a:cubicBezTo>
                    <a:pt x="215" y="143"/>
                    <a:pt x="215" y="143"/>
                    <a:pt x="215" y="143"/>
                  </a:cubicBezTo>
                  <a:cubicBezTo>
                    <a:pt x="215" y="143"/>
                    <a:pt x="215" y="143"/>
                    <a:pt x="214" y="143"/>
                  </a:cubicBezTo>
                  <a:cubicBezTo>
                    <a:pt x="214" y="142"/>
                    <a:pt x="212" y="142"/>
                    <a:pt x="212" y="140"/>
                  </a:cubicBezTo>
                  <a:cubicBezTo>
                    <a:pt x="212" y="139"/>
                    <a:pt x="212" y="139"/>
                    <a:pt x="212" y="139"/>
                  </a:cubicBezTo>
                  <a:cubicBezTo>
                    <a:pt x="212" y="139"/>
                    <a:pt x="212" y="139"/>
                    <a:pt x="212" y="138"/>
                  </a:cubicBezTo>
                  <a:cubicBezTo>
                    <a:pt x="213" y="138"/>
                    <a:pt x="213" y="138"/>
                    <a:pt x="213" y="138"/>
                  </a:cubicBezTo>
                  <a:cubicBezTo>
                    <a:pt x="213" y="137"/>
                    <a:pt x="214" y="137"/>
                    <a:pt x="214" y="136"/>
                  </a:cubicBezTo>
                  <a:cubicBezTo>
                    <a:pt x="214" y="136"/>
                    <a:pt x="214" y="136"/>
                    <a:pt x="214" y="136"/>
                  </a:cubicBezTo>
                  <a:cubicBezTo>
                    <a:pt x="214" y="135"/>
                    <a:pt x="214" y="135"/>
                    <a:pt x="214" y="134"/>
                  </a:cubicBezTo>
                  <a:cubicBezTo>
                    <a:pt x="214" y="133"/>
                    <a:pt x="214" y="133"/>
                    <a:pt x="214" y="132"/>
                  </a:cubicBezTo>
                  <a:cubicBezTo>
                    <a:pt x="215" y="131"/>
                    <a:pt x="216" y="131"/>
                    <a:pt x="216" y="130"/>
                  </a:cubicBezTo>
                  <a:cubicBezTo>
                    <a:pt x="217" y="130"/>
                    <a:pt x="218" y="130"/>
                    <a:pt x="219" y="130"/>
                  </a:cubicBezTo>
                  <a:cubicBezTo>
                    <a:pt x="219" y="130"/>
                    <a:pt x="220" y="130"/>
                    <a:pt x="221" y="130"/>
                  </a:cubicBezTo>
                  <a:cubicBezTo>
                    <a:pt x="222" y="129"/>
                    <a:pt x="223" y="129"/>
                    <a:pt x="224" y="129"/>
                  </a:cubicBezTo>
                  <a:cubicBezTo>
                    <a:pt x="224" y="129"/>
                    <a:pt x="225" y="129"/>
                    <a:pt x="225" y="129"/>
                  </a:cubicBezTo>
                  <a:cubicBezTo>
                    <a:pt x="226" y="130"/>
                    <a:pt x="226" y="130"/>
                    <a:pt x="226" y="130"/>
                  </a:cubicBezTo>
                  <a:cubicBezTo>
                    <a:pt x="226" y="130"/>
                    <a:pt x="226" y="130"/>
                    <a:pt x="226" y="130"/>
                  </a:cubicBezTo>
                  <a:cubicBezTo>
                    <a:pt x="226" y="130"/>
                    <a:pt x="227" y="130"/>
                    <a:pt x="228" y="130"/>
                  </a:cubicBezTo>
                  <a:cubicBezTo>
                    <a:pt x="229" y="130"/>
                    <a:pt x="229" y="130"/>
                    <a:pt x="230" y="130"/>
                  </a:cubicBezTo>
                  <a:cubicBezTo>
                    <a:pt x="231" y="130"/>
                    <a:pt x="232" y="131"/>
                    <a:pt x="232" y="131"/>
                  </a:cubicBezTo>
                  <a:cubicBezTo>
                    <a:pt x="232" y="132"/>
                    <a:pt x="233" y="132"/>
                    <a:pt x="233" y="133"/>
                  </a:cubicBezTo>
                  <a:cubicBezTo>
                    <a:pt x="233" y="133"/>
                    <a:pt x="234" y="133"/>
                    <a:pt x="234" y="133"/>
                  </a:cubicBezTo>
                  <a:cubicBezTo>
                    <a:pt x="235" y="134"/>
                    <a:pt x="236" y="134"/>
                    <a:pt x="236" y="134"/>
                  </a:cubicBezTo>
                  <a:cubicBezTo>
                    <a:pt x="238" y="134"/>
                    <a:pt x="239" y="134"/>
                    <a:pt x="240" y="134"/>
                  </a:cubicBezTo>
                  <a:cubicBezTo>
                    <a:pt x="240" y="134"/>
                    <a:pt x="240" y="134"/>
                    <a:pt x="240" y="134"/>
                  </a:cubicBezTo>
                  <a:cubicBezTo>
                    <a:pt x="240" y="134"/>
                    <a:pt x="240" y="134"/>
                    <a:pt x="240" y="134"/>
                  </a:cubicBezTo>
                  <a:cubicBezTo>
                    <a:pt x="241" y="134"/>
                    <a:pt x="242" y="134"/>
                    <a:pt x="243" y="134"/>
                  </a:cubicBezTo>
                  <a:cubicBezTo>
                    <a:pt x="244" y="134"/>
                    <a:pt x="245" y="134"/>
                    <a:pt x="246" y="134"/>
                  </a:cubicBezTo>
                  <a:cubicBezTo>
                    <a:pt x="247" y="134"/>
                    <a:pt x="247" y="134"/>
                    <a:pt x="248" y="134"/>
                  </a:cubicBezTo>
                  <a:cubicBezTo>
                    <a:pt x="249" y="134"/>
                    <a:pt x="249" y="134"/>
                    <a:pt x="250" y="134"/>
                  </a:cubicBezTo>
                  <a:cubicBezTo>
                    <a:pt x="250" y="134"/>
                    <a:pt x="251" y="135"/>
                    <a:pt x="251" y="135"/>
                  </a:cubicBezTo>
                  <a:cubicBezTo>
                    <a:pt x="253" y="137"/>
                    <a:pt x="253" y="138"/>
                    <a:pt x="255" y="139"/>
                  </a:cubicBezTo>
                  <a:cubicBezTo>
                    <a:pt x="257" y="139"/>
                    <a:pt x="259" y="139"/>
                    <a:pt x="261" y="140"/>
                  </a:cubicBezTo>
                  <a:cubicBezTo>
                    <a:pt x="261" y="140"/>
                    <a:pt x="262" y="140"/>
                    <a:pt x="262" y="140"/>
                  </a:cubicBezTo>
                  <a:cubicBezTo>
                    <a:pt x="262" y="140"/>
                    <a:pt x="262" y="140"/>
                    <a:pt x="261" y="139"/>
                  </a:cubicBezTo>
                  <a:cubicBezTo>
                    <a:pt x="261" y="139"/>
                    <a:pt x="261" y="138"/>
                    <a:pt x="261" y="138"/>
                  </a:cubicBezTo>
                  <a:cubicBezTo>
                    <a:pt x="261" y="137"/>
                    <a:pt x="261" y="137"/>
                    <a:pt x="261" y="136"/>
                  </a:cubicBezTo>
                  <a:cubicBezTo>
                    <a:pt x="261" y="136"/>
                    <a:pt x="261" y="136"/>
                    <a:pt x="261" y="136"/>
                  </a:cubicBezTo>
                  <a:cubicBezTo>
                    <a:pt x="262" y="135"/>
                    <a:pt x="261" y="135"/>
                    <a:pt x="262" y="134"/>
                  </a:cubicBezTo>
                  <a:cubicBezTo>
                    <a:pt x="262" y="133"/>
                    <a:pt x="262" y="132"/>
                    <a:pt x="262" y="132"/>
                  </a:cubicBezTo>
                  <a:cubicBezTo>
                    <a:pt x="262" y="132"/>
                    <a:pt x="262" y="132"/>
                    <a:pt x="262" y="132"/>
                  </a:cubicBezTo>
                  <a:cubicBezTo>
                    <a:pt x="262" y="131"/>
                    <a:pt x="262" y="130"/>
                    <a:pt x="261" y="129"/>
                  </a:cubicBezTo>
                  <a:cubicBezTo>
                    <a:pt x="261" y="128"/>
                    <a:pt x="261" y="128"/>
                    <a:pt x="261" y="128"/>
                  </a:cubicBezTo>
                  <a:cubicBezTo>
                    <a:pt x="261" y="127"/>
                    <a:pt x="261" y="127"/>
                    <a:pt x="261" y="127"/>
                  </a:cubicBezTo>
                  <a:cubicBezTo>
                    <a:pt x="261" y="127"/>
                    <a:pt x="261" y="127"/>
                    <a:pt x="261" y="127"/>
                  </a:cubicBezTo>
                  <a:cubicBezTo>
                    <a:pt x="260" y="127"/>
                    <a:pt x="260" y="127"/>
                    <a:pt x="259" y="127"/>
                  </a:cubicBezTo>
                  <a:cubicBezTo>
                    <a:pt x="258" y="127"/>
                    <a:pt x="258" y="126"/>
                    <a:pt x="257" y="126"/>
                  </a:cubicBezTo>
                  <a:cubicBezTo>
                    <a:pt x="255" y="126"/>
                    <a:pt x="254" y="125"/>
                    <a:pt x="252" y="125"/>
                  </a:cubicBezTo>
                  <a:cubicBezTo>
                    <a:pt x="252" y="125"/>
                    <a:pt x="251" y="125"/>
                    <a:pt x="250" y="124"/>
                  </a:cubicBezTo>
                  <a:cubicBezTo>
                    <a:pt x="250" y="124"/>
                    <a:pt x="250" y="124"/>
                    <a:pt x="250" y="124"/>
                  </a:cubicBezTo>
                  <a:cubicBezTo>
                    <a:pt x="250" y="123"/>
                    <a:pt x="250" y="123"/>
                    <a:pt x="250" y="123"/>
                  </a:cubicBezTo>
                  <a:cubicBezTo>
                    <a:pt x="249" y="123"/>
                    <a:pt x="249" y="123"/>
                    <a:pt x="248" y="123"/>
                  </a:cubicBezTo>
                  <a:cubicBezTo>
                    <a:pt x="248" y="122"/>
                    <a:pt x="247" y="122"/>
                    <a:pt x="247" y="122"/>
                  </a:cubicBezTo>
                  <a:cubicBezTo>
                    <a:pt x="246" y="122"/>
                    <a:pt x="245" y="122"/>
                    <a:pt x="244" y="122"/>
                  </a:cubicBezTo>
                  <a:cubicBezTo>
                    <a:pt x="244" y="122"/>
                    <a:pt x="244" y="122"/>
                    <a:pt x="244" y="122"/>
                  </a:cubicBezTo>
                  <a:cubicBezTo>
                    <a:pt x="243" y="122"/>
                    <a:pt x="243" y="122"/>
                    <a:pt x="243" y="122"/>
                  </a:cubicBezTo>
                  <a:cubicBezTo>
                    <a:pt x="243" y="122"/>
                    <a:pt x="242" y="122"/>
                    <a:pt x="242" y="121"/>
                  </a:cubicBezTo>
                  <a:cubicBezTo>
                    <a:pt x="241" y="121"/>
                    <a:pt x="241" y="121"/>
                    <a:pt x="241" y="121"/>
                  </a:cubicBezTo>
                  <a:cubicBezTo>
                    <a:pt x="241" y="121"/>
                    <a:pt x="241" y="121"/>
                    <a:pt x="241" y="121"/>
                  </a:cubicBezTo>
                  <a:cubicBezTo>
                    <a:pt x="240" y="120"/>
                    <a:pt x="240" y="120"/>
                    <a:pt x="240" y="120"/>
                  </a:cubicBezTo>
                  <a:cubicBezTo>
                    <a:pt x="239" y="120"/>
                    <a:pt x="239" y="120"/>
                    <a:pt x="239" y="120"/>
                  </a:cubicBezTo>
                  <a:cubicBezTo>
                    <a:pt x="239" y="118"/>
                    <a:pt x="239" y="118"/>
                    <a:pt x="239" y="118"/>
                  </a:cubicBezTo>
                  <a:cubicBezTo>
                    <a:pt x="238" y="118"/>
                    <a:pt x="238" y="118"/>
                    <a:pt x="238" y="118"/>
                  </a:cubicBezTo>
                  <a:cubicBezTo>
                    <a:pt x="238" y="117"/>
                    <a:pt x="238" y="117"/>
                    <a:pt x="238" y="117"/>
                  </a:cubicBezTo>
                  <a:cubicBezTo>
                    <a:pt x="237" y="117"/>
                    <a:pt x="237" y="117"/>
                    <a:pt x="237" y="117"/>
                  </a:cubicBezTo>
                  <a:cubicBezTo>
                    <a:pt x="237" y="116"/>
                    <a:pt x="237" y="116"/>
                    <a:pt x="237" y="116"/>
                  </a:cubicBezTo>
                  <a:cubicBezTo>
                    <a:pt x="237" y="116"/>
                    <a:pt x="236" y="116"/>
                    <a:pt x="236" y="116"/>
                  </a:cubicBezTo>
                  <a:cubicBezTo>
                    <a:pt x="235" y="116"/>
                    <a:pt x="235" y="116"/>
                    <a:pt x="234" y="115"/>
                  </a:cubicBezTo>
                  <a:cubicBezTo>
                    <a:pt x="233" y="114"/>
                    <a:pt x="233" y="113"/>
                    <a:pt x="233" y="113"/>
                  </a:cubicBezTo>
                  <a:cubicBezTo>
                    <a:pt x="233" y="112"/>
                    <a:pt x="233" y="112"/>
                    <a:pt x="233" y="111"/>
                  </a:cubicBezTo>
                  <a:cubicBezTo>
                    <a:pt x="233" y="110"/>
                    <a:pt x="233" y="110"/>
                    <a:pt x="233" y="110"/>
                  </a:cubicBezTo>
                  <a:cubicBezTo>
                    <a:pt x="233" y="110"/>
                    <a:pt x="233" y="110"/>
                    <a:pt x="233" y="110"/>
                  </a:cubicBezTo>
                  <a:cubicBezTo>
                    <a:pt x="234" y="109"/>
                    <a:pt x="234" y="109"/>
                    <a:pt x="234" y="109"/>
                  </a:cubicBezTo>
                  <a:cubicBezTo>
                    <a:pt x="235" y="109"/>
                    <a:pt x="235" y="109"/>
                    <a:pt x="235" y="109"/>
                  </a:cubicBezTo>
                  <a:cubicBezTo>
                    <a:pt x="236" y="108"/>
                    <a:pt x="236" y="108"/>
                    <a:pt x="236" y="108"/>
                  </a:cubicBezTo>
                  <a:cubicBezTo>
                    <a:pt x="236" y="108"/>
                    <a:pt x="237" y="108"/>
                    <a:pt x="237" y="108"/>
                  </a:cubicBezTo>
                  <a:cubicBezTo>
                    <a:pt x="237" y="108"/>
                    <a:pt x="237" y="108"/>
                    <a:pt x="237" y="108"/>
                  </a:cubicBezTo>
                  <a:cubicBezTo>
                    <a:pt x="237" y="108"/>
                    <a:pt x="237" y="108"/>
                    <a:pt x="238" y="108"/>
                  </a:cubicBezTo>
                  <a:cubicBezTo>
                    <a:pt x="238" y="108"/>
                    <a:pt x="237" y="107"/>
                    <a:pt x="237" y="107"/>
                  </a:cubicBezTo>
                  <a:cubicBezTo>
                    <a:pt x="237" y="107"/>
                    <a:pt x="237" y="107"/>
                    <a:pt x="237" y="107"/>
                  </a:cubicBezTo>
                  <a:cubicBezTo>
                    <a:pt x="238" y="107"/>
                    <a:pt x="238" y="107"/>
                    <a:pt x="238" y="107"/>
                  </a:cubicBezTo>
                  <a:cubicBezTo>
                    <a:pt x="238" y="106"/>
                    <a:pt x="238" y="105"/>
                    <a:pt x="239" y="105"/>
                  </a:cubicBezTo>
                  <a:cubicBezTo>
                    <a:pt x="240" y="104"/>
                    <a:pt x="240" y="103"/>
                    <a:pt x="242" y="103"/>
                  </a:cubicBezTo>
                  <a:cubicBezTo>
                    <a:pt x="243" y="103"/>
                    <a:pt x="244" y="102"/>
                    <a:pt x="245" y="102"/>
                  </a:cubicBezTo>
                  <a:cubicBezTo>
                    <a:pt x="247" y="102"/>
                    <a:pt x="249" y="101"/>
                    <a:pt x="250" y="100"/>
                  </a:cubicBezTo>
                  <a:cubicBezTo>
                    <a:pt x="251" y="100"/>
                    <a:pt x="252" y="99"/>
                    <a:pt x="252" y="99"/>
                  </a:cubicBezTo>
                  <a:cubicBezTo>
                    <a:pt x="253" y="99"/>
                    <a:pt x="254" y="99"/>
                    <a:pt x="254" y="98"/>
                  </a:cubicBezTo>
                  <a:cubicBezTo>
                    <a:pt x="254" y="98"/>
                    <a:pt x="255" y="97"/>
                    <a:pt x="256" y="96"/>
                  </a:cubicBezTo>
                  <a:cubicBezTo>
                    <a:pt x="257" y="96"/>
                    <a:pt x="257" y="96"/>
                    <a:pt x="257" y="96"/>
                  </a:cubicBezTo>
                  <a:cubicBezTo>
                    <a:pt x="257" y="96"/>
                    <a:pt x="257" y="96"/>
                    <a:pt x="257" y="96"/>
                  </a:cubicBezTo>
                  <a:cubicBezTo>
                    <a:pt x="257" y="96"/>
                    <a:pt x="257" y="96"/>
                    <a:pt x="257" y="96"/>
                  </a:cubicBezTo>
                  <a:cubicBezTo>
                    <a:pt x="257" y="96"/>
                    <a:pt x="257" y="96"/>
                    <a:pt x="257" y="96"/>
                  </a:cubicBezTo>
                  <a:cubicBezTo>
                    <a:pt x="257" y="95"/>
                    <a:pt x="258" y="95"/>
                    <a:pt x="258" y="95"/>
                  </a:cubicBezTo>
                  <a:cubicBezTo>
                    <a:pt x="259" y="95"/>
                    <a:pt x="259" y="94"/>
                    <a:pt x="260" y="94"/>
                  </a:cubicBezTo>
                  <a:cubicBezTo>
                    <a:pt x="260" y="94"/>
                    <a:pt x="260" y="94"/>
                    <a:pt x="260" y="94"/>
                  </a:cubicBezTo>
                  <a:cubicBezTo>
                    <a:pt x="260" y="94"/>
                    <a:pt x="260" y="95"/>
                    <a:pt x="261" y="95"/>
                  </a:cubicBezTo>
                  <a:cubicBezTo>
                    <a:pt x="261" y="95"/>
                    <a:pt x="261" y="95"/>
                    <a:pt x="261" y="95"/>
                  </a:cubicBezTo>
                  <a:cubicBezTo>
                    <a:pt x="261" y="95"/>
                    <a:pt x="261" y="95"/>
                    <a:pt x="261" y="95"/>
                  </a:cubicBezTo>
                  <a:cubicBezTo>
                    <a:pt x="261" y="95"/>
                    <a:pt x="261" y="95"/>
                    <a:pt x="261" y="95"/>
                  </a:cubicBezTo>
                  <a:cubicBezTo>
                    <a:pt x="261" y="94"/>
                    <a:pt x="261" y="94"/>
                    <a:pt x="261" y="94"/>
                  </a:cubicBezTo>
                  <a:cubicBezTo>
                    <a:pt x="262" y="94"/>
                    <a:pt x="262" y="94"/>
                    <a:pt x="262" y="94"/>
                  </a:cubicBezTo>
                  <a:cubicBezTo>
                    <a:pt x="262" y="94"/>
                    <a:pt x="262" y="94"/>
                    <a:pt x="262" y="94"/>
                  </a:cubicBezTo>
                  <a:cubicBezTo>
                    <a:pt x="262" y="93"/>
                    <a:pt x="262" y="93"/>
                    <a:pt x="262" y="93"/>
                  </a:cubicBezTo>
                  <a:cubicBezTo>
                    <a:pt x="262" y="93"/>
                    <a:pt x="262" y="92"/>
                    <a:pt x="262" y="92"/>
                  </a:cubicBezTo>
                  <a:cubicBezTo>
                    <a:pt x="262" y="92"/>
                    <a:pt x="262" y="92"/>
                    <a:pt x="262" y="92"/>
                  </a:cubicBezTo>
                  <a:cubicBezTo>
                    <a:pt x="262" y="91"/>
                    <a:pt x="262" y="91"/>
                    <a:pt x="262" y="91"/>
                  </a:cubicBezTo>
                  <a:cubicBezTo>
                    <a:pt x="262" y="91"/>
                    <a:pt x="262" y="91"/>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89"/>
                    <a:pt x="262" y="89"/>
                  </a:cubicBezTo>
                  <a:cubicBezTo>
                    <a:pt x="262" y="89"/>
                    <a:pt x="262" y="89"/>
                    <a:pt x="262" y="89"/>
                  </a:cubicBezTo>
                  <a:cubicBezTo>
                    <a:pt x="263" y="88"/>
                    <a:pt x="262" y="87"/>
                    <a:pt x="263" y="87"/>
                  </a:cubicBezTo>
                  <a:cubicBezTo>
                    <a:pt x="263" y="86"/>
                    <a:pt x="263" y="85"/>
                    <a:pt x="264" y="83"/>
                  </a:cubicBezTo>
                  <a:cubicBezTo>
                    <a:pt x="264" y="83"/>
                    <a:pt x="264" y="83"/>
                    <a:pt x="264" y="83"/>
                  </a:cubicBezTo>
                  <a:cubicBezTo>
                    <a:pt x="264" y="83"/>
                    <a:pt x="264" y="83"/>
                    <a:pt x="264" y="83"/>
                  </a:cubicBezTo>
                  <a:cubicBezTo>
                    <a:pt x="263" y="83"/>
                    <a:pt x="263" y="83"/>
                    <a:pt x="263" y="83"/>
                  </a:cubicBezTo>
                  <a:cubicBezTo>
                    <a:pt x="263" y="82"/>
                    <a:pt x="263" y="82"/>
                    <a:pt x="263" y="82"/>
                  </a:cubicBezTo>
                  <a:cubicBezTo>
                    <a:pt x="263" y="81"/>
                    <a:pt x="264" y="81"/>
                    <a:pt x="264" y="80"/>
                  </a:cubicBezTo>
                  <a:cubicBezTo>
                    <a:pt x="264" y="80"/>
                    <a:pt x="265" y="80"/>
                    <a:pt x="265" y="79"/>
                  </a:cubicBezTo>
                  <a:cubicBezTo>
                    <a:pt x="265" y="79"/>
                    <a:pt x="265" y="79"/>
                    <a:pt x="265" y="79"/>
                  </a:cubicBezTo>
                  <a:cubicBezTo>
                    <a:pt x="265" y="79"/>
                    <a:pt x="265" y="79"/>
                    <a:pt x="265" y="78"/>
                  </a:cubicBezTo>
                  <a:cubicBezTo>
                    <a:pt x="265" y="78"/>
                    <a:pt x="265" y="77"/>
                    <a:pt x="265" y="77"/>
                  </a:cubicBezTo>
                  <a:cubicBezTo>
                    <a:pt x="265" y="76"/>
                    <a:pt x="265" y="76"/>
                    <a:pt x="266" y="75"/>
                  </a:cubicBezTo>
                  <a:cubicBezTo>
                    <a:pt x="266" y="75"/>
                    <a:pt x="266" y="75"/>
                    <a:pt x="266" y="75"/>
                  </a:cubicBezTo>
                  <a:cubicBezTo>
                    <a:pt x="266" y="75"/>
                    <a:pt x="265" y="75"/>
                    <a:pt x="265" y="74"/>
                  </a:cubicBezTo>
                  <a:cubicBezTo>
                    <a:pt x="265" y="74"/>
                    <a:pt x="265" y="74"/>
                    <a:pt x="265" y="74"/>
                  </a:cubicBezTo>
                  <a:cubicBezTo>
                    <a:pt x="264" y="74"/>
                    <a:pt x="264" y="74"/>
                    <a:pt x="264" y="74"/>
                  </a:cubicBezTo>
                  <a:cubicBezTo>
                    <a:pt x="264" y="74"/>
                    <a:pt x="264" y="74"/>
                    <a:pt x="264" y="74"/>
                  </a:cubicBezTo>
                  <a:cubicBezTo>
                    <a:pt x="264" y="74"/>
                    <a:pt x="263" y="73"/>
                    <a:pt x="263" y="73"/>
                  </a:cubicBezTo>
                  <a:cubicBezTo>
                    <a:pt x="262" y="73"/>
                    <a:pt x="262" y="72"/>
                    <a:pt x="262" y="72"/>
                  </a:cubicBezTo>
                  <a:cubicBezTo>
                    <a:pt x="262" y="71"/>
                    <a:pt x="262" y="71"/>
                    <a:pt x="262" y="71"/>
                  </a:cubicBezTo>
                  <a:cubicBezTo>
                    <a:pt x="262" y="70"/>
                    <a:pt x="262" y="70"/>
                    <a:pt x="262" y="70"/>
                  </a:cubicBezTo>
                  <a:cubicBezTo>
                    <a:pt x="262" y="70"/>
                    <a:pt x="262" y="70"/>
                    <a:pt x="262" y="70"/>
                  </a:cubicBezTo>
                  <a:cubicBezTo>
                    <a:pt x="262" y="69"/>
                    <a:pt x="262" y="69"/>
                    <a:pt x="262" y="69"/>
                  </a:cubicBezTo>
                  <a:cubicBezTo>
                    <a:pt x="262" y="69"/>
                    <a:pt x="262" y="69"/>
                    <a:pt x="262" y="69"/>
                  </a:cubicBezTo>
                  <a:cubicBezTo>
                    <a:pt x="262" y="68"/>
                    <a:pt x="262" y="68"/>
                    <a:pt x="262" y="68"/>
                  </a:cubicBezTo>
                  <a:cubicBezTo>
                    <a:pt x="262" y="67"/>
                    <a:pt x="263" y="67"/>
                    <a:pt x="263" y="66"/>
                  </a:cubicBezTo>
                  <a:cubicBezTo>
                    <a:pt x="263" y="66"/>
                    <a:pt x="264" y="66"/>
                    <a:pt x="264" y="66"/>
                  </a:cubicBezTo>
                  <a:cubicBezTo>
                    <a:pt x="264" y="65"/>
                    <a:pt x="264" y="65"/>
                    <a:pt x="264" y="65"/>
                  </a:cubicBezTo>
                  <a:cubicBezTo>
                    <a:pt x="264" y="65"/>
                    <a:pt x="264" y="65"/>
                    <a:pt x="264" y="65"/>
                  </a:cubicBezTo>
                  <a:cubicBezTo>
                    <a:pt x="264" y="65"/>
                    <a:pt x="264" y="65"/>
                    <a:pt x="264" y="65"/>
                  </a:cubicBezTo>
                  <a:cubicBezTo>
                    <a:pt x="264" y="65"/>
                    <a:pt x="263" y="64"/>
                    <a:pt x="263" y="64"/>
                  </a:cubicBezTo>
                  <a:cubicBezTo>
                    <a:pt x="262" y="64"/>
                    <a:pt x="262" y="64"/>
                    <a:pt x="262" y="64"/>
                  </a:cubicBezTo>
                  <a:cubicBezTo>
                    <a:pt x="261" y="64"/>
                    <a:pt x="261" y="64"/>
                    <a:pt x="261" y="64"/>
                  </a:cubicBezTo>
                  <a:cubicBezTo>
                    <a:pt x="261" y="64"/>
                    <a:pt x="260" y="64"/>
                    <a:pt x="260" y="64"/>
                  </a:cubicBezTo>
                  <a:cubicBezTo>
                    <a:pt x="260" y="64"/>
                    <a:pt x="259" y="65"/>
                    <a:pt x="258" y="65"/>
                  </a:cubicBezTo>
                  <a:cubicBezTo>
                    <a:pt x="258" y="65"/>
                    <a:pt x="258" y="65"/>
                    <a:pt x="258" y="65"/>
                  </a:cubicBezTo>
                  <a:cubicBezTo>
                    <a:pt x="257" y="65"/>
                    <a:pt x="257" y="65"/>
                    <a:pt x="256" y="65"/>
                  </a:cubicBezTo>
                  <a:cubicBezTo>
                    <a:pt x="256" y="65"/>
                    <a:pt x="256" y="65"/>
                    <a:pt x="256" y="65"/>
                  </a:cubicBezTo>
                  <a:cubicBezTo>
                    <a:pt x="256" y="65"/>
                    <a:pt x="256" y="65"/>
                    <a:pt x="256" y="65"/>
                  </a:cubicBezTo>
                  <a:cubicBezTo>
                    <a:pt x="256" y="65"/>
                    <a:pt x="256" y="65"/>
                    <a:pt x="256" y="65"/>
                  </a:cubicBezTo>
                  <a:cubicBezTo>
                    <a:pt x="255" y="65"/>
                    <a:pt x="255" y="65"/>
                    <a:pt x="255" y="65"/>
                  </a:cubicBezTo>
                  <a:cubicBezTo>
                    <a:pt x="255" y="65"/>
                    <a:pt x="255" y="65"/>
                    <a:pt x="254" y="66"/>
                  </a:cubicBezTo>
                  <a:cubicBezTo>
                    <a:pt x="254" y="66"/>
                    <a:pt x="254" y="66"/>
                    <a:pt x="253" y="67"/>
                  </a:cubicBezTo>
                  <a:cubicBezTo>
                    <a:pt x="252" y="67"/>
                    <a:pt x="252" y="67"/>
                    <a:pt x="252" y="67"/>
                  </a:cubicBezTo>
                  <a:cubicBezTo>
                    <a:pt x="251" y="67"/>
                    <a:pt x="251" y="67"/>
                    <a:pt x="250" y="66"/>
                  </a:cubicBezTo>
                  <a:cubicBezTo>
                    <a:pt x="250" y="66"/>
                    <a:pt x="250" y="66"/>
                    <a:pt x="250" y="66"/>
                  </a:cubicBezTo>
                  <a:cubicBezTo>
                    <a:pt x="249" y="66"/>
                    <a:pt x="249" y="66"/>
                    <a:pt x="249" y="66"/>
                  </a:cubicBezTo>
                  <a:cubicBezTo>
                    <a:pt x="249" y="66"/>
                    <a:pt x="249" y="66"/>
                    <a:pt x="249" y="66"/>
                  </a:cubicBezTo>
                  <a:cubicBezTo>
                    <a:pt x="249" y="66"/>
                    <a:pt x="248" y="66"/>
                    <a:pt x="247" y="67"/>
                  </a:cubicBezTo>
                  <a:cubicBezTo>
                    <a:pt x="245" y="68"/>
                    <a:pt x="244" y="71"/>
                    <a:pt x="242" y="72"/>
                  </a:cubicBezTo>
                  <a:cubicBezTo>
                    <a:pt x="240" y="73"/>
                    <a:pt x="239" y="73"/>
                    <a:pt x="238" y="74"/>
                  </a:cubicBezTo>
                  <a:cubicBezTo>
                    <a:pt x="237" y="74"/>
                    <a:pt x="237" y="74"/>
                    <a:pt x="236" y="74"/>
                  </a:cubicBezTo>
                  <a:cubicBezTo>
                    <a:pt x="236" y="75"/>
                    <a:pt x="235" y="75"/>
                    <a:pt x="234" y="76"/>
                  </a:cubicBezTo>
                  <a:cubicBezTo>
                    <a:pt x="234" y="76"/>
                    <a:pt x="233" y="76"/>
                    <a:pt x="233" y="76"/>
                  </a:cubicBezTo>
                  <a:cubicBezTo>
                    <a:pt x="233" y="76"/>
                    <a:pt x="232" y="76"/>
                    <a:pt x="232" y="77"/>
                  </a:cubicBezTo>
                  <a:cubicBezTo>
                    <a:pt x="232" y="77"/>
                    <a:pt x="232" y="78"/>
                    <a:pt x="231" y="79"/>
                  </a:cubicBezTo>
                  <a:cubicBezTo>
                    <a:pt x="230" y="80"/>
                    <a:pt x="230" y="81"/>
                    <a:pt x="229" y="81"/>
                  </a:cubicBezTo>
                  <a:cubicBezTo>
                    <a:pt x="229" y="82"/>
                    <a:pt x="228" y="82"/>
                    <a:pt x="228" y="82"/>
                  </a:cubicBezTo>
                  <a:cubicBezTo>
                    <a:pt x="227" y="82"/>
                    <a:pt x="227" y="82"/>
                    <a:pt x="227" y="82"/>
                  </a:cubicBezTo>
                  <a:cubicBezTo>
                    <a:pt x="227" y="82"/>
                    <a:pt x="227" y="82"/>
                    <a:pt x="227" y="82"/>
                  </a:cubicBezTo>
                  <a:cubicBezTo>
                    <a:pt x="227" y="83"/>
                    <a:pt x="227" y="83"/>
                    <a:pt x="227" y="83"/>
                  </a:cubicBezTo>
                  <a:cubicBezTo>
                    <a:pt x="228" y="83"/>
                    <a:pt x="229" y="82"/>
                    <a:pt x="230" y="82"/>
                  </a:cubicBezTo>
                  <a:cubicBezTo>
                    <a:pt x="230" y="82"/>
                    <a:pt x="230" y="82"/>
                    <a:pt x="230" y="82"/>
                  </a:cubicBezTo>
                  <a:cubicBezTo>
                    <a:pt x="230" y="82"/>
                    <a:pt x="231" y="82"/>
                    <a:pt x="232" y="83"/>
                  </a:cubicBezTo>
                  <a:cubicBezTo>
                    <a:pt x="232" y="83"/>
                    <a:pt x="233" y="83"/>
                    <a:pt x="233" y="84"/>
                  </a:cubicBezTo>
                  <a:cubicBezTo>
                    <a:pt x="234" y="85"/>
                    <a:pt x="234" y="85"/>
                    <a:pt x="234" y="86"/>
                  </a:cubicBezTo>
                  <a:cubicBezTo>
                    <a:pt x="234" y="88"/>
                    <a:pt x="234" y="88"/>
                    <a:pt x="233" y="89"/>
                  </a:cubicBezTo>
                  <a:cubicBezTo>
                    <a:pt x="233" y="91"/>
                    <a:pt x="231" y="92"/>
                    <a:pt x="230" y="92"/>
                  </a:cubicBezTo>
                  <a:cubicBezTo>
                    <a:pt x="229" y="92"/>
                    <a:pt x="227" y="92"/>
                    <a:pt x="226" y="92"/>
                  </a:cubicBezTo>
                  <a:cubicBezTo>
                    <a:pt x="226" y="92"/>
                    <a:pt x="226" y="92"/>
                    <a:pt x="226" y="92"/>
                  </a:cubicBezTo>
                  <a:cubicBezTo>
                    <a:pt x="225" y="92"/>
                    <a:pt x="225" y="92"/>
                    <a:pt x="225" y="92"/>
                  </a:cubicBezTo>
                  <a:cubicBezTo>
                    <a:pt x="224" y="92"/>
                    <a:pt x="224" y="92"/>
                    <a:pt x="223" y="93"/>
                  </a:cubicBezTo>
                  <a:cubicBezTo>
                    <a:pt x="222" y="93"/>
                    <a:pt x="222" y="93"/>
                    <a:pt x="221" y="94"/>
                  </a:cubicBezTo>
                  <a:cubicBezTo>
                    <a:pt x="220" y="95"/>
                    <a:pt x="220" y="95"/>
                    <a:pt x="219" y="96"/>
                  </a:cubicBezTo>
                  <a:cubicBezTo>
                    <a:pt x="219" y="97"/>
                    <a:pt x="218" y="98"/>
                    <a:pt x="218" y="99"/>
                  </a:cubicBezTo>
                  <a:cubicBezTo>
                    <a:pt x="218" y="100"/>
                    <a:pt x="217" y="101"/>
                    <a:pt x="217" y="101"/>
                  </a:cubicBezTo>
                  <a:cubicBezTo>
                    <a:pt x="217" y="102"/>
                    <a:pt x="218" y="103"/>
                    <a:pt x="218" y="104"/>
                  </a:cubicBezTo>
                  <a:cubicBezTo>
                    <a:pt x="218" y="105"/>
                    <a:pt x="218" y="105"/>
                    <a:pt x="218" y="105"/>
                  </a:cubicBezTo>
                  <a:cubicBezTo>
                    <a:pt x="218" y="105"/>
                    <a:pt x="218" y="106"/>
                    <a:pt x="217" y="107"/>
                  </a:cubicBezTo>
                  <a:cubicBezTo>
                    <a:pt x="216" y="107"/>
                    <a:pt x="216" y="107"/>
                    <a:pt x="215" y="108"/>
                  </a:cubicBezTo>
                  <a:cubicBezTo>
                    <a:pt x="215" y="108"/>
                    <a:pt x="215" y="109"/>
                    <a:pt x="214" y="110"/>
                  </a:cubicBezTo>
                  <a:cubicBezTo>
                    <a:pt x="214" y="110"/>
                    <a:pt x="213" y="110"/>
                    <a:pt x="213" y="110"/>
                  </a:cubicBezTo>
                  <a:cubicBezTo>
                    <a:pt x="213" y="111"/>
                    <a:pt x="212" y="111"/>
                    <a:pt x="211" y="111"/>
                  </a:cubicBezTo>
                  <a:cubicBezTo>
                    <a:pt x="211" y="111"/>
                    <a:pt x="211" y="111"/>
                    <a:pt x="211" y="111"/>
                  </a:cubicBezTo>
                  <a:cubicBezTo>
                    <a:pt x="210" y="111"/>
                    <a:pt x="210" y="111"/>
                    <a:pt x="209" y="111"/>
                  </a:cubicBezTo>
                  <a:cubicBezTo>
                    <a:pt x="209" y="111"/>
                    <a:pt x="209" y="111"/>
                    <a:pt x="209" y="111"/>
                  </a:cubicBezTo>
                  <a:cubicBezTo>
                    <a:pt x="209" y="111"/>
                    <a:pt x="209" y="111"/>
                    <a:pt x="209" y="111"/>
                  </a:cubicBezTo>
                  <a:cubicBezTo>
                    <a:pt x="209" y="111"/>
                    <a:pt x="208" y="111"/>
                    <a:pt x="208" y="111"/>
                  </a:cubicBezTo>
                  <a:cubicBezTo>
                    <a:pt x="207" y="111"/>
                    <a:pt x="207" y="111"/>
                    <a:pt x="207" y="111"/>
                  </a:cubicBezTo>
                  <a:cubicBezTo>
                    <a:pt x="207" y="111"/>
                    <a:pt x="207" y="111"/>
                    <a:pt x="207" y="111"/>
                  </a:cubicBezTo>
                  <a:cubicBezTo>
                    <a:pt x="206" y="111"/>
                    <a:pt x="206" y="110"/>
                    <a:pt x="205" y="110"/>
                  </a:cubicBezTo>
                  <a:cubicBezTo>
                    <a:pt x="205" y="110"/>
                    <a:pt x="204" y="109"/>
                    <a:pt x="204" y="108"/>
                  </a:cubicBezTo>
                  <a:cubicBezTo>
                    <a:pt x="204" y="108"/>
                    <a:pt x="204" y="108"/>
                    <a:pt x="204" y="108"/>
                  </a:cubicBezTo>
                  <a:cubicBezTo>
                    <a:pt x="203" y="108"/>
                    <a:pt x="203" y="108"/>
                    <a:pt x="203" y="108"/>
                  </a:cubicBezTo>
                  <a:cubicBezTo>
                    <a:pt x="203" y="107"/>
                    <a:pt x="203" y="107"/>
                    <a:pt x="203" y="107"/>
                  </a:cubicBezTo>
                  <a:cubicBezTo>
                    <a:pt x="203" y="107"/>
                    <a:pt x="203" y="107"/>
                    <a:pt x="203" y="107"/>
                  </a:cubicBezTo>
                  <a:cubicBezTo>
                    <a:pt x="202" y="107"/>
                    <a:pt x="202" y="107"/>
                    <a:pt x="202" y="107"/>
                  </a:cubicBezTo>
                  <a:cubicBezTo>
                    <a:pt x="202" y="107"/>
                    <a:pt x="202" y="107"/>
                    <a:pt x="202" y="107"/>
                  </a:cubicBezTo>
                  <a:cubicBezTo>
                    <a:pt x="201" y="107"/>
                    <a:pt x="201" y="107"/>
                    <a:pt x="201" y="107"/>
                  </a:cubicBezTo>
                  <a:cubicBezTo>
                    <a:pt x="200" y="107"/>
                    <a:pt x="200" y="107"/>
                    <a:pt x="200" y="107"/>
                  </a:cubicBezTo>
                  <a:cubicBezTo>
                    <a:pt x="200" y="107"/>
                    <a:pt x="200" y="107"/>
                    <a:pt x="200" y="107"/>
                  </a:cubicBezTo>
                  <a:cubicBezTo>
                    <a:pt x="200" y="107"/>
                    <a:pt x="199" y="106"/>
                    <a:pt x="199" y="106"/>
                  </a:cubicBezTo>
                  <a:cubicBezTo>
                    <a:pt x="199" y="105"/>
                    <a:pt x="199" y="105"/>
                    <a:pt x="199" y="105"/>
                  </a:cubicBezTo>
                  <a:cubicBezTo>
                    <a:pt x="199" y="105"/>
                    <a:pt x="199" y="105"/>
                    <a:pt x="199" y="105"/>
                  </a:cubicBezTo>
                  <a:cubicBezTo>
                    <a:pt x="198" y="105"/>
                    <a:pt x="198" y="104"/>
                    <a:pt x="198" y="104"/>
                  </a:cubicBezTo>
                  <a:cubicBezTo>
                    <a:pt x="198" y="104"/>
                    <a:pt x="198" y="104"/>
                    <a:pt x="198" y="104"/>
                  </a:cubicBezTo>
                  <a:cubicBezTo>
                    <a:pt x="198" y="103"/>
                    <a:pt x="198" y="103"/>
                    <a:pt x="198" y="103"/>
                  </a:cubicBezTo>
                  <a:cubicBezTo>
                    <a:pt x="198" y="102"/>
                    <a:pt x="198" y="101"/>
                    <a:pt x="198" y="100"/>
                  </a:cubicBezTo>
                  <a:cubicBezTo>
                    <a:pt x="198" y="100"/>
                    <a:pt x="198" y="99"/>
                    <a:pt x="199" y="98"/>
                  </a:cubicBezTo>
                  <a:cubicBezTo>
                    <a:pt x="199" y="97"/>
                    <a:pt x="200" y="97"/>
                    <a:pt x="200" y="96"/>
                  </a:cubicBezTo>
                  <a:cubicBezTo>
                    <a:pt x="200" y="96"/>
                    <a:pt x="201" y="96"/>
                    <a:pt x="201" y="96"/>
                  </a:cubicBezTo>
                  <a:cubicBezTo>
                    <a:pt x="202" y="95"/>
                    <a:pt x="202" y="95"/>
                    <a:pt x="202" y="95"/>
                  </a:cubicBezTo>
                  <a:cubicBezTo>
                    <a:pt x="203" y="95"/>
                    <a:pt x="203" y="94"/>
                    <a:pt x="204" y="94"/>
                  </a:cubicBezTo>
                  <a:cubicBezTo>
                    <a:pt x="204" y="94"/>
                    <a:pt x="205" y="94"/>
                    <a:pt x="205" y="94"/>
                  </a:cubicBezTo>
                  <a:cubicBezTo>
                    <a:pt x="206" y="94"/>
                    <a:pt x="206" y="94"/>
                    <a:pt x="206" y="94"/>
                  </a:cubicBezTo>
                  <a:cubicBezTo>
                    <a:pt x="206" y="94"/>
                    <a:pt x="206" y="93"/>
                    <a:pt x="206" y="93"/>
                  </a:cubicBezTo>
                  <a:cubicBezTo>
                    <a:pt x="207" y="92"/>
                    <a:pt x="208" y="91"/>
                    <a:pt x="209" y="90"/>
                  </a:cubicBezTo>
                  <a:cubicBezTo>
                    <a:pt x="209" y="90"/>
                    <a:pt x="209" y="89"/>
                    <a:pt x="209" y="89"/>
                  </a:cubicBezTo>
                  <a:cubicBezTo>
                    <a:pt x="210" y="88"/>
                    <a:pt x="210" y="88"/>
                    <a:pt x="210"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2" y="88"/>
                    <a:pt x="213" y="88"/>
                    <a:pt x="214" y="88"/>
                  </a:cubicBezTo>
                  <a:cubicBezTo>
                    <a:pt x="214" y="88"/>
                    <a:pt x="214" y="88"/>
                    <a:pt x="214" y="88"/>
                  </a:cubicBezTo>
                  <a:cubicBezTo>
                    <a:pt x="214" y="88"/>
                    <a:pt x="214" y="88"/>
                    <a:pt x="214" y="88"/>
                  </a:cubicBezTo>
                  <a:cubicBezTo>
                    <a:pt x="214" y="88"/>
                    <a:pt x="214" y="88"/>
                    <a:pt x="214" y="88"/>
                  </a:cubicBezTo>
                  <a:cubicBezTo>
                    <a:pt x="214" y="88"/>
                    <a:pt x="214" y="88"/>
                    <a:pt x="214" y="88"/>
                  </a:cubicBezTo>
                  <a:cubicBezTo>
                    <a:pt x="214" y="87"/>
                    <a:pt x="214" y="87"/>
                    <a:pt x="214" y="87"/>
                  </a:cubicBezTo>
                  <a:cubicBezTo>
                    <a:pt x="214" y="87"/>
                    <a:pt x="214" y="87"/>
                    <a:pt x="214" y="87"/>
                  </a:cubicBezTo>
                  <a:cubicBezTo>
                    <a:pt x="214" y="86"/>
                    <a:pt x="214" y="85"/>
                    <a:pt x="215" y="84"/>
                  </a:cubicBezTo>
                  <a:cubicBezTo>
                    <a:pt x="216" y="83"/>
                    <a:pt x="216" y="82"/>
                    <a:pt x="217" y="82"/>
                  </a:cubicBezTo>
                  <a:cubicBezTo>
                    <a:pt x="218" y="81"/>
                    <a:pt x="218" y="81"/>
                    <a:pt x="218" y="81"/>
                  </a:cubicBezTo>
                  <a:cubicBezTo>
                    <a:pt x="219" y="80"/>
                    <a:pt x="219" y="80"/>
                    <a:pt x="220" y="79"/>
                  </a:cubicBezTo>
                  <a:cubicBezTo>
                    <a:pt x="220" y="79"/>
                    <a:pt x="220" y="79"/>
                    <a:pt x="220" y="79"/>
                  </a:cubicBezTo>
                  <a:cubicBezTo>
                    <a:pt x="220" y="79"/>
                    <a:pt x="220" y="79"/>
                    <a:pt x="220" y="79"/>
                  </a:cubicBezTo>
                  <a:cubicBezTo>
                    <a:pt x="219" y="78"/>
                    <a:pt x="219" y="78"/>
                    <a:pt x="219" y="77"/>
                  </a:cubicBezTo>
                  <a:cubicBezTo>
                    <a:pt x="219" y="77"/>
                    <a:pt x="219" y="77"/>
                    <a:pt x="219" y="77"/>
                  </a:cubicBezTo>
                  <a:cubicBezTo>
                    <a:pt x="219" y="76"/>
                    <a:pt x="219" y="76"/>
                    <a:pt x="219" y="76"/>
                  </a:cubicBezTo>
                  <a:cubicBezTo>
                    <a:pt x="219" y="76"/>
                    <a:pt x="219" y="76"/>
                    <a:pt x="219" y="76"/>
                  </a:cubicBezTo>
                  <a:cubicBezTo>
                    <a:pt x="219" y="75"/>
                    <a:pt x="219" y="75"/>
                    <a:pt x="219" y="75"/>
                  </a:cubicBezTo>
                  <a:cubicBezTo>
                    <a:pt x="219" y="75"/>
                    <a:pt x="219" y="75"/>
                    <a:pt x="219" y="75"/>
                  </a:cubicBezTo>
                  <a:cubicBezTo>
                    <a:pt x="219" y="75"/>
                    <a:pt x="219" y="75"/>
                    <a:pt x="219" y="75"/>
                  </a:cubicBezTo>
                  <a:cubicBezTo>
                    <a:pt x="219" y="75"/>
                    <a:pt x="219" y="75"/>
                    <a:pt x="219" y="75"/>
                  </a:cubicBezTo>
                  <a:cubicBezTo>
                    <a:pt x="220" y="74"/>
                    <a:pt x="220" y="74"/>
                    <a:pt x="221" y="74"/>
                  </a:cubicBezTo>
                  <a:cubicBezTo>
                    <a:pt x="221" y="74"/>
                    <a:pt x="221" y="74"/>
                    <a:pt x="221" y="74"/>
                  </a:cubicBezTo>
                  <a:cubicBezTo>
                    <a:pt x="221" y="73"/>
                    <a:pt x="221" y="73"/>
                    <a:pt x="221" y="73"/>
                  </a:cubicBezTo>
                  <a:cubicBezTo>
                    <a:pt x="221" y="73"/>
                    <a:pt x="221" y="72"/>
                    <a:pt x="221" y="71"/>
                  </a:cubicBezTo>
                  <a:cubicBezTo>
                    <a:pt x="221" y="71"/>
                    <a:pt x="221" y="71"/>
                    <a:pt x="221" y="71"/>
                  </a:cubicBezTo>
                  <a:cubicBezTo>
                    <a:pt x="221" y="71"/>
                    <a:pt x="221" y="71"/>
                    <a:pt x="221" y="71"/>
                  </a:cubicBezTo>
                  <a:cubicBezTo>
                    <a:pt x="221" y="70"/>
                    <a:pt x="221" y="70"/>
                    <a:pt x="221" y="70"/>
                  </a:cubicBezTo>
                  <a:cubicBezTo>
                    <a:pt x="221" y="69"/>
                    <a:pt x="221" y="69"/>
                    <a:pt x="221" y="69"/>
                  </a:cubicBezTo>
                  <a:cubicBezTo>
                    <a:pt x="221" y="68"/>
                    <a:pt x="221" y="68"/>
                    <a:pt x="221" y="68"/>
                  </a:cubicBezTo>
                  <a:cubicBezTo>
                    <a:pt x="221" y="68"/>
                    <a:pt x="221" y="68"/>
                    <a:pt x="221" y="68"/>
                  </a:cubicBezTo>
                  <a:cubicBezTo>
                    <a:pt x="222" y="68"/>
                    <a:pt x="222" y="68"/>
                    <a:pt x="222" y="68"/>
                  </a:cubicBezTo>
                  <a:cubicBezTo>
                    <a:pt x="222" y="68"/>
                    <a:pt x="222" y="67"/>
                    <a:pt x="222" y="67"/>
                  </a:cubicBezTo>
                  <a:cubicBezTo>
                    <a:pt x="222" y="66"/>
                    <a:pt x="222" y="66"/>
                    <a:pt x="222" y="66"/>
                  </a:cubicBezTo>
                  <a:cubicBezTo>
                    <a:pt x="222" y="66"/>
                    <a:pt x="222" y="66"/>
                    <a:pt x="222" y="66"/>
                  </a:cubicBezTo>
                  <a:cubicBezTo>
                    <a:pt x="222" y="65"/>
                    <a:pt x="222" y="65"/>
                    <a:pt x="222" y="65"/>
                  </a:cubicBezTo>
                  <a:cubicBezTo>
                    <a:pt x="222" y="64"/>
                    <a:pt x="222" y="64"/>
                    <a:pt x="221" y="64"/>
                  </a:cubicBezTo>
                  <a:cubicBezTo>
                    <a:pt x="221" y="63"/>
                    <a:pt x="220" y="62"/>
                    <a:pt x="220" y="61"/>
                  </a:cubicBezTo>
                  <a:cubicBezTo>
                    <a:pt x="220" y="61"/>
                    <a:pt x="220" y="61"/>
                    <a:pt x="220" y="61"/>
                  </a:cubicBezTo>
                  <a:cubicBezTo>
                    <a:pt x="220" y="60"/>
                    <a:pt x="220" y="60"/>
                    <a:pt x="220" y="60"/>
                  </a:cubicBezTo>
                  <a:cubicBezTo>
                    <a:pt x="220" y="60"/>
                    <a:pt x="220" y="60"/>
                    <a:pt x="220" y="60"/>
                  </a:cubicBezTo>
                  <a:cubicBezTo>
                    <a:pt x="220" y="59"/>
                    <a:pt x="220" y="59"/>
                    <a:pt x="220" y="59"/>
                  </a:cubicBezTo>
                  <a:cubicBezTo>
                    <a:pt x="220" y="59"/>
                    <a:pt x="220" y="58"/>
                    <a:pt x="220" y="58"/>
                  </a:cubicBezTo>
                  <a:cubicBezTo>
                    <a:pt x="220" y="57"/>
                    <a:pt x="221" y="57"/>
                    <a:pt x="221" y="57"/>
                  </a:cubicBezTo>
                  <a:cubicBezTo>
                    <a:pt x="221" y="57"/>
                    <a:pt x="221" y="57"/>
                    <a:pt x="221" y="57"/>
                  </a:cubicBezTo>
                  <a:cubicBezTo>
                    <a:pt x="221" y="56"/>
                    <a:pt x="221" y="56"/>
                    <a:pt x="221" y="56"/>
                  </a:cubicBezTo>
                  <a:cubicBezTo>
                    <a:pt x="221" y="56"/>
                    <a:pt x="221" y="56"/>
                    <a:pt x="221" y="56"/>
                  </a:cubicBezTo>
                  <a:cubicBezTo>
                    <a:pt x="221" y="55"/>
                    <a:pt x="221" y="55"/>
                    <a:pt x="221" y="55"/>
                  </a:cubicBezTo>
                  <a:cubicBezTo>
                    <a:pt x="221" y="55"/>
                    <a:pt x="220" y="54"/>
                    <a:pt x="220" y="53"/>
                  </a:cubicBezTo>
                  <a:cubicBezTo>
                    <a:pt x="219" y="52"/>
                    <a:pt x="218" y="51"/>
                    <a:pt x="217" y="51"/>
                  </a:cubicBezTo>
                  <a:cubicBezTo>
                    <a:pt x="217" y="50"/>
                    <a:pt x="217" y="50"/>
                    <a:pt x="217" y="50"/>
                  </a:cubicBezTo>
                  <a:cubicBezTo>
                    <a:pt x="217" y="50"/>
                    <a:pt x="217" y="50"/>
                    <a:pt x="217" y="50"/>
                  </a:cubicBezTo>
                  <a:cubicBezTo>
                    <a:pt x="217" y="50"/>
                    <a:pt x="217" y="50"/>
                    <a:pt x="217" y="50"/>
                  </a:cubicBezTo>
                  <a:cubicBezTo>
                    <a:pt x="217" y="50"/>
                    <a:pt x="217" y="50"/>
                    <a:pt x="217" y="50"/>
                  </a:cubicBezTo>
                  <a:cubicBezTo>
                    <a:pt x="216" y="50"/>
                    <a:pt x="216" y="50"/>
                    <a:pt x="216" y="50"/>
                  </a:cubicBezTo>
                  <a:cubicBezTo>
                    <a:pt x="216" y="50"/>
                    <a:pt x="216" y="51"/>
                    <a:pt x="215" y="51"/>
                  </a:cubicBezTo>
                  <a:cubicBezTo>
                    <a:pt x="215" y="51"/>
                    <a:pt x="215" y="51"/>
                    <a:pt x="215" y="51"/>
                  </a:cubicBezTo>
                  <a:cubicBezTo>
                    <a:pt x="215" y="51"/>
                    <a:pt x="215" y="51"/>
                    <a:pt x="215" y="51"/>
                  </a:cubicBezTo>
                  <a:cubicBezTo>
                    <a:pt x="214" y="51"/>
                    <a:pt x="214" y="51"/>
                    <a:pt x="213" y="50"/>
                  </a:cubicBezTo>
                  <a:cubicBezTo>
                    <a:pt x="213" y="50"/>
                    <a:pt x="213" y="50"/>
                    <a:pt x="212" y="50"/>
                  </a:cubicBezTo>
                  <a:cubicBezTo>
                    <a:pt x="212" y="50"/>
                    <a:pt x="212" y="50"/>
                    <a:pt x="212" y="50"/>
                  </a:cubicBezTo>
                  <a:cubicBezTo>
                    <a:pt x="212" y="49"/>
                    <a:pt x="211" y="49"/>
                    <a:pt x="211" y="49"/>
                  </a:cubicBezTo>
                  <a:cubicBezTo>
                    <a:pt x="211" y="48"/>
                    <a:pt x="211" y="48"/>
                    <a:pt x="211" y="48"/>
                  </a:cubicBezTo>
                  <a:cubicBezTo>
                    <a:pt x="211" y="47"/>
                    <a:pt x="211" y="47"/>
                    <a:pt x="211" y="47"/>
                  </a:cubicBezTo>
                  <a:cubicBezTo>
                    <a:pt x="211" y="47"/>
                    <a:pt x="211" y="47"/>
                    <a:pt x="211" y="47"/>
                  </a:cubicBezTo>
                  <a:cubicBezTo>
                    <a:pt x="211" y="47"/>
                    <a:pt x="211" y="46"/>
                    <a:pt x="211" y="45"/>
                  </a:cubicBezTo>
                  <a:cubicBezTo>
                    <a:pt x="211" y="44"/>
                    <a:pt x="211" y="43"/>
                    <a:pt x="211" y="42"/>
                  </a:cubicBezTo>
                  <a:cubicBezTo>
                    <a:pt x="211" y="41"/>
                    <a:pt x="212" y="40"/>
                    <a:pt x="213" y="39"/>
                  </a:cubicBezTo>
                  <a:cubicBezTo>
                    <a:pt x="214" y="39"/>
                    <a:pt x="214" y="39"/>
                    <a:pt x="215" y="39"/>
                  </a:cubicBezTo>
                  <a:cubicBezTo>
                    <a:pt x="215" y="39"/>
                    <a:pt x="215" y="39"/>
                    <a:pt x="215" y="39"/>
                  </a:cubicBezTo>
                  <a:cubicBezTo>
                    <a:pt x="216" y="39"/>
                    <a:pt x="216" y="39"/>
                    <a:pt x="216" y="38"/>
                  </a:cubicBezTo>
                  <a:cubicBezTo>
                    <a:pt x="217" y="38"/>
                    <a:pt x="217" y="38"/>
                    <a:pt x="217" y="37"/>
                  </a:cubicBezTo>
                  <a:cubicBezTo>
                    <a:pt x="217" y="36"/>
                    <a:pt x="217" y="36"/>
                    <a:pt x="217" y="35"/>
                  </a:cubicBezTo>
                  <a:cubicBezTo>
                    <a:pt x="218" y="33"/>
                    <a:pt x="219" y="32"/>
                    <a:pt x="220" y="32"/>
                  </a:cubicBezTo>
                  <a:cubicBezTo>
                    <a:pt x="221" y="31"/>
                    <a:pt x="221" y="31"/>
                    <a:pt x="222" y="30"/>
                  </a:cubicBezTo>
                  <a:cubicBezTo>
                    <a:pt x="222" y="29"/>
                    <a:pt x="223" y="29"/>
                    <a:pt x="223" y="28"/>
                  </a:cubicBezTo>
                  <a:cubicBezTo>
                    <a:pt x="223" y="28"/>
                    <a:pt x="223" y="27"/>
                    <a:pt x="223" y="27"/>
                  </a:cubicBezTo>
                  <a:moveTo>
                    <a:pt x="256" y="0"/>
                  </a:moveTo>
                  <a:cubicBezTo>
                    <a:pt x="256" y="0"/>
                    <a:pt x="256" y="0"/>
                    <a:pt x="255" y="1"/>
                  </a:cubicBezTo>
                  <a:cubicBezTo>
                    <a:pt x="255" y="1"/>
                    <a:pt x="254" y="2"/>
                    <a:pt x="254" y="2"/>
                  </a:cubicBezTo>
                  <a:cubicBezTo>
                    <a:pt x="253" y="2"/>
                    <a:pt x="253" y="2"/>
                    <a:pt x="252" y="2"/>
                  </a:cubicBezTo>
                  <a:cubicBezTo>
                    <a:pt x="251" y="2"/>
                    <a:pt x="251" y="2"/>
                    <a:pt x="251" y="2"/>
                  </a:cubicBezTo>
                  <a:cubicBezTo>
                    <a:pt x="251" y="2"/>
                    <a:pt x="251" y="2"/>
                    <a:pt x="251" y="2"/>
                  </a:cubicBezTo>
                  <a:cubicBezTo>
                    <a:pt x="251" y="2"/>
                    <a:pt x="250" y="2"/>
                    <a:pt x="250" y="2"/>
                  </a:cubicBezTo>
                  <a:cubicBezTo>
                    <a:pt x="249" y="2"/>
                    <a:pt x="248" y="4"/>
                    <a:pt x="247" y="5"/>
                  </a:cubicBezTo>
                  <a:cubicBezTo>
                    <a:pt x="246" y="7"/>
                    <a:pt x="244" y="7"/>
                    <a:pt x="243" y="8"/>
                  </a:cubicBezTo>
                  <a:cubicBezTo>
                    <a:pt x="242" y="9"/>
                    <a:pt x="240" y="10"/>
                    <a:pt x="240" y="11"/>
                  </a:cubicBezTo>
                  <a:cubicBezTo>
                    <a:pt x="239" y="12"/>
                    <a:pt x="239" y="14"/>
                    <a:pt x="239" y="16"/>
                  </a:cubicBezTo>
                  <a:cubicBezTo>
                    <a:pt x="237" y="17"/>
                    <a:pt x="236" y="18"/>
                    <a:pt x="235" y="19"/>
                  </a:cubicBezTo>
                  <a:cubicBezTo>
                    <a:pt x="234" y="20"/>
                    <a:pt x="234" y="20"/>
                    <a:pt x="234" y="20"/>
                  </a:cubicBezTo>
                  <a:cubicBezTo>
                    <a:pt x="234" y="20"/>
                    <a:pt x="235" y="20"/>
                    <a:pt x="235" y="20"/>
                  </a:cubicBezTo>
                  <a:cubicBezTo>
                    <a:pt x="236" y="21"/>
                    <a:pt x="236" y="21"/>
                    <a:pt x="237" y="22"/>
                  </a:cubicBezTo>
                  <a:cubicBezTo>
                    <a:pt x="237" y="22"/>
                    <a:pt x="237" y="23"/>
                    <a:pt x="237" y="24"/>
                  </a:cubicBezTo>
                  <a:cubicBezTo>
                    <a:pt x="237" y="24"/>
                    <a:pt x="237" y="24"/>
                    <a:pt x="237" y="24"/>
                  </a:cubicBezTo>
                  <a:cubicBezTo>
                    <a:pt x="237" y="25"/>
                    <a:pt x="237" y="26"/>
                    <a:pt x="237" y="27"/>
                  </a:cubicBezTo>
                  <a:cubicBezTo>
                    <a:pt x="237" y="29"/>
                    <a:pt x="237" y="30"/>
                    <a:pt x="238" y="31"/>
                  </a:cubicBezTo>
                  <a:cubicBezTo>
                    <a:pt x="238" y="31"/>
                    <a:pt x="238" y="32"/>
                    <a:pt x="239" y="32"/>
                  </a:cubicBezTo>
                  <a:cubicBezTo>
                    <a:pt x="239" y="33"/>
                    <a:pt x="240" y="33"/>
                    <a:pt x="239" y="34"/>
                  </a:cubicBezTo>
                  <a:cubicBezTo>
                    <a:pt x="239" y="34"/>
                    <a:pt x="239" y="34"/>
                    <a:pt x="239" y="34"/>
                  </a:cubicBezTo>
                  <a:cubicBezTo>
                    <a:pt x="239" y="34"/>
                    <a:pt x="239" y="34"/>
                    <a:pt x="239" y="34"/>
                  </a:cubicBezTo>
                  <a:cubicBezTo>
                    <a:pt x="239" y="35"/>
                    <a:pt x="239" y="35"/>
                    <a:pt x="239" y="36"/>
                  </a:cubicBezTo>
                  <a:cubicBezTo>
                    <a:pt x="239" y="36"/>
                    <a:pt x="239" y="36"/>
                    <a:pt x="239" y="36"/>
                  </a:cubicBezTo>
                  <a:cubicBezTo>
                    <a:pt x="240" y="36"/>
                    <a:pt x="240" y="35"/>
                    <a:pt x="240" y="35"/>
                  </a:cubicBezTo>
                  <a:cubicBezTo>
                    <a:pt x="240" y="35"/>
                    <a:pt x="240" y="35"/>
                    <a:pt x="240" y="35"/>
                  </a:cubicBezTo>
                  <a:cubicBezTo>
                    <a:pt x="242" y="33"/>
                    <a:pt x="244" y="33"/>
                    <a:pt x="246" y="33"/>
                  </a:cubicBezTo>
                  <a:cubicBezTo>
                    <a:pt x="246" y="33"/>
                    <a:pt x="246" y="33"/>
                    <a:pt x="247" y="33"/>
                  </a:cubicBezTo>
                  <a:cubicBezTo>
                    <a:pt x="247" y="33"/>
                    <a:pt x="248" y="33"/>
                    <a:pt x="248" y="33"/>
                  </a:cubicBezTo>
                  <a:cubicBezTo>
                    <a:pt x="248" y="33"/>
                    <a:pt x="249" y="33"/>
                    <a:pt x="249" y="33"/>
                  </a:cubicBezTo>
                  <a:cubicBezTo>
                    <a:pt x="250" y="33"/>
                    <a:pt x="251" y="33"/>
                    <a:pt x="251" y="33"/>
                  </a:cubicBezTo>
                  <a:cubicBezTo>
                    <a:pt x="251" y="33"/>
                    <a:pt x="252" y="33"/>
                    <a:pt x="252" y="32"/>
                  </a:cubicBezTo>
                  <a:cubicBezTo>
                    <a:pt x="253" y="31"/>
                    <a:pt x="254" y="31"/>
                    <a:pt x="255" y="30"/>
                  </a:cubicBezTo>
                  <a:cubicBezTo>
                    <a:pt x="256" y="29"/>
                    <a:pt x="256" y="28"/>
                    <a:pt x="257" y="26"/>
                  </a:cubicBezTo>
                  <a:cubicBezTo>
                    <a:pt x="257" y="25"/>
                    <a:pt x="258" y="24"/>
                    <a:pt x="258" y="23"/>
                  </a:cubicBezTo>
                  <a:cubicBezTo>
                    <a:pt x="259" y="21"/>
                    <a:pt x="259" y="20"/>
                    <a:pt x="259" y="19"/>
                  </a:cubicBezTo>
                  <a:cubicBezTo>
                    <a:pt x="259" y="18"/>
                    <a:pt x="259" y="17"/>
                    <a:pt x="259" y="16"/>
                  </a:cubicBezTo>
                  <a:cubicBezTo>
                    <a:pt x="260" y="13"/>
                    <a:pt x="262" y="11"/>
                    <a:pt x="263" y="9"/>
                  </a:cubicBezTo>
                  <a:cubicBezTo>
                    <a:pt x="263" y="9"/>
                    <a:pt x="263" y="9"/>
                    <a:pt x="263" y="9"/>
                  </a:cubicBezTo>
                  <a:cubicBezTo>
                    <a:pt x="263" y="8"/>
                    <a:pt x="263" y="8"/>
                    <a:pt x="262" y="7"/>
                  </a:cubicBezTo>
                  <a:cubicBezTo>
                    <a:pt x="262" y="7"/>
                    <a:pt x="261" y="6"/>
                    <a:pt x="261" y="6"/>
                  </a:cubicBezTo>
                  <a:cubicBezTo>
                    <a:pt x="260" y="5"/>
                    <a:pt x="259" y="5"/>
                    <a:pt x="258" y="4"/>
                  </a:cubicBezTo>
                  <a:cubicBezTo>
                    <a:pt x="257" y="2"/>
                    <a:pt x="257" y="1"/>
                    <a:pt x="256" y="0"/>
                  </a:cubicBezTo>
                  <a:cubicBezTo>
                    <a:pt x="256" y="0"/>
                    <a:pt x="256" y="0"/>
                    <a:pt x="256" y="0"/>
                  </a:cubicBezTo>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7" name="Freeform 42">
              <a:extLst>
                <a:ext uri="{FF2B5EF4-FFF2-40B4-BE49-F238E27FC236}">
                  <a16:creationId xmlns:a16="http://schemas.microsoft.com/office/drawing/2014/main" id="{C18668BF-DB94-310C-3AB0-8961EDD4AE71}"/>
                </a:ext>
              </a:extLst>
            </p:cNvPr>
            <p:cNvSpPr>
              <a:spLocks noEditPoints="1"/>
            </p:cNvSpPr>
            <p:nvPr/>
          </p:nvSpPr>
          <p:spPr bwMode="auto">
            <a:xfrm>
              <a:off x="5203825" y="2798763"/>
              <a:ext cx="792163" cy="781050"/>
            </a:xfrm>
            <a:custGeom>
              <a:avLst/>
              <a:gdLst>
                <a:gd name="T0" fmla="*/ 199 w 208"/>
                <a:gd name="T1" fmla="*/ 21 h 205"/>
                <a:gd name="T2" fmla="*/ 185 w 208"/>
                <a:gd name="T3" fmla="*/ 24 h 205"/>
                <a:gd name="T4" fmla="*/ 190 w 208"/>
                <a:gd name="T5" fmla="*/ 18 h 205"/>
                <a:gd name="T6" fmla="*/ 175 w 208"/>
                <a:gd name="T7" fmla="*/ 59 h 205"/>
                <a:gd name="T8" fmla="*/ 180 w 208"/>
                <a:gd name="T9" fmla="*/ 55 h 205"/>
                <a:gd name="T10" fmla="*/ 194 w 208"/>
                <a:gd name="T11" fmla="*/ 54 h 205"/>
                <a:gd name="T12" fmla="*/ 200 w 208"/>
                <a:gd name="T13" fmla="*/ 54 h 205"/>
                <a:gd name="T14" fmla="*/ 181 w 208"/>
                <a:gd name="T15" fmla="*/ 65 h 205"/>
                <a:gd name="T16" fmla="*/ 189 w 208"/>
                <a:gd name="T17" fmla="*/ 66 h 205"/>
                <a:gd name="T18" fmla="*/ 9 w 208"/>
                <a:gd name="T19" fmla="*/ 191 h 205"/>
                <a:gd name="T20" fmla="*/ 40 w 208"/>
                <a:gd name="T21" fmla="*/ 205 h 205"/>
                <a:gd name="T22" fmla="*/ 62 w 208"/>
                <a:gd name="T23" fmla="*/ 192 h 205"/>
                <a:gd name="T24" fmla="*/ 84 w 208"/>
                <a:gd name="T25" fmla="*/ 180 h 205"/>
                <a:gd name="T26" fmla="*/ 99 w 208"/>
                <a:gd name="T27" fmla="*/ 157 h 205"/>
                <a:gd name="T28" fmla="*/ 108 w 208"/>
                <a:gd name="T29" fmla="*/ 136 h 205"/>
                <a:gd name="T30" fmla="*/ 118 w 208"/>
                <a:gd name="T31" fmla="*/ 119 h 205"/>
                <a:gd name="T32" fmla="*/ 150 w 208"/>
                <a:gd name="T33" fmla="*/ 116 h 205"/>
                <a:gd name="T34" fmla="*/ 195 w 208"/>
                <a:gd name="T35" fmla="*/ 128 h 205"/>
                <a:gd name="T36" fmla="*/ 199 w 208"/>
                <a:gd name="T37" fmla="*/ 112 h 205"/>
                <a:gd name="T38" fmla="*/ 188 w 208"/>
                <a:gd name="T39" fmla="*/ 99 h 205"/>
                <a:gd name="T40" fmla="*/ 186 w 208"/>
                <a:gd name="T41" fmla="*/ 93 h 205"/>
                <a:gd name="T42" fmla="*/ 188 w 208"/>
                <a:gd name="T43" fmla="*/ 88 h 205"/>
                <a:gd name="T44" fmla="*/ 185 w 208"/>
                <a:gd name="T45" fmla="*/ 87 h 205"/>
                <a:gd name="T46" fmla="*/ 176 w 208"/>
                <a:gd name="T47" fmla="*/ 80 h 205"/>
                <a:gd name="T48" fmla="*/ 166 w 208"/>
                <a:gd name="T49" fmla="*/ 75 h 205"/>
                <a:gd name="T50" fmla="*/ 179 w 208"/>
                <a:gd name="T51" fmla="*/ 70 h 205"/>
                <a:gd name="T52" fmla="*/ 169 w 208"/>
                <a:gd name="T53" fmla="*/ 59 h 205"/>
                <a:gd name="T54" fmla="*/ 158 w 208"/>
                <a:gd name="T55" fmla="*/ 48 h 205"/>
                <a:gd name="T56" fmla="*/ 179 w 208"/>
                <a:gd name="T57" fmla="*/ 43 h 205"/>
                <a:gd name="T58" fmla="*/ 187 w 208"/>
                <a:gd name="T59" fmla="*/ 39 h 205"/>
                <a:gd name="T60" fmla="*/ 194 w 208"/>
                <a:gd name="T61" fmla="*/ 34 h 205"/>
                <a:gd name="T62" fmla="*/ 180 w 208"/>
                <a:gd name="T63" fmla="*/ 23 h 205"/>
                <a:gd name="T64" fmla="*/ 174 w 208"/>
                <a:gd name="T65" fmla="*/ 20 h 205"/>
                <a:gd name="T66" fmla="*/ 176 w 208"/>
                <a:gd name="T67" fmla="*/ 17 h 205"/>
                <a:gd name="T68" fmla="*/ 186 w 208"/>
                <a:gd name="T69" fmla="*/ 15 h 205"/>
                <a:gd name="T70" fmla="*/ 176 w 208"/>
                <a:gd name="T71" fmla="*/ 13 h 205"/>
                <a:gd name="T72" fmla="*/ 160 w 208"/>
                <a:gd name="T73" fmla="*/ 4 h 205"/>
                <a:gd name="T74" fmla="*/ 143 w 208"/>
                <a:gd name="T75" fmla="*/ 3 h 205"/>
                <a:gd name="T76" fmla="*/ 131 w 208"/>
                <a:gd name="T77" fmla="*/ 4 h 205"/>
                <a:gd name="T78" fmla="*/ 120 w 208"/>
                <a:gd name="T79" fmla="*/ 4 h 205"/>
                <a:gd name="T80" fmla="*/ 108 w 208"/>
                <a:gd name="T81" fmla="*/ 2 h 205"/>
                <a:gd name="T82" fmla="*/ 94 w 208"/>
                <a:gd name="T83" fmla="*/ 7 h 205"/>
                <a:gd name="T84" fmla="*/ 83 w 208"/>
                <a:gd name="T85" fmla="*/ 2 h 205"/>
                <a:gd name="T86" fmla="*/ 76 w 208"/>
                <a:gd name="T87" fmla="*/ 11 h 205"/>
                <a:gd name="T88" fmla="*/ 66 w 208"/>
                <a:gd name="T89" fmla="*/ 25 h 205"/>
                <a:gd name="T90" fmla="*/ 62 w 208"/>
                <a:gd name="T91" fmla="*/ 41 h 205"/>
                <a:gd name="T92" fmla="*/ 65 w 208"/>
                <a:gd name="T93" fmla="*/ 61 h 205"/>
                <a:gd name="T94" fmla="*/ 61 w 208"/>
                <a:gd name="T95" fmla="*/ 77 h 205"/>
                <a:gd name="T96" fmla="*/ 46 w 208"/>
                <a:gd name="T97" fmla="*/ 86 h 205"/>
                <a:gd name="T98" fmla="*/ 33 w 208"/>
                <a:gd name="T99" fmla="*/ 96 h 205"/>
                <a:gd name="T100" fmla="*/ 38 w 208"/>
                <a:gd name="T101" fmla="*/ 110 h 205"/>
                <a:gd name="T102" fmla="*/ 34 w 208"/>
                <a:gd name="T103" fmla="*/ 122 h 205"/>
                <a:gd name="T104" fmla="*/ 14 w 208"/>
                <a:gd name="T105" fmla="*/ 135 h 205"/>
                <a:gd name="T106" fmla="*/ 15 w 208"/>
                <a:gd name="T107" fmla="*/ 143 h 205"/>
                <a:gd name="T108" fmla="*/ 18 w 208"/>
                <a:gd name="T109" fmla="*/ 152 h 205"/>
                <a:gd name="T110" fmla="*/ 10 w 208"/>
                <a:gd name="T111" fmla="*/ 157 h 205"/>
                <a:gd name="T112" fmla="*/ 6 w 208"/>
                <a:gd name="T113" fmla="*/ 172 h 205"/>
                <a:gd name="T114" fmla="*/ 4 w 208"/>
                <a:gd name="T115" fmla="*/ 18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205">
                  <a:moveTo>
                    <a:pt x="191" y="16"/>
                  </a:moveTo>
                  <a:cubicBezTo>
                    <a:pt x="191" y="16"/>
                    <a:pt x="191" y="16"/>
                    <a:pt x="191" y="16"/>
                  </a:cubicBezTo>
                  <a:cubicBezTo>
                    <a:pt x="205" y="16"/>
                    <a:pt x="205" y="16"/>
                    <a:pt x="205" y="16"/>
                  </a:cubicBezTo>
                  <a:cubicBezTo>
                    <a:pt x="205" y="17"/>
                    <a:pt x="205" y="19"/>
                    <a:pt x="205" y="20"/>
                  </a:cubicBezTo>
                  <a:cubicBezTo>
                    <a:pt x="205" y="22"/>
                    <a:pt x="205" y="23"/>
                    <a:pt x="203" y="23"/>
                  </a:cubicBezTo>
                  <a:cubicBezTo>
                    <a:pt x="202" y="23"/>
                    <a:pt x="201" y="23"/>
                    <a:pt x="200" y="23"/>
                  </a:cubicBezTo>
                  <a:cubicBezTo>
                    <a:pt x="200" y="23"/>
                    <a:pt x="199" y="22"/>
                    <a:pt x="199" y="21"/>
                  </a:cubicBezTo>
                  <a:cubicBezTo>
                    <a:pt x="197" y="20"/>
                    <a:pt x="196" y="20"/>
                    <a:pt x="194" y="19"/>
                  </a:cubicBezTo>
                  <a:cubicBezTo>
                    <a:pt x="194" y="19"/>
                    <a:pt x="193" y="18"/>
                    <a:pt x="193" y="17"/>
                  </a:cubicBezTo>
                  <a:cubicBezTo>
                    <a:pt x="193" y="17"/>
                    <a:pt x="191" y="16"/>
                    <a:pt x="191" y="16"/>
                  </a:cubicBezTo>
                  <a:close/>
                  <a:moveTo>
                    <a:pt x="187" y="18"/>
                  </a:moveTo>
                  <a:cubicBezTo>
                    <a:pt x="186" y="19"/>
                    <a:pt x="186" y="19"/>
                    <a:pt x="186" y="19"/>
                  </a:cubicBezTo>
                  <a:cubicBezTo>
                    <a:pt x="185" y="19"/>
                    <a:pt x="185" y="20"/>
                    <a:pt x="185" y="20"/>
                  </a:cubicBezTo>
                  <a:cubicBezTo>
                    <a:pt x="185" y="21"/>
                    <a:pt x="185" y="23"/>
                    <a:pt x="185" y="24"/>
                  </a:cubicBezTo>
                  <a:cubicBezTo>
                    <a:pt x="185" y="25"/>
                    <a:pt x="186" y="25"/>
                    <a:pt x="187" y="26"/>
                  </a:cubicBezTo>
                  <a:cubicBezTo>
                    <a:pt x="188" y="26"/>
                    <a:pt x="188" y="27"/>
                    <a:pt x="189" y="28"/>
                  </a:cubicBezTo>
                  <a:cubicBezTo>
                    <a:pt x="190" y="28"/>
                    <a:pt x="191" y="28"/>
                    <a:pt x="192" y="27"/>
                  </a:cubicBezTo>
                  <a:cubicBezTo>
                    <a:pt x="193" y="26"/>
                    <a:pt x="193" y="25"/>
                    <a:pt x="193" y="24"/>
                  </a:cubicBezTo>
                  <a:cubicBezTo>
                    <a:pt x="194" y="24"/>
                    <a:pt x="195" y="23"/>
                    <a:pt x="194" y="22"/>
                  </a:cubicBezTo>
                  <a:cubicBezTo>
                    <a:pt x="194" y="21"/>
                    <a:pt x="193" y="21"/>
                    <a:pt x="192" y="20"/>
                  </a:cubicBezTo>
                  <a:cubicBezTo>
                    <a:pt x="191" y="19"/>
                    <a:pt x="191" y="18"/>
                    <a:pt x="190" y="18"/>
                  </a:cubicBezTo>
                  <a:cubicBezTo>
                    <a:pt x="189" y="17"/>
                    <a:pt x="188" y="17"/>
                    <a:pt x="187" y="18"/>
                  </a:cubicBezTo>
                  <a:close/>
                  <a:moveTo>
                    <a:pt x="164" y="51"/>
                  </a:moveTo>
                  <a:cubicBezTo>
                    <a:pt x="164" y="52"/>
                    <a:pt x="164" y="52"/>
                    <a:pt x="165" y="53"/>
                  </a:cubicBezTo>
                  <a:cubicBezTo>
                    <a:pt x="165" y="54"/>
                    <a:pt x="165" y="55"/>
                    <a:pt x="166" y="55"/>
                  </a:cubicBezTo>
                  <a:cubicBezTo>
                    <a:pt x="166" y="56"/>
                    <a:pt x="167" y="57"/>
                    <a:pt x="168" y="57"/>
                  </a:cubicBezTo>
                  <a:cubicBezTo>
                    <a:pt x="170" y="57"/>
                    <a:pt x="170" y="57"/>
                    <a:pt x="171" y="57"/>
                  </a:cubicBezTo>
                  <a:cubicBezTo>
                    <a:pt x="173" y="58"/>
                    <a:pt x="174" y="58"/>
                    <a:pt x="175" y="59"/>
                  </a:cubicBezTo>
                  <a:cubicBezTo>
                    <a:pt x="177" y="59"/>
                    <a:pt x="178" y="59"/>
                    <a:pt x="179" y="58"/>
                  </a:cubicBezTo>
                  <a:cubicBezTo>
                    <a:pt x="179" y="57"/>
                    <a:pt x="178" y="56"/>
                    <a:pt x="177" y="56"/>
                  </a:cubicBezTo>
                  <a:cubicBezTo>
                    <a:pt x="175" y="55"/>
                    <a:pt x="175" y="55"/>
                    <a:pt x="174" y="54"/>
                  </a:cubicBezTo>
                  <a:cubicBezTo>
                    <a:pt x="172" y="53"/>
                    <a:pt x="170" y="53"/>
                    <a:pt x="169" y="52"/>
                  </a:cubicBezTo>
                  <a:cubicBezTo>
                    <a:pt x="167" y="52"/>
                    <a:pt x="166" y="51"/>
                    <a:pt x="164" y="51"/>
                  </a:cubicBezTo>
                  <a:close/>
                  <a:moveTo>
                    <a:pt x="178" y="53"/>
                  </a:moveTo>
                  <a:cubicBezTo>
                    <a:pt x="178" y="54"/>
                    <a:pt x="179" y="54"/>
                    <a:pt x="180" y="55"/>
                  </a:cubicBezTo>
                  <a:cubicBezTo>
                    <a:pt x="181" y="56"/>
                    <a:pt x="181" y="57"/>
                    <a:pt x="182" y="57"/>
                  </a:cubicBezTo>
                  <a:cubicBezTo>
                    <a:pt x="183" y="58"/>
                    <a:pt x="185" y="57"/>
                    <a:pt x="185" y="56"/>
                  </a:cubicBezTo>
                  <a:cubicBezTo>
                    <a:pt x="184" y="55"/>
                    <a:pt x="183" y="54"/>
                    <a:pt x="183" y="54"/>
                  </a:cubicBezTo>
                  <a:cubicBezTo>
                    <a:pt x="182" y="53"/>
                    <a:pt x="181" y="53"/>
                    <a:pt x="180" y="53"/>
                  </a:cubicBezTo>
                  <a:cubicBezTo>
                    <a:pt x="179" y="53"/>
                    <a:pt x="178" y="53"/>
                    <a:pt x="178" y="53"/>
                  </a:cubicBezTo>
                  <a:close/>
                  <a:moveTo>
                    <a:pt x="195" y="53"/>
                  </a:moveTo>
                  <a:cubicBezTo>
                    <a:pt x="194" y="53"/>
                    <a:pt x="194" y="54"/>
                    <a:pt x="194" y="54"/>
                  </a:cubicBezTo>
                  <a:cubicBezTo>
                    <a:pt x="195" y="55"/>
                    <a:pt x="195" y="56"/>
                    <a:pt x="196" y="56"/>
                  </a:cubicBezTo>
                  <a:cubicBezTo>
                    <a:pt x="197" y="56"/>
                    <a:pt x="197" y="57"/>
                    <a:pt x="198" y="57"/>
                  </a:cubicBezTo>
                  <a:cubicBezTo>
                    <a:pt x="199" y="58"/>
                    <a:pt x="199" y="58"/>
                    <a:pt x="200" y="59"/>
                  </a:cubicBezTo>
                  <a:cubicBezTo>
                    <a:pt x="200" y="59"/>
                    <a:pt x="201" y="59"/>
                    <a:pt x="202" y="59"/>
                  </a:cubicBezTo>
                  <a:cubicBezTo>
                    <a:pt x="202" y="58"/>
                    <a:pt x="202" y="58"/>
                    <a:pt x="202" y="57"/>
                  </a:cubicBezTo>
                  <a:cubicBezTo>
                    <a:pt x="202" y="57"/>
                    <a:pt x="202" y="56"/>
                    <a:pt x="202" y="56"/>
                  </a:cubicBezTo>
                  <a:cubicBezTo>
                    <a:pt x="201" y="55"/>
                    <a:pt x="201" y="55"/>
                    <a:pt x="200" y="54"/>
                  </a:cubicBezTo>
                  <a:cubicBezTo>
                    <a:pt x="200" y="53"/>
                    <a:pt x="200" y="52"/>
                    <a:pt x="199" y="51"/>
                  </a:cubicBezTo>
                  <a:cubicBezTo>
                    <a:pt x="199" y="51"/>
                    <a:pt x="199" y="51"/>
                    <a:pt x="198" y="51"/>
                  </a:cubicBezTo>
                  <a:cubicBezTo>
                    <a:pt x="197" y="51"/>
                    <a:pt x="197" y="51"/>
                    <a:pt x="196" y="51"/>
                  </a:cubicBezTo>
                  <a:cubicBezTo>
                    <a:pt x="195" y="52"/>
                    <a:pt x="195" y="52"/>
                    <a:pt x="195" y="52"/>
                  </a:cubicBezTo>
                  <a:lnTo>
                    <a:pt x="195" y="53"/>
                  </a:lnTo>
                  <a:close/>
                  <a:moveTo>
                    <a:pt x="182" y="60"/>
                  </a:moveTo>
                  <a:cubicBezTo>
                    <a:pt x="180" y="61"/>
                    <a:pt x="180" y="63"/>
                    <a:pt x="181" y="65"/>
                  </a:cubicBezTo>
                  <a:cubicBezTo>
                    <a:pt x="182" y="66"/>
                    <a:pt x="182" y="66"/>
                    <a:pt x="183" y="67"/>
                  </a:cubicBezTo>
                  <a:cubicBezTo>
                    <a:pt x="184" y="68"/>
                    <a:pt x="184" y="68"/>
                    <a:pt x="185" y="68"/>
                  </a:cubicBezTo>
                  <a:cubicBezTo>
                    <a:pt x="186" y="69"/>
                    <a:pt x="186" y="69"/>
                    <a:pt x="186" y="69"/>
                  </a:cubicBezTo>
                  <a:cubicBezTo>
                    <a:pt x="187" y="70"/>
                    <a:pt x="187" y="72"/>
                    <a:pt x="188" y="72"/>
                  </a:cubicBezTo>
                  <a:cubicBezTo>
                    <a:pt x="189" y="71"/>
                    <a:pt x="189" y="70"/>
                    <a:pt x="189" y="69"/>
                  </a:cubicBezTo>
                  <a:cubicBezTo>
                    <a:pt x="189" y="69"/>
                    <a:pt x="189" y="68"/>
                    <a:pt x="188" y="67"/>
                  </a:cubicBezTo>
                  <a:cubicBezTo>
                    <a:pt x="188" y="67"/>
                    <a:pt x="189" y="67"/>
                    <a:pt x="189" y="66"/>
                  </a:cubicBezTo>
                  <a:cubicBezTo>
                    <a:pt x="189" y="65"/>
                    <a:pt x="190" y="64"/>
                    <a:pt x="190" y="63"/>
                  </a:cubicBezTo>
                  <a:cubicBezTo>
                    <a:pt x="190" y="62"/>
                    <a:pt x="190" y="62"/>
                    <a:pt x="189" y="61"/>
                  </a:cubicBezTo>
                  <a:cubicBezTo>
                    <a:pt x="189" y="61"/>
                    <a:pt x="188" y="60"/>
                    <a:pt x="187" y="60"/>
                  </a:cubicBezTo>
                  <a:cubicBezTo>
                    <a:pt x="186" y="60"/>
                    <a:pt x="184" y="60"/>
                    <a:pt x="182" y="60"/>
                  </a:cubicBezTo>
                  <a:close/>
                  <a:moveTo>
                    <a:pt x="4" y="186"/>
                  </a:moveTo>
                  <a:cubicBezTo>
                    <a:pt x="9" y="188"/>
                    <a:pt x="9" y="188"/>
                    <a:pt x="9" y="188"/>
                  </a:cubicBezTo>
                  <a:cubicBezTo>
                    <a:pt x="9" y="191"/>
                    <a:pt x="9" y="191"/>
                    <a:pt x="9" y="191"/>
                  </a:cubicBezTo>
                  <a:cubicBezTo>
                    <a:pt x="13" y="195"/>
                    <a:pt x="13" y="195"/>
                    <a:pt x="13" y="195"/>
                  </a:cubicBezTo>
                  <a:cubicBezTo>
                    <a:pt x="18" y="197"/>
                    <a:pt x="18" y="197"/>
                    <a:pt x="18" y="197"/>
                  </a:cubicBezTo>
                  <a:cubicBezTo>
                    <a:pt x="21" y="196"/>
                    <a:pt x="21" y="196"/>
                    <a:pt x="21" y="196"/>
                  </a:cubicBezTo>
                  <a:cubicBezTo>
                    <a:pt x="25" y="197"/>
                    <a:pt x="25" y="197"/>
                    <a:pt x="25" y="197"/>
                  </a:cubicBezTo>
                  <a:cubicBezTo>
                    <a:pt x="30" y="201"/>
                    <a:pt x="30" y="201"/>
                    <a:pt x="30" y="201"/>
                  </a:cubicBezTo>
                  <a:cubicBezTo>
                    <a:pt x="36" y="201"/>
                    <a:pt x="36" y="201"/>
                    <a:pt x="36" y="201"/>
                  </a:cubicBezTo>
                  <a:cubicBezTo>
                    <a:pt x="40" y="205"/>
                    <a:pt x="40" y="205"/>
                    <a:pt x="40" y="205"/>
                  </a:cubicBezTo>
                  <a:cubicBezTo>
                    <a:pt x="44" y="205"/>
                    <a:pt x="44" y="205"/>
                    <a:pt x="44" y="205"/>
                  </a:cubicBezTo>
                  <a:cubicBezTo>
                    <a:pt x="50" y="204"/>
                    <a:pt x="50" y="204"/>
                    <a:pt x="50" y="204"/>
                  </a:cubicBezTo>
                  <a:cubicBezTo>
                    <a:pt x="52" y="199"/>
                    <a:pt x="52" y="199"/>
                    <a:pt x="52" y="199"/>
                  </a:cubicBezTo>
                  <a:cubicBezTo>
                    <a:pt x="52" y="197"/>
                    <a:pt x="52" y="197"/>
                    <a:pt x="52" y="197"/>
                  </a:cubicBezTo>
                  <a:cubicBezTo>
                    <a:pt x="54" y="194"/>
                    <a:pt x="54" y="194"/>
                    <a:pt x="54" y="194"/>
                  </a:cubicBezTo>
                  <a:cubicBezTo>
                    <a:pt x="57" y="194"/>
                    <a:pt x="57" y="194"/>
                    <a:pt x="57" y="194"/>
                  </a:cubicBezTo>
                  <a:cubicBezTo>
                    <a:pt x="62" y="192"/>
                    <a:pt x="62" y="192"/>
                    <a:pt x="62" y="192"/>
                  </a:cubicBezTo>
                  <a:cubicBezTo>
                    <a:pt x="66" y="191"/>
                    <a:pt x="66" y="191"/>
                    <a:pt x="66" y="191"/>
                  </a:cubicBezTo>
                  <a:cubicBezTo>
                    <a:pt x="71" y="192"/>
                    <a:pt x="71" y="192"/>
                    <a:pt x="71" y="192"/>
                  </a:cubicBezTo>
                  <a:cubicBezTo>
                    <a:pt x="72" y="190"/>
                    <a:pt x="72" y="190"/>
                    <a:pt x="72" y="190"/>
                  </a:cubicBezTo>
                  <a:cubicBezTo>
                    <a:pt x="74" y="187"/>
                    <a:pt x="74" y="187"/>
                    <a:pt x="74" y="187"/>
                  </a:cubicBezTo>
                  <a:cubicBezTo>
                    <a:pt x="78" y="186"/>
                    <a:pt x="78" y="186"/>
                    <a:pt x="78" y="186"/>
                  </a:cubicBezTo>
                  <a:cubicBezTo>
                    <a:pt x="80" y="181"/>
                    <a:pt x="80" y="181"/>
                    <a:pt x="80" y="181"/>
                  </a:cubicBezTo>
                  <a:cubicBezTo>
                    <a:pt x="84" y="180"/>
                    <a:pt x="84" y="180"/>
                    <a:pt x="84" y="180"/>
                  </a:cubicBezTo>
                  <a:cubicBezTo>
                    <a:pt x="86" y="176"/>
                    <a:pt x="86" y="176"/>
                    <a:pt x="86" y="176"/>
                  </a:cubicBezTo>
                  <a:cubicBezTo>
                    <a:pt x="90" y="175"/>
                    <a:pt x="90" y="175"/>
                    <a:pt x="90" y="175"/>
                  </a:cubicBezTo>
                  <a:cubicBezTo>
                    <a:pt x="90" y="171"/>
                    <a:pt x="90" y="171"/>
                    <a:pt x="90" y="171"/>
                  </a:cubicBezTo>
                  <a:cubicBezTo>
                    <a:pt x="92" y="169"/>
                    <a:pt x="92" y="169"/>
                    <a:pt x="92" y="169"/>
                  </a:cubicBezTo>
                  <a:cubicBezTo>
                    <a:pt x="96" y="169"/>
                    <a:pt x="96" y="169"/>
                    <a:pt x="96" y="169"/>
                  </a:cubicBezTo>
                  <a:cubicBezTo>
                    <a:pt x="98" y="162"/>
                    <a:pt x="98" y="162"/>
                    <a:pt x="98" y="162"/>
                  </a:cubicBezTo>
                  <a:cubicBezTo>
                    <a:pt x="99" y="157"/>
                    <a:pt x="99" y="157"/>
                    <a:pt x="99" y="157"/>
                  </a:cubicBezTo>
                  <a:cubicBezTo>
                    <a:pt x="99" y="151"/>
                    <a:pt x="99" y="151"/>
                    <a:pt x="99" y="151"/>
                  </a:cubicBezTo>
                  <a:cubicBezTo>
                    <a:pt x="100" y="148"/>
                    <a:pt x="100" y="148"/>
                    <a:pt x="100" y="148"/>
                  </a:cubicBezTo>
                  <a:cubicBezTo>
                    <a:pt x="102" y="145"/>
                    <a:pt x="102" y="145"/>
                    <a:pt x="102" y="145"/>
                  </a:cubicBezTo>
                  <a:cubicBezTo>
                    <a:pt x="101" y="141"/>
                    <a:pt x="101" y="141"/>
                    <a:pt x="101" y="141"/>
                  </a:cubicBezTo>
                  <a:cubicBezTo>
                    <a:pt x="106" y="141"/>
                    <a:pt x="106" y="141"/>
                    <a:pt x="106" y="141"/>
                  </a:cubicBezTo>
                  <a:cubicBezTo>
                    <a:pt x="109" y="137"/>
                    <a:pt x="109" y="137"/>
                    <a:pt x="109" y="137"/>
                  </a:cubicBezTo>
                  <a:cubicBezTo>
                    <a:pt x="108" y="136"/>
                    <a:pt x="108" y="136"/>
                    <a:pt x="108" y="136"/>
                  </a:cubicBezTo>
                  <a:cubicBezTo>
                    <a:pt x="106" y="133"/>
                    <a:pt x="106" y="133"/>
                    <a:pt x="106" y="133"/>
                  </a:cubicBezTo>
                  <a:cubicBezTo>
                    <a:pt x="108" y="129"/>
                    <a:pt x="108" y="129"/>
                    <a:pt x="108" y="129"/>
                  </a:cubicBezTo>
                  <a:cubicBezTo>
                    <a:pt x="112" y="129"/>
                    <a:pt x="112" y="129"/>
                    <a:pt x="112" y="129"/>
                  </a:cubicBezTo>
                  <a:cubicBezTo>
                    <a:pt x="116" y="131"/>
                    <a:pt x="116" y="131"/>
                    <a:pt x="116" y="131"/>
                  </a:cubicBezTo>
                  <a:cubicBezTo>
                    <a:pt x="118" y="126"/>
                    <a:pt x="118" y="126"/>
                    <a:pt x="118" y="126"/>
                  </a:cubicBezTo>
                  <a:cubicBezTo>
                    <a:pt x="118" y="123"/>
                    <a:pt x="118" y="123"/>
                    <a:pt x="118" y="123"/>
                  </a:cubicBezTo>
                  <a:cubicBezTo>
                    <a:pt x="118" y="119"/>
                    <a:pt x="118" y="119"/>
                    <a:pt x="118" y="119"/>
                  </a:cubicBezTo>
                  <a:cubicBezTo>
                    <a:pt x="121" y="119"/>
                    <a:pt x="121" y="119"/>
                    <a:pt x="121" y="119"/>
                  </a:cubicBezTo>
                  <a:cubicBezTo>
                    <a:pt x="125" y="123"/>
                    <a:pt x="125" y="123"/>
                    <a:pt x="125" y="123"/>
                  </a:cubicBezTo>
                  <a:cubicBezTo>
                    <a:pt x="133" y="115"/>
                    <a:pt x="133" y="115"/>
                    <a:pt x="133" y="115"/>
                  </a:cubicBezTo>
                  <a:cubicBezTo>
                    <a:pt x="137" y="125"/>
                    <a:pt x="137" y="125"/>
                    <a:pt x="137" y="125"/>
                  </a:cubicBezTo>
                  <a:cubicBezTo>
                    <a:pt x="141" y="118"/>
                    <a:pt x="141" y="118"/>
                    <a:pt x="141" y="118"/>
                  </a:cubicBezTo>
                  <a:cubicBezTo>
                    <a:pt x="145" y="117"/>
                    <a:pt x="145" y="117"/>
                    <a:pt x="145" y="117"/>
                  </a:cubicBezTo>
                  <a:cubicBezTo>
                    <a:pt x="150" y="116"/>
                    <a:pt x="150" y="116"/>
                    <a:pt x="150" y="116"/>
                  </a:cubicBezTo>
                  <a:cubicBezTo>
                    <a:pt x="153" y="111"/>
                    <a:pt x="153" y="111"/>
                    <a:pt x="153" y="111"/>
                  </a:cubicBezTo>
                  <a:cubicBezTo>
                    <a:pt x="165" y="112"/>
                    <a:pt x="165" y="112"/>
                    <a:pt x="165" y="112"/>
                  </a:cubicBezTo>
                  <a:cubicBezTo>
                    <a:pt x="167" y="110"/>
                    <a:pt x="167" y="110"/>
                    <a:pt x="167" y="110"/>
                  </a:cubicBezTo>
                  <a:cubicBezTo>
                    <a:pt x="174" y="110"/>
                    <a:pt x="174" y="110"/>
                    <a:pt x="174" y="110"/>
                  </a:cubicBezTo>
                  <a:cubicBezTo>
                    <a:pt x="180" y="116"/>
                    <a:pt x="180" y="116"/>
                    <a:pt x="180" y="116"/>
                  </a:cubicBezTo>
                  <a:cubicBezTo>
                    <a:pt x="187" y="116"/>
                    <a:pt x="187" y="116"/>
                    <a:pt x="187" y="116"/>
                  </a:cubicBezTo>
                  <a:cubicBezTo>
                    <a:pt x="195" y="128"/>
                    <a:pt x="195" y="128"/>
                    <a:pt x="195" y="128"/>
                  </a:cubicBezTo>
                  <a:cubicBezTo>
                    <a:pt x="199" y="127"/>
                    <a:pt x="199" y="127"/>
                    <a:pt x="199" y="127"/>
                  </a:cubicBezTo>
                  <a:cubicBezTo>
                    <a:pt x="201" y="124"/>
                    <a:pt x="201" y="124"/>
                    <a:pt x="201" y="124"/>
                  </a:cubicBezTo>
                  <a:cubicBezTo>
                    <a:pt x="205" y="124"/>
                    <a:pt x="205" y="124"/>
                    <a:pt x="205" y="124"/>
                  </a:cubicBezTo>
                  <a:cubicBezTo>
                    <a:pt x="208" y="121"/>
                    <a:pt x="208" y="121"/>
                    <a:pt x="208" y="121"/>
                  </a:cubicBezTo>
                  <a:cubicBezTo>
                    <a:pt x="207" y="120"/>
                    <a:pt x="206" y="119"/>
                    <a:pt x="205" y="117"/>
                  </a:cubicBezTo>
                  <a:cubicBezTo>
                    <a:pt x="204" y="116"/>
                    <a:pt x="202" y="115"/>
                    <a:pt x="200" y="114"/>
                  </a:cubicBezTo>
                  <a:cubicBezTo>
                    <a:pt x="200" y="113"/>
                    <a:pt x="199" y="113"/>
                    <a:pt x="199" y="112"/>
                  </a:cubicBezTo>
                  <a:cubicBezTo>
                    <a:pt x="198" y="112"/>
                    <a:pt x="198" y="111"/>
                    <a:pt x="198" y="111"/>
                  </a:cubicBezTo>
                  <a:cubicBezTo>
                    <a:pt x="197" y="110"/>
                    <a:pt x="197" y="110"/>
                    <a:pt x="197" y="110"/>
                  </a:cubicBezTo>
                  <a:cubicBezTo>
                    <a:pt x="197" y="109"/>
                    <a:pt x="197" y="109"/>
                    <a:pt x="197" y="108"/>
                  </a:cubicBezTo>
                  <a:cubicBezTo>
                    <a:pt x="196" y="106"/>
                    <a:pt x="197" y="105"/>
                    <a:pt x="197" y="103"/>
                  </a:cubicBezTo>
                  <a:cubicBezTo>
                    <a:pt x="196" y="101"/>
                    <a:pt x="194" y="101"/>
                    <a:pt x="192" y="101"/>
                  </a:cubicBezTo>
                  <a:cubicBezTo>
                    <a:pt x="190" y="100"/>
                    <a:pt x="187" y="101"/>
                    <a:pt x="186" y="99"/>
                  </a:cubicBezTo>
                  <a:cubicBezTo>
                    <a:pt x="187" y="99"/>
                    <a:pt x="186" y="99"/>
                    <a:pt x="188" y="99"/>
                  </a:cubicBezTo>
                  <a:cubicBezTo>
                    <a:pt x="189" y="99"/>
                    <a:pt x="191" y="100"/>
                    <a:pt x="192" y="99"/>
                  </a:cubicBezTo>
                  <a:cubicBezTo>
                    <a:pt x="191" y="98"/>
                    <a:pt x="190" y="98"/>
                    <a:pt x="189" y="97"/>
                  </a:cubicBezTo>
                  <a:cubicBezTo>
                    <a:pt x="190" y="97"/>
                    <a:pt x="190" y="97"/>
                    <a:pt x="190" y="97"/>
                  </a:cubicBezTo>
                  <a:cubicBezTo>
                    <a:pt x="189" y="97"/>
                    <a:pt x="188" y="97"/>
                    <a:pt x="187" y="96"/>
                  </a:cubicBezTo>
                  <a:cubicBezTo>
                    <a:pt x="189" y="95"/>
                    <a:pt x="189" y="95"/>
                    <a:pt x="191" y="95"/>
                  </a:cubicBezTo>
                  <a:cubicBezTo>
                    <a:pt x="192" y="95"/>
                    <a:pt x="193" y="95"/>
                    <a:pt x="192" y="94"/>
                  </a:cubicBezTo>
                  <a:cubicBezTo>
                    <a:pt x="192" y="92"/>
                    <a:pt x="187" y="92"/>
                    <a:pt x="186" y="93"/>
                  </a:cubicBezTo>
                  <a:cubicBezTo>
                    <a:pt x="185" y="93"/>
                    <a:pt x="183" y="94"/>
                    <a:pt x="183" y="93"/>
                  </a:cubicBezTo>
                  <a:cubicBezTo>
                    <a:pt x="182" y="92"/>
                    <a:pt x="184" y="92"/>
                    <a:pt x="184" y="91"/>
                  </a:cubicBezTo>
                  <a:cubicBezTo>
                    <a:pt x="185" y="91"/>
                    <a:pt x="185" y="91"/>
                    <a:pt x="185" y="91"/>
                  </a:cubicBezTo>
                  <a:cubicBezTo>
                    <a:pt x="186" y="90"/>
                    <a:pt x="186" y="90"/>
                    <a:pt x="186" y="90"/>
                  </a:cubicBezTo>
                  <a:cubicBezTo>
                    <a:pt x="187" y="90"/>
                    <a:pt x="189" y="91"/>
                    <a:pt x="190" y="90"/>
                  </a:cubicBezTo>
                  <a:cubicBezTo>
                    <a:pt x="189" y="90"/>
                    <a:pt x="190" y="89"/>
                    <a:pt x="190" y="89"/>
                  </a:cubicBezTo>
                  <a:cubicBezTo>
                    <a:pt x="190" y="88"/>
                    <a:pt x="189" y="88"/>
                    <a:pt x="188" y="88"/>
                  </a:cubicBezTo>
                  <a:cubicBezTo>
                    <a:pt x="187" y="88"/>
                    <a:pt x="186" y="88"/>
                    <a:pt x="186" y="88"/>
                  </a:cubicBezTo>
                  <a:cubicBezTo>
                    <a:pt x="185" y="88"/>
                    <a:pt x="185" y="89"/>
                    <a:pt x="184" y="89"/>
                  </a:cubicBezTo>
                  <a:cubicBezTo>
                    <a:pt x="183" y="90"/>
                    <a:pt x="182" y="91"/>
                    <a:pt x="181" y="90"/>
                  </a:cubicBezTo>
                  <a:cubicBezTo>
                    <a:pt x="181" y="89"/>
                    <a:pt x="182" y="89"/>
                    <a:pt x="182" y="88"/>
                  </a:cubicBezTo>
                  <a:cubicBezTo>
                    <a:pt x="183" y="87"/>
                    <a:pt x="181" y="88"/>
                    <a:pt x="181" y="87"/>
                  </a:cubicBezTo>
                  <a:cubicBezTo>
                    <a:pt x="180" y="86"/>
                    <a:pt x="183" y="87"/>
                    <a:pt x="183" y="87"/>
                  </a:cubicBezTo>
                  <a:cubicBezTo>
                    <a:pt x="184" y="87"/>
                    <a:pt x="184" y="88"/>
                    <a:pt x="185" y="87"/>
                  </a:cubicBezTo>
                  <a:cubicBezTo>
                    <a:pt x="186" y="85"/>
                    <a:pt x="186" y="84"/>
                    <a:pt x="185" y="83"/>
                  </a:cubicBezTo>
                  <a:cubicBezTo>
                    <a:pt x="184" y="82"/>
                    <a:pt x="184" y="82"/>
                    <a:pt x="183" y="82"/>
                  </a:cubicBezTo>
                  <a:cubicBezTo>
                    <a:pt x="182" y="82"/>
                    <a:pt x="181" y="82"/>
                    <a:pt x="181" y="83"/>
                  </a:cubicBezTo>
                  <a:cubicBezTo>
                    <a:pt x="180" y="82"/>
                    <a:pt x="180" y="82"/>
                    <a:pt x="180" y="82"/>
                  </a:cubicBezTo>
                  <a:cubicBezTo>
                    <a:pt x="179" y="82"/>
                    <a:pt x="179" y="82"/>
                    <a:pt x="179" y="82"/>
                  </a:cubicBezTo>
                  <a:cubicBezTo>
                    <a:pt x="178" y="81"/>
                    <a:pt x="178" y="81"/>
                    <a:pt x="178" y="81"/>
                  </a:cubicBezTo>
                  <a:cubicBezTo>
                    <a:pt x="178" y="80"/>
                    <a:pt x="178" y="80"/>
                    <a:pt x="176" y="80"/>
                  </a:cubicBezTo>
                  <a:cubicBezTo>
                    <a:pt x="175" y="81"/>
                    <a:pt x="173" y="82"/>
                    <a:pt x="172" y="81"/>
                  </a:cubicBezTo>
                  <a:cubicBezTo>
                    <a:pt x="172" y="80"/>
                    <a:pt x="172" y="80"/>
                    <a:pt x="173" y="80"/>
                  </a:cubicBezTo>
                  <a:cubicBezTo>
                    <a:pt x="174" y="79"/>
                    <a:pt x="176" y="79"/>
                    <a:pt x="176" y="78"/>
                  </a:cubicBezTo>
                  <a:cubicBezTo>
                    <a:pt x="176" y="76"/>
                    <a:pt x="174" y="77"/>
                    <a:pt x="173" y="77"/>
                  </a:cubicBezTo>
                  <a:cubicBezTo>
                    <a:pt x="172" y="77"/>
                    <a:pt x="170" y="77"/>
                    <a:pt x="169" y="76"/>
                  </a:cubicBezTo>
                  <a:cubicBezTo>
                    <a:pt x="168" y="76"/>
                    <a:pt x="168" y="75"/>
                    <a:pt x="167" y="75"/>
                  </a:cubicBezTo>
                  <a:cubicBezTo>
                    <a:pt x="167" y="75"/>
                    <a:pt x="166" y="75"/>
                    <a:pt x="166" y="75"/>
                  </a:cubicBezTo>
                  <a:cubicBezTo>
                    <a:pt x="165" y="75"/>
                    <a:pt x="164" y="75"/>
                    <a:pt x="164" y="75"/>
                  </a:cubicBezTo>
                  <a:cubicBezTo>
                    <a:pt x="164" y="74"/>
                    <a:pt x="165" y="73"/>
                    <a:pt x="164" y="72"/>
                  </a:cubicBezTo>
                  <a:cubicBezTo>
                    <a:pt x="163" y="72"/>
                    <a:pt x="162" y="72"/>
                    <a:pt x="161" y="72"/>
                  </a:cubicBezTo>
                  <a:cubicBezTo>
                    <a:pt x="162" y="71"/>
                    <a:pt x="164" y="71"/>
                    <a:pt x="165" y="71"/>
                  </a:cubicBezTo>
                  <a:cubicBezTo>
                    <a:pt x="167" y="71"/>
                    <a:pt x="168" y="73"/>
                    <a:pt x="170" y="73"/>
                  </a:cubicBezTo>
                  <a:cubicBezTo>
                    <a:pt x="172" y="73"/>
                    <a:pt x="173" y="72"/>
                    <a:pt x="174" y="71"/>
                  </a:cubicBezTo>
                  <a:cubicBezTo>
                    <a:pt x="176" y="71"/>
                    <a:pt x="177" y="70"/>
                    <a:pt x="179" y="70"/>
                  </a:cubicBezTo>
                  <a:cubicBezTo>
                    <a:pt x="179" y="69"/>
                    <a:pt x="180" y="69"/>
                    <a:pt x="180" y="68"/>
                  </a:cubicBezTo>
                  <a:cubicBezTo>
                    <a:pt x="180" y="67"/>
                    <a:pt x="179" y="66"/>
                    <a:pt x="178" y="66"/>
                  </a:cubicBezTo>
                  <a:cubicBezTo>
                    <a:pt x="177" y="67"/>
                    <a:pt x="176" y="67"/>
                    <a:pt x="175" y="67"/>
                  </a:cubicBezTo>
                  <a:cubicBezTo>
                    <a:pt x="174" y="67"/>
                    <a:pt x="173" y="67"/>
                    <a:pt x="172" y="67"/>
                  </a:cubicBezTo>
                  <a:cubicBezTo>
                    <a:pt x="172" y="66"/>
                    <a:pt x="174" y="65"/>
                    <a:pt x="175" y="64"/>
                  </a:cubicBezTo>
                  <a:cubicBezTo>
                    <a:pt x="175" y="63"/>
                    <a:pt x="175" y="62"/>
                    <a:pt x="173" y="61"/>
                  </a:cubicBezTo>
                  <a:cubicBezTo>
                    <a:pt x="172" y="60"/>
                    <a:pt x="170" y="60"/>
                    <a:pt x="169" y="59"/>
                  </a:cubicBezTo>
                  <a:cubicBezTo>
                    <a:pt x="168" y="59"/>
                    <a:pt x="166" y="58"/>
                    <a:pt x="165" y="57"/>
                  </a:cubicBezTo>
                  <a:cubicBezTo>
                    <a:pt x="162" y="57"/>
                    <a:pt x="160" y="56"/>
                    <a:pt x="161" y="53"/>
                  </a:cubicBezTo>
                  <a:cubicBezTo>
                    <a:pt x="162" y="52"/>
                    <a:pt x="163" y="49"/>
                    <a:pt x="161" y="49"/>
                  </a:cubicBezTo>
                  <a:cubicBezTo>
                    <a:pt x="159" y="49"/>
                    <a:pt x="157" y="50"/>
                    <a:pt x="156" y="50"/>
                  </a:cubicBezTo>
                  <a:cubicBezTo>
                    <a:pt x="154" y="50"/>
                    <a:pt x="152" y="50"/>
                    <a:pt x="151" y="50"/>
                  </a:cubicBezTo>
                  <a:cubicBezTo>
                    <a:pt x="151" y="48"/>
                    <a:pt x="153" y="48"/>
                    <a:pt x="154" y="48"/>
                  </a:cubicBezTo>
                  <a:cubicBezTo>
                    <a:pt x="155" y="48"/>
                    <a:pt x="156" y="48"/>
                    <a:pt x="158" y="48"/>
                  </a:cubicBezTo>
                  <a:cubicBezTo>
                    <a:pt x="161" y="48"/>
                    <a:pt x="164" y="48"/>
                    <a:pt x="167" y="48"/>
                  </a:cubicBezTo>
                  <a:cubicBezTo>
                    <a:pt x="169" y="48"/>
                    <a:pt x="171" y="48"/>
                    <a:pt x="173" y="48"/>
                  </a:cubicBezTo>
                  <a:cubicBezTo>
                    <a:pt x="174" y="48"/>
                    <a:pt x="175" y="49"/>
                    <a:pt x="176" y="49"/>
                  </a:cubicBezTo>
                  <a:cubicBezTo>
                    <a:pt x="177" y="50"/>
                    <a:pt x="181" y="50"/>
                    <a:pt x="180" y="47"/>
                  </a:cubicBezTo>
                  <a:cubicBezTo>
                    <a:pt x="180" y="46"/>
                    <a:pt x="177" y="46"/>
                    <a:pt x="176" y="46"/>
                  </a:cubicBezTo>
                  <a:cubicBezTo>
                    <a:pt x="177" y="45"/>
                    <a:pt x="177" y="45"/>
                    <a:pt x="178" y="44"/>
                  </a:cubicBezTo>
                  <a:cubicBezTo>
                    <a:pt x="179" y="44"/>
                    <a:pt x="178" y="43"/>
                    <a:pt x="179" y="43"/>
                  </a:cubicBezTo>
                  <a:cubicBezTo>
                    <a:pt x="179" y="43"/>
                    <a:pt x="180" y="44"/>
                    <a:pt x="181" y="44"/>
                  </a:cubicBezTo>
                  <a:cubicBezTo>
                    <a:pt x="182" y="46"/>
                    <a:pt x="183" y="48"/>
                    <a:pt x="185" y="49"/>
                  </a:cubicBezTo>
                  <a:cubicBezTo>
                    <a:pt x="186" y="49"/>
                    <a:pt x="188" y="49"/>
                    <a:pt x="190" y="49"/>
                  </a:cubicBezTo>
                  <a:cubicBezTo>
                    <a:pt x="191" y="49"/>
                    <a:pt x="193" y="47"/>
                    <a:pt x="194" y="47"/>
                  </a:cubicBezTo>
                  <a:cubicBezTo>
                    <a:pt x="195" y="46"/>
                    <a:pt x="197" y="46"/>
                    <a:pt x="197" y="45"/>
                  </a:cubicBezTo>
                  <a:cubicBezTo>
                    <a:pt x="200" y="43"/>
                    <a:pt x="195" y="42"/>
                    <a:pt x="194" y="41"/>
                  </a:cubicBezTo>
                  <a:cubicBezTo>
                    <a:pt x="193" y="41"/>
                    <a:pt x="186" y="41"/>
                    <a:pt x="187" y="39"/>
                  </a:cubicBezTo>
                  <a:cubicBezTo>
                    <a:pt x="188" y="39"/>
                    <a:pt x="190" y="39"/>
                    <a:pt x="192" y="39"/>
                  </a:cubicBezTo>
                  <a:cubicBezTo>
                    <a:pt x="193" y="39"/>
                    <a:pt x="194" y="40"/>
                    <a:pt x="195" y="41"/>
                  </a:cubicBezTo>
                  <a:cubicBezTo>
                    <a:pt x="196" y="41"/>
                    <a:pt x="198" y="41"/>
                    <a:pt x="198" y="40"/>
                  </a:cubicBezTo>
                  <a:cubicBezTo>
                    <a:pt x="197" y="39"/>
                    <a:pt x="195" y="39"/>
                    <a:pt x="196" y="38"/>
                  </a:cubicBezTo>
                  <a:cubicBezTo>
                    <a:pt x="197" y="38"/>
                    <a:pt x="198" y="39"/>
                    <a:pt x="199" y="38"/>
                  </a:cubicBezTo>
                  <a:cubicBezTo>
                    <a:pt x="199" y="37"/>
                    <a:pt x="197" y="36"/>
                    <a:pt x="196" y="35"/>
                  </a:cubicBezTo>
                  <a:cubicBezTo>
                    <a:pt x="195" y="34"/>
                    <a:pt x="195" y="34"/>
                    <a:pt x="194" y="34"/>
                  </a:cubicBezTo>
                  <a:cubicBezTo>
                    <a:pt x="193" y="33"/>
                    <a:pt x="193" y="34"/>
                    <a:pt x="192" y="34"/>
                  </a:cubicBezTo>
                  <a:cubicBezTo>
                    <a:pt x="190" y="34"/>
                    <a:pt x="191" y="32"/>
                    <a:pt x="190" y="31"/>
                  </a:cubicBezTo>
                  <a:cubicBezTo>
                    <a:pt x="189" y="30"/>
                    <a:pt x="187" y="30"/>
                    <a:pt x="186" y="29"/>
                  </a:cubicBezTo>
                  <a:cubicBezTo>
                    <a:pt x="185" y="29"/>
                    <a:pt x="184" y="28"/>
                    <a:pt x="184" y="27"/>
                  </a:cubicBezTo>
                  <a:cubicBezTo>
                    <a:pt x="183" y="26"/>
                    <a:pt x="182" y="25"/>
                    <a:pt x="182" y="25"/>
                  </a:cubicBezTo>
                  <a:cubicBezTo>
                    <a:pt x="181" y="24"/>
                    <a:pt x="181" y="24"/>
                    <a:pt x="181" y="24"/>
                  </a:cubicBezTo>
                  <a:cubicBezTo>
                    <a:pt x="181" y="23"/>
                    <a:pt x="180" y="23"/>
                    <a:pt x="180" y="23"/>
                  </a:cubicBezTo>
                  <a:cubicBezTo>
                    <a:pt x="179" y="23"/>
                    <a:pt x="179" y="22"/>
                    <a:pt x="178" y="23"/>
                  </a:cubicBezTo>
                  <a:cubicBezTo>
                    <a:pt x="178" y="23"/>
                    <a:pt x="178" y="24"/>
                    <a:pt x="178" y="25"/>
                  </a:cubicBezTo>
                  <a:cubicBezTo>
                    <a:pt x="177" y="25"/>
                    <a:pt x="177" y="25"/>
                    <a:pt x="176" y="25"/>
                  </a:cubicBezTo>
                  <a:cubicBezTo>
                    <a:pt x="175" y="25"/>
                    <a:pt x="175" y="24"/>
                    <a:pt x="175" y="24"/>
                  </a:cubicBezTo>
                  <a:cubicBezTo>
                    <a:pt x="176" y="23"/>
                    <a:pt x="177" y="23"/>
                    <a:pt x="177" y="22"/>
                  </a:cubicBezTo>
                  <a:cubicBezTo>
                    <a:pt x="178" y="21"/>
                    <a:pt x="177" y="21"/>
                    <a:pt x="177" y="20"/>
                  </a:cubicBezTo>
                  <a:cubicBezTo>
                    <a:pt x="176" y="20"/>
                    <a:pt x="175" y="20"/>
                    <a:pt x="174" y="20"/>
                  </a:cubicBezTo>
                  <a:cubicBezTo>
                    <a:pt x="173" y="19"/>
                    <a:pt x="174" y="19"/>
                    <a:pt x="174" y="19"/>
                  </a:cubicBezTo>
                  <a:cubicBezTo>
                    <a:pt x="174" y="18"/>
                    <a:pt x="173" y="18"/>
                    <a:pt x="172" y="18"/>
                  </a:cubicBezTo>
                  <a:cubicBezTo>
                    <a:pt x="172" y="18"/>
                    <a:pt x="170" y="17"/>
                    <a:pt x="170" y="16"/>
                  </a:cubicBezTo>
                  <a:cubicBezTo>
                    <a:pt x="169" y="15"/>
                    <a:pt x="170" y="15"/>
                    <a:pt x="170" y="15"/>
                  </a:cubicBezTo>
                  <a:cubicBezTo>
                    <a:pt x="171" y="16"/>
                    <a:pt x="172" y="16"/>
                    <a:pt x="173" y="16"/>
                  </a:cubicBezTo>
                  <a:cubicBezTo>
                    <a:pt x="174" y="16"/>
                    <a:pt x="175" y="16"/>
                    <a:pt x="175" y="17"/>
                  </a:cubicBezTo>
                  <a:cubicBezTo>
                    <a:pt x="176" y="17"/>
                    <a:pt x="176" y="17"/>
                    <a:pt x="176" y="17"/>
                  </a:cubicBezTo>
                  <a:cubicBezTo>
                    <a:pt x="176" y="18"/>
                    <a:pt x="176" y="18"/>
                    <a:pt x="176" y="18"/>
                  </a:cubicBezTo>
                  <a:cubicBezTo>
                    <a:pt x="177" y="18"/>
                    <a:pt x="178" y="18"/>
                    <a:pt x="178" y="19"/>
                  </a:cubicBezTo>
                  <a:cubicBezTo>
                    <a:pt x="179" y="19"/>
                    <a:pt x="180" y="19"/>
                    <a:pt x="181" y="18"/>
                  </a:cubicBezTo>
                  <a:cubicBezTo>
                    <a:pt x="182" y="18"/>
                    <a:pt x="182" y="19"/>
                    <a:pt x="183" y="19"/>
                  </a:cubicBezTo>
                  <a:cubicBezTo>
                    <a:pt x="184" y="18"/>
                    <a:pt x="182" y="16"/>
                    <a:pt x="184" y="17"/>
                  </a:cubicBezTo>
                  <a:cubicBezTo>
                    <a:pt x="185" y="17"/>
                    <a:pt x="186" y="17"/>
                    <a:pt x="186" y="16"/>
                  </a:cubicBezTo>
                  <a:cubicBezTo>
                    <a:pt x="186" y="16"/>
                    <a:pt x="186" y="15"/>
                    <a:pt x="186" y="15"/>
                  </a:cubicBezTo>
                  <a:cubicBezTo>
                    <a:pt x="186" y="16"/>
                    <a:pt x="186" y="16"/>
                    <a:pt x="186" y="16"/>
                  </a:cubicBezTo>
                  <a:cubicBezTo>
                    <a:pt x="186" y="16"/>
                    <a:pt x="185" y="16"/>
                    <a:pt x="185" y="15"/>
                  </a:cubicBezTo>
                  <a:cubicBezTo>
                    <a:pt x="184" y="15"/>
                    <a:pt x="184" y="15"/>
                    <a:pt x="184" y="15"/>
                  </a:cubicBezTo>
                  <a:cubicBezTo>
                    <a:pt x="183" y="15"/>
                    <a:pt x="183" y="15"/>
                    <a:pt x="183" y="15"/>
                  </a:cubicBezTo>
                  <a:cubicBezTo>
                    <a:pt x="182" y="15"/>
                    <a:pt x="183" y="16"/>
                    <a:pt x="182" y="16"/>
                  </a:cubicBezTo>
                  <a:cubicBezTo>
                    <a:pt x="180" y="15"/>
                    <a:pt x="179" y="15"/>
                    <a:pt x="178" y="15"/>
                  </a:cubicBezTo>
                  <a:cubicBezTo>
                    <a:pt x="177" y="14"/>
                    <a:pt x="177" y="14"/>
                    <a:pt x="176" y="13"/>
                  </a:cubicBezTo>
                  <a:cubicBezTo>
                    <a:pt x="175" y="13"/>
                    <a:pt x="175" y="13"/>
                    <a:pt x="175" y="12"/>
                  </a:cubicBezTo>
                  <a:cubicBezTo>
                    <a:pt x="174" y="12"/>
                    <a:pt x="175" y="11"/>
                    <a:pt x="174" y="11"/>
                  </a:cubicBezTo>
                  <a:cubicBezTo>
                    <a:pt x="173" y="10"/>
                    <a:pt x="172" y="9"/>
                    <a:pt x="171" y="9"/>
                  </a:cubicBezTo>
                  <a:cubicBezTo>
                    <a:pt x="169" y="8"/>
                    <a:pt x="168" y="6"/>
                    <a:pt x="166" y="5"/>
                  </a:cubicBezTo>
                  <a:cubicBezTo>
                    <a:pt x="166" y="5"/>
                    <a:pt x="164" y="3"/>
                    <a:pt x="163" y="3"/>
                  </a:cubicBezTo>
                  <a:cubicBezTo>
                    <a:pt x="162" y="3"/>
                    <a:pt x="162" y="4"/>
                    <a:pt x="161" y="4"/>
                  </a:cubicBezTo>
                  <a:cubicBezTo>
                    <a:pt x="161" y="4"/>
                    <a:pt x="160" y="4"/>
                    <a:pt x="160" y="4"/>
                  </a:cubicBezTo>
                  <a:cubicBezTo>
                    <a:pt x="159" y="4"/>
                    <a:pt x="158" y="4"/>
                    <a:pt x="157" y="4"/>
                  </a:cubicBezTo>
                  <a:cubicBezTo>
                    <a:pt x="156" y="5"/>
                    <a:pt x="156" y="5"/>
                    <a:pt x="155" y="4"/>
                  </a:cubicBezTo>
                  <a:cubicBezTo>
                    <a:pt x="154" y="4"/>
                    <a:pt x="153" y="4"/>
                    <a:pt x="152" y="5"/>
                  </a:cubicBezTo>
                  <a:cubicBezTo>
                    <a:pt x="152" y="5"/>
                    <a:pt x="152" y="6"/>
                    <a:pt x="151" y="6"/>
                  </a:cubicBezTo>
                  <a:cubicBezTo>
                    <a:pt x="150" y="7"/>
                    <a:pt x="149" y="5"/>
                    <a:pt x="148" y="4"/>
                  </a:cubicBezTo>
                  <a:cubicBezTo>
                    <a:pt x="147" y="4"/>
                    <a:pt x="146" y="4"/>
                    <a:pt x="145" y="3"/>
                  </a:cubicBezTo>
                  <a:cubicBezTo>
                    <a:pt x="145" y="3"/>
                    <a:pt x="144" y="3"/>
                    <a:pt x="143" y="3"/>
                  </a:cubicBezTo>
                  <a:cubicBezTo>
                    <a:pt x="143" y="3"/>
                    <a:pt x="143" y="3"/>
                    <a:pt x="142" y="4"/>
                  </a:cubicBezTo>
                  <a:cubicBezTo>
                    <a:pt x="141" y="5"/>
                    <a:pt x="139" y="5"/>
                    <a:pt x="138" y="4"/>
                  </a:cubicBezTo>
                  <a:cubicBezTo>
                    <a:pt x="137" y="4"/>
                    <a:pt x="138" y="4"/>
                    <a:pt x="137" y="4"/>
                  </a:cubicBezTo>
                  <a:cubicBezTo>
                    <a:pt x="136" y="4"/>
                    <a:pt x="136" y="4"/>
                    <a:pt x="135" y="4"/>
                  </a:cubicBezTo>
                  <a:cubicBezTo>
                    <a:pt x="135" y="3"/>
                    <a:pt x="135" y="2"/>
                    <a:pt x="134" y="2"/>
                  </a:cubicBezTo>
                  <a:cubicBezTo>
                    <a:pt x="134" y="2"/>
                    <a:pt x="133" y="3"/>
                    <a:pt x="133" y="3"/>
                  </a:cubicBezTo>
                  <a:cubicBezTo>
                    <a:pt x="132" y="4"/>
                    <a:pt x="132" y="4"/>
                    <a:pt x="131" y="4"/>
                  </a:cubicBezTo>
                  <a:cubicBezTo>
                    <a:pt x="130" y="4"/>
                    <a:pt x="130" y="4"/>
                    <a:pt x="129" y="4"/>
                  </a:cubicBezTo>
                  <a:cubicBezTo>
                    <a:pt x="129" y="4"/>
                    <a:pt x="129" y="4"/>
                    <a:pt x="128" y="4"/>
                  </a:cubicBezTo>
                  <a:cubicBezTo>
                    <a:pt x="127" y="4"/>
                    <a:pt x="126" y="4"/>
                    <a:pt x="125" y="3"/>
                  </a:cubicBezTo>
                  <a:cubicBezTo>
                    <a:pt x="125" y="3"/>
                    <a:pt x="125" y="2"/>
                    <a:pt x="125" y="2"/>
                  </a:cubicBezTo>
                  <a:cubicBezTo>
                    <a:pt x="124" y="2"/>
                    <a:pt x="124" y="2"/>
                    <a:pt x="124" y="2"/>
                  </a:cubicBezTo>
                  <a:cubicBezTo>
                    <a:pt x="123" y="2"/>
                    <a:pt x="123" y="2"/>
                    <a:pt x="122" y="1"/>
                  </a:cubicBezTo>
                  <a:cubicBezTo>
                    <a:pt x="122" y="2"/>
                    <a:pt x="121" y="3"/>
                    <a:pt x="120" y="4"/>
                  </a:cubicBezTo>
                  <a:cubicBezTo>
                    <a:pt x="120" y="5"/>
                    <a:pt x="119" y="5"/>
                    <a:pt x="118" y="5"/>
                  </a:cubicBezTo>
                  <a:cubicBezTo>
                    <a:pt x="118" y="5"/>
                    <a:pt x="118" y="6"/>
                    <a:pt x="118" y="7"/>
                  </a:cubicBezTo>
                  <a:cubicBezTo>
                    <a:pt x="117" y="7"/>
                    <a:pt x="115" y="8"/>
                    <a:pt x="115" y="7"/>
                  </a:cubicBezTo>
                  <a:cubicBezTo>
                    <a:pt x="114" y="7"/>
                    <a:pt x="114" y="5"/>
                    <a:pt x="114" y="5"/>
                  </a:cubicBezTo>
                  <a:cubicBezTo>
                    <a:pt x="113" y="5"/>
                    <a:pt x="113" y="4"/>
                    <a:pt x="113" y="4"/>
                  </a:cubicBezTo>
                  <a:cubicBezTo>
                    <a:pt x="112" y="3"/>
                    <a:pt x="112" y="3"/>
                    <a:pt x="111" y="3"/>
                  </a:cubicBezTo>
                  <a:cubicBezTo>
                    <a:pt x="110" y="2"/>
                    <a:pt x="109" y="2"/>
                    <a:pt x="108" y="2"/>
                  </a:cubicBezTo>
                  <a:cubicBezTo>
                    <a:pt x="107" y="3"/>
                    <a:pt x="106" y="4"/>
                    <a:pt x="104" y="3"/>
                  </a:cubicBezTo>
                  <a:cubicBezTo>
                    <a:pt x="104" y="3"/>
                    <a:pt x="104" y="3"/>
                    <a:pt x="103" y="3"/>
                  </a:cubicBezTo>
                  <a:cubicBezTo>
                    <a:pt x="103" y="2"/>
                    <a:pt x="102" y="2"/>
                    <a:pt x="102" y="2"/>
                  </a:cubicBezTo>
                  <a:cubicBezTo>
                    <a:pt x="101" y="2"/>
                    <a:pt x="99" y="2"/>
                    <a:pt x="98" y="2"/>
                  </a:cubicBezTo>
                  <a:cubicBezTo>
                    <a:pt x="98" y="2"/>
                    <a:pt x="98" y="3"/>
                    <a:pt x="98" y="4"/>
                  </a:cubicBezTo>
                  <a:cubicBezTo>
                    <a:pt x="98" y="5"/>
                    <a:pt x="97" y="5"/>
                    <a:pt x="97" y="5"/>
                  </a:cubicBezTo>
                  <a:cubicBezTo>
                    <a:pt x="95" y="5"/>
                    <a:pt x="95" y="6"/>
                    <a:pt x="94" y="7"/>
                  </a:cubicBezTo>
                  <a:cubicBezTo>
                    <a:pt x="93" y="7"/>
                    <a:pt x="93" y="9"/>
                    <a:pt x="91" y="8"/>
                  </a:cubicBezTo>
                  <a:cubicBezTo>
                    <a:pt x="90" y="8"/>
                    <a:pt x="90" y="7"/>
                    <a:pt x="90" y="6"/>
                  </a:cubicBezTo>
                  <a:cubicBezTo>
                    <a:pt x="89" y="4"/>
                    <a:pt x="89" y="4"/>
                    <a:pt x="88" y="4"/>
                  </a:cubicBezTo>
                  <a:cubicBezTo>
                    <a:pt x="87" y="4"/>
                    <a:pt x="87" y="4"/>
                    <a:pt x="86" y="4"/>
                  </a:cubicBezTo>
                  <a:cubicBezTo>
                    <a:pt x="86" y="3"/>
                    <a:pt x="85" y="3"/>
                    <a:pt x="85" y="3"/>
                  </a:cubicBezTo>
                  <a:cubicBezTo>
                    <a:pt x="84" y="3"/>
                    <a:pt x="84" y="3"/>
                    <a:pt x="83" y="3"/>
                  </a:cubicBezTo>
                  <a:cubicBezTo>
                    <a:pt x="83" y="2"/>
                    <a:pt x="83" y="2"/>
                    <a:pt x="83" y="2"/>
                  </a:cubicBezTo>
                  <a:cubicBezTo>
                    <a:pt x="83" y="2"/>
                    <a:pt x="82" y="1"/>
                    <a:pt x="81" y="0"/>
                  </a:cubicBezTo>
                  <a:cubicBezTo>
                    <a:pt x="80" y="0"/>
                    <a:pt x="80" y="2"/>
                    <a:pt x="80" y="3"/>
                  </a:cubicBezTo>
                  <a:cubicBezTo>
                    <a:pt x="80" y="4"/>
                    <a:pt x="80" y="6"/>
                    <a:pt x="80" y="7"/>
                  </a:cubicBezTo>
                  <a:cubicBezTo>
                    <a:pt x="80" y="7"/>
                    <a:pt x="80" y="7"/>
                    <a:pt x="80" y="8"/>
                  </a:cubicBezTo>
                  <a:cubicBezTo>
                    <a:pt x="79" y="8"/>
                    <a:pt x="78" y="9"/>
                    <a:pt x="78" y="10"/>
                  </a:cubicBezTo>
                  <a:cubicBezTo>
                    <a:pt x="77" y="11"/>
                    <a:pt x="77" y="11"/>
                    <a:pt x="75" y="11"/>
                  </a:cubicBezTo>
                  <a:cubicBezTo>
                    <a:pt x="76" y="11"/>
                    <a:pt x="76" y="11"/>
                    <a:pt x="76" y="11"/>
                  </a:cubicBezTo>
                  <a:cubicBezTo>
                    <a:pt x="75" y="11"/>
                    <a:pt x="75" y="10"/>
                    <a:pt x="74" y="11"/>
                  </a:cubicBezTo>
                  <a:cubicBezTo>
                    <a:pt x="73" y="11"/>
                    <a:pt x="73" y="12"/>
                    <a:pt x="73" y="12"/>
                  </a:cubicBezTo>
                  <a:cubicBezTo>
                    <a:pt x="72" y="13"/>
                    <a:pt x="72" y="13"/>
                    <a:pt x="71" y="14"/>
                  </a:cubicBezTo>
                  <a:cubicBezTo>
                    <a:pt x="70" y="14"/>
                    <a:pt x="70" y="14"/>
                    <a:pt x="70" y="15"/>
                  </a:cubicBezTo>
                  <a:cubicBezTo>
                    <a:pt x="69" y="16"/>
                    <a:pt x="69" y="17"/>
                    <a:pt x="68" y="18"/>
                  </a:cubicBezTo>
                  <a:cubicBezTo>
                    <a:pt x="68" y="20"/>
                    <a:pt x="68" y="21"/>
                    <a:pt x="67" y="22"/>
                  </a:cubicBezTo>
                  <a:cubicBezTo>
                    <a:pt x="67" y="23"/>
                    <a:pt x="67" y="24"/>
                    <a:pt x="66" y="25"/>
                  </a:cubicBezTo>
                  <a:cubicBezTo>
                    <a:pt x="66" y="26"/>
                    <a:pt x="66" y="27"/>
                    <a:pt x="65" y="28"/>
                  </a:cubicBezTo>
                  <a:cubicBezTo>
                    <a:pt x="65" y="29"/>
                    <a:pt x="64" y="28"/>
                    <a:pt x="63" y="29"/>
                  </a:cubicBezTo>
                  <a:cubicBezTo>
                    <a:pt x="61" y="29"/>
                    <a:pt x="61" y="30"/>
                    <a:pt x="62" y="31"/>
                  </a:cubicBezTo>
                  <a:cubicBezTo>
                    <a:pt x="62" y="32"/>
                    <a:pt x="63" y="32"/>
                    <a:pt x="64" y="33"/>
                  </a:cubicBezTo>
                  <a:cubicBezTo>
                    <a:pt x="65" y="34"/>
                    <a:pt x="65" y="35"/>
                    <a:pt x="65" y="36"/>
                  </a:cubicBezTo>
                  <a:cubicBezTo>
                    <a:pt x="64" y="37"/>
                    <a:pt x="64" y="38"/>
                    <a:pt x="63" y="39"/>
                  </a:cubicBezTo>
                  <a:cubicBezTo>
                    <a:pt x="63" y="40"/>
                    <a:pt x="62" y="41"/>
                    <a:pt x="62" y="41"/>
                  </a:cubicBezTo>
                  <a:cubicBezTo>
                    <a:pt x="62" y="42"/>
                    <a:pt x="62" y="44"/>
                    <a:pt x="62" y="45"/>
                  </a:cubicBezTo>
                  <a:cubicBezTo>
                    <a:pt x="62" y="46"/>
                    <a:pt x="62" y="47"/>
                    <a:pt x="62" y="48"/>
                  </a:cubicBezTo>
                  <a:cubicBezTo>
                    <a:pt x="63" y="49"/>
                    <a:pt x="63" y="50"/>
                    <a:pt x="63" y="51"/>
                  </a:cubicBezTo>
                  <a:cubicBezTo>
                    <a:pt x="63" y="52"/>
                    <a:pt x="65" y="54"/>
                    <a:pt x="64" y="56"/>
                  </a:cubicBezTo>
                  <a:cubicBezTo>
                    <a:pt x="65" y="56"/>
                    <a:pt x="65" y="57"/>
                    <a:pt x="65" y="57"/>
                  </a:cubicBezTo>
                  <a:cubicBezTo>
                    <a:pt x="66" y="58"/>
                    <a:pt x="66" y="58"/>
                    <a:pt x="66" y="59"/>
                  </a:cubicBezTo>
                  <a:cubicBezTo>
                    <a:pt x="67" y="60"/>
                    <a:pt x="66" y="61"/>
                    <a:pt x="65" y="61"/>
                  </a:cubicBezTo>
                  <a:cubicBezTo>
                    <a:pt x="64" y="61"/>
                    <a:pt x="64" y="59"/>
                    <a:pt x="63" y="59"/>
                  </a:cubicBezTo>
                  <a:cubicBezTo>
                    <a:pt x="63" y="59"/>
                    <a:pt x="62" y="61"/>
                    <a:pt x="62" y="61"/>
                  </a:cubicBezTo>
                  <a:cubicBezTo>
                    <a:pt x="61" y="63"/>
                    <a:pt x="60" y="65"/>
                    <a:pt x="60" y="67"/>
                  </a:cubicBezTo>
                  <a:cubicBezTo>
                    <a:pt x="59" y="69"/>
                    <a:pt x="60" y="71"/>
                    <a:pt x="59" y="72"/>
                  </a:cubicBezTo>
                  <a:cubicBezTo>
                    <a:pt x="59" y="73"/>
                    <a:pt x="58" y="74"/>
                    <a:pt x="59" y="75"/>
                  </a:cubicBezTo>
                  <a:cubicBezTo>
                    <a:pt x="59" y="75"/>
                    <a:pt x="60" y="75"/>
                    <a:pt x="60" y="76"/>
                  </a:cubicBezTo>
                  <a:cubicBezTo>
                    <a:pt x="60" y="76"/>
                    <a:pt x="61" y="77"/>
                    <a:pt x="61" y="77"/>
                  </a:cubicBezTo>
                  <a:cubicBezTo>
                    <a:pt x="60" y="78"/>
                    <a:pt x="59" y="78"/>
                    <a:pt x="59" y="79"/>
                  </a:cubicBezTo>
                  <a:cubicBezTo>
                    <a:pt x="59" y="80"/>
                    <a:pt x="59" y="81"/>
                    <a:pt x="59" y="82"/>
                  </a:cubicBezTo>
                  <a:cubicBezTo>
                    <a:pt x="58" y="84"/>
                    <a:pt x="56" y="85"/>
                    <a:pt x="55" y="85"/>
                  </a:cubicBezTo>
                  <a:cubicBezTo>
                    <a:pt x="54" y="86"/>
                    <a:pt x="53" y="86"/>
                    <a:pt x="53" y="86"/>
                  </a:cubicBezTo>
                  <a:cubicBezTo>
                    <a:pt x="52" y="87"/>
                    <a:pt x="52" y="88"/>
                    <a:pt x="51" y="88"/>
                  </a:cubicBezTo>
                  <a:cubicBezTo>
                    <a:pt x="50" y="88"/>
                    <a:pt x="49" y="88"/>
                    <a:pt x="48" y="88"/>
                  </a:cubicBezTo>
                  <a:cubicBezTo>
                    <a:pt x="47" y="88"/>
                    <a:pt x="47" y="87"/>
                    <a:pt x="46" y="86"/>
                  </a:cubicBezTo>
                  <a:cubicBezTo>
                    <a:pt x="45" y="85"/>
                    <a:pt x="45" y="85"/>
                    <a:pt x="44" y="83"/>
                  </a:cubicBezTo>
                  <a:cubicBezTo>
                    <a:pt x="43" y="84"/>
                    <a:pt x="43" y="86"/>
                    <a:pt x="43" y="86"/>
                  </a:cubicBezTo>
                  <a:cubicBezTo>
                    <a:pt x="42" y="87"/>
                    <a:pt x="42" y="88"/>
                    <a:pt x="41" y="88"/>
                  </a:cubicBezTo>
                  <a:cubicBezTo>
                    <a:pt x="40" y="89"/>
                    <a:pt x="39" y="90"/>
                    <a:pt x="37" y="91"/>
                  </a:cubicBezTo>
                  <a:cubicBezTo>
                    <a:pt x="37" y="91"/>
                    <a:pt x="36" y="91"/>
                    <a:pt x="36" y="92"/>
                  </a:cubicBezTo>
                  <a:cubicBezTo>
                    <a:pt x="36" y="93"/>
                    <a:pt x="36" y="93"/>
                    <a:pt x="36" y="94"/>
                  </a:cubicBezTo>
                  <a:cubicBezTo>
                    <a:pt x="35" y="95"/>
                    <a:pt x="34" y="95"/>
                    <a:pt x="33" y="96"/>
                  </a:cubicBezTo>
                  <a:cubicBezTo>
                    <a:pt x="32" y="98"/>
                    <a:pt x="34" y="97"/>
                    <a:pt x="35" y="98"/>
                  </a:cubicBezTo>
                  <a:cubicBezTo>
                    <a:pt x="36" y="99"/>
                    <a:pt x="37" y="100"/>
                    <a:pt x="36" y="101"/>
                  </a:cubicBezTo>
                  <a:cubicBezTo>
                    <a:pt x="35" y="102"/>
                    <a:pt x="34" y="102"/>
                    <a:pt x="33" y="103"/>
                  </a:cubicBezTo>
                  <a:cubicBezTo>
                    <a:pt x="32" y="105"/>
                    <a:pt x="33" y="105"/>
                    <a:pt x="34" y="105"/>
                  </a:cubicBezTo>
                  <a:cubicBezTo>
                    <a:pt x="36" y="107"/>
                    <a:pt x="32" y="109"/>
                    <a:pt x="32" y="110"/>
                  </a:cubicBezTo>
                  <a:cubicBezTo>
                    <a:pt x="33" y="111"/>
                    <a:pt x="33" y="112"/>
                    <a:pt x="34" y="111"/>
                  </a:cubicBezTo>
                  <a:cubicBezTo>
                    <a:pt x="35" y="111"/>
                    <a:pt x="37" y="110"/>
                    <a:pt x="38" y="110"/>
                  </a:cubicBezTo>
                  <a:cubicBezTo>
                    <a:pt x="39" y="111"/>
                    <a:pt x="39" y="113"/>
                    <a:pt x="40" y="114"/>
                  </a:cubicBezTo>
                  <a:cubicBezTo>
                    <a:pt x="40" y="115"/>
                    <a:pt x="41" y="115"/>
                    <a:pt x="42" y="115"/>
                  </a:cubicBezTo>
                  <a:cubicBezTo>
                    <a:pt x="42" y="116"/>
                    <a:pt x="41" y="117"/>
                    <a:pt x="41" y="117"/>
                  </a:cubicBezTo>
                  <a:cubicBezTo>
                    <a:pt x="40" y="118"/>
                    <a:pt x="39" y="118"/>
                    <a:pt x="38" y="118"/>
                  </a:cubicBezTo>
                  <a:cubicBezTo>
                    <a:pt x="37" y="118"/>
                    <a:pt x="36" y="119"/>
                    <a:pt x="35" y="120"/>
                  </a:cubicBezTo>
                  <a:cubicBezTo>
                    <a:pt x="34" y="120"/>
                    <a:pt x="34" y="120"/>
                    <a:pt x="34" y="121"/>
                  </a:cubicBezTo>
                  <a:cubicBezTo>
                    <a:pt x="34" y="121"/>
                    <a:pt x="34" y="122"/>
                    <a:pt x="34" y="122"/>
                  </a:cubicBezTo>
                  <a:cubicBezTo>
                    <a:pt x="33" y="123"/>
                    <a:pt x="32" y="123"/>
                    <a:pt x="31" y="123"/>
                  </a:cubicBezTo>
                  <a:cubicBezTo>
                    <a:pt x="29" y="123"/>
                    <a:pt x="29" y="126"/>
                    <a:pt x="26" y="126"/>
                  </a:cubicBezTo>
                  <a:cubicBezTo>
                    <a:pt x="26" y="124"/>
                    <a:pt x="24" y="126"/>
                    <a:pt x="24" y="127"/>
                  </a:cubicBezTo>
                  <a:cubicBezTo>
                    <a:pt x="24" y="128"/>
                    <a:pt x="26" y="130"/>
                    <a:pt x="24" y="131"/>
                  </a:cubicBezTo>
                  <a:cubicBezTo>
                    <a:pt x="23" y="131"/>
                    <a:pt x="21" y="132"/>
                    <a:pt x="19" y="132"/>
                  </a:cubicBezTo>
                  <a:cubicBezTo>
                    <a:pt x="18" y="132"/>
                    <a:pt x="16" y="131"/>
                    <a:pt x="15" y="132"/>
                  </a:cubicBezTo>
                  <a:cubicBezTo>
                    <a:pt x="15" y="133"/>
                    <a:pt x="14" y="134"/>
                    <a:pt x="14" y="135"/>
                  </a:cubicBezTo>
                  <a:cubicBezTo>
                    <a:pt x="13" y="135"/>
                    <a:pt x="13" y="135"/>
                    <a:pt x="12" y="136"/>
                  </a:cubicBezTo>
                  <a:cubicBezTo>
                    <a:pt x="12" y="136"/>
                    <a:pt x="11" y="136"/>
                    <a:pt x="11" y="136"/>
                  </a:cubicBezTo>
                  <a:cubicBezTo>
                    <a:pt x="10" y="137"/>
                    <a:pt x="11" y="139"/>
                    <a:pt x="12" y="139"/>
                  </a:cubicBezTo>
                  <a:cubicBezTo>
                    <a:pt x="13" y="139"/>
                    <a:pt x="13" y="139"/>
                    <a:pt x="14" y="139"/>
                  </a:cubicBezTo>
                  <a:cubicBezTo>
                    <a:pt x="15" y="139"/>
                    <a:pt x="15" y="139"/>
                    <a:pt x="15" y="139"/>
                  </a:cubicBezTo>
                  <a:cubicBezTo>
                    <a:pt x="16" y="140"/>
                    <a:pt x="15" y="140"/>
                    <a:pt x="15" y="141"/>
                  </a:cubicBezTo>
                  <a:cubicBezTo>
                    <a:pt x="15" y="141"/>
                    <a:pt x="15" y="142"/>
                    <a:pt x="15" y="143"/>
                  </a:cubicBezTo>
                  <a:cubicBezTo>
                    <a:pt x="15" y="144"/>
                    <a:pt x="16" y="145"/>
                    <a:pt x="16" y="146"/>
                  </a:cubicBezTo>
                  <a:cubicBezTo>
                    <a:pt x="16" y="146"/>
                    <a:pt x="17" y="146"/>
                    <a:pt x="17" y="146"/>
                  </a:cubicBezTo>
                  <a:cubicBezTo>
                    <a:pt x="18" y="145"/>
                    <a:pt x="18" y="145"/>
                    <a:pt x="18" y="145"/>
                  </a:cubicBezTo>
                  <a:cubicBezTo>
                    <a:pt x="19" y="145"/>
                    <a:pt x="20" y="145"/>
                    <a:pt x="20" y="146"/>
                  </a:cubicBezTo>
                  <a:cubicBezTo>
                    <a:pt x="20" y="146"/>
                    <a:pt x="20" y="147"/>
                    <a:pt x="19" y="147"/>
                  </a:cubicBezTo>
                  <a:cubicBezTo>
                    <a:pt x="19" y="148"/>
                    <a:pt x="18" y="149"/>
                    <a:pt x="18" y="150"/>
                  </a:cubicBezTo>
                  <a:cubicBezTo>
                    <a:pt x="18" y="150"/>
                    <a:pt x="18" y="151"/>
                    <a:pt x="18" y="152"/>
                  </a:cubicBezTo>
                  <a:cubicBezTo>
                    <a:pt x="19" y="152"/>
                    <a:pt x="20" y="152"/>
                    <a:pt x="20" y="153"/>
                  </a:cubicBezTo>
                  <a:cubicBezTo>
                    <a:pt x="20" y="154"/>
                    <a:pt x="18" y="154"/>
                    <a:pt x="18" y="154"/>
                  </a:cubicBezTo>
                  <a:cubicBezTo>
                    <a:pt x="16" y="154"/>
                    <a:pt x="16" y="154"/>
                    <a:pt x="16" y="155"/>
                  </a:cubicBezTo>
                  <a:cubicBezTo>
                    <a:pt x="15" y="156"/>
                    <a:pt x="15" y="157"/>
                    <a:pt x="14" y="156"/>
                  </a:cubicBezTo>
                  <a:cubicBezTo>
                    <a:pt x="12" y="156"/>
                    <a:pt x="12" y="155"/>
                    <a:pt x="12" y="155"/>
                  </a:cubicBezTo>
                  <a:cubicBezTo>
                    <a:pt x="11" y="155"/>
                    <a:pt x="10" y="156"/>
                    <a:pt x="10" y="156"/>
                  </a:cubicBezTo>
                  <a:cubicBezTo>
                    <a:pt x="10" y="157"/>
                    <a:pt x="10" y="157"/>
                    <a:pt x="10" y="157"/>
                  </a:cubicBezTo>
                  <a:cubicBezTo>
                    <a:pt x="9" y="158"/>
                    <a:pt x="9" y="158"/>
                    <a:pt x="9" y="158"/>
                  </a:cubicBezTo>
                  <a:cubicBezTo>
                    <a:pt x="9" y="159"/>
                    <a:pt x="8" y="159"/>
                    <a:pt x="8" y="160"/>
                  </a:cubicBezTo>
                  <a:cubicBezTo>
                    <a:pt x="8" y="160"/>
                    <a:pt x="9" y="160"/>
                    <a:pt x="10" y="161"/>
                  </a:cubicBezTo>
                  <a:cubicBezTo>
                    <a:pt x="10" y="162"/>
                    <a:pt x="10" y="162"/>
                    <a:pt x="10" y="163"/>
                  </a:cubicBezTo>
                  <a:cubicBezTo>
                    <a:pt x="10" y="164"/>
                    <a:pt x="10" y="165"/>
                    <a:pt x="10" y="165"/>
                  </a:cubicBezTo>
                  <a:cubicBezTo>
                    <a:pt x="10" y="167"/>
                    <a:pt x="10" y="168"/>
                    <a:pt x="10" y="169"/>
                  </a:cubicBezTo>
                  <a:cubicBezTo>
                    <a:pt x="10" y="170"/>
                    <a:pt x="7" y="171"/>
                    <a:pt x="6" y="172"/>
                  </a:cubicBezTo>
                  <a:cubicBezTo>
                    <a:pt x="4" y="173"/>
                    <a:pt x="2" y="173"/>
                    <a:pt x="3" y="175"/>
                  </a:cubicBezTo>
                  <a:cubicBezTo>
                    <a:pt x="3" y="176"/>
                    <a:pt x="3" y="176"/>
                    <a:pt x="4" y="177"/>
                  </a:cubicBezTo>
                  <a:cubicBezTo>
                    <a:pt x="4" y="178"/>
                    <a:pt x="4" y="178"/>
                    <a:pt x="3" y="178"/>
                  </a:cubicBezTo>
                  <a:cubicBezTo>
                    <a:pt x="3" y="179"/>
                    <a:pt x="3" y="181"/>
                    <a:pt x="2" y="181"/>
                  </a:cubicBezTo>
                  <a:cubicBezTo>
                    <a:pt x="1" y="181"/>
                    <a:pt x="0" y="181"/>
                    <a:pt x="0" y="181"/>
                  </a:cubicBezTo>
                  <a:cubicBezTo>
                    <a:pt x="0" y="182"/>
                    <a:pt x="0" y="182"/>
                    <a:pt x="0" y="182"/>
                  </a:cubicBezTo>
                  <a:lnTo>
                    <a:pt x="4" y="18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8" name="Freeform 44">
              <a:extLst>
                <a:ext uri="{FF2B5EF4-FFF2-40B4-BE49-F238E27FC236}">
                  <a16:creationId xmlns:a16="http://schemas.microsoft.com/office/drawing/2014/main" id="{67BA3B71-FCE4-FCCB-FBB5-092B982DE89C}"/>
                </a:ext>
              </a:extLst>
            </p:cNvPr>
            <p:cNvSpPr>
              <a:spLocks noEditPoints="1"/>
            </p:cNvSpPr>
            <p:nvPr/>
          </p:nvSpPr>
          <p:spPr bwMode="auto">
            <a:xfrm>
              <a:off x="7737475" y="4471988"/>
              <a:ext cx="2192338" cy="1311275"/>
            </a:xfrm>
            <a:custGeom>
              <a:avLst/>
              <a:gdLst>
                <a:gd name="T0" fmla="*/ 37 w 576"/>
                <a:gd name="T1" fmla="*/ 42 h 344"/>
                <a:gd name="T2" fmla="*/ 46 w 576"/>
                <a:gd name="T3" fmla="*/ 23 h 344"/>
                <a:gd name="T4" fmla="*/ 100 w 576"/>
                <a:gd name="T5" fmla="*/ 28 h 344"/>
                <a:gd name="T6" fmla="*/ 106 w 576"/>
                <a:gd name="T7" fmla="*/ 54 h 344"/>
                <a:gd name="T8" fmla="*/ 159 w 576"/>
                <a:gd name="T9" fmla="*/ 23 h 344"/>
                <a:gd name="T10" fmla="*/ 177 w 576"/>
                <a:gd name="T11" fmla="*/ 36 h 344"/>
                <a:gd name="T12" fmla="*/ 207 w 576"/>
                <a:gd name="T13" fmla="*/ 26 h 344"/>
                <a:gd name="T14" fmla="*/ 242 w 576"/>
                <a:gd name="T15" fmla="*/ 40 h 344"/>
                <a:gd name="T16" fmla="*/ 274 w 576"/>
                <a:gd name="T17" fmla="*/ 38 h 344"/>
                <a:gd name="T18" fmla="*/ 314 w 576"/>
                <a:gd name="T19" fmla="*/ 62 h 344"/>
                <a:gd name="T20" fmla="*/ 328 w 576"/>
                <a:gd name="T21" fmla="*/ 47 h 344"/>
                <a:gd name="T22" fmla="*/ 313 w 576"/>
                <a:gd name="T23" fmla="*/ 24 h 344"/>
                <a:gd name="T24" fmla="*/ 279 w 576"/>
                <a:gd name="T25" fmla="*/ 14 h 344"/>
                <a:gd name="T26" fmla="*/ 254 w 576"/>
                <a:gd name="T27" fmla="*/ 3 h 344"/>
                <a:gd name="T28" fmla="*/ 229 w 576"/>
                <a:gd name="T29" fmla="*/ 9 h 344"/>
                <a:gd name="T30" fmla="*/ 192 w 576"/>
                <a:gd name="T31" fmla="*/ 4 h 344"/>
                <a:gd name="T32" fmla="*/ 162 w 576"/>
                <a:gd name="T33" fmla="*/ 13 h 344"/>
                <a:gd name="T34" fmla="*/ 147 w 576"/>
                <a:gd name="T35" fmla="*/ 23 h 344"/>
                <a:gd name="T36" fmla="*/ 166 w 576"/>
                <a:gd name="T37" fmla="*/ 53 h 344"/>
                <a:gd name="T38" fmla="*/ 174 w 576"/>
                <a:gd name="T39" fmla="*/ 52 h 344"/>
                <a:gd name="T40" fmla="*/ 165 w 576"/>
                <a:gd name="T41" fmla="*/ 49 h 344"/>
                <a:gd name="T42" fmla="*/ 159 w 576"/>
                <a:gd name="T43" fmla="*/ 57 h 344"/>
                <a:gd name="T44" fmla="*/ 180 w 576"/>
                <a:gd name="T45" fmla="*/ 50 h 344"/>
                <a:gd name="T46" fmla="*/ 190 w 576"/>
                <a:gd name="T47" fmla="*/ 47 h 344"/>
                <a:gd name="T48" fmla="*/ 128 w 576"/>
                <a:gd name="T49" fmla="*/ 29 h 344"/>
                <a:gd name="T50" fmla="*/ 152 w 576"/>
                <a:gd name="T51" fmla="*/ 13 h 344"/>
                <a:gd name="T52" fmla="*/ 547 w 576"/>
                <a:gd name="T53" fmla="*/ 240 h 344"/>
                <a:gd name="T54" fmla="*/ 557 w 576"/>
                <a:gd name="T55" fmla="*/ 227 h 344"/>
                <a:gd name="T56" fmla="*/ 564 w 576"/>
                <a:gd name="T57" fmla="*/ 208 h 344"/>
                <a:gd name="T58" fmla="*/ 566 w 576"/>
                <a:gd name="T59" fmla="*/ 184 h 344"/>
                <a:gd name="T60" fmla="*/ 550 w 576"/>
                <a:gd name="T61" fmla="*/ 165 h 344"/>
                <a:gd name="T62" fmla="*/ 538 w 576"/>
                <a:gd name="T63" fmla="*/ 179 h 344"/>
                <a:gd name="T64" fmla="*/ 539 w 576"/>
                <a:gd name="T65" fmla="*/ 201 h 344"/>
                <a:gd name="T66" fmla="*/ 536 w 576"/>
                <a:gd name="T67" fmla="*/ 213 h 344"/>
                <a:gd name="T68" fmla="*/ 530 w 576"/>
                <a:gd name="T69" fmla="*/ 211 h 344"/>
                <a:gd name="T70" fmla="*/ 528 w 576"/>
                <a:gd name="T71" fmla="*/ 227 h 344"/>
                <a:gd name="T72" fmla="*/ 565 w 576"/>
                <a:gd name="T73" fmla="*/ 234 h 344"/>
                <a:gd name="T74" fmla="*/ 572 w 576"/>
                <a:gd name="T75" fmla="*/ 228 h 344"/>
                <a:gd name="T76" fmla="*/ 570 w 576"/>
                <a:gd name="T77" fmla="*/ 227 h 344"/>
                <a:gd name="T78" fmla="*/ 562 w 576"/>
                <a:gd name="T79" fmla="*/ 247 h 344"/>
                <a:gd name="T80" fmla="*/ 456 w 576"/>
                <a:gd name="T81" fmla="*/ 188 h 344"/>
                <a:gd name="T82" fmla="*/ 457 w 576"/>
                <a:gd name="T83" fmla="*/ 178 h 344"/>
                <a:gd name="T84" fmla="*/ 444 w 576"/>
                <a:gd name="T85" fmla="*/ 181 h 344"/>
                <a:gd name="T86" fmla="*/ 437 w 576"/>
                <a:gd name="T87" fmla="*/ 177 h 344"/>
                <a:gd name="T88" fmla="*/ 441 w 576"/>
                <a:gd name="T89" fmla="*/ 195 h 344"/>
                <a:gd name="T90" fmla="*/ 363 w 576"/>
                <a:gd name="T91" fmla="*/ 312 h 344"/>
                <a:gd name="T92" fmla="*/ 382 w 576"/>
                <a:gd name="T93" fmla="*/ 272 h 344"/>
                <a:gd name="T94" fmla="*/ 365 w 576"/>
                <a:gd name="T95" fmla="*/ 277 h 344"/>
                <a:gd name="T96" fmla="*/ 342 w 576"/>
                <a:gd name="T97" fmla="*/ 312 h 344"/>
                <a:gd name="T98" fmla="*/ 345 w 576"/>
                <a:gd name="T99" fmla="*/ 333 h 344"/>
                <a:gd name="T100" fmla="*/ 324 w 576"/>
                <a:gd name="T101" fmla="*/ 341 h 344"/>
                <a:gd name="T102" fmla="*/ 336 w 576"/>
                <a:gd name="T103" fmla="*/ 291 h 344"/>
                <a:gd name="T104" fmla="*/ 251 w 576"/>
                <a:gd name="T105" fmla="*/ 313 h 344"/>
                <a:gd name="T106" fmla="*/ 251 w 576"/>
                <a:gd name="T107" fmla="*/ 312 h 344"/>
                <a:gd name="T108" fmla="*/ 18 w 576"/>
                <a:gd name="T109" fmla="*/ 322 h 344"/>
                <a:gd name="T110" fmla="*/ 55 w 576"/>
                <a:gd name="T111" fmla="*/ 317 h 344"/>
                <a:gd name="T112" fmla="*/ 71 w 576"/>
                <a:gd name="T113" fmla="*/ 297 h 344"/>
                <a:gd name="T114" fmla="*/ 40 w 576"/>
                <a:gd name="T115" fmla="*/ 304 h 344"/>
                <a:gd name="T116" fmla="*/ 21 w 576"/>
                <a:gd name="T117" fmla="*/ 310 h 344"/>
                <a:gd name="T118" fmla="*/ 131 w 576"/>
                <a:gd name="T119" fmla="*/ 336 h 344"/>
                <a:gd name="T120" fmla="*/ 140 w 576"/>
                <a:gd name="T121" fmla="*/ 329 h 344"/>
                <a:gd name="T122" fmla="*/ 167 w 576"/>
                <a:gd name="T123" fmla="*/ 336 h 344"/>
                <a:gd name="T124" fmla="*/ 121 w 576"/>
                <a:gd name="T125" fmla="*/ 29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344">
                  <a:moveTo>
                    <a:pt x="74" y="66"/>
                  </a:moveTo>
                  <a:cubicBezTo>
                    <a:pt x="73" y="65"/>
                    <a:pt x="72" y="64"/>
                    <a:pt x="71" y="64"/>
                  </a:cubicBezTo>
                  <a:cubicBezTo>
                    <a:pt x="69" y="63"/>
                    <a:pt x="67" y="63"/>
                    <a:pt x="66" y="62"/>
                  </a:cubicBezTo>
                  <a:cubicBezTo>
                    <a:pt x="63" y="62"/>
                    <a:pt x="62" y="61"/>
                    <a:pt x="60" y="60"/>
                  </a:cubicBezTo>
                  <a:cubicBezTo>
                    <a:pt x="59" y="59"/>
                    <a:pt x="58" y="58"/>
                    <a:pt x="57" y="57"/>
                  </a:cubicBezTo>
                  <a:cubicBezTo>
                    <a:pt x="56" y="57"/>
                    <a:pt x="55" y="57"/>
                    <a:pt x="53" y="56"/>
                  </a:cubicBezTo>
                  <a:cubicBezTo>
                    <a:pt x="52" y="56"/>
                    <a:pt x="51" y="55"/>
                    <a:pt x="50" y="54"/>
                  </a:cubicBezTo>
                  <a:cubicBezTo>
                    <a:pt x="49" y="54"/>
                    <a:pt x="48" y="53"/>
                    <a:pt x="48" y="52"/>
                  </a:cubicBezTo>
                  <a:cubicBezTo>
                    <a:pt x="47" y="52"/>
                    <a:pt x="47" y="51"/>
                    <a:pt x="47" y="51"/>
                  </a:cubicBezTo>
                  <a:cubicBezTo>
                    <a:pt x="46" y="51"/>
                    <a:pt x="45" y="51"/>
                    <a:pt x="44" y="50"/>
                  </a:cubicBezTo>
                  <a:cubicBezTo>
                    <a:pt x="43" y="50"/>
                    <a:pt x="43" y="49"/>
                    <a:pt x="43" y="48"/>
                  </a:cubicBezTo>
                  <a:cubicBezTo>
                    <a:pt x="42" y="47"/>
                    <a:pt x="42" y="46"/>
                    <a:pt x="41" y="45"/>
                  </a:cubicBezTo>
                  <a:cubicBezTo>
                    <a:pt x="40" y="44"/>
                    <a:pt x="38" y="43"/>
                    <a:pt x="37" y="42"/>
                  </a:cubicBezTo>
                  <a:cubicBezTo>
                    <a:pt x="36" y="42"/>
                    <a:pt x="35" y="41"/>
                    <a:pt x="35" y="40"/>
                  </a:cubicBezTo>
                  <a:cubicBezTo>
                    <a:pt x="35" y="39"/>
                    <a:pt x="35" y="39"/>
                    <a:pt x="35" y="38"/>
                  </a:cubicBezTo>
                  <a:cubicBezTo>
                    <a:pt x="34" y="37"/>
                    <a:pt x="33" y="37"/>
                    <a:pt x="33" y="36"/>
                  </a:cubicBezTo>
                  <a:cubicBezTo>
                    <a:pt x="33" y="36"/>
                    <a:pt x="33" y="35"/>
                    <a:pt x="33" y="35"/>
                  </a:cubicBezTo>
                  <a:cubicBezTo>
                    <a:pt x="33" y="34"/>
                    <a:pt x="33" y="34"/>
                    <a:pt x="33" y="33"/>
                  </a:cubicBezTo>
                  <a:cubicBezTo>
                    <a:pt x="33" y="32"/>
                    <a:pt x="32" y="32"/>
                    <a:pt x="32" y="31"/>
                  </a:cubicBezTo>
                  <a:cubicBezTo>
                    <a:pt x="33" y="30"/>
                    <a:pt x="33" y="29"/>
                    <a:pt x="33" y="28"/>
                  </a:cubicBezTo>
                  <a:cubicBezTo>
                    <a:pt x="33" y="27"/>
                    <a:pt x="33" y="25"/>
                    <a:pt x="34" y="24"/>
                  </a:cubicBezTo>
                  <a:cubicBezTo>
                    <a:pt x="34" y="23"/>
                    <a:pt x="35" y="23"/>
                    <a:pt x="36" y="22"/>
                  </a:cubicBezTo>
                  <a:cubicBezTo>
                    <a:pt x="36" y="21"/>
                    <a:pt x="37" y="21"/>
                    <a:pt x="38" y="20"/>
                  </a:cubicBezTo>
                  <a:cubicBezTo>
                    <a:pt x="39" y="20"/>
                    <a:pt x="39" y="21"/>
                    <a:pt x="40" y="22"/>
                  </a:cubicBezTo>
                  <a:cubicBezTo>
                    <a:pt x="40" y="22"/>
                    <a:pt x="41" y="23"/>
                    <a:pt x="42" y="23"/>
                  </a:cubicBezTo>
                  <a:cubicBezTo>
                    <a:pt x="43" y="24"/>
                    <a:pt x="45" y="25"/>
                    <a:pt x="46" y="23"/>
                  </a:cubicBezTo>
                  <a:cubicBezTo>
                    <a:pt x="47" y="22"/>
                    <a:pt x="47" y="22"/>
                    <a:pt x="48" y="21"/>
                  </a:cubicBezTo>
                  <a:cubicBezTo>
                    <a:pt x="49" y="21"/>
                    <a:pt x="49" y="21"/>
                    <a:pt x="50" y="20"/>
                  </a:cubicBezTo>
                  <a:cubicBezTo>
                    <a:pt x="51" y="19"/>
                    <a:pt x="53" y="19"/>
                    <a:pt x="54" y="19"/>
                  </a:cubicBezTo>
                  <a:cubicBezTo>
                    <a:pt x="56" y="18"/>
                    <a:pt x="58" y="18"/>
                    <a:pt x="59" y="18"/>
                  </a:cubicBezTo>
                  <a:cubicBezTo>
                    <a:pt x="63" y="18"/>
                    <a:pt x="66" y="18"/>
                    <a:pt x="70" y="17"/>
                  </a:cubicBezTo>
                  <a:cubicBezTo>
                    <a:pt x="73" y="17"/>
                    <a:pt x="76" y="17"/>
                    <a:pt x="80" y="17"/>
                  </a:cubicBezTo>
                  <a:cubicBezTo>
                    <a:pt x="82" y="17"/>
                    <a:pt x="83" y="17"/>
                    <a:pt x="84" y="19"/>
                  </a:cubicBezTo>
                  <a:cubicBezTo>
                    <a:pt x="85" y="20"/>
                    <a:pt x="87" y="20"/>
                    <a:pt x="88" y="21"/>
                  </a:cubicBezTo>
                  <a:cubicBezTo>
                    <a:pt x="89" y="22"/>
                    <a:pt x="90" y="22"/>
                    <a:pt x="91" y="22"/>
                  </a:cubicBezTo>
                  <a:cubicBezTo>
                    <a:pt x="92" y="22"/>
                    <a:pt x="93" y="22"/>
                    <a:pt x="93" y="22"/>
                  </a:cubicBezTo>
                  <a:cubicBezTo>
                    <a:pt x="94" y="22"/>
                    <a:pt x="95" y="23"/>
                    <a:pt x="95" y="23"/>
                  </a:cubicBezTo>
                  <a:cubicBezTo>
                    <a:pt x="97" y="24"/>
                    <a:pt x="97" y="25"/>
                    <a:pt x="98" y="26"/>
                  </a:cubicBezTo>
                  <a:cubicBezTo>
                    <a:pt x="99" y="27"/>
                    <a:pt x="100" y="27"/>
                    <a:pt x="100" y="28"/>
                  </a:cubicBezTo>
                  <a:cubicBezTo>
                    <a:pt x="100" y="28"/>
                    <a:pt x="100" y="29"/>
                    <a:pt x="100" y="30"/>
                  </a:cubicBezTo>
                  <a:cubicBezTo>
                    <a:pt x="100" y="31"/>
                    <a:pt x="99" y="30"/>
                    <a:pt x="99" y="30"/>
                  </a:cubicBezTo>
                  <a:cubicBezTo>
                    <a:pt x="98" y="29"/>
                    <a:pt x="95" y="29"/>
                    <a:pt x="95" y="31"/>
                  </a:cubicBezTo>
                  <a:cubicBezTo>
                    <a:pt x="95" y="32"/>
                    <a:pt x="95" y="33"/>
                    <a:pt x="96" y="33"/>
                  </a:cubicBezTo>
                  <a:cubicBezTo>
                    <a:pt x="96" y="33"/>
                    <a:pt x="97" y="33"/>
                    <a:pt x="97" y="33"/>
                  </a:cubicBezTo>
                  <a:cubicBezTo>
                    <a:pt x="98" y="33"/>
                    <a:pt x="98" y="34"/>
                    <a:pt x="98" y="34"/>
                  </a:cubicBezTo>
                  <a:cubicBezTo>
                    <a:pt x="98" y="36"/>
                    <a:pt x="100" y="37"/>
                    <a:pt x="102" y="35"/>
                  </a:cubicBezTo>
                  <a:cubicBezTo>
                    <a:pt x="102" y="35"/>
                    <a:pt x="102" y="34"/>
                    <a:pt x="103" y="34"/>
                  </a:cubicBezTo>
                  <a:cubicBezTo>
                    <a:pt x="103" y="34"/>
                    <a:pt x="104" y="35"/>
                    <a:pt x="104" y="35"/>
                  </a:cubicBezTo>
                  <a:cubicBezTo>
                    <a:pt x="106" y="36"/>
                    <a:pt x="107" y="35"/>
                    <a:pt x="108" y="36"/>
                  </a:cubicBezTo>
                  <a:cubicBezTo>
                    <a:pt x="109" y="36"/>
                    <a:pt x="109" y="38"/>
                    <a:pt x="109" y="39"/>
                  </a:cubicBezTo>
                  <a:cubicBezTo>
                    <a:pt x="108" y="42"/>
                    <a:pt x="108" y="45"/>
                    <a:pt x="108" y="48"/>
                  </a:cubicBezTo>
                  <a:cubicBezTo>
                    <a:pt x="108" y="50"/>
                    <a:pt x="108" y="53"/>
                    <a:pt x="106" y="54"/>
                  </a:cubicBezTo>
                  <a:cubicBezTo>
                    <a:pt x="105" y="54"/>
                    <a:pt x="103" y="54"/>
                    <a:pt x="102" y="54"/>
                  </a:cubicBezTo>
                  <a:cubicBezTo>
                    <a:pt x="101" y="54"/>
                    <a:pt x="100" y="55"/>
                    <a:pt x="99" y="55"/>
                  </a:cubicBezTo>
                  <a:cubicBezTo>
                    <a:pt x="97" y="55"/>
                    <a:pt x="96" y="55"/>
                    <a:pt x="94" y="56"/>
                  </a:cubicBezTo>
                  <a:cubicBezTo>
                    <a:pt x="93" y="57"/>
                    <a:pt x="92" y="58"/>
                    <a:pt x="91" y="59"/>
                  </a:cubicBezTo>
                  <a:cubicBezTo>
                    <a:pt x="90" y="60"/>
                    <a:pt x="89" y="60"/>
                    <a:pt x="88" y="61"/>
                  </a:cubicBezTo>
                  <a:cubicBezTo>
                    <a:pt x="85" y="61"/>
                    <a:pt x="83" y="62"/>
                    <a:pt x="81" y="62"/>
                  </a:cubicBezTo>
                  <a:cubicBezTo>
                    <a:pt x="80" y="63"/>
                    <a:pt x="79" y="64"/>
                    <a:pt x="77" y="65"/>
                  </a:cubicBezTo>
                  <a:cubicBezTo>
                    <a:pt x="76" y="65"/>
                    <a:pt x="75" y="65"/>
                    <a:pt x="74" y="66"/>
                  </a:cubicBezTo>
                  <a:close/>
                  <a:moveTo>
                    <a:pt x="156" y="36"/>
                  </a:moveTo>
                  <a:cubicBezTo>
                    <a:pt x="157" y="35"/>
                    <a:pt x="157" y="34"/>
                    <a:pt x="157" y="33"/>
                  </a:cubicBezTo>
                  <a:cubicBezTo>
                    <a:pt x="157" y="32"/>
                    <a:pt x="158" y="30"/>
                    <a:pt x="158" y="29"/>
                  </a:cubicBezTo>
                  <a:cubicBezTo>
                    <a:pt x="158" y="28"/>
                    <a:pt x="158" y="27"/>
                    <a:pt x="158" y="26"/>
                  </a:cubicBezTo>
                  <a:cubicBezTo>
                    <a:pt x="158" y="25"/>
                    <a:pt x="158" y="24"/>
                    <a:pt x="159" y="23"/>
                  </a:cubicBezTo>
                  <a:cubicBezTo>
                    <a:pt x="159" y="22"/>
                    <a:pt x="160" y="21"/>
                    <a:pt x="161" y="21"/>
                  </a:cubicBezTo>
                  <a:cubicBezTo>
                    <a:pt x="162" y="20"/>
                    <a:pt x="163" y="19"/>
                    <a:pt x="163" y="18"/>
                  </a:cubicBezTo>
                  <a:cubicBezTo>
                    <a:pt x="164" y="18"/>
                    <a:pt x="164" y="18"/>
                    <a:pt x="164" y="17"/>
                  </a:cubicBezTo>
                  <a:cubicBezTo>
                    <a:pt x="165" y="17"/>
                    <a:pt x="166" y="18"/>
                    <a:pt x="166" y="18"/>
                  </a:cubicBezTo>
                  <a:cubicBezTo>
                    <a:pt x="166" y="18"/>
                    <a:pt x="166" y="20"/>
                    <a:pt x="166" y="20"/>
                  </a:cubicBezTo>
                  <a:cubicBezTo>
                    <a:pt x="166" y="22"/>
                    <a:pt x="164" y="23"/>
                    <a:pt x="164" y="25"/>
                  </a:cubicBezTo>
                  <a:cubicBezTo>
                    <a:pt x="164" y="26"/>
                    <a:pt x="164" y="27"/>
                    <a:pt x="165" y="27"/>
                  </a:cubicBezTo>
                  <a:cubicBezTo>
                    <a:pt x="166" y="27"/>
                    <a:pt x="168" y="26"/>
                    <a:pt x="169" y="26"/>
                  </a:cubicBezTo>
                  <a:cubicBezTo>
                    <a:pt x="170" y="26"/>
                    <a:pt x="170" y="27"/>
                    <a:pt x="171" y="28"/>
                  </a:cubicBezTo>
                  <a:cubicBezTo>
                    <a:pt x="172" y="29"/>
                    <a:pt x="172" y="30"/>
                    <a:pt x="173" y="31"/>
                  </a:cubicBezTo>
                  <a:cubicBezTo>
                    <a:pt x="173" y="31"/>
                    <a:pt x="174" y="32"/>
                    <a:pt x="174" y="33"/>
                  </a:cubicBezTo>
                  <a:cubicBezTo>
                    <a:pt x="175" y="33"/>
                    <a:pt x="175" y="34"/>
                    <a:pt x="176" y="35"/>
                  </a:cubicBezTo>
                  <a:cubicBezTo>
                    <a:pt x="176" y="35"/>
                    <a:pt x="176" y="36"/>
                    <a:pt x="177" y="36"/>
                  </a:cubicBezTo>
                  <a:cubicBezTo>
                    <a:pt x="177" y="38"/>
                    <a:pt x="178" y="38"/>
                    <a:pt x="179" y="39"/>
                  </a:cubicBezTo>
                  <a:cubicBezTo>
                    <a:pt x="179" y="40"/>
                    <a:pt x="180" y="41"/>
                    <a:pt x="180" y="41"/>
                  </a:cubicBezTo>
                  <a:cubicBezTo>
                    <a:pt x="182" y="42"/>
                    <a:pt x="184" y="41"/>
                    <a:pt x="185" y="41"/>
                  </a:cubicBezTo>
                  <a:cubicBezTo>
                    <a:pt x="187" y="41"/>
                    <a:pt x="188" y="40"/>
                    <a:pt x="189" y="40"/>
                  </a:cubicBezTo>
                  <a:cubicBezTo>
                    <a:pt x="190" y="40"/>
                    <a:pt x="191" y="40"/>
                    <a:pt x="193" y="40"/>
                  </a:cubicBezTo>
                  <a:cubicBezTo>
                    <a:pt x="194" y="40"/>
                    <a:pt x="195" y="40"/>
                    <a:pt x="196" y="39"/>
                  </a:cubicBezTo>
                  <a:cubicBezTo>
                    <a:pt x="197" y="39"/>
                    <a:pt x="196" y="38"/>
                    <a:pt x="196" y="38"/>
                  </a:cubicBezTo>
                  <a:cubicBezTo>
                    <a:pt x="195" y="37"/>
                    <a:pt x="195" y="36"/>
                    <a:pt x="196" y="35"/>
                  </a:cubicBezTo>
                  <a:cubicBezTo>
                    <a:pt x="196" y="34"/>
                    <a:pt x="198" y="33"/>
                    <a:pt x="200" y="32"/>
                  </a:cubicBezTo>
                  <a:cubicBezTo>
                    <a:pt x="201" y="31"/>
                    <a:pt x="202" y="30"/>
                    <a:pt x="203" y="29"/>
                  </a:cubicBezTo>
                  <a:cubicBezTo>
                    <a:pt x="204" y="28"/>
                    <a:pt x="204" y="28"/>
                    <a:pt x="205" y="28"/>
                  </a:cubicBezTo>
                  <a:cubicBezTo>
                    <a:pt x="205" y="28"/>
                    <a:pt x="205" y="27"/>
                    <a:pt x="206" y="27"/>
                  </a:cubicBezTo>
                  <a:cubicBezTo>
                    <a:pt x="206" y="27"/>
                    <a:pt x="206" y="26"/>
                    <a:pt x="207" y="26"/>
                  </a:cubicBezTo>
                  <a:cubicBezTo>
                    <a:pt x="207" y="26"/>
                    <a:pt x="208" y="26"/>
                    <a:pt x="209" y="26"/>
                  </a:cubicBezTo>
                  <a:cubicBezTo>
                    <a:pt x="210" y="26"/>
                    <a:pt x="211" y="26"/>
                    <a:pt x="211" y="26"/>
                  </a:cubicBezTo>
                  <a:cubicBezTo>
                    <a:pt x="211" y="26"/>
                    <a:pt x="212" y="27"/>
                    <a:pt x="212" y="27"/>
                  </a:cubicBezTo>
                  <a:cubicBezTo>
                    <a:pt x="212" y="28"/>
                    <a:pt x="213" y="29"/>
                    <a:pt x="213" y="30"/>
                  </a:cubicBezTo>
                  <a:cubicBezTo>
                    <a:pt x="213" y="32"/>
                    <a:pt x="211" y="32"/>
                    <a:pt x="211" y="33"/>
                  </a:cubicBezTo>
                  <a:cubicBezTo>
                    <a:pt x="210" y="33"/>
                    <a:pt x="210" y="34"/>
                    <a:pt x="210" y="35"/>
                  </a:cubicBezTo>
                  <a:cubicBezTo>
                    <a:pt x="210" y="36"/>
                    <a:pt x="212" y="35"/>
                    <a:pt x="213" y="35"/>
                  </a:cubicBezTo>
                  <a:cubicBezTo>
                    <a:pt x="214" y="35"/>
                    <a:pt x="215" y="35"/>
                    <a:pt x="217" y="35"/>
                  </a:cubicBezTo>
                  <a:cubicBezTo>
                    <a:pt x="218" y="35"/>
                    <a:pt x="219" y="34"/>
                    <a:pt x="220" y="35"/>
                  </a:cubicBezTo>
                  <a:cubicBezTo>
                    <a:pt x="221" y="35"/>
                    <a:pt x="222" y="35"/>
                    <a:pt x="223" y="36"/>
                  </a:cubicBezTo>
                  <a:cubicBezTo>
                    <a:pt x="225" y="37"/>
                    <a:pt x="228" y="38"/>
                    <a:pt x="231" y="38"/>
                  </a:cubicBezTo>
                  <a:cubicBezTo>
                    <a:pt x="233" y="39"/>
                    <a:pt x="236" y="38"/>
                    <a:pt x="239" y="39"/>
                  </a:cubicBezTo>
                  <a:cubicBezTo>
                    <a:pt x="240" y="39"/>
                    <a:pt x="241" y="40"/>
                    <a:pt x="242" y="40"/>
                  </a:cubicBezTo>
                  <a:cubicBezTo>
                    <a:pt x="243" y="40"/>
                    <a:pt x="244" y="40"/>
                    <a:pt x="245" y="41"/>
                  </a:cubicBezTo>
                  <a:cubicBezTo>
                    <a:pt x="246" y="42"/>
                    <a:pt x="248" y="42"/>
                    <a:pt x="249" y="41"/>
                  </a:cubicBezTo>
                  <a:cubicBezTo>
                    <a:pt x="251" y="40"/>
                    <a:pt x="250" y="37"/>
                    <a:pt x="248" y="36"/>
                  </a:cubicBezTo>
                  <a:cubicBezTo>
                    <a:pt x="248" y="35"/>
                    <a:pt x="248" y="35"/>
                    <a:pt x="247" y="34"/>
                  </a:cubicBezTo>
                  <a:cubicBezTo>
                    <a:pt x="247" y="34"/>
                    <a:pt x="246" y="34"/>
                    <a:pt x="246" y="33"/>
                  </a:cubicBezTo>
                  <a:cubicBezTo>
                    <a:pt x="245" y="32"/>
                    <a:pt x="246" y="32"/>
                    <a:pt x="247" y="32"/>
                  </a:cubicBezTo>
                  <a:cubicBezTo>
                    <a:pt x="248" y="32"/>
                    <a:pt x="249" y="32"/>
                    <a:pt x="250" y="32"/>
                  </a:cubicBezTo>
                  <a:cubicBezTo>
                    <a:pt x="252" y="32"/>
                    <a:pt x="254" y="32"/>
                    <a:pt x="256" y="33"/>
                  </a:cubicBezTo>
                  <a:cubicBezTo>
                    <a:pt x="258" y="33"/>
                    <a:pt x="261" y="33"/>
                    <a:pt x="264" y="33"/>
                  </a:cubicBezTo>
                  <a:cubicBezTo>
                    <a:pt x="265" y="33"/>
                    <a:pt x="266" y="34"/>
                    <a:pt x="267" y="34"/>
                  </a:cubicBezTo>
                  <a:cubicBezTo>
                    <a:pt x="269" y="34"/>
                    <a:pt x="270" y="34"/>
                    <a:pt x="271" y="34"/>
                  </a:cubicBezTo>
                  <a:cubicBezTo>
                    <a:pt x="272" y="35"/>
                    <a:pt x="273" y="35"/>
                    <a:pt x="273" y="36"/>
                  </a:cubicBezTo>
                  <a:cubicBezTo>
                    <a:pt x="274" y="37"/>
                    <a:pt x="274" y="37"/>
                    <a:pt x="274" y="38"/>
                  </a:cubicBezTo>
                  <a:cubicBezTo>
                    <a:pt x="275" y="39"/>
                    <a:pt x="275" y="40"/>
                    <a:pt x="275" y="40"/>
                  </a:cubicBezTo>
                  <a:cubicBezTo>
                    <a:pt x="276" y="42"/>
                    <a:pt x="277" y="42"/>
                    <a:pt x="279" y="43"/>
                  </a:cubicBezTo>
                  <a:cubicBezTo>
                    <a:pt x="281" y="43"/>
                    <a:pt x="282" y="44"/>
                    <a:pt x="284" y="45"/>
                  </a:cubicBezTo>
                  <a:cubicBezTo>
                    <a:pt x="285" y="45"/>
                    <a:pt x="286" y="46"/>
                    <a:pt x="287" y="47"/>
                  </a:cubicBezTo>
                  <a:cubicBezTo>
                    <a:pt x="288" y="47"/>
                    <a:pt x="289" y="48"/>
                    <a:pt x="290" y="48"/>
                  </a:cubicBezTo>
                  <a:cubicBezTo>
                    <a:pt x="291" y="49"/>
                    <a:pt x="293" y="49"/>
                    <a:pt x="294" y="50"/>
                  </a:cubicBezTo>
                  <a:cubicBezTo>
                    <a:pt x="295" y="50"/>
                    <a:pt x="297" y="51"/>
                    <a:pt x="298" y="51"/>
                  </a:cubicBezTo>
                  <a:cubicBezTo>
                    <a:pt x="300" y="52"/>
                    <a:pt x="301" y="53"/>
                    <a:pt x="303" y="53"/>
                  </a:cubicBezTo>
                  <a:cubicBezTo>
                    <a:pt x="303" y="54"/>
                    <a:pt x="304" y="54"/>
                    <a:pt x="304" y="55"/>
                  </a:cubicBezTo>
                  <a:cubicBezTo>
                    <a:pt x="305" y="56"/>
                    <a:pt x="305" y="56"/>
                    <a:pt x="305" y="56"/>
                  </a:cubicBezTo>
                  <a:cubicBezTo>
                    <a:pt x="306" y="57"/>
                    <a:pt x="309" y="56"/>
                    <a:pt x="310" y="58"/>
                  </a:cubicBezTo>
                  <a:cubicBezTo>
                    <a:pt x="311" y="59"/>
                    <a:pt x="311" y="60"/>
                    <a:pt x="311" y="61"/>
                  </a:cubicBezTo>
                  <a:cubicBezTo>
                    <a:pt x="312" y="61"/>
                    <a:pt x="313" y="61"/>
                    <a:pt x="314" y="62"/>
                  </a:cubicBezTo>
                  <a:cubicBezTo>
                    <a:pt x="315" y="63"/>
                    <a:pt x="318" y="63"/>
                    <a:pt x="320" y="64"/>
                  </a:cubicBezTo>
                  <a:cubicBezTo>
                    <a:pt x="321" y="64"/>
                    <a:pt x="322" y="64"/>
                    <a:pt x="323" y="64"/>
                  </a:cubicBezTo>
                  <a:cubicBezTo>
                    <a:pt x="323" y="64"/>
                    <a:pt x="324" y="65"/>
                    <a:pt x="324" y="65"/>
                  </a:cubicBezTo>
                  <a:cubicBezTo>
                    <a:pt x="325" y="66"/>
                    <a:pt x="326" y="67"/>
                    <a:pt x="327" y="66"/>
                  </a:cubicBezTo>
                  <a:cubicBezTo>
                    <a:pt x="327" y="65"/>
                    <a:pt x="326" y="64"/>
                    <a:pt x="326" y="64"/>
                  </a:cubicBezTo>
                  <a:cubicBezTo>
                    <a:pt x="326" y="63"/>
                    <a:pt x="326" y="62"/>
                    <a:pt x="326" y="61"/>
                  </a:cubicBezTo>
                  <a:cubicBezTo>
                    <a:pt x="326" y="60"/>
                    <a:pt x="327" y="59"/>
                    <a:pt x="326" y="58"/>
                  </a:cubicBezTo>
                  <a:cubicBezTo>
                    <a:pt x="326" y="57"/>
                    <a:pt x="326" y="57"/>
                    <a:pt x="326" y="56"/>
                  </a:cubicBezTo>
                  <a:cubicBezTo>
                    <a:pt x="326" y="56"/>
                    <a:pt x="326" y="55"/>
                    <a:pt x="326" y="54"/>
                  </a:cubicBezTo>
                  <a:cubicBezTo>
                    <a:pt x="327" y="53"/>
                    <a:pt x="328" y="53"/>
                    <a:pt x="329" y="52"/>
                  </a:cubicBezTo>
                  <a:cubicBezTo>
                    <a:pt x="329" y="51"/>
                    <a:pt x="330" y="50"/>
                    <a:pt x="330" y="50"/>
                  </a:cubicBezTo>
                  <a:cubicBezTo>
                    <a:pt x="330" y="49"/>
                    <a:pt x="329" y="49"/>
                    <a:pt x="329" y="48"/>
                  </a:cubicBezTo>
                  <a:cubicBezTo>
                    <a:pt x="329" y="48"/>
                    <a:pt x="328" y="47"/>
                    <a:pt x="328" y="47"/>
                  </a:cubicBezTo>
                  <a:cubicBezTo>
                    <a:pt x="328" y="46"/>
                    <a:pt x="328" y="46"/>
                    <a:pt x="327" y="46"/>
                  </a:cubicBezTo>
                  <a:cubicBezTo>
                    <a:pt x="327" y="45"/>
                    <a:pt x="326" y="44"/>
                    <a:pt x="325" y="43"/>
                  </a:cubicBezTo>
                  <a:cubicBezTo>
                    <a:pt x="326" y="42"/>
                    <a:pt x="326" y="42"/>
                    <a:pt x="326" y="42"/>
                  </a:cubicBezTo>
                  <a:cubicBezTo>
                    <a:pt x="326" y="42"/>
                    <a:pt x="327" y="42"/>
                    <a:pt x="327" y="42"/>
                  </a:cubicBezTo>
                  <a:cubicBezTo>
                    <a:pt x="327" y="41"/>
                    <a:pt x="327" y="41"/>
                    <a:pt x="326" y="40"/>
                  </a:cubicBezTo>
                  <a:cubicBezTo>
                    <a:pt x="326" y="40"/>
                    <a:pt x="325" y="39"/>
                    <a:pt x="325" y="39"/>
                  </a:cubicBezTo>
                  <a:cubicBezTo>
                    <a:pt x="324" y="38"/>
                    <a:pt x="324" y="38"/>
                    <a:pt x="323" y="38"/>
                  </a:cubicBezTo>
                  <a:cubicBezTo>
                    <a:pt x="322" y="38"/>
                    <a:pt x="321" y="38"/>
                    <a:pt x="321" y="38"/>
                  </a:cubicBezTo>
                  <a:cubicBezTo>
                    <a:pt x="319" y="38"/>
                    <a:pt x="318" y="38"/>
                    <a:pt x="317" y="38"/>
                  </a:cubicBezTo>
                  <a:cubicBezTo>
                    <a:pt x="316" y="38"/>
                    <a:pt x="316" y="38"/>
                    <a:pt x="316" y="37"/>
                  </a:cubicBezTo>
                  <a:cubicBezTo>
                    <a:pt x="316" y="36"/>
                    <a:pt x="315" y="36"/>
                    <a:pt x="315" y="35"/>
                  </a:cubicBezTo>
                  <a:cubicBezTo>
                    <a:pt x="315" y="34"/>
                    <a:pt x="315" y="33"/>
                    <a:pt x="314" y="32"/>
                  </a:cubicBezTo>
                  <a:cubicBezTo>
                    <a:pt x="314" y="29"/>
                    <a:pt x="313" y="27"/>
                    <a:pt x="313" y="24"/>
                  </a:cubicBezTo>
                  <a:cubicBezTo>
                    <a:pt x="313" y="23"/>
                    <a:pt x="312" y="22"/>
                    <a:pt x="312" y="21"/>
                  </a:cubicBezTo>
                  <a:cubicBezTo>
                    <a:pt x="311" y="21"/>
                    <a:pt x="310" y="21"/>
                    <a:pt x="309" y="20"/>
                  </a:cubicBezTo>
                  <a:cubicBezTo>
                    <a:pt x="308" y="20"/>
                    <a:pt x="307" y="20"/>
                    <a:pt x="306" y="19"/>
                  </a:cubicBezTo>
                  <a:cubicBezTo>
                    <a:pt x="305" y="19"/>
                    <a:pt x="306" y="18"/>
                    <a:pt x="305" y="18"/>
                  </a:cubicBezTo>
                  <a:cubicBezTo>
                    <a:pt x="304" y="17"/>
                    <a:pt x="304" y="17"/>
                    <a:pt x="303" y="16"/>
                  </a:cubicBezTo>
                  <a:cubicBezTo>
                    <a:pt x="302" y="15"/>
                    <a:pt x="301" y="15"/>
                    <a:pt x="300" y="14"/>
                  </a:cubicBezTo>
                  <a:cubicBezTo>
                    <a:pt x="298" y="11"/>
                    <a:pt x="293" y="11"/>
                    <a:pt x="290" y="13"/>
                  </a:cubicBezTo>
                  <a:cubicBezTo>
                    <a:pt x="289" y="14"/>
                    <a:pt x="288" y="14"/>
                    <a:pt x="286" y="13"/>
                  </a:cubicBezTo>
                  <a:cubicBezTo>
                    <a:pt x="286" y="12"/>
                    <a:pt x="286" y="12"/>
                    <a:pt x="285" y="13"/>
                  </a:cubicBezTo>
                  <a:cubicBezTo>
                    <a:pt x="284" y="13"/>
                    <a:pt x="283" y="13"/>
                    <a:pt x="283" y="13"/>
                  </a:cubicBezTo>
                  <a:cubicBezTo>
                    <a:pt x="282" y="13"/>
                    <a:pt x="281" y="13"/>
                    <a:pt x="281" y="13"/>
                  </a:cubicBezTo>
                  <a:cubicBezTo>
                    <a:pt x="280" y="14"/>
                    <a:pt x="280" y="14"/>
                    <a:pt x="280" y="14"/>
                  </a:cubicBezTo>
                  <a:cubicBezTo>
                    <a:pt x="279" y="14"/>
                    <a:pt x="279" y="14"/>
                    <a:pt x="279" y="14"/>
                  </a:cubicBezTo>
                  <a:cubicBezTo>
                    <a:pt x="278" y="14"/>
                    <a:pt x="278" y="13"/>
                    <a:pt x="277" y="13"/>
                  </a:cubicBezTo>
                  <a:cubicBezTo>
                    <a:pt x="276" y="12"/>
                    <a:pt x="275" y="12"/>
                    <a:pt x="274" y="11"/>
                  </a:cubicBezTo>
                  <a:cubicBezTo>
                    <a:pt x="273" y="11"/>
                    <a:pt x="272" y="11"/>
                    <a:pt x="271" y="10"/>
                  </a:cubicBezTo>
                  <a:cubicBezTo>
                    <a:pt x="271" y="10"/>
                    <a:pt x="270" y="10"/>
                    <a:pt x="269" y="9"/>
                  </a:cubicBezTo>
                  <a:cubicBezTo>
                    <a:pt x="269" y="9"/>
                    <a:pt x="269" y="7"/>
                    <a:pt x="268" y="7"/>
                  </a:cubicBezTo>
                  <a:cubicBezTo>
                    <a:pt x="267" y="7"/>
                    <a:pt x="267" y="8"/>
                    <a:pt x="266" y="8"/>
                  </a:cubicBezTo>
                  <a:cubicBezTo>
                    <a:pt x="265" y="8"/>
                    <a:pt x="265" y="8"/>
                    <a:pt x="265" y="8"/>
                  </a:cubicBezTo>
                  <a:cubicBezTo>
                    <a:pt x="265" y="8"/>
                    <a:pt x="265" y="8"/>
                    <a:pt x="265" y="8"/>
                  </a:cubicBezTo>
                  <a:cubicBezTo>
                    <a:pt x="264" y="7"/>
                    <a:pt x="264" y="7"/>
                    <a:pt x="263" y="7"/>
                  </a:cubicBezTo>
                  <a:cubicBezTo>
                    <a:pt x="263" y="6"/>
                    <a:pt x="263" y="6"/>
                    <a:pt x="262" y="5"/>
                  </a:cubicBezTo>
                  <a:cubicBezTo>
                    <a:pt x="261" y="4"/>
                    <a:pt x="260" y="4"/>
                    <a:pt x="259" y="4"/>
                  </a:cubicBezTo>
                  <a:cubicBezTo>
                    <a:pt x="258" y="4"/>
                    <a:pt x="257" y="3"/>
                    <a:pt x="256" y="3"/>
                  </a:cubicBezTo>
                  <a:cubicBezTo>
                    <a:pt x="255" y="3"/>
                    <a:pt x="255" y="3"/>
                    <a:pt x="254" y="3"/>
                  </a:cubicBezTo>
                  <a:cubicBezTo>
                    <a:pt x="253" y="2"/>
                    <a:pt x="252" y="2"/>
                    <a:pt x="251" y="2"/>
                  </a:cubicBezTo>
                  <a:cubicBezTo>
                    <a:pt x="251" y="2"/>
                    <a:pt x="250" y="2"/>
                    <a:pt x="249" y="2"/>
                  </a:cubicBezTo>
                  <a:cubicBezTo>
                    <a:pt x="249" y="2"/>
                    <a:pt x="249" y="1"/>
                    <a:pt x="249" y="1"/>
                  </a:cubicBezTo>
                  <a:cubicBezTo>
                    <a:pt x="248" y="0"/>
                    <a:pt x="247" y="0"/>
                    <a:pt x="246" y="1"/>
                  </a:cubicBezTo>
                  <a:cubicBezTo>
                    <a:pt x="246" y="1"/>
                    <a:pt x="245" y="1"/>
                    <a:pt x="245" y="1"/>
                  </a:cubicBezTo>
                  <a:cubicBezTo>
                    <a:pt x="244" y="0"/>
                    <a:pt x="244" y="0"/>
                    <a:pt x="244" y="0"/>
                  </a:cubicBezTo>
                  <a:cubicBezTo>
                    <a:pt x="244" y="0"/>
                    <a:pt x="243" y="0"/>
                    <a:pt x="242" y="0"/>
                  </a:cubicBezTo>
                  <a:cubicBezTo>
                    <a:pt x="241" y="0"/>
                    <a:pt x="239" y="0"/>
                    <a:pt x="238" y="1"/>
                  </a:cubicBezTo>
                  <a:cubicBezTo>
                    <a:pt x="237" y="1"/>
                    <a:pt x="238" y="2"/>
                    <a:pt x="238" y="2"/>
                  </a:cubicBezTo>
                  <a:cubicBezTo>
                    <a:pt x="238" y="3"/>
                    <a:pt x="237" y="3"/>
                    <a:pt x="237" y="4"/>
                  </a:cubicBezTo>
                  <a:cubicBezTo>
                    <a:pt x="236" y="5"/>
                    <a:pt x="235" y="5"/>
                    <a:pt x="234" y="5"/>
                  </a:cubicBezTo>
                  <a:cubicBezTo>
                    <a:pt x="233" y="6"/>
                    <a:pt x="233" y="6"/>
                    <a:pt x="232" y="7"/>
                  </a:cubicBezTo>
                  <a:cubicBezTo>
                    <a:pt x="231" y="7"/>
                    <a:pt x="230" y="8"/>
                    <a:pt x="229" y="9"/>
                  </a:cubicBezTo>
                  <a:cubicBezTo>
                    <a:pt x="228" y="9"/>
                    <a:pt x="227" y="9"/>
                    <a:pt x="226" y="9"/>
                  </a:cubicBezTo>
                  <a:cubicBezTo>
                    <a:pt x="225" y="10"/>
                    <a:pt x="223" y="10"/>
                    <a:pt x="222" y="9"/>
                  </a:cubicBezTo>
                  <a:cubicBezTo>
                    <a:pt x="221" y="9"/>
                    <a:pt x="219" y="6"/>
                    <a:pt x="219" y="5"/>
                  </a:cubicBezTo>
                  <a:cubicBezTo>
                    <a:pt x="219" y="4"/>
                    <a:pt x="219" y="4"/>
                    <a:pt x="219" y="3"/>
                  </a:cubicBezTo>
                  <a:cubicBezTo>
                    <a:pt x="219" y="2"/>
                    <a:pt x="219" y="2"/>
                    <a:pt x="218" y="1"/>
                  </a:cubicBezTo>
                  <a:cubicBezTo>
                    <a:pt x="217" y="1"/>
                    <a:pt x="216" y="2"/>
                    <a:pt x="215" y="2"/>
                  </a:cubicBezTo>
                  <a:cubicBezTo>
                    <a:pt x="213" y="3"/>
                    <a:pt x="212" y="4"/>
                    <a:pt x="210" y="4"/>
                  </a:cubicBezTo>
                  <a:cubicBezTo>
                    <a:pt x="208" y="4"/>
                    <a:pt x="207" y="4"/>
                    <a:pt x="205" y="5"/>
                  </a:cubicBezTo>
                  <a:cubicBezTo>
                    <a:pt x="204" y="5"/>
                    <a:pt x="201" y="5"/>
                    <a:pt x="200" y="4"/>
                  </a:cubicBezTo>
                  <a:cubicBezTo>
                    <a:pt x="199" y="4"/>
                    <a:pt x="198" y="4"/>
                    <a:pt x="197" y="5"/>
                  </a:cubicBezTo>
                  <a:cubicBezTo>
                    <a:pt x="197" y="5"/>
                    <a:pt x="196" y="5"/>
                    <a:pt x="195" y="5"/>
                  </a:cubicBezTo>
                  <a:cubicBezTo>
                    <a:pt x="195" y="4"/>
                    <a:pt x="195" y="4"/>
                    <a:pt x="195" y="4"/>
                  </a:cubicBezTo>
                  <a:cubicBezTo>
                    <a:pt x="194" y="3"/>
                    <a:pt x="193" y="4"/>
                    <a:pt x="192" y="4"/>
                  </a:cubicBezTo>
                  <a:cubicBezTo>
                    <a:pt x="190" y="4"/>
                    <a:pt x="189" y="4"/>
                    <a:pt x="187" y="4"/>
                  </a:cubicBezTo>
                  <a:cubicBezTo>
                    <a:pt x="186" y="4"/>
                    <a:pt x="185" y="4"/>
                    <a:pt x="184" y="4"/>
                  </a:cubicBezTo>
                  <a:cubicBezTo>
                    <a:pt x="183" y="4"/>
                    <a:pt x="183" y="4"/>
                    <a:pt x="182" y="4"/>
                  </a:cubicBezTo>
                  <a:cubicBezTo>
                    <a:pt x="181" y="5"/>
                    <a:pt x="180" y="5"/>
                    <a:pt x="179" y="6"/>
                  </a:cubicBezTo>
                  <a:cubicBezTo>
                    <a:pt x="178" y="6"/>
                    <a:pt x="178" y="5"/>
                    <a:pt x="177" y="5"/>
                  </a:cubicBezTo>
                  <a:cubicBezTo>
                    <a:pt x="176" y="5"/>
                    <a:pt x="174" y="5"/>
                    <a:pt x="174" y="5"/>
                  </a:cubicBezTo>
                  <a:cubicBezTo>
                    <a:pt x="173" y="5"/>
                    <a:pt x="172" y="5"/>
                    <a:pt x="171" y="5"/>
                  </a:cubicBezTo>
                  <a:cubicBezTo>
                    <a:pt x="169" y="5"/>
                    <a:pt x="166" y="5"/>
                    <a:pt x="164" y="6"/>
                  </a:cubicBezTo>
                  <a:cubicBezTo>
                    <a:pt x="162" y="6"/>
                    <a:pt x="162" y="8"/>
                    <a:pt x="162" y="9"/>
                  </a:cubicBezTo>
                  <a:cubicBezTo>
                    <a:pt x="161" y="10"/>
                    <a:pt x="161" y="10"/>
                    <a:pt x="160" y="11"/>
                  </a:cubicBezTo>
                  <a:cubicBezTo>
                    <a:pt x="160" y="11"/>
                    <a:pt x="159" y="11"/>
                    <a:pt x="159" y="12"/>
                  </a:cubicBezTo>
                  <a:cubicBezTo>
                    <a:pt x="159" y="13"/>
                    <a:pt x="161" y="12"/>
                    <a:pt x="161" y="12"/>
                  </a:cubicBezTo>
                  <a:cubicBezTo>
                    <a:pt x="162" y="12"/>
                    <a:pt x="162" y="13"/>
                    <a:pt x="162" y="13"/>
                  </a:cubicBezTo>
                  <a:cubicBezTo>
                    <a:pt x="161" y="14"/>
                    <a:pt x="161" y="14"/>
                    <a:pt x="161" y="14"/>
                  </a:cubicBezTo>
                  <a:cubicBezTo>
                    <a:pt x="161" y="14"/>
                    <a:pt x="161" y="14"/>
                    <a:pt x="161" y="15"/>
                  </a:cubicBezTo>
                  <a:cubicBezTo>
                    <a:pt x="160" y="15"/>
                    <a:pt x="161" y="16"/>
                    <a:pt x="161" y="17"/>
                  </a:cubicBezTo>
                  <a:cubicBezTo>
                    <a:pt x="161" y="17"/>
                    <a:pt x="160" y="17"/>
                    <a:pt x="159" y="17"/>
                  </a:cubicBezTo>
                  <a:cubicBezTo>
                    <a:pt x="158" y="17"/>
                    <a:pt x="156" y="17"/>
                    <a:pt x="155" y="18"/>
                  </a:cubicBezTo>
                  <a:cubicBezTo>
                    <a:pt x="154" y="18"/>
                    <a:pt x="154" y="18"/>
                    <a:pt x="153" y="18"/>
                  </a:cubicBezTo>
                  <a:cubicBezTo>
                    <a:pt x="153" y="19"/>
                    <a:pt x="153" y="19"/>
                    <a:pt x="153" y="19"/>
                  </a:cubicBezTo>
                  <a:cubicBezTo>
                    <a:pt x="153" y="19"/>
                    <a:pt x="153" y="19"/>
                    <a:pt x="153" y="19"/>
                  </a:cubicBezTo>
                  <a:cubicBezTo>
                    <a:pt x="152" y="20"/>
                    <a:pt x="152" y="20"/>
                    <a:pt x="152" y="20"/>
                  </a:cubicBezTo>
                  <a:cubicBezTo>
                    <a:pt x="152" y="20"/>
                    <a:pt x="152" y="20"/>
                    <a:pt x="152" y="20"/>
                  </a:cubicBezTo>
                  <a:cubicBezTo>
                    <a:pt x="151" y="21"/>
                    <a:pt x="150" y="21"/>
                    <a:pt x="150" y="21"/>
                  </a:cubicBezTo>
                  <a:cubicBezTo>
                    <a:pt x="150" y="22"/>
                    <a:pt x="150" y="22"/>
                    <a:pt x="149" y="22"/>
                  </a:cubicBezTo>
                  <a:cubicBezTo>
                    <a:pt x="149" y="23"/>
                    <a:pt x="148" y="23"/>
                    <a:pt x="147" y="23"/>
                  </a:cubicBezTo>
                  <a:cubicBezTo>
                    <a:pt x="146" y="23"/>
                    <a:pt x="145" y="22"/>
                    <a:pt x="145" y="24"/>
                  </a:cubicBezTo>
                  <a:cubicBezTo>
                    <a:pt x="146" y="25"/>
                    <a:pt x="146" y="25"/>
                    <a:pt x="147" y="26"/>
                  </a:cubicBezTo>
                  <a:cubicBezTo>
                    <a:pt x="147" y="27"/>
                    <a:pt x="147" y="29"/>
                    <a:pt x="147" y="30"/>
                  </a:cubicBezTo>
                  <a:cubicBezTo>
                    <a:pt x="148" y="31"/>
                    <a:pt x="149" y="32"/>
                    <a:pt x="149" y="33"/>
                  </a:cubicBezTo>
                  <a:cubicBezTo>
                    <a:pt x="150" y="34"/>
                    <a:pt x="151" y="36"/>
                    <a:pt x="150" y="38"/>
                  </a:cubicBezTo>
                  <a:cubicBezTo>
                    <a:pt x="149" y="39"/>
                    <a:pt x="148" y="41"/>
                    <a:pt x="147" y="42"/>
                  </a:cubicBezTo>
                  <a:cubicBezTo>
                    <a:pt x="147" y="44"/>
                    <a:pt x="148" y="47"/>
                    <a:pt x="149" y="47"/>
                  </a:cubicBezTo>
                  <a:cubicBezTo>
                    <a:pt x="151" y="47"/>
                    <a:pt x="150" y="46"/>
                    <a:pt x="150" y="45"/>
                  </a:cubicBezTo>
                  <a:cubicBezTo>
                    <a:pt x="150" y="45"/>
                    <a:pt x="150" y="44"/>
                    <a:pt x="150" y="43"/>
                  </a:cubicBezTo>
                  <a:cubicBezTo>
                    <a:pt x="151" y="41"/>
                    <a:pt x="152" y="40"/>
                    <a:pt x="152" y="39"/>
                  </a:cubicBezTo>
                  <a:cubicBezTo>
                    <a:pt x="153" y="38"/>
                    <a:pt x="153" y="35"/>
                    <a:pt x="155" y="36"/>
                  </a:cubicBezTo>
                  <a:cubicBezTo>
                    <a:pt x="155" y="36"/>
                    <a:pt x="156" y="36"/>
                    <a:pt x="156" y="36"/>
                  </a:cubicBezTo>
                  <a:close/>
                  <a:moveTo>
                    <a:pt x="166" y="53"/>
                  </a:moveTo>
                  <a:cubicBezTo>
                    <a:pt x="166" y="52"/>
                    <a:pt x="167" y="52"/>
                    <a:pt x="168" y="52"/>
                  </a:cubicBezTo>
                  <a:cubicBezTo>
                    <a:pt x="168" y="52"/>
                    <a:pt x="168" y="53"/>
                    <a:pt x="168" y="53"/>
                  </a:cubicBezTo>
                  <a:cubicBezTo>
                    <a:pt x="167" y="54"/>
                    <a:pt x="166" y="55"/>
                    <a:pt x="165" y="56"/>
                  </a:cubicBezTo>
                  <a:cubicBezTo>
                    <a:pt x="164" y="57"/>
                    <a:pt x="163" y="58"/>
                    <a:pt x="162" y="59"/>
                  </a:cubicBezTo>
                  <a:cubicBezTo>
                    <a:pt x="161" y="59"/>
                    <a:pt x="160" y="60"/>
                    <a:pt x="161" y="61"/>
                  </a:cubicBezTo>
                  <a:cubicBezTo>
                    <a:pt x="161" y="61"/>
                    <a:pt x="162" y="61"/>
                    <a:pt x="162" y="61"/>
                  </a:cubicBezTo>
                  <a:cubicBezTo>
                    <a:pt x="164" y="60"/>
                    <a:pt x="165" y="59"/>
                    <a:pt x="166" y="59"/>
                  </a:cubicBezTo>
                  <a:cubicBezTo>
                    <a:pt x="168" y="59"/>
                    <a:pt x="169" y="58"/>
                    <a:pt x="170" y="57"/>
                  </a:cubicBezTo>
                  <a:cubicBezTo>
                    <a:pt x="171" y="56"/>
                    <a:pt x="172" y="56"/>
                    <a:pt x="171" y="55"/>
                  </a:cubicBezTo>
                  <a:cubicBezTo>
                    <a:pt x="171" y="54"/>
                    <a:pt x="171" y="54"/>
                    <a:pt x="171" y="54"/>
                  </a:cubicBezTo>
                  <a:cubicBezTo>
                    <a:pt x="171" y="53"/>
                    <a:pt x="171" y="53"/>
                    <a:pt x="170" y="53"/>
                  </a:cubicBezTo>
                  <a:cubicBezTo>
                    <a:pt x="170" y="52"/>
                    <a:pt x="169" y="51"/>
                    <a:pt x="170" y="51"/>
                  </a:cubicBezTo>
                  <a:cubicBezTo>
                    <a:pt x="172" y="51"/>
                    <a:pt x="173" y="52"/>
                    <a:pt x="174" y="52"/>
                  </a:cubicBezTo>
                  <a:cubicBezTo>
                    <a:pt x="175" y="52"/>
                    <a:pt x="176" y="51"/>
                    <a:pt x="175" y="50"/>
                  </a:cubicBezTo>
                  <a:cubicBezTo>
                    <a:pt x="175" y="50"/>
                    <a:pt x="175" y="50"/>
                    <a:pt x="175" y="50"/>
                  </a:cubicBezTo>
                  <a:cubicBezTo>
                    <a:pt x="174" y="49"/>
                    <a:pt x="174" y="49"/>
                    <a:pt x="174" y="49"/>
                  </a:cubicBezTo>
                  <a:cubicBezTo>
                    <a:pt x="174" y="48"/>
                    <a:pt x="174" y="48"/>
                    <a:pt x="174" y="48"/>
                  </a:cubicBezTo>
                  <a:cubicBezTo>
                    <a:pt x="174" y="48"/>
                    <a:pt x="173" y="48"/>
                    <a:pt x="174" y="48"/>
                  </a:cubicBezTo>
                  <a:cubicBezTo>
                    <a:pt x="175" y="47"/>
                    <a:pt x="176" y="47"/>
                    <a:pt x="176" y="45"/>
                  </a:cubicBezTo>
                  <a:cubicBezTo>
                    <a:pt x="176" y="45"/>
                    <a:pt x="175" y="45"/>
                    <a:pt x="175" y="45"/>
                  </a:cubicBezTo>
                  <a:cubicBezTo>
                    <a:pt x="174" y="45"/>
                    <a:pt x="174" y="45"/>
                    <a:pt x="174" y="45"/>
                  </a:cubicBezTo>
                  <a:cubicBezTo>
                    <a:pt x="174" y="44"/>
                    <a:pt x="174" y="44"/>
                    <a:pt x="174" y="44"/>
                  </a:cubicBezTo>
                  <a:cubicBezTo>
                    <a:pt x="173" y="44"/>
                    <a:pt x="172" y="44"/>
                    <a:pt x="171" y="44"/>
                  </a:cubicBezTo>
                  <a:cubicBezTo>
                    <a:pt x="170" y="44"/>
                    <a:pt x="169" y="44"/>
                    <a:pt x="168" y="45"/>
                  </a:cubicBezTo>
                  <a:cubicBezTo>
                    <a:pt x="167" y="45"/>
                    <a:pt x="167" y="46"/>
                    <a:pt x="166" y="47"/>
                  </a:cubicBezTo>
                  <a:cubicBezTo>
                    <a:pt x="166" y="47"/>
                    <a:pt x="165" y="48"/>
                    <a:pt x="165" y="49"/>
                  </a:cubicBezTo>
                  <a:cubicBezTo>
                    <a:pt x="163" y="50"/>
                    <a:pt x="160" y="49"/>
                    <a:pt x="158" y="49"/>
                  </a:cubicBezTo>
                  <a:cubicBezTo>
                    <a:pt x="157" y="49"/>
                    <a:pt x="156" y="50"/>
                    <a:pt x="155" y="50"/>
                  </a:cubicBezTo>
                  <a:cubicBezTo>
                    <a:pt x="154" y="50"/>
                    <a:pt x="154" y="51"/>
                    <a:pt x="153" y="51"/>
                  </a:cubicBezTo>
                  <a:cubicBezTo>
                    <a:pt x="152" y="52"/>
                    <a:pt x="152" y="54"/>
                    <a:pt x="150" y="54"/>
                  </a:cubicBezTo>
                  <a:cubicBezTo>
                    <a:pt x="150" y="55"/>
                    <a:pt x="149" y="55"/>
                    <a:pt x="149" y="55"/>
                  </a:cubicBezTo>
                  <a:cubicBezTo>
                    <a:pt x="149" y="55"/>
                    <a:pt x="149" y="56"/>
                    <a:pt x="149" y="57"/>
                  </a:cubicBezTo>
                  <a:cubicBezTo>
                    <a:pt x="149" y="57"/>
                    <a:pt x="149" y="58"/>
                    <a:pt x="150" y="58"/>
                  </a:cubicBezTo>
                  <a:cubicBezTo>
                    <a:pt x="150" y="59"/>
                    <a:pt x="150" y="59"/>
                    <a:pt x="150" y="60"/>
                  </a:cubicBezTo>
                  <a:cubicBezTo>
                    <a:pt x="150" y="60"/>
                    <a:pt x="150" y="61"/>
                    <a:pt x="151" y="61"/>
                  </a:cubicBezTo>
                  <a:cubicBezTo>
                    <a:pt x="151" y="61"/>
                    <a:pt x="152" y="61"/>
                    <a:pt x="152" y="61"/>
                  </a:cubicBezTo>
                  <a:cubicBezTo>
                    <a:pt x="153" y="61"/>
                    <a:pt x="154" y="61"/>
                    <a:pt x="155" y="60"/>
                  </a:cubicBezTo>
                  <a:cubicBezTo>
                    <a:pt x="155" y="59"/>
                    <a:pt x="156" y="59"/>
                    <a:pt x="157" y="58"/>
                  </a:cubicBezTo>
                  <a:cubicBezTo>
                    <a:pt x="157" y="58"/>
                    <a:pt x="158" y="57"/>
                    <a:pt x="159" y="57"/>
                  </a:cubicBezTo>
                  <a:cubicBezTo>
                    <a:pt x="160" y="56"/>
                    <a:pt x="162" y="54"/>
                    <a:pt x="164" y="54"/>
                  </a:cubicBezTo>
                  <a:cubicBezTo>
                    <a:pt x="165" y="54"/>
                    <a:pt x="165" y="53"/>
                    <a:pt x="166" y="53"/>
                  </a:cubicBezTo>
                  <a:close/>
                  <a:moveTo>
                    <a:pt x="180" y="52"/>
                  </a:moveTo>
                  <a:cubicBezTo>
                    <a:pt x="180" y="52"/>
                    <a:pt x="181" y="52"/>
                    <a:pt x="182" y="51"/>
                  </a:cubicBezTo>
                  <a:cubicBezTo>
                    <a:pt x="182" y="51"/>
                    <a:pt x="183" y="51"/>
                    <a:pt x="184" y="51"/>
                  </a:cubicBezTo>
                  <a:cubicBezTo>
                    <a:pt x="185" y="51"/>
                    <a:pt x="186" y="51"/>
                    <a:pt x="187" y="51"/>
                  </a:cubicBezTo>
                  <a:cubicBezTo>
                    <a:pt x="188" y="51"/>
                    <a:pt x="189" y="50"/>
                    <a:pt x="189" y="49"/>
                  </a:cubicBezTo>
                  <a:cubicBezTo>
                    <a:pt x="189" y="48"/>
                    <a:pt x="188" y="48"/>
                    <a:pt x="188" y="47"/>
                  </a:cubicBezTo>
                  <a:cubicBezTo>
                    <a:pt x="187" y="47"/>
                    <a:pt x="186" y="46"/>
                    <a:pt x="186" y="46"/>
                  </a:cubicBezTo>
                  <a:cubicBezTo>
                    <a:pt x="185" y="45"/>
                    <a:pt x="185" y="45"/>
                    <a:pt x="184" y="45"/>
                  </a:cubicBezTo>
                  <a:cubicBezTo>
                    <a:pt x="182" y="45"/>
                    <a:pt x="180" y="45"/>
                    <a:pt x="180" y="46"/>
                  </a:cubicBezTo>
                  <a:cubicBezTo>
                    <a:pt x="179" y="47"/>
                    <a:pt x="179" y="47"/>
                    <a:pt x="180" y="48"/>
                  </a:cubicBezTo>
                  <a:cubicBezTo>
                    <a:pt x="180" y="48"/>
                    <a:pt x="180" y="49"/>
                    <a:pt x="180" y="50"/>
                  </a:cubicBezTo>
                  <a:cubicBezTo>
                    <a:pt x="179" y="51"/>
                    <a:pt x="180" y="51"/>
                    <a:pt x="180" y="52"/>
                  </a:cubicBezTo>
                  <a:close/>
                  <a:moveTo>
                    <a:pt x="194" y="50"/>
                  </a:moveTo>
                  <a:cubicBezTo>
                    <a:pt x="195" y="49"/>
                    <a:pt x="196" y="49"/>
                    <a:pt x="197" y="49"/>
                  </a:cubicBezTo>
                  <a:cubicBezTo>
                    <a:pt x="197" y="50"/>
                    <a:pt x="197" y="50"/>
                    <a:pt x="197" y="50"/>
                  </a:cubicBezTo>
                  <a:cubicBezTo>
                    <a:pt x="198" y="51"/>
                    <a:pt x="198" y="51"/>
                    <a:pt x="198" y="51"/>
                  </a:cubicBezTo>
                  <a:cubicBezTo>
                    <a:pt x="199" y="51"/>
                    <a:pt x="199" y="50"/>
                    <a:pt x="199" y="49"/>
                  </a:cubicBezTo>
                  <a:cubicBezTo>
                    <a:pt x="198" y="48"/>
                    <a:pt x="198" y="47"/>
                    <a:pt x="198" y="46"/>
                  </a:cubicBezTo>
                  <a:cubicBezTo>
                    <a:pt x="198" y="45"/>
                    <a:pt x="198" y="43"/>
                    <a:pt x="197" y="44"/>
                  </a:cubicBezTo>
                  <a:cubicBezTo>
                    <a:pt x="196" y="44"/>
                    <a:pt x="196" y="46"/>
                    <a:pt x="195" y="46"/>
                  </a:cubicBezTo>
                  <a:cubicBezTo>
                    <a:pt x="194" y="46"/>
                    <a:pt x="193" y="45"/>
                    <a:pt x="192" y="45"/>
                  </a:cubicBezTo>
                  <a:cubicBezTo>
                    <a:pt x="191" y="45"/>
                    <a:pt x="190" y="43"/>
                    <a:pt x="189" y="44"/>
                  </a:cubicBezTo>
                  <a:cubicBezTo>
                    <a:pt x="188" y="44"/>
                    <a:pt x="188" y="45"/>
                    <a:pt x="189" y="46"/>
                  </a:cubicBezTo>
                  <a:cubicBezTo>
                    <a:pt x="189" y="46"/>
                    <a:pt x="189" y="46"/>
                    <a:pt x="190" y="47"/>
                  </a:cubicBezTo>
                  <a:cubicBezTo>
                    <a:pt x="190" y="47"/>
                    <a:pt x="191" y="47"/>
                    <a:pt x="191" y="48"/>
                  </a:cubicBezTo>
                  <a:cubicBezTo>
                    <a:pt x="192" y="48"/>
                    <a:pt x="193" y="50"/>
                    <a:pt x="192" y="51"/>
                  </a:cubicBezTo>
                  <a:cubicBezTo>
                    <a:pt x="194" y="51"/>
                    <a:pt x="194" y="50"/>
                    <a:pt x="194" y="50"/>
                  </a:cubicBezTo>
                  <a:close/>
                  <a:moveTo>
                    <a:pt x="123" y="32"/>
                  </a:moveTo>
                  <a:cubicBezTo>
                    <a:pt x="123" y="33"/>
                    <a:pt x="124" y="34"/>
                    <a:pt x="125" y="34"/>
                  </a:cubicBezTo>
                  <a:cubicBezTo>
                    <a:pt x="126" y="34"/>
                    <a:pt x="127" y="34"/>
                    <a:pt x="128" y="34"/>
                  </a:cubicBezTo>
                  <a:cubicBezTo>
                    <a:pt x="129" y="34"/>
                    <a:pt x="129" y="35"/>
                    <a:pt x="130" y="35"/>
                  </a:cubicBezTo>
                  <a:cubicBezTo>
                    <a:pt x="132" y="36"/>
                    <a:pt x="132" y="36"/>
                    <a:pt x="132" y="36"/>
                  </a:cubicBezTo>
                  <a:cubicBezTo>
                    <a:pt x="132" y="34"/>
                    <a:pt x="132" y="34"/>
                    <a:pt x="132" y="34"/>
                  </a:cubicBezTo>
                  <a:cubicBezTo>
                    <a:pt x="132" y="33"/>
                    <a:pt x="132" y="33"/>
                    <a:pt x="131" y="32"/>
                  </a:cubicBezTo>
                  <a:cubicBezTo>
                    <a:pt x="131" y="32"/>
                    <a:pt x="130" y="31"/>
                    <a:pt x="129" y="31"/>
                  </a:cubicBezTo>
                  <a:cubicBezTo>
                    <a:pt x="129" y="30"/>
                    <a:pt x="129" y="30"/>
                    <a:pt x="129" y="30"/>
                  </a:cubicBezTo>
                  <a:cubicBezTo>
                    <a:pt x="128" y="30"/>
                    <a:pt x="128" y="30"/>
                    <a:pt x="128" y="29"/>
                  </a:cubicBezTo>
                  <a:cubicBezTo>
                    <a:pt x="126" y="30"/>
                    <a:pt x="122" y="30"/>
                    <a:pt x="123" y="32"/>
                  </a:cubicBezTo>
                  <a:close/>
                  <a:moveTo>
                    <a:pt x="133" y="27"/>
                  </a:moveTo>
                  <a:cubicBezTo>
                    <a:pt x="133" y="28"/>
                    <a:pt x="135" y="29"/>
                    <a:pt x="136" y="29"/>
                  </a:cubicBezTo>
                  <a:cubicBezTo>
                    <a:pt x="137" y="29"/>
                    <a:pt x="139" y="29"/>
                    <a:pt x="140" y="28"/>
                  </a:cubicBezTo>
                  <a:cubicBezTo>
                    <a:pt x="141" y="28"/>
                    <a:pt x="141" y="28"/>
                    <a:pt x="141" y="28"/>
                  </a:cubicBezTo>
                  <a:cubicBezTo>
                    <a:pt x="141" y="27"/>
                    <a:pt x="141" y="26"/>
                    <a:pt x="141" y="25"/>
                  </a:cubicBezTo>
                  <a:cubicBezTo>
                    <a:pt x="141" y="24"/>
                    <a:pt x="140" y="22"/>
                    <a:pt x="139" y="23"/>
                  </a:cubicBezTo>
                  <a:cubicBezTo>
                    <a:pt x="138" y="24"/>
                    <a:pt x="137" y="25"/>
                    <a:pt x="136" y="26"/>
                  </a:cubicBezTo>
                  <a:cubicBezTo>
                    <a:pt x="135" y="26"/>
                    <a:pt x="134" y="26"/>
                    <a:pt x="133" y="27"/>
                  </a:cubicBezTo>
                  <a:close/>
                  <a:moveTo>
                    <a:pt x="145" y="14"/>
                  </a:moveTo>
                  <a:cubicBezTo>
                    <a:pt x="144" y="15"/>
                    <a:pt x="145" y="15"/>
                    <a:pt x="146" y="15"/>
                  </a:cubicBezTo>
                  <a:cubicBezTo>
                    <a:pt x="146" y="16"/>
                    <a:pt x="147" y="16"/>
                    <a:pt x="148" y="16"/>
                  </a:cubicBezTo>
                  <a:cubicBezTo>
                    <a:pt x="149" y="16"/>
                    <a:pt x="151" y="14"/>
                    <a:pt x="152" y="13"/>
                  </a:cubicBezTo>
                  <a:cubicBezTo>
                    <a:pt x="152" y="12"/>
                    <a:pt x="152" y="12"/>
                    <a:pt x="153" y="11"/>
                  </a:cubicBezTo>
                  <a:cubicBezTo>
                    <a:pt x="153" y="10"/>
                    <a:pt x="153" y="10"/>
                    <a:pt x="153" y="9"/>
                  </a:cubicBezTo>
                  <a:cubicBezTo>
                    <a:pt x="152" y="8"/>
                    <a:pt x="152" y="8"/>
                    <a:pt x="151" y="9"/>
                  </a:cubicBezTo>
                  <a:cubicBezTo>
                    <a:pt x="150" y="9"/>
                    <a:pt x="149" y="9"/>
                    <a:pt x="148" y="10"/>
                  </a:cubicBezTo>
                  <a:cubicBezTo>
                    <a:pt x="147" y="10"/>
                    <a:pt x="147" y="12"/>
                    <a:pt x="146" y="12"/>
                  </a:cubicBezTo>
                  <a:cubicBezTo>
                    <a:pt x="146" y="13"/>
                    <a:pt x="146" y="14"/>
                    <a:pt x="145" y="14"/>
                  </a:cubicBezTo>
                  <a:close/>
                  <a:moveTo>
                    <a:pt x="542" y="248"/>
                  </a:moveTo>
                  <a:cubicBezTo>
                    <a:pt x="542" y="248"/>
                    <a:pt x="542" y="248"/>
                    <a:pt x="542" y="248"/>
                  </a:cubicBezTo>
                  <a:cubicBezTo>
                    <a:pt x="542" y="248"/>
                    <a:pt x="542" y="247"/>
                    <a:pt x="543" y="247"/>
                  </a:cubicBezTo>
                  <a:cubicBezTo>
                    <a:pt x="543" y="246"/>
                    <a:pt x="545" y="246"/>
                    <a:pt x="545" y="246"/>
                  </a:cubicBezTo>
                  <a:cubicBezTo>
                    <a:pt x="545" y="245"/>
                    <a:pt x="545" y="245"/>
                    <a:pt x="545" y="245"/>
                  </a:cubicBezTo>
                  <a:cubicBezTo>
                    <a:pt x="545" y="243"/>
                    <a:pt x="547" y="243"/>
                    <a:pt x="548" y="242"/>
                  </a:cubicBezTo>
                  <a:cubicBezTo>
                    <a:pt x="548" y="241"/>
                    <a:pt x="547" y="241"/>
                    <a:pt x="547" y="240"/>
                  </a:cubicBezTo>
                  <a:cubicBezTo>
                    <a:pt x="548" y="240"/>
                    <a:pt x="549" y="240"/>
                    <a:pt x="550" y="240"/>
                  </a:cubicBezTo>
                  <a:cubicBezTo>
                    <a:pt x="551" y="240"/>
                    <a:pt x="552" y="239"/>
                    <a:pt x="552" y="237"/>
                  </a:cubicBezTo>
                  <a:cubicBezTo>
                    <a:pt x="552" y="237"/>
                    <a:pt x="553" y="236"/>
                    <a:pt x="553" y="235"/>
                  </a:cubicBezTo>
                  <a:cubicBezTo>
                    <a:pt x="552" y="234"/>
                    <a:pt x="551" y="235"/>
                    <a:pt x="551" y="234"/>
                  </a:cubicBezTo>
                  <a:cubicBezTo>
                    <a:pt x="550" y="233"/>
                    <a:pt x="551" y="232"/>
                    <a:pt x="551" y="231"/>
                  </a:cubicBezTo>
                  <a:cubicBezTo>
                    <a:pt x="551" y="229"/>
                    <a:pt x="549" y="228"/>
                    <a:pt x="550" y="226"/>
                  </a:cubicBezTo>
                  <a:cubicBezTo>
                    <a:pt x="551" y="227"/>
                    <a:pt x="551" y="229"/>
                    <a:pt x="552" y="230"/>
                  </a:cubicBezTo>
                  <a:cubicBezTo>
                    <a:pt x="553" y="231"/>
                    <a:pt x="554" y="231"/>
                    <a:pt x="555" y="232"/>
                  </a:cubicBezTo>
                  <a:cubicBezTo>
                    <a:pt x="556" y="232"/>
                    <a:pt x="556" y="233"/>
                    <a:pt x="557" y="232"/>
                  </a:cubicBezTo>
                  <a:cubicBezTo>
                    <a:pt x="557" y="232"/>
                    <a:pt x="558" y="231"/>
                    <a:pt x="558" y="230"/>
                  </a:cubicBezTo>
                  <a:cubicBezTo>
                    <a:pt x="559" y="230"/>
                    <a:pt x="559" y="229"/>
                    <a:pt x="559" y="228"/>
                  </a:cubicBezTo>
                  <a:cubicBezTo>
                    <a:pt x="559" y="226"/>
                    <a:pt x="558" y="228"/>
                    <a:pt x="557" y="229"/>
                  </a:cubicBezTo>
                  <a:cubicBezTo>
                    <a:pt x="556" y="229"/>
                    <a:pt x="557" y="228"/>
                    <a:pt x="557" y="227"/>
                  </a:cubicBezTo>
                  <a:cubicBezTo>
                    <a:pt x="558" y="226"/>
                    <a:pt x="558" y="225"/>
                    <a:pt x="558" y="224"/>
                  </a:cubicBezTo>
                  <a:cubicBezTo>
                    <a:pt x="557" y="222"/>
                    <a:pt x="554" y="222"/>
                    <a:pt x="552" y="222"/>
                  </a:cubicBezTo>
                  <a:cubicBezTo>
                    <a:pt x="552" y="221"/>
                    <a:pt x="553" y="220"/>
                    <a:pt x="552" y="220"/>
                  </a:cubicBezTo>
                  <a:cubicBezTo>
                    <a:pt x="551" y="219"/>
                    <a:pt x="551" y="219"/>
                    <a:pt x="551" y="218"/>
                  </a:cubicBezTo>
                  <a:cubicBezTo>
                    <a:pt x="553" y="218"/>
                    <a:pt x="553" y="219"/>
                    <a:pt x="554" y="220"/>
                  </a:cubicBezTo>
                  <a:cubicBezTo>
                    <a:pt x="555" y="221"/>
                    <a:pt x="556" y="221"/>
                    <a:pt x="557" y="221"/>
                  </a:cubicBezTo>
                  <a:cubicBezTo>
                    <a:pt x="558" y="222"/>
                    <a:pt x="560" y="221"/>
                    <a:pt x="561" y="221"/>
                  </a:cubicBezTo>
                  <a:cubicBezTo>
                    <a:pt x="562" y="221"/>
                    <a:pt x="563" y="220"/>
                    <a:pt x="563" y="219"/>
                  </a:cubicBezTo>
                  <a:cubicBezTo>
                    <a:pt x="565" y="218"/>
                    <a:pt x="565" y="218"/>
                    <a:pt x="566" y="216"/>
                  </a:cubicBezTo>
                  <a:cubicBezTo>
                    <a:pt x="566" y="215"/>
                    <a:pt x="567" y="213"/>
                    <a:pt x="568" y="212"/>
                  </a:cubicBezTo>
                  <a:cubicBezTo>
                    <a:pt x="568" y="211"/>
                    <a:pt x="569" y="210"/>
                    <a:pt x="567" y="209"/>
                  </a:cubicBezTo>
                  <a:cubicBezTo>
                    <a:pt x="567" y="209"/>
                    <a:pt x="565" y="209"/>
                    <a:pt x="565" y="209"/>
                  </a:cubicBezTo>
                  <a:cubicBezTo>
                    <a:pt x="564" y="208"/>
                    <a:pt x="564" y="208"/>
                    <a:pt x="564" y="208"/>
                  </a:cubicBezTo>
                  <a:cubicBezTo>
                    <a:pt x="566" y="209"/>
                    <a:pt x="568" y="208"/>
                    <a:pt x="568" y="206"/>
                  </a:cubicBezTo>
                  <a:cubicBezTo>
                    <a:pt x="569" y="205"/>
                    <a:pt x="567" y="203"/>
                    <a:pt x="567" y="202"/>
                  </a:cubicBezTo>
                  <a:cubicBezTo>
                    <a:pt x="566" y="201"/>
                    <a:pt x="565" y="199"/>
                    <a:pt x="563" y="198"/>
                  </a:cubicBezTo>
                  <a:cubicBezTo>
                    <a:pt x="562" y="197"/>
                    <a:pt x="560" y="197"/>
                    <a:pt x="560" y="195"/>
                  </a:cubicBezTo>
                  <a:cubicBezTo>
                    <a:pt x="561" y="195"/>
                    <a:pt x="562" y="195"/>
                    <a:pt x="562" y="196"/>
                  </a:cubicBezTo>
                  <a:cubicBezTo>
                    <a:pt x="563" y="196"/>
                    <a:pt x="563" y="197"/>
                    <a:pt x="564" y="197"/>
                  </a:cubicBezTo>
                  <a:cubicBezTo>
                    <a:pt x="565" y="198"/>
                    <a:pt x="566" y="195"/>
                    <a:pt x="565" y="194"/>
                  </a:cubicBezTo>
                  <a:cubicBezTo>
                    <a:pt x="565" y="194"/>
                    <a:pt x="564" y="193"/>
                    <a:pt x="566" y="192"/>
                  </a:cubicBezTo>
                  <a:cubicBezTo>
                    <a:pt x="567" y="192"/>
                    <a:pt x="568" y="193"/>
                    <a:pt x="568" y="192"/>
                  </a:cubicBezTo>
                  <a:cubicBezTo>
                    <a:pt x="568" y="191"/>
                    <a:pt x="568" y="190"/>
                    <a:pt x="567" y="189"/>
                  </a:cubicBezTo>
                  <a:cubicBezTo>
                    <a:pt x="567" y="189"/>
                    <a:pt x="566" y="189"/>
                    <a:pt x="565" y="189"/>
                  </a:cubicBezTo>
                  <a:cubicBezTo>
                    <a:pt x="564" y="188"/>
                    <a:pt x="566" y="187"/>
                    <a:pt x="566" y="187"/>
                  </a:cubicBezTo>
                  <a:cubicBezTo>
                    <a:pt x="567" y="186"/>
                    <a:pt x="567" y="185"/>
                    <a:pt x="566" y="184"/>
                  </a:cubicBezTo>
                  <a:cubicBezTo>
                    <a:pt x="566" y="183"/>
                    <a:pt x="565" y="183"/>
                    <a:pt x="565" y="182"/>
                  </a:cubicBezTo>
                  <a:cubicBezTo>
                    <a:pt x="566" y="182"/>
                    <a:pt x="565" y="181"/>
                    <a:pt x="566" y="180"/>
                  </a:cubicBezTo>
                  <a:cubicBezTo>
                    <a:pt x="566" y="179"/>
                    <a:pt x="568" y="179"/>
                    <a:pt x="568" y="177"/>
                  </a:cubicBezTo>
                  <a:cubicBezTo>
                    <a:pt x="569" y="175"/>
                    <a:pt x="565" y="175"/>
                    <a:pt x="564" y="174"/>
                  </a:cubicBezTo>
                  <a:cubicBezTo>
                    <a:pt x="563" y="174"/>
                    <a:pt x="563" y="174"/>
                    <a:pt x="562" y="173"/>
                  </a:cubicBezTo>
                  <a:cubicBezTo>
                    <a:pt x="562" y="173"/>
                    <a:pt x="561" y="173"/>
                    <a:pt x="561" y="173"/>
                  </a:cubicBezTo>
                  <a:cubicBezTo>
                    <a:pt x="561" y="172"/>
                    <a:pt x="562" y="173"/>
                    <a:pt x="563" y="172"/>
                  </a:cubicBezTo>
                  <a:cubicBezTo>
                    <a:pt x="564" y="172"/>
                    <a:pt x="563" y="171"/>
                    <a:pt x="563" y="171"/>
                  </a:cubicBezTo>
                  <a:cubicBezTo>
                    <a:pt x="563" y="171"/>
                    <a:pt x="563" y="171"/>
                    <a:pt x="564" y="170"/>
                  </a:cubicBezTo>
                  <a:cubicBezTo>
                    <a:pt x="564" y="169"/>
                    <a:pt x="563" y="169"/>
                    <a:pt x="562" y="169"/>
                  </a:cubicBezTo>
                  <a:cubicBezTo>
                    <a:pt x="561" y="167"/>
                    <a:pt x="560" y="166"/>
                    <a:pt x="559" y="164"/>
                  </a:cubicBezTo>
                  <a:cubicBezTo>
                    <a:pt x="558" y="162"/>
                    <a:pt x="555" y="164"/>
                    <a:pt x="554" y="164"/>
                  </a:cubicBezTo>
                  <a:cubicBezTo>
                    <a:pt x="552" y="164"/>
                    <a:pt x="550" y="162"/>
                    <a:pt x="550" y="165"/>
                  </a:cubicBezTo>
                  <a:cubicBezTo>
                    <a:pt x="552" y="165"/>
                    <a:pt x="551" y="166"/>
                    <a:pt x="551" y="168"/>
                  </a:cubicBezTo>
                  <a:cubicBezTo>
                    <a:pt x="551" y="169"/>
                    <a:pt x="552" y="168"/>
                    <a:pt x="552" y="169"/>
                  </a:cubicBezTo>
                  <a:cubicBezTo>
                    <a:pt x="553" y="170"/>
                    <a:pt x="552" y="170"/>
                    <a:pt x="551" y="170"/>
                  </a:cubicBezTo>
                  <a:cubicBezTo>
                    <a:pt x="550" y="171"/>
                    <a:pt x="551" y="171"/>
                    <a:pt x="550" y="171"/>
                  </a:cubicBezTo>
                  <a:cubicBezTo>
                    <a:pt x="549" y="171"/>
                    <a:pt x="549" y="171"/>
                    <a:pt x="549" y="171"/>
                  </a:cubicBezTo>
                  <a:cubicBezTo>
                    <a:pt x="548" y="172"/>
                    <a:pt x="548" y="172"/>
                    <a:pt x="548" y="172"/>
                  </a:cubicBezTo>
                  <a:cubicBezTo>
                    <a:pt x="548" y="173"/>
                    <a:pt x="548" y="173"/>
                    <a:pt x="548" y="173"/>
                  </a:cubicBezTo>
                  <a:cubicBezTo>
                    <a:pt x="547" y="173"/>
                    <a:pt x="547" y="174"/>
                    <a:pt x="547" y="175"/>
                  </a:cubicBezTo>
                  <a:cubicBezTo>
                    <a:pt x="547" y="176"/>
                    <a:pt x="546" y="178"/>
                    <a:pt x="545" y="178"/>
                  </a:cubicBezTo>
                  <a:cubicBezTo>
                    <a:pt x="544" y="179"/>
                    <a:pt x="543" y="179"/>
                    <a:pt x="543" y="180"/>
                  </a:cubicBezTo>
                  <a:cubicBezTo>
                    <a:pt x="542" y="180"/>
                    <a:pt x="542" y="181"/>
                    <a:pt x="542" y="181"/>
                  </a:cubicBezTo>
                  <a:cubicBezTo>
                    <a:pt x="541" y="182"/>
                    <a:pt x="539" y="180"/>
                    <a:pt x="539" y="180"/>
                  </a:cubicBezTo>
                  <a:cubicBezTo>
                    <a:pt x="538" y="180"/>
                    <a:pt x="538" y="179"/>
                    <a:pt x="538" y="179"/>
                  </a:cubicBezTo>
                  <a:cubicBezTo>
                    <a:pt x="537" y="178"/>
                    <a:pt x="535" y="179"/>
                    <a:pt x="534" y="180"/>
                  </a:cubicBezTo>
                  <a:cubicBezTo>
                    <a:pt x="533" y="181"/>
                    <a:pt x="535" y="183"/>
                    <a:pt x="536" y="184"/>
                  </a:cubicBezTo>
                  <a:cubicBezTo>
                    <a:pt x="537" y="184"/>
                    <a:pt x="541" y="183"/>
                    <a:pt x="541" y="185"/>
                  </a:cubicBezTo>
                  <a:cubicBezTo>
                    <a:pt x="541" y="185"/>
                    <a:pt x="543" y="184"/>
                    <a:pt x="544" y="185"/>
                  </a:cubicBezTo>
                  <a:cubicBezTo>
                    <a:pt x="544" y="185"/>
                    <a:pt x="549" y="184"/>
                    <a:pt x="547" y="186"/>
                  </a:cubicBezTo>
                  <a:cubicBezTo>
                    <a:pt x="547" y="186"/>
                    <a:pt x="545" y="186"/>
                    <a:pt x="544" y="186"/>
                  </a:cubicBezTo>
                  <a:cubicBezTo>
                    <a:pt x="544" y="187"/>
                    <a:pt x="544" y="187"/>
                    <a:pt x="543" y="188"/>
                  </a:cubicBezTo>
                  <a:cubicBezTo>
                    <a:pt x="543" y="189"/>
                    <a:pt x="542" y="189"/>
                    <a:pt x="542" y="189"/>
                  </a:cubicBezTo>
                  <a:cubicBezTo>
                    <a:pt x="541" y="190"/>
                    <a:pt x="542" y="190"/>
                    <a:pt x="541" y="191"/>
                  </a:cubicBezTo>
                  <a:cubicBezTo>
                    <a:pt x="541" y="191"/>
                    <a:pt x="540" y="192"/>
                    <a:pt x="540" y="192"/>
                  </a:cubicBezTo>
                  <a:cubicBezTo>
                    <a:pt x="539" y="193"/>
                    <a:pt x="540" y="193"/>
                    <a:pt x="540" y="194"/>
                  </a:cubicBezTo>
                  <a:cubicBezTo>
                    <a:pt x="541" y="195"/>
                    <a:pt x="541" y="197"/>
                    <a:pt x="540" y="198"/>
                  </a:cubicBezTo>
                  <a:cubicBezTo>
                    <a:pt x="540" y="199"/>
                    <a:pt x="540" y="200"/>
                    <a:pt x="539" y="201"/>
                  </a:cubicBezTo>
                  <a:cubicBezTo>
                    <a:pt x="539" y="201"/>
                    <a:pt x="539" y="201"/>
                    <a:pt x="539" y="202"/>
                  </a:cubicBezTo>
                  <a:cubicBezTo>
                    <a:pt x="538" y="204"/>
                    <a:pt x="540" y="206"/>
                    <a:pt x="539" y="209"/>
                  </a:cubicBezTo>
                  <a:cubicBezTo>
                    <a:pt x="538" y="210"/>
                    <a:pt x="536" y="209"/>
                    <a:pt x="535" y="208"/>
                  </a:cubicBezTo>
                  <a:cubicBezTo>
                    <a:pt x="535" y="206"/>
                    <a:pt x="536" y="205"/>
                    <a:pt x="536" y="203"/>
                  </a:cubicBezTo>
                  <a:cubicBezTo>
                    <a:pt x="536" y="202"/>
                    <a:pt x="536" y="203"/>
                    <a:pt x="535" y="202"/>
                  </a:cubicBezTo>
                  <a:cubicBezTo>
                    <a:pt x="534" y="202"/>
                    <a:pt x="534" y="201"/>
                    <a:pt x="534" y="201"/>
                  </a:cubicBezTo>
                  <a:cubicBezTo>
                    <a:pt x="533" y="201"/>
                    <a:pt x="531" y="202"/>
                    <a:pt x="531" y="201"/>
                  </a:cubicBezTo>
                  <a:cubicBezTo>
                    <a:pt x="530" y="201"/>
                    <a:pt x="529" y="199"/>
                    <a:pt x="528" y="201"/>
                  </a:cubicBezTo>
                  <a:cubicBezTo>
                    <a:pt x="528" y="202"/>
                    <a:pt x="528" y="205"/>
                    <a:pt x="529" y="206"/>
                  </a:cubicBezTo>
                  <a:cubicBezTo>
                    <a:pt x="530" y="207"/>
                    <a:pt x="531" y="206"/>
                    <a:pt x="532" y="207"/>
                  </a:cubicBezTo>
                  <a:cubicBezTo>
                    <a:pt x="532" y="208"/>
                    <a:pt x="532" y="209"/>
                    <a:pt x="532" y="210"/>
                  </a:cubicBezTo>
                  <a:cubicBezTo>
                    <a:pt x="532" y="210"/>
                    <a:pt x="533" y="210"/>
                    <a:pt x="534" y="210"/>
                  </a:cubicBezTo>
                  <a:cubicBezTo>
                    <a:pt x="535" y="211"/>
                    <a:pt x="535" y="212"/>
                    <a:pt x="536" y="213"/>
                  </a:cubicBezTo>
                  <a:cubicBezTo>
                    <a:pt x="537" y="214"/>
                    <a:pt x="538" y="214"/>
                    <a:pt x="539" y="215"/>
                  </a:cubicBezTo>
                  <a:cubicBezTo>
                    <a:pt x="540" y="216"/>
                    <a:pt x="541" y="217"/>
                    <a:pt x="542" y="217"/>
                  </a:cubicBezTo>
                  <a:cubicBezTo>
                    <a:pt x="543" y="218"/>
                    <a:pt x="543" y="218"/>
                    <a:pt x="544" y="216"/>
                  </a:cubicBezTo>
                  <a:cubicBezTo>
                    <a:pt x="544" y="215"/>
                    <a:pt x="545" y="215"/>
                    <a:pt x="545" y="215"/>
                  </a:cubicBezTo>
                  <a:cubicBezTo>
                    <a:pt x="546" y="215"/>
                    <a:pt x="548" y="215"/>
                    <a:pt x="548" y="216"/>
                  </a:cubicBezTo>
                  <a:cubicBezTo>
                    <a:pt x="547" y="217"/>
                    <a:pt x="545" y="217"/>
                    <a:pt x="545" y="218"/>
                  </a:cubicBezTo>
                  <a:cubicBezTo>
                    <a:pt x="544" y="219"/>
                    <a:pt x="543" y="219"/>
                    <a:pt x="543" y="220"/>
                  </a:cubicBezTo>
                  <a:cubicBezTo>
                    <a:pt x="543" y="221"/>
                    <a:pt x="543" y="224"/>
                    <a:pt x="541" y="222"/>
                  </a:cubicBezTo>
                  <a:cubicBezTo>
                    <a:pt x="539" y="221"/>
                    <a:pt x="541" y="220"/>
                    <a:pt x="540" y="218"/>
                  </a:cubicBezTo>
                  <a:cubicBezTo>
                    <a:pt x="540" y="218"/>
                    <a:pt x="539" y="216"/>
                    <a:pt x="538" y="216"/>
                  </a:cubicBezTo>
                  <a:cubicBezTo>
                    <a:pt x="537" y="215"/>
                    <a:pt x="536" y="215"/>
                    <a:pt x="535" y="214"/>
                  </a:cubicBezTo>
                  <a:cubicBezTo>
                    <a:pt x="534" y="213"/>
                    <a:pt x="534" y="212"/>
                    <a:pt x="533" y="212"/>
                  </a:cubicBezTo>
                  <a:cubicBezTo>
                    <a:pt x="532" y="211"/>
                    <a:pt x="531" y="212"/>
                    <a:pt x="530" y="211"/>
                  </a:cubicBezTo>
                  <a:cubicBezTo>
                    <a:pt x="530" y="210"/>
                    <a:pt x="528" y="208"/>
                    <a:pt x="527" y="209"/>
                  </a:cubicBezTo>
                  <a:cubicBezTo>
                    <a:pt x="526" y="209"/>
                    <a:pt x="527" y="211"/>
                    <a:pt x="527" y="212"/>
                  </a:cubicBezTo>
                  <a:cubicBezTo>
                    <a:pt x="528" y="214"/>
                    <a:pt x="529" y="216"/>
                    <a:pt x="529" y="217"/>
                  </a:cubicBezTo>
                  <a:cubicBezTo>
                    <a:pt x="529" y="219"/>
                    <a:pt x="528" y="221"/>
                    <a:pt x="528" y="222"/>
                  </a:cubicBezTo>
                  <a:cubicBezTo>
                    <a:pt x="528" y="223"/>
                    <a:pt x="528" y="225"/>
                    <a:pt x="529" y="226"/>
                  </a:cubicBezTo>
                  <a:cubicBezTo>
                    <a:pt x="531" y="227"/>
                    <a:pt x="531" y="227"/>
                    <a:pt x="531" y="227"/>
                  </a:cubicBezTo>
                  <a:cubicBezTo>
                    <a:pt x="531" y="226"/>
                    <a:pt x="531" y="226"/>
                    <a:pt x="531" y="226"/>
                  </a:cubicBezTo>
                  <a:cubicBezTo>
                    <a:pt x="532" y="227"/>
                    <a:pt x="532" y="227"/>
                    <a:pt x="533" y="227"/>
                  </a:cubicBezTo>
                  <a:cubicBezTo>
                    <a:pt x="534" y="228"/>
                    <a:pt x="535" y="228"/>
                    <a:pt x="535" y="230"/>
                  </a:cubicBezTo>
                  <a:cubicBezTo>
                    <a:pt x="536" y="231"/>
                    <a:pt x="534" y="233"/>
                    <a:pt x="533" y="232"/>
                  </a:cubicBezTo>
                  <a:cubicBezTo>
                    <a:pt x="532" y="231"/>
                    <a:pt x="533" y="229"/>
                    <a:pt x="533" y="228"/>
                  </a:cubicBezTo>
                  <a:cubicBezTo>
                    <a:pt x="531" y="228"/>
                    <a:pt x="530" y="228"/>
                    <a:pt x="528" y="228"/>
                  </a:cubicBezTo>
                  <a:cubicBezTo>
                    <a:pt x="528" y="228"/>
                    <a:pt x="528" y="227"/>
                    <a:pt x="528" y="227"/>
                  </a:cubicBezTo>
                  <a:cubicBezTo>
                    <a:pt x="527" y="228"/>
                    <a:pt x="527" y="230"/>
                    <a:pt x="527" y="232"/>
                  </a:cubicBezTo>
                  <a:cubicBezTo>
                    <a:pt x="526" y="234"/>
                    <a:pt x="527" y="236"/>
                    <a:pt x="526" y="238"/>
                  </a:cubicBezTo>
                  <a:cubicBezTo>
                    <a:pt x="526" y="240"/>
                    <a:pt x="526" y="243"/>
                    <a:pt x="525" y="245"/>
                  </a:cubicBezTo>
                  <a:cubicBezTo>
                    <a:pt x="524" y="246"/>
                    <a:pt x="524" y="247"/>
                    <a:pt x="525" y="249"/>
                  </a:cubicBezTo>
                  <a:cubicBezTo>
                    <a:pt x="526" y="251"/>
                    <a:pt x="529" y="250"/>
                    <a:pt x="530" y="252"/>
                  </a:cubicBezTo>
                  <a:cubicBezTo>
                    <a:pt x="530" y="252"/>
                    <a:pt x="531" y="254"/>
                    <a:pt x="531" y="254"/>
                  </a:cubicBezTo>
                  <a:cubicBezTo>
                    <a:pt x="532" y="255"/>
                    <a:pt x="533" y="255"/>
                    <a:pt x="534" y="255"/>
                  </a:cubicBezTo>
                  <a:cubicBezTo>
                    <a:pt x="535" y="254"/>
                    <a:pt x="535" y="254"/>
                    <a:pt x="536" y="254"/>
                  </a:cubicBezTo>
                  <a:cubicBezTo>
                    <a:pt x="538" y="253"/>
                    <a:pt x="541" y="252"/>
                    <a:pt x="542" y="251"/>
                  </a:cubicBezTo>
                  <a:cubicBezTo>
                    <a:pt x="543" y="250"/>
                    <a:pt x="544" y="249"/>
                    <a:pt x="542" y="248"/>
                  </a:cubicBezTo>
                  <a:close/>
                  <a:moveTo>
                    <a:pt x="563" y="233"/>
                  </a:moveTo>
                  <a:cubicBezTo>
                    <a:pt x="564" y="233"/>
                    <a:pt x="564" y="233"/>
                    <a:pt x="564" y="233"/>
                  </a:cubicBezTo>
                  <a:cubicBezTo>
                    <a:pt x="565" y="234"/>
                    <a:pt x="565" y="234"/>
                    <a:pt x="565" y="234"/>
                  </a:cubicBezTo>
                  <a:cubicBezTo>
                    <a:pt x="565" y="234"/>
                    <a:pt x="565" y="233"/>
                    <a:pt x="565" y="233"/>
                  </a:cubicBezTo>
                  <a:cubicBezTo>
                    <a:pt x="566" y="233"/>
                    <a:pt x="566" y="232"/>
                    <a:pt x="566" y="232"/>
                  </a:cubicBezTo>
                  <a:cubicBezTo>
                    <a:pt x="567" y="232"/>
                    <a:pt x="567" y="232"/>
                    <a:pt x="568" y="231"/>
                  </a:cubicBezTo>
                  <a:cubicBezTo>
                    <a:pt x="567" y="231"/>
                    <a:pt x="567" y="231"/>
                    <a:pt x="567" y="231"/>
                  </a:cubicBezTo>
                  <a:cubicBezTo>
                    <a:pt x="567" y="230"/>
                    <a:pt x="567" y="229"/>
                    <a:pt x="566" y="229"/>
                  </a:cubicBezTo>
                  <a:cubicBezTo>
                    <a:pt x="565" y="228"/>
                    <a:pt x="565" y="227"/>
                    <a:pt x="564" y="227"/>
                  </a:cubicBezTo>
                  <a:cubicBezTo>
                    <a:pt x="563" y="226"/>
                    <a:pt x="563" y="227"/>
                    <a:pt x="563" y="227"/>
                  </a:cubicBezTo>
                  <a:cubicBezTo>
                    <a:pt x="562" y="228"/>
                    <a:pt x="559" y="228"/>
                    <a:pt x="561" y="230"/>
                  </a:cubicBezTo>
                  <a:cubicBezTo>
                    <a:pt x="561" y="230"/>
                    <a:pt x="561" y="230"/>
                    <a:pt x="562" y="231"/>
                  </a:cubicBezTo>
                  <a:cubicBezTo>
                    <a:pt x="562" y="231"/>
                    <a:pt x="562" y="232"/>
                    <a:pt x="562" y="233"/>
                  </a:cubicBezTo>
                  <a:cubicBezTo>
                    <a:pt x="562" y="233"/>
                    <a:pt x="563" y="233"/>
                    <a:pt x="563" y="233"/>
                  </a:cubicBezTo>
                  <a:close/>
                  <a:moveTo>
                    <a:pt x="571" y="227"/>
                  </a:moveTo>
                  <a:cubicBezTo>
                    <a:pt x="572" y="228"/>
                    <a:pt x="572" y="228"/>
                    <a:pt x="572" y="228"/>
                  </a:cubicBezTo>
                  <a:cubicBezTo>
                    <a:pt x="572" y="228"/>
                    <a:pt x="573" y="228"/>
                    <a:pt x="573" y="227"/>
                  </a:cubicBezTo>
                  <a:cubicBezTo>
                    <a:pt x="573" y="226"/>
                    <a:pt x="573" y="225"/>
                    <a:pt x="574" y="224"/>
                  </a:cubicBezTo>
                  <a:cubicBezTo>
                    <a:pt x="574" y="224"/>
                    <a:pt x="574" y="223"/>
                    <a:pt x="574" y="223"/>
                  </a:cubicBezTo>
                  <a:cubicBezTo>
                    <a:pt x="575" y="222"/>
                    <a:pt x="575" y="222"/>
                    <a:pt x="575" y="222"/>
                  </a:cubicBezTo>
                  <a:cubicBezTo>
                    <a:pt x="576" y="221"/>
                    <a:pt x="576" y="220"/>
                    <a:pt x="576" y="219"/>
                  </a:cubicBezTo>
                  <a:cubicBezTo>
                    <a:pt x="576" y="219"/>
                    <a:pt x="576" y="218"/>
                    <a:pt x="576" y="218"/>
                  </a:cubicBezTo>
                  <a:cubicBezTo>
                    <a:pt x="576" y="217"/>
                    <a:pt x="575" y="217"/>
                    <a:pt x="575" y="217"/>
                  </a:cubicBezTo>
                  <a:cubicBezTo>
                    <a:pt x="575" y="217"/>
                    <a:pt x="574" y="217"/>
                    <a:pt x="574" y="217"/>
                  </a:cubicBezTo>
                  <a:cubicBezTo>
                    <a:pt x="574" y="217"/>
                    <a:pt x="573" y="217"/>
                    <a:pt x="573" y="217"/>
                  </a:cubicBezTo>
                  <a:cubicBezTo>
                    <a:pt x="572" y="218"/>
                    <a:pt x="572" y="219"/>
                    <a:pt x="572" y="220"/>
                  </a:cubicBezTo>
                  <a:cubicBezTo>
                    <a:pt x="571" y="221"/>
                    <a:pt x="570" y="221"/>
                    <a:pt x="570" y="222"/>
                  </a:cubicBezTo>
                  <a:cubicBezTo>
                    <a:pt x="569" y="223"/>
                    <a:pt x="570" y="224"/>
                    <a:pt x="570" y="225"/>
                  </a:cubicBezTo>
                  <a:cubicBezTo>
                    <a:pt x="571" y="225"/>
                    <a:pt x="570" y="226"/>
                    <a:pt x="570" y="227"/>
                  </a:cubicBezTo>
                  <a:cubicBezTo>
                    <a:pt x="571" y="227"/>
                    <a:pt x="571" y="227"/>
                    <a:pt x="571" y="227"/>
                  </a:cubicBezTo>
                  <a:close/>
                  <a:moveTo>
                    <a:pt x="567" y="237"/>
                  </a:moveTo>
                  <a:cubicBezTo>
                    <a:pt x="566" y="236"/>
                    <a:pt x="566" y="236"/>
                    <a:pt x="566" y="236"/>
                  </a:cubicBezTo>
                  <a:cubicBezTo>
                    <a:pt x="566" y="236"/>
                    <a:pt x="566" y="235"/>
                    <a:pt x="565" y="235"/>
                  </a:cubicBezTo>
                  <a:cubicBezTo>
                    <a:pt x="565" y="235"/>
                    <a:pt x="564" y="235"/>
                    <a:pt x="563" y="236"/>
                  </a:cubicBezTo>
                  <a:cubicBezTo>
                    <a:pt x="563" y="236"/>
                    <a:pt x="563" y="237"/>
                    <a:pt x="563" y="237"/>
                  </a:cubicBezTo>
                  <a:cubicBezTo>
                    <a:pt x="563" y="239"/>
                    <a:pt x="562" y="240"/>
                    <a:pt x="561" y="241"/>
                  </a:cubicBezTo>
                  <a:cubicBezTo>
                    <a:pt x="560" y="242"/>
                    <a:pt x="559" y="243"/>
                    <a:pt x="559" y="244"/>
                  </a:cubicBezTo>
                  <a:cubicBezTo>
                    <a:pt x="559" y="244"/>
                    <a:pt x="559" y="245"/>
                    <a:pt x="560" y="245"/>
                  </a:cubicBezTo>
                  <a:cubicBezTo>
                    <a:pt x="560" y="246"/>
                    <a:pt x="560" y="246"/>
                    <a:pt x="560" y="246"/>
                  </a:cubicBezTo>
                  <a:cubicBezTo>
                    <a:pt x="561" y="246"/>
                    <a:pt x="561" y="246"/>
                    <a:pt x="561" y="246"/>
                  </a:cubicBezTo>
                  <a:cubicBezTo>
                    <a:pt x="561" y="247"/>
                    <a:pt x="561" y="247"/>
                    <a:pt x="561" y="247"/>
                  </a:cubicBezTo>
                  <a:cubicBezTo>
                    <a:pt x="562" y="247"/>
                    <a:pt x="562" y="247"/>
                    <a:pt x="562" y="247"/>
                  </a:cubicBezTo>
                  <a:cubicBezTo>
                    <a:pt x="563" y="247"/>
                    <a:pt x="563" y="247"/>
                    <a:pt x="563" y="247"/>
                  </a:cubicBezTo>
                  <a:cubicBezTo>
                    <a:pt x="563" y="246"/>
                    <a:pt x="563" y="246"/>
                    <a:pt x="564" y="245"/>
                  </a:cubicBezTo>
                  <a:cubicBezTo>
                    <a:pt x="564" y="244"/>
                    <a:pt x="565" y="243"/>
                    <a:pt x="565" y="243"/>
                  </a:cubicBezTo>
                  <a:cubicBezTo>
                    <a:pt x="566" y="242"/>
                    <a:pt x="565" y="241"/>
                    <a:pt x="566" y="240"/>
                  </a:cubicBezTo>
                  <a:cubicBezTo>
                    <a:pt x="566" y="239"/>
                    <a:pt x="566" y="239"/>
                    <a:pt x="566" y="239"/>
                  </a:cubicBezTo>
                  <a:cubicBezTo>
                    <a:pt x="567" y="239"/>
                    <a:pt x="567" y="238"/>
                    <a:pt x="567" y="238"/>
                  </a:cubicBezTo>
                  <a:cubicBezTo>
                    <a:pt x="567" y="237"/>
                    <a:pt x="567" y="237"/>
                    <a:pt x="567" y="237"/>
                  </a:cubicBezTo>
                  <a:close/>
                  <a:moveTo>
                    <a:pt x="450" y="198"/>
                  </a:moveTo>
                  <a:cubicBezTo>
                    <a:pt x="451" y="198"/>
                    <a:pt x="453" y="197"/>
                    <a:pt x="454" y="196"/>
                  </a:cubicBezTo>
                  <a:cubicBezTo>
                    <a:pt x="454" y="195"/>
                    <a:pt x="454" y="194"/>
                    <a:pt x="455" y="193"/>
                  </a:cubicBezTo>
                  <a:cubicBezTo>
                    <a:pt x="455" y="192"/>
                    <a:pt x="456" y="192"/>
                    <a:pt x="456" y="192"/>
                  </a:cubicBezTo>
                  <a:cubicBezTo>
                    <a:pt x="457" y="191"/>
                    <a:pt x="457" y="191"/>
                    <a:pt x="456" y="190"/>
                  </a:cubicBezTo>
                  <a:cubicBezTo>
                    <a:pt x="456" y="189"/>
                    <a:pt x="456" y="189"/>
                    <a:pt x="456" y="188"/>
                  </a:cubicBezTo>
                  <a:cubicBezTo>
                    <a:pt x="456" y="185"/>
                    <a:pt x="457" y="184"/>
                    <a:pt x="459" y="181"/>
                  </a:cubicBezTo>
                  <a:cubicBezTo>
                    <a:pt x="459" y="181"/>
                    <a:pt x="460" y="179"/>
                    <a:pt x="461" y="178"/>
                  </a:cubicBezTo>
                  <a:cubicBezTo>
                    <a:pt x="462" y="178"/>
                    <a:pt x="463" y="177"/>
                    <a:pt x="464" y="176"/>
                  </a:cubicBezTo>
                  <a:cubicBezTo>
                    <a:pt x="468" y="173"/>
                    <a:pt x="468" y="167"/>
                    <a:pt x="469" y="163"/>
                  </a:cubicBezTo>
                  <a:cubicBezTo>
                    <a:pt x="469" y="161"/>
                    <a:pt x="470" y="160"/>
                    <a:pt x="470" y="158"/>
                  </a:cubicBezTo>
                  <a:cubicBezTo>
                    <a:pt x="471" y="158"/>
                    <a:pt x="471" y="157"/>
                    <a:pt x="470" y="156"/>
                  </a:cubicBezTo>
                  <a:cubicBezTo>
                    <a:pt x="470" y="156"/>
                    <a:pt x="469" y="156"/>
                    <a:pt x="469" y="155"/>
                  </a:cubicBezTo>
                  <a:cubicBezTo>
                    <a:pt x="468" y="155"/>
                    <a:pt x="468" y="154"/>
                    <a:pt x="468" y="155"/>
                  </a:cubicBezTo>
                  <a:cubicBezTo>
                    <a:pt x="467" y="155"/>
                    <a:pt x="467" y="156"/>
                    <a:pt x="466" y="157"/>
                  </a:cubicBezTo>
                  <a:cubicBezTo>
                    <a:pt x="466" y="158"/>
                    <a:pt x="465" y="160"/>
                    <a:pt x="465" y="161"/>
                  </a:cubicBezTo>
                  <a:cubicBezTo>
                    <a:pt x="463" y="164"/>
                    <a:pt x="462" y="168"/>
                    <a:pt x="462" y="171"/>
                  </a:cubicBezTo>
                  <a:cubicBezTo>
                    <a:pt x="462" y="173"/>
                    <a:pt x="461" y="174"/>
                    <a:pt x="460" y="175"/>
                  </a:cubicBezTo>
                  <a:cubicBezTo>
                    <a:pt x="459" y="176"/>
                    <a:pt x="458" y="177"/>
                    <a:pt x="457" y="178"/>
                  </a:cubicBezTo>
                  <a:cubicBezTo>
                    <a:pt x="455" y="180"/>
                    <a:pt x="456" y="182"/>
                    <a:pt x="455" y="185"/>
                  </a:cubicBezTo>
                  <a:cubicBezTo>
                    <a:pt x="455" y="186"/>
                    <a:pt x="454" y="186"/>
                    <a:pt x="454" y="187"/>
                  </a:cubicBezTo>
                  <a:cubicBezTo>
                    <a:pt x="453" y="188"/>
                    <a:pt x="453" y="189"/>
                    <a:pt x="453" y="190"/>
                  </a:cubicBezTo>
                  <a:cubicBezTo>
                    <a:pt x="452" y="191"/>
                    <a:pt x="452" y="193"/>
                    <a:pt x="452" y="194"/>
                  </a:cubicBezTo>
                  <a:cubicBezTo>
                    <a:pt x="451" y="195"/>
                    <a:pt x="451" y="196"/>
                    <a:pt x="451" y="196"/>
                  </a:cubicBezTo>
                  <a:cubicBezTo>
                    <a:pt x="450" y="198"/>
                    <a:pt x="450" y="198"/>
                    <a:pt x="450" y="198"/>
                  </a:cubicBezTo>
                  <a:close/>
                  <a:moveTo>
                    <a:pt x="448" y="187"/>
                  </a:moveTo>
                  <a:cubicBezTo>
                    <a:pt x="447" y="186"/>
                    <a:pt x="446" y="186"/>
                    <a:pt x="446" y="185"/>
                  </a:cubicBezTo>
                  <a:cubicBezTo>
                    <a:pt x="446" y="184"/>
                    <a:pt x="446" y="183"/>
                    <a:pt x="446" y="183"/>
                  </a:cubicBezTo>
                  <a:cubicBezTo>
                    <a:pt x="445" y="183"/>
                    <a:pt x="445" y="183"/>
                    <a:pt x="445" y="183"/>
                  </a:cubicBezTo>
                  <a:cubicBezTo>
                    <a:pt x="445" y="182"/>
                    <a:pt x="445" y="182"/>
                    <a:pt x="445" y="182"/>
                  </a:cubicBezTo>
                  <a:cubicBezTo>
                    <a:pt x="445" y="182"/>
                    <a:pt x="445" y="182"/>
                    <a:pt x="445" y="182"/>
                  </a:cubicBezTo>
                  <a:cubicBezTo>
                    <a:pt x="444" y="182"/>
                    <a:pt x="444" y="181"/>
                    <a:pt x="444" y="181"/>
                  </a:cubicBezTo>
                  <a:cubicBezTo>
                    <a:pt x="444" y="180"/>
                    <a:pt x="443" y="179"/>
                    <a:pt x="444" y="178"/>
                  </a:cubicBezTo>
                  <a:cubicBezTo>
                    <a:pt x="445" y="178"/>
                    <a:pt x="446" y="179"/>
                    <a:pt x="446" y="180"/>
                  </a:cubicBezTo>
                  <a:cubicBezTo>
                    <a:pt x="446" y="180"/>
                    <a:pt x="447" y="180"/>
                    <a:pt x="447" y="180"/>
                  </a:cubicBezTo>
                  <a:cubicBezTo>
                    <a:pt x="448" y="179"/>
                    <a:pt x="447" y="177"/>
                    <a:pt x="447" y="176"/>
                  </a:cubicBezTo>
                  <a:cubicBezTo>
                    <a:pt x="447" y="175"/>
                    <a:pt x="448" y="174"/>
                    <a:pt x="448" y="172"/>
                  </a:cubicBezTo>
                  <a:cubicBezTo>
                    <a:pt x="448" y="172"/>
                    <a:pt x="448" y="171"/>
                    <a:pt x="448" y="171"/>
                  </a:cubicBezTo>
                  <a:cubicBezTo>
                    <a:pt x="447" y="169"/>
                    <a:pt x="446" y="172"/>
                    <a:pt x="445" y="172"/>
                  </a:cubicBezTo>
                  <a:cubicBezTo>
                    <a:pt x="444" y="174"/>
                    <a:pt x="443" y="177"/>
                    <a:pt x="441" y="177"/>
                  </a:cubicBezTo>
                  <a:cubicBezTo>
                    <a:pt x="441" y="177"/>
                    <a:pt x="442" y="176"/>
                    <a:pt x="441" y="176"/>
                  </a:cubicBezTo>
                  <a:cubicBezTo>
                    <a:pt x="441" y="175"/>
                    <a:pt x="440" y="176"/>
                    <a:pt x="440" y="176"/>
                  </a:cubicBezTo>
                  <a:cubicBezTo>
                    <a:pt x="439" y="176"/>
                    <a:pt x="439" y="176"/>
                    <a:pt x="438" y="176"/>
                  </a:cubicBezTo>
                  <a:cubicBezTo>
                    <a:pt x="438" y="176"/>
                    <a:pt x="437" y="175"/>
                    <a:pt x="437" y="175"/>
                  </a:cubicBezTo>
                  <a:cubicBezTo>
                    <a:pt x="437" y="176"/>
                    <a:pt x="437" y="176"/>
                    <a:pt x="437" y="177"/>
                  </a:cubicBezTo>
                  <a:cubicBezTo>
                    <a:pt x="437" y="178"/>
                    <a:pt x="437" y="178"/>
                    <a:pt x="438" y="179"/>
                  </a:cubicBezTo>
                  <a:cubicBezTo>
                    <a:pt x="439" y="180"/>
                    <a:pt x="438" y="181"/>
                    <a:pt x="439" y="181"/>
                  </a:cubicBezTo>
                  <a:cubicBezTo>
                    <a:pt x="439" y="182"/>
                    <a:pt x="440" y="182"/>
                    <a:pt x="440" y="182"/>
                  </a:cubicBezTo>
                  <a:cubicBezTo>
                    <a:pt x="440" y="183"/>
                    <a:pt x="441" y="183"/>
                    <a:pt x="441" y="184"/>
                  </a:cubicBezTo>
                  <a:cubicBezTo>
                    <a:pt x="442" y="185"/>
                    <a:pt x="442" y="185"/>
                    <a:pt x="442" y="186"/>
                  </a:cubicBezTo>
                  <a:cubicBezTo>
                    <a:pt x="442" y="187"/>
                    <a:pt x="442" y="189"/>
                    <a:pt x="441" y="189"/>
                  </a:cubicBezTo>
                  <a:cubicBezTo>
                    <a:pt x="441" y="188"/>
                    <a:pt x="441" y="185"/>
                    <a:pt x="440" y="185"/>
                  </a:cubicBezTo>
                  <a:cubicBezTo>
                    <a:pt x="440" y="185"/>
                    <a:pt x="440" y="186"/>
                    <a:pt x="440" y="187"/>
                  </a:cubicBezTo>
                  <a:cubicBezTo>
                    <a:pt x="440" y="188"/>
                    <a:pt x="440" y="188"/>
                    <a:pt x="440" y="189"/>
                  </a:cubicBezTo>
                  <a:cubicBezTo>
                    <a:pt x="439" y="189"/>
                    <a:pt x="439" y="189"/>
                    <a:pt x="439" y="190"/>
                  </a:cubicBezTo>
                  <a:cubicBezTo>
                    <a:pt x="439" y="191"/>
                    <a:pt x="439" y="192"/>
                    <a:pt x="439" y="193"/>
                  </a:cubicBezTo>
                  <a:cubicBezTo>
                    <a:pt x="439" y="194"/>
                    <a:pt x="440" y="193"/>
                    <a:pt x="441" y="194"/>
                  </a:cubicBezTo>
                  <a:cubicBezTo>
                    <a:pt x="441" y="195"/>
                    <a:pt x="441" y="196"/>
                    <a:pt x="441" y="195"/>
                  </a:cubicBezTo>
                  <a:cubicBezTo>
                    <a:pt x="441" y="194"/>
                    <a:pt x="441" y="194"/>
                    <a:pt x="441" y="194"/>
                  </a:cubicBezTo>
                  <a:cubicBezTo>
                    <a:pt x="441" y="194"/>
                    <a:pt x="441" y="192"/>
                    <a:pt x="442" y="192"/>
                  </a:cubicBezTo>
                  <a:cubicBezTo>
                    <a:pt x="443" y="192"/>
                    <a:pt x="443" y="194"/>
                    <a:pt x="443" y="194"/>
                  </a:cubicBezTo>
                  <a:cubicBezTo>
                    <a:pt x="444" y="196"/>
                    <a:pt x="444" y="196"/>
                    <a:pt x="445" y="196"/>
                  </a:cubicBezTo>
                  <a:cubicBezTo>
                    <a:pt x="446" y="195"/>
                    <a:pt x="446" y="195"/>
                    <a:pt x="446" y="194"/>
                  </a:cubicBezTo>
                  <a:cubicBezTo>
                    <a:pt x="446" y="193"/>
                    <a:pt x="447" y="193"/>
                    <a:pt x="447" y="192"/>
                  </a:cubicBezTo>
                  <a:cubicBezTo>
                    <a:pt x="448" y="190"/>
                    <a:pt x="448" y="188"/>
                    <a:pt x="448" y="187"/>
                  </a:cubicBezTo>
                  <a:close/>
                  <a:moveTo>
                    <a:pt x="351" y="322"/>
                  </a:moveTo>
                  <a:cubicBezTo>
                    <a:pt x="352" y="322"/>
                    <a:pt x="353" y="319"/>
                    <a:pt x="354" y="319"/>
                  </a:cubicBezTo>
                  <a:cubicBezTo>
                    <a:pt x="356" y="319"/>
                    <a:pt x="354" y="324"/>
                    <a:pt x="354" y="326"/>
                  </a:cubicBezTo>
                  <a:cubicBezTo>
                    <a:pt x="357" y="325"/>
                    <a:pt x="356" y="323"/>
                    <a:pt x="357" y="321"/>
                  </a:cubicBezTo>
                  <a:cubicBezTo>
                    <a:pt x="357" y="319"/>
                    <a:pt x="358" y="317"/>
                    <a:pt x="359" y="316"/>
                  </a:cubicBezTo>
                  <a:cubicBezTo>
                    <a:pt x="359" y="314"/>
                    <a:pt x="361" y="313"/>
                    <a:pt x="363" y="312"/>
                  </a:cubicBezTo>
                  <a:cubicBezTo>
                    <a:pt x="365" y="311"/>
                    <a:pt x="365" y="308"/>
                    <a:pt x="367" y="306"/>
                  </a:cubicBezTo>
                  <a:cubicBezTo>
                    <a:pt x="368" y="305"/>
                    <a:pt x="370" y="304"/>
                    <a:pt x="372" y="303"/>
                  </a:cubicBezTo>
                  <a:cubicBezTo>
                    <a:pt x="373" y="302"/>
                    <a:pt x="374" y="301"/>
                    <a:pt x="374" y="299"/>
                  </a:cubicBezTo>
                  <a:cubicBezTo>
                    <a:pt x="375" y="298"/>
                    <a:pt x="376" y="297"/>
                    <a:pt x="377" y="295"/>
                  </a:cubicBezTo>
                  <a:cubicBezTo>
                    <a:pt x="377" y="294"/>
                    <a:pt x="377" y="294"/>
                    <a:pt x="377" y="293"/>
                  </a:cubicBezTo>
                  <a:cubicBezTo>
                    <a:pt x="377" y="292"/>
                    <a:pt x="378" y="291"/>
                    <a:pt x="378" y="290"/>
                  </a:cubicBezTo>
                  <a:cubicBezTo>
                    <a:pt x="379" y="288"/>
                    <a:pt x="377" y="288"/>
                    <a:pt x="377" y="286"/>
                  </a:cubicBezTo>
                  <a:cubicBezTo>
                    <a:pt x="378" y="285"/>
                    <a:pt x="378" y="285"/>
                    <a:pt x="378" y="284"/>
                  </a:cubicBezTo>
                  <a:cubicBezTo>
                    <a:pt x="378" y="283"/>
                    <a:pt x="378" y="283"/>
                    <a:pt x="378" y="282"/>
                  </a:cubicBezTo>
                  <a:cubicBezTo>
                    <a:pt x="377" y="280"/>
                    <a:pt x="377" y="280"/>
                    <a:pt x="375" y="279"/>
                  </a:cubicBezTo>
                  <a:cubicBezTo>
                    <a:pt x="376" y="277"/>
                    <a:pt x="377" y="276"/>
                    <a:pt x="378" y="275"/>
                  </a:cubicBezTo>
                  <a:cubicBezTo>
                    <a:pt x="379" y="275"/>
                    <a:pt x="381" y="275"/>
                    <a:pt x="381" y="274"/>
                  </a:cubicBezTo>
                  <a:cubicBezTo>
                    <a:pt x="382" y="274"/>
                    <a:pt x="381" y="273"/>
                    <a:pt x="382" y="272"/>
                  </a:cubicBezTo>
                  <a:cubicBezTo>
                    <a:pt x="382" y="271"/>
                    <a:pt x="386" y="271"/>
                    <a:pt x="387" y="271"/>
                  </a:cubicBezTo>
                  <a:cubicBezTo>
                    <a:pt x="389" y="271"/>
                    <a:pt x="391" y="272"/>
                    <a:pt x="393" y="274"/>
                  </a:cubicBezTo>
                  <a:cubicBezTo>
                    <a:pt x="394" y="275"/>
                    <a:pt x="396" y="276"/>
                    <a:pt x="396" y="274"/>
                  </a:cubicBezTo>
                  <a:cubicBezTo>
                    <a:pt x="396" y="272"/>
                    <a:pt x="395" y="271"/>
                    <a:pt x="394" y="270"/>
                  </a:cubicBezTo>
                  <a:cubicBezTo>
                    <a:pt x="394" y="269"/>
                    <a:pt x="394" y="269"/>
                    <a:pt x="393" y="268"/>
                  </a:cubicBezTo>
                  <a:cubicBezTo>
                    <a:pt x="392" y="268"/>
                    <a:pt x="392" y="267"/>
                    <a:pt x="391" y="267"/>
                  </a:cubicBezTo>
                  <a:cubicBezTo>
                    <a:pt x="389" y="267"/>
                    <a:pt x="386" y="268"/>
                    <a:pt x="384" y="268"/>
                  </a:cubicBezTo>
                  <a:cubicBezTo>
                    <a:pt x="382" y="269"/>
                    <a:pt x="380" y="270"/>
                    <a:pt x="379" y="270"/>
                  </a:cubicBezTo>
                  <a:cubicBezTo>
                    <a:pt x="376" y="271"/>
                    <a:pt x="375" y="270"/>
                    <a:pt x="377" y="268"/>
                  </a:cubicBezTo>
                  <a:cubicBezTo>
                    <a:pt x="375" y="268"/>
                    <a:pt x="371" y="269"/>
                    <a:pt x="370" y="271"/>
                  </a:cubicBezTo>
                  <a:cubicBezTo>
                    <a:pt x="368" y="272"/>
                    <a:pt x="370" y="273"/>
                    <a:pt x="369" y="274"/>
                  </a:cubicBezTo>
                  <a:cubicBezTo>
                    <a:pt x="368" y="275"/>
                    <a:pt x="367" y="275"/>
                    <a:pt x="366" y="275"/>
                  </a:cubicBezTo>
                  <a:cubicBezTo>
                    <a:pt x="365" y="276"/>
                    <a:pt x="366" y="276"/>
                    <a:pt x="365" y="277"/>
                  </a:cubicBezTo>
                  <a:cubicBezTo>
                    <a:pt x="365" y="278"/>
                    <a:pt x="363" y="280"/>
                    <a:pt x="365" y="281"/>
                  </a:cubicBezTo>
                  <a:cubicBezTo>
                    <a:pt x="363" y="283"/>
                    <a:pt x="361" y="281"/>
                    <a:pt x="360" y="284"/>
                  </a:cubicBezTo>
                  <a:cubicBezTo>
                    <a:pt x="359" y="286"/>
                    <a:pt x="359" y="288"/>
                    <a:pt x="356" y="288"/>
                  </a:cubicBezTo>
                  <a:cubicBezTo>
                    <a:pt x="356" y="287"/>
                    <a:pt x="356" y="287"/>
                    <a:pt x="356" y="287"/>
                  </a:cubicBezTo>
                  <a:cubicBezTo>
                    <a:pt x="354" y="288"/>
                    <a:pt x="354" y="290"/>
                    <a:pt x="353" y="292"/>
                  </a:cubicBezTo>
                  <a:cubicBezTo>
                    <a:pt x="351" y="293"/>
                    <a:pt x="350" y="295"/>
                    <a:pt x="349" y="296"/>
                  </a:cubicBezTo>
                  <a:cubicBezTo>
                    <a:pt x="348" y="298"/>
                    <a:pt x="348" y="300"/>
                    <a:pt x="349" y="301"/>
                  </a:cubicBezTo>
                  <a:cubicBezTo>
                    <a:pt x="349" y="303"/>
                    <a:pt x="351" y="303"/>
                    <a:pt x="350" y="305"/>
                  </a:cubicBezTo>
                  <a:cubicBezTo>
                    <a:pt x="350" y="305"/>
                    <a:pt x="349" y="305"/>
                    <a:pt x="348" y="304"/>
                  </a:cubicBezTo>
                  <a:cubicBezTo>
                    <a:pt x="348" y="301"/>
                    <a:pt x="341" y="305"/>
                    <a:pt x="345" y="307"/>
                  </a:cubicBezTo>
                  <a:cubicBezTo>
                    <a:pt x="346" y="308"/>
                    <a:pt x="345" y="308"/>
                    <a:pt x="345" y="309"/>
                  </a:cubicBezTo>
                  <a:cubicBezTo>
                    <a:pt x="345" y="310"/>
                    <a:pt x="345" y="311"/>
                    <a:pt x="345" y="311"/>
                  </a:cubicBezTo>
                  <a:cubicBezTo>
                    <a:pt x="345" y="312"/>
                    <a:pt x="343" y="311"/>
                    <a:pt x="342" y="312"/>
                  </a:cubicBezTo>
                  <a:cubicBezTo>
                    <a:pt x="342" y="313"/>
                    <a:pt x="343" y="315"/>
                    <a:pt x="343" y="315"/>
                  </a:cubicBezTo>
                  <a:cubicBezTo>
                    <a:pt x="343" y="316"/>
                    <a:pt x="344" y="317"/>
                    <a:pt x="344" y="318"/>
                  </a:cubicBezTo>
                  <a:cubicBezTo>
                    <a:pt x="345" y="319"/>
                    <a:pt x="344" y="320"/>
                    <a:pt x="344" y="321"/>
                  </a:cubicBezTo>
                  <a:cubicBezTo>
                    <a:pt x="346" y="322"/>
                    <a:pt x="349" y="323"/>
                    <a:pt x="351" y="322"/>
                  </a:cubicBezTo>
                  <a:close/>
                  <a:moveTo>
                    <a:pt x="323" y="344"/>
                  </a:moveTo>
                  <a:cubicBezTo>
                    <a:pt x="324" y="344"/>
                    <a:pt x="325" y="344"/>
                    <a:pt x="325" y="343"/>
                  </a:cubicBezTo>
                  <a:cubicBezTo>
                    <a:pt x="326" y="343"/>
                    <a:pt x="326" y="343"/>
                    <a:pt x="326" y="342"/>
                  </a:cubicBezTo>
                  <a:cubicBezTo>
                    <a:pt x="327" y="342"/>
                    <a:pt x="327" y="342"/>
                    <a:pt x="328" y="342"/>
                  </a:cubicBezTo>
                  <a:cubicBezTo>
                    <a:pt x="329" y="341"/>
                    <a:pt x="330" y="340"/>
                    <a:pt x="331" y="339"/>
                  </a:cubicBezTo>
                  <a:cubicBezTo>
                    <a:pt x="331" y="338"/>
                    <a:pt x="331" y="337"/>
                    <a:pt x="332" y="337"/>
                  </a:cubicBezTo>
                  <a:cubicBezTo>
                    <a:pt x="334" y="336"/>
                    <a:pt x="335" y="337"/>
                    <a:pt x="337" y="337"/>
                  </a:cubicBezTo>
                  <a:cubicBezTo>
                    <a:pt x="338" y="336"/>
                    <a:pt x="339" y="336"/>
                    <a:pt x="340" y="335"/>
                  </a:cubicBezTo>
                  <a:cubicBezTo>
                    <a:pt x="341" y="334"/>
                    <a:pt x="343" y="334"/>
                    <a:pt x="345" y="333"/>
                  </a:cubicBezTo>
                  <a:cubicBezTo>
                    <a:pt x="346" y="332"/>
                    <a:pt x="347" y="331"/>
                    <a:pt x="347" y="330"/>
                  </a:cubicBezTo>
                  <a:cubicBezTo>
                    <a:pt x="347" y="329"/>
                    <a:pt x="345" y="329"/>
                    <a:pt x="344" y="330"/>
                  </a:cubicBezTo>
                  <a:cubicBezTo>
                    <a:pt x="343" y="331"/>
                    <a:pt x="343" y="332"/>
                    <a:pt x="341" y="332"/>
                  </a:cubicBezTo>
                  <a:cubicBezTo>
                    <a:pt x="341" y="331"/>
                    <a:pt x="342" y="331"/>
                    <a:pt x="342" y="330"/>
                  </a:cubicBezTo>
                  <a:cubicBezTo>
                    <a:pt x="341" y="329"/>
                    <a:pt x="341" y="329"/>
                    <a:pt x="340" y="329"/>
                  </a:cubicBezTo>
                  <a:cubicBezTo>
                    <a:pt x="340" y="328"/>
                    <a:pt x="338" y="328"/>
                    <a:pt x="337" y="328"/>
                  </a:cubicBezTo>
                  <a:cubicBezTo>
                    <a:pt x="336" y="329"/>
                    <a:pt x="337" y="330"/>
                    <a:pt x="335" y="330"/>
                  </a:cubicBezTo>
                  <a:cubicBezTo>
                    <a:pt x="334" y="330"/>
                    <a:pt x="333" y="330"/>
                    <a:pt x="332" y="331"/>
                  </a:cubicBezTo>
                  <a:cubicBezTo>
                    <a:pt x="332" y="331"/>
                    <a:pt x="332" y="332"/>
                    <a:pt x="332" y="333"/>
                  </a:cubicBezTo>
                  <a:cubicBezTo>
                    <a:pt x="332" y="334"/>
                    <a:pt x="333" y="335"/>
                    <a:pt x="332" y="335"/>
                  </a:cubicBezTo>
                  <a:cubicBezTo>
                    <a:pt x="331" y="336"/>
                    <a:pt x="330" y="336"/>
                    <a:pt x="329" y="336"/>
                  </a:cubicBezTo>
                  <a:cubicBezTo>
                    <a:pt x="327" y="337"/>
                    <a:pt x="327" y="338"/>
                    <a:pt x="325" y="339"/>
                  </a:cubicBezTo>
                  <a:cubicBezTo>
                    <a:pt x="325" y="340"/>
                    <a:pt x="324" y="341"/>
                    <a:pt x="324" y="341"/>
                  </a:cubicBezTo>
                  <a:cubicBezTo>
                    <a:pt x="323" y="342"/>
                    <a:pt x="323" y="342"/>
                    <a:pt x="322" y="343"/>
                  </a:cubicBezTo>
                  <a:cubicBezTo>
                    <a:pt x="322" y="343"/>
                    <a:pt x="322" y="344"/>
                    <a:pt x="323" y="344"/>
                  </a:cubicBezTo>
                  <a:close/>
                  <a:moveTo>
                    <a:pt x="336" y="291"/>
                  </a:moveTo>
                  <a:cubicBezTo>
                    <a:pt x="337" y="291"/>
                    <a:pt x="337" y="291"/>
                    <a:pt x="338" y="291"/>
                  </a:cubicBezTo>
                  <a:cubicBezTo>
                    <a:pt x="338" y="291"/>
                    <a:pt x="339" y="291"/>
                    <a:pt x="340" y="291"/>
                  </a:cubicBezTo>
                  <a:cubicBezTo>
                    <a:pt x="340" y="291"/>
                    <a:pt x="339" y="292"/>
                    <a:pt x="340" y="293"/>
                  </a:cubicBezTo>
                  <a:cubicBezTo>
                    <a:pt x="340" y="294"/>
                    <a:pt x="342" y="291"/>
                    <a:pt x="343" y="290"/>
                  </a:cubicBezTo>
                  <a:cubicBezTo>
                    <a:pt x="344" y="289"/>
                    <a:pt x="347" y="288"/>
                    <a:pt x="346" y="286"/>
                  </a:cubicBezTo>
                  <a:cubicBezTo>
                    <a:pt x="345" y="286"/>
                    <a:pt x="344" y="286"/>
                    <a:pt x="343" y="286"/>
                  </a:cubicBezTo>
                  <a:cubicBezTo>
                    <a:pt x="342" y="286"/>
                    <a:pt x="341" y="286"/>
                    <a:pt x="340" y="286"/>
                  </a:cubicBezTo>
                  <a:cubicBezTo>
                    <a:pt x="340" y="287"/>
                    <a:pt x="339" y="287"/>
                    <a:pt x="338" y="287"/>
                  </a:cubicBezTo>
                  <a:cubicBezTo>
                    <a:pt x="337" y="287"/>
                    <a:pt x="336" y="287"/>
                    <a:pt x="336" y="288"/>
                  </a:cubicBezTo>
                  <a:cubicBezTo>
                    <a:pt x="335" y="289"/>
                    <a:pt x="336" y="291"/>
                    <a:pt x="336" y="291"/>
                  </a:cubicBezTo>
                  <a:close/>
                  <a:moveTo>
                    <a:pt x="330" y="292"/>
                  </a:moveTo>
                  <a:cubicBezTo>
                    <a:pt x="329" y="292"/>
                    <a:pt x="328" y="292"/>
                    <a:pt x="328" y="293"/>
                  </a:cubicBezTo>
                  <a:cubicBezTo>
                    <a:pt x="327" y="293"/>
                    <a:pt x="327" y="294"/>
                    <a:pt x="327" y="295"/>
                  </a:cubicBezTo>
                  <a:cubicBezTo>
                    <a:pt x="327" y="296"/>
                    <a:pt x="328" y="296"/>
                    <a:pt x="329" y="296"/>
                  </a:cubicBezTo>
                  <a:cubicBezTo>
                    <a:pt x="330" y="296"/>
                    <a:pt x="331" y="296"/>
                    <a:pt x="332" y="296"/>
                  </a:cubicBezTo>
                  <a:cubicBezTo>
                    <a:pt x="332" y="296"/>
                    <a:pt x="333" y="295"/>
                    <a:pt x="333" y="295"/>
                  </a:cubicBezTo>
                  <a:cubicBezTo>
                    <a:pt x="334" y="295"/>
                    <a:pt x="334" y="295"/>
                    <a:pt x="334" y="294"/>
                  </a:cubicBezTo>
                  <a:cubicBezTo>
                    <a:pt x="335" y="294"/>
                    <a:pt x="336" y="294"/>
                    <a:pt x="335" y="293"/>
                  </a:cubicBezTo>
                  <a:cubicBezTo>
                    <a:pt x="335" y="293"/>
                    <a:pt x="334" y="293"/>
                    <a:pt x="334" y="293"/>
                  </a:cubicBezTo>
                  <a:cubicBezTo>
                    <a:pt x="333" y="293"/>
                    <a:pt x="333" y="292"/>
                    <a:pt x="332" y="292"/>
                  </a:cubicBezTo>
                  <a:cubicBezTo>
                    <a:pt x="331" y="293"/>
                    <a:pt x="330" y="293"/>
                    <a:pt x="330" y="292"/>
                  </a:cubicBezTo>
                  <a:close/>
                  <a:moveTo>
                    <a:pt x="251" y="312"/>
                  </a:moveTo>
                  <a:cubicBezTo>
                    <a:pt x="251" y="313"/>
                    <a:pt x="251" y="313"/>
                    <a:pt x="251" y="313"/>
                  </a:cubicBezTo>
                  <a:cubicBezTo>
                    <a:pt x="251" y="314"/>
                    <a:pt x="251" y="315"/>
                    <a:pt x="251" y="316"/>
                  </a:cubicBezTo>
                  <a:cubicBezTo>
                    <a:pt x="251" y="318"/>
                    <a:pt x="252" y="318"/>
                    <a:pt x="253" y="319"/>
                  </a:cubicBezTo>
                  <a:cubicBezTo>
                    <a:pt x="254" y="320"/>
                    <a:pt x="255" y="321"/>
                    <a:pt x="256" y="322"/>
                  </a:cubicBezTo>
                  <a:cubicBezTo>
                    <a:pt x="257" y="323"/>
                    <a:pt x="257" y="324"/>
                    <a:pt x="258" y="325"/>
                  </a:cubicBezTo>
                  <a:cubicBezTo>
                    <a:pt x="260" y="326"/>
                    <a:pt x="261" y="326"/>
                    <a:pt x="262" y="324"/>
                  </a:cubicBezTo>
                  <a:cubicBezTo>
                    <a:pt x="263" y="322"/>
                    <a:pt x="264" y="321"/>
                    <a:pt x="266" y="320"/>
                  </a:cubicBezTo>
                  <a:cubicBezTo>
                    <a:pt x="268" y="318"/>
                    <a:pt x="267" y="317"/>
                    <a:pt x="266" y="315"/>
                  </a:cubicBezTo>
                  <a:cubicBezTo>
                    <a:pt x="266" y="314"/>
                    <a:pt x="266" y="312"/>
                    <a:pt x="265" y="311"/>
                  </a:cubicBezTo>
                  <a:cubicBezTo>
                    <a:pt x="264" y="310"/>
                    <a:pt x="262" y="311"/>
                    <a:pt x="260" y="311"/>
                  </a:cubicBezTo>
                  <a:cubicBezTo>
                    <a:pt x="259" y="310"/>
                    <a:pt x="258" y="310"/>
                    <a:pt x="257" y="310"/>
                  </a:cubicBezTo>
                  <a:cubicBezTo>
                    <a:pt x="256" y="309"/>
                    <a:pt x="254" y="309"/>
                    <a:pt x="253" y="310"/>
                  </a:cubicBezTo>
                  <a:cubicBezTo>
                    <a:pt x="252" y="310"/>
                    <a:pt x="252" y="310"/>
                    <a:pt x="251" y="310"/>
                  </a:cubicBezTo>
                  <a:cubicBezTo>
                    <a:pt x="251" y="311"/>
                    <a:pt x="251" y="312"/>
                    <a:pt x="251" y="312"/>
                  </a:cubicBezTo>
                  <a:close/>
                  <a:moveTo>
                    <a:pt x="2" y="340"/>
                  </a:moveTo>
                  <a:cubicBezTo>
                    <a:pt x="2" y="340"/>
                    <a:pt x="3" y="340"/>
                    <a:pt x="3" y="340"/>
                  </a:cubicBezTo>
                  <a:cubicBezTo>
                    <a:pt x="4" y="341"/>
                    <a:pt x="4" y="341"/>
                    <a:pt x="4" y="340"/>
                  </a:cubicBezTo>
                  <a:cubicBezTo>
                    <a:pt x="5" y="340"/>
                    <a:pt x="5" y="339"/>
                    <a:pt x="6" y="338"/>
                  </a:cubicBezTo>
                  <a:cubicBezTo>
                    <a:pt x="6" y="337"/>
                    <a:pt x="7" y="335"/>
                    <a:pt x="7" y="333"/>
                  </a:cubicBezTo>
                  <a:cubicBezTo>
                    <a:pt x="7" y="333"/>
                    <a:pt x="8" y="331"/>
                    <a:pt x="7" y="330"/>
                  </a:cubicBezTo>
                  <a:cubicBezTo>
                    <a:pt x="7" y="330"/>
                    <a:pt x="6" y="330"/>
                    <a:pt x="6" y="331"/>
                  </a:cubicBezTo>
                  <a:cubicBezTo>
                    <a:pt x="5" y="332"/>
                    <a:pt x="4" y="332"/>
                    <a:pt x="4" y="333"/>
                  </a:cubicBezTo>
                  <a:cubicBezTo>
                    <a:pt x="3" y="334"/>
                    <a:pt x="2" y="335"/>
                    <a:pt x="1" y="336"/>
                  </a:cubicBezTo>
                  <a:cubicBezTo>
                    <a:pt x="1" y="336"/>
                    <a:pt x="0" y="336"/>
                    <a:pt x="0" y="337"/>
                  </a:cubicBezTo>
                  <a:cubicBezTo>
                    <a:pt x="0" y="337"/>
                    <a:pt x="0" y="338"/>
                    <a:pt x="0" y="339"/>
                  </a:cubicBezTo>
                  <a:cubicBezTo>
                    <a:pt x="0" y="339"/>
                    <a:pt x="1" y="339"/>
                    <a:pt x="2" y="340"/>
                  </a:cubicBezTo>
                  <a:close/>
                  <a:moveTo>
                    <a:pt x="18" y="322"/>
                  </a:moveTo>
                  <a:cubicBezTo>
                    <a:pt x="19" y="322"/>
                    <a:pt x="20" y="321"/>
                    <a:pt x="20" y="321"/>
                  </a:cubicBezTo>
                  <a:cubicBezTo>
                    <a:pt x="21" y="320"/>
                    <a:pt x="22" y="320"/>
                    <a:pt x="23" y="319"/>
                  </a:cubicBezTo>
                  <a:cubicBezTo>
                    <a:pt x="24" y="318"/>
                    <a:pt x="24" y="318"/>
                    <a:pt x="25" y="318"/>
                  </a:cubicBezTo>
                  <a:cubicBezTo>
                    <a:pt x="26" y="318"/>
                    <a:pt x="26" y="317"/>
                    <a:pt x="27" y="316"/>
                  </a:cubicBezTo>
                  <a:cubicBezTo>
                    <a:pt x="27" y="316"/>
                    <a:pt x="28" y="316"/>
                    <a:pt x="29" y="316"/>
                  </a:cubicBezTo>
                  <a:cubicBezTo>
                    <a:pt x="30" y="316"/>
                    <a:pt x="31" y="315"/>
                    <a:pt x="32" y="315"/>
                  </a:cubicBezTo>
                  <a:cubicBezTo>
                    <a:pt x="33" y="315"/>
                    <a:pt x="35" y="315"/>
                    <a:pt x="37" y="315"/>
                  </a:cubicBezTo>
                  <a:cubicBezTo>
                    <a:pt x="38" y="315"/>
                    <a:pt x="39" y="315"/>
                    <a:pt x="40" y="316"/>
                  </a:cubicBezTo>
                  <a:cubicBezTo>
                    <a:pt x="40" y="317"/>
                    <a:pt x="40" y="317"/>
                    <a:pt x="40" y="317"/>
                  </a:cubicBezTo>
                  <a:cubicBezTo>
                    <a:pt x="41" y="317"/>
                    <a:pt x="42" y="317"/>
                    <a:pt x="42" y="317"/>
                  </a:cubicBezTo>
                  <a:cubicBezTo>
                    <a:pt x="44" y="317"/>
                    <a:pt x="46" y="317"/>
                    <a:pt x="48" y="317"/>
                  </a:cubicBezTo>
                  <a:cubicBezTo>
                    <a:pt x="50" y="317"/>
                    <a:pt x="51" y="316"/>
                    <a:pt x="53" y="317"/>
                  </a:cubicBezTo>
                  <a:cubicBezTo>
                    <a:pt x="54" y="317"/>
                    <a:pt x="54" y="317"/>
                    <a:pt x="55" y="317"/>
                  </a:cubicBezTo>
                  <a:cubicBezTo>
                    <a:pt x="56" y="318"/>
                    <a:pt x="57" y="318"/>
                    <a:pt x="57" y="318"/>
                  </a:cubicBezTo>
                  <a:cubicBezTo>
                    <a:pt x="59" y="319"/>
                    <a:pt x="60" y="319"/>
                    <a:pt x="60" y="318"/>
                  </a:cubicBezTo>
                  <a:cubicBezTo>
                    <a:pt x="61" y="315"/>
                    <a:pt x="63" y="312"/>
                    <a:pt x="65" y="311"/>
                  </a:cubicBezTo>
                  <a:cubicBezTo>
                    <a:pt x="67" y="309"/>
                    <a:pt x="70" y="307"/>
                    <a:pt x="72" y="307"/>
                  </a:cubicBezTo>
                  <a:cubicBezTo>
                    <a:pt x="74" y="306"/>
                    <a:pt x="76" y="305"/>
                    <a:pt x="78" y="306"/>
                  </a:cubicBezTo>
                  <a:cubicBezTo>
                    <a:pt x="79" y="306"/>
                    <a:pt x="82" y="306"/>
                    <a:pt x="81" y="305"/>
                  </a:cubicBezTo>
                  <a:cubicBezTo>
                    <a:pt x="81" y="304"/>
                    <a:pt x="81" y="302"/>
                    <a:pt x="80" y="301"/>
                  </a:cubicBezTo>
                  <a:cubicBezTo>
                    <a:pt x="80" y="301"/>
                    <a:pt x="80" y="300"/>
                    <a:pt x="79" y="300"/>
                  </a:cubicBezTo>
                  <a:cubicBezTo>
                    <a:pt x="78" y="300"/>
                    <a:pt x="77" y="300"/>
                    <a:pt x="76" y="300"/>
                  </a:cubicBezTo>
                  <a:cubicBezTo>
                    <a:pt x="75" y="301"/>
                    <a:pt x="74" y="301"/>
                    <a:pt x="74" y="300"/>
                  </a:cubicBezTo>
                  <a:cubicBezTo>
                    <a:pt x="73" y="299"/>
                    <a:pt x="73" y="299"/>
                    <a:pt x="73" y="299"/>
                  </a:cubicBezTo>
                  <a:cubicBezTo>
                    <a:pt x="73" y="299"/>
                    <a:pt x="73" y="298"/>
                    <a:pt x="72" y="298"/>
                  </a:cubicBezTo>
                  <a:cubicBezTo>
                    <a:pt x="72" y="298"/>
                    <a:pt x="71" y="298"/>
                    <a:pt x="71" y="297"/>
                  </a:cubicBezTo>
                  <a:cubicBezTo>
                    <a:pt x="70" y="297"/>
                    <a:pt x="69" y="296"/>
                    <a:pt x="69" y="295"/>
                  </a:cubicBezTo>
                  <a:cubicBezTo>
                    <a:pt x="68" y="294"/>
                    <a:pt x="69" y="294"/>
                    <a:pt x="67" y="294"/>
                  </a:cubicBezTo>
                  <a:cubicBezTo>
                    <a:pt x="67" y="295"/>
                    <a:pt x="66" y="295"/>
                    <a:pt x="65" y="295"/>
                  </a:cubicBezTo>
                  <a:cubicBezTo>
                    <a:pt x="63" y="295"/>
                    <a:pt x="62" y="295"/>
                    <a:pt x="61" y="296"/>
                  </a:cubicBezTo>
                  <a:cubicBezTo>
                    <a:pt x="60" y="296"/>
                    <a:pt x="59" y="296"/>
                    <a:pt x="58" y="297"/>
                  </a:cubicBezTo>
                  <a:cubicBezTo>
                    <a:pt x="58" y="298"/>
                    <a:pt x="58" y="298"/>
                    <a:pt x="58" y="298"/>
                  </a:cubicBezTo>
                  <a:cubicBezTo>
                    <a:pt x="57" y="298"/>
                    <a:pt x="56" y="298"/>
                    <a:pt x="55" y="298"/>
                  </a:cubicBezTo>
                  <a:cubicBezTo>
                    <a:pt x="54" y="298"/>
                    <a:pt x="53" y="299"/>
                    <a:pt x="53" y="299"/>
                  </a:cubicBezTo>
                  <a:cubicBezTo>
                    <a:pt x="52" y="300"/>
                    <a:pt x="52" y="301"/>
                    <a:pt x="51" y="301"/>
                  </a:cubicBezTo>
                  <a:cubicBezTo>
                    <a:pt x="50" y="303"/>
                    <a:pt x="47" y="302"/>
                    <a:pt x="45" y="302"/>
                  </a:cubicBezTo>
                  <a:cubicBezTo>
                    <a:pt x="44" y="303"/>
                    <a:pt x="44" y="303"/>
                    <a:pt x="43" y="304"/>
                  </a:cubicBezTo>
                  <a:cubicBezTo>
                    <a:pt x="43" y="304"/>
                    <a:pt x="42" y="304"/>
                    <a:pt x="41" y="304"/>
                  </a:cubicBezTo>
                  <a:cubicBezTo>
                    <a:pt x="41" y="304"/>
                    <a:pt x="40" y="304"/>
                    <a:pt x="40" y="304"/>
                  </a:cubicBezTo>
                  <a:cubicBezTo>
                    <a:pt x="39" y="304"/>
                    <a:pt x="39" y="304"/>
                    <a:pt x="38" y="304"/>
                  </a:cubicBezTo>
                  <a:cubicBezTo>
                    <a:pt x="37" y="303"/>
                    <a:pt x="37" y="303"/>
                    <a:pt x="36" y="303"/>
                  </a:cubicBezTo>
                  <a:cubicBezTo>
                    <a:pt x="36" y="303"/>
                    <a:pt x="35" y="303"/>
                    <a:pt x="35" y="303"/>
                  </a:cubicBezTo>
                  <a:cubicBezTo>
                    <a:pt x="34" y="302"/>
                    <a:pt x="33" y="302"/>
                    <a:pt x="32" y="302"/>
                  </a:cubicBezTo>
                  <a:cubicBezTo>
                    <a:pt x="31" y="302"/>
                    <a:pt x="31" y="302"/>
                    <a:pt x="30" y="302"/>
                  </a:cubicBezTo>
                  <a:cubicBezTo>
                    <a:pt x="29" y="301"/>
                    <a:pt x="29" y="301"/>
                    <a:pt x="29" y="301"/>
                  </a:cubicBezTo>
                  <a:cubicBezTo>
                    <a:pt x="29" y="300"/>
                    <a:pt x="28" y="301"/>
                    <a:pt x="27" y="301"/>
                  </a:cubicBezTo>
                  <a:cubicBezTo>
                    <a:pt x="26" y="302"/>
                    <a:pt x="26" y="303"/>
                    <a:pt x="26" y="304"/>
                  </a:cubicBezTo>
                  <a:cubicBezTo>
                    <a:pt x="25" y="305"/>
                    <a:pt x="25" y="305"/>
                    <a:pt x="25" y="306"/>
                  </a:cubicBezTo>
                  <a:cubicBezTo>
                    <a:pt x="24" y="306"/>
                    <a:pt x="23" y="306"/>
                    <a:pt x="22" y="307"/>
                  </a:cubicBezTo>
                  <a:cubicBezTo>
                    <a:pt x="22" y="308"/>
                    <a:pt x="22" y="308"/>
                    <a:pt x="22" y="308"/>
                  </a:cubicBezTo>
                  <a:cubicBezTo>
                    <a:pt x="22" y="309"/>
                    <a:pt x="22" y="309"/>
                    <a:pt x="22" y="309"/>
                  </a:cubicBezTo>
                  <a:cubicBezTo>
                    <a:pt x="22" y="310"/>
                    <a:pt x="22" y="310"/>
                    <a:pt x="21" y="310"/>
                  </a:cubicBezTo>
                  <a:cubicBezTo>
                    <a:pt x="21" y="311"/>
                    <a:pt x="21" y="311"/>
                    <a:pt x="20" y="312"/>
                  </a:cubicBezTo>
                  <a:cubicBezTo>
                    <a:pt x="20" y="312"/>
                    <a:pt x="19" y="313"/>
                    <a:pt x="18" y="313"/>
                  </a:cubicBezTo>
                  <a:cubicBezTo>
                    <a:pt x="18" y="314"/>
                    <a:pt x="18" y="314"/>
                    <a:pt x="19" y="315"/>
                  </a:cubicBezTo>
                  <a:cubicBezTo>
                    <a:pt x="19" y="315"/>
                    <a:pt x="20" y="316"/>
                    <a:pt x="20" y="316"/>
                  </a:cubicBezTo>
                  <a:cubicBezTo>
                    <a:pt x="20" y="317"/>
                    <a:pt x="19" y="318"/>
                    <a:pt x="19" y="318"/>
                  </a:cubicBezTo>
                  <a:cubicBezTo>
                    <a:pt x="19" y="319"/>
                    <a:pt x="18" y="319"/>
                    <a:pt x="18" y="320"/>
                  </a:cubicBezTo>
                  <a:cubicBezTo>
                    <a:pt x="17" y="320"/>
                    <a:pt x="17" y="322"/>
                    <a:pt x="18" y="322"/>
                  </a:cubicBezTo>
                  <a:close/>
                  <a:moveTo>
                    <a:pt x="136" y="332"/>
                  </a:moveTo>
                  <a:cubicBezTo>
                    <a:pt x="135" y="332"/>
                    <a:pt x="135" y="331"/>
                    <a:pt x="134" y="331"/>
                  </a:cubicBezTo>
                  <a:cubicBezTo>
                    <a:pt x="134" y="331"/>
                    <a:pt x="133" y="332"/>
                    <a:pt x="133" y="332"/>
                  </a:cubicBezTo>
                  <a:cubicBezTo>
                    <a:pt x="132" y="332"/>
                    <a:pt x="132" y="333"/>
                    <a:pt x="131" y="333"/>
                  </a:cubicBezTo>
                  <a:cubicBezTo>
                    <a:pt x="131" y="334"/>
                    <a:pt x="130" y="334"/>
                    <a:pt x="130" y="335"/>
                  </a:cubicBezTo>
                  <a:cubicBezTo>
                    <a:pt x="130" y="335"/>
                    <a:pt x="130" y="336"/>
                    <a:pt x="131" y="336"/>
                  </a:cubicBezTo>
                  <a:cubicBezTo>
                    <a:pt x="132" y="337"/>
                    <a:pt x="133" y="337"/>
                    <a:pt x="134" y="336"/>
                  </a:cubicBezTo>
                  <a:cubicBezTo>
                    <a:pt x="135" y="336"/>
                    <a:pt x="139" y="336"/>
                    <a:pt x="138" y="334"/>
                  </a:cubicBezTo>
                  <a:cubicBezTo>
                    <a:pt x="138" y="333"/>
                    <a:pt x="137" y="332"/>
                    <a:pt x="136" y="332"/>
                  </a:cubicBezTo>
                  <a:close/>
                  <a:moveTo>
                    <a:pt x="161" y="331"/>
                  </a:moveTo>
                  <a:cubicBezTo>
                    <a:pt x="161" y="330"/>
                    <a:pt x="159" y="330"/>
                    <a:pt x="158" y="330"/>
                  </a:cubicBezTo>
                  <a:cubicBezTo>
                    <a:pt x="156" y="330"/>
                    <a:pt x="155" y="331"/>
                    <a:pt x="153" y="331"/>
                  </a:cubicBezTo>
                  <a:cubicBezTo>
                    <a:pt x="152" y="331"/>
                    <a:pt x="150" y="331"/>
                    <a:pt x="149" y="330"/>
                  </a:cubicBezTo>
                  <a:cubicBezTo>
                    <a:pt x="148" y="330"/>
                    <a:pt x="148" y="330"/>
                    <a:pt x="148" y="330"/>
                  </a:cubicBezTo>
                  <a:cubicBezTo>
                    <a:pt x="147" y="329"/>
                    <a:pt x="147" y="329"/>
                    <a:pt x="147" y="329"/>
                  </a:cubicBezTo>
                  <a:cubicBezTo>
                    <a:pt x="147" y="329"/>
                    <a:pt x="146" y="329"/>
                    <a:pt x="146" y="329"/>
                  </a:cubicBezTo>
                  <a:cubicBezTo>
                    <a:pt x="145" y="329"/>
                    <a:pt x="144" y="328"/>
                    <a:pt x="143" y="328"/>
                  </a:cubicBezTo>
                  <a:cubicBezTo>
                    <a:pt x="142" y="328"/>
                    <a:pt x="141" y="328"/>
                    <a:pt x="140" y="328"/>
                  </a:cubicBezTo>
                  <a:cubicBezTo>
                    <a:pt x="140" y="328"/>
                    <a:pt x="140" y="328"/>
                    <a:pt x="140" y="329"/>
                  </a:cubicBezTo>
                  <a:cubicBezTo>
                    <a:pt x="140" y="330"/>
                    <a:pt x="140" y="331"/>
                    <a:pt x="141" y="333"/>
                  </a:cubicBezTo>
                  <a:cubicBezTo>
                    <a:pt x="141" y="333"/>
                    <a:pt x="141" y="333"/>
                    <a:pt x="141" y="334"/>
                  </a:cubicBezTo>
                  <a:cubicBezTo>
                    <a:pt x="142" y="334"/>
                    <a:pt x="144" y="335"/>
                    <a:pt x="145" y="335"/>
                  </a:cubicBezTo>
                  <a:cubicBezTo>
                    <a:pt x="147" y="335"/>
                    <a:pt x="149" y="335"/>
                    <a:pt x="150" y="336"/>
                  </a:cubicBezTo>
                  <a:cubicBezTo>
                    <a:pt x="151" y="336"/>
                    <a:pt x="152" y="336"/>
                    <a:pt x="153" y="337"/>
                  </a:cubicBezTo>
                  <a:cubicBezTo>
                    <a:pt x="153" y="338"/>
                    <a:pt x="153" y="338"/>
                    <a:pt x="154" y="338"/>
                  </a:cubicBezTo>
                  <a:cubicBezTo>
                    <a:pt x="155" y="338"/>
                    <a:pt x="156" y="338"/>
                    <a:pt x="156" y="337"/>
                  </a:cubicBezTo>
                  <a:cubicBezTo>
                    <a:pt x="157" y="337"/>
                    <a:pt x="157" y="336"/>
                    <a:pt x="157" y="336"/>
                  </a:cubicBezTo>
                  <a:cubicBezTo>
                    <a:pt x="157" y="336"/>
                    <a:pt x="157" y="335"/>
                    <a:pt x="158" y="335"/>
                  </a:cubicBezTo>
                  <a:cubicBezTo>
                    <a:pt x="158" y="334"/>
                    <a:pt x="159" y="333"/>
                    <a:pt x="160" y="333"/>
                  </a:cubicBezTo>
                  <a:cubicBezTo>
                    <a:pt x="161" y="333"/>
                    <a:pt x="161" y="332"/>
                    <a:pt x="161" y="331"/>
                  </a:cubicBezTo>
                  <a:close/>
                  <a:moveTo>
                    <a:pt x="168" y="338"/>
                  </a:moveTo>
                  <a:cubicBezTo>
                    <a:pt x="167" y="337"/>
                    <a:pt x="167" y="337"/>
                    <a:pt x="167" y="336"/>
                  </a:cubicBezTo>
                  <a:cubicBezTo>
                    <a:pt x="167" y="336"/>
                    <a:pt x="167" y="336"/>
                    <a:pt x="167" y="335"/>
                  </a:cubicBezTo>
                  <a:cubicBezTo>
                    <a:pt x="166" y="334"/>
                    <a:pt x="166" y="334"/>
                    <a:pt x="166" y="334"/>
                  </a:cubicBezTo>
                  <a:cubicBezTo>
                    <a:pt x="165" y="334"/>
                    <a:pt x="165" y="334"/>
                    <a:pt x="165" y="334"/>
                  </a:cubicBezTo>
                  <a:cubicBezTo>
                    <a:pt x="164" y="335"/>
                    <a:pt x="164" y="335"/>
                    <a:pt x="163" y="335"/>
                  </a:cubicBezTo>
                  <a:cubicBezTo>
                    <a:pt x="162" y="335"/>
                    <a:pt x="161" y="335"/>
                    <a:pt x="160" y="335"/>
                  </a:cubicBezTo>
                  <a:cubicBezTo>
                    <a:pt x="160" y="335"/>
                    <a:pt x="160" y="336"/>
                    <a:pt x="159" y="337"/>
                  </a:cubicBezTo>
                  <a:cubicBezTo>
                    <a:pt x="159" y="338"/>
                    <a:pt x="159" y="338"/>
                    <a:pt x="159" y="338"/>
                  </a:cubicBezTo>
                  <a:cubicBezTo>
                    <a:pt x="159" y="338"/>
                    <a:pt x="160" y="339"/>
                    <a:pt x="160" y="339"/>
                  </a:cubicBezTo>
                  <a:cubicBezTo>
                    <a:pt x="161" y="339"/>
                    <a:pt x="161" y="339"/>
                    <a:pt x="162" y="339"/>
                  </a:cubicBezTo>
                  <a:cubicBezTo>
                    <a:pt x="162" y="339"/>
                    <a:pt x="163" y="339"/>
                    <a:pt x="164" y="339"/>
                  </a:cubicBezTo>
                  <a:cubicBezTo>
                    <a:pt x="165" y="339"/>
                    <a:pt x="166" y="339"/>
                    <a:pt x="167" y="339"/>
                  </a:cubicBezTo>
                  <a:cubicBezTo>
                    <a:pt x="167" y="339"/>
                    <a:pt x="168" y="338"/>
                    <a:pt x="168" y="338"/>
                  </a:cubicBezTo>
                  <a:close/>
                  <a:moveTo>
                    <a:pt x="121" y="292"/>
                  </a:moveTo>
                  <a:cubicBezTo>
                    <a:pt x="121" y="291"/>
                    <a:pt x="121" y="292"/>
                    <a:pt x="120" y="292"/>
                  </a:cubicBezTo>
                  <a:cubicBezTo>
                    <a:pt x="118" y="292"/>
                    <a:pt x="117" y="290"/>
                    <a:pt x="115" y="291"/>
                  </a:cubicBezTo>
                  <a:cubicBezTo>
                    <a:pt x="113" y="292"/>
                    <a:pt x="115" y="294"/>
                    <a:pt x="114" y="295"/>
                  </a:cubicBezTo>
                  <a:cubicBezTo>
                    <a:pt x="114" y="296"/>
                    <a:pt x="113" y="296"/>
                    <a:pt x="113" y="297"/>
                  </a:cubicBezTo>
                  <a:cubicBezTo>
                    <a:pt x="112" y="298"/>
                    <a:pt x="113" y="298"/>
                    <a:pt x="113" y="299"/>
                  </a:cubicBezTo>
                  <a:cubicBezTo>
                    <a:pt x="114" y="301"/>
                    <a:pt x="116" y="298"/>
                    <a:pt x="116" y="298"/>
                  </a:cubicBezTo>
                  <a:cubicBezTo>
                    <a:pt x="117" y="298"/>
                    <a:pt x="118" y="297"/>
                    <a:pt x="118" y="297"/>
                  </a:cubicBezTo>
                  <a:cubicBezTo>
                    <a:pt x="119" y="296"/>
                    <a:pt x="120" y="296"/>
                    <a:pt x="120" y="296"/>
                  </a:cubicBezTo>
                  <a:cubicBezTo>
                    <a:pt x="121" y="295"/>
                    <a:pt x="122" y="294"/>
                    <a:pt x="122" y="293"/>
                  </a:cubicBezTo>
                  <a:cubicBezTo>
                    <a:pt x="121" y="293"/>
                    <a:pt x="121" y="292"/>
                    <a:pt x="121" y="292"/>
                  </a:cubicBez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79" name="Freeform 46">
              <a:extLst>
                <a:ext uri="{FF2B5EF4-FFF2-40B4-BE49-F238E27FC236}">
                  <a16:creationId xmlns:a16="http://schemas.microsoft.com/office/drawing/2014/main" id="{1BCCE28B-63D7-E60A-A021-01C82E282A29}"/>
                </a:ext>
              </a:extLst>
            </p:cNvPr>
            <p:cNvSpPr>
              <a:spLocks/>
            </p:cNvSpPr>
            <p:nvPr/>
          </p:nvSpPr>
          <p:spPr bwMode="auto">
            <a:xfrm>
              <a:off x="2589213" y="4689475"/>
              <a:ext cx="539750" cy="517525"/>
            </a:xfrm>
            <a:custGeom>
              <a:avLst/>
              <a:gdLst>
                <a:gd name="T0" fmla="*/ 124 w 142"/>
                <a:gd name="T1" fmla="*/ 21 h 136"/>
                <a:gd name="T2" fmla="*/ 118 w 142"/>
                <a:gd name="T3" fmla="*/ 10 h 136"/>
                <a:gd name="T4" fmla="*/ 111 w 142"/>
                <a:gd name="T5" fmla="*/ 5 h 136"/>
                <a:gd name="T6" fmla="*/ 103 w 142"/>
                <a:gd name="T7" fmla="*/ 0 h 136"/>
                <a:gd name="T8" fmla="*/ 97 w 142"/>
                <a:gd name="T9" fmla="*/ 9 h 136"/>
                <a:gd name="T10" fmla="*/ 89 w 142"/>
                <a:gd name="T11" fmla="*/ 20 h 136"/>
                <a:gd name="T12" fmla="*/ 75 w 142"/>
                <a:gd name="T13" fmla="*/ 30 h 136"/>
                <a:gd name="T14" fmla="*/ 63 w 142"/>
                <a:gd name="T15" fmla="*/ 33 h 136"/>
                <a:gd name="T16" fmla="*/ 47 w 142"/>
                <a:gd name="T17" fmla="*/ 45 h 136"/>
                <a:gd name="T18" fmla="*/ 43 w 142"/>
                <a:gd name="T19" fmla="*/ 62 h 136"/>
                <a:gd name="T20" fmla="*/ 38 w 142"/>
                <a:gd name="T21" fmla="*/ 71 h 136"/>
                <a:gd name="T22" fmla="*/ 29 w 142"/>
                <a:gd name="T23" fmla="*/ 73 h 136"/>
                <a:gd name="T24" fmla="*/ 16 w 142"/>
                <a:gd name="T25" fmla="*/ 73 h 136"/>
                <a:gd name="T26" fmla="*/ 6 w 142"/>
                <a:gd name="T27" fmla="*/ 68 h 136"/>
                <a:gd name="T28" fmla="*/ 3 w 142"/>
                <a:gd name="T29" fmla="*/ 75 h 136"/>
                <a:gd name="T30" fmla="*/ 5 w 142"/>
                <a:gd name="T31" fmla="*/ 76 h 136"/>
                <a:gd name="T32" fmla="*/ 11 w 142"/>
                <a:gd name="T33" fmla="*/ 80 h 136"/>
                <a:gd name="T34" fmla="*/ 21 w 142"/>
                <a:gd name="T35" fmla="*/ 88 h 136"/>
                <a:gd name="T36" fmla="*/ 22 w 142"/>
                <a:gd name="T37" fmla="*/ 93 h 136"/>
                <a:gd name="T38" fmla="*/ 29 w 142"/>
                <a:gd name="T39" fmla="*/ 104 h 136"/>
                <a:gd name="T40" fmla="*/ 41 w 142"/>
                <a:gd name="T41" fmla="*/ 112 h 136"/>
                <a:gd name="T42" fmla="*/ 43 w 142"/>
                <a:gd name="T43" fmla="*/ 119 h 136"/>
                <a:gd name="T44" fmla="*/ 51 w 142"/>
                <a:gd name="T45" fmla="*/ 125 h 136"/>
                <a:gd name="T46" fmla="*/ 61 w 142"/>
                <a:gd name="T47" fmla="*/ 136 h 136"/>
                <a:gd name="T48" fmla="*/ 68 w 142"/>
                <a:gd name="T49" fmla="*/ 132 h 136"/>
                <a:gd name="T50" fmla="*/ 64 w 142"/>
                <a:gd name="T51" fmla="*/ 125 h 136"/>
                <a:gd name="T52" fmla="*/ 60 w 142"/>
                <a:gd name="T53" fmla="*/ 117 h 136"/>
                <a:gd name="T54" fmla="*/ 60 w 142"/>
                <a:gd name="T55" fmla="*/ 110 h 136"/>
                <a:gd name="T56" fmla="*/ 70 w 142"/>
                <a:gd name="T57" fmla="*/ 115 h 136"/>
                <a:gd name="T58" fmla="*/ 82 w 142"/>
                <a:gd name="T59" fmla="*/ 121 h 136"/>
                <a:gd name="T60" fmla="*/ 92 w 142"/>
                <a:gd name="T61" fmla="*/ 126 h 136"/>
                <a:gd name="T62" fmla="*/ 96 w 142"/>
                <a:gd name="T63" fmla="*/ 127 h 136"/>
                <a:gd name="T64" fmla="*/ 98 w 142"/>
                <a:gd name="T65" fmla="*/ 122 h 136"/>
                <a:gd name="T66" fmla="*/ 96 w 142"/>
                <a:gd name="T67" fmla="*/ 116 h 136"/>
                <a:gd name="T68" fmla="*/ 102 w 142"/>
                <a:gd name="T69" fmla="*/ 111 h 136"/>
                <a:gd name="T70" fmla="*/ 106 w 142"/>
                <a:gd name="T71" fmla="*/ 109 h 136"/>
                <a:gd name="T72" fmla="*/ 121 w 142"/>
                <a:gd name="T73" fmla="*/ 123 h 136"/>
                <a:gd name="T74" fmla="*/ 128 w 142"/>
                <a:gd name="T75" fmla="*/ 131 h 136"/>
                <a:gd name="T76" fmla="*/ 134 w 142"/>
                <a:gd name="T77" fmla="*/ 127 h 136"/>
                <a:gd name="T78" fmla="*/ 136 w 142"/>
                <a:gd name="T79" fmla="*/ 115 h 136"/>
                <a:gd name="T80" fmla="*/ 136 w 142"/>
                <a:gd name="T81" fmla="*/ 98 h 136"/>
                <a:gd name="T82" fmla="*/ 138 w 142"/>
                <a:gd name="T83" fmla="*/ 86 h 136"/>
                <a:gd name="T84" fmla="*/ 139 w 142"/>
                <a:gd name="T85" fmla="*/ 71 h 136"/>
                <a:gd name="T86" fmla="*/ 141 w 142"/>
                <a:gd name="T87" fmla="*/ 58 h 136"/>
                <a:gd name="T88" fmla="*/ 141 w 142"/>
                <a:gd name="T89" fmla="*/ 51 h 136"/>
                <a:gd name="T90" fmla="*/ 139 w 142"/>
                <a:gd name="T91" fmla="*/ 44 h 136"/>
                <a:gd name="T92" fmla="*/ 136 w 142"/>
                <a:gd name="T93" fmla="*/ 30 h 136"/>
                <a:gd name="T94" fmla="*/ 136 w 142"/>
                <a:gd name="T95" fmla="*/ 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136">
                  <a:moveTo>
                    <a:pt x="132" y="24"/>
                  </a:moveTo>
                  <a:cubicBezTo>
                    <a:pt x="131" y="24"/>
                    <a:pt x="129" y="24"/>
                    <a:pt x="128" y="24"/>
                  </a:cubicBezTo>
                  <a:cubicBezTo>
                    <a:pt x="127" y="23"/>
                    <a:pt x="125" y="22"/>
                    <a:pt x="124" y="21"/>
                  </a:cubicBezTo>
                  <a:cubicBezTo>
                    <a:pt x="123" y="20"/>
                    <a:pt x="122" y="20"/>
                    <a:pt x="121" y="18"/>
                  </a:cubicBezTo>
                  <a:cubicBezTo>
                    <a:pt x="121" y="16"/>
                    <a:pt x="121" y="16"/>
                    <a:pt x="120" y="14"/>
                  </a:cubicBezTo>
                  <a:cubicBezTo>
                    <a:pt x="119" y="13"/>
                    <a:pt x="118" y="12"/>
                    <a:pt x="118" y="10"/>
                  </a:cubicBezTo>
                  <a:cubicBezTo>
                    <a:pt x="118" y="8"/>
                    <a:pt x="116" y="9"/>
                    <a:pt x="115" y="7"/>
                  </a:cubicBezTo>
                  <a:cubicBezTo>
                    <a:pt x="115" y="7"/>
                    <a:pt x="115" y="6"/>
                    <a:pt x="113" y="5"/>
                  </a:cubicBezTo>
                  <a:cubicBezTo>
                    <a:pt x="112" y="5"/>
                    <a:pt x="111" y="6"/>
                    <a:pt x="111" y="5"/>
                  </a:cubicBezTo>
                  <a:cubicBezTo>
                    <a:pt x="110" y="4"/>
                    <a:pt x="110" y="4"/>
                    <a:pt x="109" y="3"/>
                  </a:cubicBezTo>
                  <a:cubicBezTo>
                    <a:pt x="109" y="3"/>
                    <a:pt x="107" y="3"/>
                    <a:pt x="106" y="3"/>
                  </a:cubicBezTo>
                  <a:cubicBezTo>
                    <a:pt x="106" y="2"/>
                    <a:pt x="105" y="0"/>
                    <a:pt x="103" y="0"/>
                  </a:cubicBezTo>
                  <a:cubicBezTo>
                    <a:pt x="102" y="0"/>
                    <a:pt x="101" y="2"/>
                    <a:pt x="101" y="3"/>
                  </a:cubicBezTo>
                  <a:cubicBezTo>
                    <a:pt x="101" y="5"/>
                    <a:pt x="101" y="6"/>
                    <a:pt x="101" y="8"/>
                  </a:cubicBezTo>
                  <a:cubicBezTo>
                    <a:pt x="101" y="10"/>
                    <a:pt x="99" y="9"/>
                    <a:pt x="97" y="9"/>
                  </a:cubicBezTo>
                  <a:cubicBezTo>
                    <a:pt x="95" y="9"/>
                    <a:pt x="95" y="10"/>
                    <a:pt x="94" y="12"/>
                  </a:cubicBezTo>
                  <a:cubicBezTo>
                    <a:pt x="93" y="14"/>
                    <a:pt x="92" y="15"/>
                    <a:pt x="91" y="17"/>
                  </a:cubicBezTo>
                  <a:cubicBezTo>
                    <a:pt x="90" y="19"/>
                    <a:pt x="90" y="19"/>
                    <a:pt x="89" y="20"/>
                  </a:cubicBezTo>
                  <a:cubicBezTo>
                    <a:pt x="87" y="22"/>
                    <a:pt x="88" y="24"/>
                    <a:pt x="86" y="25"/>
                  </a:cubicBezTo>
                  <a:cubicBezTo>
                    <a:pt x="84" y="26"/>
                    <a:pt x="82" y="26"/>
                    <a:pt x="80" y="27"/>
                  </a:cubicBezTo>
                  <a:cubicBezTo>
                    <a:pt x="78" y="28"/>
                    <a:pt x="77" y="29"/>
                    <a:pt x="75" y="30"/>
                  </a:cubicBezTo>
                  <a:cubicBezTo>
                    <a:pt x="72" y="31"/>
                    <a:pt x="71" y="32"/>
                    <a:pt x="68" y="32"/>
                  </a:cubicBezTo>
                  <a:cubicBezTo>
                    <a:pt x="67" y="32"/>
                    <a:pt x="67" y="32"/>
                    <a:pt x="65" y="32"/>
                  </a:cubicBezTo>
                  <a:cubicBezTo>
                    <a:pt x="64" y="33"/>
                    <a:pt x="64" y="33"/>
                    <a:pt x="63" y="33"/>
                  </a:cubicBezTo>
                  <a:cubicBezTo>
                    <a:pt x="60" y="32"/>
                    <a:pt x="60" y="33"/>
                    <a:pt x="58" y="35"/>
                  </a:cubicBezTo>
                  <a:cubicBezTo>
                    <a:pt x="56" y="36"/>
                    <a:pt x="53" y="35"/>
                    <a:pt x="52" y="36"/>
                  </a:cubicBezTo>
                  <a:cubicBezTo>
                    <a:pt x="49" y="38"/>
                    <a:pt x="48" y="42"/>
                    <a:pt x="47" y="45"/>
                  </a:cubicBezTo>
                  <a:cubicBezTo>
                    <a:pt x="46" y="47"/>
                    <a:pt x="45" y="50"/>
                    <a:pt x="45" y="53"/>
                  </a:cubicBezTo>
                  <a:cubicBezTo>
                    <a:pt x="44" y="54"/>
                    <a:pt x="44" y="56"/>
                    <a:pt x="44" y="58"/>
                  </a:cubicBezTo>
                  <a:cubicBezTo>
                    <a:pt x="44" y="59"/>
                    <a:pt x="43" y="60"/>
                    <a:pt x="43" y="62"/>
                  </a:cubicBezTo>
                  <a:cubicBezTo>
                    <a:pt x="43" y="63"/>
                    <a:pt x="43" y="65"/>
                    <a:pt x="44" y="66"/>
                  </a:cubicBezTo>
                  <a:cubicBezTo>
                    <a:pt x="45" y="66"/>
                    <a:pt x="46" y="67"/>
                    <a:pt x="47" y="69"/>
                  </a:cubicBezTo>
                  <a:cubicBezTo>
                    <a:pt x="47" y="72"/>
                    <a:pt x="40" y="71"/>
                    <a:pt x="38" y="71"/>
                  </a:cubicBezTo>
                  <a:cubicBezTo>
                    <a:pt x="36" y="71"/>
                    <a:pt x="35" y="69"/>
                    <a:pt x="34" y="71"/>
                  </a:cubicBezTo>
                  <a:cubicBezTo>
                    <a:pt x="34" y="72"/>
                    <a:pt x="33" y="73"/>
                    <a:pt x="33" y="74"/>
                  </a:cubicBezTo>
                  <a:cubicBezTo>
                    <a:pt x="32" y="75"/>
                    <a:pt x="30" y="74"/>
                    <a:pt x="29" y="73"/>
                  </a:cubicBezTo>
                  <a:cubicBezTo>
                    <a:pt x="27" y="72"/>
                    <a:pt x="26" y="71"/>
                    <a:pt x="24" y="73"/>
                  </a:cubicBezTo>
                  <a:cubicBezTo>
                    <a:pt x="22" y="74"/>
                    <a:pt x="22" y="73"/>
                    <a:pt x="20" y="72"/>
                  </a:cubicBezTo>
                  <a:cubicBezTo>
                    <a:pt x="18" y="72"/>
                    <a:pt x="18" y="73"/>
                    <a:pt x="16" y="73"/>
                  </a:cubicBezTo>
                  <a:cubicBezTo>
                    <a:pt x="15" y="71"/>
                    <a:pt x="15" y="69"/>
                    <a:pt x="14" y="67"/>
                  </a:cubicBezTo>
                  <a:cubicBezTo>
                    <a:pt x="13" y="66"/>
                    <a:pt x="11" y="66"/>
                    <a:pt x="9" y="65"/>
                  </a:cubicBezTo>
                  <a:cubicBezTo>
                    <a:pt x="9" y="66"/>
                    <a:pt x="7" y="67"/>
                    <a:pt x="6" y="68"/>
                  </a:cubicBezTo>
                  <a:cubicBezTo>
                    <a:pt x="4" y="69"/>
                    <a:pt x="2" y="70"/>
                    <a:pt x="1" y="71"/>
                  </a:cubicBezTo>
                  <a:cubicBezTo>
                    <a:pt x="0" y="72"/>
                    <a:pt x="0" y="72"/>
                    <a:pt x="0" y="72"/>
                  </a:cubicBezTo>
                  <a:cubicBezTo>
                    <a:pt x="1" y="73"/>
                    <a:pt x="2" y="74"/>
                    <a:pt x="3" y="75"/>
                  </a:cubicBezTo>
                  <a:cubicBezTo>
                    <a:pt x="4" y="75"/>
                    <a:pt x="3" y="78"/>
                    <a:pt x="4" y="78"/>
                  </a:cubicBezTo>
                  <a:cubicBezTo>
                    <a:pt x="5" y="78"/>
                    <a:pt x="5" y="78"/>
                    <a:pt x="5" y="78"/>
                  </a:cubicBezTo>
                  <a:cubicBezTo>
                    <a:pt x="5" y="76"/>
                    <a:pt x="5" y="76"/>
                    <a:pt x="5" y="76"/>
                  </a:cubicBezTo>
                  <a:cubicBezTo>
                    <a:pt x="7" y="78"/>
                    <a:pt x="7" y="78"/>
                    <a:pt x="7" y="78"/>
                  </a:cubicBezTo>
                  <a:cubicBezTo>
                    <a:pt x="7" y="78"/>
                    <a:pt x="9" y="81"/>
                    <a:pt x="9" y="81"/>
                  </a:cubicBezTo>
                  <a:cubicBezTo>
                    <a:pt x="10" y="81"/>
                    <a:pt x="10" y="80"/>
                    <a:pt x="11" y="80"/>
                  </a:cubicBezTo>
                  <a:cubicBezTo>
                    <a:pt x="11" y="80"/>
                    <a:pt x="14" y="83"/>
                    <a:pt x="14" y="83"/>
                  </a:cubicBezTo>
                  <a:cubicBezTo>
                    <a:pt x="14" y="83"/>
                    <a:pt x="17" y="85"/>
                    <a:pt x="18" y="86"/>
                  </a:cubicBezTo>
                  <a:cubicBezTo>
                    <a:pt x="19" y="86"/>
                    <a:pt x="20" y="87"/>
                    <a:pt x="21" y="88"/>
                  </a:cubicBezTo>
                  <a:cubicBezTo>
                    <a:pt x="22" y="89"/>
                    <a:pt x="21" y="89"/>
                    <a:pt x="21" y="89"/>
                  </a:cubicBezTo>
                  <a:cubicBezTo>
                    <a:pt x="20" y="92"/>
                    <a:pt x="20" y="92"/>
                    <a:pt x="20" y="92"/>
                  </a:cubicBezTo>
                  <a:cubicBezTo>
                    <a:pt x="20" y="92"/>
                    <a:pt x="21" y="93"/>
                    <a:pt x="22" y="93"/>
                  </a:cubicBezTo>
                  <a:cubicBezTo>
                    <a:pt x="22" y="94"/>
                    <a:pt x="24" y="96"/>
                    <a:pt x="24" y="96"/>
                  </a:cubicBezTo>
                  <a:cubicBezTo>
                    <a:pt x="24" y="96"/>
                    <a:pt x="25" y="99"/>
                    <a:pt x="25" y="100"/>
                  </a:cubicBezTo>
                  <a:cubicBezTo>
                    <a:pt x="25" y="100"/>
                    <a:pt x="28" y="104"/>
                    <a:pt x="29" y="104"/>
                  </a:cubicBezTo>
                  <a:cubicBezTo>
                    <a:pt x="29" y="105"/>
                    <a:pt x="32" y="107"/>
                    <a:pt x="33" y="107"/>
                  </a:cubicBezTo>
                  <a:cubicBezTo>
                    <a:pt x="34" y="108"/>
                    <a:pt x="35" y="109"/>
                    <a:pt x="35" y="109"/>
                  </a:cubicBezTo>
                  <a:cubicBezTo>
                    <a:pt x="35" y="109"/>
                    <a:pt x="39" y="112"/>
                    <a:pt x="41" y="112"/>
                  </a:cubicBezTo>
                  <a:cubicBezTo>
                    <a:pt x="43" y="113"/>
                    <a:pt x="44" y="115"/>
                    <a:pt x="44" y="115"/>
                  </a:cubicBezTo>
                  <a:cubicBezTo>
                    <a:pt x="45" y="116"/>
                    <a:pt x="43" y="117"/>
                    <a:pt x="43" y="117"/>
                  </a:cubicBezTo>
                  <a:cubicBezTo>
                    <a:pt x="43" y="119"/>
                    <a:pt x="43" y="119"/>
                    <a:pt x="43" y="119"/>
                  </a:cubicBezTo>
                  <a:cubicBezTo>
                    <a:pt x="43" y="119"/>
                    <a:pt x="44" y="119"/>
                    <a:pt x="46" y="120"/>
                  </a:cubicBezTo>
                  <a:cubicBezTo>
                    <a:pt x="47" y="120"/>
                    <a:pt x="49" y="121"/>
                    <a:pt x="49" y="121"/>
                  </a:cubicBezTo>
                  <a:cubicBezTo>
                    <a:pt x="49" y="121"/>
                    <a:pt x="51" y="124"/>
                    <a:pt x="51" y="125"/>
                  </a:cubicBezTo>
                  <a:cubicBezTo>
                    <a:pt x="51" y="125"/>
                    <a:pt x="55" y="128"/>
                    <a:pt x="55" y="129"/>
                  </a:cubicBezTo>
                  <a:cubicBezTo>
                    <a:pt x="56" y="129"/>
                    <a:pt x="58" y="131"/>
                    <a:pt x="59" y="131"/>
                  </a:cubicBezTo>
                  <a:cubicBezTo>
                    <a:pt x="59" y="132"/>
                    <a:pt x="61" y="136"/>
                    <a:pt x="61" y="136"/>
                  </a:cubicBezTo>
                  <a:cubicBezTo>
                    <a:pt x="61" y="136"/>
                    <a:pt x="68" y="136"/>
                    <a:pt x="69" y="136"/>
                  </a:cubicBezTo>
                  <a:cubicBezTo>
                    <a:pt x="69" y="136"/>
                    <a:pt x="69" y="135"/>
                    <a:pt x="68" y="134"/>
                  </a:cubicBezTo>
                  <a:cubicBezTo>
                    <a:pt x="68" y="133"/>
                    <a:pt x="68" y="132"/>
                    <a:pt x="68" y="132"/>
                  </a:cubicBezTo>
                  <a:cubicBezTo>
                    <a:pt x="68" y="131"/>
                    <a:pt x="68" y="130"/>
                    <a:pt x="68" y="129"/>
                  </a:cubicBezTo>
                  <a:cubicBezTo>
                    <a:pt x="68" y="129"/>
                    <a:pt x="66" y="127"/>
                    <a:pt x="66" y="127"/>
                  </a:cubicBezTo>
                  <a:cubicBezTo>
                    <a:pt x="65" y="126"/>
                    <a:pt x="65" y="126"/>
                    <a:pt x="64" y="125"/>
                  </a:cubicBezTo>
                  <a:cubicBezTo>
                    <a:pt x="64" y="124"/>
                    <a:pt x="63" y="124"/>
                    <a:pt x="64" y="123"/>
                  </a:cubicBezTo>
                  <a:cubicBezTo>
                    <a:pt x="64" y="123"/>
                    <a:pt x="64" y="121"/>
                    <a:pt x="64" y="121"/>
                  </a:cubicBezTo>
                  <a:cubicBezTo>
                    <a:pt x="64" y="121"/>
                    <a:pt x="61" y="118"/>
                    <a:pt x="60" y="117"/>
                  </a:cubicBezTo>
                  <a:cubicBezTo>
                    <a:pt x="60" y="116"/>
                    <a:pt x="59" y="116"/>
                    <a:pt x="59" y="115"/>
                  </a:cubicBezTo>
                  <a:cubicBezTo>
                    <a:pt x="58" y="114"/>
                    <a:pt x="58" y="113"/>
                    <a:pt x="58" y="112"/>
                  </a:cubicBezTo>
                  <a:cubicBezTo>
                    <a:pt x="58" y="110"/>
                    <a:pt x="59" y="111"/>
                    <a:pt x="60" y="110"/>
                  </a:cubicBezTo>
                  <a:cubicBezTo>
                    <a:pt x="61" y="109"/>
                    <a:pt x="64" y="110"/>
                    <a:pt x="65" y="110"/>
                  </a:cubicBezTo>
                  <a:cubicBezTo>
                    <a:pt x="65" y="110"/>
                    <a:pt x="66" y="110"/>
                    <a:pt x="67" y="111"/>
                  </a:cubicBezTo>
                  <a:cubicBezTo>
                    <a:pt x="68" y="112"/>
                    <a:pt x="69" y="113"/>
                    <a:pt x="70" y="115"/>
                  </a:cubicBezTo>
                  <a:cubicBezTo>
                    <a:pt x="72" y="116"/>
                    <a:pt x="73" y="116"/>
                    <a:pt x="74" y="116"/>
                  </a:cubicBezTo>
                  <a:cubicBezTo>
                    <a:pt x="75" y="116"/>
                    <a:pt x="75" y="116"/>
                    <a:pt x="76" y="117"/>
                  </a:cubicBezTo>
                  <a:cubicBezTo>
                    <a:pt x="78" y="118"/>
                    <a:pt x="80" y="120"/>
                    <a:pt x="82" y="121"/>
                  </a:cubicBezTo>
                  <a:cubicBezTo>
                    <a:pt x="83" y="122"/>
                    <a:pt x="83" y="121"/>
                    <a:pt x="85" y="122"/>
                  </a:cubicBezTo>
                  <a:cubicBezTo>
                    <a:pt x="87" y="123"/>
                    <a:pt x="87" y="124"/>
                    <a:pt x="88" y="124"/>
                  </a:cubicBezTo>
                  <a:cubicBezTo>
                    <a:pt x="89" y="125"/>
                    <a:pt x="91" y="125"/>
                    <a:pt x="92" y="126"/>
                  </a:cubicBezTo>
                  <a:cubicBezTo>
                    <a:pt x="93" y="127"/>
                    <a:pt x="95" y="128"/>
                    <a:pt x="96" y="129"/>
                  </a:cubicBezTo>
                  <a:cubicBezTo>
                    <a:pt x="98" y="129"/>
                    <a:pt x="99" y="126"/>
                    <a:pt x="99" y="126"/>
                  </a:cubicBezTo>
                  <a:cubicBezTo>
                    <a:pt x="99" y="126"/>
                    <a:pt x="97" y="127"/>
                    <a:pt x="96" y="127"/>
                  </a:cubicBezTo>
                  <a:cubicBezTo>
                    <a:pt x="96" y="127"/>
                    <a:pt x="96" y="125"/>
                    <a:pt x="96" y="125"/>
                  </a:cubicBezTo>
                  <a:cubicBezTo>
                    <a:pt x="95" y="124"/>
                    <a:pt x="96" y="123"/>
                    <a:pt x="97" y="123"/>
                  </a:cubicBezTo>
                  <a:cubicBezTo>
                    <a:pt x="97" y="123"/>
                    <a:pt x="97" y="122"/>
                    <a:pt x="98" y="122"/>
                  </a:cubicBezTo>
                  <a:cubicBezTo>
                    <a:pt x="98" y="122"/>
                    <a:pt x="97" y="121"/>
                    <a:pt x="97" y="121"/>
                  </a:cubicBezTo>
                  <a:cubicBezTo>
                    <a:pt x="97" y="121"/>
                    <a:pt x="97" y="119"/>
                    <a:pt x="97" y="118"/>
                  </a:cubicBezTo>
                  <a:cubicBezTo>
                    <a:pt x="97" y="118"/>
                    <a:pt x="97" y="117"/>
                    <a:pt x="96" y="116"/>
                  </a:cubicBezTo>
                  <a:cubicBezTo>
                    <a:pt x="96" y="115"/>
                    <a:pt x="98" y="115"/>
                    <a:pt x="98" y="115"/>
                  </a:cubicBezTo>
                  <a:cubicBezTo>
                    <a:pt x="98" y="115"/>
                    <a:pt x="101" y="114"/>
                    <a:pt x="101" y="114"/>
                  </a:cubicBezTo>
                  <a:cubicBezTo>
                    <a:pt x="102" y="114"/>
                    <a:pt x="102" y="112"/>
                    <a:pt x="102" y="111"/>
                  </a:cubicBezTo>
                  <a:cubicBezTo>
                    <a:pt x="101" y="110"/>
                    <a:pt x="102" y="109"/>
                    <a:pt x="102" y="108"/>
                  </a:cubicBezTo>
                  <a:cubicBezTo>
                    <a:pt x="102" y="107"/>
                    <a:pt x="103" y="107"/>
                    <a:pt x="104" y="106"/>
                  </a:cubicBezTo>
                  <a:cubicBezTo>
                    <a:pt x="104" y="106"/>
                    <a:pt x="105" y="107"/>
                    <a:pt x="106" y="109"/>
                  </a:cubicBezTo>
                  <a:cubicBezTo>
                    <a:pt x="107" y="110"/>
                    <a:pt x="107" y="111"/>
                    <a:pt x="109" y="114"/>
                  </a:cubicBezTo>
                  <a:cubicBezTo>
                    <a:pt x="110" y="116"/>
                    <a:pt x="115" y="120"/>
                    <a:pt x="117" y="120"/>
                  </a:cubicBezTo>
                  <a:cubicBezTo>
                    <a:pt x="119" y="121"/>
                    <a:pt x="120" y="122"/>
                    <a:pt x="121" y="123"/>
                  </a:cubicBezTo>
                  <a:cubicBezTo>
                    <a:pt x="123" y="125"/>
                    <a:pt x="121" y="126"/>
                    <a:pt x="122" y="127"/>
                  </a:cubicBezTo>
                  <a:cubicBezTo>
                    <a:pt x="122" y="129"/>
                    <a:pt x="122" y="129"/>
                    <a:pt x="123" y="129"/>
                  </a:cubicBezTo>
                  <a:cubicBezTo>
                    <a:pt x="125" y="130"/>
                    <a:pt x="127" y="130"/>
                    <a:pt x="128" y="131"/>
                  </a:cubicBezTo>
                  <a:cubicBezTo>
                    <a:pt x="130" y="131"/>
                    <a:pt x="130" y="132"/>
                    <a:pt x="130" y="133"/>
                  </a:cubicBezTo>
                  <a:cubicBezTo>
                    <a:pt x="131" y="134"/>
                    <a:pt x="132" y="133"/>
                    <a:pt x="132" y="133"/>
                  </a:cubicBezTo>
                  <a:cubicBezTo>
                    <a:pt x="132" y="132"/>
                    <a:pt x="133" y="130"/>
                    <a:pt x="134" y="127"/>
                  </a:cubicBezTo>
                  <a:cubicBezTo>
                    <a:pt x="134" y="125"/>
                    <a:pt x="134" y="125"/>
                    <a:pt x="135" y="122"/>
                  </a:cubicBezTo>
                  <a:cubicBezTo>
                    <a:pt x="136" y="120"/>
                    <a:pt x="135" y="119"/>
                    <a:pt x="136" y="117"/>
                  </a:cubicBezTo>
                  <a:cubicBezTo>
                    <a:pt x="136" y="116"/>
                    <a:pt x="136" y="116"/>
                    <a:pt x="136" y="115"/>
                  </a:cubicBezTo>
                  <a:cubicBezTo>
                    <a:pt x="136" y="114"/>
                    <a:pt x="136" y="114"/>
                    <a:pt x="136" y="112"/>
                  </a:cubicBezTo>
                  <a:cubicBezTo>
                    <a:pt x="136" y="110"/>
                    <a:pt x="136" y="107"/>
                    <a:pt x="136" y="106"/>
                  </a:cubicBezTo>
                  <a:cubicBezTo>
                    <a:pt x="136" y="105"/>
                    <a:pt x="136" y="100"/>
                    <a:pt x="136" y="98"/>
                  </a:cubicBezTo>
                  <a:cubicBezTo>
                    <a:pt x="137" y="97"/>
                    <a:pt x="138" y="96"/>
                    <a:pt x="138" y="95"/>
                  </a:cubicBezTo>
                  <a:cubicBezTo>
                    <a:pt x="138" y="95"/>
                    <a:pt x="138" y="93"/>
                    <a:pt x="138" y="91"/>
                  </a:cubicBezTo>
                  <a:cubicBezTo>
                    <a:pt x="138" y="90"/>
                    <a:pt x="138" y="87"/>
                    <a:pt x="138" y="86"/>
                  </a:cubicBezTo>
                  <a:cubicBezTo>
                    <a:pt x="138" y="84"/>
                    <a:pt x="138" y="81"/>
                    <a:pt x="138" y="79"/>
                  </a:cubicBezTo>
                  <a:cubicBezTo>
                    <a:pt x="138" y="76"/>
                    <a:pt x="140" y="75"/>
                    <a:pt x="140" y="74"/>
                  </a:cubicBezTo>
                  <a:cubicBezTo>
                    <a:pt x="140" y="73"/>
                    <a:pt x="139" y="72"/>
                    <a:pt x="139" y="71"/>
                  </a:cubicBezTo>
                  <a:cubicBezTo>
                    <a:pt x="138" y="70"/>
                    <a:pt x="138" y="69"/>
                    <a:pt x="138" y="67"/>
                  </a:cubicBezTo>
                  <a:cubicBezTo>
                    <a:pt x="138" y="65"/>
                    <a:pt x="139" y="64"/>
                    <a:pt x="139" y="63"/>
                  </a:cubicBezTo>
                  <a:cubicBezTo>
                    <a:pt x="139" y="62"/>
                    <a:pt x="140" y="60"/>
                    <a:pt x="141" y="58"/>
                  </a:cubicBezTo>
                  <a:cubicBezTo>
                    <a:pt x="142" y="57"/>
                    <a:pt x="142" y="58"/>
                    <a:pt x="142" y="57"/>
                  </a:cubicBezTo>
                  <a:cubicBezTo>
                    <a:pt x="142" y="57"/>
                    <a:pt x="140" y="54"/>
                    <a:pt x="139" y="53"/>
                  </a:cubicBezTo>
                  <a:cubicBezTo>
                    <a:pt x="139" y="52"/>
                    <a:pt x="141" y="52"/>
                    <a:pt x="141" y="51"/>
                  </a:cubicBezTo>
                  <a:cubicBezTo>
                    <a:pt x="141" y="51"/>
                    <a:pt x="141" y="49"/>
                    <a:pt x="141" y="49"/>
                  </a:cubicBezTo>
                  <a:cubicBezTo>
                    <a:pt x="141" y="48"/>
                    <a:pt x="142" y="46"/>
                    <a:pt x="142" y="45"/>
                  </a:cubicBezTo>
                  <a:cubicBezTo>
                    <a:pt x="142" y="44"/>
                    <a:pt x="141" y="44"/>
                    <a:pt x="139" y="44"/>
                  </a:cubicBezTo>
                  <a:cubicBezTo>
                    <a:pt x="137" y="44"/>
                    <a:pt x="138" y="42"/>
                    <a:pt x="137" y="41"/>
                  </a:cubicBezTo>
                  <a:cubicBezTo>
                    <a:pt x="137" y="40"/>
                    <a:pt x="136" y="38"/>
                    <a:pt x="136" y="37"/>
                  </a:cubicBezTo>
                  <a:cubicBezTo>
                    <a:pt x="136" y="35"/>
                    <a:pt x="136" y="32"/>
                    <a:pt x="136" y="30"/>
                  </a:cubicBezTo>
                  <a:cubicBezTo>
                    <a:pt x="136" y="29"/>
                    <a:pt x="136" y="28"/>
                    <a:pt x="136" y="28"/>
                  </a:cubicBezTo>
                  <a:cubicBezTo>
                    <a:pt x="136" y="28"/>
                    <a:pt x="137" y="27"/>
                    <a:pt x="137" y="27"/>
                  </a:cubicBezTo>
                  <a:cubicBezTo>
                    <a:pt x="137" y="27"/>
                    <a:pt x="136" y="26"/>
                    <a:pt x="136" y="26"/>
                  </a:cubicBezTo>
                  <a:cubicBezTo>
                    <a:pt x="135" y="26"/>
                    <a:pt x="133" y="25"/>
                    <a:pt x="132" y="24"/>
                  </a:cubicBezTo>
                  <a:close/>
                </a:path>
              </a:pathLst>
            </a:custGeom>
            <a:solidFill>
              <a:srgbClr val="D0227C"/>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0" name="Freeform 48">
              <a:extLst>
                <a:ext uri="{FF2B5EF4-FFF2-40B4-BE49-F238E27FC236}">
                  <a16:creationId xmlns:a16="http://schemas.microsoft.com/office/drawing/2014/main" id="{246456FD-18DF-4CA8-9A84-CC66BBFB85D6}"/>
                </a:ext>
              </a:extLst>
            </p:cNvPr>
            <p:cNvSpPr>
              <a:spLocks/>
            </p:cNvSpPr>
            <p:nvPr/>
          </p:nvSpPr>
          <p:spPr bwMode="auto">
            <a:xfrm>
              <a:off x="2012950" y="3998913"/>
              <a:ext cx="777875" cy="473075"/>
            </a:xfrm>
            <a:custGeom>
              <a:avLst/>
              <a:gdLst>
                <a:gd name="T0" fmla="*/ 70 w 204"/>
                <a:gd name="T1" fmla="*/ 115 h 124"/>
                <a:gd name="T2" fmla="*/ 77 w 204"/>
                <a:gd name="T3" fmla="*/ 116 h 124"/>
                <a:gd name="T4" fmla="*/ 79 w 204"/>
                <a:gd name="T5" fmla="*/ 119 h 124"/>
                <a:gd name="T6" fmla="*/ 90 w 204"/>
                <a:gd name="T7" fmla="*/ 118 h 124"/>
                <a:gd name="T8" fmla="*/ 94 w 204"/>
                <a:gd name="T9" fmla="*/ 113 h 124"/>
                <a:gd name="T10" fmla="*/ 103 w 204"/>
                <a:gd name="T11" fmla="*/ 106 h 124"/>
                <a:gd name="T12" fmla="*/ 107 w 204"/>
                <a:gd name="T13" fmla="*/ 100 h 124"/>
                <a:gd name="T14" fmla="*/ 109 w 204"/>
                <a:gd name="T15" fmla="*/ 96 h 124"/>
                <a:gd name="T16" fmla="*/ 119 w 204"/>
                <a:gd name="T17" fmla="*/ 97 h 124"/>
                <a:gd name="T18" fmla="*/ 127 w 204"/>
                <a:gd name="T19" fmla="*/ 96 h 124"/>
                <a:gd name="T20" fmla="*/ 129 w 204"/>
                <a:gd name="T21" fmla="*/ 86 h 124"/>
                <a:gd name="T22" fmla="*/ 142 w 204"/>
                <a:gd name="T23" fmla="*/ 98 h 124"/>
                <a:gd name="T24" fmla="*/ 147 w 204"/>
                <a:gd name="T25" fmla="*/ 87 h 124"/>
                <a:gd name="T26" fmla="*/ 145 w 204"/>
                <a:gd name="T27" fmla="*/ 84 h 124"/>
                <a:gd name="T28" fmla="*/ 146 w 204"/>
                <a:gd name="T29" fmla="*/ 72 h 124"/>
                <a:gd name="T30" fmla="*/ 174 w 204"/>
                <a:gd name="T31" fmla="*/ 63 h 124"/>
                <a:gd name="T32" fmla="*/ 196 w 204"/>
                <a:gd name="T33" fmla="*/ 57 h 124"/>
                <a:gd name="T34" fmla="*/ 199 w 204"/>
                <a:gd name="T35" fmla="*/ 54 h 124"/>
                <a:gd name="T36" fmla="*/ 200 w 204"/>
                <a:gd name="T37" fmla="*/ 51 h 124"/>
                <a:gd name="T38" fmla="*/ 204 w 204"/>
                <a:gd name="T39" fmla="*/ 50 h 124"/>
                <a:gd name="T40" fmla="*/ 202 w 204"/>
                <a:gd name="T41" fmla="*/ 43 h 124"/>
                <a:gd name="T42" fmla="*/ 203 w 204"/>
                <a:gd name="T43" fmla="*/ 36 h 124"/>
                <a:gd name="T44" fmla="*/ 200 w 204"/>
                <a:gd name="T45" fmla="*/ 27 h 124"/>
                <a:gd name="T46" fmla="*/ 199 w 204"/>
                <a:gd name="T47" fmla="*/ 17 h 124"/>
                <a:gd name="T48" fmla="*/ 193 w 204"/>
                <a:gd name="T49" fmla="*/ 19 h 124"/>
                <a:gd name="T50" fmla="*/ 189 w 204"/>
                <a:gd name="T51" fmla="*/ 20 h 124"/>
                <a:gd name="T52" fmla="*/ 187 w 204"/>
                <a:gd name="T53" fmla="*/ 19 h 124"/>
                <a:gd name="T54" fmla="*/ 178 w 204"/>
                <a:gd name="T55" fmla="*/ 16 h 124"/>
                <a:gd name="T56" fmla="*/ 168 w 204"/>
                <a:gd name="T57" fmla="*/ 16 h 124"/>
                <a:gd name="T58" fmla="*/ 167 w 204"/>
                <a:gd name="T59" fmla="*/ 23 h 124"/>
                <a:gd name="T60" fmla="*/ 163 w 204"/>
                <a:gd name="T61" fmla="*/ 16 h 124"/>
                <a:gd name="T62" fmla="*/ 157 w 204"/>
                <a:gd name="T63" fmla="*/ 13 h 124"/>
                <a:gd name="T64" fmla="*/ 150 w 204"/>
                <a:gd name="T65" fmla="*/ 8 h 124"/>
                <a:gd name="T66" fmla="*/ 145 w 204"/>
                <a:gd name="T67" fmla="*/ 4 h 124"/>
                <a:gd name="T68" fmla="*/ 143 w 204"/>
                <a:gd name="T69" fmla="*/ 1 h 124"/>
                <a:gd name="T70" fmla="*/ 138 w 204"/>
                <a:gd name="T71" fmla="*/ 3 h 124"/>
                <a:gd name="T72" fmla="*/ 120 w 204"/>
                <a:gd name="T73" fmla="*/ 1 h 124"/>
                <a:gd name="T74" fmla="*/ 104 w 204"/>
                <a:gd name="T75" fmla="*/ 15 h 124"/>
                <a:gd name="T76" fmla="*/ 100 w 204"/>
                <a:gd name="T77" fmla="*/ 19 h 124"/>
                <a:gd name="T78" fmla="*/ 87 w 204"/>
                <a:gd name="T79" fmla="*/ 21 h 124"/>
                <a:gd name="T80" fmla="*/ 81 w 204"/>
                <a:gd name="T81" fmla="*/ 18 h 124"/>
                <a:gd name="T82" fmla="*/ 77 w 204"/>
                <a:gd name="T83" fmla="*/ 15 h 124"/>
                <a:gd name="T84" fmla="*/ 67 w 204"/>
                <a:gd name="T85" fmla="*/ 12 h 124"/>
                <a:gd name="T86" fmla="*/ 63 w 204"/>
                <a:gd name="T87" fmla="*/ 11 h 124"/>
                <a:gd name="T88" fmla="*/ 45 w 204"/>
                <a:gd name="T89" fmla="*/ 14 h 124"/>
                <a:gd name="T90" fmla="*/ 44 w 204"/>
                <a:gd name="T91" fmla="*/ 21 h 124"/>
                <a:gd name="T92" fmla="*/ 43 w 204"/>
                <a:gd name="T93" fmla="*/ 29 h 124"/>
                <a:gd name="T94" fmla="*/ 37 w 204"/>
                <a:gd name="T95" fmla="*/ 38 h 124"/>
                <a:gd name="T96" fmla="*/ 36 w 204"/>
                <a:gd name="T97" fmla="*/ 44 h 124"/>
                <a:gd name="T98" fmla="*/ 28 w 204"/>
                <a:gd name="T99" fmla="*/ 51 h 124"/>
                <a:gd name="T100" fmla="*/ 13 w 204"/>
                <a:gd name="T101" fmla="*/ 58 h 124"/>
                <a:gd name="T102" fmla="*/ 5 w 204"/>
                <a:gd name="T103" fmla="*/ 58 h 124"/>
                <a:gd name="T104" fmla="*/ 2 w 204"/>
                <a:gd name="T105" fmla="*/ 67 h 124"/>
                <a:gd name="T106" fmla="*/ 3 w 204"/>
                <a:gd name="T107" fmla="*/ 74 h 124"/>
                <a:gd name="T108" fmla="*/ 9 w 204"/>
                <a:gd name="T109" fmla="*/ 94 h 124"/>
                <a:gd name="T110" fmla="*/ 28 w 204"/>
                <a:gd name="T111" fmla="*/ 111 h 124"/>
                <a:gd name="T112" fmla="*/ 44 w 204"/>
                <a:gd name="T113" fmla="*/ 120 h 124"/>
                <a:gd name="T114" fmla="*/ 59 w 204"/>
                <a:gd name="T115" fmla="*/ 124 h 124"/>
                <a:gd name="T116" fmla="*/ 66 w 204"/>
                <a:gd name="T117" fmla="*/ 11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24">
                  <a:moveTo>
                    <a:pt x="66" y="119"/>
                  </a:moveTo>
                  <a:cubicBezTo>
                    <a:pt x="68" y="118"/>
                    <a:pt x="68" y="117"/>
                    <a:pt x="70" y="115"/>
                  </a:cubicBezTo>
                  <a:cubicBezTo>
                    <a:pt x="72" y="113"/>
                    <a:pt x="71" y="116"/>
                    <a:pt x="72" y="117"/>
                  </a:cubicBezTo>
                  <a:cubicBezTo>
                    <a:pt x="74" y="118"/>
                    <a:pt x="76" y="116"/>
                    <a:pt x="77" y="116"/>
                  </a:cubicBezTo>
                  <a:cubicBezTo>
                    <a:pt x="77" y="117"/>
                    <a:pt x="77" y="117"/>
                    <a:pt x="77" y="118"/>
                  </a:cubicBezTo>
                  <a:cubicBezTo>
                    <a:pt x="78" y="119"/>
                    <a:pt x="78" y="119"/>
                    <a:pt x="79" y="119"/>
                  </a:cubicBezTo>
                  <a:cubicBezTo>
                    <a:pt x="81" y="121"/>
                    <a:pt x="83" y="120"/>
                    <a:pt x="85" y="119"/>
                  </a:cubicBezTo>
                  <a:cubicBezTo>
                    <a:pt x="86" y="119"/>
                    <a:pt x="89" y="119"/>
                    <a:pt x="90" y="118"/>
                  </a:cubicBezTo>
                  <a:cubicBezTo>
                    <a:pt x="91" y="117"/>
                    <a:pt x="91" y="116"/>
                    <a:pt x="92" y="115"/>
                  </a:cubicBezTo>
                  <a:cubicBezTo>
                    <a:pt x="93" y="114"/>
                    <a:pt x="93" y="114"/>
                    <a:pt x="94" y="113"/>
                  </a:cubicBezTo>
                  <a:cubicBezTo>
                    <a:pt x="97" y="112"/>
                    <a:pt x="102" y="111"/>
                    <a:pt x="103" y="109"/>
                  </a:cubicBezTo>
                  <a:cubicBezTo>
                    <a:pt x="103" y="108"/>
                    <a:pt x="102" y="107"/>
                    <a:pt x="103" y="106"/>
                  </a:cubicBezTo>
                  <a:cubicBezTo>
                    <a:pt x="103" y="105"/>
                    <a:pt x="105" y="105"/>
                    <a:pt x="106" y="104"/>
                  </a:cubicBezTo>
                  <a:cubicBezTo>
                    <a:pt x="106" y="103"/>
                    <a:pt x="107" y="101"/>
                    <a:pt x="107" y="100"/>
                  </a:cubicBezTo>
                  <a:cubicBezTo>
                    <a:pt x="106" y="99"/>
                    <a:pt x="105" y="100"/>
                    <a:pt x="105" y="98"/>
                  </a:cubicBezTo>
                  <a:cubicBezTo>
                    <a:pt x="105" y="96"/>
                    <a:pt x="107" y="95"/>
                    <a:pt x="109" y="96"/>
                  </a:cubicBezTo>
                  <a:cubicBezTo>
                    <a:pt x="112" y="97"/>
                    <a:pt x="113" y="98"/>
                    <a:pt x="116" y="98"/>
                  </a:cubicBezTo>
                  <a:cubicBezTo>
                    <a:pt x="117" y="97"/>
                    <a:pt x="118" y="96"/>
                    <a:pt x="119" y="97"/>
                  </a:cubicBezTo>
                  <a:cubicBezTo>
                    <a:pt x="120" y="97"/>
                    <a:pt x="121" y="99"/>
                    <a:pt x="122" y="99"/>
                  </a:cubicBezTo>
                  <a:cubicBezTo>
                    <a:pt x="125" y="99"/>
                    <a:pt x="128" y="98"/>
                    <a:pt x="127" y="96"/>
                  </a:cubicBezTo>
                  <a:cubicBezTo>
                    <a:pt x="127" y="94"/>
                    <a:pt x="125" y="92"/>
                    <a:pt x="125" y="90"/>
                  </a:cubicBezTo>
                  <a:cubicBezTo>
                    <a:pt x="125" y="87"/>
                    <a:pt x="127" y="85"/>
                    <a:pt x="129" y="86"/>
                  </a:cubicBezTo>
                  <a:cubicBezTo>
                    <a:pt x="131" y="87"/>
                    <a:pt x="133" y="89"/>
                    <a:pt x="134" y="91"/>
                  </a:cubicBezTo>
                  <a:cubicBezTo>
                    <a:pt x="136" y="92"/>
                    <a:pt x="139" y="98"/>
                    <a:pt x="142" y="98"/>
                  </a:cubicBezTo>
                  <a:cubicBezTo>
                    <a:pt x="145" y="97"/>
                    <a:pt x="141" y="90"/>
                    <a:pt x="143" y="88"/>
                  </a:cubicBezTo>
                  <a:cubicBezTo>
                    <a:pt x="144" y="87"/>
                    <a:pt x="146" y="88"/>
                    <a:pt x="147" y="87"/>
                  </a:cubicBezTo>
                  <a:cubicBezTo>
                    <a:pt x="149" y="85"/>
                    <a:pt x="147" y="85"/>
                    <a:pt x="145" y="85"/>
                  </a:cubicBezTo>
                  <a:cubicBezTo>
                    <a:pt x="145" y="84"/>
                    <a:pt x="145" y="84"/>
                    <a:pt x="145" y="84"/>
                  </a:cubicBezTo>
                  <a:cubicBezTo>
                    <a:pt x="146" y="82"/>
                    <a:pt x="148" y="81"/>
                    <a:pt x="148" y="78"/>
                  </a:cubicBezTo>
                  <a:cubicBezTo>
                    <a:pt x="148" y="75"/>
                    <a:pt x="145" y="75"/>
                    <a:pt x="146" y="72"/>
                  </a:cubicBezTo>
                  <a:cubicBezTo>
                    <a:pt x="147" y="68"/>
                    <a:pt x="153" y="68"/>
                    <a:pt x="157" y="67"/>
                  </a:cubicBezTo>
                  <a:cubicBezTo>
                    <a:pt x="162" y="65"/>
                    <a:pt x="168" y="65"/>
                    <a:pt x="174" y="63"/>
                  </a:cubicBezTo>
                  <a:cubicBezTo>
                    <a:pt x="179" y="62"/>
                    <a:pt x="185" y="60"/>
                    <a:pt x="191" y="59"/>
                  </a:cubicBezTo>
                  <a:cubicBezTo>
                    <a:pt x="192" y="58"/>
                    <a:pt x="194" y="58"/>
                    <a:pt x="196" y="57"/>
                  </a:cubicBezTo>
                  <a:cubicBezTo>
                    <a:pt x="196" y="56"/>
                    <a:pt x="197" y="55"/>
                    <a:pt x="198" y="55"/>
                  </a:cubicBezTo>
                  <a:cubicBezTo>
                    <a:pt x="198" y="54"/>
                    <a:pt x="198" y="54"/>
                    <a:pt x="199" y="54"/>
                  </a:cubicBezTo>
                  <a:cubicBezTo>
                    <a:pt x="198" y="53"/>
                    <a:pt x="198" y="53"/>
                    <a:pt x="198" y="53"/>
                  </a:cubicBezTo>
                  <a:cubicBezTo>
                    <a:pt x="198" y="52"/>
                    <a:pt x="199" y="52"/>
                    <a:pt x="200" y="51"/>
                  </a:cubicBezTo>
                  <a:cubicBezTo>
                    <a:pt x="201" y="50"/>
                    <a:pt x="202" y="51"/>
                    <a:pt x="203" y="51"/>
                  </a:cubicBezTo>
                  <a:cubicBezTo>
                    <a:pt x="204" y="51"/>
                    <a:pt x="204" y="50"/>
                    <a:pt x="204" y="50"/>
                  </a:cubicBezTo>
                  <a:cubicBezTo>
                    <a:pt x="204" y="50"/>
                    <a:pt x="203" y="48"/>
                    <a:pt x="203" y="47"/>
                  </a:cubicBezTo>
                  <a:cubicBezTo>
                    <a:pt x="203" y="45"/>
                    <a:pt x="203" y="44"/>
                    <a:pt x="202" y="43"/>
                  </a:cubicBezTo>
                  <a:cubicBezTo>
                    <a:pt x="202" y="43"/>
                    <a:pt x="203" y="41"/>
                    <a:pt x="203" y="40"/>
                  </a:cubicBezTo>
                  <a:cubicBezTo>
                    <a:pt x="203" y="39"/>
                    <a:pt x="203" y="37"/>
                    <a:pt x="203" y="36"/>
                  </a:cubicBezTo>
                  <a:cubicBezTo>
                    <a:pt x="203" y="34"/>
                    <a:pt x="202" y="33"/>
                    <a:pt x="201" y="32"/>
                  </a:cubicBezTo>
                  <a:cubicBezTo>
                    <a:pt x="201" y="31"/>
                    <a:pt x="200" y="29"/>
                    <a:pt x="200" y="27"/>
                  </a:cubicBezTo>
                  <a:cubicBezTo>
                    <a:pt x="201" y="26"/>
                    <a:pt x="202" y="24"/>
                    <a:pt x="201" y="23"/>
                  </a:cubicBezTo>
                  <a:cubicBezTo>
                    <a:pt x="201" y="22"/>
                    <a:pt x="199" y="18"/>
                    <a:pt x="199" y="17"/>
                  </a:cubicBezTo>
                  <a:cubicBezTo>
                    <a:pt x="199" y="15"/>
                    <a:pt x="197" y="17"/>
                    <a:pt x="197" y="17"/>
                  </a:cubicBezTo>
                  <a:cubicBezTo>
                    <a:pt x="196" y="17"/>
                    <a:pt x="194" y="18"/>
                    <a:pt x="193" y="19"/>
                  </a:cubicBezTo>
                  <a:cubicBezTo>
                    <a:pt x="192" y="20"/>
                    <a:pt x="191" y="19"/>
                    <a:pt x="190" y="18"/>
                  </a:cubicBezTo>
                  <a:cubicBezTo>
                    <a:pt x="190" y="18"/>
                    <a:pt x="189" y="20"/>
                    <a:pt x="189" y="20"/>
                  </a:cubicBezTo>
                  <a:cubicBezTo>
                    <a:pt x="188" y="25"/>
                    <a:pt x="188" y="25"/>
                    <a:pt x="188" y="25"/>
                  </a:cubicBezTo>
                  <a:cubicBezTo>
                    <a:pt x="188" y="25"/>
                    <a:pt x="187" y="20"/>
                    <a:pt x="187" y="19"/>
                  </a:cubicBezTo>
                  <a:cubicBezTo>
                    <a:pt x="187" y="19"/>
                    <a:pt x="184" y="19"/>
                    <a:pt x="182" y="18"/>
                  </a:cubicBezTo>
                  <a:cubicBezTo>
                    <a:pt x="181" y="17"/>
                    <a:pt x="179" y="16"/>
                    <a:pt x="178" y="16"/>
                  </a:cubicBezTo>
                  <a:cubicBezTo>
                    <a:pt x="177" y="16"/>
                    <a:pt x="173" y="15"/>
                    <a:pt x="170" y="15"/>
                  </a:cubicBezTo>
                  <a:cubicBezTo>
                    <a:pt x="168" y="14"/>
                    <a:pt x="168" y="15"/>
                    <a:pt x="168" y="16"/>
                  </a:cubicBezTo>
                  <a:cubicBezTo>
                    <a:pt x="167" y="16"/>
                    <a:pt x="166" y="17"/>
                    <a:pt x="166" y="17"/>
                  </a:cubicBezTo>
                  <a:cubicBezTo>
                    <a:pt x="166" y="18"/>
                    <a:pt x="167" y="24"/>
                    <a:pt x="167" y="23"/>
                  </a:cubicBezTo>
                  <a:cubicBezTo>
                    <a:pt x="166" y="23"/>
                    <a:pt x="165" y="21"/>
                    <a:pt x="165" y="20"/>
                  </a:cubicBezTo>
                  <a:cubicBezTo>
                    <a:pt x="164" y="19"/>
                    <a:pt x="164" y="17"/>
                    <a:pt x="163" y="16"/>
                  </a:cubicBezTo>
                  <a:cubicBezTo>
                    <a:pt x="162" y="15"/>
                    <a:pt x="160" y="14"/>
                    <a:pt x="160" y="13"/>
                  </a:cubicBezTo>
                  <a:cubicBezTo>
                    <a:pt x="159" y="13"/>
                    <a:pt x="157" y="13"/>
                    <a:pt x="157" y="13"/>
                  </a:cubicBezTo>
                  <a:cubicBezTo>
                    <a:pt x="157" y="13"/>
                    <a:pt x="153" y="11"/>
                    <a:pt x="153" y="9"/>
                  </a:cubicBezTo>
                  <a:cubicBezTo>
                    <a:pt x="152" y="8"/>
                    <a:pt x="151" y="9"/>
                    <a:pt x="150" y="8"/>
                  </a:cubicBezTo>
                  <a:cubicBezTo>
                    <a:pt x="149" y="8"/>
                    <a:pt x="149" y="6"/>
                    <a:pt x="149" y="5"/>
                  </a:cubicBezTo>
                  <a:cubicBezTo>
                    <a:pt x="148" y="5"/>
                    <a:pt x="146" y="4"/>
                    <a:pt x="145" y="4"/>
                  </a:cubicBezTo>
                  <a:cubicBezTo>
                    <a:pt x="144" y="4"/>
                    <a:pt x="144" y="3"/>
                    <a:pt x="144" y="3"/>
                  </a:cubicBezTo>
                  <a:cubicBezTo>
                    <a:pt x="144" y="3"/>
                    <a:pt x="144" y="1"/>
                    <a:pt x="143" y="1"/>
                  </a:cubicBezTo>
                  <a:cubicBezTo>
                    <a:pt x="143" y="0"/>
                    <a:pt x="143" y="0"/>
                    <a:pt x="143" y="0"/>
                  </a:cubicBezTo>
                  <a:cubicBezTo>
                    <a:pt x="142" y="2"/>
                    <a:pt x="140" y="2"/>
                    <a:pt x="138" y="3"/>
                  </a:cubicBezTo>
                  <a:cubicBezTo>
                    <a:pt x="135" y="3"/>
                    <a:pt x="132" y="2"/>
                    <a:pt x="129" y="2"/>
                  </a:cubicBezTo>
                  <a:cubicBezTo>
                    <a:pt x="126" y="1"/>
                    <a:pt x="123" y="1"/>
                    <a:pt x="120" y="1"/>
                  </a:cubicBezTo>
                  <a:cubicBezTo>
                    <a:pt x="116" y="1"/>
                    <a:pt x="114" y="4"/>
                    <a:pt x="113" y="7"/>
                  </a:cubicBezTo>
                  <a:cubicBezTo>
                    <a:pt x="111" y="10"/>
                    <a:pt x="108" y="13"/>
                    <a:pt x="104" y="15"/>
                  </a:cubicBezTo>
                  <a:cubicBezTo>
                    <a:pt x="103" y="15"/>
                    <a:pt x="102" y="15"/>
                    <a:pt x="101" y="17"/>
                  </a:cubicBezTo>
                  <a:cubicBezTo>
                    <a:pt x="101" y="17"/>
                    <a:pt x="101" y="18"/>
                    <a:pt x="100" y="19"/>
                  </a:cubicBezTo>
                  <a:cubicBezTo>
                    <a:pt x="99" y="20"/>
                    <a:pt x="96" y="22"/>
                    <a:pt x="94" y="22"/>
                  </a:cubicBezTo>
                  <a:cubicBezTo>
                    <a:pt x="92" y="23"/>
                    <a:pt x="89" y="22"/>
                    <a:pt x="87" y="21"/>
                  </a:cubicBezTo>
                  <a:cubicBezTo>
                    <a:pt x="85" y="21"/>
                    <a:pt x="84" y="21"/>
                    <a:pt x="83" y="20"/>
                  </a:cubicBezTo>
                  <a:cubicBezTo>
                    <a:pt x="82" y="19"/>
                    <a:pt x="82" y="18"/>
                    <a:pt x="81" y="18"/>
                  </a:cubicBezTo>
                  <a:cubicBezTo>
                    <a:pt x="79" y="18"/>
                    <a:pt x="79" y="19"/>
                    <a:pt x="78" y="17"/>
                  </a:cubicBezTo>
                  <a:cubicBezTo>
                    <a:pt x="78" y="17"/>
                    <a:pt x="78" y="16"/>
                    <a:pt x="77" y="15"/>
                  </a:cubicBezTo>
                  <a:cubicBezTo>
                    <a:pt x="76" y="14"/>
                    <a:pt x="74" y="13"/>
                    <a:pt x="72" y="12"/>
                  </a:cubicBezTo>
                  <a:cubicBezTo>
                    <a:pt x="70" y="11"/>
                    <a:pt x="69" y="13"/>
                    <a:pt x="67" y="12"/>
                  </a:cubicBezTo>
                  <a:cubicBezTo>
                    <a:pt x="66" y="12"/>
                    <a:pt x="66" y="11"/>
                    <a:pt x="65" y="11"/>
                  </a:cubicBezTo>
                  <a:cubicBezTo>
                    <a:pt x="64" y="11"/>
                    <a:pt x="64" y="11"/>
                    <a:pt x="63" y="11"/>
                  </a:cubicBezTo>
                  <a:cubicBezTo>
                    <a:pt x="60" y="12"/>
                    <a:pt x="57" y="9"/>
                    <a:pt x="54" y="10"/>
                  </a:cubicBezTo>
                  <a:cubicBezTo>
                    <a:pt x="50" y="10"/>
                    <a:pt x="49" y="14"/>
                    <a:pt x="45" y="14"/>
                  </a:cubicBezTo>
                  <a:cubicBezTo>
                    <a:pt x="44" y="15"/>
                    <a:pt x="44" y="15"/>
                    <a:pt x="44" y="15"/>
                  </a:cubicBezTo>
                  <a:cubicBezTo>
                    <a:pt x="44" y="17"/>
                    <a:pt x="43" y="19"/>
                    <a:pt x="44" y="21"/>
                  </a:cubicBezTo>
                  <a:cubicBezTo>
                    <a:pt x="44" y="23"/>
                    <a:pt x="46" y="23"/>
                    <a:pt x="47" y="25"/>
                  </a:cubicBezTo>
                  <a:cubicBezTo>
                    <a:pt x="47" y="26"/>
                    <a:pt x="44" y="28"/>
                    <a:pt x="43" y="29"/>
                  </a:cubicBezTo>
                  <a:cubicBezTo>
                    <a:pt x="40" y="30"/>
                    <a:pt x="37" y="29"/>
                    <a:pt x="36" y="33"/>
                  </a:cubicBezTo>
                  <a:cubicBezTo>
                    <a:pt x="35" y="35"/>
                    <a:pt x="37" y="36"/>
                    <a:pt x="37" y="38"/>
                  </a:cubicBezTo>
                  <a:cubicBezTo>
                    <a:pt x="37" y="39"/>
                    <a:pt x="36" y="40"/>
                    <a:pt x="36" y="41"/>
                  </a:cubicBezTo>
                  <a:cubicBezTo>
                    <a:pt x="36" y="42"/>
                    <a:pt x="37" y="43"/>
                    <a:pt x="36" y="44"/>
                  </a:cubicBezTo>
                  <a:cubicBezTo>
                    <a:pt x="36" y="45"/>
                    <a:pt x="33" y="46"/>
                    <a:pt x="32" y="47"/>
                  </a:cubicBezTo>
                  <a:cubicBezTo>
                    <a:pt x="30" y="48"/>
                    <a:pt x="29" y="50"/>
                    <a:pt x="28" y="51"/>
                  </a:cubicBezTo>
                  <a:cubicBezTo>
                    <a:pt x="25" y="55"/>
                    <a:pt x="24" y="59"/>
                    <a:pt x="20" y="58"/>
                  </a:cubicBezTo>
                  <a:cubicBezTo>
                    <a:pt x="17" y="58"/>
                    <a:pt x="15" y="58"/>
                    <a:pt x="13" y="58"/>
                  </a:cubicBezTo>
                  <a:cubicBezTo>
                    <a:pt x="11" y="59"/>
                    <a:pt x="10" y="60"/>
                    <a:pt x="8" y="59"/>
                  </a:cubicBezTo>
                  <a:cubicBezTo>
                    <a:pt x="7" y="58"/>
                    <a:pt x="6" y="58"/>
                    <a:pt x="5" y="58"/>
                  </a:cubicBezTo>
                  <a:cubicBezTo>
                    <a:pt x="4" y="58"/>
                    <a:pt x="4" y="60"/>
                    <a:pt x="2" y="59"/>
                  </a:cubicBezTo>
                  <a:cubicBezTo>
                    <a:pt x="0" y="61"/>
                    <a:pt x="2" y="64"/>
                    <a:pt x="2" y="67"/>
                  </a:cubicBezTo>
                  <a:cubicBezTo>
                    <a:pt x="3" y="68"/>
                    <a:pt x="3" y="69"/>
                    <a:pt x="3" y="71"/>
                  </a:cubicBezTo>
                  <a:cubicBezTo>
                    <a:pt x="2" y="72"/>
                    <a:pt x="2" y="73"/>
                    <a:pt x="3" y="74"/>
                  </a:cubicBezTo>
                  <a:cubicBezTo>
                    <a:pt x="5" y="79"/>
                    <a:pt x="9" y="81"/>
                    <a:pt x="10" y="86"/>
                  </a:cubicBezTo>
                  <a:cubicBezTo>
                    <a:pt x="10" y="89"/>
                    <a:pt x="10" y="92"/>
                    <a:pt x="9" y="94"/>
                  </a:cubicBezTo>
                  <a:cubicBezTo>
                    <a:pt x="14" y="96"/>
                    <a:pt x="19" y="98"/>
                    <a:pt x="23" y="102"/>
                  </a:cubicBezTo>
                  <a:cubicBezTo>
                    <a:pt x="26" y="105"/>
                    <a:pt x="26" y="107"/>
                    <a:pt x="28" y="111"/>
                  </a:cubicBezTo>
                  <a:cubicBezTo>
                    <a:pt x="34" y="110"/>
                    <a:pt x="35" y="112"/>
                    <a:pt x="40" y="115"/>
                  </a:cubicBezTo>
                  <a:cubicBezTo>
                    <a:pt x="41" y="117"/>
                    <a:pt x="43" y="118"/>
                    <a:pt x="44" y="120"/>
                  </a:cubicBezTo>
                  <a:cubicBezTo>
                    <a:pt x="47" y="122"/>
                    <a:pt x="48" y="121"/>
                    <a:pt x="51" y="121"/>
                  </a:cubicBezTo>
                  <a:cubicBezTo>
                    <a:pt x="54" y="121"/>
                    <a:pt x="57" y="122"/>
                    <a:pt x="59" y="124"/>
                  </a:cubicBezTo>
                  <a:cubicBezTo>
                    <a:pt x="60" y="123"/>
                    <a:pt x="60" y="123"/>
                    <a:pt x="60" y="123"/>
                  </a:cubicBezTo>
                  <a:cubicBezTo>
                    <a:pt x="61" y="121"/>
                    <a:pt x="63" y="120"/>
                    <a:pt x="66" y="119"/>
                  </a:cubicBezTo>
                  <a:close/>
                </a:path>
              </a:pathLst>
            </a:custGeom>
            <a:solidFill>
              <a:srgbClr val="F1D6F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1" name="Freeform 50">
              <a:extLst>
                <a:ext uri="{FF2B5EF4-FFF2-40B4-BE49-F238E27FC236}">
                  <a16:creationId xmlns:a16="http://schemas.microsoft.com/office/drawing/2014/main" id="{547D333B-0A2A-F3C3-67ED-F5ABEA94A0DE}"/>
                </a:ext>
              </a:extLst>
            </p:cNvPr>
            <p:cNvSpPr>
              <a:spLocks/>
            </p:cNvSpPr>
            <p:nvPr/>
          </p:nvSpPr>
          <p:spPr bwMode="auto">
            <a:xfrm>
              <a:off x="3305175" y="5237163"/>
              <a:ext cx="63500" cy="69850"/>
            </a:xfrm>
            <a:custGeom>
              <a:avLst/>
              <a:gdLst>
                <a:gd name="T0" fmla="*/ 17 w 17"/>
                <a:gd name="T1" fmla="*/ 1 h 18"/>
                <a:gd name="T2" fmla="*/ 13 w 17"/>
                <a:gd name="T3" fmla="*/ 2 h 18"/>
                <a:gd name="T4" fmla="*/ 10 w 17"/>
                <a:gd name="T5" fmla="*/ 3 h 18"/>
                <a:gd name="T6" fmla="*/ 6 w 17"/>
                <a:gd name="T7" fmla="*/ 2 h 18"/>
                <a:gd name="T8" fmla="*/ 4 w 17"/>
                <a:gd name="T9" fmla="*/ 2 h 18"/>
                <a:gd name="T10" fmla="*/ 2 w 17"/>
                <a:gd name="T11" fmla="*/ 0 h 18"/>
                <a:gd name="T12" fmla="*/ 0 w 17"/>
                <a:gd name="T13" fmla="*/ 4 h 18"/>
                <a:gd name="T14" fmla="*/ 1 w 17"/>
                <a:gd name="T15" fmla="*/ 8 h 18"/>
                <a:gd name="T16" fmla="*/ 3 w 17"/>
                <a:gd name="T17" fmla="*/ 11 h 18"/>
                <a:gd name="T18" fmla="*/ 5 w 17"/>
                <a:gd name="T19" fmla="*/ 15 h 18"/>
                <a:gd name="T20" fmla="*/ 5 w 17"/>
                <a:gd name="T21" fmla="*/ 18 h 18"/>
                <a:gd name="T22" fmla="*/ 7 w 17"/>
                <a:gd name="T23" fmla="*/ 17 h 18"/>
                <a:gd name="T24" fmla="*/ 11 w 17"/>
                <a:gd name="T25" fmla="*/ 17 h 18"/>
                <a:gd name="T26" fmla="*/ 14 w 17"/>
                <a:gd name="T27" fmla="*/ 15 h 18"/>
                <a:gd name="T28" fmla="*/ 15 w 17"/>
                <a:gd name="T29" fmla="*/ 13 h 18"/>
                <a:gd name="T30" fmla="*/ 16 w 17"/>
                <a:gd name="T31" fmla="*/ 10 h 18"/>
                <a:gd name="T32" fmla="*/ 17 w 17"/>
                <a:gd name="T33" fmla="*/ 4 h 18"/>
                <a:gd name="T34" fmla="*/ 17 w 17"/>
                <a:gd name="T3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8">
                  <a:moveTo>
                    <a:pt x="17" y="1"/>
                  </a:moveTo>
                  <a:cubicBezTo>
                    <a:pt x="16" y="1"/>
                    <a:pt x="13" y="2"/>
                    <a:pt x="13" y="2"/>
                  </a:cubicBezTo>
                  <a:cubicBezTo>
                    <a:pt x="12" y="2"/>
                    <a:pt x="10" y="3"/>
                    <a:pt x="10" y="3"/>
                  </a:cubicBezTo>
                  <a:cubicBezTo>
                    <a:pt x="6" y="2"/>
                    <a:pt x="6" y="2"/>
                    <a:pt x="6" y="2"/>
                  </a:cubicBezTo>
                  <a:cubicBezTo>
                    <a:pt x="6" y="2"/>
                    <a:pt x="5" y="2"/>
                    <a:pt x="4" y="2"/>
                  </a:cubicBezTo>
                  <a:cubicBezTo>
                    <a:pt x="4" y="2"/>
                    <a:pt x="3" y="1"/>
                    <a:pt x="2" y="0"/>
                  </a:cubicBezTo>
                  <a:cubicBezTo>
                    <a:pt x="1" y="1"/>
                    <a:pt x="0" y="2"/>
                    <a:pt x="0" y="4"/>
                  </a:cubicBezTo>
                  <a:cubicBezTo>
                    <a:pt x="0" y="5"/>
                    <a:pt x="0" y="6"/>
                    <a:pt x="1" y="8"/>
                  </a:cubicBezTo>
                  <a:cubicBezTo>
                    <a:pt x="1" y="9"/>
                    <a:pt x="2" y="10"/>
                    <a:pt x="3" y="11"/>
                  </a:cubicBezTo>
                  <a:cubicBezTo>
                    <a:pt x="4" y="13"/>
                    <a:pt x="5" y="13"/>
                    <a:pt x="5" y="15"/>
                  </a:cubicBezTo>
                  <a:cubicBezTo>
                    <a:pt x="5" y="16"/>
                    <a:pt x="5" y="17"/>
                    <a:pt x="5" y="18"/>
                  </a:cubicBezTo>
                  <a:cubicBezTo>
                    <a:pt x="6" y="18"/>
                    <a:pt x="6" y="17"/>
                    <a:pt x="7" y="17"/>
                  </a:cubicBezTo>
                  <a:cubicBezTo>
                    <a:pt x="8" y="17"/>
                    <a:pt x="10" y="18"/>
                    <a:pt x="11" y="17"/>
                  </a:cubicBezTo>
                  <a:cubicBezTo>
                    <a:pt x="13" y="17"/>
                    <a:pt x="14" y="17"/>
                    <a:pt x="14" y="15"/>
                  </a:cubicBezTo>
                  <a:cubicBezTo>
                    <a:pt x="15" y="14"/>
                    <a:pt x="14" y="14"/>
                    <a:pt x="15" y="13"/>
                  </a:cubicBezTo>
                  <a:cubicBezTo>
                    <a:pt x="15" y="12"/>
                    <a:pt x="15" y="11"/>
                    <a:pt x="16" y="10"/>
                  </a:cubicBezTo>
                  <a:cubicBezTo>
                    <a:pt x="17" y="8"/>
                    <a:pt x="17" y="6"/>
                    <a:pt x="17" y="4"/>
                  </a:cubicBezTo>
                  <a:cubicBezTo>
                    <a:pt x="17" y="3"/>
                    <a:pt x="17" y="2"/>
                    <a:pt x="17" y="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2" name="Freeform 52">
              <a:extLst>
                <a:ext uri="{FF2B5EF4-FFF2-40B4-BE49-F238E27FC236}">
                  <a16:creationId xmlns:a16="http://schemas.microsoft.com/office/drawing/2014/main" id="{4822BA28-88E3-1127-6992-626180F7A17E}"/>
                </a:ext>
              </a:extLst>
            </p:cNvPr>
            <p:cNvSpPr>
              <a:spLocks/>
            </p:cNvSpPr>
            <p:nvPr/>
          </p:nvSpPr>
          <p:spPr bwMode="auto">
            <a:xfrm>
              <a:off x="6738938" y="3584575"/>
              <a:ext cx="541338" cy="171450"/>
            </a:xfrm>
            <a:custGeom>
              <a:avLst/>
              <a:gdLst>
                <a:gd name="T0" fmla="*/ 142 w 142"/>
                <a:gd name="T1" fmla="*/ 34 h 45"/>
                <a:gd name="T2" fmla="*/ 134 w 142"/>
                <a:gd name="T3" fmla="*/ 26 h 45"/>
                <a:gd name="T4" fmla="*/ 128 w 142"/>
                <a:gd name="T5" fmla="*/ 22 h 45"/>
                <a:gd name="T6" fmla="*/ 125 w 142"/>
                <a:gd name="T7" fmla="*/ 16 h 45"/>
                <a:gd name="T8" fmla="*/ 118 w 142"/>
                <a:gd name="T9" fmla="*/ 10 h 45"/>
                <a:gd name="T10" fmla="*/ 116 w 142"/>
                <a:gd name="T11" fmla="*/ 7 h 45"/>
                <a:gd name="T12" fmla="*/ 111 w 142"/>
                <a:gd name="T13" fmla="*/ 5 h 45"/>
                <a:gd name="T14" fmla="*/ 109 w 142"/>
                <a:gd name="T15" fmla="*/ 7 h 45"/>
                <a:gd name="T16" fmla="*/ 107 w 142"/>
                <a:gd name="T17" fmla="*/ 10 h 45"/>
                <a:gd name="T18" fmla="*/ 104 w 142"/>
                <a:gd name="T19" fmla="*/ 9 h 45"/>
                <a:gd name="T20" fmla="*/ 101 w 142"/>
                <a:gd name="T21" fmla="*/ 13 h 45"/>
                <a:gd name="T22" fmla="*/ 95 w 142"/>
                <a:gd name="T23" fmla="*/ 10 h 45"/>
                <a:gd name="T24" fmla="*/ 83 w 142"/>
                <a:gd name="T25" fmla="*/ 4 h 45"/>
                <a:gd name="T26" fmla="*/ 79 w 142"/>
                <a:gd name="T27" fmla="*/ 2 h 45"/>
                <a:gd name="T28" fmla="*/ 75 w 142"/>
                <a:gd name="T29" fmla="*/ 2 h 45"/>
                <a:gd name="T30" fmla="*/ 72 w 142"/>
                <a:gd name="T31" fmla="*/ 1 h 45"/>
                <a:gd name="T32" fmla="*/ 68 w 142"/>
                <a:gd name="T33" fmla="*/ 2 h 45"/>
                <a:gd name="T34" fmla="*/ 64 w 142"/>
                <a:gd name="T35" fmla="*/ 2 h 45"/>
                <a:gd name="T36" fmla="*/ 59 w 142"/>
                <a:gd name="T37" fmla="*/ 4 h 45"/>
                <a:gd name="T38" fmla="*/ 54 w 142"/>
                <a:gd name="T39" fmla="*/ 6 h 45"/>
                <a:gd name="T40" fmla="*/ 29 w 142"/>
                <a:gd name="T41" fmla="*/ 10 h 45"/>
                <a:gd name="T42" fmla="*/ 13 w 142"/>
                <a:gd name="T43" fmla="*/ 12 h 45"/>
                <a:gd name="T44" fmla="*/ 3 w 142"/>
                <a:gd name="T45" fmla="*/ 16 h 45"/>
                <a:gd name="T46" fmla="*/ 6 w 142"/>
                <a:gd name="T47" fmla="*/ 28 h 45"/>
                <a:gd name="T48" fmla="*/ 11 w 142"/>
                <a:gd name="T49" fmla="*/ 34 h 45"/>
                <a:gd name="T50" fmla="*/ 17 w 142"/>
                <a:gd name="T51" fmla="*/ 34 h 45"/>
                <a:gd name="T52" fmla="*/ 21 w 142"/>
                <a:gd name="T53" fmla="*/ 32 h 45"/>
                <a:gd name="T54" fmla="*/ 29 w 142"/>
                <a:gd name="T55" fmla="*/ 31 h 45"/>
                <a:gd name="T56" fmla="*/ 35 w 142"/>
                <a:gd name="T57" fmla="*/ 35 h 45"/>
                <a:gd name="T58" fmla="*/ 41 w 142"/>
                <a:gd name="T59" fmla="*/ 37 h 45"/>
                <a:gd name="T60" fmla="*/ 58 w 142"/>
                <a:gd name="T61" fmla="*/ 34 h 45"/>
                <a:gd name="T62" fmla="*/ 67 w 142"/>
                <a:gd name="T63" fmla="*/ 34 h 45"/>
                <a:gd name="T64" fmla="*/ 78 w 142"/>
                <a:gd name="T65" fmla="*/ 33 h 45"/>
                <a:gd name="T66" fmla="*/ 88 w 142"/>
                <a:gd name="T67" fmla="*/ 34 h 45"/>
                <a:gd name="T68" fmla="*/ 91 w 142"/>
                <a:gd name="T69" fmla="*/ 34 h 45"/>
                <a:gd name="T70" fmla="*/ 97 w 142"/>
                <a:gd name="T71" fmla="*/ 34 h 45"/>
                <a:gd name="T72" fmla="*/ 110 w 142"/>
                <a:gd name="T73" fmla="*/ 34 h 45"/>
                <a:gd name="T74" fmla="*/ 115 w 142"/>
                <a:gd name="T75" fmla="*/ 33 h 45"/>
                <a:gd name="T76" fmla="*/ 120 w 142"/>
                <a:gd name="T77" fmla="*/ 37 h 45"/>
                <a:gd name="T78" fmla="*/ 128 w 142"/>
                <a:gd name="T79" fmla="*/ 44 h 45"/>
                <a:gd name="T80" fmla="*/ 139 w 142"/>
                <a:gd name="T81" fmla="*/ 44 h 45"/>
                <a:gd name="T82" fmla="*/ 142 w 142"/>
                <a:gd name="T83"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45">
                  <a:moveTo>
                    <a:pt x="142" y="38"/>
                  </a:moveTo>
                  <a:cubicBezTo>
                    <a:pt x="142" y="37"/>
                    <a:pt x="142" y="36"/>
                    <a:pt x="142" y="34"/>
                  </a:cubicBezTo>
                  <a:cubicBezTo>
                    <a:pt x="142" y="31"/>
                    <a:pt x="140" y="28"/>
                    <a:pt x="136" y="26"/>
                  </a:cubicBezTo>
                  <a:cubicBezTo>
                    <a:pt x="136" y="26"/>
                    <a:pt x="135" y="26"/>
                    <a:pt x="134" y="26"/>
                  </a:cubicBezTo>
                  <a:cubicBezTo>
                    <a:pt x="133" y="25"/>
                    <a:pt x="132" y="25"/>
                    <a:pt x="131" y="24"/>
                  </a:cubicBezTo>
                  <a:cubicBezTo>
                    <a:pt x="130" y="23"/>
                    <a:pt x="129" y="23"/>
                    <a:pt x="128" y="22"/>
                  </a:cubicBezTo>
                  <a:cubicBezTo>
                    <a:pt x="127" y="21"/>
                    <a:pt x="125" y="20"/>
                    <a:pt x="125" y="20"/>
                  </a:cubicBezTo>
                  <a:cubicBezTo>
                    <a:pt x="125" y="19"/>
                    <a:pt x="125" y="17"/>
                    <a:pt x="125" y="16"/>
                  </a:cubicBezTo>
                  <a:cubicBezTo>
                    <a:pt x="125" y="15"/>
                    <a:pt x="125" y="14"/>
                    <a:pt x="124" y="13"/>
                  </a:cubicBezTo>
                  <a:cubicBezTo>
                    <a:pt x="122" y="12"/>
                    <a:pt x="119" y="12"/>
                    <a:pt x="118" y="10"/>
                  </a:cubicBezTo>
                  <a:cubicBezTo>
                    <a:pt x="117" y="9"/>
                    <a:pt x="116" y="8"/>
                    <a:pt x="116" y="7"/>
                  </a:cubicBezTo>
                  <a:cubicBezTo>
                    <a:pt x="116" y="7"/>
                    <a:pt x="116" y="7"/>
                    <a:pt x="116" y="7"/>
                  </a:cubicBezTo>
                  <a:cubicBezTo>
                    <a:pt x="116" y="7"/>
                    <a:pt x="115" y="7"/>
                    <a:pt x="114" y="7"/>
                  </a:cubicBezTo>
                  <a:cubicBezTo>
                    <a:pt x="113" y="6"/>
                    <a:pt x="112" y="5"/>
                    <a:pt x="111" y="5"/>
                  </a:cubicBezTo>
                  <a:cubicBezTo>
                    <a:pt x="110" y="5"/>
                    <a:pt x="108" y="5"/>
                    <a:pt x="108" y="5"/>
                  </a:cubicBezTo>
                  <a:cubicBezTo>
                    <a:pt x="107" y="6"/>
                    <a:pt x="109" y="6"/>
                    <a:pt x="109" y="7"/>
                  </a:cubicBezTo>
                  <a:cubicBezTo>
                    <a:pt x="109" y="8"/>
                    <a:pt x="108" y="8"/>
                    <a:pt x="108" y="9"/>
                  </a:cubicBezTo>
                  <a:cubicBezTo>
                    <a:pt x="107" y="9"/>
                    <a:pt x="107" y="10"/>
                    <a:pt x="107" y="10"/>
                  </a:cubicBezTo>
                  <a:cubicBezTo>
                    <a:pt x="105" y="9"/>
                    <a:pt x="105" y="9"/>
                    <a:pt x="105" y="9"/>
                  </a:cubicBezTo>
                  <a:cubicBezTo>
                    <a:pt x="105" y="9"/>
                    <a:pt x="104" y="9"/>
                    <a:pt x="104" y="9"/>
                  </a:cubicBezTo>
                  <a:cubicBezTo>
                    <a:pt x="104" y="10"/>
                    <a:pt x="106" y="11"/>
                    <a:pt x="105" y="12"/>
                  </a:cubicBezTo>
                  <a:cubicBezTo>
                    <a:pt x="104" y="14"/>
                    <a:pt x="102" y="14"/>
                    <a:pt x="101" y="13"/>
                  </a:cubicBezTo>
                  <a:cubicBezTo>
                    <a:pt x="100" y="12"/>
                    <a:pt x="99" y="11"/>
                    <a:pt x="98" y="11"/>
                  </a:cubicBezTo>
                  <a:cubicBezTo>
                    <a:pt x="97" y="10"/>
                    <a:pt x="96" y="10"/>
                    <a:pt x="95" y="10"/>
                  </a:cubicBezTo>
                  <a:cubicBezTo>
                    <a:pt x="93" y="9"/>
                    <a:pt x="91" y="8"/>
                    <a:pt x="90" y="6"/>
                  </a:cubicBezTo>
                  <a:cubicBezTo>
                    <a:pt x="88" y="4"/>
                    <a:pt x="85" y="5"/>
                    <a:pt x="83" y="4"/>
                  </a:cubicBezTo>
                  <a:cubicBezTo>
                    <a:pt x="81" y="4"/>
                    <a:pt x="80" y="4"/>
                    <a:pt x="79" y="3"/>
                  </a:cubicBezTo>
                  <a:cubicBezTo>
                    <a:pt x="79" y="2"/>
                    <a:pt x="79" y="2"/>
                    <a:pt x="79" y="2"/>
                  </a:cubicBezTo>
                  <a:cubicBezTo>
                    <a:pt x="78" y="2"/>
                    <a:pt x="77" y="3"/>
                    <a:pt x="76" y="3"/>
                  </a:cubicBezTo>
                  <a:cubicBezTo>
                    <a:pt x="75" y="4"/>
                    <a:pt x="75" y="2"/>
                    <a:pt x="75" y="2"/>
                  </a:cubicBezTo>
                  <a:cubicBezTo>
                    <a:pt x="74" y="1"/>
                    <a:pt x="73" y="2"/>
                    <a:pt x="73" y="2"/>
                  </a:cubicBezTo>
                  <a:cubicBezTo>
                    <a:pt x="72" y="2"/>
                    <a:pt x="72" y="1"/>
                    <a:pt x="72" y="1"/>
                  </a:cubicBezTo>
                  <a:cubicBezTo>
                    <a:pt x="71" y="0"/>
                    <a:pt x="70" y="1"/>
                    <a:pt x="70" y="1"/>
                  </a:cubicBezTo>
                  <a:cubicBezTo>
                    <a:pt x="69" y="2"/>
                    <a:pt x="69" y="2"/>
                    <a:pt x="68" y="2"/>
                  </a:cubicBezTo>
                  <a:cubicBezTo>
                    <a:pt x="67" y="2"/>
                    <a:pt x="66" y="2"/>
                    <a:pt x="66" y="2"/>
                  </a:cubicBezTo>
                  <a:cubicBezTo>
                    <a:pt x="65" y="2"/>
                    <a:pt x="64" y="2"/>
                    <a:pt x="64" y="2"/>
                  </a:cubicBezTo>
                  <a:cubicBezTo>
                    <a:pt x="64" y="2"/>
                    <a:pt x="63" y="3"/>
                    <a:pt x="62" y="3"/>
                  </a:cubicBezTo>
                  <a:cubicBezTo>
                    <a:pt x="62" y="3"/>
                    <a:pt x="60" y="4"/>
                    <a:pt x="59" y="4"/>
                  </a:cubicBezTo>
                  <a:cubicBezTo>
                    <a:pt x="58" y="4"/>
                    <a:pt x="58" y="3"/>
                    <a:pt x="57" y="3"/>
                  </a:cubicBezTo>
                  <a:cubicBezTo>
                    <a:pt x="55" y="4"/>
                    <a:pt x="55" y="5"/>
                    <a:pt x="54" y="6"/>
                  </a:cubicBezTo>
                  <a:cubicBezTo>
                    <a:pt x="51" y="10"/>
                    <a:pt x="47" y="9"/>
                    <a:pt x="43" y="6"/>
                  </a:cubicBezTo>
                  <a:cubicBezTo>
                    <a:pt x="39" y="4"/>
                    <a:pt x="33" y="9"/>
                    <a:pt x="29" y="10"/>
                  </a:cubicBezTo>
                  <a:cubicBezTo>
                    <a:pt x="26" y="11"/>
                    <a:pt x="23" y="12"/>
                    <a:pt x="20" y="12"/>
                  </a:cubicBezTo>
                  <a:cubicBezTo>
                    <a:pt x="18" y="12"/>
                    <a:pt x="15" y="12"/>
                    <a:pt x="13" y="12"/>
                  </a:cubicBezTo>
                  <a:cubicBezTo>
                    <a:pt x="10" y="13"/>
                    <a:pt x="12" y="14"/>
                    <a:pt x="12" y="15"/>
                  </a:cubicBezTo>
                  <a:cubicBezTo>
                    <a:pt x="11" y="17"/>
                    <a:pt x="5" y="16"/>
                    <a:pt x="3" y="16"/>
                  </a:cubicBezTo>
                  <a:cubicBezTo>
                    <a:pt x="1" y="17"/>
                    <a:pt x="0" y="20"/>
                    <a:pt x="0" y="22"/>
                  </a:cubicBezTo>
                  <a:cubicBezTo>
                    <a:pt x="1" y="25"/>
                    <a:pt x="4" y="26"/>
                    <a:pt x="6" y="28"/>
                  </a:cubicBezTo>
                  <a:cubicBezTo>
                    <a:pt x="7" y="29"/>
                    <a:pt x="10" y="29"/>
                    <a:pt x="11" y="32"/>
                  </a:cubicBezTo>
                  <a:cubicBezTo>
                    <a:pt x="11" y="33"/>
                    <a:pt x="11" y="33"/>
                    <a:pt x="11" y="34"/>
                  </a:cubicBezTo>
                  <a:cubicBezTo>
                    <a:pt x="12" y="34"/>
                    <a:pt x="13" y="34"/>
                    <a:pt x="14" y="34"/>
                  </a:cubicBezTo>
                  <a:cubicBezTo>
                    <a:pt x="14" y="33"/>
                    <a:pt x="16" y="34"/>
                    <a:pt x="17" y="34"/>
                  </a:cubicBezTo>
                  <a:cubicBezTo>
                    <a:pt x="18" y="35"/>
                    <a:pt x="19" y="34"/>
                    <a:pt x="20" y="34"/>
                  </a:cubicBezTo>
                  <a:cubicBezTo>
                    <a:pt x="20" y="33"/>
                    <a:pt x="20" y="33"/>
                    <a:pt x="21" y="32"/>
                  </a:cubicBezTo>
                  <a:cubicBezTo>
                    <a:pt x="22" y="30"/>
                    <a:pt x="24" y="30"/>
                    <a:pt x="26" y="31"/>
                  </a:cubicBezTo>
                  <a:cubicBezTo>
                    <a:pt x="27" y="31"/>
                    <a:pt x="28" y="31"/>
                    <a:pt x="29" y="31"/>
                  </a:cubicBezTo>
                  <a:cubicBezTo>
                    <a:pt x="30" y="32"/>
                    <a:pt x="30" y="32"/>
                    <a:pt x="31" y="32"/>
                  </a:cubicBezTo>
                  <a:cubicBezTo>
                    <a:pt x="33" y="33"/>
                    <a:pt x="34" y="33"/>
                    <a:pt x="35" y="35"/>
                  </a:cubicBezTo>
                  <a:cubicBezTo>
                    <a:pt x="36" y="36"/>
                    <a:pt x="36" y="36"/>
                    <a:pt x="37" y="37"/>
                  </a:cubicBezTo>
                  <a:cubicBezTo>
                    <a:pt x="39" y="38"/>
                    <a:pt x="39" y="38"/>
                    <a:pt x="41" y="37"/>
                  </a:cubicBezTo>
                  <a:cubicBezTo>
                    <a:pt x="46" y="37"/>
                    <a:pt x="50" y="35"/>
                    <a:pt x="55" y="34"/>
                  </a:cubicBezTo>
                  <a:cubicBezTo>
                    <a:pt x="56" y="33"/>
                    <a:pt x="57" y="34"/>
                    <a:pt x="58" y="34"/>
                  </a:cubicBezTo>
                  <a:cubicBezTo>
                    <a:pt x="59" y="35"/>
                    <a:pt x="60" y="34"/>
                    <a:pt x="61" y="34"/>
                  </a:cubicBezTo>
                  <a:cubicBezTo>
                    <a:pt x="63" y="35"/>
                    <a:pt x="65" y="35"/>
                    <a:pt x="67" y="34"/>
                  </a:cubicBezTo>
                  <a:cubicBezTo>
                    <a:pt x="68" y="34"/>
                    <a:pt x="70" y="33"/>
                    <a:pt x="71" y="33"/>
                  </a:cubicBezTo>
                  <a:cubicBezTo>
                    <a:pt x="73" y="32"/>
                    <a:pt x="76" y="32"/>
                    <a:pt x="78" y="33"/>
                  </a:cubicBezTo>
                  <a:cubicBezTo>
                    <a:pt x="80" y="33"/>
                    <a:pt x="82" y="33"/>
                    <a:pt x="83" y="33"/>
                  </a:cubicBezTo>
                  <a:cubicBezTo>
                    <a:pt x="85" y="34"/>
                    <a:pt x="86" y="35"/>
                    <a:pt x="88" y="34"/>
                  </a:cubicBezTo>
                  <a:cubicBezTo>
                    <a:pt x="88" y="34"/>
                    <a:pt x="90" y="33"/>
                    <a:pt x="90" y="33"/>
                  </a:cubicBezTo>
                  <a:cubicBezTo>
                    <a:pt x="91" y="34"/>
                    <a:pt x="91" y="34"/>
                    <a:pt x="91" y="34"/>
                  </a:cubicBezTo>
                  <a:cubicBezTo>
                    <a:pt x="91" y="35"/>
                    <a:pt x="93" y="34"/>
                    <a:pt x="94" y="34"/>
                  </a:cubicBezTo>
                  <a:cubicBezTo>
                    <a:pt x="95" y="34"/>
                    <a:pt x="96" y="34"/>
                    <a:pt x="97" y="34"/>
                  </a:cubicBezTo>
                  <a:cubicBezTo>
                    <a:pt x="100" y="33"/>
                    <a:pt x="103" y="34"/>
                    <a:pt x="106" y="34"/>
                  </a:cubicBezTo>
                  <a:cubicBezTo>
                    <a:pt x="107" y="34"/>
                    <a:pt x="109" y="34"/>
                    <a:pt x="110" y="34"/>
                  </a:cubicBezTo>
                  <a:cubicBezTo>
                    <a:pt x="111" y="34"/>
                    <a:pt x="112" y="34"/>
                    <a:pt x="113" y="33"/>
                  </a:cubicBezTo>
                  <a:cubicBezTo>
                    <a:pt x="114" y="33"/>
                    <a:pt x="114" y="32"/>
                    <a:pt x="115" y="33"/>
                  </a:cubicBezTo>
                  <a:cubicBezTo>
                    <a:pt x="115" y="33"/>
                    <a:pt x="116" y="34"/>
                    <a:pt x="117" y="34"/>
                  </a:cubicBezTo>
                  <a:cubicBezTo>
                    <a:pt x="118" y="35"/>
                    <a:pt x="119" y="36"/>
                    <a:pt x="120" y="37"/>
                  </a:cubicBezTo>
                  <a:cubicBezTo>
                    <a:pt x="121" y="39"/>
                    <a:pt x="122" y="40"/>
                    <a:pt x="124" y="41"/>
                  </a:cubicBezTo>
                  <a:cubicBezTo>
                    <a:pt x="125" y="42"/>
                    <a:pt x="126" y="43"/>
                    <a:pt x="128" y="44"/>
                  </a:cubicBezTo>
                  <a:cubicBezTo>
                    <a:pt x="131" y="45"/>
                    <a:pt x="135" y="43"/>
                    <a:pt x="138" y="44"/>
                  </a:cubicBezTo>
                  <a:cubicBezTo>
                    <a:pt x="139" y="44"/>
                    <a:pt x="139" y="44"/>
                    <a:pt x="139" y="44"/>
                  </a:cubicBezTo>
                  <a:cubicBezTo>
                    <a:pt x="139" y="43"/>
                    <a:pt x="140" y="42"/>
                    <a:pt x="140" y="42"/>
                  </a:cubicBezTo>
                  <a:cubicBezTo>
                    <a:pt x="141" y="41"/>
                    <a:pt x="142" y="39"/>
                    <a:pt x="142" y="3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3" name="Freeform 54">
              <a:extLst>
                <a:ext uri="{FF2B5EF4-FFF2-40B4-BE49-F238E27FC236}">
                  <a16:creationId xmlns:a16="http://schemas.microsoft.com/office/drawing/2014/main" id="{E02B77DC-266B-CF7D-51AA-7576C12E3083}"/>
                </a:ext>
              </a:extLst>
            </p:cNvPr>
            <p:cNvSpPr>
              <a:spLocks noEditPoints="1"/>
            </p:cNvSpPr>
            <p:nvPr/>
          </p:nvSpPr>
          <p:spPr bwMode="auto">
            <a:xfrm>
              <a:off x="6186488" y="5713413"/>
              <a:ext cx="1474788" cy="687387"/>
            </a:xfrm>
            <a:custGeom>
              <a:avLst/>
              <a:gdLst>
                <a:gd name="T0" fmla="*/ 39 w 387"/>
                <a:gd name="T1" fmla="*/ 32 h 180"/>
                <a:gd name="T2" fmla="*/ 32 w 387"/>
                <a:gd name="T3" fmla="*/ 42 h 180"/>
                <a:gd name="T4" fmla="*/ 52 w 387"/>
                <a:gd name="T5" fmla="*/ 37 h 180"/>
                <a:gd name="T6" fmla="*/ 44 w 387"/>
                <a:gd name="T7" fmla="*/ 39 h 180"/>
                <a:gd name="T8" fmla="*/ 245 w 387"/>
                <a:gd name="T9" fmla="*/ 22 h 180"/>
                <a:gd name="T10" fmla="*/ 250 w 387"/>
                <a:gd name="T11" fmla="*/ 6 h 180"/>
                <a:gd name="T12" fmla="*/ 242 w 387"/>
                <a:gd name="T13" fmla="*/ 7 h 180"/>
                <a:gd name="T14" fmla="*/ 223 w 387"/>
                <a:gd name="T15" fmla="*/ 25 h 180"/>
                <a:gd name="T16" fmla="*/ 194 w 387"/>
                <a:gd name="T17" fmla="*/ 29 h 180"/>
                <a:gd name="T18" fmla="*/ 173 w 387"/>
                <a:gd name="T19" fmla="*/ 26 h 180"/>
                <a:gd name="T20" fmla="*/ 158 w 387"/>
                <a:gd name="T21" fmla="*/ 32 h 180"/>
                <a:gd name="T22" fmla="*/ 130 w 387"/>
                <a:gd name="T23" fmla="*/ 21 h 180"/>
                <a:gd name="T24" fmla="*/ 98 w 387"/>
                <a:gd name="T25" fmla="*/ 12 h 180"/>
                <a:gd name="T26" fmla="*/ 78 w 387"/>
                <a:gd name="T27" fmla="*/ 18 h 180"/>
                <a:gd name="T28" fmla="*/ 66 w 387"/>
                <a:gd name="T29" fmla="*/ 24 h 180"/>
                <a:gd name="T30" fmla="*/ 55 w 387"/>
                <a:gd name="T31" fmla="*/ 45 h 180"/>
                <a:gd name="T32" fmla="*/ 87 w 387"/>
                <a:gd name="T33" fmla="*/ 48 h 180"/>
                <a:gd name="T34" fmla="*/ 130 w 387"/>
                <a:gd name="T35" fmla="*/ 55 h 180"/>
                <a:gd name="T36" fmla="*/ 166 w 387"/>
                <a:gd name="T37" fmla="*/ 47 h 180"/>
                <a:gd name="T38" fmla="*/ 190 w 387"/>
                <a:gd name="T39" fmla="*/ 46 h 180"/>
                <a:gd name="T40" fmla="*/ 241 w 387"/>
                <a:gd name="T41" fmla="*/ 32 h 180"/>
                <a:gd name="T42" fmla="*/ 95 w 387"/>
                <a:gd name="T43" fmla="*/ 97 h 180"/>
                <a:gd name="T44" fmla="*/ 62 w 387"/>
                <a:gd name="T45" fmla="*/ 76 h 180"/>
                <a:gd name="T46" fmla="*/ 24 w 387"/>
                <a:gd name="T47" fmla="*/ 81 h 180"/>
                <a:gd name="T48" fmla="*/ 7 w 387"/>
                <a:gd name="T49" fmla="*/ 101 h 180"/>
                <a:gd name="T50" fmla="*/ 42 w 387"/>
                <a:gd name="T51" fmla="*/ 106 h 180"/>
                <a:gd name="T52" fmla="*/ 67 w 387"/>
                <a:gd name="T53" fmla="*/ 125 h 180"/>
                <a:gd name="T54" fmla="*/ 96 w 387"/>
                <a:gd name="T55" fmla="*/ 137 h 180"/>
                <a:gd name="T56" fmla="*/ 116 w 387"/>
                <a:gd name="T57" fmla="*/ 120 h 180"/>
                <a:gd name="T58" fmla="*/ 174 w 387"/>
                <a:gd name="T59" fmla="*/ 155 h 180"/>
                <a:gd name="T60" fmla="*/ 275 w 387"/>
                <a:gd name="T61" fmla="*/ 158 h 180"/>
                <a:gd name="T62" fmla="*/ 264 w 387"/>
                <a:gd name="T63" fmla="*/ 158 h 180"/>
                <a:gd name="T64" fmla="*/ 245 w 387"/>
                <a:gd name="T65" fmla="*/ 178 h 180"/>
                <a:gd name="T66" fmla="*/ 266 w 387"/>
                <a:gd name="T67" fmla="*/ 168 h 180"/>
                <a:gd name="T68" fmla="*/ 279 w 387"/>
                <a:gd name="T69" fmla="*/ 128 h 180"/>
                <a:gd name="T70" fmla="*/ 276 w 387"/>
                <a:gd name="T71" fmla="*/ 137 h 180"/>
                <a:gd name="T72" fmla="*/ 245 w 387"/>
                <a:gd name="T73" fmla="*/ 34 h 180"/>
                <a:gd name="T74" fmla="*/ 258 w 387"/>
                <a:gd name="T75" fmla="*/ 20 h 180"/>
                <a:gd name="T76" fmla="*/ 253 w 387"/>
                <a:gd name="T77" fmla="*/ 20 h 180"/>
                <a:gd name="T78" fmla="*/ 279 w 387"/>
                <a:gd name="T79" fmla="*/ 30 h 180"/>
                <a:gd name="T80" fmla="*/ 288 w 387"/>
                <a:gd name="T81" fmla="*/ 22 h 180"/>
                <a:gd name="T82" fmla="*/ 308 w 387"/>
                <a:gd name="T83" fmla="*/ 10 h 180"/>
                <a:gd name="T84" fmla="*/ 290 w 387"/>
                <a:gd name="T85" fmla="*/ 14 h 180"/>
                <a:gd name="T86" fmla="*/ 278 w 387"/>
                <a:gd name="T87" fmla="*/ 12 h 180"/>
                <a:gd name="T88" fmla="*/ 267 w 387"/>
                <a:gd name="T89" fmla="*/ 27 h 180"/>
                <a:gd name="T90" fmla="*/ 327 w 387"/>
                <a:gd name="T91" fmla="*/ 23 h 180"/>
                <a:gd name="T92" fmla="*/ 327 w 387"/>
                <a:gd name="T93" fmla="*/ 11 h 180"/>
                <a:gd name="T94" fmla="*/ 312 w 387"/>
                <a:gd name="T95" fmla="*/ 17 h 180"/>
                <a:gd name="T96" fmla="*/ 356 w 387"/>
                <a:gd name="T97" fmla="*/ 20 h 180"/>
                <a:gd name="T98" fmla="*/ 360 w 387"/>
                <a:gd name="T99" fmla="*/ 5 h 180"/>
                <a:gd name="T100" fmla="*/ 347 w 387"/>
                <a:gd name="T101" fmla="*/ 10 h 180"/>
                <a:gd name="T102" fmla="*/ 374 w 387"/>
                <a:gd name="T103" fmla="*/ 72 h 180"/>
                <a:gd name="T104" fmla="*/ 384 w 387"/>
                <a:gd name="T105" fmla="*/ 58 h 180"/>
                <a:gd name="T106" fmla="*/ 360 w 387"/>
                <a:gd name="T107" fmla="*/ 60 h 180"/>
                <a:gd name="T108" fmla="*/ 339 w 387"/>
                <a:gd name="T109" fmla="*/ 79 h 180"/>
                <a:gd name="T110" fmla="*/ 322 w 387"/>
                <a:gd name="T111" fmla="*/ 85 h 180"/>
                <a:gd name="T112" fmla="*/ 297 w 387"/>
                <a:gd name="T113" fmla="*/ 94 h 180"/>
                <a:gd name="T114" fmla="*/ 294 w 387"/>
                <a:gd name="T115" fmla="*/ 122 h 180"/>
                <a:gd name="T116" fmla="*/ 292 w 387"/>
                <a:gd name="T117" fmla="*/ 143 h 180"/>
                <a:gd name="T118" fmla="*/ 352 w 387"/>
                <a:gd name="T119" fmla="*/ 1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 h="180">
                  <a:moveTo>
                    <a:pt x="28" y="33"/>
                  </a:moveTo>
                  <a:cubicBezTo>
                    <a:pt x="28" y="32"/>
                    <a:pt x="28" y="32"/>
                    <a:pt x="28" y="32"/>
                  </a:cubicBezTo>
                  <a:cubicBezTo>
                    <a:pt x="29" y="31"/>
                    <a:pt x="29" y="31"/>
                    <a:pt x="29" y="31"/>
                  </a:cubicBezTo>
                  <a:cubicBezTo>
                    <a:pt x="29" y="31"/>
                    <a:pt x="30" y="29"/>
                    <a:pt x="30" y="29"/>
                  </a:cubicBezTo>
                  <a:cubicBezTo>
                    <a:pt x="30" y="28"/>
                    <a:pt x="31" y="27"/>
                    <a:pt x="31" y="26"/>
                  </a:cubicBezTo>
                  <a:cubicBezTo>
                    <a:pt x="31" y="26"/>
                    <a:pt x="32" y="26"/>
                    <a:pt x="31" y="25"/>
                  </a:cubicBezTo>
                  <a:cubicBezTo>
                    <a:pt x="31" y="24"/>
                    <a:pt x="30" y="24"/>
                    <a:pt x="31" y="23"/>
                  </a:cubicBezTo>
                  <a:cubicBezTo>
                    <a:pt x="31" y="23"/>
                    <a:pt x="32" y="23"/>
                    <a:pt x="32" y="23"/>
                  </a:cubicBezTo>
                  <a:cubicBezTo>
                    <a:pt x="33" y="26"/>
                    <a:pt x="33" y="26"/>
                    <a:pt x="33" y="26"/>
                  </a:cubicBezTo>
                  <a:cubicBezTo>
                    <a:pt x="34" y="26"/>
                    <a:pt x="35" y="26"/>
                    <a:pt x="36" y="26"/>
                  </a:cubicBezTo>
                  <a:cubicBezTo>
                    <a:pt x="37" y="26"/>
                    <a:pt x="38" y="26"/>
                    <a:pt x="38" y="26"/>
                  </a:cubicBezTo>
                  <a:cubicBezTo>
                    <a:pt x="39" y="26"/>
                    <a:pt x="39" y="28"/>
                    <a:pt x="39" y="28"/>
                  </a:cubicBezTo>
                  <a:cubicBezTo>
                    <a:pt x="39" y="28"/>
                    <a:pt x="39" y="29"/>
                    <a:pt x="39" y="30"/>
                  </a:cubicBezTo>
                  <a:cubicBezTo>
                    <a:pt x="39" y="30"/>
                    <a:pt x="39" y="31"/>
                    <a:pt x="39" y="32"/>
                  </a:cubicBezTo>
                  <a:cubicBezTo>
                    <a:pt x="39" y="32"/>
                    <a:pt x="39" y="33"/>
                    <a:pt x="39" y="33"/>
                  </a:cubicBezTo>
                  <a:cubicBezTo>
                    <a:pt x="37" y="33"/>
                    <a:pt x="37" y="33"/>
                    <a:pt x="37" y="33"/>
                  </a:cubicBezTo>
                  <a:cubicBezTo>
                    <a:pt x="36" y="32"/>
                    <a:pt x="36" y="32"/>
                    <a:pt x="36" y="32"/>
                  </a:cubicBezTo>
                  <a:cubicBezTo>
                    <a:pt x="35" y="32"/>
                    <a:pt x="35" y="32"/>
                    <a:pt x="35" y="32"/>
                  </a:cubicBezTo>
                  <a:cubicBezTo>
                    <a:pt x="34" y="33"/>
                    <a:pt x="34" y="33"/>
                    <a:pt x="34" y="33"/>
                  </a:cubicBezTo>
                  <a:cubicBezTo>
                    <a:pt x="33" y="33"/>
                    <a:pt x="33" y="33"/>
                    <a:pt x="33" y="33"/>
                  </a:cubicBezTo>
                  <a:cubicBezTo>
                    <a:pt x="33" y="34"/>
                    <a:pt x="33" y="34"/>
                    <a:pt x="33" y="34"/>
                  </a:cubicBezTo>
                  <a:cubicBezTo>
                    <a:pt x="34" y="34"/>
                    <a:pt x="34" y="34"/>
                    <a:pt x="34" y="34"/>
                  </a:cubicBezTo>
                  <a:cubicBezTo>
                    <a:pt x="34" y="34"/>
                    <a:pt x="34" y="36"/>
                    <a:pt x="33" y="36"/>
                  </a:cubicBezTo>
                  <a:cubicBezTo>
                    <a:pt x="33" y="36"/>
                    <a:pt x="32" y="37"/>
                    <a:pt x="32" y="37"/>
                  </a:cubicBezTo>
                  <a:cubicBezTo>
                    <a:pt x="31" y="38"/>
                    <a:pt x="31" y="38"/>
                    <a:pt x="31" y="38"/>
                  </a:cubicBezTo>
                  <a:cubicBezTo>
                    <a:pt x="31" y="38"/>
                    <a:pt x="32" y="38"/>
                    <a:pt x="32" y="39"/>
                  </a:cubicBezTo>
                  <a:cubicBezTo>
                    <a:pt x="32" y="39"/>
                    <a:pt x="32" y="41"/>
                    <a:pt x="32" y="41"/>
                  </a:cubicBezTo>
                  <a:cubicBezTo>
                    <a:pt x="32" y="42"/>
                    <a:pt x="32" y="42"/>
                    <a:pt x="32" y="42"/>
                  </a:cubicBezTo>
                  <a:cubicBezTo>
                    <a:pt x="28" y="40"/>
                    <a:pt x="28" y="40"/>
                    <a:pt x="28" y="40"/>
                  </a:cubicBezTo>
                  <a:cubicBezTo>
                    <a:pt x="29" y="39"/>
                    <a:pt x="29" y="39"/>
                    <a:pt x="29" y="39"/>
                  </a:cubicBezTo>
                  <a:cubicBezTo>
                    <a:pt x="29" y="39"/>
                    <a:pt x="29" y="38"/>
                    <a:pt x="29" y="38"/>
                  </a:cubicBezTo>
                  <a:cubicBezTo>
                    <a:pt x="29" y="37"/>
                    <a:pt x="29" y="37"/>
                    <a:pt x="29" y="36"/>
                  </a:cubicBezTo>
                  <a:cubicBezTo>
                    <a:pt x="29" y="36"/>
                    <a:pt x="29" y="34"/>
                    <a:pt x="29" y="34"/>
                  </a:cubicBezTo>
                  <a:lnTo>
                    <a:pt x="28" y="33"/>
                  </a:lnTo>
                  <a:close/>
                  <a:moveTo>
                    <a:pt x="46" y="45"/>
                  </a:moveTo>
                  <a:cubicBezTo>
                    <a:pt x="46" y="46"/>
                    <a:pt x="47" y="46"/>
                    <a:pt x="47" y="45"/>
                  </a:cubicBezTo>
                  <a:cubicBezTo>
                    <a:pt x="48" y="44"/>
                    <a:pt x="48" y="44"/>
                    <a:pt x="48" y="44"/>
                  </a:cubicBezTo>
                  <a:cubicBezTo>
                    <a:pt x="49" y="43"/>
                    <a:pt x="49" y="42"/>
                    <a:pt x="48" y="42"/>
                  </a:cubicBezTo>
                  <a:cubicBezTo>
                    <a:pt x="48" y="41"/>
                    <a:pt x="47" y="41"/>
                    <a:pt x="47" y="40"/>
                  </a:cubicBezTo>
                  <a:cubicBezTo>
                    <a:pt x="47" y="39"/>
                    <a:pt x="48" y="39"/>
                    <a:pt x="48" y="39"/>
                  </a:cubicBezTo>
                  <a:cubicBezTo>
                    <a:pt x="49" y="38"/>
                    <a:pt x="50" y="39"/>
                    <a:pt x="50" y="38"/>
                  </a:cubicBezTo>
                  <a:cubicBezTo>
                    <a:pt x="52" y="37"/>
                    <a:pt x="52" y="37"/>
                    <a:pt x="52" y="37"/>
                  </a:cubicBezTo>
                  <a:cubicBezTo>
                    <a:pt x="53" y="36"/>
                    <a:pt x="53" y="36"/>
                    <a:pt x="53" y="36"/>
                  </a:cubicBezTo>
                  <a:cubicBezTo>
                    <a:pt x="54" y="35"/>
                    <a:pt x="54" y="35"/>
                    <a:pt x="54" y="35"/>
                  </a:cubicBezTo>
                  <a:cubicBezTo>
                    <a:pt x="54" y="35"/>
                    <a:pt x="53" y="35"/>
                    <a:pt x="52" y="34"/>
                  </a:cubicBezTo>
                  <a:cubicBezTo>
                    <a:pt x="52" y="34"/>
                    <a:pt x="49" y="35"/>
                    <a:pt x="49" y="35"/>
                  </a:cubicBezTo>
                  <a:cubicBezTo>
                    <a:pt x="48" y="36"/>
                    <a:pt x="48" y="36"/>
                    <a:pt x="48" y="36"/>
                  </a:cubicBezTo>
                  <a:cubicBezTo>
                    <a:pt x="48" y="36"/>
                    <a:pt x="48" y="37"/>
                    <a:pt x="48" y="37"/>
                  </a:cubicBezTo>
                  <a:cubicBezTo>
                    <a:pt x="48" y="38"/>
                    <a:pt x="47" y="38"/>
                    <a:pt x="47" y="38"/>
                  </a:cubicBezTo>
                  <a:cubicBezTo>
                    <a:pt x="45" y="38"/>
                    <a:pt x="45" y="38"/>
                    <a:pt x="45" y="38"/>
                  </a:cubicBezTo>
                  <a:cubicBezTo>
                    <a:pt x="45" y="35"/>
                    <a:pt x="45" y="35"/>
                    <a:pt x="45" y="35"/>
                  </a:cubicBezTo>
                  <a:cubicBezTo>
                    <a:pt x="45" y="34"/>
                    <a:pt x="45" y="34"/>
                    <a:pt x="45" y="34"/>
                  </a:cubicBezTo>
                  <a:cubicBezTo>
                    <a:pt x="43" y="34"/>
                    <a:pt x="43" y="34"/>
                    <a:pt x="43" y="34"/>
                  </a:cubicBezTo>
                  <a:cubicBezTo>
                    <a:pt x="43" y="34"/>
                    <a:pt x="44" y="36"/>
                    <a:pt x="44" y="36"/>
                  </a:cubicBezTo>
                  <a:cubicBezTo>
                    <a:pt x="44" y="37"/>
                    <a:pt x="44" y="38"/>
                    <a:pt x="44" y="38"/>
                  </a:cubicBezTo>
                  <a:cubicBezTo>
                    <a:pt x="44" y="39"/>
                    <a:pt x="44" y="39"/>
                    <a:pt x="44" y="39"/>
                  </a:cubicBezTo>
                  <a:cubicBezTo>
                    <a:pt x="43" y="40"/>
                    <a:pt x="43" y="40"/>
                    <a:pt x="43" y="40"/>
                  </a:cubicBezTo>
                  <a:cubicBezTo>
                    <a:pt x="43" y="41"/>
                    <a:pt x="43" y="42"/>
                    <a:pt x="43" y="42"/>
                  </a:cubicBezTo>
                  <a:cubicBezTo>
                    <a:pt x="43" y="43"/>
                    <a:pt x="43" y="43"/>
                    <a:pt x="43" y="44"/>
                  </a:cubicBezTo>
                  <a:cubicBezTo>
                    <a:pt x="43" y="44"/>
                    <a:pt x="43" y="44"/>
                    <a:pt x="44" y="44"/>
                  </a:cubicBezTo>
                  <a:cubicBezTo>
                    <a:pt x="45" y="44"/>
                    <a:pt x="45" y="45"/>
                    <a:pt x="46" y="45"/>
                  </a:cubicBezTo>
                  <a:close/>
                  <a:moveTo>
                    <a:pt x="242" y="30"/>
                  </a:moveTo>
                  <a:cubicBezTo>
                    <a:pt x="242" y="29"/>
                    <a:pt x="241" y="29"/>
                    <a:pt x="241" y="28"/>
                  </a:cubicBezTo>
                  <a:cubicBezTo>
                    <a:pt x="241" y="28"/>
                    <a:pt x="240" y="27"/>
                    <a:pt x="240" y="27"/>
                  </a:cubicBezTo>
                  <a:cubicBezTo>
                    <a:pt x="239" y="26"/>
                    <a:pt x="239" y="26"/>
                    <a:pt x="239" y="26"/>
                  </a:cubicBezTo>
                  <a:cubicBezTo>
                    <a:pt x="238" y="23"/>
                    <a:pt x="238" y="23"/>
                    <a:pt x="238" y="23"/>
                  </a:cubicBezTo>
                  <a:cubicBezTo>
                    <a:pt x="239" y="22"/>
                    <a:pt x="239" y="22"/>
                    <a:pt x="239" y="22"/>
                  </a:cubicBezTo>
                  <a:cubicBezTo>
                    <a:pt x="239" y="22"/>
                    <a:pt x="241" y="23"/>
                    <a:pt x="241" y="23"/>
                  </a:cubicBezTo>
                  <a:cubicBezTo>
                    <a:pt x="242" y="23"/>
                    <a:pt x="244" y="23"/>
                    <a:pt x="244" y="24"/>
                  </a:cubicBezTo>
                  <a:cubicBezTo>
                    <a:pt x="245" y="24"/>
                    <a:pt x="245" y="23"/>
                    <a:pt x="245" y="22"/>
                  </a:cubicBezTo>
                  <a:cubicBezTo>
                    <a:pt x="245" y="22"/>
                    <a:pt x="244" y="21"/>
                    <a:pt x="244" y="21"/>
                  </a:cubicBezTo>
                  <a:cubicBezTo>
                    <a:pt x="244" y="20"/>
                    <a:pt x="244" y="20"/>
                    <a:pt x="244" y="20"/>
                  </a:cubicBezTo>
                  <a:cubicBezTo>
                    <a:pt x="244" y="18"/>
                    <a:pt x="244" y="18"/>
                    <a:pt x="244" y="18"/>
                  </a:cubicBezTo>
                  <a:cubicBezTo>
                    <a:pt x="246" y="16"/>
                    <a:pt x="246" y="16"/>
                    <a:pt x="246" y="16"/>
                  </a:cubicBezTo>
                  <a:cubicBezTo>
                    <a:pt x="246" y="16"/>
                    <a:pt x="248" y="17"/>
                    <a:pt x="249" y="17"/>
                  </a:cubicBezTo>
                  <a:cubicBezTo>
                    <a:pt x="249" y="17"/>
                    <a:pt x="250" y="17"/>
                    <a:pt x="250" y="17"/>
                  </a:cubicBezTo>
                  <a:cubicBezTo>
                    <a:pt x="251" y="17"/>
                    <a:pt x="252" y="16"/>
                    <a:pt x="252" y="16"/>
                  </a:cubicBezTo>
                  <a:cubicBezTo>
                    <a:pt x="253" y="14"/>
                    <a:pt x="253" y="14"/>
                    <a:pt x="253" y="14"/>
                  </a:cubicBezTo>
                  <a:cubicBezTo>
                    <a:pt x="253" y="13"/>
                    <a:pt x="252" y="13"/>
                    <a:pt x="252" y="12"/>
                  </a:cubicBezTo>
                  <a:cubicBezTo>
                    <a:pt x="251" y="12"/>
                    <a:pt x="251" y="11"/>
                    <a:pt x="251" y="11"/>
                  </a:cubicBezTo>
                  <a:cubicBezTo>
                    <a:pt x="250" y="11"/>
                    <a:pt x="250" y="10"/>
                    <a:pt x="250" y="10"/>
                  </a:cubicBezTo>
                  <a:cubicBezTo>
                    <a:pt x="249" y="9"/>
                    <a:pt x="249" y="9"/>
                    <a:pt x="249" y="9"/>
                  </a:cubicBezTo>
                  <a:cubicBezTo>
                    <a:pt x="249" y="8"/>
                    <a:pt x="249" y="8"/>
                    <a:pt x="249" y="8"/>
                  </a:cubicBezTo>
                  <a:cubicBezTo>
                    <a:pt x="250" y="6"/>
                    <a:pt x="250" y="6"/>
                    <a:pt x="250" y="6"/>
                  </a:cubicBezTo>
                  <a:cubicBezTo>
                    <a:pt x="250" y="3"/>
                    <a:pt x="250" y="3"/>
                    <a:pt x="250" y="3"/>
                  </a:cubicBezTo>
                  <a:cubicBezTo>
                    <a:pt x="249" y="3"/>
                    <a:pt x="249" y="3"/>
                    <a:pt x="249" y="3"/>
                  </a:cubicBezTo>
                  <a:cubicBezTo>
                    <a:pt x="248" y="3"/>
                    <a:pt x="248" y="3"/>
                    <a:pt x="248" y="3"/>
                  </a:cubicBezTo>
                  <a:cubicBezTo>
                    <a:pt x="246" y="2"/>
                    <a:pt x="246" y="2"/>
                    <a:pt x="246" y="2"/>
                  </a:cubicBezTo>
                  <a:cubicBezTo>
                    <a:pt x="246" y="2"/>
                    <a:pt x="245" y="0"/>
                    <a:pt x="244" y="0"/>
                  </a:cubicBezTo>
                  <a:cubicBezTo>
                    <a:pt x="244" y="0"/>
                    <a:pt x="243" y="0"/>
                    <a:pt x="242" y="0"/>
                  </a:cubicBezTo>
                  <a:cubicBezTo>
                    <a:pt x="241" y="2"/>
                    <a:pt x="241" y="2"/>
                    <a:pt x="241" y="2"/>
                  </a:cubicBezTo>
                  <a:cubicBezTo>
                    <a:pt x="238" y="3"/>
                    <a:pt x="238" y="3"/>
                    <a:pt x="238" y="3"/>
                  </a:cubicBezTo>
                  <a:cubicBezTo>
                    <a:pt x="238" y="5"/>
                    <a:pt x="238" y="5"/>
                    <a:pt x="238" y="5"/>
                  </a:cubicBezTo>
                  <a:cubicBezTo>
                    <a:pt x="238" y="5"/>
                    <a:pt x="236" y="7"/>
                    <a:pt x="236" y="7"/>
                  </a:cubicBezTo>
                  <a:cubicBezTo>
                    <a:pt x="236" y="7"/>
                    <a:pt x="235" y="9"/>
                    <a:pt x="235" y="9"/>
                  </a:cubicBezTo>
                  <a:cubicBezTo>
                    <a:pt x="235" y="9"/>
                    <a:pt x="238" y="10"/>
                    <a:pt x="238" y="10"/>
                  </a:cubicBezTo>
                  <a:cubicBezTo>
                    <a:pt x="239" y="9"/>
                    <a:pt x="240" y="8"/>
                    <a:pt x="241" y="7"/>
                  </a:cubicBezTo>
                  <a:cubicBezTo>
                    <a:pt x="241" y="7"/>
                    <a:pt x="241" y="7"/>
                    <a:pt x="242" y="7"/>
                  </a:cubicBezTo>
                  <a:cubicBezTo>
                    <a:pt x="242" y="7"/>
                    <a:pt x="245" y="7"/>
                    <a:pt x="245" y="7"/>
                  </a:cubicBezTo>
                  <a:cubicBezTo>
                    <a:pt x="246" y="7"/>
                    <a:pt x="247" y="8"/>
                    <a:pt x="247" y="8"/>
                  </a:cubicBezTo>
                  <a:cubicBezTo>
                    <a:pt x="247" y="8"/>
                    <a:pt x="247" y="9"/>
                    <a:pt x="246" y="10"/>
                  </a:cubicBezTo>
                  <a:cubicBezTo>
                    <a:pt x="246" y="10"/>
                    <a:pt x="245" y="11"/>
                    <a:pt x="245" y="12"/>
                  </a:cubicBezTo>
                  <a:cubicBezTo>
                    <a:pt x="245" y="12"/>
                    <a:pt x="245" y="13"/>
                    <a:pt x="244" y="13"/>
                  </a:cubicBezTo>
                  <a:cubicBezTo>
                    <a:pt x="242" y="14"/>
                    <a:pt x="242" y="14"/>
                    <a:pt x="242" y="14"/>
                  </a:cubicBezTo>
                  <a:cubicBezTo>
                    <a:pt x="240" y="15"/>
                    <a:pt x="240" y="15"/>
                    <a:pt x="240" y="15"/>
                  </a:cubicBezTo>
                  <a:cubicBezTo>
                    <a:pt x="238" y="17"/>
                    <a:pt x="238" y="17"/>
                    <a:pt x="238" y="17"/>
                  </a:cubicBezTo>
                  <a:cubicBezTo>
                    <a:pt x="236" y="19"/>
                    <a:pt x="236" y="19"/>
                    <a:pt x="236" y="19"/>
                  </a:cubicBezTo>
                  <a:cubicBezTo>
                    <a:pt x="236" y="19"/>
                    <a:pt x="233" y="19"/>
                    <a:pt x="233" y="19"/>
                  </a:cubicBezTo>
                  <a:cubicBezTo>
                    <a:pt x="232" y="19"/>
                    <a:pt x="230" y="20"/>
                    <a:pt x="229" y="20"/>
                  </a:cubicBezTo>
                  <a:cubicBezTo>
                    <a:pt x="229" y="20"/>
                    <a:pt x="227" y="21"/>
                    <a:pt x="227" y="21"/>
                  </a:cubicBezTo>
                  <a:cubicBezTo>
                    <a:pt x="225" y="23"/>
                    <a:pt x="225" y="23"/>
                    <a:pt x="225" y="23"/>
                  </a:cubicBezTo>
                  <a:cubicBezTo>
                    <a:pt x="223" y="25"/>
                    <a:pt x="223" y="25"/>
                    <a:pt x="223" y="25"/>
                  </a:cubicBezTo>
                  <a:cubicBezTo>
                    <a:pt x="221" y="25"/>
                    <a:pt x="221" y="25"/>
                    <a:pt x="221" y="25"/>
                  </a:cubicBezTo>
                  <a:cubicBezTo>
                    <a:pt x="220" y="26"/>
                    <a:pt x="220" y="26"/>
                    <a:pt x="220" y="26"/>
                  </a:cubicBezTo>
                  <a:cubicBezTo>
                    <a:pt x="220" y="28"/>
                    <a:pt x="220" y="28"/>
                    <a:pt x="220" y="28"/>
                  </a:cubicBezTo>
                  <a:cubicBezTo>
                    <a:pt x="222" y="29"/>
                    <a:pt x="222" y="29"/>
                    <a:pt x="222" y="29"/>
                  </a:cubicBezTo>
                  <a:cubicBezTo>
                    <a:pt x="222" y="30"/>
                    <a:pt x="221" y="31"/>
                    <a:pt x="221" y="32"/>
                  </a:cubicBezTo>
                  <a:cubicBezTo>
                    <a:pt x="220" y="32"/>
                    <a:pt x="219" y="34"/>
                    <a:pt x="219" y="34"/>
                  </a:cubicBezTo>
                  <a:cubicBezTo>
                    <a:pt x="214" y="34"/>
                    <a:pt x="214" y="34"/>
                    <a:pt x="214" y="34"/>
                  </a:cubicBezTo>
                  <a:cubicBezTo>
                    <a:pt x="211" y="34"/>
                    <a:pt x="211" y="34"/>
                    <a:pt x="211" y="34"/>
                  </a:cubicBezTo>
                  <a:cubicBezTo>
                    <a:pt x="210" y="35"/>
                    <a:pt x="210" y="35"/>
                    <a:pt x="210" y="35"/>
                  </a:cubicBezTo>
                  <a:cubicBezTo>
                    <a:pt x="210" y="35"/>
                    <a:pt x="209" y="36"/>
                    <a:pt x="208" y="36"/>
                  </a:cubicBezTo>
                  <a:cubicBezTo>
                    <a:pt x="208" y="36"/>
                    <a:pt x="206" y="35"/>
                    <a:pt x="206" y="35"/>
                  </a:cubicBezTo>
                  <a:cubicBezTo>
                    <a:pt x="205" y="35"/>
                    <a:pt x="204" y="35"/>
                    <a:pt x="204" y="34"/>
                  </a:cubicBezTo>
                  <a:cubicBezTo>
                    <a:pt x="203" y="34"/>
                    <a:pt x="197" y="29"/>
                    <a:pt x="196" y="29"/>
                  </a:cubicBezTo>
                  <a:cubicBezTo>
                    <a:pt x="196" y="29"/>
                    <a:pt x="194" y="29"/>
                    <a:pt x="194" y="29"/>
                  </a:cubicBezTo>
                  <a:cubicBezTo>
                    <a:pt x="193" y="28"/>
                    <a:pt x="193" y="28"/>
                    <a:pt x="193" y="28"/>
                  </a:cubicBezTo>
                  <a:cubicBezTo>
                    <a:pt x="191" y="28"/>
                    <a:pt x="191" y="28"/>
                    <a:pt x="191" y="28"/>
                  </a:cubicBezTo>
                  <a:cubicBezTo>
                    <a:pt x="191" y="28"/>
                    <a:pt x="190" y="28"/>
                    <a:pt x="190" y="27"/>
                  </a:cubicBezTo>
                  <a:cubicBezTo>
                    <a:pt x="190" y="27"/>
                    <a:pt x="190" y="26"/>
                    <a:pt x="190" y="26"/>
                  </a:cubicBezTo>
                  <a:cubicBezTo>
                    <a:pt x="191" y="24"/>
                    <a:pt x="191" y="24"/>
                    <a:pt x="191" y="24"/>
                  </a:cubicBezTo>
                  <a:cubicBezTo>
                    <a:pt x="192" y="23"/>
                    <a:pt x="192" y="23"/>
                    <a:pt x="192" y="23"/>
                  </a:cubicBezTo>
                  <a:cubicBezTo>
                    <a:pt x="192" y="23"/>
                    <a:pt x="190" y="23"/>
                    <a:pt x="190" y="23"/>
                  </a:cubicBezTo>
                  <a:cubicBezTo>
                    <a:pt x="189" y="24"/>
                    <a:pt x="188" y="24"/>
                    <a:pt x="187" y="25"/>
                  </a:cubicBezTo>
                  <a:cubicBezTo>
                    <a:pt x="186" y="25"/>
                    <a:pt x="185" y="26"/>
                    <a:pt x="184" y="26"/>
                  </a:cubicBezTo>
                  <a:cubicBezTo>
                    <a:pt x="184" y="27"/>
                    <a:pt x="183" y="26"/>
                    <a:pt x="182" y="26"/>
                  </a:cubicBezTo>
                  <a:cubicBezTo>
                    <a:pt x="181" y="26"/>
                    <a:pt x="181" y="26"/>
                    <a:pt x="180" y="26"/>
                  </a:cubicBezTo>
                  <a:cubicBezTo>
                    <a:pt x="180" y="26"/>
                    <a:pt x="179" y="27"/>
                    <a:pt x="179" y="27"/>
                  </a:cubicBezTo>
                  <a:cubicBezTo>
                    <a:pt x="177" y="27"/>
                    <a:pt x="177" y="27"/>
                    <a:pt x="177" y="27"/>
                  </a:cubicBezTo>
                  <a:cubicBezTo>
                    <a:pt x="177" y="27"/>
                    <a:pt x="174" y="26"/>
                    <a:pt x="173" y="26"/>
                  </a:cubicBezTo>
                  <a:cubicBezTo>
                    <a:pt x="172" y="26"/>
                    <a:pt x="172" y="27"/>
                    <a:pt x="171" y="27"/>
                  </a:cubicBezTo>
                  <a:cubicBezTo>
                    <a:pt x="170" y="27"/>
                    <a:pt x="170" y="27"/>
                    <a:pt x="169" y="27"/>
                  </a:cubicBezTo>
                  <a:cubicBezTo>
                    <a:pt x="169" y="27"/>
                    <a:pt x="169" y="27"/>
                    <a:pt x="168" y="27"/>
                  </a:cubicBezTo>
                  <a:cubicBezTo>
                    <a:pt x="167" y="27"/>
                    <a:pt x="168" y="26"/>
                    <a:pt x="168" y="25"/>
                  </a:cubicBezTo>
                  <a:cubicBezTo>
                    <a:pt x="168" y="25"/>
                    <a:pt x="167" y="25"/>
                    <a:pt x="167" y="25"/>
                  </a:cubicBezTo>
                  <a:cubicBezTo>
                    <a:pt x="166" y="26"/>
                    <a:pt x="166" y="26"/>
                    <a:pt x="166" y="26"/>
                  </a:cubicBezTo>
                  <a:cubicBezTo>
                    <a:pt x="166" y="27"/>
                    <a:pt x="166" y="27"/>
                    <a:pt x="166" y="27"/>
                  </a:cubicBezTo>
                  <a:cubicBezTo>
                    <a:pt x="165" y="28"/>
                    <a:pt x="165" y="28"/>
                    <a:pt x="165" y="28"/>
                  </a:cubicBezTo>
                  <a:cubicBezTo>
                    <a:pt x="165" y="30"/>
                    <a:pt x="165" y="30"/>
                    <a:pt x="165" y="30"/>
                  </a:cubicBezTo>
                  <a:cubicBezTo>
                    <a:pt x="164" y="31"/>
                    <a:pt x="164" y="31"/>
                    <a:pt x="164" y="31"/>
                  </a:cubicBezTo>
                  <a:cubicBezTo>
                    <a:pt x="164" y="32"/>
                    <a:pt x="163" y="32"/>
                    <a:pt x="163" y="32"/>
                  </a:cubicBezTo>
                  <a:cubicBezTo>
                    <a:pt x="162" y="32"/>
                    <a:pt x="162" y="33"/>
                    <a:pt x="161" y="33"/>
                  </a:cubicBezTo>
                  <a:cubicBezTo>
                    <a:pt x="160" y="34"/>
                    <a:pt x="160" y="34"/>
                    <a:pt x="160" y="34"/>
                  </a:cubicBezTo>
                  <a:cubicBezTo>
                    <a:pt x="158" y="32"/>
                    <a:pt x="158" y="32"/>
                    <a:pt x="158" y="32"/>
                  </a:cubicBezTo>
                  <a:cubicBezTo>
                    <a:pt x="157" y="31"/>
                    <a:pt x="157" y="31"/>
                    <a:pt x="157" y="31"/>
                  </a:cubicBezTo>
                  <a:cubicBezTo>
                    <a:pt x="157" y="31"/>
                    <a:pt x="156" y="31"/>
                    <a:pt x="156" y="31"/>
                  </a:cubicBezTo>
                  <a:cubicBezTo>
                    <a:pt x="155" y="32"/>
                    <a:pt x="154" y="32"/>
                    <a:pt x="153" y="32"/>
                  </a:cubicBezTo>
                  <a:cubicBezTo>
                    <a:pt x="153" y="32"/>
                    <a:pt x="153" y="32"/>
                    <a:pt x="152" y="32"/>
                  </a:cubicBezTo>
                  <a:cubicBezTo>
                    <a:pt x="150" y="30"/>
                    <a:pt x="150" y="30"/>
                    <a:pt x="150" y="30"/>
                  </a:cubicBezTo>
                  <a:cubicBezTo>
                    <a:pt x="149" y="29"/>
                    <a:pt x="149" y="29"/>
                    <a:pt x="149" y="29"/>
                  </a:cubicBezTo>
                  <a:cubicBezTo>
                    <a:pt x="149" y="29"/>
                    <a:pt x="148" y="28"/>
                    <a:pt x="148" y="27"/>
                  </a:cubicBezTo>
                  <a:cubicBezTo>
                    <a:pt x="147" y="27"/>
                    <a:pt x="146" y="26"/>
                    <a:pt x="146" y="25"/>
                  </a:cubicBezTo>
                  <a:cubicBezTo>
                    <a:pt x="145" y="25"/>
                    <a:pt x="144" y="24"/>
                    <a:pt x="143" y="24"/>
                  </a:cubicBezTo>
                  <a:cubicBezTo>
                    <a:pt x="141" y="24"/>
                    <a:pt x="141" y="24"/>
                    <a:pt x="141" y="24"/>
                  </a:cubicBezTo>
                  <a:cubicBezTo>
                    <a:pt x="141" y="24"/>
                    <a:pt x="139" y="23"/>
                    <a:pt x="139" y="23"/>
                  </a:cubicBezTo>
                  <a:cubicBezTo>
                    <a:pt x="139" y="22"/>
                    <a:pt x="137" y="22"/>
                    <a:pt x="136" y="22"/>
                  </a:cubicBezTo>
                  <a:cubicBezTo>
                    <a:pt x="135" y="22"/>
                    <a:pt x="133" y="22"/>
                    <a:pt x="132" y="22"/>
                  </a:cubicBezTo>
                  <a:cubicBezTo>
                    <a:pt x="130" y="22"/>
                    <a:pt x="130" y="21"/>
                    <a:pt x="130" y="21"/>
                  </a:cubicBezTo>
                  <a:cubicBezTo>
                    <a:pt x="127" y="19"/>
                    <a:pt x="127" y="19"/>
                    <a:pt x="127" y="19"/>
                  </a:cubicBezTo>
                  <a:cubicBezTo>
                    <a:pt x="126" y="17"/>
                    <a:pt x="126" y="17"/>
                    <a:pt x="126" y="17"/>
                  </a:cubicBezTo>
                  <a:cubicBezTo>
                    <a:pt x="126" y="17"/>
                    <a:pt x="126" y="17"/>
                    <a:pt x="126" y="17"/>
                  </a:cubicBezTo>
                  <a:cubicBezTo>
                    <a:pt x="125" y="17"/>
                    <a:pt x="125" y="17"/>
                    <a:pt x="125" y="17"/>
                  </a:cubicBezTo>
                  <a:cubicBezTo>
                    <a:pt x="125" y="17"/>
                    <a:pt x="121" y="18"/>
                    <a:pt x="119" y="18"/>
                  </a:cubicBezTo>
                  <a:cubicBezTo>
                    <a:pt x="118" y="18"/>
                    <a:pt x="118" y="17"/>
                    <a:pt x="117" y="17"/>
                  </a:cubicBezTo>
                  <a:cubicBezTo>
                    <a:pt x="117" y="17"/>
                    <a:pt x="114" y="17"/>
                    <a:pt x="112" y="17"/>
                  </a:cubicBezTo>
                  <a:cubicBezTo>
                    <a:pt x="111" y="17"/>
                    <a:pt x="110" y="17"/>
                    <a:pt x="110" y="16"/>
                  </a:cubicBezTo>
                  <a:cubicBezTo>
                    <a:pt x="109" y="16"/>
                    <a:pt x="108" y="15"/>
                    <a:pt x="107" y="14"/>
                  </a:cubicBezTo>
                  <a:cubicBezTo>
                    <a:pt x="106" y="14"/>
                    <a:pt x="104" y="11"/>
                    <a:pt x="104" y="11"/>
                  </a:cubicBezTo>
                  <a:cubicBezTo>
                    <a:pt x="104" y="10"/>
                    <a:pt x="103" y="12"/>
                    <a:pt x="103" y="13"/>
                  </a:cubicBezTo>
                  <a:cubicBezTo>
                    <a:pt x="103" y="15"/>
                    <a:pt x="102" y="14"/>
                    <a:pt x="101" y="14"/>
                  </a:cubicBezTo>
                  <a:cubicBezTo>
                    <a:pt x="100" y="14"/>
                    <a:pt x="100" y="14"/>
                    <a:pt x="100" y="13"/>
                  </a:cubicBezTo>
                  <a:cubicBezTo>
                    <a:pt x="100" y="13"/>
                    <a:pt x="98" y="12"/>
                    <a:pt x="98" y="12"/>
                  </a:cubicBezTo>
                  <a:cubicBezTo>
                    <a:pt x="98" y="13"/>
                    <a:pt x="98" y="13"/>
                    <a:pt x="98" y="13"/>
                  </a:cubicBezTo>
                  <a:cubicBezTo>
                    <a:pt x="96" y="14"/>
                    <a:pt x="96" y="14"/>
                    <a:pt x="96" y="14"/>
                  </a:cubicBezTo>
                  <a:cubicBezTo>
                    <a:pt x="96" y="14"/>
                    <a:pt x="94" y="13"/>
                    <a:pt x="94" y="12"/>
                  </a:cubicBezTo>
                  <a:cubicBezTo>
                    <a:pt x="94" y="12"/>
                    <a:pt x="94" y="11"/>
                    <a:pt x="94" y="11"/>
                  </a:cubicBezTo>
                  <a:cubicBezTo>
                    <a:pt x="92" y="11"/>
                    <a:pt x="92" y="11"/>
                    <a:pt x="92" y="11"/>
                  </a:cubicBezTo>
                  <a:cubicBezTo>
                    <a:pt x="91" y="13"/>
                    <a:pt x="91" y="13"/>
                    <a:pt x="91" y="13"/>
                  </a:cubicBezTo>
                  <a:cubicBezTo>
                    <a:pt x="90" y="14"/>
                    <a:pt x="90" y="14"/>
                    <a:pt x="90" y="14"/>
                  </a:cubicBezTo>
                  <a:cubicBezTo>
                    <a:pt x="88" y="14"/>
                    <a:pt x="88" y="14"/>
                    <a:pt x="88" y="14"/>
                  </a:cubicBezTo>
                  <a:cubicBezTo>
                    <a:pt x="87" y="13"/>
                    <a:pt x="87" y="13"/>
                    <a:pt x="87" y="13"/>
                  </a:cubicBezTo>
                  <a:cubicBezTo>
                    <a:pt x="86" y="13"/>
                    <a:pt x="83" y="13"/>
                    <a:pt x="82" y="13"/>
                  </a:cubicBezTo>
                  <a:cubicBezTo>
                    <a:pt x="82" y="13"/>
                    <a:pt x="81" y="14"/>
                    <a:pt x="81" y="14"/>
                  </a:cubicBezTo>
                  <a:cubicBezTo>
                    <a:pt x="79" y="15"/>
                    <a:pt x="79" y="15"/>
                    <a:pt x="79" y="15"/>
                  </a:cubicBezTo>
                  <a:cubicBezTo>
                    <a:pt x="78" y="16"/>
                    <a:pt x="78" y="16"/>
                    <a:pt x="78" y="16"/>
                  </a:cubicBezTo>
                  <a:cubicBezTo>
                    <a:pt x="78" y="18"/>
                    <a:pt x="78" y="18"/>
                    <a:pt x="78" y="18"/>
                  </a:cubicBezTo>
                  <a:cubicBezTo>
                    <a:pt x="77" y="19"/>
                    <a:pt x="77" y="19"/>
                    <a:pt x="77" y="19"/>
                  </a:cubicBezTo>
                  <a:cubicBezTo>
                    <a:pt x="76" y="19"/>
                    <a:pt x="76" y="19"/>
                    <a:pt x="76" y="19"/>
                  </a:cubicBezTo>
                  <a:cubicBezTo>
                    <a:pt x="75" y="19"/>
                    <a:pt x="75" y="19"/>
                    <a:pt x="75" y="18"/>
                  </a:cubicBezTo>
                  <a:cubicBezTo>
                    <a:pt x="75" y="18"/>
                    <a:pt x="74" y="18"/>
                    <a:pt x="74" y="18"/>
                  </a:cubicBezTo>
                  <a:cubicBezTo>
                    <a:pt x="73" y="19"/>
                    <a:pt x="73" y="19"/>
                    <a:pt x="73" y="19"/>
                  </a:cubicBezTo>
                  <a:cubicBezTo>
                    <a:pt x="73" y="21"/>
                    <a:pt x="73" y="21"/>
                    <a:pt x="73" y="21"/>
                  </a:cubicBezTo>
                  <a:cubicBezTo>
                    <a:pt x="72" y="22"/>
                    <a:pt x="72" y="22"/>
                    <a:pt x="72" y="22"/>
                  </a:cubicBezTo>
                  <a:cubicBezTo>
                    <a:pt x="72" y="22"/>
                    <a:pt x="72" y="22"/>
                    <a:pt x="72" y="22"/>
                  </a:cubicBezTo>
                  <a:cubicBezTo>
                    <a:pt x="71" y="22"/>
                    <a:pt x="71" y="22"/>
                    <a:pt x="71" y="21"/>
                  </a:cubicBezTo>
                  <a:cubicBezTo>
                    <a:pt x="70" y="21"/>
                    <a:pt x="70" y="20"/>
                    <a:pt x="70" y="20"/>
                  </a:cubicBezTo>
                  <a:cubicBezTo>
                    <a:pt x="70" y="19"/>
                    <a:pt x="68" y="19"/>
                    <a:pt x="68" y="19"/>
                  </a:cubicBezTo>
                  <a:cubicBezTo>
                    <a:pt x="67" y="21"/>
                    <a:pt x="67" y="21"/>
                    <a:pt x="67" y="21"/>
                  </a:cubicBezTo>
                  <a:cubicBezTo>
                    <a:pt x="66" y="21"/>
                    <a:pt x="66" y="22"/>
                    <a:pt x="67" y="22"/>
                  </a:cubicBezTo>
                  <a:cubicBezTo>
                    <a:pt x="67" y="23"/>
                    <a:pt x="66" y="24"/>
                    <a:pt x="66" y="24"/>
                  </a:cubicBezTo>
                  <a:cubicBezTo>
                    <a:pt x="65" y="23"/>
                    <a:pt x="65" y="23"/>
                    <a:pt x="65" y="23"/>
                  </a:cubicBezTo>
                  <a:cubicBezTo>
                    <a:pt x="63" y="23"/>
                    <a:pt x="63" y="23"/>
                    <a:pt x="63" y="23"/>
                  </a:cubicBezTo>
                  <a:cubicBezTo>
                    <a:pt x="63" y="23"/>
                    <a:pt x="62" y="24"/>
                    <a:pt x="62" y="25"/>
                  </a:cubicBezTo>
                  <a:cubicBezTo>
                    <a:pt x="61" y="25"/>
                    <a:pt x="60" y="25"/>
                    <a:pt x="60" y="25"/>
                  </a:cubicBezTo>
                  <a:cubicBezTo>
                    <a:pt x="60" y="25"/>
                    <a:pt x="59" y="24"/>
                    <a:pt x="58" y="23"/>
                  </a:cubicBezTo>
                  <a:cubicBezTo>
                    <a:pt x="58" y="23"/>
                    <a:pt x="57" y="23"/>
                    <a:pt x="57" y="23"/>
                  </a:cubicBezTo>
                  <a:cubicBezTo>
                    <a:pt x="57" y="23"/>
                    <a:pt x="58" y="25"/>
                    <a:pt x="58" y="26"/>
                  </a:cubicBezTo>
                  <a:cubicBezTo>
                    <a:pt x="58" y="26"/>
                    <a:pt x="58" y="27"/>
                    <a:pt x="58" y="28"/>
                  </a:cubicBezTo>
                  <a:cubicBezTo>
                    <a:pt x="58" y="28"/>
                    <a:pt x="57" y="29"/>
                    <a:pt x="56" y="29"/>
                  </a:cubicBezTo>
                  <a:cubicBezTo>
                    <a:pt x="56" y="30"/>
                    <a:pt x="55" y="31"/>
                    <a:pt x="55" y="32"/>
                  </a:cubicBezTo>
                  <a:cubicBezTo>
                    <a:pt x="55" y="35"/>
                    <a:pt x="55" y="35"/>
                    <a:pt x="55" y="35"/>
                  </a:cubicBezTo>
                  <a:cubicBezTo>
                    <a:pt x="54" y="37"/>
                    <a:pt x="54" y="37"/>
                    <a:pt x="54" y="37"/>
                  </a:cubicBezTo>
                  <a:cubicBezTo>
                    <a:pt x="54" y="42"/>
                    <a:pt x="54" y="42"/>
                    <a:pt x="54" y="42"/>
                  </a:cubicBezTo>
                  <a:cubicBezTo>
                    <a:pt x="54" y="42"/>
                    <a:pt x="55" y="44"/>
                    <a:pt x="55" y="45"/>
                  </a:cubicBezTo>
                  <a:cubicBezTo>
                    <a:pt x="56" y="45"/>
                    <a:pt x="57" y="46"/>
                    <a:pt x="58" y="46"/>
                  </a:cubicBezTo>
                  <a:cubicBezTo>
                    <a:pt x="59" y="46"/>
                    <a:pt x="59" y="47"/>
                    <a:pt x="59" y="47"/>
                  </a:cubicBezTo>
                  <a:cubicBezTo>
                    <a:pt x="59" y="48"/>
                    <a:pt x="59" y="48"/>
                    <a:pt x="59" y="48"/>
                  </a:cubicBezTo>
                  <a:cubicBezTo>
                    <a:pt x="59" y="48"/>
                    <a:pt x="60" y="49"/>
                    <a:pt x="60" y="49"/>
                  </a:cubicBezTo>
                  <a:cubicBezTo>
                    <a:pt x="61" y="49"/>
                    <a:pt x="61" y="48"/>
                    <a:pt x="61" y="48"/>
                  </a:cubicBezTo>
                  <a:cubicBezTo>
                    <a:pt x="61" y="47"/>
                    <a:pt x="63" y="47"/>
                    <a:pt x="64" y="47"/>
                  </a:cubicBezTo>
                  <a:cubicBezTo>
                    <a:pt x="64" y="47"/>
                    <a:pt x="67" y="47"/>
                    <a:pt x="67" y="47"/>
                  </a:cubicBezTo>
                  <a:cubicBezTo>
                    <a:pt x="68" y="46"/>
                    <a:pt x="71" y="46"/>
                    <a:pt x="72" y="46"/>
                  </a:cubicBezTo>
                  <a:cubicBezTo>
                    <a:pt x="72" y="45"/>
                    <a:pt x="75" y="45"/>
                    <a:pt x="75" y="45"/>
                  </a:cubicBezTo>
                  <a:cubicBezTo>
                    <a:pt x="77" y="46"/>
                    <a:pt x="77" y="46"/>
                    <a:pt x="77" y="46"/>
                  </a:cubicBezTo>
                  <a:cubicBezTo>
                    <a:pt x="79" y="48"/>
                    <a:pt x="79" y="48"/>
                    <a:pt x="79" y="48"/>
                  </a:cubicBezTo>
                  <a:cubicBezTo>
                    <a:pt x="81" y="48"/>
                    <a:pt x="81" y="48"/>
                    <a:pt x="81" y="48"/>
                  </a:cubicBezTo>
                  <a:cubicBezTo>
                    <a:pt x="87" y="48"/>
                    <a:pt x="87" y="48"/>
                    <a:pt x="87" y="48"/>
                  </a:cubicBezTo>
                  <a:cubicBezTo>
                    <a:pt x="87" y="48"/>
                    <a:pt x="87" y="48"/>
                    <a:pt x="87" y="48"/>
                  </a:cubicBezTo>
                  <a:cubicBezTo>
                    <a:pt x="88" y="46"/>
                    <a:pt x="88" y="46"/>
                    <a:pt x="88" y="46"/>
                  </a:cubicBezTo>
                  <a:cubicBezTo>
                    <a:pt x="102" y="46"/>
                    <a:pt x="102" y="46"/>
                    <a:pt x="102" y="46"/>
                  </a:cubicBezTo>
                  <a:cubicBezTo>
                    <a:pt x="104" y="47"/>
                    <a:pt x="104" y="47"/>
                    <a:pt x="104" y="47"/>
                  </a:cubicBezTo>
                  <a:cubicBezTo>
                    <a:pt x="106" y="49"/>
                    <a:pt x="106" y="49"/>
                    <a:pt x="106" y="49"/>
                  </a:cubicBezTo>
                  <a:cubicBezTo>
                    <a:pt x="106" y="50"/>
                    <a:pt x="108" y="51"/>
                    <a:pt x="109" y="51"/>
                  </a:cubicBezTo>
                  <a:cubicBezTo>
                    <a:pt x="110" y="51"/>
                    <a:pt x="113" y="51"/>
                    <a:pt x="114" y="51"/>
                  </a:cubicBezTo>
                  <a:cubicBezTo>
                    <a:pt x="114" y="51"/>
                    <a:pt x="115" y="50"/>
                    <a:pt x="115" y="49"/>
                  </a:cubicBezTo>
                  <a:cubicBezTo>
                    <a:pt x="115" y="49"/>
                    <a:pt x="116" y="48"/>
                    <a:pt x="116" y="48"/>
                  </a:cubicBezTo>
                  <a:cubicBezTo>
                    <a:pt x="118" y="48"/>
                    <a:pt x="118" y="48"/>
                    <a:pt x="118" y="48"/>
                  </a:cubicBezTo>
                  <a:cubicBezTo>
                    <a:pt x="118" y="48"/>
                    <a:pt x="119" y="49"/>
                    <a:pt x="120" y="49"/>
                  </a:cubicBezTo>
                  <a:cubicBezTo>
                    <a:pt x="120" y="50"/>
                    <a:pt x="121" y="51"/>
                    <a:pt x="121" y="51"/>
                  </a:cubicBezTo>
                  <a:cubicBezTo>
                    <a:pt x="121" y="52"/>
                    <a:pt x="123" y="54"/>
                    <a:pt x="123" y="54"/>
                  </a:cubicBezTo>
                  <a:cubicBezTo>
                    <a:pt x="124" y="54"/>
                    <a:pt x="125" y="55"/>
                    <a:pt x="126" y="55"/>
                  </a:cubicBezTo>
                  <a:cubicBezTo>
                    <a:pt x="127" y="55"/>
                    <a:pt x="130" y="55"/>
                    <a:pt x="130" y="55"/>
                  </a:cubicBezTo>
                  <a:cubicBezTo>
                    <a:pt x="131" y="55"/>
                    <a:pt x="132" y="54"/>
                    <a:pt x="132" y="54"/>
                  </a:cubicBezTo>
                  <a:cubicBezTo>
                    <a:pt x="133" y="53"/>
                    <a:pt x="135" y="52"/>
                    <a:pt x="135" y="52"/>
                  </a:cubicBezTo>
                  <a:cubicBezTo>
                    <a:pt x="136" y="52"/>
                    <a:pt x="137" y="51"/>
                    <a:pt x="137" y="51"/>
                  </a:cubicBezTo>
                  <a:cubicBezTo>
                    <a:pt x="137" y="51"/>
                    <a:pt x="141" y="51"/>
                    <a:pt x="142" y="51"/>
                  </a:cubicBezTo>
                  <a:cubicBezTo>
                    <a:pt x="142" y="51"/>
                    <a:pt x="145" y="52"/>
                    <a:pt x="146" y="52"/>
                  </a:cubicBezTo>
                  <a:cubicBezTo>
                    <a:pt x="146" y="52"/>
                    <a:pt x="148" y="52"/>
                    <a:pt x="148" y="52"/>
                  </a:cubicBezTo>
                  <a:cubicBezTo>
                    <a:pt x="149" y="52"/>
                    <a:pt x="149" y="52"/>
                    <a:pt x="150" y="51"/>
                  </a:cubicBezTo>
                  <a:cubicBezTo>
                    <a:pt x="150" y="51"/>
                    <a:pt x="151" y="50"/>
                    <a:pt x="151" y="50"/>
                  </a:cubicBezTo>
                  <a:cubicBezTo>
                    <a:pt x="151" y="47"/>
                    <a:pt x="151" y="47"/>
                    <a:pt x="151" y="47"/>
                  </a:cubicBezTo>
                  <a:cubicBezTo>
                    <a:pt x="151" y="45"/>
                    <a:pt x="151" y="45"/>
                    <a:pt x="151" y="45"/>
                  </a:cubicBezTo>
                  <a:cubicBezTo>
                    <a:pt x="153" y="45"/>
                    <a:pt x="153" y="45"/>
                    <a:pt x="153" y="45"/>
                  </a:cubicBezTo>
                  <a:cubicBezTo>
                    <a:pt x="156" y="46"/>
                    <a:pt x="156" y="46"/>
                    <a:pt x="156" y="46"/>
                  </a:cubicBezTo>
                  <a:cubicBezTo>
                    <a:pt x="164" y="46"/>
                    <a:pt x="164" y="46"/>
                    <a:pt x="164" y="46"/>
                  </a:cubicBezTo>
                  <a:cubicBezTo>
                    <a:pt x="166" y="47"/>
                    <a:pt x="166" y="47"/>
                    <a:pt x="166" y="47"/>
                  </a:cubicBezTo>
                  <a:cubicBezTo>
                    <a:pt x="167" y="49"/>
                    <a:pt x="167" y="49"/>
                    <a:pt x="167" y="49"/>
                  </a:cubicBezTo>
                  <a:cubicBezTo>
                    <a:pt x="167" y="50"/>
                    <a:pt x="167" y="50"/>
                    <a:pt x="167" y="50"/>
                  </a:cubicBezTo>
                  <a:cubicBezTo>
                    <a:pt x="167" y="52"/>
                    <a:pt x="167" y="52"/>
                    <a:pt x="167" y="52"/>
                  </a:cubicBezTo>
                  <a:cubicBezTo>
                    <a:pt x="168" y="52"/>
                    <a:pt x="168" y="52"/>
                    <a:pt x="168" y="52"/>
                  </a:cubicBezTo>
                  <a:cubicBezTo>
                    <a:pt x="168" y="52"/>
                    <a:pt x="169" y="50"/>
                    <a:pt x="169" y="50"/>
                  </a:cubicBezTo>
                  <a:cubicBezTo>
                    <a:pt x="169" y="50"/>
                    <a:pt x="170" y="49"/>
                    <a:pt x="170" y="49"/>
                  </a:cubicBezTo>
                  <a:cubicBezTo>
                    <a:pt x="172" y="49"/>
                    <a:pt x="172" y="49"/>
                    <a:pt x="172" y="49"/>
                  </a:cubicBezTo>
                  <a:cubicBezTo>
                    <a:pt x="174" y="51"/>
                    <a:pt x="174" y="51"/>
                    <a:pt x="174" y="51"/>
                  </a:cubicBezTo>
                  <a:cubicBezTo>
                    <a:pt x="177" y="50"/>
                    <a:pt x="177" y="50"/>
                    <a:pt x="177" y="50"/>
                  </a:cubicBezTo>
                  <a:cubicBezTo>
                    <a:pt x="177" y="50"/>
                    <a:pt x="179" y="49"/>
                    <a:pt x="180" y="49"/>
                  </a:cubicBezTo>
                  <a:cubicBezTo>
                    <a:pt x="180" y="48"/>
                    <a:pt x="182" y="48"/>
                    <a:pt x="182" y="47"/>
                  </a:cubicBezTo>
                  <a:cubicBezTo>
                    <a:pt x="182" y="47"/>
                    <a:pt x="185" y="47"/>
                    <a:pt x="186" y="47"/>
                  </a:cubicBezTo>
                  <a:cubicBezTo>
                    <a:pt x="186" y="47"/>
                    <a:pt x="187" y="47"/>
                    <a:pt x="187" y="46"/>
                  </a:cubicBezTo>
                  <a:cubicBezTo>
                    <a:pt x="190" y="46"/>
                    <a:pt x="190" y="46"/>
                    <a:pt x="190" y="46"/>
                  </a:cubicBezTo>
                  <a:cubicBezTo>
                    <a:pt x="195" y="42"/>
                    <a:pt x="195" y="42"/>
                    <a:pt x="195" y="42"/>
                  </a:cubicBezTo>
                  <a:cubicBezTo>
                    <a:pt x="197" y="41"/>
                    <a:pt x="197" y="41"/>
                    <a:pt x="197" y="41"/>
                  </a:cubicBezTo>
                  <a:cubicBezTo>
                    <a:pt x="200" y="42"/>
                    <a:pt x="200" y="42"/>
                    <a:pt x="200" y="42"/>
                  </a:cubicBezTo>
                  <a:cubicBezTo>
                    <a:pt x="200" y="42"/>
                    <a:pt x="201" y="42"/>
                    <a:pt x="202" y="42"/>
                  </a:cubicBezTo>
                  <a:cubicBezTo>
                    <a:pt x="202" y="42"/>
                    <a:pt x="205" y="42"/>
                    <a:pt x="206" y="42"/>
                  </a:cubicBezTo>
                  <a:cubicBezTo>
                    <a:pt x="207" y="42"/>
                    <a:pt x="209" y="42"/>
                    <a:pt x="209" y="42"/>
                  </a:cubicBezTo>
                  <a:cubicBezTo>
                    <a:pt x="210" y="42"/>
                    <a:pt x="212" y="42"/>
                    <a:pt x="213" y="42"/>
                  </a:cubicBezTo>
                  <a:cubicBezTo>
                    <a:pt x="214" y="42"/>
                    <a:pt x="215" y="42"/>
                    <a:pt x="216" y="42"/>
                  </a:cubicBezTo>
                  <a:cubicBezTo>
                    <a:pt x="217" y="41"/>
                    <a:pt x="219" y="41"/>
                    <a:pt x="220" y="41"/>
                  </a:cubicBezTo>
                  <a:cubicBezTo>
                    <a:pt x="222" y="40"/>
                    <a:pt x="223" y="39"/>
                    <a:pt x="223" y="37"/>
                  </a:cubicBezTo>
                  <a:cubicBezTo>
                    <a:pt x="224" y="36"/>
                    <a:pt x="227" y="36"/>
                    <a:pt x="228" y="36"/>
                  </a:cubicBezTo>
                  <a:cubicBezTo>
                    <a:pt x="229" y="36"/>
                    <a:pt x="231" y="35"/>
                    <a:pt x="231" y="35"/>
                  </a:cubicBezTo>
                  <a:cubicBezTo>
                    <a:pt x="232" y="35"/>
                    <a:pt x="238" y="34"/>
                    <a:pt x="238" y="34"/>
                  </a:cubicBezTo>
                  <a:cubicBezTo>
                    <a:pt x="241" y="32"/>
                    <a:pt x="241" y="32"/>
                    <a:pt x="241" y="32"/>
                  </a:cubicBezTo>
                  <a:cubicBezTo>
                    <a:pt x="241" y="32"/>
                    <a:pt x="242" y="30"/>
                    <a:pt x="242" y="30"/>
                  </a:cubicBezTo>
                  <a:close/>
                  <a:moveTo>
                    <a:pt x="116" y="120"/>
                  </a:moveTo>
                  <a:cubicBezTo>
                    <a:pt x="116" y="120"/>
                    <a:pt x="113" y="117"/>
                    <a:pt x="112" y="116"/>
                  </a:cubicBezTo>
                  <a:cubicBezTo>
                    <a:pt x="112" y="116"/>
                    <a:pt x="111" y="116"/>
                    <a:pt x="110" y="116"/>
                  </a:cubicBezTo>
                  <a:cubicBezTo>
                    <a:pt x="109" y="115"/>
                    <a:pt x="108" y="115"/>
                    <a:pt x="108" y="114"/>
                  </a:cubicBezTo>
                  <a:cubicBezTo>
                    <a:pt x="107" y="114"/>
                    <a:pt x="106" y="112"/>
                    <a:pt x="106" y="111"/>
                  </a:cubicBezTo>
                  <a:cubicBezTo>
                    <a:pt x="106" y="111"/>
                    <a:pt x="105" y="109"/>
                    <a:pt x="105" y="109"/>
                  </a:cubicBezTo>
                  <a:cubicBezTo>
                    <a:pt x="104" y="107"/>
                    <a:pt x="104" y="107"/>
                    <a:pt x="104" y="107"/>
                  </a:cubicBezTo>
                  <a:cubicBezTo>
                    <a:pt x="103" y="104"/>
                    <a:pt x="103" y="104"/>
                    <a:pt x="103" y="104"/>
                  </a:cubicBezTo>
                  <a:cubicBezTo>
                    <a:pt x="102" y="103"/>
                    <a:pt x="102" y="103"/>
                    <a:pt x="102" y="103"/>
                  </a:cubicBezTo>
                  <a:cubicBezTo>
                    <a:pt x="100" y="101"/>
                    <a:pt x="100" y="101"/>
                    <a:pt x="100" y="101"/>
                  </a:cubicBezTo>
                  <a:cubicBezTo>
                    <a:pt x="98" y="101"/>
                    <a:pt x="98" y="101"/>
                    <a:pt x="98" y="101"/>
                  </a:cubicBezTo>
                  <a:cubicBezTo>
                    <a:pt x="96" y="99"/>
                    <a:pt x="96" y="99"/>
                    <a:pt x="96" y="99"/>
                  </a:cubicBezTo>
                  <a:cubicBezTo>
                    <a:pt x="96" y="99"/>
                    <a:pt x="95" y="97"/>
                    <a:pt x="95" y="97"/>
                  </a:cubicBezTo>
                  <a:cubicBezTo>
                    <a:pt x="94" y="96"/>
                    <a:pt x="93" y="97"/>
                    <a:pt x="93" y="97"/>
                  </a:cubicBezTo>
                  <a:cubicBezTo>
                    <a:pt x="92" y="98"/>
                    <a:pt x="89" y="99"/>
                    <a:pt x="88" y="99"/>
                  </a:cubicBezTo>
                  <a:cubicBezTo>
                    <a:pt x="87" y="100"/>
                    <a:pt x="85" y="100"/>
                    <a:pt x="85" y="100"/>
                  </a:cubicBezTo>
                  <a:cubicBezTo>
                    <a:pt x="85" y="98"/>
                    <a:pt x="85" y="98"/>
                    <a:pt x="85" y="98"/>
                  </a:cubicBezTo>
                  <a:cubicBezTo>
                    <a:pt x="85" y="98"/>
                    <a:pt x="82" y="98"/>
                    <a:pt x="82" y="98"/>
                  </a:cubicBezTo>
                  <a:cubicBezTo>
                    <a:pt x="81" y="98"/>
                    <a:pt x="81" y="96"/>
                    <a:pt x="81" y="96"/>
                  </a:cubicBezTo>
                  <a:cubicBezTo>
                    <a:pt x="80" y="95"/>
                    <a:pt x="80" y="93"/>
                    <a:pt x="80" y="93"/>
                  </a:cubicBezTo>
                  <a:cubicBezTo>
                    <a:pt x="80" y="93"/>
                    <a:pt x="80" y="89"/>
                    <a:pt x="79" y="89"/>
                  </a:cubicBezTo>
                  <a:cubicBezTo>
                    <a:pt x="79" y="88"/>
                    <a:pt x="78" y="88"/>
                    <a:pt x="78" y="88"/>
                  </a:cubicBezTo>
                  <a:cubicBezTo>
                    <a:pt x="77" y="88"/>
                    <a:pt x="77" y="88"/>
                    <a:pt x="76" y="88"/>
                  </a:cubicBezTo>
                  <a:cubicBezTo>
                    <a:pt x="74" y="89"/>
                    <a:pt x="73" y="88"/>
                    <a:pt x="72" y="88"/>
                  </a:cubicBezTo>
                  <a:cubicBezTo>
                    <a:pt x="71" y="88"/>
                    <a:pt x="69" y="86"/>
                    <a:pt x="69" y="85"/>
                  </a:cubicBezTo>
                  <a:cubicBezTo>
                    <a:pt x="69" y="84"/>
                    <a:pt x="63" y="78"/>
                    <a:pt x="63" y="77"/>
                  </a:cubicBezTo>
                  <a:cubicBezTo>
                    <a:pt x="63" y="76"/>
                    <a:pt x="62" y="76"/>
                    <a:pt x="62" y="76"/>
                  </a:cubicBezTo>
                  <a:cubicBezTo>
                    <a:pt x="53" y="83"/>
                    <a:pt x="53" y="83"/>
                    <a:pt x="53" y="83"/>
                  </a:cubicBezTo>
                  <a:cubicBezTo>
                    <a:pt x="53" y="83"/>
                    <a:pt x="51" y="83"/>
                    <a:pt x="50" y="83"/>
                  </a:cubicBezTo>
                  <a:cubicBezTo>
                    <a:pt x="49" y="83"/>
                    <a:pt x="48" y="82"/>
                    <a:pt x="48" y="82"/>
                  </a:cubicBezTo>
                  <a:cubicBezTo>
                    <a:pt x="47" y="82"/>
                    <a:pt x="45" y="81"/>
                    <a:pt x="45" y="81"/>
                  </a:cubicBezTo>
                  <a:cubicBezTo>
                    <a:pt x="45" y="80"/>
                    <a:pt x="43" y="80"/>
                    <a:pt x="42" y="80"/>
                  </a:cubicBezTo>
                  <a:cubicBezTo>
                    <a:pt x="41" y="80"/>
                    <a:pt x="40" y="80"/>
                    <a:pt x="40" y="80"/>
                  </a:cubicBezTo>
                  <a:cubicBezTo>
                    <a:pt x="38" y="81"/>
                    <a:pt x="38" y="81"/>
                    <a:pt x="38" y="81"/>
                  </a:cubicBezTo>
                  <a:cubicBezTo>
                    <a:pt x="37" y="81"/>
                    <a:pt x="36" y="82"/>
                    <a:pt x="35" y="81"/>
                  </a:cubicBezTo>
                  <a:cubicBezTo>
                    <a:pt x="35" y="81"/>
                    <a:pt x="34" y="81"/>
                    <a:pt x="34" y="81"/>
                  </a:cubicBezTo>
                  <a:cubicBezTo>
                    <a:pt x="32" y="81"/>
                    <a:pt x="32" y="81"/>
                    <a:pt x="32" y="81"/>
                  </a:cubicBezTo>
                  <a:cubicBezTo>
                    <a:pt x="32" y="81"/>
                    <a:pt x="30" y="82"/>
                    <a:pt x="30" y="82"/>
                  </a:cubicBezTo>
                  <a:cubicBezTo>
                    <a:pt x="29" y="82"/>
                    <a:pt x="28" y="82"/>
                    <a:pt x="28" y="82"/>
                  </a:cubicBezTo>
                  <a:cubicBezTo>
                    <a:pt x="26" y="82"/>
                    <a:pt x="26" y="82"/>
                    <a:pt x="26" y="82"/>
                  </a:cubicBezTo>
                  <a:cubicBezTo>
                    <a:pt x="24" y="81"/>
                    <a:pt x="24" y="81"/>
                    <a:pt x="24" y="81"/>
                  </a:cubicBezTo>
                  <a:cubicBezTo>
                    <a:pt x="24" y="80"/>
                    <a:pt x="22" y="81"/>
                    <a:pt x="21" y="81"/>
                  </a:cubicBezTo>
                  <a:cubicBezTo>
                    <a:pt x="20" y="81"/>
                    <a:pt x="18" y="82"/>
                    <a:pt x="18" y="82"/>
                  </a:cubicBezTo>
                  <a:cubicBezTo>
                    <a:pt x="17" y="82"/>
                    <a:pt x="17" y="82"/>
                    <a:pt x="17" y="82"/>
                  </a:cubicBezTo>
                  <a:cubicBezTo>
                    <a:pt x="16" y="82"/>
                    <a:pt x="16" y="82"/>
                    <a:pt x="16" y="82"/>
                  </a:cubicBezTo>
                  <a:cubicBezTo>
                    <a:pt x="16" y="82"/>
                    <a:pt x="14" y="82"/>
                    <a:pt x="13" y="83"/>
                  </a:cubicBezTo>
                  <a:cubicBezTo>
                    <a:pt x="12" y="83"/>
                    <a:pt x="11" y="84"/>
                    <a:pt x="10" y="85"/>
                  </a:cubicBezTo>
                  <a:cubicBezTo>
                    <a:pt x="10" y="85"/>
                    <a:pt x="9" y="85"/>
                    <a:pt x="8" y="85"/>
                  </a:cubicBezTo>
                  <a:cubicBezTo>
                    <a:pt x="8" y="85"/>
                    <a:pt x="6" y="85"/>
                    <a:pt x="5" y="86"/>
                  </a:cubicBezTo>
                  <a:cubicBezTo>
                    <a:pt x="4" y="86"/>
                    <a:pt x="3" y="87"/>
                    <a:pt x="3" y="88"/>
                  </a:cubicBezTo>
                  <a:cubicBezTo>
                    <a:pt x="2" y="89"/>
                    <a:pt x="1" y="90"/>
                    <a:pt x="1" y="90"/>
                  </a:cubicBezTo>
                  <a:cubicBezTo>
                    <a:pt x="0" y="92"/>
                    <a:pt x="0" y="92"/>
                    <a:pt x="0" y="92"/>
                  </a:cubicBezTo>
                  <a:cubicBezTo>
                    <a:pt x="0" y="92"/>
                    <a:pt x="1" y="95"/>
                    <a:pt x="1" y="95"/>
                  </a:cubicBezTo>
                  <a:cubicBezTo>
                    <a:pt x="2" y="96"/>
                    <a:pt x="4" y="98"/>
                    <a:pt x="5" y="99"/>
                  </a:cubicBezTo>
                  <a:cubicBezTo>
                    <a:pt x="6" y="100"/>
                    <a:pt x="6" y="100"/>
                    <a:pt x="7" y="101"/>
                  </a:cubicBezTo>
                  <a:cubicBezTo>
                    <a:pt x="8" y="102"/>
                    <a:pt x="10" y="102"/>
                    <a:pt x="14" y="104"/>
                  </a:cubicBezTo>
                  <a:cubicBezTo>
                    <a:pt x="14" y="104"/>
                    <a:pt x="17" y="104"/>
                    <a:pt x="18" y="105"/>
                  </a:cubicBezTo>
                  <a:cubicBezTo>
                    <a:pt x="19" y="105"/>
                    <a:pt x="22" y="105"/>
                    <a:pt x="23" y="105"/>
                  </a:cubicBezTo>
                  <a:cubicBezTo>
                    <a:pt x="23" y="105"/>
                    <a:pt x="23" y="106"/>
                    <a:pt x="23" y="106"/>
                  </a:cubicBezTo>
                  <a:cubicBezTo>
                    <a:pt x="23" y="106"/>
                    <a:pt x="24" y="106"/>
                    <a:pt x="25" y="106"/>
                  </a:cubicBezTo>
                  <a:cubicBezTo>
                    <a:pt x="25" y="106"/>
                    <a:pt x="26" y="106"/>
                    <a:pt x="26" y="106"/>
                  </a:cubicBezTo>
                  <a:cubicBezTo>
                    <a:pt x="26" y="106"/>
                    <a:pt x="27" y="106"/>
                    <a:pt x="27" y="107"/>
                  </a:cubicBezTo>
                  <a:cubicBezTo>
                    <a:pt x="27" y="108"/>
                    <a:pt x="29" y="108"/>
                    <a:pt x="29" y="108"/>
                  </a:cubicBezTo>
                  <a:cubicBezTo>
                    <a:pt x="29" y="108"/>
                    <a:pt x="30" y="107"/>
                    <a:pt x="30" y="106"/>
                  </a:cubicBezTo>
                  <a:cubicBezTo>
                    <a:pt x="30" y="106"/>
                    <a:pt x="32" y="105"/>
                    <a:pt x="33" y="105"/>
                  </a:cubicBezTo>
                  <a:cubicBezTo>
                    <a:pt x="34" y="104"/>
                    <a:pt x="34" y="105"/>
                    <a:pt x="34" y="105"/>
                  </a:cubicBezTo>
                  <a:cubicBezTo>
                    <a:pt x="37" y="106"/>
                    <a:pt x="37" y="106"/>
                    <a:pt x="37" y="106"/>
                  </a:cubicBezTo>
                  <a:cubicBezTo>
                    <a:pt x="37" y="106"/>
                    <a:pt x="38" y="106"/>
                    <a:pt x="39" y="106"/>
                  </a:cubicBezTo>
                  <a:cubicBezTo>
                    <a:pt x="39" y="106"/>
                    <a:pt x="41" y="106"/>
                    <a:pt x="42" y="106"/>
                  </a:cubicBezTo>
                  <a:cubicBezTo>
                    <a:pt x="43" y="106"/>
                    <a:pt x="42" y="108"/>
                    <a:pt x="43" y="109"/>
                  </a:cubicBezTo>
                  <a:cubicBezTo>
                    <a:pt x="43" y="109"/>
                    <a:pt x="44" y="108"/>
                    <a:pt x="44" y="107"/>
                  </a:cubicBezTo>
                  <a:cubicBezTo>
                    <a:pt x="45" y="106"/>
                    <a:pt x="45" y="107"/>
                    <a:pt x="46" y="107"/>
                  </a:cubicBezTo>
                  <a:cubicBezTo>
                    <a:pt x="47" y="107"/>
                    <a:pt x="46" y="109"/>
                    <a:pt x="46" y="109"/>
                  </a:cubicBezTo>
                  <a:cubicBezTo>
                    <a:pt x="46" y="110"/>
                    <a:pt x="47" y="111"/>
                    <a:pt x="48" y="112"/>
                  </a:cubicBezTo>
                  <a:cubicBezTo>
                    <a:pt x="49" y="112"/>
                    <a:pt x="51" y="114"/>
                    <a:pt x="52" y="115"/>
                  </a:cubicBezTo>
                  <a:cubicBezTo>
                    <a:pt x="53" y="116"/>
                    <a:pt x="55" y="116"/>
                    <a:pt x="56" y="116"/>
                  </a:cubicBezTo>
                  <a:cubicBezTo>
                    <a:pt x="58" y="116"/>
                    <a:pt x="58" y="116"/>
                    <a:pt x="58" y="116"/>
                  </a:cubicBezTo>
                  <a:cubicBezTo>
                    <a:pt x="58" y="118"/>
                    <a:pt x="58" y="118"/>
                    <a:pt x="58" y="118"/>
                  </a:cubicBezTo>
                  <a:cubicBezTo>
                    <a:pt x="59" y="118"/>
                    <a:pt x="60" y="119"/>
                    <a:pt x="61" y="119"/>
                  </a:cubicBezTo>
                  <a:cubicBezTo>
                    <a:pt x="61" y="119"/>
                    <a:pt x="63" y="119"/>
                    <a:pt x="63" y="119"/>
                  </a:cubicBezTo>
                  <a:cubicBezTo>
                    <a:pt x="63" y="121"/>
                    <a:pt x="63" y="121"/>
                    <a:pt x="63" y="121"/>
                  </a:cubicBezTo>
                  <a:cubicBezTo>
                    <a:pt x="63" y="121"/>
                    <a:pt x="64" y="122"/>
                    <a:pt x="65" y="122"/>
                  </a:cubicBezTo>
                  <a:cubicBezTo>
                    <a:pt x="65" y="122"/>
                    <a:pt x="67" y="125"/>
                    <a:pt x="67" y="125"/>
                  </a:cubicBezTo>
                  <a:cubicBezTo>
                    <a:pt x="68" y="126"/>
                    <a:pt x="67" y="127"/>
                    <a:pt x="66" y="127"/>
                  </a:cubicBezTo>
                  <a:cubicBezTo>
                    <a:pt x="66" y="128"/>
                    <a:pt x="66" y="128"/>
                    <a:pt x="66" y="128"/>
                  </a:cubicBezTo>
                  <a:cubicBezTo>
                    <a:pt x="66" y="128"/>
                    <a:pt x="67" y="128"/>
                    <a:pt x="68" y="129"/>
                  </a:cubicBezTo>
                  <a:cubicBezTo>
                    <a:pt x="70" y="129"/>
                    <a:pt x="69" y="130"/>
                    <a:pt x="70" y="130"/>
                  </a:cubicBezTo>
                  <a:cubicBezTo>
                    <a:pt x="70" y="131"/>
                    <a:pt x="73" y="133"/>
                    <a:pt x="73" y="133"/>
                  </a:cubicBezTo>
                  <a:cubicBezTo>
                    <a:pt x="74" y="133"/>
                    <a:pt x="76" y="135"/>
                    <a:pt x="77" y="135"/>
                  </a:cubicBezTo>
                  <a:cubicBezTo>
                    <a:pt x="77" y="135"/>
                    <a:pt x="80" y="137"/>
                    <a:pt x="80" y="137"/>
                  </a:cubicBezTo>
                  <a:cubicBezTo>
                    <a:pt x="80" y="137"/>
                    <a:pt x="80" y="136"/>
                    <a:pt x="82" y="136"/>
                  </a:cubicBezTo>
                  <a:cubicBezTo>
                    <a:pt x="83" y="136"/>
                    <a:pt x="85" y="136"/>
                    <a:pt x="86" y="136"/>
                  </a:cubicBezTo>
                  <a:cubicBezTo>
                    <a:pt x="88" y="137"/>
                    <a:pt x="89" y="137"/>
                    <a:pt x="89" y="137"/>
                  </a:cubicBezTo>
                  <a:cubicBezTo>
                    <a:pt x="90" y="138"/>
                    <a:pt x="91" y="139"/>
                    <a:pt x="92" y="139"/>
                  </a:cubicBezTo>
                  <a:cubicBezTo>
                    <a:pt x="92" y="139"/>
                    <a:pt x="95" y="140"/>
                    <a:pt x="95" y="140"/>
                  </a:cubicBezTo>
                  <a:cubicBezTo>
                    <a:pt x="95" y="140"/>
                    <a:pt x="95" y="140"/>
                    <a:pt x="95" y="139"/>
                  </a:cubicBezTo>
                  <a:cubicBezTo>
                    <a:pt x="96" y="139"/>
                    <a:pt x="96" y="137"/>
                    <a:pt x="96" y="137"/>
                  </a:cubicBezTo>
                  <a:cubicBezTo>
                    <a:pt x="96" y="137"/>
                    <a:pt x="97" y="137"/>
                    <a:pt x="98" y="137"/>
                  </a:cubicBezTo>
                  <a:cubicBezTo>
                    <a:pt x="98" y="137"/>
                    <a:pt x="98" y="136"/>
                    <a:pt x="98" y="136"/>
                  </a:cubicBezTo>
                  <a:cubicBezTo>
                    <a:pt x="99" y="136"/>
                    <a:pt x="100" y="136"/>
                    <a:pt x="101" y="136"/>
                  </a:cubicBezTo>
                  <a:cubicBezTo>
                    <a:pt x="102" y="136"/>
                    <a:pt x="103" y="137"/>
                    <a:pt x="103" y="137"/>
                  </a:cubicBezTo>
                  <a:cubicBezTo>
                    <a:pt x="105" y="136"/>
                    <a:pt x="105" y="136"/>
                    <a:pt x="105" y="136"/>
                  </a:cubicBezTo>
                  <a:cubicBezTo>
                    <a:pt x="105" y="136"/>
                    <a:pt x="106" y="135"/>
                    <a:pt x="107" y="135"/>
                  </a:cubicBezTo>
                  <a:cubicBezTo>
                    <a:pt x="108" y="135"/>
                    <a:pt x="110" y="134"/>
                    <a:pt x="110" y="134"/>
                  </a:cubicBezTo>
                  <a:cubicBezTo>
                    <a:pt x="111" y="134"/>
                    <a:pt x="112" y="132"/>
                    <a:pt x="112" y="132"/>
                  </a:cubicBezTo>
                  <a:cubicBezTo>
                    <a:pt x="112" y="132"/>
                    <a:pt x="113" y="131"/>
                    <a:pt x="113" y="131"/>
                  </a:cubicBezTo>
                  <a:cubicBezTo>
                    <a:pt x="115" y="129"/>
                    <a:pt x="115" y="129"/>
                    <a:pt x="115" y="129"/>
                  </a:cubicBezTo>
                  <a:cubicBezTo>
                    <a:pt x="115" y="129"/>
                    <a:pt x="116" y="129"/>
                    <a:pt x="117" y="128"/>
                  </a:cubicBezTo>
                  <a:cubicBezTo>
                    <a:pt x="117" y="128"/>
                    <a:pt x="118" y="126"/>
                    <a:pt x="118" y="126"/>
                  </a:cubicBezTo>
                  <a:cubicBezTo>
                    <a:pt x="118" y="125"/>
                    <a:pt x="118" y="123"/>
                    <a:pt x="118" y="122"/>
                  </a:cubicBezTo>
                  <a:cubicBezTo>
                    <a:pt x="118" y="122"/>
                    <a:pt x="117" y="120"/>
                    <a:pt x="116" y="120"/>
                  </a:cubicBezTo>
                  <a:close/>
                  <a:moveTo>
                    <a:pt x="166" y="158"/>
                  </a:moveTo>
                  <a:cubicBezTo>
                    <a:pt x="165" y="159"/>
                    <a:pt x="163" y="158"/>
                    <a:pt x="163" y="158"/>
                  </a:cubicBezTo>
                  <a:cubicBezTo>
                    <a:pt x="162" y="159"/>
                    <a:pt x="162" y="159"/>
                    <a:pt x="161" y="160"/>
                  </a:cubicBezTo>
                  <a:cubicBezTo>
                    <a:pt x="163" y="161"/>
                    <a:pt x="163" y="161"/>
                    <a:pt x="163" y="161"/>
                  </a:cubicBezTo>
                  <a:cubicBezTo>
                    <a:pt x="163" y="161"/>
                    <a:pt x="167" y="160"/>
                    <a:pt x="167" y="159"/>
                  </a:cubicBezTo>
                  <a:cubicBezTo>
                    <a:pt x="168" y="158"/>
                    <a:pt x="166" y="158"/>
                    <a:pt x="166" y="158"/>
                  </a:cubicBezTo>
                  <a:close/>
                  <a:moveTo>
                    <a:pt x="189" y="149"/>
                  </a:moveTo>
                  <a:cubicBezTo>
                    <a:pt x="187" y="149"/>
                    <a:pt x="187" y="149"/>
                    <a:pt x="187" y="149"/>
                  </a:cubicBezTo>
                  <a:cubicBezTo>
                    <a:pt x="184" y="148"/>
                    <a:pt x="184" y="148"/>
                    <a:pt x="184" y="148"/>
                  </a:cubicBezTo>
                  <a:cubicBezTo>
                    <a:pt x="182" y="148"/>
                    <a:pt x="182" y="148"/>
                    <a:pt x="182" y="148"/>
                  </a:cubicBezTo>
                  <a:cubicBezTo>
                    <a:pt x="180" y="150"/>
                    <a:pt x="180" y="150"/>
                    <a:pt x="180" y="150"/>
                  </a:cubicBezTo>
                  <a:cubicBezTo>
                    <a:pt x="179" y="153"/>
                    <a:pt x="179" y="153"/>
                    <a:pt x="179" y="153"/>
                  </a:cubicBezTo>
                  <a:cubicBezTo>
                    <a:pt x="176" y="153"/>
                    <a:pt x="176" y="153"/>
                    <a:pt x="176" y="153"/>
                  </a:cubicBezTo>
                  <a:cubicBezTo>
                    <a:pt x="174" y="155"/>
                    <a:pt x="174" y="155"/>
                    <a:pt x="174" y="155"/>
                  </a:cubicBezTo>
                  <a:cubicBezTo>
                    <a:pt x="171" y="157"/>
                    <a:pt x="171" y="157"/>
                    <a:pt x="171" y="157"/>
                  </a:cubicBezTo>
                  <a:cubicBezTo>
                    <a:pt x="173" y="160"/>
                    <a:pt x="173" y="160"/>
                    <a:pt x="173" y="160"/>
                  </a:cubicBezTo>
                  <a:cubicBezTo>
                    <a:pt x="173" y="160"/>
                    <a:pt x="175" y="159"/>
                    <a:pt x="175" y="159"/>
                  </a:cubicBezTo>
                  <a:cubicBezTo>
                    <a:pt x="176" y="159"/>
                    <a:pt x="176" y="159"/>
                    <a:pt x="177" y="160"/>
                  </a:cubicBezTo>
                  <a:cubicBezTo>
                    <a:pt x="178" y="160"/>
                    <a:pt x="179" y="160"/>
                    <a:pt x="179" y="160"/>
                  </a:cubicBezTo>
                  <a:cubicBezTo>
                    <a:pt x="180" y="160"/>
                    <a:pt x="181" y="160"/>
                    <a:pt x="182" y="159"/>
                  </a:cubicBezTo>
                  <a:cubicBezTo>
                    <a:pt x="183" y="159"/>
                    <a:pt x="184" y="158"/>
                    <a:pt x="185" y="157"/>
                  </a:cubicBezTo>
                  <a:cubicBezTo>
                    <a:pt x="186" y="156"/>
                    <a:pt x="187" y="155"/>
                    <a:pt x="188" y="155"/>
                  </a:cubicBezTo>
                  <a:cubicBezTo>
                    <a:pt x="188" y="155"/>
                    <a:pt x="189" y="155"/>
                    <a:pt x="189" y="155"/>
                  </a:cubicBezTo>
                  <a:cubicBezTo>
                    <a:pt x="190" y="154"/>
                    <a:pt x="190" y="154"/>
                    <a:pt x="190" y="154"/>
                  </a:cubicBezTo>
                  <a:cubicBezTo>
                    <a:pt x="190" y="154"/>
                    <a:pt x="190" y="150"/>
                    <a:pt x="190" y="149"/>
                  </a:cubicBezTo>
                  <a:cubicBezTo>
                    <a:pt x="190" y="149"/>
                    <a:pt x="189" y="149"/>
                    <a:pt x="189" y="149"/>
                  </a:cubicBezTo>
                  <a:close/>
                  <a:moveTo>
                    <a:pt x="277" y="159"/>
                  </a:moveTo>
                  <a:cubicBezTo>
                    <a:pt x="275" y="158"/>
                    <a:pt x="275" y="158"/>
                    <a:pt x="275" y="158"/>
                  </a:cubicBezTo>
                  <a:cubicBezTo>
                    <a:pt x="275" y="158"/>
                    <a:pt x="274" y="157"/>
                    <a:pt x="275" y="157"/>
                  </a:cubicBezTo>
                  <a:cubicBezTo>
                    <a:pt x="275" y="157"/>
                    <a:pt x="276" y="155"/>
                    <a:pt x="277" y="155"/>
                  </a:cubicBezTo>
                  <a:cubicBezTo>
                    <a:pt x="277" y="154"/>
                    <a:pt x="278" y="153"/>
                    <a:pt x="278" y="152"/>
                  </a:cubicBezTo>
                  <a:cubicBezTo>
                    <a:pt x="278" y="151"/>
                    <a:pt x="277" y="152"/>
                    <a:pt x="277" y="152"/>
                  </a:cubicBezTo>
                  <a:cubicBezTo>
                    <a:pt x="276" y="153"/>
                    <a:pt x="276" y="154"/>
                    <a:pt x="275" y="155"/>
                  </a:cubicBezTo>
                  <a:cubicBezTo>
                    <a:pt x="274" y="155"/>
                    <a:pt x="275" y="154"/>
                    <a:pt x="275" y="153"/>
                  </a:cubicBezTo>
                  <a:cubicBezTo>
                    <a:pt x="275" y="152"/>
                    <a:pt x="275" y="151"/>
                    <a:pt x="276" y="150"/>
                  </a:cubicBezTo>
                  <a:cubicBezTo>
                    <a:pt x="276" y="150"/>
                    <a:pt x="275" y="150"/>
                    <a:pt x="275" y="150"/>
                  </a:cubicBezTo>
                  <a:cubicBezTo>
                    <a:pt x="274" y="151"/>
                    <a:pt x="273" y="151"/>
                    <a:pt x="272" y="152"/>
                  </a:cubicBezTo>
                  <a:cubicBezTo>
                    <a:pt x="271" y="152"/>
                    <a:pt x="269" y="153"/>
                    <a:pt x="269" y="153"/>
                  </a:cubicBezTo>
                  <a:cubicBezTo>
                    <a:pt x="268" y="154"/>
                    <a:pt x="267" y="156"/>
                    <a:pt x="266" y="156"/>
                  </a:cubicBezTo>
                  <a:cubicBezTo>
                    <a:pt x="266" y="157"/>
                    <a:pt x="266" y="158"/>
                    <a:pt x="266" y="158"/>
                  </a:cubicBezTo>
                  <a:cubicBezTo>
                    <a:pt x="265" y="159"/>
                    <a:pt x="265" y="159"/>
                    <a:pt x="265" y="159"/>
                  </a:cubicBezTo>
                  <a:cubicBezTo>
                    <a:pt x="264" y="158"/>
                    <a:pt x="264" y="158"/>
                    <a:pt x="264" y="158"/>
                  </a:cubicBezTo>
                  <a:cubicBezTo>
                    <a:pt x="264" y="158"/>
                    <a:pt x="264" y="159"/>
                    <a:pt x="263" y="160"/>
                  </a:cubicBezTo>
                  <a:cubicBezTo>
                    <a:pt x="262" y="161"/>
                    <a:pt x="259" y="163"/>
                    <a:pt x="258" y="164"/>
                  </a:cubicBezTo>
                  <a:cubicBezTo>
                    <a:pt x="257" y="165"/>
                    <a:pt x="254" y="166"/>
                    <a:pt x="253" y="167"/>
                  </a:cubicBezTo>
                  <a:cubicBezTo>
                    <a:pt x="252" y="167"/>
                    <a:pt x="248" y="168"/>
                    <a:pt x="247" y="168"/>
                  </a:cubicBezTo>
                  <a:cubicBezTo>
                    <a:pt x="246" y="168"/>
                    <a:pt x="243" y="169"/>
                    <a:pt x="242" y="169"/>
                  </a:cubicBezTo>
                  <a:cubicBezTo>
                    <a:pt x="242" y="170"/>
                    <a:pt x="240" y="171"/>
                    <a:pt x="240" y="171"/>
                  </a:cubicBezTo>
                  <a:cubicBezTo>
                    <a:pt x="240" y="172"/>
                    <a:pt x="240" y="173"/>
                    <a:pt x="241" y="174"/>
                  </a:cubicBezTo>
                  <a:cubicBezTo>
                    <a:pt x="241" y="175"/>
                    <a:pt x="241" y="176"/>
                    <a:pt x="241" y="177"/>
                  </a:cubicBezTo>
                  <a:cubicBezTo>
                    <a:pt x="240" y="178"/>
                    <a:pt x="240" y="178"/>
                    <a:pt x="240" y="178"/>
                  </a:cubicBezTo>
                  <a:cubicBezTo>
                    <a:pt x="240" y="179"/>
                    <a:pt x="240" y="179"/>
                    <a:pt x="240" y="179"/>
                  </a:cubicBezTo>
                  <a:cubicBezTo>
                    <a:pt x="240" y="179"/>
                    <a:pt x="242" y="180"/>
                    <a:pt x="242" y="180"/>
                  </a:cubicBezTo>
                  <a:cubicBezTo>
                    <a:pt x="242" y="180"/>
                    <a:pt x="243" y="180"/>
                    <a:pt x="243" y="180"/>
                  </a:cubicBezTo>
                  <a:cubicBezTo>
                    <a:pt x="243" y="179"/>
                    <a:pt x="243" y="179"/>
                    <a:pt x="243" y="179"/>
                  </a:cubicBezTo>
                  <a:cubicBezTo>
                    <a:pt x="243" y="179"/>
                    <a:pt x="245" y="178"/>
                    <a:pt x="245" y="178"/>
                  </a:cubicBezTo>
                  <a:cubicBezTo>
                    <a:pt x="246" y="179"/>
                    <a:pt x="247" y="179"/>
                    <a:pt x="247" y="178"/>
                  </a:cubicBezTo>
                  <a:cubicBezTo>
                    <a:pt x="248" y="178"/>
                    <a:pt x="248" y="178"/>
                    <a:pt x="248" y="177"/>
                  </a:cubicBezTo>
                  <a:cubicBezTo>
                    <a:pt x="248" y="177"/>
                    <a:pt x="249" y="177"/>
                    <a:pt x="249" y="176"/>
                  </a:cubicBezTo>
                  <a:cubicBezTo>
                    <a:pt x="249" y="176"/>
                    <a:pt x="250" y="176"/>
                    <a:pt x="250" y="176"/>
                  </a:cubicBezTo>
                  <a:cubicBezTo>
                    <a:pt x="250" y="176"/>
                    <a:pt x="253" y="175"/>
                    <a:pt x="254" y="175"/>
                  </a:cubicBezTo>
                  <a:cubicBezTo>
                    <a:pt x="255" y="174"/>
                    <a:pt x="255" y="174"/>
                    <a:pt x="257" y="174"/>
                  </a:cubicBezTo>
                  <a:cubicBezTo>
                    <a:pt x="258" y="174"/>
                    <a:pt x="258" y="174"/>
                    <a:pt x="259" y="173"/>
                  </a:cubicBezTo>
                  <a:cubicBezTo>
                    <a:pt x="260" y="173"/>
                    <a:pt x="260" y="173"/>
                    <a:pt x="261" y="172"/>
                  </a:cubicBezTo>
                  <a:cubicBezTo>
                    <a:pt x="262" y="172"/>
                    <a:pt x="261" y="173"/>
                    <a:pt x="262" y="173"/>
                  </a:cubicBezTo>
                  <a:cubicBezTo>
                    <a:pt x="262" y="173"/>
                    <a:pt x="263" y="173"/>
                    <a:pt x="264" y="173"/>
                  </a:cubicBezTo>
                  <a:cubicBezTo>
                    <a:pt x="265" y="173"/>
                    <a:pt x="265" y="173"/>
                    <a:pt x="265" y="173"/>
                  </a:cubicBezTo>
                  <a:cubicBezTo>
                    <a:pt x="266" y="173"/>
                    <a:pt x="266" y="172"/>
                    <a:pt x="266" y="172"/>
                  </a:cubicBezTo>
                  <a:cubicBezTo>
                    <a:pt x="266" y="170"/>
                    <a:pt x="266" y="170"/>
                    <a:pt x="266" y="170"/>
                  </a:cubicBezTo>
                  <a:cubicBezTo>
                    <a:pt x="266" y="170"/>
                    <a:pt x="266" y="168"/>
                    <a:pt x="266" y="168"/>
                  </a:cubicBezTo>
                  <a:cubicBezTo>
                    <a:pt x="267" y="167"/>
                    <a:pt x="268" y="167"/>
                    <a:pt x="268" y="167"/>
                  </a:cubicBezTo>
                  <a:cubicBezTo>
                    <a:pt x="270" y="166"/>
                    <a:pt x="270" y="166"/>
                    <a:pt x="270" y="166"/>
                  </a:cubicBezTo>
                  <a:cubicBezTo>
                    <a:pt x="272" y="164"/>
                    <a:pt x="272" y="164"/>
                    <a:pt x="272" y="164"/>
                  </a:cubicBezTo>
                  <a:cubicBezTo>
                    <a:pt x="273" y="164"/>
                    <a:pt x="273" y="164"/>
                    <a:pt x="273" y="164"/>
                  </a:cubicBezTo>
                  <a:cubicBezTo>
                    <a:pt x="273" y="164"/>
                    <a:pt x="276" y="163"/>
                    <a:pt x="277" y="163"/>
                  </a:cubicBezTo>
                  <a:cubicBezTo>
                    <a:pt x="277" y="163"/>
                    <a:pt x="277" y="163"/>
                    <a:pt x="278" y="163"/>
                  </a:cubicBezTo>
                  <a:cubicBezTo>
                    <a:pt x="278" y="162"/>
                    <a:pt x="278" y="161"/>
                    <a:pt x="278" y="160"/>
                  </a:cubicBezTo>
                  <a:cubicBezTo>
                    <a:pt x="277" y="159"/>
                    <a:pt x="277" y="159"/>
                    <a:pt x="277" y="159"/>
                  </a:cubicBezTo>
                  <a:close/>
                  <a:moveTo>
                    <a:pt x="277" y="135"/>
                  </a:moveTo>
                  <a:cubicBezTo>
                    <a:pt x="277" y="135"/>
                    <a:pt x="280" y="134"/>
                    <a:pt x="281" y="133"/>
                  </a:cubicBezTo>
                  <a:cubicBezTo>
                    <a:pt x="281" y="133"/>
                    <a:pt x="281" y="132"/>
                    <a:pt x="281" y="131"/>
                  </a:cubicBezTo>
                  <a:cubicBezTo>
                    <a:pt x="282" y="130"/>
                    <a:pt x="280" y="131"/>
                    <a:pt x="280" y="131"/>
                  </a:cubicBezTo>
                  <a:cubicBezTo>
                    <a:pt x="281" y="129"/>
                    <a:pt x="281" y="129"/>
                    <a:pt x="281" y="129"/>
                  </a:cubicBezTo>
                  <a:cubicBezTo>
                    <a:pt x="281" y="129"/>
                    <a:pt x="280" y="128"/>
                    <a:pt x="279" y="128"/>
                  </a:cubicBezTo>
                  <a:cubicBezTo>
                    <a:pt x="279" y="128"/>
                    <a:pt x="278" y="128"/>
                    <a:pt x="277" y="129"/>
                  </a:cubicBezTo>
                  <a:cubicBezTo>
                    <a:pt x="277" y="129"/>
                    <a:pt x="276" y="130"/>
                    <a:pt x="276" y="131"/>
                  </a:cubicBezTo>
                  <a:cubicBezTo>
                    <a:pt x="276" y="131"/>
                    <a:pt x="275" y="133"/>
                    <a:pt x="275" y="133"/>
                  </a:cubicBezTo>
                  <a:cubicBezTo>
                    <a:pt x="274" y="134"/>
                    <a:pt x="273" y="136"/>
                    <a:pt x="272" y="136"/>
                  </a:cubicBezTo>
                  <a:cubicBezTo>
                    <a:pt x="272" y="137"/>
                    <a:pt x="271" y="137"/>
                    <a:pt x="271" y="138"/>
                  </a:cubicBezTo>
                  <a:cubicBezTo>
                    <a:pt x="270" y="138"/>
                    <a:pt x="271" y="140"/>
                    <a:pt x="271" y="140"/>
                  </a:cubicBezTo>
                  <a:cubicBezTo>
                    <a:pt x="271" y="141"/>
                    <a:pt x="271" y="141"/>
                    <a:pt x="271" y="141"/>
                  </a:cubicBezTo>
                  <a:cubicBezTo>
                    <a:pt x="271" y="141"/>
                    <a:pt x="271" y="142"/>
                    <a:pt x="272" y="142"/>
                  </a:cubicBezTo>
                  <a:cubicBezTo>
                    <a:pt x="273" y="141"/>
                    <a:pt x="273" y="140"/>
                    <a:pt x="273" y="140"/>
                  </a:cubicBezTo>
                  <a:cubicBezTo>
                    <a:pt x="274" y="140"/>
                    <a:pt x="274" y="140"/>
                    <a:pt x="274" y="140"/>
                  </a:cubicBezTo>
                  <a:cubicBezTo>
                    <a:pt x="274" y="140"/>
                    <a:pt x="275" y="142"/>
                    <a:pt x="276" y="142"/>
                  </a:cubicBezTo>
                  <a:cubicBezTo>
                    <a:pt x="277" y="142"/>
                    <a:pt x="276" y="141"/>
                    <a:pt x="276" y="141"/>
                  </a:cubicBezTo>
                  <a:cubicBezTo>
                    <a:pt x="277" y="141"/>
                    <a:pt x="277" y="140"/>
                    <a:pt x="277" y="139"/>
                  </a:cubicBezTo>
                  <a:cubicBezTo>
                    <a:pt x="277" y="138"/>
                    <a:pt x="277" y="137"/>
                    <a:pt x="276" y="137"/>
                  </a:cubicBezTo>
                  <a:cubicBezTo>
                    <a:pt x="276" y="136"/>
                    <a:pt x="276" y="136"/>
                    <a:pt x="276" y="136"/>
                  </a:cubicBezTo>
                  <a:lnTo>
                    <a:pt x="277" y="135"/>
                  </a:lnTo>
                  <a:close/>
                  <a:moveTo>
                    <a:pt x="260" y="22"/>
                  </a:moveTo>
                  <a:cubicBezTo>
                    <a:pt x="259" y="23"/>
                    <a:pt x="258" y="23"/>
                    <a:pt x="258" y="23"/>
                  </a:cubicBezTo>
                  <a:cubicBezTo>
                    <a:pt x="257" y="23"/>
                    <a:pt x="256" y="23"/>
                    <a:pt x="256" y="23"/>
                  </a:cubicBezTo>
                  <a:cubicBezTo>
                    <a:pt x="255" y="23"/>
                    <a:pt x="254" y="23"/>
                    <a:pt x="253" y="23"/>
                  </a:cubicBezTo>
                  <a:cubicBezTo>
                    <a:pt x="253" y="23"/>
                    <a:pt x="253" y="23"/>
                    <a:pt x="252" y="23"/>
                  </a:cubicBezTo>
                  <a:cubicBezTo>
                    <a:pt x="251" y="23"/>
                    <a:pt x="251" y="23"/>
                    <a:pt x="251" y="23"/>
                  </a:cubicBezTo>
                  <a:cubicBezTo>
                    <a:pt x="249" y="23"/>
                    <a:pt x="249" y="24"/>
                    <a:pt x="249" y="25"/>
                  </a:cubicBezTo>
                  <a:cubicBezTo>
                    <a:pt x="249" y="25"/>
                    <a:pt x="249" y="26"/>
                    <a:pt x="248" y="26"/>
                  </a:cubicBezTo>
                  <a:cubicBezTo>
                    <a:pt x="248" y="27"/>
                    <a:pt x="247" y="27"/>
                    <a:pt x="247" y="27"/>
                  </a:cubicBezTo>
                  <a:cubicBezTo>
                    <a:pt x="246" y="28"/>
                    <a:pt x="245" y="29"/>
                    <a:pt x="244" y="30"/>
                  </a:cubicBezTo>
                  <a:cubicBezTo>
                    <a:pt x="244" y="31"/>
                    <a:pt x="244" y="32"/>
                    <a:pt x="244" y="33"/>
                  </a:cubicBezTo>
                  <a:cubicBezTo>
                    <a:pt x="245" y="34"/>
                    <a:pt x="245" y="34"/>
                    <a:pt x="245" y="34"/>
                  </a:cubicBezTo>
                  <a:cubicBezTo>
                    <a:pt x="246" y="34"/>
                    <a:pt x="247" y="34"/>
                    <a:pt x="247" y="33"/>
                  </a:cubicBezTo>
                  <a:cubicBezTo>
                    <a:pt x="248" y="33"/>
                    <a:pt x="248" y="32"/>
                    <a:pt x="248" y="32"/>
                  </a:cubicBezTo>
                  <a:cubicBezTo>
                    <a:pt x="248" y="31"/>
                    <a:pt x="249" y="30"/>
                    <a:pt x="249" y="30"/>
                  </a:cubicBezTo>
                  <a:cubicBezTo>
                    <a:pt x="250" y="29"/>
                    <a:pt x="250" y="28"/>
                    <a:pt x="251" y="28"/>
                  </a:cubicBezTo>
                  <a:cubicBezTo>
                    <a:pt x="251" y="27"/>
                    <a:pt x="252" y="27"/>
                    <a:pt x="253" y="27"/>
                  </a:cubicBezTo>
                  <a:cubicBezTo>
                    <a:pt x="253" y="26"/>
                    <a:pt x="254" y="26"/>
                    <a:pt x="254" y="26"/>
                  </a:cubicBezTo>
                  <a:cubicBezTo>
                    <a:pt x="255" y="26"/>
                    <a:pt x="256" y="26"/>
                    <a:pt x="256" y="26"/>
                  </a:cubicBezTo>
                  <a:cubicBezTo>
                    <a:pt x="258" y="26"/>
                    <a:pt x="259" y="26"/>
                    <a:pt x="260" y="25"/>
                  </a:cubicBezTo>
                  <a:cubicBezTo>
                    <a:pt x="260" y="24"/>
                    <a:pt x="261" y="24"/>
                    <a:pt x="261" y="23"/>
                  </a:cubicBezTo>
                  <a:cubicBezTo>
                    <a:pt x="261" y="23"/>
                    <a:pt x="261" y="23"/>
                    <a:pt x="261" y="22"/>
                  </a:cubicBezTo>
                  <a:cubicBezTo>
                    <a:pt x="260" y="22"/>
                    <a:pt x="260" y="22"/>
                    <a:pt x="260" y="22"/>
                  </a:cubicBezTo>
                  <a:close/>
                  <a:moveTo>
                    <a:pt x="255" y="21"/>
                  </a:moveTo>
                  <a:cubicBezTo>
                    <a:pt x="256" y="21"/>
                    <a:pt x="255" y="21"/>
                    <a:pt x="256" y="21"/>
                  </a:cubicBezTo>
                  <a:cubicBezTo>
                    <a:pt x="257" y="21"/>
                    <a:pt x="258" y="21"/>
                    <a:pt x="258" y="20"/>
                  </a:cubicBezTo>
                  <a:cubicBezTo>
                    <a:pt x="260" y="20"/>
                    <a:pt x="261" y="20"/>
                    <a:pt x="262" y="20"/>
                  </a:cubicBezTo>
                  <a:cubicBezTo>
                    <a:pt x="263" y="19"/>
                    <a:pt x="265" y="19"/>
                    <a:pt x="266" y="20"/>
                  </a:cubicBezTo>
                  <a:cubicBezTo>
                    <a:pt x="267" y="20"/>
                    <a:pt x="270" y="21"/>
                    <a:pt x="270" y="19"/>
                  </a:cubicBezTo>
                  <a:cubicBezTo>
                    <a:pt x="270" y="17"/>
                    <a:pt x="270" y="16"/>
                    <a:pt x="270" y="15"/>
                  </a:cubicBezTo>
                  <a:cubicBezTo>
                    <a:pt x="271" y="13"/>
                    <a:pt x="273" y="13"/>
                    <a:pt x="272" y="12"/>
                  </a:cubicBezTo>
                  <a:cubicBezTo>
                    <a:pt x="270" y="11"/>
                    <a:pt x="269" y="11"/>
                    <a:pt x="268" y="11"/>
                  </a:cubicBezTo>
                  <a:cubicBezTo>
                    <a:pt x="268" y="11"/>
                    <a:pt x="267" y="10"/>
                    <a:pt x="266" y="10"/>
                  </a:cubicBezTo>
                  <a:cubicBezTo>
                    <a:pt x="266" y="10"/>
                    <a:pt x="265" y="12"/>
                    <a:pt x="265" y="10"/>
                  </a:cubicBezTo>
                  <a:cubicBezTo>
                    <a:pt x="264" y="10"/>
                    <a:pt x="265" y="10"/>
                    <a:pt x="264" y="10"/>
                  </a:cubicBezTo>
                  <a:cubicBezTo>
                    <a:pt x="264" y="10"/>
                    <a:pt x="263" y="10"/>
                    <a:pt x="263" y="10"/>
                  </a:cubicBezTo>
                  <a:cubicBezTo>
                    <a:pt x="262" y="10"/>
                    <a:pt x="261" y="10"/>
                    <a:pt x="260" y="11"/>
                  </a:cubicBezTo>
                  <a:cubicBezTo>
                    <a:pt x="259" y="11"/>
                    <a:pt x="259" y="12"/>
                    <a:pt x="258" y="12"/>
                  </a:cubicBezTo>
                  <a:cubicBezTo>
                    <a:pt x="257" y="13"/>
                    <a:pt x="255" y="14"/>
                    <a:pt x="254" y="15"/>
                  </a:cubicBezTo>
                  <a:cubicBezTo>
                    <a:pt x="253" y="17"/>
                    <a:pt x="253" y="19"/>
                    <a:pt x="253" y="20"/>
                  </a:cubicBezTo>
                  <a:cubicBezTo>
                    <a:pt x="253" y="22"/>
                    <a:pt x="254" y="20"/>
                    <a:pt x="255" y="21"/>
                  </a:cubicBezTo>
                  <a:close/>
                  <a:moveTo>
                    <a:pt x="267" y="27"/>
                  </a:moveTo>
                  <a:cubicBezTo>
                    <a:pt x="266" y="27"/>
                    <a:pt x="266" y="27"/>
                    <a:pt x="265" y="27"/>
                  </a:cubicBezTo>
                  <a:cubicBezTo>
                    <a:pt x="264" y="28"/>
                    <a:pt x="264" y="29"/>
                    <a:pt x="265" y="29"/>
                  </a:cubicBezTo>
                  <a:cubicBezTo>
                    <a:pt x="265" y="29"/>
                    <a:pt x="266" y="29"/>
                    <a:pt x="266" y="29"/>
                  </a:cubicBezTo>
                  <a:cubicBezTo>
                    <a:pt x="267" y="29"/>
                    <a:pt x="268" y="29"/>
                    <a:pt x="269" y="29"/>
                  </a:cubicBezTo>
                  <a:cubicBezTo>
                    <a:pt x="269" y="29"/>
                    <a:pt x="270" y="29"/>
                    <a:pt x="270" y="29"/>
                  </a:cubicBezTo>
                  <a:cubicBezTo>
                    <a:pt x="271" y="29"/>
                    <a:pt x="271" y="29"/>
                    <a:pt x="272" y="29"/>
                  </a:cubicBezTo>
                  <a:cubicBezTo>
                    <a:pt x="272" y="29"/>
                    <a:pt x="273" y="30"/>
                    <a:pt x="274" y="31"/>
                  </a:cubicBezTo>
                  <a:cubicBezTo>
                    <a:pt x="274" y="31"/>
                    <a:pt x="274" y="31"/>
                    <a:pt x="274" y="31"/>
                  </a:cubicBezTo>
                  <a:cubicBezTo>
                    <a:pt x="275" y="32"/>
                    <a:pt x="276" y="31"/>
                    <a:pt x="276" y="31"/>
                  </a:cubicBezTo>
                  <a:cubicBezTo>
                    <a:pt x="277" y="32"/>
                    <a:pt x="278" y="32"/>
                    <a:pt x="278" y="31"/>
                  </a:cubicBezTo>
                  <a:cubicBezTo>
                    <a:pt x="278" y="31"/>
                    <a:pt x="278" y="31"/>
                    <a:pt x="278" y="31"/>
                  </a:cubicBezTo>
                  <a:cubicBezTo>
                    <a:pt x="279" y="30"/>
                    <a:pt x="279" y="30"/>
                    <a:pt x="279" y="30"/>
                  </a:cubicBezTo>
                  <a:cubicBezTo>
                    <a:pt x="279" y="30"/>
                    <a:pt x="279" y="30"/>
                    <a:pt x="279" y="30"/>
                  </a:cubicBezTo>
                  <a:cubicBezTo>
                    <a:pt x="279" y="29"/>
                    <a:pt x="279" y="29"/>
                    <a:pt x="279" y="29"/>
                  </a:cubicBezTo>
                  <a:cubicBezTo>
                    <a:pt x="279" y="29"/>
                    <a:pt x="280" y="29"/>
                    <a:pt x="280" y="29"/>
                  </a:cubicBezTo>
                  <a:cubicBezTo>
                    <a:pt x="281" y="29"/>
                    <a:pt x="281" y="29"/>
                    <a:pt x="281" y="29"/>
                  </a:cubicBezTo>
                  <a:cubicBezTo>
                    <a:pt x="281" y="28"/>
                    <a:pt x="281" y="28"/>
                    <a:pt x="281" y="28"/>
                  </a:cubicBezTo>
                  <a:cubicBezTo>
                    <a:pt x="282" y="28"/>
                    <a:pt x="283" y="28"/>
                    <a:pt x="283" y="29"/>
                  </a:cubicBezTo>
                  <a:cubicBezTo>
                    <a:pt x="283" y="30"/>
                    <a:pt x="283" y="30"/>
                    <a:pt x="283" y="30"/>
                  </a:cubicBezTo>
                  <a:cubicBezTo>
                    <a:pt x="284" y="30"/>
                    <a:pt x="284" y="30"/>
                    <a:pt x="284" y="30"/>
                  </a:cubicBezTo>
                  <a:cubicBezTo>
                    <a:pt x="284" y="31"/>
                    <a:pt x="284" y="32"/>
                    <a:pt x="285" y="31"/>
                  </a:cubicBezTo>
                  <a:cubicBezTo>
                    <a:pt x="285" y="31"/>
                    <a:pt x="286" y="31"/>
                    <a:pt x="286" y="30"/>
                  </a:cubicBezTo>
                  <a:cubicBezTo>
                    <a:pt x="287" y="30"/>
                    <a:pt x="287" y="30"/>
                    <a:pt x="287" y="29"/>
                  </a:cubicBezTo>
                  <a:cubicBezTo>
                    <a:pt x="288" y="29"/>
                    <a:pt x="288" y="27"/>
                    <a:pt x="287" y="27"/>
                  </a:cubicBezTo>
                  <a:cubicBezTo>
                    <a:pt x="287" y="26"/>
                    <a:pt x="286" y="26"/>
                    <a:pt x="286" y="25"/>
                  </a:cubicBezTo>
                  <a:cubicBezTo>
                    <a:pt x="286" y="24"/>
                    <a:pt x="288" y="23"/>
                    <a:pt x="288" y="22"/>
                  </a:cubicBezTo>
                  <a:cubicBezTo>
                    <a:pt x="289" y="22"/>
                    <a:pt x="290" y="21"/>
                    <a:pt x="291" y="21"/>
                  </a:cubicBezTo>
                  <a:cubicBezTo>
                    <a:pt x="291" y="22"/>
                    <a:pt x="292" y="22"/>
                    <a:pt x="292" y="22"/>
                  </a:cubicBezTo>
                  <a:cubicBezTo>
                    <a:pt x="293" y="22"/>
                    <a:pt x="293" y="22"/>
                    <a:pt x="294" y="21"/>
                  </a:cubicBezTo>
                  <a:cubicBezTo>
                    <a:pt x="294" y="21"/>
                    <a:pt x="294" y="22"/>
                    <a:pt x="294" y="21"/>
                  </a:cubicBezTo>
                  <a:cubicBezTo>
                    <a:pt x="295" y="20"/>
                    <a:pt x="295" y="20"/>
                    <a:pt x="295" y="20"/>
                  </a:cubicBezTo>
                  <a:cubicBezTo>
                    <a:pt x="295" y="20"/>
                    <a:pt x="295" y="19"/>
                    <a:pt x="295" y="19"/>
                  </a:cubicBezTo>
                  <a:cubicBezTo>
                    <a:pt x="296" y="18"/>
                    <a:pt x="296" y="18"/>
                    <a:pt x="296" y="18"/>
                  </a:cubicBezTo>
                  <a:cubicBezTo>
                    <a:pt x="297" y="16"/>
                    <a:pt x="297" y="15"/>
                    <a:pt x="298" y="14"/>
                  </a:cubicBezTo>
                  <a:cubicBezTo>
                    <a:pt x="299" y="14"/>
                    <a:pt x="299" y="14"/>
                    <a:pt x="300" y="13"/>
                  </a:cubicBezTo>
                  <a:cubicBezTo>
                    <a:pt x="301" y="13"/>
                    <a:pt x="301" y="13"/>
                    <a:pt x="301" y="13"/>
                  </a:cubicBezTo>
                  <a:cubicBezTo>
                    <a:pt x="302" y="13"/>
                    <a:pt x="303" y="13"/>
                    <a:pt x="305" y="13"/>
                  </a:cubicBezTo>
                  <a:cubicBezTo>
                    <a:pt x="306" y="13"/>
                    <a:pt x="307" y="12"/>
                    <a:pt x="308" y="12"/>
                  </a:cubicBezTo>
                  <a:cubicBezTo>
                    <a:pt x="308" y="12"/>
                    <a:pt x="309" y="11"/>
                    <a:pt x="308" y="10"/>
                  </a:cubicBezTo>
                  <a:cubicBezTo>
                    <a:pt x="308" y="10"/>
                    <a:pt x="308" y="10"/>
                    <a:pt x="308" y="10"/>
                  </a:cubicBezTo>
                  <a:cubicBezTo>
                    <a:pt x="307" y="9"/>
                    <a:pt x="307" y="9"/>
                    <a:pt x="307" y="9"/>
                  </a:cubicBezTo>
                  <a:cubicBezTo>
                    <a:pt x="307" y="9"/>
                    <a:pt x="306" y="9"/>
                    <a:pt x="306" y="9"/>
                  </a:cubicBezTo>
                  <a:cubicBezTo>
                    <a:pt x="305" y="9"/>
                    <a:pt x="305" y="9"/>
                    <a:pt x="304" y="9"/>
                  </a:cubicBezTo>
                  <a:cubicBezTo>
                    <a:pt x="304" y="9"/>
                    <a:pt x="303" y="8"/>
                    <a:pt x="303" y="8"/>
                  </a:cubicBezTo>
                  <a:cubicBezTo>
                    <a:pt x="302" y="8"/>
                    <a:pt x="302" y="8"/>
                    <a:pt x="302" y="7"/>
                  </a:cubicBezTo>
                  <a:cubicBezTo>
                    <a:pt x="301" y="6"/>
                    <a:pt x="300" y="7"/>
                    <a:pt x="299" y="7"/>
                  </a:cubicBezTo>
                  <a:cubicBezTo>
                    <a:pt x="298" y="7"/>
                    <a:pt x="298" y="8"/>
                    <a:pt x="297" y="8"/>
                  </a:cubicBezTo>
                  <a:cubicBezTo>
                    <a:pt x="296" y="9"/>
                    <a:pt x="296" y="10"/>
                    <a:pt x="296" y="10"/>
                  </a:cubicBezTo>
                  <a:cubicBezTo>
                    <a:pt x="295" y="11"/>
                    <a:pt x="294" y="11"/>
                    <a:pt x="293" y="11"/>
                  </a:cubicBezTo>
                  <a:cubicBezTo>
                    <a:pt x="292" y="11"/>
                    <a:pt x="292" y="11"/>
                    <a:pt x="292" y="10"/>
                  </a:cubicBezTo>
                  <a:cubicBezTo>
                    <a:pt x="292" y="10"/>
                    <a:pt x="292" y="9"/>
                    <a:pt x="291" y="9"/>
                  </a:cubicBezTo>
                  <a:cubicBezTo>
                    <a:pt x="291" y="9"/>
                    <a:pt x="290" y="9"/>
                    <a:pt x="289" y="9"/>
                  </a:cubicBezTo>
                  <a:cubicBezTo>
                    <a:pt x="289" y="10"/>
                    <a:pt x="290" y="10"/>
                    <a:pt x="290" y="10"/>
                  </a:cubicBezTo>
                  <a:cubicBezTo>
                    <a:pt x="291" y="11"/>
                    <a:pt x="291" y="13"/>
                    <a:pt x="290" y="14"/>
                  </a:cubicBezTo>
                  <a:cubicBezTo>
                    <a:pt x="289" y="15"/>
                    <a:pt x="289" y="15"/>
                    <a:pt x="289" y="15"/>
                  </a:cubicBezTo>
                  <a:cubicBezTo>
                    <a:pt x="289" y="15"/>
                    <a:pt x="289" y="15"/>
                    <a:pt x="289" y="15"/>
                  </a:cubicBezTo>
                  <a:cubicBezTo>
                    <a:pt x="289" y="14"/>
                    <a:pt x="288" y="13"/>
                    <a:pt x="288" y="14"/>
                  </a:cubicBezTo>
                  <a:cubicBezTo>
                    <a:pt x="287" y="14"/>
                    <a:pt x="287" y="15"/>
                    <a:pt x="287" y="16"/>
                  </a:cubicBezTo>
                  <a:cubicBezTo>
                    <a:pt x="288" y="16"/>
                    <a:pt x="288" y="16"/>
                    <a:pt x="288" y="17"/>
                  </a:cubicBezTo>
                  <a:cubicBezTo>
                    <a:pt x="287" y="18"/>
                    <a:pt x="285" y="18"/>
                    <a:pt x="284" y="18"/>
                  </a:cubicBezTo>
                  <a:cubicBezTo>
                    <a:pt x="284" y="18"/>
                    <a:pt x="283" y="18"/>
                    <a:pt x="282" y="17"/>
                  </a:cubicBezTo>
                  <a:cubicBezTo>
                    <a:pt x="282" y="17"/>
                    <a:pt x="283" y="16"/>
                    <a:pt x="283" y="16"/>
                  </a:cubicBezTo>
                  <a:cubicBezTo>
                    <a:pt x="283" y="14"/>
                    <a:pt x="285" y="13"/>
                    <a:pt x="286" y="12"/>
                  </a:cubicBezTo>
                  <a:cubicBezTo>
                    <a:pt x="286" y="11"/>
                    <a:pt x="286" y="11"/>
                    <a:pt x="286" y="11"/>
                  </a:cubicBezTo>
                  <a:cubicBezTo>
                    <a:pt x="285" y="10"/>
                    <a:pt x="285" y="10"/>
                    <a:pt x="284" y="10"/>
                  </a:cubicBezTo>
                  <a:cubicBezTo>
                    <a:pt x="284" y="10"/>
                    <a:pt x="283" y="10"/>
                    <a:pt x="282" y="11"/>
                  </a:cubicBezTo>
                  <a:cubicBezTo>
                    <a:pt x="282" y="11"/>
                    <a:pt x="281" y="11"/>
                    <a:pt x="281" y="11"/>
                  </a:cubicBezTo>
                  <a:cubicBezTo>
                    <a:pt x="280" y="12"/>
                    <a:pt x="279" y="12"/>
                    <a:pt x="278" y="12"/>
                  </a:cubicBezTo>
                  <a:cubicBezTo>
                    <a:pt x="278" y="12"/>
                    <a:pt x="278" y="12"/>
                    <a:pt x="277" y="12"/>
                  </a:cubicBezTo>
                  <a:cubicBezTo>
                    <a:pt x="277" y="11"/>
                    <a:pt x="277" y="11"/>
                    <a:pt x="276" y="12"/>
                  </a:cubicBezTo>
                  <a:cubicBezTo>
                    <a:pt x="275" y="12"/>
                    <a:pt x="274" y="13"/>
                    <a:pt x="274" y="14"/>
                  </a:cubicBezTo>
                  <a:cubicBezTo>
                    <a:pt x="273" y="14"/>
                    <a:pt x="273" y="14"/>
                    <a:pt x="274" y="14"/>
                  </a:cubicBezTo>
                  <a:cubicBezTo>
                    <a:pt x="274" y="15"/>
                    <a:pt x="275" y="15"/>
                    <a:pt x="275" y="14"/>
                  </a:cubicBezTo>
                  <a:cubicBezTo>
                    <a:pt x="276" y="14"/>
                    <a:pt x="277" y="14"/>
                    <a:pt x="278" y="15"/>
                  </a:cubicBezTo>
                  <a:cubicBezTo>
                    <a:pt x="279" y="15"/>
                    <a:pt x="279" y="16"/>
                    <a:pt x="280" y="16"/>
                  </a:cubicBezTo>
                  <a:cubicBezTo>
                    <a:pt x="280" y="17"/>
                    <a:pt x="280" y="17"/>
                    <a:pt x="280" y="17"/>
                  </a:cubicBezTo>
                  <a:cubicBezTo>
                    <a:pt x="279" y="18"/>
                    <a:pt x="279" y="18"/>
                    <a:pt x="279" y="18"/>
                  </a:cubicBezTo>
                  <a:cubicBezTo>
                    <a:pt x="279" y="18"/>
                    <a:pt x="278" y="18"/>
                    <a:pt x="277" y="19"/>
                  </a:cubicBezTo>
                  <a:cubicBezTo>
                    <a:pt x="276" y="19"/>
                    <a:pt x="275" y="19"/>
                    <a:pt x="275" y="19"/>
                  </a:cubicBezTo>
                  <a:cubicBezTo>
                    <a:pt x="274" y="19"/>
                    <a:pt x="273" y="20"/>
                    <a:pt x="272" y="20"/>
                  </a:cubicBezTo>
                  <a:cubicBezTo>
                    <a:pt x="272" y="22"/>
                    <a:pt x="271" y="23"/>
                    <a:pt x="270" y="24"/>
                  </a:cubicBezTo>
                  <a:cubicBezTo>
                    <a:pt x="269" y="25"/>
                    <a:pt x="268" y="26"/>
                    <a:pt x="267" y="27"/>
                  </a:cubicBezTo>
                  <a:close/>
                  <a:moveTo>
                    <a:pt x="309" y="23"/>
                  </a:moveTo>
                  <a:cubicBezTo>
                    <a:pt x="310" y="24"/>
                    <a:pt x="310" y="24"/>
                    <a:pt x="311" y="23"/>
                  </a:cubicBezTo>
                  <a:cubicBezTo>
                    <a:pt x="312" y="23"/>
                    <a:pt x="312" y="22"/>
                    <a:pt x="313" y="22"/>
                  </a:cubicBezTo>
                  <a:cubicBezTo>
                    <a:pt x="314" y="22"/>
                    <a:pt x="315" y="21"/>
                    <a:pt x="316" y="22"/>
                  </a:cubicBezTo>
                  <a:cubicBezTo>
                    <a:pt x="316" y="23"/>
                    <a:pt x="316" y="23"/>
                    <a:pt x="316" y="24"/>
                  </a:cubicBezTo>
                  <a:cubicBezTo>
                    <a:pt x="316" y="24"/>
                    <a:pt x="317" y="25"/>
                    <a:pt x="317" y="25"/>
                  </a:cubicBezTo>
                  <a:cubicBezTo>
                    <a:pt x="317" y="25"/>
                    <a:pt x="317" y="26"/>
                    <a:pt x="317" y="26"/>
                  </a:cubicBezTo>
                  <a:cubicBezTo>
                    <a:pt x="317" y="27"/>
                    <a:pt x="317" y="27"/>
                    <a:pt x="317" y="27"/>
                  </a:cubicBezTo>
                  <a:cubicBezTo>
                    <a:pt x="317" y="28"/>
                    <a:pt x="317" y="29"/>
                    <a:pt x="318" y="30"/>
                  </a:cubicBezTo>
                  <a:cubicBezTo>
                    <a:pt x="318" y="30"/>
                    <a:pt x="319" y="30"/>
                    <a:pt x="319" y="30"/>
                  </a:cubicBezTo>
                  <a:cubicBezTo>
                    <a:pt x="320" y="30"/>
                    <a:pt x="321" y="30"/>
                    <a:pt x="321" y="30"/>
                  </a:cubicBezTo>
                  <a:cubicBezTo>
                    <a:pt x="323" y="30"/>
                    <a:pt x="323" y="29"/>
                    <a:pt x="324" y="28"/>
                  </a:cubicBezTo>
                  <a:cubicBezTo>
                    <a:pt x="325" y="27"/>
                    <a:pt x="326" y="26"/>
                    <a:pt x="326" y="26"/>
                  </a:cubicBezTo>
                  <a:cubicBezTo>
                    <a:pt x="327" y="25"/>
                    <a:pt x="327" y="24"/>
                    <a:pt x="327" y="23"/>
                  </a:cubicBezTo>
                  <a:cubicBezTo>
                    <a:pt x="327" y="22"/>
                    <a:pt x="327" y="21"/>
                    <a:pt x="328" y="20"/>
                  </a:cubicBezTo>
                  <a:cubicBezTo>
                    <a:pt x="328" y="19"/>
                    <a:pt x="330" y="18"/>
                    <a:pt x="331" y="17"/>
                  </a:cubicBezTo>
                  <a:cubicBezTo>
                    <a:pt x="331" y="16"/>
                    <a:pt x="333" y="16"/>
                    <a:pt x="332" y="15"/>
                  </a:cubicBezTo>
                  <a:cubicBezTo>
                    <a:pt x="332" y="14"/>
                    <a:pt x="332" y="14"/>
                    <a:pt x="332" y="14"/>
                  </a:cubicBezTo>
                  <a:cubicBezTo>
                    <a:pt x="332" y="13"/>
                    <a:pt x="332" y="13"/>
                    <a:pt x="332" y="13"/>
                  </a:cubicBezTo>
                  <a:cubicBezTo>
                    <a:pt x="332" y="11"/>
                    <a:pt x="333" y="11"/>
                    <a:pt x="333" y="10"/>
                  </a:cubicBezTo>
                  <a:cubicBezTo>
                    <a:pt x="334" y="10"/>
                    <a:pt x="334" y="9"/>
                    <a:pt x="334" y="9"/>
                  </a:cubicBezTo>
                  <a:cubicBezTo>
                    <a:pt x="334" y="8"/>
                    <a:pt x="333" y="8"/>
                    <a:pt x="333" y="8"/>
                  </a:cubicBezTo>
                  <a:cubicBezTo>
                    <a:pt x="333" y="7"/>
                    <a:pt x="333" y="7"/>
                    <a:pt x="332" y="7"/>
                  </a:cubicBezTo>
                  <a:cubicBezTo>
                    <a:pt x="332" y="7"/>
                    <a:pt x="331" y="7"/>
                    <a:pt x="331" y="7"/>
                  </a:cubicBezTo>
                  <a:cubicBezTo>
                    <a:pt x="330" y="7"/>
                    <a:pt x="329" y="7"/>
                    <a:pt x="329" y="7"/>
                  </a:cubicBezTo>
                  <a:cubicBezTo>
                    <a:pt x="328" y="8"/>
                    <a:pt x="328" y="8"/>
                    <a:pt x="328" y="8"/>
                  </a:cubicBezTo>
                  <a:cubicBezTo>
                    <a:pt x="328" y="9"/>
                    <a:pt x="328" y="9"/>
                    <a:pt x="328" y="10"/>
                  </a:cubicBezTo>
                  <a:cubicBezTo>
                    <a:pt x="328" y="10"/>
                    <a:pt x="327" y="10"/>
                    <a:pt x="327" y="11"/>
                  </a:cubicBezTo>
                  <a:cubicBezTo>
                    <a:pt x="327" y="12"/>
                    <a:pt x="327" y="12"/>
                    <a:pt x="327" y="12"/>
                  </a:cubicBezTo>
                  <a:cubicBezTo>
                    <a:pt x="327" y="12"/>
                    <a:pt x="327" y="12"/>
                    <a:pt x="326" y="12"/>
                  </a:cubicBezTo>
                  <a:cubicBezTo>
                    <a:pt x="325" y="13"/>
                    <a:pt x="325" y="13"/>
                    <a:pt x="325" y="13"/>
                  </a:cubicBezTo>
                  <a:cubicBezTo>
                    <a:pt x="324" y="13"/>
                    <a:pt x="324" y="13"/>
                    <a:pt x="324" y="13"/>
                  </a:cubicBezTo>
                  <a:cubicBezTo>
                    <a:pt x="324" y="14"/>
                    <a:pt x="324" y="14"/>
                    <a:pt x="324" y="15"/>
                  </a:cubicBezTo>
                  <a:cubicBezTo>
                    <a:pt x="324" y="16"/>
                    <a:pt x="323" y="16"/>
                    <a:pt x="322" y="16"/>
                  </a:cubicBezTo>
                  <a:cubicBezTo>
                    <a:pt x="322" y="16"/>
                    <a:pt x="321" y="17"/>
                    <a:pt x="321" y="17"/>
                  </a:cubicBezTo>
                  <a:cubicBezTo>
                    <a:pt x="320" y="18"/>
                    <a:pt x="321" y="18"/>
                    <a:pt x="320" y="19"/>
                  </a:cubicBezTo>
                  <a:cubicBezTo>
                    <a:pt x="320" y="19"/>
                    <a:pt x="320" y="19"/>
                    <a:pt x="320" y="19"/>
                  </a:cubicBezTo>
                  <a:cubicBezTo>
                    <a:pt x="319" y="19"/>
                    <a:pt x="319" y="19"/>
                    <a:pt x="319" y="19"/>
                  </a:cubicBezTo>
                  <a:cubicBezTo>
                    <a:pt x="319" y="18"/>
                    <a:pt x="318" y="18"/>
                    <a:pt x="318" y="18"/>
                  </a:cubicBezTo>
                  <a:cubicBezTo>
                    <a:pt x="318" y="16"/>
                    <a:pt x="319" y="15"/>
                    <a:pt x="318" y="14"/>
                  </a:cubicBezTo>
                  <a:cubicBezTo>
                    <a:pt x="317" y="14"/>
                    <a:pt x="316" y="15"/>
                    <a:pt x="315" y="15"/>
                  </a:cubicBezTo>
                  <a:cubicBezTo>
                    <a:pt x="314" y="16"/>
                    <a:pt x="313" y="16"/>
                    <a:pt x="312" y="17"/>
                  </a:cubicBezTo>
                  <a:cubicBezTo>
                    <a:pt x="311" y="17"/>
                    <a:pt x="311" y="18"/>
                    <a:pt x="311" y="19"/>
                  </a:cubicBezTo>
                  <a:cubicBezTo>
                    <a:pt x="311" y="20"/>
                    <a:pt x="311" y="20"/>
                    <a:pt x="310" y="21"/>
                  </a:cubicBezTo>
                  <a:cubicBezTo>
                    <a:pt x="310" y="21"/>
                    <a:pt x="310" y="21"/>
                    <a:pt x="309" y="22"/>
                  </a:cubicBezTo>
                  <a:cubicBezTo>
                    <a:pt x="309" y="22"/>
                    <a:pt x="308" y="23"/>
                    <a:pt x="309" y="23"/>
                  </a:cubicBezTo>
                  <a:close/>
                  <a:moveTo>
                    <a:pt x="336" y="23"/>
                  </a:moveTo>
                  <a:cubicBezTo>
                    <a:pt x="337" y="23"/>
                    <a:pt x="338" y="23"/>
                    <a:pt x="339" y="23"/>
                  </a:cubicBezTo>
                  <a:cubicBezTo>
                    <a:pt x="340" y="23"/>
                    <a:pt x="341" y="24"/>
                    <a:pt x="341" y="23"/>
                  </a:cubicBezTo>
                  <a:cubicBezTo>
                    <a:pt x="342" y="23"/>
                    <a:pt x="342" y="23"/>
                    <a:pt x="343" y="22"/>
                  </a:cubicBezTo>
                  <a:cubicBezTo>
                    <a:pt x="344" y="22"/>
                    <a:pt x="344" y="22"/>
                    <a:pt x="345" y="22"/>
                  </a:cubicBezTo>
                  <a:cubicBezTo>
                    <a:pt x="346" y="22"/>
                    <a:pt x="346" y="24"/>
                    <a:pt x="348" y="23"/>
                  </a:cubicBezTo>
                  <a:cubicBezTo>
                    <a:pt x="349" y="23"/>
                    <a:pt x="350" y="23"/>
                    <a:pt x="350" y="23"/>
                  </a:cubicBezTo>
                  <a:cubicBezTo>
                    <a:pt x="351" y="22"/>
                    <a:pt x="351" y="22"/>
                    <a:pt x="351" y="21"/>
                  </a:cubicBezTo>
                  <a:cubicBezTo>
                    <a:pt x="352" y="21"/>
                    <a:pt x="353" y="21"/>
                    <a:pt x="354" y="20"/>
                  </a:cubicBezTo>
                  <a:cubicBezTo>
                    <a:pt x="355" y="20"/>
                    <a:pt x="355" y="20"/>
                    <a:pt x="356" y="20"/>
                  </a:cubicBezTo>
                  <a:cubicBezTo>
                    <a:pt x="358" y="21"/>
                    <a:pt x="360" y="21"/>
                    <a:pt x="362" y="21"/>
                  </a:cubicBezTo>
                  <a:cubicBezTo>
                    <a:pt x="364" y="21"/>
                    <a:pt x="365" y="20"/>
                    <a:pt x="366" y="20"/>
                  </a:cubicBezTo>
                  <a:cubicBezTo>
                    <a:pt x="367" y="19"/>
                    <a:pt x="368" y="19"/>
                    <a:pt x="369" y="19"/>
                  </a:cubicBezTo>
                  <a:cubicBezTo>
                    <a:pt x="371" y="18"/>
                    <a:pt x="374" y="18"/>
                    <a:pt x="377" y="17"/>
                  </a:cubicBezTo>
                  <a:cubicBezTo>
                    <a:pt x="379" y="17"/>
                    <a:pt x="381" y="17"/>
                    <a:pt x="383" y="17"/>
                  </a:cubicBezTo>
                  <a:cubicBezTo>
                    <a:pt x="384" y="16"/>
                    <a:pt x="383" y="15"/>
                    <a:pt x="383" y="13"/>
                  </a:cubicBezTo>
                  <a:cubicBezTo>
                    <a:pt x="384" y="12"/>
                    <a:pt x="384" y="11"/>
                    <a:pt x="383" y="9"/>
                  </a:cubicBezTo>
                  <a:cubicBezTo>
                    <a:pt x="383" y="8"/>
                    <a:pt x="383" y="8"/>
                    <a:pt x="383" y="7"/>
                  </a:cubicBezTo>
                  <a:cubicBezTo>
                    <a:pt x="382" y="7"/>
                    <a:pt x="382" y="6"/>
                    <a:pt x="382" y="5"/>
                  </a:cubicBezTo>
                  <a:cubicBezTo>
                    <a:pt x="381" y="4"/>
                    <a:pt x="379" y="4"/>
                    <a:pt x="378" y="4"/>
                  </a:cubicBezTo>
                  <a:cubicBezTo>
                    <a:pt x="377" y="4"/>
                    <a:pt x="376" y="5"/>
                    <a:pt x="375" y="5"/>
                  </a:cubicBezTo>
                  <a:cubicBezTo>
                    <a:pt x="375" y="5"/>
                    <a:pt x="374" y="5"/>
                    <a:pt x="374" y="5"/>
                  </a:cubicBezTo>
                  <a:cubicBezTo>
                    <a:pt x="371" y="5"/>
                    <a:pt x="368" y="6"/>
                    <a:pt x="365" y="6"/>
                  </a:cubicBezTo>
                  <a:cubicBezTo>
                    <a:pt x="363" y="5"/>
                    <a:pt x="362" y="5"/>
                    <a:pt x="360" y="5"/>
                  </a:cubicBezTo>
                  <a:cubicBezTo>
                    <a:pt x="360" y="5"/>
                    <a:pt x="359" y="5"/>
                    <a:pt x="358" y="5"/>
                  </a:cubicBezTo>
                  <a:cubicBezTo>
                    <a:pt x="358" y="5"/>
                    <a:pt x="357" y="5"/>
                    <a:pt x="356" y="6"/>
                  </a:cubicBezTo>
                  <a:cubicBezTo>
                    <a:pt x="355" y="6"/>
                    <a:pt x="355" y="6"/>
                    <a:pt x="354" y="6"/>
                  </a:cubicBezTo>
                  <a:cubicBezTo>
                    <a:pt x="354" y="6"/>
                    <a:pt x="354" y="6"/>
                    <a:pt x="353" y="7"/>
                  </a:cubicBezTo>
                  <a:cubicBezTo>
                    <a:pt x="352" y="7"/>
                    <a:pt x="351" y="7"/>
                    <a:pt x="351" y="6"/>
                  </a:cubicBezTo>
                  <a:cubicBezTo>
                    <a:pt x="350" y="6"/>
                    <a:pt x="350" y="5"/>
                    <a:pt x="350" y="4"/>
                  </a:cubicBezTo>
                  <a:cubicBezTo>
                    <a:pt x="350" y="3"/>
                    <a:pt x="349" y="3"/>
                    <a:pt x="348" y="3"/>
                  </a:cubicBezTo>
                  <a:cubicBezTo>
                    <a:pt x="347" y="3"/>
                    <a:pt x="346" y="3"/>
                    <a:pt x="344" y="3"/>
                  </a:cubicBezTo>
                  <a:cubicBezTo>
                    <a:pt x="343" y="4"/>
                    <a:pt x="342" y="4"/>
                    <a:pt x="342" y="5"/>
                  </a:cubicBezTo>
                  <a:cubicBezTo>
                    <a:pt x="340" y="7"/>
                    <a:pt x="339" y="8"/>
                    <a:pt x="338" y="10"/>
                  </a:cubicBezTo>
                  <a:cubicBezTo>
                    <a:pt x="338" y="10"/>
                    <a:pt x="338" y="11"/>
                    <a:pt x="339" y="12"/>
                  </a:cubicBezTo>
                  <a:cubicBezTo>
                    <a:pt x="339" y="12"/>
                    <a:pt x="340" y="11"/>
                    <a:pt x="341" y="11"/>
                  </a:cubicBezTo>
                  <a:cubicBezTo>
                    <a:pt x="343" y="11"/>
                    <a:pt x="344" y="10"/>
                    <a:pt x="346" y="9"/>
                  </a:cubicBezTo>
                  <a:cubicBezTo>
                    <a:pt x="346" y="9"/>
                    <a:pt x="348" y="9"/>
                    <a:pt x="347" y="10"/>
                  </a:cubicBezTo>
                  <a:cubicBezTo>
                    <a:pt x="347" y="10"/>
                    <a:pt x="346" y="10"/>
                    <a:pt x="346" y="11"/>
                  </a:cubicBezTo>
                  <a:cubicBezTo>
                    <a:pt x="345" y="11"/>
                    <a:pt x="345" y="11"/>
                    <a:pt x="344" y="11"/>
                  </a:cubicBezTo>
                  <a:cubicBezTo>
                    <a:pt x="343" y="12"/>
                    <a:pt x="342" y="12"/>
                    <a:pt x="342" y="12"/>
                  </a:cubicBezTo>
                  <a:cubicBezTo>
                    <a:pt x="341" y="13"/>
                    <a:pt x="339" y="14"/>
                    <a:pt x="339" y="15"/>
                  </a:cubicBezTo>
                  <a:cubicBezTo>
                    <a:pt x="338" y="15"/>
                    <a:pt x="338" y="17"/>
                    <a:pt x="337" y="17"/>
                  </a:cubicBezTo>
                  <a:cubicBezTo>
                    <a:pt x="336" y="18"/>
                    <a:pt x="335" y="19"/>
                    <a:pt x="335" y="21"/>
                  </a:cubicBezTo>
                  <a:cubicBezTo>
                    <a:pt x="335" y="22"/>
                    <a:pt x="335" y="23"/>
                    <a:pt x="336" y="23"/>
                  </a:cubicBezTo>
                  <a:close/>
                  <a:moveTo>
                    <a:pt x="379" y="82"/>
                  </a:moveTo>
                  <a:cubicBezTo>
                    <a:pt x="379" y="81"/>
                    <a:pt x="379" y="81"/>
                    <a:pt x="379" y="81"/>
                  </a:cubicBezTo>
                  <a:cubicBezTo>
                    <a:pt x="379" y="80"/>
                    <a:pt x="379" y="80"/>
                    <a:pt x="379" y="80"/>
                  </a:cubicBezTo>
                  <a:cubicBezTo>
                    <a:pt x="379" y="79"/>
                    <a:pt x="379" y="78"/>
                    <a:pt x="378" y="78"/>
                  </a:cubicBezTo>
                  <a:cubicBezTo>
                    <a:pt x="377" y="77"/>
                    <a:pt x="376" y="77"/>
                    <a:pt x="375" y="77"/>
                  </a:cubicBezTo>
                  <a:cubicBezTo>
                    <a:pt x="375" y="76"/>
                    <a:pt x="375" y="76"/>
                    <a:pt x="375" y="75"/>
                  </a:cubicBezTo>
                  <a:cubicBezTo>
                    <a:pt x="375" y="74"/>
                    <a:pt x="374" y="73"/>
                    <a:pt x="374" y="72"/>
                  </a:cubicBezTo>
                  <a:cubicBezTo>
                    <a:pt x="374" y="72"/>
                    <a:pt x="374" y="71"/>
                    <a:pt x="374" y="70"/>
                  </a:cubicBezTo>
                  <a:cubicBezTo>
                    <a:pt x="375" y="70"/>
                    <a:pt x="375" y="70"/>
                    <a:pt x="376" y="69"/>
                  </a:cubicBezTo>
                  <a:cubicBezTo>
                    <a:pt x="376" y="69"/>
                    <a:pt x="377" y="69"/>
                    <a:pt x="378" y="69"/>
                  </a:cubicBezTo>
                  <a:cubicBezTo>
                    <a:pt x="379" y="69"/>
                    <a:pt x="379" y="69"/>
                    <a:pt x="380" y="70"/>
                  </a:cubicBezTo>
                  <a:cubicBezTo>
                    <a:pt x="380" y="70"/>
                    <a:pt x="381" y="70"/>
                    <a:pt x="381" y="70"/>
                  </a:cubicBezTo>
                  <a:cubicBezTo>
                    <a:pt x="382" y="70"/>
                    <a:pt x="382" y="70"/>
                    <a:pt x="382" y="70"/>
                  </a:cubicBezTo>
                  <a:cubicBezTo>
                    <a:pt x="383" y="70"/>
                    <a:pt x="383" y="70"/>
                    <a:pt x="384" y="69"/>
                  </a:cubicBezTo>
                  <a:cubicBezTo>
                    <a:pt x="384" y="69"/>
                    <a:pt x="386" y="69"/>
                    <a:pt x="386" y="68"/>
                  </a:cubicBezTo>
                  <a:cubicBezTo>
                    <a:pt x="387" y="68"/>
                    <a:pt x="387" y="67"/>
                    <a:pt x="386" y="67"/>
                  </a:cubicBezTo>
                  <a:cubicBezTo>
                    <a:pt x="385" y="66"/>
                    <a:pt x="386" y="65"/>
                    <a:pt x="386" y="63"/>
                  </a:cubicBezTo>
                  <a:cubicBezTo>
                    <a:pt x="386" y="63"/>
                    <a:pt x="386" y="62"/>
                    <a:pt x="386" y="61"/>
                  </a:cubicBezTo>
                  <a:cubicBezTo>
                    <a:pt x="387" y="61"/>
                    <a:pt x="387" y="60"/>
                    <a:pt x="386" y="60"/>
                  </a:cubicBezTo>
                  <a:cubicBezTo>
                    <a:pt x="386" y="59"/>
                    <a:pt x="385" y="59"/>
                    <a:pt x="385" y="59"/>
                  </a:cubicBezTo>
                  <a:cubicBezTo>
                    <a:pt x="384" y="59"/>
                    <a:pt x="384" y="58"/>
                    <a:pt x="384" y="58"/>
                  </a:cubicBezTo>
                  <a:cubicBezTo>
                    <a:pt x="384" y="57"/>
                    <a:pt x="383" y="56"/>
                    <a:pt x="382" y="56"/>
                  </a:cubicBezTo>
                  <a:cubicBezTo>
                    <a:pt x="381" y="57"/>
                    <a:pt x="381" y="58"/>
                    <a:pt x="381" y="59"/>
                  </a:cubicBezTo>
                  <a:cubicBezTo>
                    <a:pt x="380" y="59"/>
                    <a:pt x="380" y="60"/>
                    <a:pt x="379" y="60"/>
                  </a:cubicBezTo>
                  <a:cubicBezTo>
                    <a:pt x="378" y="61"/>
                    <a:pt x="377" y="61"/>
                    <a:pt x="376" y="62"/>
                  </a:cubicBezTo>
                  <a:cubicBezTo>
                    <a:pt x="375" y="62"/>
                    <a:pt x="375" y="62"/>
                    <a:pt x="374" y="62"/>
                  </a:cubicBezTo>
                  <a:cubicBezTo>
                    <a:pt x="373" y="61"/>
                    <a:pt x="372" y="61"/>
                    <a:pt x="371" y="61"/>
                  </a:cubicBezTo>
                  <a:cubicBezTo>
                    <a:pt x="370" y="60"/>
                    <a:pt x="371" y="59"/>
                    <a:pt x="371" y="58"/>
                  </a:cubicBezTo>
                  <a:cubicBezTo>
                    <a:pt x="372" y="57"/>
                    <a:pt x="372" y="56"/>
                    <a:pt x="372" y="56"/>
                  </a:cubicBezTo>
                  <a:cubicBezTo>
                    <a:pt x="371" y="56"/>
                    <a:pt x="371" y="56"/>
                    <a:pt x="371" y="56"/>
                  </a:cubicBezTo>
                  <a:cubicBezTo>
                    <a:pt x="370" y="56"/>
                    <a:pt x="369" y="56"/>
                    <a:pt x="369" y="56"/>
                  </a:cubicBezTo>
                  <a:cubicBezTo>
                    <a:pt x="367" y="58"/>
                    <a:pt x="367" y="58"/>
                    <a:pt x="367" y="58"/>
                  </a:cubicBezTo>
                  <a:cubicBezTo>
                    <a:pt x="366" y="58"/>
                    <a:pt x="366" y="58"/>
                    <a:pt x="365" y="58"/>
                  </a:cubicBezTo>
                  <a:cubicBezTo>
                    <a:pt x="363" y="58"/>
                    <a:pt x="363" y="58"/>
                    <a:pt x="363" y="59"/>
                  </a:cubicBezTo>
                  <a:cubicBezTo>
                    <a:pt x="362" y="59"/>
                    <a:pt x="361" y="60"/>
                    <a:pt x="360" y="60"/>
                  </a:cubicBezTo>
                  <a:cubicBezTo>
                    <a:pt x="360" y="61"/>
                    <a:pt x="359" y="61"/>
                    <a:pt x="359" y="61"/>
                  </a:cubicBezTo>
                  <a:cubicBezTo>
                    <a:pt x="357" y="62"/>
                    <a:pt x="357" y="62"/>
                    <a:pt x="357" y="62"/>
                  </a:cubicBezTo>
                  <a:cubicBezTo>
                    <a:pt x="356" y="64"/>
                    <a:pt x="356" y="64"/>
                    <a:pt x="356" y="64"/>
                  </a:cubicBezTo>
                  <a:cubicBezTo>
                    <a:pt x="353" y="67"/>
                    <a:pt x="353" y="67"/>
                    <a:pt x="353" y="67"/>
                  </a:cubicBezTo>
                  <a:cubicBezTo>
                    <a:pt x="351" y="68"/>
                    <a:pt x="351" y="68"/>
                    <a:pt x="351" y="68"/>
                  </a:cubicBezTo>
                  <a:cubicBezTo>
                    <a:pt x="350" y="68"/>
                    <a:pt x="348" y="69"/>
                    <a:pt x="348" y="69"/>
                  </a:cubicBezTo>
                  <a:cubicBezTo>
                    <a:pt x="347" y="69"/>
                    <a:pt x="346" y="70"/>
                    <a:pt x="346" y="70"/>
                  </a:cubicBezTo>
                  <a:cubicBezTo>
                    <a:pt x="343" y="69"/>
                    <a:pt x="343" y="69"/>
                    <a:pt x="343" y="69"/>
                  </a:cubicBezTo>
                  <a:cubicBezTo>
                    <a:pt x="343" y="69"/>
                    <a:pt x="343" y="69"/>
                    <a:pt x="343" y="69"/>
                  </a:cubicBezTo>
                  <a:cubicBezTo>
                    <a:pt x="343" y="69"/>
                    <a:pt x="343" y="70"/>
                    <a:pt x="343" y="70"/>
                  </a:cubicBezTo>
                  <a:cubicBezTo>
                    <a:pt x="342" y="72"/>
                    <a:pt x="342" y="73"/>
                    <a:pt x="342" y="75"/>
                  </a:cubicBezTo>
                  <a:cubicBezTo>
                    <a:pt x="342" y="76"/>
                    <a:pt x="342" y="77"/>
                    <a:pt x="342" y="77"/>
                  </a:cubicBezTo>
                  <a:cubicBezTo>
                    <a:pt x="342" y="78"/>
                    <a:pt x="341" y="78"/>
                    <a:pt x="341" y="78"/>
                  </a:cubicBezTo>
                  <a:cubicBezTo>
                    <a:pt x="340" y="79"/>
                    <a:pt x="340" y="79"/>
                    <a:pt x="339" y="79"/>
                  </a:cubicBezTo>
                  <a:cubicBezTo>
                    <a:pt x="338" y="80"/>
                    <a:pt x="338" y="80"/>
                    <a:pt x="337" y="81"/>
                  </a:cubicBezTo>
                  <a:cubicBezTo>
                    <a:pt x="337" y="81"/>
                    <a:pt x="337" y="81"/>
                    <a:pt x="337" y="81"/>
                  </a:cubicBezTo>
                  <a:cubicBezTo>
                    <a:pt x="337" y="82"/>
                    <a:pt x="337" y="82"/>
                    <a:pt x="337" y="83"/>
                  </a:cubicBezTo>
                  <a:cubicBezTo>
                    <a:pt x="336" y="84"/>
                    <a:pt x="335" y="84"/>
                    <a:pt x="335" y="86"/>
                  </a:cubicBezTo>
                  <a:cubicBezTo>
                    <a:pt x="335" y="86"/>
                    <a:pt x="336" y="87"/>
                    <a:pt x="336" y="88"/>
                  </a:cubicBezTo>
                  <a:cubicBezTo>
                    <a:pt x="336" y="89"/>
                    <a:pt x="334" y="89"/>
                    <a:pt x="334" y="89"/>
                  </a:cubicBezTo>
                  <a:cubicBezTo>
                    <a:pt x="333" y="89"/>
                    <a:pt x="332" y="90"/>
                    <a:pt x="331" y="90"/>
                  </a:cubicBezTo>
                  <a:cubicBezTo>
                    <a:pt x="330" y="90"/>
                    <a:pt x="331" y="89"/>
                    <a:pt x="331" y="88"/>
                  </a:cubicBezTo>
                  <a:cubicBezTo>
                    <a:pt x="331" y="87"/>
                    <a:pt x="331" y="86"/>
                    <a:pt x="331" y="85"/>
                  </a:cubicBezTo>
                  <a:cubicBezTo>
                    <a:pt x="330" y="85"/>
                    <a:pt x="330" y="84"/>
                    <a:pt x="329" y="83"/>
                  </a:cubicBezTo>
                  <a:cubicBezTo>
                    <a:pt x="329" y="83"/>
                    <a:pt x="328" y="82"/>
                    <a:pt x="328" y="82"/>
                  </a:cubicBezTo>
                  <a:cubicBezTo>
                    <a:pt x="327" y="81"/>
                    <a:pt x="326" y="81"/>
                    <a:pt x="326" y="82"/>
                  </a:cubicBezTo>
                  <a:cubicBezTo>
                    <a:pt x="325" y="82"/>
                    <a:pt x="324" y="83"/>
                    <a:pt x="324" y="83"/>
                  </a:cubicBezTo>
                  <a:cubicBezTo>
                    <a:pt x="323" y="84"/>
                    <a:pt x="323" y="84"/>
                    <a:pt x="322" y="85"/>
                  </a:cubicBezTo>
                  <a:cubicBezTo>
                    <a:pt x="321" y="85"/>
                    <a:pt x="321" y="84"/>
                    <a:pt x="320" y="84"/>
                  </a:cubicBezTo>
                  <a:cubicBezTo>
                    <a:pt x="319" y="84"/>
                    <a:pt x="318" y="82"/>
                    <a:pt x="317" y="81"/>
                  </a:cubicBezTo>
                  <a:cubicBezTo>
                    <a:pt x="317" y="80"/>
                    <a:pt x="316" y="80"/>
                    <a:pt x="315" y="79"/>
                  </a:cubicBezTo>
                  <a:cubicBezTo>
                    <a:pt x="315" y="79"/>
                    <a:pt x="315" y="79"/>
                    <a:pt x="315" y="79"/>
                  </a:cubicBezTo>
                  <a:cubicBezTo>
                    <a:pt x="313" y="80"/>
                    <a:pt x="313" y="80"/>
                    <a:pt x="313" y="80"/>
                  </a:cubicBezTo>
                  <a:cubicBezTo>
                    <a:pt x="313" y="80"/>
                    <a:pt x="311" y="81"/>
                    <a:pt x="310" y="82"/>
                  </a:cubicBezTo>
                  <a:cubicBezTo>
                    <a:pt x="310" y="82"/>
                    <a:pt x="307" y="86"/>
                    <a:pt x="307" y="86"/>
                  </a:cubicBezTo>
                  <a:cubicBezTo>
                    <a:pt x="307" y="86"/>
                    <a:pt x="306" y="88"/>
                    <a:pt x="305" y="88"/>
                  </a:cubicBezTo>
                  <a:cubicBezTo>
                    <a:pt x="305" y="88"/>
                    <a:pt x="304" y="88"/>
                    <a:pt x="303" y="88"/>
                  </a:cubicBezTo>
                  <a:cubicBezTo>
                    <a:pt x="303" y="88"/>
                    <a:pt x="302" y="88"/>
                    <a:pt x="302" y="88"/>
                  </a:cubicBezTo>
                  <a:cubicBezTo>
                    <a:pt x="301" y="90"/>
                    <a:pt x="301" y="90"/>
                    <a:pt x="301" y="90"/>
                  </a:cubicBezTo>
                  <a:cubicBezTo>
                    <a:pt x="301" y="90"/>
                    <a:pt x="300" y="91"/>
                    <a:pt x="300" y="91"/>
                  </a:cubicBezTo>
                  <a:cubicBezTo>
                    <a:pt x="300" y="91"/>
                    <a:pt x="300" y="92"/>
                    <a:pt x="299" y="92"/>
                  </a:cubicBezTo>
                  <a:cubicBezTo>
                    <a:pt x="298" y="93"/>
                    <a:pt x="297" y="94"/>
                    <a:pt x="297" y="94"/>
                  </a:cubicBezTo>
                  <a:cubicBezTo>
                    <a:pt x="295" y="95"/>
                    <a:pt x="295" y="95"/>
                    <a:pt x="295" y="95"/>
                  </a:cubicBezTo>
                  <a:cubicBezTo>
                    <a:pt x="293" y="97"/>
                    <a:pt x="293" y="97"/>
                    <a:pt x="293" y="97"/>
                  </a:cubicBezTo>
                  <a:cubicBezTo>
                    <a:pt x="293" y="97"/>
                    <a:pt x="293" y="99"/>
                    <a:pt x="293" y="100"/>
                  </a:cubicBezTo>
                  <a:cubicBezTo>
                    <a:pt x="293" y="100"/>
                    <a:pt x="294" y="103"/>
                    <a:pt x="294" y="103"/>
                  </a:cubicBezTo>
                  <a:cubicBezTo>
                    <a:pt x="294" y="103"/>
                    <a:pt x="293" y="105"/>
                    <a:pt x="293" y="105"/>
                  </a:cubicBezTo>
                  <a:cubicBezTo>
                    <a:pt x="293" y="106"/>
                    <a:pt x="292" y="107"/>
                    <a:pt x="292" y="107"/>
                  </a:cubicBezTo>
                  <a:cubicBezTo>
                    <a:pt x="292" y="107"/>
                    <a:pt x="292" y="108"/>
                    <a:pt x="293" y="109"/>
                  </a:cubicBezTo>
                  <a:cubicBezTo>
                    <a:pt x="293" y="109"/>
                    <a:pt x="293" y="111"/>
                    <a:pt x="293" y="111"/>
                  </a:cubicBezTo>
                  <a:cubicBezTo>
                    <a:pt x="293" y="112"/>
                    <a:pt x="291" y="114"/>
                    <a:pt x="291" y="114"/>
                  </a:cubicBezTo>
                  <a:cubicBezTo>
                    <a:pt x="291" y="114"/>
                    <a:pt x="289" y="114"/>
                    <a:pt x="289" y="114"/>
                  </a:cubicBezTo>
                  <a:cubicBezTo>
                    <a:pt x="288" y="117"/>
                    <a:pt x="288" y="117"/>
                    <a:pt x="288" y="117"/>
                  </a:cubicBezTo>
                  <a:cubicBezTo>
                    <a:pt x="288" y="123"/>
                    <a:pt x="288" y="123"/>
                    <a:pt x="288" y="123"/>
                  </a:cubicBezTo>
                  <a:cubicBezTo>
                    <a:pt x="288" y="123"/>
                    <a:pt x="289" y="123"/>
                    <a:pt x="291" y="122"/>
                  </a:cubicBezTo>
                  <a:cubicBezTo>
                    <a:pt x="293" y="122"/>
                    <a:pt x="293" y="122"/>
                    <a:pt x="294" y="122"/>
                  </a:cubicBezTo>
                  <a:cubicBezTo>
                    <a:pt x="295" y="122"/>
                    <a:pt x="297" y="123"/>
                    <a:pt x="298" y="123"/>
                  </a:cubicBezTo>
                  <a:cubicBezTo>
                    <a:pt x="298" y="123"/>
                    <a:pt x="299" y="125"/>
                    <a:pt x="298" y="126"/>
                  </a:cubicBezTo>
                  <a:cubicBezTo>
                    <a:pt x="298" y="127"/>
                    <a:pt x="296" y="127"/>
                    <a:pt x="295" y="128"/>
                  </a:cubicBezTo>
                  <a:cubicBezTo>
                    <a:pt x="294" y="129"/>
                    <a:pt x="293" y="129"/>
                    <a:pt x="292" y="129"/>
                  </a:cubicBezTo>
                  <a:cubicBezTo>
                    <a:pt x="290" y="130"/>
                    <a:pt x="287" y="131"/>
                    <a:pt x="286" y="131"/>
                  </a:cubicBezTo>
                  <a:cubicBezTo>
                    <a:pt x="286" y="131"/>
                    <a:pt x="285" y="132"/>
                    <a:pt x="285" y="133"/>
                  </a:cubicBezTo>
                  <a:cubicBezTo>
                    <a:pt x="285" y="134"/>
                    <a:pt x="284" y="134"/>
                    <a:pt x="283" y="135"/>
                  </a:cubicBezTo>
                  <a:cubicBezTo>
                    <a:pt x="281" y="136"/>
                    <a:pt x="282" y="136"/>
                    <a:pt x="283" y="137"/>
                  </a:cubicBezTo>
                  <a:cubicBezTo>
                    <a:pt x="283" y="139"/>
                    <a:pt x="282" y="139"/>
                    <a:pt x="281" y="141"/>
                  </a:cubicBezTo>
                  <a:cubicBezTo>
                    <a:pt x="281" y="143"/>
                    <a:pt x="281" y="143"/>
                    <a:pt x="281" y="143"/>
                  </a:cubicBezTo>
                  <a:cubicBezTo>
                    <a:pt x="281" y="143"/>
                    <a:pt x="284" y="142"/>
                    <a:pt x="286" y="142"/>
                  </a:cubicBezTo>
                  <a:cubicBezTo>
                    <a:pt x="287" y="141"/>
                    <a:pt x="287" y="142"/>
                    <a:pt x="288" y="143"/>
                  </a:cubicBezTo>
                  <a:cubicBezTo>
                    <a:pt x="288" y="143"/>
                    <a:pt x="289" y="144"/>
                    <a:pt x="290" y="144"/>
                  </a:cubicBezTo>
                  <a:cubicBezTo>
                    <a:pt x="291" y="144"/>
                    <a:pt x="291" y="143"/>
                    <a:pt x="292" y="143"/>
                  </a:cubicBezTo>
                  <a:cubicBezTo>
                    <a:pt x="294" y="142"/>
                    <a:pt x="293" y="144"/>
                    <a:pt x="294" y="144"/>
                  </a:cubicBezTo>
                  <a:cubicBezTo>
                    <a:pt x="294" y="144"/>
                    <a:pt x="295" y="144"/>
                    <a:pt x="296" y="143"/>
                  </a:cubicBezTo>
                  <a:cubicBezTo>
                    <a:pt x="298" y="143"/>
                    <a:pt x="302" y="143"/>
                    <a:pt x="304" y="142"/>
                  </a:cubicBezTo>
                  <a:cubicBezTo>
                    <a:pt x="306" y="141"/>
                    <a:pt x="309" y="139"/>
                    <a:pt x="310" y="139"/>
                  </a:cubicBezTo>
                  <a:cubicBezTo>
                    <a:pt x="311" y="139"/>
                    <a:pt x="312" y="139"/>
                    <a:pt x="314" y="138"/>
                  </a:cubicBezTo>
                  <a:cubicBezTo>
                    <a:pt x="316" y="138"/>
                    <a:pt x="315" y="137"/>
                    <a:pt x="316" y="136"/>
                  </a:cubicBezTo>
                  <a:cubicBezTo>
                    <a:pt x="316" y="136"/>
                    <a:pt x="317" y="134"/>
                    <a:pt x="318" y="133"/>
                  </a:cubicBezTo>
                  <a:cubicBezTo>
                    <a:pt x="319" y="132"/>
                    <a:pt x="320" y="132"/>
                    <a:pt x="321" y="132"/>
                  </a:cubicBezTo>
                  <a:cubicBezTo>
                    <a:pt x="322" y="131"/>
                    <a:pt x="328" y="131"/>
                    <a:pt x="330" y="131"/>
                  </a:cubicBezTo>
                  <a:cubicBezTo>
                    <a:pt x="332" y="131"/>
                    <a:pt x="336" y="131"/>
                    <a:pt x="338" y="131"/>
                  </a:cubicBezTo>
                  <a:cubicBezTo>
                    <a:pt x="340" y="131"/>
                    <a:pt x="342" y="130"/>
                    <a:pt x="343" y="128"/>
                  </a:cubicBezTo>
                  <a:cubicBezTo>
                    <a:pt x="345" y="126"/>
                    <a:pt x="345" y="124"/>
                    <a:pt x="346" y="122"/>
                  </a:cubicBezTo>
                  <a:cubicBezTo>
                    <a:pt x="347" y="121"/>
                    <a:pt x="348" y="121"/>
                    <a:pt x="349" y="121"/>
                  </a:cubicBezTo>
                  <a:cubicBezTo>
                    <a:pt x="350" y="120"/>
                    <a:pt x="351" y="120"/>
                    <a:pt x="352" y="118"/>
                  </a:cubicBezTo>
                  <a:cubicBezTo>
                    <a:pt x="354" y="117"/>
                    <a:pt x="354" y="116"/>
                    <a:pt x="354" y="116"/>
                  </a:cubicBezTo>
                  <a:cubicBezTo>
                    <a:pt x="354" y="116"/>
                    <a:pt x="358" y="115"/>
                    <a:pt x="359" y="114"/>
                  </a:cubicBezTo>
                  <a:cubicBezTo>
                    <a:pt x="360" y="113"/>
                    <a:pt x="361" y="111"/>
                    <a:pt x="362" y="110"/>
                  </a:cubicBezTo>
                  <a:cubicBezTo>
                    <a:pt x="363" y="109"/>
                    <a:pt x="365" y="107"/>
                    <a:pt x="365" y="106"/>
                  </a:cubicBezTo>
                  <a:cubicBezTo>
                    <a:pt x="366" y="105"/>
                    <a:pt x="367" y="103"/>
                    <a:pt x="369" y="102"/>
                  </a:cubicBezTo>
                  <a:cubicBezTo>
                    <a:pt x="371" y="102"/>
                    <a:pt x="373" y="101"/>
                    <a:pt x="373" y="101"/>
                  </a:cubicBezTo>
                  <a:cubicBezTo>
                    <a:pt x="374" y="101"/>
                    <a:pt x="374" y="97"/>
                    <a:pt x="374" y="96"/>
                  </a:cubicBezTo>
                  <a:cubicBezTo>
                    <a:pt x="374" y="95"/>
                    <a:pt x="374" y="94"/>
                    <a:pt x="374" y="93"/>
                  </a:cubicBezTo>
                  <a:cubicBezTo>
                    <a:pt x="375" y="92"/>
                    <a:pt x="376" y="90"/>
                    <a:pt x="376" y="90"/>
                  </a:cubicBezTo>
                  <a:cubicBezTo>
                    <a:pt x="377" y="90"/>
                    <a:pt x="379" y="88"/>
                    <a:pt x="380" y="87"/>
                  </a:cubicBezTo>
                  <a:cubicBezTo>
                    <a:pt x="381" y="87"/>
                    <a:pt x="381" y="87"/>
                    <a:pt x="381" y="87"/>
                  </a:cubicBezTo>
                  <a:cubicBezTo>
                    <a:pt x="380" y="86"/>
                    <a:pt x="380" y="85"/>
                    <a:pt x="380" y="85"/>
                  </a:cubicBezTo>
                  <a:cubicBezTo>
                    <a:pt x="380" y="84"/>
                    <a:pt x="380" y="82"/>
                    <a:pt x="379" y="82"/>
                  </a:cubicBezTo>
                  <a:close/>
                </a:path>
              </a:pathLst>
            </a:custGeom>
            <a:solidFill>
              <a:srgbClr val="8BDD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4" name="Freeform 56">
              <a:extLst>
                <a:ext uri="{FF2B5EF4-FFF2-40B4-BE49-F238E27FC236}">
                  <a16:creationId xmlns:a16="http://schemas.microsoft.com/office/drawing/2014/main" id="{BA9AC605-42E7-44AC-D3FC-E27B98114FE4}"/>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5" name="Freeform 57">
              <a:extLst>
                <a:ext uri="{FF2B5EF4-FFF2-40B4-BE49-F238E27FC236}">
                  <a16:creationId xmlns:a16="http://schemas.microsoft.com/office/drawing/2014/main" id="{15DF5FF1-1082-B492-1E90-38063F408DDD}"/>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6" name="Freeform 58">
              <a:extLst>
                <a:ext uri="{FF2B5EF4-FFF2-40B4-BE49-F238E27FC236}">
                  <a16:creationId xmlns:a16="http://schemas.microsoft.com/office/drawing/2014/main" id="{5ECB4686-9A23-05E4-0CD0-A124A67A6FA0}"/>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7" name="Freeform 59">
              <a:extLst>
                <a:ext uri="{FF2B5EF4-FFF2-40B4-BE49-F238E27FC236}">
                  <a16:creationId xmlns:a16="http://schemas.microsoft.com/office/drawing/2014/main" id="{D09F81C6-A057-D27E-855E-6AB280511E2E}"/>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8" name="Freeform 60">
              <a:extLst>
                <a:ext uri="{FF2B5EF4-FFF2-40B4-BE49-F238E27FC236}">
                  <a16:creationId xmlns:a16="http://schemas.microsoft.com/office/drawing/2014/main" id="{55E8E05A-9131-A087-C7DB-2A7C7161FB3E}"/>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89" name="Freeform 61">
              <a:extLst>
                <a:ext uri="{FF2B5EF4-FFF2-40B4-BE49-F238E27FC236}">
                  <a16:creationId xmlns:a16="http://schemas.microsoft.com/office/drawing/2014/main" id="{E93E4548-4604-F056-EFBA-E02500AF0562}"/>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0" name="Freeform 62">
              <a:extLst>
                <a:ext uri="{FF2B5EF4-FFF2-40B4-BE49-F238E27FC236}">
                  <a16:creationId xmlns:a16="http://schemas.microsoft.com/office/drawing/2014/main" id="{CEE19682-E9AE-8153-A74E-0E626F550717}"/>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1" name="Freeform 63">
              <a:extLst>
                <a:ext uri="{FF2B5EF4-FFF2-40B4-BE49-F238E27FC236}">
                  <a16:creationId xmlns:a16="http://schemas.microsoft.com/office/drawing/2014/main" id="{EAE33AC7-3587-5C82-760A-FC69B519E7B5}"/>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2" name="Freeform 64">
              <a:extLst>
                <a:ext uri="{FF2B5EF4-FFF2-40B4-BE49-F238E27FC236}">
                  <a16:creationId xmlns:a16="http://schemas.microsoft.com/office/drawing/2014/main" id="{F45B595C-7422-CC28-AB43-A49FDCF70424}"/>
                </a:ext>
              </a:extLst>
            </p:cNvPr>
            <p:cNvSpPr>
              <a:spLocks/>
            </p:cNvSpPr>
            <p:nvPr/>
          </p:nvSpPr>
          <p:spPr bwMode="auto">
            <a:xfrm>
              <a:off x="5033963" y="3217863"/>
              <a:ext cx="1198563" cy="1166812"/>
            </a:xfrm>
            <a:custGeom>
              <a:avLst/>
              <a:gdLst>
                <a:gd name="T0" fmla="*/ 305 w 315"/>
                <a:gd name="T1" fmla="*/ 93 h 306"/>
                <a:gd name="T2" fmla="*/ 298 w 315"/>
                <a:gd name="T3" fmla="*/ 84 h 306"/>
                <a:gd name="T4" fmla="*/ 280 w 315"/>
                <a:gd name="T5" fmla="*/ 69 h 306"/>
                <a:gd name="T6" fmla="*/ 258 w 315"/>
                <a:gd name="T7" fmla="*/ 54 h 306"/>
                <a:gd name="T8" fmla="*/ 247 w 315"/>
                <a:gd name="T9" fmla="*/ 43 h 306"/>
                <a:gd name="T10" fmla="*/ 236 w 315"/>
                <a:gd name="T11" fmla="*/ 33 h 306"/>
                <a:gd name="T12" fmla="*/ 245 w 315"/>
                <a:gd name="T13" fmla="*/ 32 h 306"/>
                <a:gd name="T14" fmla="*/ 250 w 315"/>
                <a:gd name="T15" fmla="*/ 29 h 306"/>
                <a:gd name="T16" fmla="*/ 253 w 315"/>
                <a:gd name="T17" fmla="*/ 26 h 306"/>
                <a:gd name="T18" fmla="*/ 250 w 315"/>
                <a:gd name="T19" fmla="*/ 14 h 306"/>
                <a:gd name="T20" fmla="*/ 198 w 315"/>
                <a:gd name="T21" fmla="*/ 1 h 306"/>
                <a:gd name="T22" fmla="*/ 163 w 315"/>
                <a:gd name="T23" fmla="*/ 13 h 306"/>
                <a:gd name="T24" fmla="*/ 146 w 315"/>
                <a:gd name="T25" fmla="*/ 31 h 306"/>
                <a:gd name="T26" fmla="*/ 135 w 315"/>
                <a:gd name="T27" fmla="*/ 65 h 306"/>
                <a:gd name="T28" fmla="*/ 107 w 315"/>
                <a:gd name="T29" fmla="*/ 82 h 306"/>
                <a:gd name="T30" fmla="*/ 75 w 315"/>
                <a:gd name="T31" fmla="*/ 91 h 306"/>
                <a:gd name="T32" fmla="*/ 45 w 315"/>
                <a:gd name="T33" fmla="*/ 71 h 306"/>
                <a:gd name="T34" fmla="*/ 24 w 315"/>
                <a:gd name="T35" fmla="*/ 73 h 306"/>
                <a:gd name="T36" fmla="*/ 4 w 315"/>
                <a:gd name="T37" fmla="*/ 109 h 306"/>
                <a:gd name="T38" fmla="*/ 18 w 315"/>
                <a:gd name="T39" fmla="*/ 117 h 306"/>
                <a:gd name="T40" fmla="*/ 48 w 315"/>
                <a:gd name="T41" fmla="*/ 120 h 306"/>
                <a:gd name="T42" fmla="*/ 72 w 315"/>
                <a:gd name="T43" fmla="*/ 120 h 306"/>
                <a:gd name="T44" fmla="*/ 66 w 315"/>
                <a:gd name="T45" fmla="*/ 159 h 306"/>
                <a:gd name="T46" fmla="*/ 91 w 315"/>
                <a:gd name="T47" fmla="*/ 166 h 306"/>
                <a:gd name="T48" fmla="*/ 96 w 315"/>
                <a:gd name="T49" fmla="*/ 210 h 306"/>
                <a:gd name="T50" fmla="*/ 111 w 315"/>
                <a:gd name="T51" fmla="*/ 253 h 306"/>
                <a:gd name="T52" fmla="*/ 114 w 315"/>
                <a:gd name="T53" fmla="*/ 279 h 306"/>
                <a:gd name="T54" fmla="*/ 124 w 315"/>
                <a:gd name="T55" fmla="*/ 305 h 306"/>
                <a:gd name="T56" fmla="*/ 168 w 315"/>
                <a:gd name="T57" fmla="*/ 304 h 306"/>
                <a:gd name="T58" fmla="*/ 164 w 315"/>
                <a:gd name="T59" fmla="*/ 291 h 306"/>
                <a:gd name="T60" fmla="*/ 157 w 315"/>
                <a:gd name="T61" fmla="*/ 286 h 306"/>
                <a:gd name="T62" fmla="*/ 157 w 315"/>
                <a:gd name="T63" fmla="*/ 274 h 306"/>
                <a:gd name="T64" fmla="*/ 144 w 315"/>
                <a:gd name="T65" fmla="*/ 269 h 306"/>
                <a:gd name="T66" fmla="*/ 157 w 315"/>
                <a:gd name="T67" fmla="*/ 261 h 306"/>
                <a:gd name="T68" fmla="*/ 176 w 315"/>
                <a:gd name="T69" fmla="*/ 244 h 306"/>
                <a:gd name="T70" fmla="*/ 178 w 315"/>
                <a:gd name="T71" fmla="*/ 232 h 306"/>
                <a:gd name="T72" fmla="*/ 179 w 315"/>
                <a:gd name="T73" fmla="*/ 223 h 306"/>
                <a:gd name="T74" fmla="*/ 187 w 315"/>
                <a:gd name="T75" fmla="*/ 237 h 306"/>
                <a:gd name="T76" fmla="*/ 203 w 315"/>
                <a:gd name="T77" fmla="*/ 220 h 306"/>
                <a:gd name="T78" fmla="*/ 211 w 315"/>
                <a:gd name="T79" fmla="*/ 211 h 306"/>
                <a:gd name="T80" fmla="*/ 215 w 315"/>
                <a:gd name="T81" fmla="*/ 213 h 306"/>
                <a:gd name="T82" fmla="*/ 219 w 315"/>
                <a:gd name="T83" fmla="*/ 211 h 306"/>
                <a:gd name="T84" fmla="*/ 224 w 315"/>
                <a:gd name="T85" fmla="*/ 208 h 306"/>
                <a:gd name="T86" fmla="*/ 226 w 315"/>
                <a:gd name="T87" fmla="*/ 204 h 306"/>
                <a:gd name="T88" fmla="*/ 225 w 315"/>
                <a:gd name="T89" fmla="*/ 200 h 306"/>
                <a:gd name="T90" fmla="*/ 229 w 315"/>
                <a:gd name="T91" fmla="*/ 195 h 306"/>
                <a:gd name="T92" fmla="*/ 227 w 315"/>
                <a:gd name="T93" fmla="*/ 186 h 306"/>
                <a:gd name="T94" fmla="*/ 226 w 315"/>
                <a:gd name="T95" fmla="*/ 182 h 306"/>
                <a:gd name="T96" fmla="*/ 222 w 315"/>
                <a:gd name="T97" fmla="*/ 169 h 306"/>
                <a:gd name="T98" fmla="*/ 224 w 315"/>
                <a:gd name="T99" fmla="*/ 149 h 306"/>
                <a:gd name="T100" fmla="*/ 234 w 315"/>
                <a:gd name="T101" fmla="*/ 123 h 306"/>
                <a:gd name="T102" fmla="*/ 247 w 315"/>
                <a:gd name="T103" fmla="*/ 109 h 306"/>
                <a:gd name="T104" fmla="*/ 253 w 315"/>
                <a:gd name="T105" fmla="*/ 99 h 306"/>
                <a:gd name="T106" fmla="*/ 259 w 315"/>
                <a:gd name="T107" fmla="*/ 105 h 306"/>
                <a:gd name="T108" fmla="*/ 283 w 315"/>
                <a:gd name="T109" fmla="*/ 109 h 306"/>
                <a:gd name="T110" fmla="*/ 306 w 315"/>
                <a:gd name="T111" fmla="*/ 10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306">
                  <a:moveTo>
                    <a:pt x="315" y="98"/>
                  </a:moveTo>
                  <a:cubicBezTo>
                    <a:pt x="315" y="97"/>
                    <a:pt x="314" y="96"/>
                    <a:pt x="314" y="96"/>
                  </a:cubicBezTo>
                  <a:cubicBezTo>
                    <a:pt x="313" y="95"/>
                    <a:pt x="313" y="95"/>
                    <a:pt x="313" y="95"/>
                  </a:cubicBezTo>
                  <a:cubicBezTo>
                    <a:pt x="312" y="95"/>
                    <a:pt x="312" y="95"/>
                    <a:pt x="311" y="95"/>
                  </a:cubicBezTo>
                  <a:cubicBezTo>
                    <a:pt x="310" y="95"/>
                    <a:pt x="310" y="95"/>
                    <a:pt x="309" y="95"/>
                  </a:cubicBezTo>
                  <a:cubicBezTo>
                    <a:pt x="307" y="95"/>
                    <a:pt x="307" y="95"/>
                    <a:pt x="307" y="95"/>
                  </a:cubicBezTo>
                  <a:cubicBezTo>
                    <a:pt x="307" y="96"/>
                    <a:pt x="307" y="96"/>
                    <a:pt x="307" y="96"/>
                  </a:cubicBezTo>
                  <a:cubicBezTo>
                    <a:pt x="306" y="96"/>
                    <a:pt x="306" y="96"/>
                    <a:pt x="305" y="95"/>
                  </a:cubicBezTo>
                  <a:cubicBezTo>
                    <a:pt x="305" y="94"/>
                    <a:pt x="305" y="93"/>
                    <a:pt x="305" y="93"/>
                  </a:cubicBezTo>
                  <a:cubicBezTo>
                    <a:pt x="304" y="92"/>
                    <a:pt x="304" y="92"/>
                    <a:pt x="304" y="92"/>
                  </a:cubicBezTo>
                  <a:cubicBezTo>
                    <a:pt x="304" y="92"/>
                    <a:pt x="304" y="92"/>
                    <a:pt x="304" y="92"/>
                  </a:cubicBezTo>
                  <a:cubicBezTo>
                    <a:pt x="304" y="91"/>
                    <a:pt x="303" y="91"/>
                    <a:pt x="303" y="91"/>
                  </a:cubicBezTo>
                  <a:cubicBezTo>
                    <a:pt x="302" y="90"/>
                    <a:pt x="302" y="90"/>
                    <a:pt x="302" y="89"/>
                  </a:cubicBezTo>
                  <a:cubicBezTo>
                    <a:pt x="301" y="89"/>
                    <a:pt x="300" y="90"/>
                    <a:pt x="300" y="89"/>
                  </a:cubicBezTo>
                  <a:cubicBezTo>
                    <a:pt x="299" y="88"/>
                    <a:pt x="300" y="88"/>
                    <a:pt x="301" y="88"/>
                  </a:cubicBezTo>
                  <a:cubicBezTo>
                    <a:pt x="301" y="88"/>
                    <a:pt x="302" y="88"/>
                    <a:pt x="302" y="87"/>
                  </a:cubicBezTo>
                  <a:cubicBezTo>
                    <a:pt x="302" y="87"/>
                    <a:pt x="301" y="86"/>
                    <a:pt x="301" y="86"/>
                  </a:cubicBezTo>
                  <a:cubicBezTo>
                    <a:pt x="300" y="85"/>
                    <a:pt x="299" y="84"/>
                    <a:pt x="298" y="84"/>
                  </a:cubicBezTo>
                  <a:cubicBezTo>
                    <a:pt x="296" y="82"/>
                    <a:pt x="294" y="80"/>
                    <a:pt x="292" y="78"/>
                  </a:cubicBezTo>
                  <a:cubicBezTo>
                    <a:pt x="291" y="77"/>
                    <a:pt x="290" y="76"/>
                    <a:pt x="289" y="76"/>
                  </a:cubicBezTo>
                  <a:cubicBezTo>
                    <a:pt x="288" y="76"/>
                    <a:pt x="287" y="76"/>
                    <a:pt x="286" y="76"/>
                  </a:cubicBezTo>
                  <a:cubicBezTo>
                    <a:pt x="285" y="76"/>
                    <a:pt x="285" y="76"/>
                    <a:pt x="284" y="76"/>
                  </a:cubicBezTo>
                  <a:cubicBezTo>
                    <a:pt x="283" y="76"/>
                    <a:pt x="283" y="75"/>
                    <a:pt x="282" y="75"/>
                  </a:cubicBezTo>
                  <a:cubicBezTo>
                    <a:pt x="281" y="74"/>
                    <a:pt x="281" y="73"/>
                    <a:pt x="279" y="73"/>
                  </a:cubicBezTo>
                  <a:cubicBezTo>
                    <a:pt x="279" y="73"/>
                    <a:pt x="278" y="73"/>
                    <a:pt x="278" y="72"/>
                  </a:cubicBezTo>
                  <a:cubicBezTo>
                    <a:pt x="278" y="72"/>
                    <a:pt x="279" y="71"/>
                    <a:pt x="280" y="71"/>
                  </a:cubicBezTo>
                  <a:cubicBezTo>
                    <a:pt x="280" y="71"/>
                    <a:pt x="280" y="70"/>
                    <a:pt x="280" y="69"/>
                  </a:cubicBezTo>
                  <a:cubicBezTo>
                    <a:pt x="279" y="68"/>
                    <a:pt x="278" y="68"/>
                    <a:pt x="276" y="68"/>
                  </a:cubicBezTo>
                  <a:cubicBezTo>
                    <a:pt x="276" y="67"/>
                    <a:pt x="275" y="67"/>
                    <a:pt x="274" y="67"/>
                  </a:cubicBezTo>
                  <a:cubicBezTo>
                    <a:pt x="273" y="66"/>
                    <a:pt x="272" y="66"/>
                    <a:pt x="272" y="66"/>
                  </a:cubicBezTo>
                  <a:cubicBezTo>
                    <a:pt x="270" y="65"/>
                    <a:pt x="269" y="64"/>
                    <a:pt x="267" y="63"/>
                  </a:cubicBezTo>
                  <a:cubicBezTo>
                    <a:pt x="266" y="63"/>
                    <a:pt x="266" y="62"/>
                    <a:pt x="265" y="61"/>
                  </a:cubicBezTo>
                  <a:cubicBezTo>
                    <a:pt x="264" y="60"/>
                    <a:pt x="264" y="60"/>
                    <a:pt x="264" y="60"/>
                  </a:cubicBezTo>
                  <a:cubicBezTo>
                    <a:pt x="264" y="60"/>
                    <a:pt x="264" y="60"/>
                    <a:pt x="263" y="60"/>
                  </a:cubicBezTo>
                  <a:cubicBezTo>
                    <a:pt x="262" y="59"/>
                    <a:pt x="260" y="58"/>
                    <a:pt x="259" y="57"/>
                  </a:cubicBezTo>
                  <a:cubicBezTo>
                    <a:pt x="259" y="56"/>
                    <a:pt x="259" y="55"/>
                    <a:pt x="258" y="54"/>
                  </a:cubicBezTo>
                  <a:cubicBezTo>
                    <a:pt x="258" y="54"/>
                    <a:pt x="258" y="53"/>
                    <a:pt x="258" y="52"/>
                  </a:cubicBezTo>
                  <a:cubicBezTo>
                    <a:pt x="258" y="52"/>
                    <a:pt x="257" y="51"/>
                    <a:pt x="257" y="51"/>
                  </a:cubicBezTo>
                  <a:cubicBezTo>
                    <a:pt x="257" y="51"/>
                    <a:pt x="256" y="51"/>
                    <a:pt x="255" y="51"/>
                  </a:cubicBezTo>
                  <a:cubicBezTo>
                    <a:pt x="254" y="51"/>
                    <a:pt x="253" y="51"/>
                    <a:pt x="252" y="51"/>
                  </a:cubicBezTo>
                  <a:cubicBezTo>
                    <a:pt x="251" y="50"/>
                    <a:pt x="249" y="49"/>
                    <a:pt x="248" y="48"/>
                  </a:cubicBezTo>
                  <a:cubicBezTo>
                    <a:pt x="248" y="47"/>
                    <a:pt x="248" y="46"/>
                    <a:pt x="247" y="46"/>
                  </a:cubicBezTo>
                  <a:cubicBezTo>
                    <a:pt x="247" y="45"/>
                    <a:pt x="247" y="45"/>
                    <a:pt x="247" y="45"/>
                  </a:cubicBezTo>
                  <a:cubicBezTo>
                    <a:pt x="246" y="44"/>
                    <a:pt x="246" y="44"/>
                    <a:pt x="246" y="44"/>
                  </a:cubicBezTo>
                  <a:cubicBezTo>
                    <a:pt x="246" y="44"/>
                    <a:pt x="247" y="43"/>
                    <a:pt x="247" y="43"/>
                  </a:cubicBezTo>
                  <a:cubicBezTo>
                    <a:pt x="247" y="42"/>
                    <a:pt x="247" y="41"/>
                    <a:pt x="247" y="41"/>
                  </a:cubicBezTo>
                  <a:cubicBezTo>
                    <a:pt x="247" y="40"/>
                    <a:pt x="247" y="40"/>
                    <a:pt x="246" y="40"/>
                  </a:cubicBezTo>
                  <a:cubicBezTo>
                    <a:pt x="246" y="39"/>
                    <a:pt x="246" y="39"/>
                    <a:pt x="245" y="38"/>
                  </a:cubicBezTo>
                  <a:cubicBezTo>
                    <a:pt x="245" y="37"/>
                    <a:pt x="243" y="37"/>
                    <a:pt x="242" y="37"/>
                  </a:cubicBezTo>
                  <a:cubicBezTo>
                    <a:pt x="241" y="37"/>
                    <a:pt x="240" y="37"/>
                    <a:pt x="239" y="36"/>
                  </a:cubicBezTo>
                  <a:cubicBezTo>
                    <a:pt x="238" y="36"/>
                    <a:pt x="238" y="36"/>
                    <a:pt x="237" y="35"/>
                  </a:cubicBezTo>
                  <a:cubicBezTo>
                    <a:pt x="236" y="35"/>
                    <a:pt x="236" y="35"/>
                    <a:pt x="235" y="34"/>
                  </a:cubicBezTo>
                  <a:cubicBezTo>
                    <a:pt x="234" y="34"/>
                    <a:pt x="235" y="34"/>
                    <a:pt x="235" y="33"/>
                  </a:cubicBezTo>
                  <a:cubicBezTo>
                    <a:pt x="235" y="33"/>
                    <a:pt x="235" y="33"/>
                    <a:pt x="236" y="33"/>
                  </a:cubicBezTo>
                  <a:cubicBezTo>
                    <a:pt x="237" y="33"/>
                    <a:pt x="237" y="34"/>
                    <a:pt x="238" y="34"/>
                  </a:cubicBezTo>
                  <a:cubicBezTo>
                    <a:pt x="238" y="34"/>
                    <a:pt x="239" y="35"/>
                    <a:pt x="240" y="35"/>
                  </a:cubicBezTo>
                  <a:cubicBezTo>
                    <a:pt x="240" y="35"/>
                    <a:pt x="241" y="35"/>
                    <a:pt x="241" y="35"/>
                  </a:cubicBezTo>
                  <a:cubicBezTo>
                    <a:pt x="242" y="35"/>
                    <a:pt x="242" y="36"/>
                    <a:pt x="243" y="36"/>
                  </a:cubicBezTo>
                  <a:cubicBezTo>
                    <a:pt x="243" y="36"/>
                    <a:pt x="244" y="36"/>
                    <a:pt x="244" y="35"/>
                  </a:cubicBezTo>
                  <a:cubicBezTo>
                    <a:pt x="245" y="35"/>
                    <a:pt x="246" y="35"/>
                    <a:pt x="247" y="35"/>
                  </a:cubicBezTo>
                  <a:cubicBezTo>
                    <a:pt x="247" y="35"/>
                    <a:pt x="248" y="35"/>
                    <a:pt x="249" y="35"/>
                  </a:cubicBezTo>
                  <a:cubicBezTo>
                    <a:pt x="249" y="34"/>
                    <a:pt x="248" y="34"/>
                    <a:pt x="248" y="34"/>
                  </a:cubicBezTo>
                  <a:cubicBezTo>
                    <a:pt x="247" y="33"/>
                    <a:pt x="246" y="32"/>
                    <a:pt x="245" y="32"/>
                  </a:cubicBezTo>
                  <a:cubicBezTo>
                    <a:pt x="244" y="32"/>
                    <a:pt x="243" y="31"/>
                    <a:pt x="242" y="31"/>
                  </a:cubicBezTo>
                  <a:cubicBezTo>
                    <a:pt x="242" y="30"/>
                    <a:pt x="241" y="30"/>
                    <a:pt x="242" y="29"/>
                  </a:cubicBezTo>
                  <a:cubicBezTo>
                    <a:pt x="242" y="28"/>
                    <a:pt x="242" y="28"/>
                    <a:pt x="242" y="27"/>
                  </a:cubicBezTo>
                  <a:cubicBezTo>
                    <a:pt x="242" y="27"/>
                    <a:pt x="243" y="26"/>
                    <a:pt x="243" y="27"/>
                  </a:cubicBezTo>
                  <a:cubicBezTo>
                    <a:pt x="243" y="27"/>
                    <a:pt x="243" y="28"/>
                    <a:pt x="244" y="28"/>
                  </a:cubicBezTo>
                  <a:cubicBezTo>
                    <a:pt x="244" y="30"/>
                    <a:pt x="245" y="31"/>
                    <a:pt x="246" y="31"/>
                  </a:cubicBezTo>
                  <a:cubicBezTo>
                    <a:pt x="247" y="32"/>
                    <a:pt x="248" y="32"/>
                    <a:pt x="249" y="32"/>
                  </a:cubicBezTo>
                  <a:cubicBezTo>
                    <a:pt x="249" y="32"/>
                    <a:pt x="251" y="32"/>
                    <a:pt x="251" y="31"/>
                  </a:cubicBezTo>
                  <a:cubicBezTo>
                    <a:pt x="251" y="31"/>
                    <a:pt x="251" y="30"/>
                    <a:pt x="250" y="29"/>
                  </a:cubicBezTo>
                  <a:cubicBezTo>
                    <a:pt x="250" y="29"/>
                    <a:pt x="250" y="29"/>
                    <a:pt x="249" y="28"/>
                  </a:cubicBezTo>
                  <a:cubicBezTo>
                    <a:pt x="249" y="28"/>
                    <a:pt x="248" y="28"/>
                    <a:pt x="247" y="28"/>
                  </a:cubicBezTo>
                  <a:cubicBezTo>
                    <a:pt x="247" y="28"/>
                    <a:pt x="247" y="27"/>
                    <a:pt x="246" y="27"/>
                  </a:cubicBezTo>
                  <a:cubicBezTo>
                    <a:pt x="245" y="26"/>
                    <a:pt x="245" y="26"/>
                    <a:pt x="245" y="26"/>
                  </a:cubicBezTo>
                  <a:cubicBezTo>
                    <a:pt x="245" y="26"/>
                    <a:pt x="244" y="26"/>
                    <a:pt x="245" y="26"/>
                  </a:cubicBezTo>
                  <a:cubicBezTo>
                    <a:pt x="245" y="25"/>
                    <a:pt x="247" y="25"/>
                    <a:pt x="247" y="25"/>
                  </a:cubicBezTo>
                  <a:cubicBezTo>
                    <a:pt x="248" y="26"/>
                    <a:pt x="249" y="25"/>
                    <a:pt x="250" y="25"/>
                  </a:cubicBezTo>
                  <a:cubicBezTo>
                    <a:pt x="251" y="26"/>
                    <a:pt x="251" y="26"/>
                    <a:pt x="252" y="26"/>
                  </a:cubicBezTo>
                  <a:cubicBezTo>
                    <a:pt x="253" y="26"/>
                    <a:pt x="253" y="26"/>
                    <a:pt x="253" y="26"/>
                  </a:cubicBezTo>
                  <a:cubicBezTo>
                    <a:pt x="253" y="26"/>
                    <a:pt x="254" y="26"/>
                    <a:pt x="254" y="26"/>
                  </a:cubicBezTo>
                  <a:cubicBezTo>
                    <a:pt x="255" y="25"/>
                    <a:pt x="256" y="25"/>
                    <a:pt x="257" y="25"/>
                  </a:cubicBezTo>
                  <a:cubicBezTo>
                    <a:pt x="257" y="24"/>
                    <a:pt x="257" y="24"/>
                    <a:pt x="257" y="24"/>
                  </a:cubicBezTo>
                  <a:cubicBezTo>
                    <a:pt x="257" y="24"/>
                    <a:pt x="259" y="24"/>
                    <a:pt x="260" y="23"/>
                  </a:cubicBezTo>
                  <a:cubicBezTo>
                    <a:pt x="260" y="22"/>
                    <a:pt x="260" y="21"/>
                    <a:pt x="260" y="21"/>
                  </a:cubicBezTo>
                  <a:cubicBezTo>
                    <a:pt x="260" y="20"/>
                    <a:pt x="260" y="20"/>
                    <a:pt x="260" y="19"/>
                  </a:cubicBezTo>
                  <a:cubicBezTo>
                    <a:pt x="258" y="17"/>
                    <a:pt x="257" y="15"/>
                    <a:pt x="255" y="13"/>
                  </a:cubicBezTo>
                  <a:cubicBezTo>
                    <a:pt x="254" y="13"/>
                    <a:pt x="254" y="12"/>
                    <a:pt x="253" y="11"/>
                  </a:cubicBezTo>
                  <a:cubicBezTo>
                    <a:pt x="250" y="14"/>
                    <a:pt x="250" y="14"/>
                    <a:pt x="250" y="14"/>
                  </a:cubicBezTo>
                  <a:cubicBezTo>
                    <a:pt x="246" y="14"/>
                    <a:pt x="246" y="14"/>
                    <a:pt x="246" y="14"/>
                  </a:cubicBezTo>
                  <a:cubicBezTo>
                    <a:pt x="244" y="17"/>
                    <a:pt x="244" y="17"/>
                    <a:pt x="244" y="17"/>
                  </a:cubicBezTo>
                  <a:cubicBezTo>
                    <a:pt x="240" y="18"/>
                    <a:pt x="240" y="18"/>
                    <a:pt x="240" y="18"/>
                  </a:cubicBezTo>
                  <a:cubicBezTo>
                    <a:pt x="232" y="6"/>
                    <a:pt x="232" y="6"/>
                    <a:pt x="232" y="6"/>
                  </a:cubicBezTo>
                  <a:cubicBezTo>
                    <a:pt x="225" y="6"/>
                    <a:pt x="225" y="6"/>
                    <a:pt x="225" y="6"/>
                  </a:cubicBezTo>
                  <a:cubicBezTo>
                    <a:pt x="219" y="0"/>
                    <a:pt x="219" y="0"/>
                    <a:pt x="219" y="0"/>
                  </a:cubicBezTo>
                  <a:cubicBezTo>
                    <a:pt x="212" y="0"/>
                    <a:pt x="212" y="0"/>
                    <a:pt x="212" y="0"/>
                  </a:cubicBezTo>
                  <a:cubicBezTo>
                    <a:pt x="210" y="2"/>
                    <a:pt x="210" y="2"/>
                    <a:pt x="210" y="2"/>
                  </a:cubicBezTo>
                  <a:cubicBezTo>
                    <a:pt x="198" y="1"/>
                    <a:pt x="198" y="1"/>
                    <a:pt x="198" y="1"/>
                  </a:cubicBezTo>
                  <a:cubicBezTo>
                    <a:pt x="195" y="6"/>
                    <a:pt x="195" y="6"/>
                    <a:pt x="195" y="6"/>
                  </a:cubicBezTo>
                  <a:cubicBezTo>
                    <a:pt x="190" y="7"/>
                    <a:pt x="190" y="7"/>
                    <a:pt x="190" y="7"/>
                  </a:cubicBezTo>
                  <a:cubicBezTo>
                    <a:pt x="186" y="8"/>
                    <a:pt x="186" y="8"/>
                    <a:pt x="186" y="8"/>
                  </a:cubicBezTo>
                  <a:cubicBezTo>
                    <a:pt x="182" y="15"/>
                    <a:pt x="182" y="15"/>
                    <a:pt x="182" y="15"/>
                  </a:cubicBezTo>
                  <a:cubicBezTo>
                    <a:pt x="178" y="5"/>
                    <a:pt x="178" y="5"/>
                    <a:pt x="178" y="5"/>
                  </a:cubicBezTo>
                  <a:cubicBezTo>
                    <a:pt x="170" y="13"/>
                    <a:pt x="170" y="13"/>
                    <a:pt x="170" y="13"/>
                  </a:cubicBezTo>
                  <a:cubicBezTo>
                    <a:pt x="166" y="9"/>
                    <a:pt x="166" y="9"/>
                    <a:pt x="166" y="9"/>
                  </a:cubicBezTo>
                  <a:cubicBezTo>
                    <a:pt x="163" y="9"/>
                    <a:pt x="163" y="9"/>
                    <a:pt x="163" y="9"/>
                  </a:cubicBezTo>
                  <a:cubicBezTo>
                    <a:pt x="163" y="13"/>
                    <a:pt x="163" y="13"/>
                    <a:pt x="163" y="13"/>
                  </a:cubicBezTo>
                  <a:cubicBezTo>
                    <a:pt x="163" y="16"/>
                    <a:pt x="163" y="16"/>
                    <a:pt x="163" y="16"/>
                  </a:cubicBezTo>
                  <a:cubicBezTo>
                    <a:pt x="161" y="21"/>
                    <a:pt x="161" y="21"/>
                    <a:pt x="161" y="21"/>
                  </a:cubicBezTo>
                  <a:cubicBezTo>
                    <a:pt x="157" y="19"/>
                    <a:pt x="157" y="19"/>
                    <a:pt x="157" y="19"/>
                  </a:cubicBezTo>
                  <a:cubicBezTo>
                    <a:pt x="153" y="19"/>
                    <a:pt x="153" y="19"/>
                    <a:pt x="153" y="19"/>
                  </a:cubicBezTo>
                  <a:cubicBezTo>
                    <a:pt x="151" y="23"/>
                    <a:pt x="151" y="23"/>
                    <a:pt x="151" y="23"/>
                  </a:cubicBezTo>
                  <a:cubicBezTo>
                    <a:pt x="153" y="26"/>
                    <a:pt x="153" y="26"/>
                    <a:pt x="153" y="26"/>
                  </a:cubicBezTo>
                  <a:cubicBezTo>
                    <a:pt x="154" y="27"/>
                    <a:pt x="154" y="27"/>
                    <a:pt x="154" y="27"/>
                  </a:cubicBezTo>
                  <a:cubicBezTo>
                    <a:pt x="151" y="31"/>
                    <a:pt x="151" y="31"/>
                    <a:pt x="151" y="31"/>
                  </a:cubicBezTo>
                  <a:cubicBezTo>
                    <a:pt x="146" y="31"/>
                    <a:pt x="146" y="31"/>
                    <a:pt x="146" y="31"/>
                  </a:cubicBezTo>
                  <a:cubicBezTo>
                    <a:pt x="147" y="35"/>
                    <a:pt x="147" y="35"/>
                    <a:pt x="147" y="35"/>
                  </a:cubicBezTo>
                  <a:cubicBezTo>
                    <a:pt x="145" y="38"/>
                    <a:pt x="145" y="38"/>
                    <a:pt x="145" y="38"/>
                  </a:cubicBezTo>
                  <a:cubicBezTo>
                    <a:pt x="144" y="41"/>
                    <a:pt x="144" y="41"/>
                    <a:pt x="144" y="41"/>
                  </a:cubicBezTo>
                  <a:cubicBezTo>
                    <a:pt x="144" y="47"/>
                    <a:pt x="144" y="47"/>
                    <a:pt x="144" y="47"/>
                  </a:cubicBezTo>
                  <a:cubicBezTo>
                    <a:pt x="143" y="52"/>
                    <a:pt x="143" y="52"/>
                    <a:pt x="143" y="52"/>
                  </a:cubicBezTo>
                  <a:cubicBezTo>
                    <a:pt x="141" y="59"/>
                    <a:pt x="141" y="59"/>
                    <a:pt x="141" y="59"/>
                  </a:cubicBezTo>
                  <a:cubicBezTo>
                    <a:pt x="137" y="59"/>
                    <a:pt x="137" y="59"/>
                    <a:pt x="137" y="59"/>
                  </a:cubicBezTo>
                  <a:cubicBezTo>
                    <a:pt x="135" y="61"/>
                    <a:pt x="135" y="61"/>
                    <a:pt x="135" y="61"/>
                  </a:cubicBezTo>
                  <a:cubicBezTo>
                    <a:pt x="135" y="65"/>
                    <a:pt x="135" y="65"/>
                    <a:pt x="135" y="65"/>
                  </a:cubicBezTo>
                  <a:cubicBezTo>
                    <a:pt x="131" y="66"/>
                    <a:pt x="131" y="66"/>
                    <a:pt x="131" y="66"/>
                  </a:cubicBezTo>
                  <a:cubicBezTo>
                    <a:pt x="129" y="70"/>
                    <a:pt x="129" y="70"/>
                    <a:pt x="129" y="70"/>
                  </a:cubicBezTo>
                  <a:cubicBezTo>
                    <a:pt x="125" y="71"/>
                    <a:pt x="125" y="71"/>
                    <a:pt x="125" y="71"/>
                  </a:cubicBezTo>
                  <a:cubicBezTo>
                    <a:pt x="123" y="76"/>
                    <a:pt x="123" y="76"/>
                    <a:pt x="123" y="76"/>
                  </a:cubicBezTo>
                  <a:cubicBezTo>
                    <a:pt x="119" y="77"/>
                    <a:pt x="119" y="77"/>
                    <a:pt x="119" y="77"/>
                  </a:cubicBezTo>
                  <a:cubicBezTo>
                    <a:pt x="117" y="80"/>
                    <a:pt x="117" y="80"/>
                    <a:pt x="117" y="80"/>
                  </a:cubicBezTo>
                  <a:cubicBezTo>
                    <a:pt x="116" y="82"/>
                    <a:pt x="116" y="82"/>
                    <a:pt x="116" y="82"/>
                  </a:cubicBezTo>
                  <a:cubicBezTo>
                    <a:pt x="111" y="81"/>
                    <a:pt x="111" y="81"/>
                    <a:pt x="111" y="81"/>
                  </a:cubicBezTo>
                  <a:cubicBezTo>
                    <a:pt x="107" y="82"/>
                    <a:pt x="107" y="82"/>
                    <a:pt x="107" y="82"/>
                  </a:cubicBezTo>
                  <a:cubicBezTo>
                    <a:pt x="102" y="84"/>
                    <a:pt x="102" y="84"/>
                    <a:pt x="102" y="84"/>
                  </a:cubicBezTo>
                  <a:cubicBezTo>
                    <a:pt x="99" y="84"/>
                    <a:pt x="99" y="84"/>
                    <a:pt x="99" y="84"/>
                  </a:cubicBezTo>
                  <a:cubicBezTo>
                    <a:pt x="97" y="87"/>
                    <a:pt x="97" y="87"/>
                    <a:pt x="97" y="87"/>
                  </a:cubicBezTo>
                  <a:cubicBezTo>
                    <a:pt x="97" y="89"/>
                    <a:pt x="97" y="89"/>
                    <a:pt x="97" y="89"/>
                  </a:cubicBezTo>
                  <a:cubicBezTo>
                    <a:pt x="95" y="94"/>
                    <a:pt x="95" y="94"/>
                    <a:pt x="95" y="94"/>
                  </a:cubicBezTo>
                  <a:cubicBezTo>
                    <a:pt x="89" y="95"/>
                    <a:pt x="89" y="95"/>
                    <a:pt x="89" y="95"/>
                  </a:cubicBezTo>
                  <a:cubicBezTo>
                    <a:pt x="85" y="95"/>
                    <a:pt x="85" y="95"/>
                    <a:pt x="85" y="95"/>
                  </a:cubicBezTo>
                  <a:cubicBezTo>
                    <a:pt x="81" y="91"/>
                    <a:pt x="81" y="91"/>
                    <a:pt x="81" y="91"/>
                  </a:cubicBezTo>
                  <a:cubicBezTo>
                    <a:pt x="75" y="91"/>
                    <a:pt x="75" y="91"/>
                    <a:pt x="75" y="91"/>
                  </a:cubicBezTo>
                  <a:cubicBezTo>
                    <a:pt x="70" y="87"/>
                    <a:pt x="70" y="87"/>
                    <a:pt x="70" y="87"/>
                  </a:cubicBezTo>
                  <a:cubicBezTo>
                    <a:pt x="66" y="86"/>
                    <a:pt x="66" y="86"/>
                    <a:pt x="66" y="86"/>
                  </a:cubicBezTo>
                  <a:cubicBezTo>
                    <a:pt x="63" y="87"/>
                    <a:pt x="63" y="87"/>
                    <a:pt x="63" y="87"/>
                  </a:cubicBezTo>
                  <a:cubicBezTo>
                    <a:pt x="58" y="85"/>
                    <a:pt x="58" y="85"/>
                    <a:pt x="58" y="85"/>
                  </a:cubicBezTo>
                  <a:cubicBezTo>
                    <a:pt x="54" y="81"/>
                    <a:pt x="54" y="81"/>
                    <a:pt x="54" y="81"/>
                  </a:cubicBezTo>
                  <a:cubicBezTo>
                    <a:pt x="54" y="78"/>
                    <a:pt x="54" y="78"/>
                    <a:pt x="54" y="78"/>
                  </a:cubicBezTo>
                  <a:cubicBezTo>
                    <a:pt x="49" y="76"/>
                    <a:pt x="49" y="76"/>
                    <a:pt x="49" y="76"/>
                  </a:cubicBezTo>
                  <a:cubicBezTo>
                    <a:pt x="45" y="72"/>
                    <a:pt x="45" y="72"/>
                    <a:pt x="45" y="72"/>
                  </a:cubicBezTo>
                  <a:cubicBezTo>
                    <a:pt x="45" y="71"/>
                    <a:pt x="45" y="71"/>
                    <a:pt x="45" y="71"/>
                  </a:cubicBezTo>
                  <a:cubicBezTo>
                    <a:pt x="44" y="71"/>
                    <a:pt x="43" y="71"/>
                    <a:pt x="43" y="71"/>
                  </a:cubicBezTo>
                  <a:cubicBezTo>
                    <a:pt x="42" y="70"/>
                    <a:pt x="42" y="70"/>
                    <a:pt x="42" y="69"/>
                  </a:cubicBezTo>
                  <a:cubicBezTo>
                    <a:pt x="41" y="69"/>
                    <a:pt x="41" y="69"/>
                    <a:pt x="40" y="69"/>
                  </a:cubicBezTo>
                  <a:cubicBezTo>
                    <a:pt x="39" y="69"/>
                    <a:pt x="39" y="67"/>
                    <a:pt x="38" y="67"/>
                  </a:cubicBezTo>
                  <a:cubicBezTo>
                    <a:pt x="37" y="66"/>
                    <a:pt x="35" y="68"/>
                    <a:pt x="34" y="68"/>
                  </a:cubicBezTo>
                  <a:cubicBezTo>
                    <a:pt x="33" y="69"/>
                    <a:pt x="32" y="69"/>
                    <a:pt x="31" y="70"/>
                  </a:cubicBezTo>
                  <a:cubicBezTo>
                    <a:pt x="29" y="70"/>
                    <a:pt x="28" y="70"/>
                    <a:pt x="27" y="71"/>
                  </a:cubicBezTo>
                  <a:cubicBezTo>
                    <a:pt x="26" y="72"/>
                    <a:pt x="25" y="73"/>
                    <a:pt x="24" y="73"/>
                  </a:cubicBezTo>
                  <a:cubicBezTo>
                    <a:pt x="24" y="73"/>
                    <a:pt x="24" y="73"/>
                    <a:pt x="24" y="73"/>
                  </a:cubicBezTo>
                  <a:cubicBezTo>
                    <a:pt x="20" y="77"/>
                    <a:pt x="20" y="77"/>
                    <a:pt x="20" y="77"/>
                  </a:cubicBezTo>
                  <a:cubicBezTo>
                    <a:pt x="20" y="77"/>
                    <a:pt x="20" y="79"/>
                    <a:pt x="20" y="80"/>
                  </a:cubicBezTo>
                  <a:cubicBezTo>
                    <a:pt x="20" y="80"/>
                    <a:pt x="20" y="86"/>
                    <a:pt x="20" y="86"/>
                  </a:cubicBezTo>
                  <a:cubicBezTo>
                    <a:pt x="16" y="89"/>
                    <a:pt x="16" y="89"/>
                    <a:pt x="16" y="89"/>
                  </a:cubicBezTo>
                  <a:cubicBezTo>
                    <a:pt x="13" y="89"/>
                    <a:pt x="13" y="89"/>
                    <a:pt x="13" y="89"/>
                  </a:cubicBezTo>
                  <a:cubicBezTo>
                    <a:pt x="8" y="92"/>
                    <a:pt x="8" y="92"/>
                    <a:pt x="8" y="92"/>
                  </a:cubicBezTo>
                  <a:cubicBezTo>
                    <a:pt x="5" y="97"/>
                    <a:pt x="5" y="97"/>
                    <a:pt x="5" y="97"/>
                  </a:cubicBezTo>
                  <a:cubicBezTo>
                    <a:pt x="5" y="105"/>
                    <a:pt x="5" y="105"/>
                    <a:pt x="5" y="105"/>
                  </a:cubicBezTo>
                  <a:cubicBezTo>
                    <a:pt x="4" y="109"/>
                    <a:pt x="4" y="109"/>
                    <a:pt x="4" y="109"/>
                  </a:cubicBezTo>
                  <a:cubicBezTo>
                    <a:pt x="5" y="113"/>
                    <a:pt x="5" y="113"/>
                    <a:pt x="5" y="113"/>
                  </a:cubicBezTo>
                  <a:cubicBezTo>
                    <a:pt x="2" y="116"/>
                    <a:pt x="2" y="116"/>
                    <a:pt x="2" y="116"/>
                  </a:cubicBezTo>
                  <a:cubicBezTo>
                    <a:pt x="1" y="119"/>
                    <a:pt x="1" y="119"/>
                    <a:pt x="1" y="119"/>
                  </a:cubicBezTo>
                  <a:cubicBezTo>
                    <a:pt x="0" y="119"/>
                    <a:pt x="0" y="119"/>
                    <a:pt x="0" y="119"/>
                  </a:cubicBezTo>
                  <a:cubicBezTo>
                    <a:pt x="1" y="119"/>
                    <a:pt x="2" y="119"/>
                    <a:pt x="2" y="119"/>
                  </a:cubicBezTo>
                  <a:cubicBezTo>
                    <a:pt x="6" y="120"/>
                    <a:pt x="6" y="120"/>
                    <a:pt x="6" y="120"/>
                  </a:cubicBezTo>
                  <a:cubicBezTo>
                    <a:pt x="6" y="120"/>
                    <a:pt x="11" y="119"/>
                    <a:pt x="13" y="119"/>
                  </a:cubicBezTo>
                  <a:cubicBezTo>
                    <a:pt x="14" y="118"/>
                    <a:pt x="14" y="117"/>
                    <a:pt x="15" y="117"/>
                  </a:cubicBezTo>
                  <a:cubicBezTo>
                    <a:pt x="18" y="117"/>
                    <a:pt x="18" y="117"/>
                    <a:pt x="18" y="117"/>
                  </a:cubicBezTo>
                  <a:cubicBezTo>
                    <a:pt x="21" y="120"/>
                    <a:pt x="21" y="120"/>
                    <a:pt x="21" y="120"/>
                  </a:cubicBezTo>
                  <a:cubicBezTo>
                    <a:pt x="21" y="123"/>
                    <a:pt x="21" y="123"/>
                    <a:pt x="21" y="123"/>
                  </a:cubicBezTo>
                  <a:cubicBezTo>
                    <a:pt x="21" y="123"/>
                    <a:pt x="23" y="126"/>
                    <a:pt x="24" y="126"/>
                  </a:cubicBezTo>
                  <a:cubicBezTo>
                    <a:pt x="24" y="126"/>
                    <a:pt x="31" y="126"/>
                    <a:pt x="31" y="126"/>
                  </a:cubicBezTo>
                  <a:cubicBezTo>
                    <a:pt x="32" y="126"/>
                    <a:pt x="36" y="129"/>
                    <a:pt x="36" y="129"/>
                  </a:cubicBezTo>
                  <a:cubicBezTo>
                    <a:pt x="39" y="124"/>
                    <a:pt x="39" y="124"/>
                    <a:pt x="39" y="124"/>
                  </a:cubicBezTo>
                  <a:cubicBezTo>
                    <a:pt x="43" y="123"/>
                    <a:pt x="43" y="123"/>
                    <a:pt x="43" y="123"/>
                  </a:cubicBezTo>
                  <a:cubicBezTo>
                    <a:pt x="44" y="121"/>
                    <a:pt x="44" y="121"/>
                    <a:pt x="44" y="121"/>
                  </a:cubicBezTo>
                  <a:cubicBezTo>
                    <a:pt x="48" y="120"/>
                    <a:pt x="48" y="120"/>
                    <a:pt x="48" y="120"/>
                  </a:cubicBezTo>
                  <a:cubicBezTo>
                    <a:pt x="48" y="120"/>
                    <a:pt x="52" y="116"/>
                    <a:pt x="52" y="115"/>
                  </a:cubicBezTo>
                  <a:cubicBezTo>
                    <a:pt x="52" y="115"/>
                    <a:pt x="54" y="117"/>
                    <a:pt x="54" y="117"/>
                  </a:cubicBezTo>
                  <a:cubicBezTo>
                    <a:pt x="58" y="115"/>
                    <a:pt x="58" y="115"/>
                    <a:pt x="58" y="115"/>
                  </a:cubicBezTo>
                  <a:cubicBezTo>
                    <a:pt x="61" y="113"/>
                    <a:pt x="61" y="113"/>
                    <a:pt x="61" y="113"/>
                  </a:cubicBezTo>
                  <a:cubicBezTo>
                    <a:pt x="64" y="116"/>
                    <a:pt x="64" y="116"/>
                    <a:pt x="64" y="116"/>
                  </a:cubicBezTo>
                  <a:cubicBezTo>
                    <a:pt x="64" y="116"/>
                    <a:pt x="64" y="114"/>
                    <a:pt x="64" y="114"/>
                  </a:cubicBezTo>
                  <a:cubicBezTo>
                    <a:pt x="64" y="113"/>
                    <a:pt x="66" y="111"/>
                    <a:pt x="66" y="111"/>
                  </a:cubicBezTo>
                  <a:cubicBezTo>
                    <a:pt x="71" y="114"/>
                    <a:pt x="71" y="114"/>
                    <a:pt x="71" y="114"/>
                  </a:cubicBezTo>
                  <a:cubicBezTo>
                    <a:pt x="72" y="120"/>
                    <a:pt x="72" y="120"/>
                    <a:pt x="72" y="120"/>
                  </a:cubicBezTo>
                  <a:cubicBezTo>
                    <a:pt x="76" y="127"/>
                    <a:pt x="76" y="127"/>
                    <a:pt x="76" y="127"/>
                  </a:cubicBezTo>
                  <a:cubicBezTo>
                    <a:pt x="80" y="135"/>
                    <a:pt x="80" y="135"/>
                    <a:pt x="80" y="135"/>
                  </a:cubicBezTo>
                  <a:cubicBezTo>
                    <a:pt x="76" y="141"/>
                    <a:pt x="76" y="141"/>
                    <a:pt x="76" y="141"/>
                  </a:cubicBezTo>
                  <a:cubicBezTo>
                    <a:pt x="68" y="139"/>
                    <a:pt x="68" y="139"/>
                    <a:pt x="68" y="139"/>
                  </a:cubicBezTo>
                  <a:cubicBezTo>
                    <a:pt x="65" y="143"/>
                    <a:pt x="65" y="143"/>
                    <a:pt x="65" y="143"/>
                  </a:cubicBezTo>
                  <a:cubicBezTo>
                    <a:pt x="60" y="151"/>
                    <a:pt x="60" y="151"/>
                    <a:pt x="60" y="151"/>
                  </a:cubicBezTo>
                  <a:cubicBezTo>
                    <a:pt x="59" y="155"/>
                    <a:pt x="59" y="155"/>
                    <a:pt x="59" y="155"/>
                  </a:cubicBezTo>
                  <a:cubicBezTo>
                    <a:pt x="65" y="156"/>
                    <a:pt x="65" y="156"/>
                    <a:pt x="65" y="156"/>
                  </a:cubicBezTo>
                  <a:cubicBezTo>
                    <a:pt x="66" y="159"/>
                    <a:pt x="66" y="159"/>
                    <a:pt x="66" y="159"/>
                  </a:cubicBezTo>
                  <a:cubicBezTo>
                    <a:pt x="67" y="166"/>
                    <a:pt x="67" y="166"/>
                    <a:pt x="67" y="166"/>
                  </a:cubicBezTo>
                  <a:cubicBezTo>
                    <a:pt x="69" y="171"/>
                    <a:pt x="69" y="171"/>
                    <a:pt x="69" y="171"/>
                  </a:cubicBezTo>
                  <a:cubicBezTo>
                    <a:pt x="75" y="170"/>
                    <a:pt x="75" y="170"/>
                    <a:pt x="75" y="170"/>
                  </a:cubicBezTo>
                  <a:cubicBezTo>
                    <a:pt x="78" y="168"/>
                    <a:pt x="78" y="168"/>
                    <a:pt x="78" y="168"/>
                  </a:cubicBezTo>
                  <a:cubicBezTo>
                    <a:pt x="82" y="165"/>
                    <a:pt x="82" y="165"/>
                    <a:pt x="82" y="165"/>
                  </a:cubicBezTo>
                  <a:cubicBezTo>
                    <a:pt x="86" y="163"/>
                    <a:pt x="86" y="163"/>
                    <a:pt x="86" y="163"/>
                  </a:cubicBezTo>
                  <a:cubicBezTo>
                    <a:pt x="89" y="161"/>
                    <a:pt x="89" y="161"/>
                    <a:pt x="89" y="161"/>
                  </a:cubicBezTo>
                  <a:cubicBezTo>
                    <a:pt x="91" y="162"/>
                    <a:pt x="91" y="162"/>
                    <a:pt x="91" y="162"/>
                  </a:cubicBezTo>
                  <a:cubicBezTo>
                    <a:pt x="91" y="166"/>
                    <a:pt x="91" y="166"/>
                    <a:pt x="91" y="166"/>
                  </a:cubicBezTo>
                  <a:cubicBezTo>
                    <a:pt x="89" y="170"/>
                    <a:pt x="89" y="170"/>
                    <a:pt x="89" y="170"/>
                  </a:cubicBezTo>
                  <a:cubicBezTo>
                    <a:pt x="88" y="170"/>
                    <a:pt x="87" y="173"/>
                    <a:pt x="87" y="173"/>
                  </a:cubicBezTo>
                  <a:cubicBezTo>
                    <a:pt x="87" y="174"/>
                    <a:pt x="87" y="176"/>
                    <a:pt x="87" y="177"/>
                  </a:cubicBezTo>
                  <a:cubicBezTo>
                    <a:pt x="87" y="177"/>
                    <a:pt x="86" y="180"/>
                    <a:pt x="86" y="180"/>
                  </a:cubicBezTo>
                  <a:cubicBezTo>
                    <a:pt x="88" y="183"/>
                    <a:pt x="88" y="183"/>
                    <a:pt x="88" y="183"/>
                  </a:cubicBezTo>
                  <a:cubicBezTo>
                    <a:pt x="87" y="187"/>
                    <a:pt x="87" y="187"/>
                    <a:pt x="87" y="187"/>
                  </a:cubicBezTo>
                  <a:cubicBezTo>
                    <a:pt x="94" y="195"/>
                    <a:pt x="94" y="195"/>
                    <a:pt x="94" y="195"/>
                  </a:cubicBezTo>
                  <a:cubicBezTo>
                    <a:pt x="94" y="206"/>
                    <a:pt x="94" y="206"/>
                    <a:pt x="94" y="206"/>
                  </a:cubicBezTo>
                  <a:cubicBezTo>
                    <a:pt x="96" y="210"/>
                    <a:pt x="96" y="210"/>
                    <a:pt x="96" y="210"/>
                  </a:cubicBezTo>
                  <a:cubicBezTo>
                    <a:pt x="102" y="212"/>
                    <a:pt x="102" y="212"/>
                    <a:pt x="102" y="212"/>
                  </a:cubicBezTo>
                  <a:cubicBezTo>
                    <a:pt x="118" y="228"/>
                    <a:pt x="118" y="228"/>
                    <a:pt x="118" y="228"/>
                  </a:cubicBezTo>
                  <a:cubicBezTo>
                    <a:pt x="121" y="227"/>
                    <a:pt x="121" y="227"/>
                    <a:pt x="121" y="227"/>
                  </a:cubicBezTo>
                  <a:cubicBezTo>
                    <a:pt x="124" y="230"/>
                    <a:pt x="124" y="230"/>
                    <a:pt x="124" y="230"/>
                  </a:cubicBezTo>
                  <a:cubicBezTo>
                    <a:pt x="119" y="235"/>
                    <a:pt x="119" y="235"/>
                    <a:pt x="119" y="235"/>
                  </a:cubicBezTo>
                  <a:cubicBezTo>
                    <a:pt x="118" y="240"/>
                    <a:pt x="118" y="240"/>
                    <a:pt x="118" y="240"/>
                  </a:cubicBezTo>
                  <a:cubicBezTo>
                    <a:pt x="117" y="242"/>
                    <a:pt x="117" y="242"/>
                    <a:pt x="117" y="242"/>
                  </a:cubicBezTo>
                  <a:cubicBezTo>
                    <a:pt x="112" y="248"/>
                    <a:pt x="112" y="248"/>
                    <a:pt x="112" y="248"/>
                  </a:cubicBezTo>
                  <a:cubicBezTo>
                    <a:pt x="111" y="253"/>
                    <a:pt x="111" y="253"/>
                    <a:pt x="111" y="253"/>
                  </a:cubicBezTo>
                  <a:cubicBezTo>
                    <a:pt x="110" y="256"/>
                    <a:pt x="110" y="256"/>
                    <a:pt x="110" y="256"/>
                  </a:cubicBezTo>
                  <a:cubicBezTo>
                    <a:pt x="113" y="261"/>
                    <a:pt x="113" y="261"/>
                    <a:pt x="113" y="261"/>
                  </a:cubicBezTo>
                  <a:cubicBezTo>
                    <a:pt x="113" y="263"/>
                    <a:pt x="113" y="263"/>
                    <a:pt x="113" y="263"/>
                  </a:cubicBezTo>
                  <a:cubicBezTo>
                    <a:pt x="113" y="265"/>
                    <a:pt x="113" y="265"/>
                    <a:pt x="113" y="265"/>
                  </a:cubicBezTo>
                  <a:cubicBezTo>
                    <a:pt x="113" y="268"/>
                    <a:pt x="113" y="268"/>
                    <a:pt x="113" y="268"/>
                  </a:cubicBezTo>
                  <a:cubicBezTo>
                    <a:pt x="116" y="269"/>
                    <a:pt x="116" y="269"/>
                    <a:pt x="116" y="269"/>
                  </a:cubicBezTo>
                  <a:cubicBezTo>
                    <a:pt x="116" y="271"/>
                    <a:pt x="116" y="271"/>
                    <a:pt x="116" y="271"/>
                  </a:cubicBezTo>
                  <a:cubicBezTo>
                    <a:pt x="117" y="276"/>
                    <a:pt x="117" y="276"/>
                    <a:pt x="117" y="276"/>
                  </a:cubicBezTo>
                  <a:cubicBezTo>
                    <a:pt x="114" y="279"/>
                    <a:pt x="114" y="279"/>
                    <a:pt x="114" y="279"/>
                  </a:cubicBezTo>
                  <a:cubicBezTo>
                    <a:pt x="117" y="280"/>
                    <a:pt x="117" y="280"/>
                    <a:pt x="117" y="280"/>
                  </a:cubicBezTo>
                  <a:cubicBezTo>
                    <a:pt x="116" y="283"/>
                    <a:pt x="116" y="283"/>
                    <a:pt x="116" y="283"/>
                  </a:cubicBezTo>
                  <a:cubicBezTo>
                    <a:pt x="120" y="284"/>
                    <a:pt x="120" y="284"/>
                    <a:pt x="120" y="284"/>
                  </a:cubicBezTo>
                  <a:cubicBezTo>
                    <a:pt x="123" y="286"/>
                    <a:pt x="123" y="286"/>
                    <a:pt x="123" y="286"/>
                  </a:cubicBezTo>
                  <a:cubicBezTo>
                    <a:pt x="121" y="289"/>
                    <a:pt x="121" y="289"/>
                    <a:pt x="121" y="289"/>
                  </a:cubicBezTo>
                  <a:cubicBezTo>
                    <a:pt x="121" y="294"/>
                    <a:pt x="121" y="294"/>
                    <a:pt x="121" y="294"/>
                  </a:cubicBezTo>
                  <a:cubicBezTo>
                    <a:pt x="123" y="298"/>
                    <a:pt x="123" y="298"/>
                    <a:pt x="123" y="298"/>
                  </a:cubicBezTo>
                  <a:cubicBezTo>
                    <a:pt x="122" y="300"/>
                    <a:pt x="122" y="300"/>
                    <a:pt x="122" y="300"/>
                  </a:cubicBezTo>
                  <a:cubicBezTo>
                    <a:pt x="124" y="305"/>
                    <a:pt x="124" y="305"/>
                    <a:pt x="124" y="305"/>
                  </a:cubicBezTo>
                  <a:cubicBezTo>
                    <a:pt x="128" y="301"/>
                    <a:pt x="128" y="301"/>
                    <a:pt x="128" y="301"/>
                  </a:cubicBezTo>
                  <a:cubicBezTo>
                    <a:pt x="131" y="300"/>
                    <a:pt x="131" y="300"/>
                    <a:pt x="131" y="300"/>
                  </a:cubicBezTo>
                  <a:cubicBezTo>
                    <a:pt x="140" y="301"/>
                    <a:pt x="140" y="301"/>
                    <a:pt x="140" y="301"/>
                  </a:cubicBezTo>
                  <a:cubicBezTo>
                    <a:pt x="147" y="301"/>
                    <a:pt x="147" y="301"/>
                    <a:pt x="147" y="301"/>
                  </a:cubicBezTo>
                  <a:cubicBezTo>
                    <a:pt x="152" y="303"/>
                    <a:pt x="152" y="303"/>
                    <a:pt x="152" y="303"/>
                  </a:cubicBezTo>
                  <a:cubicBezTo>
                    <a:pt x="159" y="304"/>
                    <a:pt x="159" y="304"/>
                    <a:pt x="159" y="304"/>
                  </a:cubicBezTo>
                  <a:cubicBezTo>
                    <a:pt x="167" y="306"/>
                    <a:pt x="167" y="306"/>
                    <a:pt x="167" y="306"/>
                  </a:cubicBezTo>
                  <a:cubicBezTo>
                    <a:pt x="167" y="306"/>
                    <a:pt x="167" y="306"/>
                    <a:pt x="167" y="306"/>
                  </a:cubicBezTo>
                  <a:cubicBezTo>
                    <a:pt x="167" y="305"/>
                    <a:pt x="168" y="304"/>
                    <a:pt x="168" y="304"/>
                  </a:cubicBezTo>
                  <a:cubicBezTo>
                    <a:pt x="168" y="303"/>
                    <a:pt x="168" y="302"/>
                    <a:pt x="168" y="301"/>
                  </a:cubicBezTo>
                  <a:cubicBezTo>
                    <a:pt x="168" y="301"/>
                    <a:pt x="168" y="300"/>
                    <a:pt x="168" y="299"/>
                  </a:cubicBezTo>
                  <a:cubicBezTo>
                    <a:pt x="169" y="298"/>
                    <a:pt x="168" y="297"/>
                    <a:pt x="169" y="296"/>
                  </a:cubicBezTo>
                  <a:cubicBezTo>
                    <a:pt x="168" y="295"/>
                    <a:pt x="169" y="294"/>
                    <a:pt x="169" y="294"/>
                  </a:cubicBezTo>
                  <a:cubicBezTo>
                    <a:pt x="169" y="293"/>
                    <a:pt x="169" y="292"/>
                    <a:pt x="169" y="292"/>
                  </a:cubicBezTo>
                  <a:cubicBezTo>
                    <a:pt x="168" y="292"/>
                    <a:pt x="167" y="293"/>
                    <a:pt x="167" y="293"/>
                  </a:cubicBezTo>
                  <a:cubicBezTo>
                    <a:pt x="166" y="293"/>
                    <a:pt x="166" y="293"/>
                    <a:pt x="166" y="293"/>
                  </a:cubicBezTo>
                  <a:cubicBezTo>
                    <a:pt x="166" y="292"/>
                    <a:pt x="164" y="293"/>
                    <a:pt x="164" y="292"/>
                  </a:cubicBezTo>
                  <a:cubicBezTo>
                    <a:pt x="164" y="291"/>
                    <a:pt x="164" y="291"/>
                    <a:pt x="164" y="291"/>
                  </a:cubicBezTo>
                  <a:cubicBezTo>
                    <a:pt x="164" y="290"/>
                    <a:pt x="164" y="290"/>
                    <a:pt x="164" y="290"/>
                  </a:cubicBezTo>
                  <a:cubicBezTo>
                    <a:pt x="164" y="289"/>
                    <a:pt x="164" y="288"/>
                    <a:pt x="163" y="288"/>
                  </a:cubicBezTo>
                  <a:cubicBezTo>
                    <a:pt x="163" y="288"/>
                    <a:pt x="163" y="288"/>
                    <a:pt x="162" y="288"/>
                  </a:cubicBezTo>
                  <a:cubicBezTo>
                    <a:pt x="162" y="288"/>
                    <a:pt x="161" y="289"/>
                    <a:pt x="161" y="289"/>
                  </a:cubicBezTo>
                  <a:cubicBezTo>
                    <a:pt x="160" y="289"/>
                    <a:pt x="160" y="290"/>
                    <a:pt x="160" y="289"/>
                  </a:cubicBezTo>
                  <a:cubicBezTo>
                    <a:pt x="159" y="289"/>
                    <a:pt x="159" y="289"/>
                    <a:pt x="158" y="289"/>
                  </a:cubicBezTo>
                  <a:cubicBezTo>
                    <a:pt x="158" y="289"/>
                    <a:pt x="157" y="289"/>
                    <a:pt x="157" y="288"/>
                  </a:cubicBezTo>
                  <a:cubicBezTo>
                    <a:pt x="156" y="288"/>
                    <a:pt x="155" y="288"/>
                    <a:pt x="156" y="287"/>
                  </a:cubicBezTo>
                  <a:cubicBezTo>
                    <a:pt x="156" y="286"/>
                    <a:pt x="157" y="286"/>
                    <a:pt x="157" y="286"/>
                  </a:cubicBezTo>
                  <a:cubicBezTo>
                    <a:pt x="158" y="286"/>
                    <a:pt x="158" y="286"/>
                    <a:pt x="158" y="285"/>
                  </a:cubicBezTo>
                  <a:cubicBezTo>
                    <a:pt x="159" y="285"/>
                    <a:pt x="159" y="285"/>
                    <a:pt x="159" y="285"/>
                  </a:cubicBezTo>
                  <a:cubicBezTo>
                    <a:pt x="160" y="284"/>
                    <a:pt x="160" y="284"/>
                    <a:pt x="160" y="284"/>
                  </a:cubicBezTo>
                  <a:cubicBezTo>
                    <a:pt x="161" y="283"/>
                    <a:pt x="161" y="283"/>
                    <a:pt x="161" y="283"/>
                  </a:cubicBezTo>
                  <a:cubicBezTo>
                    <a:pt x="161" y="283"/>
                    <a:pt x="161" y="282"/>
                    <a:pt x="160" y="282"/>
                  </a:cubicBezTo>
                  <a:cubicBezTo>
                    <a:pt x="160" y="281"/>
                    <a:pt x="161" y="281"/>
                    <a:pt x="160" y="280"/>
                  </a:cubicBezTo>
                  <a:cubicBezTo>
                    <a:pt x="160" y="280"/>
                    <a:pt x="160" y="279"/>
                    <a:pt x="160" y="278"/>
                  </a:cubicBezTo>
                  <a:cubicBezTo>
                    <a:pt x="160" y="277"/>
                    <a:pt x="160" y="276"/>
                    <a:pt x="160" y="275"/>
                  </a:cubicBezTo>
                  <a:cubicBezTo>
                    <a:pt x="160" y="273"/>
                    <a:pt x="158" y="274"/>
                    <a:pt x="157" y="274"/>
                  </a:cubicBezTo>
                  <a:cubicBezTo>
                    <a:pt x="156" y="275"/>
                    <a:pt x="155" y="275"/>
                    <a:pt x="154" y="274"/>
                  </a:cubicBezTo>
                  <a:cubicBezTo>
                    <a:pt x="155" y="273"/>
                    <a:pt x="156" y="273"/>
                    <a:pt x="157" y="273"/>
                  </a:cubicBezTo>
                  <a:cubicBezTo>
                    <a:pt x="158" y="273"/>
                    <a:pt x="160" y="272"/>
                    <a:pt x="160" y="271"/>
                  </a:cubicBezTo>
                  <a:cubicBezTo>
                    <a:pt x="160" y="270"/>
                    <a:pt x="160" y="269"/>
                    <a:pt x="160" y="268"/>
                  </a:cubicBezTo>
                  <a:cubicBezTo>
                    <a:pt x="159" y="267"/>
                    <a:pt x="159" y="267"/>
                    <a:pt x="158" y="267"/>
                  </a:cubicBezTo>
                  <a:cubicBezTo>
                    <a:pt x="156" y="268"/>
                    <a:pt x="154" y="268"/>
                    <a:pt x="153" y="269"/>
                  </a:cubicBezTo>
                  <a:cubicBezTo>
                    <a:pt x="151" y="269"/>
                    <a:pt x="151" y="269"/>
                    <a:pt x="150" y="270"/>
                  </a:cubicBezTo>
                  <a:cubicBezTo>
                    <a:pt x="149" y="270"/>
                    <a:pt x="149" y="270"/>
                    <a:pt x="148" y="270"/>
                  </a:cubicBezTo>
                  <a:cubicBezTo>
                    <a:pt x="147" y="269"/>
                    <a:pt x="145" y="269"/>
                    <a:pt x="144" y="269"/>
                  </a:cubicBezTo>
                  <a:cubicBezTo>
                    <a:pt x="144" y="269"/>
                    <a:pt x="143" y="269"/>
                    <a:pt x="143" y="268"/>
                  </a:cubicBezTo>
                  <a:cubicBezTo>
                    <a:pt x="143" y="268"/>
                    <a:pt x="143" y="268"/>
                    <a:pt x="144" y="268"/>
                  </a:cubicBezTo>
                  <a:cubicBezTo>
                    <a:pt x="145" y="267"/>
                    <a:pt x="146" y="268"/>
                    <a:pt x="148" y="267"/>
                  </a:cubicBezTo>
                  <a:cubicBezTo>
                    <a:pt x="148" y="267"/>
                    <a:pt x="149" y="267"/>
                    <a:pt x="149" y="266"/>
                  </a:cubicBezTo>
                  <a:cubicBezTo>
                    <a:pt x="150" y="266"/>
                    <a:pt x="150" y="265"/>
                    <a:pt x="151" y="265"/>
                  </a:cubicBezTo>
                  <a:cubicBezTo>
                    <a:pt x="151" y="264"/>
                    <a:pt x="152" y="264"/>
                    <a:pt x="153" y="264"/>
                  </a:cubicBezTo>
                  <a:cubicBezTo>
                    <a:pt x="153" y="263"/>
                    <a:pt x="153" y="263"/>
                    <a:pt x="154" y="263"/>
                  </a:cubicBezTo>
                  <a:cubicBezTo>
                    <a:pt x="154" y="262"/>
                    <a:pt x="155" y="262"/>
                    <a:pt x="155" y="261"/>
                  </a:cubicBezTo>
                  <a:cubicBezTo>
                    <a:pt x="156" y="261"/>
                    <a:pt x="156" y="261"/>
                    <a:pt x="157" y="261"/>
                  </a:cubicBezTo>
                  <a:cubicBezTo>
                    <a:pt x="158" y="261"/>
                    <a:pt x="158" y="260"/>
                    <a:pt x="159" y="260"/>
                  </a:cubicBezTo>
                  <a:cubicBezTo>
                    <a:pt x="160" y="259"/>
                    <a:pt x="161" y="260"/>
                    <a:pt x="162" y="259"/>
                  </a:cubicBezTo>
                  <a:cubicBezTo>
                    <a:pt x="163" y="259"/>
                    <a:pt x="164" y="259"/>
                    <a:pt x="164" y="259"/>
                  </a:cubicBezTo>
                  <a:cubicBezTo>
                    <a:pt x="165" y="258"/>
                    <a:pt x="166" y="258"/>
                    <a:pt x="166" y="258"/>
                  </a:cubicBezTo>
                  <a:cubicBezTo>
                    <a:pt x="167" y="257"/>
                    <a:pt x="167" y="254"/>
                    <a:pt x="166" y="253"/>
                  </a:cubicBezTo>
                  <a:cubicBezTo>
                    <a:pt x="165" y="252"/>
                    <a:pt x="165" y="251"/>
                    <a:pt x="165" y="250"/>
                  </a:cubicBezTo>
                  <a:cubicBezTo>
                    <a:pt x="165" y="248"/>
                    <a:pt x="167" y="248"/>
                    <a:pt x="168" y="247"/>
                  </a:cubicBezTo>
                  <a:cubicBezTo>
                    <a:pt x="170" y="247"/>
                    <a:pt x="171" y="246"/>
                    <a:pt x="172" y="246"/>
                  </a:cubicBezTo>
                  <a:cubicBezTo>
                    <a:pt x="173" y="245"/>
                    <a:pt x="175" y="245"/>
                    <a:pt x="176" y="244"/>
                  </a:cubicBezTo>
                  <a:cubicBezTo>
                    <a:pt x="177" y="244"/>
                    <a:pt x="178" y="243"/>
                    <a:pt x="179" y="242"/>
                  </a:cubicBezTo>
                  <a:cubicBezTo>
                    <a:pt x="179" y="242"/>
                    <a:pt x="180" y="241"/>
                    <a:pt x="180" y="240"/>
                  </a:cubicBezTo>
                  <a:cubicBezTo>
                    <a:pt x="180" y="239"/>
                    <a:pt x="179" y="239"/>
                    <a:pt x="180" y="238"/>
                  </a:cubicBezTo>
                  <a:cubicBezTo>
                    <a:pt x="180" y="237"/>
                    <a:pt x="180" y="237"/>
                    <a:pt x="180" y="237"/>
                  </a:cubicBezTo>
                  <a:cubicBezTo>
                    <a:pt x="181" y="236"/>
                    <a:pt x="180" y="236"/>
                    <a:pt x="179" y="235"/>
                  </a:cubicBezTo>
                  <a:cubicBezTo>
                    <a:pt x="179" y="235"/>
                    <a:pt x="179" y="234"/>
                    <a:pt x="178" y="234"/>
                  </a:cubicBezTo>
                  <a:cubicBezTo>
                    <a:pt x="177" y="234"/>
                    <a:pt x="177" y="234"/>
                    <a:pt x="176" y="233"/>
                  </a:cubicBezTo>
                  <a:cubicBezTo>
                    <a:pt x="176" y="233"/>
                    <a:pt x="175" y="233"/>
                    <a:pt x="176" y="232"/>
                  </a:cubicBezTo>
                  <a:cubicBezTo>
                    <a:pt x="176" y="232"/>
                    <a:pt x="177" y="232"/>
                    <a:pt x="178" y="232"/>
                  </a:cubicBezTo>
                  <a:cubicBezTo>
                    <a:pt x="178" y="233"/>
                    <a:pt x="179" y="233"/>
                    <a:pt x="179" y="233"/>
                  </a:cubicBezTo>
                  <a:cubicBezTo>
                    <a:pt x="179" y="232"/>
                    <a:pt x="179" y="232"/>
                    <a:pt x="179" y="231"/>
                  </a:cubicBezTo>
                  <a:cubicBezTo>
                    <a:pt x="179" y="231"/>
                    <a:pt x="179" y="230"/>
                    <a:pt x="178" y="230"/>
                  </a:cubicBezTo>
                  <a:cubicBezTo>
                    <a:pt x="178" y="230"/>
                    <a:pt x="177" y="230"/>
                    <a:pt x="177" y="230"/>
                  </a:cubicBezTo>
                  <a:cubicBezTo>
                    <a:pt x="177" y="229"/>
                    <a:pt x="176" y="229"/>
                    <a:pt x="176" y="229"/>
                  </a:cubicBezTo>
                  <a:cubicBezTo>
                    <a:pt x="175" y="228"/>
                    <a:pt x="176" y="227"/>
                    <a:pt x="176" y="226"/>
                  </a:cubicBezTo>
                  <a:cubicBezTo>
                    <a:pt x="177" y="225"/>
                    <a:pt x="177" y="224"/>
                    <a:pt x="177" y="223"/>
                  </a:cubicBezTo>
                  <a:cubicBezTo>
                    <a:pt x="177" y="222"/>
                    <a:pt x="178" y="221"/>
                    <a:pt x="179" y="222"/>
                  </a:cubicBezTo>
                  <a:cubicBezTo>
                    <a:pt x="179" y="223"/>
                    <a:pt x="179" y="223"/>
                    <a:pt x="179" y="223"/>
                  </a:cubicBezTo>
                  <a:cubicBezTo>
                    <a:pt x="179" y="224"/>
                    <a:pt x="178" y="224"/>
                    <a:pt x="178" y="225"/>
                  </a:cubicBezTo>
                  <a:cubicBezTo>
                    <a:pt x="178" y="227"/>
                    <a:pt x="180" y="229"/>
                    <a:pt x="181" y="231"/>
                  </a:cubicBezTo>
                  <a:cubicBezTo>
                    <a:pt x="181" y="231"/>
                    <a:pt x="181" y="232"/>
                    <a:pt x="181" y="233"/>
                  </a:cubicBezTo>
                  <a:cubicBezTo>
                    <a:pt x="181" y="233"/>
                    <a:pt x="181" y="234"/>
                    <a:pt x="182" y="234"/>
                  </a:cubicBezTo>
                  <a:cubicBezTo>
                    <a:pt x="182" y="234"/>
                    <a:pt x="182" y="234"/>
                    <a:pt x="182" y="234"/>
                  </a:cubicBezTo>
                  <a:cubicBezTo>
                    <a:pt x="183" y="234"/>
                    <a:pt x="183" y="235"/>
                    <a:pt x="182" y="235"/>
                  </a:cubicBezTo>
                  <a:cubicBezTo>
                    <a:pt x="182" y="236"/>
                    <a:pt x="182" y="236"/>
                    <a:pt x="182" y="237"/>
                  </a:cubicBezTo>
                  <a:cubicBezTo>
                    <a:pt x="182" y="237"/>
                    <a:pt x="184" y="237"/>
                    <a:pt x="184" y="237"/>
                  </a:cubicBezTo>
                  <a:cubicBezTo>
                    <a:pt x="185" y="237"/>
                    <a:pt x="186" y="237"/>
                    <a:pt x="187" y="237"/>
                  </a:cubicBezTo>
                  <a:cubicBezTo>
                    <a:pt x="187" y="237"/>
                    <a:pt x="188" y="237"/>
                    <a:pt x="188" y="237"/>
                  </a:cubicBezTo>
                  <a:cubicBezTo>
                    <a:pt x="189" y="236"/>
                    <a:pt x="189" y="236"/>
                    <a:pt x="190" y="235"/>
                  </a:cubicBezTo>
                  <a:cubicBezTo>
                    <a:pt x="191" y="234"/>
                    <a:pt x="193" y="234"/>
                    <a:pt x="194" y="233"/>
                  </a:cubicBezTo>
                  <a:cubicBezTo>
                    <a:pt x="195" y="232"/>
                    <a:pt x="195" y="231"/>
                    <a:pt x="195" y="230"/>
                  </a:cubicBezTo>
                  <a:cubicBezTo>
                    <a:pt x="195" y="230"/>
                    <a:pt x="195" y="229"/>
                    <a:pt x="196" y="229"/>
                  </a:cubicBezTo>
                  <a:cubicBezTo>
                    <a:pt x="196" y="228"/>
                    <a:pt x="197" y="228"/>
                    <a:pt x="197" y="227"/>
                  </a:cubicBezTo>
                  <a:cubicBezTo>
                    <a:pt x="198" y="227"/>
                    <a:pt x="198" y="225"/>
                    <a:pt x="199" y="225"/>
                  </a:cubicBezTo>
                  <a:cubicBezTo>
                    <a:pt x="200" y="224"/>
                    <a:pt x="200" y="223"/>
                    <a:pt x="201" y="222"/>
                  </a:cubicBezTo>
                  <a:cubicBezTo>
                    <a:pt x="202" y="221"/>
                    <a:pt x="202" y="220"/>
                    <a:pt x="203" y="220"/>
                  </a:cubicBezTo>
                  <a:cubicBezTo>
                    <a:pt x="203" y="219"/>
                    <a:pt x="203" y="218"/>
                    <a:pt x="204" y="218"/>
                  </a:cubicBezTo>
                  <a:cubicBezTo>
                    <a:pt x="205" y="218"/>
                    <a:pt x="205" y="217"/>
                    <a:pt x="206" y="217"/>
                  </a:cubicBezTo>
                  <a:cubicBezTo>
                    <a:pt x="207" y="216"/>
                    <a:pt x="208" y="216"/>
                    <a:pt x="208" y="215"/>
                  </a:cubicBezTo>
                  <a:cubicBezTo>
                    <a:pt x="209" y="214"/>
                    <a:pt x="209" y="214"/>
                    <a:pt x="209" y="214"/>
                  </a:cubicBezTo>
                  <a:cubicBezTo>
                    <a:pt x="209" y="213"/>
                    <a:pt x="209" y="213"/>
                    <a:pt x="209" y="213"/>
                  </a:cubicBezTo>
                  <a:cubicBezTo>
                    <a:pt x="209" y="212"/>
                    <a:pt x="209" y="210"/>
                    <a:pt x="209" y="210"/>
                  </a:cubicBezTo>
                  <a:cubicBezTo>
                    <a:pt x="210" y="211"/>
                    <a:pt x="210" y="212"/>
                    <a:pt x="210" y="212"/>
                  </a:cubicBezTo>
                  <a:cubicBezTo>
                    <a:pt x="211" y="212"/>
                    <a:pt x="211" y="212"/>
                    <a:pt x="211" y="212"/>
                  </a:cubicBezTo>
                  <a:cubicBezTo>
                    <a:pt x="211" y="211"/>
                    <a:pt x="211" y="211"/>
                    <a:pt x="211" y="211"/>
                  </a:cubicBezTo>
                  <a:cubicBezTo>
                    <a:pt x="211" y="210"/>
                    <a:pt x="210" y="210"/>
                    <a:pt x="210" y="209"/>
                  </a:cubicBezTo>
                  <a:cubicBezTo>
                    <a:pt x="210" y="208"/>
                    <a:pt x="210" y="207"/>
                    <a:pt x="211" y="206"/>
                  </a:cubicBezTo>
                  <a:cubicBezTo>
                    <a:pt x="212" y="206"/>
                    <a:pt x="212" y="207"/>
                    <a:pt x="212" y="207"/>
                  </a:cubicBezTo>
                  <a:cubicBezTo>
                    <a:pt x="212" y="208"/>
                    <a:pt x="212" y="208"/>
                    <a:pt x="212" y="209"/>
                  </a:cubicBezTo>
                  <a:cubicBezTo>
                    <a:pt x="212" y="210"/>
                    <a:pt x="212" y="210"/>
                    <a:pt x="213" y="211"/>
                  </a:cubicBezTo>
                  <a:cubicBezTo>
                    <a:pt x="214" y="211"/>
                    <a:pt x="214" y="211"/>
                    <a:pt x="213" y="212"/>
                  </a:cubicBezTo>
                  <a:cubicBezTo>
                    <a:pt x="213" y="212"/>
                    <a:pt x="213" y="213"/>
                    <a:pt x="214" y="214"/>
                  </a:cubicBezTo>
                  <a:cubicBezTo>
                    <a:pt x="214" y="214"/>
                    <a:pt x="215" y="215"/>
                    <a:pt x="215" y="214"/>
                  </a:cubicBezTo>
                  <a:cubicBezTo>
                    <a:pt x="215" y="214"/>
                    <a:pt x="215" y="213"/>
                    <a:pt x="215" y="213"/>
                  </a:cubicBezTo>
                  <a:cubicBezTo>
                    <a:pt x="216" y="213"/>
                    <a:pt x="216" y="213"/>
                    <a:pt x="216" y="213"/>
                  </a:cubicBezTo>
                  <a:cubicBezTo>
                    <a:pt x="217" y="212"/>
                    <a:pt x="217" y="212"/>
                    <a:pt x="217" y="212"/>
                  </a:cubicBezTo>
                  <a:cubicBezTo>
                    <a:pt x="216" y="211"/>
                    <a:pt x="216" y="211"/>
                    <a:pt x="216" y="211"/>
                  </a:cubicBezTo>
                  <a:cubicBezTo>
                    <a:pt x="216" y="211"/>
                    <a:pt x="216" y="211"/>
                    <a:pt x="216" y="210"/>
                  </a:cubicBezTo>
                  <a:cubicBezTo>
                    <a:pt x="216" y="210"/>
                    <a:pt x="216" y="210"/>
                    <a:pt x="216" y="210"/>
                  </a:cubicBezTo>
                  <a:cubicBezTo>
                    <a:pt x="217" y="210"/>
                    <a:pt x="217" y="210"/>
                    <a:pt x="218" y="211"/>
                  </a:cubicBezTo>
                  <a:cubicBezTo>
                    <a:pt x="218" y="212"/>
                    <a:pt x="218" y="212"/>
                    <a:pt x="219" y="213"/>
                  </a:cubicBezTo>
                  <a:cubicBezTo>
                    <a:pt x="219" y="213"/>
                    <a:pt x="220" y="213"/>
                    <a:pt x="220" y="213"/>
                  </a:cubicBezTo>
                  <a:cubicBezTo>
                    <a:pt x="221" y="213"/>
                    <a:pt x="220" y="211"/>
                    <a:pt x="219" y="211"/>
                  </a:cubicBezTo>
                  <a:cubicBezTo>
                    <a:pt x="218" y="210"/>
                    <a:pt x="218" y="210"/>
                    <a:pt x="218" y="209"/>
                  </a:cubicBezTo>
                  <a:cubicBezTo>
                    <a:pt x="219" y="209"/>
                    <a:pt x="219" y="210"/>
                    <a:pt x="220" y="210"/>
                  </a:cubicBezTo>
                  <a:cubicBezTo>
                    <a:pt x="220" y="209"/>
                    <a:pt x="220" y="208"/>
                    <a:pt x="219" y="208"/>
                  </a:cubicBezTo>
                  <a:cubicBezTo>
                    <a:pt x="219" y="207"/>
                    <a:pt x="218" y="207"/>
                    <a:pt x="219" y="206"/>
                  </a:cubicBezTo>
                  <a:cubicBezTo>
                    <a:pt x="219" y="206"/>
                    <a:pt x="219" y="206"/>
                    <a:pt x="219" y="206"/>
                  </a:cubicBezTo>
                  <a:cubicBezTo>
                    <a:pt x="220" y="206"/>
                    <a:pt x="220" y="207"/>
                    <a:pt x="221" y="207"/>
                  </a:cubicBezTo>
                  <a:cubicBezTo>
                    <a:pt x="221" y="207"/>
                    <a:pt x="221" y="207"/>
                    <a:pt x="222" y="207"/>
                  </a:cubicBezTo>
                  <a:cubicBezTo>
                    <a:pt x="222" y="207"/>
                    <a:pt x="222" y="207"/>
                    <a:pt x="223" y="207"/>
                  </a:cubicBezTo>
                  <a:cubicBezTo>
                    <a:pt x="224" y="207"/>
                    <a:pt x="224" y="208"/>
                    <a:pt x="224" y="208"/>
                  </a:cubicBezTo>
                  <a:cubicBezTo>
                    <a:pt x="225" y="209"/>
                    <a:pt x="226" y="209"/>
                    <a:pt x="227" y="209"/>
                  </a:cubicBezTo>
                  <a:cubicBezTo>
                    <a:pt x="227" y="209"/>
                    <a:pt x="228" y="208"/>
                    <a:pt x="228" y="208"/>
                  </a:cubicBezTo>
                  <a:cubicBezTo>
                    <a:pt x="228" y="207"/>
                    <a:pt x="228" y="207"/>
                    <a:pt x="228" y="207"/>
                  </a:cubicBezTo>
                  <a:cubicBezTo>
                    <a:pt x="229" y="207"/>
                    <a:pt x="230" y="207"/>
                    <a:pt x="230" y="207"/>
                  </a:cubicBezTo>
                  <a:cubicBezTo>
                    <a:pt x="231" y="207"/>
                    <a:pt x="231" y="207"/>
                    <a:pt x="231" y="206"/>
                  </a:cubicBezTo>
                  <a:cubicBezTo>
                    <a:pt x="232" y="206"/>
                    <a:pt x="231" y="205"/>
                    <a:pt x="231" y="205"/>
                  </a:cubicBezTo>
                  <a:cubicBezTo>
                    <a:pt x="231" y="204"/>
                    <a:pt x="231" y="204"/>
                    <a:pt x="230" y="204"/>
                  </a:cubicBezTo>
                  <a:cubicBezTo>
                    <a:pt x="229" y="204"/>
                    <a:pt x="228" y="204"/>
                    <a:pt x="228" y="204"/>
                  </a:cubicBezTo>
                  <a:cubicBezTo>
                    <a:pt x="227" y="204"/>
                    <a:pt x="226" y="204"/>
                    <a:pt x="226" y="204"/>
                  </a:cubicBezTo>
                  <a:cubicBezTo>
                    <a:pt x="225" y="204"/>
                    <a:pt x="225" y="204"/>
                    <a:pt x="225" y="204"/>
                  </a:cubicBezTo>
                  <a:cubicBezTo>
                    <a:pt x="224" y="204"/>
                    <a:pt x="223" y="204"/>
                    <a:pt x="223" y="203"/>
                  </a:cubicBezTo>
                  <a:cubicBezTo>
                    <a:pt x="222" y="202"/>
                    <a:pt x="222" y="201"/>
                    <a:pt x="221" y="201"/>
                  </a:cubicBezTo>
                  <a:cubicBezTo>
                    <a:pt x="221" y="200"/>
                    <a:pt x="220" y="200"/>
                    <a:pt x="220" y="199"/>
                  </a:cubicBezTo>
                  <a:cubicBezTo>
                    <a:pt x="221" y="199"/>
                    <a:pt x="221" y="199"/>
                    <a:pt x="222" y="199"/>
                  </a:cubicBezTo>
                  <a:cubicBezTo>
                    <a:pt x="222" y="200"/>
                    <a:pt x="222" y="200"/>
                    <a:pt x="223" y="200"/>
                  </a:cubicBezTo>
                  <a:cubicBezTo>
                    <a:pt x="223" y="201"/>
                    <a:pt x="223" y="201"/>
                    <a:pt x="223" y="201"/>
                  </a:cubicBezTo>
                  <a:cubicBezTo>
                    <a:pt x="224" y="202"/>
                    <a:pt x="225" y="202"/>
                    <a:pt x="226" y="201"/>
                  </a:cubicBezTo>
                  <a:cubicBezTo>
                    <a:pt x="226" y="201"/>
                    <a:pt x="226" y="201"/>
                    <a:pt x="225" y="200"/>
                  </a:cubicBezTo>
                  <a:cubicBezTo>
                    <a:pt x="225" y="200"/>
                    <a:pt x="225" y="200"/>
                    <a:pt x="225" y="199"/>
                  </a:cubicBezTo>
                  <a:cubicBezTo>
                    <a:pt x="225" y="198"/>
                    <a:pt x="226" y="198"/>
                    <a:pt x="226" y="199"/>
                  </a:cubicBezTo>
                  <a:cubicBezTo>
                    <a:pt x="226" y="199"/>
                    <a:pt x="227" y="199"/>
                    <a:pt x="227" y="199"/>
                  </a:cubicBezTo>
                  <a:cubicBezTo>
                    <a:pt x="228" y="198"/>
                    <a:pt x="228" y="198"/>
                    <a:pt x="228" y="198"/>
                  </a:cubicBezTo>
                  <a:cubicBezTo>
                    <a:pt x="227" y="197"/>
                    <a:pt x="226" y="197"/>
                    <a:pt x="225" y="196"/>
                  </a:cubicBezTo>
                  <a:cubicBezTo>
                    <a:pt x="225" y="196"/>
                    <a:pt x="225" y="196"/>
                    <a:pt x="225" y="196"/>
                  </a:cubicBezTo>
                  <a:cubicBezTo>
                    <a:pt x="225" y="195"/>
                    <a:pt x="225" y="195"/>
                    <a:pt x="226" y="196"/>
                  </a:cubicBezTo>
                  <a:cubicBezTo>
                    <a:pt x="226" y="196"/>
                    <a:pt x="227" y="196"/>
                    <a:pt x="228" y="196"/>
                  </a:cubicBezTo>
                  <a:cubicBezTo>
                    <a:pt x="228" y="196"/>
                    <a:pt x="228" y="195"/>
                    <a:pt x="229" y="195"/>
                  </a:cubicBezTo>
                  <a:cubicBezTo>
                    <a:pt x="229" y="194"/>
                    <a:pt x="229" y="192"/>
                    <a:pt x="229" y="191"/>
                  </a:cubicBezTo>
                  <a:cubicBezTo>
                    <a:pt x="228" y="191"/>
                    <a:pt x="228" y="191"/>
                    <a:pt x="228" y="191"/>
                  </a:cubicBezTo>
                  <a:cubicBezTo>
                    <a:pt x="227" y="190"/>
                    <a:pt x="227" y="190"/>
                    <a:pt x="227" y="190"/>
                  </a:cubicBezTo>
                  <a:cubicBezTo>
                    <a:pt x="227" y="190"/>
                    <a:pt x="228" y="189"/>
                    <a:pt x="229" y="189"/>
                  </a:cubicBezTo>
                  <a:cubicBezTo>
                    <a:pt x="230" y="189"/>
                    <a:pt x="231" y="188"/>
                    <a:pt x="232" y="188"/>
                  </a:cubicBezTo>
                  <a:cubicBezTo>
                    <a:pt x="232" y="187"/>
                    <a:pt x="232" y="187"/>
                    <a:pt x="231" y="186"/>
                  </a:cubicBezTo>
                  <a:cubicBezTo>
                    <a:pt x="231" y="185"/>
                    <a:pt x="231" y="185"/>
                    <a:pt x="230" y="185"/>
                  </a:cubicBezTo>
                  <a:cubicBezTo>
                    <a:pt x="230" y="185"/>
                    <a:pt x="229" y="185"/>
                    <a:pt x="229" y="185"/>
                  </a:cubicBezTo>
                  <a:cubicBezTo>
                    <a:pt x="228" y="185"/>
                    <a:pt x="228" y="186"/>
                    <a:pt x="227" y="186"/>
                  </a:cubicBezTo>
                  <a:cubicBezTo>
                    <a:pt x="226" y="187"/>
                    <a:pt x="225" y="188"/>
                    <a:pt x="224" y="189"/>
                  </a:cubicBezTo>
                  <a:cubicBezTo>
                    <a:pt x="224" y="189"/>
                    <a:pt x="223" y="189"/>
                    <a:pt x="222" y="190"/>
                  </a:cubicBezTo>
                  <a:cubicBezTo>
                    <a:pt x="221" y="190"/>
                    <a:pt x="221" y="190"/>
                    <a:pt x="221" y="190"/>
                  </a:cubicBezTo>
                  <a:cubicBezTo>
                    <a:pt x="221" y="189"/>
                    <a:pt x="222" y="188"/>
                    <a:pt x="223" y="188"/>
                  </a:cubicBezTo>
                  <a:cubicBezTo>
                    <a:pt x="224" y="188"/>
                    <a:pt x="225" y="187"/>
                    <a:pt x="225" y="186"/>
                  </a:cubicBezTo>
                  <a:cubicBezTo>
                    <a:pt x="226" y="185"/>
                    <a:pt x="226" y="183"/>
                    <a:pt x="226" y="182"/>
                  </a:cubicBezTo>
                  <a:cubicBezTo>
                    <a:pt x="226" y="182"/>
                    <a:pt x="226" y="182"/>
                    <a:pt x="226" y="182"/>
                  </a:cubicBezTo>
                  <a:cubicBezTo>
                    <a:pt x="226" y="182"/>
                    <a:pt x="226" y="182"/>
                    <a:pt x="226" y="182"/>
                  </a:cubicBezTo>
                  <a:cubicBezTo>
                    <a:pt x="226" y="182"/>
                    <a:pt x="226" y="182"/>
                    <a:pt x="226" y="182"/>
                  </a:cubicBezTo>
                  <a:cubicBezTo>
                    <a:pt x="226" y="181"/>
                    <a:pt x="226" y="181"/>
                    <a:pt x="226" y="181"/>
                  </a:cubicBezTo>
                  <a:cubicBezTo>
                    <a:pt x="225" y="181"/>
                    <a:pt x="225" y="181"/>
                    <a:pt x="225" y="181"/>
                  </a:cubicBezTo>
                  <a:cubicBezTo>
                    <a:pt x="224" y="181"/>
                    <a:pt x="224" y="181"/>
                    <a:pt x="223" y="180"/>
                  </a:cubicBezTo>
                  <a:cubicBezTo>
                    <a:pt x="223" y="179"/>
                    <a:pt x="223" y="180"/>
                    <a:pt x="222" y="180"/>
                  </a:cubicBezTo>
                  <a:cubicBezTo>
                    <a:pt x="221" y="180"/>
                    <a:pt x="221" y="180"/>
                    <a:pt x="221" y="179"/>
                  </a:cubicBezTo>
                  <a:cubicBezTo>
                    <a:pt x="221" y="178"/>
                    <a:pt x="221" y="178"/>
                    <a:pt x="220" y="177"/>
                  </a:cubicBezTo>
                  <a:cubicBezTo>
                    <a:pt x="220" y="176"/>
                    <a:pt x="219" y="175"/>
                    <a:pt x="220" y="174"/>
                  </a:cubicBezTo>
                  <a:cubicBezTo>
                    <a:pt x="220" y="173"/>
                    <a:pt x="220" y="172"/>
                    <a:pt x="221" y="172"/>
                  </a:cubicBezTo>
                  <a:cubicBezTo>
                    <a:pt x="221" y="171"/>
                    <a:pt x="222" y="170"/>
                    <a:pt x="222" y="169"/>
                  </a:cubicBezTo>
                  <a:cubicBezTo>
                    <a:pt x="223" y="167"/>
                    <a:pt x="222" y="166"/>
                    <a:pt x="223" y="164"/>
                  </a:cubicBezTo>
                  <a:cubicBezTo>
                    <a:pt x="224" y="163"/>
                    <a:pt x="225" y="162"/>
                    <a:pt x="225" y="161"/>
                  </a:cubicBezTo>
                  <a:cubicBezTo>
                    <a:pt x="225" y="160"/>
                    <a:pt x="225" y="160"/>
                    <a:pt x="225" y="159"/>
                  </a:cubicBezTo>
                  <a:cubicBezTo>
                    <a:pt x="225" y="158"/>
                    <a:pt x="225" y="157"/>
                    <a:pt x="224" y="157"/>
                  </a:cubicBezTo>
                  <a:cubicBezTo>
                    <a:pt x="223" y="156"/>
                    <a:pt x="222" y="156"/>
                    <a:pt x="223" y="154"/>
                  </a:cubicBezTo>
                  <a:cubicBezTo>
                    <a:pt x="223" y="154"/>
                    <a:pt x="223" y="153"/>
                    <a:pt x="224" y="153"/>
                  </a:cubicBezTo>
                  <a:cubicBezTo>
                    <a:pt x="224" y="153"/>
                    <a:pt x="224" y="153"/>
                    <a:pt x="224" y="153"/>
                  </a:cubicBezTo>
                  <a:cubicBezTo>
                    <a:pt x="225" y="152"/>
                    <a:pt x="224" y="152"/>
                    <a:pt x="224" y="151"/>
                  </a:cubicBezTo>
                  <a:cubicBezTo>
                    <a:pt x="224" y="151"/>
                    <a:pt x="224" y="150"/>
                    <a:pt x="224" y="149"/>
                  </a:cubicBezTo>
                  <a:cubicBezTo>
                    <a:pt x="224" y="148"/>
                    <a:pt x="224" y="148"/>
                    <a:pt x="225" y="147"/>
                  </a:cubicBezTo>
                  <a:cubicBezTo>
                    <a:pt x="225" y="146"/>
                    <a:pt x="225" y="145"/>
                    <a:pt x="225" y="144"/>
                  </a:cubicBezTo>
                  <a:cubicBezTo>
                    <a:pt x="226" y="142"/>
                    <a:pt x="226" y="141"/>
                    <a:pt x="227" y="139"/>
                  </a:cubicBezTo>
                  <a:cubicBezTo>
                    <a:pt x="228" y="138"/>
                    <a:pt x="228" y="137"/>
                    <a:pt x="228" y="136"/>
                  </a:cubicBezTo>
                  <a:cubicBezTo>
                    <a:pt x="228" y="135"/>
                    <a:pt x="228" y="135"/>
                    <a:pt x="229" y="135"/>
                  </a:cubicBezTo>
                  <a:cubicBezTo>
                    <a:pt x="230" y="134"/>
                    <a:pt x="230" y="135"/>
                    <a:pt x="230" y="134"/>
                  </a:cubicBezTo>
                  <a:cubicBezTo>
                    <a:pt x="231" y="133"/>
                    <a:pt x="230" y="133"/>
                    <a:pt x="230" y="132"/>
                  </a:cubicBezTo>
                  <a:cubicBezTo>
                    <a:pt x="230" y="129"/>
                    <a:pt x="232" y="128"/>
                    <a:pt x="233" y="126"/>
                  </a:cubicBezTo>
                  <a:cubicBezTo>
                    <a:pt x="234" y="125"/>
                    <a:pt x="234" y="124"/>
                    <a:pt x="234" y="123"/>
                  </a:cubicBezTo>
                  <a:cubicBezTo>
                    <a:pt x="235" y="123"/>
                    <a:pt x="235" y="123"/>
                    <a:pt x="236" y="123"/>
                  </a:cubicBezTo>
                  <a:cubicBezTo>
                    <a:pt x="237" y="122"/>
                    <a:pt x="237" y="122"/>
                    <a:pt x="237" y="122"/>
                  </a:cubicBezTo>
                  <a:cubicBezTo>
                    <a:pt x="237" y="121"/>
                    <a:pt x="237" y="120"/>
                    <a:pt x="237" y="119"/>
                  </a:cubicBezTo>
                  <a:cubicBezTo>
                    <a:pt x="237" y="118"/>
                    <a:pt x="238" y="116"/>
                    <a:pt x="239" y="115"/>
                  </a:cubicBezTo>
                  <a:cubicBezTo>
                    <a:pt x="240" y="114"/>
                    <a:pt x="241" y="113"/>
                    <a:pt x="242" y="112"/>
                  </a:cubicBezTo>
                  <a:cubicBezTo>
                    <a:pt x="243" y="111"/>
                    <a:pt x="243" y="111"/>
                    <a:pt x="244" y="111"/>
                  </a:cubicBezTo>
                  <a:cubicBezTo>
                    <a:pt x="244" y="110"/>
                    <a:pt x="245" y="110"/>
                    <a:pt x="245" y="110"/>
                  </a:cubicBezTo>
                  <a:cubicBezTo>
                    <a:pt x="246" y="111"/>
                    <a:pt x="246" y="111"/>
                    <a:pt x="247" y="110"/>
                  </a:cubicBezTo>
                  <a:cubicBezTo>
                    <a:pt x="247" y="110"/>
                    <a:pt x="247" y="109"/>
                    <a:pt x="247" y="109"/>
                  </a:cubicBezTo>
                  <a:cubicBezTo>
                    <a:pt x="249" y="109"/>
                    <a:pt x="249" y="109"/>
                    <a:pt x="250" y="110"/>
                  </a:cubicBezTo>
                  <a:cubicBezTo>
                    <a:pt x="250" y="110"/>
                    <a:pt x="251" y="111"/>
                    <a:pt x="251" y="111"/>
                  </a:cubicBezTo>
                  <a:cubicBezTo>
                    <a:pt x="251" y="111"/>
                    <a:pt x="252" y="111"/>
                    <a:pt x="252" y="111"/>
                  </a:cubicBezTo>
                  <a:cubicBezTo>
                    <a:pt x="253" y="111"/>
                    <a:pt x="256" y="113"/>
                    <a:pt x="257" y="112"/>
                  </a:cubicBezTo>
                  <a:cubicBezTo>
                    <a:pt x="257" y="111"/>
                    <a:pt x="257" y="110"/>
                    <a:pt x="257" y="109"/>
                  </a:cubicBezTo>
                  <a:cubicBezTo>
                    <a:pt x="256" y="108"/>
                    <a:pt x="256" y="108"/>
                    <a:pt x="256" y="107"/>
                  </a:cubicBezTo>
                  <a:cubicBezTo>
                    <a:pt x="256" y="107"/>
                    <a:pt x="255" y="106"/>
                    <a:pt x="255" y="106"/>
                  </a:cubicBezTo>
                  <a:cubicBezTo>
                    <a:pt x="255" y="105"/>
                    <a:pt x="254" y="104"/>
                    <a:pt x="254" y="103"/>
                  </a:cubicBezTo>
                  <a:cubicBezTo>
                    <a:pt x="253" y="102"/>
                    <a:pt x="253" y="101"/>
                    <a:pt x="253" y="99"/>
                  </a:cubicBezTo>
                  <a:cubicBezTo>
                    <a:pt x="253" y="98"/>
                    <a:pt x="253" y="97"/>
                    <a:pt x="252" y="96"/>
                  </a:cubicBezTo>
                  <a:cubicBezTo>
                    <a:pt x="251" y="95"/>
                    <a:pt x="250" y="95"/>
                    <a:pt x="249" y="94"/>
                  </a:cubicBezTo>
                  <a:cubicBezTo>
                    <a:pt x="249" y="94"/>
                    <a:pt x="247" y="92"/>
                    <a:pt x="248" y="91"/>
                  </a:cubicBezTo>
                  <a:cubicBezTo>
                    <a:pt x="249" y="92"/>
                    <a:pt x="250" y="92"/>
                    <a:pt x="250" y="93"/>
                  </a:cubicBezTo>
                  <a:cubicBezTo>
                    <a:pt x="251" y="93"/>
                    <a:pt x="251" y="93"/>
                    <a:pt x="252" y="94"/>
                  </a:cubicBezTo>
                  <a:cubicBezTo>
                    <a:pt x="252" y="94"/>
                    <a:pt x="253" y="94"/>
                    <a:pt x="254" y="95"/>
                  </a:cubicBezTo>
                  <a:cubicBezTo>
                    <a:pt x="254" y="95"/>
                    <a:pt x="255" y="97"/>
                    <a:pt x="254" y="98"/>
                  </a:cubicBezTo>
                  <a:cubicBezTo>
                    <a:pt x="255" y="100"/>
                    <a:pt x="257" y="101"/>
                    <a:pt x="258" y="103"/>
                  </a:cubicBezTo>
                  <a:cubicBezTo>
                    <a:pt x="258" y="104"/>
                    <a:pt x="259" y="105"/>
                    <a:pt x="259" y="105"/>
                  </a:cubicBezTo>
                  <a:cubicBezTo>
                    <a:pt x="260" y="105"/>
                    <a:pt x="261" y="105"/>
                    <a:pt x="262" y="105"/>
                  </a:cubicBezTo>
                  <a:cubicBezTo>
                    <a:pt x="263" y="105"/>
                    <a:pt x="265" y="106"/>
                    <a:pt x="266" y="106"/>
                  </a:cubicBezTo>
                  <a:cubicBezTo>
                    <a:pt x="268" y="107"/>
                    <a:pt x="269" y="107"/>
                    <a:pt x="271" y="107"/>
                  </a:cubicBezTo>
                  <a:cubicBezTo>
                    <a:pt x="272" y="107"/>
                    <a:pt x="273" y="108"/>
                    <a:pt x="273" y="108"/>
                  </a:cubicBezTo>
                  <a:cubicBezTo>
                    <a:pt x="274" y="108"/>
                    <a:pt x="274" y="108"/>
                    <a:pt x="275" y="108"/>
                  </a:cubicBezTo>
                  <a:cubicBezTo>
                    <a:pt x="275" y="108"/>
                    <a:pt x="275" y="109"/>
                    <a:pt x="276" y="110"/>
                  </a:cubicBezTo>
                  <a:cubicBezTo>
                    <a:pt x="276" y="110"/>
                    <a:pt x="278" y="110"/>
                    <a:pt x="279" y="110"/>
                  </a:cubicBezTo>
                  <a:cubicBezTo>
                    <a:pt x="280" y="110"/>
                    <a:pt x="280" y="109"/>
                    <a:pt x="281" y="109"/>
                  </a:cubicBezTo>
                  <a:cubicBezTo>
                    <a:pt x="282" y="108"/>
                    <a:pt x="282" y="109"/>
                    <a:pt x="283" y="109"/>
                  </a:cubicBezTo>
                  <a:cubicBezTo>
                    <a:pt x="284" y="109"/>
                    <a:pt x="285" y="109"/>
                    <a:pt x="286" y="109"/>
                  </a:cubicBezTo>
                  <a:cubicBezTo>
                    <a:pt x="287" y="109"/>
                    <a:pt x="289" y="110"/>
                    <a:pt x="290" y="110"/>
                  </a:cubicBezTo>
                  <a:cubicBezTo>
                    <a:pt x="291" y="110"/>
                    <a:pt x="291" y="109"/>
                    <a:pt x="292" y="109"/>
                  </a:cubicBezTo>
                  <a:cubicBezTo>
                    <a:pt x="292" y="108"/>
                    <a:pt x="292" y="108"/>
                    <a:pt x="292" y="108"/>
                  </a:cubicBezTo>
                  <a:cubicBezTo>
                    <a:pt x="293" y="108"/>
                    <a:pt x="294" y="108"/>
                    <a:pt x="295" y="108"/>
                  </a:cubicBezTo>
                  <a:cubicBezTo>
                    <a:pt x="296" y="107"/>
                    <a:pt x="297" y="108"/>
                    <a:pt x="297" y="109"/>
                  </a:cubicBezTo>
                  <a:cubicBezTo>
                    <a:pt x="298" y="109"/>
                    <a:pt x="299" y="110"/>
                    <a:pt x="300" y="110"/>
                  </a:cubicBezTo>
                  <a:cubicBezTo>
                    <a:pt x="301" y="110"/>
                    <a:pt x="302" y="110"/>
                    <a:pt x="303" y="110"/>
                  </a:cubicBezTo>
                  <a:cubicBezTo>
                    <a:pt x="305" y="110"/>
                    <a:pt x="305" y="108"/>
                    <a:pt x="306" y="107"/>
                  </a:cubicBezTo>
                  <a:cubicBezTo>
                    <a:pt x="307" y="107"/>
                    <a:pt x="307" y="106"/>
                    <a:pt x="308" y="106"/>
                  </a:cubicBezTo>
                  <a:cubicBezTo>
                    <a:pt x="309" y="106"/>
                    <a:pt x="309" y="106"/>
                    <a:pt x="310" y="106"/>
                  </a:cubicBezTo>
                  <a:cubicBezTo>
                    <a:pt x="310" y="105"/>
                    <a:pt x="310" y="105"/>
                    <a:pt x="310" y="105"/>
                  </a:cubicBezTo>
                  <a:cubicBezTo>
                    <a:pt x="310" y="104"/>
                    <a:pt x="310" y="104"/>
                    <a:pt x="311" y="103"/>
                  </a:cubicBezTo>
                  <a:cubicBezTo>
                    <a:pt x="312" y="103"/>
                    <a:pt x="312" y="103"/>
                    <a:pt x="313" y="102"/>
                  </a:cubicBezTo>
                  <a:cubicBezTo>
                    <a:pt x="313" y="102"/>
                    <a:pt x="313" y="101"/>
                    <a:pt x="314" y="101"/>
                  </a:cubicBezTo>
                  <a:cubicBezTo>
                    <a:pt x="315" y="100"/>
                    <a:pt x="315" y="100"/>
                    <a:pt x="315" y="100"/>
                  </a:cubicBezTo>
                  <a:cubicBezTo>
                    <a:pt x="315" y="100"/>
                    <a:pt x="315" y="98"/>
                    <a:pt x="315" y="9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3" name="Freeform 66">
              <a:extLst>
                <a:ext uri="{FF2B5EF4-FFF2-40B4-BE49-F238E27FC236}">
                  <a16:creationId xmlns:a16="http://schemas.microsoft.com/office/drawing/2014/main" id="{22D75D0E-1B5B-3CC0-BB60-BD556DE17E3F}"/>
                </a:ext>
              </a:extLst>
            </p:cNvPr>
            <p:cNvSpPr>
              <a:spLocks noEditPoints="1"/>
            </p:cNvSpPr>
            <p:nvPr/>
          </p:nvSpPr>
          <p:spPr bwMode="auto">
            <a:xfrm>
              <a:off x="6338888" y="3511550"/>
              <a:ext cx="963613" cy="1074737"/>
            </a:xfrm>
            <a:custGeom>
              <a:avLst/>
              <a:gdLst>
                <a:gd name="T0" fmla="*/ 214 w 253"/>
                <a:gd name="T1" fmla="*/ 156 h 282"/>
                <a:gd name="T2" fmla="*/ 228 w 253"/>
                <a:gd name="T3" fmla="*/ 163 h 282"/>
                <a:gd name="T4" fmla="*/ 241 w 253"/>
                <a:gd name="T5" fmla="*/ 157 h 282"/>
                <a:gd name="T6" fmla="*/ 247 w 253"/>
                <a:gd name="T7" fmla="*/ 171 h 282"/>
                <a:gd name="T8" fmla="*/ 231 w 253"/>
                <a:gd name="T9" fmla="*/ 178 h 282"/>
                <a:gd name="T10" fmla="*/ 227 w 253"/>
                <a:gd name="T11" fmla="*/ 171 h 282"/>
                <a:gd name="T12" fmla="*/ 136 w 253"/>
                <a:gd name="T13" fmla="*/ 117 h 282"/>
                <a:gd name="T14" fmla="*/ 158 w 253"/>
                <a:gd name="T15" fmla="*/ 108 h 282"/>
                <a:gd name="T16" fmla="*/ 160 w 253"/>
                <a:gd name="T17" fmla="*/ 103 h 282"/>
                <a:gd name="T18" fmla="*/ 144 w 253"/>
                <a:gd name="T19" fmla="*/ 108 h 282"/>
                <a:gd name="T20" fmla="*/ 222 w 253"/>
                <a:gd name="T21" fmla="*/ 198 h 282"/>
                <a:gd name="T22" fmla="*/ 238 w 253"/>
                <a:gd name="T23" fmla="*/ 189 h 282"/>
                <a:gd name="T24" fmla="*/ 253 w 253"/>
                <a:gd name="T25" fmla="*/ 183 h 282"/>
                <a:gd name="T26" fmla="*/ 246 w 253"/>
                <a:gd name="T27" fmla="*/ 186 h 282"/>
                <a:gd name="T28" fmla="*/ 125 w 253"/>
                <a:gd name="T29" fmla="*/ 31 h 282"/>
                <a:gd name="T30" fmla="*/ 168 w 253"/>
                <a:gd name="T31" fmla="*/ 20 h 282"/>
                <a:gd name="T32" fmla="*/ 145 w 253"/>
                <a:gd name="T33" fmla="*/ 16 h 282"/>
                <a:gd name="T34" fmla="*/ 116 w 253"/>
                <a:gd name="T35" fmla="*/ 6 h 282"/>
                <a:gd name="T36" fmla="*/ 87 w 253"/>
                <a:gd name="T37" fmla="*/ 1 h 282"/>
                <a:gd name="T38" fmla="*/ 81 w 253"/>
                <a:gd name="T39" fmla="*/ 20 h 282"/>
                <a:gd name="T40" fmla="*/ 62 w 253"/>
                <a:gd name="T41" fmla="*/ 34 h 282"/>
                <a:gd name="T42" fmla="*/ 52 w 253"/>
                <a:gd name="T43" fmla="*/ 23 h 282"/>
                <a:gd name="T44" fmla="*/ 27 w 253"/>
                <a:gd name="T45" fmla="*/ 56 h 282"/>
                <a:gd name="T46" fmla="*/ 26 w 253"/>
                <a:gd name="T47" fmla="*/ 83 h 282"/>
                <a:gd name="T48" fmla="*/ 17 w 253"/>
                <a:gd name="T49" fmla="*/ 91 h 282"/>
                <a:gd name="T50" fmla="*/ 21 w 253"/>
                <a:gd name="T51" fmla="*/ 131 h 282"/>
                <a:gd name="T52" fmla="*/ 8 w 253"/>
                <a:gd name="T53" fmla="*/ 146 h 282"/>
                <a:gd name="T54" fmla="*/ 2 w 253"/>
                <a:gd name="T55" fmla="*/ 167 h 282"/>
                <a:gd name="T56" fmla="*/ 23 w 253"/>
                <a:gd name="T57" fmla="*/ 190 h 282"/>
                <a:gd name="T58" fmla="*/ 44 w 253"/>
                <a:gd name="T59" fmla="*/ 206 h 282"/>
                <a:gd name="T60" fmla="*/ 94 w 253"/>
                <a:gd name="T61" fmla="*/ 220 h 282"/>
                <a:gd name="T62" fmla="*/ 137 w 253"/>
                <a:gd name="T63" fmla="*/ 236 h 282"/>
                <a:gd name="T64" fmla="*/ 140 w 253"/>
                <a:gd name="T65" fmla="*/ 261 h 282"/>
                <a:gd name="T66" fmla="*/ 166 w 253"/>
                <a:gd name="T67" fmla="*/ 271 h 282"/>
                <a:gd name="T68" fmla="*/ 184 w 253"/>
                <a:gd name="T69" fmla="*/ 277 h 282"/>
                <a:gd name="T70" fmla="*/ 171 w 253"/>
                <a:gd name="T71" fmla="*/ 259 h 282"/>
                <a:gd name="T72" fmla="*/ 157 w 253"/>
                <a:gd name="T73" fmla="*/ 248 h 282"/>
                <a:gd name="T74" fmla="*/ 147 w 253"/>
                <a:gd name="T75" fmla="*/ 228 h 282"/>
                <a:gd name="T76" fmla="*/ 131 w 253"/>
                <a:gd name="T77" fmla="*/ 216 h 282"/>
                <a:gd name="T78" fmla="*/ 118 w 253"/>
                <a:gd name="T79" fmla="*/ 203 h 282"/>
                <a:gd name="T80" fmla="*/ 117 w 253"/>
                <a:gd name="T81" fmla="*/ 192 h 282"/>
                <a:gd name="T82" fmla="*/ 134 w 253"/>
                <a:gd name="T83" fmla="*/ 202 h 282"/>
                <a:gd name="T84" fmla="*/ 173 w 253"/>
                <a:gd name="T85" fmla="*/ 177 h 282"/>
                <a:gd name="T86" fmla="*/ 193 w 253"/>
                <a:gd name="T87" fmla="*/ 158 h 282"/>
                <a:gd name="T88" fmla="*/ 213 w 253"/>
                <a:gd name="T89" fmla="*/ 138 h 282"/>
                <a:gd name="T90" fmla="*/ 235 w 253"/>
                <a:gd name="T91" fmla="*/ 146 h 282"/>
                <a:gd name="T92" fmla="*/ 240 w 253"/>
                <a:gd name="T93" fmla="*/ 122 h 282"/>
                <a:gd name="T94" fmla="*/ 210 w 253"/>
                <a:gd name="T95" fmla="*/ 121 h 282"/>
                <a:gd name="T96" fmla="*/ 214 w 253"/>
                <a:gd name="T97" fmla="*/ 128 h 282"/>
                <a:gd name="T98" fmla="*/ 186 w 253"/>
                <a:gd name="T99" fmla="*/ 129 h 282"/>
                <a:gd name="T100" fmla="*/ 161 w 253"/>
                <a:gd name="T101" fmla="*/ 140 h 282"/>
                <a:gd name="T102" fmla="*/ 135 w 253"/>
                <a:gd name="T103" fmla="*/ 134 h 282"/>
                <a:gd name="T104" fmla="*/ 119 w 253"/>
                <a:gd name="T105" fmla="*/ 143 h 282"/>
                <a:gd name="T106" fmla="*/ 102 w 253"/>
                <a:gd name="T107" fmla="*/ 168 h 282"/>
                <a:gd name="T108" fmla="*/ 84 w 253"/>
                <a:gd name="T109" fmla="*/ 166 h 282"/>
                <a:gd name="T110" fmla="*/ 69 w 253"/>
                <a:gd name="T111" fmla="*/ 156 h 282"/>
                <a:gd name="T112" fmla="*/ 55 w 253"/>
                <a:gd name="T113" fmla="*/ 140 h 282"/>
                <a:gd name="T114" fmla="*/ 37 w 253"/>
                <a:gd name="T115" fmla="*/ 118 h 282"/>
                <a:gd name="T116" fmla="*/ 39 w 253"/>
                <a:gd name="T117" fmla="*/ 83 h 282"/>
                <a:gd name="T118" fmla="*/ 62 w 253"/>
                <a:gd name="T119" fmla="*/ 53 h 282"/>
                <a:gd name="T120" fmla="*/ 91 w 253"/>
                <a:gd name="T121" fmla="*/ 58 h 282"/>
                <a:gd name="T122" fmla="*/ 110 w 253"/>
                <a:gd name="T123" fmla="*/ 5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82">
                  <a:moveTo>
                    <a:pt x="208" y="180"/>
                  </a:moveTo>
                  <a:cubicBezTo>
                    <a:pt x="207" y="178"/>
                    <a:pt x="207" y="177"/>
                    <a:pt x="206" y="176"/>
                  </a:cubicBezTo>
                  <a:cubicBezTo>
                    <a:pt x="206" y="174"/>
                    <a:pt x="204" y="173"/>
                    <a:pt x="203" y="172"/>
                  </a:cubicBezTo>
                  <a:cubicBezTo>
                    <a:pt x="203" y="171"/>
                    <a:pt x="204" y="169"/>
                    <a:pt x="204" y="167"/>
                  </a:cubicBezTo>
                  <a:cubicBezTo>
                    <a:pt x="204" y="165"/>
                    <a:pt x="204" y="163"/>
                    <a:pt x="205" y="162"/>
                  </a:cubicBezTo>
                  <a:cubicBezTo>
                    <a:pt x="206" y="160"/>
                    <a:pt x="208" y="159"/>
                    <a:pt x="209" y="158"/>
                  </a:cubicBezTo>
                  <a:cubicBezTo>
                    <a:pt x="210" y="157"/>
                    <a:pt x="210" y="155"/>
                    <a:pt x="211" y="155"/>
                  </a:cubicBezTo>
                  <a:cubicBezTo>
                    <a:pt x="212" y="154"/>
                    <a:pt x="213" y="155"/>
                    <a:pt x="214" y="156"/>
                  </a:cubicBezTo>
                  <a:cubicBezTo>
                    <a:pt x="215" y="156"/>
                    <a:pt x="216" y="156"/>
                    <a:pt x="217" y="155"/>
                  </a:cubicBezTo>
                  <a:cubicBezTo>
                    <a:pt x="218" y="154"/>
                    <a:pt x="220" y="154"/>
                    <a:pt x="221" y="154"/>
                  </a:cubicBezTo>
                  <a:cubicBezTo>
                    <a:pt x="223" y="154"/>
                    <a:pt x="223" y="155"/>
                    <a:pt x="224" y="155"/>
                  </a:cubicBezTo>
                  <a:cubicBezTo>
                    <a:pt x="226" y="156"/>
                    <a:pt x="226" y="155"/>
                    <a:pt x="226" y="154"/>
                  </a:cubicBezTo>
                  <a:cubicBezTo>
                    <a:pt x="227" y="152"/>
                    <a:pt x="230" y="156"/>
                    <a:pt x="230" y="157"/>
                  </a:cubicBezTo>
                  <a:cubicBezTo>
                    <a:pt x="231" y="158"/>
                    <a:pt x="231" y="159"/>
                    <a:pt x="229" y="160"/>
                  </a:cubicBezTo>
                  <a:cubicBezTo>
                    <a:pt x="228" y="161"/>
                    <a:pt x="229" y="160"/>
                    <a:pt x="228" y="161"/>
                  </a:cubicBezTo>
                  <a:cubicBezTo>
                    <a:pt x="228" y="162"/>
                    <a:pt x="228" y="162"/>
                    <a:pt x="228" y="163"/>
                  </a:cubicBezTo>
                  <a:cubicBezTo>
                    <a:pt x="229" y="164"/>
                    <a:pt x="230" y="165"/>
                    <a:pt x="231" y="166"/>
                  </a:cubicBezTo>
                  <a:cubicBezTo>
                    <a:pt x="231" y="167"/>
                    <a:pt x="231" y="168"/>
                    <a:pt x="232" y="167"/>
                  </a:cubicBezTo>
                  <a:cubicBezTo>
                    <a:pt x="233" y="166"/>
                    <a:pt x="233" y="166"/>
                    <a:pt x="233" y="166"/>
                  </a:cubicBezTo>
                  <a:cubicBezTo>
                    <a:pt x="233" y="166"/>
                    <a:pt x="233" y="166"/>
                    <a:pt x="233" y="166"/>
                  </a:cubicBezTo>
                  <a:cubicBezTo>
                    <a:pt x="234" y="165"/>
                    <a:pt x="233" y="164"/>
                    <a:pt x="234" y="163"/>
                  </a:cubicBezTo>
                  <a:cubicBezTo>
                    <a:pt x="234" y="162"/>
                    <a:pt x="235" y="162"/>
                    <a:pt x="236" y="162"/>
                  </a:cubicBezTo>
                  <a:cubicBezTo>
                    <a:pt x="237" y="161"/>
                    <a:pt x="238" y="159"/>
                    <a:pt x="239" y="158"/>
                  </a:cubicBezTo>
                  <a:cubicBezTo>
                    <a:pt x="239" y="158"/>
                    <a:pt x="240" y="157"/>
                    <a:pt x="241" y="157"/>
                  </a:cubicBezTo>
                  <a:cubicBezTo>
                    <a:pt x="242" y="158"/>
                    <a:pt x="241" y="158"/>
                    <a:pt x="242" y="158"/>
                  </a:cubicBezTo>
                  <a:cubicBezTo>
                    <a:pt x="242" y="159"/>
                    <a:pt x="242" y="159"/>
                    <a:pt x="242" y="159"/>
                  </a:cubicBezTo>
                  <a:cubicBezTo>
                    <a:pt x="243" y="159"/>
                    <a:pt x="243" y="159"/>
                    <a:pt x="243" y="158"/>
                  </a:cubicBezTo>
                  <a:cubicBezTo>
                    <a:pt x="244" y="158"/>
                    <a:pt x="245" y="158"/>
                    <a:pt x="246" y="159"/>
                  </a:cubicBezTo>
                  <a:cubicBezTo>
                    <a:pt x="246" y="160"/>
                    <a:pt x="247" y="161"/>
                    <a:pt x="248" y="161"/>
                  </a:cubicBezTo>
                  <a:cubicBezTo>
                    <a:pt x="249" y="161"/>
                    <a:pt x="250" y="160"/>
                    <a:pt x="251" y="161"/>
                  </a:cubicBezTo>
                  <a:cubicBezTo>
                    <a:pt x="251" y="162"/>
                    <a:pt x="250" y="163"/>
                    <a:pt x="250" y="164"/>
                  </a:cubicBezTo>
                  <a:cubicBezTo>
                    <a:pt x="249" y="166"/>
                    <a:pt x="249" y="169"/>
                    <a:pt x="247" y="171"/>
                  </a:cubicBezTo>
                  <a:cubicBezTo>
                    <a:pt x="247" y="171"/>
                    <a:pt x="246" y="172"/>
                    <a:pt x="245" y="172"/>
                  </a:cubicBezTo>
                  <a:cubicBezTo>
                    <a:pt x="245" y="173"/>
                    <a:pt x="245" y="173"/>
                    <a:pt x="244" y="174"/>
                  </a:cubicBezTo>
                  <a:cubicBezTo>
                    <a:pt x="244" y="175"/>
                    <a:pt x="242" y="176"/>
                    <a:pt x="241" y="175"/>
                  </a:cubicBezTo>
                  <a:cubicBezTo>
                    <a:pt x="238" y="174"/>
                    <a:pt x="238" y="170"/>
                    <a:pt x="235" y="168"/>
                  </a:cubicBezTo>
                  <a:cubicBezTo>
                    <a:pt x="234" y="169"/>
                    <a:pt x="234" y="170"/>
                    <a:pt x="233" y="171"/>
                  </a:cubicBezTo>
                  <a:cubicBezTo>
                    <a:pt x="232" y="171"/>
                    <a:pt x="232" y="171"/>
                    <a:pt x="231" y="172"/>
                  </a:cubicBezTo>
                  <a:cubicBezTo>
                    <a:pt x="231" y="172"/>
                    <a:pt x="231" y="173"/>
                    <a:pt x="231" y="174"/>
                  </a:cubicBezTo>
                  <a:cubicBezTo>
                    <a:pt x="231" y="176"/>
                    <a:pt x="231" y="177"/>
                    <a:pt x="231" y="178"/>
                  </a:cubicBezTo>
                  <a:cubicBezTo>
                    <a:pt x="231" y="180"/>
                    <a:pt x="232" y="181"/>
                    <a:pt x="232" y="183"/>
                  </a:cubicBezTo>
                  <a:cubicBezTo>
                    <a:pt x="230" y="183"/>
                    <a:pt x="231" y="181"/>
                    <a:pt x="229" y="181"/>
                  </a:cubicBezTo>
                  <a:cubicBezTo>
                    <a:pt x="229" y="181"/>
                    <a:pt x="228" y="181"/>
                    <a:pt x="228" y="182"/>
                  </a:cubicBezTo>
                  <a:cubicBezTo>
                    <a:pt x="226" y="182"/>
                    <a:pt x="226" y="182"/>
                    <a:pt x="226" y="182"/>
                  </a:cubicBezTo>
                  <a:cubicBezTo>
                    <a:pt x="226" y="182"/>
                    <a:pt x="226" y="182"/>
                    <a:pt x="225" y="181"/>
                  </a:cubicBezTo>
                  <a:cubicBezTo>
                    <a:pt x="225" y="181"/>
                    <a:pt x="224" y="181"/>
                    <a:pt x="223" y="180"/>
                  </a:cubicBezTo>
                  <a:cubicBezTo>
                    <a:pt x="221" y="178"/>
                    <a:pt x="224" y="177"/>
                    <a:pt x="225" y="176"/>
                  </a:cubicBezTo>
                  <a:cubicBezTo>
                    <a:pt x="227" y="175"/>
                    <a:pt x="227" y="173"/>
                    <a:pt x="227" y="171"/>
                  </a:cubicBezTo>
                  <a:cubicBezTo>
                    <a:pt x="226" y="169"/>
                    <a:pt x="226" y="166"/>
                    <a:pt x="226" y="164"/>
                  </a:cubicBezTo>
                  <a:cubicBezTo>
                    <a:pt x="225" y="163"/>
                    <a:pt x="224" y="161"/>
                    <a:pt x="223" y="162"/>
                  </a:cubicBezTo>
                  <a:cubicBezTo>
                    <a:pt x="222" y="163"/>
                    <a:pt x="222" y="165"/>
                    <a:pt x="221" y="166"/>
                  </a:cubicBezTo>
                  <a:cubicBezTo>
                    <a:pt x="220" y="167"/>
                    <a:pt x="219" y="168"/>
                    <a:pt x="219" y="170"/>
                  </a:cubicBezTo>
                  <a:cubicBezTo>
                    <a:pt x="218" y="171"/>
                    <a:pt x="218" y="172"/>
                    <a:pt x="217" y="173"/>
                  </a:cubicBezTo>
                  <a:cubicBezTo>
                    <a:pt x="216" y="175"/>
                    <a:pt x="215" y="176"/>
                    <a:pt x="214" y="177"/>
                  </a:cubicBezTo>
                  <a:cubicBezTo>
                    <a:pt x="212" y="178"/>
                    <a:pt x="211" y="180"/>
                    <a:pt x="208" y="180"/>
                  </a:cubicBezTo>
                  <a:close/>
                  <a:moveTo>
                    <a:pt x="136" y="117"/>
                  </a:moveTo>
                  <a:cubicBezTo>
                    <a:pt x="137" y="117"/>
                    <a:pt x="138" y="114"/>
                    <a:pt x="140" y="114"/>
                  </a:cubicBezTo>
                  <a:cubicBezTo>
                    <a:pt x="141" y="113"/>
                    <a:pt x="143" y="113"/>
                    <a:pt x="143" y="115"/>
                  </a:cubicBezTo>
                  <a:cubicBezTo>
                    <a:pt x="144" y="115"/>
                    <a:pt x="145" y="115"/>
                    <a:pt x="145" y="115"/>
                  </a:cubicBezTo>
                  <a:cubicBezTo>
                    <a:pt x="146" y="115"/>
                    <a:pt x="146" y="115"/>
                    <a:pt x="146" y="114"/>
                  </a:cubicBezTo>
                  <a:cubicBezTo>
                    <a:pt x="147" y="114"/>
                    <a:pt x="147" y="115"/>
                    <a:pt x="148" y="115"/>
                  </a:cubicBezTo>
                  <a:cubicBezTo>
                    <a:pt x="150" y="115"/>
                    <a:pt x="150" y="112"/>
                    <a:pt x="150" y="110"/>
                  </a:cubicBezTo>
                  <a:cubicBezTo>
                    <a:pt x="151" y="108"/>
                    <a:pt x="154" y="108"/>
                    <a:pt x="156" y="108"/>
                  </a:cubicBezTo>
                  <a:cubicBezTo>
                    <a:pt x="157" y="108"/>
                    <a:pt x="157" y="108"/>
                    <a:pt x="158" y="108"/>
                  </a:cubicBezTo>
                  <a:cubicBezTo>
                    <a:pt x="158" y="108"/>
                    <a:pt x="159" y="107"/>
                    <a:pt x="159" y="108"/>
                  </a:cubicBezTo>
                  <a:cubicBezTo>
                    <a:pt x="160" y="108"/>
                    <a:pt x="160" y="109"/>
                    <a:pt x="161" y="109"/>
                  </a:cubicBezTo>
                  <a:cubicBezTo>
                    <a:pt x="162" y="110"/>
                    <a:pt x="162" y="108"/>
                    <a:pt x="162" y="108"/>
                  </a:cubicBezTo>
                  <a:cubicBezTo>
                    <a:pt x="163" y="107"/>
                    <a:pt x="164" y="106"/>
                    <a:pt x="164" y="105"/>
                  </a:cubicBezTo>
                  <a:cubicBezTo>
                    <a:pt x="164" y="104"/>
                    <a:pt x="164" y="104"/>
                    <a:pt x="163" y="103"/>
                  </a:cubicBezTo>
                  <a:cubicBezTo>
                    <a:pt x="163" y="103"/>
                    <a:pt x="162" y="102"/>
                    <a:pt x="162" y="102"/>
                  </a:cubicBezTo>
                  <a:cubicBezTo>
                    <a:pt x="161" y="101"/>
                    <a:pt x="161" y="101"/>
                    <a:pt x="161" y="101"/>
                  </a:cubicBezTo>
                  <a:cubicBezTo>
                    <a:pt x="160" y="101"/>
                    <a:pt x="160" y="102"/>
                    <a:pt x="160" y="103"/>
                  </a:cubicBezTo>
                  <a:cubicBezTo>
                    <a:pt x="159" y="104"/>
                    <a:pt x="158" y="104"/>
                    <a:pt x="157" y="104"/>
                  </a:cubicBezTo>
                  <a:cubicBezTo>
                    <a:pt x="155" y="105"/>
                    <a:pt x="154" y="104"/>
                    <a:pt x="152" y="103"/>
                  </a:cubicBezTo>
                  <a:cubicBezTo>
                    <a:pt x="152" y="104"/>
                    <a:pt x="153" y="104"/>
                    <a:pt x="153" y="105"/>
                  </a:cubicBezTo>
                  <a:cubicBezTo>
                    <a:pt x="152" y="105"/>
                    <a:pt x="151" y="104"/>
                    <a:pt x="151" y="104"/>
                  </a:cubicBezTo>
                  <a:cubicBezTo>
                    <a:pt x="149" y="103"/>
                    <a:pt x="148" y="103"/>
                    <a:pt x="148" y="104"/>
                  </a:cubicBezTo>
                  <a:cubicBezTo>
                    <a:pt x="148" y="105"/>
                    <a:pt x="148" y="107"/>
                    <a:pt x="147" y="108"/>
                  </a:cubicBezTo>
                  <a:cubicBezTo>
                    <a:pt x="147" y="108"/>
                    <a:pt x="146" y="108"/>
                    <a:pt x="145" y="108"/>
                  </a:cubicBezTo>
                  <a:cubicBezTo>
                    <a:pt x="145" y="108"/>
                    <a:pt x="144" y="108"/>
                    <a:pt x="144" y="108"/>
                  </a:cubicBezTo>
                  <a:cubicBezTo>
                    <a:pt x="144" y="109"/>
                    <a:pt x="143" y="109"/>
                    <a:pt x="142" y="109"/>
                  </a:cubicBezTo>
                  <a:cubicBezTo>
                    <a:pt x="142" y="109"/>
                    <a:pt x="142" y="109"/>
                    <a:pt x="142" y="108"/>
                  </a:cubicBezTo>
                  <a:cubicBezTo>
                    <a:pt x="141" y="108"/>
                    <a:pt x="142" y="110"/>
                    <a:pt x="141" y="110"/>
                  </a:cubicBezTo>
                  <a:cubicBezTo>
                    <a:pt x="140" y="110"/>
                    <a:pt x="139" y="110"/>
                    <a:pt x="139" y="110"/>
                  </a:cubicBezTo>
                  <a:cubicBezTo>
                    <a:pt x="138" y="110"/>
                    <a:pt x="137" y="111"/>
                    <a:pt x="137" y="112"/>
                  </a:cubicBezTo>
                  <a:cubicBezTo>
                    <a:pt x="135" y="113"/>
                    <a:pt x="135" y="115"/>
                    <a:pt x="135" y="117"/>
                  </a:cubicBezTo>
                  <a:cubicBezTo>
                    <a:pt x="135" y="117"/>
                    <a:pt x="135" y="117"/>
                    <a:pt x="136" y="117"/>
                  </a:cubicBezTo>
                  <a:close/>
                  <a:moveTo>
                    <a:pt x="222" y="198"/>
                  </a:moveTo>
                  <a:cubicBezTo>
                    <a:pt x="223" y="197"/>
                    <a:pt x="223" y="197"/>
                    <a:pt x="224" y="197"/>
                  </a:cubicBezTo>
                  <a:cubicBezTo>
                    <a:pt x="225" y="196"/>
                    <a:pt x="225" y="194"/>
                    <a:pt x="225" y="193"/>
                  </a:cubicBezTo>
                  <a:cubicBezTo>
                    <a:pt x="225" y="191"/>
                    <a:pt x="224" y="189"/>
                    <a:pt x="222" y="190"/>
                  </a:cubicBezTo>
                  <a:cubicBezTo>
                    <a:pt x="221" y="191"/>
                    <a:pt x="221" y="192"/>
                    <a:pt x="221" y="194"/>
                  </a:cubicBezTo>
                  <a:cubicBezTo>
                    <a:pt x="220" y="195"/>
                    <a:pt x="219" y="197"/>
                    <a:pt x="220" y="199"/>
                  </a:cubicBezTo>
                  <a:cubicBezTo>
                    <a:pt x="221" y="199"/>
                    <a:pt x="222" y="199"/>
                    <a:pt x="222" y="198"/>
                  </a:cubicBezTo>
                  <a:close/>
                  <a:moveTo>
                    <a:pt x="236" y="190"/>
                  </a:moveTo>
                  <a:cubicBezTo>
                    <a:pt x="237" y="189"/>
                    <a:pt x="237" y="189"/>
                    <a:pt x="238" y="189"/>
                  </a:cubicBezTo>
                  <a:cubicBezTo>
                    <a:pt x="240" y="188"/>
                    <a:pt x="239" y="186"/>
                    <a:pt x="239" y="184"/>
                  </a:cubicBezTo>
                  <a:cubicBezTo>
                    <a:pt x="238" y="184"/>
                    <a:pt x="238" y="185"/>
                    <a:pt x="237" y="186"/>
                  </a:cubicBezTo>
                  <a:cubicBezTo>
                    <a:pt x="237" y="186"/>
                    <a:pt x="236" y="187"/>
                    <a:pt x="236" y="187"/>
                  </a:cubicBezTo>
                  <a:cubicBezTo>
                    <a:pt x="234" y="189"/>
                    <a:pt x="233" y="190"/>
                    <a:pt x="234" y="192"/>
                  </a:cubicBezTo>
                  <a:cubicBezTo>
                    <a:pt x="236" y="192"/>
                    <a:pt x="236" y="191"/>
                    <a:pt x="236" y="190"/>
                  </a:cubicBezTo>
                  <a:close/>
                  <a:moveTo>
                    <a:pt x="252" y="187"/>
                  </a:moveTo>
                  <a:cubicBezTo>
                    <a:pt x="253" y="186"/>
                    <a:pt x="253" y="186"/>
                    <a:pt x="253" y="185"/>
                  </a:cubicBezTo>
                  <a:cubicBezTo>
                    <a:pt x="253" y="185"/>
                    <a:pt x="253" y="184"/>
                    <a:pt x="253" y="183"/>
                  </a:cubicBezTo>
                  <a:cubicBezTo>
                    <a:pt x="253" y="182"/>
                    <a:pt x="253" y="180"/>
                    <a:pt x="252" y="180"/>
                  </a:cubicBezTo>
                  <a:cubicBezTo>
                    <a:pt x="251" y="180"/>
                    <a:pt x="250" y="180"/>
                    <a:pt x="250" y="179"/>
                  </a:cubicBezTo>
                  <a:cubicBezTo>
                    <a:pt x="250" y="179"/>
                    <a:pt x="250" y="178"/>
                    <a:pt x="250" y="177"/>
                  </a:cubicBezTo>
                  <a:cubicBezTo>
                    <a:pt x="250" y="176"/>
                    <a:pt x="250" y="175"/>
                    <a:pt x="250" y="174"/>
                  </a:cubicBezTo>
                  <a:cubicBezTo>
                    <a:pt x="249" y="173"/>
                    <a:pt x="248" y="174"/>
                    <a:pt x="247" y="175"/>
                  </a:cubicBezTo>
                  <a:cubicBezTo>
                    <a:pt x="247" y="175"/>
                    <a:pt x="246" y="176"/>
                    <a:pt x="246" y="177"/>
                  </a:cubicBezTo>
                  <a:cubicBezTo>
                    <a:pt x="246" y="179"/>
                    <a:pt x="246" y="179"/>
                    <a:pt x="246" y="180"/>
                  </a:cubicBezTo>
                  <a:cubicBezTo>
                    <a:pt x="247" y="182"/>
                    <a:pt x="245" y="184"/>
                    <a:pt x="246" y="186"/>
                  </a:cubicBezTo>
                  <a:cubicBezTo>
                    <a:pt x="248" y="189"/>
                    <a:pt x="251" y="187"/>
                    <a:pt x="252" y="187"/>
                  </a:cubicBezTo>
                  <a:close/>
                  <a:moveTo>
                    <a:pt x="116" y="51"/>
                  </a:moveTo>
                  <a:cubicBezTo>
                    <a:pt x="115" y="48"/>
                    <a:pt x="112" y="48"/>
                    <a:pt x="111" y="47"/>
                  </a:cubicBezTo>
                  <a:cubicBezTo>
                    <a:pt x="109" y="45"/>
                    <a:pt x="106" y="44"/>
                    <a:pt x="105" y="41"/>
                  </a:cubicBezTo>
                  <a:cubicBezTo>
                    <a:pt x="105" y="39"/>
                    <a:pt x="106" y="36"/>
                    <a:pt x="108" y="35"/>
                  </a:cubicBezTo>
                  <a:cubicBezTo>
                    <a:pt x="110" y="35"/>
                    <a:pt x="116" y="36"/>
                    <a:pt x="117" y="34"/>
                  </a:cubicBezTo>
                  <a:cubicBezTo>
                    <a:pt x="117" y="33"/>
                    <a:pt x="115" y="32"/>
                    <a:pt x="118" y="31"/>
                  </a:cubicBezTo>
                  <a:cubicBezTo>
                    <a:pt x="120" y="31"/>
                    <a:pt x="123" y="31"/>
                    <a:pt x="125" y="31"/>
                  </a:cubicBezTo>
                  <a:cubicBezTo>
                    <a:pt x="128" y="31"/>
                    <a:pt x="131" y="30"/>
                    <a:pt x="134" y="29"/>
                  </a:cubicBezTo>
                  <a:cubicBezTo>
                    <a:pt x="138" y="28"/>
                    <a:pt x="144" y="23"/>
                    <a:pt x="148" y="25"/>
                  </a:cubicBezTo>
                  <a:cubicBezTo>
                    <a:pt x="152" y="28"/>
                    <a:pt x="156" y="29"/>
                    <a:pt x="159" y="25"/>
                  </a:cubicBezTo>
                  <a:cubicBezTo>
                    <a:pt x="160" y="24"/>
                    <a:pt x="160" y="23"/>
                    <a:pt x="162" y="22"/>
                  </a:cubicBezTo>
                  <a:cubicBezTo>
                    <a:pt x="163" y="22"/>
                    <a:pt x="163" y="23"/>
                    <a:pt x="164" y="23"/>
                  </a:cubicBezTo>
                  <a:cubicBezTo>
                    <a:pt x="165" y="23"/>
                    <a:pt x="167" y="22"/>
                    <a:pt x="167" y="22"/>
                  </a:cubicBezTo>
                  <a:cubicBezTo>
                    <a:pt x="168" y="22"/>
                    <a:pt x="169" y="21"/>
                    <a:pt x="169" y="21"/>
                  </a:cubicBezTo>
                  <a:cubicBezTo>
                    <a:pt x="169" y="21"/>
                    <a:pt x="169" y="21"/>
                    <a:pt x="168" y="20"/>
                  </a:cubicBezTo>
                  <a:cubicBezTo>
                    <a:pt x="168" y="19"/>
                    <a:pt x="168" y="19"/>
                    <a:pt x="167" y="19"/>
                  </a:cubicBezTo>
                  <a:cubicBezTo>
                    <a:pt x="166" y="19"/>
                    <a:pt x="165" y="19"/>
                    <a:pt x="165" y="19"/>
                  </a:cubicBezTo>
                  <a:cubicBezTo>
                    <a:pt x="164" y="18"/>
                    <a:pt x="162" y="18"/>
                    <a:pt x="161" y="17"/>
                  </a:cubicBezTo>
                  <a:cubicBezTo>
                    <a:pt x="161" y="17"/>
                    <a:pt x="160" y="18"/>
                    <a:pt x="159" y="18"/>
                  </a:cubicBezTo>
                  <a:cubicBezTo>
                    <a:pt x="158" y="19"/>
                    <a:pt x="155" y="21"/>
                    <a:pt x="153" y="20"/>
                  </a:cubicBezTo>
                  <a:cubicBezTo>
                    <a:pt x="152" y="19"/>
                    <a:pt x="152" y="17"/>
                    <a:pt x="152" y="16"/>
                  </a:cubicBezTo>
                  <a:cubicBezTo>
                    <a:pt x="151" y="16"/>
                    <a:pt x="150" y="16"/>
                    <a:pt x="148" y="16"/>
                  </a:cubicBezTo>
                  <a:cubicBezTo>
                    <a:pt x="147" y="16"/>
                    <a:pt x="146" y="16"/>
                    <a:pt x="145" y="16"/>
                  </a:cubicBezTo>
                  <a:cubicBezTo>
                    <a:pt x="142" y="17"/>
                    <a:pt x="140" y="18"/>
                    <a:pt x="137" y="18"/>
                  </a:cubicBezTo>
                  <a:cubicBezTo>
                    <a:pt x="132" y="18"/>
                    <a:pt x="128" y="17"/>
                    <a:pt x="124" y="14"/>
                  </a:cubicBezTo>
                  <a:cubicBezTo>
                    <a:pt x="122" y="12"/>
                    <a:pt x="120" y="10"/>
                    <a:pt x="122" y="7"/>
                  </a:cubicBezTo>
                  <a:cubicBezTo>
                    <a:pt x="122" y="6"/>
                    <a:pt x="123" y="6"/>
                    <a:pt x="123" y="5"/>
                  </a:cubicBezTo>
                  <a:cubicBezTo>
                    <a:pt x="123" y="4"/>
                    <a:pt x="123" y="4"/>
                    <a:pt x="122" y="3"/>
                  </a:cubicBezTo>
                  <a:cubicBezTo>
                    <a:pt x="122" y="3"/>
                    <a:pt x="122" y="3"/>
                    <a:pt x="122" y="2"/>
                  </a:cubicBezTo>
                  <a:cubicBezTo>
                    <a:pt x="121" y="3"/>
                    <a:pt x="120" y="4"/>
                    <a:pt x="119" y="5"/>
                  </a:cubicBezTo>
                  <a:cubicBezTo>
                    <a:pt x="118" y="5"/>
                    <a:pt x="117" y="6"/>
                    <a:pt x="116" y="6"/>
                  </a:cubicBezTo>
                  <a:cubicBezTo>
                    <a:pt x="114" y="6"/>
                    <a:pt x="113" y="6"/>
                    <a:pt x="111" y="7"/>
                  </a:cubicBezTo>
                  <a:cubicBezTo>
                    <a:pt x="110" y="7"/>
                    <a:pt x="109" y="7"/>
                    <a:pt x="108" y="6"/>
                  </a:cubicBezTo>
                  <a:cubicBezTo>
                    <a:pt x="106" y="6"/>
                    <a:pt x="104" y="5"/>
                    <a:pt x="103" y="4"/>
                  </a:cubicBezTo>
                  <a:cubicBezTo>
                    <a:pt x="102" y="3"/>
                    <a:pt x="101" y="3"/>
                    <a:pt x="100" y="3"/>
                  </a:cubicBezTo>
                  <a:cubicBezTo>
                    <a:pt x="98" y="3"/>
                    <a:pt x="97" y="3"/>
                    <a:pt x="96" y="2"/>
                  </a:cubicBezTo>
                  <a:cubicBezTo>
                    <a:pt x="95" y="1"/>
                    <a:pt x="94" y="0"/>
                    <a:pt x="92" y="0"/>
                  </a:cubicBezTo>
                  <a:cubicBezTo>
                    <a:pt x="91" y="1"/>
                    <a:pt x="88" y="3"/>
                    <a:pt x="89" y="0"/>
                  </a:cubicBezTo>
                  <a:cubicBezTo>
                    <a:pt x="88" y="0"/>
                    <a:pt x="88" y="1"/>
                    <a:pt x="87" y="1"/>
                  </a:cubicBezTo>
                  <a:cubicBezTo>
                    <a:pt x="86" y="2"/>
                    <a:pt x="85" y="2"/>
                    <a:pt x="84" y="2"/>
                  </a:cubicBezTo>
                  <a:cubicBezTo>
                    <a:pt x="83" y="2"/>
                    <a:pt x="83" y="4"/>
                    <a:pt x="83" y="5"/>
                  </a:cubicBezTo>
                  <a:cubicBezTo>
                    <a:pt x="83" y="6"/>
                    <a:pt x="83" y="7"/>
                    <a:pt x="83" y="7"/>
                  </a:cubicBezTo>
                  <a:cubicBezTo>
                    <a:pt x="83" y="8"/>
                    <a:pt x="84" y="9"/>
                    <a:pt x="84" y="10"/>
                  </a:cubicBezTo>
                  <a:cubicBezTo>
                    <a:pt x="84" y="11"/>
                    <a:pt x="82" y="11"/>
                    <a:pt x="81" y="13"/>
                  </a:cubicBezTo>
                  <a:cubicBezTo>
                    <a:pt x="81" y="14"/>
                    <a:pt x="81" y="15"/>
                    <a:pt x="82" y="16"/>
                  </a:cubicBezTo>
                  <a:cubicBezTo>
                    <a:pt x="82" y="17"/>
                    <a:pt x="83" y="17"/>
                    <a:pt x="83" y="18"/>
                  </a:cubicBezTo>
                  <a:cubicBezTo>
                    <a:pt x="83" y="19"/>
                    <a:pt x="82" y="20"/>
                    <a:pt x="81" y="20"/>
                  </a:cubicBezTo>
                  <a:cubicBezTo>
                    <a:pt x="80" y="21"/>
                    <a:pt x="79" y="22"/>
                    <a:pt x="78" y="23"/>
                  </a:cubicBezTo>
                  <a:cubicBezTo>
                    <a:pt x="77" y="24"/>
                    <a:pt x="75" y="24"/>
                    <a:pt x="74" y="25"/>
                  </a:cubicBezTo>
                  <a:cubicBezTo>
                    <a:pt x="73" y="26"/>
                    <a:pt x="70" y="28"/>
                    <a:pt x="71" y="30"/>
                  </a:cubicBezTo>
                  <a:cubicBezTo>
                    <a:pt x="71" y="31"/>
                    <a:pt x="71" y="32"/>
                    <a:pt x="71" y="33"/>
                  </a:cubicBezTo>
                  <a:cubicBezTo>
                    <a:pt x="70" y="34"/>
                    <a:pt x="69" y="34"/>
                    <a:pt x="69" y="35"/>
                  </a:cubicBezTo>
                  <a:cubicBezTo>
                    <a:pt x="69" y="36"/>
                    <a:pt x="68" y="36"/>
                    <a:pt x="67" y="36"/>
                  </a:cubicBezTo>
                  <a:cubicBezTo>
                    <a:pt x="67" y="36"/>
                    <a:pt x="66" y="35"/>
                    <a:pt x="66" y="34"/>
                  </a:cubicBezTo>
                  <a:cubicBezTo>
                    <a:pt x="65" y="33"/>
                    <a:pt x="64" y="34"/>
                    <a:pt x="62" y="34"/>
                  </a:cubicBezTo>
                  <a:cubicBezTo>
                    <a:pt x="61" y="34"/>
                    <a:pt x="60" y="34"/>
                    <a:pt x="58" y="34"/>
                  </a:cubicBezTo>
                  <a:cubicBezTo>
                    <a:pt x="58" y="33"/>
                    <a:pt x="57" y="33"/>
                    <a:pt x="57" y="32"/>
                  </a:cubicBezTo>
                  <a:cubicBezTo>
                    <a:pt x="56" y="32"/>
                    <a:pt x="56" y="31"/>
                    <a:pt x="56" y="31"/>
                  </a:cubicBezTo>
                  <a:cubicBezTo>
                    <a:pt x="55" y="32"/>
                    <a:pt x="54" y="31"/>
                    <a:pt x="53" y="30"/>
                  </a:cubicBezTo>
                  <a:cubicBezTo>
                    <a:pt x="53" y="30"/>
                    <a:pt x="54" y="29"/>
                    <a:pt x="54" y="28"/>
                  </a:cubicBezTo>
                  <a:cubicBezTo>
                    <a:pt x="55" y="27"/>
                    <a:pt x="54" y="26"/>
                    <a:pt x="54" y="25"/>
                  </a:cubicBezTo>
                  <a:cubicBezTo>
                    <a:pt x="54" y="24"/>
                    <a:pt x="55" y="23"/>
                    <a:pt x="54" y="23"/>
                  </a:cubicBezTo>
                  <a:cubicBezTo>
                    <a:pt x="54" y="22"/>
                    <a:pt x="52" y="23"/>
                    <a:pt x="52" y="23"/>
                  </a:cubicBezTo>
                  <a:cubicBezTo>
                    <a:pt x="50" y="23"/>
                    <a:pt x="49" y="23"/>
                    <a:pt x="49" y="25"/>
                  </a:cubicBezTo>
                  <a:cubicBezTo>
                    <a:pt x="49" y="27"/>
                    <a:pt x="48" y="29"/>
                    <a:pt x="48" y="30"/>
                  </a:cubicBezTo>
                  <a:cubicBezTo>
                    <a:pt x="48" y="30"/>
                    <a:pt x="48" y="30"/>
                    <a:pt x="48" y="30"/>
                  </a:cubicBezTo>
                  <a:cubicBezTo>
                    <a:pt x="48" y="31"/>
                    <a:pt x="49" y="32"/>
                    <a:pt x="48" y="32"/>
                  </a:cubicBezTo>
                  <a:cubicBezTo>
                    <a:pt x="48" y="36"/>
                    <a:pt x="44" y="36"/>
                    <a:pt x="42" y="36"/>
                  </a:cubicBezTo>
                  <a:cubicBezTo>
                    <a:pt x="38" y="36"/>
                    <a:pt x="36" y="38"/>
                    <a:pt x="35" y="42"/>
                  </a:cubicBezTo>
                  <a:cubicBezTo>
                    <a:pt x="35" y="45"/>
                    <a:pt x="39" y="51"/>
                    <a:pt x="34" y="53"/>
                  </a:cubicBezTo>
                  <a:cubicBezTo>
                    <a:pt x="32" y="54"/>
                    <a:pt x="26" y="52"/>
                    <a:pt x="27" y="56"/>
                  </a:cubicBezTo>
                  <a:cubicBezTo>
                    <a:pt x="27" y="58"/>
                    <a:pt x="27" y="58"/>
                    <a:pt x="25" y="59"/>
                  </a:cubicBezTo>
                  <a:cubicBezTo>
                    <a:pt x="24" y="60"/>
                    <a:pt x="24" y="61"/>
                    <a:pt x="25" y="63"/>
                  </a:cubicBezTo>
                  <a:cubicBezTo>
                    <a:pt x="26" y="64"/>
                    <a:pt x="30" y="66"/>
                    <a:pt x="28" y="69"/>
                  </a:cubicBezTo>
                  <a:cubicBezTo>
                    <a:pt x="27" y="70"/>
                    <a:pt x="24" y="69"/>
                    <a:pt x="23" y="69"/>
                  </a:cubicBezTo>
                  <a:cubicBezTo>
                    <a:pt x="22" y="68"/>
                    <a:pt x="21" y="68"/>
                    <a:pt x="20" y="69"/>
                  </a:cubicBezTo>
                  <a:cubicBezTo>
                    <a:pt x="20" y="70"/>
                    <a:pt x="21" y="71"/>
                    <a:pt x="21" y="72"/>
                  </a:cubicBezTo>
                  <a:cubicBezTo>
                    <a:pt x="23" y="74"/>
                    <a:pt x="24" y="75"/>
                    <a:pt x="25" y="77"/>
                  </a:cubicBezTo>
                  <a:cubicBezTo>
                    <a:pt x="26" y="79"/>
                    <a:pt x="27" y="81"/>
                    <a:pt x="26" y="83"/>
                  </a:cubicBezTo>
                  <a:cubicBezTo>
                    <a:pt x="26" y="84"/>
                    <a:pt x="25" y="85"/>
                    <a:pt x="25" y="86"/>
                  </a:cubicBezTo>
                  <a:cubicBezTo>
                    <a:pt x="24" y="86"/>
                    <a:pt x="24" y="87"/>
                    <a:pt x="24" y="87"/>
                  </a:cubicBezTo>
                  <a:cubicBezTo>
                    <a:pt x="21" y="91"/>
                    <a:pt x="19" y="87"/>
                    <a:pt x="17" y="85"/>
                  </a:cubicBezTo>
                  <a:cubicBezTo>
                    <a:pt x="17" y="84"/>
                    <a:pt x="15" y="81"/>
                    <a:pt x="14" y="82"/>
                  </a:cubicBezTo>
                  <a:cubicBezTo>
                    <a:pt x="14" y="82"/>
                    <a:pt x="13" y="83"/>
                    <a:pt x="12" y="83"/>
                  </a:cubicBezTo>
                  <a:cubicBezTo>
                    <a:pt x="12" y="83"/>
                    <a:pt x="11" y="82"/>
                    <a:pt x="10" y="83"/>
                  </a:cubicBezTo>
                  <a:cubicBezTo>
                    <a:pt x="10" y="84"/>
                    <a:pt x="11" y="85"/>
                    <a:pt x="12" y="86"/>
                  </a:cubicBezTo>
                  <a:cubicBezTo>
                    <a:pt x="13" y="88"/>
                    <a:pt x="14" y="91"/>
                    <a:pt x="17" y="91"/>
                  </a:cubicBezTo>
                  <a:cubicBezTo>
                    <a:pt x="19" y="91"/>
                    <a:pt x="21" y="89"/>
                    <a:pt x="22" y="92"/>
                  </a:cubicBezTo>
                  <a:cubicBezTo>
                    <a:pt x="22" y="94"/>
                    <a:pt x="21" y="96"/>
                    <a:pt x="21" y="98"/>
                  </a:cubicBezTo>
                  <a:cubicBezTo>
                    <a:pt x="20" y="100"/>
                    <a:pt x="20" y="102"/>
                    <a:pt x="20" y="105"/>
                  </a:cubicBezTo>
                  <a:cubicBezTo>
                    <a:pt x="19" y="110"/>
                    <a:pt x="19" y="115"/>
                    <a:pt x="21" y="120"/>
                  </a:cubicBezTo>
                  <a:cubicBezTo>
                    <a:pt x="22" y="123"/>
                    <a:pt x="23" y="124"/>
                    <a:pt x="24" y="126"/>
                  </a:cubicBezTo>
                  <a:cubicBezTo>
                    <a:pt x="25" y="128"/>
                    <a:pt x="25" y="130"/>
                    <a:pt x="26" y="132"/>
                  </a:cubicBezTo>
                  <a:cubicBezTo>
                    <a:pt x="26" y="133"/>
                    <a:pt x="26" y="136"/>
                    <a:pt x="24" y="135"/>
                  </a:cubicBezTo>
                  <a:cubicBezTo>
                    <a:pt x="23" y="135"/>
                    <a:pt x="22" y="132"/>
                    <a:pt x="21" y="131"/>
                  </a:cubicBezTo>
                  <a:cubicBezTo>
                    <a:pt x="20" y="129"/>
                    <a:pt x="19" y="123"/>
                    <a:pt x="16" y="123"/>
                  </a:cubicBezTo>
                  <a:cubicBezTo>
                    <a:pt x="16" y="123"/>
                    <a:pt x="14" y="124"/>
                    <a:pt x="14" y="124"/>
                  </a:cubicBezTo>
                  <a:cubicBezTo>
                    <a:pt x="13" y="125"/>
                    <a:pt x="14" y="126"/>
                    <a:pt x="15" y="127"/>
                  </a:cubicBezTo>
                  <a:cubicBezTo>
                    <a:pt x="15" y="130"/>
                    <a:pt x="13" y="129"/>
                    <a:pt x="11" y="130"/>
                  </a:cubicBezTo>
                  <a:cubicBezTo>
                    <a:pt x="9" y="131"/>
                    <a:pt x="10" y="133"/>
                    <a:pt x="9" y="134"/>
                  </a:cubicBezTo>
                  <a:cubicBezTo>
                    <a:pt x="8" y="134"/>
                    <a:pt x="8" y="134"/>
                    <a:pt x="7" y="134"/>
                  </a:cubicBezTo>
                  <a:cubicBezTo>
                    <a:pt x="7" y="144"/>
                    <a:pt x="7" y="144"/>
                    <a:pt x="7" y="144"/>
                  </a:cubicBezTo>
                  <a:cubicBezTo>
                    <a:pt x="8" y="146"/>
                    <a:pt x="8" y="146"/>
                    <a:pt x="8" y="146"/>
                  </a:cubicBezTo>
                  <a:cubicBezTo>
                    <a:pt x="9" y="151"/>
                    <a:pt x="9" y="151"/>
                    <a:pt x="9" y="151"/>
                  </a:cubicBezTo>
                  <a:cubicBezTo>
                    <a:pt x="8" y="152"/>
                    <a:pt x="8" y="152"/>
                    <a:pt x="8" y="152"/>
                  </a:cubicBezTo>
                  <a:cubicBezTo>
                    <a:pt x="8" y="155"/>
                    <a:pt x="8" y="155"/>
                    <a:pt x="8" y="155"/>
                  </a:cubicBezTo>
                  <a:cubicBezTo>
                    <a:pt x="6" y="156"/>
                    <a:pt x="6" y="156"/>
                    <a:pt x="6" y="156"/>
                  </a:cubicBezTo>
                  <a:cubicBezTo>
                    <a:pt x="3" y="160"/>
                    <a:pt x="3" y="160"/>
                    <a:pt x="3" y="160"/>
                  </a:cubicBezTo>
                  <a:cubicBezTo>
                    <a:pt x="3" y="162"/>
                    <a:pt x="3" y="162"/>
                    <a:pt x="3" y="162"/>
                  </a:cubicBezTo>
                  <a:cubicBezTo>
                    <a:pt x="0" y="165"/>
                    <a:pt x="0" y="165"/>
                    <a:pt x="0" y="165"/>
                  </a:cubicBezTo>
                  <a:cubicBezTo>
                    <a:pt x="2" y="167"/>
                    <a:pt x="2" y="167"/>
                    <a:pt x="2" y="167"/>
                  </a:cubicBezTo>
                  <a:cubicBezTo>
                    <a:pt x="5" y="169"/>
                    <a:pt x="5" y="169"/>
                    <a:pt x="5" y="169"/>
                  </a:cubicBezTo>
                  <a:cubicBezTo>
                    <a:pt x="9" y="169"/>
                    <a:pt x="9" y="169"/>
                    <a:pt x="9" y="169"/>
                  </a:cubicBezTo>
                  <a:cubicBezTo>
                    <a:pt x="12" y="168"/>
                    <a:pt x="12" y="168"/>
                    <a:pt x="12" y="168"/>
                  </a:cubicBezTo>
                  <a:cubicBezTo>
                    <a:pt x="15" y="172"/>
                    <a:pt x="15" y="172"/>
                    <a:pt x="15" y="172"/>
                  </a:cubicBezTo>
                  <a:cubicBezTo>
                    <a:pt x="13" y="174"/>
                    <a:pt x="13" y="174"/>
                    <a:pt x="13" y="174"/>
                  </a:cubicBezTo>
                  <a:cubicBezTo>
                    <a:pt x="14" y="177"/>
                    <a:pt x="14" y="177"/>
                    <a:pt x="14" y="177"/>
                  </a:cubicBezTo>
                  <a:cubicBezTo>
                    <a:pt x="17" y="180"/>
                    <a:pt x="17" y="180"/>
                    <a:pt x="17" y="180"/>
                  </a:cubicBezTo>
                  <a:cubicBezTo>
                    <a:pt x="23" y="190"/>
                    <a:pt x="23" y="190"/>
                    <a:pt x="23" y="190"/>
                  </a:cubicBezTo>
                  <a:cubicBezTo>
                    <a:pt x="25" y="191"/>
                    <a:pt x="25" y="191"/>
                    <a:pt x="25" y="191"/>
                  </a:cubicBezTo>
                  <a:cubicBezTo>
                    <a:pt x="26" y="206"/>
                    <a:pt x="26" y="206"/>
                    <a:pt x="26" y="206"/>
                  </a:cubicBezTo>
                  <a:cubicBezTo>
                    <a:pt x="25" y="206"/>
                    <a:pt x="25" y="206"/>
                    <a:pt x="25" y="206"/>
                  </a:cubicBezTo>
                  <a:cubicBezTo>
                    <a:pt x="27" y="208"/>
                    <a:pt x="27" y="208"/>
                    <a:pt x="27" y="208"/>
                  </a:cubicBezTo>
                  <a:cubicBezTo>
                    <a:pt x="29" y="206"/>
                    <a:pt x="29" y="206"/>
                    <a:pt x="29" y="206"/>
                  </a:cubicBezTo>
                  <a:cubicBezTo>
                    <a:pt x="34" y="201"/>
                    <a:pt x="34" y="201"/>
                    <a:pt x="34" y="201"/>
                  </a:cubicBezTo>
                  <a:cubicBezTo>
                    <a:pt x="38" y="204"/>
                    <a:pt x="38" y="204"/>
                    <a:pt x="38" y="204"/>
                  </a:cubicBezTo>
                  <a:cubicBezTo>
                    <a:pt x="44" y="206"/>
                    <a:pt x="44" y="206"/>
                    <a:pt x="44" y="206"/>
                  </a:cubicBezTo>
                  <a:cubicBezTo>
                    <a:pt x="51" y="206"/>
                    <a:pt x="51" y="206"/>
                    <a:pt x="51" y="206"/>
                  </a:cubicBezTo>
                  <a:cubicBezTo>
                    <a:pt x="53" y="208"/>
                    <a:pt x="53" y="208"/>
                    <a:pt x="53" y="208"/>
                  </a:cubicBezTo>
                  <a:cubicBezTo>
                    <a:pt x="55" y="205"/>
                    <a:pt x="55" y="205"/>
                    <a:pt x="55" y="205"/>
                  </a:cubicBezTo>
                  <a:cubicBezTo>
                    <a:pt x="58" y="198"/>
                    <a:pt x="58" y="198"/>
                    <a:pt x="58" y="198"/>
                  </a:cubicBezTo>
                  <a:cubicBezTo>
                    <a:pt x="72" y="215"/>
                    <a:pt x="72" y="215"/>
                    <a:pt x="72" y="215"/>
                  </a:cubicBezTo>
                  <a:cubicBezTo>
                    <a:pt x="79" y="219"/>
                    <a:pt x="79" y="219"/>
                    <a:pt x="79" y="219"/>
                  </a:cubicBezTo>
                  <a:cubicBezTo>
                    <a:pt x="83" y="218"/>
                    <a:pt x="83" y="218"/>
                    <a:pt x="83" y="218"/>
                  </a:cubicBezTo>
                  <a:cubicBezTo>
                    <a:pt x="94" y="220"/>
                    <a:pt x="94" y="220"/>
                    <a:pt x="94" y="220"/>
                  </a:cubicBezTo>
                  <a:cubicBezTo>
                    <a:pt x="97" y="221"/>
                    <a:pt x="97" y="221"/>
                    <a:pt x="97" y="221"/>
                  </a:cubicBezTo>
                  <a:cubicBezTo>
                    <a:pt x="101" y="222"/>
                    <a:pt x="101" y="222"/>
                    <a:pt x="101" y="222"/>
                  </a:cubicBezTo>
                  <a:cubicBezTo>
                    <a:pt x="107" y="227"/>
                    <a:pt x="107" y="227"/>
                    <a:pt x="107" y="227"/>
                  </a:cubicBezTo>
                  <a:cubicBezTo>
                    <a:pt x="120" y="229"/>
                    <a:pt x="120" y="229"/>
                    <a:pt x="120" y="229"/>
                  </a:cubicBezTo>
                  <a:cubicBezTo>
                    <a:pt x="126" y="231"/>
                    <a:pt x="126" y="231"/>
                    <a:pt x="126" y="231"/>
                  </a:cubicBezTo>
                  <a:cubicBezTo>
                    <a:pt x="131" y="233"/>
                    <a:pt x="131" y="233"/>
                    <a:pt x="131" y="233"/>
                  </a:cubicBezTo>
                  <a:cubicBezTo>
                    <a:pt x="134" y="237"/>
                    <a:pt x="134" y="237"/>
                    <a:pt x="134" y="237"/>
                  </a:cubicBezTo>
                  <a:cubicBezTo>
                    <a:pt x="137" y="236"/>
                    <a:pt x="137" y="236"/>
                    <a:pt x="137" y="236"/>
                  </a:cubicBezTo>
                  <a:cubicBezTo>
                    <a:pt x="140" y="239"/>
                    <a:pt x="140" y="239"/>
                    <a:pt x="140" y="239"/>
                  </a:cubicBezTo>
                  <a:cubicBezTo>
                    <a:pt x="143" y="244"/>
                    <a:pt x="143" y="244"/>
                    <a:pt x="143" y="244"/>
                  </a:cubicBezTo>
                  <a:cubicBezTo>
                    <a:pt x="140" y="248"/>
                    <a:pt x="140" y="248"/>
                    <a:pt x="140" y="248"/>
                  </a:cubicBezTo>
                  <a:cubicBezTo>
                    <a:pt x="138" y="251"/>
                    <a:pt x="138" y="251"/>
                    <a:pt x="138" y="251"/>
                  </a:cubicBezTo>
                  <a:cubicBezTo>
                    <a:pt x="138" y="254"/>
                    <a:pt x="138" y="254"/>
                    <a:pt x="138" y="254"/>
                  </a:cubicBezTo>
                  <a:cubicBezTo>
                    <a:pt x="136" y="256"/>
                    <a:pt x="136" y="256"/>
                    <a:pt x="136" y="256"/>
                  </a:cubicBezTo>
                  <a:cubicBezTo>
                    <a:pt x="135" y="259"/>
                    <a:pt x="135" y="259"/>
                    <a:pt x="135" y="259"/>
                  </a:cubicBezTo>
                  <a:cubicBezTo>
                    <a:pt x="140" y="261"/>
                    <a:pt x="140" y="261"/>
                    <a:pt x="140" y="261"/>
                  </a:cubicBezTo>
                  <a:cubicBezTo>
                    <a:pt x="145" y="263"/>
                    <a:pt x="145" y="263"/>
                    <a:pt x="145" y="263"/>
                  </a:cubicBezTo>
                  <a:cubicBezTo>
                    <a:pt x="149" y="265"/>
                    <a:pt x="149" y="265"/>
                    <a:pt x="149" y="265"/>
                  </a:cubicBezTo>
                  <a:cubicBezTo>
                    <a:pt x="153" y="264"/>
                    <a:pt x="153" y="264"/>
                    <a:pt x="153" y="264"/>
                  </a:cubicBezTo>
                  <a:cubicBezTo>
                    <a:pt x="155" y="263"/>
                    <a:pt x="155" y="263"/>
                    <a:pt x="155" y="263"/>
                  </a:cubicBezTo>
                  <a:cubicBezTo>
                    <a:pt x="160" y="263"/>
                    <a:pt x="160" y="263"/>
                    <a:pt x="160" y="263"/>
                  </a:cubicBezTo>
                  <a:cubicBezTo>
                    <a:pt x="162" y="266"/>
                    <a:pt x="162" y="266"/>
                    <a:pt x="162" y="266"/>
                  </a:cubicBezTo>
                  <a:cubicBezTo>
                    <a:pt x="166" y="267"/>
                    <a:pt x="166" y="267"/>
                    <a:pt x="166" y="267"/>
                  </a:cubicBezTo>
                  <a:cubicBezTo>
                    <a:pt x="166" y="271"/>
                    <a:pt x="166" y="271"/>
                    <a:pt x="166" y="271"/>
                  </a:cubicBezTo>
                  <a:cubicBezTo>
                    <a:pt x="170" y="274"/>
                    <a:pt x="170" y="274"/>
                    <a:pt x="170" y="274"/>
                  </a:cubicBezTo>
                  <a:cubicBezTo>
                    <a:pt x="174" y="274"/>
                    <a:pt x="174" y="274"/>
                    <a:pt x="174" y="274"/>
                  </a:cubicBezTo>
                  <a:cubicBezTo>
                    <a:pt x="174" y="281"/>
                    <a:pt x="174" y="281"/>
                    <a:pt x="174" y="281"/>
                  </a:cubicBezTo>
                  <a:cubicBezTo>
                    <a:pt x="174" y="282"/>
                    <a:pt x="174" y="282"/>
                    <a:pt x="174" y="282"/>
                  </a:cubicBezTo>
                  <a:cubicBezTo>
                    <a:pt x="175" y="281"/>
                    <a:pt x="175" y="281"/>
                    <a:pt x="175" y="281"/>
                  </a:cubicBezTo>
                  <a:cubicBezTo>
                    <a:pt x="178" y="280"/>
                    <a:pt x="179" y="282"/>
                    <a:pt x="181" y="281"/>
                  </a:cubicBezTo>
                  <a:cubicBezTo>
                    <a:pt x="181" y="280"/>
                    <a:pt x="181" y="279"/>
                    <a:pt x="182" y="278"/>
                  </a:cubicBezTo>
                  <a:cubicBezTo>
                    <a:pt x="182" y="278"/>
                    <a:pt x="184" y="278"/>
                    <a:pt x="184" y="277"/>
                  </a:cubicBezTo>
                  <a:cubicBezTo>
                    <a:pt x="184" y="276"/>
                    <a:pt x="184" y="275"/>
                    <a:pt x="183" y="274"/>
                  </a:cubicBezTo>
                  <a:cubicBezTo>
                    <a:pt x="182" y="273"/>
                    <a:pt x="182" y="273"/>
                    <a:pt x="180" y="274"/>
                  </a:cubicBezTo>
                  <a:cubicBezTo>
                    <a:pt x="180" y="274"/>
                    <a:pt x="179" y="273"/>
                    <a:pt x="178" y="273"/>
                  </a:cubicBezTo>
                  <a:cubicBezTo>
                    <a:pt x="177" y="272"/>
                    <a:pt x="176" y="271"/>
                    <a:pt x="175" y="270"/>
                  </a:cubicBezTo>
                  <a:cubicBezTo>
                    <a:pt x="174" y="270"/>
                    <a:pt x="173" y="269"/>
                    <a:pt x="172" y="268"/>
                  </a:cubicBezTo>
                  <a:cubicBezTo>
                    <a:pt x="172" y="268"/>
                    <a:pt x="172" y="267"/>
                    <a:pt x="172" y="266"/>
                  </a:cubicBezTo>
                  <a:cubicBezTo>
                    <a:pt x="173" y="264"/>
                    <a:pt x="175" y="262"/>
                    <a:pt x="175" y="260"/>
                  </a:cubicBezTo>
                  <a:cubicBezTo>
                    <a:pt x="174" y="258"/>
                    <a:pt x="172" y="258"/>
                    <a:pt x="171" y="259"/>
                  </a:cubicBezTo>
                  <a:cubicBezTo>
                    <a:pt x="170" y="259"/>
                    <a:pt x="169" y="259"/>
                    <a:pt x="168" y="258"/>
                  </a:cubicBezTo>
                  <a:cubicBezTo>
                    <a:pt x="166" y="258"/>
                    <a:pt x="168" y="256"/>
                    <a:pt x="168" y="255"/>
                  </a:cubicBezTo>
                  <a:cubicBezTo>
                    <a:pt x="167" y="255"/>
                    <a:pt x="167" y="255"/>
                    <a:pt x="167" y="255"/>
                  </a:cubicBezTo>
                  <a:cubicBezTo>
                    <a:pt x="168" y="254"/>
                    <a:pt x="166" y="253"/>
                    <a:pt x="166" y="253"/>
                  </a:cubicBezTo>
                  <a:cubicBezTo>
                    <a:pt x="165" y="252"/>
                    <a:pt x="164" y="252"/>
                    <a:pt x="164" y="252"/>
                  </a:cubicBezTo>
                  <a:cubicBezTo>
                    <a:pt x="163" y="251"/>
                    <a:pt x="162" y="252"/>
                    <a:pt x="161" y="252"/>
                  </a:cubicBezTo>
                  <a:cubicBezTo>
                    <a:pt x="160" y="251"/>
                    <a:pt x="160" y="250"/>
                    <a:pt x="159" y="250"/>
                  </a:cubicBezTo>
                  <a:cubicBezTo>
                    <a:pt x="158" y="249"/>
                    <a:pt x="157" y="249"/>
                    <a:pt x="157" y="248"/>
                  </a:cubicBezTo>
                  <a:cubicBezTo>
                    <a:pt x="156" y="247"/>
                    <a:pt x="156" y="247"/>
                    <a:pt x="157" y="246"/>
                  </a:cubicBezTo>
                  <a:cubicBezTo>
                    <a:pt x="157" y="246"/>
                    <a:pt x="157" y="246"/>
                    <a:pt x="157" y="245"/>
                  </a:cubicBezTo>
                  <a:cubicBezTo>
                    <a:pt x="157" y="244"/>
                    <a:pt x="157" y="244"/>
                    <a:pt x="157" y="244"/>
                  </a:cubicBezTo>
                  <a:cubicBezTo>
                    <a:pt x="156" y="244"/>
                    <a:pt x="156" y="243"/>
                    <a:pt x="156" y="243"/>
                  </a:cubicBezTo>
                  <a:cubicBezTo>
                    <a:pt x="155" y="242"/>
                    <a:pt x="155" y="241"/>
                    <a:pt x="155" y="240"/>
                  </a:cubicBezTo>
                  <a:cubicBezTo>
                    <a:pt x="154" y="238"/>
                    <a:pt x="153" y="237"/>
                    <a:pt x="152" y="235"/>
                  </a:cubicBezTo>
                  <a:cubicBezTo>
                    <a:pt x="151" y="234"/>
                    <a:pt x="150" y="232"/>
                    <a:pt x="149" y="230"/>
                  </a:cubicBezTo>
                  <a:cubicBezTo>
                    <a:pt x="149" y="229"/>
                    <a:pt x="148" y="229"/>
                    <a:pt x="147" y="228"/>
                  </a:cubicBezTo>
                  <a:cubicBezTo>
                    <a:pt x="147" y="227"/>
                    <a:pt x="146" y="226"/>
                    <a:pt x="146" y="226"/>
                  </a:cubicBezTo>
                  <a:cubicBezTo>
                    <a:pt x="146" y="224"/>
                    <a:pt x="146" y="223"/>
                    <a:pt x="144" y="222"/>
                  </a:cubicBezTo>
                  <a:cubicBezTo>
                    <a:pt x="144" y="222"/>
                    <a:pt x="143" y="222"/>
                    <a:pt x="142" y="221"/>
                  </a:cubicBezTo>
                  <a:cubicBezTo>
                    <a:pt x="142" y="221"/>
                    <a:pt x="141" y="220"/>
                    <a:pt x="140" y="220"/>
                  </a:cubicBezTo>
                  <a:cubicBezTo>
                    <a:pt x="139" y="219"/>
                    <a:pt x="140" y="217"/>
                    <a:pt x="139" y="217"/>
                  </a:cubicBezTo>
                  <a:cubicBezTo>
                    <a:pt x="138" y="217"/>
                    <a:pt x="138" y="216"/>
                    <a:pt x="137" y="216"/>
                  </a:cubicBezTo>
                  <a:cubicBezTo>
                    <a:pt x="137" y="216"/>
                    <a:pt x="136" y="216"/>
                    <a:pt x="136" y="216"/>
                  </a:cubicBezTo>
                  <a:cubicBezTo>
                    <a:pt x="134" y="216"/>
                    <a:pt x="132" y="216"/>
                    <a:pt x="131" y="216"/>
                  </a:cubicBezTo>
                  <a:cubicBezTo>
                    <a:pt x="127" y="215"/>
                    <a:pt x="129" y="212"/>
                    <a:pt x="128" y="210"/>
                  </a:cubicBezTo>
                  <a:cubicBezTo>
                    <a:pt x="127" y="207"/>
                    <a:pt x="125" y="206"/>
                    <a:pt x="123" y="204"/>
                  </a:cubicBezTo>
                  <a:cubicBezTo>
                    <a:pt x="123" y="204"/>
                    <a:pt x="123" y="204"/>
                    <a:pt x="122" y="203"/>
                  </a:cubicBezTo>
                  <a:cubicBezTo>
                    <a:pt x="122" y="203"/>
                    <a:pt x="121" y="203"/>
                    <a:pt x="120" y="202"/>
                  </a:cubicBezTo>
                  <a:cubicBezTo>
                    <a:pt x="120" y="201"/>
                    <a:pt x="120" y="201"/>
                    <a:pt x="120" y="200"/>
                  </a:cubicBezTo>
                  <a:cubicBezTo>
                    <a:pt x="120" y="200"/>
                    <a:pt x="120" y="198"/>
                    <a:pt x="118" y="199"/>
                  </a:cubicBezTo>
                  <a:cubicBezTo>
                    <a:pt x="118" y="199"/>
                    <a:pt x="118" y="199"/>
                    <a:pt x="118" y="200"/>
                  </a:cubicBezTo>
                  <a:cubicBezTo>
                    <a:pt x="118" y="201"/>
                    <a:pt x="118" y="202"/>
                    <a:pt x="118" y="203"/>
                  </a:cubicBezTo>
                  <a:cubicBezTo>
                    <a:pt x="117" y="203"/>
                    <a:pt x="116" y="204"/>
                    <a:pt x="115" y="203"/>
                  </a:cubicBezTo>
                  <a:cubicBezTo>
                    <a:pt x="115" y="203"/>
                    <a:pt x="116" y="202"/>
                    <a:pt x="115" y="201"/>
                  </a:cubicBezTo>
                  <a:cubicBezTo>
                    <a:pt x="115" y="201"/>
                    <a:pt x="114" y="200"/>
                    <a:pt x="114" y="200"/>
                  </a:cubicBezTo>
                  <a:cubicBezTo>
                    <a:pt x="114" y="199"/>
                    <a:pt x="114" y="199"/>
                    <a:pt x="115" y="198"/>
                  </a:cubicBezTo>
                  <a:cubicBezTo>
                    <a:pt x="115" y="198"/>
                    <a:pt x="115" y="197"/>
                    <a:pt x="115" y="196"/>
                  </a:cubicBezTo>
                  <a:cubicBezTo>
                    <a:pt x="115" y="195"/>
                    <a:pt x="113" y="196"/>
                    <a:pt x="113" y="194"/>
                  </a:cubicBezTo>
                  <a:cubicBezTo>
                    <a:pt x="113" y="193"/>
                    <a:pt x="114" y="191"/>
                    <a:pt x="115" y="191"/>
                  </a:cubicBezTo>
                  <a:cubicBezTo>
                    <a:pt x="116" y="191"/>
                    <a:pt x="117" y="192"/>
                    <a:pt x="117" y="192"/>
                  </a:cubicBezTo>
                  <a:cubicBezTo>
                    <a:pt x="118" y="193"/>
                    <a:pt x="119" y="193"/>
                    <a:pt x="120" y="193"/>
                  </a:cubicBezTo>
                  <a:cubicBezTo>
                    <a:pt x="121" y="194"/>
                    <a:pt x="122" y="193"/>
                    <a:pt x="122" y="194"/>
                  </a:cubicBezTo>
                  <a:cubicBezTo>
                    <a:pt x="122" y="195"/>
                    <a:pt x="121" y="195"/>
                    <a:pt x="122" y="196"/>
                  </a:cubicBezTo>
                  <a:cubicBezTo>
                    <a:pt x="122" y="197"/>
                    <a:pt x="123" y="197"/>
                    <a:pt x="124" y="197"/>
                  </a:cubicBezTo>
                  <a:cubicBezTo>
                    <a:pt x="125" y="197"/>
                    <a:pt x="125" y="198"/>
                    <a:pt x="126" y="198"/>
                  </a:cubicBezTo>
                  <a:cubicBezTo>
                    <a:pt x="127" y="199"/>
                    <a:pt x="127" y="200"/>
                    <a:pt x="127" y="200"/>
                  </a:cubicBezTo>
                  <a:cubicBezTo>
                    <a:pt x="128" y="201"/>
                    <a:pt x="128" y="202"/>
                    <a:pt x="129" y="202"/>
                  </a:cubicBezTo>
                  <a:cubicBezTo>
                    <a:pt x="130" y="203"/>
                    <a:pt x="132" y="202"/>
                    <a:pt x="134" y="202"/>
                  </a:cubicBezTo>
                  <a:cubicBezTo>
                    <a:pt x="137" y="201"/>
                    <a:pt x="140" y="198"/>
                    <a:pt x="141" y="195"/>
                  </a:cubicBezTo>
                  <a:cubicBezTo>
                    <a:pt x="143" y="192"/>
                    <a:pt x="143" y="189"/>
                    <a:pt x="146" y="187"/>
                  </a:cubicBezTo>
                  <a:cubicBezTo>
                    <a:pt x="148" y="185"/>
                    <a:pt x="150" y="186"/>
                    <a:pt x="152" y="185"/>
                  </a:cubicBezTo>
                  <a:cubicBezTo>
                    <a:pt x="153" y="185"/>
                    <a:pt x="154" y="184"/>
                    <a:pt x="154" y="183"/>
                  </a:cubicBezTo>
                  <a:cubicBezTo>
                    <a:pt x="155" y="183"/>
                    <a:pt x="155" y="182"/>
                    <a:pt x="156" y="182"/>
                  </a:cubicBezTo>
                  <a:cubicBezTo>
                    <a:pt x="157" y="181"/>
                    <a:pt x="158" y="181"/>
                    <a:pt x="159" y="181"/>
                  </a:cubicBezTo>
                  <a:cubicBezTo>
                    <a:pt x="162" y="180"/>
                    <a:pt x="165" y="181"/>
                    <a:pt x="167" y="180"/>
                  </a:cubicBezTo>
                  <a:cubicBezTo>
                    <a:pt x="169" y="180"/>
                    <a:pt x="171" y="178"/>
                    <a:pt x="173" y="177"/>
                  </a:cubicBezTo>
                  <a:cubicBezTo>
                    <a:pt x="174" y="177"/>
                    <a:pt x="176" y="176"/>
                    <a:pt x="177" y="175"/>
                  </a:cubicBezTo>
                  <a:cubicBezTo>
                    <a:pt x="179" y="174"/>
                    <a:pt x="179" y="174"/>
                    <a:pt x="180" y="172"/>
                  </a:cubicBezTo>
                  <a:cubicBezTo>
                    <a:pt x="180" y="171"/>
                    <a:pt x="181" y="170"/>
                    <a:pt x="183" y="169"/>
                  </a:cubicBezTo>
                  <a:cubicBezTo>
                    <a:pt x="184" y="168"/>
                    <a:pt x="184" y="167"/>
                    <a:pt x="185" y="166"/>
                  </a:cubicBezTo>
                  <a:cubicBezTo>
                    <a:pt x="186" y="165"/>
                    <a:pt x="188" y="164"/>
                    <a:pt x="189" y="163"/>
                  </a:cubicBezTo>
                  <a:cubicBezTo>
                    <a:pt x="189" y="162"/>
                    <a:pt x="190" y="161"/>
                    <a:pt x="191" y="160"/>
                  </a:cubicBezTo>
                  <a:cubicBezTo>
                    <a:pt x="191" y="160"/>
                    <a:pt x="192" y="159"/>
                    <a:pt x="192" y="159"/>
                  </a:cubicBezTo>
                  <a:cubicBezTo>
                    <a:pt x="192" y="158"/>
                    <a:pt x="192" y="158"/>
                    <a:pt x="193" y="158"/>
                  </a:cubicBezTo>
                  <a:cubicBezTo>
                    <a:pt x="194" y="156"/>
                    <a:pt x="194" y="155"/>
                    <a:pt x="195" y="154"/>
                  </a:cubicBezTo>
                  <a:cubicBezTo>
                    <a:pt x="196" y="153"/>
                    <a:pt x="196" y="153"/>
                    <a:pt x="196" y="152"/>
                  </a:cubicBezTo>
                  <a:cubicBezTo>
                    <a:pt x="197" y="152"/>
                    <a:pt x="197" y="152"/>
                    <a:pt x="198" y="152"/>
                  </a:cubicBezTo>
                  <a:cubicBezTo>
                    <a:pt x="199" y="151"/>
                    <a:pt x="200" y="149"/>
                    <a:pt x="201" y="148"/>
                  </a:cubicBezTo>
                  <a:cubicBezTo>
                    <a:pt x="202" y="147"/>
                    <a:pt x="204" y="145"/>
                    <a:pt x="204" y="143"/>
                  </a:cubicBezTo>
                  <a:cubicBezTo>
                    <a:pt x="204" y="142"/>
                    <a:pt x="204" y="142"/>
                    <a:pt x="204" y="141"/>
                  </a:cubicBezTo>
                  <a:cubicBezTo>
                    <a:pt x="205" y="140"/>
                    <a:pt x="207" y="139"/>
                    <a:pt x="208" y="139"/>
                  </a:cubicBezTo>
                  <a:cubicBezTo>
                    <a:pt x="210" y="138"/>
                    <a:pt x="212" y="138"/>
                    <a:pt x="213" y="138"/>
                  </a:cubicBezTo>
                  <a:cubicBezTo>
                    <a:pt x="215" y="138"/>
                    <a:pt x="217" y="138"/>
                    <a:pt x="219" y="138"/>
                  </a:cubicBezTo>
                  <a:cubicBezTo>
                    <a:pt x="220" y="138"/>
                    <a:pt x="220" y="137"/>
                    <a:pt x="221" y="136"/>
                  </a:cubicBezTo>
                  <a:cubicBezTo>
                    <a:pt x="222" y="135"/>
                    <a:pt x="223" y="134"/>
                    <a:pt x="224" y="135"/>
                  </a:cubicBezTo>
                  <a:cubicBezTo>
                    <a:pt x="225" y="135"/>
                    <a:pt x="225" y="137"/>
                    <a:pt x="226" y="138"/>
                  </a:cubicBezTo>
                  <a:cubicBezTo>
                    <a:pt x="226" y="139"/>
                    <a:pt x="226" y="140"/>
                    <a:pt x="227" y="141"/>
                  </a:cubicBezTo>
                  <a:cubicBezTo>
                    <a:pt x="228" y="142"/>
                    <a:pt x="229" y="142"/>
                    <a:pt x="230" y="143"/>
                  </a:cubicBezTo>
                  <a:cubicBezTo>
                    <a:pt x="231" y="144"/>
                    <a:pt x="232" y="144"/>
                    <a:pt x="233" y="145"/>
                  </a:cubicBezTo>
                  <a:cubicBezTo>
                    <a:pt x="234" y="145"/>
                    <a:pt x="235" y="145"/>
                    <a:pt x="235" y="146"/>
                  </a:cubicBezTo>
                  <a:cubicBezTo>
                    <a:pt x="237" y="146"/>
                    <a:pt x="238" y="147"/>
                    <a:pt x="239" y="146"/>
                  </a:cubicBezTo>
                  <a:cubicBezTo>
                    <a:pt x="239" y="145"/>
                    <a:pt x="240" y="144"/>
                    <a:pt x="240" y="143"/>
                  </a:cubicBezTo>
                  <a:cubicBezTo>
                    <a:pt x="240" y="141"/>
                    <a:pt x="240" y="137"/>
                    <a:pt x="241" y="135"/>
                  </a:cubicBezTo>
                  <a:cubicBezTo>
                    <a:pt x="242" y="134"/>
                    <a:pt x="243" y="134"/>
                    <a:pt x="243" y="133"/>
                  </a:cubicBezTo>
                  <a:cubicBezTo>
                    <a:pt x="244" y="132"/>
                    <a:pt x="243" y="131"/>
                    <a:pt x="243" y="130"/>
                  </a:cubicBezTo>
                  <a:cubicBezTo>
                    <a:pt x="243" y="129"/>
                    <a:pt x="243" y="127"/>
                    <a:pt x="242" y="126"/>
                  </a:cubicBezTo>
                  <a:cubicBezTo>
                    <a:pt x="241" y="125"/>
                    <a:pt x="240" y="125"/>
                    <a:pt x="240" y="124"/>
                  </a:cubicBezTo>
                  <a:cubicBezTo>
                    <a:pt x="240" y="123"/>
                    <a:pt x="241" y="123"/>
                    <a:pt x="240" y="122"/>
                  </a:cubicBezTo>
                  <a:cubicBezTo>
                    <a:pt x="240" y="121"/>
                    <a:pt x="237" y="120"/>
                    <a:pt x="236" y="120"/>
                  </a:cubicBezTo>
                  <a:cubicBezTo>
                    <a:pt x="235" y="119"/>
                    <a:pt x="234" y="119"/>
                    <a:pt x="232" y="118"/>
                  </a:cubicBezTo>
                  <a:cubicBezTo>
                    <a:pt x="231" y="117"/>
                    <a:pt x="231" y="117"/>
                    <a:pt x="229" y="117"/>
                  </a:cubicBezTo>
                  <a:cubicBezTo>
                    <a:pt x="227" y="117"/>
                    <a:pt x="225" y="116"/>
                    <a:pt x="223" y="117"/>
                  </a:cubicBezTo>
                  <a:cubicBezTo>
                    <a:pt x="220" y="117"/>
                    <a:pt x="219" y="118"/>
                    <a:pt x="217" y="120"/>
                  </a:cubicBezTo>
                  <a:cubicBezTo>
                    <a:pt x="216" y="120"/>
                    <a:pt x="216" y="121"/>
                    <a:pt x="215" y="121"/>
                  </a:cubicBezTo>
                  <a:cubicBezTo>
                    <a:pt x="214" y="121"/>
                    <a:pt x="213" y="120"/>
                    <a:pt x="212" y="121"/>
                  </a:cubicBezTo>
                  <a:cubicBezTo>
                    <a:pt x="212" y="121"/>
                    <a:pt x="211" y="121"/>
                    <a:pt x="210" y="121"/>
                  </a:cubicBezTo>
                  <a:cubicBezTo>
                    <a:pt x="210" y="121"/>
                    <a:pt x="209" y="121"/>
                    <a:pt x="208" y="121"/>
                  </a:cubicBezTo>
                  <a:cubicBezTo>
                    <a:pt x="207" y="121"/>
                    <a:pt x="206" y="123"/>
                    <a:pt x="204" y="123"/>
                  </a:cubicBezTo>
                  <a:cubicBezTo>
                    <a:pt x="203" y="123"/>
                    <a:pt x="202" y="123"/>
                    <a:pt x="202" y="123"/>
                  </a:cubicBezTo>
                  <a:cubicBezTo>
                    <a:pt x="201" y="123"/>
                    <a:pt x="201" y="123"/>
                    <a:pt x="200" y="124"/>
                  </a:cubicBezTo>
                  <a:cubicBezTo>
                    <a:pt x="201" y="125"/>
                    <a:pt x="202" y="125"/>
                    <a:pt x="203" y="126"/>
                  </a:cubicBezTo>
                  <a:cubicBezTo>
                    <a:pt x="205" y="126"/>
                    <a:pt x="206" y="126"/>
                    <a:pt x="208" y="126"/>
                  </a:cubicBezTo>
                  <a:cubicBezTo>
                    <a:pt x="209" y="127"/>
                    <a:pt x="210" y="127"/>
                    <a:pt x="210" y="128"/>
                  </a:cubicBezTo>
                  <a:cubicBezTo>
                    <a:pt x="211" y="128"/>
                    <a:pt x="213" y="127"/>
                    <a:pt x="214" y="128"/>
                  </a:cubicBezTo>
                  <a:cubicBezTo>
                    <a:pt x="215" y="129"/>
                    <a:pt x="209" y="129"/>
                    <a:pt x="208" y="129"/>
                  </a:cubicBezTo>
                  <a:cubicBezTo>
                    <a:pt x="207" y="129"/>
                    <a:pt x="206" y="130"/>
                    <a:pt x="205" y="130"/>
                  </a:cubicBezTo>
                  <a:cubicBezTo>
                    <a:pt x="204" y="130"/>
                    <a:pt x="203" y="131"/>
                    <a:pt x="202" y="131"/>
                  </a:cubicBezTo>
                  <a:cubicBezTo>
                    <a:pt x="201" y="131"/>
                    <a:pt x="201" y="132"/>
                    <a:pt x="199" y="132"/>
                  </a:cubicBezTo>
                  <a:cubicBezTo>
                    <a:pt x="198" y="132"/>
                    <a:pt x="197" y="131"/>
                    <a:pt x="196" y="131"/>
                  </a:cubicBezTo>
                  <a:cubicBezTo>
                    <a:pt x="195" y="130"/>
                    <a:pt x="195" y="130"/>
                    <a:pt x="194" y="129"/>
                  </a:cubicBezTo>
                  <a:cubicBezTo>
                    <a:pt x="193" y="129"/>
                    <a:pt x="192" y="130"/>
                    <a:pt x="191" y="130"/>
                  </a:cubicBezTo>
                  <a:cubicBezTo>
                    <a:pt x="189" y="130"/>
                    <a:pt x="188" y="130"/>
                    <a:pt x="186" y="129"/>
                  </a:cubicBezTo>
                  <a:cubicBezTo>
                    <a:pt x="184" y="129"/>
                    <a:pt x="182" y="130"/>
                    <a:pt x="180" y="130"/>
                  </a:cubicBezTo>
                  <a:cubicBezTo>
                    <a:pt x="178" y="131"/>
                    <a:pt x="177" y="131"/>
                    <a:pt x="175" y="130"/>
                  </a:cubicBezTo>
                  <a:cubicBezTo>
                    <a:pt x="172" y="130"/>
                    <a:pt x="170" y="130"/>
                    <a:pt x="168" y="130"/>
                  </a:cubicBezTo>
                  <a:cubicBezTo>
                    <a:pt x="167" y="131"/>
                    <a:pt x="166" y="132"/>
                    <a:pt x="166" y="133"/>
                  </a:cubicBezTo>
                  <a:cubicBezTo>
                    <a:pt x="165" y="134"/>
                    <a:pt x="165" y="135"/>
                    <a:pt x="165" y="137"/>
                  </a:cubicBezTo>
                  <a:cubicBezTo>
                    <a:pt x="165" y="137"/>
                    <a:pt x="165" y="138"/>
                    <a:pt x="165" y="138"/>
                  </a:cubicBezTo>
                  <a:cubicBezTo>
                    <a:pt x="165" y="139"/>
                    <a:pt x="164" y="139"/>
                    <a:pt x="164" y="140"/>
                  </a:cubicBezTo>
                  <a:cubicBezTo>
                    <a:pt x="163" y="140"/>
                    <a:pt x="162" y="140"/>
                    <a:pt x="161" y="140"/>
                  </a:cubicBezTo>
                  <a:cubicBezTo>
                    <a:pt x="159" y="140"/>
                    <a:pt x="158" y="139"/>
                    <a:pt x="157" y="139"/>
                  </a:cubicBezTo>
                  <a:cubicBezTo>
                    <a:pt x="155" y="139"/>
                    <a:pt x="153" y="142"/>
                    <a:pt x="153" y="144"/>
                  </a:cubicBezTo>
                  <a:cubicBezTo>
                    <a:pt x="152" y="144"/>
                    <a:pt x="150" y="143"/>
                    <a:pt x="149" y="142"/>
                  </a:cubicBezTo>
                  <a:cubicBezTo>
                    <a:pt x="149" y="142"/>
                    <a:pt x="148" y="142"/>
                    <a:pt x="147" y="142"/>
                  </a:cubicBezTo>
                  <a:cubicBezTo>
                    <a:pt x="146" y="142"/>
                    <a:pt x="144" y="142"/>
                    <a:pt x="142" y="142"/>
                  </a:cubicBezTo>
                  <a:cubicBezTo>
                    <a:pt x="141" y="142"/>
                    <a:pt x="140" y="141"/>
                    <a:pt x="139" y="140"/>
                  </a:cubicBezTo>
                  <a:cubicBezTo>
                    <a:pt x="137" y="139"/>
                    <a:pt x="136" y="139"/>
                    <a:pt x="135" y="137"/>
                  </a:cubicBezTo>
                  <a:cubicBezTo>
                    <a:pt x="134" y="136"/>
                    <a:pt x="135" y="135"/>
                    <a:pt x="135" y="134"/>
                  </a:cubicBezTo>
                  <a:cubicBezTo>
                    <a:pt x="135" y="134"/>
                    <a:pt x="135" y="132"/>
                    <a:pt x="135" y="132"/>
                  </a:cubicBezTo>
                  <a:cubicBezTo>
                    <a:pt x="134" y="132"/>
                    <a:pt x="132" y="133"/>
                    <a:pt x="132" y="133"/>
                  </a:cubicBezTo>
                  <a:cubicBezTo>
                    <a:pt x="131" y="134"/>
                    <a:pt x="131" y="134"/>
                    <a:pt x="130" y="135"/>
                  </a:cubicBezTo>
                  <a:cubicBezTo>
                    <a:pt x="129" y="135"/>
                    <a:pt x="128" y="136"/>
                    <a:pt x="127" y="136"/>
                  </a:cubicBezTo>
                  <a:cubicBezTo>
                    <a:pt x="125" y="136"/>
                    <a:pt x="125" y="137"/>
                    <a:pt x="124" y="138"/>
                  </a:cubicBezTo>
                  <a:cubicBezTo>
                    <a:pt x="123" y="139"/>
                    <a:pt x="123" y="139"/>
                    <a:pt x="123" y="140"/>
                  </a:cubicBezTo>
                  <a:cubicBezTo>
                    <a:pt x="122" y="141"/>
                    <a:pt x="122" y="142"/>
                    <a:pt x="121" y="142"/>
                  </a:cubicBezTo>
                  <a:cubicBezTo>
                    <a:pt x="121" y="143"/>
                    <a:pt x="120" y="143"/>
                    <a:pt x="119" y="143"/>
                  </a:cubicBezTo>
                  <a:cubicBezTo>
                    <a:pt x="119" y="144"/>
                    <a:pt x="119" y="145"/>
                    <a:pt x="118" y="145"/>
                  </a:cubicBezTo>
                  <a:cubicBezTo>
                    <a:pt x="118" y="145"/>
                    <a:pt x="117" y="146"/>
                    <a:pt x="117" y="146"/>
                  </a:cubicBezTo>
                  <a:cubicBezTo>
                    <a:pt x="116" y="147"/>
                    <a:pt x="115" y="147"/>
                    <a:pt x="115" y="148"/>
                  </a:cubicBezTo>
                  <a:cubicBezTo>
                    <a:pt x="114" y="148"/>
                    <a:pt x="114" y="149"/>
                    <a:pt x="114" y="150"/>
                  </a:cubicBezTo>
                  <a:cubicBezTo>
                    <a:pt x="113" y="152"/>
                    <a:pt x="111" y="154"/>
                    <a:pt x="109" y="155"/>
                  </a:cubicBezTo>
                  <a:cubicBezTo>
                    <a:pt x="108" y="157"/>
                    <a:pt x="107" y="159"/>
                    <a:pt x="106" y="161"/>
                  </a:cubicBezTo>
                  <a:cubicBezTo>
                    <a:pt x="106" y="162"/>
                    <a:pt x="105" y="164"/>
                    <a:pt x="104" y="166"/>
                  </a:cubicBezTo>
                  <a:cubicBezTo>
                    <a:pt x="103" y="166"/>
                    <a:pt x="103" y="167"/>
                    <a:pt x="102" y="168"/>
                  </a:cubicBezTo>
                  <a:cubicBezTo>
                    <a:pt x="102" y="168"/>
                    <a:pt x="102" y="169"/>
                    <a:pt x="101" y="170"/>
                  </a:cubicBezTo>
                  <a:cubicBezTo>
                    <a:pt x="100" y="171"/>
                    <a:pt x="97" y="170"/>
                    <a:pt x="96" y="170"/>
                  </a:cubicBezTo>
                  <a:cubicBezTo>
                    <a:pt x="96" y="169"/>
                    <a:pt x="95" y="169"/>
                    <a:pt x="95" y="168"/>
                  </a:cubicBezTo>
                  <a:cubicBezTo>
                    <a:pt x="94" y="168"/>
                    <a:pt x="93" y="168"/>
                    <a:pt x="92" y="168"/>
                  </a:cubicBezTo>
                  <a:cubicBezTo>
                    <a:pt x="91" y="168"/>
                    <a:pt x="91" y="168"/>
                    <a:pt x="90" y="168"/>
                  </a:cubicBezTo>
                  <a:cubicBezTo>
                    <a:pt x="89" y="168"/>
                    <a:pt x="89" y="168"/>
                    <a:pt x="88" y="168"/>
                  </a:cubicBezTo>
                  <a:cubicBezTo>
                    <a:pt x="87" y="168"/>
                    <a:pt x="86" y="169"/>
                    <a:pt x="85" y="168"/>
                  </a:cubicBezTo>
                  <a:cubicBezTo>
                    <a:pt x="85" y="167"/>
                    <a:pt x="85" y="166"/>
                    <a:pt x="84" y="166"/>
                  </a:cubicBezTo>
                  <a:cubicBezTo>
                    <a:pt x="83" y="165"/>
                    <a:pt x="83" y="165"/>
                    <a:pt x="83" y="166"/>
                  </a:cubicBezTo>
                  <a:cubicBezTo>
                    <a:pt x="82" y="166"/>
                    <a:pt x="82" y="166"/>
                    <a:pt x="81" y="166"/>
                  </a:cubicBezTo>
                  <a:cubicBezTo>
                    <a:pt x="80" y="167"/>
                    <a:pt x="78" y="166"/>
                    <a:pt x="77" y="167"/>
                  </a:cubicBezTo>
                  <a:cubicBezTo>
                    <a:pt x="76" y="167"/>
                    <a:pt x="76" y="168"/>
                    <a:pt x="75" y="168"/>
                  </a:cubicBezTo>
                  <a:cubicBezTo>
                    <a:pt x="74" y="168"/>
                    <a:pt x="74" y="166"/>
                    <a:pt x="73" y="165"/>
                  </a:cubicBezTo>
                  <a:cubicBezTo>
                    <a:pt x="72" y="164"/>
                    <a:pt x="72" y="161"/>
                    <a:pt x="70" y="160"/>
                  </a:cubicBezTo>
                  <a:cubicBezTo>
                    <a:pt x="69" y="159"/>
                    <a:pt x="68" y="159"/>
                    <a:pt x="68" y="158"/>
                  </a:cubicBezTo>
                  <a:cubicBezTo>
                    <a:pt x="68" y="157"/>
                    <a:pt x="69" y="157"/>
                    <a:pt x="69" y="156"/>
                  </a:cubicBezTo>
                  <a:cubicBezTo>
                    <a:pt x="69" y="155"/>
                    <a:pt x="69" y="155"/>
                    <a:pt x="70" y="155"/>
                  </a:cubicBezTo>
                  <a:cubicBezTo>
                    <a:pt x="71" y="154"/>
                    <a:pt x="70" y="152"/>
                    <a:pt x="69" y="151"/>
                  </a:cubicBezTo>
                  <a:cubicBezTo>
                    <a:pt x="68" y="149"/>
                    <a:pt x="67" y="148"/>
                    <a:pt x="67" y="146"/>
                  </a:cubicBezTo>
                  <a:cubicBezTo>
                    <a:pt x="66" y="145"/>
                    <a:pt x="65" y="144"/>
                    <a:pt x="64" y="143"/>
                  </a:cubicBezTo>
                  <a:cubicBezTo>
                    <a:pt x="63" y="143"/>
                    <a:pt x="63" y="143"/>
                    <a:pt x="62" y="142"/>
                  </a:cubicBezTo>
                  <a:cubicBezTo>
                    <a:pt x="62" y="142"/>
                    <a:pt x="61" y="141"/>
                    <a:pt x="61" y="141"/>
                  </a:cubicBezTo>
                  <a:cubicBezTo>
                    <a:pt x="60" y="140"/>
                    <a:pt x="59" y="137"/>
                    <a:pt x="57" y="138"/>
                  </a:cubicBezTo>
                  <a:cubicBezTo>
                    <a:pt x="56" y="139"/>
                    <a:pt x="56" y="140"/>
                    <a:pt x="55" y="140"/>
                  </a:cubicBezTo>
                  <a:cubicBezTo>
                    <a:pt x="54" y="141"/>
                    <a:pt x="53" y="141"/>
                    <a:pt x="53" y="141"/>
                  </a:cubicBezTo>
                  <a:cubicBezTo>
                    <a:pt x="52" y="141"/>
                    <a:pt x="52" y="141"/>
                    <a:pt x="52" y="140"/>
                  </a:cubicBezTo>
                  <a:cubicBezTo>
                    <a:pt x="51" y="139"/>
                    <a:pt x="50" y="138"/>
                    <a:pt x="49" y="137"/>
                  </a:cubicBezTo>
                  <a:cubicBezTo>
                    <a:pt x="49" y="137"/>
                    <a:pt x="48" y="136"/>
                    <a:pt x="48" y="135"/>
                  </a:cubicBezTo>
                  <a:cubicBezTo>
                    <a:pt x="47" y="134"/>
                    <a:pt x="47" y="134"/>
                    <a:pt x="46" y="134"/>
                  </a:cubicBezTo>
                  <a:cubicBezTo>
                    <a:pt x="43" y="133"/>
                    <a:pt x="42" y="131"/>
                    <a:pt x="41" y="129"/>
                  </a:cubicBezTo>
                  <a:cubicBezTo>
                    <a:pt x="40" y="127"/>
                    <a:pt x="38" y="125"/>
                    <a:pt x="37" y="123"/>
                  </a:cubicBezTo>
                  <a:cubicBezTo>
                    <a:pt x="37" y="121"/>
                    <a:pt x="37" y="119"/>
                    <a:pt x="37" y="118"/>
                  </a:cubicBezTo>
                  <a:cubicBezTo>
                    <a:pt x="36" y="116"/>
                    <a:pt x="36" y="115"/>
                    <a:pt x="37" y="113"/>
                  </a:cubicBezTo>
                  <a:cubicBezTo>
                    <a:pt x="37" y="112"/>
                    <a:pt x="37" y="111"/>
                    <a:pt x="37" y="109"/>
                  </a:cubicBezTo>
                  <a:cubicBezTo>
                    <a:pt x="37" y="109"/>
                    <a:pt x="37" y="108"/>
                    <a:pt x="36" y="107"/>
                  </a:cubicBezTo>
                  <a:cubicBezTo>
                    <a:pt x="35" y="105"/>
                    <a:pt x="34" y="102"/>
                    <a:pt x="34" y="99"/>
                  </a:cubicBezTo>
                  <a:cubicBezTo>
                    <a:pt x="34" y="97"/>
                    <a:pt x="34" y="95"/>
                    <a:pt x="34" y="93"/>
                  </a:cubicBezTo>
                  <a:cubicBezTo>
                    <a:pt x="35" y="93"/>
                    <a:pt x="35" y="92"/>
                    <a:pt x="35" y="91"/>
                  </a:cubicBezTo>
                  <a:cubicBezTo>
                    <a:pt x="35" y="90"/>
                    <a:pt x="35" y="89"/>
                    <a:pt x="36" y="88"/>
                  </a:cubicBezTo>
                  <a:cubicBezTo>
                    <a:pt x="37" y="86"/>
                    <a:pt x="38" y="85"/>
                    <a:pt x="39" y="83"/>
                  </a:cubicBezTo>
                  <a:cubicBezTo>
                    <a:pt x="40" y="80"/>
                    <a:pt x="40" y="77"/>
                    <a:pt x="41" y="75"/>
                  </a:cubicBezTo>
                  <a:cubicBezTo>
                    <a:pt x="41" y="73"/>
                    <a:pt x="41" y="72"/>
                    <a:pt x="42" y="71"/>
                  </a:cubicBezTo>
                  <a:cubicBezTo>
                    <a:pt x="42" y="69"/>
                    <a:pt x="44" y="68"/>
                    <a:pt x="45" y="67"/>
                  </a:cubicBezTo>
                  <a:cubicBezTo>
                    <a:pt x="46" y="65"/>
                    <a:pt x="46" y="64"/>
                    <a:pt x="47" y="63"/>
                  </a:cubicBezTo>
                  <a:cubicBezTo>
                    <a:pt x="48" y="62"/>
                    <a:pt x="50" y="61"/>
                    <a:pt x="50" y="59"/>
                  </a:cubicBezTo>
                  <a:cubicBezTo>
                    <a:pt x="51" y="58"/>
                    <a:pt x="52" y="57"/>
                    <a:pt x="53" y="56"/>
                  </a:cubicBezTo>
                  <a:cubicBezTo>
                    <a:pt x="54" y="55"/>
                    <a:pt x="56" y="55"/>
                    <a:pt x="57" y="54"/>
                  </a:cubicBezTo>
                  <a:cubicBezTo>
                    <a:pt x="58" y="53"/>
                    <a:pt x="60" y="54"/>
                    <a:pt x="62" y="53"/>
                  </a:cubicBezTo>
                  <a:cubicBezTo>
                    <a:pt x="63" y="52"/>
                    <a:pt x="64" y="51"/>
                    <a:pt x="66" y="51"/>
                  </a:cubicBezTo>
                  <a:cubicBezTo>
                    <a:pt x="69" y="52"/>
                    <a:pt x="73" y="51"/>
                    <a:pt x="76" y="52"/>
                  </a:cubicBezTo>
                  <a:cubicBezTo>
                    <a:pt x="77" y="52"/>
                    <a:pt x="77" y="53"/>
                    <a:pt x="78" y="53"/>
                  </a:cubicBezTo>
                  <a:cubicBezTo>
                    <a:pt x="79" y="55"/>
                    <a:pt x="80" y="54"/>
                    <a:pt x="82" y="54"/>
                  </a:cubicBezTo>
                  <a:cubicBezTo>
                    <a:pt x="83" y="54"/>
                    <a:pt x="83" y="55"/>
                    <a:pt x="84" y="55"/>
                  </a:cubicBezTo>
                  <a:cubicBezTo>
                    <a:pt x="85" y="55"/>
                    <a:pt x="86" y="56"/>
                    <a:pt x="86" y="56"/>
                  </a:cubicBezTo>
                  <a:cubicBezTo>
                    <a:pt x="87" y="57"/>
                    <a:pt x="88" y="58"/>
                    <a:pt x="89" y="58"/>
                  </a:cubicBezTo>
                  <a:cubicBezTo>
                    <a:pt x="90" y="58"/>
                    <a:pt x="91" y="58"/>
                    <a:pt x="91" y="58"/>
                  </a:cubicBezTo>
                  <a:cubicBezTo>
                    <a:pt x="92" y="58"/>
                    <a:pt x="92" y="57"/>
                    <a:pt x="92" y="57"/>
                  </a:cubicBezTo>
                  <a:cubicBezTo>
                    <a:pt x="93" y="57"/>
                    <a:pt x="94" y="57"/>
                    <a:pt x="94" y="57"/>
                  </a:cubicBezTo>
                  <a:cubicBezTo>
                    <a:pt x="95" y="57"/>
                    <a:pt x="96" y="57"/>
                    <a:pt x="97" y="57"/>
                  </a:cubicBezTo>
                  <a:cubicBezTo>
                    <a:pt x="97" y="57"/>
                    <a:pt x="97" y="58"/>
                    <a:pt x="98" y="58"/>
                  </a:cubicBezTo>
                  <a:cubicBezTo>
                    <a:pt x="99" y="59"/>
                    <a:pt x="101" y="58"/>
                    <a:pt x="102" y="57"/>
                  </a:cubicBezTo>
                  <a:cubicBezTo>
                    <a:pt x="103" y="57"/>
                    <a:pt x="104" y="56"/>
                    <a:pt x="104" y="55"/>
                  </a:cubicBezTo>
                  <a:cubicBezTo>
                    <a:pt x="105" y="54"/>
                    <a:pt x="106" y="55"/>
                    <a:pt x="107" y="54"/>
                  </a:cubicBezTo>
                  <a:cubicBezTo>
                    <a:pt x="109" y="54"/>
                    <a:pt x="109" y="53"/>
                    <a:pt x="110" y="53"/>
                  </a:cubicBezTo>
                  <a:cubicBezTo>
                    <a:pt x="111" y="52"/>
                    <a:pt x="112" y="53"/>
                    <a:pt x="113" y="53"/>
                  </a:cubicBezTo>
                  <a:cubicBezTo>
                    <a:pt x="114" y="54"/>
                    <a:pt x="115" y="54"/>
                    <a:pt x="116" y="53"/>
                  </a:cubicBezTo>
                  <a:cubicBezTo>
                    <a:pt x="116" y="52"/>
                    <a:pt x="116" y="52"/>
                    <a:pt x="116" y="51"/>
                  </a:cubicBez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4" name="Freeform 68">
              <a:extLst>
                <a:ext uri="{FF2B5EF4-FFF2-40B4-BE49-F238E27FC236}">
                  <a16:creationId xmlns:a16="http://schemas.microsoft.com/office/drawing/2014/main" id="{169A8E4E-21E3-EB35-7016-007CFD760C4C}"/>
                </a:ext>
              </a:extLst>
            </p:cNvPr>
            <p:cNvSpPr>
              <a:spLocks/>
            </p:cNvSpPr>
            <p:nvPr/>
          </p:nvSpPr>
          <p:spPr bwMode="auto">
            <a:xfrm>
              <a:off x="4318000" y="3641725"/>
              <a:ext cx="1187450" cy="1009650"/>
            </a:xfrm>
            <a:custGeom>
              <a:avLst/>
              <a:gdLst>
                <a:gd name="T0" fmla="*/ 230 w 312"/>
                <a:gd name="T1" fmla="*/ 233 h 265"/>
                <a:gd name="T2" fmla="*/ 235 w 312"/>
                <a:gd name="T3" fmla="*/ 220 h 265"/>
                <a:gd name="T4" fmla="*/ 247 w 312"/>
                <a:gd name="T5" fmla="*/ 207 h 265"/>
                <a:gd name="T6" fmla="*/ 278 w 312"/>
                <a:gd name="T7" fmla="*/ 179 h 265"/>
                <a:gd name="T8" fmla="*/ 285 w 312"/>
                <a:gd name="T9" fmla="*/ 166 h 265"/>
                <a:gd name="T10" fmla="*/ 293 w 312"/>
                <a:gd name="T11" fmla="*/ 133 h 265"/>
                <a:gd name="T12" fmla="*/ 309 w 312"/>
                <a:gd name="T13" fmla="*/ 116 h 265"/>
                <a:gd name="T14" fmla="*/ 282 w 312"/>
                <a:gd name="T15" fmla="*/ 84 h 265"/>
                <a:gd name="T16" fmla="*/ 275 w 312"/>
                <a:gd name="T17" fmla="*/ 62 h 265"/>
                <a:gd name="T18" fmla="*/ 274 w 312"/>
                <a:gd name="T19" fmla="*/ 52 h 265"/>
                <a:gd name="T20" fmla="*/ 255 w 312"/>
                <a:gd name="T21" fmla="*/ 55 h 265"/>
                <a:gd name="T22" fmla="*/ 253 w 312"/>
                <a:gd name="T23" fmla="*/ 32 h 265"/>
                <a:gd name="T24" fmla="*/ 260 w 312"/>
                <a:gd name="T25" fmla="*/ 9 h 265"/>
                <a:gd name="T26" fmla="*/ 249 w 312"/>
                <a:gd name="T27" fmla="*/ 2 h 265"/>
                <a:gd name="T28" fmla="*/ 232 w 312"/>
                <a:gd name="T29" fmla="*/ 10 h 265"/>
                <a:gd name="T30" fmla="*/ 212 w 312"/>
                <a:gd name="T31" fmla="*/ 15 h 265"/>
                <a:gd name="T32" fmla="*/ 201 w 312"/>
                <a:gd name="T33" fmla="*/ 8 h 265"/>
                <a:gd name="T34" fmla="*/ 183 w 312"/>
                <a:gd name="T35" fmla="*/ 15 h 265"/>
                <a:gd name="T36" fmla="*/ 158 w 312"/>
                <a:gd name="T37" fmla="*/ 32 h 265"/>
                <a:gd name="T38" fmla="*/ 164 w 312"/>
                <a:gd name="T39" fmla="*/ 49 h 265"/>
                <a:gd name="T40" fmla="*/ 152 w 312"/>
                <a:gd name="T41" fmla="*/ 70 h 265"/>
                <a:gd name="T42" fmla="*/ 136 w 312"/>
                <a:gd name="T43" fmla="*/ 79 h 265"/>
                <a:gd name="T44" fmla="*/ 120 w 312"/>
                <a:gd name="T45" fmla="*/ 88 h 265"/>
                <a:gd name="T46" fmla="*/ 104 w 312"/>
                <a:gd name="T47" fmla="*/ 89 h 265"/>
                <a:gd name="T48" fmla="*/ 87 w 312"/>
                <a:gd name="T49" fmla="*/ 88 h 265"/>
                <a:gd name="T50" fmla="*/ 76 w 312"/>
                <a:gd name="T51" fmla="*/ 98 h 265"/>
                <a:gd name="T52" fmla="*/ 63 w 312"/>
                <a:gd name="T53" fmla="*/ 104 h 265"/>
                <a:gd name="T54" fmla="*/ 41 w 312"/>
                <a:gd name="T55" fmla="*/ 124 h 265"/>
                <a:gd name="T56" fmla="*/ 23 w 312"/>
                <a:gd name="T57" fmla="*/ 143 h 265"/>
                <a:gd name="T58" fmla="*/ 8 w 312"/>
                <a:gd name="T59" fmla="*/ 147 h 265"/>
                <a:gd name="T60" fmla="*/ 16 w 312"/>
                <a:gd name="T61" fmla="*/ 158 h 265"/>
                <a:gd name="T62" fmla="*/ 20 w 312"/>
                <a:gd name="T63" fmla="*/ 175 h 265"/>
                <a:gd name="T64" fmla="*/ 24 w 312"/>
                <a:gd name="T65" fmla="*/ 210 h 265"/>
                <a:gd name="T66" fmla="*/ 0 w 312"/>
                <a:gd name="T67" fmla="*/ 231 h 265"/>
                <a:gd name="T68" fmla="*/ 25 w 312"/>
                <a:gd name="T69" fmla="*/ 233 h 265"/>
                <a:gd name="T70" fmla="*/ 44 w 312"/>
                <a:gd name="T71" fmla="*/ 225 h 265"/>
                <a:gd name="T72" fmla="*/ 54 w 312"/>
                <a:gd name="T73" fmla="*/ 229 h 265"/>
                <a:gd name="T74" fmla="*/ 59 w 312"/>
                <a:gd name="T75" fmla="*/ 219 h 265"/>
                <a:gd name="T76" fmla="*/ 65 w 312"/>
                <a:gd name="T77" fmla="*/ 242 h 265"/>
                <a:gd name="T78" fmla="*/ 69 w 312"/>
                <a:gd name="T79" fmla="*/ 265 h 265"/>
                <a:gd name="T80" fmla="*/ 102 w 312"/>
                <a:gd name="T81" fmla="*/ 254 h 265"/>
                <a:gd name="T82" fmla="*/ 115 w 312"/>
                <a:gd name="T83" fmla="*/ 255 h 265"/>
                <a:gd name="T84" fmla="*/ 135 w 312"/>
                <a:gd name="T85" fmla="*/ 240 h 265"/>
                <a:gd name="T86" fmla="*/ 136 w 312"/>
                <a:gd name="T87" fmla="*/ 221 h 265"/>
                <a:gd name="T88" fmla="*/ 148 w 312"/>
                <a:gd name="T89" fmla="*/ 235 h 265"/>
                <a:gd name="T90" fmla="*/ 156 w 312"/>
                <a:gd name="T91" fmla="*/ 245 h 265"/>
                <a:gd name="T92" fmla="*/ 160 w 312"/>
                <a:gd name="T93" fmla="*/ 251 h 265"/>
                <a:gd name="T94" fmla="*/ 174 w 312"/>
                <a:gd name="T95" fmla="*/ 242 h 265"/>
                <a:gd name="T96" fmla="*/ 174 w 312"/>
                <a:gd name="T97" fmla="*/ 259 h 265"/>
                <a:gd name="T98" fmla="*/ 204 w 312"/>
                <a:gd name="T99" fmla="*/ 249 h 265"/>
                <a:gd name="T100" fmla="*/ 205 w 312"/>
                <a:gd name="T101" fmla="*/ 249 h 265"/>
                <a:gd name="T102" fmla="*/ 217 w 312"/>
                <a:gd name="T103" fmla="*/ 248 h 265"/>
                <a:gd name="T104" fmla="*/ 220 w 312"/>
                <a:gd name="T105"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265">
                  <a:moveTo>
                    <a:pt x="222" y="247"/>
                  </a:moveTo>
                  <a:cubicBezTo>
                    <a:pt x="225" y="246"/>
                    <a:pt x="225" y="246"/>
                    <a:pt x="225" y="246"/>
                  </a:cubicBezTo>
                  <a:cubicBezTo>
                    <a:pt x="225" y="242"/>
                    <a:pt x="225" y="242"/>
                    <a:pt x="225" y="242"/>
                  </a:cubicBezTo>
                  <a:cubicBezTo>
                    <a:pt x="231" y="237"/>
                    <a:pt x="231" y="237"/>
                    <a:pt x="231" y="237"/>
                  </a:cubicBezTo>
                  <a:cubicBezTo>
                    <a:pt x="230" y="233"/>
                    <a:pt x="230" y="233"/>
                    <a:pt x="230" y="233"/>
                  </a:cubicBezTo>
                  <a:cubicBezTo>
                    <a:pt x="231" y="230"/>
                    <a:pt x="231" y="230"/>
                    <a:pt x="231" y="230"/>
                  </a:cubicBezTo>
                  <a:cubicBezTo>
                    <a:pt x="231" y="226"/>
                    <a:pt x="231" y="226"/>
                    <a:pt x="231" y="226"/>
                  </a:cubicBezTo>
                  <a:cubicBezTo>
                    <a:pt x="233" y="224"/>
                    <a:pt x="233" y="224"/>
                    <a:pt x="233" y="224"/>
                  </a:cubicBezTo>
                  <a:cubicBezTo>
                    <a:pt x="236" y="224"/>
                    <a:pt x="236" y="224"/>
                    <a:pt x="236" y="224"/>
                  </a:cubicBezTo>
                  <a:cubicBezTo>
                    <a:pt x="235" y="220"/>
                    <a:pt x="235" y="220"/>
                    <a:pt x="235" y="220"/>
                  </a:cubicBezTo>
                  <a:cubicBezTo>
                    <a:pt x="240" y="218"/>
                    <a:pt x="240" y="218"/>
                    <a:pt x="240" y="218"/>
                  </a:cubicBezTo>
                  <a:cubicBezTo>
                    <a:pt x="241" y="216"/>
                    <a:pt x="241" y="216"/>
                    <a:pt x="241" y="216"/>
                  </a:cubicBezTo>
                  <a:cubicBezTo>
                    <a:pt x="245" y="214"/>
                    <a:pt x="245" y="214"/>
                    <a:pt x="245" y="214"/>
                  </a:cubicBezTo>
                  <a:cubicBezTo>
                    <a:pt x="247" y="212"/>
                    <a:pt x="247" y="212"/>
                    <a:pt x="247" y="212"/>
                  </a:cubicBezTo>
                  <a:cubicBezTo>
                    <a:pt x="247" y="207"/>
                    <a:pt x="247" y="207"/>
                    <a:pt x="247" y="207"/>
                  </a:cubicBezTo>
                  <a:cubicBezTo>
                    <a:pt x="256" y="197"/>
                    <a:pt x="256" y="197"/>
                    <a:pt x="256" y="197"/>
                  </a:cubicBezTo>
                  <a:cubicBezTo>
                    <a:pt x="259" y="196"/>
                    <a:pt x="259" y="196"/>
                    <a:pt x="259" y="196"/>
                  </a:cubicBezTo>
                  <a:cubicBezTo>
                    <a:pt x="274" y="184"/>
                    <a:pt x="274" y="184"/>
                    <a:pt x="274" y="184"/>
                  </a:cubicBezTo>
                  <a:cubicBezTo>
                    <a:pt x="277" y="184"/>
                    <a:pt x="277" y="184"/>
                    <a:pt x="277" y="184"/>
                  </a:cubicBezTo>
                  <a:cubicBezTo>
                    <a:pt x="278" y="179"/>
                    <a:pt x="278" y="179"/>
                    <a:pt x="278" y="179"/>
                  </a:cubicBezTo>
                  <a:cubicBezTo>
                    <a:pt x="280" y="175"/>
                    <a:pt x="280" y="175"/>
                    <a:pt x="280" y="175"/>
                  </a:cubicBezTo>
                  <a:cubicBezTo>
                    <a:pt x="284" y="173"/>
                    <a:pt x="284" y="173"/>
                    <a:pt x="284" y="173"/>
                  </a:cubicBezTo>
                  <a:cubicBezTo>
                    <a:pt x="283" y="171"/>
                    <a:pt x="283" y="171"/>
                    <a:pt x="283" y="171"/>
                  </a:cubicBezTo>
                  <a:cubicBezTo>
                    <a:pt x="285" y="168"/>
                    <a:pt x="285" y="168"/>
                    <a:pt x="285" y="168"/>
                  </a:cubicBezTo>
                  <a:cubicBezTo>
                    <a:pt x="285" y="166"/>
                    <a:pt x="285" y="166"/>
                    <a:pt x="285" y="166"/>
                  </a:cubicBezTo>
                  <a:cubicBezTo>
                    <a:pt x="285" y="164"/>
                    <a:pt x="285" y="164"/>
                    <a:pt x="285" y="164"/>
                  </a:cubicBezTo>
                  <a:cubicBezTo>
                    <a:pt x="279" y="164"/>
                    <a:pt x="279" y="164"/>
                    <a:pt x="279" y="164"/>
                  </a:cubicBezTo>
                  <a:cubicBezTo>
                    <a:pt x="279" y="159"/>
                    <a:pt x="279" y="159"/>
                    <a:pt x="279" y="159"/>
                  </a:cubicBezTo>
                  <a:cubicBezTo>
                    <a:pt x="285" y="136"/>
                    <a:pt x="285" y="136"/>
                    <a:pt x="285" y="136"/>
                  </a:cubicBezTo>
                  <a:cubicBezTo>
                    <a:pt x="293" y="133"/>
                    <a:pt x="293" y="133"/>
                    <a:pt x="293" y="133"/>
                  </a:cubicBezTo>
                  <a:cubicBezTo>
                    <a:pt x="300" y="130"/>
                    <a:pt x="300" y="130"/>
                    <a:pt x="300" y="130"/>
                  </a:cubicBezTo>
                  <a:cubicBezTo>
                    <a:pt x="306" y="129"/>
                    <a:pt x="306" y="129"/>
                    <a:pt x="306" y="129"/>
                  </a:cubicBezTo>
                  <a:cubicBezTo>
                    <a:pt x="307" y="124"/>
                    <a:pt x="307" y="124"/>
                    <a:pt x="307" y="124"/>
                  </a:cubicBezTo>
                  <a:cubicBezTo>
                    <a:pt x="312" y="119"/>
                    <a:pt x="312" y="119"/>
                    <a:pt x="312" y="119"/>
                  </a:cubicBezTo>
                  <a:cubicBezTo>
                    <a:pt x="309" y="116"/>
                    <a:pt x="309" y="116"/>
                    <a:pt x="309" y="116"/>
                  </a:cubicBezTo>
                  <a:cubicBezTo>
                    <a:pt x="306" y="117"/>
                    <a:pt x="306" y="117"/>
                    <a:pt x="306" y="117"/>
                  </a:cubicBezTo>
                  <a:cubicBezTo>
                    <a:pt x="290" y="101"/>
                    <a:pt x="290" y="101"/>
                    <a:pt x="290" y="101"/>
                  </a:cubicBezTo>
                  <a:cubicBezTo>
                    <a:pt x="284" y="99"/>
                    <a:pt x="284" y="99"/>
                    <a:pt x="284" y="99"/>
                  </a:cubicBezTo>
                  <a:cubicBezTo>
                    <a:pt x="282" y="95"/>
                    <a:pt x="282" y="95"/>
                    <a:pt x="282" y="95"/>
                  </a:cubicBezTo>
                  <a:cubicBezTo>
                    <a:pt x="282" y="84"/>
                    <a:pt x="282" y="84"/>
                    <a:pt x="282" y="84"/>
                  </a:cubicBezTo>
                  <a:cubicBezTo>
                    <a:pt x="275" y="76"/>
                    <a:pt x="275" y="76"/>
                    <a:pt x="275" y="76"/>
                  </a:cubicBezTo>
                  <a:cubicBezTo>
                    <a:pt x="276" y="72"/>
                    <a:pt x="276" y="72"/>
                    <a:pt x="276" y="72"/>
                  </a:cubicBezTo>
                  <a:cubicBezTo>
                    <a:pt x="274" y="69"/>
                    <a:pt x="274" y="69"/>
                    <a:pt x="274" y="69"/>
                  </a:cubicBezTo>
                  <a:cubicBezTo>
                    <a:pt x="274" y="69"/>
                    <a:pt x="275" y="66"/>
                    <a:pt x="275" y="66"/>
                  </a:cubicBezTo>
                  <a:cubicBezTo>
                    <a:pt x="275" y="65"/>
                    <a:pt x="275" y="63"/>
                    <a:pt x="275" y="62"/>
                  </a:cubicBezTo>
                  <a:cubicBezTo>
                    <a:pt x="275" y="62"/>
                    <a:pt x="276" y="59"/>
                    <a:pt x="277" y="59"/>
                  </a:cubicBezTo>
                  <a:cubicBezTo>
                    <a:pt x="279" y="55"/>
                    <a:pt x="279" y="55"/>
                    <a:pt x="279" y="55"/>
                  </a:cubicBezTo>
                  <a:cubicBezTo>
                    <a:pt x="279" y="51"/>
                    <a:pt x="279" y="51"/>
                    <a:pt x="279" y="51"/>
                  </a:cubicBezTo>
                  <a:cubicBezTo>
                    <a:pt x="277" y="50"/>
                    <a:pt x="277" y="50"/>
                    <a:pt x="277" y="50"/>
                  </a:cubicBezTo>
                  <a:cubicBezTo>
                    <a:pt x="274" y="52"/>
                    <a:pt x="274" y="52"/>
                    <a:pt x="274" y="52"/>
                  </a:cubicBezTo>
                  <a:cubicBezTo>
                    <a:pt x="270" y="54"/>
                    <a:pt x="270" y="54"/>
                    <a:pt x="270" y="54"/>
                  </a:cubicBezTo>
                  <a:cubicBezTo>
                    <a:pt x="266" y="57"/>
                    <a:pt x="266" y="57"/>
                    <a:pt x="266" y="57"/>
                  </a:cubicBezTo>
                  <a:cubicBezTo>
                    <a:pt x="263" y="59"/>
                    <a:pt x="263" y="59"/>
                    <a:pt x="263" y="59"/>
                  </a:cubicBezTo>
                  <a:cubicBezTo>
                    <a:pt x="257" y="60"/>
                    <a:pt x="257" y="60"/>
                    <a:pt x="257" y="60"/>
                  </a:cubicBezTo>
                  <a:cubicBezTo>
                    <a:pt x="255" y="55"/>
                    <a:pt x="255" y="55"/>
                    <a:pt x="255" y="55"/>
                  </a:cubicBezTo>
                  <a:cubicBezTo>
                    <a:pt x="254" y="48"/>
                    <a:pt x="254" y="48"/>
                    <a:pt x="254" y="48"/>
                  </a:cubicBezTo>
                  <a:cubicBezTo>
                    <a:pt x="253" y="45"/>
                    <a:pt x="253" y="45"/>
                    <a:pt x="253" y="45"/>
                  </a:cubicBezTo>
                  <a:cubicBezTo>
                    <a:pt x="247" y="44"/>
                    <a:pt x="247" y="44"/>
                    <a:pt x="247" y="44"/>
                  </a:cubicBezTo>
                  <a:cubicBezTo>
                    <a:pt x="248" y="40"/>
                    <a:pt x="248" y="40"/>
                    <a:pt x="248" y="40"/>
                  </a:cubicBezTo>
                  <a:cubicBezTo>
                    <a:pt x="253" y="32"/>
                    <a:pt x="253" y="32"/>
                    <a:pt x="253" y="32"/>
                  </a:cubicBezTo>
                  <a:cubicBezTo>
                    <a:pt x="256" y="28"/>
                    <a:pt x="256" y="28"/>
                    <a:pt x="256" y="28"/>
                  </a:cubicBezTo>
                  <a:cubicBezTo>
                    <a:pt x="264" y="30"/>
                    <a:pt x="264" y="30"/>
                    <a:pt x="264" y="30"/>
                  </a:cubicBezTo>
                  <a:cubicBezTo>
                    <a:pt x="268" y="24"/>
                    <a:pt x="268" y="24"/>
                    <a:pt x="268" y="24"/>
                  </a:cubicBezTo>
                  <a:cubicBezTo>
                    <a:pt x="264" y="16"/>
                    <a:pt x="264" y="16"/>
                    <a:pt x="264" y="16"/>
                  </a:cubicBezTo>
                  <a:cubicBezTo>
                    <a:pt x="260" y="9"/>
                    <a:pt x="260" y="9"/>
                    <a:pt x="260" y="9"/>
                  </a:cubicBezTo>
                  <a:cubicBezTo>
                    <a:pt x="259" y="3"/>
                    <a:pt x="259" y="3"/>
                    <a:pt x="259" y="3"/>
                  </a:cubicBezTo>
                  <a:cubicBezTo>
                    <a:pt x="254" y="0"/>
                    <a:pt x="254" y="0"/>
                    <a:pt x="254" y="0"/>
                  </a:cubicBezTo>
                  <a:cubicBezTo>
                    <a:pt x="254" y="0"/>
                    <a:pt x="252" y="2"/>
                    <a:pt x="252" y="3"/>
                  </a:cubicBezTo>
                  <a:cubicBezTo>
                    <a:pt x="252" y="3"/>
                    <a:pt x="252" y="5"/>
                    <a:pt x="252" y="5"/>
                  </a:cubicBezTo>
                  <a:cubicBezTo>
                    <a:pt x="249" y="2"/>
                    <a:pt x="249" y="2"/>
                    <a:pt x="249" y="2"/>
                  </a:cubicBezTo>
                  <a:cubicBezTo>
                    <a:pt x="246" y="4"/>
                    <a:pt x="246" y="4"/>
                    <a:pt x="246" y="4"/>
                  </a:cubicBezTo>
                  <a:cubicBezTo>
                    <a:pt x="242" y="6"/>
                    <a:pt x="242" y="6"/>
                    <a:pt x="242" y="6"/>
                  </a:cubicBezTo>
                  <a:cubicBezTo>
                    <a:pt x="242" y="6"/>
                    <a:pt x="240" y="4"/>
                    <a:pt x="240" y="4"/>
                  </a:cubicBezTo>
                  <a:cubicBezTo>
                    <a:pt x="240" y="5"/>
                    <a:pt x="236" y="9"/>
                    <a:pt x="236" y="9"/>
                  </a:cubicBezTo>
                  <a:cubicBezTo>
                    <a:pt x="232" y="10"/>
                    <a:pt x="232" y="10"/>
                    <a:pt x="232" y="10"/>
                  </a:cubicBezTo>
                  <a:cubicBezTo>
                    <a:pt x="231" y="12"/>
                    <a:pt x="231" y="12"/>
                    <a:pt x="231" y="12"/>
                  </a:cubicBezTo>
                  <a:cubicBezTo>
                    <a:pt x="227" y="13"/>
                    <a:pt x="227" y="13"/>
                    <a:pt x="227" y="13"/>
                  </a:cubicBezTo>
                  <a:cubicBezTo>
                    <a:pt x="224" y="18"/>
                    <a:pt x="224" y="18"/>
                    <a:pt x="224" y="18"/>
                  </a:cubicBezTo>
                  <a:cubicBezTo>
                    <a:pt x="224" y="18"/>
                    <a:pt x="220" y="15"/>
                    <a:pt x="219" y="15"/>
                  </a:cubicBezTo>
                  <a:cubicBezTo>
                    <a:pt x="219" y="15"/>
                    <a:pt x="212" y="15"/>
                    <a:pt x="212" y="15"/>
                  </a:cubicBezTo>
                  <a:cubicBezTo>
                    <a:pt x="211" y="15"/>
                    <a:pt x="209" y="12"/>
                    <a:pt x="209" y="12"/>
                  </a:cubicBezTo>
                  <a:cubicBezTo>
                    <a:pt x="209" y="9"/>
                    <a:pt x="209" y="9"/>
                    <a:pt x="209" y="9"/>
                  </a:cubicBezTo>
                  <a:cubicBezTo>
                    <a:pt x="206" y="6"/>
                    <a:pt x="206" y="6"/>
                    <a:pt x="206" y="6"/>
                  </a:cubicBezTo>
                  <a:cubicBezTo>
                    <a:pt x="203" y="6"/>
                    <a:pt x="203" y="6"/>
                    <a:pt x="203" y="6"/>
                  </a:cubicBezTo>
                  <a:cubicBezTo>
                    <a:pt x="202" y="6"/>
                    <a:pt x="202" y="7"/>
                    <a:pt x="201" y="8"/>
                  </a:cubicBezTo>
                  <a:cubicBezTo>
                    <a:pt x="199" y="8"/>
                    <a:pt x="194" y="9"/>
                    <a:pt x="194" y="9"/>
                  </a:cubicBezTo>
                  <a:cubicBezTo>
                    <a:pt x="190" y="8"/>
                    <a:pt x="190" y="8"/>
                    <a:pt x="190" y="8"/>
                  </a:cubicBezTo>
                  <a:cubicBezTo>
                    <a:pt x="190" y="8"/>
                    <a:pt x="189" y="8"/>
                    <a:pt x="188" y="8"/>
                  </a:cubicBezTo>
                  <a:cubicBezTo>
                    <a:pt x="187" y="10"/>
                    <a:pt x="187" y="10"/>
                    <a:pt x="187" y="10"/>
                  </a:cubicBezTo>
                  <a:cubicBezTo>
                    <a:pt x="183" y="15"/>
                    <a:pt x="183" y="15"/>
                    <a:pt x="183" y="15"/>
                  </a:cubicBezTo>
                  <a:cubicBezTo>
                    <a:pt x="181" y="16"/>
                    <a:pt x="181" y="16"/>
                    <a:pt x="181" y="16"/>
                  </a:cubicBezTo>
                  <a:cubicBezTo>
                    <a:pt x="179" y="18"/>
                    <a:pt x="179" y="18"/>
                    <a:pt x="179" y="18"/>
                  </a:cubicBezTo>
                  <a:cubicBezTo>
                    <a:pt x="177" y="22"/>
                    <a:pt x="177" y="22"/>
                    <a:pt x="177" y="22"/>
                  </a:cubicBezTo>
                  <a:cubicBezTo>
                    <a:pt x="165" y="32"/>
                    <a:pt x="165" y="32"/>
                    <a:pt x="165" y="32"/>
                  </a:cubicBezTo>
                  <a:cubicBezTo>
                    <a:pt x="158" y="32"/>
                    <a:pt x="158" y="32"/>
                    <a:pt x="158" y="32"/>
                  </a:cubicBezTo>
                  <a:cubicBezTo>
                    <a:pt x="155" y="34"/>
                    <a:pt x="155" y="34"/>
                    <a:pt x="155" y="34"/>
                  </a:cubicBezTo>
                  <a:cubicBezTo>
                    <a:pt x="157" y="36"/>
                    <a:pt x="157" y="36"/>
                    <a:pt x="157" y="36"/>
                  </a:cubicBezTo>
                  <a:cubicBezTo>
                    <a:pt x="163" y="40"/>
                    <a:pt x="163" y="40"/>
                    <a:pt x="163" y="40"/>
                  </a:cubicBezTo>
                  <a:cubicBezTo>
                    <a:pt x="163" y="40"/>
                    <a:pt x="163" y="44"/>
                    <a:pt x="163" y="44"/>
                  </a:cubicBezTo>
                  <a:cubicBezTo>
                    <a:pt x="163" y="45"/>
                    <a:pt x="164" y="49"/>
                    <a:pt x="164" y="49"/>
                  </a:cubicBezTo>
                  <a:cubicBezTo>
                    <a:pt x="163" y="57"/>
                    <a:pt x="163" y="57"/>
                    <a:pt x="163" y="57"/>
                  </a:cubicBezTo>
                  <a:cubicBezTo>
                    <a:pt x="160" y="61"/>
                    <a:pt x="160" y="61"/>
                    <a:pt x="160" y="61"/>
                  </a:cubicBezTo>
                  <a:cubicBezTo>
                    <a:pt x="156" y="62"/>
                    <a:pt x="156" y="62"/>
                    <a:pt x="156" y="62"/>
                  </a:cubicBezTo>
                  <a:cubicBezTo>
                    <a:pt x="153" y="66"/>
                    <a:pt x="153" y="66"/>
                    <a:pt x="153" y="66"/>
                  </a:cubicBezTo>
                  <a:cubicBezTo>
                    <a:pt x="152" y="70"/>
                    <a:pt x="152" y="70"/>
                    <a:pt x="152" y="70"/>
                  </a:cubicBezTo>
                  <a:cubicBezTo>
                    <a:pt x="154" y="73"/>
                    <a:pt x="154" y="73"/>
                    <a:pt x="154" y="73"/>
                  </a:cubicBezTo>
                  <a:cubicBezTo>
                    <a:pt x="151" y="79"/>
                    <a:pt x="151" y="79"/>
                    <a:pt x="151" y="79"/>
                  </a:cubicBezTo>
                  <a:cubicBezTo>
                    <a:pt x="147" y="75"/>
                    <a:pt x="147" y="75"/>
                    <a:pt x="147" y="75"/>
                  </a:cubicBezTo>
                  <a:cubicBezTo>
                    <a:pt x="142" y="78"/>
                    <a:pt x="142" y="78"/>
                    <a:pt x="142" y="78"/>
                  </a:cubicBezTo>
                  <a:cubicBezTo>
                    <a:pt x="136" y="79"/>
                    <a:pt x="136" y="79"/>
                    <a:pt x="136" y="79"/>
                  </a:cubicBezTo>
                  <a:cubicBezTo>
                    <a:pt x="132" y="80"/>
                    <a:pt x="132" y="80"/>
                    <a:pt x="132" y="80"/>
                  </a:cubicBezTo>
                  <a:cubicBezTo>
                    <a:pt x="128" y="83"/>
                    <a:pt x="128" y="83"/>
                    <a:pt x="128" y="83"/>
                  </a:cubicBezTo>
                  <a:cubicBezTo>
                    <a:pt x="123" y="82"/>
                    <a:pt x="123" y="82"/>
                    <a:pt x="123" y="82"/>
                  </a:cubicBezTo>
                  <a:cubicBezTo>
                    <a:pt x="122" y="85"/>
                    <a:pt x="122" y="85"/>
                    <a:pt x="122" y="85"/>
                  </a:cubicBezTo>
                  <a:cubicBezTo>
                    <a:pt x="120" y="88"/>
                    <a:pt x="120" y="88"/>
                    <a:pt x="120" y="88"/>
                  </a:cubicBezTo>
                  <a:cubicBezTo>
                    <a:pt x="115" y="88"/>
                    <a:pt x="115" y="88"/>
                    <a:pt x="115" y="88"/>
                  </a:cubicBezTo>
                  <a:cubicBezTo>
                    <a:pt x="112" y="91"/>
                    <a:pt x="112" y="91"/>
                    <a:pt x="112" y="91"/>
                  </a:cubicBezTo>
                  <a:cubicBezTo>
                    <a:pt x="108" y="90"/>
                    <a:pt x="108" y="90"/>
                    <a:pt x="108" y="90"/>
                  </a:cubicBezTo>
                  <a:cubicBezTo>
                    <a:pt x="107" y="93"/>
                    <a:pt x="107" y="93"/>
                    <a:pt x="107" y="93"/>
                  </a:cubicBezTo>
                  <a:cubicBezTo>
                    <a:pt x="104" y="89"/>
                    <a:pt x="104" y="89"/>
                    <a:pt x="104" y="89"/>
                  </a:cubicBezTo>
                  <a:cubicBezTo>
                    <a:pt x="101" y="91"/>
                    <a:pt x="101" y="91"/>
                    <a:pt x="101" y="91"/>
                  </a:cubicBezTo>
                  <a:cubicBezTo>
                    <a:pt x="95" y="93"/>
                    <a:pt x="95" y="93"/>
                    <a:pt x="95" y="93"/>
                  </a:cubicBezTo>
                  <a:cubicBezTo>
                    <a:pt x="93" y="88"/>
                    <a:pt x="93" y="88"/>
                    <a:pt x="93" y="88"/>
                  </a:cubicBezTo>
                  <a:cubicBezTo>
                    <a:pt x="89" y="85"/>
                    <a:pt x="89" y="85"/>
                    <a:pt x="89" y="85"/>
                  </a:cubicBezTo>
                  <a:cubicBezTo>
                    <a:pt x="87" y="88"/>
                    <a:pt x="87" y="88"/>
                    <a:pt x="87" y="88"/>
                  </a:cubicBezTo>
                  <a:cubicBezTo>
                    <a:pt x="86" y="92"/>
                    <a:pt x="86" y="92"/>
                    <a:pt x="86" y="92"/>
                  </a:cubicBezTo>
                  <a:cubicBezTo>
                    <a:pt x="80" y="91"/>
                    <a:pt x="80" y="91"/>
                    <a:pt x="80" y="91"/>
                  </a:cubicBezTo>
                  <a:cubicBezTo>
                    <a:pt x="79" y="92"/>
                    <a:pt x="79" y="92"/>
                    <a:pt x="79" y="92"/>
                  </a:cubicBezTo>
                  <a:cubicBezTo>
                    <a:pt x="78" y="97"/>
                    <a:pt x="78" y="97"/>
                    <a:pt x="78" y="97"/>
                  </a:cubicBezTo>
                  <a:cubicBezTo>
                    <a:pt x="76" y="98"/>
                    <a:pt x="76" y="98"/>
                    <a:pt x="76" y="98"/>
                  </a:cubicBezTo>
                  <a:cubicBezTo>
                    <a:pt x="72" y="96"/>
                    <a:pt x="72" y="96"/>
                    <a:pt x="72" y="96"/>
                  </a:cubicBezTo>
                  <a:cubicBezTo>
                    <a:pt x="72" y="100"/>
                    <a:pt x="72" y="100"/>
                    <a:pt x="72" y="100"/>
                  </a:cubicBezTo>
                  <a:cubicBezTo>
                    <a:pt x="69" y="101"/>
                    <a:pt x="69" y="101"/>
                    <a:pt x="69" y="101"/>
                  </a:cubicBezTo>
                  <a:cubicBezTo>
                    <a:pt x="67" y="104"/>
                    <a:pt x="67" y="104"/>
                    <a:pt x="67" y="104"/>
                  </a:cubicBezTo>
                  <a:cubicBezTo>
                    <a:pt x="63" y="104"/>
                    <a:pt x="63" y="104"/>
                    <a:pt x="63" y="104"/>
                  </a:cubicBezTo>
                  <a:cubicBezTo>
                    <a:pt x="54" y="108"/>
                    <a:pt x="54" y="108"/>
                    <a:pt x="54" y="108"/>
                  </a:cubicBezTo>
                  <a:cubicBezTo>
                    <a:pt x="54" y="111"/>
                    <a:pt x="54" y="111"/>
                    <a:pt x="54" y="111"/>
                  </a:cubicBezTo>
                  <a:cubicBezTo>
                    <a:pt x="50" y="115"/>
                    <a:pt x="50" y="115"/>
                    <a:pt x="50" y="115"/>
                  </a:cubicBezTo>
                  <a:cubicBezTo>
                    <a:pt x="49" y="122"/>
                    <a:pt x="49" y="122"/>
                    <a:pt x="49" y="122"/>
                  </a:cubicBezTo>
                  <a:cubicBezTo>
                    <a:pt x="41" y="124"/>
                    <a:pt x="41" y="124"/>
                    <a:pt x="41" y="124"/>
                  </a:cubicBezTo>
                  <a:cubicBezTo>
                    <a:pt x="35" y="133"/>
                    <a:pt x="35" y="133"/>
                    <a:pt x="35" y="133"/>
                  </a:cubicBezTo>
                  <a:cubicBezTo>
                    <a:pt x="31" y="135"/>
                    <a:pt x="31" y="135"/>
                    <a:pt x="31" y="135"/>
                  </a:cubicBezTo>
                  <a:cubicBezTo>
                    <a:pt x="27" y="136"/>
                    <a:pt x="27" y="136"/>
                    <a:pt x="27" y="136"/>
                  </a:cubicBezTo>
                  <a:cubicBezTo>
                    <a:pt x="24" y="136"/>
                    <a:pt x="24" y="136"/>
                    <a:pt x="24" y="136"/>
                  </a:cubicBezTo>
                  <a:cubicBezTo>
                    <a:pt x="23" y="143"/>
                    <a:pt x="23" y="143"/>
                    <a:pt x="23" y="143"/>
                  </a:cubicBezTo>
                  <a:cubicBezTo>
                    <a:pt x="22" y="143"/>
                    <a:pt x="22" y="143"/>
                    <a:pt x="22" y="143"/>
                  </a:cubicBezTo>
                  <a:cubicBezTo>
                    <a:pt x="20" y="142"/>
                    <a:pt x="20" y="142"/>
                    <a:pt x="20" y="142"/>
                  </a:cubicBezTo>
                  <a:cubicBezTo>
                    <a:pt x="18" y="144"/>
                    <a:pt x="18" y="144"/>
                    <a:pt x="18" y="144"/>
                  </a:cubicBezTo>
                  <a:cubicBezTo>
                    <a:pt x="15" y="143"/>
                    <a:pt x="15" y="143"/>
                    <a:pt x="15" y="143"/>
                  </a:cubicBezTo>
                  <a:cubicBezTo>
                    <a:pt x="8" y="147"/>
                    <a:pt x="8" y="147"/>
                    <a:pt x="8" y="147"/>
                  </a:cubicBezTo>
                  <a:cubicBezTo>
                    <a:pt x="8" y="151"/>
                    <a:pt x="8" y="151"/>
                    <a:pt x="8" y="151"/>
                  </a:cubicBezTo>
                  <a:cubicBezTo>
                    <a:pt x="10" y="153"/>
                    <a:pt x="10" y="153"/>
                    <a:pt x="10" y="153"/>
                  </a:cubicBezTo>
                  <a:cubicBezTo>
                    <a:pt x="16" y="151"/>
                    <a:pt x="16" y="151"/>
                    <a:pt x="16" y="151"/>
                  </a:cubicBezTo>
                  <a:cubicBezTo>
                    <a:pt x="16" y="151"/>
                    <a:pt x="17" y="155"/>
                    <a:pt x="17" y="156"/>
                  </a:cubicBezTo>
                  <a:cubicBezTo>
                    <a:pt x="17" y="156"/>
                    <a:pt x="16" y="158"/>
                    <a:pt x="16" y="158"/>
                  </a:cubicBezTo>
                  <a:cubicBezTo>
                    <a:pt x="15" y="162"/>
                    <a:pt x="15" y="162"/>
                    <a:pt x="15" y="162"/>
                  </a:cubicBezTo>
                  <a:cubicBezTo>
                    <a:pt x="15" y="166"/>
                    <a:pt x="15" y="166"/>
                    <a:pt x="15" y="166"/>
                  </a:cubicBezTo>
                  <a:cubicBezTo>
                    <a:pt x="18" y="168"/>
                    <a:pt x="18" y="168"/>
                    <a:pt x="18" y="168"/>
                  </a:cubicBezTo>
                  <a:cubicBezTo>
                    <a:pt x="21" y="171"/>
                    <a:pt x="21" y="171"/>
                    <a:pt x="21" y="171"/>
                  </a:cubicBezTo>
                  <a:cubicBezTo>
                    <a:pt x="20" y="175"/>
                    <a:pt x="20" y="175"/>
                    <a:pt x="20" y="175"/>
                  </a:cubicBezTo>
                  <a:cubicBezTo>
                    <a:pt x="20" y="182"/>
                    <a:pt x="20" y="182"/>
                    <a:pt x="20" y="182"/>
                  </a:cubicBezTo>
                  <a:cubicBezTo>
                    <a:pt x="18" y="185"/>
                    <a:pt x="18" y="185"/>
                    <a:pt x="18" y="185"/>
                  </a:cubicBezTo>
                  <a:cubicBezTo>
                    <a:pt x="21" y="188"/>
                    <a:pt x="21" y="188"/>
                    <a:pt x="21" y="188"/>
                  </a:cubicBezTo>
                  <a:cubicBezTo>
                    <a:pt x="24" y="207"/>
                    <a:pt x="24" y="207"/>
                    <a:pt x="24" y="207"/>
                  </a:cubicBezTo>
                  <a:cubicBezTo>
                    <a:pt x="24" y="210"/>
                    <a:pt x="24" y="210"/>
                    <a:pt x="24" y="210"/>
                  </a:cubicBezTo>
                  <a:cubicBezTo>
                    <a:pt x="26" y="214"/>
                    <a:pt x="26" y="214"/>
                    <a:pt x="26" y="214"/>
                  </a:cubicBezTo>
                  <a:cubicBezTo>
                    <a:pt x="24" y="216"/>
                    <a:pt x="24" y="216"/>
                    <a:pt x="24" y="216"/>
                  </a:cubicBezTo>
                  <a:cubicBezTo>
                    <a:pt x="1" y="228"/>
                    <a:pt x="1" y="228"/>
                    <a:pt x="1" y="228"/>
                  </a:cubicBezTo>
                  <a:cubicBezTo>
                    <a:pt x="0" y="231"/>
                    <a:pt x="0" y="231"/>
                    <a:pt x="0" y="231"/>
                  </a:cubicBezTo>
                  <a:cubicBezTo>
                    <a:pt x="0" y="231"/>
                    <a:pt x="0" y="231"/>
                    <a:pt x="0" y="231"/>
                  </a:cubicBezTo>
                  <a:cubicBezTo>
                    <a:pt x="2" y="230"/>
                    <a:pt x="4" y="230"/>
                    <a:pt x="5" y="231"/>
                  </a:cubicBezTo>
                  <a:cubicBezTo>
                    <a:pt x="8" y="232"/>
                    <a:pt x="11" y="233"/>
                    <a:pt x="13" y="235"/>
                  </a:cubicBezTo>
                  <a:cubicBezTo>
                    <a:pt x="14" y="235"/>
                    <a:pt x="14" y="236"/>
                    <a:pt x="15" y="236"/>
                  </a:cubicBezTo>
                  <a:cubicBezTo>
                    <a:pt x="16" y="236"/>
                    <a:pt x="17" y="235"/>
                    <a:pt x="19" y="235"/>
                  </a:cubicBezTo>
                  <a:cubicBezTo>
                    <a:pt x="21" y="234"/>
                    <a:pt x="23" y="234"/>
                    <a:pt x="25" y="233"/>
                  </a:cubicBezTo>
                  <a:cubicBezTo>
                    <a:pt x="27" y="232"/>
                    <a:pt x="28" y="230"/>
                    <a:pt x="30" y="229"/>
                  </a:cubicBezTo>
                  <a:cubicBezTo>
                    <a:pt x="31" y="228"/>
                    <a:pt x="32" y="228"/>
                    <a:pt x="33" y="228"/>
                  </a:cubicBezTo>
                  <a:cubicBezTo>
                    <a:pt x="34" y="227"/>
                    <a:pt x="35" y="227"/>
                    <a:pt x="36" y="226"/>
                  </a:cubicBezTo>
                  <a:cubicBezTo>
                    <a:pt x="37" y="226"/>
                    <a:pt x="38" y="226"/>
                    <a:pt x="39" y="226"/>
                  </a:cubicBezTo>
                  <a:cubicBezTo>
                    <a:pt x="41" y="226"/>
                    <a:pt x="42" y="225"/>
                    <a:pt x="44" y="225"/>
                  </a:cubicBezTo>
                  <a:cubicBezTo>
                    <a:pt x="44" y="225"/>
                    <a:pt x="43" y="226"/>
                    <a:pt x="43" y="227"/>
                  </a:cubicBezTo>
                  <a:cubicBezTo>
                    <a:pt x="44" y="227"/>
                    <a:pt x="44" y="228"/>
                    <a:pt x="45" y="228"/>
                  </a:cubicBezTo>
                  <a:cubicBezTo>
                    <a:pt x="46" y="229"/>
                    <a:pt x="47" y="230"/>
                    <a:pt x="48" y="231"/>
                  </a:cubicBezTo>
                  <a:cubicBezTo>
                    <a:pt x="49" y="232"/>
                    <a:pt x="49" y="233"/>
                    <a:pt x="50" y="232"/>
                  </a:cubicBezTo>
                  <a:cubicBezTo>
                    <a:pt x="51" y="231"/>
                    <a:pt x="53" y="229"/>
                    <a:pt x="54" y="229"/>
                  </a:cubicBezTo>
                  <a:cubicBezTo>
                    <a:pt x="55" y="229"/>
                    <a:pt x="57" y="229"/>
                    <a:pt x="58" y="228"/>
                  </a:cubicBezTo>
                  <a:cubicBezTo>
                    <a:pt x="59" y="228"/>
                    <a:pt x="58" y="228"/>
                    <a:pt x="58" y="227"/>
                  </a:cubicBezTo>
                  <a:cubicBezTo>
                    <a:pt x="57" y="226"/>
                    <a:pt x="57" y="225"/>
                    <a:pt x="57" y="225"/>
                  </a:cubicBezTo>
                  <a:cubicBezTo>
                    <a:pt x="57" y="224"/>
                    <a:pt x="58" y="224"/>
                    <a:pt x="59" y="223"/>
                  </a:cubicBezTo>
                  <a:cubicBezTo>
                    <a:pt x="59" y="222"/>
                    <a:pt x="58" y="220"/>
                    <a:pt x="59" y="219"/>
                  </a:cubicBezTo>
                  <a:cubicBezTo>
                    <a:pt x="61" y="219"/>
                    <a:pt x="61" y="221"/>
                    <a:pt x="61" y="222"/>
                  </a:cubicBezTo>
                  <a:cubicBezTo>
                    <a:pt x="61" y="224"/>
                    <a:pt x="62" y="226"/>
                    <a:pt x="62" y="228"/>
                  </a:cubicBezTo>
                  <a:cubicBezTo>
                    <a:pt x="63" y="230"/>
                    <a:pt x="65" y="231"/>
                    <a:pt x="66" y="233"/>
                  </a:cubicBezTo>
                  <a:cubicBezTo>
                    <a:pt x="67" y="234"/>
                    <a:pt x="66" y="236"/>
                    <a:pt x="66" y="238"/>
                  </a:cubicBezTo>
                  <a:cubicBezTo>
                    <a:pt x="66" y="239"/>
                    <a:pt x="65" y="241"/>
                    <a:pt x="65" y="242"/>
                  </a:cubicBezTo>
                  <a:cubicBezTo>
                    <a:pt x="65" y="244"/>
                    <a:pt x="65" y="246"/>
                    <a:pt x="65" y="248"/>
                  </a:cubicBezTo>
                  <a:cubicBezTo>
                    <a:pt x="66" y="251"/>
                    <a:pt x="66" y="254"/>
                    <a:pt x="66" y="257"/>
                  </a:cubicBezTo>
                  <a:cubicBezTo>
                    <a:pt x="66" y="259"/>
                    <a:pt x="64" y="261"/>
                    <a:pt x="64" y="263"/>
                  </a:cubicBezTo>
                  <a:cubicBezTo>
                    <a:pt x="65" y="264"/>
                    <a:pt x="65" y="265"/>
                    <a:pt x="66" y="265"/>
                  </a:cubicBezTo>
                  <a:cubicBezTo>
                    <a:pt x="67" y="265"/>
                    <a:pt x="68" y="265"/>
                    <a:pt x="69" y="265"/>
                  </a:cubicBezTo>
                  <a:cubicBezTo>
                    <a:pt x="71" y="265"/>
                    <a:pt x="72" y="264"/>
                    <a:pt x="74" y="263"/>
                  </a:cubicBezTo>
                  <a:cubicBezTo>
                    <a:pt x="77" y="261"/>
                    <a:pt x="80" y="258"/>
                    <a:pt x="82" y="256"/>
                  </a:cubicBezTo>
                  <a:cubicBezTo>
                    <a:pt x="84" y="254"/>
                    <a:pt x="87" y="252"/>
                    <a:pt x="89" y="251"/>
                  </a:cubicBezTo>
                  <a:cubicBezTo>
                    <a:pt x="91" y="251"/>
                    <a:pt x="93" y="251"/>
                    <a:pt x="95" y="251"/>
                  </a:cubicBezTo>
                  <a:cubicBezTo>
                    <a:pt x="98" y="251"/>
                    <a:pt x="100" y="252"/>
                    <a:pt x="102" y="254"/>
                  </a:cubicBezTo>
                  <a:cubicBezTo>
                    <a:pt x="104" y="254"/>
                    <a:pt x="105" y="255"/>
                    <a:pt x="106" y="256"/>
                  </a:cubicBezTo>
                  <a:cubicBezTo>
                    <a:pt x="106" y="257"/>
                    <a:pt x="107" y="258"/>
                    <a:pt x="108" y="258"/>
                  </a:cubicBezTo>
                  <a:cubicBezTo>
                    <a:pt x="109" y="258"/>
                    <a:pt x="109" y="258"/>
                    <a:pt x="110" y="259"/>
                  </a:cubicBezTo>
                  <a:cubicBezTo>
                    <a:pt x="111" y="259"/>
                    <a:pt x="111" y="259"/>
                    <a:pt x="112" y="258"/>
                  </a:cubicBezTo>
                  <a:cubicBezTo>
                    <a:pt x="113" y="257"/>
                    <a:pt x="114" y="256"/>
                    <a:pt x="115" y="255"/>
                  </a:cubicBezTo>
                  <a:cubicBezTo>
                    <a:pt x="118" y="252"/>
                    <a:pt x="122" y="252"/>
                    <a:pt x="125" y="251"/>
                  </a:cubicBezTo>
                  <a:cubicBezTo>
                    <a:pt x="128" y="250"/>
                    <a:pt x="130" y="249"/>
                    <a:pt x="132" y="247"/>
                  </a:cubicBezTo>
                  <a:cubicBezTo>
                    <a:pt x="133" y="246"/>
                    <a:pt x="134" y="245"/>
                    <a:pt x="135" y="245"/>
                  </a:cubicBezTo>
                  <a:cubicBezTo>
                    <a:pt x="136" y="244"/>
                    <a:pt x="137" y="244"/>
                    <a:pt x="137" y="243"/>
                  </a:cubicBezTo>
                  <a:cubicBezTo>
                    <a:pt x="138" y="241"/>
                    <a:pt x="135" y="241"/>
                    <a:pt x="135" y="240"/>
                  </a:cubicBezTo>
                  <a:cubicBezTo>
                    <a:pt x="134" y="238"/>
                    <a:pt x="135" y="237"/>
                    <a:pt x="136" y="236"/>
                  </a:cubicBezTo>
                  <a:cubicBezTo>
                    <a:pt x="137" y="234"/>
                    <a:pt x="138" y="233"/>
                    <a:pt x="139" y="232"/>
                  </a:cubicBezTo>
                  <a:cubicBezTo>
                    <a:pt x="139" y="231"/>
                    <a:pt x="139" y="229"/>
                    <a:pt x="139" y="228"/>
                  </a:cubicBezTo>
                  <a:cubicBezTo>
                    <a:pt x="138" y="226"/>
                    <a:pt x="137" y="226"/>
                    <a:pt x="137" y="224"/>
                  </a:cubicBezTo>
                  <a:cubicBezTo>
                    <a:pt x="136" y="224"/>
                    <a:pt x="135" y="222"/>
                    <a:pt x="136" y="221"/>
                  </a:cubicBezTo>
                  <a:cubicBezTo>
                    <a:pt x="138" y="221"/>
                    <a:pt x="139" y="225"/>
                    <a:pt x="140" y="226"/>
                  </a:cubicBezTo>
                  <a:cubicBezTo>
                    <a:pt x="140" y="228"/>
                    <a:pt x="141" y="230"/>
                    <a:pt x="142" y="231"/>
                  </a:cubicBezTo>
                  <a:cubicBezTo>
                    <a:pt x="143" y="231"/>
                    <a:pt x="143" y="232"/>
                    <a:pt x="143" y="233"/>
                  </a:cubicBezTo>
                  <a:cubicBezTo>
                    <a:pt x="144" y="233"/>
                    <a:pt x="145" y="233"/>
                    <a:pt x="145" y="234"/>
                  </a:cubicBezTo>
                  <a:cubicBezTo>
                    <a:pt x="146" y="234"/>
                    <a:pt x="147" y="235"/>
                    <a:pt x="148" y="235"/>
                  </a:cubicBezTo>
                  <a:cubicBezTo>
                    <a:pt x="149" y="236"/>
                    <a:pt x="149" y="237"/>
                    <a:pt x="150" y="238"/>
                  </a:cubicBezTo>
                  <a:cubicBezTo>
                    <a:pt x="150" y="239"/>
                    <a:pt x="150" y="240"/>
                    <a:pt x="151" y="240"/>
                  </a:cubicBezTo>
                  <a:cubicBezTo>
                    <a:pt x="152" y="241"/>
                    <a:pt x="153" y="241"/>
                    <a:pt x="154" y="241"/>
                  </a:cubicBezTo>
                  <a:cubicBezTo>
                    <a:pt x="154" y="242"/>
                    <a:pt x="155" y="242"/>
                    <a:pt x="155" y="243"/>
                  </a:cubicBezTo>
                  <a:cubicBezTo>
                    <a:pt x="155" y="243"/>
                    <a:pt x="156" y="244"/>
                    <a:pt x="156" y="245"/>
                  </a:cubicBezTo>
                  <a:cubicBezTo>
                    <a:pt x="156" y="245"/>
                    <a:pt x="157" y="246"/>
                    <a:pt x="157" y="246"/>
                  </a:cubicBezTo>
                  <a:cubicBezTo>
                    <a:pt x="158" y="246"/>
                    <a:pt x="158" y="246"/>
                    <a:pt x="158" y="246"/>
                  </a:cubicBezTo>
                  <a:cubicBezTo>
                    <a:pt x="159" y="247"/>
                    <a:pt x="159" y="247"/>
                    <a:pt x="159" y="247"/>
                  </a:cubicBezTo>
                  <a:cubicBezTo>
                    <a:pt x="160" y="248"/>
                    <a:pt x="160" y="248"/>
                    <a:pt x="160" y="248"/>
                  </a:cubicBezTo>
                  <a:cubicBezTo>
                    <a:pt x="161" y="249"/>
                    <a:pt x="160" y="250"/>
                    <a:pt x="160" y="251"/>
                  </a:cubicBezTo>
                  <a:cubicBezTo>
                    <a:pt x="162" y="250"/>
                    <a:pt x="162" y="248"/>
                    <a:pt x="162" y="247"/>
                  </a:cubicBezTo>
                  <a:cubicBezTo>
                    <a:pt x="163" y="247"/>
                    <a:pt x="163" y="246"/>
                    <a:pt x="164" y="246"/>
                  </a:cubicBezTo>
                  <a:cubicBezTo>
                    <a:pt x="164" y="245"/>
                    <a:pt x="165" y="245"/>
                    <a:pt x="165" y="244"/>
                  </a:cubicBezTo>
                  <a:cubicBezTo>
                    <a:pt x="167" y="242"/>
                    <a:pt x="168" y="241"/>
                    <a:pt x="171" y="241"/>
                  </a:cubicBezTo>
                  <a:cubicBezTo>
                    <a:pt x="172" y="241"/>
                    <a:pt x="173" y="241"/>
                    <a:pt x="174" y="242"/>
                  </a:cubicBezTo>
                  <a:cubicBezTo>
                    <a:pt x="175" y="243"/>
                    <a:pt x="175" y="244"/>
                    <a:pt x="175" y="244"/>
                  </a:cubicBezTo>
                  <a:cubicBezTo>
                    <a:pt x="176" y="246"/>
                    <a:pt x="176" y="248"/>
                    <a:pt x="176" y="249"/>
                  </a:cubicBezTo>
                  <a:cubicBezTo>
                    <a:pt x="176" y="250"/>
                    <a:pt x="176" y="251"/>
                    <a:pt x="176" y="253"/>
                  </a:cubicBezTo>
                  <a:cubicBezTo>
                    <a:pt x="176" y="254"/>
                    <a:pt x="175" y="255"/>
                    <a:pt x="175" y="257"/>
                  </a:cubicBezTo>
                  <a:cubicBezTo>
                    <a:pt x="174" y="258"/>
                    <a:pt x="174" y="258"/>
                    <a:pt x="174" y="259"/>
                  </a:cubicBezTo>
                  <a:cubicBezTo>
                    <a:pt x="175" y="260"/>
                    <a:pt x="177" y="260"/>
                    <a:pt x="178" y="260"/>
                  </a:cubicBezTo>
                  <a:cubicBezTo>
                    <a:pt x="181" y="260"/>
                    <a:pt x="183" y="260"/>
                    <a:pt x="185" y="260"/>
                  </a:cubicBezTo>
                  <a:cubicBezTo>
                    <a:pt x="188" y="260"/>
                    <a:pt x="191" y="257"/>
                    <a:pt x="194" y="255"/>
                  </a:cubicBezTo>
                  <a:cubicBezTo>
                    <a:pt x="196" y="254"/>
                    <a:pt x="198" y="253"/>
                    <a:pt x="201" y="252"/>
                  </a:cubicBezTo>
                  <a:cubicBezTo>
                    <a:pt x="202" y="252"/>
                    <a:pt x="203" y="250"/>
                    <a:pt x="204" y="249"/>
                  </a:cubicBezTo>
                  <a:cubicBezTo>
                    <a:pt x="205" y="247"/>
                    <a:pt x="205" y="245"/>
                    <a:pt x="205" y="243"/>
                  </a:cubicBezTo>
                  <a:cubicBezTo>
                    <a:pt x="205" y="242"/>
                    <a:pt x="207" y="238"/>
                    <a:pt x="208" y="239"/>
                  </a:cubicBezTo>
                  <a:cubicBezTo>
                    <a:pt x="208" y="240"/>
                    <a:pt x="207" y="241"/>
                    <a:pt x="207" y="242"/>
                  </a:cubicBezTo>
                  <a:cubicBezTo>
                    <a:pt x="206" y="244"/>
                    <a:pt x="206" y="245"/>
                    <a:pt x="206" y="246"/>
                  </a:cubicBezTo>
                  <a:cubicBezTo>
                    <a:pt x="206" y="247"/>
                    <a:pt x="206" y="248"/>
                    <a:pt x="205" y="249"/>
                  </a:cubicBezTo>
                  <a:cubicBezTo>
                    <a:pt x="205" y="250"/>
                    <a:pt x="204" y="250"/>
                    <a:pt x="204" y="252"/>
                  </a:cubicBezTo>
                  <a:cubicBezTo>
                    <a:pt x="204" y="253"/>
                    <a:pt x="207" y="256"/>
                    <a:pt x="208" y="256"/>
                  </a:cubicBezTo>
                  <a:cubicBezTo>
                    <a:pt x="210" y="256"/>
                    <a:pt x="211" y="256"/>
                    <a:pt x="212" y="255"/>
                  </a:cubicBezTo>
                  <a:cubicBezTo>
                    <a:pt x="213" y="254"/>
                    <a:pt x="213" y="253"/>
                    <a:pt x="214" y="252"/>
                  </a:cubicBezTo>
                  <a:cubicBezTo>
                    <a:pt x="214" y="251"/>
                    <a:pt x="216" y="248"/>
                    <a:pt x="217" y="248"/>
                  </a:cubicBezTo>
                  <a:cubicBezTo>
                    <a:pt x="217" y="250"/>
                    <a:pt x="217" y="251"/>
                    <a:pt x="216" y="252"/>
                  </a:cubicBezTo>
                  <a:cubicBezTo>
                    <a:pt x="216" y="253"/>
                    <a:pt x="215" y="254"/>
                    <a:pt x="215" y="255"/>
                  </a:cubicBezTo>
                  <a:cubicBezTo>
                    <a:pt x="215" y="255"/>
                    <a:pt x="215" y="255"/>
                    <a:pt x="215" y="255"/>
                  </a:cubicBezTo>
                  <a:cubicBezTo>
                    <a:pt x="216" y="256"/>
                    <a:pt x="216" y="256"/>
                    <a:pt x="217" y="257"/>
                  </a:cubicBezTo>
                  <a:cubicBezTo>
                    <a:pt x="218" y="258"/>
                    <a:pt x="219" y="258"/>
                    <a:pt x="220" y="258"/>
                  </a:cubicBezTo>
                  <a:cubicBezTo>
                    <a:pt x="220" y="258"/>
                    <a:pt x="220" y="258"/>
                    <a:pt x="220" y="258"/>
                  </a:cubicBezTo>
                  <a:cubicBezTo>
                    <a:pt x="221" y="252"/>
                    <a:pt x="221" y="252"/>
                    <a:pt x="221" y="252"/>
                  </a:cubicBezTo>
                  <a:lnTo>
                    <a:pt x="222" y="24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5" name="Freeform 70">
              <a:extLst>
                <a:ext uri="{FF2B5EF4-FFF2-40B4-BE49-F238E27FC236}">
                  <a16:creationId xmlns:a16="http://schemas.microsoft.com/office/drawing/2014/main" id="{FDAEA703-6CD6-F48B-999B-B80E7210F3E2}"/>
                </a:ext>
              </a:extLst>
            </p:cNvPr>
            <p:cNvSpPr>
              <a:spLocks noEditPoints="1"/>
            </p:cNvSpPr>
            <p:nvPr/>
          </p:nvSpPr>
          <p:spPr bwMode="auto">
            <a:xfrm>
              <a:off x="4294188" y="5397500"/>
              <a:ext cx="876300" cy="484187"/>
            </a:xfrm>
            <a:custGeom>
              <a:avLst/>
              <a:gdLst>
                <a:gd name="T0" fmla="*/ 218 w 230"/>
                <a:gd name="T1" fmla="*/ 125 h 127"/>
                <a:gd name="T2" fmla="*/ 206 w 230"/>
                <a:gd name="T3" fmla="*/ 117 h 127"/>
                <a:gd name="T4" fmla="*/ 192 w 230"/>
                <a:gd name="T5" fmla="*/ 115 h 127"/>
                <a:gd name="T6" fmla="*/ 184 w 230"/>
                <a:gd name="T7" fmla="*/ 113 h 127"/>
                <a:gd name="T8" fmla="*/ 174 w 230"/>
                <a:gd name="T9" fmla="*/ 109 h 127"/>
                <a:gd name="T10" fmla="*/ 156 w 230"/>
                <a:gd name="T11" fmla="*/ 102 h 127"/>
                <a:gd name="T12" fmla="*/ 128 w 230"/>
                <a:gd name="T13" fmla="*/ 100 h 127"/>
                <a:gd name="T14" fmla="*/ 119 w 230"/>
                <a:gd name="T15" fmla="*/ 102 h 127"/>
                <a:gd name="T16" fmla="*/ 111 w 230"/>
                <a:gd name="T17" fmla="*/ 106 h 127"/>
                <a:gd name="T18" fmla="*/ 87 w 230"/>
                <a:gd name="T19" fmla="*/ 99 h 127"/>
                <a:gd name="T20" fmla="*/ 72 w 230"/>
                <a:gd name="T21" fmla="*/ 98 h 127"/>
                <a:gd name="T22" fmla="*/ 59 w 230"/>
                <a:gd name="T23" fmla="*/ 95 h 127"/>
                <a:gd name="T24" fmla="*/ 51 w 230"/>
                <a:gd name="T25" fmla="*/ 96 h 127"/>
                <a:gd name="T26" fmla="*/ 45 w 230"/>
                <a:gd name="T27" fmla="*/ 99 h 127"/>
                <a:gd name="T28" fmla="*/ 35 w 230"/>
                <a:gd name="T29" fmla="*/ 98 h 127"/>
                <a:gd name="T30" fmla="*/ 27 w 230"/>
                <a:gd name="T31" fmla="*/ 96 h 127"/>
                <a:gd name="T32" fmla="*/ 11 w 230"/>
                <a:gd name="T33" fmla="*/ 93 h 127"/>
                <a:gd name="T34" fmla="*/ 0 w 230"/>
                <a:gd name="T35" fmla="*/ 86 h 127"/>
                <a:gd name="T36" fmla="*/ 9 w 230"/>
                <a:gd name="T37" fmla="*/ 83 h 127"/>
                <a:gd name="T38" fmla="*/ 15 w 230"/>
                <a:gd name="T39" fmla="*/ 81 h 127"/>
                <a:gd name="T40" fmla="*/ 22 w 230"/>
                <a:gd name="T41" fmla="*/ 75 h 127"/>
                <a:gd name="T42" fmla="*/ 24 w 230"/>
                <a:gd name="T43" fmla="*/ 65 h 127"/>
                <a:gd name="T44" fmla="*/ 18 w 230"/>
                <a:gd name="T45" fmla="*/ 58 h 127"/>
                <a:gd name="T46" fmla="*/ 15 w 230"/>
                <a:gd name="T47" fmla="*/ 45 h 127"/>
                <a:gd name="T48" fmla="*/ 18 w 230"/>
                <a:gd name="T49" fmla="*/ 32 h 127"/>
                <a:gd name="T50" fmla="*/ 33 w 230"/>
                <a:gd name="T51" fmla="*/ 39 h 127"/>
                <a:gd name="T52" fmla="*/ 43 w 230"/>
                <a:gd name="T53" fmla="*/ 27 h 127"/>
                <a:gd name="T54" fmla="*/ 44 w 230"/>
                <a:gd name="T55" fmla="*/ 15 h 127"/>
                <a:gd name="T56" fmla="*/ 44 w 230"/>
                <a:gd name="T57" fmla="*/ 8 h 127"/>
                <a:gd name="T58" fmla="*/ 53 w 230"/>
                <a:gd name="T59" fmla="*/ 2 h 127"/>
                <a:gd name="T60" fmla="*/ 72 w 230"/>
                <a:gd name="T61" fmla="*/ 9 h 127"/>
                <a:gd name="T62" fmla="*/ 99 w 230"/>
                <a:gd name="T63" fmla="*/ 10 h 127"/>
                <a:gd name="T64" fmla="*/ 106 w 230"/>
                <a:gd name="T65" fmla="*/ 11 h 127"/>
                <a:gd name="T66" fmla="*/ 107 w 230"/>
                <a:gd name="T67" fmla="*/ 22 h 127"/>
                <a:gd name="T68" fmla="*/ 115 w 230"/>
                <a:gd name="T69" fmla="*/ 28 h 127"/>
                <a:gd name="T70" fmla="*/ 119 w 230"/>
                <a:gd name="T71" fmla="*/ 45 h 127"/>
                <a:gd name="T72" fmla="*/ 126 w 230"/>
                <a:gd name="T73" fmla="*/ 55 h 127"/>
                <a:gd name="T74" fmla="*/ 138 w 230"/>
                <a:gd name="T75" fmla="*/ 61 h 127"/>
                <a:gd name="T76" fmla="*/ 148 w 230"/>
                <a:gd name="T77" fmla="*/ 65 h 127"/>
                <a:gd name="T78" fmla="*/ 174 w 230"/>
                <a:gd name="T79" fmla="*/ 61 h 127"/>
                <a:gd name="T80" fmla="*/ 194 w 230"/>
                <a:gd name="T81" fmla="*/ 54 h 127"/>
                <a:gd name="T82" fmla="*/ 209 w 230"/>
                <a:gd name="T83" fmla="*/ 61 h 127"/>
                <a:gd name="T84" fmla="*/ 219 w 230"/>
                <a:gd name="T85" fmla="*/ 79 h 127"/>
                <a:gd name="T86" fmla="*/ 214 w 230"/>
                <a:gd name="T87" fmla="*/ 101 h 127"/>
                <a:gd name="T88" fmla="*/ 216 w 230"/>
                <a:gd name="T89" fmla="*/ 107 h 127"/>
                <a:gd name="T90" fmla="*/ 225 w 230"/>
                <a:gd name="T91" fmla="*/ 119 h 127"/>
                <a:gd name="T92" fmla="*/ 122 w 230"/>
                <a:gd name="T93" fmla="*/ 27 h 127"/>
                <a:gd name="T94" fmla="*/ 151 w 230"/>
                <a:gd name="T95" fmla="*/ 31 h 127"/>
                <a:gd name="T96" fmla="*/ 170 w 230"/>
                <a:gd name="T97" fmla="*/ 24 h 127"/>
                <a:gd name="T98" fmla="*/ 185 w 230"/>
                <a:gd name="T99" fmla="*/ 23 h 127"/>
                <a:gd name="T100" fmla="*/ 195 w 230"/>
                <a:gd name="T101" fmla="*/ 23 h 127"/>
                <a:gd name="T102" fmla="*/ 194 w 230"/>
                <a:gd name="T103" fmla="*/ 17 h 127"/>
                <a:gd name="T104" fmla="*/ 189 w 230"/>
                <a:gd name="T105" fmla="*/ 8 h 127"/>
                <a:gd name="T106" fmla="*/ 129 w 230"/>
                <a:gd name="T107" fmla="*/ 9 h 127"/>
                <a:gd name="T108" fmla="*/ 112 w 230"/>
                <a:gd name="T109" fmla="*/ 19 h 127"/>
                <a:gd name="T110" fmla="*/ 117 w 230"/>
                <a:gd name="T111" fmla="*/ 2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0" h="127">
                  <a:moveTo>
                    <a:pt x="229" y="123"/>
                  </a:moveTo>
                  <a:cubicBezTo>
                    <a:pt x="229" y="124"/>
                    <a:pt x="229" y="125"/>
                    <a:pt x="229" y="126"/>
                  </a:cubicBezTo>
                  <a:cubicBezTo>
                    <a:pt x="228" y="127"/>
                    <a:pt x="226" y="127"/>
                    <a:pt x="224" y="127"/>
                  </a:cubicBezTo>
                  <a:cubicBezTo>
                    <a:pt x="223" y="127"/>
                    <a:pt x="222" y="127"/>
                    <a:pt x="221" y="126"/>
                  </a:cubicBezTo>
                  <a:cubicBezTo>
                    <a:pt x="220" y="126"/>
                    <a:pt x="221" y="125"/>
                    <a:pt x="218" y="125"/>
                  </a:cubicBezTo>
                  <a:cubicBezTo>
                    <a:pt x="215" y="125"/>
                    <a:pt x="214" y="126"/>
                    <a:pt x="214" y="125"/>
                  </a:cubicBezTo>
                  <a:cubicBezTo>
                    <a:pt x="214" y="125"/>
                    <a:pt x="215" y="125"/>
                    <a:pt x="215" y="123"/>
                  </a:cubicBezTo>
                  <a:cubicBezTo>
                    <a:pt x="215" y="122"/>
                    <a:pt x="215" y="120"/>
                    <a:pt x="214" y="119"/>
                  </a:cubicBezTo>
                  <a:cubicBezTo>
                    <a:pt x="212" y="118"/>
                    <a:pt x="210" y="116"/>
                    <a:pt x="208" y="116"/>
                  </a:cubicBezTo>
                  <a:cubicBezTo>
                    <a:pt x="206" y="115"/>
                    <a:pt x="206" y="116"/>
                    <a:pt x="206" y="117"/>
                  </a:cubicBezTo>
                  <a:cubicBezTo>
                    <a:pt x="206" y="118"/>
                    <a:pt x="206" y="120"/>
                    <a:pt x="204" y="119"/>
                  </a:cubicBezTo>
                  <a:cubicBezTo>
                    <a:pt x="203" y="119"/>
                    <a:pt x="202" y="117"/>
                    <a:pt x="199" y="117"/>
                  </a:cubicBezTo>
                  <a:cubicBezTo>
                    <a:pt x="197" y="117"/>
                    <a:pt x="197" y="118"/>
                    <a:pt x="196" y="118"/>
                  </a:cubicBezTo>
                  <a:cubicBezTo>
                    <a:pt x="195" y="118"/>
                    <a:pt x="194" y="118"/>
                    <a:pt x="194" y="117"/>
                  </a:cubicBezTo>
                  <a:cubicBezTo>
                    <a:pt x="194" y="116"/>
                    <a:pt x="192" y="114"/>
                    <a:pt x="192" y="115"/>
                  </a:cubicBezTo>
                  <a:cubicBezTo>
                    <a:pt x="192" y="115"/>
                    <a:pt x="193" y="117"/>
                    <a:pt x="191" y="117"/>
                  </a:cubicBezTo>
                  <a:cubicBezTo>
                    <a:pt x="189" y="117"/>
                    <a:pt x="189" y="116"/>
                    <a:pt x="189" y="116"/>
                  </a:cubicBezTo>
                  <a:cubicBezTo>
                    <a:pt x="189" y="115"/>
                    <a:pt x="189" y="113"/>
                    <a:pt x="188" y="113"/>
                  </a:cubicBezTo>
                  <a:cubicBezTo>
                    <a:pt x="188" y="113"/>
                    <a:pt x="188" y="115"/>
                    <a:pt x="187" y="115"/>
                  </a:cubicBezTo>
                  <a:cubicBezTo>
                    <a:pt x="186" y="114"/>
                    <a:pt x="186" y="113"/>
                    <a:pt x="184" y="113"/>
                  </a:cubicBezTo>
                  <a:cubicBezTo>
                    <a:pt x="183" y="113"/>
                    <a:pt x="181" y="113"/>
                    <a:pt x="181" y="113"/>
                  </a:cubicBezTo>
                  <a:cubicBezTo>
                    <a:pt x="181" y="113"/>
                    <a:pt x="180" y="110"/>
                    <a:pt x="180" y="110"/>
                  </a:cubicBezTo>
                  <a:cubicBezTo>
                    <a:pt x="180" y="110"/>
                    <a:pt x="179" y="110"/>
                    <a:pt x="178" y="110"/>
                  </a:cubicBezTo>
                  <a:cubicBezTo>
                    <a:pt x="176" y="111"/>
                    <a:pt x="175" y="111"/>
                    <a:pt x="175" y="111"/>
                  </a:cubicBezTo>
                  <a:cubicBezTo>
                    <a:pt x="174" y="109"/>
                    <a:pt x="174" y="109"/>
                    <a:pt x="174" y="109"/>
                  </a:cubicBezTo>
                  <a:cubicBezTo>
                    <a:pt x="174" y="109"/>
                    <a:pt x="174" y="110"/>
                    <a:pt x="172" y="110"/>
                  </a:cubicBezTo>
                  <a:cubicBezTo>
                    <a:pt x="170" y="109"/>
                    <a:pt x="170" y="108"/>
                    <a:pt x="169" y="107"/>
                  </a:cubicBezTo>
                  <a:cubicBezTo>
                    <a:pt x="168" y="106"/>
                    <a:pt x="165" y="105"/>
                    <a:pt x="163" y="105"/>
                  </a:cubicBezTo>
                  <a:cubicBezTo>
                    <a:pt x="161" y="105"/>
                    <a:pt x="160" y="103"/>
                    <a:pt x="159" y="102"/>
                  </a:cubicBezTo>
                  <a:cubicBezTo>
                    <a:pt x="159" y="102"/>
                    <a:pt x="157" y="102"/>
                    <a:pt x="156" y="102"/>
                  </a:cubicBezTo>
                  <a:cubicBezTo>
                    <a:pt x="155" y="103"/>
                    <a:pt x="155" y="104"/>
                    <a:pt x="154" y="102"/>
                  </a:cubicBezTo>
                  <a:cubicBezTo>
                    <a:pt x="152" y="101"/>
                    <a:pt x="150" y="98"/>
                    <a:pt x="148" y="97"/>
                  </a:cubicBezTo>
                  <a:cubicBezTo>
                    <a:pt x="147" y="96"/>
                    <a:pt x="143" y="96"/>
                    <a:pt x="140" y="96"/>
                  </a:cubicBezTo>
                  <a:cubicBezTo>
                    <a:pt x="137" y="96"/>
                    <a:pt x="135" y="96"/>
                    <a:pt x="133" y="97"/>
                  </a:cubicBezTo>
                  <a:cubicBezTo>
                    <a:pt x="130" y="97"/>
                    <a:pt x="129" y="98"/>
                    <a:pt x="128" y="100"/>
                  </a:cubicBezTo>
                  <a:cubicBezTo>
                    <a:pt x="127" y="101"/>
                    <a:pt x="126" y="103"/>
                    <a:pt x="126" y="103"/>
                  </a:cubicBezTo>
                  <a:cubicBezTo>
                    <a:pt x="125" y="103"/>
                    <a:pt x="123" y="103"/>
                    <a:pt x="123" y="103"/>
                  </a:cubicBezTo>
                  <a:cubicBezTo>
                    <a:pt x="123" y="103"/>
                    <a:pt x="123" y="103"/>
                    <a:pt x="123" y="103"/>
                  </a:cubicBezTo>
                  <a:cubicBezTo>
                    <a:pt x="123" y="103"/>
                    <a:pt x="121" y="104"/>
                    <a:pt x="121" y="103"/>
                  </a:cubicBezTo>
                  <a:cubicBezTo>
                    <a:pt x="120" y="103"/>
                    <a:pt x="121" y="102"/>
                    <a:pt x="119" y="102"/>
                  </a:cubicBezTo>
                  <a:cubicBezTo>
                    <a:pt x="118" y="102"/>
                    <a:pt x="118" y="102"/>
                    <a:pt x="117" y="103"/>
                  </a:cubicBezTo>
                  <a:cubicBezTo>
                    <a:pt x="117" y="103"/>
                    <a:pt x="117" y="103"/>
                    <a:pt x="116" y="103"/>
                  </a:cubicBezTo>
                  <a:cubicBezTo>
                    <a:pt x="116" y="103"/>
                    <a:pt x="116" y="104"/>
                    <a:pt x="115" y="104"/>
                  </a:cubicBezTo>
                  <a:cubicBezTo>
                    <a:pt x="114" y="104"/>
                    <a:pt x="113" y="104"/>
                    <a:pt x="112" y="104"/>
                  </a:cubicBezTo>
                  <a:cubicBezTo>
                    <a:pt x="112" y="105"/>
                    <a:pt x="111" y="106"/>
                    <a:pt x="111" y="106"/>
                  </a:cubicBezTo>
                  <a:cubicBezTo>
                    <a:pt x="111" y="107"/>
                    <a:pt x="108" y="106"/>
                    <a:pt x="107" y="106"/>
                  </a:cubicBezTo>
                  <a:cubicBezTo>
                    <a:pt x="105" y="105"/>
                    <a:pt x="104" y="103"/>
                    <a:pt x="101" y="103"/>
                  </a:cubicBezTo>
                  <a:cubicBezTo>
                    <a:pt x="99" y="103"/>
                    <a:pt x="97" y="104"/>
                    <a:pt x="95" y="103"/>
                  </a:cubicBezTo>
                  <a:cubicBezTo>
                    <a:pt x="93" y="102"/>
                    <a:pt x="92" y="102"/>
                    <a:pt x="90" y="101"/>
                  </a:cubicBezTo>
                  <a:cubicBezTo>
                    <a:pt x="88" y="99"/>
                    <a:pt x="88" y="98"/>
                    <a:pt x="87" y="99"/>
                  </a:cubicBezTo>
                  <a:cubicBezTo>
                    <a:pt x="86" y="99"/>
                    <a:pt x="86" y="100"/>
                    <a:pt x="86" y="100"/>
                  </a:cubicBezTo>
                  <a:cubicBezTo>
                    <a:pt x="85" y="100"/>
                    <a:pt x="82" y="100"/>
                    <a:pt x="82" y="99"/>
                  </a:cubicBezTo>
                  <a:cubicBezTo>
                    <a:pt x="82" y="99"/>
                    <a:pt x="80" y="99"/>
                    <a:pt x="79" y="99"/>
                  </a:cubicBezTo>
                  <a:cubicBezTo>
                    <a:pt x="77" y="98"/>
                    <a:pt x="77" y="98"/>
                    <a:pt x="77" y="98"/>
                  </a:cubicBezTo>
                  <a:cubicBezTo>
                    <a:pt x="77" y="98"/>
                    <a:pt x="75" y="99"/>
                    <a:pt x="72" y="98"/>
                  </a:cubicBezTo>
                  <a:cubicBezTo>
                    <a:pt x="70" y="98"/>
                    <a:pt x="70" y="98"/>
                    <a:pt x="69" y="97"/>
                  </a:cubicBezTo>
                  <a:cubicBezTo>
                    <a:pt x="67" y="97"/>
                    <a:pt x="65" y="96"/>
                    <a:pt x="65" y="96"/>
                  </a:cubicBezTo>
                  <a:cubicBezTo>
                    <a:pt x="64" y="96"/>
                    <a:pt x="64" y="97"/>
                    <a:pt x="64" y="97"/>
                  </a:cubicBezTo>
                  <a:cubicBezTo>
                    <a:pt x="63" y="97"/>
                    <a:pt x="62" y="97"/>
                    <a:pt x="61" y="97"/>
                  </a:cubicBezTo>
                  <a:cubicBezTo>
                    <a:pt x="60" y="96"/>
                    <a:pt x="59" y="95"/>
                    <a:pt x="59" y="95"/>
                  </a:cubicBezTo>
                  <a:cubicBezTo>
                    <a:pt x="58" y="95"/>
                    <a:pt x="55" y="94"/>
                    <a:pt x="55" y="95"/>
                  </a:cubicBezTo>
                  <a:cubicBezTo>
                    <a:pt x="54" y="95"/>
                    <a:pt x="54" y="96"/>
                    <a:pt x="54" y="96"/>
                  </a:cubicBezTo>
                  <a:cubicBezTo>
                    <a:pt x="54" y="97"/>
                    <a:pt x="55" y="98"/>
                    <a:pt x="54" y="99"/>
                  </a:cubicBezTo>
                  <a:cubicBezTo>
                    <a:pt x="53" y="99"/>
                    <a:pt x="52" y="98"/>
                    <a:pt x="52" y="98"/>
                  </a:cubicBezTo>
                  <a:cubicBezTo>
                    <a:pt x="52" y="98"/>
                    <a:pt x="52" y="96"/>
                    <a:pt x="51" y="96"/>
                  </a:cubicBezTo>
                  <a:cubicBezTo>
                    <a:pt x="50" y="97"/>
                    <a:pt x="50" y="97"/>
                    <a:pt x="50" y="98"/>
                  </a:cubicBezTo>
                  <a:cubicBezTo>
                    <a:pt x="50" y="99"/>
                    <a:pt x="50" y="99"/>
                    <a:pt x="50" y="100"/>
                  </a:cubicBezTo>
                  <a:cubicBezTo>
                    <a:pt x="51" y="101"/>
                    <a:pt x="52" y="101"/>
                    <a:pt x="51" y="101"/>
                  </a:cubicBezTo>
                  <a:cubicBezTo>
                    <a:pt x="50" y="102"/>
                    <a:pt x="47" y="101"/>
                    <a:pt x="47" y="101"/>
                  </a:cubicBezTo>
                  <a:cubicBezTo>
                    <a:pt x="46" y="100"/>
                    <a:pt x="45" y="100"/>
                    <a:pt x="45" y="99"/>
                  </a:cubicBezTo>
                  <a:cubicBezTo>
                    <a:pt x="45" y="99"/>
                    <a:pt x="42" y="99"/>
                    <a:pt x="42" y="99"/>
                  </a:cubicBezTo>
                  <a:cubicBezTo>
                    <a:pt x="42" y="99"/>
                    <a:pt x="42" y="98"/>
                    <a:pt x="41" y="98"/>
                  </a:cubicBezTo>
                  <a:cubicBezTo>
                    <a:pt x="41" y="98"/>
                    <a:pt x="39" y="99"/>
                    <a:pt x="39" y="99"/>
                  </a:cubicBezTo>
                  <a:cubicBezTo>
                    <a:pt x="39" y="99"/>
                    <a:pt x="38" y="98"/>
                    <a:pt x="37" y="99"/>
                  </a:cubicBezTo>
                  <a:cubicBezTo>
                    <a:pt x="36" y="99"/>
                    <a:pt x="35" y="99"/>
                    <a:pt x="35" y="98"/>
                  </a:cubicBezTo>
                  <a:cubicBezTo>
                    <a:pt x="35" y="98"/>
                    <a:pt x="35" y="96"/>
                    <a:pt x="34" y="96"/>
                  </a:cubicBezTo>
                  <a:cubicBezTo>
                    <a:pt x="33" y="95"/>
                    <a:pt x="32" y="94"/>
                    <a:pt x="32" y="95"/>
                  </a:cubicBezTo>
                  <a:cubicBezTo>
                    <a:pt x="31" y="95"/>
                    <a:pt x="30" y="96"/>
                    <a:pt x="30" y="95"/>
                  </a:cubicBezTo>
                  <a:cubicBezTo>
                    <a:pt x="30" y="95"/>
                    <a:pt x="30" y="94"/>
                    <a:pt x="29" y="95"/>
                  </a:cubicBezTo>
                  <a:cubicBezTo>
                    <a:pt x="28" y="95"/>
                    <a:pt x="28" y="96"/>
                    <a:pt x="27" y="96"/>
                  </a:cubicBezTo>
                  <a:cubicBezTo>
                    <a:pt x="26" y="96"/>
                    <a:pt x="24" y="95"/>
                    <a:pt x="24" y="94"/>
                  </a:cubicBezTo>
                  <a:cubicBezTo>
                    <a:pt x="23" y="94"/>
                    <a:pt x="23" y="94"/>
                    <a:pt x="22" y="94"/>
                  </a:cubicBezTo>
                  <a:cubicBezTo>
                    <a:pt x="21" y="95"/>
                    <a:pt x="19" y="96"/>
                    <a:pt x="17" y="96"/>
                  </a:cubicBezTo>
                  <a:cubicBezTo>
                    <a:pt x="15" y="96"/>
                    <a:pt x="12" y="93"/>
                    <a:pt x="12" y="92"/>
                  </a:cubicBezTo>
                  <a:cubicBezTo>
                    <a:pt x="12" y="92"/>
                    <a:pt x="11" y="92"/>
                    <a:pt x="11" y="93"/>
                  </a:cubicBezTo>
                  <a:cubicBezTo>
                    <a:pt x="11" y="94"/>
                    <a:pt x="12" y="95"/>
                    <a:pt x="9" y="94"/>
                  </a:cubicBezTo>
                  <a:cubicBezTo>
                    <a:pt x="6" y="94"/>
                    <a:pt x="5" y="93"/>
                    <a:pt x="2" y="92"/>
                  </a:cubicBezTo>
                  <a:cubicBezTo>
                    <a:pt x="2" y="92"/>
                    <a:pt x="1" y="92"/>
                    <a:pt x="1" y="92"/>
                  </a:cubicBezTo>
                  <a:cubicBezTo>
                    <a:pt x="1" y="91"/>
                    <a:pt x="1" y="90"/>
                    <a:pt x="1" y="89"/>
                  </a:cubicBezTo>
                  <a:cubicBezTo>
                    <a:pt x="0" y="88"/>
                    <a:pt x="0" y="87"/>
                    <a:pt x="0" y="86"/>
                  </a:cubicBezTo>
                  <a:cubicBezTo>
                    <a:pt x="0" y="86"/>
                    <a:pt x="1" y="85"/>
                    <a:pt x="2" y="85"/>
                  </a:cubicBezTo>
                  <a:cubicBezTo>
                    <a:pt x="2" y="84"/>
                    <a:pt x="3" y="84"/>
                    <a:pt x="3" y="83"/>
                  </a:cubicBezTo>
                  <a:cubicBezTo>
                    <a:pt x="4" y="83"/>
                    <a:pt x="5" y="83"/>
                    <a:pt x="5" y="83"/>
                  </a:cubicBezTo>
                  <a:cubicBezTo>
                    <a:pt x="6" y="83"/>
                    <a:pt x="6" y="84"/>
                    <a:pt x="7" y="84"/>
                  </a:cubicBezTo>
                  <a:cubicBezTo>
                    <a:pt x="8" y="84"/>
                    <a:pt x="8" y="83"/>
                    <a:pt x="9" y="83"/>
                  </a:cubicBezTo>
                  <a:cubicBezTo>
                    <a:pt x="10" y="83"/>
                    <a:pt x="10" y="83"/>
                    <a:pt x="11" y="82"/>
                  </a:cubicBezTo>
                  <a:cubicBezTo>
                    <a:pt x="11" y="82"/>
                    <a:pt x="11" y="81"/>
                    <a:pt x="12" y="81"/>
                  </a:cubicBezTo>
                  <a:cubicBezTo>
                    <a:pt x="12" y="80"/>
                    <a:pt x="12" y="80"/>
                    <a:pt x="12" y="80"/>
                  </a:cubicBezTo>
                  <a:cubicBezTo>
                    <a:pt x="13" y="81"/>
                    <a:pt x="13" y="82"/>
                    <a:pt x="13" y="82"/>
                  </a:cubicBezTo>
                  <a:cubicBezTo>
                    <a:pt x="14" y="82"/>
                    <a:pt x="15" y="81"/>
                    <a:pt x="15" y="81"/>
                  </a:cubicBezTo>
                  <a:cubicBezTo>
                    <a:pt x="15" y="80"/>
                    <a:pt x="14" y="79"/>
                    <a:pt x="14" y="78"/>
                  </a:cubicBezTo>
                  <a:cubicBezTo>
                    <a:pt x="14" y="77"/>
                    <a:pt x="15" y="76"/>
                    <a:pt x="15" y="75"/>
                  </a:cubicBezTo>
                  <a:cubicBezTo>
                    <a:pt x="15" y="74"/>
                    <a:pt x="16" y="74"/>
                    <a:pt x="17" y="73"/>
                  </a:cubicBezTo>
                  <a:cubicBezTo>
                    <a:pt x="18" y="73"/>
                    <a:pt x="19" y="74"/>
                    <a:pt x="20" y="75"/>
                  </a:cubicBezTo>
                  <a:cubicBezTo>
                    <a:pt x="21" y="75"/>
                    <a:pt x="22" y="75"/>
                    <a:pt x="22" y="75"/>
                  </a:cubicBezTo>
                  <a:cubicBezTo>
                    <a:pt x="23" y="75"/>
                    <a:pt x="23" y="74"/>
                    <a:pt x="24" y="74"/>
                  </a:cubicBezTo>
                  <a:cubicBezTo>
                    <a:pt x="24" y="73"/>
                    <a:pt x="24" y="73"/>
                    <a:pt x="24" y="72"/>
                  </a:cubicBezTo>
                  <a:cubicBezTo>
                    <a:pt x="25" y="72"/>
                    <a:pt x="25" y="71"/>
                    <a:pt x="25" y="70"/>
                  </a:cubicBezTo>
                  <a:cubicBezTo>
                    <a:pt x="26" y="70"/>
                    <a:pt x="26" y="69"/>
                    <a:pt x="26" y="69"/>
                  </a:cubicBezTo>
                  <a:cubicBezTo>
                    <a:pt x="26" y="67"/>
                    <a:pt x="23" y="67"/>
                    <a:pt x="24" y="65"/>
                  </a:cubicBezTo>
                  <a:cubicBezTo>
                    <a:pt x="24" y="64"/>
                    <a:pt x="24" y="64"/>
                    <a:pt x="24" y="63"/>
                  </a:cubicBezTo>
                  <a:cubicBezTo>
                    <a:pt x="23" y="63"/>
                    <a:pt x="22" y="63"/>
                    <a:pt x="21" y="63"/>
                  </a:cubicBezTo>
                  <a:cubicBezTo>
                    <a:pt x="20" y="63"/>
                    <a:pt x="20" y="62"/>
                    <a:pt x="19" y="62"/>
                  </a:cubicBezTo>
                  <a:cubicBezTo>
                    <a:pt x="19" y="61"/>
                    <a:pt x="18" y="61"/>
                    <a:pt x="18" y="60"/>
                  </a:cubicBezTo>
                  <a:cubicBezTo>
                    <a:pt x="18" y="59"/>
                    <a:pt x="18" y="59"/>
                    <a:pt x="18" y="58"/>
                  </a:cubicBezTo>
                  <a:cubicBezTo>
                    <a:pt x="18" y="56"/>
                    <a:pt x="19" y="55"/>
                    <a:pt x="18" y="53"/>
                  </a:cubicBezTo>
                  <a:cubicBezTo>
                    <a:pt x="17" y="53"/>
                    <a:pt x="17" y="53"/>
                    <a:pt x="16" y="52"/>
                  </a:cubicBezTo>
                  <a:cubicBezTo>
                    <a:pt x="16" y="51"/>
                    <a:pt x="16" y="50"/>
                    <a:pt x="16" y="50"/>
                  </a:cubicBezTo>
                  <a:cubicBezTo>
                    <a:pt x="16" y="49"/>
                    <a:pt x="16" y="48"/>
                    <a:pt x="15" y="48"/>
                  </a:cubicBezTo>
                  <a:cubicBezTo>
                    <a:pt x="15" y="47"/>
                    <a:pt x="15" y="46"/>
                    <a:pt x="15" y="45"/>
                  </a:cubicBezTo>
                  <a:cubicBezTo>
                    <a:pt x="14" y="44"/>
                    <a:pt x="14" y="43"/>
                    <a:pt x="14" y="43"/>
                  </a:cubicBezTo>
                  <a:cubicBezTo>
                    <a:pt x="14" y="41"/>
                    <a:pt x="15" y="40"/>
                    <a:pt x="15" y="38"/>
                  </a:cubicBezTo>
                  <a:cubicBezTo>
                    <a:pt x="15" y="37"/>
                    <a:pt x="15" y="35"/>
                    <a:pt x="15" y="33"/>
                  </a:cubicBezTo>
                  <a:cubicBezTo>
                    <a:pt x="15" y="33"/>
                    <a:pt x="15" y="31"/>
                    <a:pt x="16" y="31"/>
                  </a:cubicBezTo>
                  <a:cubicBezTo>
                    <a:pt x="17" y="31"/>
                    <a:pt x="17" y="32"/>
                    <a:pt x="18" y="32"/>
                  </a:cubicBezTo>
                  <a:cubicBezTo>
                    <a:pt x="19" y="32"/>
                    <a:pt x="19" y="33"/>
                    <a:pt x="20" y="33"/>
                  </a:cubicBezTo>
                  <a:cubicBezTo>
                    <a:pt x="21" y="34"/>
                    <a:pt x="23" y="34"/>
                    <a:pt x="25" y="35"/>
                  </a:cubicBezTo>
                  <a:cubicBezTo>
                    <a:pt x="25" y="35"/>
                    <a:pt x="26" y="36"/>
                    <a:pt x="27" y="36"/>
                  </a:cubicBezTo>
                  <a:cubicBezTo>
                    <a:pt x="28" y="37"/>
                    <a:pt x="29" y="37"/>
                    <a:pt x="30" y="38"/>
                  </a:cubicBezTo>
                  <a:cubicBezTo>
                    <a:pt x="31" y="38"/>
                    <a:pt x="32" y="39"/>
                    <a:pt x="33" y="39"/>
                  </a:cubicBezTo>
                  <a:cubicBezTo>
                    <a:pt x="33" y="39"/>
                    <a:pt x="34" y="39"/>
                    <a:pt x="35" y="39"/>
                  </a:cubicBezTo>
                  <a:cubicBezTo>
                    <a:pt x="35" y="37"/>
                    <a:pt x="33" y="36"/>
                    <a:pt x="33" y="34"/>
                  </a:cubicBezTo>
                  <a:cubicBezTo>
                    <a:pt x="33" y="33"/>
                    <a:pt x="35" y="32"/>
                    <a:pt x="36" y="32"/>
                  </a:cubicBezTo>
                  <a:cubicBezTo>
                    <a:pt x="38" y="31"/>
                    <a:pt x="39" y="30"/>
                    <a:pt x="40" y="29"/>
                  </a:cubicBezTo>
                  <a:cubicBezTo>
                    <a:pt x="41" y="28"/>
                    <a:pt x="42" y="28"/>
                    <a:pt x="43" y="27"/>
                  </a:cubicBezTo>
                  <a:cubicBezTo>
                    <a:pt x="43" y="26"/>
                    <a:pt x="44" y="26"/>
                    <a:pt x="44" y="25"/>
                  </a:cubicBezTo>
                  <a:cubicBezTo>
                    <a:pt x="44" y="24"/>
                    <a:pt x="45" y="23"/>
                    <a:pt x="45" y="23"/>
                  </a:cubicBezTo>
                  <a:cubicBezTo>
                    <a:pt x="45" y="22"/>
                    <a:pt x="45" y="21"/>
                    <a:pt x="45" y="21"/>
                  </a:cubicBezTo>
                  <a:cubicBezTo>
                    <a:pt x="45" y="20"/>
                    <a:pt x="46" y="18"/>
                    <a:pt x="46" y="17"/>
                  </a:cubicBezTo>
                  <a:cubicBezTo>
                    <a:pt x="46" y="16"/>
                    <a:pt x="45" y="16"/>
                    <a:pt x="44" y="15"/>
                  </a:cubicBezTo>
                  <a:cubicBezTo>
                    <a:pt x="44" y="15"/>
                    <a:pt x="44" y="14"/>
                    <a:pt x="43" y="14"/>
                  </a:cubicBezTo>
                  <a:cubicBezTo>
                    <a:pt x="43" y="13"/>
                    <a:pt x="43" y="13"/>
                    <a:pt x="42" y="13"/>
                  </a:cubicBezTo>
                  <a:cubicBezTo>
                    <a:pt x="42" y="12"/>
                    <a:pt x="42" y="11"/>
                    <a:pt x="43" y="10"/>
                  </a:cubicBezTo>
                  <a:cubicBezTo>
                    <a:pt x="43" y="10"/>
                    <a:pt x="44" y="10"/>
                    <a:pt x="44" y="10"/>
                  </a:cubicBezTo>
                  <a:cubicBezTo>
                    <a:pt x="44" y="9"/>
                    <a:pt x="44" y="8"/>
                    <a:pt x="44" y="8"/>
                  </a:cubicBezTo>
                  <a:cubicBezTo>
                    <a:pt x="44" y="7"/>
                    <a:pt x="44" y="6"/>
                    <a:pt x="45" y="6"/>
                  </a:cubicBezTo>
                  <a:cubicBezTo>
                    <a:pt x="46" y="5"/>
                    <a:pt x="46" y="5"/>
                    <a:pt x="47" y="5"/>
                  </a:cubicBezTo>
                  <a:cubicBezTo>
                    <a:pt x="47" y="4"/>
                    <a:pt x="47" y="3"/>
                    <a:pt x="47" y="2"/>
                  </a:cubicBezTo>
                  <a:cubicBezTo>
                    <a:pt x="48" y="1"/>
                    <a:pt x="48" y="1"/>
                    <a:pt x="49" y="0"/>
                  </a:cubicBezTo>
                  <a:cubicBezTo>
                    <a:pt x="50" y="1"/>
                    <a:pt x="52" y="2"/>
                    <a:pt x="53" y="2"/>
                  </a:cubicBezTo>
                  <a:cubicBezTo>
                    <a:pt x="54" y="2"/>
                    <a:pt x="56" y="3"/>
                    <a:pt x="59" y="3"/>
                  </a:cubicBezTo>
                  <a:cubicBezTo>
                    <a:pt x="62" y="3"/>
                    <a:pt x="64" y="2"/>
                    <a:pt x="65" y="2"/>
                  </a:cubicBezTo>
                  <a:cubicBezTo>
                    <a:pt x="66" y="2"/>
                    <a:pt x="66" y="0"/>
                    <a:pt x="67" y="2"/>
                  </a:cubicBezTo>
                  <a:cubicBezTo>
                    <a:pt x="68" y="3"/>
                    <a:pt x="68" y="3"/>
                    <a:pt x="69" y="5"/>
                  </a:cubicBezTo>
                  <a:cubicBezTo>
                    <a:pt x="70" y="7"/>
                    <a:pt x="71" y="8"/>
                    <a:pt x="72" y="9"/>
                  </a:cubicBezTo>
                  <a:cubicBezTo>
                    <a:pt x="74" y="10"/>
                    <a:pt x="78" y="10"/>
                    <a:pt x="80" y="10"/>
                  </a:cubicBezTo>
                  <a:cubicBezTo>
                    <a:pt x="82" y="9"/>
                    <a:pt x="82" y="9"/>
                    <a:pt x="85" y="8"/>
                  </a:cubicBezTo>
                  <a:cubicBezTo>
                    <a:pt x="87" y="8"/>
                    <a:pt x="89" y="8"/>
                    <a:pt x="91" y="8"/>
                  </a:cubicBezTo>
                  <a:cubicBezTo>
                    <a:pt x="93" y="8"/>
                    <a:pt x="93" y="7"/>
                    <a:pt x="95" y="8"/>
                  </a:cubicBezTo>
                  <a:cubicBezTo>
                    <a:pt x="97" y="9"/>
                    <a:pt x="98" y="10"/>
                    <a:pt x="99" y="10"/>
                  </a:cubicBezTo>
                  <a:cubicBezTo>
                    <a:pt x="100" y="10"/>
                    <a:pt x="101" y="10"/>
                    <a:pt x="101" y="9"/>
                  </a:cubicBezTo>
                  <a:cubicBezTo>
                    <a:pt x="101" y="8"/>
                    <a:pt x="101" y="7"/>
                    <a:pt x="102" y="7"/>
                  </a:cubicBezTo>
                  <a:cubicBezTo>
                    <a:pt x="104" y="7"/>
                    <a:pt x="104" y="7"/>
                    <a:pt x="105" y="8"/>
                  </a:cubicBezTo>
                  <a:cubicBezTo>
                    <a:pt x="105" y="9"/>
                    <a:pt x="106" y="9"/>
                    <a:pt x="106" y="9"/>
                  </a:cubicBezTo>
                  <a:cubicBezTo>
                    <a:pt x="106" y="9"/>
                    <a:pt x="106" y="10"/>
                    <a:pt x="106" y="11"/>
                  </a:cubicBezTo>
                  <a:cubicBezTo>
                    <a:pt x="106" y="12"/>
                    <a:pt x="105" y="12"/>
                    <a:pt x="106" y="13"/>
                  </a:cubicBezTo>
                  <a:cubicBezTo>
                    <a:pt x="107" y="15"/>
                    <a:pt x="108" y="17"/>
                    <a:pt x="108" y="17"/>
                  </a:cubicBezTo>
                  <a:cubicBezTo>
                    <a:pt x="108" y="17"/>
                    <a:pt x="105" y="17"/>
                    <a:pt x="105" y="18"/>
                  </a:cubicBezTo>
                  <a:cubicBezTo>
                    <a:pt x="106" y="18"/>
                    <a:pt x="108" y="20"/>
                    <a:pt x="108" y="20"/>
                  </a:cubicBezTo>
                  <a:cubicBezTo>
                    <a:pt x="108" y="20"/>
                    <a:pt x="107" y="22"/>
                    <a:pt x="107" y="22"/>
                  </a:cubicBezTo>
                  <a:cubicBezTo>
                    <a:pt x="107" y="23"/>
                    <a:pt x="107" y="23"/>
                    <a:pt x="107" y="24"/>
                  </a:cubicBezTo>
                  <a:cubicBezTo>
                    <a:pt x="108" y="24"/>
                    <a:pt x="109" y="25"/>
                    <a:pt x="109" y="26"/>
                  </a:cubicBezTo>
                  <a:cubicBezTo>
                    <a:pt x="109" y="27"/>
                    <a:pt x="109" y="28"/>
                    <a:pt x="110" y="29"/>
                  </a:cubicBezTo>
                  <a:cubicBezTo>
                    <a:pt x="110" y="30"/>
                    <a:pt x="111" y="30"/>
                    <a:pt x="112" y="30"/>
                  </a:cubicBezTo>
                  <a:cubicBezTo>
                    <a:pt x="112" y="30"/>
                    <a:pt x="114" y="28"/>
                    <a:pt x="115" y="28"/>
                  </a:cubicBezTo>
                  <a:cubicBezTo>
                    <a:pt x="116" y="29"/>
                    <a:pt x="119" y="31"/>
                    <a:pt x="120" y="32"/>
                  </a:cubicBezTo>
                  <a:cubicBezTo>
                    <a:pt x="120" y="33"/>
                    <a:pt x="120" y="35"/>
                    <a:pt x="119" y="36"/>
                  </a:cubicBezTo>
                  <a:cubicBezTo>
                    <a:pt x="119" y="36"/>
                    <a:pt x="121" y="38"/>
                    <a:pt x="120" y="38"/>
                  </a:cubicBezTo>
                  <a:cubicBezTo>
                    <a:pt x="120" y="39"/>
                    <a:pt x="120" y="40"/>
                    <a:pt x="120" y="41"/>
                  </a:cubicBezTo>
                  <a:cubicBezTo>
                    <a:pt x="119" y="43"/>
                    <a:pt x="119" y="44"/>
                    <a:pt x="119" y="45"/>
                  </a:cubicBezTo>
                  <a:cubicBezTo>
                    <a:pt x="119" y="46"/>
                    <a:pt x="121" y="48"/>
                    <a:pt x="121" y="48"/>
                  </a:cubicBezTo>
                  <a:cubicBezTo>
                    <a:pt x="122" y="48"/>
                    <a:pt x="122" y="48"/>
                    <a:pt x="122" y="49"/>
                  </a:cubicBezTo>
                  <a:cubicBezTo>
                    <a:pt x="122" y="49"/>
                    <a:pt x="122" y="51"/>
                    <a:pt x="122" y="52"/>
                  </a:cubicBezTo>
                  <a:cubicBezTo>
                    <a:pt x="122" y="52"/>
                    <a:pt x="122" y="53"/>
                    <a:pt x="123" y="54"/>
                  </a:cubicBezTo>
                  <a:cubicBezTo>
                    <a:pt x="124" y="54"/>
                    <a:pt x="126" y="56"/>
                    <a:pt x="126" y="55"/>
                  </a:cubicBezTo>
                  <a:cubicBezTo>
                    <a:pt x="126" y="55"/>
                    <a:pt x="126" y="54"/>
                    <a:pt x="127" y="55"/>
                  </a:cubicBezTo>
                  <a:cubicBezTo>
                    <a:pt x="128" y="55"/>
                    <a:pt x="129" y="57"/>
                    <a:pt x="130" y="57"/>
                  </a:cubicBezTo>
                  <a:cubicBezTo>
                    <a:pt x="130" y="57"/>
                    <a:pt x="132" y="57"/>
                    <a:pt x="132" y="57"/>
                  </a:cubicBezTo>
                  <a:cubicBezTo>
                    <a:pt x="133" y="57"/>
                    <a:pt x="136" y="59"/>
                    <a:pt x="136" y="60"/>
                  </a:cubicBezTo>
                  <a:cubicBezTo>
                    <a:pt x="136" y="60"/>
                    <a:pt x="137" y="61"/>
                    <a:pt x="138" y="61"/>
                  </a:cubicBezTo>
                  <a:cubicBezTo>
                    <a:pt x="139" y="62"/>
                    <a:pt x="141" y="62"/>
                    <a:pt x="141" y="62"/>
                  </a:cubicBezTo>
                  <a:cubicBezTo>
                    <a:pt x="142" y="62"/>
                    <a:pt x="142" y="62"/>
                    <a:pt x="142" y="62"/>
                  </a:cubicBezTo>
                  <a:cubicBezTo>
                    <a:pt x="142" y="62"/>
                    <a:pt x="142" y="62"/>
                    <a:pt x="143" y="62"/>
                  </a:cubicBezTo>
                  <a:cubicBezTo>
                    <a:pt x="144" y="62"/>
                    <a:pt x="145" y="63"/>
                    <a:pt x="146" y="63"/>
                  </a:cubicBezTo>
                  <a:cubicBezTo>
                    <a:pt x="147" y="64"/>
                    <a:pt x="147" y="65"/>
                    <a:pt x="148" y="65"/>
                  </a:cubicBezTo>
                  <a:cubicBezTo>
                    <a:pt x="149" y="65"/>
                    <a:pt x="152" y="64"/>
                    <a:pt x="153" y="64"/>
                  </a:cubicBezTo>
                  <a:cubicBezTo>
                    <a:pt x="154" y="63"/>
                    <a:pt x="156" y="63"/>
                    <a:pt x="157" y="62"/>
                  </a:cubicBezTo>
                  <a:cubicBezTo>
                    <a:pt x="158" y="62"/>
                    <a:pt x="157" y="59"/>
                    <a:pt x="161" y="60"/>
                  </a:cubicBezTo>
                  <a:cubicBezTo>
                    <a:pt x="165" y="60"/>
                    <a:pt x="170" y="61"/>
                    <a:pt x="170" y="61"/>
                  </a:cubicBezTo>
                  <a:cubicBezTo>
                    <a:pt x="170" y="61"/>
                    <a:pt x="173" y="61"/>
                    <a:pt x="174" y="61"/>
                  </a:cubicBezTo>
                  <a:cubicBezTo>
                    <a:pt x="176" y="61"/>
                    <a:pt x="178" y="63"/>
                    <a:pt x="179" y="61"/>
                  </a:cubicBezTo>
                  <a:cubicBezTo>
                    <a:pt x="180" y="60"/>
                    <a:pt x="181" y="58"/>
                    <a:pt x="182" y="58"/>
                  </a:cubicBezTo>
                  <a:cubicBezTo>
                    <a:pt x="184" y="58"/>
                    <a:pt x="186" y="59"/>
                    <a:pt x="187" y="59"/>
                  </a:cubicBezTo>
                  <a:cubicBezTo>
                    <a:pt x="187" y="59"/>
                    <a:pt x="188" y="59"/>
                    <a:pt x="189" y="58"/>
                  </a:cubicBezTo>
                  <a:cubicBezTo>
                    <a:pt x="191" y="56"/>
                    <a:pt x="193" y="55"/>
                    <a:pt x="194" y="54"/>
                  </a:cubicBezTo>
                  <a:cubicBezTo>
                    <a:pt x="194" y="54"/>
                    <a:pt x="195" y="53"/>
                    <a:pt x="195" y="54"/>
                  </a:cubicBezTo>
                  <a:cubicBezTo>
                    <a:pt x="196" y="56"/>
                    <a:pt x="197" y="58"/>
                    <a:pt x="198" y="59"/>
                  </a:cubicBezTo>
                  <a:cubicBezTo>
                    <a:pt x="198" y="59"/>
                    <a:pt x="199" y="60"/>
                    <a:pt x="201" y="60"/>
                  </a:cubicBezTo>
                  <a:cubicBezTo>
                    <a:pt x="204" y="60"/>
                    <a:pt x="205" y="59"/>
                    <a:pt x="206" y="59"/>
                  </a:cubicBezTo>
                  <a:cubicBezTo>
                    <a:pt x="208" y="60"/>
                    <a:pt x="208" y="60"/>
                    <a:pt x="209" y="61"/>
                  </a:cubicBezTo>
                  <a:cubicBezTo>
                    <a:pt x="209" y="62"/>
                    <a:pt x="208" y="64"/>
                    <a:pt x="211" y="64"/>
                  </a:cubicBezTo>
                  <a:cubicBezTo>
                    <a:pt x="213" y="63"/>
                    <a:pt x="214" y="63"/>
                    <a:pt x="217" y="64"/>
                  </a:cubicBezTo>
                  <a:cubicBezTo>
                    <a:pt x="219" y="66"/>
                    <a:pt x="220" y="68"/>
                    <a:pt x="220" y="70"/>
                  </a:cubicBezTo>
                  <a:cubicBezTo>
                    <a:pt x="219" y="72"/>
                    <a:pt x="218" y="72"/>
                    <a:pt x="218" y="74"/>
                  </a:cubicBezTo>
                  <a:cubicBezTo>
                    <a:pt x="218" y="76"/>
                    <a:pt x="219" y="77"/>
                    <a:pt x="219" y="79"/>
                  </a:cubicBezTo>
                  <a:cubicBezTo>
                    <a:pt x="219" y="81"/>
                    <a:pt x="218" y="84"/>
                    <a:pt x="218" y="85"/>
                  </a:cubicBezTo>
                  <a:cubicBezTo>
                    <a:pt x="218" y="87"/>
                    <a:pt x="217" y="89"/>
                    <a:pt x="216" y="90"/>
                  </a:cubicBezTo>
                  <a:cubicBezTo>
                    <a:pt x="216" y="91"/>
                    <a:pt x="216" y="92"/>
                    <a:pt x="216" y="93"/>
                  </a:cubicBezTo>
                  <a:cubicBezTo>
                    <a:pt x="216" y="93"/>
                    <a:pt x="216" y="94"/>
                    <a:pt x="215" y="95"/>
                  </a:cubicBezTo>
                  <a:cubicBezTo>
                    <a:pt x="214" y="97"/>
                    <a:pt x="213" y="100"/>
                    <a:pt x="214" y="101"/>
                  </a:cubicBezTo>
                  <a:cubicBezTo>
                    <a:pt x="214" y="103"/>
                    <a:pt x="213" y="104"/>
                    <a:pt x="213" y="105"/>
                  </a:cubicBezTo>
                  <a:cubicBezTo>
                    <a:pt x="213" y="106"/>
                    <a:pt x="214" y="106"/>
                    <a:pt x="214" y="107"/>
                  </a:cubicBezTo>
                  <a:cubicBezTo>
                    <a:pt x="214" y="108"/>
                    <a:pt x="214" y="109"/>
                    <a:pt x="214" y="109"/>
                  </a:cubicBezTo>
                  <a:cubicBezTo>
                    <a:pt x="214" y="110"/>
                    <a:pt x="215" y="111"/>
                    <a:pt x="215" y="111"/>
                  </a:cubicBezTo>
                  <a:cubicBezTo>
                    <a:pt x="216" y="107"/>
                    <a:pt x="216" y="107"/>
                    <a:pt x="216" y="107"/>
                  </a:cubicBezTo>
                  <a:cubicBezTo>
                    <a:pt x="216" y="107"/>
                    <a:pt x="217" y="107"/>
                    <a:pt x="217" y="108"/>
                  </a:cubicBezTo>
                  <a:cubicBezTo>
                    <a:pt x="217" y="108"/>
                    <a:pt x="217" y="114"/>
                    <a:pt x="218" y="115"/>
                  </a:cubicBezTo>
                  <a:cubicBezTo>
                    <a:pt x="219" y="117"/>
                    <a:pt x="220" y="118"/>
                    <a:pt x="220" y="118"/>
                  </a:cubicBezTo>
                  <a:cubicBezTo>
                    <a:pt x="221" y="117"/>
                    <a:pt x="222" y="117"/>
                    <a:pt x="222" y="117"/>
                  </a:cubicBezTo>
                  <a:cubicBezTo>
                    <a:pt x="222" y="118"/>
                    <a:pt x="224" y="119"/>
                    <a:pt x="225" y="119"/>
                  </a:cubicBezTo>
                  <a:cubicBezTo>
                    <a:pt x="225" y="120"/>
                    <a:pt x="226" y="119"/>
                    <a:pt x="227" y="120"/>
                  </a:cubicBezTo>
                  <a:cubicBezTo>
                    <a:pt x="228" y="120"/>
                    <a:pt x="228" y="121"/>
                    <a:pt x="229" y="122"/>
                  </a:cubicBezTo>
                  <a:cubicBezTo>
                    <a:pt x="229" y="122"/>
                    <a:pt x="230" y="122"/>
                    <a:pt x="229" y="123"/>
                  </a:cubicBezTo>
                  <a:close/>
                  <a:moveTo>
                    <a:pt x="117" y="26"/>
                  </a:moveTo>
                  <a:cubicBezTo>
                    <a:pt x="119" y="26"/>
                    <a:pt x="121" y="26"/>
                    <a:pt x="122" y="27"/>
                  </a:cubicBezTo>
                  <a:cubicBezTo>
                    <a:pt x="124" y="27"/>
                    <a:pt x="125" y="28"/>
                    <a:pt x="127" y="29"/>
                  </a:cubicBezTo>
                  <a:cubicBezTo>
                    <a:pt x="129" y="29"/>
                    <a:pt x="131" y="29"/>
                    <a:pt x="133" y="30"/>
                  </a:cubicBezTo>
                  <a:cubicBezTo>
                    <a:pt x="135" y="30"/>
                    <a:pt x="137" y="30"/>
                    <a:pt x="139" y="30"/>
                  </a:cubicBezTo>
                  <a:cubicBezTo>
                    <a:pt x="141" y="30"/>
                    <a:pt x="143" y="31"/>
                    <a:pt x="145" y="31"/>
                  </a:cubicBezTo>
                  <a:cubicBezTo>
                    <a:pt x="147" y="31"/>
                    <a:pt x="149" y="31"/>
                    <a:pt x="151" y="31"/>
                  </a:cubicBezTo>
                  <a:cubicBezTo>
                    <a:pt x="154" y="31"/>
                    <a:pt x="158" y="30"/>
                    <a:pt x="161" y="32"/>
                  </a:cubicBezTo>
                  <a:cubicBezTo>
                    <a:pt x="162" y="32"/>
                    <a:pt x="162" y="32"/>
                    <a:pt x="163" y="31"/>
                  </a:cubicBezTo>
                  <a:cubicBezTo>
                    <a:pt x="163" y="31"/>
                    <a:pt x="164" y="30"/>
                    <a:pt x="164" y="29"/>
                  </a:cubicBezTo>
                  <a:cubicBezTo>
                    <a:pt x="165" y="27"/>
                    <a:pt x="166" y="25"/>
                    <a:pt x="168" y="24"/>
                  </a:cubicBezTo>
                  <a:cubicBezTo>
                    <a:pt x="169" y="24"/>
                    <a:pt x="170" y="24"/>
                    <a:pt x="170" y="24"/>
                  </a:cubicBezTo>
                  <a:cubicBezTo>
                    <a:pt x="172" y="24"/>
                    <a:pt x="172" y="23"/>
                    <a:pt x="174" y="24"/>
                  </a:cubicBezTo>
                  <a:cubicBezTo>
                    <a:pt x="175" y="24"/>
                    <a:pt x="177" y="24"/>
                    <a:pt x="178" y="24"/>
                  </a:cubicBezTo>
                  <a:cubicBezTo>
                    <a:pt x="179" y="25"/>
                    <a:pt x="180" y="25"/>
                    <a:pt x="181" y="25"/>
                  </a:cubicBezTo>
                  <a:cubicBezTo>
                    <a:pt x="182" y="25"/>
                    <a:pt x="184" y="25"/>
                    <a:pt x="184" y="25"/>
                  </a:cubicBezTo>
                  <a:cubicBezTo>
                    <a:pt x="185" y="25"/>
                    <a:pt x="185" y="24"/>
                    <a:pt x="185" y="23"/>
                  </a:cubicBezTo>
                  <a:cubicBezTo>
                    <a:pt x="184" y="23"/>
                    <a:pt x="184" y="22"/>
                    <a:pt x="184" y="22"/>
                  </a:cubicBezTo>
                  <a:cubicBezTo>
                    <a:pt x="185" y="21"/>
                    <a:pt x="185" y="20"/>
                    <a:pt x="186" y="19"/>
                  </a:cubicBezTo>
                  <a:cubicBezTo>
                    <a:pt x="187" y="19"/>
                    <a:pt x="188" y="19"/>
                    <a:pt x="188" y="20"/>
                  </a:cubicBezTo>
                  <a:cubicBezTo>
                    <a:pt x="188" y="21"/>
                    <a:pt x="189" y="21"/>
                    <a:pt x="189" y="22"/>
                  </a:cubicBezTo>
                  <a:cubicBezTo>
                    <a:pt x="191" y="23"/>
                    <a:pt x="193" y="24"/>
                    <a:pt x="195" y="23"/>
                  </a:cubicBezTo>
                  <a:cubicBezTo>
                    <a:pt x="196" y="23"/>
                    <a:pt x="196" y="22"/>
                    <a:pt x="196" y="22"/>
                  </a:cubicBezTo>
                  <a:cubicBezTo>
                    <a:pt x="195" y="21"/>
                    <a:pt x="195" y="21"/>
                    <a:pt x="194" y="21"/>
                  </a:cubicBezTo>
                  <a:cubicBezTo>
                    <a:pt x="192" y="21"/>
                    <a:pt x="190" y="21"/>
                    <a:pt x="189" y="20"/>
                  </a:cubicBezTo>
                  <a:cubicBezTo>
                    <a:pt x="188" y="18"/>
                    <a:pt x="190" y="18"/>
                    <a:pt x="191" y="17"/>
                  </a:cubicBezTo>
                  <a:cubicBezTo>
                    <a:pt x="192" y="16"/>
                    <a:pt x="193" y="17"/>
                    <a:pt x="194" y="17"/>
                  </a:cubicBezTo>
                  <a:cubicBezTo>
                    <a:pt x="195" y="17"/>
                    <a:pt x="196" y="16"/>
                    <a:pt x="197" y="15"/>
                  </a:cubicBezTo>
                  <a:cubicBezTo>
                    <a:pt x="197" y="15"/>
                    <a:pt x="198" y="14"/>
                    <a:pt x="199" y="14"/>
                  </a:cubicBezTo>
                  <a:cubicBezTo>
                    <a:pt x="199" y="13"/>
                    <a:pt x="198" y="12"/>
                    <a:pt x="197" y="12"/>
                  </a:cubicBezTo>
                  <a:cubicBezTo>
                    <a:pt x="196" y="11"/>
                    <a:pt x="195" y="11"/>
                    <a:pt x="193" y="10"/>
                  </a:cubicBezTo>
                  <a:cubicBezTo>
                    <a:pt x="192" y="9"/>
                    <a:pt x="190" y="8"/>
                    <a:pt x="189" y="8"/>
                  </a:cubicBezTo>
                  <a:cubicBezTo>
                    <a:pt x="186" y="7"/>
                    <a:pt x="183" y="9"/>
                    <a:pt x="180" y="9"/>
                  </a:cubicBezTo>
                  <a:cubicBezTo>
                    <a:pt x="176" y="9"/>
                    <a:pt x="172" y="9"/>
                    <a:pt x="167" y="9"/>
                  </a:cubicBezTo>
                  <a:cubicBezTo>
                    <a:pt x="162" y="9"/>
                    <a:pt x="156" y="9"/>
                    <a:pt x="151" y="9"/>
                  </a:cubicBezTo>
                  <a:cubicBezTo>
                    <a:pt x="147" y="9"/>
                    <a:pt x="144" y="9"/>
                    <a:pt x="140" y="9"/>
                  </a:cubicBezTo>
                  <a:cubicBezTo>
                    <a:pt x="136" y="9"/>
                    <a:pt x="133" y="9"/>
                    <a:pt x="129" y="9"/>
                  </a:cubicBezTo>
                  <a:cubicBezTo>
                    <a:pt x="126" y="9"/>
                    <a:pt x="123" y="9"/>
                    <a:pt x="120" y="11"/>
                  </a:cubicBezTo>
                  <a:cubicBezTo>
                    <a:pt x="120" y="12"/>
                    <a:pt x="119" y="12"/>
                    <a:pt x="119" y="13"/>
                  </a:cubicBezTo>
                  <a:cubicBezTo>
                    <a:pt x="118" y="14"/>
                    <a:pt x="117" y="15"/>
                    <a:pt x="116" y="16"/>
                  </a:cubicBezTo>
                  <a:cubicBezTo>
                    <a:pt x="116" y="16"/>
                    <a:pt x="115" y="17"/>
                    <a:pt x="114" y="18"/>
                  </a:cubicBezTo>
                  <a:cubicBezTo>
                    <a:pt x="114" y="19"/>
                    <a:pt x="113" y="19"/>
                    <a:pt x="112" y="19"/>
                  </a:cubicBezTo>
                  <a:cubicBezTo>
                    <a:pt x="111" y="19"/>
                    <a:pt x="110" y="19"/>
                    <a:pt x="110" y="20"/>
                  </a:cubicBezTo>
                  <a:cubicBezTo>
                    <a:pt x="110" y="21"/>
                    <a:pt x="111" y="22"/>
                    <a:pt x="111" y="22"/>
                  </a:cubicBezTo>
                  <a:cubicBezTo>
                    <a:pt x="111" y="23"/>
                    <a:pt x="112" y="23"/>
                    <a:pt x="112" y="24"/>
                  </a:cubicBezTo>
                  <a:cubicBezTo>
                    <a:pt x="112" y="25"/>
                    <a:pt x="112" y="26"/>
                    <a:pt x="112" y="26"/>
                  </a:cubicBezTo>
                  <a:cubicBezTo>
                    <a:pt x="114" y="28"/>
                    <a:pt x="116" y="26"/>
                    <a:pt x="117" y="26"/>
                  </a:cubicBezTo>
                  <a:close/>
                </a:path>
              </a:pathLst>
            </a:custGeom>
            <a:solidFill>
              <a:srgbClr val="F8D1E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6" name="Freeform 72">
              <a:extLst>
                <a:ext uri="{FF2B5EF4-FFF2-40B4-BE49-F238E27FC236}">
                  <a16:creationId xmlns:a16="http://schemas.microsoft.com/office/drawing/2014/main" id="{5B406A98-7240-94C8-8731-766FAB0086A3}"/>
                </a:ext>
              </a:extLst>
            </p:cNvPr>
            <p:cNvSpPr>
              <a:spLocks/>
            </p:cNvSpPr>
            <p:nvPr/>
          </p:nvSpPr>
          <p:spPr bwMode="auto">
            <a:xfrm>
              <a:off x="3741738" y="5318125"/>
              <a:ext cx="739775" cy="430212"/>
            </a:xfrm>
            <a:custGeom>
              <a:avLst/>
              <a:gdLst>
                <a:gd name="T0" fmla="*/ 148 w 194"/>
                <a:gd name="T1" fmla="*/ 104 h 113"/>
                <a:gd name="T2" fmla="*/ 154 w 194"/>
                <a:gd name="T3" fmla="*/ 104 h 113"/>
                <a:gd name="T4" fmla="*/ 157 w 194"/>
                <a:gd name="T5" fmla="*/ 101 h 113"/>
                <a:gd name="T6" fmla="*/ 159 w 194"/>
                <a:gd name="T7" fmla="*/ 99 h 113"/>
                <a:gd name="T8" fmla="*/ 165 w 194"/>
                <a:gd name="T9" fmla="*/ 96 h 113"/>
                <a:gd name="T10" fmla="*/ 169 w 194"/>
                <a:gd name="T11" fmla="*/ 93 h 113"/>
                <a:gd name="T12" fmla="*/ 169 w 194"/>
                <a:gd name="T13" fmla="*/ 86 h 113"/>
                <a:gd name="T14" fmla="*/ 164 w 194"/>
                <a:gd name="T15" fmla="*/ 83 h 113"/>
                <a:gd name="T16" fmla="*/ 163 w 194"/>
                <a:gd name="T17" fmla="*/ 74 h 113"/>
                <a:gd name="T18" fmla="*/ 160 w 194"/>
                <a:gd name="T19" fmla="*/ 69 h 113"/>
                <a:gd name="T20" fmla="*/ 160 w 194"/>
                <a:gd name="T21" fmla="*/ 59 h 113"/>
                <a:gd name="T22" fmla="*/ 163 w 194"/>
                <a:gd name="T23" fmla="*/ 53 h 113"/>
                <a:gd name="T24" fmla="*/ 172 w 194"/>
                <a:gd name="T25" fmla="*/ 57 h 113"/>
                <a:gd name="T26" fmla="*/ 180 w 194"/>
                <a:gd name="T27" fmla="*/ 60 h 113"/>
                <a:gd name="T28" fmla="*/ 185 w 194"/>
                <a:gd name="T29" fmla="*/ 50 h 113"/>
                <a:gd name="T30" fmla="*/ 190 w 194"/>
                <a:gd name="T31" fmla="*/ 44 h 113"/>
                <a:gd name="T32" fmla="*/ 189 w 194"/>
                <a:gd name="T33" fmla="*/ 36 h 113"/>
                <a:gd name="T34" fmla="*/ 188 w 194"/>
                <a:gd name="T35" fmla="*/ 31 h 113"/>
                <a:gd name="T36" fmla="*/ 190 w 194"/>
                <a:gd name="T37" fmla="*/ 27 h 113"/>
                <a:gd name="T38" fmla="*/ 194 w 194"/>
                <a:gd name="T39" fmla="*/ 21 h 113"/>
                <a:gd name="T40" fmla="*/ 183 w 194"/>
                <a:gd name="T41" fmla="*/ 14 h 113"/>
                <a:gd name="T42" fmla="*/ 162 w 194"/>
                <a:gd name="T43" fmla="*/ 16 h 113"/>
                <a:gd name="T44" fmla="*/ 154 w 194"/>
                <a:gd name="T45" fmla="*/ 1 h 113"/>
                <a:gd name="T46" fmla="*/ 139 w 194"/>
                <a:gd name="T47" fmla="*/ 1 h 113"/>
                <a:gd name="T48" fmla="*/ 128 w 194"/>
                <a:gd name="T49" fmla="*/ 17 h 113"/>
                <a:gd name="T50" fmla="*/ 124 w 194"/>
                <a:gd name="T51" fmla="*/ 23 h 113"/>
                <a:gd name="T52" fmla="*/ 114 w 194"/>
                <a:gd name="T53" fmla="*/ 34 h 113"/>
                <a:gd name="T54" fmla="*/ 106 w 194"/>
                <a:gd name="T55" fmla="*/ 32 h 113"/>
                <a:gd name="T56" fmla="*/ 94 w 194"/>
                <a:gd name="T57" fmla="*/ 31 h 113"/>
                <a:gd name="T58" fmla="*/ 61 w 194"/>
                <a:gd name="T59" fmla="*/ 25 h 113"/>
                <a:gd name="T60" fmla="*/ 32 w 194"/>
                <a:gd name="T61" fmla="*/ 24 h 113"/>
                <a:gd name="T62" fmla="*/ 22 w 194"/>
                <a:gd name="T63" fmla="*/ 26 h 113"/>
                <a:gd name="T64" fmla="*/ 17 w 194"/>
                <a:gd name="T65" fmla="*/ 25 h 113"/>
                <a:gd name="T66" fmla="*/ 13 w 194"/>
                <a:gd name="T67" fmla="*/ 37 h 113"/>
                <a:gd name="T68" fmla="*/ 11 w 194"/>
                <a:gd name="T69" fmla="*/ 44 h 113"/>
                <a:gd name="T70" fmla="*/ 5 w 194"/>
                <a:gd name="T71" fmla="*/ 46 h 113"/>
                <a:gd name="T72" fmla="*/ 2 w 194"/>
                <a:gd name="T73" fmla="*/ 51 h 113"/>
                <a:gd name="T74" fmla="*/ 0 w 194"/>
                <a:gd name="T75" fmla="*/ 57 h 113"/>
                <a:gd name="T76" fmla="*/ 3 w 194"/>
                <a:gd name="T77" fmla="*/ 59 h 113"/>
                <a:gd name="T78" fmla="*/ 9 w 194"/>
                <a:gd name="T79" fmla="*/ 63 h 113"/>
                <a:gd name="T80" fmla="*/ 10 w 194"/>
                <a:gd name="T81" fmla="*/ 68 h 113"/>
                <a:gd name="T82" fmla="*/ 13 w 194"/>
                <a:gd name="T83" fmla="*/ 78 h 113"/>
                <a:gd name="T84" fmla="*/ 15 w 194"/>
                <a:gd name="T85" fmla="*/ 83 h 113"/>
                <a:gd name="T86" fmla="*/ 25 w 194"/>
                <a:gd name="T87" fmla="*/ 85 h 113"/>
                <a:gd name="T88" fmla="*/ 26 w 194"/>
                <a:gd name="T89" fmla="*/ 82 h 113"/>
                <a:gd name="T90" fmla="*/ 39 w 194"/>
                <a:gd name="T91" fmla="*/ 80 h 113"/>
                <a:gd name="T92" fmla="*/ 55 w 194"/>
                <a:gd name="T93" fmla="*/ 85 h 113"/>
                <a:gd name="T94" fmla="*/ 78 w 194"/>
                <a:gd name="T95" fmla="*/ 88 h 113"/>
                <a:gd name="T96" fmla="*/ 96 w 194"/>
                <a:gd name="T97" fmla="*/ 85 h 113"/>
                <a:gd name="T98" fmla="*/ 100 w 194"/>
                <a:gd name="T99" fmla="*/ 78 h 113"/>
                <a:gd name="T100" fmla="*/ 106 w 194"/>
                <a:gd name="T101" fmla="*/ 80 h 113"/>
                <a:gd name="T102" fmla="*/ 114 w 194"/>
                <a:gd name="T103" fmla="*/ 74 h 113"/>
                <a:gd name="T104" fmla="*/ 120 w 194"/>
                <a:gd name="T105" fmla="*/ 82 h 113"/>
                <a:gd name="T106" fmla="*/ 124 w 194"/>
                <a:gd name="T107" fmla="*/ 86 h 113"/>
                <a:gd name="T108" fmla="*/ 138 w 194"/>
                <a:gd name="T109" fmla="*/ 88 h 113"/>
                <a:gd name="T110" fmla="*/ 136 w 194"/>
                <a:gd name="T111" fmla="*/ 99 h 113"/>
                <a:gd name="T112" fmla="*/ 139 w 194"/>
                <a:gd name="T113" fmla="*/ 109 h 113"/>
                <a:gd name="T114" fmla="*/ 141 w 194"/>
                <a:gd name="T115" fmla="*/ 112 h 113"/>
                <a:gd name="T116" fmla="*/ 145 w 194"/>
                <a:gd name="T11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13">
                  <a:moveTo>
                    <a:pt x="145" y="107"/>
                  </a:moveTo>
                  <a:cubicBezTo>
                    <a:pt x="145" y="107"/>
                    <a:pt x="146" y="106"/>
                    <a:pt x="147" y="106"/>
                  </a:cubicBezTo>
                  <a:cubicBezTo>
                    <a:pt x="147" y="105"/>
                    <a:pt x="148" y="105"/>
                    <a:pt x="148" y="104"/>
                  </a:cubicBezTo>
                  <a:cubicBezTo>
                    <a:pt x="149" y="104"/>
                    <a:pt x="150" y="104"/>
                    <a:pt x="150" y="104"/>
                  </a:cubicBezTo>
                  <a:cubicBezTo>
                    <a:pt x="151" y="104"/>
                    <a:pt x="151" y="105"/>
                    <a:pt x="152" y="105"/>
                  </a:cubicBezTo>
                  <a:cubicBezTo>
                    <a:pt x="153" y="105"/>
                    <a:pt x="153" y="104"/>
                    <a:pt x="154" y="104"/>
                  </a:cubicBezTo>
                  <a:cubicBezTo>
                    <a:pt x="155" y="104"/>
                    <a:pt x="155" y="104"/>
                    <a:pt x="156" y="103"/>
                  </a:cubicBezTo>
                  <a:cubicBezTo>
                    <a:pt x="156" y="103"/>
                    <a:pt x="156" y="102"/>
                    <a:pt x="157" y="102"/>
                  </a:cubicBezTo>
                  <a:cubicBezTo>
                    <a:pt x="157" y="101"/>
                    <a:pt x="157" y="101"/>
                    <a:pt x="157" y="101"/>
                  </a:cubicBezTo>
                  <a:cubicBezTo>
                    <a:pt x="158" y="102"/>
                    <a:pt x="158" y="103"/>
                    <a:pt x="158" y="103"/>
                  </a:cubicBezTo>
                  <a:cubicBezTo>
                    <a:pt x="159" y="103"/>
                    <a:pt x="160" y="102"/>
                    <a:pt x="160" y="102"/>
                  </a:cubicBezTo>
                  <a:cubicBezTo>
                    <a:pt x="160" y="101"/>
                    <a:pt x="159" y="100"/>
                    <a:pt x="159" y="99"/>
                  </a:cubicBezTo>
                  <a:cubicBezTo>
                    <a:pt x="159" y="98"/>
                    <a:pt x="160" y="97"/>
                    <a:pt x="160" y="96"/>
                  </a:cubicBezTo>
                  <a:cubicBezTo>
                    <a:pt x="160" y="95"/>
                    <a:pt x="161" y="95"/>
                    <a:pt x="162" y="94"/>
                  </a:cubicBezTo>
                  <a:cubicBezTo>
                    <a:pt x="163" y="94"/>
                    <a:pt x="164" y="95"/>
                    <a:pt x="165" y="96"/>
                  </a:cubicBezTo>
                  <a:cubicBezTo>
                    <a:pt x="166" y="96"/>
                    <a:pt x="167" y="96"/>
                    <a:pt x="167" y="96"/>
                  </a:cubicBezTo>
                  <a:cubicBezTo>
                    <a:pt x="168" y="96"/>
                    <a:pt x="168" y="95"/>
                    <a:pt x="169" y="95"/>
                  </a:cubicBezTo>
                  <a:cubicBezTo>
                    <a:pt x="169" y="94"/>
                    <a:pt x="169" y="94"/>
                    <a:pt x="169" y="93"/>
                  </a:cubicBezTo>
                  <a:cubicBezTo>
                    <a:pt x="170" y="93"/>
                    <a:pt x="170" y="92"/>
                    <a:pt x="170" y="91"/>
                  </a:cubicBezTo>
                  <a:cubicBezTo>
                    <a:pt x="171" y="91"/>
                    <a:pt x="171" y="90"/>
                    <a:pt x="171" y="90"/>
                  </a:cubicBezTo>
                  <a:cubicBezTo>
                    <a:pt x="171" y="88"/>
                    <a:pt x="168" y="88"/>
                    <a:pt x="169" y="86"/>
                  </a:cubicBezTo>
                  <a:cubicBezTo>
                    <a:pt x="169" y="85"/>
                    <a:pt x="169" y="85"/>
                    <a:pt x="169" y="84"/>
                  </a:cubicBezTo>
                  <a:cubicBezTo>
                    <a:pt x="168" y="84"/>
                    <a:pt x="167" y="84"/>
                    <a:pt x="166" y="84"/>
                  </a:cubicBezTo>
                  <a:cubicBezTo>
                    <a:pt x="165" y="84"/>
                    <a:pt x="165" y="83"/>
                    <a:pt x="164" y="83"/>
                  </a:cubicBezTo>
                  <a:cubicBezTo>
                    <a:pt x="164" y="82"/>
                    <a:pt x="163" y="82"/>
                    <a:pt x="163" y="81"/>
                  </a:cubicBezTo>
                  <a:cubicBezTo>
                    <a:pt x="163" y="80"/>
                    <a:pt x="163" y="80"/>
                    <a:pt x="163" y="79"/>
                  </a:cubicBezTo>
                  <a:cubicBezTo>
                    <a:pt x="163" y="77"/>
                    <a:pt x="164" y="76"/>
                    <a:pt x="163" y="74"/>
                  </a:cubicBezTo>
                  <a:cubicBezTo>
                    <a:pt x="162" y="74"/>
                    <a:pt x="162" y="74"/>
                    <a:pt x="161" y="73"/>
                  </a:cubicBezTo>
                  <a:cubicBezTo>
                    <a:pt x="161" y="72"/>
                    <a:pt x="161" y="71"/>
                    <a:pt x="161" y="71"/>
                  </a:cubicBezTo>
                  <a:cubicBezTo>
                    <a:pt x="161" y="70"/>
                    <a:pt x="161" y="69"/>
                    <a:pt x="160" y="69"/>
                  </a:cubicBezTo>
                  <a:cubicBezTo>
                    <a:pt x="160" y="68"/>
                    <a:pt x="160" y="67"/>
                    <a:pt x="160" y="66"/>
                  </a:cubicBezTo>
                  <a:cubicBezTo>
                    <a:pt x="159" y="65"/>
                    <a:pt x="159" y="64"/>
                    <a:pt x="159" y="64"/>
                  </a:cubicBezTo>
                  <a:cubicBezTo>
                    <a:pt x="159" y="62"/>
                    <a:pt x="160" y="61"/>
                    <a:pt x="160" y="59"/>
                  </a:cubicBezTo>
                  <a:cubicBezTo>
                    <a:pt x="160" y="58"/>
                    <a:pt x="160" y="56"/>
                    <a:pt x="160" y="54"/>
                  </a:cubicBezTo>
                  <a:cubicBezTo>
                    <a:pt x="160" y="54"/>
                    <a:pt x="160" y="52"/>
                    <a:pt x="161" y="52"/>
                  </a:cubicBezTo>
                  <a:cubicBezTo>
                    <a:pt x="162" y="52"/>
                    <a:pt x="162" y="53"/>
                    <a:pt x="163" y="53"/>
                  </a:cubicBezTo>
                  <a:cubicBezTo>
                    <a:pt x="164" y="53"/>
                    <a:pt x="164" y="54"/>
                    <a:pt x="165" y="54"/>
                  </a:cubicBezTo>
                  <a:cubicBezTo>
                    <a:pt x="166" y="55"/>
                    <a:pt x="168" y="55"/>
                    <a:pt x="170" y="56"/>
                  </a:cubicBezTo>
                  <a:cubicBezTo>
                    <a:pt x="170" y="56"/>
                    <a:pt x="171" y="57"/>
                    <a:pt x="172" y="57"/>
                  </a:cubicBezTo>
                  <a:cubicBezTo>
                    <a:pt x="173" y="58"/>
                    <a:pt x="174" y="58"/>
                    <a:pt x="175" y="59"/>
                  </a:cubicBezTo>
                  <a:cubicBezTo>
                    <a:pt x="176" y="59"/>
                    <a:pt x="177" y="60"/>
                    <a:pt x="178" y="60"/>
                  </a:cubicBezTo>
                  <a:cubicBezTo>
                    <a:pt x="178" y="60"/>
                    <a:pt x="179" y="60"/>
                    <a:pt x="180" y="60"/>
                  </a:cubicBezTo>
                  <a:cubicBezTo>
                    <a:pt x="180" y="58"/>
                    <a:pt x="178" y="57"/>
                    <a:pt x="178" y="55"/>
                  </a:cubicBezTo>
                  <a:cubicBezTo>
                    <a:pt x="178" y="54"/>
                    <a:pt x="180" y="53"/>
                    <a:pt x="181" y="53"/>
                  </a:cubicBezTo>
                  <a:cubicBezTo>
                    <a:pt x="183" y="52"/>
                    <a:pt x="184" y="51"/>
                    <a:pt x="185" y="50"/>
                  </a:cubicBezTo>
                  <a:cubicBezTo>
                    <a:pt x="186" y="49"/>
                    <a:pt x="187" y="49"/>
                    <a:pt x="188" y="48"/>
                  </a:cubicBezTo>
                  <a:cubicBezTo>
                    <a:pt x="188" y="47"/>
                    <a:pt x="189" y="47"/>
                    <a:pt x="189" y="46"/>
                  </a:cubicBezTo>
                  <a:cubicBezTo>
                    <a:pt x="189" y="45"/>
                    <a:pt x="190" y="44"/>
                    <a:pt x="190" y="44"/>
                  </a:cubicBezTo>
                  <a:cubicBezTo>
                    <a:pt x="190" y="43"/>
                    <a:pt x="190" y="42"/>
                    <a:pt x="190" y="42"/>
                  </a:cubicBezTo>
                  <a:cubicBezTo>
                    <a:pt x="190" y="41"/>
                    <a:pt x="191" y="39"/>
                    <a:pt x="191" y="38"/>
                  </a:cubicBezTo>
                  <a:cubicBezTo>
                    <a:pt x="191" y="37"/>
                    <a:pt x="190" y="37"/>
                    <a:pt x="189" y="36"/>
                  </a:cubicBezTo>
                  <a:cubicBezTo>
                    <a:pt x="189" y="36"/>
                    <a:pt x="189" y="35"/>
                    <a:pt x="188" y="35"/>
                  </a:cubicBezTo>
                  <a:cubicBezTo>
                    <a:pt x="188" y="34"/>
                    <a:pt x="188" y="34"/>
                    <a:pt x="187" y="34"/>
                  </a:cubicBezTo>
                  <a:cubicBezTo>
                    <a:pt x="187" y="33"/>
                    <a:pt x="187" y="32"/>
                    <a:pt x="188" y="31"/>
                  </a:cubicBezTo>
                  <a:cubicBezTo>
                    <a:pt x="188" y="31"/>
                    <a:pt x="189" y="31"/>
                    <a:pt x="189" y="31"/>
                  </a:cubicBezTo>
                  <a:cubicBezTo>
                    <a:pt x="189" y="30"/>
                    <a:pt x="189" y="29"/>
                    <a:pt x="189" y="29"/>
                  </a:cubicBezTo>
                  <a:cubicBezTo>
                    <a:pt x="189" y="28"/>
                    <a:pt x="189" y="27"/>
                    <a:pt x="190" y="27"/>
                  </a:cubicBezTo>
                  <a:cubicBezTo>
                    <a:pt x="191" y="26"/>
                    <a:pt x="191" y="26"/>
                    <a:pt x="192" y="26"/>
                  </a:cubicBezTo>
                  <a:cubicBezTo>
                    <a:pt x="192" y="25"/>
                    <a:pt x="192" y="24"/>
                    <a:pt x="192" y="23"/>
                  </a:cubicBezTo>
                  <a:cubicBezTo>
                    <a:pt x="193" y="22"/>
                    <a:pt x="193" y="22"/>
                    <a:pt x="194" y="21"/>
                  </a:cubicBezTo>
                  <a:cubicBezTo>
                    <a:pt x="193" y="21"/>
                    <a:pt x="192" y="21"/>
                    <a:pt x="192" y="20"/>
                  </a:cubicBezTo>
                  <a:cubicBezTo>
                    <a:pt x="189" y="19"/>
                    <a:pt x="189" y="17"/>
                    <a:pt x="188" y="15"/>
                  </a:cubicBezTo>
                  <a:cubicBezTo>
                    <a:pt x="186" y="14"/>
                    <a:pt x="183" y="14"/>
                    <a:pt x="183" y="14"/>
                  </a:cubicBezTo>
                  <a:cubicBezTo>
                    <a:pt x="182" y="14"/>
                    <a:pt x="180" y="16"/>
                    <a:pt x="179" y="17"/>
                  </a:cubicBezTo>
                  <a:cubicBezTo>
                    <a:pt x="177" y="18"/>
                    <a:pt x="172" y="19"/>
                    <a:pt x="170" y="19"/>
                  </a:cubicBezTo>
                  <a:cubicBezTo>
                    <a:pt x="168" y="18"/>
                    <a:pt x="164" y="17"/>
                    <a:pt x="162" y="16"/>
                  </a:cubicBezTo>
                  <a:cubicBezTo>
                    <a:pt x="160" y="15"/>
                    <a:pt x="158" y="12"/>
                    <a:pt x="157" y="11"/>
                  </a:cubicBezTo>
                  <a:cubicBezTo>
                    <a:pt x="156" y="9"/>
                    <a:pt x="155" y="7"/>
                    <a:pt x="155" y="6"/>
                  </a:cubicBezTo>
                  <a:cubicBezTo>
                    <a:pt x="154" y="6"/>
                    <a:pt x="154" y="1"/>
                    <a:pt x="154" y="1"/>
                  </a:cubicBezTo>
                  <a:cubicBezTo>
                    <a:pt x="154" y="1"/>
                    <a:pt x="152" y="1"/>
                    <a:pt x="150" y="0"/>
                  </a:cubicBezTo>
                  <a:cubicBezTo>
                    <a:pt x="149" y="0"/>
                    <a:pt x="146" y="0"/>
                    <a:pt x="144" y="0"/>
                  </a:cubicBezTo>
                  <a:cubicBezTo>
                    <a:pt x="143" y="0"/>
                    <a:pt x="140" y="1"/>
                    <a:pt x="139" y="1"/>
                  </a:cubicBezTo>
                  <a:cubicBezTo>
                    <a:pt x="138" y="2"/>
                    <a:pt x="135" y="3"/>
                    <a:pt x="134" y="5"/>
                  </a:cubicBezTo>
                  <a:cubicBezTo>
                    <a:pt x="132" y="6"/>
                    <a:pt x="132" y="8"/>
                    <a:pt x="131" y="10"/>
                  </a:cubicBezTo>
                  <a:cubicBezTo>
                    <a:pt x="130" y="11"/>
                    <a:pt x="129" y="15"/>
                    <a:pt x="128" y="17"/>
                  </a:cubicBezTo>
                  <a:cubicBezTo>
                    <a:pt x="127" y="20"/>
                    <a:pt x="126" y="20"/>
                    <a:pt x="126" y="20"/>
                  </a:cubicBezTo>
                  <a:cubicBezTo>
                    <a:pt x="125" y="20"/>
                    <a:pt x="124" y="20"/>
                    <a:pt x="124" y="21"/>
                  </a:cubicBezTo>
                  <a:cubicBezTo>
                    <a:pt x="124" y="22"/>
                    <a:pt x="124" y="23"/>
                    <a:pt x="124" y="23"/>
                  </a:cubicBezTo>
                  <a:cubicBezTo>
                    <a:pt x="125" y="24"/>
                    <a:pt x="124" y="26"/>
                    <a:pt x="123" y="28"/>
                  </a:cubicBezTo>
                  <a:cubicBezTo>
                    <a:pt x="122" y="29"/>
                    <a:pt x="120" y="32"/>
                    <a:pt x="118" y="33"/>
                  </a:cubicBezTo>
                  <a:cubicBezTo>
                    <a:pt x="117" y="34"/>
                    <a:pt x="115" y="34"/>
                    <a:pt x="114" y="34"/>
                  </a:cubicBezTo>
                  <a:cubicBezTo>
                    <a:pt x="113" y="34"/>
                    <a:pt x="112" y="35"/>
                    <a:pt x="111" y="35"/>
                  </a:cubicBezTo>
                  <a:cubicBezTo>
                    <a:pt x="110" y="35"/>
                    <a:pt x="110" y="35"/>
                    <a:pt x="110" y="34"/>
                  </a:cubicBezTo>
                  <a:cubicBezTo>
                    <a:pt x="109" y="33"/>
                    <a:pt x="108" y="33"/>
                    <a:pt x="106" y="32"/>
                  </a:cubicBezTo>
                  <a:cubicBezTo>
                    <a:pt x="105" y="31"/>
                    <a:pt x="104" y="30"/>
                    <a:pt x="103" y="29"/>
                  </a:cubicBezTo>
                  <a:cubicBezTo>
                    <a:pt x="103" y="28"/>
                    <a:pt x="101" y="27"/>
                    <a:pt x="101" y="28"/>
                  </a:cubicBezTo>
                  <a:cubicBezTo>
                    <a:pt x="100" y="28"/>
                    <a:pt x="96" y="31"/>
                    <a:pt x="94" y="31"/>
                  </a:cubicBezTo>
                  <a:cubicBezTo>
                    <a:pt x="91" y="32"/>
                    <a:pt x="91" y="32"/>
                    <a:pt x="87" y="32"/>
                  </a:cubicBezTo>
                  <a:cubicBezTo>
                    <a:pt x="83" y="32"/>
                    <a:pt x="78" y="30"/>
                    <a:pt x="74" y="29"/>
                  </a:cubicBezTo>
                  <a:cubicBezTo>
                    <a:pt x="70" y="28"/>
                    <a:pt x="63" y="27"/>
                    <a:pt x="61" y="25"/>
                  </a:cubicBezTo>
                  <a:cubicBezTo>
                    <a:pt x="60" y="24"/>
                    <a:pt x="60" y="23"/>
                    <a:pt x="60" y="23"/>
                  </a:cubicBezTo>
                  <a:cubicBezTo>
                    <a:pt x="60" y="23"/>
                    <a:pt x="57" y="27"/>
                    <a:pt x="47" y="29"/>
                  </a:cubicBezTo>
                  <a:cubicBezTo>
                    <a:pt x="33" y="30"/>
                    <a:pt x="32" y="24"/>
                    <a:pt x="32" y="24"/>
                  </a:cubicBezTo>
                  <a:cubicBezTo>
                    <a:pt x="32" y="24"/>
                    <a:pt x="33" y="22"/>
                    <a:pt x="32" y="23"/>
                  </a:cubicBezTo>
                  <a:cubicBezTo>
                    <a:pt x="31" y="23"/>
                    <a:pt x="30" y="24"/>
                    <a:pt x="27" y="25"/>
                  </a:cubicBezTo>
                  <a:cubicBezTo>
                    <a:pt x="25" y="26"/>
                    <a:pt x="24" y="26"/>
                    <a:pt x="22" y="26"/>
                  </a:cubicBezTo>
                  <a:cubicBezTo>
                    <a:pt x="19" y="25"/>
                    <a:pt x="19" y="24"/>
                    <a:pt x="19" y="24"/>
                  </a:cubicBezTo>
                  <a:cubicBezTo>
                    <a:pt x="19" y="23"/>
                    <a:pt x="18" y="23"/>
                    <a:pt x="18" y="22"/>
                  </a:cubicBezTo>
                  <a:cubicBezTo>
                    <a:pt x="18" y="23"/>
                    <a:pt x="17" y="24"/>
                    <a:pt x="17" y="25"/>
                  </a:cubicBezTo>
                  <a:cubicBezTo>
                    <a:pt x="16" y="27"/>
                    <a:pt x="15" y="29"/>
                    <a:pt x="14" y="30"/>
                  </a:cubicBezTo>
                  <a:cubicBezTo>
                    <a:pt x="13" y="32"/>
                    <a:pt x="13" y="33"/>
                    <a:pt x="12" y="35"/>
                  </a:cubicBezTo>
                  <a:cubicBezTo>
                    <a:pt x="12" y="36"/>
                    <a:pt x="13" y="37"/>
                    <a:pt x="13" y="37"/>
                  </a:cubicBezTo>
                  <a:cubicBezTo>
                    <a:pt x="14" y="38"/>
                    <a:pt x="14" y="39"/>
                    <a:pt x="14" y="40"/>
                  </a:cubicBezTo>
                  <a:cubicBezTo>
                    <a:pt x="14" y="41"/>
                    <a:pt x="14" y="42"/>
                    <a:pt x="14" y="43"/>
                  </a:cubicBezTo>
                  <a:cubicBezTo>
                    <a:pt x="13" y="44"/>
                    <a:pt x="12" y="44"/>
                    <a:pt x="11" y="44"/>
                  </a:cubicBezTo>
                  <a:cubicBezTo>
                    <a:pt x="11" y="45"/>
                    <a:pt x="10" y="46"/>
                    <a:pt x="9" y="46"/>
                  </a:cubicBezTo>
                  <a:cubicBezTo>
                    <a:pt x="8" y="47"/>
                    <a:pt x="7" y="47"/>
                    <a:pt x="7" y="47"/>
                  </a:cubicBezTo>
                  <a:cubicBezTo>
                    <a:pt x="6" y="47"/>
                    <a:pt x="6" y="46"/>
                    <a:pt x="5" y="46"/>
                  </a:cubicBezTo>
                  <a:cubicBezTo>
                    <a:pt x="4" y="46"/>
                    <a:pt x="3" y="47"/>
                    <a:pt x="3" y="47"/>
                  </a:cubicBezTo>
                  <a:cubicBezTo>
                    <a:pt x="2" y="47"/>
                    <a:pt x="2" y="47"/>
                    <a:pt x="1" y="48"/>
                  </a:cubicBezTo>
                  <a:cubicBezTo>
                    <a:pt x="1" y="49"/>
                    <a:pt x="1" y="50"/>
                    <a:pt x="2" y="51"/>
                  </a:cubicBezTo>
                  <a:cubicBezTo>
                    <a:pt x="2" y="51"/>
                    <a:pt x="2" y="52"/>
                    <a:pt x="1" y="53"/>
                  </a:cubicBezTo>
                  <a:cubicBezTo>
                    <a:pt x="1" y="54"/>
                    <a:pt x="0" y="54"/>
                    <a:pt x="0" y="55"/>
                  </a:cubicBezTo>
                  <a:cubicBezTo>
                    <a:pt x="0" y="56"/>
                    <a:pt x="0" y="56"/>
                    <a:pt x="0" y="57"/>
                  </a:cubicBezTo>
                  <a:cubicBezTo>
                    <a:pt x="0" y="58"/>
                    <a:pt x="0" y="58"/>
                    <a:pt x="1" y="58"/>
                  </a:cubicBezTo>
                  <a:cubicBezTo>
                    <a:pt x="2" y="58"/>
                    <a:pt x="2" y="58"/>
                    <a:pt x="2" y="58"/>
                  </a:cubicBezTo>
                  <a:cubicBezTo>
                    <a:pt x="2" y="58"/>
                    <a:pt x="2" y="59"/>
                    <a:pt x="3" y="59"/>
                  </a:cubicBezTo>
                  <a:cubicBezTo>
                    <a:pt x="4" y="60"/>
                    <a:pt x="5" y="60"/>
                    <a:pt x="6" y="60"/>
                  </a:cubicBezTo>
                  <a:cubicBezTo>
                    <a:pt x="7" y="60"/>
                    <a:pt x="7" y="60"/>
                    <a:pt x="8" y="61"/>
                  </a:cubicBezTo>
                  <a:cubicBezTo>
                    <a:pt x="8" y="62"/>
                    <a:pt x="8" y="62"/>
                    <a:pt x="9" y="63"/>
                  </a:cubicBezTo>
                  <a:cubicBezTo>
                    <a:pt x="9" y="63"/>
                    <a:pt x="9" y="63"/>
                    <a:pt x="10" y="64"/>
                  </a:cubicBezTo>
                  <a:cubicBezTo>
                    <a:pt x="10" y="64"/>
                    <a:pt x="10" y="65"/>
                    <a:pt x="10" y="65"/>
                  </a:cubicBezTo>
                  <a:cubicBezTo>
                    <a:pt x="11" y="66"/>
                    <a:pt x="10" y="67"/>
                    <a:pt x="10" y="68"/>
                  </a:cubicBezTo>
                  <a:cubicBezTo>
                    <a:pt x="10" y="69"/>
                    <a:pt x="11" y="70"/>
                    <a:pt x="12" y="71"/>
                  </a:cubicBezTo>
                  <a:cubicBezTo>
                    <a:pt x="12" y="72"/>
                    <a:pt x="12" y="73"/>
                    <a:pt x="12" y="75"/>
                  </a:cubicBezTo>
                  <a:cubicBezTo>
                    <a:pt x="12" y="76"/>
                    <a:pt x="13" y="77"/>
                    <a:pt x="13" y="78"/>
                  </a:cubicBezTo>
                  <a:cubicBezTo>
                    <a:pt x="14" y="78"/>
                    <a:pt x="14" y="79"/>
                    <a:pt x="15" y="79"/>
                  </a:cubicBezTo>
                  <a:cubicBezTo>
                    <a:pt x="15" y="79"/>
                    <a:pt x="15" y="80"/>
                    <a:pt x="15" y="80"/>
                  </a:cubicBezTo>
                  <a:cubicBezTo>
                    <a:pt x="15" y="81"/>
                    <a:pt x="15" y="82"/>
                    <a:pt x="15" y="83"/>
                  </a:cubicBezTo>
                  <a:cubicBezTo>
                    <a:pt x="15" y="83"/>
                    <a:pt x="15" y="83"/>
                    <a:pt x="15" y="83"/>
                  </a:cubicBezTo>
                  <a:cubicBezTo>
                    <a:pt x="16" y="83"/>
                    <a:pt x="17" y="83"/>
                    <a:pt x="19" y="84"/>
                  </a:cubicBezTo>
                  <a:cubicBezTo>
                    <a:pt x="21" y="84"/>
                    <a:pt x="24" y="85"/>
                    <a:pt x="25" y="85"/>
                  </a:cubicBezTo>
                  <a:cubicBezTo>
                    <a:pt x="25" y="85"/>
                    <a:pt x="29" y="86"/>
                    <a:pt x="29" y="86"/>
                  </a:cubicBezTo>
                  <a:cubicBezTo>
                    <a:pt x="30" y="86"/>
                    <a:pt x="27" y="84"/>
                    <a:pt x="26" y="83"/>
                  </a:cubicBezTo>
                  <a:cubicBezTo>
                    <a:pt x="25" y="82"/>
                    <a:pt x="26" y="82"/>
                    <a:pt x="26" y="82"/>
                  </a:cubicBezTo>
                  <a:cubicBezTo>
                    <a:pt x="27" y="83"/>
                    <a:pt x="29" y="83"/>
                    <a:pt x="29" y="83"/>
                  </a:cubicBezTo>
                  <a:cubicBezTo>
                    <a:pt x="30" y="82"/>
                    <a:pt x="31" y="81"/>
                    <a:pt x="32" y="81"/>
                  </a:cubicBezTo>
                  <a:cubicBezTo>
                    <a:pt x="32" y="80"/>
                    <a:pt x="36" y="80"/>
                    <a:pt x="39" y="80"/>
                  </a:cubicBezTo>
                  <a:cubicBezTo>
                    <a:pt x="41" y="80"/>
                    <a:pt x="46" y="81"/>
                    <a:pt x="49" y="81"/>
                  </a:cubicBezTo>
                  <a:cubicBezTo>
                    <a:pt x="52" y="82"/>
                    <a:pt x="51" y="83"/>
                    <a:pt x="52" y="84"/>
                  </a:cubicBezTo>
                  <a:cubicBezTo>
                    <a:pt x="53" y="85"/>
                    <a:pt x="53" y="85"/>
                    <a:pt x="55" y="85"/>
                  </a:cubicBezTo>
                  <a:cubicBezTo>
                    <a:pt x="57" y="84"/>
                    <a:pt x="57" y="85"/>
                    <a:pt x="62" y="85"/>
                  </a:cubicBezTo>
                  <a:cubicBezTo>
                    <a:pt x="66" y="86"/>
                    <a:pt x="65" y="85"/>
                    <a:pt x="68" y="86"/>
                  </a:cubicBezTo>
                  <a:cubicBezTo>
                    <a:pt x="72" y="87"/>
                    <a:pt x="75" y="87"/>
                    <a:pt x="78" y="88"/>
                  </a:cubicBezTo>
                  <a:cubicBezTo>
                    <a:pt x="82" y="89"/>
                    <a:pt x="87" y="92"/>
                    <a:pt x="90" y="93"/>
                  </a:cubicBezTo>
                  <a:cubicBezTo>
                    <a:pt x="91" y="92"/>
                    <a:pt x="91" y="91"/>
                    <a:pt x="92" y="90"/>
                  </a:cubicBezTo>
                  <a:cubicBezTo>
                    <a:pt x="93" y="88"/>
                    <a:pt x="95" y="86"/>
                    <a:pt x="96" y="85"/>
                  </a:cubicBezTo>
                  <a:cubicBezTo>
                    <a:pt x="98" y="83"/>
                    <a:pt x="98" y="82"/>
                    <a:pt x="98" y="80"/>
                  </a:cubicBezTo>
                  <a:cubicBezTo>
                    <a:pt x="98" y="80"/>
                    <a:pt x="97" y="78"/>
                    <a:pt x="98" y="78"/>
                  </a:cubicBezTo>
                  <a:cubicBezTo>
                    <a:pt x="98" y="78"/>
                    <a:pt x="99" y="78"/>
                    <a:pt x="100" y="78"/>
                  </a:cubicBezTo>
                  <a:cubicBezTo>
                    <a:pt x="101" y="78"/>
                    <a:pt x="102" y="78"/>
                    <a:pt x="103" y="78"/>
                  </a:cubicBezTo>
                  <a:cubicBezTo>
                    <a:pt x="103" y="78"/>
                    <a:pt x="105" y="77"/>
                    <a:pt x="105" y="78"/>
                  </a:cubicBezTo>
                  <a:cubicBezTo>
                    <a:pt x="106" y="78"/>
                    <a:pt x="105" y="79"/>
                    <a:pt x="106" y="80"/>
                  </a:cubicBezTo>
                  <a:cubicBezTo>
                    <a:pt x="106" y="80"/>
                    <a:pt x="106" y="81"/>
                    <a:pt x="106" y="82"/>
                  </a:cubicBezTo>
                  <a:cubicBezTo>
                    <a:pt x="107" y="80"/>
                    <a:pt x="108" y="77"/>
                    <a:pt x="110" y="76"/>
                  </a:cubicBezTo>
                  <a:cubicBezTo>
                    <a:pt x="111" y="75"/>
                    <a:pt x="112" y="74"/>
                    <a:pt x="114" y="74"/>
                  </a:cubicBezTo>
                  <a:cubicBezTo>
                    <a:pt x="115" y="73"/>
                    <a:pt x="116" y="72"/>
                    <a:pt x="117" y="71"/>
                  </a:cubicBezTo>
                  <a:cubicBezTo>
                    <a:pt x="118" y="73"/>
                    <a:pt x="118" y="75"/>
                    <a:pt x="119" y="77"/>
                  </a:cubicBezTo>
                  <a:cubicBezTo>
                    <a:pt x="119" y="79"/>
                    <a:pt x="119" y="81"/>
                    <a:pt x="120" y="82"/>
                  </a:cubicBezTo>
                  <a:cubicBezTo>
                    <a:pt x="120" y="83"/>
                    <a:pt x="120" y="84"/>
                    <a:pt x="120" y="84"/>
                  </a:cubicBezTo>
                  <a:cubicBezTo>
                    <a:pt x="120" y="85"/>
                    <a:pt x="121" y="85"/>
                    <a:pt x="121" y="86"/>
                  </a:cubicBezTo>
                  <a:cubicBezTo>
                    <a:pt x="122" y="86"/>
                    <a:pt x="123" y="86"/>
                    <a:pt x="124" y="86"/>
                  </a:cubicBezTo>
                  <a:cubicBezTo>
                    <a:pt x="125" y="86"/>
                    <a:pt x="126" y="86"/>
                    <a:pt x="127" y="87"/>
                  </a:cubicBezTo>
                  <a:cubicBezTo>
                    <a:pt x="128" y="87"/>
                    <a:pt x="129" y="87"/>
                    <a:pt x="130" y="87"/>
                  </a:cubicBezTo>
                  <a:cubicBezTo>
                    <a:pt x="133" y="88"/>
                    <a:pt x="135" y="88"/>
                    <a:pt x="138" y="88"/>
                  </a:cubicBezTo>
                  <a:cubicBezTo>
                    <a:pt x="138" y="89"/>
                    <a:pt x="137" y="90"/>
                    <a:pt x="137" y="92"/>
                  </a:cubicBezTo>
                  <a:cubicBezTo>
                    <a:pt x="137" y="93"/>
                    <a:pt x="137" y="94"/>
                    <a:pt x="137" y="95"/>
                  </a:cubicBezTo>
                  <a:cubicBezTo>
                    <a:pt x="136" y="96"/>
                    <a:pt x="136" y="98"/>
                    <a:pt x="136" y="99"/>
                  </a:cubicBezTo>
                  <a:cubicBezTo>
                    <a:pt x="136" y="100"/>
                    <a:pt x="136" y="101"/>
                    <a:pt x="136" y="102"/>
                  </a:cubicBezTo>
                  <a:cubicBezTo>
                    <a:pt x="137" y="103"/>
                    <a:pt x="138" y="105"/>
                    <a:pt x="138" y="107"/>
                  </a:cubicBezTo>
                  <a:cubicBezTo>
                    <a:pt x="138" y="107"/>
                    <a:pt x="138" y="108"/>
                    <a:pt x="139" y="109"/>
                  </a:cubicBezTo>
                  <a:cubicBezTo>
                    <a:pt x="139" y="109"/>
                    <a:pt x="140" y="109"/>
                    <a:pt x="140" y="110"/>
                  </a:cubicBezTo>
                  <a:cubicBezTo>
                    <a:pt x="141" y="110"/>
                    <a:pt x="141" y="111"/>
                    <a:pt x="141" y="112"/>
                  </a:cubicBezTo>
                  <a:cubicBezTo>
                    <a:pt x="141" y="112"/>
                    <a:pt x="141" y="112"/>
                    <a:pt x="141" y="112"/>
                  </a:cubicBezTo>
                  <a:cubicBezTo>
                    <a:pt x="143" y="113"/>
                    <a:pt x="144" y="112"/>
                    <a:pt x="146" y="113"/>
                  </a:cubicBezTo>
                  <a:cubicBezTo>
                    <a:pt x="146" y="112"/>
                    <a:pt x="146" y="111"/>
                    <a:pt x="146" y="110"/>
                  </a:cubicBezTo>
                  <a:cubicBezTo>
                    <a:pt x="145" y="109"/>
                    <a:pt x="145" y="108"/>
                    <a:pt x="145" y="107"/>
                  </a:cubicBezTo>
                  <a:close/>
                </a:path>
              </a:pathLst>
            </a:custGeom>
            <a:solidFill>
              <a:srgbClr val="F8D1E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7" name="Freeform 74">
              <a:extLst>
                <a:ext uri="{FF2B5EF4-FFF2-40B4-BE49-F238E27FC236}">
                  <a16:creationId xmlns:a16="http://schemas.microsoft.com/office/drawing/2014/main" id="{88CA19AA-3E64-3A26-1914-E1D1F0CC0513}"/>
                </a:ext>
              </a:extLst>
            </p:cNvPr>
            <p:cNvSpPr>
              <a:spLocks noEditPoints="1"/>
            </p:cNvSpPr>
            <p:nvPr/>
          </p:nvSpPr>
          <p:spPr bwMode="auto">
            <a:xfrm>
              <a:off x="1990725" y="4357688"/>
              <a:ext cx="642938" cy="750887"/>
            </a:xfrm>
            <a:custGeom>
              <a:avLst/>
              <a:gdLst>
                <a:gd name="T0" fmla="*/ 83 w 169"/>
                <a:gd name="T1" fmla="*/ 191 h 197"/>
                <a:gd name="T2" fmla="*/ 81 w 169"/>
                <a:gd name="T3" fmla="*/ 194 h 197"/>
                <a:gd name="T4" fmla="*/ 80 w 169"/>
                <a:gd name="T5" fmla="*/ 197 h 197"/>
                <a:gd name="T6" fmla="*/ 76 w 169"/>
                <a:gd name="T7" fmla="*/ 196 h 197"/>
                <a:gd name="T8" fmla="*/ 71 w 169"/>
                <a:gd name="T9" fmla="*/ 191 h 197"/>
                <a:gd name="T10" fmla="*/ 65 w 169"/>
                <a:gd name="T11" fmla="*/ 187 h 197"/>
                <a:gd name="T12" fmla="*/ 68 w 169"/>
                <a:gd name="T13" fmla="*/ 185 h 197"/>
                <a:gd name="T14" fmla="*/ 71 w 169"/>
                <a:gd name="T15" fmla="*/ 184 h 197"/>
                <a:gd name="T16" fmla="*/ 75 w 169"/>
                <a:gd name="T17" fmla="*/ 186 h 197"/>
                <a:gd name="T18" fmla="*/ 79 w 169"/>
                <a:gd name="T19" fmla="*/ 188 h 197"/>
                <a:gd name="T20" fmla="*/ 163 w 169"/>
                <a:gd name="T21" fmla="*/ 155 h 197"/>
                <a:gd name="T22" fmla="*/ 158 w 169"/>
                <a:gd name="T23" fmla="*/ 142 h 197"/>
                <a:gd name="T24" fmla="*/ 150 w 169"/>
                <a:gd name="T25" fmla="*/ 139 h 197"/>
                <a:gd name="T26" fmla="*/ 146 w 169"/>
                <a:gd name="T27" fmla="*/ 130 h 197"/>
                <a:gd name="T28" fmla="*/ 138 w 169"/>
                <a:gd name="T29" fmla="*/ 121 h 197"/>
                <a:gd name="T30" fmla="*/ 127 w 169"/>
                <a:gd name="T31" fmla="*/ 121 h 197"/>
                <a:gd name="T32" fmla="*/ 117 w 169"/>
                <a:gd name="T33" fmla="*/ 112 h 197"/>
                <a:gd name="T34" fmla="*/ 121 w 169"/>
                <a:gd name="T35" fmla="*/ 107 h 197"/>
                <a:gd name="T36" fmla="*/ 107 w 169"/>
                <a:gd name="T37" fmla="*/ 102 h 197"/>
                <a:gd name="T38" fmla="*/ 105 w 169"/>
                <a:gd name="T39" fmla="*/ 87 h 197"/>
                <a:gd name="T40" fmla="*/ 113 w 169"/>
                <a:gd name="T41" fmla="*/ 77 h 197"/>
                <a:gd name="T42" fmla="*/ 118 w 169"/>
                <a:gd name="T43" fmla="*/ 77 h 197"/>
                <a:gd name="T44" fmla="*/ 115 w 169"/>
                <a:gd name="T45" fmla="*/ 65 h 197"/>
                <a:gd name="T46" fmla="*/ 106 w 169"/>
                <a:gd name="T47" fmla="*/ 62 h 197"/>
                <a:gd name="T48" fmla="*/ 102 w 169"/>
                <a:gd name="T49" fmla="*/ 63 h 197"/>
                <a:gd name="T50" fmla="*/ 99 w 169"/>
                <a:gd name="T51" fmla="*/ 65 h 197"/>
                <a:gd name="T52" fmla="*/ 87 w 169"/>
                <a:gd name="T53" fmla="*/ 49 h 197"/>
                <a:gd name="T54" fmla="*/ 80 w 169"/>
                <a:gd name="T55" fmla="*/ 48 h 197"/>
                <a:gd name="T56" fmla="*/ 74 w 169"/>
                <a:gd name="T57" fmla="*/ 44 h 197"/>
                <a:gd name="T58" fmla="*/ 68 w 169"/>
                <a:gd name="T59" fmla="*/ 37 h 197"/>
                <a:gd name="T60" fmla="*/ 57 w 169"/>
                <a:gd name="T61" fmla="*/ 27 h 197"/>
                <a:gd name="T62" fmla="*/ 46 w 169"/>
                <a:gd name="T63" fmla="*/ 21 h 197"/>
                <a:gd name="T64" fmla="*/ 29 w 169"/>
                <a:gd name="T65" fmla="*/ 8 h 197"/>
                <a:gd name="T66" fmla="*/ 14 w 169"/>
                <a:gd name="T67" fmla="*/ 3 h 197"/>
                <a:gd name="T68" fmla="*/ 6 w 169"/>
                <a:gd name="T69" fmla="*/ 9 h 197"/>
                <a:gd name="T70" fmla="*/ 0 w 169"/>
                <a:gd name="T71" fmla="*/ 12 h 197"/>
                <a:gd name="T72" fmla="*/ 14 w 169"/>
                <a:gd name="T73" fmla="*/ 25 h 197"/>
                <a:gd name="T74" fmla="*/ 20 w 169"/>
                <a:gd name="T75" fmla="*/ 32 h 197"/>
                <a:gd name="T76" fmla="*/ 27 w 169"/>
                <a:gd name="T77" fmla="*/ 44 h 197"/>
                <a:gd name="T78" fmla="*/ 32 w 169"/>
                <a:gd name="T79" fmla="*/ 53 h 197"/>
                <a:gd name="T80" fmla="*/ 46 w 169"/>
                <a:gd name="T81" fmla="*/ 65 h 197"/>
                <a:gd name="T82" fmla="*/ 56 w 169"/>
                <a:gd name="T83" fmla="*/ 73 h 197"/>
                <a:gd name="T84" fmla="*/ 69 w 169"/>
                <a:gd name="T85" fmla="*/ 81 h 197"/>
                <a:gd name="T86" fmla="*/ 75 w 169"/>
                <a:gd name="T87" fmla="*/ 89 h 197"/>
                <a:gd name="T88" fmla="*/ 77 w 169"/>
                <a:gd name="T89" fmla="*/ 94 h 197"/>
                <a:gd name="T90" fmla="*/ 77 w 169"/>
                <a:gd name="T91" fmla="*/ 99 h 197"/>
                <a:gd name="T92" fmla="*/ 78 w 169"/>
                <a:gd name="T93" fmla="*/ 104 h 197"/>
                <a:gd name="T94" fmla="*/ 90 w 169"/>
                <a:gd name="T95" fmla="*/ 113 h 197"/>
                <a:gd name="T96" fmla="*/ 102 w 169"/>
                <a:gd name="T97" fmla="*/ 121 h 197"/>
                <a:gd name="T98" fmla="*/ 110 w 169"/>
                <a:gd name="T99" fmla="*/ 128 h 197"/>
                <a:gd name="T100" fmla="*/ 116 w 169"/>
                <a:gd name="T101" fmla="*/ 135 h 197"/>
                <a:gd name="T102" fmla="*/ 124 w 169"/>
                <a:gd name="T103" fmla="*/ 139 h 197"/>
                <a:gd name="T104" fmla="*/ 138 w 169"/>
                <a:gd name="T105" fmla="*/ 148 h 197"/>
                <a:gd name="T106" fmla="*/ 140 w 169"/>
                <a:gd name="T107" fmla="*/ 154 h 197"/>
                <a:gd name="T108" fmla="*/ 145 w 169"/>
                <a:gd name="T109" fmla="*/ 155 h 197"/>
                <a:gd name="T110" fmla="*/ 150 w 169"/>
                <a:gd name="T111" fmla="*/ 157 h 197"/>
                <a:gd name="T112" fmla="*/ 157 w 169"/>
                <a:gd name="T113" fmla="*/ 160 h 197"/>
                <a:gd name="T114" fmla="*/ 158 w 169"/>
                <a:gd name="T115" fmla="*/ 15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9" h="197">
                  <a:moveTo>
                    <a:pt x="82" y="189"/>
                  </a:moveTo>
                  <a:cubicBezTo>
                    <a:pt x="83" y="190"/>
                    <a:pt x="83" y="190"/>
                    <a:pt x="83" y="191"/>
                  </a:cubicBezTo>
                  <a:cubicBezTo>
                    <a:pt x="83" y="192"/>
                    <a:pt x="83" y="193"/>
                    <a:pt x="83" y="193"/>
                  </a:cubicBezTo>
                  <a:cubicBezTo>
                    <a:pt x="82" y="194"/>
                    <a:pt x="81" y="193"/>
                    <a:pt x="81" y="194"/>
                  </a:cubicBezTo>
                  <a:cubicBezTo>
                    <a:pt x="80" y="194"/>
                    <a:pt x="83" y="196"/>
                    <a:pt x="82" y="197"/>
                  </a:cubicBezTo>
                  <a:cubicBezTo>
                    <a:pt x="82" y="197"/>
                    <a:pt x="81" y="197"/>
                    <a:pt x="80" y="197"/>
                  </a:cubicBezTo>
                  <a:cubicBezTo>
                    <a:pt x="79" y="197"/>
                    <a:pt x="79" y="196"/>
                    <a:pt x="78" y="196"/>
                  </a:cubicBezTo>
                  <a:cubicBezTo>
                    <a:pt x="77" y="196"/>
                    <a:pt x="77" y="196"/>
                    <a:pt x="76" y="196"/>
                  </a:cubicBezTo>
                  <a:cubicBezTo>
                    <a:pt x="75" y="197"/>
                    <a:pt x="75" y="196"/>
                    <a:pt x="74" y="195"/>
                  </a:cubicBezTo>
                  <a:cubicBezTo>
                    <a:pt x="74" y="193"/>
                    <a:pt x="73" y="192"/>
                    <a:pt x="71" y="191"/>
                  </a:cubicBezTo>
                  <a:cubicBezTo>
                    <a:pt x="70" y="190"/>
                    <a:pt x="68" y="190"/>
                    <a:pt x="66" y="189"/>
                  </a:cubicBezTo>
                  <a:cubicBezTo>
                    <a:pt x="66" y="189"/>
                    <a:pt x="65" y="188"/>
                    <a:pt x="65" y="187"/>
                  </a:cubicBezTo>
                  <a:cubicBezTo>
                    <a:pt x="65" y="186"/>
                    <a:pt x="65" y="186"/>
                    <a:pt x="66" y="185"/>
                  </a:cubicBezTo>
                  <a:cubicBezTo>
                    <a:pt x="67" y="185"/>
                    <a:pt x="67" y="186"/>
                    <a:pt x="68" y="185"/>
                  </a:cubicBezTo>
                  <a:cubicBezTo>
                    <a:pt x="68" y="185"/>
                    <a:pt x="68" y="185"/>
                    <a:pt x="69" y="185"/>
                  </a:cubicBezTo>
                  <a:cubicBezTo>
                    <a:pt x="69" y="184"/>
                    <a:pt x="69" y="183"/>
                    <a:pt x="71" y="184"/>
                  </a:cubicBezTo>
                  <a:cubicBezTo>
                    <a:pt x="71" y="184"/>
                    <a:pt x="72" y="185"/>
                    <a:pt x="72" y="185"/>
                  </a:cubicBezTo>
                  <a:cubicBezTo>
                    <a:pt x="73" y="186"/>
                    <a:pt x="74" y="186"/>
                    <a:pt x="75" y="186"/>
                  </a:cubicBezTo>
                  <a:cubicBezTo>
                    <a:pt x="76" y="186"/>
                    <a:pt x="76" y="187"/>
                    <a:pt x="77" y="188"/>
                  </a:cubicBezTo>
                  <a:cubicBezTo>
                    <a:pt x="78" y="188"/>
                    <a:pt x="79" y="188"/>
                    <a:pt x="79" y="188"/>
                  </a:cubicBezTo>
                  <a:cubicBezTo>
                    <a:pt x="81" y="188"/>
                    <a:pt x="81" y="188"/>
                    <a:pt x="82" y="189"/>
                  </a:cubicBezTo>
                  <a:close/>
                  <a:moveTo>
                    <a:pt x="163" y="155"/>
                  </a:moveTo>
                  <a:cubicBezTo>
                    <a:pt x="166" y="153"/>
                    <a:pt x="169" y="149"/>
                    <a:pt x="163" y="149"/>
                  </a:cubicBezTo>
                  <a:cubicBezTo>
                    <a:pt x="163" y="145"/>
                    <a:pt x="162" y="143"/>
                    <a:pt x="158" y="142"/>
                  </a:cubicBezTo>
                  <a:cubicBezTo>
                    <a:pt x="157" y="140"/>
                    <a:pt x="159" y="136"/>
                    <a:pt x="155" y="138"/>
                  </a:cubicBezTo>
                  <a:cubicBezTo>
                    <a:pt x="153" y="139"/>
                    <a:pt x="153" y="140"/>
                    <a:pt x="150" y="139"/>
                  </a:cubicBezTo>
                  <a:cubicBezTo>
                    <a:pt x="149" y="138"/>
                    <a:pt x="145" y="137"/>
                    <a:pt x="144" y="136"/>
                  </a:cubicBezTo>
                  <a:cubicBezTo>
                    <a:pt x="143" y="134"/>
                    <a:pt x="145" y="132"/>
                    <a:pt x="146" y="130"/>
                  </a:cubicBezTo>
                  <a:cubicBezTo>
                    <a:pt x="148" y="127"/>
                    <a:pt x="147" y="127"/>
                    <a:pt x="144" y="125"/>
                  </a:cubicBezTo>
                  <a:cubicBezTo>
                    <a:pt x="142" y="124"/>
                    <a:pt x="141" y="122"/>
                    <a:pt x="138" y="121"/>
                  </a:cubicBezTo>
                  <a:cubicBezTo>
                    <a:pt x="136" y="120"/>
                    <a:pt x="133" y="119"/>
                    <a:pt x="131" y="119"/>
                  </a:cubicBezTo>
                  <a:cubicBezTo>
                    <a:pt x="130" y="120"/>
                    <a:pt x="128" y="121"/>
                    <a:pt x="127" y="121"/>
                  </a:cubicBezTo>
                  <a:cubicBezTo>
                    <a:pt x="126" y="121"/>
                    <a:pt x="125" y="119"/>
                    <a:pt x="124" y="119"/>
                  </a:cubicBezTo>
                  <a:cubicBezTo>
                    <a:pt x="121" y="117"/>
                    <a:pt x="119" y="115"/>
                    <a:pt x="117" y="112"/>
                  </a:cubicBezTo>
                  <a:cubicBezTo>
                    <a:pt x="116" y="110"/>
                    <a:pt x="114" y="110"/>
                    <a:pt x="116" y="108"/>
                  </a:cubicBezTo>
                  <a:cubicBezTo>
                    <a:pt x="117" y="107"/>
                    <a:pt x="119" y="108"/>
                    <a:pt x="121" y="107"/>
                  </a:cubicBezTo>
                  <a:cubicBezTo>
                    <a:pt x="120" y="106"/>
                    <a:pt x="117" y="105"/>
                    <a:pt x="116" y="104"/>
                  </a:cubicBezTo>
                  <a:cubicBezTo>
                    <a:pt x="113" y="102"/>
                    <a:pt x="110" y="103"/>
                    <a:pt x="107" y="102"/>
                  </a:cubicBezTo>
                  <a:cubicBezTo>
                    <a:pt x="105" y="101"/>
                    <a:pt x="95" y="94"/>
                    <a:pt x="100" y="91"/>
                  </a:cubicBezTo>
                  <a:cubicBezTo>
                    <a:pt x="102" y="89"/>
                    <a:pt x="104" y="90"/>
                    <a:pt x="105" y="87"/>
                  </a:cubicBezTo>
                  <a:cubicBezTo>
                    <a:pt x="106" y="85"/>
                    <a:pt x="107" y="82"/>
                    <a:pt x="108" y="80"/>
                  </a:cubicBezTo>
                  <a:cubicBezTo>
                    <a:pt x="109" y="78"/>
                    <a:pt x="110" y="76"/>
                    <a:pt x="113" y="77"/>
                  </a:cubicBezTo>
                  <a:cubicBezTo>
                    <a:pt x="113" y="77"/>
                    <a:pt x="114" y="78"/>
                    <a:pt x="115" y="79"/>
                  </a:cubicBezTo>
                  <a:cubicBezTo>
                    <a:pt x="117" y="79"/>
                    <a:pt x="117" y="79"/>
                    <a:pt x="118" y="77"/>
                  </a:cubicBezTo>
                  <a:cubicBezTo>
                    <a:pt x="120" y="75"/>
                    <a:pt x="122" y="72"/>
                    <a:pt x="120" y="69"/>
                  </a:cubicBezTo>
                  <a:cubicBezTo>
                    <a:pt x="119" y="67"/>
                    <a:pt x="115" y="68"/>
                    <a:pt x="115" y="65"/>
                  </a:cubicBezTo>
                  <a:cubicBezTo>
                    <a:pt x="113" y="64"/>
                    <a:pt x="111" y="65"/>
                    <a:pt x="109" y="64"/>
                  </a:cubicBezTo>
                  <a:cubicBezTo>
                    <a:pt x="109" y="64"/>
                    <a:pt x="108" y="61"/>
                    <a:pt x="106" y="62"/>
                  </a:cubicBezTo>
                  <a:cubicBezTo>
                    <a:pt x="106" y="62"/>
                    <a:pt x="105" y="63"/>
                    <a:pt x="105" y="63"/>
                  </a:cubicBezTo>
                  <a:cubicBezTo>
                    <a:pt x="104" y="63"/>
                    <a:pt x="103" y="63"/>
                    <a:pt x="102" y="63"/>
                  </a:cubicBezTo>
                  <a:cubicBezTo>
                    <a:pt x="101" y="63"/>
                    <a:pt x="101" y="63"/>
                    <a:pt x="100" y="64"/>
                  </a:cubicBezTo>
                  <a:cubicBezTo>
                    <a:pt x="99" y="64"/>
                    <a:pt x="99" y="65"/>
                    <a:pt x="99" y="65"/>
                  </a:cubicBezTo>
                  <a:cubicBezTo>
                    <a:pt x="96" y="65"/>
                    <a:pt x="91" y="62"/>
                    <a:pt x="90" y="59"/>
                  </a:cubicBezTo>
                  <a:cubicBezTo>
                    <a:pt x="89" y="55"/>
                    <a:pt x="90" y="52"/>
                    <a:pt x="87" y="49"/>
                  </a:cubicBezTo>
                  <a:cubicBezTo>
                    <a:pt x="85" y="47"/>
                    <a:pt x="84" y="47"/>
                    <a:pt x="82" y="47"/>
                  </a:cubicBezTo>
                  <a:cubicBezTo>
                    <a:pt x="81" y="47"/>
                    <a:pt x="81" y="48"/>
                    <a:pt x="80" y="48"/>
                  </a:cubicBezTo>
                  <a:cubicBezTo>
                    <a:pt x="79" y="48"/>
                    <a:pt x="79" y="47"/>
                    <a:pt x="78" y="47"/>
                  </a:cubicBezTo>
                  <a:cubicBezTo>
                    <a:pt x="76" y="46"/>
                    <a:pt x="75" y="46"/>
                    <a:pt x="74" y="44"/>
                  </a:cubicBezTo>
                  <a:cubicBezTo>
                    <a:pt x="74" y="42"/>
                    <a:pt x="74" y="41"/>
                    <a:pt x="72" y="40"/>
                  </a:cubicBezTo>
                  <a:cubicBezTo>
                    <a:pt x="70" y="38"/>
                    <a:pt x="69" y="39"/>
                    <a:pt x="68" y="37"/>
                  </a:cubicBezTo>
                  <a:cubicBezTo>
                    <a:pt x="68" y="35"/>
                    <a:pt x="67" y="33"/>
                    <a:pt x="66" y="32"/>
                  </a:cubicBezTo>
                  <a:cubicBezTo>
                    <a:pt x="64" y="28"/>
                    <a:pt x="61" y="27"/>
                    <a:pt x="57" y="27"/>
                  </a:cubicBezTo>
                  <a:cubicBezTo>
                    <a:pt x="54" y="27"/>
                    <a:pt x="53" y="28"/>
                    <a:pt x="50" y="26"/>
                  </a:cubicBezTo>
                  <a:cubicBezTo>
                    <a:pt x="49" y="24"/>
                    <a:pt x="47" y="23"/>
                    <a:pt x="46" y="21"/>
                  </a:cubicBezTo>
                  <a:cubicBezTo>
                    <a:pt x="41" y="18"/>
                    <a:pt x="40" y="16"/>
                    <a:pt x="34" y="17"/>
                  </a:cubicBezTo>
                  <a:cubicBezTo>
                    <a:pt x="32" y="13"/>
                    <a:pt x="32" y="11"/>
                    <a:pt x="29" y="8"/>
                  </a:cubicBezTo>
                  <a:cubicBezTo>
                    <a:pt x="25" y="4"/>
                    <a:pt x="20" y="2"/>
                    <a:pt x="15" y="0"/>
                  </a:cubicBezTo>
                  <a:cubicBezTo>
                    <a:pt x="15" y="1"/>
                    <a:pt x="14" y="2"/>
                    <a:pt x="14" y="3"/>
                  </a:cubicBezTo>
                  <a:cubicBezTo>
                    <a:pt x="13" y="4"/>
                    <a:pt x="11" y="5"/>
                    <a:pt x="10" y="6"/>
                  </a:cubicBezTo>
                  <a:cubicBezTo>
                    <a:pt x="9" y="7"/>
                    <a:pt x="8" y="8"/>
                    <a:pt x="6" y="9"/>
                  </a:cubicBezTo>
                  <a:cubicBezTo>
                    <a:pt x="5" y="10"/>
                    <a:pt x="3" y="11"/>
                    <a:pt x="2" y="12"/>
                  </a:cubicBezTo>
                  <a:cubicBezTo>
                    <a:pt x="1" y="12"/>
                    <a:pt x="1" y="12"/>
                    <a:pt x="0" y="12"/>
                  </a:cubicBezTo>
                  <a:cubicBezTo>
                    <a:pt x="2" y="15"/>
                    <a:pt x="5" y="19"/>
                    <a:pt x="6" y="19"/>
                  </a:cubicBezTo>
                  <a:cubicBezTo>
                    <a:pt x="7" y="21"/>
                    <a:pt x="12" y="23"/>
                    <a:pt x="14" y="25"/>
                  </a:cubicBezTo>
                  <a:cubicBezTo>
                    <a:pt x="16" y="26"/>
                    <a:pt x="17" y="28"/>
                    <a:pt x="17" y="28"/>
                  </a:cubicBezTo>
                  <a:cubicBezTo>
                    <a:pt x="17" y="28"/>
                    <a:pt x="19" y="31"/>
                    <a:pt x="20" y="32"/>
                  </a:cubicBezTo>
                  <a:cubicBezTo>
                    <a:pt x="20" y="34"/>
                    <a:pt x="23" y="37"/>
                    <a:pt x="23" y="38"/>
                  </a:cubicBezTo>
                  <a:cubicBezTo>
                    <a:pt x="24" y="39"/>
                    <a:pt x="27" y="43"/>
                    <a:pt x="27" y="44"/>
                  </a:cubicBezTo>
                  <a:cubicBezTo>
                    <a:pt x="28" y="44"/>
                    <a:pt x="29" y="46"/>
                    <a:pt x="29" y="47"/>
                  </a:cubicBezTo>
                  <a:cubicBezTo>
                    <a:pt x="30" y="48"/>
                    <a:pt x="31" y="52"/>
                    <a:pt x="32" y="53"/>
                  </a:cubicBezTo>
                  <a:cubicBezTo>
                    <a:pt x="32" y="54"/>
                    <a:pt x="35" y="57"/>
                    <a:pt x="36" y="58"/>
                  </a:cubicBezTo>
                  <a:cubicBezTo>
                    <a:pt x="38" y="59"/>
                    <a:pt x="45" y="64"/>
                    <a:pt x="46" y="65"/>
                  </a:cubicBezTo>
                  <a:cubicBezTo>
                    <a:pt x="48" y="66"/>
                    <a:pt x="50" y="68"/>
                    <a:pt x="51" y="68"/>
                  </a:cubicBezTo>
                  <a:cubicBezTo>
                    <a:pt x="52" y="69"/>
                    <a:pt x="55" y="72"/>
                    <a:pt x="56" y="73"/>
                  </a:cubicBezTo>
                  <a:cubicBezTo>
                    <a:pt x="56" y="73"/>
                    <a:pt x="65" y="77"/>
                    <a:pt x="66" y="78"/>
                  </a:cubicBezTo>
                  <a:cubicBezTo>
                    <a:pt x="66" y="79"/>
                    <a:pt x="69" y="80"/>
                    <a:pt x="69" y="81"/>
                  </a:cubicBezTo>
                  <a:cubicBezTo>
                    <a:pt x="70" y="82"/>
                    <a:pt x="73" y="85"/>
                    <a:pt x="73" y="85"/>
                  </a:cubicBezTo>
                  <a:cubicBezTo>
                    <a:pt x="74" y="86"/>
                    <a:pt x="75" y="88"/>
                    <a:pt x="75" y="89"/>
                  </a:cubicBezTo>
                  <a:cubicBezTo>
                    <a:pt x="76" y="90"/>
                    <a:pt x="75" y="91"/>
                    <a:pt x="75" y="91"/>
                  </a:cubicBezTo>
                  <a:cubicBezTo>
                    <a:pt x="75" y="91"/>
                    <a:pt x="76" y="93"/>
                    <a:pt x="77" y="94"/>
                  </a:cubicBezTo>
                  <a:cubicBezTo>
                    <a:pt x="78" y="95"/>
                    <a:pt x="78" y="96"/>
                    <a:pt x="78" y="98"/>
                  </a:cubicBezTo>
                  <a:cubicBezTo>
                    <a:pt x="78" y="99"/>
                    <a:pt x="78" y="99"/>
                    <a:pt x="77" y="99"/>
                  </a:cubicBezTo>
                  <a:cubicBezTo>
                    <a:pt x="77" y="99"/>
                    <a:pt x="77" y="100"/>
                    <a:pt x="77" y="101"/>
                  </a:cubicBezTo>
                  <a:cubicBezTo>
                    <a:pt x="77" y="102"/>
                    <a:pt x="77" y="103"/>
                    <a:pt x="78" y="104"/>
                  </a:cubicBezTo>
                  <a:cubicBezTo>
                    <a:pt x="79" y="105"/>
                    <a:pt x="81" y="106"/>
                    <a:pt x="82" y="107"/>
                  </a:cubicBezTo>
                  <a:cubicBezTo>
                    <a:pt x="83" y="108"/>
                    <a:pt x="89" y="113"/>
                    <a:pt x="90" y="113"/>
                  </a:cubicBezTo>
                  <a:cubicBezTo>
                    <a:pt x="91" y="114"/>
                    <a:pt x="95" y="116"/>
                    <a:pt x="97" y="117"/>
                  </a:cubicBezTo>
                  <a:cubicBezTo>
                    <a:pt x="98" y="118"/>
                    <a:pt x="102" y="121"/>
                    <a:pt x="102" y="121"/>
                  </a:cubicBezTo>
                  <a:cubicBezTo>
                    <a:pt x="103" y="122"/>
                    <a:pt x="105" y="124"/>
                    <a:pt x="106" y="125"/>
                  </a:cubicBezTo>
                  <a:cubicBezTo>
                    <a:pt x="107" y="126"/>
                    <a:pt x="109" y="128"/>
                    <a:pt x="110" y="128"/>
                  </a:cubicBezTo>
                  <a:cubicBezTo>
                    <a:pt x="111" y="129"/>
                    <a:pt x="114" y="132"/>
                    <a:pt x="114" y="132"/>
                  </a:cubicBezTo>
                  <a:cubicBezTo>
                    <a:pt x="114" y="132"/>
                    <a:pt x="115" y="135"/>
                    <a:pt x="116" y="135"/>
                  </a:cubicBezTo>
                  <a:cubicBezTo>
                    <a:pt x="117" y="136"/>
                    <a:pt x="119" y="136"/>
                    <a:pt x="119" y="136"/>
                  </a:cubicBezTo>
                  <a:cubicBezTo>
                    <a:pt x="120" y="136"/>
                    <a:pt x="124" y="139"/>
                    <a:pt x="124" y="139"/>
                  </a:cubicBezTo>
                  <a:cubicBezTo>
                    <a:pt x="125" y="140"/>
                    <a:pt x="130" y="142"/>
                    <a:pt x="130" y="142"/>
                  </a:cubicBezTo>
                  <a:cubicBezTo>
                    <a:pt x="130" y="142"/>
                    <a:pt x="137" y="148"/>
                    <a:pt x="138" y="148"/>
                  </a:cubicBezTo>
                  <a:cubicBezTo>
                    <a:pt x="139" y="149"/>
                    <a:pt x="139" y="150"/>
                    <a:pt x="140" y="151"/>
                  </a:cubicBezTo>
                  <a:cubicBezTo>
                    <a:pt x="140" y="152"/>
                    <a:pt x="140" y="154"/>
                    <a:pt x="140" y="154"/>
                  </a:cubicBezTo>
                  <a:cubicBezTo>
                    <a:pt x="144" y="153"/>
                    <a:pt x="144" y="153"/>
                    <a:pt x="144" y="153"/>
                  </a:cubicBezTo>
                  <a:cubicBezTo>
                    <a:pt x="144" y="153"/>
                    <a:pt x="145" y="155"/>
                    <a:pt x="145" y="155"/>
                  </a:cubicBezTo>
                  <a:cubicBezTo>
                    <a:pt x="146" y="156"/>
                    <a:pt x="147" y="157"/>
                    <a:pt x="147" y="158"/>
                  </a:cubicBezTo>
                  <a:cubicBezTo>
                    <a:pt x="148" y="158"/>
                    <a:pt x="150" y="157"/>
                    <a:pt x="150" y="157"/>
                  </a:cubicBezTo>
                  <a:cubicBezTo>
                    <a:pt x="150" y="157"/>
                    <a:pt x="154" y="160"/>
                    <a:pt x="154" y="160"/>
                  </a:cubicBezTo>
                  <a:cubicBezTo>
                    <a:pt x="155" y="161"/>
                    <a:pt x="156" y="160"/>
                    <a:pt x="157" y="160"/>
                  </a:cubicBezTo>
                  <a:cubicBezTo>
                    <a:pt x="157" y="159"/>
                    <a:pt x="157" y="159"/>
                    <a:pt x="157" y="159"/>
                  </a:cubicBezTo>
                  <a:cubicBezTo>
                    <a:pt x="157" y="159"/>
                    <a:pt x="157" y="159"/>
                    <a:pt x="158" y="158"/>
                  </a:cubicBezTo>
                  <a:cubicBezTo>
                    <a:pt x="159" y="157"/>
                    <a:pt x="161" y="156"/>
                    <a:pt x="163" y="155"/>
                  </a:cubicBezTo>
                  <a:close/>
                </a:path>
              </a:pathLst>
            </a:custGeom>
            <a:solidFill>
              <a:srgbClr val="F1D6F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8" name="Freeform 76">
              <a:extLst>
                <a:ext uri="{FF2B5EF4-FFF2-40B4-BE49-F238E27FC236}">
                  <a16:creationId xmlns:a16="http://schemas.microsoft.com/office/drawing/2014/main" id="{97E2F52C-8CFD-474A-0848-2102966B7696}"/>
                </a:ext>
              </a:extLst>
            </p:cNvPr>
            <p:cNvSpPr>
              <a:spLocks noEditPoints="1"/>
            </p:cNvSpPr>
            <p:nvPr/>
          </p:nvSpPr>
          <p:spPr bwMode="auto">
            <a:xfrm>
              <a:off x="2932113" y="5192713"/>
              <a:ext cx="392113" cy="266700"/>
            </a:xfrm>
            <a:custGeom>
              <a:avLst/>
              <a:gdLst>
                <a:gd name="T0" fmla="*/ 5 w 103"/>
                <a:gd name="T1" fmla="*/ 47 h 70"/>
                <a:gd name="T2" fmla="*/ 4 w 103"/>
                <a:gd name="T3" fmla="*/ 44 h 70"/>
                <a:gd name="T4" fmla="*/ 0 w 103"/>
                <a:gd name="T5" fmla="*/ 46 h 70"/>
                <a:gd name="T6" fmla="*/ 4 w 103"/>
                <a:gd name="T7" fmla="*/ 42 h 70"/>
                <a:gd name="T8" fmla="*/ 9 w 103"/>
                <a:gd name="T9" fmla="*/ 41 h 70"/>
                <a:gd name="T10" fmla="*/ 9 w 103"/>
                <a:gd name="T11" fmla="*/ 44 h 70"/>
                <a:gd name="T12" fmla="*/ 7 w 103"/>
                <a:gd name="T13" fmla="*/ 48 h 70"/>
                <a:gd name="T14" fmla="*/ 101 w 103"/>
                <a:gd name="T15" fmla="*/ 23 h 70"/>
                <a:gd name="T16" fmla="*/ 98 w 103"/>
                <a:gd name="T17" fmla="*/ 16 h 70"/>
                <a:gd name="T18" fmla="*/ 99 w 103"/>
                <a:gd name="T19" fmla="*/ 12 h 70"/>
                <a:gd name="T20" fmla="*/ 97 w 103"/>
                <a:gd name="T21" fmla="*/ 9 h 70"/>
                <a:gd name="T22" fmla="*/ 91 w 103"/>
                <a:gd name="T23" fmla="*/ 9 h 70"/>
                <a:gd name="T24" fmla="*/ 84 w 103"/>
                <a:gd name="T25" fmla="*/ 10 h 70"/>
                <a:gd name="T26" fmla="*/ 77 w 103"/>
                <a:gd name="T27" fmla="*/ 5 h 70"/>
                <a:gd name="T28" fmla="*/ 71 w 103"/>
                <a:gd name="T29" fmla="*/ 6 h 70"/>
                <a:gd name="T30" fmla="*/ 68 w 103"/>
                <a:gd name="T31" fmla="*/ 10 h 70"/>
                <a:gd name="T32" fmla="*/ 61 w 103"/>
                <a:gd name="T33" fmla="*/ 7 h 70"/>
                <a:gd name="T34" fmla="*/ 59 w 103"/>
                <a:gd name="T35" fmla="*/ 0 h 70"/>
                <a:gd name="T36" fmla="*/ 55 w 103"/>
                <a:gd name="T37" fmla="*/ 6 h 70"/>
                <a:gd name="T38" fmla="*/ 48 w 103"/>
                <a:gd name="T39" fmla="*/ 12 h 70"/>
                <a:gd name="T40" fmla="*/ 44 w 103"/>
                <a:gd name="T41" fmla="*/ 26 h 70"/>
                <a:gd name="T42" fmla="*/ 42 w 103"/>
                <a:gd name="T43" fmla="*/ 38 h 70"/>
                <a:gd name="T44" fmla="*/ 34 w 103"/>
                <a:gd name="T45" fmla="*/ 39 h 70"/>
                <a:gd name="T46" fmla="*/ 32 w 103"/>
                <a:gd name="T47" fmla="*/ 43 h 70"/>
                <a:gd name="T48" fmla="*/ 30 w 103"/>
                <a:gd name="T49" fmla="*/ 49 h 70"/>
                <a:gd name="T50" fmla="*/ 24 w 103"/>
                <a:gd name="T51" fmla="*/ 57 h 70"/>
                <a:gd name="T52" fmla="*/ 18 w 103"/>
                <a:gd name="T53" fmla="*/ 54 h 70"/>
                <a:gd name="T54" fmla="*/ 17 w 103"/>
                <a:gd name="T55" fmla="*/ 49 h 70"/>
                <a:gd name="T56" fmla="*/ 14 w 103"/>
                <a:gd name="T57" fmla="*/ 51 h 70"/>
                <a:gd name="T58" fmla="*/ 9 w 103"/>
                <a:gd name="T59" fmla="*/ 54 h 70"/>
                <a:gd name="T60" fmla="*/ 7 w 103"/>
                <a:gd name="T61" fmla="*/ 57 h 70"/>
                <a:gd name="T62" fmla="*/ 9 w 103"/>
                <a:gd name="T63" fmla="*/ 60 h 70"/>
                <a:gd name="T64" fmla="*/ 17 w 103"/>
                <a:gd name="T65" fmla="*/ 59 h 70"/>
                <a:gd name="T66" fmla="*/ 24 w 103"/>
                <a:gd name="T67" fmla="*/ 62 h 70"/>
                <a:gd name="T68" fmla="*/ 33 w 103"/>
                <a:gd name="T69" fmla="*/ 60 h 70"/>
                <a:gd name="T70" fmla="*/ 41 w 103"/>
                <a:gd name="T71" fmla="*/ 60 h 70"/>
                <a:gd name="T72" fmla="*/ 50 w 103"/>
                <a:gd name="T73" fmla="*/ 59 h 70"/>
                <a:gd name="T74" fmla="*/ 59 w 103"/>
                <a:gd name="T75" fmla="*/ 61 h 70"/>
                <a:gd name="T76" fmla="*/ 71 w 103"/>
                <a:gd name="T77" fmla="*/ 68 h 70"/>
                <a:gd name="T78" fmla="*/ 80 w 103"/>
                <a:gd name="T79" fmla="*/ 69 h 70"/>
                <a:gd name="T80" fmla="*/ 80 w 103"/>
                <a:gd name="T81" fmla="*/ 65 h 70"/>
                <a:gd name="T82" fmla="*/ 85 w 103"/>
                <a:gd name="T83" fmla="*/ 59 h 70"/>
                <a:gd name="T84" fmla="*/ 85 w 103"/>
                <a:gd name="T85" fmla="*/ 54 h 70"/>
                <a:gd name="T86" fmla="*/ 81 w 103"/>
                <a:gd name="T87" fmla="*/ 39 h 70"/>
                <a:gd name="T88" fmla="*/ 82 w 103"/>
                <a:gd name="T89" fmla="*/ 31 h 70"/>
                <a:gd name="T90" fmla="*/ 84 w 103"/>
                <a:gd name="T91" fmla="*/ 27 h 70"/>
                <a:gd name="T92" fmla="*/ 87 w 103"/>
                <a:gd name="T93" fmla="*/ 30 h 70"/>
                <a:gd name="T94" fmla="*/ 91 w 103"/>
                <a:gd name="T95" fmla="*/ 30 h 70"/>
                <a:gd name="T96" fmla="*/ 95 w 103"/>
                <a:gd name="T97" fmla="*/ 30 h 70"/>
                <a:gd name="T98" fmla="*/ 103 w 103"/>
                <a:gd name="T99"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70">
                  <a:moveTo>
                    <a:pt x="7" y="48"/>
                  </a:moveTo>
                  <a:cubicBezTo>
                    <a:pt x="6" y="49"/>
                    <a:pt x="5" y="48"/>
                    <a:pt x="5" y="47"/>
                  </a:cubicBezTo>
                  <a:cubicBezTo>
                    <a:pt x="5" y="46"/>
                    <a:pt x="4" y="45"/>
                    <a:pt x="4" y="44"/>
                  </a:cubicBezTo>
                  <a:cubicBezTo>
                    <a:pt x="4" y="44"/>
                    <a:pt x="4" y="44"/>
                    <a:pt x="4" y="44"/>
                  </a:cubicBezTo>
                  <a:cubicBezTo>
                    <a:pt x="4" y="44"/>
                    <a:pt x="2" y="46"/>
                    <a:pt x="2" y="46"/>
                  </a:cubicBezTo>
                  <a:cubicBezTo>
                    <a:pt x="1" y="46"/>
                    <a:pt x="0" y="46"/>
                    <a:pt x="0" y="46"/>
                  </a:cubicBezTo>
                  <a:cubicBezTo>
                    <a:pt x="0" y="46"/>
                    <a:pt x="1" y="44"/>
                    <a:pt x="2" y="44"/>
                  </a:cubicBezTo>
                  <a:cubicBezTo>
                    <a:pt x="2" y="43"/>
                    <a:pt x="3" y="42"/>
                    <a:pt x="4" y="42"/>
                  </a:cubicBezTo>
                  <a:cubicBezTo>
                    <a:pt x="4" y="42"/>
                    <a:pt x="6" y="42"/>
                    <a:pt x="6" y="41"/>
                  </a:cubicBezTo>
                  <a:cubicBezTo>
                    <a:pt x="7" y="41"/>
                    <a:pt x="9" y="41"/>
                    <a:pt x="9" y="41"/>
                  </a:cubicBezTo>
                  <a:cubicBezTo>
                    <a:pt x="9" y="40"/>
                    <a:pt x="10" y="40"/>
                    <a:pt x="10" y="41"/>
                  </a:cubicBezTo>
                  <a:cubicBezTo>
                    <a:pt x="9" y="41"/>
                    <a:pt x="9" y="43"/>
                    <a:pt x="9" y="44"/>
                  </a:cubicBezTo>
                  <a:cubicBezTo>
                    <a:pt x="9" y="44"/>
                    <a:pt x="9" y="45"/>
                    <a:pt x="9" y="46"/>
                  </a:cubicBezTo>
                  <a:cubicBezTo>
                    <a:pt x="9" y="47"/>
                    <a:pt x="8" y="48"/>
                    <a:pt x="7" y="48"/>
                  </a:cubicBezTo>
                  <a:close/>
                  <a:moveTo>
                    <a:pt x="103" y="27"/>
                  </a:moveTo>
                  <a:cubicBezTo>
                    <a:pt x="103" y="25"/>
                    <a:pt x="102" y="25"/>
                    <a:pt x="101" y="23"/>
                  </a:cubicBezTo>
                  <a:cubicBezTo>
                    <a:pt x="100" y="22"/>
                    <a:pt x="99" y="21"/>
                    <a:pt x="99" y="20"/>
                  </a:cubicBezTo>
                  <a:cubicBezTo>
                    <a:pt x="98" y="18"/>
                    <a:pt x="98" y="17"/>
                    <a:pt x="98" y="16"/>
                  </a:cubicBezTo>
                  <a:cubicBezTo>
                    <a:pt x="98" y="14"/>
                    <a:pt x="99" y="13"/>
                    <a:pt x="100" y="12"/>
                  </a:cubicBezTo>
                  <a:cubicBezTo>
                    <a:pt x="99" y="12"/>
                    <a:pt x="99" y="12"/>
                    <a:pt x="99" y="12"/>
                  </a:cubicBezTo>
                  <a:cubicBezTo>
                    <a:pt x="99" y="11"/>
                    <a:pt x="99" y="10"/>
                    <a:pt x="99" y="10"/>
                  </a:cubicBezTo>
                  <a:cubicBezTo>
                    <a:pt x="99" y="10"/>
                    <a:pt x="98" y="10"/>
                    <a:pt x="97" y="9"/>
                  </a:cubicBezTo>
                  <a:cubicBezTo>
                    <a:pt x="96" y="8"/>
                    <a:pt x="96" y="8"/>
                    <a:pt x="94" y="9"/>
                  </a:cubicBezTo>
                  <a:cubicBezTo>
                    <a:pt x="93" y="10"/>
                    <a:pt x="93" y="9"/>
                    <a:pt x="91" y="9"/>
                  </a:cubicBezTo>
                  <a:cubicBezTo>
                    <a:pt x="90" y="9"/>
                    <a:pt x="89" y="9"/>
                    <a:pt x="88" y="9"/>
                  </a:cubicBezTo>
                  <a:cubicBezTo>
                    <a:pt x="87" y="10"/>
                    <a:pt x="87" y="10"/>
                    <a:pt x="84" y="10"/>
                  </a:cubicBezTo>
                  <a:cubicBezTo>
                    <a:pt x="82" y="10"/>
                    <a:pt x="82" y="10"/>
                    <a:pt x="81" y="8"/>
                  </a:cubicBezTo>
                  <a:cubicBezTo>
                    <a:pt x="80" y="6"/>
                    <a:pt x="78" y="5"/>
                    <a:pt x="77" y="5"/>
                  </a:cubicBezTo>
                  <a:cubicBezTo>
                    <a:pt x="76" y="5"/>
                    <a:pt x="75" y="6"/>
                    <a:pt x="74" y="6"/>
                  </a:cubicBezTo>
                  <a:cubicBezTo>
                    <a:pt x="73" y="6"/>
                    <a:pt x="72" y="6"/>
                    <a:pt x="71" y="6"/>
                  </a:cubicBezTo>
                  <a:cubicBezTo>
                    <a:pt x="70" y="6"/>
                    <a:pt x="70" y="6"/>
                    <a:pt x="70" y="7"/>
                  </a:cubicBezTo>
                  <a:cubicBezTo>
                    <a:pt x="70" y="8"/>
                    <a:pt x="69" y="9"/>
                    <a:pt x="68" y="10"/>
                  </a:cubicBezTo>
                  <a:cubicBezTo>
                    <a:pt x="66" y="10"/>
                    <a:pt x="64" y="8"/>
                    <a:pt x="63" y="8"/>
                  </a:cubicBezTo>
                  <a:cubicBezTo>
                    <a:pt x="63" y="8"/>
                    <a:pt x="62" y="8"/>
                    <a:pt x="61" y="7"/>
                  </a:cubicBezTo>
                  <a:cubicBezTo>
                    <a:pt x="61" y="5"/>
                    <a:pt x="62" y="4"/>
                    <a:pt x="61" y="3"/>
                  </a:cubicBezTo>
                  <a:cubicBezTo>
                    <a:pt x="61" y="2"/>
                    <a:pt x="61" y="1"/>
                    <a:pt x="59" y="0"/>
                  </a:cubicBezTo>
                  <a:cubicBezTo>
                    <a:pt x="56" y="0"/>
                    <a:pt x="56" y="1"/>
                    <a:pt x="55" y="3"/>
                  </a:cubicBezTo>
                  <a:cubicBezTo>
                    <a:pt x="55" y="4"/>
                    <a:pt x="55" y="4"/>
                    <a:pt x="55" y="6"/>
                  </a:cubicBezTo>
                  <a:cubicBezTo>
                    <a:pt x="55" y="8"/>
                    <a:pt x="55" y="7"/>
                    <a:pt x="53" y="9"/>
                  </a:cubicBezTo>
                  <a:cubicBezTo>
                    <a:pt x="51" y="10"/>
                    <a:pt x="50" y="10"/>
                    <a:pt x="48" y="12"/>
                  </a:cubicBezTo>
                  <a:cubicBezTo>
                    <a:pt x="46" y="14"/>
                    <a:pt x="47" y="14"/>
                    <a:pt x="45" y="19"/>
                  </a:cubicBezTo>
                  <a:cubicBezTo>
                    <a:pt x="44" y="23"/>
                    <a:pt x="44" y="23"/>
                    <a:pt x="44" y="26"/>
                  </a:cubicBezTo>
                  <a:cubicBezTo>
                    <a:pt x="43" y="28"/>
                    <a:pt x="44" y="30"/>
                    <a:pt x="44" y="33"/>
                  </a:cubicBezTo>
                  <a:cubicBezTo>
                    <a:pt x="44" y="35"/>
                    <a:pt x="43" y="36"/>
                    <a:pt x="42" y="38"/>
                  </a:cubicBezTo>
                  <a:cubicBezTo>
                    <a:pt x="41" y="41"/>
                    <a:pt x="39" y="40"/>
                    <a:pt x="38" y="40"/>
                  </a:cubicBezTo>
                  <a:cubicBezTo>
                    <a:pt x="36" y="41"/>
                    <a:pt x="36" y="40"/>
                    <a:pt x="34" y="39"/>
                  </a:cubicBezTo>
                  <a:cubicBezTo>
                    <a:pt x="33" y="37"/>
                    <a:pt x="33" y="39"/>
                    <a:pt x="33" y="40"/>
                  </a:cubicBezTo>
                  <a:cubicBezTo>
                    <a:pt x="32" y="41"/>
                    <a:pt x="32" y="42"/>
                    <a:pt x="32" y="43"/>
                  </a:cubicBezTo>
                  <a:cubicBezTo>
                    <a:pt x="31" y="45"/>
                    <a:pt x="32" y="45"/>
                    <a:pt x="31" y="46"/>
                  </a:cubicBezTo>
                  <a:cubicBezTo>
                    <a:pt x="30" y="48"/>
                    <a:pt x="30" y="48"/>
                    <a:pt x="30" y="49"/>
                  </a:cubicBezTo>
                  <a:cubicBezTo>
                    <a:pt x="29" y="50"/>
                    <a:pt x="27" y="51"/>
                    <a:pt x="26" y="52"/>
                  </a:cubicBezTo>
                  <a:cubicBezTo>
                    <a:pt x="25" y="53"/>
                    <a:pt x="25" y="55"/>
                    <a:pt x="24" y="57"/>
                  </a:cubicBezTo>
                  <a:cubicBezTo>
                    <a:pt x="23" y="60"/>
                    <a:pt x="21" y="58"/>
                    <a:pt x="20" y="57"/>
                  </a:cubicBezTo>
                  <a:cubicBezTo>
                    <a:pt x="19" y="56"/>
                    <a:pt x="19" y="55"/>
                    <a:pt x="18" y="54"/>
                  </a:cubicBezTo>
                  <a:cubicBezTo>
                    <a:pt x="17" y="53"/>
                    <a:pt x="17" y="53"/>
                    <a:pt x="18" y="53"/>
                  </a:cubicBezTo>
                  <a:cubicBezTo>
                    <a:pt x="18" y="52"/>
                    <a:pt x="17" y="50"/>
                    <a:pt x="17" y="49"/>
                  </a:cubicBezTo>
                  <a:cubicBezTo>
                    <a:pt x="16" y="48"/>
                    <a:pt x="15" y="49"/>
                    <a:pt x="14" y="50"/>
                  </a:cubicBezTo>
                  <a:cubicBezTo>
                    <a:pt x="14" y="50"/>
                    <a:pt x="14" y="50"/>
                    <a:pt x="14" y="51"/>
                  </a:cubicBezTo>
                  <a:cubicBezTo>
                    <a:pt x="15" y="52"/>
                    <a:pt x="13" y="52"/>
                    <a:pt x="12" y="53"/>
                  </a:cubicBezTo>
                  <a:cubicBezTo>
                    <a:pt x="11" y="53"/>
                    <a:pt x="10" y="54"/>
                    <a:pt x="9" y="54"/>
                  </a:cubicBezTo>
                  <a:cubicBezTo>
                    <a:pt x="8" y="55"/>
                    <a:pt x="9" y="54"/>
                    <a:pt x="8" y="55"/>
                  </a:cubicBezTo>
                  <a:cubicBezTo>
                    <a:pt x="6" y="55"/>
                    <a:pt x="6" y="56"/>
                    <a:pt x="7" y="57"/>
                  </a:cubicBezTo>
                  <a:cubicBezTo>
                    <a:pt x="9" y="59"/>
                    <a:pt x="8" y="58"/>
                    <a:pt x="8" y="59"/>
                  </a:cubicBezTo>
                  <a:cubicBezTo>
                    <a:pt x="9" y="61"/>
                    <a:pt x="9" y="60"/>
                    <a:pt x="9" y="60"/>
                  </a:cubicBezTo>
                  <a:cubicBezTo>
                    <a:pt x="10" y="60"/>
                    <a:pt x="11" y="59"/>
                    <a:pt x="13" y="58"/>
                  </a:cubicBezTo>
                  <a:cubicBezTo>
                    <a:pt x="14" y="57"/>
                    <a:pt x="15" y="58"/>
                    <a:pt x="17" y="59"/>
                  </a:cubicBezTo>
                  <a:cubicBezTo>
                    <a:pt x="19" y="61"/>
                    <a:pt x="19" y="60"/>
                    <a:pt x="21" y="60"/>
                  </a:cubicBezTo>
                  <a:cubicBezTo>
                    <a:pt x="21" y="60"/>
                    <a:pt x="22" y="61"/>
                    <a:pt x="24" y="62"/>
                  </a:cubicBezTo>
                  <a:cubicBezTo>
                    <a:pt x="26" y="62"/>
                    <a:pt x="25" y="62"/>
                    <a:pt x="27" y="62"/>
                  </a:cubicBezTo>
                  <a:cubicBezTo>
                    <a:pt x="29" y="62"/>
                    <a:pt x="31" y="61"/>
                    <a:pt x="33" y="60"/>
                  </a:cubicBezTo>
                  <a:cubicBezTo>
                    <a:pt x="35" y="60"/>
                    <a:pt x="36" y="60"/>
                    <a:pt x="37" y="60"/>
                  </a:cubicBezTo>
                  <a:cubicBezTo>
                    <a:pt x="38" y="60"/>
                    <a:pt x="39" y="61"/>
                    <a:pt x="41" y="60"/>
                  </a:cubicBezTo>
                  <a:cubicBezTo>
                    <a:pt x="42" y="60"/>
                    <a:pt x="44" y="60"/>
                    <a:pt x="46" y="61"/>
                  </a:cubicBezTo>
                  <a:cubicBezTo>
                    <a:pt x="48" y="61"/>
                    <a:pt x="49" y="60"/>
                    <a:pt x="50" y="59"/>
                  </a:cubicBezTo>
                  <a:cubicBezTo>
                    <a:pt x="51" y="58"/>
                    <a:pt x="52" y="58"/>
                    <a:pt x="54" y="58"/>
                  </a:cubicBezTo>
                  <a:cubicBezTo>
                    <a:pt x="57" y="58"/>
                    <a:pt x="58" y="59"/>
                    <a:pt x="59" y="61"/>
                  </a:cubicBezTo>
                  <a:cubicBezTo>
                    <a:pt x="61" y="62"/>
                    <a:pt x="65" y="64"/>
                    <a:pt x="66" y="65"/>
                  </a:cubicBezTo>
                  <a:cubicBezTo>
                    <a:pt x="68" y="66"/>
                    <a:pt x="69" y="66"/>
                    <a:pt x="71" y="68"/>
                  </a:cubicBezTo>
                  <a:cubicBezTo>
                    <a:pt x="72" y="69"/>
                    <a:pt x="76" y="70"/>
                    <a:pt x="78" y="69"/>
                  </a:cubicBezTo>
                  <a:cubicBezTo>
                    <a:pt x="79" y="69"/>
                    <a:pt x="79" y="69"/>
                    <a:pt x="80" y="69"/>
                  </a:cubicBezTo>
                  <a:cubicBezTo>
                    <a:pt x="80" y="68"/>
                    <a:pt x="80" y="68"/>
                    <a:pt x="80" y="67"/>
                  </a:cubicBezTo>
                  <a:cubicBezTo>
                    <a:pt x="80" y="66"/>
                    <a:pt x="80" y="65"/>
                    <a:pt x="80" y="65"/>
                  </a:cubicBezTo>
                  <a:cubicBezTo>
                    <a:pt x="80" y="63"/>
                    <a:pt x="80" y="63"/>
                    <a:pt x="81" y="62"/>
                  </a:cubicBezTo>
                  <a:cubicBezTo>
                    <a:pt x="82" y="61"/>
                    <a:pt x="83" y="60"/>
                    <a:pt x="85" y="59"/>
                  </a:cubicBezTo>
                  <a:cubicBezTo>
                    <a:pt x="85" y="59"/>
                    <a:pt x="86" y="58"/>
                    <a:pt x="87" y="57"/>
                  </a:cubicBezTo>
                  <a:cubicBezTo>
                    <a:pt x="87" y="56"/>
                    <a:pt x="85" y="55"/>
                    <a:pt x="85" y="54"/>
                  </a:cubicBezTo>
                  <a:cubicBezTo>
                    <a:pt x="82" y="51"/>
                    <a:pt x="82" y="47"/>
                    <a:pt x="82" y="44"/>
                  </a:cubicBezTo>
                  <a:cubicBezTo>
                    <a:pt x="82" y="42"/>
                    <a:pt x="81" y="41"/>
                    <a:pt x="81" y="39"/>
                  </a:cubicBezTo>
                  <a:cubicBezTo>
                    <a:pt x="81" y="38"/>
                    <a:pt x="80" y="36"/>
                    <a:pt x="82" y="36"/>
                  </a:cubicBezTo>
                  <a:cubicBezTo>
                    <a:pt x="83" y="34"/>
                    <a:pt x="82" y="33"/>
                    <a:pt x="82" y="31"/>
                  </a:cubicBezTo>
                  <a:cubicBezTo>
                    <a:pt x="82" y="30"/>
                    <a:pt x="82" y="29"/>
                    <a:pt x="83" y="29"/>
                  </a:cubicBezTo>
                  <a:cubicBezTo>
                    <a:pt x="83" y="28"/>
                    <a:pt x="84" y="27"/>
                    <a:pt x="84" y="27"/>
                  </a:cubicBezTo>
                  <a:cubicBezTo>
                    <a:pt x="85" y="28"/>
                    <a:pt x="85" y="30"/>
                    <a:pt x="85" y="31"/>
                  </a:cubicBezTo>
                  <a:cubicBezTo>
                    <a:pt x="86" y="31"/>
                    <a:pt x="86" y="30"/>
                    <a:pt x="87" y="30"/>
                  </a:cubicBezTo>
                  <a:cubicBezTo>
                    <a:pt x="87" y="29"/>
                    <a:pt x="87" y="29"/>
                    <a:pt x="88" y="29"/>
                  </a:cubicBezTo>
                  <a:cubicBezTo>
                    <a:pt x="89" y="29"/>
                    <a:pt x="90" y="29"/>
                    <a:pt x="91" y="30"/>
                  </a:cubicBezTo>
                  <a:cubicBezTo>
                    <a:pt x="92" y="30"/>
                    <a:pt x="92" y="30"/>
                    <a:pt x="92" y="31"/>
                  </a:cubicBezTo>
                  <a:cubicBezTo>
                    <a:pt x="93" y="31"/>
                    <a:pt x="94" y="31"/>
                    <a:pt x="95" y="30"/>
                  </a:cubicBezTo>
                  <a:cubicBezTo>
                    <a:pt x="97" y="30"/>
                    <a:pt x="99" y="30"/>
                    <a:pt x="101" y="30"/>
                  </a:cubicBezTo>
                  <a:cubicBezTo>
                    <a:pt x="102" y="30"/>
                    <a:pt x="103" y="30"/>
                    <a:pt x="103" y="30"/>
                  </a:cubicBezTo>
                  <a:cubicBezTo>
                    <a:pt x="103" y="29"/>
                    <a:pt x="103" y="28"/>
                    <a:pt x="103" y="27"/>
                  </a:cubicBezTo>
                  <a:close/>
                </a:path>
              </a:pathLst>
            </a:custGeom>
            <a:solidFill>
              <a:schemeClr val="accent2">
                <a:lumMod val="10000"/>
                <a:lumOff val="90000"/>
              </a:schemeClr>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99" name="Freeform 78">
              <a:extLst>
                <a:ext uri="{FF2B5EF4-FFF2-40B4-BE49-F238E27FC236}">
                  <a16:creationId xmlns:a16="http://schemas.microsoft.com/office/drawing/2014/main" id="{921376D1-A41D-54EC-E4E5-CA722BE590D1}"/>
                </a:ext>
              </a:extLst>
            </p:cNvPr>
            <p:cNvSpPr>
              <a:spLocks noEditPoints="1"/>
            </p:cNvSpPr>
            <p:nvPr/>
          </p:nvSpPr>
          <p:spPr bwMode="auto">
            <a:xfrm>
              <a:off x="2938463" y="4175125"/>
              <a:ext cx="739775" cy="411162"/>
            </a:xfrm>
            <a:custGeom>
              <a:avLst/>
              <a:gdLst>
                <a:gd name="T0" fmla="*/ 1 w 194"/>
                <a:gd name="T1" fmla="*/ 28 h 108"/>
                <a:gd name="T2" fmla="*/ 17 w 194"/>
                <a:gd name="T3" fmla="*/ 15 h 108"/>
                <a:gd name="T4" fmla="*/ 22 w 194"/>
                <a:gd name="T5" fmla="*/ 5 h 108"/>
                <a:gd name="T6" fmla="*/ 36 w 194"/>
                <a:gd name="T7" fmla="*/ 11 h 108"/>
                <a:gd name="T8" fmla="*/ 43 w 194"/>
                <a:gd name="T9" fmla="*/ 19 h 108"/>
                <a:gd name="T10" fmla="*/ 38 w 194"/>
                <a:gd name="T11" fmla="*/ 7 h 108"/>
                <a:gd name="T12" fmla="*/ 45 w 194"/>
                <a:gd name="T13" fmla="*/ 2 h 108"/>
                <a:gd name="T14" fmla="*/ 55 w 194"/>
                <a:gd name="T15" fmla="*/ 4 h 108"/>
                <a:gd name="T16" fmla="*/ 60 w 194"/>
                <a:gd name="T17" fmla="*/ 17 h 108"/>
                <a:gd name="T18" fmla="*/ 65 w 194"/>
                <a:gd name="T19" fmla="*/ 24 h 108"/>
                <a:gd name="T20" fmla="*/ 67 w 194"/>
                <a:gd name="T21" fmla="*/ 44 h 108"/>
                <a:gd name="T22" fmla="*/ 73 w 194"/>
                <a:gd name="T23" fmla="*/ 56 h 108"/>
                <a:gd name="T24" fmla="*/ 97 w 194"/>
                <a:gd name="T25" fmla="*/ 64 h 108"/>
                <a:gd name="T26" fmla="*/ 98 w 194"/>
                <a:gd name="T27" fmla="*/ 71 h 108"/>
                <a:gd name="T28" fmla="*/ 93 w 194"/>
                <a:gd name="T29" fmla="*/ 90 h 108"/>
                <a:gd name="T30" fmla="*/ 99 w 194"/>
                <a:gd name="T31" fmla="*/ 93 h 108"/>
                <a:gd name="T32" fmla="*/ 91 w 194"/>
                <a:gd name="T33" fmla="*/ 97 h 108"/>
                <a:gd name="T34" fmla="*/ 81 w 194"/>
                <a:gd name="T35" fmla="*/ 91 h 108"/>
                <a:gd name="T36" fmla="*/ 73 w 194"/>
                <a:gd name="T37" fmla="*/ 87 h 108"/>
                <a:gd name="T38" fmla="*/ 63 w 194"/>
                <a:gd name="T39" fmla="*/ 84 h 108"/>
                <a:gd name="T40" fmla="*/ 51 w 194"/>
                <a:gd name="T41" fmla="*/ 79 h 108"/>
                <a:gd name="T42" fmla="*/ 48 w 194"/>
                <a:gd name="T43" fmla="*/ 67 h 108"/>
                <a:gd name="T44" fmla="*/ 43 w 194"/>
                <a:gd name="T45" fmla="*/ 52 h 108"/>
                <a:gd name="T46" fmla="*/ 42 w 194"/>
                <a:gd name="T47" fmla="*/ 42 h 108"/>
                <a:gd name="T48" fmla="*/ 32 w 194"/>
                <a:gd name="T49" fmla="*/ 38 h 108"/>
                <a:gd name="T50" fmla="*/ 23 w 194"/>
                <a:gd name="T51" fmla="*/ 37 h 108"/>
                <a:gd name="T52" fmla="*/ 18 w 194"/>
                <a:gd name="T53" fmla="*/ 39 h 108"/>
                <a:gd name="T54" fmla="*/ 8 w 194"/>
                <a:gd name="T55" fmla="*/ 35 h 108"/>
                <a:gd name="T56" fmla="*/ 103 w 194"/>
                <a:gd name="T57" fmla="*/ 85 h 108"/>
                <a:gd name="T58" fmla="*/ 98 w 194"/>
                <a:gd name="T59" fmla="*/ 89 h 108"/>
                <a:gd name="T60" fmla="*/ 105 w 194"/>
                <a:gd name="T61" fmla="*/ 94 h 108"/>
                <a:gd name="T62" fmla="*/ 109 w 194"/>
                <a:gd name="T63" fmla="*/ 90 h 108"/>
                <a:gd name="T64" fmla="*/ 106 w 194"/>
                <a:gd name="T65" fmla="*/ 87 h 108"/>
                <a:gd name="T66" fmla="*/ 151 w 194"/>
                <a:gd name="T67" fmla="*/ 91 h 108"/>
                <a:gd name="T68" fmla="*/ 155 w 194"/>
                <a:gd name="T69" fmla="*/ 106 h 108"/>
                <a:gd name="T70" fmla="*/ 167 w 194"/>
                <a:gd name="T71" fmla="*/ 99 h 108"/>
                <a:gd name="T72" fmla="*/ 172 w 194"/>
                <a:gd name="T73" fmla="*/ 100 h 108"/>
                <a:gd name="T74" fmla="*/ 180 w 194"/>
                <a:gd name="T75" fmla="*/ 107 h 108"/>
                <a:gd name="T76" fmla="*/ 183 w 194"/>
                <a:gd name="T77" fmla="*/ 103 h 108"/>
                <a:gd name="T78" fmla="*/ 190 w 194"/>
                <a:gd name="T79" fmla="*/ 93 h 108"/>
                <a:gd name="T80" fmla="*/ 191 w 194"/>
                <a:gd name="T81" fmla="*/ 76 h 108"/>
                <a:gd name="T82" fmla="*/ 182 w 194"/>
                <a:gd name="T83" fmla="*/ 68 h 108"/>
                <a:gd name="T84" fmla="*/ 176 w 194"/>
                <a:gd name="T85" fmla="*/ 66 h 108"/>
                <a:gd name="T86" fmla="*/ 168 w 194"/>
                <a:gd name="T87" fmla="*/ 65 h 108"/>
                <a:gd name="T88" fmla="*/ 156 w 194"/>
                <a:gd name="T89" fmla="*/ 66 h 108"/>
                <a:gd name="T90" fmla="*/ 153 w 194"/>
                <a:gd name="T91" fmla="*/ 73 h 108"/>
                <a:gd name="T92" fmla="*/ 152 w 194"/>
                <a:gd name="T93" fmla="*/ 83 h 108"/>
                <a:gd name="T94" fmla="*/ 140 w 194"/>
                <a:gd name="T95" fmla="*/ 88 h 108"/>
                <a:gd name="T96" fmla="*/ 143 w 194"/>
                <a:gd name="T97" fmla="*/ 88 h 108"/>
                <a:gd name="T98" fmla="*/ 144 w 194"/>
                <a:gd name="T99" fmla="*/ 82 h 108"/>
                <a:gd name="T100" fmla="*/ 139 w 194"/>
                <a:gd name="T101" fmla="*/ 80 h 108"/>
                <a:gd name="T102" fmla="*/ 137 w 194"/>
                <a:gd name="T103" fmla="*/ 8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108">
                  <a:moveTo>
                    <a:pt x="1" y="34"/>
                  </a:moveTo>
                  <a:cubicBezTo>
                    <a:pt x="1" y="33"/>
                    <a:pt x="0" y="33"/>
                    <a:pt x="1" y="32"/>
                  </a:cubicBezTo>
                  <a:cubicBezTo>
                    <a:pt x="1" y="31"/>
                    <a:pt x="2" y="31"/>
                    <a:pt x="2" y="30"/>
                  </a:cubicBezTo>
                  <a:cubicBezTo>
                    <a:pt x="2" y="30"/>
                    <a:pt x="1" y="29"/>
                    <a:pt x="1" y="28"/>
                  </a:cubicBezTo>
                  <a:cubicBezTo>
                    <a:pt x="2" y="27"/>
                    <a:pt x="3" y="27"/>
                    <a:pt x="4" y="27"/>
                  </a:cubicBezTo>
                  <a:cubicBezTo>
                    <a:pt x="6" y="26"/>
                    <a:pt x="8" y="25"/>
                    <a:pt x="11" y="24"/>
                  </a:cubicBezTo>
                  <a:cubicBezTo>
                    <a:pt x="14" y="23"/>
                    <a:pt x="19" y="21"/>
                    <a:pt x="18" y="17"/>
                  </a:cubicBezTo>
                  <a:cubicBezTo>
                    <a:pt x="18" y="16"/>
                    <a:pt x="18" y="15"/>
                    <a:pt x="17" y="15"/>
                  </a:cubicBezTo>
                  <a:cubicBezTo>
                    <a:pt x="17" y="14"/>
                    <a:pt x="15" y="14"/>
                    <a:pt x="15" y="13"/>
                  </a:cubicBezTo>
                  <a:cubicBezTo>
                    <a:pt x="14" y="11"/>
                    <a:pt x="16" y="10"/>
                    <a:pt x="17" y="9"/>
                  </a:cubicBezTo>
                  <a:cubicBezTo>
                    <a:pt x="18" y="8"/>
                    <a:pt x="18" y="7"/>
                    <a:pt x="19" y="6"/>
                  </a:cubicBezTo>
                  <a:cubicBezTo>
                    <a:pt x="21" y="6"/>
                    <a:pt x="21" y="5"/>
                    <a:pt x="22" y="5"/>
                  </a:cubicBezTo>
                  <a:cubicBezTo>
                    <a:pt x="23" y="4"/>
                    <a:pt x="25" y="5"/>
                    <a:pt x="26" y="4"/>
                  </a:cubicBezTo>
                  <a:cubicBezTo>
                    <a:pt x="27" y="4"/>
                    <a:pt x="28" y="2"/>
                    <a:pt x="29" y="2"/>
                  </a:cubicBezTo>
                  <a:cubicBezTo>
                    <a:pt x="30" y="5"/>
                    <a:pt x="31" y="8"/>
                    <a:pt x="35" y="8"/>
                  </a:cubicBezTo>
                  <a:cubicBezTo>
                    <a:pt x="37" y="9"/>
                    <a:pt x="37" y="10"/>
                    <a:pt x="36" y="11"/>
                  </a:cubicBezTo>
                  <a:cubicBezTo>
                    <a:pt x="35" y="12"/>
                    <a:pt x="34" y="13"/>
                    <a:pt x="34" y="14"/>
                  </a:cubicBezTo>
                  <a:cubicBezTo>
                    <a:pt x="34" y="16"/>
                    <a:pt x="35" y="17"/>
                    <a:pt x="37" y="17"/>
                  </a:cubicBezTo>
                  <a:cubicBezTo>
                    <a:pt x="38" y="17"/>
                    <a:pt x="40" y="16"/>
                    <a:pt x="41" y="18"/>
                  </a:cubicBezTo>
                  <a:cubicBezTo>
                    <a:pt x="42" y="18"/>
                    <a:pt x="42" y="19"/>
                    <a:pt x="43" y="19"/>
                  </a:cubicBezTo>
                  <a:cubicBezTo>
                    <a:pt x="44" y="17"/>
                    <a:pt x="41" y="15"/>
                    <a:pt x="40" y="14"/>
                  </a:cubicBezTo>
                  <a:cubicBezTo>
                    <a:pt x="38" y="12"/>
                    <a:pt x="40" y="11"/>
                    <a:pt x="40" y="9"/>
                  </a:cubicBezTo>
                  <a:cubicBezTo>
                    <a:pt x="39" y="9"/>
                    <a:pt x="39" y="9"/>
                    <a:pt x="38" y="9"/>
                  </a:cubicBezTo>
                  <a:cubicBezTo>
                    <a:pt x="38" y="8"/>
                    <a:pt x="38" y="7"/>
                    <a:pt x="38" y="7"/>
                  </a:cubicBezTo>
                  <a:cubicBezTo>
                    <a:pt x="38" y="6"/>
                    <a:pt x="38" y="5"/>
                    <a:pt x="38" y="5"/>
                  </a:cubicBezTo>
                  <a:cubicBezTo>
                    <a:pt x="38" y="4"/>
                    <a:pt x="38" y="3"/>
                    <a:pt x="38" y="3"/>
                  </a:cubicBezTo>
                  <a:cubicBezTo>
                    <a:pt x="38" y="2"/>
                    <a:pt x="40" y="3"/>
                    <a:pt x="40" y="3"/>
                  </a:cubicBezTo>
                  <a:cubicBezTo>
                    <a:pt x="42" y="3"/>
                    <a:pt x="44" y="2"/>
                    <a:pt x="45" y="2"/>
                  </a:cubicBezTo>
                  <a:cubicBezTo>
                    <a:pt x="46" y="2"/>
                    <a:pt x="48" y="0"/>
                    <a:pt x="49" y="1"/>
                  </a:cubicBezTo>
                  <a:cubicBezTo>
                    <a:pt x="50" y="1"/>
                    <a:pt x="50" y="2"/>
                    <a:pt x="50" y="2"/>
                  </a:cubicBezTo>
                  <a:cubicBezTo>
                    <a:pt x="50" y="3"/>
                    <a:pt x="51" y="3"/>
                    <a:pt x="52" y="3"/>
                  </a:cubicBezTo>
                  <a:cubicBezTo>
                    <a:pt x="52" y="4"/>
                    <a:pt x="54" y="3"/>
                    <a:pt x="55" y="4"/>
                  </a:cubicBezTo>
                  <a:cubicBezTo>
                    <a:pt x="55" y="4"/>
                    <a:pt x="57" y="5"/>
                    <a:pt x="57" y="6"/>
                  </a:cubicBezTo>
                  <a:cubicBezTo>
                    <a:pt x="58" y="8"/>
                    <a:pt x="55" y="10"/>
                    <a:pt x="57" y="13"/>
                  </a:cubicBezTo>
                  <a:cubicBezTo>
                    <a:pt x="57" y="14"/>
                    <a:pt x="59" y="14"/>
                    <a:pt x="59" y="15"/>
                  </a:cubicBezTo>
                  <a:cubicBezTo>
                    <a:pt x="60" y="15"/>
                    <a:pt x="59" y="16"/>
                    <a:pt x="60" y="17"/>
                  </a:cubicBezTo>
                  <a:cubicBezTo>
                    <a:pt x="60" y="17"/>
                    <a:pt x="61" y="17"/>
                    <a:pt x="62" y="18"/>
                  </a:cubicBezTo>
                  <a:cubicBezTo>
                    <a:pt x="63" y="19"/>
                    <a:pt x="62" y="20"/>
                    <a:pt x="63" y="21"/>
                  </a:cubicBezTo>
                  <a:cubicBezTo>
                    <a:pt x="63" y="22"/>
                    <a:pt x="63" y="22"/>
                    <a:pt x="64" y="23"/>
                  </a:cubicBezTo>
                  <a:cubicBezTo>
                    <a:pt x="64" y="23"/>
                    <a:pt x="65" y="23"/>
                    <a:pt x="65" y="24"/>
                  </a:cubicBezTo>
                  <a:cubicBezTo>
                    <a:pt x="66" y="26"/>
                    <a:pt x="65" y="29"/>
                    <a:pt x="65" y="30"/>
                  </a:cubicBezTo>
                  <a:cubicBezTo>
                    <a:pt x="64" y="32"/>
                    <a:pt x="64" y="33"/>
                    <a:pt x="64" y="35"/>
                  </a:cubicBezTo>
                  <a:cubicBezTo>
                    <a:pt x="65" y="37"/>
                    <a:pt x="66" y="38"/>
                    <a:pt x="66" y="40"/>
                  </a:cubicBezTo>
                  <a:cubicBezTo>
                    <a:pt x="67" y="41"/>
                    <a:pt x="67" y="43"/>
                    <a:pt x="67" y="44"/>
                  </a:cubicBezTo>
                  <a:cubicBezTo>
                    <a:pt x="68" y="46"/>
                    <a:pt x="68" y="47"/>
                    <a:pt x="69" y="49"/>
                  </a:cubicBezTo>
                  <a:cubicBezTo>
                    <a:pt x="69" y="51"/>
                    <a:pt x="70" y="51"/>
                    <a:pt x="70" y="52"/>
                  </a:cubicBezTo>
                  <a:cubicBezTo>
                    <a:pt x="71" y="53"/>
                    <a:pt x="71" y="54"/>
                    <a:pt x="71" y="55"/>
                  </a:cubicBezTo>
                  <a:cubicBezTo>
                    <a:pt x="72" y="55"/>
                    <a:pt x="73" y="56"/>
                    <a:pt x="73" y="56"/>
                  </a:cubicBezTo>
                  <a:cubicBezTo>
                    <a:pt x="74" y="58"/>
                    <a:pt x="75" y="59"/>
                    <a:pt x="77" y="59"/>
                  </a:cubicBezTo>
                  <a:cubicBezTo>
                    <a:pt x="79" y="60"/>
                    <a:pt x="80" y="59"/>
                    <a:pt x="82" y="59"/>
                  </a:cubicBezTo>
                  <a:cubicBezTo>
                    <a:pt x="84" y="60"/>
                    <a:pt x="85" y="62"/>
                    <a:pt x="87" y="62"/>
                  </a:cubicBezTo>
                  <a:cubicBezTo>
                    <a:pt x="91" y="63"/>
                    <a:pt x="94" y="64"/>
                    <a:pt x="97" y="64"/>
                  </a:cubicBezTo>
                  <a:cubicBezTo>
                    <a:pt x="99" y="65"/>
                    <a:pt x="102" y="64"/>
                    <a:pt x="104" y="65"/>
                  </a:cubicBezTo>
                  <a:cubicBezTo>
                    <a:pt x="105" y="66"/>
                    <a:pt x="105" y="66"/>
                    <a:pt x="106" y="66"/>
                  </a:cubicBezTo>
                  <a:cubicBezTo>
                    <a:pt x="105" y="67"/>
                    <a:pt x="103" y="67"/>
                    <a:pt x="102" y="68"/>
                  </a:cubicBezTo>
                  <a:cubicBezTo>
                    <a:pt x="101" y="68"/>
                    <a:pt x="99" y="69"/>
                    <a:pt x="98" y="71"/>
                  </a:cubicBezTo>
                  <a:cubicBezTo>
                    <a:pt x="97" y="72"/>
                    <a:pt x="95" y="74"/>
                    <a:pt x="95" y="75"/>
                  </a:cubicBezTo>
                  <a:cubicBezTo>
                    <a:pt x="94" y="77"/>
                    <a:pt x="93" y="80"/>
                    <a:pt x="92" y="82"/>
                  </a:cubicBezTo>
                  <a:cubicBezTo>
                    <a:pt x="92" y="83"/>
                    <a:pt x="91" y="85"/>
                    <a:pt x="91" y="87"/>
                  </a:cubicBezTo>
                  <a:cubicBezTo>
                    <a:pt x="91" y="88"/>
                    <a:pt x="91" y="89"/>
                    <a:pt x="93" y="90"/>
                  </a:cubicBezTo>
                  <a:cubicBezTo>
                    <a:pt x="94" y="90"/>
                    <a:pt x="95" y="90"/>
                    <a:pt x="95" y="90"/>
                  </a:cubicBezTo>
                  <a:cubicBezTo>
                    <a:pt x="96" y="91"/>
                    <a:pt x="96" y="91"/>
                    <a:pt x="97" y="92"/>
                  </a:cubicBezTo>
                  <a:cubicBezTo>
                    <a:pt x="97" y="92"/>
                    <a:pt x="98" y="92"/>
                    <a:pt x="99" y="92"/>
                  </a:cubicBezTo>
                  <a:cubicBezTo>
                    <a:pt x="100" y="93"/>
                    <a:pt x="99" y="93"/>
                    <a:pt x="99" y="93"/>
                  </a:cubicBezTo>
                  <a:cubicBezTo>
                    <a:pt x="99" y="94"/>
                    <a:pt x="99" y="94"/>
                    <a:pt x="99" y="95"/>
                  </a:cubicBezTo>
                  <a:cubicBezTo>
                    <a:pt x="99" y="96"/>
                    <a:pt x="100" y="97"/>
                    <a:pt x="99" y="98"/>
                  </a:cubicBezTo>
                  <a:cubicBezTo>
                    <a:pt x="99" y="98"/>
                    <a:pt x="98" y="99"/>
                    <a:pt x="97" y="98"/>
                  </a:cubicBezTo>
                  <a:cubicBezTo>
                    <a:pt x="95" y="98"/>
                    <a:pt x="93" y="97"/>
                    <a:pt x="91" y="97"/>
                  </a:cubicBezTo>
                  <a:cubicBezTo>
                    <a:pt x="89" y="98"/>
                    <a:pt x="87" y="100"/>
                    <a:pt x="85" y="97"/>
                  </a:cubicBezTo>
                  <a:cubicBezTo>
                    <a:pt x="85" y="97"/>
                    <a:pt x="85" y="96"/>
                    <a:pt x="85" y="96"/>
                  </a:cubicBezTo>
                  <a:cubicBezTo>
                    <a:pt x="85" y="95"/>
                    <a:pt x="85" y="95"/>
                    <a:pt x="84" y="95"/>
                  </a:cubicBezTo>
                  <a:cubicBezTo>
                    <a:pt x="83" y="94"/>
                    <a:pt x="82" y="92"/>
                    <a:pt x="81" y="91"/>
                  </a:cubicBezTo>
                  <a:cubicBezTo>
                    <a:pt x="80" y="90"/>
                    <a:pt x="78" y="90"/>
                    <a:pt x="76" y="90"/>
                  </a:cubicBezTo>
                  <a:cubicBezTo>
                    <a:pt x="76" y="90"/>
                    <a:pt x="76" y="90"/>
                    <a:pt x="75" y="90"/>
                  </a:cubicBezTo>
                  <a:cubicBezTo>
                    <a:pt x="75" y="89"/>
                    <a:pt x="75" y="89"/>
                    <a:pt x="74" y="88"/>
                  </a:cubicBezTo>
                  <a:cubicBezTo>
                    <a:pt x="74" y="88"/>
                    <a:pt x="73" y="87"/>
                    <a:pt x="73" y="87"/>
                  </a:cubicBezTo>
                  <a:cubicBezTo>
                    <a:pt x="72" y="87"/>
                    <a:pt x="71" y="86"/>
                    <a:pt x="71" y="86"/>
                  </a:cubicBezTo>
                  <a:cubicBezTo>
                    <a:pt x="70" y="85"/>
                    <a:pt x="69" y="85"/>
                    <a:pt x="68" y="85"/>
                  </a:cubicBezTo>
                  <a:cubicBezTo>
                    <a:pt x="67" y="85"/>
                    <a:pt x="66" y="84"/>
                    <a:pt x="65" y="84"/>
                  </a:cubicBezTo>
                  <a:cubicBezTo>
                    <a:pt x="64" y="84"/>
                    <a:pt x="63" y="84"/>
                    <a:pt x="63" y="84"/>
                  </a:cubicBezTo>
                  <a:cubicBezTo>
                    <a:pt x="62" y="84"/>
                    <a:pt x="62" y="83"/>
                    <a:pt x="62" y="83"/>
                  </a:cubicBezTo>
                  <a:cubicBezTo>
                    <a:pt x="60" y="82"/>
                    <a:pt x="59" y="82"/>
                    <a:pt x="57" y="81"/>
                  </a:cubicBezTo>
                  <a:cubicBezTo>
                    <a:pt x="56" y="81"/>
                    <a:pt x="54" y="81"/>
                    <a:pt x="53" y="81"/>
                  </a:cubicBezTo>
                  <a:cubicBezTo>
                    <a:pt x="52" y="80"/>
                    <a:pt x="51" y="80"/>
                    <a:pt x="51" y="79"/>
                  </a:cubicBezTo>
                  <a:cubicBezTo>
                    <a:pt x="51" y="78"/>
                    <a:pt x="51" y="78"/>
                    <a:pt x="50" y="77"/>
                  </a:cubicBezTo>
                  <a:cubicBezTo>
                    <a:pt x="49" y="76"/>
                    <a:pt x="50" y="74"/>
                    <a:pt x="49" y="72"/>
                  </a:cubicBezTo>
                  <a:cubicBezTo>
                    <a:pt x="49" y="71"/>
                    <a:pt x="48" y="71"/>
                    <a:pt x="48" y="70"/>
                  </a:cubicBezTo>
                  <a:cubicBezTo>
                    <a:pt x="48" y="69"/>
                    <a:pt x="48" y="68"/>
                    <a:pt x="48" y="67"/>
                  </a:cubicBezTo>
                  <a:cubicBezTo>
                    <a:pt x="48" y="66"/>
                    <a:pt x="49" y="65"/>
                    <a:pt x="50" y="63"/>
                  </a:cubicBezTo>
                  <a:cubicBezTo>
                    <a:pt x="51" y="62"/>
                    <a:pt x="51" y="61"/>
                    <a:pt x="50" y="60"/>
                  </a:cubicBezTo>
                  <a:cubicBezTo>
                    <a:pt x="49" y="57"/>
                    <a:pt x="45" y="57"/>
                    <a:pt x="44" y="54"/>
                  </a:cubicBezTo>
                  <a:cubicBezTo>
                    <a:pt x="44" y="54"/>
                    <a:pt x="43" y="53"/>
                    <a:pt x="43" y="52"/>
                  </a:cubicBezTo>
                  <a:cubicBezTo>
                    <a:pt x="43" y="52"/>
                    <a:pt x="44" y="51"/>
                    <a:pt x="44" y="51"/>
                  </a:cubicBezTo>
                  <a:cubicBezTo>
                    <a:pt x="44" y="49"/>
                    <a:pt x="43" y="48"/>
                    <a:pt x="42" y="47"/>
                  </a:cubicBezTo>
                  <a:cubicBezTo>
                    <a:pt x="42" y="46"/>
                    <a:pt x="42" y="45"/>
                    <a:pt x="42" y="44"/>
                  </a:cubicBezTo>
                  <a:cubicBezTo>
                    <a:pt x="42" y="44"/>
                    <a:pt x="42" y="43"/>
                    <a:pt x="42" y="42"/>
                  </a:cubicBezTo>
                  <a:cubicBezTo>
                    <a:pt x="42" y="41"/>
                    <a:pt x="40" y="40"/>
                    <a:pt x="39" y="40"/>
                  </a:cubicBezTo>
                  <a:cubicBezTo>
                    <a:pt x="38" y="39"/>
                    <a:pt x="38" y="38"/>
                    <a:pt x="36" y="38"/>
                  </a:cubicBezTo>
                  <a:cubicBezTo>
                    <a:pt x="35" y="38"/>
                    <a:pt x="35" y="38"/>
                    <a:pt x="34" y="38"/>
                  </a:cubicBezTo>
                  <a:cubicBezTo>
                    <a:pt x="33" y="39"/>
                    <a:pt x="33" y="38"/>
                    <a:pt x="32" y="38"/>
                  </a:cubicBezTo>
                  <a:cubicBezTo>
                    <a:pt x="31" y="38"/>
                    <a:pt x="30" y="38"/>
                    <a:pt x="30" y="38"/>
                  </a:cubicBezTo>
                  <a:cubicBezTo>
                    <a:pt x="29" y="38"/>
                    <a:pt x="29" y="37"/>
                    <a:pt x="29" y="37"/>
                  </a:cubicBezTo>
                  <a:cubicBezTo>
                    <a:pt x="28" y="35"/>
                    <a:pt x="26" y="35"/>
                    <a:pt x="25" y="36"/>
                  </a:cubicBezTo>
                  <a:cubicBezTo>
                    <a:pt x="24" y="36"/>
                    <a:pt x="23" y="36"/>
                    <a:pt x="23" y="37"/>
                  </a:cubicBezTo>
                  <a:cubicBezTo>
                    <a:pt x="22" y="37"/>
                    <a:pt x="22" y="38"/>
                    <a:pt x="22" y="38"/>
                  </a:cubicBezTo>
                  <a:cubicBezTo>
                    <a:pt x="21" y="39"/>
                    <a:pt x="21" y="39"/>
                    <a:pt x="20" y="39"/>
                  </a:cubicBezTo>
                  <a:cubicBezTo>
                    <a:pt x="19" y="38"/>
                    <a:pt x="19" y="38"/>
                    <a:pt x="19" y="38"/>
                  </a:cubicBezTo>
                  <a:cubicBezTo>
                    <a:pt x="19" y="38"/>
                    <a:pt x="18" y="38"/>
                    <a:pt x="18" y="39"/>
                  </a:cubicBezTo>
                  <a:cubicBezTo>
                    <a:pt x="16" y="39"/>
                    <a:pt x="14" y="38"/>
                    <a:pt x="13" y="39"/>
                  </a:cubicBezTo>
                  <a:cubicBezTo>
                    <a:pt x="12" y="40"/>
                    <a:pt x="12" y="40"/>
                    <a:pt x="11" y="39"/>
                  </a:cubicBezTo>
                  <a:cubicBezTo>
                    <a:pt x="11" y="38"/>
                    <a:pt x="10" y="38"/>
                    <a:pt x="10" y="37"/>
                  </a:cubicBezTo>
                  <a:cubicBezTo>
                    <a:pt x="9" y="36"/>
                    <a:pt x="8" y="35"/>
                    <a:pt x="8" y="35"/>
                  </a:cubicBezTo>
                  <a:cubicBezTo>
                    <a:pt x="7" y="35"/>
                    <a:pt x="5" y="35"/>
                    <a:pt x="5" y="35"/>
                  </a:cubicBezTo>
                  <a:cubicBezTo>
                    <a:pt x="3" y="36"/>
                    <a:pt x="1" y="36"/>
                    <a:pt x="1" y="34"/>
                  </a:cubicBezTo>
                  <a:close/>
                  <a:moveTo>
                    <a:pt x="104" y="85"/>
                  </a:moveTo>
                  <a:cubicBezTo>
                    <a:pt x="103" y="85"/>
                    <a:pt x="103" y="85"/>
                    <a:pt x="103" y="85"/>
                  </a:cubicBezTo>
                  <a:cubicBezTo>
                    <a:pt x="103" y="86"/>
                    <a:pt x="102" y="86"/>
                    <a:pt x="102" y="87"/>
                  </a:cubicBezTo>
                  <a:cubicBezTo>
                    <a:pt x="101" y="87"/>
                    <a:pt x="101" y="87"/>
                    <a:pt x="100" y="87"/>
                  </a:cubicBezTo>
                  <a:cubicBezTo>
                    <a:pt x="100" y="88"/>
                    <a:pt x="99" y="88"/>
                    <a:pt x="99" y="88"/>
                  </a:cubicBezTo>
                  <a:cubicBezTo>
                    <a:pt x="98" y="89"/>
                    <a:pt x="98" y="89"/>
                    <a:pt x="98" y="89"/>
                  </a:cubicBezTo>
                  <a:cubicBezTo>
                    <a:pt x="98" y="90"/>
                    <a:pt x="98" y="90"/>
                    <a:pt x="99" y="91"/>
                  </a:cubicBezTo>
                  <a:cubicBezTo>
                    <a:pt x="100" y="91"/>
                    <a:pt x="100" y="91"/>
                    <a:pt x="101" y="91"/>
                  </a:cubicBezTo>
                  <a:cubicBezTo>
                    <a:pt x="102" y="92"/>
                    <a:pt x="103" y="92"/>
                    <a:pt x="104" y="93"/>
                  </a:cubicBezTo>
                  <a:cubicBezTo>
                    <a:pt x="105" y="94"/>
                    <a:pt x="105" y="94"/>
                    <a:pt x="105" y="94"/>
                  </a:cubicBezTo>
                  <a:cubicBezTo>
                    <a:pt x="105" y="94"/>
                    <a:pt x="105" y="94"/>
                    <a:pt x="105" y="94"/>
                  </a:cubicBezTo>
                  <a:cubicBezTo>
                    <a:pt x="106" y="94"/>
                    <a:pt x="107" y="94"/>
                    <a:pt x="108" y="94"/>
                  </a:cubicBezTo>
                  <a:cubicBezTo>
                    <a:pt x="108" y="94"/>
                    <a:pt x="109" y="92"/>
                    <a:pt x="109" y="91"/>
                  </a:cubicBezTo>
                  <a:cubicBezTo>
                    <a:pt x="109" y="91"/>
                    <a:pt x="109" y="90"/>
                    <a:pt x="109" y="90"/>
                  </a:cubicBezTo>
                  <a:cubicBezTo>
                    <a:pt x="110" y="90"/>
                    <a:pt x="110" y="89"/>
                    <a:pt x="110" y="89"/>
                  </a:cubicBezTo>
                  <a:cubicBezTo>
                    <a:pt x="110" y="88"/>
                    <a:pt x="110" y="88"/>
                    <a:pt x="110" y="88"/>
                  </a:cubicBezTo>
                  <a:cubicBezTo>
                    <a:pt x="109" y="88"/>
                    <a:pt x="109" y="88"/>
                    <a:pt x="108" y="88"/>
                  </a:cubicBezTo>
                  <a:cubicBezTo>
                    <a:pt x="108" y="88"/>
                    <a:pt x="107" y="87"/>
                    <a:pt x="106" y="87"/>
                  </a:cubicBezTo>
                  <a:cubicBezTo>
                    <a:pt x="106" y="86"/>
                    <a:pt x="105" y="86"/>
                    <a:pt x="105" y="86"/>
                  </a:cubicBezTo>
                  <a:lnTo>
                    <a:pt x="104" y="85"/>
                  </a:lnTo>
                  <a:close/>
                  <a:moveTo>
                    <a:pt x="151" y="87"/>
                  </a:moveTo>
                  <a:cubicBezTo>
                    <a:pt x="153" y="87"/>
                    <a:pt x="151" y="90"/>
                    <a:pt x="151" y="91"/>
                  </a:cubicBezTo>
                  <a:cubicBezTo>
                    <a:pt x="150" y="93"/>
                    <a:pt x="151" y="95"/>
                    <a:pt x="151" y="96"/>
                  </a:cubicBezTo>
                  <a:cubicBezTo>
                    <a:pt x="152" y="98"/>
                    <a:pt x="154" y="100"/>
                    <a:pt x="153" y="102"/>
                  </a:cubicBezTo>
                  <a:cubicBezTo>
                    <a:pt x="152" y="103"/>
                    <a:pt x="151" y="104"/>
                    <a:pt x="151" y="106"/>
                  </a:cubicBezTo>
                  <a:cubicBezTo>
                    <a:pt x="152" y="107"/>
                    <a:pt x="154" y="106"/>
                    <a:pt x="155" y="106"/>
                  </a:cubicBezTo>
                  <a:cubicBezTo>
                    <a:pt x="156" y="106"/>
                    <a:pt x="158" y="104"/>
                    <a:pt x="159" y="104"/>
                  </a:cubicBezTo>
                  <a:cubicBezTo>
                    <a:pt x="161" y="103"/>
                    <a:pt x="163" y="104"/>
                    <a:pt x="164" y="103"/>
                  </a:cubicBezTo>
                  <a:cubicBezTo>
                    <a:pt x="165" y="102"/>
                    <a:pt x="167" y="101"/>
                    <a:pt x="168" y="100"/>
                  </a:cubicBezTo>
                  <a:cubicBezTo>
                    <a:pt x="168" y="100"/>
                    <a:pt x="167" y="99"/>
                    <a:pt x="167" y="99"/>
                  </a:cubicBezTo>
                  <a:cubicBezTo>
                    <a:pt x="166" y="98"/>
                    <a:pt x="165" y="98"/>
                    <a:pt x="166" y="97"/>
                  </a:cubicBezTo>
                  <a:cubicBezTo>
                    <a:pt x="166" y="95"/>
                    <a:pt x="168" y="95"/>
                    <a:pt x="169" y="96"/>
                  </a:cubicBezTo>
                  <a:cubicBezTo>
                    <a:pt x="170" y="97"/>
                    <a:pt x="169" y="98"/>
                    <a:pt x="170" y="99"/>
                  </a:cubicBezTo>
                  <a:cubicBezTo>
                    <a:pt x="170" y="100"/>
                    <a:pt x="171" y="100"/>
                    <a:pt x="172" y="100"/>
                  </a:cubicBezTo>
                  <a:cubicBezTo>
                    <a:pt x="173" y="101"/>
                    <a:pt x="175" y="103"/>
                    <a:pt x="175" y="104"/>
                  </a:cubicBezTo>
                  <a:cubicBezTo>
                    <a:pt x="175" y="105"/>
                    <a:pt x="174" y="106"/>
                    <a:pt x="175" y="107"/>
                  </a:cubicBezTo>
                  <a:cubicBezTo>
                    <a:pt x="176" y="108"/>
                    <a:pt x="176" y="108"/>
                    <a:pt x="177" y="107"/>
                  </a:cubicBezTo>
                  <a:cubicBezTo>
                    <a:pt x="178" y="107"/>
                    <a:pt x="179" y="107"/>
                    <a:pt x="180" y="107"/>
                  </a:cubicBezTo>
                  <a:cubicBezTo>
                    <a:pt x="181" y="107"/>
                    <a:pt x="181" y="107"/>
                    <a:pt x="182" y="106"/>
                  </a:cubicBezTo>
                  <a:cubicBezTo>
                    <a:pt x="182" y="105"/>
                    <a:pt x="181" y="105"/>
                    <a:pt x="181" y="104"/>
                  </a:cubicBezTo>
                  <a:cubicBezTo>
                    <a:pt x="181" y="104"/>
                    <a:pt x="181" y="104"/>
                    <a:pt x="181" y="104"/>
                  </a:cubicBezTo>
                  <a:cubicBezTo>
                    <a:pt x="181" y="103"/>
                    <a:pt x="182" y="103"/>
                    <a:pt x="183" y="103"/>
                  </a:cubicBezTo>
                  <a:cubicBezTo>
                    <a:pt x="184" y="103"/>
                    <a:pt x="184" y="102"/>
                    <a:pt x="185" y="102"/>
                  </a:cubicBezTo>
                  <a:cubicBezTo>
                    <a:pt x="186" y="102"/>
                    <a:pt x="187" y="102"/>
                    <a:pt x="188" y="102"/>
                  </a:cubicBezTo>
                  <a:cubicBezTo>
                    <a:pt x="189" y="101"/>
                    <a:pt x="188" y="99"/>
                    <a:pt x="189" y="98"/>
                  </a:cubicBezTo>
                  <a:cubicBezTo>
                    <a:pt x="189" y="96"/>
                    <a:pt x="189" y="95"/>
                    <a:pt x="190" y="93"/>
                  </a:cubicBezTo>
                  <a:cubicBezTo>
                    <a:pt x="190" y="91"/>
                    <a:pt x="191" y="90"/>
                    <a:pt x="192" y="89"/>
                  </a:cubicBezTo>
                  <a:cubicBezTo>
                    <a:pt x="192" y="87"/>
                    <a:pt x="193" y="86"/>
                    <a:pt x="194" y="85"/>
                  </a:cubicBezTo>
                  <a:cubicBezTo>
                    <a:pt x="194" y="83"/>
                    <a:pt x="194" y="81"/>
                    <a:pt x="194" y="80"/>
                  </a:cubicBezTo>
                  <a:cubicBezTo>
                    <a:pt x="194" y="78"/>
                    <a:pt x="193" y="77"/>
                    <a:pt x="191" y="76"/>
                  </a:cubicBezTo>
                  <a:cubicBezTo>
                    <a:pt x="190" y="75"/>
                    <a:pt x="189" y="72"/>
                    <a:pt x="188" y="72"/>
                  </a:cubicBezTo>
                  <a:cubicBezTo>
                    <a:pt x="187" y="72"/>
                    <a:pt x="186" y="72"/>
                    <a:pt x="186" y="72"/>
                  </a:cubicBezTo>
                  <a:cubicBezTo>
                    <a:pt x="185" y="72"/>
                    <a:pt x="185" y="71"/>
                    <a:pt x="185" y="70"/>
                  </a:cubicBezTo>
                  <a:cubicBezTo>
                    <a:pt x="184" y="69"/>
                    <a:pt x="183" y="68"/>
                    <a:pt x="182" y="68"/>
                  </a:cubicBezTo>
                  <a:cubicBezTo>
                    <a:pt x="181" y="67"/>
                    <a:pt x="181" y="67"/>
                    <a:pt x="180" y="67"/>
                  </a:cubicBezTo>
                  <a:cubicBezTo>
                    <a:pt x="179" y="68"/>
                    <a:pt x="179" y="69"/>
                    <a:pt x="178" y="69"/>
                  </a:cubicBezTo>
                  <a:cubicBezTo>
                    <a:pt x="177" y="69"/>
                    <a:pt x="177" y="68"/>
                    <a:pt x="177" y="68"/>
                  </a:cubicBezTo>
                  <a:cubicBezTo>
                    <a:pt x="177" y="67"/>
                    <a:pt x="176" y="67"/>
                    <a:pt x="176" y="66"/>
                  </a:cubicBezTo>
                  <a:cubicBezTo>
                    <a:pt x="175" y="66"/>
                    <a:pt x="174" y="65"/>
                    <a:pt x="173" y="65"/>
                  </a:cubicBezTo>
                  <a:cubicBezTo>
                    <a:pt x="172" y="65"/>
                    <a:pt x="171" y="66"/>
                    <a:pt x="171" y="66"/>
                  </a:cubicBezTo>
                  <a:cubicBezTo>
                    <a:pt x="170" y="66"/>
                    <a:pt x="171" y="65"/>
                    <a:pt x="170" y="65"/>
                  </a:cubicBezTo>
                  <a:cubicBezTo>
                    <a:pt x="170" y="65"/>
                    <a:pt x="169" y="65"/>
                    <a:pt x="168" y="65"/>
                  </a:cubicBezTo>
                  <a:cubicBezTo>
                    <a:pt x="168" y="65"/>
                    <a:pt x="167" y="65"/>
                    <a:pt x="167" y="64"/>
                  </a:cubicBezTo>
                  <a:cubicBezTo>
                    <a:pt x="165" y="64"/>
                    <a:pt x="165" y="63"/>
                    <a:pt x="163" y="64"/>
                  </a:cubicBezTo>
                  <a:cubicBezTo>
                    <a:pt x="162" y="65"/>
                    <a:pt x="161" y="65"/>
                    <a:pt x="160" y="65"/>
                  </a:cubicBezTo>
                  <a:cubicBezTo>
                    <a:pt x="158" y="65"/>
                    <a:pt x="157" y="65"/>
                    <a:pt x="156" y="66"/>
                  </a:cubicBezTo>
                  <a:cubicBezTo>
                    <a:pt x="155" y="66"/>
                    <a:pt x="154" y="67"/>
                    <a:pt x="154" y="67"/>
                  </a:cubicBezTo>
                  <a:cubicBezTo>
                    <a:pt x="154" y="68"/>
                    <a:pt x="155" y="69"/>
                    <a:pt x="155" y="70"/>
                  </a:cubicBezTo>
                  <a:cubicBezTo>
                    <a:pt x="154" y="71"/>
                    <a:pt x="154" y="71"/>
                    <a:pt x="153" y="72"/>
                  </a:cubicBezTo>
                  <a:cubicBezTo>
                    <a:pt x="153" y="72"/>
                    <a:pt x="153" y="73"/>
                    <a:pt x="153" y="73"/>
                  </a:cubicBezTo>
                  <a:cubicBezTo>
                    <a:pt x="154" y="74"/>
                    <a:pt x="154" y="75"/>
                    <a:pt x="154" y="76"/>
                  </a:cubicBezTo>
                  <a:cubicBezTo>
                    <a:pt x="154" y="77"/>
                    <a:pt x="153" y="77"/>
                    <a:pt x="153" y="78"/>
                  </a:cubicBezTo>
                  <a:cubicBezTo>
                    <a:pt x="152" y="79"/>
                    <a:pt x="152" y="79"/>
                    <a:pt x="152" y="80"/>
                  </a:cubicBezTo>
                  <a:cubicBezTo>
                    <a:pt x="152" y="81"/>
                    <a:pt x="152" y="83"/>
                    <a:pt x="152" y="83"/>
                  </a:cubicBezTo>
                  <a:cubicBezTo>
                    <a:pt x="152" y="84"/>
                    <a:pt x="150" y="84"/>
                    <a:pt x="150" y="85"/>
                  </a:cubicBezTo>
                  <a:cubicBezTo>
                    <a:pt x="149" y="85"/>
                    <a:pt x="149" y="86"/>
                    <a:pt x="149" y="87"/>
                  </a:cubicBezTo>
                  <a:cubicBezTo>
                    <a:pt x="150" y="88"/>
                    <a:pt x="151" y="87"/>
                    <a:pt x="151" y="87"/>
                  </a:cubicBezTo>
                  <a:close/>
                  <a:moveTo>
                    <a:pt x="140" y="88"/>
                  </a:moveTo>
                  <a:cubicBezTo>
                    <a:pt x="141" y="88"/>
                    <a:pt x="141" y="88"/>
                    <a:pt x="142" y="88"/>
                  </a:cubicBezTo>
                  <a:cubicBezTo>
                    <a:pt x="141" y="89"/>
                    <a:pt x="142" y="90"/>
                    <a:pt x="143" y="90"/>
                  </a:cubicBezTo>
                  <a:cubicBezTo>
                    <a:pt x="144" y="91"/>
                    <a:pt x="144" y="89"/>
                    <a:pt x="144" y="89"/>
                  </a:cubicBezTo>
                  <a:cubicBezTo>
                    <a:pt x="143" y="88"/>
                    <a:pt x="143" y="88"/>
                    <a:pt x="143" y="88"/>
                  </a:cubicBezTo>
                  <a:cubicBezTo>
                    <a:pt x="143" y="88"/>
                    <a:pt x="143" y="88"/>
                    <a:pt x="143" y="88"/>
                  </a:cubicBezTo>
                  <a:cubicBezTo>
                    <a:pt x="142" y="87"/>
                    <a:pt x="143" y="87"/>
                    <a:pt x="143" y="87"/>
                  </a:cubicBezTo>
                  <a:cubicBezTo>
                    <a:pt x="144" y="86"/>
                    <a:pt x="144" y="85"/>
                    <a:pt x="145" y="84"/>
                  </a:cubicBezTo>
                  <a:cubicBezTo>
                    <a:pt x="145" y="83"/>
                    <a:pt x="145" y="82"/>
                    <a:pt x="144" y="82"/>
                  </a:cubicBezTo>
                  <a:cubicBezTo>
                    <a:pt x="143" y="82"/>
                    <a:pt x="143" y="82"/>
                    <a:pt x="143" y="82"/>
                  </a:cubicBezTo>
                  <a:cubicBezTo>
                    <a:pt x="141" y="81"/>
                    <a:pt x="141" y="81"/>
                    <a:pt x="141" y="81"/>
                  </a:cubicBezTo>
                  <a:cubicBezTo>
                    <a:pt x="141" y="81"/>
                    <a:pt x="142" y="81"/>
                    <a:pt x="142" y="80"/>
                  </a:cubicBezTo>
                  <a:cubicBezTo>
                    <a:pt x="141" y="79"/>
                    <a:pt x="139" y="79"/>
                    <a:pt x="139" y="80"/>
                  </a:cubicBezTo>
                  <a:cubicBezTo>
                    <a:pt x="138" y="81"/>
                    <a:pt x="140" y="81"/>
                    <a:pt x="140" y="82"/>
                  </a:cubicBezTo>
                  <a:cubicBezTo>
                    <a:pt x="139" y="83"/>
                    <a:pt x="139" y="83"/>
                    <a:pt x="139" y="83"/>
                  </a:cubicBezTo>
                  <a:cubicBezTo>
                    <a:pt x="138" y="84"/>
                    <a:pt x="138" y="84"/>
                    <a:pt x="138" y="84"/>
                  </a:cubicBezTo>
                  <a:cubicBezTo>
                    <a:pt x="138" y="84"/>
                    <a:pt x="137" y="84"/>
                    <a:pt x="137" y="85"/>
                  </a:cubicBezTo>
                  <a:cubicBezTo>
                    <a:pt x="137" y="85"/>
                    <a:pt x="138" y="85"/>
                    <a:pt x="138" y="86"/>
                  </a:cubicBezTo>
                  <a:cubicBezTo>
                    <a:pt x="139" y="86"/>
                    <a:pt x="140" y="87"/>
                    <a:pt x="140" y="8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00" name="Freeform 80">
              <a:extLst>
                <a:ext uri="{FF2B5EF4-FFF2-40B4-BE49-F238E27FC236}">
                  <a16:creationId xmlns:a16="http://schemas.microsoft.com/office/drawing/2014/main" id="{213517A8-D3E0-1A49-339D-F8E66217263C}"/>
                </a:ext>
              </a:extLst>
            </p:cNvPr>
            <p:cNvSpPr>
              <a:spLocks noEditPoints="1"/>
            </p:cNvSpPr>
            <p:nvPr/>
          </p:nvSpPr>
          <p:spPr bwMode="auto">
            <a:xfrm>
              <a:off x="5129213" y="5713413"/>
              <a:ext cx="303213" cy="187325"/>
            </a:xfrm>
            <a:custGeom>
              <a:avLst/>
              <a:gdLst>
                <a:gd name="T0" fmla="*/ 79 w 80"/>
                <a:gd name="T1" fmla="*/ 19 h 49"/>
                <a:gd name="T2" fmla="*/ 78 w 80"/>
                <a:gd name="T3" fmla="*/ 23 h 49"/>
                <a:gd name="T4" fmla="*/ 74 w 80"/>
                <a:gd name="T5" fmla="*/ 25 h 49"/>
                <a:gd name="T6" fmla="*/ 71 w 80"/>
                <a:gd name="T7" fmla="*/ 28 h 49"/>
                <a:gd name="T8" fmla="*/ 67 w 80"/>
                <a:gd name="T9" fmla="*/ 27 h 49"/>
                <a:gd name="T10" fmla="*/ 64 w 80"/>
                <a:gd name="T11" fmla="*/ 30 h 49"/>
                <a:gd name="T12" fmla="*/ 61 w 80"/>
                <a:gd name="T13" fmla="*/ 32 h 49"/>
                <a:gd name="T14" fmla="*/ 56 w 80"/>
                <a:gd name="T15" fmla="*/ 32 h 49"/>
                <a:gd name="T16" fmla="*/ 52 w 80"/>
                <a:gd name="T17" fmla="*/ 35 h 49"/>
                <a:gd name="T18" fmla="*/ 50 w 80"/>
                <a:gd name="T19" fmla="*/ 37 h 49"/>
                <a:gd name="T20" fmla="*/ 52 w 80"/>
                <a:gd name="T21" fmla="*/ 38 h 49"/>
                <a:gd name="T22" fmla="*/ 49 w 80"/>
                <a:gd name="T23" fmla="*/ 42 h 49"/>
                <a:gd name="T24" fmla="*/ 49 w 80"/>
                <a:gd name="T25" fmla="*/ 44 h 49"/>
                <a:gd name="T26" fmla="*/ 49 w 80"/>
                <a:gd name="T27" fmla="*/ 47 h 49"/>
                <a:gd name="T28" fmla="*/ 46 w 80"/>
                <a:gd name="T29" fmla="*/ 49 h 49"/>
                <a:gd name="T30" fmla="*/ 41 w 80"/>
                <a:gd name="T31" fmla="*/ 48 h 49"/>
                <a:gd name="T32" fmla="*/ 42 w 80"/>
                <a:gd name="T33" fmla="*/ 46 h 49"/>
                <a:gd name="T34" fmla="*/ 44 w 80"/>
                <a:gd name="T35" fmla="*/ 44 h 49"/>
                <a:gd name="T36" fmla="*/ 45 w 80"/>
                <a:gd name="T37" fmla="*/ 41 h 49"/>
                <a:gd name="T38" fmla="*/ 44 w 80"/>
                <a:gd name="T39" fmla="*/ 37 h 49"/>
                <a:gd name="T40" fmla="*/ 38 w 80"/>
                <a:gd name="T41" fmla="*/ 32 h 49"/>
                <a:gd name="T42" fmla="*/ 34 w 80"/>
                <a:gd name="T43" fmla="*/ 28 h 49"/>
                <a:gd name="T44" fmla="*/ 29 w 80"/>
                <a:gd name="T45" fmla="*/ 25 h 49"/>
                <a:gd name="T46" fmla="*/ 24 w 80"/>
                <a:gd name="T47" fmla="*/ 22 h 49"/>
                <a:gd name="T48" fmla="*/ 20 w 80"/>
                <a:gd name="T49" fmla="*/ 21 h 49"/>
                <a:gd name="T50" fmla="*/ 16 w 80"/>
                <a:gd name="T51" fmla="*/ 21 h 49"/>
                <a:gd name="T52" fmla="*/ 10 w 80"/>
                <a:gd name="T53" fmla="*/ 21 h 49"/>
                <a:gd name="T54" fmla="*/ 7 w 80"/>
                <a:gd name="T55" fmla="*/ 19 h 49"/>
                <a:gd name="T56" fmla="*/ 4 w 80"/>
                <a:gd name="T57" fmla="*/ 14 h 49"/>
                <a:gd name="T58" fmla="*/ 3 w 80"/>
                <a:gd name="T59" fmla="*/ 13 h 49"/>
                <a:gd name="T60" fmla="*/ 1 w 80"/>
                <a:gd name="T61" fmla="*/ 8 h 49"/>
                <a:gd name="T62" fmla="*/ 0 w 80"/>
                <a:gd name="T63" fmla="*/ 3 h 49"/>
                <a:gd name="T64" fmla="*/ 3 w 80"/>
                <a:gd name="T65" fmla="*/ 1 h 49"/>
                <a:gd name="T66" fmla="*/ 5 w 80"/>
                <a:gd name="T67" fmla="*/ 4 h 49"/>
                <a:gd name="T68" fmla="*/ 6 w 80"/>
                <a:gd name="T69" fmla="*/ 4 h 49"/>
                <a:gd name="T70" fmla="*/ 7 w 80"/>
                <a:gd name="T71" fmla="*/ 4 h 49"/>
                <a:gd name="T72" fmla="*/ 12 w 80"/>
                <a:gd name="T73" fmla="*/ 4 h 49"/>
                <a:gd name="T74" fmla="*/ 18 w 80"/>
                <a:gd name="T75" fmla="*/ 6 h 49"/>
                <a:gd name="T76" fmla="*/ 25 w 80"/>
                <a:gd name="T77" fmla="*/ 7 h 49"/>
                <a:gd name="T78" fmla="*/ 30 w 80"/>
                <a:gd name="T79" fmla="*/ 7 h 49"/>
                <a:gd name="T80" fmla="*/ 36 w 80"/>
                <a:gd name="T81" fmla="*/ 7 h 49"/>
                <a:gd name="T82" fmla="*/ 40 w 80"/>
                <a:gd name="T83" fmla="*/ 3 h 49"/>
                <a:gd name="T84" fmla="*/ 44 w 80"/>
                <a:gd name="T85" fmla="*/ 0 h 49"/>
                <a:gd name="T86" fmla="*/ 48 w 80"/>
                <a:gd name="T87" fmla="*/ 0 h 49"/>
                <a:gd name="T88" fmla="*/ 53 w 80"/>
                <a:gd name="T89" fmla="*/ 2 h 49"/>
                <a:gd name="T90" fmla="*/ 58 w 80"/>
                <a:gd name="T91" fmla="*/ 4 h 49"/>
                <a:gd name="T92" fmla="*/ 62 w 80"/>
                <a:gd name="T93" fmla="*/ 5 h 49"/>
                <a:gd name="T94" fmla="*/ 66 w 80"/>
                <a:gd name="T95" fmla="*/ 8 h 49"/>
                <a:gd name="T96" fmla="*/ 69 w 80"/>
                <a:gd name="T97" fmla="*/ 11 h 49"/>
                <a:gd name="T98" fmla="*/ 74 w 80"/>
                <a:gd name="T99" fmla="*/ 16 h 49"/>
                <a:gd name="T100" fmla="*/ 77 w 80"/>
                <a:gd name="T101" fmla="*/ 17 h 49"/>
                <a:gd name="T102" fmla="*/ 79 w 80"/>
                <a:gd name="T103" fmla="*/ 19 h 49"/>
                <a:gd name="T104" fmla="*/ 71 w 80"/>
                <a:gd name="T105" fmla="*/ 42 h 49"/>
                <a:gd name="T106" fmla="*/ 71 w 80"/>
                <a:gd name="T107" fmla="*/ 39 h 49"/>
                <a:gd name="T108" fmla="*/ 70 w 80"/>
                <a:gd name="T109" fmla="*/ 38 h 49"/>
                <a:gd name="T110" fmla="*/ 66 w 80"/>
                <a:gd name="T111" fmla="*/ 38 h 49"/>
                <a:gd name="T112" fmla="*/ 64 w 80"/>
                <a:gd name="T113" fmla="*/ 40 h 49"/>
                <a:gd name="T114" fmla="*/ 62 w 80"/>
                <a:gd name="T115" fmla="*/ 41 h 49"/>
                <a:gd name="T116" fmla="*/ 63 w 80"/>
                <a:gd name="T117" fmla="*/ 42 h 49"/>
                <a:gd name="T118" fmla="*/ 67 w 80"/>
                <a:gd name="T119" fmla="*/ 45 h 49"/>
                <a:gd name="T120" fmla="*/ 72 w 80"/>
                <a:gd name="T121" fmla="*/ 46 h 49"/>
                <a:gd name="T122" fmla="*/ 73 w 80"/>
                <a:gd name="T123" fmla="*/ 44 h 49"/>
                <a:gd name="T124" fmla="*/ 71 w 80"/>
                <a:gd name="T125"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49">
                  <a:moveTo>
                    <a:pt x="79" y="19"/>
                  </a:moveTo>
                  <a:cubicBezTo>
                    <a:pt x="79" y="21"/>
                    <a:pt x="79" y="22"/>
                    <a:pt x="78" y="23"/>
                  </a:cubicBezTo>
                  <a:cubicBezTo>
                    <a:pt x="76" y="24"/>
                    <a:pt x="74" y="24"/>
                    <a:pt x="74" y="25"/>
                  </a:cubicBezTo>
                  <a:cubicBezTo>
                    <a:pt x="73" y="26"/>
                    <a:pt x="71" y="28"/>
                    <a:pt x="71" y="28"/>
                  </a:cubicBezTo>
                  <a:cubicBezTo>
                    <a:pt x="70" y="28"/>
                    <a:pt x="67" y="27"/>
                    <a:pt x="67" y="27"/>
                  </a:cubicBezTo>
                  <a:cubicBezTo>
                    <a:pt x="66" y="27"/>
                    <a:pt x="65" y="28"/>
                    <a:pt x="64" y="30"/>
                  </a:cubicBezTo>
                  <a:cubicBezTo>
                    <a:pt x="63" y="31"/>
                    <a:pt x="63" y="32"/>
                    <a:pt x="61" y="32"/>
                  </a:cubicBezTo>
                  <a:cubicBezTo>
                    <a:pt x="58" y="32"/>
                    <a:pt x="58" y="31"/>
                    <a:pt x="56" y="32"/>
                  </a:cubicBezTo>
                  <a:cubicBezTo>
                    <a:pt x="55" y="34"/>
                    <a:pt x="54" y="35"/>
                    <a:pt x="52" y="35"/>
                  </a:cubicBezTo>
                  <a:cubicBezTo>
                    <a:pt x="51" y="36"/>
                    <a:pt x="50" y="36"/>
                    <a:pt x="50" y="37"/>
                  </a:cubicBezTo>
                  <a:cubicBezTo>
                    <a:pt x="51" y="38"/>
                    <a:pt x="52" y="37"/>
                    <a:pt x="52" y="38"/>
                  </a:cubicBezTo>
                  <a:cubicBezTo>
                    <a:pt x="51" y="40"/>
                    <a:pt x="50" y="42"/>
                    <a:pt x="49" y="42"/>
                  </a:cubicBezTo>
                  <a:cubicBezTo>
                    <a:pt x="49" y="43"/>
                    <a:pt x="48" y="43"/>
                    <a:pt x="49" y="44"/>
                  </a:cubicBezTo>
                  <a:cubicBezTo>
                    <a:pt x="49" y="45"/>
                    <a:pt x="51" y="46"/>
                    <a:pt x="49" y="47"/>
                  </a:cubicBezTo>
                  <a:cubicBezTo>
                    <a:pt x="48" y="48"/>
                    <a:pt x="47" y="49"/>
                    <a:pt x="46" y="49"/>
                  </a:cubicBezTo>
                  <a:cubicBezTo>
                    <a:pt x="44" y="49"/>
                    <a:pt x="41" y="49"/>
                    <a:pt x="41" y="48"/>
                  </a:cubicBezTo>
                  <a:cubicBezTo>
                    <a:pt x="40" y="48"/>
                    <a:pt x="41" y="47"/>
                    <a:pt x="42" y="46"/>
                  </a:cubicBezTo>
                  <a:cubicBezTo>
                    <a:pt x="43" y="45"/>
                    <a:pt x="44" y="45"/>
                    <a:pt x="44" y="44"/>
                  </a:cubicBezTo>
                  <a:cubicBezTo>
                    <a:pt x="45" y="43"/>
                    <a:pt x="45" y="42"/>
                    <a:pt x="45" y="41"/>
                  </a:cubicBezTo>
                  <a:cubicBezTo>
                    <a:pt x="45" y="40"/>
                    <a:pt x="44" y="38"/>
                    <a:pt x="44" y="37"/>
                  </a:cubicBezTo>
                  <a:cubicBezTo>
                    <a:pt x="43" y="36"/>
                    <a:pt x="39" y="33"/>
                    <a:pt x="38" y="32"/>
                  </a:cubicBezTo>
                  <a:cubicBezTo>
                    <a:pt x="38" y="32"/>
                    <a:pt x="35" y="29"/>
                    <a:pt x="34" y="28"/>
                  </a:cubicBezTo>
                  <a:cubicBezTo>
                    <a:pt x="33" y="27"/>
                    <a:pt x="30" y="25"/>
                    <a:pt x="29" y="25"/>
                  </a:cubicBezTo>
                  <a:cubicBezTo>
                    <a:pt x="28" y="24"/>
                    <a:pt x="25" y="22"/>
                    <a:pt x="24" y="22"/>
                  </a:cubicBezTo>
                  <a:cubicBezTo>
                    <a:pt x="23" y="22"/>
                    <a:pt x="21" y="21"/>
                    <a:pt x="20" y="21"/>
                  </a:cubicBezTo>
                  <a:cubicBezTo>
                    <a:pt x="19" y="20"/>
                    <a:pt x="18" y="20"/>
                    <a:pt x="16" y="21"/>
                  </a:cubicBezTo>
                  <a:cubicBezTo>
                    <a:pt x="14" y="21"/>
                    <a:pt x="11" y="21"/>
                    <a:pt x="10" y="21"/>
                  </a:cubicBezTo>
                  <a:cubicBezTo>
                    <a:pt x="9" y="20"/>
                    <a:pt x="8" y="20"/>
                    <a:pt x="7" y="19"/>
                  </a:cubicBezTo>
                  <a:cubicBezTo>
                    <a:pt x="6" y="17"/>
                    <a:pt x="5" y="15"/>
                    <a:pt x="4" y="14"/>
                  </a:cubicBezTo>
                  <a:cubicBezTo>
                    <a:pt x="3" y="14"/>
                    <a:pt x="3" y="13"/>
                    <a:pt x="3" y="13"/>
                  </a:cubicBezTo>
                  <a:cubicBezTo>
                    <a:pt x="2" y="11"/>
                    <a:pt x="1" y="9"/>
                    <a:pt x="1" y="8"/>
                  </a:cubicBezTo>
                  <a:cubicBezTo>
                    <a:pt x="1" y="7"/>
                    <a:pt x="0" y="4"/>
                    <a:pt x="0" y="3"/>
                  </a:cubicBezTo>
                  <a:cubicBezTo>
                    <a:pt x="1" y="1"/>
                    <a:pt x="2" y="1"/>
                    <a:pt x="3" y="1"/>
                  </a:cubicBezTo>
                  <a:cubicBezTo>
                    <a:pt x="3" y="1"/>
                    <a:pt x="5" y="3"/>
                    <a:pt x="5" y="4"/>
                  </a:cubicBezTo>
                  <a:cubicBezTo>
                    <a:pt x="5" y="4"/>
                    <a:pt x="6" y="4"/>
                    <a:pt x="6" y="4"/>
                  </a:cubicBezTo>
                  <a:cubicBezTo>
                    <a:pt x="6" y="4"/>
                    <a:pt x="6" y="4"/>
                    <a:pt x="7" y="4"/>
                  </a:cubicBezTo>
                  <a:cubicBezTo>
                    <a:pt x="9" y="3"/>
                    <a:pt x="10" y="3"/>
                    <a:pt x="12" y="4"/>
                  </a:cubicBezTo>
                  <a:cubicBezTo>
                    <a:pt x="13" y="4"/>
                    <a:pt x="17" y="5"/>
                    <a:pt x="18" y="6"/>
                  </a:cubicBezTo>
                  <a:cubicBezTo>
                    <a:pt x="19" y="6"/>
                    <a:pt x="24" y="7"/>
                    <a:pt x="25" y="7"/>
                  </a:cubicBezTo>
                  <a:cubicBezTo>
                    <a:pt x="26" y="8"/>
                    <a:pt x="27" y="7"/>
                    <a:pt x="30" y="7"/>
                  </a:cubicBezTo>
                  <a:cubicBezTo>
                    <a:pt x="32" y="7"/>
                    <a:pt x="34" y="8"/>
                    <a:pt x="36" y="7"/>
                  </a:cubicBezTo>
                  <a:cubicBezTo>
                    <a:pt x="37" y="6"/>
                    <a:pt x="38" y="4"/>
                    <a:pt x="40" y="3"/>
                  </a:cubicBezTo>
                  <a:cubicBezTo>
                    <a:pt x="41" y="2"/>
                    <a:pt x="42" y="1"/>
                    <a:pt x="44" y="0"/>
                  </a:cubicBezTo>
                  <a:cubicBezTo>
                    <a:pt x="45" y="0"/>
                    <a:pt x="47" y="0"/>
                    <a:pt x="48" y="0"/>
                  </a:cubicBezTo>
                  <a:cubicBezTo>
                    <a:pt x="50" y="1"/>
                    <a:pt x="52" y="2"/>
                    <a:pt x="53" y="2"/>
                  </a:cubicBezTo>
                  <a:cubicBezTo>
                    <a:pt x="55" y="2"/>
                    <a:pt x="57" y="3"/>
                    <a:pt x="58" y="4"/>
                  </a:cubicBezTo>
                  <a:cubicBezTo>
                    <a:pt x="60" y="5"/>
                    <a:pt x="61" y="5"/>
                    <a:pt x="62" y="5"/>
                  </a:cubicBezTo>
                  <a:cubicBezTo>
                    <a:pt x="63" y="6"/>
                    <a:pt x="64" y="7"/>
                    <a:pt x="66" y="8"/>
                  </a:cubicBezTo>
                  <a:cubicBezTo>
                    <a:pt x="67" y="9"/>
                    <a:pt x="68" y="10"/>
                    <a:pt x="69" y="11"/>
                  </a:cubicBezTo>
                  <a:cubicBezTo>
                    <a:pt x="71" y="13"/>
                    <a:pt x="73" y="15"/>
                    <a:pt x="74" y="16"/>
                  </a:cubicBezTo>
                  <a:cubicBezTo>
                    <a:pt x="75" y="16"/>
                    <a:pt x="75" y="16"/>
                    <a:pt x="77" y="17"/>
                  </a:cubicBezTo>
                  <a:cubicBezTo>
                    <a:pt x="78" y="18"/>
                    <a:pt x="80" y="18"/>
                    <a:pt x="79" y="19"/>
                  </a:cubicBezTo>
                  <a:close/>
                  <a:moveTo>
                    <a:pt x="71" y="42"/>
                  </a:moveTo>
                  <a:cubicBezTo>
                    <a:pt x="71" y="41"/>
                    <a:pt x="71" y="40"/>
                    <a:pt x="71" y="39"/>
                  </a:cubicBezTo>
                  <a:cubicBezTo>
                    <a:pt x="71" y="38"/>
                    <a:pt x="70" y="38"/>
                    <a:pt x="70" y="38"/>
                  </a:cubicBezTo>
                  <a:cubicBezTo>
                    <a:pt x="69" y="38"/>
                    <a:pt x="67" y="38"/>
                    <a:pt x="66" y="38"/>
                  </a:cubicBezTo>
                  <a:cubicBezTo>
                    <a:pt x="65" y="38"/>
                    <a:pt x="65" y="39"/>
                    <a:pt x="64" y="40"/>
                  </a:cubicBezTo>
                  <a:cubicBezTo>
                    <a:pt x="64" y="40"/>
                    <a:pt x="63" y="40"/>
                    <a:pt x="62" y="41"/>
                  </a:cubicBezTo>
                  <a:cubicBezTo>
                    <a:pt x="62" y="41"/>
                    <a:pt x="62" y="41"/>
                    <a:pt x="63" y="42"/>
                  </a:cubicBezTo>
                  <a:cubicBezTo>
                    <a:pt x="64" y="43"/>
                    <a:pt x="66" y="44"/>
                    <a:pt x="67" y="45"/>
                  </a:cubicBezTo>
                  <a:cubicBezTo>
                    <a:pt x="68" y="46"/>
                    <a:pt x="71" y="47"/>
                    <a:pt x="72" y="46"/>
                  </a:cubicBezTo>
                  <a:cubicBezTo>
                    <a:pt x="73" y="45"/>
                    <a:pt x="73" y="45"/>
                    <a:pt x="73" y="44"/>
                  </a:cubicBezTo>
                  <a:cubicBezTo>
                    <a:pt x="73" y="43"/>
                    <a:pt x="72" y="43"/>
                    <a:pt x="71" y="42"/>
                  </a:cubicBezTo>
                  <a:close/>
                </a:path>
              </a:pathLst>
            </a:custGeom>
            <a:solidFill>
              <a:srgbClr val="D9F2F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01" name="Freeform 82">
              <a:extLst>
                <a:ext uri="{FF2B5EF4-FFF2-40B4-BE49-F238E27FC236}">
                  <a16:creationId xmlns:a16="http://schemas.microsoft.com/office/drawing/2014/main" id="{B676B743-47B1-8238-70F0-7D4AF7074CA7}"/>
                </a:ext>
              </a:extLst>
            </p:cNvPr>
            <p:cNvSpPr>
              <a:spLocks noEditPoints="1"/>
            </p:cNvSpPr>
            <p:nvPr/>
          </p:nvSpPr>
          <p:spPr bwMode="auto">
            <a:xfrm>
              <a:off x="642938" y="2513013"/>
              <a:ext cx="712788" cy="846137"/>
            </a:xfrm>
            <a:custGeom>
              <a:avLst/>
              <a:gdLst>
                <a:gd name="T0" fmla="*/ 121 w 187"/>
                <a:gd name="T1" fmla="*/ 210 h 222"/>
                <a:gd name="T2" fmla="*/ 131 w 187"/>
                <a:gd name="T3" fmla="*/ 215 h 222"/>
                <a:gd name="T4" fmla="*/ 124 w 187"/>
                <a:gd name="T5" fmla="*/ 213 h 222"/>
                <a:gd name="T6" fmla="*/ 76 w 187"/>
                <a:gd name="T7" fmla="*/ 195 h 222"/>
                <a:gd name="T8" fmla="*/ 70 w 187"/>
                <a:gd name="T9" fmla="*/ 192 h 222"/>
                <a:gd name="T10" fmla="*/ 61 w 187"/>
                <a:gd name="T11" fmla="*/ 183 h 222"/>
                <a:gd name="T12" fmla="*/ 56 w 187"/>
                <a:gd name="T13" fmla="*/ 180 h 222"/>
                <a:gd name="T14" fmla="*/ 43 w 187"/>
                <a:gd name="T15" fmla="*/ 173 h 222"/>
                <a:gd name="T16" fmla="*/ 34 w 187"/>
                <a:gd name="T17" fmla="*/ 169 h 222"/>
                <a:gd name="T18" fmla="*/ 33 w 187"/>
                <a:gd name="T19" fmla="*/ 179 h 222"/>
                <a:gd name="T20" fmla="*/ 44 w 187"/>
                <a:gd name="T21" fmla="*/ 188 h 222"/>
                <a:gd name="T22" fmla="*/ 54 w 187"/>
                <a:gd name="T23" fmla="*/ 190 h 222"/>
                <a:gd name="T24" fmla="*/ 69 w 187"/>
                <a:gd name="T25" fmla="*/ 202 h 222"/>
                <a:gd name="T26" fmla="*/ 88 w 187"/>
                <a:gd name="T27" fmla="*/ 219 h 222"/>
                <a:gd name="T28" fmla="*/ 90 w 187"/>
                <a:gd name="T29" fmla="*/ 216 h 222"/>
                <a:gd name="T30" fmla="*/ 88 w 187"/>
                <a:gd name="T31" fmla="*/ 213 h 222"/>
                <a:gd name="T32" fmla="*/ 119 w 187"/>
                <a:gd name="T33" fmla="*/ 219 h 222"/>
                <a:gd name="T34" fmla="*/ 116 w 187"/>
                <a:gd name="T35" fmla="*/ 216 h 222"/>
                <a:gd name="T36" fmla="*/ 178 w 187"/>
                <a:gd name="T37" fmla="*/ 213 h 222"/>
                <a:gd name="T38" fmla="*/ 163 w 187"/>
                <a:gd name="T39" fmla="*/ 209 h 222"/>
                <a:gd name="T40" fmla="*/ 152 w 187"/>
                <a:gd name="T41" fmla="*/ 201 h 222"/>
                <a:gd name="T42" fmla="*/ 148 w 187"/>
                <a:gd name="T43" fmla="*/ 175 h 222"/>
                <a:gd name="T44" fmla="*/ 138 w 187"/>
                <a:gd name="T45" fmla="*/ 166 h 222"/>
                <a:gd name="T46" fmla="*/ 126 w 187"/>
                <a:gd name="T47" fmla="*/ 151 h 222"/>
                <a:gd name="T48" fmla="*/ 112 w 187"/>
                <a:gd name="T49" fmla="*/ 134 h 222"/>
                <a:gd name="T50" fmla="*/ 100 w 187"/>
                <a:gd name="T51" fmla="*/ 120 h 222"/>
                <a:gd name="T52" fmla="*/ 76 w 187"/>
                <a:gd name="T53" fmla="*/ 115 h 222"/>
                <a:gd name="T54" fmla="*/ 53 w 187"/>
                <a:gd name="T55" fmla="*/ 91 h 222"/>
                <a:gd name="T56" fmla="*/ 13 w 187"/>
                <a:gd name="T57" fmla="*/ 51 h 222"/>
                <a:gd name="T58" fmla="*/ 5 w 187"/>
                <a:gd name="T59" fmla="*/ 28 h 222"/>
                <a:gd name="T60" fmla="*/ 0 w 187"/>
                <a:gd name="T61" fmla="*/ 8 h 222"/>
                <a:gd name="T62" fmla="*/ 15 w 187"/>
                <a:gd name="T63" fmla="*/ 0 h 222"/>
                <a:gd name="T64" fmla="*/ 40 w 187"/>
                <a:gd name="T65" fmla="*/ 8 h 222"/>
                <a:gd name="T66" fmla="*/ 60 w 187"/>
                <a:gd name="T67" fmla="*/ 25 h 222"/>
                <a:gd name="T68" fmla="*/ 80 w 187"/>
                <a:gd name="T69" fmla="*/ 27 h 222"/>
                <a:gd name="T70" fmla="*/ 102 w 187"/>
                <a:gd name="T71" fmla="*/ 25 h 222"/>
                <a:gd name="T72" fmla="*/ 118 w 187"/>
                <a:gd name="T73" fmla="*/ 30 h 222"/>
                <a:gd name="T74" fmla="*/ 143 w 187"/>
                <a:gd name="T75" fmla="*/ 27 h 222"/>
                <a:gd name="T76" fmla="*/ 149 w 187"/>
                <a:gd name="T77" fmla="*/ 35 h 222"/>
                <a:gd name="T78" fmla="*/ 166 w 187"/>
                <a:gd name="T79" fmla="*/ 52 h 222"/>
                <a:gd name="T80" fmla="*/ 168 w 187"/>
                <a:gd name="T81" fmla="*/ 67 h 222"/>
                <a:gd name="T82" fmla="*/ 176 w 187"/>
                <a:gd name="T83" fmla="*/ 70 h 222"/>
                <a:gd name="T84" fmla="*/ 187 w 187"/>
                <a:gd name="T85" fmla="*/ 81 h 222"/>
                <a:gd name="T86" fmla="*/ 175 w 187"/>
                <a:gd name="T87" fmla="*/ 88 h 222"/>
                <a:gd name="T88" fmla="*/ 164 w 187"/>
                <a:gd name="T89" fmla="*/ 112 h 222"/>
                <a:gd name="T90" fmla="*/ 164 w 187"/>
                <a:gd name="T91" fmla="*/ 129 h 222"/>
                <a:gd name="T92" fmla="*/ 170 w 187"/>
                <a:gd name="T93" fmla="*/ 140 h 222"/>
                <a:gd name="T94" fmla="*/ 167 w 187"/>
                <a:gd name="T95" fmla="*/ 153 h 222"/>
                <a:gd name="T96" fmla="*/ 172 w 187"/>
                <a:gd name="T97" fmla="*/ 171 h 222"/>
                <a:gd name="T98" fmla="*/ 176 w 187"/>
                <a:gd name="T99" fmla="*/ 18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7" h="222">
                  <a:moveTo>
                    <a:pt x="117" y="210"/>
                  </a:moveTo>
                  <a:cubicBezTo>
                    <a:pt x="117" y="210"/>
                    <a:pt x="117" y="210"/>
                    <a:pt x="117" y="210"/>
                  </a:cubicBezTo>
                  <a:cubicBezTo>
                    <a:pt x="118" y="209"/>
                    <a:pt x="118" y="209"/>
                    <a:pt x="118" y="209"/>
                  </a:cubicBezTo>
                  <a:cubicBezTo>
                    <a:pt x="119" y="209"/>
                    <a:pt x="120" y="209"/>
                    <a:pt x="121" y="210"/>
                  </a:cubicBezTo>
                  <a:cubicBezTo>
                    <a:pt x="122" y="210"/>
                    <a:pt x="122" y="210"/>
                    <a:pt x="123" y="210"/>
                  </a:cubicBezTo>
                  <a:cubicBezTo>
                    <a:pt x="124" y="209"/>
                    <a:pt x="124" y="209"/>
                    <a:pt x="125" y="209"/>
                  </a:cubicBezTo>
                  <a:cubicBezTo>
                    <a:pt x="127" y="208"/>
                    <a:pt x="127" y="209"/>
                    <a:pt x="128" y="211"/>
                  </a:cubicBezTo>
                  <a:cubicBezTo>
                    <a:pt x="128" y="212"/>
                    <a:pt x="130" y="213"/>
                    <a:pt x="131" y="215"/>
                  </a:cubicBezTo>
                  <a:cubicBezTo>
                    <a:pt x="131" y="216"/>
                    <a:pt x="131" y="218"/>
                    <a:pt x="131" y="219"/>
                  </a:cubicBezTo>
                  <a:cubicBezTo>
                    <a:pt x="130" y="221"/>
                    <a:pt x="129" y="220"/>
                    <a:pt x="128" y="219"/>
                  </a:cubicBezTo>
                  <a:cubicBezTo>
                    <a:pt x="128" y="218"/>
                    <a:pt x="127" y="217"/>
                    <a:pt x="126" y="216"/>
                  </a:cubicBezTo>
                  <a:cubicBezTo>
                    <a:pt x="125" y="215"/>
                    <a:pt x="125" y="214"/>
                    <a:pt x="124" y="213"/>
                  </a:cubicBezTo>
                  <a:cubicBezTo>
                    <a:pt x="123" y="212"/>
                    <a:pt x="122" y="212"/>
                    <a:pt x="121" y="211"/>
                  </a:cubicBezTo>
                  <a:cubicBezTo>
                    <a:pt x="120" y="211"/>
                    <a:pt x="120" y="211"/>
                    <a:pt x="120" y="211"/>
                  </a:cubicBezTo>
                  <a:cubicBezTo>
                    <a:pt x="119" y="211"/>
                    <a:pt x="118" y="211"/>
                    <a:pt x="117" y="210"/>
                  </a:cubicBezTo>
                  <a:close/>
                  <a:moveTo>
                    <a:pt x="76" y="195"/>
                  </a:moveTo>
                  <a:cubicBezTo>
                    <a:pt x="76" y="194"/>
                    <a:pt x="76" y="194"/>
                    <a:pt x="75" y="193"/>
                  </a:cubicBezTo>
                  <a:cubicBezTo>
                    <a:pt x="74" y="193"/>
                    <a:pt x="73" y="194"/>
                    <a:pt x="73" y="194"/>
                  </a:cubicBezTo>
                  <a:cubicBezTo>
                    <a:pt x="73" y="195"/>
                    <a:pt x="72" y="195"/>
                    <a:pt x="72" y="195"/>
                  </a:cubicBezTo>
                  <a:cubicBezTo>
                    <a:pt x="71" y="194"/>
                    <a:pt x="71" y="193"/>
                    <a:pt x="70" y="192"/>
                  </a:cubicBezTo>
                  <a:cubicBezTo>
                    <a:pt x="70" y="191"/>
                    <a:pt x="70" y="189"/>
                    <a:pt x="69" y="189"/>
                  </a:cubicBezTo>
                  <a:cubicBezTo>
                    <a:pt x="68" y="189"/>
                    <a:pt x="67" y="189"/>
                    <a:pt x="66" y="188"/>
                  </a:cubicBezTo>
                  <a:cubicBezTo>
                    <a:pt x="64" y="188"/>
                    <a:pt x="63" y="186"/>
                    <a:pt x="62" y="184"/>
                  </a:cubicBezTo>
                  <a:cubicBezTo>
                    <a:pt x="62" y="184"/>
                    <a:pt x="61" y="184"/>
                    <a:pt x="61" y="183"/>
                  </a:cubicBezTo>
                  <a:cubicBezTo>
                    <a:pt x="61" y="187"/>
                    <a:pt x="58" y="184"/>
                    <a:pt x="57" y="183"/>
                  </a:cubicBezTo>
                  <a:cubicBezTo>
                    <a:pt x="56" y="183"/>
                    <a:pt x="56" y="184"/>
                    <a:pt x="55" y="183"/>
                  </a:cubicBezTo>
                  <a:cubicBezTo>
                    <a:pt x="54" y="183"/>
                    <a:pt x="54" y="182"/>
                    <a:pt x="54" y="181"/>
                  </a:cubicBezTo>
                  <a:cubicBezTo>
                    <a:pt x="54" y="181"/>
                    <a:pt x="56" y="181"/>
                    <a:pt x="56" y="180"/>
                  </a:cubicBezTo>
                  <a:cubicBezTo>
                    <a:pt x="56" y="179"/>
                    <a:pt x="55" y="178"/>
                    <a:pt x="54" y="178"/>
                  </a:cubicBezTo>
                  <a:cubicBezTo>
                    <a:pt x="52" y="177"/>
                    <a:pt x="51" y="177"/>
                    <a:pt x="49" y="176"/>
                  </a:cubicBezTo>
                  <a:cubicBezTo>
                    <a:pt x="48" y="175"/>
                    <a:pt x="48" y="174"/>
                    <a:pt x="46" y="173"/>
                  </a:cubicBezTo>
                  <a:cubicBezTo>
                    <a:pt x="45" y="173"/>
                    <a:pt x="44" y="173"/>
                    <a:pt x="43" y="173"/>
                  </a:cubicBezTo>
                  <a:cubicBezTo>
                    <a:pt x="43" y="173"/>
                    <a:pt x="42" y="172"/>
                    <a:pt x="41" y="172"/>
                  </a:cubicBezTo>
                  <a:cubicBezTo>
                    <a:pt x="42" y="171"/>
                    <a:pt x="43" y="169"/>
                    <a:pt x="42" y="168"/>
                  </a:cubicBezTo>
                  <a:cubicBezTo>
                    <a:pt x="41" y="167"/>
                    <a:pt x="39" y="168"/>
                    <a:pt x="38" y="168"/>
                  </a:cubicBezTo>
                  <a:cubicBezTo>
                    <a:pt x="37" y="167"/>
                    <a:pt x="35" y="167"/>
                    <a:pt x="34" y="169"/>
                  </a:cubicBezTo>
                  <a:cubicBezTo>
                    <a:pt x="34" y="171"/>
                    <a:pt x="36" y="171"/>
                    <a:pt x="35" y="173"/>
                  </a:cubicBezTo>
                  <a:cubicBezTo>
                    <a:pt x="34" y="173"/>
                    <a:pt x="32" y="172"/>
                    <a:pt x="31" y="173"/>
                  </a:cubicBezTo>
                  <a:cubicBezTo>
                    <a:pt x="30" y="174"/>
                    <a:pt x="30" y="176"/>
                    <a:pt x="30" y="176"/>
                  </a:cubicBezTo>
                  <a:cubicBezTo>
                    <a:pt x="30" y="177"/>
                    <a:pt x="32" y="178"/>
                    <a:pt x="33" y="179"/>
                  </a:cubicBezTo>
                  <a:cubicBezTo>
                    <a:pt x="33" y="179"/>
                    <a:pt x="34" y="180"/>
                    <a:pt x="34" y="181"/>
                  </a:cubicBezTo>
                  <a:cubicBezTo>
                    <a:pt x="34" y="182"/>
                    <a:pt x="35" y="183"/>
                    <a:pt x="36" y="184"/>
                  </a:cubicBezTo>
                  <a:cubicBezTo>
                    <a:pt x="37" y="184"/>
                    <a:pt x="38" y="184"/>
                    <a:pt x="39" y="184"/>
                  </a:cubicBezTo>
                  <a:cubicBezTo>
                    <a:pt x="41" y="185"/>
                    <a:pt x="43" y="187"/>
                    <a:pt x="44" y="188"/>
                  </a:cubicBezTo>
                  <a:cubicBezTo>
                    <a:pt x="45" y="188"/>
                    <a:pt x="46" y="188"/>
                    <a:pt x="47" y="188"/>
                  </a:cubicBezTo>
                  <a:cubicBezTo>
                    <a:pt x="48" y="188"/>
                    <a:pt x="48" y="188"/>
                    <a:pt x="49" y="188"/>
                  </a:cubicBezTo>
                  <a:cubicBezTo>
                    <a:pt x="49" y="188"/>
                    <a:pt x="50" y="187"/>
                    <a:pt x="50" y="187"/>
                  </a:cubicBezTo>
                  <a:cubicBezTo>
                    <a:pt x="51" y="187"/>
                    <a:pt x="53" y="190"/>
                    <a:pt x="54" y="190"/>
                  </a:cubicBezTo>
                  <a:cubicBezTo>
                    <a:pt x="56" y="191"/>
                    <a:pt x="58" y="192"/>
                    <a:pt x="59" y="193"/>
                  </a:cubicBezTo>
                  <a:cubicBezTo>
                    <a:pt x="61" y="194"/>
                    <a:pt x="61" y="195"/>
                    <a:pt x="63" y="196"/>
                  </a:cubicBezTo>
                  <a:cubicBezTo>
                    <a:pt x="65" y="196"/>
                    <a:pt x="66" y="197"/>
                    <a:pt x="67" y="198"/>
                  </a:cubicBezTo>
                  <a:cubicBezTo>
                    <a:pt x="68" y="199"/>
                    <a:pt x="68" y="201"/>
                    <a:pt x="69" y="202"/>
                  </a:cubicBezTo>
                  <a:cubicBezTo>
                    <a:pt x="70" y="203"/>
                    <a:pt x="71" y="203"/>
                    <a:pt x="73" y="203"/>
                  </a:cubicBezTo>
                  <a:cubicBezTo>
                    <a:pt x="76" y="203"/>
                    <a:pt x="79" y="202"/>
                    <a:pt x="77" y="199"/>
                  </a:cubicBezTo>
                  <a:cubicBezTo>
                    <a:pt x="77" y="197"/>
                    <a:pt x="77" y="196"/>
                    <a:pt x="76" y="195"/>
                  </a:cubicBezTo>
                  <a:close/>
                  <a:moveTo>
                    <a:pt x="88" y="219"/>
                  </a:moveTo>
                  <a:cubicBezTo>
                    <a:pt x="86" y="219"/>
                    <a:pt x="85" y="218"/>
                    <a:pt x="85" y="216"/>
                  </a:cubicBezTo>
                  <a:cubicBezTo>
                    <a:pt x="86" y="216"/>
                    <a:pt x="86" y="216"/>
                    <a:pt x="87" y="216"/>
                  </a:cubicBezTo>
                  <a:cubicBezTo>
                    <a:pt x="87" y="216"/>
                    <a:pt x="88" y="216"/>
                    <a:pt x="88" y="216"/>
                  </a:cubicBezTo>
                  <a:cubicBezTo>
                    <a:pt x="88" y="216"/>
                    <a:pt x="90" y="216"/>
                    <a:pt x="90" y="216"/>
                  </a:cubicBezTo>
                  <a:cubicBezTo>
                    <a:pt x="92" y="218"/>
                    <a:pt x="89" y="219"/>
                    <a:pt x="88" y="219"/>
                  </a:cubicBezTo>
                  <a:close/>
                  <a:moveTo>
                    <a:pt x="88" y="212"/>
                  </a:moveTo>
                  <a:cubicBezTo>
                    <a:pt x="88" y="212"/>
                    <a:pt x="88" y="212"/>
                    <a:pt x="88" y="212"/>
                  </a:cubicBezTo>
                  <a:cubicBezTo>
                    <a:pt x="88" y="212"/>
                    <a:pt x="88" y="213"/>
                    <a:pt x="88" y="213"/>
                  </a:cubicBezTo>
                  <a:cubicBezTo>
                    <a:pt x="88" y="214"/>
                    <a:pt x="88" y="214"/>
                    <a:pt x="87" y="214"/>
                  </a:cubicBezTo>
                  <a:cubicBezTo>
                    <a:pt x="86" y="214"/>
                    <a:pt x="85" y="213"/>
                    <a:pt x="86" y="212"/>
                  </a:cubicBezTo>
                  <a:cubicBezTo>
                    <a:pt x="86" y="212"/>
                    <a:pt x="87" y="212"/>
                    <a:pt x="88" y="212"/>
                  </a:cubicBezTo>
                  <a:close/>
                  <a:moveTo>
                    <a:pt x="119" y="219"/>
                  </a:moveTo>
                  <a:cubicBezTo>
                    <a:pt x="119" y="220"/>
                    <a:pt x="118" y="220"/>
                    <a:pt x="117" y="220"/>
                  </a:cubicBezTo>
                  <a:cubicBezTo>
                    <a:pt x="116" y="221"/>
                    <a:pt x="116" y="222"/>
                    <a:pt x="116" y="222"/>
                  </a:cubicBezTo>
                  <a:cubicBezTo>
                    <a:pt x="115" y="222"/>
                    <a:pt x="115" y="220"/>
                    <a:pt x="114" y="219"/>
                  </a:cubicBezTo>
                  <a:cubicBezTo>
                    <a:pt x="114" y="219"/>
                    <a:pt x="115" y="217"/>
                    <a:pt x="116" y="216"/>
                  </a:cubicBezTo>
                  <a:cubicBezTo>
                    <a:pt x="116" y="217"/>
                    <a:pt x="119" y="218"/>
                    <a:pt x="119" y="219"/>
                  </a:cubicBezTo>
                  <a:close/>
                  <a:moveTo>
                    <a:pt x="180" y="210"/>
                  </a:moveTo>
                  <a:cubicBezTo>
                    <a:pt x="180" y="212"/>
                    <a:pt x="179" y="212"/>
                    <a:pt x="179" y="213"/>
                  </a:cubicBezTo>
                  <a:cubicBezTo>
                    <a:pt x="178" y="213"/>
                    <a:pt x="178" y="213"/>
                    <a:pt x="178" y="213"/>
                  </a:cubicBezTo>
                  <a:cubicBezTo>
                    <a:pt x="175" y="211"/>
                    <a:pt x="175" y="210"/>
                    <a:pt x="172" y="209"/>
                  </a:cubicBezTo>
                  <a:cubicBezTo>
                    <a:pt x="170" y="208"/>
                    <a:pt x="169" y="206"/>
                    <a:pt x="166" y="206"/>
                  </a:cubicBezTo>
                  <a:cubicBezTo>
                    <a:pt x="164" y="206"/>
                    <a:pt x="165" y="207"/>
                    <a:pt x="164" y="207"/>
                  </a:cubicBezTo>
                  <a:cubicBezTo>
                    <a:pt x="163" y="208"/>
                    <a:pt x="164" y="209"/>
                    <a:pt x="163" y="209"/>
                  </a:cubicBezTo>
                  <a:cubicBezTo>
                    <a:pt x="162" y="208"/>
                    <a:pt x="160" y="206"/>
                    <a:pt x="160" y="207"/>
                  </a:cubicBezTo>
                  <a:cubicBezTo>
                    <a:pt x="159" y="208"/>
                    <a:pt x="160" y="209"/>
                    <a:pt x="158" y="208"/>
                  </a:cubicBezTo>
                  <a:cubicBezTo>
                    <a:pt x="157" y="208"/>
                    <a:pt x="158" y="210"/>
                    <a:pt x="156" y="207"/>
                  </a:cubicBezTo>
                  <a:cubicBezTo>
                    <a:pt x="154" y="204"/>
                    <a:pt x="153" y="203"/>
                    <a:pt x="152" y="201"/>
                  </a:cubicBezTo>
                  <a:cubicBezTo>
                    <a:pt x="151" y="200"/>
                    <a:pt x="149" y="199"/>
                    <a:pt x="149" y="198"/>
                  </a:cubicBezTo>
                  <a:cubicBezTo>
                    <a:pt x="149" y="198"/>
                    <a:pt x="149" y="195"/>
                    <a:pt x="149" y="193"/>
                  </a:cubicBezTo>
                  <a:cubicBezTo>
                    <a:pt x="149" y="191"/>
                    <a:pt x="149" y="187"/>
                    <a:pt x="149" y="185"/>
                  </a:cubicBezTo>
                  <a:cubicBezTo>
                    <a:pt x="148" y="182"/>
                    <a:pt x="148" y="177"/>
                    <a:pt x="148" y="175"/>
                  </a:cubicBezTo>
                  <a:cubicBezTo>
                    <a:pt x="147" y="174"/>
                    <a:pt x="146" y="172"/>
                    <a:pt x="146" y="170"/>
                  </a:cubicBezTo>
                  <a:cubicBezTo>
                    <a:pt x="145" y="169"/>
                    <a:pt x="145" y="167"/>
                    <a:pt x="144" y="168"/>
                  </a:cubicBezTo>
                  <a:cubicBezTo>
                    <a:pt x="143" y="169"/>
                    <a:pt x="141" y="170"/>
                    <a:pt x="140" y="168"/>
                  </a:cubicBezTo>
                  <a:cubicBezTo>
                    <a:pt x="139" y="167"/>
                    <a:pt x="142" y="167"/>
                    <a:pt x="138" y="166"/>
                  </a:cubicBezTo>
                  <a:cubicBezTo>
                    <a:pt x="135" y="166"/>
                    <a:pt x="136" y="167"/>
                    <a:pt x="134" y="165"/>
                  </a:cubicBezTo>
                  <a:cubicBezTo>
                    <a:pt x="132" y="164"/>
                    <a:pt x="130" y="162"/>
                    <a:pt x="129" y="161"/>
                  </a:cubicBezTo>
                  <a:cubicBezTo>
                    <a:pt x="129" y="159"/>
                    <a:pt x="128" y="159"/>
                    <a:pt x="127" y="157"/>
                  </a:cubicBezTo>
                  <a:cubicBezTo>
                    <a:pt x="127" y="155"/>
                    <a:pt x="128" y="154"/>
                    <a:pt x="126" y="151"/>
                  </a:cubicBezTo>
                  <a:cubicBezTo>
                    <a:pt x="125" y="149"/>
                    <a:pt x="124" y="147"/>
                    <a:pt x="122" y="147"/>
                  </a:cubicBezTo>
                  <a:cubicBezTo>
                    <a:pt x="121" y="146"/>
                    <a:pt x="121" y="147"/>
                    <a:pt x="120" y="146"/>
                  </a:cubicBezTo>
                  <a:cubicBezTo>
                    <a:pt x="118" y="144"/>
                    <a:pt x="115" y="138"/>
                    <a:pt x="114" y="138"/>
                  </a:cubicBezTo>
                  <a:cubicBezTo>
                    <a:pt x="114" y="137"/>
                    <a:pt x="112" y="134"/>
                    <a:pt x="112" y="134"/>
                  </a:cubicBezTo>
                  <a:cubicBezTo>
                    <a:pt x="112" y="133"/>
                    <a:pt x="110" y="130"/>
                    <a:pt x="109" y="129"/>
                  </a:cubicBezTo>
                  <a:cubicBezTo>
                    <a:pt x="109" y="128"/>
                    <a:pt x="107" y="128"/>
                    <a:pt x="106" y="127"/>
                  </a:cubicBezTo>
                  <a:cubicBezTo>
                    <a:pt x="105" y="126"/>
                    <a:pt x="104" y="125"/>
                    <a:pt x="103" y="123"/>
                  </a:cubicBezTo>
                  <a:cubicBezTo>
                    <a:pt x="103" y="122"/>
                    <a:pt x="101" y="120"/>
                    <a:pt x="100" y="120"/>
                  </a:cubicBezTo>
                  <a:cubicBezTo>
                    <a:pt x="100" y="119"/>
                    <a:pt x="98" y="117"/>
                    <a:pt x="97" y="117"/>
                  </a:cubicBezTo>
                  <a:cubicBezTo>
                    <a:pt x="95" y="117"/>
                    <a:pt x="91" y="117"/>
                    <a:pt x="89" y="117"/>
                  </a:cubicBezTo>
                  <a:cubicBezTo>
                    <a:pt x="87" y="117"/>
                    <a:pt x="84" y="117"/>
                    <a:pt x="81" y="117"/>
                  </a:cubicBezTo>
                  <a:cubicBezTo>
                    <a:pt x="78" y="116"/>
                    <a:pt x="78" y="116"/>
                    <a:pt x="76" y="115"/>
                  </a:cubicBezTo>
                  <a:cubicBezTo>
                    <a:pt x="74" y="113"/>
                    <a:pt x="72" y="112"/>
                    <a:pt x="71" y="111"/>
                  </a:cubicBezTo>
                  <a:cubicBezTo>
                    <a:pt x="71" y="109"/>
                    <a:pt x="71" y="109"/>
                    <a:pt x="71" y="109"/>
                  </a:cubicBezTo>
                  <a:cubicBezTo>
                    <a:pt x="70" y="107"/>
                    <a:pt x="60" y="95"/>
                    <a:pt x="59" y="94"/>
                  </a:cubicBezTo>
                  <a:cubicBezTo>
                    <a:pt x="58" y="93"/>
                    <a:pt x="54" y="91"/>
                    <a:pt x="53" y="91"/>
                  </a:cubicBezTo>
                  <a:cubicBezTo>
                    <a:pt x="52" y="90"/>
                    <a:pt x="46" y="86"/>
                    <a:pt x="45" y="84"/>
                  </a:cubicBezTo>
                  <a:cubicBezTo>
                    <a:pt x="44" y="83"/>
                    <a:pt x="34" y="71"/>
                    <a:pt x="32" y="69"/>
                  </a:cubicBezTo>
                  <a:cubicBezTo>
                    <a:pt x="30" y="68"/>
                    <a:pt x="25" y="62"/>
                    <a:pt x="23" y="60"/>
                  </a:cubicBezTo>
                  <a:cubicBezTo>
                    <a:pt x="21" y="59"/>
                    <a:pt x="15" y="52"/>
                    <a:pt x="13" y="51"/>
                  </a:cubicBezTo>
                  <a:cubicBezTo>
                    <a:pt x="12" y="49"/>
                    <a:pt x="10" y="47"/>
                    <a:pt x="10" y="45"/>
                  </a:cubicBezTo>
                  <a:cubicBezTo>
                    <a:pt x="10" y="43"/>
                    <a:pt x="10" y="40"/>
                    <a:pt x="9" y="39"/>
                  </a:cubicBezTo>
                  <a:cubicBezTo>
                    <a:pt x="9" y="37"/>
                    <a:pt x="7" y="33"/>
                    <a:pt x="6" y="33"/>
                  </a:cubicBezTo>
                  <a:cubicBezTo>
                    <a:pt x="6" y="32"/>
                    <a:pt x="6" y="29"/>
                    <a:pt x="5" y="28"/>
                  </a:cubicBezTo>
                  <a:cubicBezTo>
                    <a:pt x="4" y="27"/>
                    <a:pt x="1" y="22"/>
                    <a:pt x="1" y="22"/>
                  </a:cubicBezTo>
                  <a:cubicBezTo>
                    <a:pt x="1" y="22"/>
                    <a:pt x="0" y="20"/>
                    <a:pt x="1" y="18"/>
                  </a:cubicBezTo>
                  <a:cubicBezTo>
                    <a:pt x="2" y="17"/>
                    <a:pt x="3" y="13"/>
                    <a:pt x="3" y="13"/>
                  </a:cubicBezTo>
                  <a:cubicBezTo>
                    <a:pt x="3" y="12"/>
                    <a:pt x="0" y="8"/>
                    <a:pt x="0" y="8"/>
                  </a:cubicBezTo>
                  <a:cubicBezTo>
                    <a:pt x="0" y="6"/>
                    <a:pt x="0" y="6"/>
                    <a:pt x="0" y="6"/>
                  </a:cubicBezTo>
                  <a:cubicBezTo>
                    <a:pt x="4" y="6"/>
                    <a:pt x="4" y="6"/>
                    <a:pt x="4" y="6"/>
                  </a:cubicBezTo>
                  <a:cubicBezTo>
                    <a:pt x="4" y="6"/>
                    <a:pt x="8" y="3"/>
                    <a:pt x="9" y="3"/>
                  </a:cubicBezTo>
                  <a:cubicBezTo>
                    <a:pt x="10" y="2"/>
                    <a:pt x="15" y="0"/>
                    <a:pt x="15" y="0"/>
                  </a:cubicBezTo>
                  <a:cubicBezTo>
                    <a:pt x="15" y="0"/>
                    <a:pt x="16" y="2"/>
                    <a:pt x="18" y="2"/>
                  </a:cubicBezTo>
                  <a:cubicBezTo>
                    <a:pt x="20" y="3"/>
                    <a:pt x="20" y="3"/>
                    <a:pt x="22" y="2"/>
                  </a:cubicBezTo>
                  <a:cubicBezTo>
                    <a:pt x="24" y="2"/>
                    <a:pt x="27" y="3"/>
                    <a:pt x="27" y="3"/>
                  </a:cubicBezTo>
                  <a:cubicBezTo>
                    <a:pt x="40" y="8"/>
                    <a:pt x="40" y="8"/>
                    <a:pt x="40" y="8"/>
                  </a:cubicBezTo>
                  <a:cubicBezTo>
                    <a:pt x="40" y="8"/>
                    <a:pt x="41" y="9"/>
                    <a:pt x="42" y="12"/>
                  </a:cubicBezTo>
                  <a:cubicBezTo>
                    <a:pt x="43" y="14"/>
                    <a:pt x="48" y="18"/>
                    <a:pt x="48" y="18"/>
                  </a:cubicBezTo>
                  <a:cubicBezTo>
                    <a:pt x="49" y="19"/>
                    <a:pt x="55" y="23"/>
                    <a:pt x="55" y="23"/>
                  </a:cubicBezTo>
                  <a:cubicBezTo>
                    <a:pt x="55" y="23"/>
                    <a:pt x="60" y="25"/>
                    <a:pt x="60" y="25"/>
                  </a:cubicBezTo>
                  <a:cubicBezTo>
                    <a:pt x="61" y="25"/>
                    <a:pt x="67" y="25"/>
                    <a:pt x="67" y="25"/>
                  </a:cubicBezTo>
                  <a:cubicBezTo>
                    <a:pt x="73" y="28"/>
                    <a:pt x="73" y="28"/>
                    <a:pt x="73" y="28"/>
                  </a:cubicBezTo>
                  <a:cubicBezTo>
                    <a:pt x="73" y="28"/>
                    <a:pt x="76" y="25"/>
                    <a:pt x="76" y="25"/>
                  </a:cubicBezTo>
                  <a:cubicBezTo>
                    <a:pt x="77" y="25"/>
                    <a:pt x="79" y="27"/>
                    <a:pt x="80" y="27"/>
                  </a:cubicBezTo>
                  <a:cubicBezTo>
                    <a:pt x="80" y="28"/>
                    <a:pt x="87" y="27"/>
                    <a:pt x="87" y="27"/>
                  </a:cubicBezTo>
                  <a:cubicBezTo>
                    <a:pt x="88" y="27"/>
                    <a:pt x="94" y="25"/>
                    <a:pt x="96" y="24"/>
                  </a:cubicBezTo>
                  <a:cubicBezTo>
                    <a:pt x="97" y="24"/>
                    <a:pt x="101" y="23"/>
                    <a:pt x="101" y="23"/>
                  </a:cubicBezTo>
                  <a:cubicBezTo>
                    <a:pt x="102" y="25"/>
                    <a:pt x="102" y="25"/>
                    <a:pt x="102" y="25"/>
                  </a:cubicBezTo>
                  <a:cubicBezTo>
                    <a:pt x="106" y="24"/>
                    <a:pt x="106" y="24"/>
                    <a:pt x="106" y="24"/>
                  </a:cubicBezTo>
                  <a:cubicBezTo>
                    <a:pt x="106" y="24"/>
                    <a:pt x="109" y="24"/>
                    <a:pt x="110" y="24"/>
                  </a:cubicBezTo>
                  <a:cubicBezTo>
                    <a:pt x="111" y="25"/>
                    <a:pt x="118" y="26"/>
                    <a:pt x="118" y="27"/>
                  </a:cubicBezTo>
                  <a:cubicBezTo>
                    <a:pt x="119" y="28"/>
                    <a:pt x="118" y="30"/>
                    <a:pt x="118" y="30"/>
                  </a:cubicBezTo>
                  <a:cubicBezTo>
                    <a:pt x="118" y="30"/>
                    <a:pt x="122" y="31"/>
                    <a:pt x="123" y="31"/>
                  </a:cubicBezTo>
                  <a:cubicBezTo>
                    <a:pt x="124" y="30"/>
                    <a:pt x="131" y="28"/>
                    <a:pt x="132" y="27"/>
                  </a:cubicBezTo>
                  <a:cubicBezTo>
                    <a:pt x="134" y="27"/>
                    <a:pt x="139" y="24"/>
                    <a:pt x="141" y="25"/>
                  </a:cubicBezTo>
                  <a:cubicBezTo>
                    <a:pt x="142" y="26"/>
                    <a:pt x="143" y="26"/>
                    <a:pt x="143" y="27"/>
                  </a:cubicBezTo>
                  <a:cubicBezTo>
                    <a:pt x="143" y="27"/>
                    <a:pt x="143" y="28"/>
                    <a:pt x="144" y="29"/>
                  </a:cubicBezTo>
                  <a:cubicBezTo>
                    <a:pt x="144" y="30"/>
                    <a:pt x="146" y="31"/>
                    <a:pt x="146" y="31"/>
                  </a:cubicBezTo>
                  <a:cubicBezTo>
                    <a:pt x="149" y="32"/>
                    <a:pt x="149" y="32"/>
                    <a:pt x="149" y="32"/>
                  </a:cubicBezTo>
                  <a:cubicBezTo>
                    <a:pt x="149" y="35"/>
                    <a:pt x="149" y="35"/>
                    <a:pt x="149" y="35"/>
                  </a:cubicBezTo>
                  <a:cubicBezTo>
                    <a:pt x="160" y="44"/>
                    <a:pt x="160" y="44"/>
                    <a:pt x="160" y="44"/>
                  </a:cubicBezTo>
                  <a:cubicBezTo>
                    <a:pt x="163" y="47"/>
                    <a:pt x="163" y="47"/>
                    <a:pt x="163" y="47"/>
                  </a:cubicBezTo>
                  <a:cubicBezTo>
                    <a:pt x="165" y="47"/>
                    <a:pt x="165" y="47"/>
                    <a:pt x="165" y="47"/>
                  </a:cubicBezTo>
                  <a:cubicBezTo>
                    <a:pt x="165" y="47"/>
                    <a:pt x="166" y="51"/>
                    <a:pt x="166" y="52"/>
                  </a:cubicBezTo>
                  <a:cubicBezTo>
                    <a:pt x="166" y="53"/>
                    <a:pt x="168" y="57"/>
                    <a:pt x="168" y="57"/>
                  </a:cubicBezTo>
                  <a:cubicBezTo>
                    <a:pt x="168" y="61"/>
                    <a:pt x="168" y="61"/>
                    <a:pt x="168" y="61"/>
                  </a:cubicBezTo>
                  <a:cubicBezTo>
                    <a:pt x="171" y="63"/>
                    <a:pt x="171" y="63"/>
                    <a:pt x="171" y="63"/>
                  </a:cubicBezTo>
                  <a:cubicBezTo>
                    <a:pt x="171" y="63"/>
                    <a:pt x="168" y="67"/>
                    <a:pt x="168" y="67"/>
                  </a:cubicBezTo>
                  <a:cubicBezTo>
                    <a:pt x="168" y="68"/>
                    <a:pt x="169" y="69"/>
                    <a:pt x="170" y="69"/>
                  </a:cubicBezTo>
                  <a:cubicBezTo>
                    <a:pt x="170" y="69"/>
                    <a:pt x="172" y="68"/>
                    <a:pt x="172" y="70"/>
                  </a:cubicBezTo>
                  <a:cubicBezTo>
                    <a:pt x="172" y="71"/>
                    <a:pt x="171" y="70"/>
                    <a:pt x="172" y="71"/>
                  </a:cubicBezTo>
                  <a:cubicBezTo>
                    <a:pt x="173" y="71"/>
                    <a:pt x="176" y="70"/>
                    <a:pt x="176" y="70"/>
                  </a:cubicBezTo>
                  <a:cubicBezTo>
                    <a:pt x="177" y="69"/>
                    <a:pt x="180" y="69"/>
                    <a:pt x="181" y="70"/>
                  </a:cubicBezTo>
                  <a:cubicBezTo>
                    <a:pt x="182" y="71"/>
                    <a:pt x="184" y="72"/>
                    <a:pt x="185" y="73"/>
                  </a:cubicBezTo>
                  <a:cubicBezTo>
                    <a:pt x="186" y="74"/>
                    <a:pt x="186" y="73"/>
                    <a:pt x="187" y="75"/>
                  </a:cubicBezTo>
                  <a:cubicBezTo>
                    <a:pt x="187" y="76"/>
                    <a:pt x="187" y="80"/>
                    <a:pt x="187" y="81"/>
                  </a:cubicBezTo>
                  <a:cubicBezTo>
                    <a:pt x="186" y="82"/>
                    <a:pt x="186" y="83"/>
                    <a:pt x="186" y="84"/>
                  </a:cubicBezTo>
                  <a:cubicBezTo>
                    <a:pt x="185" y="83"/>
                    <a:pt x="184" y="83"/>
                    <a:pt x="184" y="83"/>
                  </a:cubicBezTo>
                  <a:cubicBezTo>
                    <a:pt x="182" y="83"/>
                    <a:pt x="182" y="83"/>
                    <a:pt x="181" y="84"/>
                  </a:cubicBezTo>
                  <a:cubicBezTo>
                    <a:pt x="178" y="85"/>
                    <a:pt x="176" y="85"/>
                    <a:pt x="175" y="88"/>
                  </a:cubicBezTo>
                  <a:cubicBezTo>
                    <a:pt x="174" y="91"/>
                    <a:pt x="173" y="94"/>
                    <a:pt x="172" y="96"/>
                  </a:cubicBezTo>
                  <a:cubicBezTo>
                    <a:pt x="171" y="99"/>
                    <a:pt x="172" y="101"/>
                    <a:pt x="171" y="103"/>
                  </a:cubicBezTo>
                  <a:cubicBezTo>
                    <a:pt x="169" y="106"/>
                    <a:pt x="167" y="107"/>
                    <a:pt x="165" y="107"/>
                  </a:cubicBezTo>
                  <a:cubicBezTo>
                    <a:pt x="165" y="109"/>
                    <a:pt x="165" y="111"/>
                    <a:pt x="164" y="112"/>
                  </a:cubicBezTo>
                  <a:cubicBezTo>
                    <a:pt x="163" y="114"/>
                    <a:pt x="162" y="115"/>
                    <a:pt x="160" y="116"/>
                  </a:cubicBezTo>
                  <a:cubicBezTo>
                    <a:pt x="158" y="117"/>
                    <a:pt x="157" y="118"/>
                    <a:pt x="158" y="120"/>
                  </a:cubicBezTo>
                  <a:cubicBezTo>
                    <a:pt x="159" y="122"/>
                    <a:pt x="159" y="124"/>
                    <a:pt x="161" y="126"/>
                  </a:cubicBezTo>
                  <a:cubicBezTo>
                    <a:pt x="161" y="127"/>
                    <a:pt x="163" y="127"/>
                    <a:pt x="164" y="129"/>
                  </a:cubicBezTo>
                  <a:cubicBezTo>
                    <a:pt x="165" y="130"/>
                    <a:pt x="165" y="130"/>
                    <a:pt x="166" y="131"/>
                  </a:cubicBezTo>
                  <a:cubicBezTo>
                    <a:pt x="167" y="132"/>
                    <a:pt x="168" y="132"/>
                    <a:pt x="167" y="133"/>
                  </a:cubicBezTo>
                  <a:cubicBezTo>
                    <a:pt x="167" y="135"/>
                    <a:pt x="164" y="135"/>
                    <a:pt x="164" y="137"/>
                  </a:cubicBezTo>
                  <a:cubicBezTo>
                    <a:pt x="165" y="139"/>
                    <a:pt x="169" y="139"/>
                    <a:pt x="170" y="140"/>
                  </a:cubicBezTo>
                  <a:cubicBezTo>
                    <a:pt x="172" y="142"/>
                    <a:pt x="170" y="144"/>
                    <a:pt x="169" y="145"/>
                  </a:cubicBezTo>
                  <a:cubicBezTo>
                    <a:pt x="168" y="145"/>
                    <a:pt x="167" y="146"/>
                    <a:pt x="166" y="146"/>
                  </a:cubicBezTo>
                  <a:cubicBezTo>
                    <a:pt x="165" y="147"/>
                    <a:pt x="166" y="148"/>
                    <a:pt x="166" y="149"/>
                  </a:cubicBezTo>
                  <a:cubicBezTo>
                    <a:pt x="167" y="150"/>
                    <a:pt x="167" y="152"/>
                    <a:pt x="167" y="153"/>
                  </a:cubicBezTo>
                  <a:cubicBezTo>
                    <a:pt x="168" y="154"/>
                    <a:pt x="168" y="154"/>
                    <a:pt x="168" y="155"/>
                  </a:cubicBezTo>
                  <a:cubicBezTo>
                    <a:pt x="169" y="156"/>
                    <a:pt x="168" y="157"/>
                    <a:pt x="167" y="158"/>
                  </a:cubicBezTo>
                  <a:cubicBezTo>
                    <a:pt x="167" y="159"/>
                    <a:pt x="167" y="160"/>
                    <a:pt x="167" y="161"/>
                  </a:cubicBezTo>
                  <a:cubicBezTo>
                    <a:pt x="167" y="165"/>
                    <a:pt x="167" y="169"/>
                    <a:pt x="172" y="171"/>
                  </a:cubicBezTo>
                  <a:cubicBezTo>
                    <a:pt x="173" y="172"/>
                    <a:pt x="174" y="172"/>
                    <a:pt x="175" y="173"/>
                  </a:cubicBezTo>
                  <a:cubicBezTo>
                    <a:pt x="175" y="174"/>
                    <a:pt x="176" y="174"/>
                    <a:pt x="176" y="175"/>
                  </a:cubicBezTo>
                  <a:cubicBezTo>
                    <a:pt x="176" y="176"/>
                    <a:pt x="175" y="175"/>
                    <a:pt x="175" y="176"/>
                  </a:cubicBezTo>
                  <a:cubicBezTo>
                    <a:pt x="174" y="178"/>
                    <a:pt x="176" y="181"/>
                    <a:pt x="176" y="183"/>
                  </a:cubicBezTo>
                  <a:cubicBezTo>
                    <a:pt x="176" y="187"/>
                    <a:pt x="174" y="192"/>
                    <a:pt x="177" y="196"/>
                  </a:cubicBezTo>
                  <a:cubicBezTo>
                    <a:pt x="179" y="198"/>
                    <a:pt x="180" y="200"/>
                    <a:pt x="180" y="202"/>
                  </a:cubicBezTo>
                  <a:cubicBezTo>
                    <a:pt x="181" y="205"/>
                    <a:pt x="180" y="207"/>
                    <a:pt x="180" y="210"/>
                  </a:cubicBezTo>
                  <a:close/>
                </a:path>
              </a:pathLst>
            </a:custGeom>
            <a:solidFill>
              <a:srgbClr val="8BDD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25967858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00A3CE-83A2-82F6-24E5-D9415E1F07FA}"/>
              </a:ext>
            </a:extLst>
          </p:cNvPr>
          <p:cNvGraphicFramePr>
            <a:graphicFrameLocks/>
          </p:cNvGraphicFramePr>
          <p:nvPr>
            <p:custDataLst>
              <p:tags r:id="rId1"/>
            </p:custDataLst>
            <p:extLst>
              <p:ext uri="{D42A27DB-BD31-4B8C-83A1-F6EECF244321}">
                <p14:modId xmlns:p14="http://schemas.microsoft.com/office/powerpoint/2010/main" val="3088313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0" name=""/>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C822EA5-CE5F-F8ED-E651-4AB9D05B0F78}"/>
              </a:ext>
            </a:extLst>
          </p:cNvPr>
          <p:cNvSpPr>
            <a:spLocks noGrp="1"/>
          </p:cNvSpPr>
          <p:nvPr>
            <p:ph type="title"/>
          </p:nvPr>
        </p:nvSpPr>
        <p:spPr/>
        <p:txBody>
          <a:bodyPr vert="horz" rIns="91440"/>
          <a:lstStyle/>
          <a:p>
            <a:r>
              <a:rPr lang="en-US" dirty="0"/>
              <a:t>With 12 GW potential, Chilean policy is now steering geothermal from resource mapping to real, scalable power generation</a:t>
            </a:r>
          </a:p>
        </p:txBody>
      </p:sp>
      <p:sp>
        <p:nvSpPr>
          <p:cNvPr id="6" name="Footer Placeholder 5">
            <a:extLst>
              <a:ext uri="{FF2B5EF4-FFF2-40B4-BE49-F238E27FC236}">
                <a16:creationId xmlns:a16="http://schemas.microsoft.com/office/drawing/2014/main" id="{3AFD5ED8-9BEF-8EB4-C27E-DB3D84802231}"/>
              </a:ext>
            </a:extLst>
          </p:cNvPr>
          <p:cNvSpPr>
            <a:spLocks noGrp="1"/>
          </p:cNvSpPr>
          <p:nvPr>
            <p:ph type="ftr" sz="quarter" idx="3"/>
          </p:nvPr>
        </p:nvSpPr>
        <p:spPr>
          <a:xfrm>
            <a:off x="334962" y="6274097"/>
            <a:ext cx="9147241" cy="216706"/>
          </a:xfrm>
        </p:spPr>
        <p:txBody>
          <a:bodyPr/>
          <a:lstStyle/>
          <a:p>
            <a:pPr>
              <a:defRPr/>
            </a:pPr>
            <a:r>
              <a:rPr lang="en-US" dirty="0">
                <a:solidFill>
                  <a:srgbClr val="000000"/>
                </a:solidFill>
              </a:rPr>
              <a:t>Sources: </a:t>
            </a:r>
            <a:r>
              <a:rPr lang="en-US" dirty="0">
                <a:solidFill>
                  <a:srgbClr val="000000"/>
                </a:solidFill>
                <a:hlinkClick r:id="rId10"/>
              </a:rPr>
              <a:t>Superhot rock and the future of geothermal</a:t>
            </a:r>
            <a:r>
              <a:rPr lang="en-US" dirty="0">
                <a:solidFill>
                  <a:srgbClr val="000000"/>
                </a:solidFill>
              </a:rPr>
              <a:t> (CATF, 2025); </a:t>
            </a:r>
            <a:r>
              <a:rPr lang="en-US" dirty="0">
                <a:solidFill>
                  <a:srgbClr val="333333"/>
                </a:solidFill>
                <a:hlinkClick r:id="rId11"/>
              </a:rPr>
              <a:t>Transmark issued 2 geothermal exploration licenses in Chile</a:t>
            </a:r>
            <a:r>
              <a:rPr lang="en-US" dirty="0">
                <a:solidFill>
                  <a:srgbClr val="333333"/>
                </a:solidFill>
              </a:rPr>
              <a:t> (</a:t>
            </a:r>
            <a:r>
              <a:rPr lang="en-US" dirty="0" err="1">
                <a:solidFill>
                  <a:srgbClr val="000000"/>
                </a:solidFill>
              </a:rPr>
              <a:t>ThinkGeoEnergy</a:t>
            </a:r>
            <a:r>
              <a:rPr lang="en-US" dirty="0">
                <a:solidFill>
                  <a:srgbClr val="000000"/>
                </a:solidFill>
              </a:rPr>
              <a:t>, </a:t>
            </a:r>
            <a:r>
              <a:rPr lang="en-US" dirty="0">
                <a:solidFill>
                  <a:srgbClr val="333333"/>
                </a:solidFill>
              </a:rPr>
              <a:t>2025); </a:t>
            </a:r>
            <a:r>
              <a:rPr lang="en-US" dirty="0">
                <a:solidFill>
                  <a:srgbClr val="000000"/>
                </a:solidFill>
                <a:hlinkClick r:id="rId12"/>
              </a:rPr>
              <a:t>Geothermal Energy in South America: A Case Study for Northern Chile</a:t>
            </a:r>
            <a:r>
              <a:rPr lang="en-US" dirty="0">
                <a:solidFill>
                  <a:srgbClr val="000000"/>
                </a:solidFill>
              </a:rPr>
              <a:t> </a:t>
            </a:r>
            <a:r>
              <a:rPr lang="en-US" dirty="0">
                <a:solidFill>
                  <a:schemeClr val="tx1"/>
                </a:solidFill>
              </a:rPr>
              <a:t>(</a:t>
            </a:r>
            <a:r>
              <a:rPr lang="en-US" dirty="0" err="1">
                <a:solidFill>
                  <a:schemeClr val="tx1"/>
                </a:solidFill>
              </a:rPr>
              <a:t>Scilight</a:t>
            </a:r>
            <a:r>
              <a:rPr lang="en-US" dirty="0">
                <a:solidFill>
                  <a:schemeClr val="tx1"/>
                </a:solidFill>
              </a:rPr>
              <a:t>, 2025), </a:t>
            </a:r>
            <a:r>
              <a:rPr lang="en-US" dirty="0">
                <a:solidFill>
                  <a:srgbClr val="000000"/>
                </a:solidFill>
                <a:hlinkClick r:id="rId13"/>
              </a:rPr>
              <a:t>Licenses and Tenders</a:t>
            </a:r>
            <a:r>
              <a:rPr lang="en-US" dirty="0">
                <a:solidFill>
                  <a:srgbClr val="000000"/>
                </a:solidFill>
              </a:rPr>
              <a:t> (CNE, 2025); </a:t>
            </a:r>
            <a:r>
              <a:rPr lang="en-US" dirty="0">
                <a:solidFill>
                  <a:srgbClr val="000000"/>
                </a:solidFill>
                <a:hlinkClick r:id="rId14"/>
              </a:rPr>
              <a:t>The Future of Geothermal Energy</a:t>
            </a:r>
            <a:r>
              <a:rPr lang="en-US" dirty="0">
                <a:solidFill>
                  <a:srgbClr val="000000"/>
                </a:solidFill>
              </a:rPr>
              <a:t> (IEA, 2024).</a:t>
            </a:r>
            <a:endParaRPr lang="en-US" dirty="0">
              <a:solidFill>
                <a:srgbClr val="000000"/>
              </a:solidFill>
              <a:cs typeface="Arial"/>
            </a:endParaRPr>
          </a:p>
          <a:p>
            <a:pPr>
              <a:defRPr/>
            </a:pPr>
            <a:r>
              <a:rPr lang="en-US" dirty="0">
                <a:solidFill>
                  <a:srgbClr val="000000"/>
                </a:solidFill>
              </a:rPr>
              <a:t>Credit: Shubhangi Prasad, and </a:t>
            </a:r>
            <a:r>
              <a:rPr lang="en-US" dirty="0">
                <a:hlinkClick r:id="rId15"/>
              </a:rPr>
              <a:t>Gernot Wagner.</a:t>
            </a:r>
            <a:r>
              <a:rPr lang="en-US" dirty="0">
                <a:solidFill>
                  <a:srgbClr val="000000"/>
                </a:solidFill>
              </a:rPr>
              <a:t> </a:t>
            </a:r>
            <a:r>
              <a:rPr lang="en-US" dirty="0">
                <a:hlinkClick r:id="rId1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B130D99C-4F20-AF20-C9B0-5C00818D6203}"/>
              </a:ext>
            </a:extLst>
          </p:cNvPr>
          <p:cNvSpPr>
            <a:spLocks noGrp="1"/>
          </p:cNvSpPr>
          <p:nvPr>
            <p:ph type="body" sz="quarter" idx="13"/>
          </p:nvPr>
        </p:nvSpPr>
        <p:spPr/>
        <p:txBody>
          <a:bodyPr/>
          <a:lstStyle/>
          <a:p>
            <a:r>
              <a:rPr lang="en-US" dirty="0"/>
              <a:t>Chile’s geothermal policy evolved from concessions to market incentives, risk finance, and innovation</a:t>
            </a:r>
          </a:p>
        </p:txBody>
      </p:sp>
      <p:sp>
        <p:nvSpPr>
          <p:cNvPr id="8" name="Text Placeholder 7">
            <a:extLst>
              <a:ext uri="{FF2B5EF4-FFF2-40B4-BE49-F238E27FC236}">
                <a16:creationId xmlns:a16="http://schemas.microsoft.com/office/drawing/2014/main" id="{C55FA20C-23D1-10D5-DA7A-1B7DC96B98BE}"/>
              </a:ext>
            </a:extLst>
          </p:cNvPr>
          <p:cNvSpPr>
            <a:spLocks noGrp="1"/>
          </p:cNvSpPr>
          <p:nvPr>
            <p:ph type="body" sz="quarter" idx="16"/>
          </p:nvPr>
        </p:nvSpPr>
        <p:spPr/>
        <p:txBody>
          <a:bodyPr/>
          <a:lstStyle/>
          <a:p>
            <a:r>
              <a:rPr lang="en-US" dirty="0"/>
              <a:t>Chile 2021 vs. 2050 energy demand and 1% geothermal power potential in GWh</a:t>
            </a:r>
          </a:p>
        </p:txBody>
      </p:sp>
      <p:sp>
        <p:nvSpPr>
          <p:cNvPr id="9" name="Text Placeholder 1">
            <a:extLst>
              <a:ext uri="{FF2B5EF4-FFF2-40B4-BE49-F238E27FC236}">
                <a16:creationId xmlns:a16="http://schemas.microsoft.com/office/drawing/2014/main" id="{7E3ABFE3-2F1E-D043-718C-7E97EC28B293}"/>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Chile</a:t>
            </a:r>
          </a:p>
        </p:txBody>
      </p:sp>
      <p:sp>
        <p:nvSpPr>
          <p:cNvPr id="75" name="Rectangle 74">
            <a:extLst>
              <a:ext uri="{FF2B5EF4-FFF2-40B4-BE49-F238E27FC236}">
                <a16:creationId xmlns:a16="http://schemas.microsoft.com/office/drawing/2014/main" id="{26F15500-3E4C-22EB-0EF6-52FFA2B5A270}"/>
              </a:ext>
            </a:extLst>
          </p:cNvPr>
          <p:cNvSpPr/>
          <p:nvPr/>
        </p:nvSpPr>
        <p:spPr bwMode="gray">
          <a:xfrm>
            <a:off x="324000" y="2068513"/>
            <a:ext cx="5010767" cy="420624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Rectangle 75">
            <a:extLst>
              <a:ext uri="{FF2B5EF4-FFF2-40B4-BE49-F238E27FC236}">
                <a16:creationId xmlns:a16="http://schemas.microsoft.com/office/drawing/2014/main" id="{6584AC46-79E9-1469-2DA1-6234B6BA084D}"/>
              </a:ext>
            </a:extLst>
          </p:cNvPr>
          <p:cNvSpPr/>
          <p:nvPr/>
        </p:nvSpPr>
        <p:spPr bwMode="gray">
          <a:xfrm>
            <a:off x="5632450" y="4799013"/>
            <a:ext cx="1393825" cy="233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42" name="Chart 141">
            <a:extLst>
              <a:ext uri="{FF2B5EF4-FFF2-40B4-BE49-F238E27FC236}">
                <a16:creationId xmlns:a16="http://schemas.microsoft.com/office/drawing/2014/main" id="{F76F16FD-7967-88C2-70AB-1B2BB914BD82}"/>
              </a:ext>
            </a:extLst>
          </p:cNvPr>
          <p:cNvGraphicFramePr/>
          <p:nvPr>
            <p:custDataLst>
              <p:tags r:id="rId2"/>
            </p:custDataLst>
            <p:extLst>
              <p:ext uri="{D42A27DB-BD31-4B8C-83A1-F6EECF244321}">
                <p14:modId xmlns:p14="http://schemas.microsoft.com/office/powerpoint/2010/main" val="345398"/>
              </p:ext>
            </p:extLst>
          </p:nvPr>
        </p:nvGraphicFramePr>
        <p:xfrm>
          <a:off x="6092825" y="3540125"/>
          <a:ext cx="4756150" cy="2381250"/>
        </p:xfrm>
        <a:graphic>
          <a:graphicData uri="http://schemas.openxmlformats.org/drawingml/2006/chart">
            <c:chart xmlns:c="http://schemas.openxmlformats.org/drawingml/2006/chart" xmlns:r="http://schemas.openxmlformats.org/officeDocument/2006/relationships" r:id="rId17"/>
          </a:graphicData>
        </a:graphic>
      </p:graphicFrame>
      <p:sp>
        <p:nvSpPr>
          <p:cNvPr id="78" name="Text Placeholder 10">
            <a:extLst>
              <a:ext uri="{FF2B5EF4-FFF2-40B4-BE49-F238E27FC236}">
                <a16:creationId xmlns:a16="http://schemas.microsoft.com/office/drawing/2014/main" id="{07113F55-1C08-B034-A968-48022277F6EA}"/>
              </a:ext>
            </a:extLst>
          </p:cNvPr>
          <p:cNvSpPr txBox="1">
            <a:spLocks/>
          </p:cNvSpPr>
          <p:nvPr>
            <p:custDataLst>
              <p:tags r:id="rId3"/>
            </p:custDataLst>
          </p:nvPr>
        </p:nvSpPr>
        <p:spPr bwMode="auto">
          <a:xfrm>
            <a:off x="6319838" y="5738813"/>
            <a:ext cx="1239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F90899-F118-474E-B407-90BD3E83CD04}" type="datetime'''''20''21 Ene''''''r''''g''''''''''y'''''' Dem''an''d'">
              <a:rPr lang="en-US" altLang="en-US" sz="1000" smtClean="0"/>
              <a:pPr marL="0" indent="0" algn="ctr">
                <a:spcBef>
                  <a:spcPct val="0"/>
                </a:spcBef>
                <a:spcAft>
                  <a:spcPct val="0"/>
                </a:spcAft>
                <a:buNone/>
              </a:pPr>
              <a:t>2021 Energy Demand</a:t>
            </a:fld>
            <a:endParaRPr lang="en-US" sz="1000" dirty="0"/>
          </a:p>
        </p:txBody>
      </p:sp>
      <p:sp>
        <p:nvSpPr>
          <p:cNvPr id="79" name="Text Placeholder 10">
            <a:extLst>
              <a:ext uri="{FF2B5EF4-FFF2-40B4-BE49-F238E27FC236}">
                <a16:creationId xmlns:a16="http://schemas.microsoft.com/office/drawing/2014/main" id="{A94423C3-F099-7276-F75F-D4BEFBD52FC0}"/>
              </a:ext>
            </a:extLst>
          </p:cNvPr>
          <p:cNvSpPr txBox="1">
            <a:spLocks/>
          </p:cNvSpPr>
          <p:nvPr>
            <p:custDataLst>
              <p:tags r:id="rId4"/>
            </p:custDataLst>
          </p:nvPr>
        </p:nvSpPr>
        <p:spPr bwMode="auto">
          <a:xfrm>
            <a:off x="7850188" y="5738813"/>
            <a:ext cx="1239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F2E49E-4846-45F0-9483-43077D9B17F3}" type="datetime'2050 Energ''''''''''''''''y'''''' D''e''''''''m''and'''''''">
              <a:rPr lang="en-US" altLang="en-US" sz="1000" smtClean="0"/>
              <a:pPr marL="0" indent="0" algn="ctr">
                <a:spcBef>
                  <a:spcPct val="0"/>
                </a:spcBef>
                <a:spcAft>
                  <a:spcPct val="0"/>
                </a:spcAft>
                <a:buNone/>
              </a:pPr>
              <a:t>2050 Energy Demand</a:t>
            </a:fld>
            <a:endParaRPr lang="en-US" sz="1000" dirty="0"/>
          </a:p>
        </p:txBody>
      </p:sp>
      <p:sp>
        <p:nvSpPr>
          <p:cNvPr id="80" name="Text Placeholder 10">
            <a:extLst>
              <a:ext uri="{FF2B5EF4-FFF2-40B4-BE49-F238E27FC236}">
                <a16:creationId xmlns:a16="http://schemas.microsoft.com/office/drawing/2014/main" id="{46A9F296-EE54-690A-AE96-384201131542}"/>
              </a:ext>
            </a:extLst>
          </p:cNvPr>
          <p:cNvSpPr txBox="1">
            <a:spLocks/>
          </p:cNvSpPr>
          <p:nvPr>
            <p:custDataLst>
              <p:tags r:id="rId5"/>
            </p:custDataLst>
          </p:nvPr>
        </p:nvSpPr>
        <p:spPr bwMode="auto">
          <a:xfrm>
            <a:off x="9559925" y="5738813"/>
            <a:ext cx="881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3AE3AC-C85D-4B59-BCAC-A45A3C1AEE1E}" type="datetime'''1%'' ''of Super''hot Ro''ck'''' ''Po''''''''tentia''l '''">
              <a:rPr lang="en-US" altLang="en-US" sz="1000" smtClean="0"/>
              <a:pPr marL="0" indent="0" algn="ctr">
                <a:spcBef>
                  <a:spcPct val="0"/>
                </a:spcBef>
                <a:spcAft>
                  <a:spcPct val="0"/>
                </a:spcAft>
                <a:buNone/>
              </a:pPr>
              <a:t>1% of Superhot Rock Potential </a:t>
            </a:fld>
            <a:endParaRPr lang="en-US" sz="1000" dirty="0"/>
          </a:p>
        </p:txBody>
      </p:sp>
      <p:sp>
        <p:nvSpPr>
          <p:cNvPr id="81" name="Text Placeholder 10">
            <a:extLst>
              <a:ext uri="{FF2B5EF4-FFF2-40B4-BE49-F238E27FC236}">
                <a16:creationId xmlns:a16="http://schemas.microsoft.com/office/drawing/2014/main" id="{C3B8FA0D-5A45-F4CE-11CC-1C5401F1B2E1}"/>
              </a:ext>
            </a:extLst>
          </p:cNvPr>
          <p:cNvSpPr txBox="1">
            <a:spLocks/>
          </p:cNvSpPr>
          <p:nvPr>
            <p:custDataLst>
              <p:tags r:id="rId6"/>
            </p:custDataLst>
          </p:nvPr>
        </p:nvSpPr>
        <p:spPr bwMode="gray">
          <a:xfrm>
            <a:off x="9667875" y="3587750"/>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25E5A6-E9C4-4742-AAB5-F5E87A1BC57A}" type="datetime'''11'',''''6''9''5'''''''''''''''''''''''',0''''45'''''''''">
              <a:rPr lang="en-US" altLang="en-US" sz="1000" i="1" smtClean="0"/>
              <a:pPr marL="0" indent="0" algn="ctr">
                <a:spcBef>
                  <a:spcPct val="0"/>
                </a:spcBef>
                <a:spcAft>
                  <a:spcPct val="0"/>
                </a:spcAft>
                <a:buNone/>
              </a:pPr>
              <a:t>11,695,045</a:t>
            </a:fld>
            <a:endParaRPr lang="en-US" sz="1000" i="1" dirty="0"/>
          </a:p>
        </p:txBody>
      </p:sp>
      <p:sp>
        <p:nvSpPr>
          <p:cNvPr id="82" name="Right Brace 81">
            <a:extLst>
              <a:ext uri="{FF2B5EF4-FFF2-40B4-BE49-F238E27FC236}">
                <a16:creationId xmlns:a16="http://schemas.microsoft.com/office/drawing/2014/main" id="{FD860671-EB8F-4903-005A-308CBB3CCC35}"/>
              </a:ext>
            </a:extLst>
          </p:cNvPr>
          <p:cNvSpPr/>
          <p:nvPr/>
        </p:nvSpPr>
        <p:spPr bwMode="gray">
          <a:xfrm>
            <a:off x="10260013" y="3840163"/>
            <a:ext cx="371475" cy="1802731"/>
          </a:xfrm>
          <a:prstGeom prst="rightBrace">
            <a:avLst>
              <a:gd name="adj1" fmla="val 0"/>
              <a:gd name="adj2" fmla="val 50000"/>
            </a:avLst>
          </a:prstGeom>
          <a:ln w="28575">
            <a:tailEnd type="none" w="med" len="lg"/>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dirty="0"/>
          </a:p>
        </p:txBody>
      </p:sp>
      <p:sp>
        <p:nvSpPr>
          <p:cNvPr id="83" name="Rectangle 82">
            <a:extLst>
              <a:ext uri="{FF2B5EF4-FFF2-40B4-BE49-F238E27FC236}">
                <a16:creationId xmlns:a16="http://schemas.microsoft.com/office/drawing/2014/main" id="{20975C01-077B-0E01-CBBC-4E989C3FF3BF}"/>
              </a:ext>
            </a:extLst>
          </p:cNvPr>
          <p:cNvSpPr/>
          <p:nvPr/>
        </p:nvSpPr>
        <p:spPr bwMode="gray">
          <a:xfrm>
            <a:off x="10666413" y="4529138"/>
            <a:ext cx="1049338" cy="357188"/>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accent5"/>
                </a:solidFill>
              </a:rPr>
              <a:t>Excess of 11,360,987 GWh </a:t>
            </a:r>
          </a:p>
        </p:txBody>
      </p:sp>
      <p:cxnSp>
        <p:nvCxnSpPr>
          <p:cNvPr id="84" name="Straight Arrow Connector 83">
            <a:extLst>
              <a:ext uri="{FF2B5EF4-FFF2-40B4-BE49-F238E27FC236}">
                <a16:creationId xmlns:a16="http://schemas.microsoft.com/office/drawing/2014/main" id="{FD263197-3A6F-5556-157B-A3141A92D8A7}"/>
              </a:ext>
            </a:extLst>
          </p:cNvPr>
          <p:cNvCxnSpPr>
            <a:cxnSpLocks/>
          </p:cNvCxnSpPr>
          <p:nvPr/>
        </p:nvCxnSpPr>
        <p:spPr bwMode="gray">
          <a:xfrm>
            <a:off x="553063" y="2295525"/>
            <a:ext cx="0" cy="389753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25101BDF-0234-735A-D6FF-3F518F96847E}"/>
              </a:ext>
            </a:extLst>
          </p:cNvPr>
          <p:cNvSpPr/>
          <p:nvPr/>
        </p:nvSpPr>
        <p:spPr bwMode="gray">
          <a:xfrm>
            <a:off x="491973" y="2867025"/>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6" name="Rectangle 85">
            <a:extLst>
              <a:ext uri="{FF2B5EF4-FFF2-40B4-BE49-F238E27FC236}">
                <a16:creationId xmlns:a16="http://schemas.microsoft.com/office/drawing/2014/main" id="{536A1C9D-5685-6EDD-04D9-D3343B44AE83}"/>
              </a:ext>
            </a:extLst>
          </p:cNvPr>
          <p:cNvSpPr/>
          <p:nvPr/>
        </p:nvSpPr>
        <p:spPr bwMode="gray">
          <a:xfrm>
            <a:off x="373958" y="2111375"/>
            <a:ext cx="578666"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0</a:t>
            </a:r>
          </a:p>
        </p:txBody>
      </p:sp>
      <p:sp>
        <p:nvSpPr>
          <p:cNvPr id="87" name="Rectangle 86">
            <a:extLst>
              <a:ext uri="{FF2B5EF4-FFF2-40B4-BE49-F238E27FC236}">
                <a16:creationId xmlns:a16="http://schemas.microsoft.com/office/drawing/2014/main" id="{0C8675BA-D71D-0F31-9FE9-F6835E8DD44C}"/>
              </a:ext>
            </a:extLst>
          </p:cNvPr>
          <p:cNvSpPr/>
          <p:nvPr/>
        </p:nvSpPr>
        <p:spPr bwMode="gray">
          <a:xfrm>
            <a:off x="735947" y="2178050"/>
            <a:ext cx="4399579" cy="3473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Introduces Geothermal Concessions Law, the first law for geothermal exploration rights and exploitation concessions. </a:t>
            </a:r>
          </a:p>
        </p:txBody>
      </p:sp>
      <p:sp>
        <p:nvSpPr>
          <p:cNvPr id="88" name="Rectangle 87">
            <a:extLst>
              <a:ext uri="{FF2B5EF4-FFF2-40B4-BE49-F238E27FC236}">
                <a16:creationId xmlns:a16="http://schemas.microsoft.com/office/drawing/2014/main" id="{3F6ECFAE-F8A3-253A-B5F4-65EE9728BB44}"/>
              </a:ext>
            </a:extLst>
          </p:cNvPr>
          <p:cNvSpPr/>
          <p:nvPr/>
        </p:nvSpPr>
        <p:spPr bwMode="gray">
          <a:xfrm>
            <a:off x="384791" y="2624138"/>
            <a:ext cx="513996" cy="2237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8</a:t>
            </a:r>
          </a:p>
        </p:txBody>
      </p:sp>
      <p:sp>
        <p:nvSpPr>
          <p:cNvPr id="89" name="Rectangle 88">
            <a:extLst>
              <a:ext uri="{FF2B5EF4-FFF2-40B4-BE49-F238E27FC236}">
                <a16:creationId xmlns:a16="http://schemas.microsoft.com/office/drawing/2014/main" id="{0F463BCA-FDF9-04DD-E15D-A90260AD29D1}"/>
              </a:ext>
            </a:extLst>
          </p:cNvPr>
          <p:cNvSpPr/>
          <p:nvPr/>
        </p:nvSpPr>
        <p:spPr bwMode="gray">
          <a:xfrm>
            <a:off x="749304" y="3767112"/>
            <a:ext cx="4385671" cy="529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MiRiG – Geothermal Risk Mitigation Program (IDB + CTF) injects concessional public finance, guarantees, and loans convertible to grants to de-risk high-cost exploratory drilling.</a:t>
            </a:r>
          </a:p>
        </p:txBody>
      </p:sp>
      <p:sp>
        <p:nvSpPr>
          <p:cNvPr id="90" name="Rectangle 89">
            <a:extLst>
              <a:ext uri="{FF2B5EF4-FFF2-40B4-BE49-F238E27FC236}">
                <a16:creationId xmlns:a16="http://schemas.microsoft.com/office/drawing/2014/main" id="{EE88835F-99CB-B689-864D-94820B6BE2B3}"/>
              </a:ext>
            </a:extLst>
          </p:cNvPr>
          <p:cNvSpPr/>
          <p:nvPr/>
        </p:nvSpPr>
        <p:spPr bwMode="gray">
          <a:xfrm>
            <a:off x="347957" y="4405313"/>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5 </a:t>
            </a:r>
          </a:p>
        </p:txBody>
      </p:sp>
      <p:sp>
        <p:nvSpPr>
          <p:cNvPr id="91" name="Rectangle 90">
            <a:extLst>
              <a:ext uri="{FF2B5EF4-FFF2-40B4-BE49-F238E27FC236}">
                <a16:creationId xmlns:a16="http://schemas.microsoft.com/office/drawing/2014/main" id="{6BF9F6EF-8021-E01A-F031-424E466C62E4}"/>
              </a:ext>
            </a:extLst>
          </p:cNvPr>
          <p:cNvSpPr/>
          <p:nvPr/>
        </p:nvSpPr>
        <p:spPr bwMode="gray">
          <a:xfrm>
            <a:off x="376447" y="5597525"/>
            <a:ext cx="456018" cy="19535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5</a:t>
            </a:r>
          </a:p>
        </p:txBody>
      </p:sp>
      <p:sp>
        <p:nvSpPr>
          <p:cNvPr id="92" name="Rectangle 91">
            <a:extLst>
              <a:ext uri="{FF2B5EF4-FFF2-40B4-BE49-F238E27FC236}">
                <a16:creationId xmlns:a16="http://schemas.microsoft.com/office/drawing/2014/main" id="{920F219A-3CD9-B3DB-6DE5-59216EFCE822}"/>
              </a:ext>
            </a:extLst>
          </p:cNvPr>
          <p:cNvSpPr/>
          <p:nvPr/>
        </p:nvSpPr>
        <p:spPr bwMode="gray">
          <a:xfrm>
            <a:off x="748584" y="2171700"/>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 </a:t>
            </a:r>
          </a:p>
        </p:txBody>
      </p:sp>
      <p:sp>
        <p:nvSpPr>
          <p:cNvPr id="93" name="Rectangle 92">
            <a:extLst>
              <a:ext uri="{FF2B5EF4-FFF2-40B4-BE49-F238E27FC236}">
                <a16:creationId xmlns:a16="http://schemas.microsoft.com/office/drawing/2014/main" id="{4518B716-F854-A227-13A5-50DAFF7F3E1F}"/>
              </a:ext>
            </a:extLst>
          </p:cNvPr>
          <p:cNvSpPr/>
          <p:nvPr/>
        </p:nvSpPr>
        <p:spPr bwMode="gray">
          <a:xfrm>
            <a:off x="708652" y="2997200"/>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94" name="Rectangle 93">
            <a:extLst>
              <a:ext uri="{FF2B5EF4-FFF2-40B4-BE49-F238E27FC236}">
                <a16:creationId xmlns:a16="http://schemas.microsoft.com/office/drawing/2014/main" id="{EDBC0E3C-173C-6C7F-711D-D4E716821717}"/>
              </a:ext>
            </a:extLst>
          </p:cNvPr>
          <p:cNvSpPr/>
          <p:nvPr/>
        </p:nvSpPr>
        <p:spPr bwMode="gray">
          <a:xfrm>
            <a:off x="779756" y="4448175"/>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95" name="Rectangle 94">
            <a:extLst>
              <a:ext uri="{FF2B5EF4-FFF2-40B4-BE49-F238E27FC236}">
                <a16:creationId xmlns:a16="http://schemas.microsoft.com/office/drawing/2014/main" id="{3863065E-107A-1D30-F5F5-D7B29884D3B6}"/>
              </a:ext>
            </a:extLst>
          </p:cNvPr>
          <p:cNvSpPr/>
          <p:nvPr/>
        </p:nvSpPr>
        <p:spPr bwMode="gray">
          <a:xfrm>
            <a:off x="734682" y="5175250"/>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96" name="Rectangle 95">
            <a:extLst>
              <a:ext uri="{FF2B5EF4-FFF2-40B4-BE49-F238E27FC236}">
                <a16:creationId xmlns:a16="http://schemas.microsoft.com/office/drawing/2014/main" id="{830B9C69-E3C6-AEAE-C169-EA755CBE2D64}"/>
              </a:ext>
            </a:extLst>
          </p:cNvPr>
          <p:cNvSpPr/>
          <p:nvPr/>
        </p:nvSpPr>
        <p:spPr bwMode="gray">
          <a:xfrm>
            <a:off x="729322" y="5048413"/>
            <a:ext cx="4356031" cy="3877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050" dirty="0">
                <a:solidFill>
                  <a:schemeClr val="tx1"/>
                </a:solidFill>
              </a:rPr>
              <a:t>Inaugurates South America’s first geothermal power plant (48 MW) at 4,500 meters in the Atacama Desert, by Enel and ENAP.</a:t>
            </a:r>
          </a:p>
        </p:txBody>
      </p:sp>
      <p:sp>
        <p:nvSpPr>
          <p:cNvPr id="97" name="Rectangle 96">
            <a:extLst>
              <a:ext uri="{FF2B5EF4-FFF2-40B4-BE49-F238E27FC236}">
                <a16:creationId xmlns:a16="http://schemas.microsoft.com/office/drawing/2014/main" id="{C6C4CC66-F7A2-4B9B-31A5-0348C41F36FB}"/>
              </a:ext>
            </a:extLst>
          </p:cNvPr>
          <p:cNvSpPr/>
          <p:nvPr/>
        </p:nvSpPr>
        <p:spPr bwMode="gray">
          <a:xfrm>
            <a:off x="306645" y="3825875"/>
            <a:ext cx="467570" cy="198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4-15</a:t>
            </a:r>
          </a:p>
        </p:txBody>
      </p:sp>
      <p:sp>
        <p:nvSpPr>
          <p:cNvPr id="98" name="Rectangle 97">
            <a:extLst>
              <a:ext uri="{FF2B5EF4-FFF2-40B4-BE49-F238E27FC236}">
                <a16:creationId xmlns:a16="http://schemas.microsoft.com/office/drawing/2014/main" id="{86DE3C75-8A26-D7C6-31F6-8D51737B4076}"/>
              </a:ext>
            </a:extLst>
          </p:cNvPr>
          <p:cNvSpPr/>
          <p:nvPr/>
        </p:nvSpPr>
        <p:spPr bwMode="gray">
          <a:xfrm>
            <a:off x="729322" y="4391095"/>
            <a:ext cx="4378667" cy="5626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Electricity tender reforms and structured PPAs produce transparent, technology-neutral contracts, improve auction regulations, and make it possible for geothermal developers to obtain 15- to 20-year PPAs.</a:t>
            </a:r>
          </a:p>
        </p:txBody>
      </p:sp>
      <p:sp>
        <p:nvSpPr>
          <p:cNvPr id="99" name="Oval 98">
            <a:extLst>
              <a:ext uri="{FF2B5EF4-FFF2-40B4-BE49-F238E27FC236}">
                <a16:creationId xmlns:a16="http://schemas.microsoft.com/office/drawing/2014/main" id="{DDA3E58A-1C98-C667-D147-C6AAAB352DB7}"/>
              </a:ext>
            </a:extLst>
          </p:cNvPr>
          <p:cNvSpPr/>
          <p:nvPr/>
        </p:nvSpPr>
        <p:spPr bwMode="gray">
          <a:xfrm>
            <a:off x="494557" y="3449638"/>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0" name="Oval 99">
            <a:extLst>
              <a:ext uri="{FF2B5EF4-FFF2-40B4-BE49-F238E27FC236}">
                <a16:creationId xmlns:a16="http://schemas.microsoft.com/office/drawing/2014/main" id="{50E1A0A2-6F90-9255-A0D3-68AD3F38EEA0}"/>
              </a:ext>
            </a:extLst>
          </p:cNvPr>
          <p:cNvSpPr/>
          <p:nvPr/>
        </p:nvSpPr>
        <p:spPr bwMode="gray">
          <a:xfrm>
            <a:off x="482982" y="4011613"/>
            <a:ext cx="133036" cy="119412"/>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1" name="Oval 100">
            <a:extLst>
              <a:ext uri="{FF2B5EF4-FFF2-40B4-BE49-F238E27FC236}">
                <a16:creationId xmlns:a16="http://schemas.microsoft.com/office/drawing/2014/main" id="{B9877A31-6ABE-9B6C-0E10-48FBA9E46C66}"/>
              </a:ext>
            </a:extLst>
          </p:cNvPr>
          <p:cNvSpPr/>
          <p:nvPr/>
        </p:nvSpPr>
        <p:spPr bwMode="gray">
          <a:xfrm>
            <a:off x="482982" y="579596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2" name="Oval 101">
            <a:extLst>
              <a:ext uri="{FF2B5EF4-FFF2-40B4-BE49-F238E27FC236}">
                <a16:creationId xmlns:a16="http://schemas.microsoft.com/office/drawing/2014/main" id="{D6FADAA5-600B-37BD-CC5C-8392550D702A}"/>
              </a:ext>
            </a:extLst>
          </p:cNvPr>
          <p:cNvSpPr/>
          <p:nvPr/>
        </p:nvSpPr>
        <p:spPr bwMode="gray">
          <a:xfrm>
            <a:off x="482982" y="4606925"/>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Rectangle 102">
            <a:extLst>
              <a:ext uri="{FF2B5EF4-FFF2-40B4-BE49-F238E27FC236}">
                <a16:creationId xmlns:a16="http://schemas.microsoft.com/office/drawing/2014/main" id="{3D6255E4-2A93-B682-DACD-92E54271C8E1}"/>
              </a:ext>
            </a:extLst>
          </p:cNvPr>
          <p:cNvSpPr/>
          <p:nvPr/>
        </p:nvSpPr>
        <p:spPr bwMode="gray">
          <a:xfrm>
            <a:off x="9634537" y="2316163"/>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Rectangle 103">
            <a:extLst>
              <a:ext uri="{FF2B5EF4-FFF2-40B4-BE49-F238E27FC236}">
                <a16:creationId xmlns:a16="http://schemas.microsoft.com/office/drawing/2014/main" id="{353D4C9E-E9E7-3D5B-3D5C-01498694D463}"/>
              </a:ext>
            </a:extLst>
          </p:cNvPr>
          <p:cNvSpPr/>
          <p:nvPr/>
        </p:nvSpPr>
        <p:spPr bwMode="gray">
          <a:xfrm>
            <a:off x="9809163" y="2309813"/>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105" name="Rectangle 104">
            <a:extLst>
              <a:ext uri="{FF2B5EF4-FFF2-40B4-BE49-F238E27FC236}">
                <a16:creationId xmlns:a16="http://schemas.microsoft.com/office/drawing/2014/main" id="{9A9B6FA3-6208-6876-434D-CAC2AE5F016A}"/>
              </a:ext>
            </a:extLst>
          </p:cNvPr>
          <p:cNvSpPr/>
          <p:nvPr/>
        </p:nvSpPr>
        <p:spPr bwMode="gray">
          <a:xfrm>
            <a:off x="9634537" y="2441575"/>
            <a:ext cx="139700" cy="77788"/>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Rectangle 105">
            <a:extLst>
              <a:ext uri="{FF2B5EF4-FFF2-40B4-BE49-F238E27FC236}">
                <a16:creationId xmlns:a16="http://schemas.microsoft.com/office/drawing/2014/main" id="{2784995E-9DB9-D6B5-CA34-F6A28110E89C}"/>
              </a:ext>
            </a:extLst>
          </p:cNvPr>
          <p:cNvSpPr/>
          <p:nvPr/>
        </p:nvSpPr>
        <p:spPr bwMode="gray">
          <a:xfrm>
            <a:off x="9809163" y="2436813"/>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107" name="Rectangle 106">
            <a:extLst>
              <a:ext uri="{FF2B5EF4-FFF2-40B4-BE49-F238E27FC236}">
                <a16:creationId xmlns:a16="http://schemas.microsoft.com/office/drawing/2014/main" id="{E69B74AB-BB47-B6D5-9F7F-35AE2CFA81BD}"/>
              </a:ext>
            </a:extLst>
          </p:cNvPr>
          <p:cNvSpPr/>
          <p:nvPr/>
        </p:nvSpPr>
        <p:spPr bwMode="gray">
          <a:xfrm>
            <a:off x="9634537" y="2566988"/>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8" name="Rectangle 107">
            <a:extLst>
              <a:ext uri="{FF2B5EF4-FFF2-40B4-BE49-F238E27FC236}">
                <a16:creationId xmlns:a16="http://schemas.microsoft.com/office/drawing/2014/main" id="{9D9C8A0D-CAB2-4F42-9CDD-C8485782EB6C}"/>
              </a:ext>
            </a:extLst>
          </p:cNvPr>
          <p:cNvSpPr/>
          <p:nvPr/>
        </p:nvSpPr>
        <p:spPr bwMode="gray">
          <a:xfrm>
            <a:off x="9809163" y="2562225"/>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109" name="Rectangle 108">
            <a:extLst>
              <a:ext uri="{FF2B5EF4-FFF2-40B4-BE49-F238E27FC236}">
                <a16:creationId xmlns:a16="http://schemas.microsoft.com/office/drawing/2014/main" id="{990490CE-6E5B-0C90-E7EE-81E5FB51CDAE}"/>
              </a:ext>
            </a:extLst>
          </p:cNvPr>
          <p:cNvSpPr/>
          <p:nvPr/>
        </p:nvSpPr>
        <p:spPr bwMode="gray">
          <a:xfrm>
            <a:off x="9634537" y="2698750"/>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Rectangle 109">
            <a:extLst>
              <a:ext uri="{FF2B5EF4-FFF2-40B4-BE49-F238E27FC236}">
                <a16:creationId xmlns:a16="http://schemas.microsoft.com/office/drawing/2014/main" id="{C4E68B1C-ABEB-7ABE-999A-7094BA2BAD9B}"/>
              </a:ext>
            </a:extLst>
          </p:cNvPr>
          <p:cNvSpPr/>
          <p:nvPr/>
        </p:nvSpPr>
        <p:spPr bwMode="gray">
          <a:xfrm>
            <a:off x="9809163" y="2692400"/>
            <a:ext cx="652463"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111" name="Rectangle 110">
            <a:extLst>
              <a:ext uri="{FF2B5EF4-FFF2-40B4-BE49-F238E27FC236}">
                <a16:creationId xmlns:a16="http://schemas.microsoft.com/office/drawing/2014/main" id="{A2718FAF-FBA2-0C7E-53CF-FA3C62FE0374}"/>
              </a:ext>
            </a:extLst>
          </p:cNvPr>
          <p:cNvSpPr/>
          <p:nvPr/>
        </p:nvSpPr>
        <p:spPr bwMode="gray">
          <a:xfrm>
            <a:off x="10204450" y="3990975"/>
            <a:ext cx="1943100" cy="11541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900" i="1" dirty="0">
                <a:solidFill>
                  <a:schemeClr val="tx1"/>
                </a:solidFill>
              </a:rPr>
              <a:t>Equivalent to </a:t>
            </a:r>
          </a:p>
          <a:p>
            <a:pPr marL="0" indent="0" algn="ctr">
              <a:spcBef>
                <a:spcPts val="0"/>
              </a:spcBef>
              <a:buNone/>
            </a:pPr>
            <a:r>
              <a:rPr lang="en-US" sz="1200" b="1" i="1" dirty="0">
                <a:solidFill>
                  <a:schemeClr val="tx1"/>
                </a:solidFill>
              </a:rPr>
              <a:t>6.8B</a:t>
            </a:r>
            <a:endParaRPr lang="en-US" sz="1200" i="1" dirty="0">
              <a:solidFill>
                <a:schemeClr val="tx1"/>
              </a:solidFill>
            </a:endParaRPr>
          </a:p>
          <a:p>
            <a:pPr marL="0" indent="0" algn="ctr">
              <a:spcBef>
                <a:spcPts val="0"/>
              </a:spcBef>
              <a:buNone/>
            </a:pPr>
            <a:r>
              <a:rPr lang="en-US" sz="900" i="1" dirty="0">
                <a:solidFill>
                  <a:schemeClr val="tx1"/>
                </a:solidFill>
              </a:rPr>
              <a:t>barrels of oil</a:t>
            </a:r>
          </a:p>
        </p:txBody>
      </p:sp>
      <p:sp>
        <p:nvSpPr>
          <p:cNvPr id="112" name="Rectangle 111">
            <a:extLst>
              <a:ext uri="{FF2B5EF4-FFF2-40B4-BE49-F238E27FC236}">
                <a16:creationId xmlns:a16="http://schemas.microsoft.com/office/drawing/2014/main" id="{339D62CB-6D6B-AD72-1286-39426122B752}"/>
              </a:ext>
            </a:extLst>
          </p:cNvPr>
          <p:cNvSpPr/>
          <p:nvPr/>
        </p:nvSpPr>
        <p:spPr bwMode="gray">
          <a:xfrm>
            <a:off x="10381532" y="4946650"/>
            <a:ext cx="1619100" cy="11541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200" b="1" i="1" dirty="0">
                <a:solidFill>
                  <a:schemeClr val="tx1"/>
                </a:solidFill>
              </a:rPr>
              <a:t>131x </a:t>
            </a:r>
            <a:r>
              <a:rPr lang="en-US" sz="900" i="1" dirty="0">
                <a:solidFill>
                  <a:schemeClr val="tx1"/>
                </a:solidFill>
              </a:rPr>
              <a:t>the country’s 2021 electricity consumption</a:t>
            </a:r>
          </a:p>
        </p:txBody>
      </p:sp>
      <p:sp>
        <p:nvSpPr>
          <p:cNvPr id="115" name="Rectangle 114">
            <a:extLst>
              <a:ext uri="{FF2B5EF4-FFF2-40B4-BE49-F238E27FC236}">
                <a16:creationId xmlns:a16="http://schemas.microsoft.com/office/drawing/2014/main" id="{26D30FA3-9B8C-FA91-D514-235B1B22864A}"/>
              </a:ext>
            </a:extLst>
          </p:cNvPr>
          <p:cNvSpPr/>
          <p:nvPr/>
        </p:nvSpPr>
        <p:spPr bwMode="gray">
          <a:xfrm>
            <a:off x="742900" y="3219701"/>
            <a:ext cx="4385671" cy="4527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20/25 Renewable Law improves long-term PPA structures and market access for geothermal as firm baseload generation, increases the clean energy objective to 20% by 2025, and modifies power supply tenders.</a:t>
            </a:r>
          </a:p>
        </p:txBody>
      </p:sp>
      <p:sp>
        <p:nvSpPr>
          <p:cNvPr id="116" name="Rectangle 115">
            <a:extLst>
              <a:ext uri="{FF2B5EF4-FFF2-40B4-BE49-F238E27FC236}">
                <a16:creationId xmlns:a16="http://schemas.microsoft.com/office/drawing/2014/main" id="{6A600D85-DEA2-DDC5-C497-54932341FB33}"/>
              </a:ext>
            </a:extLst>
          </p:cNvPr>
          <p:cNvSpPr/>
          <p:nvPr/>
        </p:nvSpPr>
        <p:spPr bwMode="gray">
          <a:xfrm>
            <a:off x="729776" y="2620028"/>
            <a:ext cx="4385671" cy="505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50" dirty="0">
                <a:solidFill>
                  <a:schemeClr val="tx1"/>
                </a:solidFill>
              </a:rPr>
              <a:t>Introduces mandatory renewable quotas for power providers under the NCRE Mandate (10% by 2024), creating demand and compliance pressure for non-conventional renewables like geothermal.</a:t>
            </a:r>
          </a:p>
        </p:txBody>
      </p:sp>
      <p:sp>
        <p:nvSpPr>
          <p:cNvPr id="117" name="Oval 116">
            <a:extLst>
              <a:ext uri="{FF2B5EF4-FFF2-40B4-BE49-F238E27FC236}">
                <a16:creationId xmlns:a16="http://schemas.microsoft.com/office/drawing/2014/main" id="{3952FD2C-7E2F-2986-0AE7-E408FE8413A0}"/>
              </a:ext>
            </a:extLst>
          </p:cNvPr>
          <p:cNvSpPr/>
          <p:nvPr/>
        </p:nvSpPr>
        <p:spPr bwMode="gray">
          <a:xfrm>
            <a:off x="482982" y="2312988"/>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8" name="Rectangle 117">
            <a:extLst>
              <a:ext uri="{FF2B5EF4-FFF2-40B4-BE49-F238E27FC236}">
                <a16:creationId xmlns:a16="http://schemas.microsoft.com/office/drawing/2014/main" id="{E988EC61-F724-BD84-23F7-F5F7BF8CE983}"/>
              </a:ext>
            </a:extLst>
          </p:cNvPr>
          <p:cNvSpPr/>
          <p:nvPr/>
        </p:nvSpPr>
        <p:spPr bwMode="gray">
          <a:xfrm>
            <a:off x="389563" y="3206750"/>
            <a:ext cx="384652" cy="2359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3</a:t>
            </a:r>
          </a:p>
        </p:txBody>
      </p:sp>
      <p:pic>
        <p:nvPicPr>
          <p:cNvPr id="119" name="Picture 118">
            <a:extLst>
              <a:ext uri="{FF2B5EF4-FFF2-40B4-BE49-F238E27FC236}">
                <a16:creationId xmlns:a16="http://schemas.microsoft.com/office/drawing/2014/main" id="{4522B397-789F-9EAE-2D11-9400B054CDCA}"/>
              </a:ext>
            </a:extLst>
          </p:cNvPr>
          <p:cNvPicPr>
            <a:picLocks noChangeAspect="1"/>
          </p:cNvPicPr>
          <p:nvPr/>
        </p:nvPicPr>
        <p:blipFill>
          <a:blip r:embed="rId18"/>
          <a:stretch>
            <a:fillRect/>
          </a:stretch>
        </p:blipFill>
        <p:spPr>
          <a:xfrm>
            <a:off x="6206083" y="2189163"/>
            <a:ext cx="1876495" cy="3068984"/>
          </a:xfrm>
          <a:prstGeom prst="rect">
            <a:avLst/>
          </a:prstGeom>
        </p:spPr>
      </p:pic>
      <p:sp>
        <p:nvSpPr>
          <p:cNvPr id="120" name="Rectangle 119">
            <a:extLst>
              <a:ext uri="{FF2B5EF4-FFF2-40B4-BE49-F238E27FC236}">
                <a16:creationId xmlns:a16="http://schemas.microsoft.com/office/drawing/2014/main" id="{52C68397-0D17-D181-FFB8-F1E6864B7C01}"/>
              </a:ext>
            </a:extLst>
          </p:cNvPr>
          <p:cNvSpPr/>
          <p:nvPr/>
        </p:nvSpPr>
        <p:spPr bwMode="gray">
          <a:xfrm>
            <a:off x="708652" y="5530847"/>
            <a:ext cx="4356031" cy="6622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050" dirty="0">
                <a:solidFill>
                  <a:schemeClr val="tx1"/>
                </a:solidFill>
              </a:rPr>
              <a:t>Issues two new geothermal exploration licenses to Transmark in the Andes, expanding its concession portfolio and signaling continued policy support for scaling geothermal as a firm, decarbonizing energy source.</a:t>
            </a:r>
          </a:p>
        </p:txBody>
      </p:sp>
      <p:sp>
        <p:nvSpPr>
          <p:cNvPr id="121" name="Rectangle 120">
            <a:extLst>
              <a:ext uri="{FF2B5EF4-FFF2-40B4-BE49-F238E27FC236}">
                <a16:creationId xmlns:a16="http://schemas.microsoft.com/office/drawing/2014/main" id="{E12A37D2-3C09-EA84-035D-710F971C5A23}"/>
              </a:ext>
            </a:extLst>
          </p:cNvPr>
          <p:cNvSpPr/>
          <p:nvPr/>
        </p:nvSpPr>
        <p:spPr bwMode="gray">
          <a:xfrm>
            <a:off x="390329" y="5102225"/>
            <a:ext cx="322890" cy="19535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7</a:t>
            </a:r>
          </a:p>
        </p:txBody>
      </p:sp>
      <p:sp>
        <p:nvSpPr>
          <p:cNvPr id="122" name="Oval 121">
            <a:extLst>
              <a:ext uri="{FF2B5EF4-FFF2-40B4-BE49-F238E27FC236}">
                <a16:creationId xmlns:a16="http://schemas.microsoft.com/office/drawing/2014/main" id="{CFE24DF1-9928-34EF-749F-7CB018830678}"/>
              </a:ext>
            </a:extLst>
          </p:cNvPr>
          <p:cNvSpPr/>
          <p:nvPr/>
        </p:nvSpPr>
        <p:spPr bwMode="gray">
          <a:xfrm>
            <a:off x="496482" y="5276850"/>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23" name="Group 122">
            <a:extLst>
              <a:ext uri="{FF2B5EF4-FFF2-40B4-BE49-F238E27FC236}">
                <a16:creationId xmlns:a16="http://schemas.microsoft.com/office/drawing/2014/main" id="{EBA9595C-EE28-467D-4CBD-00C1873A6A00}"/>
              </a:ext>
            </a:extLst>
          </p:cNvPr>
          <p:cNvGrpSpPr>
            <a:grpSpLocks noChangeAspect="1"/>
          </p:cNvGrpSpPr>
          <p:nvPr/>
        </p:nvGrpSpPr>
        <p:grpSpPr>
          <a:xfrm rot="21223571">
            <a:off x="6692142" y="2439988"/>
            <a:ext cx="801898" cy="2619259"/>
            <a:chOff x="2425700" y="1136650"/>
            <a:chExt cx="993775" cy="5381625"/>
          </a:xfrm>
          <a:noFill/>
        </p:grpSpPr>
        <p:sp>
          <p:nvSpPr>
            <p:cNvPr id="124" name="Freeform 6">
              <a:extLst>
                <a:ext uri="{FF2B5EF4-FFF2-40B4-BE49-F238E27FC236}">
                  <a16:creationId xmlns:a16="http://schemas.microsoft.com/office/drawing/2014/main" id="{B3D7FABB-4FED-B938-6868-D65A4D7FF05C}"/>
                </a:ext>
              </a:extLst>
            </p:cNvPr>
            <p:cNvSpPr>
              <a:spLocks/>
            </p:cNvSpPr>
            <p:nvPr/>
          </p:nvSpPr>
          <p:spPr bwMode="auto">
            <a:xfrm>
              <a:off x="2841625" y="2882900"/>
              <a:ext cx="198437" cy="247650"/>
            </a:xfrm>
            <a:custGeom>
              <a:avLst/>
              <a:gdLst>
                <a:gd name="T0" fmla="*/ 26713 w 52"/>
                <a:gd name="T1" fmla="*/ 240030 h 65"/>
                <a:gd name="T2" fmla="*/ 26713 w 52"/>
                <a:gd name="T3" fmla="*/ 236220 h 65"/>
                <a:gd name="T4" fmla="*/ 34345 w 52"/>
                <a:gd name="T5" fmla="*/ 220980 h 65"/>
                <a:gd name="T6" fmla="*/ 49609 w 52"/>
                <a:gd name="T7" fmla="*/ 224790 h 65"/>
                <a:gd name="T8" fmla="*/ 57241 w 52"/>
                <a:gd name="T9" fmla="*/ 217170 h 65"/>
                <a:gd name="T10" fmla="*/ 61058 w 52"/>
                <a:gd name="T11" fmla="*/ 201930 h 65"/>
                <a:gd name="T12" fmla="*/ 53425 w 52"/>
                <a:gd name="T13" fmla="*/ 179070 h 65"/>
                <a:gd name="T14" fmla="*/ 64874 w 52"/>
                <a:gd name="T15" fmla="*/ 175260 h 65"/>
                <a:gd name="T16" fmla="*/ 68690 w 52"/>
                <a:gd name="T17" fmla="*/ 152400 h 65"/>
                <a:gd name="T18" fmla="*/ 83954 w 52"/>
                <a:gd name="T19" fmla="*/ 148590 h 65"/>
                <a:gd name="T20" fmla="*/ 91586 w 52"/>
                <a:gd name="T21" fmla="*/ 140970 h 65"/>
                <a:gd name="T22" fmla="*/ 91586 w 52"/>
                <a:gd name="T23" fmla="*/ 121920 h 65"/>
                <a:gd name="T24" fmla="*/ 99219 w 52"/>
                <a:gd name="T25" fmla="*/ 114300 h 65"/>
                <a:gd name="T26" fmla="*/ 122115 w 52"/>
                <a:gd name="T27" fmla="*/ 114300 h 65"/>
                <a:gd name="T28" fmla="*/ 145012 w 52"/>
                <a:gd name="T29" fmla="*/ 121920 h 65"/>
                <a:gd name="T30" fmla="*/ 148828 w 52"/>
                <a:gd name="T31" fmla="*/ 133350 h 65"/>
                <a:gd name="T32" fmla="*/ 156460 w 52"/>
                <a:gd name="T33" fmla="*/ 125730 h 65"/>
                <a:gd name="T34" fmla="*/ 167908 w 52"/>
                <a:gd name="T35" fmla="*/ 133350 h 65"/>
                <a:gd name="T36" fmla="*/ 179357 w 52"/>
                <a:gd name="T37" fmla="*/ 137160 h 65"/>
                <a:gd name="T38" fmla="*/ 190805 w 52"/>
                <a:gd name="T39" fmla="*/ 133350 h 65"/>
                <a:gd name="T40" fmla="*/ 190805 w 52"/>
                <a:gd name="T41" fmla="*/ 121920 h 65"/>
                <a:gd name="T42" fmla="*/ 198437 w 52"/>
                <a:gd name="T43" fmla="*/ 106680 h 65"/>
                <a:gd name="T44" fmla="*/ 183173 w 52"/>
                <a:gd name="T45" fmla="*/ 80010 h 65"/>
                <a:gd name="T46" fmla="*/ 183173 w 52"/>
                <a:gd name="T47" fmla="*/ 60960 h 65"/>
                <a:gd name="T48" fmla="*/ 175540 w 52"/>
                <a:gd name="T49" fmla="*/ 34290 h 65"/>
                <a:gd name="T50" fmla="*/ 167908 w 52"/>
                <a:gd name="T51" fmla="*/ 26670 h 65"/>
                <a:gd name="T52" fmla="*/ 156460 w 52"/>
                <a:gd name="T53" fmla="*/ 26670 h 65"/>
                <a:gd name="T54" fmla="*/ 148828 w 52"/>
                <a:gd name="T55" fmla="*/ 15240 h 65"/>
                <a:gd name="T56" fmla="*/ 133563 w 52"/>
                <a:gd name="T57" fmla="*/ 11430 h 65"/>
                <a:gd name="T58" fmla="*/ 125931 w 52"/>
                <a:gd name="T59" fmla="*/ 3810 h 65"/>
                <a:gd name="T60" fmla="*/ 110667 w 52"/>
                <a:gd name="T61" fmla="*/ 0 h 65"/>
                <a:gd name="T62" fmla="*/ 91586 w 52"/>
                <a:gd name="T63" fmla="*/ 0 h 65"/>
                <a:gd name="T64" fmla="*/ 76322 w 52"/>
                <a:gd name="T65" fmla="*/ 11430 h 65"/>
                <a:gd name="T66" fmla="*/ 53425 w 52"/>
                <a:gd name="T67" fmla="*/ 15240 h 65"/>
                <a:gd name="T68" fmla="*/ 41977 w 52"/>
                <a:gd name="T69" fmla="*/ 11430 h 65"/>
                <a:gd name="T70" fmla="*/ 34345 w 52"/>
                <a:gd name="T71" fmla="*/ 19050 h 65"/>
                <a:gd name="T72" fmla="*/ 38161 w 52"/>
                <a:gd name="T73" fmla="*/ 19050 h 65"/>
                <a:gd name="T74" fmla="*/ 45793 w 52"/>
                <a:gd name="T75" fmla="*/ 49530 h 65"/>
                <a:gd name="T76" fmla="*/ 41977 w 52"/>
                <a:gd name="T77" fmla="*/ 80010 h 65"/>
                <a:gd name="T78" fmla="*/ 38161 w 52"/>
                <a:gd name="T79" fmla="*/ 102870 h 65"/>
                <a:gd name="T80" fmla="*/ 34345 w 52"/>
                <a:gd name="T81" fmla="*/ 114300 h 65"/>
                <a:gd name="T82" fmla="*/ 19080 w 52"/>
                <a:gd name="T83" fmla="*/ 125730 h 65"/>
                <a:gd name="T84" fmla="*/ 11448 w 52"/>
                <a:gd name="T85" fmla="*/ 129540 h 65"/>
                <a:gd name="T86" fmla="*/ 15264 w 52"/>
                <a:gd name="T87" fmla="*/ 144780 h 65"/>
                <a:gd name="T88" fmla="*/ 22897 w 52"/>
                <a:gd name="T89" fmla="*/ 152400 h 65"/>
                <a:gd name="T90" fmla="*/ 22897 w 52"/>
                <a:gd name="T91" fmla="*/ 167640 h 65"/>
                <a:gd name="T92" fmla="*/ 19080 w 52"/>
                <a:gd name="T93" fmla="*/ 175260 h 65"/>
                <a:gd name="T94" fmla="*/ 26713 w 52"/>
                <a:gd name="T95" fmla="*/ 179070 h 65"/>
                <a:gd name="T96" fmla="*/ 22897 w 52"/>
                <a:gd name="T97" fmla="*/ 190500 h 65"/>
                <a:gd name="T98" fmla="*/ 22897 w 52"/>
                <a:gd name="T99" fmla="*/ 205740 h 65"/>
                <a:gd name="T100" fmla="*/ 7632 w 52"/>
                <a:gd name="T101" fmla="*/ 213360 h 65"/>
                <a:gd name="T102" fmla="*/ 3816 w 52"/>
                <a:gd name="T103" fmla="*/ 232410 h 65"/>
                <a:gd name="T104" fmla="*/ 0 w 52"/>
                <a:gd name="T105" fmla="*/ 240030 h 65"/>
                <a:gd name="T106" fmla="*/ 19080 w 52"/>
                <a:gd name="T107" fmla="*/ 247650 h 65"/>
                <a:gd name="T108" fmla="*/ 26713 w 52"/>
                <a:gd name="T109" fmla="*/ 24003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2" h="65">
                  <a:moveTo>
                    <a:pt x="7" y="63"/>
                  </a:moveTo>
                  <a:cubicBezTo>
                    <a:pt x="7" y="62"/>
                    <a:pt x="7" y="62"/>
                    <a:pt x="7" y="62"/>
                  </a:cubicBezTo>
                  <a:cubicBezTo>
                    <a:pt x="9" y="58"/>
                    <a:pt x="9" y="58"/>
                    <a:pt x="9" y="58"/>
                  </a:cubicBezTo>
                  <a:cubicBezTo>
                    <a:pt x="13" y="59"/>
                    <a:pt x="13" y="59"/>
                    <a:pt x="13" y="59"/>
                  </a:cubicBezTo>
                  <a:cubicBezTo>
                    <a:pt x="15" y="57"/>
                    <a:pt x="15" y="57"/>
                    <a:pt x="15" y="57"/>
                  </a:cubicBezTo>
                  <a:cubicBezTo>
                    <a:pt x="15" y="57"/>
                    <a:pt x="16" y="53"/>
                    <a:pt x="16" y="53"/>
                  </a:cubicBezTo>
                  <a:cubicBezTo>
                    <a:pt x="16" y="53"/>
                    <a:pt x="14" y="47"/>
                    <a:pt x="14" y="47"/>
                  </a:cubicBezTo>
                  <a:cubicBezTo>
                    <a:pt x="14" y="47"/>
                    <a:pt x="17" y="46"/>
                    <a:pt x="17" y="46"/>
                  </a:cubicBezTo>
                  <a:cubicBezTo>
                    <a:pt x="17" y="45"/>
                    <a:pt x="18" y="40"/>
                    <a:pt x="18" y="40"/>
                  </a:cubicBezTo>
                  <a:cubicBezTo>
                    <a:pt x="22" y="39"/>
                    <a:pt x="22" y="39"/>
                    <a:pt x="22" y="39"/>
                  </a:cubicBezTo>
                  <a:cubicBezTo>
                    <a:pt x="22" y="39"/>
                    <a:pt x="24" y="38"/>
                    <a:pt x="24" y="37"/>
                  </a:cubicBezTo>
                  <a:cubicBezTo>
                    <a:pt x="24" y="37"/>
                    <a:pt x="24" y="32"/>
                    <a:pt x="24" y="32"/>
                  </a:cubicBezTo>
                  <a:cubicBezTo>
                    <a:pt x="24" y="32"/>
                    <a:pt x="26" y="30"/>
                    <a:pt x="26" y="30"/>
                  </a:cubicBezTo>
                  <a:cubicBezTo>
                    <a:pt x="27" y="30"/>
                    <a:pt x="31" y="30"/>
                    <a:pt x="32" y="30"/>
                  </a:cubicBezTo>
                  <a:cubicBezTo>
                    <a:pt x="33" y="30"/>
                    <a:pt x="38" y="32"/>
                    <a:pt x="38" y="32"/>
                  </a:cubicBezTo>
                  <a:cubicBezTo>
                    <a:pt x="38" y="32"/>
                    <a:pt x="39" y="35"/>
                    <a:pt x="39" y="35"/>
                  </a:cubicBezTo>
                  <a:cubicBezTo>
                    <a:pt x="41" y="33"/>
                    <a:pt x="41" y="33"/>
                    <a:pt x="41" y="33"/>
                  </a:cubicBezTo>
                  <a:cubicBezTo>
                    <a:pt x="41" y="33"/>
                    <a:pt x="44" y="35"/>
                    <a:pt x="44" y="35"/>
                  </a:cubicBezTo>
                  <a:cubicBezTo>
                    <a:pt x="44" y="36"/>
                    <a:pt x="47" y="36"/>
                    <a:pt x="47" y="36"/>
                  </a:cubicBezTo>
                  <a:cubicBezTo>
                    <a:pt x="50" y="35"/>
                    <a:pt x="50" y="35"/>
                    <a:pt x="50" y="35"/>
                  </a:cubicBezTo>
                  <a:cubicBezTo>
                    <a:pt x="50" y="34"/>
                    <a:pt x="50" y="33"/>
                    <a:pt x="50" y="32"/>
                  </a:cubicBezTo>
                  <a:cubicBezTo>
                    <a:pt x="51" y="30"/>
                    <a:pt x="51" y="29"/>
                    <a:pt x="52" y="28"/>
                  </a:cubicBezTo>
                  <a:cubicBezTo>
                    <a:pt x="52" y="27"/>
                    <a:pt x="48" y="21"/>
                    <a:pt x="48" y="21"/>
                  </a:cubicBezTo>
                  <a:cubicBezTo>
                    <a:pt x="48" y="16"/>
                    <a:pt x="48" y="16"/>
                    <a:pt x="48" y="16"/>
                  </a:cubicBezTo>
                  <a:cubicBezTo>
                    <a:pt x="48" y="13"/>
                    <a:pt x="48" y="11"/>
                    <a:pt x="46" y="9"/>
                  </a:cubicBezTo>
                  <a:cubicBezTo>
                    <a:pt x="46" y="8"/>
                    <a:pt x="45" y="8"/>
                    <a:pt x="44" y="7"/>
                  </a:cubicBezTo>
                  <a:cubicBezTo>
                    <a:pt x="41" y="7"/>
                    <a:pt x="41" y="7"/>
                    <a:pt x="41" y="7"/>
                  </a:cubicBezTo>
                  <a:cubicBezTo>
                    <a:pt x="41" y="7"/>
                    <a:pt x="39" y="4"/>
                    <a:pt x="39" y="4"/>
                  </a:cubicBezTo>
                  <a:cubicBezTo>
                    <a:pt x="39" y="4"/>
                    <a:pt x="35" y="4"/>
                    <a:pt x="35" y="3"/>
                  </a:cubicBezTo>
                  <a:cubicBezTo>
                    <a:pt x="35" y="3"/>
                    <a:pt x="33" y="1"/>
                    <a:pt x="33" y="1"/>
                  </a:cubicBezTo>
                  <a:cubicBezTo>
                    <a:pt x="33" y="1"/>
                    <a:pt x="29" y="0"/>
                    <a:pt x="29" y="0"/>
                  </a:cubicBezTo>
                  <a:cubicBezTo>
                    <a:pt x="28" y="0"/>
                    <a:pt x="24" y="0"/>
                    <a:pt x="24" y="0"/>
                  </a:cubicBezTo>
                  <a:cubicBezTo>
                    <a:pt x="20" y="3"/>
                    <a:pt x="20" y="3"/>
                    <a:pt x="20" y="3"/>
                  </a:cubicBezTo>
                  <a:cubicBezTo>
                    <a:pt x="14" y="4"/>
                    <a:pt x="14" y="4"/>
                    <a:pt x="14" y="4"/>
                  </a:cubicBezTo>
                  <a:cubicBezTo>
                    <a:pt x="11" y="3"/>
                    <a:pt x="11" y="3"/>
                    <a:pt x="11" y="3"/>
                  </a:cubicBezTo>
                  <a:cubicBezTo>
                    <a:pt x="9" y="5"/>
                    <a:pt x="9" y="5"/>
                    <a:pt x="9" y="5"/>
                  </a:cubicBezTo>
                  <a:cubicBezTo>
                    <a:pt x="9" y="5"/>
                    <a:pt x="9" y="5"/>
                    <a:pt x="10" y="5"/>
                  </a:cubicBezTo>
                  <a:cubicBezTo>
                    <a:pt x="10" y="8"/>
                    <a:pt x="11" y="11"/>
                    <a:pt x="12" y="13"/>
                  </a:cubicBezTo>
                  <a:cubicBezTo>
                    <a:pt x="12" y="14"/>
                    <a:pt x="12" y="20"/>
                    <a:pt x="11" y="21"/>
                  </a:cubicBezTo>
                  <a:cubicBezTo>
                    <a:pt x="11" y="22"/>
                    <a:pt x="10" y="24"/>
                    <a:pt x="10" y="27"/>
                  </a:cubicBezTo>
                  <a:cubicBezTo>
                    <a:pt x="10" y="29"/>
                    <a:pt x="10" y="29"/>
                    <a:pt x="9" y="30"/>
                  </a:cubicBezTo>
                  <a:cubicBezTo>
                    <a:pt x="8" y="30"/>
                    <a:pt x="6" y="33"/>
                    <a:pt x="5" y="33"/>
                  </a:cubicBezTo>
                  <a:cubicBezTo>
                    <a:pt x="5" y="33"/>
                    <a:pt x="3" y="33"/>
                    <a:pt x="3" y="34"/>
                  </a:cubicBezTo>
                  <a:cubicBezTo>
                    <a:pt x="4" y="35"/>
                    <a:pt x="4" y="37"/>
                    <a:pt x="4" y="38"/>
                  </a:cubicBezTo>
                  <a:cubicBezTo>
                    <a:pt x="5" y="39"/>
                    <a:pt x="6" y="39"/>
                    <a:pt x="6" y="40"/>
                  </a:cubicBezTo>
                  <a:cubicBezTo>
                    <a:pt x="6" y="41"/>
                    <a:pt x="6" y="43"/>
                    <a:pt x="6" y="44"/>
                  </a:cubicBezTo>
                  <a:cubicBezTo>
                    <a:pt x="5" y="44"/>
                    <a:pt x="5" y="45"/>
                    <a:pt x="5" y="46"/>
                  </a:cubicBezTo>
                  <a:cubicBezTo>
                    <a:pt x="6" y="46"/>
                    <a:pt x="7" y="46"/>
                    <a:pt x="7" y="47"/>
                  </a:cubicBezTo>
                  <a:cubicBezTo>
                    <a:pt x="7" y="48"/>
                    <a:pt x="6" y="50"/>
                    <a:pt x="6" y="50"/>
                  </a:cubicBezTo>
                  <a:cubicBezTo>
                    <a:pt x="6" y="51"/>
                    <a:pt x="7" y="53"/>
                    <a:pt x="6" y="54"/>
                  </a:cubicBezTo>
                  <a:cubicBezTo>
                    <a:pt x="6" y="54"/>
                    <a:pt x="3" y="55"/>
                    <a:pt x="2" y="56"/>
                  </a:cubicBezTo>
                  <a:cubicBezTo>
                    <a:pt x="2" y="57"/>
                    <a:pt x="1" y="59"/>
                    <a:pt x="1" y="61"/>
                  </a:cubicBezTo>
                  <a:cubicBezTo>
                    <a:pt x="1" y="61"/>
                    <a:pt x="0" y="62"/>
                    <a:pt x="0" y="63"/>
                  </a:cubicBezTo>
                  <a:cubicBezTo>
                    <a:pt x="5" y="65"/>
                    <a:pt x="5" y="65"/>
                    <a:pt x="5" y="65"/>
                  </a:cubicBezTo>
                  <a:lnTo>
                    <a:pt x="7" y="63"/>
                  </a:lnTo>
                  <a:close/>
                </a:path>
              </a:pathLst>
            </a:custGeom>
            <a:grpFill/>
            <a:ln w="3175" cap="rnd">
              <a:solidFill>
                <a:schemeClr val="accent5"/>
              </a:solidFill>
              <a:prstDash val="solid"/>
              <a:round/>
              <a:headEnd/>
              <a:tailEnd/>
            </a:ln>
          </p:spPr>
          <p:txBody>
            <a:bodyPr/>
            <a:lstStyle/>
            <a:p>
              <a:endParaRPr lang="ru-RU"/>
            </a:p>
          </p:txBody>
        </p:sp>
        <p:sp>
          <p:nvSpPr>
            <p:cNvPr id="125" name="Freeform 7">
              <a:extLst>
                <a:ext uri="{FF2B5EF4-FFF2-40B4-BE49-F238E27FC236}">
                  <a16:creationId xmlns:a16="http://schemas.microsoft.com/office/drawing/2014/main" id="{6A988468-85A3-5107-BDD8-50E6926FA2D2}"/>
                </a:ext>
              </a:extLst>
            </p:cNvPr>
            <p:cNvSpPr>
              <a:spLocks/>
            </p:cNvSpPr>
            <p:nvPr/>
          </p:nvSpPr>
          <p:spPr bwMode="auto">
            <a:xfrm>
              <a:off x="3013075" y="1304925"/>
              <a:ext cx="193675" cy="296862"/>
            </a:xfrm>
            <a:custGeom>
              <a:avLst/>
              <a:gdLst>
                <a:gd name="T0" fmla="*/ 140509 w 51"/>
                <a:gd name="T1" fmla="*/ 281638 h 78"/>
                <a:gd name="T2" fmla="*/ 163295 w 51"/>
                <a:gd name="T3" fmla="*/ 277832 h 78"/>
                <a:gd name="T4" fmla="*/ 163295 w 51"/>
                <a:gd name="T5" fmla="*/ 262609 h 78"/>
                <a:gd name="T6" fmla="*/ 174687 w 51"/>
                <a:gd name="T7" fmla="*/ 243579 h 78"/>
                <a:gd name="T8" fmla="*/ 155700 w 51"/>
                <a:gd name="T9" fmla="*/ 243579 h 78"/>
                <a:gd name="T10" fmla="*/ 144307 w 51"/>
                <a:gd name="T11" fmla="*/ 235967 h 78"/>
                <a:gd name="T12" fmla="*/ 151902 w 51"/>
                <a:gd name="T13" fmla="*/ 228355 h 78"/>
                <a:gd name="T14" fmla="*/ 174687 w 51"/>
                <a:gd name="T15" fmla="*/ 235967 h 78"/>
                <a:gd name="T16" fmla="*/ 186080 w 51"/>
                <a:gd name="T17" fmla="*/ 228355 h 78"/>
                <a:gd name="T18" fmla="*/ 178485 w 51"/>
                <a:gd name="T19" fmla="*/ 213132 h 78"/>
                <a:gd name="T20" fmla="*/ 186080 w 51"/>
                <a:gd name="T21" fmla="*/ 201714 h 78"/>
                <a:gd name="T22" fmla="*/ 193675 w 51"/>
                <a:gd name="T23" fmla="*/ 194102 h 78"/>
                <a:gd name="T24" fmla="*/ 174687 w 51"/>
                <a:gd name="T25" fmla="*/ 182684 h 78"/>
                <a:gd name="T26" fmla="*/ 159497 w 51"/>
                <a:gd name="T27" fmla="*/ 171267 h 78"/>
                <a:gd name="T28" fmla="*/ 163295 w 51"/>
                <a:gd name="T29" fmla="*/ 163655 h 78"/>
                <a:gd name="T30" fmla="*/ 170890 w 51"/>
                <a:gd name="T31" fmla="*/ 156043 h 78"/>
                <a:gd name="T32" fmla="*/ 170890 w 51"/>
                <a:gd name="T33" fmla="*/ 148431 h 78"/>
                <a:gd name="T34" fmla="*/ 167092 w 51"/>
                <a:gd name="T35" fmla="*/ 140819 h 78"/>
                <a:gd name="T36" fmla="*/ 159497 w 51"/>
                <a:gd name="T37" fmla="*/ 137013 h 78"/>
                <a:gd name="T38" fmla="*/ 170890 w 51"/>
                <a:gd name="T39" fmla="*/ 129401 h 78"/>
                <a:gd name="T40" fmla="*/ 182282 w 51"/>
                <a:gd name="T41" fmla="*/ 117984 h 78"/>
                <a:gd name="T42" fmla="*/ 186080 w 51"/>
                <a:gd name="T43" fmla="*/ 102760 h 78"/>
                <a:gd name="T44" fmla="*/ 170890 w 51"/>
                <a:gd name="T45" fmla="*/ 98954 h 78"/>
                <a:gd name="T46" fmla="*/ 170890 w 51"/>
                <a:gd name="T47" fmla="*/ 91342 h 78"/>
                <a:gd name="T48" fmla="*/ 189877 w 51"/>
                <a:gd name="T49" fmla="*/ 68507 h 78"/>
                <a:gd name="T50" fmla="*/ 193675 w 51"/>
                <a:gd name="T51" fmla="*/ 57089 h 78"/>
                <a:gd name="T52" fmla="*/ 174687 w 51"/>
                <a:gd name="T53" fmla="*/ 41865 h 78"/>
                <a:gd name="T54" fmla="*/ 155700 w 51"/>
                <a:gd name="T55" fmla="*/ 19030 h 78"/>
                <a:gd name="T56" fmla="*/ 140509 w 51"/>
                <a:gd name="T57" fmla="*/ 0 h 78"/>
                <a:gd name="T58" fmla="*/ 125319 w 51"/>
                <a:gd name="T59" fmla="*/ 3806 h 78"/>
                <a:gd name="T60" fmla="*/ 117724 w 51"/>
                <a:gd name="T61" fmla="*/ 15224 h 78"/>
                <a:gd name="T62" fmla="*/ 113926 w 51"/>
                <a:gd name="T63" fmla="*/ 26641 h 78"/>
                <a:gd name="T64" fmla="*/ 94939 w 51"/>
                <a:gd name="T65" fmla="*/ 34253 h 78"/>
                <a:gd name="T66" fmla="*/ 83546 w 51"/>
                <a:gd name="T67" fmla="*/ 22836 h 78"/>
                <a:gd name="T68" fmla="*/ 49368 w 51"/>
                <a:gd name="T69" fmla="*/ 19030 h 78"/>
                <a:gd name="T70" fmla="*/ 22785 w 51"/>
                <a:gd name="T71" fmla="*/ 38059 h 78"/>
                <a:gd name="T72" fmla="*/ 0 w 51"/>
                <a:gd name="T73" fmla="*/ 41865 h 78"/>
                <a:gd name="T74" fmla="*/ 0 w 51"/>
                <a:gd name="T75" fmla="*/ 45671 h 78"/>
                <a:gd name="T76" fmla="*/ 3798 w 51"/>
                <a:gd name="T77" fmla="*/ 57089 h 78"/>
                <a:gd name="T78" fmla="*/ 7595 w 51"/>
                <a:gd name="T79" fmla="*/ 68507 h 78"/>
                <a:gd name="T80" fmla="*/ 7595 w 51"/>
                <a:gd name="T81" fmla="*/ 83730 h 78"/>
                <a:gd name="T82" fmla="*/ 11393 w 51"/>
                <a:gd name="T83" fmla="*/ 95148 h 78"/>
                <a:gd name="T84" fmla="*/ 15190 w 51"/>
                <a:gd name="T85" fmla="*/ 117984 h 78"/>
                <a:gd name="T86" fmla="*/ 15190 w 51"/>
                <a:gd name="T87" fmla="*/ 125595 h 78"/>
                <a:gd name="T88" fmla="*/ 15190 w 51"/>
                <a:gd name="T89" fmla="*/ 137013 h 78"/>
                <a:gd name="T90" fmla="*/ 11393 w 51"/>
                <a:gd name="T91" fmla="*/ 152237 h 78"/>
                <a:gd name="T92" fmla="*/ 15190 w 51"/>
                <a:gd name="T93" fmla="*/ 171267 h 78"/>
                <a:gd name="T94" fmla="*/ 15190 w 51"/>
                <a:gd name="T95" fmla="*/ 182684 h 78"/>
                <a:gd name="T96" fmla="*/ 11393 w 51"/>
                <a:gd name="T97" fmla="*/ 201714 h 78"/>
                <a:gd name="T98" fmla="*/ 11393 w 51"/>
                <a:gd name="T99" fmla="*/ 216938 h 78"/>
                <a:gd name="T100" fmla="*/ 15190 w 51"/>
                <a:gd name="T101" fmla="*/ 224549 h 78"/>
                <a:gd name="T102" fmla="*/ 15190 w 51"/>
                <a:gd name="T103" fmla="*/ 243579 h 78"/>
                <a:gd name="T104" fmla="*/ 18988 w 51"/>
                <a:gd name="T105" fmla="*/ 258803 h 78"/>
                <a:gd name="T106" fmla="*/ 18988 w 51"/>
                <a:gd name="T107" fmla="*/ 266415 h 78"/>
                <a:gd name="T108" fmla="*/ 22785 w 51"/>
                <a:gd name="T109" fmla="*/ 281638 h 78"/>
                <a:gd name="T110" fmla="*/ 22785 w 51"/>
                <a:gd name="T111" fmla="*/ 293056 h 78"/>
                <a:gd name="T112" fmla="*/ 64558 w 51"/>
                <a:gd name="T113" fmla="*/ 296862 h 78"/>
                <a:gd name="T114" fmla="*/ 140509 w 51"/>
                <a:gd name="T115" fmla="*/ 281638 h 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 h="78">
                  <a:moveTo>
                    <a:pt x="37" y="74"/>
                  </a:moveTo>
                  <a:cubicBezTo>
                    <a:pt x="43" y="73"/>
                    <a:pt x="43" y="73"/>
                    <a:pt x="43" y="73"/>
                  </a:cubicBezTo>
                  <a:cubicBezTo>
                    <a:pt x="43" y="69"/>
                    <a:pt x="43" y="69"/>
                    <a:pt x="43" y="69"/>
                  </a:cubicBezTo>
                  <a:cubicBezTo>
                    <a:pt x="46" y="64"/>
                    <a:pt x="46" y="64"/>
                    <a:pt x="46" y="64"/>
                  </a:cubicBezTo>
                  <a:cubicBezTo>
                    <a:pt x="41" y="64"/>
                    <a:pt x="41" y="64"/>
                    <a:pt x="41" y="64"/>
                  </a:cubicBezTo>
                  <a:cubicBezTo>
                    <a:pt x="38" y="62"/>
                    <a:pt x="38" y="62"/>
                    <a:pt x="38" y="62"/>
                  </a:cubicBezTo>
                  <a:cubicBezTo>
                    <a:pt x="40" y="60"/>
                    <a:pt x="40" y="60"/>
                    <a:pt x="40" y="60"/>
                  </a:cubicBezTo>
                  <a:cubicBezTo>
                    <a:pt x="46" y="62"/>
                    <a:pt x="46" y="62"/>
                    <a:pt x="46" y="62"/>
                  </a:cubicBezTo>
                  <a:cubicBezTo>
                    <a:pt x="49" y="60"/>
                    <a:pt x="49" y="60"/>
                    <a:pt x="49" y="60"/>
                  </a:cubicBezTo>
                  <a:cubicBezTo>
                    <a:pt x="49" y="60"/>
                    <a:pt x="47" y="57"/>
                    <a:pt x="47" y="56"/>
                  </a:cubicBezTo>
                  <a:cubicBezTo>
                    <a:pt x="47" y="55"/>
                    <a:pt x="49" y="53"/>
                    <a:pt x="49" y="53"/>
                  </a:cubicBezTo>
                  <a:cubicBezTo>
                    <a:pt x="50" y="52"/>
                    <a:pt x="51" y="53"/>
                    <a:pt x="51" y="51"/>
                  </a:cubicBezTo>
                  <a:cubicBezTo>
                    <a:pt x="50" y="50"/>
                    <a:pt x="47" y="49"/>
                    <a:pt x="46" y="48"/>
                  </a:cubicBezTo>
                  <a:cubicBezTo>
                    <a:pt x="44" y="47"/>
                    <a:pt x="42" y="46"/>
                    <a:pt x="42" y="45"/>
                  </a:cubicBezTo>
                  <a:cubicBezTo>
                    <a:pt x="42" y="45"/>
                    <a:pt x="42" y="43"/>
                    <a:pt x="43" y="43"/>
                  </a:cubicBezTo>
                  <a:cubicBezTo>
                    <a:pt x="43" y="43"/>
                    <a:pt x="45" y="42"/>
                    <a:pt x="45" y="41"/>
                  </a:cubicBezTo>
                  <a:cubicBezTo>
                    <a:pt x="45" y="41"/>
                    <a:pt x="46" y="39"/>
                    <a:pt x="45" y="39"/>
                  </a:cubicBezTo>
                  <a:cubicBezTo>
                    <a:pt x="44" y="38"/>
                    <a:pt x="44" y="38"/>
                    <a:pt x="44" y="37"/>
                  </a:cubicBezTo>
                  <a:cubicBezTo>
                    <a:pt x="43" y="37"/>
                    <a:pt x="42" y="36"/>
                    <a:pt x="42" y="36"/>
                  </a:cubicBezTo>
                  <a:cubicBezTo>
                    <a:pt x="42" y="36"/>
                    <a:pt x="45" y="34"/>
                    <a:pt x="45" y="34"/>
                  </a:cubicBezTo>
                  <a:cubicBezTo>
                    <a:pt x="46" y="34"/>
                    <a:pt x="48" y="31"/>
                    <a:pt x="48" y="31"/>
                  </a:cubicBezTo>
                  <a:cubicBezTo>
                    <a:pt x="48" y="31"/>
                    <a:pt x="49" y="28"/>
                    <a:pt x="49" y="27"/>
                  </a:cubicBezTo>
                  <a:cubicBezTo>
                    <a:pt x="49" y="27"/>
                    <a:pt x="46" y="26"/>
                    <a:pt x="45" y="26"/>
                  </a:cubicBezTo>
                  <a:cubicBezTo>
                    <a:pt x="45" y="25"/>
                    <a:pt x="45" y="24"/>
                    <a:pt x="45" y="24"/>
                  </a:cubicBezTo>
                  <a:cubicBezTo>
                    <a:pt x="45" y="24"/>
                    <a:pt x="50" y="18"/>
                    <a:pt x="50" y="18"/>
                  </a:cubicBezTo>
                  <a:cubicBezTo>
                    <a:pt x="50" y="17"/>
                    <a:pt x="51" y="15"/>
                    <a:pt x="51" y="15"/>
                  </a:cubicBezTo>
                  <a:cubicBezTo>
                    <a:pt x="51" y="15"/>
                    <a:pt x="47" y="11"/>
                    <a:pt x="46" y="11"/>
                  </a:cubicBezTo>
                  <a:cubicBezTo>
                    <a:pt x="45" y="10"/>
                    <a:pt x="42" y="6"/>
                    <a:pt x="41" y="5"/>
                  </a:cubicBezTo>
                  <a:cubicBezTo>
                    <a:pt x="40" y="4"/>
                    <a:pt x="37" y="0"/>
                    <a:pt x="37" y="0"/>
                  </a:cubicBezTo>
                  <a:cubicBezTo>
                    <a:pt x="33" y="1"/>
                    <a:pt x="33" y="1"/>
                    <a:pt x="33" y="1"/>
                  </a:cubicBezTo>
                  <a:cubicBezTo>
                    <a:pt x="31" y="4"/>
                    <a:pt x="31" y="4"/>
                    <a:pt x="31" y="4"/>
                  </a:cubicBezTo>
                  <a:cubicBezTo>
                    <a:pt x="30" y="7"/>
                    <a:pt x="30" y="7"/>
                    <a:pt x="30" y="7"/>
                  </a:cubicBezTo>
                  <a:cubicBezTo>
                    <a:pt x="25" y="9"/>
                    <a:pt x="25" y="9"/>
                    <a:pt x="25" y="9"/>
                  </a:cubicBezTo>
                  <a:cubicBezTo>
                    <a:pt x="25" y="9"/>
                    <a:pt x="22" y="6"/>
                    <a:pt x="22" y="6"/>
                  </a:cubicBezTo>
                  <a:cubicBezTo>
                    <a:pt x="22" y="6"/>
                    <a:pt x="13" y="5"/>
                    <a:pt x="13" y="5"/>
                  </a:cubicBezTo>
                  <a:cubicBezTo>
                    <a:pt x="13" y="5"/>
                    <a:pt x="7" y="9"/>
                    <a:pt x="6" y="10"/>
                  </a:cubicBezTo>
                  <a:cubicBezTo>
                    <a:pt x="6" y="10"/>
                    <a:pt x="3" y="11"/>
                    <a:pt x="0" y="11"/>
                  </a:cubicBezTo>
                  <a:cubicBezTo>
                    <a:pt x="0" y="12"/>
                    <a:pt x="0" y="12"/>
                    <a:pt x="0" y="12"/>
                  </a:cubicBezTo>
                  <a:cubicBezTo>
                    <a:pt x="0" y="13"/>
                    <a:pt x="1" y="14"/>
                    <a:pt x="1" y="15"/>
                  </a:cubicBezTo>
                  <a:cubicBezTo>
                    <a:pt x="2" y="16"/>
                    <a:pt x="2" y="17"/>
                    <a:pt x="2" y="18"/>
                  </a:cubicBezTo>
                  <a:cubicBezTo>
                    <a:pt x="2" y="20"/>
                    <a:pt x="2" y="21"/>
                    <a:pt x="2" y="22"/>
                  </a:cubicBezTo>
                  <a:cubicBezTo>
                    <a:pt x="2" y="23"/>
                    <a:pt x="3" y="24"/>
                    <a:pt x="3" y="25"/>
                  </a:cubicBezTo>
                  <a:cubicBezTo>
                    <a:pt x="3" y="26"/>
                    <a:pt x="3" y="31"/>
                    <a:pt x="4" y="31"/>
                  </a:cubicBezTo>
                  <a:cubicBezTo>
                    <a:pt x="4" y="32"/>
                    <a:pt x="4" y="32"/>
                    <a:pt x="4" y="33"/>
                  </a:cubicBezTo>
                  <a:cubicBezTo>
                    <a:pt x="4" y="34"/>
                    <a:pt x="4" y="35"/>
                    <a:pt x="4" y="36"/>
                  </a:cubicBezTo>
                  <a:cubicBezTo>
                    <a:pt x="4" y="37"/>
                    <a:pt x="3" y="39"/>
                    <a:pt x="3" y="40"/>
                  </a:cubicBezTo>
                  <a:cubicBezTo>
                    <a:pt x="3" y="41"/>
                    <a:pt x="4" y="45"/>
                    <a:pt x="4" y="45"/>
                  </a:cubicBezTo>
                  <a:cubicBezTo>
                    <a:pt x="4" y="46"/>
                    <a:pt x="4" y="47"/>
                    <a:pt x="4" y="48"/>
                  </a:cubicBezTo>
                  <a:cubicBezTo>
                    <a:pt x="3" y="49"/>
                    <a:pt x="3" y="51"/>
                    <a:pt x="3" y="53"/>
                  </a:cubicBezTo>
                  <a:cubicBezTo>
                    <a:pt x="2" y="54"/>
                    <a:pt x="3" y="56"/>
                    <a:pt x="3" y="57"/>
                  </a:cubicBezTo>
                  <a:cubicBezTo>
                    <a:pt x="3" y="57"/>
                    <a:pt x="4" y="58"/>
                    <a:pt x="4" y="59"/>
                  </a:cubicBezTo>
                  <a:cubicBezTo>
                    <a:pt x="4" y="59"/>
                    <a:pt x="4" y="64"/>
                    <a:pt x="4" y="64"/>
                  </a:cubicBezTo>
                  <a:cubicBezTo>
                    <a:pt x="4" y="65"/>
                    <a:pt x="5" y="67"/>
                    <a:pt x="5" y="68"/>
                  </a:cubicBezTo>
                  <a:cubicBezTo>
                    <a:pt x="5" y="68"/>
                    <a:pt x="5" y="69"/>
                    <a:pt x="5" y="70"/>
                  </a:cubicBezTo>
                  <a:cubicBezTo>
                    <a:pt x="5" y="71"/>
                    <a:pt x="6" y="73"/>
                    <a:pt x="6" y="74"/>
                  </a:cubicBezTo>
                  <a:cubicBezTo>
                    <a:pt x="6" y="75"/>
                    <a:pt x="6" y="76"/>
                    <a:pt x="6" y="77"/>
                  </a:cubicBezTo>
                  <a:cubicBezTo>
                    <a:pt x="17" y="78"/>
                    <a:pt x="17" y="78"/>
                    <a:pt x="17" y="78"/>
                  </a:cubicBezTo>
                  <a:lnTo>
                    <a:pt x="37" y="74"/>
                  </a:lnTo>
                  <a:close/>
                </a:path>
              </a:pathLst>
            </a:custGeom>
            <a:grpFill/>
            <a:ln w="3175" cap="rnd">
              <a:solidFill>
                <a:schemeClr val="accent5"/>
              </a:solidFill>
              <a:prstDash val="solid"/>
              <a:round/>
              <a:headEnd/>
              <a:tailEnd/>
            </a:ln>
          </p:spPr>
          <p:txBody>
            <a:bodyPr/>
            <a:lstStyle/>
            <a:p>
              <a:endParaRPr lang="ru-RU"/>
            </a:p>
          </p:txBody>
        </p:sp>
        <p:sp>
          <p:nvSpPr>
            <p:cNvPr id="126" name="Freeform 125">
              <a:extLst>
                <a:ext uri="{FF2B5EF4-FFF2-40B4-BE49-F238E27FC236}">
                  <a16:creationId xmlns:a16="http://schemas.microsoft.com/office/drawing/2014/main" id="{59BA9B25-D93D-FEF4-FE7E-96A2D820D7DE}"/>
                </a:ext>
              </a:extLst>
            </p:cNvPr>
            <p:cNvSpPr>
              <a:spLocks/>
            </p:cNvSpPr>
            <p:nvPr/>
          </p:nvSpPr>
          <p:spPr bwMode="auto">
            <a:xfrm>
              <a:off x="2868613" y="2997200"/>
              <a:ext cx="193675" cy="166687"/>
            </a:xfrm>
            <a:custGeom>
              <a:avLst/>
              <a:gdLst>
                <a:gd name="T0" fmla="*/ 140509 w 51"/>
                <a:gd name="T1" fmla="*/ 18942 h 44"/>
                <a:gd name="T2" fmla="*/ 129117 w 51"/>
                <a:gd name="T3" fmla="*/ 11365 h 44"/>
                <a:gd name="T4" fmla="*/ 121522 w 51"/>
                <a:gd name="T5" fmla="*/ 18942 h 44"/>
                <a:gd name="T6" fmla="*/ 117724 w 51"/>
                <a:gd name="T7" fmla="*/ 7577 h 44"/>
                <a:gd name="T8" fmla="*/ 94939 w 51"/>
                <a:gd name="T9" fmla="*/ 0 h 44"/>
                <a:gd name="T10" fmla="*/ 72153 w 51"/>
                <a:gd name="T11" fmla="*/ 0 h 44"/>
                <a:gd name="T12" fmla="*/ 64558 w 51"/>
                <a:gd name="T13" fmla="*/ 7577 h 44"/>
                <a:gd name="T14" fmla="*/ 64558 w 51"/>
                <a:gd name="T15" fmla="*/ 26518 h 44"/>
                <a:gd name="T16" fmla="*/ 56963 w 51"/>
                <a:gd name="T17" fmla="*/ 34095 h 44"/>
                <a:gd name="T18" fmla="*/ 41773 w 51"/>
                <a:gd name="T19" fmla="*/ 37883 h 44"/>
                <a:gd name="T20" fmla="*/ 37975 w 51"/>
                <a:gd name="T21" fmla="*/ 60613 h 44"/>
                <a:gd name="T22" fmla="*/ 26583 w 51"/>
                <a:gd name="T23" fmla="*/ 64402 h 44"/>
                <a:gd name="T24" fmla="*/ 34178 w 51"/>
                <a:gd name="T25" fmla="*/ 87132 h 44"/>
                <a:gd name="T26" fmla="*/ 30380 w 51"/>
                <a:gd name="T27" fmla="*/ 102285 h 44"/>
                <a:gd name="T28" fmla="*/ 22785 w 51"/>
                <a:gd name="T29" fmla="*/ 109862 h 44"/>
                <a:gd name="T30" fmla="*/ 7595 w 51"/>
                <a:gd name="T31" fmla="*/ 106074 h 44"/>
                <a:gd name="T32" fmla="*/ 0 w 51"/>
                <a:gd name="T33" fmla="*/ 121227 h 44"/>
                <a:gd name="T34" fmla="*/ 0 w 51"/>
                <a:gd name="T35" fmla="*/ 125015 h 44"/>
                <a:gd name="T36" fmla="*/ 7595 w 51"/>
                <a:gd name="T37" fmla="*/ 128804 h 44"/>
                <a:gd name="T38" fmla="*/ 22785 w 51"/>
                <a:gd name="T39" fmla="*/ 128804 h 44"/>
                <a:gd name="T40" fmla="*/ 30380 w 51"/>
                <a:gd name="T41" fmla="*/ 136380 h 44"/>
                <a:gd name="T42" fmla="*/ 45571 w 51"/>
                <a:gd name="T43" fmla="*/ 147745 h 44"/>
                <a:gd name="T44" fmla="*/ 56963 w 51"/>
                <a:gd name="T45" fmla="*/ 159110 h 44"/>
                <a:gd name="T46" fmla="*/ 72153 w 51"/>
                <a:gd name="T47" fmla="*/ 159110 h 44"/>
                <a:gd name="T48" fmla="*/ 72153 w 51"/>
                <a:gd name="T49" fmla="*/ 151534 h 44"/>
                <a:gd name="T50" fmla="*/ 87344 w 51"/>
                <a:gd name="T51" fmla="*/ 136380 h 44"/>
                <a:gd name="T52" fmla="*/ 94939 w 51"/>
                <a:gd name="T53" fmla="*/ 125015 h 44"/>
                <a:gd name="T54" fmla="*/ 110129 w 51"/>
                <a:gd name="T55" fmla="*/ 125015 h 44"/>
                <a:gd name="T56" fmla="*/ 121522 w 51"/>
                <a:gd name="T57" fmla="*/ 117439 h 44"/>
                <a:gd name="T58" fmla="*/ 132914 w 51"/>
                <a:gd name="T59" fmla="*/ 117439 h 44"/>
                <a:gd name="T60" fmla="*/ 136712 w 51"/>
                <a:gd name="T61" fmla="*/ 136380 h 44"/>
                <a:gd name="T62" fmla="*/ 136712 w 51"/>
                <a:gd name="T63" fmla="*/ 140169 h 44"/>
                <a:gd name="T64" fmla="*/ 144307 w 51"/>
                <a:gd name="T65" fmla="*/ 143957 h 44"/>
                <a:gd name="T66" fmla="*/ 155700 w 51"/>
                <a:gd name="T67" fmla="*/ 140169 h 44"/>
                <a:gd name="T68" fmla="*/ 159497 w 51"/>
                <a:gd name="T69" fmla="*/ 159110 h 44"/>
                <a:gd name="T70" fmla="*/ 170890 w 51"/>
                <a:gd name="T71" fmla="*/ 166687 h 44"/>
                <a:gd name="T72" fmla="*/ 182282 w 51"/>
                <a:gd name="T73" fmla="*/ 166687 h 44"/>
                <a:gd name="T74" fmla="*/ 193675 w 51"/>
                <a:gd name="T75" fmla="*/ 155322 h 44"/>
                <a:gd name="T76" fmla="*/ 186080 w 51"/>
                <a:gd name="T77" fmla="*/ 143957 h 44"/>
                <a:gd name="T78" fmla="*/ 189877 w 51"/>
                <a:gd name="T79" fmla="*/ 132592 h 44"/>
                <a:gd name="T80" fmla="*/ 182282 w 51"/>
                <a:gd name="T81" fmla="*/ 121227 h 44"/>
                <a:gd name="T82" fmla="*/ 182282 w 51"/>
                <a:gd name="T83" fmla="*/ 98497 h 44"/>
                <a:gd name="T84" fmla="*/ 186080 w 51"/>
                <a:gd name="T85" fmla="*/ 79555 h 44"/>
                <a:gd name="T86" fmla="*/ 189877 w 51"/>
                <a:gd name="T87" fmla="*/ 68190 h 44"/>
                <a:gd name="T88" fmla="*/ 193675 w 51"/>
                <a:gd name="T89" fmla="*/ 53037 h 44"/>
                <a:gd name="T90" fmla="*/ 193675 w 51"/>
                <a:gd name="T91" fmla="*/ 45460 h 44"/>
                <a:gd name="T92" fmla="*/ 186080 w 51"/>
                <a:gd name="T93" fmla="*/ 30307 h 44"/>
                <a:gd name="T94" fmla="*/ 178485 w 51"/>
                <a:gd name="T95" fmla="*/ 34095 h 44"/>
                <a:gd name="T96" fmla="*/ 170890 w 51"/>
                <a:gd name="T97" fmla="*/ 37883 h 44"/>
                <a:gd name="T98" fmla="*/ 167092 w 51"/>
                <a:gd name="T99" fmla="*/ 22730 h 44"/>
                <a:gd name="T100" fmla="*/ 163295 w 51"/>
                <a:gd name="T101" fmla="*/ 18942 h 44"/>
                <a:gd name="T102" fmla="*/ 151902 w 51"/>
                <a:gd name="T103" fmla="*/ 22730 h 44"/>
                <a:gd name="T104" fmla="*/ 140509 w 51"/>
                <a:gd name="T105" fmla="*/ 18942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 h="44">
                  <a:moveTo>
                    <a:pt x="37" y="5"/>
                  </a:moveTo>
                  <a:cubicBezTo>
                    <a:pt x="37" y="5"/>
                    <a:pt x="34" y="3"/>
                    <a:pt x="34" y="3"/>
                  </a:cubicBezTo>
                  <a:cubicBezTo>
                    <a:pt x="32" y="5"/>
                    <a:pt x="32" y="5"/>
                    <a:pt x="32" y="5"/>
                  </a:cubicBezTo>
                  <a:cubicBezTo>
                    <a:pt x="32" y="5"/>
                    <a:pt x="31" y="2"/>
                    <a:pt x="31" y="2"/>
                  </a:cubicBezTo>
                  <a:cubicBezTo>
                    <a:pt x="31" y="2"/>
                    <a:pt x="26" y="0"/>
                    <a:pt x="25" y="0"/>
                  </a:cubicBezTo>
                  <a:cubicBezTo>
                    <a:pt x="24" y="0"/>
                    <a:pt x="20" y="0"/>
                    <a:pt x="19" y="0"/>
                  </a:cubicBezTo>
                  <a:cubicBezTo>
                    <a:pt x="19" y="0"/>
                    <a:pt x="17" y="2"/>
                    <a:pt x="17" y="2"/>
                  </a:cubicBezTo>
                  <a:cubicBezTo>
                    <a:pt x="17" y="2"/>
                    <a:pt x="17" y="7"/>
                    <a:pt x="17" y="7"/>
                  </a:cubicBezTo>
                  <a:cubicBezTo>
                    <a:pt x="17" y="8"/>
                    <a:pt x="15" y="9"/>
                    <a:pt x="15" y="9"/>
                  </a:cubicBezTo>
                  <a:cubicBezTo>
                    <a:pt x="11" y="10"/>
                    <a:pt x="11" y="10"/>
                    <a:pt x="11" y="10"/>
                  </a:cubicBezTo>
                  <a:cubicBezTo>
                    <a:pt x="11" y="10"/>
                    <a:pt x="10" y="15"/>
                    <a:pt x="10" y="16"/>
                  </a:cubicBezTo>
                  <a:cubicBezTo>
                    <a:pt x="10" y="16"/>
                    <a:pt x="7" y="17"/>
                    <a:pt x="7" y="17"/>
                  </a:cubicBezTo>
                  <a:cubicBezTo>
                    <a:pt x="7" y="17"/>
                    <a:pt x="9" y="23"/>
                    <a:pt x="9" y="23"/>
                  </a:cubicBezTo>
                  <a:cubicBezTo>
                    <a:pt x="9" y="23"/>
                    <a:pt x="8" y="27"/>
                    <a:pt x="8" y="27"/>
                  </a:cubicBezTo>
                  <a:cubicBezTo>
                    <a:pt x="6" y="29"/>
                    <a:pt x="6" y="29"/>
                    <a:pt x="6" y="29"/>
                  </a:cubicBezTo>
                  <a:cubicBezTo>
                    <a:pt x="2" y="28"/>
                    <a:pt x="2" y="28"/>
                    <a:pt x="2" y="28"/>
                  </a:cubicBezTo>
                  <a:cubicBezTo>
                    <a:pt x="0" y="32"/>
                    <a:pt x="0" y="32"/>
                    <a:pt x="0" y="32"/>
                  </a:cubicBezTo>
                  <a:cubicBezTo>
                    <a:pt x="0" y="33"/>
                    <a:pt x="0" y="33"/>
                    <a:pt x="0" y="33"/>
                  </a:cubicBezTo>
                  <a:cubicBezTo>
                    <a:pt x="2" y="34"/>
                    <a:pt x="2" y="34"/>
                    <a:pt x="2" y="34"/>
                  </a:cubicBezTo>
                  <a:cubicBezTo>
                    <a:pt x="6" y="34"/>
                    <a:pt x="6" y="34"/>
                    <a:pt x="6" y="34"/>
                  </a:cubicBezTo>
                  <a:cubicBezTo>
                    <a:pt x="8" y="36"/>
                    <a:pt x="8" y="36"/>
                    <a:pt x="8" y="36"/>
                  </a:cubicBezTo>
                  <a:cubicBezTo>
                    <a:pt x="8" y="36"/>
                    <a:pt x="12" y="38"/>
                    <a:pt x="12" y="39"/>
                  </a:cubicBezTo>
                  <a:cubicBezTo>
                    <a:pt x="13" y="39"/>
                    <a:pt x="15" y="42"/>
                    <a:pt x="15" y="42"/>
                  </a:cubicBezTo>
                  <a:cubicBezTo>
                    <a:pt x="19" y="42"/>
                    <a:pt x="19" y="42"/>
                    <a:pt x="19" y="42"/>
                  </a:cubicBezTo>
                  <a:cubicBezTo>
                    <a:pt x="19" y="40"/>
                    <a:pt x="19" y="40"/>
                    <a:pt x="19" y="40"/>
                  </a:cubicBezTo>
                  <a:cubicBezTo>
                    <a:pt x="19" y="40"/>
                    <a:pt x="22" y="36"/>
                    <a:pt x="23" y="36"/>
                  </a:cubicBezTo>
                  <a:cubicBezTo>
                    <a:pt x="23" y="35"/>
                    <a:pt x="25" y="33"/>
                    <a:pt x="25" y="33"/>
                  </a:cubicBezTo>
                  <a:cubicBezTo>
                    <a:pt x="29" y="33"/>
                    <a:pt x="29" y="33"/>
                    <a:pt x="29" y="33"/>
                  </a:cubicBezTo>
                  <a:cubicBezTo>
                    <a:pt x="32" y="31"/>
                    <a:pt x="32" y="31"/>
                    <a:pt x="32" y="31"/>
                  </a:cubicBezTo>
                  <a:cubicBezTo>
                    <a:pt x="35" y="31"/>
                    <a:pt x="35" y="31"/>
                    <a:pt x="35" y="31"/>
                  </a:cubicBezTo>
                  <a:cubicBezTo>
                    <a:pt x="35" y="31"/>
                    <a:pt x="36" y="35"/>
                    <a:pt x="36" y="36"/>
                  </a:cubicBezTo>
                  <a:cubicBezTo>
                    <a:pt x="37" y="36"/>
                    <a:pt x="36" y="37"/>
                    <a:pt x="36" y="37"/>
                  </a:cubicBezTo>
                  <a:cubicBezTo>
                    <a:pt x="36" y="38"/>
                    <a:pt x="38" y="38"/>
                    <a:pt x="38" y="38"/>
                  </a:cubicBezTo>
                  <a:cubicBezTo>
                    <a:pt x="41" y="37"/>
                    <a:pt x="41" y="37"/>
                    <a:pt x="41" y="37"/>
                  </a:cubicBezTo>
                  <a:cubicBezTo>
                    <a:pt x="42" y="42"/>
                    <a:pt x="42" y="42"/>
                    <a:pt x="42" y="42"/>
                  </a:cubicBezTo>
                  <a:cubicBezTo>
                    <a:pt x="45" y="44"/>
                    <a:pt x="45" y="44"/>
                    <a:pt x="45" y="44"/>
                  </a:cubicBezTo>
                  <a:cubicBezTo>
                    <a:pt x="48" y="44"/>
                    <a:pt x="48" y="44"/>
                    <a:pt x="48" y="44"/>
                  </a:cubicBezTo>
                  <a:cubicBezTo>
                    <a:pt x="48" y="44"/>
                    <a:pt x="51" y="42"/>
                    <a:pt x="51" y="41"/>
                  </a:cubicBezTo>
                  <a:cubicBezTo>
                    <a:pt x="51" y="41"/>
                    <a:pt x="49" y="38"/>
                    <a:pt x="49" y="38"/>
                  </a:cubicBezTo>
                  <a:cubicBezTo>
                    <a:pt x="49" y="37"/>
                    <a:pt x="50" y="36"/>
                    <a:pt x="50" y="35"/>
                  </a:cubicBezTo>
                  <a:cubicBezTo>
                    <a:pt x="50" y="35"/>
                    <a:pt x="48" y="33"/>
                    <a:pt x="48" y="32"/>
                  </a:cubicBezTo>
                  <a:cubicBezTo>
                    <a:pt x="48" y="31"/>
                    <a:pt x="48" y="26"/>
                    <a:pt x="48" y="26"/>
                  </a:cubicBezTo>
                  <a:cubicBezTo>
                    <a:pt x="48" y="26"/>
                    <a:pt x="49" y="22"/>
                    <a:pt x="49" y="21"/>
                  </a:cubicBezTo>
                  <a:cubicBezTo>
                    <a:pt x="49" y="21"/>
                    <a:pt x="50" y="19"/>
                    <a:pt x="50" y="18"/>
                  </a:cubicBezTo>
                  <a:cubicBezTo>
                    <a:pt x="50" y="17"/>
                    <a:pt x="51" y="15"/>
                    <a:pt x="51" y="14"/>
                  </a:cubicBezTo>
                  <a:cubicBezTo>
                    <a:pt x="51" y="13"/>
                    <a:pt x="51" y="13"/>
                    <a:pt x="51" y="12"/>
                  </a:cubicBezTo>
                  <a:cubicBezTo>
                    <a:pt x="50" y="10"/>
                    <a:pt x="49" y="9"/>
                    <a:pt x="49" y="8"/>
                  </a:cubicBezTo>
                  <a:cubicBezTo>
                    <a:pt x="49" y="8"/>
                    <a:pt x="48" y="8"/>
                    <a:pt x="47" y="9"/>
                  </a:cubicBezTo>
                  <a:cubicBezTo>
                    <a:pt x="46" y="11"/>
                    <a:pt x="45" y="12"/>
                    <a:pt x="45" y="10"/>
                  </a:cubicBezTo>
                  <a:cubicBezTo>
                    <a:pt x="44" y="9"/>
                    <a:pt x="44" y="8"/>
                    <a:pt x="44" y="6"/>
                  </a:cubicBezTo>
                  <a:cubicBezTo>
                    <a:pt x="44" y="6"/>
                    <a:pt x="44" y="5"/>
                    <a:pt x="43" y="5"/>
                  </a:cubicBezTo>
                  <a:cubicBezTo>
                    <a:pt x="40" y="6"/>
                    <a:pt x="40" y="6"/>
                    <a:pt x="40" y="6"/>
                  </a:cubicBezTo>
                  <a:cubicBezTo>
                    <a:pt x="40" y="6"/>
                    <a:pt x="37" y="6"/>
                    <a:pt x="37" y="5"/>
                  </a:cubicBezTo>
                  <a:close/>
                </a:path>
              </a:pathLst>
            </a:custGeom>
            <a:grpFill/>
            <a:ln w="3175" cap="rnd">
              <a:solidFill>
                <a:schemeClr val="accent5"/>
              </a:solidFill>
              <a:prstDash val="solid"/>
              <a:round/>
              <a:headEnd/>
              <a:tailEnd/>
            </a:ln>
          </p:spPr>
          <p:txBody>
            <a:bodyPr/>
            <a:lstStyle/>
            <a:p>
              <a:endParaRPr lang="ru-RU"/>
            </a:p>
          </p:txBody>
        </p:sp>
        <p:sp>
          <p:nvSpPr>
            <p:cNvPr id="127" name="Freeform 126">
              <a:extLst>
                <a:ext uri="{FF2B5EF4-FFF2-40B4-BE49-F238E27FC236}">
                  <a16:creationId xmlns:a16="http://schemas.microsoft.com/office/drawing/2014/main" id="{4D061744-32B9-3424-1D8B-A2D3E9068769}"/>
                </a:ext>
              </a:extLst>
            </p:cNvPr>
            <p:cNvSpPr>
              <a:spLocks/>
            </p:cNvSpPr>
            <p:nvPr/>
          </p:nvSpPr>
          <p:spPr bwMode="auto">
            <a:xfrm>
              <a:off x="2817813" y="3114675"/>
              <a:ext cx="222250" cy="152400"/>
            </a:xfrm>
            <a:custGeom>
              <a:avLst/>
              <a:gdLst>
                <a:gd name="T0" fmla="*/ 38319 w 58"/>
                <a:gd name="T1" fmla="*/ 133350 h 40"/>
                <a:gd name="T2" fmla="*/ 68974 w 58"/>
                <a:gd name="T3" fmla="*/ 137160 h 40"/>
                <a:gd name="T4" fmla="*/ 72806 w 58"/>
                <a:gd name="T5" fmla="*/ 137160 h 40"/>
                <a:gd name="T6" fmla="*/ 76638 w 58"/>
                <a:gd name="T7" fmla="*/ 125730 h 40"/>
                <a:gd name="T8" fmla="*/ 91966 w 58"/>
                <a:gd name="T9" fmla="*/ 121920 h 40"/>
                <a:gd name="T10" fmla="*/ 107293 w 58"/>
                <a:gd name="T11" fmla="*/ 121920 h 40"/>
                <a:gd name="T12" fmla="*/ 130284 w 58"/>
                <a:gd name="T13" fmla="*/ 125730 h 40"/>
                <a:gd name="T14" fmla="*/ 149444 w 58"/>
                <a:gd name="T15" fmla="*/ 137160 h 40"/>
                <a:gd name="T16" fmla="*/ 160940 w 58"/>
                <a:gd name="T17" fmla="*/ 148590 h 40"/>
                <a:gd name="T18" fmla="*/ 183931 w 58"/>
                <a:gd name="T19" fmla="*/ 152400 h 40"/>
                <a:gd name="T20" fmla="*/ 187763 w 58"/>
                <a:gd name="T21" fmla="*/ 137160 h 40"/>
                <a:gd name="T22" fmla="*/ 195427 w 58"/>
                <a:gd name="T23" fmla="*/ 125730 h 40"/>
                <a:gd name="T24" fmla="*/ 191595 w 58"/>
                <a:gd name="T25" fmla="*/ 110490 h 40"/>
                <a:gd name="T26" fmla="*/ 199259 w 58"/>
                <a:gd name="T27" fmla="*/ 95250 h 40"/>
                <a:gd name="T28" fmla="*/ 222250 w 58"/>
                <a:gd name="T29" fmla="*/ 68580 h 40"/>
                <a:gd name="T30" fmla="*/ 222250 w 58"/>
                <a:gd name="T31" fmla="*/ 49530 h 40"/>
                <a:gd name="T32" fmla="*/ 210754 w 58"/>
                <a:gd name="T33" fmla="*/ 41910 h 40"/>
                <a:gd name="T34" fmla="*/ 206922 w 58"/>
                <a:gd name="T35" fmla="*/ 22860 h 40"/>
                <a:gd name="T36" fmla="*/ 195427 w 58"/>
                <a:gd name="T37" fmla="*/ 26670 h 40"/>
                <a:gd name="T38" fmla="*/ 187763 w 58"/>
                <a:gd name="T39" fmla="*/ 22860 h 40"/>
                <a:gd name="T40" fmla="*/ 187763 w 58"/>
                <a:gd name="T41" fmla="*/ 19050 h 40"/>
                <a:gd name="T42" fmla="*/ 183931 w 58"/>
                <a:gd name="T43" fmla="*/ 0 h 40"/>
                <a:gd name="T44" fmla="*/ 172435 w 58"/>
                <a:gd name="T45" fmla="*/ 0 h 40"/>
                <a:gd name="T46" fmla="*/ 160940 w 58"/>
                <a:gd name="T47" fmla="*/ 7620 h 40"/>
                <a:gd name="T48" fmla="*/ 145612 w 58"/>
                <a:gd name="T49" fmla="*/ 7620 h 40"/>
                <a:gd name="T50" fmla="*/ 137948 w 58"/>
                <a:gd name="T51" fmla="*/ 19050 h 40"/>
                <a:gd name="T52" fmla="*/ 122621 w 58"/>
                <a:gd name="T53" fmla="*/ 34290 h 40"/>
                <a:gd name="T54" fmla="*/ 122621 w 58"/>
                <a:gd name="T55" fmla="*/ 41910 h 40"/>
                <a:gd name="T56" fmla="*/ 107293 w 58"/>
                <a:gd name="T57" fmla="*/ 41910 h 40"/>
                <a:gd name="T58" fmla="*/ 95797 w 58"/>
                <a:gd name="T59" fmla="*/ 30480 h 40"/>
                <a:gd name="T60" fmla="*/ 80470 w 58"/>
                <a:gd name="T61" fmla="*/ 19050 h 40"/>
                <a:gd name="T62" fmla="*/ 72806 w 58"/>
                <a:gd name="T63" fmla="*/ 11430 h 40"/>
                <a:gd name="T64" fmla="*/ 57478 w 58"/>
                <a:gd name="T65" fmla="*/ 11430 h 40"/>
                <a:gd name="T66" fmla="*/ 49815 w 58"/>
                <a:gd name="T67" fmla="*/ 7620 h 40"/>
                <a:gd name="T68" fmla="*/ 42151 w 58"/>
                <a:gd name="T69" fmla="*/ 15240 h 40"/>
                <a:gd name="T70" fmla="*/ 22991 w 58"/>
                <a:gd name="T71" fmla="*/ 7620 h 40"/>
                <a:gd name="T72" fmla="*/ 15328 w 58"/>
                <a:gd name="T73" fmla="*/ 22860 h 40"/>
                <a:gd name="T74" fmla="*/ 7664 w 58"/>
                <a:gd name="T75" fmla="*/ 34290 h 40"/>
                <a:gd name="T76" fmla="*/ 11496 w 58"/>
                <a:gd name="T77" fmla="*/ 49530 h 40"/>
                <a:gd name="T78" fmla="*/ 7664 w 58"/>
                <a:gd name="T79" fmla="*/ 72390 h 40"/>
                <a:gd name="T80" fmla="*/ 3832 w 58"/>
                <a:gd name="T81" fmla="*/ 102870 h 40"/>
                <a:gd name="T82" fmla="*/ 0 w 58"/>
                <a:gd name="T83" fmla="*/ 110490 h 40"/>
                <a:gd name="T84" fmla="*/ 15328 w 58"/>
                <a:gd name="T85" fmla="*/ 121920 h 40"/>
                <a:gd name="T86" fmla="*/ 38319 w 58"/>
                <a:gd name="T87" fmla="*/ 133350 h 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40">
                  <a:moveTo>
                    <a:pt x="10" y="35"/>
                  </a:moveTo>
                  <a:cubicBezTo>
                    <a:pt x="18" y="36"/>
                    <a:pt x="18" y="36"/>
                    <a:pt x="18" y="36"/>
                  </a:cubicBezTo>
                  <a:cubicBezTo>
                    <a:pt x="19" y="36"/>
                    <a:pt x="19" y="36"/>
                    <a:pt x="19" y="36"/>
                  </a:cubicBezTo>
                  <a:cubicBezTo>
                    <a:pt x="20" y="33"/>
                    <a:pt x="20" y="33"/>
                    <a:pt x="20" y="33"/>
                  </a:cubicBezTo>
                  <a:cubicBezTo>
                    <a:pt x="24" y="32"/>
                    <a:pt x="24" y="32"/>
                    <a:pt x="24" y="32"/>
                  </a:cubicBezTo>
                  <a:cubicBezTo>
                    <a:pt x="28" y="32"/>
                    <a:pt x="28" y="32"/>
                    <a:pt x="28" y="32"/>
                  </a:cubicBezTo>
                  <a:cubicBezTo>
                    <a:pt x="28" y="32"/>
                    <a:pt x="34" y="33"/>
                    <a:pt x="34" y="33"/>
                  </a:cubicBezTo>
                  <a:cubicBezTo>
                    <a:pt x="35" y="34"/>
                    <a:pt x="39" y="35"/>
                    <a:pt x="39" y="36"/>
                  </a:cubicBezTo>
                  <a:cubicBezTo>
                    <a:pt x="39" y="37"/>
                    <a:pt x="42" y="39"/>
                    <a:pt x="42" y="39"/>
                  </a:cubicBezTo>
                  <a:cubicBezTo>
                    <a:pt x="48" y="40"/>
                    <a:pt x="48" y="40"/>
                    <a:pt x="48" y="40"/>
                  </a:cubicBezTo>
                  <a:cubicBezTo>
                    <a:pt x="49" y="39"/>
                    <a:pt x="49" y="38"/>
                    <a:pt x="49" y="36"/>
                  </a:cubicBezTo>
                  <a:cubicBezTo>
                    <a:pt x="50" y="35"/>
                    <a:pt x="51" y="34"/>
                    <a:pt x="51" y="33"/>
                  </a:cubicBezTo>
                  <a:cubicBezTo>
                    <a:pt x="51" y="31"/>
                    <a:pt x="50" y="29"/>
                    <a:pt x="50" y="29"/>
                  </a:cubicBezTo>
                  <a:cubicBezTo>
                    <a:pt x="50" y="28"/>
                    <a:pt x="52" y="25"/>
                    <a:pt x="52" y="25"/>
                  </a:cubicBezTo>
                  <a:cubicBezTo>
                    <a:pt x="53" y="25"/>
                    <a:pt x="57" y="18"/>
                    <a:pt x="58" y="18"/>
                  </a:cubicBezTo>
                  <a:cubicBezTo>
                    <a:pt x="58" y="17"/>
                    <a:pt x="58" y="13"/>
                    <a:pt x="58" y="13"/>
                  </a:cubicBezTo>
                  <a:cubicBezTo>
                    <a:pt x="55" y="11"/>
                    <a:pt x="55" y="11"/>
                    <a:pt x="55" y="11"/>
                  </a:cubicBezTo>
                  <a:cubicBezTo>
                    <a:pt x="54" y="6"/>
                    <a:pt x="54" y="6"/>
                    <a:pt x="54" y="6"/>
                  </a:cubicBezTo>
                  <a:cubicBezTo>
                    <a:pt x="51" y="7"/>
                    <a:pt x="51" y="7"/>
                    <a:pt x="51" y="7"/>
                  </a:cubicBezTo>
                  <a:cubicBezTo>
                    <a:pt x="51" y="7"/>
                    <a:pt x="49" y="7"/>
                    <a:pt x="49" y="6"/>
                  </a:cubicBezTo>
                  <a:cubicBezTo>
                    <a:pt x="49" y="6"/>
                    <a:pt x="50" y="5"/>
                    <a:pt x="49" y="5"/>
                  </a:cubicBezTo>
                  <a:cubicBezTo>
                    <a:pt x="49" y="4"/>
                    <a:pt x="48" y="0"/>
                    <a:pt x="48" y="0"/>
                  </a:cubicBezTo>
                  <a:cubicBezTo>
                    <a:pt x="45" y="0"/>
                    <a:pt x="45" y="0"/>
                    <a:pt x="45" y="0"/>
                  </a:cubicBezTo>
                  <a:cubicBezTo>
                    <a:pt x="42" y="2"/>
                    <a:pt x="42" y="2"/>
                    <a:pt x="42" y="2"/>
                  </a:cubicBezTo>
                  <a:cubicBezTo>
                    <a:pt x="38" y="2"/>
                    <a:pt x="38" y="2"/>
                    <a:pt x="38" y="2"/>
                  </a:cubicBezTo>
                  <a:cubicBezTo>
                    <a:pt x="38" y="2"/>
                    <a:pt x="36" y="4"/>
                    <a:pt x="36" y="5"/>
                  </a:cubicBezTo>
                  <a:cubicBezTo>
                    <a:pt x="35" y="5"/>
                    <a:pt x="32" y="9"/>
                    <a:pt x="32" y="9"/>
                  </a:cubicBezTo>
                  <a:cubicBezTo>
                    <a:pt x="32" y="11"/>
                    <a:pt x="32" y="11"/>
                    <a:pt x="32" y="11"/>
                  </a:cubicBezTo>
                  <a:cubicBezTo>
                    <a:pt x="28" y="11"/>
                    <a:pt x="28" y="11"/>
                    <a:pt x="28" y="11"/>
                  </a:cubicBezTo>
                  <a:cubicBezTo>
                    <a:pt x="28" y="11"/>
                    <a:pt x="26" y="8"/>
                    <a:pt x="25" y="8"/>
                  </a:cubicBezTo>
                  <a:cubicBezTo>
                    <a:pt x="25" y="7"/>
                    <a:pt x="21" y="5"/>
                    <a:pt x="21" y="5"/>
                  </a:cubicBezTo>
                  <a:cubicBezTo>
                    <a:pt x="19" y="3"/>
                    <a:pt x="19" y="3"/>
                    <a:pt x="19" y="3"/>
                  </a:cubicBezTo>
                  <a:cubicBezTo>
                    <a:pt x="15" y="3"/>
                    <a:pt x="15" y="3"/>
                    <a:pt x="15" y="3"/>
                  </a:cubicBezTo>
                  <a:cubicBezTo>
                    <a:pt x="13" y="2"/>
                    <a:pt x="13" y="2"/>
                    <a:pt x="13" y="2"/>
                  </a:cubicBezTo>
                  <a:cubicBezTo>
                    <a:pt x="11" y="4"/>
                    <a:pt x="11" y="4"/>
                    <a:pt x="11" y="4"/>
                  </a:cubicBezTo>
                  <a:cubicBezTo>
                    <a:pt x="6" y="2"/>
                    <a:pt x="6" y="2"/>
                    <a:pt x="6" y="2"/>
                  </a:cubicBezTo>
                  <a:cubicBezTo>
                    <a:pt x="5" y="3"/>
                    <a:pt x="4" y="5"/>
                    <a:pt x="4" y="6"/>
                  </a:cubicBezTo>
                  <a:cubicBezTo>
                    <a:pt x="3" y="6"/>
                    <a:pt x="2" y="7"/>
                    <a:pt x="2" y="9"/>
                  </a:cubicBezTo>
                  <a:cubicBezTo>
                    <a:pt x="2" y="10"/>
                    <a:pt x="3" y="12"/>
                    <a:pt x="3" y="13"/>
                  </a:cubicBezTo>
                  <a:cubicBezTo>
                    <a:pt x="3" y="13"/>
                    <a:pt x="2" y="18"/>
                    <a:pt x="2" y="19"/>
                  </a:cubicBezTo>
                  <a:cubicBezTo>
                    <a:pt x="2" y="20"/>
                    <a:pt x="1" y="26"/>
                    <a:pt x="1" y="27"/>
                  </a:cubicBezTo>
                  <a:cubicBezTo>
                    <a:pt x="1" y="27"/>
                    <a:pt x="1" y="28"/>
                    <a:pt x="0" y="29"/>
                  </a:cubicBezTo>
                  <a:cubicBezTo>
                    <a:pt x="4" y="32"/>
                    <a:pt x="4" y="32"/>
                    <a:pt x="4" y="32"/>
                  </a:cubicBezTo>
                  <a:lnTo>
                    <a:pt x="10" y="35"/>
                  </a:lnTo>
                  <a:close/>
                </a:path>
              </a:pathLst>
            </a:custGeom>
            <a:grpFill/>
            <a:ln w="3175" cap="rnd">
              <a:solidFill>
                <a:schemeClr val="accent5"/>
              </a:solidFill>
              <a:prstDash val="solid"/>
              <a:round/>
              <a:headEnd/>
              <a:tailEnd/>
            </a:ln>
          </p:spPr>
          <p:txBody>
            <a:bodyPr/>
            <a:lstStyle/>
            <a:p>
              <a:endParaRPr lang="ru-RU"/>
            </a:p>
          </p:txBody>
        </p:sp>
        <p:sp>
          <p:nvSpPr>
            <p:cNvPr id="128" name="Freeform 127">
              <a:extLst>
                <a:ext uri="{FF2B5EF4-FFF2-40B4-BE49-F238E27FC236}">
                  <a16:creationId xmlns:a16="http://schemas.microsoft.com/office/drawing/2014/main" id="{5DF329D1-AC52-9745-9C7B-26F4B8548F8C}"/>
                </a:ext>
              </a:extLst>
            </p:cNvPr>
            <p:cNvSpPr>
              <a:spLocks/>
            </p:cNvSpPr>
            <p:nvPr/>
          </p:nvSpPr>
          <p:spPr bwMode="auto">
            <a:xfrm>
              <a:off x="2727325" y="3389313"/>
              <a:ext cx="204787" cy="168275"/>
            </a:xfrm>
            <a:custGeom>
              <a:avLst/>
              <a:gdLst>
                <a:gd name="T0" fmla="*/ 15169 w 54"/>
                <a:gd name="T1" fmla="*/ 84138 h 44"/>
                <a:gd name="T2" fmla="*/ 18962 w 54"/>
                <a:gd name="T3" fmla="*/ 91786 h 44"/>
                <a:gd name="T4" fmla="*/ 26546 w 54"/>
                <a:gd name="T5" fmla="*/ 107084 h 44"/>
                <a:gd name="T6" fmla="*/ 22754 w 54"/>
                <a:gd name="T7" fmla="*/ 118557 h 44"/>
                <a:gd name="T8" fmla="*/ 18962 w 54"/>
                <a:gd name="T9" fmla="*/ 122382 h 44"/>
                <a:gd name="T10" fmla="*/ 18962 w 54"/>
                <a:gd name="T11" fmla="*/ 122382 h 44"/>
                <a:gd name="T12" fmla="*/ 30339 w 54"/>
                <a:gd name="T13" fmla="*/ 126206 h 44"/>
                <a:gd name="T14" fmla="*/ 45508 w 54"/>
                <a:gd name="T15" fmla="*/ 122382 h 44"/>
                <a:gd name="T16" fmla="*/ 60678 w 54"/>
                <a:gd name="T17" fmla="*/ 137680 h 44"/>
                <a:gd name="T18" fmla="*/ 68262 w 54"/>
                <a:gd name="T19" fmla="*/ 137680 h 44"/>
                <a:gd name="T20" fmla="*/ 68262 w 54"/>
                <a:gd name="T21" fmla="*/ 145328 h 44"/>
                <a:gd name="T22" fmla="*/ 60678 w 54"/>
                <a:gd name="T23" fmla="*/ 152977 h 44"/>
                <a:gd name="T24" fmla="*/ 60678 w 54"/>
                <a:gd name="T25" fmla="*/ 160626 h 44"/>
                <a:gd name="T26" fmla="*/ 72055 w 54"/>
                <a:gd name="T27" fmla="*/ 164451 h 44"/>
                <a:gd name="T28" fmla="*/ 79639 w 54"/>
                <a:gd name="T29" fmla="*/ 164451 h 44"/>
                <a:gd name="T30" fmla="*/ 83432 w 54"/>
                <a:gd name="T31" fmla="*/ 164451 h 44"/>
                <a:gd name="T32" fmla="*/ 106186 w 54"/>
                <a:gd name="T33" fmla="*/ 164451 h 44"/>
                <a:gd name="T34" fmla="*/ 109978 w 54"/>
                <a:gd name="T35" fmla="*/ 156802 h 44"/>
                <a:gd name="T36" fmla="*/ 125148 w 54"/>
                <a:gd name="T37" fmla="*/ 156802 h 44"/>
                <a:gd name="T38" fmla="*/ 140317 w 54"/>
                <a:gd name="T39" fmla="*/ 152977 h 44"/>
                <a:gd name="T40" fmla="*/ 144109 w 54"/>
                <a:gd name="T41" fmla="*/ 145328 h 44"/>
                <a:gd name="T42" fmla="*/ 144109 w 54"/>
                <a:gd name="T43" fmla="*/ 141504 h 44"/>
                <a:gd name="T44" fmla="*/ 144109 w 54"/>
                <a:gd name="T45" fmla="*/ 141504 h 44"/>
                <a:gd name="T46" fmla="*/ 155486 w 54"/>
                <a:gd name="T47" fmla="*/ 149153 h 44"/>
                <a:gd name="T48" fmla="*/ 163071 w 54"/>
                <a:gd name="T49" fmla="*/ 149153 h 44"/>
                <a:gd name="T50" fmla="*/ 166863 w 54"/>
                <a:gd name="T51" fmla="*/ 152977 h 44"/>
                <a:gd name="T52" fmla="*/ 174448 w 54"/>
                <a:gd name="T53" fmla="*/ 156802 h 44"/>
                <a:gd name="T54" fmla="*/ 193410 w 54"/>
                <a:gd name="T55" fmla="*/ 156802 h 44"/>
                <a:gd name="T56" fmla="*/ 193410 w 54"/>
                <a:gd name="T57" fmla="*/ 152977 h 44"/>
                <a:gd name="T58" fmla="*/ 193410 w 54"/>
                <a:gd name="T59" fmla="*/ 141504 h 44"/>
                <a:gd name="T60" fmla="*/ 182033 w 54"/>
                <a:gd name="T61" fmla="*/ 133855 h 44"/>
                <a:gd name="T62" fmla="*/ 182033 w 54"/>
                <a:gd name="T63" fmla="*/ 126206 h 44"/>
                <a:gd name="T64" fmla="*/ 189618 w 54"/>
                <a:gd name="T65" fmla="*/ 122382 h 44"/>
                <a:gd name="T66" fmla="*/ 189618 w 54"/>
                <a:gd name="T67" fmla="*/ 114733 h 44"/>
                <a:gd name="T68" fmla="*/ 185825 w 54"/>
                <a:gd name="T69" fmla="*/ 110909 h 44"/>
                <a:gd name="T70" fmla="*/ 189618 w 54"/>
                <a:gd name="T71" fmla="*/ 103260 h 44"/>
                <a:gd name="T72" fmla="*/ 189618 w 54"/>
                <a:gd name="T73" fmla="*/ 91786 h 44"/>
                <a:gd name="T74" fmla="*/ 204787 w 54"/>
                <a:gd name="T75" fmla="*/ 91786 h 44"/>
                <a:gd name="T76" fmla="*/ 204787 w 54"/>
                <a:gd name="T77" fmla="*/ 76489 h 44"/>
                <a:gd name="T78" fmla="*/ 200995 w 54"/>
                <a:gd name="T79" fmla="*/ 72664 h 44"/>
                <a:gd name="T80" fmla="*/ 200995 w 54"/>
                <a:gd name="T81" fmla="*/ 65015 h 44"/>
                <a:gd name="T82" fmla="*/ 193410 w 54"/>
                <a:gd name="T83" fmla="*/ 57366 h 44"/>
                <a:gd name="T84" fmla="*/ 185825 w 54"/>
                <a:gd name="T85" fmla="*/ 65015 h 44"/>
                <a:gd name="T86" fmla="*/ 178241 w 54"/>
                <a:gd name="T87" fmla="*/ 72664 h 44"/>
                <a:gd name="T88" fmla="*/ 166863 w 54"/>
                <a:gd name="T89" fmla="*/ 72664 h 44"/>
                <a:gd name="T90" fmla="*/ 144109 w 54"/>
                <a:gd name="T91" fmla="*/ 61191 h 44"/>
                <a:gd name="T92" fmla="*/ 128940 w 54"/>
                <a:gd name="T93" fmla="*/ 53542 h 44"/>
                <a:gd name="T94" fmla="*/ 121355 w 54"/>
                <a:gd name="T95" fmla="*/ 38244 h 44"/>
                <a:gd name="T96" fmla="*/ 109978 w 54"/>
                <a:gd name="T97" fmla="*/ 42069 h 44"/>
                <a:gd name="T98" fmla="*/ 102394 w 54"/>
                <a:gd name="T99" fmla="*/ 38244 h 44"/>
                <a:gd name="T100" fmla="*/ 91016 w 54"/>
                <a:gd name="T101" fmla="*/ 26771 h 44"/>
                <a:gd name="T102" fmla="*/ 83432 w 54"/>
                <a:gd name="T103" fmla="*/ 38244 h 44"/>
                <a:gd name="T104" fmla="*/ 68262 w 54"/>
                <a:gd name="T105" fmla="*/ 42069 h 44"/>
                <a:gd name="T106" fmla="*/ 49301 w 54"/>
                <a:gd name="T107" fmla="*/ 26771 h 44"/>
                <a:gd name="T108" fmla="*/ 34131 w 54"/>
                <a:gd name="T109" fmla="*/ 15298 h 44"/>
                <a:gd name="T110" fmla="*/ 26546 w 54"/>
                <a:gd name="T111" fmla="*/ 3824 h 44"/>
                <a:gd name="T112" fmla="*/ 15169 w 54"/>
                <a:gd name="T113" fmla="*/ 0 h 44"/>
                <a:gd name="T114" fmla="*/ 11377 w 54"/>
                <a:gd name="T115" fmla="*/ 26771 h 44"/>
                <a:gd name="T116" fmla="*/ 7585 w 54"/>
                <a:gd name="T117" fmla="*/ 49718 h 44"/>
                <a:gd name="T118" fmla="*/ 3792 w 54"/>
                <a:gd name="T119" fmla="*/ 68840 h 44"/>
                <a:gd name="T120" fmla="*/ 0 w 54"/>
                <a:gd name="T121" fmla="*/ 68840 h 44"/>
                <a:gd name="T122" fmla="*/ 7585 w 54"/>
                <a:gd name="T123" fmla="*/ 80313 h 44"/>
                <a:gd name="T124" fmla="*/ 15169 w 54"/>
                <a:gd name="T125" fmla="*/ 84138 h 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4" h="44">
                  <a:moveTo>
                    <a:pt x="4" y="22"/>
                  </a:moveTo>
                  <a:cubicBezTo>
                    <a:pt x="5" y="22"/>
                    <a:pt x="5" y="23"/>
                    <a:pt x="5" y="24"/>
                  </a:cubicBezTo>
                  <a:cubicBezTo>
                    <a:pt x="6" y="25"/>
                    <a:pt x="6" y="27"/>
                    <a:pt x="7" y="28"/>
                  </a:cubicBezTo>
                  <a:cubicBezTo>
                    <a:pt x="7" y="29"/>
                    <a:pt x="7" y="31"/>
                    <a:pt x="6" y="31"/>
                  </a:cubicBezTo>
                  <a:cubicBezTo>
                    <a:pt x="6" y="31"/>
                    <a:pt x="5" y="31"/>
                    <a:pt x="5" y="32"/>
                  </a:cubicBezTo>
                  <a:cubicBezTo>
                    <a:pt x="5" y="32"/>
                    <a:pt x="5" y="32"/>
                    <a:pt x="5" y="32"/>
                  </a:cubicBezTo>
                  <a:cubicBezTo>
                    <a:pt x="6" y="33"/>
                    <a:pt x="7" y="33"/>
                    <a:pt x="8" y="33"/>
                  </a:cubicBezTo>
                  <a:cubicBezTo>
                    <a:pt x="9" y="33"/>
                    <a:pt x="11" y="32"/>
                    <a:pt x="12" y="32"/>
                  </a:cubicBezTo>
                  <a:cubicBezTo>
                    <a:pt x="14" y="33"/>
                    <a:pt x="14" y="35"/>
                    <a:pt x="16" y="36"/>
                  </a:cubicBezTo>
                  <a:cubicBezTo>
                    <a:pt x="16" y="36"/>
                    <a:pt x="17" y="36"/>
                    <a:pt x="18" y="36"/>
                  </a:cubicBezTo>
                  <a:cubicBezTo>
                    <a:pt x="18" y="37"/>
                    <a:pt x="18" y="38"/>
                    <a:pt x="18" y="38"/>
                  </a:cubicBezTo>
                  <a:cubicBezTo>
                    <a:pt x="17" y="39"/>
                    <a:pt x="16" y="40"/>
                    <a:pt x="16" y="40"/>
                  </a:cubicBezTo>
                  <a:cubicBezTo>
                    <a:pt x="15" y="41"/>
                    <a:pt x="15" y="42"/>
                    <a:pt x="16" y="42"/>
                  </a:cubicBezTo>
                  <a:cubicBezTo>
                    <a:pt x="17" y="43"/>
                    <a:pt x="18" y="43"/>
                    <a:pt x="19" y="43"/>
                  </a:cubicBezTo>
                  <a:cubicBezTo>
                    <a:pt x="20" y="43"/>
                    <a:pt x="20" y="43"/>
                    <a:pt x="21" y="43"/>
                  </a:cubicBezTo>
                  <a:cubicBezTo>
                    <a:pt x="22" y="43"/>
                    <a:pt x="22" y="43"/>
                    <a:pt x="22" y="43"/>
                  </a:cubicBezTo>
                  <a:cubicBezTo>
                    <a:pt x="24" y="42"/>
                    <a:pt x="26" y="44"/>
                    <a:pt x="28" y="43"/>
                  </a:cubicBezTo>
                  <a:cubicBezTo>
                    <a:pt x="28" y="43"/>
                    <a:pt x="28" y="42"/>
                    <a:pt x="29" y="41"/>
                  </a:cubicBezTo>
                  <a:cubicBezTo>
                    <a:pt x="30" y="40"/>
                    <a:pt x="32" y="41"/>
                    <a:pt x="33" y="41"/>
                  </a:cubicBezTo>
                  <a:cubicBezTo>
                    <a:pt x="34" y="42"/>
                    <a:pt x="36" y="41"/>
                    <a:pt x="37" y="40"/>
                  </a:cubicBezTo>
                  <a:cubicBezTo>
                    <a:pt x="38" y="40"/>
                    <a:pt x="38" y="39"/>
                    <a:pt x="38" y="38"/>
                  </a:cubicBezTo>
                  <a:cubicBezTo>
                    <a:pt x="38" y="37"/>
                    <a:pt x="38" y="37"/>
                    <a:pt x="38" y="37"/>
                  </a:cubicBezTo>
                  <a:cubicBezTo>
                    <a:pt x="38" y="37"/>
                    <a:pt x="38" y="37"/>
                    <a:pt x="38" y="37"/>
                  </a:cubicBezTo>
                  <a:cubicBezTo>
                    <a:pt x="39" y="38"/>
                    <a:pt x="40" y="40"/>
                    <a:pt x="41" y="39"/>
                  </a:cubicBezTo>
                  <a:cubicBezTo>
                    <a:pt x="42" y="39"/>
                    <a:pt x="42" y="39"/>
                    <a:pt x="43" y="39"/>
                  </a:cubicBezTo>
                  <a:cubicBezTo>
                    <a:pt x="43" y="39"/>
                    <a:pt x="44" y="40"/>
                    <a:pt x="44" y="40"/>
                  </a:cubicBezTo>
                  <a:cubicBezTo>
                    <a:pt x="45" y="41"/>
                    <a:pt x="45" y="41"/>
                    <a:pt x="46" y="41"/>
                  </a:cubicBezTo>
                  <a:cubicBezTo>
                    <a:pt x="48" y="40"/>
                    <a:pt x="49" y="41"/>
                    <a:pt x="51" y="41"/>
                  </a:cubicBezTo>
                  <a:cubicBezTo>
                    <a:pt x="51" y="41"/>
                    <a:pt x="51" y="40"/>
                    <a:pt x="51" y="40"/>
                  </a:cubicBezTo>
                  <a:cubicBezTo>
                    <a:pt x="51" y="40"/>
                    <a:pt x="51" y="38"/>
                    <a:pt x="51" y="37"/>
                  </a:cubicBezTo>
                  <a:cubicBezTo>
                    <a:pt x="50" y="36"/>
                    <a:pt x="49" y="35"/>
                    <a:pt x="48" y="35"/>
                  </a:cubicBezTo>
                  <a:cubicBezTo>
                    <a:pt x="48" y="35"/>
                    <a:pt x="48" y="34"/>
                    <a:pt x="48" y="33"/>
                  </a:cubicBezTo>
                  <a:cubicBezTo>
                    <a:pt x="49" y="33"/>
                    <a:pt x="50" y="32"/>
                    <a:pt x="50" y="32"/>
                  </a:cubicBezTo>
                  <a:cubicBezTo>
                    <a:pt x="50" y="32"/>
                    <a:pt x="51" y="31"/>
                    <a:pt x="50" y="30"/>
                  </a:cubicBezTo>
                  <a:cubicBezTo>
                    <a:pt x="50" y="30"/>
                    <a:pt x="49" y="30"/>
                    <a:pt x="49" y="29"/>
                  </a:cubicBezTo>
                  <a:cubicBezTo>
                    <a:pt x="49" y="28"/>
                    <a:pt x="50" y="27"/>
                    <a:pt x="50" y="27"/>
                  </a:cubicBezTo>
                  <a:cubicBezTo>
                    <a:pt x="50" y="26"/>
                    <a:pt x="50" y="24"/>
                    <a:pt x="50" y="24"/>
                  </a:cubicBezTo>
                  <a:cubicBezTo>
                    <a:pt x="50" y="24"/>
                    <a:pt x="54" y="24"/>
                    <a:pt x="54" y="24"/>
                  </a:cubicBezTo>
                  <a:cubicBezTo>
                    <a:pt x="54" y="24"/>
                    <a:pt x="54" y="21"/>
                    <a:pt x="54" y="20"/>
                  </a:cubicBezTo>
                  <a:cubicBezTo>
                    <a:pt x="54" y="20"/>
                    <a:pt x="53" y="20"/>
                    <a:pt x="53" y="19"/>
                  </a:cubicBezTo>
                  <a:cubicBezTo>
                    <a:pt x="53" y="18"/>
                    <a:pt x="53" y="17"/>
                    <a:pt x="53" y="17"/>
                  </a:cubicBezTo>
                  <a:cubicBezTo>
                    <a:pt x="51" y="15"/>
                    <a:pt x="51" y="15"/>
                    <a:pt x="51" y="15"/>
                  </a:cubicBezTo>
                  <a:cubicBezTo>
                    <a:pt x="51" y="15"/>
                    <a:pt x="49" y="17"/>
                    <a:pt x="49" y="17"/>
                  </a:cubicBezTo>
                  <a:cubicBezTo>
                    <a:pt x="49" y="17"/>
                    <a:pt x="47" y="19"/>
                    <a:pt x="47" y="19"/>
                  </a:cubicBezTo>
                  <a:cubicBezTo>
                    <a:pt x="47" y="19"/>
                    <a:pt x="44" y="20"/>
                    <a:pt x="44" y="19"/>
                  </a:cubicBezTo>
                  <a:cubicBezTo>
                    <a:pt x="44" y="19"/>
                    <a:pt x="38" y="16"/>
                    <a:pt x="38" y="16"/>
                  </a:cubicBezTo>
                  <a:cubicBezTo>
                    <a:pt x="38" y="16"/>
                    <a:pt x="34" y="14"/>
                    <a:pt x="34" y="14"/>
                  </a:cubicBezTo>
                  <a:cubicBezTo>
                    <a:pt x="33" y="14"/>
                    <a:pt x="33" y="10"/>
                    <a:pt x="32" y="10"/>
                  </a:cubicBezTo>
                  <a:cubicBezTo>
                    <a:pt x="32" y="10"/>
                    <a:pt x="30" y="11"/>
                    <a:pt x="29" y="11"/>
                  </a:cubicBezTo>
                  <a:cubicBezTo>
                    <a:pt x="29" y="11"/>
                    <a:pt x="27" y="10"/>
                    <a:pt x="27" y="10"/>
                  </a:cubicBezTo>
                  <a:cubicBezTo>
                    <a:pt x="24" y="7"/>
                    <a:pt x="24" y="7"/>
                    <a:pt x="24" y="7"/>
                  </a:cubicBezTo>
                  <a:cubicBezTo>
                    <a:pt x="22" y="10"/>
                    <a:pt x="22" y="10"/>
                    <a:pt x="22" y="10"/>
                  </a:cubicBezTo>
                  <a:cubicBezTo>
                    <a:pt x="18" y="11"/>
                    <a:pt x="18" y="11"/>
                    <a:pt x="18" y="11"/>
                  </a:cubicBezTo>
                  <a:cubicBezTo>
                    <a:pt x="18" y="11"/>
                    <a:pt x="13" y="8"/>
                    <a:pt x="13" y="7"/>
                  </a:cubicBezTo>
                  <a:cubicBezTo>
                    <a:pt x="12" y="7"/>
                    <a:pt x="9" y="4"/>
                    <a:pt x="9" y="4"/>
                  </a:cubicBezTo>
                  <a:cubicBezTo>
                    <a:pt x="7" y="1"/>
                    <a:pt x="7" y="1"/>
                    <a:pt x="7" y="1"/>
                  </a:cubicBezTo>
                  <a:cubicBezTo>
                    <a:pt x="4" y="0"/>
                    <a:pt x="4" y="0"/>
                    <a:pt x="4" y="0"/>
                  </a:cubicBezTo>
                  <a:cubicBezTo>
                    <a:pt x="4" y="2"/>
                    <a:pt x="3" y="6"/>
                    <a:pt x="3" y="7"/>
                  </a:cubicBezTo>
                  <a:cubicBezTo>
                    <a:pt x="3" y="9"/>
                    <a:pt x="3" y="11"/>
                    <a:pt x="2" y="13"/>
                  </a:cubicBezTo>
                  <a:cubicBezTo>
                    <a:pt x="1" y="15"/>
                    <a:pt x="1" y="17"/>
                    <a:pt x="1" y="18"/>
                  </a:cubicBezTo>
                  <a:cubicBezTo>
                    <a:pt x="1" y="18"/>
                    <a:pt x="0" y="18"/>
                    <a:pt x="0" y="18"/>
                  </a:cubicBezTo>
                  <a:cubicBezTo>
                    <a:pt x="1" y="19"/>
                    <a:pt x="1" y="20"/>
                    <a:pt x="2" y="21"/>
                  </a:cubicBezTo>
                  <a:cubicBezTo>
                    <a:pt x="2" y="21"/>
                    <a:pt x="3" y="21"/>
                    <a:pt x="4" y="22"/>
                  </a:cubicBezTo>
                  <a:close/>
                </a:path>
              </a:pathLst>
            </a:custGeom>
            <a:grpFill/>
            <a:ln w="3175" cap="rnd">
              <a:solidFill>
                <a:schemeClr val="accent5"/>
              </a:solidFill>
              <a:prstDash val="solid"/>
              <a:round/>
              <a:headEnd/>
              <a:tailEnd/>
            </a:ln>
          </p:spPr>
          <p:txBody>
            <a:bodyPr/>
            <a:lstStyle/>
            <a:p>
              <a:endParaRPr lang="ru-RU"/>
            </a:p>
          </p:txBody>
        </p:sp>
        <p:sp>
          <p:nvSpPr>
            <p:cNvPr id="129" name="Freeform 128">
              <a:extLst>
                <a:ext uri="{FF2B5EF4-FFF2-40B4-BE49-F238E27FC236}">
                  <a16:creationId xmlns:a16="http://schemas.microsoft.com/office/drawing/2014/main" id="{6DBEF363-9EF0-F809-2022-07099CD7CFD5}"/>
                </a:ext>
              </a:extLst>
            </p:cNvPr>
            <p:cNvSpPr>
              <a:spLocks/>
            </p:cNvSpPr>
            <p:nvPr/>
          </p:nvSpPr>
          <p:spPr bwMode="auto">
            <a:xfrm>
              <a:off x="2741613" y="3225800"/>
              <a:ext cx="263525" cy="239712"/>
            </a:xfrm>
            <a:custGeom>
              <a:avLst/>
              <a:gdLst>
                <a:gd name="T0" fmla="*/ 19096 w 69"/>
                <a:gd name="T1" fmla="*/ 178833 h 63"/>
                <a:gd name="T2" fmla="*/ 34373 w 69"/>
                <a:gd name="T3" fmla="*/ 190248 h 63"/>
                <a:gd name="T4" fmla="*/ 53469 w 69"/>
                <a:gd name="T5" fmla="*/ 205467 h 63"/>
                <a:gd name="T6" fmla="*/ 68746 w 69"/>
                <a:gd name="T7" fmla="*/ 201662 h 63"/>
                <a:gd name="T8" fmla="*/ 76384 w 69"/>
                <a:gd name="T9" fmla="*/ 190248 h 63"/>
                <a:gd name="T10" fmla="*/ 87842 w 69"/>
                <a:gd name="T11" fmla="*/ 201662 h 63"/>
                <a:gd name="T12" fmla="*/ 95480 w 69"/>
                <a:gd name="T13" fmla="*/ 205467 h 63"/>
                <a:gd name="T14" fmla="*/ 106938 w 69"/>
                <a:gd name="T15" fmla="*/ 201662 h 63"/>
                <a:gd name="T16" fmla="*/ 114576 w 69"/>
                <a:gd name="T17" fmla="*/ 216882 h 63"/>
                <a:gd name="T18" fmla="*/ 129853 w 69"/>
                <a:gd name="T19" fmla="*/ 224492 h 63"/>
                <a:gd name="T20" fmla="*/ 152768 w 69"/>
                <a:gd name="T21" fmla="*/ 235907 h 63"/>
                <a:gd name="T22" fmla="*/ 164226 w 69"/>
                <a:gd name="T23" fmla="*/ 235907 h 63"/>
                <a:gd name="T24" fmla="*/ 171864 w 69"/>
                <a:gd name="T25" fmla="*/ 228297 h 63"/>
                <a:gd name="T26" fmla="*/ 179503 w 69"/>
                <a:gd name="T27" fmla="*/ 220687 h 63"/>
                <a:gd name="T28" fmla="*/ 187141 w 69"/>
                <a:gd name="T29" fmla="*/ 228297 h 63"/>
                <a:gd name="T30" fmla="*/ 187141 w 69"/>
                <a:gd name="T31" fmla="*/ 224492 h 63"/>
                <a:gd name="T32" fmla="*/ 202418 w 69"/>
                <a:gd name="T33" fmla="*/ 224492 h 63"/>
                <a:gd name="T34" fmla="*/ 202418 w 69"/>
                <a:gd name="T35" fmla="*/ 213077 h 63"/>
                <a:gd name="T36" fmla="*/ 210056 w 69"/>
                <a:gd name="T37" fmla="*/ 213077 h 63"/>
                <a:gd name="T38" fmla="*/ 221514 w 69"/>
                <a:gd name="T39" fmla="*/ 220687 h 63"/>
                <a:gd name="T40" fmla="*/ 221514 w 69"/>
                <a:gd name="T41" fmla="*/ 197858 h 63"/>
                <a:gd name="T42" fmla="*/ 232971 w 69"/>
                <a:gd name="T43" fmla="*/ 186443 h 63"/>
                <a:gd name="T44" fmla="*/ 240610 w 69"/>
                <a:gd name="T45" fmla="*/ 182638 h 63"/>
                <a:gd name="T46" fmla="*/ 248248 w 69"/>
                <a:gd name="T47" fmla="*/ 182638 h 63"/>
                <a:gd name="T48" fmla="*/ 255887 w 69"/>
                <a:gd name="T49" fmla="*/ 175028 h 63"/>
                <a:gd name="T50" fmla="*/ 255887 w 69"/>
                <a:gd name="T51" fmla="*/ 163613 h 63"/>
                <a:gd name="T52" fmla="*/ 252067 w 69"/>
                <a:gd name="T53" fmla="*/ 159808 h 63"/>
                <a:gd name="T54" fmla="*/ 259706 w 69"/>
                <a:gd name="T55" fmla="*/ 152198 h 63"/>
                <a:gd name="T56" fmla="*/ 255887 w 69"/>
                <a:gd name="T57" fmla="*/ 144588 h 63"/>
                <a:gd name="T58" fmla="*/ 263525 w 69"/>
                <a:gd name="T59" fmla="*/ 136978 h 63"/>
                <a:gd name="T60" fmla="*/ 255887 w 69"/>
                <a:gd name="T61" fmla="*/ 121758 h 63"/>
                <a:gd name="T62" fmla="*/ 255887 w 69"/>
                <a:gd name="T63" fmla="*/ 110344 h 63"/>
                <a:gd name="T64" fmla="*/ 259706 w 69"/>
                <a:gd name="T65" fmla="*/ 102734 h 63"/>
                <a:gd name="T66" fmla="*/ 255887 w 69"/>
                <a:gd name="T67" fmla="*/ 95124 h 63"/>
                <a:gd name="T68" fmla="*/ 252067 w 69"/>
                <a:gd name="T69" fmla="*/ 79904 h 63"/>
                <a:gd name="T70" fmla="*/ 240610 w 69"/>
                <a:gd name="T71" fmla="*/ 68489 h 63"/>
                <a:gd name="T72" fmla="*/ 252067 w 69"/>
                <a:gd name="T73" fmla="*/ 57074 h 63"/>
                <a:gd name="T74" fmla="*/ 259706 w 69"/>
                <a:gd name="T75" fmla="*/ 41854 h 63"/>
                <a:gd name="T76" fmla="*/ 259706 w 69"/>
                <a:gd name="T77" fmla="*/ 41854 h 63"/>
                <a:gd name="T78" fmla="*/ 236791 w 69"/>
                <a:gd name="T79" fmla="*/ 38050 h 63"/>
                <a:gd name="T80" fmla="*/ 225333 w 69"/>
                <a:gd name="T81" fmla="*/ 26635 h 63"/>
                <a:gd name="T82" fmla="*/ 206237 w 69"/>
                <a:gd name="T83" fmla="*/ 15220 h 63"/>
                <a:gd name="T84" fmla="*/ 183322 w 69"/>
                <a:gd name="T85" fmla="*/ 11415 h 63"/>
                <a:gd name="T86" fmla="*/ 168045 w 69"/>
                <a:gd name="T87" fmla="*/ 11415 h 63"/>
                <a:gd name="T88" fmla="*/ 152768 w 69"/>
                <a:gd name="T89" fmla="*/ 15220 h 63"/>
                <a:gd name="T90" fmla="*/ 148949 w 69"/>
                <a:gd name="T91" fmla="*/ 26635 h 63"/>
                <a:gd name="T92" fmla="*/ 145130 w 69"/>
                <a:gd name="T93" fmla="*/ 26635 h 63"/>
                <a:gd name="T94" fmla="*/ 114576 w 69"/>
                <a:gd name="T95" fmla="*/ 22830 h 63"/>
                <a:gd name="T96" fmla="*/ 91661 w 69"/>
                <a:gd name="T97" fmla="*/ 11415 h 63"/>
                <a:gd name="T98" fmla="*/ 76384 w 69"/>
                <a:gd name="T99" fmla="*/ 0 h 63"/>
                <a:gd name="T100" fmla="*/ 72565 w 69"/>
                <a:gd name="T101" fmla="*/ 7610 h 63"/>
                <a:gd name="T102" fmla="*/ 64926 w 69"/>
                <a:gd name="T103" fmla="*/ 26635 h 63"/>
                <a:gd name="T104" fmla="*/ 64926 w 69"/>
                <a:gd name="T105" fmla="*/ 45659 h 63"/>
                <a:gd name="T106" fmla="*/ 42011 w 69"/>
                <a:gd name="T107" fmla="*/ 68489 h 63"/>
                <a:gd name="T108" fmla="*/ 34373 w 69"/>
                <a:gd name="T109" fmla="*/ 83709 h 63"/>
                <a:gd name="T110" fmla="*/ 22915 w 69"/>
                <a:gd name="T111" fmla="*/ 102734 h 63"/>
                <a:gd name="T112" fmla="*/ 19096 w 69"/>
                <a:gd name="T113" fmla="*/ 114149 h 63"/>
                <a:gd name="T114" fmla="*/ 22915 w 69"/>
                <a:gd name="T115" fmla="*/ 125563 h 63"/>
                <a:gd name="T116" fmla="*/ 19096 w 69"/>
                <a:gd name="T117" fmla="*/ 140783 h 63"/>
                <a:gd name="T118" fmla="*/ 3819 w 69"/>
                <a:gd name="T119" fmla="*/ 156003 h 63"/>
                <a:gd name="T120" fmla="*/ 0 w 69"/>
                <a:gd name="T121" fmla="*/ 163613 h 63"/>
                <a:gd name="T122" fmla="*/ 11458 w 69"/>
                <a:gd name="T123" fmla="*/ 167418 h 63"/>
                <a:gd name="T124" fmla="*/ 19096 w 69"/>
                <a:gd name="T125" fmla="*/ 178833 h 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9" h="63">
                  <a:moveTo>
                    <a:pt x="5" y="47"/>
                  </a:moveTo>
                  <a:cubicBezTo>
                    <a:pt x="5" y="47"/>
                    <a:pt x="8" y="50"/>
                    <a:pt x="9" y="50"/>
                  </a:cubicBezTo>
                  <a:cubicBezTo>
                    <a:pt x="9" y="51"/>
                    <a:pt x="14" y="54"/>
                    <a:pt x="14" y="54"/>
                  </a:cubicBezTo>
                  <a:cubicBezTo>
                    <a:pt x="18" y="53"/>
                    <a:pt x="18" y="53"/>
                    <a:pt x="18" y="53"/>
                  </a:cubicBezTo>
                  <a:cubicBezTo>
                    <a:pt x="20" y="50"/>
                    <a:pt x="20" y="50"/>
                    <a:pt x="20" y="50"/>
                  </a:cubicBezTo>
                  <a:cubicBezTo>
                    <a:pt x="23" y="53"/>
                    <a:pt x="23" y="53"/>
                    <a:pt x="23" y="53"/>
                  </a:cubicBezTo>
                  <a:cubicBezTo>
                    <a:pt x="23" y="53"/>
                    <a:pt x="25" y="54"/>
                    <a:pt x="25" y="54"/>
                  </a:cubicBezTo>
                  <a:cubicBezTo>
                    <a:pt x="26" y="54"/>
                    <a:pt x="28" y="53"/>
                    <a:pt x="28" y="53"/>
                  </a:cubicBezTo>
                  <a:cubicBezTo>
                    <a:pt x="29" y="53"/>
                    <a:pt x="29" y="57"/>
                    <a:pt x="30" y="57"/>
                  </a:cubicBezTo>
                  <a:cubicBezTo>
                    <a:pt x="30" y="57"/>
                    <a:pt x="34" y="59"/>
                    <a:pt x="34" y="59"/>
                  </a:cubicBezTo>
                  <a:cubicBezTo>
                    <a:pt x="34" y="59"/>
                    <a:pt x="40" y="62"/>
                    <a:pt x="40" y="62"/>
                  </a:cubicBezTo>
                  <a:cubicBezTo>
                    <a:pt x="40" y="63"/>
                    <a:pt x="43" y="62"/>
                    <a:pt x="43" y="62"/>
                  </a:cubicBezTo>
                  <a:cubicBezTo>
                    <a:pt x="43" y="62"/>
                    <a:pt x="45" y="60"/>
                    <a:pt x="45" y="60"/>
                  </a:cubicBezTo>
                  <a:cubicBezTo>
                    <a:pt x="45" y="60"/>
                    <a:pt x="47" y="58"/>
                    <a:pt x="47" y="58"/>
                  </a:cubicBezTo>
                  <a:cubicBezTo>
                    <a:pt x="49" y="60"/>
                    <a:pt x="49" y="60"/>
                    <a:pt x="49" y="60"/>
                  </a:cubicBezTo>
                  <a:cubicBezTo>
                    <a:pt x="49" y="59"/>
                    <a:pt x="49" y="59"/>
                    <a:pt x="49" y="59"/>
                  </a:cubicBezTo>
                  <a:cubicBezTo>
                    <a:pt x="53" y="59"/>
                    <a:pt x="53" y="59"/>
                    <a:pt x="53" y="59"/>
                  </a:cubicBezTo>
                  <a:cubicBezTo>
                    <a:pt x="53" y="56"/>
                    <a:pt x="53" y="56"/>
                    <a:pt x="53" y="56"/>
                  </a:cubicBezTo>
                  <a:cubicBezTo>
                    <a:pt x="53" y="56"/>
                    <a:pt x="54" y="56"/>
                    <a:pt x="55" y="56"/>
                  </a:cubicBezTo>
                  <a:cubicBezTo>
                    <a:pt x="56" y="56"/>
                    <a:pt x="58" y="58"/>
                    <a:pt x="58" y="58"/>
                  </a:cubicBezTo>
                  <a:cubicBezTo>
                    <a:pt x="58" y="52"/>
                    <a:pt x="58" y="52"/>
                    <a:pt x="58" y="52"/>
                  </a:cubicBezTo>
                  <a:cubicBezTo>
                    <a:pt x="58" y="52"/>
                    <a:pt x="61" y="49"/>
                    <a:pt x="61" y="49"/>
                  </a:cubicBezTo>
                  <a:cubicBezTo>
                    <a:pt x="61" y="49"/>
                    <a:pt x="63" y="48"/>
                    <a:pt x="63" y="48"/>
                  </a:cubicBezTo>
                  <a:cubicBezTo>
                    <a:pt x="63" y="47"/>
                    <a:pt x="65" y="49"/>
                    <a:pt x="65" y="48"/>
                  </a:cubicBezTo>
                  <a:cubicBezTo>
                    <a:pt x="66" y="48"/>
                    <a:pt x="66" y="47"/>
                    <a:pt x="67" y="46"/>
                  </a:cubicBezTo>
                  <a:cubicBezTo>
                    <a:pt x="67" y="46"/>
                    <a:pt x="68" y="44"/>
                    <a:pt x="67" y="43"/>
                  </a:cubicBezTo>
                  <a:cubicBezTo>
                    <a:pt x="67" y="43"/>
                    <a:pt x="66" y="42"/>
                    <a:pt x="66" y="42"/>
                  </a:cubicBezTo>
                  <a:cubicBezTo>
                    <a:pt x="67" y="41"/>
                    <a:pt x="68" y="40"/>
                    <a:pt x="68" y="40"/>
                  </a:cubicBezTo>
                  <a:cubicBezTo>
                    <a:pt x="67" y="39"/>
                    <a:pt x="67" y="38"/>
                    <a:pt x="67" y="38"/>
                  </a:cubicBezTo>
                  <a:cubicBezTo>
                    <a:pt x="67" y="37"/>
                    <a:pt x="69" y="36"/>
                    <a:pt x="69" y="36"/>
                  </a:cubicBezTo>
                  <a:cubicBezTo>
                    <a:pt x="68" y="36"/>
                    <a:pt x="67" y="34"/>
                    <a:pt x="67" y="32"/>
                  </a:cubicBezTo>
                  <a:cubicBezTo>
                    <a:pt x="67" y="31"/>
                    <a:pt x="67" y="29"/>
                    <a:pt x="67" y="29"/>
                  </a:cubicBezTo>
                  <a:cubicBezTo>
                    <a:pt x="67" y="29"/>
                    <a:pt x="68" y="28"/>
                    <a:pt x="68" y="27"/>
                  </a:cubicBezTo>
                  <a:cubicBezTo>
                    <a:pt x="68" y="27"/>
                    <a:pt x="68" y="26"/>
                    <a:pt x="67" y="25"/>
                  </a:cubicBezTo>
                  <a:cubicBezTo>
                    <a:pt x="66" y="24"/>
                    <a:pt x="66" y="21"/>
                    <a:pt x="66" y="21"/>
                  </a:cubicBezTo>
                  <a:cubicBezTo>
                    <a:pt x="66" y="21"/>
                    <a:pt x="63" y="19"/>
                    <a:pt x="63" y="18"/>
                  </a:cubicBezTo>
                  <a:cubicBezTo>
                    <a:pt x="63" y="18"/>
                    <a:pt x="65" y="15"/>
                    <a:pt x="66" y="15"/>
                  </a:cubicBezTo>
                  <a:cubicBezTo>
                    <a:pt x="66" y="14"/>
                    <a:pt x="68" y="12"/>
                    <a:pt x="68" y="11"/>
                  </a:cubicBezTo>
                  <a:cubicBezTo>
                    <a:pt x="68" y="11"/>
                    <a:pt x="68" y="11"/>
                    <a:pt x="68" y="11"/>
                  </a:cubicBezTo>
                  <a:cubicBezTo>
                    <a:pt x="62" y="10"/>
                    <a:pt x="62" y="10"/>
                    <a:pt x="62" y="10"/>
                  </a:cubicBezTo>
                  <a:cubicBezTo>
                    <a:pt x="62" y="10"/>
                    <a:pt x="59" y="8"/>
                    <a:pt x="59" y="7"/>
                  </a:cubicBezTo>
                  <a:cubicBezTo>
                    <a:pt x="59" y="6"/>
                    <a:pt x="55" y="5"/>
                    <a:pt x="54" y="4"/>
                  </a:cubicBezTo>
                  <a:cubicBezTo>
                    <a:pt x="54" y="4"/>
                    <a:pt x="48" y="3"/>
                    <a:pt x="48" y="3"/>
                  </a:cubicBezTo>
                  <a:cubicBezTo>
                    <a:pt x="44" y="3"/>
                    <a:pt x="44" y="3"/>
                    <a:pt x="44" y="3"/>
                  </a:cubicBezTo>
                  <a:cubicBezTo>
                    <a:pt x="40" y="4"/>
                    <a:pt x="40" y="4"/>
                    <a:pt x="40" y="4"/>
                  </a:cubicBezTo>
                  <a:cubicBezTo>
                    <a:pt x="39" y="7"/>
                    <a:pt x="39" y="7"/>
                    <a:pt x="39" y="7"/>
                  </a:cubicBezTo>
                  <a:cubicBezTo>
                    <a:pt x="38" y="7"/>
                    <a:pt x="38" y="7"/>
                    <a:pt x="38" y="7"/>
                  </a:cubicBezTo>
                  <a:cubicBezTo>
                    <a:pt x="30" y="6"/>
                    <a:pt x="30" y="6"/>
                    <a:pt x="30" y="6"/>
                  </a:cubicBezTo>
                  <a:cubicBezTo>
                    <a:pt x="24" y="3"/>
                    <a:pt x="24" y="3"/>
                    <a:pt x="24" y="3"/>
                  </a:cubicBezTo>
                  <a:cubicBezTo>
                    <a:pt x="20" y="0"/>
                    <a:pt x="20" y="0"/>
                    <a:pt x="20" y="0"/>
                  </a:cubicBezTo>
                  <a:cubicBezTo>
                    <a:pt x="20" y="0"/>
                    <a:pt x="19" y="1"/>
                    <a:pt x="19" y="2"/>
                  </a:cubicBezTo>
                  <a:cubicBezTo>
                    <a:pt x="18" y="3"/>
                    <a:pt x="17" y="6"/>
                    <a:pt x="17" y="7"/>
                  </a:cubicBezTo>
                  <a:cubicBezTo>
                    <a:pt x="17" y="8"/>
                    <a:pt x="17" y="12"/>
                    <a:pt x="17" y="12"/>
                  </a:cubicBezTo>
                  <a:cubicBezTo>
                    <a:pt x="17" y="13"/>
                    <a:pt x="12" y="16"/>
                    <a:pt x="11" y="18"/>
                  </a:cubicBezTo>
                  <a:cubicBezTo>
                    <a:pt x="10" y="19"/>
                    <a:pt x="9" y="21"/>
                    <a:pt x="9" y="22"/>
                  </a:cubicBezTo>
                  <a:cubicBezTo>
                    <a:pt x="8" y="24"/>
                    <a:pt x="7" y="25"/>
                    <a:pt x="6" y="27"/>
                  </a:cubicBezTo>
                  <a:cubicBezTo>
                    <a:pt x="5" y="28"/>
                    <a:pt x="5" y="28"/>
                    <a:pt x="5" y="30"/>
                  </a:cubicBezTo>
                  <a:cubicBezTo>
                    <a:pt x="5" y="31"/>
                    <a:pt x="6" y="32"/>
                    <a:pt x="6" y="33"/>
                  </a:cubicBezTo>
                  <a:cubicBezTo>
                    <a:pt x="6" y="35"/>
                    <a:pt x="6" y="36"/>
                    <a:pt x="5" y="37"/>
                  </a:cubicBezTo>
                  <a:cubicBezTo>
                    <a:pt x="4" y="39"/>
                    <a:pt x="2" y="40"/>
                    <a:pt x="1" y="41"/>
                  </a:cubicBezTo>
                  <a:cubicBezTo>
                    <a:pt x="1" y="42"/>
                    <a:pt x="1" y="42"/>
                    <a:pt x="0" y="43"/>
                  </a:cubicBezTo>
                  <a:cubicBezTo>
                    <a:pt x="3" y="44"/>
                    <a:pt x="3" y="44"/>
                    <a:pt x="3" y="44"/>
                  </a:cubicBezTo>
                  <a:lnTo>
                    <a:pt x="5" y="47"/>
                  </a:lnTo>
                  <a:close/>
                </a:path>
              </a:pathLst>
            </a:custGeom>
            <a:grpFill/>
            <a:ln w="3175" cap="rnd">
              <a:solidFill>
                <a:schemeClr val="accent5"/>
              </a:solidFill>
              <a:prstDash val="solid"/>
              <a:round/>
              <a:headEnd/>
              <a:tailEnd/>
            </a:ln>
          </p:spPr>
          <p:txBody>
            <a:bodyPr/>
            <a:lstStyle/>
            <a:p>
              <a:endParaRPr lang="ru-RU"/>
            </a:p>
          </p:txBody>
        </p:sp>
        <p:sp>
          <p:nvSpPr>
            <p:cNvPr id="130" name="Freeform 129">
              <a:extLst>
                <a:ext uri="{FF2B5EF4-FFF2-40B4-BE49-F238E27FC236}">
                  <a16:creationId xmlns:a16="http://schemas.microsoft.com/office/drawing/2014/main" id="{6A902802-239E-700B-91EE-E4881A884FB1}"/>
                </a:ext>
              </a:extLst>
            </p:cNvPr>
            <p:cNvSpPr>
              <a:spLocks noEditPoints="1"/>
            </p:cNvSpPr>
            <p:nvPr/>
          </p:nvSpPr>
          <p:spPr bwMode="auto">
            <a:xfrm>
              <a:off x="2425700" y="5218113"/>
              <a:ext cx="993775" cy="1300162"/>
            </a:xfrm>
            <a:custGeom>
              <a:avLst/>
              <a:gdLst>
                <a:gd name="T0" fmla="*/ 453100 w 261"/>
                <a:gd name="T1" fmla="*/ 1063769 h 341"/>
                <a:gd name="T2" fmla="*/ 491176 w 261"/>
                <a:gd name="T3" fmla="*/ 1029454 h 341"/>
                <a:gd name="T4" fmla="*/ 567327 w 261"/>
                <a:gd name="T5" fmla="*/ 896006 h 341"/>
                <a:gd name="T6" fmla="*/ 632056 w 261"/>
                <a:gd name="T7" fmla="*/ 1033267 h 341"/>
                <a:gd name="T8" fmla="*/ 590173 w 261"/>
                <a:gd name="T9" fmla="*/ 850253 h 341"/>
                <a:gd name="T10" fmla="*/ 689170 w 261"/>
                <a:gd name="T11" fmla="*/ 686303 h 341"/>
                <a:gd name="T12" fmla="*/ 818627 w 261"/>
                <a:gd name="T13" fmla="*/ 1166714 h 341"/>
                <a:gd name="T14" fmla="*/ 936661 w 261"/>
                <a:gd name="T15" fmla="*/ 1193404 h 341"/>
                <a:gd name="T16" fmla="*/ 727245 w 261"/>
                <a:gd name="T17" fmla="*/ 1151463 h 341"/>
                <a:gd name="T18" fmla="*/ 620633 w 261"/>
                <a:gd name="T19" fmla="*/ 1155276 h 341"/>
                <a:gd name="T20" fmla="*/ 715823 w 261"/>
                <a:gd name="T21" fmla="*/ 1181965 h 341"/>
                <a:gd name="T22" fmla="*/ 407410 w 261"/>
                <a:gd name="T23" fmla="*/ 1006577 h 341"/>
                <a:gd name="T24" fmla="*/ 506406 w 261"/>
                <a:gd name="T25" fmla="*/ 998951 h 341"/>
                <a:gd name="T26" fmla="*/ 422640 w 261"/>
                <a:gd name="T27" fmla="*/ 934134 h 341"/>
                <a:gd name="T28" fmla="*/ 346489 w 261"/>
                <a:gd name="T29" fmla="*/ 983700 h 341"/>
                <a:gd name="T30" fmla="*/ 563520 w 261"/>
                <a:gd name="T31" fmla="*/ 1159089 h 341"/>
                <a:gd name="T32" fmla="*/ 540675 w 261"/>
                <a:gd name="T33" fmla="*/ 1147650 h 341"/>
                <a:gd name="T34" fmla="*/ 494984 w 261"/>
                <a:gd name="T35" fmla="*/ 1109522 h 341"/>
                <a:gd name="T36" fmla="*/ 369334 w 261"/>
                <a:gd name="T37" fmla="*/ 884568 h 341"/>
                <a:gd name="T38" fmla="*/ 213224 w 261"/>
                <a:gd name="T39" fmla="*/ 850253 h 341"/>
                <a:gd name="T40" fmla="*/ 296990 w 261"/>
                <a:gd name="T41" fmla="*/ 930321 h 341"/>
                <a:gd name="T42" fmla="*/ 266530 w 261"/>
                <a:gd name="T43" fmla="*/ 926508 h 341"/>
                <a:gd name="T44" fmla="*/ 236069 w 261"/>
                <a:gd name="T45" fmla="*/ 827376 h 341"/>
                <a:gd name="T46" fmla="*/ 118035 w 261"/>
                <a:gd name="T47" fmla="*/ 735869 h 341"/>
                <a:gd name="T48" fmla="*/ 186571 w 261"/>
                <a:gd name="T49" fmla="*/ 613859 h 341"/>
                <a:gd name="T50" fmla="*/ 201801 w 261"/>
                <a:gd name="T51" fmla="*/ 644362 h 341"/>
                <a:gd name="T52" fmla="*/ 213224 w 261"/>
                <a:gd name="T53" fmla="*/ 610047 h 341"/>
                <a:gd name="T54" fmla="*/ 175148 w 261"/>
                <a:gd name="T55" fmla="*/ 518540 h 341"/>
                <a:gd name="T56" fmla="*/ 118035 w 261"/>
                <a:gd name="T57" fmla="*/ 549042 h 341"/>
                <a:gd name="T58" fmla="*/ 79959 w 261"/>
                <a:gd name="T59" fmla="*/ 541416 h 341"/>
                <a:gd name="T60" fmla="*/ 91382 w 261"/>
                <a:gd name="T61" fmla="*/ 625298 h 341"/>
                <a:gd name="T62" fmla="*/ 194186 w 261"/>
                <a:gd name="T63" fmla="*/ 468973 h 341"/>
                <a:gd name="T64" fmla="*/ 140880 w 261"/>
                <a:gd name="T65" fmla="*/ 453722 h 341"/>
                <a:gd name="T66" fmla="*/ 98997 w 261"/>
                <a:gd name="T67" fmla="*/ 392718 h 341"/>
                <a:gd name="T68" fmla="*/ 83766 w 261"/>
                <a:gd name="T69" fmla="*/ 449909 h 341"/>
                <a:gd name="T70" fmla="*/ 163725 w 261"/>
                <a:gd name="T71" fmla="*/ 385092 h 341"/>
                <a:gd name="T72" fmla="*/ 133265 w 261"/>
                <a:gd name="T73" fmla="*/ 331713 h 341"/>
                <a:gd name="T74" fmla="*/ 49498 w 261"/>
                <a:gd name="T75" fmla="*/ 377466 h 341"/>
                <a:gd name="T76" fmla="*/ 38076 w 261"/>
                <a:gd name="T77" fmla="*/ 251644 h 341"/>
                <a:gd name="T78" fmla="*/ 49498 w 261"/>
                <a:gd name="T79" fmla="*/ 224955 h 341"/>
                <a:gd name="T80" fmla="*/ 407410 w 261"/>
                <a:gd name="T81" fmla="*/ 1082833 h 341"/>
                <a:gd name="T82" fmla="*/ 868125 w 261"/>
                <a:gd name="T83" fmla="*/ 1227719 h 341"/>
                <a:gd name="T84" fmla="*/ 890971 w 261"/>
                <a:gd name="T85" fmla="*/ 1258221 h 341"/>
                <a:gd name="T86" fmla="*/ 407410 w 261"/>
                <a:gd name="T87" fmla="*/ 568106 h 341"/>
                <a:gd name="T88" fmla="*/ 266530 w 261"/>
                <a:gd name="T89" fmla="*/ 350777 h 341"/>
                <a:gd name="T90" fmla="*/ 53306 w 261"/>
                <a:gd name="T91" fmla="*/ 45754 h 341"/>
                <a:gd name="T92" fmla="*/ 76151 w 261"/>
                <a:gd name="T93" fmla="*/ 80069 h 341"/>
                <a:gd name="T94" fmla="*/ 125650 w 261"/>
                <a:gd name="T95" fmla="*/ 247831 h 341"/>
                <a:gd name="T96" fmla="*/ 159918 w 261"/>
                <a:gd name="T97" fmla="*/ 228768 h 341"/>
                <a:gd name="T98" fmla="*/ 121842 w 261"/>
                <a:gd name="T99" fmla="*/ 285959 h 341"/>
                <a:gd name="T100" fmla="*/ 236069 w 261"/>
                <a:gd name="T101" fmla="*/ 354590 h 341"/>
                <a:gd name="T102" fmla="*/ 171341 w 261"/>
                <a:gd name="T103" fmla="*/ 423220 h 341"/>
                <a:gd name="T104" fmla="*/ 209416 w 261"/>
                <a:gd name="T105" fmla="*/ 529978 h 341"/>
                <a:gd name="T106" fmla="*/ 277952 w 261"/>
                <a:gd name="T107" fmla="*/ 590983 h 341"/>
                <a:gd name="T108" fmla="*/ 220839 w 261"/>
                <a:gd name="T109" fmla="*/ 709179 h 341"/>
                <a:gd name="T110" fmla="*/ 232262 w 261"/>
                <a:gd name="T111" fmla="*/ 747307 h 341"/>
                <a:gd name="T112" fmla="*/ 384564 w 261"/>
                <a:gd name="T113" fmla="*/ 682490 h 341"/>
                <a:gd name="T114" fmla="*/ 316028 w 261"/>
                <a:gd name="T115" fmla="*/ 808312 h 341"/>
                <a:gd name="T116" fmla="*/ 426448 w 261"/>
                <a:gd name="T117" fmla="*/ 754933 h 341"/>
                <a:gd name="T118" fmla="*/ 380757 w 261"/>
                <a:gd name="T119" fmla="*/ 876942 h 341"/>
                <a:gd name="T120" fmla="*/ 590173 w 261"/>
                <a:gd name="T121" fmla="*/ 697741 h 341"/>
                <a:gd name="T122" fmla="*/ 22845 w 261"/>
                <a:gd name="T123" fmla="*/ 38128 h 3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1" h="341">
                  <a:moveTo>
                    <a:pt x="161" y="289"/>
                  </a:moveTo>
                  <a:cubicBezTo>
                    <a:pt x="161" y="289"/>
                    <a:pt x="160" y="290"/>
                    <a:pt x="159" y="290"/>
                  </a:cubicBezTo>
                  <a:cubicBezTo>
                    <a:pt x="159" y="290"/>
                    <a:pt x="158" y="290"/>
                    <a:pt x="157" y="290"/>
                  </a:cubicBezTo>
                  <a:cubicBezTo>
                    <a:pt x="155" y="290"/>
                    <a:pt x="154" y="290"/>
                    <a:pt x="153" y="289"/>
                  </a:cubicBezTo>
                  <a:cubicBezTo>
                    <a:pt x="152" y="289"/>
                    <a:pt x="152" y="289"/>
                    <a:pt x="151" y="289"/>
                  </a:cubicBezTo>
                  <a:cubicBezTo>
                    <a:pt x="151" y="289"/>
                    <a:pt x="150" y="289"/>
                    <a:pt x="150" y="289"/>
                  </a:cubicBezTo>
                  <a:cubicBezTo>
                    <a:pt x="150" y="289"/>
                    <a:pt x="150" y="290"/>
                    <a:pt x="150" y="290"/>
                  </a:cubicBezTo>
                  <a:cubicBezTo>
                    <a:pt x="149" y="291"/>
                    <a:pt x="149" y="291"/>
                    <a:pt x="148" y="291"/>
                  </a:cubicBezTo>
                  <a:cubicBezTo>
                    <a:pt x="147" y="291"/>
                    <a:pt x="146" y="291"/>
                    <a:pt x="146" y="291"/>
                  </a:cubicBezTo>
                  <a:cubicBezTo>
                    <a:pt x="145" y="291"/>
                    <a:pt x="144" y="291"/>
                    <a:pt x="143" y="291"/>
                  </a:cubicBezTo>
                  <a:cubicBezTo>
                    <a:pt x="142" y="290"/>
                    <a:pt x="142" y="290"/>
                    <a:pt x="141" y="290"/>
                  </a:cubicBezTo>
                  <a:cubicBezTo>
                    <a:pt x="141" y="289"/>
                    <a:pt x="141" y="288"/>
                    <a:pt x="140" y="288"/>
                  </a:cubicBezTo>
                  <a:cubicBezTo>
                    <a:pt x="140" y="287"/>
                    <a:pt x="139" y="287"/>
                    <a:pt x="139" y="287"/>
                  </a:cubicBezTo>
                  <a:cubicBezTo>
                    <a:pt x="138" y="286"/>
                    <a:pt x="139" y="286"/>
                    <a:pt x="138" y="285"/>
                  </a:cubicBezTo>
                  <a:cubicBezTo>
                    <a:pt x="138" y="285"/>
                    <a:pt x="138" y="285"/>
                    <a:pt x="137" y="284"/>
                  </a:cubicBezTo>
                  <a:cubicBezTo>
                    <a:pt x="137" y="284"/>
                    <a:pt x="136" y="283"/>
                    <a:pt x="136" y="283"/>
                  </a:cubicBezTo>
                  <a:cubicBezTo>
                    <a:pt x="136" y="283"/>
                    <a:pt x="137" y="282"/>
                    <a:pt x="137" y="282"/>
                  </a:cubicBezTo>
                  <a:cubicBezTo>
                    <a:pt x="137" y="282"/>
                    <a:pt x="136" y="281"/>
                    <a:pt x="136" y="281"/>
                  </a:cubicBezTo>
                  <a:cubicBezTo>
                    <a:pt x="135" y="281"/>
                    <a:pt x="135" y="282"/>
                    <a:pt x="135" y="282"/>
                  </a:cubicBezTo>
                  <a:cubicBezTo>
                    <a:pt x="135" y="283"/>
                    <a:pt x="134" y="284"/>
                    <a:pt x="134" y="284"/>
                  </a:cubicBezTo>
                  <a:cubicBezTo>
                    <a:pt x="133" y="285"/>
                    <a:pt x="133" y="285"/>
                    <a:pt x="132" y="284"/>
                  </a:cubicBezTo>
                  <a:cubicBezTo>
                    <a:pt x="132" y="284"/>
                    <a:pt x="132" y="284"/>
                    <a:pt x="132" y="283"/>
                  </a:cubicBezTo>
                  <a:cubicBezTo>
                    <a:pt x="133" y="282"/>
                    <a:pt x="133" y="280"/>
                    <a:pt x="133" y="278"/>
                  </a:cubicBezTo>
                  <a:cubicBezTo>
                    <a:pt x="131" y="279"/>
                    <a:pt x="129" y="279"/>
                    <a:pt x="127" y="280"/>
                  </a:cubicBezTo>
                  <a:cubicBezTo>
                    <a:pt x="127" y="280"/>
                    <a:pt x="126" y="280"/>
                    <a:pt x="126" y="280"/>
                  </a:cubicBezTo>
                  <a:cubicBezTo>
                    <a:pt x="125" y="280"/>
                    <a:pt x="125" y="280"/>
                    <a:pt x="125" y="279"/>
                  </a:cubicBezTo>
                  <a:cubicBezTo>
                    <a:pt x="125" y="279"/>
                    <a:pt x="126" y="278"/>
                    <a:pt x="126" y="278"/>
                  </a:cubicBezTo>
                  <a:cubicBezTo>
                    <a:pt x="126" y="277"/>
                    <a:pt x="126" y="277"/>
                    <a:pt x="126" y="276"/>
                  </a:cubicBezTo>
                  <a:cubicBezTo>
                    <a:pt x="126" y="276"/>
                    <a:pt x="126" y="275"/>
                    <a:pt x="125" y="275"/>
                  </a:cubicBezTo>
                  <a:cubicBezTo>
                    <a:pt x="125" y="275"/>
                    <a:pt x="124" y="275"/>
                    <a:pt x="124" y="275"/>
                  </a:cubicBezTo>
                  <a:cubicBezTo>
                    <a:pt x="123" y="276"/>
                    <a:pt x="123" y="278"/>
                    <a:pt x="122" y="279"/>
                  </a:cubicBezTo>
                  <a:cubicBezTo>
                    <a:pt x="122" y="280"/>
                    <a:pt x="120" y="281"/>
                    <a:pt x="119" y="281"/>
                  </a:cubicBezTo>
                  <a:cubicBezTo>
                    <a:pt x="119" y="280"/>
                    <a:pt x="119" y="280"/>
                    <a:pt x="119" y="279"/>
                  </a:cubicBezTo>
                  <a:cubicBezTo>
                    <a:pt x="119" y="279"/>
                    <a:pt x="119" y="278"/>
                    <a:pt x="119" y="278"/>
                  </a:cubicBezTo>
                  <a:cubicBezTo>
                    <a:pt x="118" y="278"/>
                    <a:pt x="118" y="278"/>
                    <a:pt x="118" y="278"/>
                  </a:cubicBezTo>
                  <a:cubicBezTo>
                    <a:pt x="117" y="279"/>
                    <a:pt x="116" y="278"/>
                    <a:pt x="115" y="278"/>
                  </a:cubicBezTo>
                  <a:cubicBezTo>
                    <a:pt x="115" y="277"/>
                    <a:pt x="115" y="277"/>
                    <a:pt x="115" y="277"/>
                  </a:cubicBezTo>
                  <a:cubicBezTo>
                    <a:pt x="115" y="277"/>
                    <a:pt x="115" y="277"/>
                    <a:pt x="114" y="277"/>
                  </a:cubicBezTo>
                  <a:cubicBezTo>
                    <a:pt x="113" y="277"/>
                    <a:pt x="111" y="279"/>
                    <a:pt x="109" y="279"/>
                  </a:cubicBezTo>
                  <a:cubicBezTo>
                    <a:pt x="108" y="279"/>
                    <a:pt x="107" y="278"/>
                    <a:pt x="106" y="277"/>
                  </a:cubicBezTo>
                  <a:cubicBezTo>
                    <a:pt x="106" y="277"/>
                    <a:pt x="106" y="277"/>
                    <a:pt x="106" y="277"/>
                  </a:cubicBezTo>
                  <a:cubicBezTo>
                    <a:pt x="106" y="277"/>
                    <a:pt x="106" y="276"/>
                    <a:pt x="107" y="276"/>
                  </a:cubicBezTo>
                  <a:cubicBezTo>
                    <a:pt x="107" y="276"/>
                    <a:pt x="107" y="275"/>
                    <a:pt x="107" y="274"/>
                  </a:cubicBezTo>
                  <a:cubicBezTo>
                    <a:pt x="106" y="274"/>
                    <a:pt x="106" y="273"/>
                    <a:pt x="105" y="273"/>
                  </a:cubicBezTo>
                  <a:cubicBezTo>
                    <a:pt x="105" y="273"/>
                    <a:pt x="105" y="273"/>
                    <a:pt x="105" y="273"/>
                  </a:cubicBezTo>
                  <a:cubicBezTo>
                    <a:pt x="105" y="273"/>
                    <a:pt x="105" y="272"/>
                    <a:pt x="105" y="272"/>
                  </a:cubicBezTo>
                  <a:cubicBezTo>
                    <a:pt x="105" y="271"/>
                    <a:pt x="106" y="271"/>
                    <a:pt x="107" y="271"/>
                  </a:cubicBezTo>
                  <a:cubicBezTo>
                    <a:pt x="109" y="271"/>
                    <a:pt x="109" y="272"/>
                    <a:pt x="110" y="273"/>
                  </a:cubicBezTo>
                  <a:cubicBezTo>
                    <a:pt x="110" y="273"/>
                    <a:pt x="111" y="274"/>
                    <a:pt x="111" y="274"/>
                  </a:cubicBezTo>
                  <a:cubicBezTo>
                    <a:pt x="111" y="274"/>
                    <a:pt x="112" y="274"/>
                    <a:pt x="113" y="273"/>
                  </a:cubicBezTo>
                  <a:cubicBezTo>
                    <a:pt x="113" y="273"/>
                    <a:pt x="114" y="272"/>
                    <a:pt x="114" y="272"/>
                  </a:cubicBezTo>
                  <a:cubicBezTo>
                    <a:pt x="114" y="272"/>
                    <a:pt x="114" y="271"/>
                    <a:pt x="113" y="271"/>
                  </a:cubicBezTo>
                  <a:cubicBezTo>
                    <a:pt x="113" y="270"/>
                    <a:pt x="112" y="269"/>
                    <a:pt x="111" y="268"/>
                  </a:cubicBezTo>
                  <a:cubicBezTo>
                    <a:pt x="111" y="268"/>
                    <a:pt x="111" y="268"/>
                    <a:pt x="111" y="268"/>
                  </a:cubicBezTo>
                  <a:cubicBezTo>
                    <a:pt x="111" y="267"/>
                    <a:pt x="112" y="267"/>
                    <a:pt x="112" y="267"/>
                  </a:cubicBezTo>
                  <a:cubicBezTo>
                    <a:pt x="113" y="268"/>
                    <a:pt x="113" y="268"/>
                    <a:pt x="113" y="268"/>
                  </a:cubicBezTo>
                  <a:cubicBezTo>
                    <a:pt x="114" y="269"/>
                    <a:pt x="115" y="269"/>
                    <a:pt x="115" y="269"/>
                  </a:cubicBezTo>
                  <a:cubicBezTo>
                    <a:pt x="116" y="268"/>
                    <a:pt x="117" y="267"/>
                    <a:pt x="118" y="267"/>
                  </a:cubicBezTo>
                  <a:cubicBezTo>
                    <a:pt x="118" y="267"/>
                    <a:pt x="118" y="267"/>
                    <a:pt x="119" y="267"/>
                  </a:cubicBezTo>
                  <a:cubicBezTo>
                    <a:pt x="119" y="268"/>
                    <a:pt x="120" y="268"/>
                    <a:pt x="121" y="268"/>
                  </a:cubicBezTo>
                  <a:cubicBezTo>
                    <a:pt x="121" y="268"/>
                    <a:pt x="121" y="268"/>
                    <a:pt x="122" y="268"/>
                  </a:cubicBezTo>
                  <a:cubicBezTo>
                    <a:pt x="123" y="268"/>
                    <a:pt x="123" y="267"/>
                    <a:pt x="124" y="266"/>
                  </a:cubicBezTo>
                  <a:cubicBezTo>
                    <a:pt x="125" y="266"/>
                    <a:pt x="125" y="266"/>
                    <a:pt x="126" y="267"/>
                  </a:cubicBezTo>
                  <a:cubicBezTo>
                    <a:pt x="126" y="268"/>
                    <a:pt x="127" y="268"/>
                    <a:pt x="128" y="269"/>
                  </a:cubicBezTo>
                  <a:cubicBezTo>
                    <a:pt x="128" y="269"/>
                    <a:pt x="128" y="269"/>
                    <a:pt x="129" y="269"/>
                  </a:cubicBezTo>
                  <a:cubicBezTo>
                    <a:pt x="129" y="269"/>
                    <a:pt x="129" y="270"/>
                    <a:pt x="129" y="270"/>
                  </a:cubicBezTo>
                  <a:cubicBezTo>
                    <a:pt x="130" y="271"/>
                    <a:pt x="131" y="271"/>
                    <a:pt x="131" y="271"/>
                  </a:cubicBezTo>
                  <a:cubicBezTo>
                    <a:pt x="132" y="270"/>
                    <a:pt x="132" y="270"/>
                    <a:pt x="133" y="270"/>
                  </a:cubicBezTo>
                  <a:cubicBezTo>
                    <a:pt x="134" y="270"/>
                    <a:pt x="134" y="270"/>
                    <a:pt x="135" y="270"/>
                  </a:cubicBezTo>
                  <a:cubicBezTo>
                    <a:pt x="134" y="269"/>
                    <a:pt x="134" y="268"/>
                    <a:pt x="135" y="267"/>
                  </a:cubicBezTo>
                  <a:cubicBezTo>
                    <a:pt x="135" y="267"/>
                    <a:pt x="136" y="267"/>
                    <a:pt x="136" y="267"/>
                  </a:cubicBezTo>
                  <a:cubicBezTo>
                    <a:pt x="137" y="266"/>
                    <a:pt x="136" y="265"/>
                    <a:pt x="137" y="264"/>
                  </a:cubicBezTo>
                  <a:cubicBezTo>
                    <a:pt x="137" y="263"/>
                    <a:pt x="138" y="263"/>
                    <a:pt x="139" y="263"/>
                  </a:cubicBezTo>
                  <a:cubicBezTo>
                    <a:pt x="139" y="263"/>
                    <a:pt x="140" y="264"/>
                    <a:pt x="140" y="264"/>
                  </a:cubicBezTo>
                  <a:cubicBezTo>
                    <a:pt x="141" y="265"/>
                    <a:pt x="142" y="265"/>
                    <a:pt x="143" y="265"/>
                  </a:cubicBezTo>
                  <a:cubicBezTo>
                    <a:pt x="144" y="265"/>
                    <a:pt x="144" y="265"/>
                    <a:pt x="144" y="265"/>
                  </a:cubicBezTo>
                  <a:cubicBezTo>
                    <a:pt x="145" y="265"/>
                    <a:pt x="145" y="265"/>
                    <a:pt x="146" y="266"/>
                  </a:cubicBezTo>
                  <a:cubicBezTo>
                    <a:pt x="146" y="266"/>
                    <a:pt x="145" y="267"/>
                    <a:pt x="144" y="267"/>
                  </a:cubicBezTo>
                  <a:cubicBezTo>
                    <a:pt x="144" y="267"/>
                    <a:pt x="144" y="267"/>
                    <a:pt x="144" y="267"/>
                  </a:cubicBezTo>
                  <a:cubicBezTo>
                    <a:pt x="144" y="268"/>
                    <a:pt x="151" y="272"/>
                    <a:pt x="153" y="275"/>
                  </a:cubicBezTo>
                  <a:cubicBezTo>
                    <a:pt x="154" y="274"/>
                    <a:pt x="154" y="274"/>
                    <a:pt x="155" y="273"/>
                  </a:cubicBezTo>
                  <a:cubicBezTo>
                    <a:pt x="155" y="273"/>
                    <a:pt x="155" y="274"/>
                    <a:pt x="156" y="274"/>
                  </a:cubicBezTo>
                  <a:cubicBezTo>
                    <a:pt x="156" y="273"/>
                    <a:pt x="155" y="272"/>
                    <a:pt x="154" y="271"/>
                  </a:cubicBezTo>
                  <a:cubicBezTo>
                    <a:pt x="151" y="270"/>
                    <a:pt x="148" y="268"/>
                    <a:pt x="148" y="265"/>
                  </a:cubicBezTo>
                  <a:cubicBezTo>
                    <a:pt x="148" y="265"/>
                    <a:pt x="148" y="263"/>
                    <a:pt x="147" y="263"/>
                  </a:cubicBezTo>
                  <a:cubicBezTo>
                    <a:pt x="147" y="263"/>
                    <a:pt x="146" y="263"/>
                    <a:pt x="146" y="263"/>
                  </a:cubicBezTo>
                  <a:cubicBezTo>
                    <a:pt x="143" y="262"/>
                    <a:pt x="141" y="262"/>
                    <a:pt x="139" y="261"/>
                  </a:cubicBezTo>
                  <a:cubicBezTo>
                    <a:pt x="137" y="259"/>
                    <a:pt x="136" y="257"/>
                    <a:pt x="137" y="255"/>
                  </a:cubicBezTo>
                  <a:cubicBezTo>
                    <a:pt x="137" y="255"/>
                    <a:pt x="138" y="255"/>
                    <a:pt x="138" y="255"/>
                  </a:cubicBezTo>
                  <a:cubicBezTo>
                    <a:pt x="137" y="250"/>
                    <a:pt x="137" y="245"/>
                    <a:pt x="138" y="240"/>
                  </a:cubicBezTo>
                  <a:cubicBezTo>
                    <a:pt x="139" y="240"/>
                    <a:pt x="140" y="240"/>
                    <a:pt x="141" y="240"/>
                  </a:cubicBezTo>
                  <a:cubicBezTo>
                    <a:pt x="142" y="240"/>
                    <a:pt x="143" y="241"/>
                    <a:pt x="144" y="240"/>
                  </a:cubicBezTo>
                  <a:cubicBezTo>
                    <a:pt x="144" y="239"/>
                    <a:pt x="144" y="239"/>
                    <a:pt x="143" y="238"/>
                  </a:cubicBezTo>
                  <a:cubicBezTo>
                    <a:pt x="142" y="236"/>
                    <a:pt x="142" y="233"/>
                    <a:pt x="144" y="232"/>
                  </a:cubicBezTo>
                  <a:cubicBezTo>
                    <a:pt x="145" y="231"/>
                    <a:pt x="146" y="231"/>
                    <a:pt x="146" y="230"/>
                  </a:cubicBezTo>
                  <a:cubicBezTo>
                    <a:pt x="146" y="230"/>
                    <a:pt x="146" y="229"/>
                    <a:pt x="146" y="228"/>
                  </a:cubicBezTo>
                  <a:cubicBezTo>
                    <a:pt x="146" y="228"/>
                    <a:pt x="147" y="228"/>
                    <a:pt x="148" y="228"/>
                  </a:cubicBezTo>
                  <a:cubicBezTo>
                    <a:pt x="148" y="229"/>
                    <a:pt x="148" y="229"/>
                    <a:pt x="149" y="230"/>
                  </a:cubicBezTo>
                  <a:cubicBezTo>
                    <a:pt x="149" y="232"/>
                    <a:pt x="149" y="233"/>
                    <a:pt x="149" y="235"/>
                  </a:cubicBezTo>
                  <a:cubicBezTo>
                    <a:pt x="148" y="236"/>
                    <a:pt x="148" y="237"/>
                    <a:pt x="149" y="238"/>
                  </a:cubicBezTo>
                  <a:cubicBezTo>
                    <a:pt x="149" y="238"/>
                    <a:pt x="150" y="238"/>
                    <a:pt x="150" y="238"/>
                  </a:cubicBezTo>
                  <a:cubicBezTo>
                    <a:pt x="151" y="239"/>
                    <a:pt x="150" y="241"/>
                    <a:pt x="149" y="242"/>
                  </a:cubicBezTo>
                  <a:cubicBezTo>
                    <a:pt x="149" y="244"/>
                    <a:pt x="152" y="246"/>
                    <a:pt x="152" y="249"/>
                  </a:cubicBezTo>
                  <a:cubicBezTo>
                    <a:pt x="152" y="249"/>
                    <a:pt x="152" y="250"/>
                    <a:pt x="152" y="250"/>
                  </a:cubicBezTo>
                  <a:cubicBezTo>
                    <a:pt x="151" y="251"/>
                    <a:pt x="150" y="250"/>
                    <a:pt x="149" y="250"/>
                  </a:cubicBezTo>
                  <a:cubicBezTo>
                    <a:pt x="148" y="249"/>
                    <a:pt x="147" y="248"/>
                    <a:pt x="146" y="246"/>
                  </a:cubicBezTo>
                  <a:cubicBezTo>
                    <a:pt x="146" y="246"/>
                    <a:pt x="145" y="245"/>
                    <a:pt x="145" y="245"/>
                  </a:cubicBezTo>
                  <a:cubicBezTo>
                    <a:pt x="144" y="245"/>
                    <a:pt x="144" y="245"/>
                    <a:pt x="144" y="245"/>
                  </a:cubicBezTo>
                  <a:cubicBezTo>
                    <a:pt x="143" y="246"/>
                    <a:pt x="144" y="246"/>
                    <a:pt x="144" y="246"/>
                  </a:cubicBezTo>
                  <a:cubicBezTo>
                    <a:pt x="144" y="248"/>
                    <a:pt x="145" y="249"/>
                    <a:pt x="145" y="251"/>
                  </a:cubicBezTo>
                  <a:cubicBezTo>
                    <a:pt x="146" y="251"/>
                    <a:pt x="146" y="252"/>
                    <a:pt x="146" y="252"/>
                  </a:cubicBezTo>
                  <a:cubicBezTo>
                    <a:pt x="147" y="252"/>
                    <a:pt x="148" y="252"/>
                    <a:pt x="148" y="251"/>
                  </a:cubicBezTo>
                  <a:cubicBezTo>
                    <a:pt x="149" y="252"/>
                    <a:pt x="151" y="252"/>
                    <a:pt x="153" y="251"/>
                  </a:cubicBezTo>
                  <a:cubicBezTo>
                    <a:pt x="153" y="252"/>
                    <a:pt x="153" y="253"/>
                    <a:pt x="153" y="254"/>
                  </a:cubicBezTo>
                  <a:cubicBezTo>
                    <a:pt x="153" y="254"/>
                    <a:pt x="152" y="255"/>
                    <a:pt x="151" y="255"/>
                  </a:cubicBezTo>
                  <a:cubicBezTo>
                    <a:pt x="151" y="255"/>
                    <a:pt x="150" y="254"/>
                    <a:pt x="150" y="254"/>
                  </a:cubicBezTo>
                  <a:cubicBezTo>
                    <a:pt x="149" y="255"/>
                    <a:pt x="149" y="255"/>
                    <a:pt x="150" y="256"/>
                  </a:cubicBezTo>
                  <a:cubicBezTo>
                    <a:pt x="150" y="256"/>
                    <a:pt x="151" y="256"/>
                    <a:pt x="152" y="257"/>
                  </a:cubicBezTo>
                  <a:cubicBezTo>
                    <a:pt x="153" y="257"/>
                    <a:pt x="154" y="257"/>
                    <a:pt x="155" y="258"/>
                  </a:cubicBezTo>
                  <a:cubicBezTo>
                    <a:pt x="155" y="259"/>
                    <a:pt x="155" y="260"/>
                    <a:pt x="155" y="261"/>
                  </a:cubicBezTo>
                  <a:cubicBezTo>
                    <a:pt x="154" y="262"/>
                    <a:pt x="153" y="262"/>
                    <a:pt x="151" y="261"/>
                  </a:cubicBezTo>
                  <a:cubicBezTo>
                    <a:pt x="150" y="261"/>
                    <a:pt x="149" y="260"/>
                    <a:pt x="148" y="259"/>
                  </a:cubicBezTo>
                  <a:cubicBezTo>
                    <a:pt x="147" y="259"/>
                    <a:pt x="146" y="258"/>
                    <a:pt x="144" y="259"/>
                  </a:cubicBezTo>
                  <a:cubicBezTo>
                    <a:pt x="146" y="261"/>
                    <a:pt x="149" y="262"/>
                    <a:pt x="151" y="263"/>
                  </a:cubicBezTo>
                  <a:cubicBezTo>
                    <a:pt x="154" y="265"/>
                    <a:pt x="156" y="267"/>
                    <a:pt x="158" y="269"/>
                  </a:cubicBezTo>
                  <a:cubicBezTo>
                    <a:pt x="159" y="268"/>
                    <a:pt x="160" y="266"/>
                    <a:pt x="159" y="265"/>
                  </a:cubicBezTo>
                  <a:cubicBezTo>
                    <a:pt x="159" y="265"/>
                    <a:pt x="158" y="265"/>
                    <a:pt x="158" y="265"/>
                  </a:cubicBezTo>
                  <a:cubicBezTo>
                    <a:pt x="157" y="264"/>
                    <a:pt x="157" y="262"/>
                    <a:pt x="158" y="261"/>
                  </a:cubicBezTo>
                  <a:cubicBezTo>
                    <a:pt x="158" y="260"/>
                    <a:pt x="160" y="260"/>
                    <a:pt x="161" y="261"/>
                  </a:cubicBezTo>
                  <a:cubicBezTo>
                    <a:pt x="161" y="261"/>
                    <a:pt x="162" y="262"/>
                    <a:pt x="162" y="262"/>
                  </a:cubicBezTo>
                  <a:cubicBezTo>
                    <a:pt x="163" y="264"/>
                    <a:pt x="164" y="266"/>
                    <a:pt x="165" y="268"/>
                  </a:cubicBezTo>
                  <a:cubicBezTo>
                    <a:pt x="165" y="269"/>
                    <a:pt x="166" y="270"/>
                    <a:pt x="166" y="271"/>
                  </a:cubicBezTo>
                  <a:cubicBezTo>
                    <a:pt x="167" y="272"/>
                    <a:pt x="168" y="272"/>
                    <a:pt x="170" y="272"/>
                  </a:cubicBezTo>
                  <a:cubicBezTo>
                    <a:pt x="170" y="269"/>
                    <a:pt x="166" y="266"/>
                    <a:pt x="166" y="262"/>
                  </a:cubicBezTo>
                  <a:cubicBezTo>
                    <a:pt x="166" y="262"/>
                    <a:pt x="166" y="261"/>
                    <a:pt x="167" y="261"/>
                  </a:cubicBezTo>
                  <a:cubicBezTo>
                    <a:pt x="167" y="261"/>
                    <a:pt x="167" y="261"/>
                    <a:pt x="168" y="262"/>
                  </a:cubicBezTo>
                  <a:cubicBezTo>
                    <a:pt x="169" y="263"/>
                    <a:pt x="170" y="263"/>
                    <a:pt x="171" y="264"/>
                  </a:cubicBezTo>
                  <a:cubicBezTo>
                    <a:pt x="171" y="265"/>
                    <a:pt x="172" y="265"/>
                    <a:pt x="172" y="266"/>
                  </a:cubicBezTo>
                  <a:cubicBezTo>
                    <a:pt x="172" y="267"/>
                    <a:pt x="172" y="269"/>
                    <a:pt x="173" y="270"/>
                  </a:cubicBezTo>
                  <a:cubicBezTo>
                    <a:pt x="174" y="269"/>
                    <a:pt x="174" y="266"/>
                    <a:pt x="176" y="265"/>
                  </a:cubicBezTo>
                  <a:cubicBezTo>
                    <a:pt x="176" y="265"/>
                    <a:pt x="177" y="266"/>
                    <a:pt x="178" y="266"/>
                  </a:cubicBezTo>
                  <a:cubicBezTo>
                    <a:pt x="178" y="267"/>
                    <a:pt x="179" y="268"/>
                    <a:pt x="180" y="268"/>
                  </a:cubicBezTo>
                  <a:cubicBezTo>
                    <a:pt x="180" y="268"/>
                    <a:pt x="181" y="268"/>
                    <a:pt x="181" y="268"/>
                  </a:cubicBezTo>
                  <a:cubicBezTo>
                    <a:pt x="183" y="269"/>
                    <a:pt x="183" y="270"/>
                    <a:pt x="183" y="272"/>
                  </a:cubicBezTo>
                  <a:cubicBezTo>
                    <a:pt x="183" y="273"/>
                    <a:pt x="182" y="274"/>
                    <a:pt x="181" y="275"/>
                  </a:cubicBezTo>
                  <a:cubicBezTo>
                    <a:pt x="180" y="276"/>
                    <a:pt x="179" y="277"/>
                    <a:pt x="178" y="278"/>
                  </a:cubicBezTo>
                  <a:cubicBezTo>
                    <a:pt x="178" y="279"/>
                    <a:pt x="178" y="279"/>
                    <a:pt x="178" y="279"/>
                  </a:cubicBezTo>
                  <a:cubicBezTo>
                    <a:pt x="179" y="280"/>
                    <a:pt x="180" y="279"/>
                    <a:pt x="180" y="279"/>
                  </a:cubicBezTo>
                  <a:cubicBezTo>
                    <a:pt x="182" y="277"/>
                    <a:pt x="183" y="275"/>
                    <a:pt x="185" y="273"/>
                  </a:cubicBezTo>
                  <a:cubicBezTo>
                    <a:pt x="186" y="272"/>
                    <a:pt x="189" y="270"/>
                    <a:pt x="191" y="271"/>
                  </a:cubicBezTo>
                  <a:cubicBezTo>
                    <a:pt x="187" y="266"/>
                    <a:pt x="181" y="263"/>
                    <a:pt x="176" y="260"/>
                  </a:cubicBezTo>
                  <a:cubicBezTo>
                    <a:pt x="170" y="258"/>
                    <a:pt x="164" y="257"/>
                    <a:pt x="161" y="252"/>
                  </a:cubicBezTo>
                  <a:cubicBezTo>
                    <a:pt x="158" y="249"/>
                    <a:pt x="157" y="244"/>
                    <a:pt x="157" y="240"/>
                  </a:cubicBezTo>
                  <a:cubicBezTo>
                    <a:pt x="157" y="238"/>
                    <a:pt x="157" y="236"/>
                    <a:pt x="158" y="235"/>
                  </a:cubicBezTo>
                  <a:cubicBezTo>
                    <a:pt x="160" y="234"/>
                    <a:pt x="162" y="235"/>
                    <a:pt x="163" y="234"/>
                  </a:cubicBezTo>
                  <a:cubicBezTo>
                    <a:pt x="163" y="234"/>
                    <a:pt x="163" y="233"/>
                    <a:pt x="164" y="233"/>
                  </a:cubicBezTo>
                  <a:cubicBezTo>
                    <a:pt x="164" y="232"/>
                    <a:pt x="165" y="232"/>
                    <a:pt x="166" y="231"/>
                  </a:cubicBezTo>
                  <a:cubicBezTo>
                    <a:pt x="169" y="231"/>
                    <a:pt x="172" y="230"/>
                    <a:pt x="175" y="229"/>
                  </a:cubicBezTo>
                  <a:cubicBezTo>
                    <a:pt x="178" y="227"/>
                    <a:pt x="181" y="224"/>
                    <a:pt x="180" y="221"/>
                  </a:cubicBezTo>
                  <a:cubicBezTo>
                    <a:pt x="180" y="220"/>
                    <a:pt x="180" y="220"/>
                    <a:pt x="180" y="219"/>
                  </a:cubicBezTo>
                  <a:cubicBezTo>
                    <a:pt x="180" y="219"/>
                    <a:pt x="179" y="219"/>
                    <a:pt x="179" y="218"/>
                  </a:cubicBezTo>
                  <a:cubicBezTo>
                    <a:pt x="177" y="217"/>
                    <a:pt x="175" y="217"/>
                    <a:pt x="173" y="217"/>
                  </a:cubicBezTo>
                  <a:cubicBezTo>
                    <a:pt x="167" y="217"/>
                    <a:pt x="162" y="219"/>
                    <a:pt x="158" y="222"/>
                  </a:cubicBezTo>
                  <a:cubicBezTo>
                    <a:pt x="157" y="223"/>
                    <a:pt x="157" y="224"/>
                    <a:pt x="156" y="223"/>
                  </a:cubicBezTo>
                  <a:cubicBezTo>
                    <a:pt x="156" y="223"/>
                    <a:pt x="156" y="223"/>
                    <a:pt x="155" y="223"/>
                  </a:cubicBezTo>
                  <a:cubicBezTo>
                    <a:pt x="155" y="221"/>
                    <a:pt x="154" y="220"/>
                    <a:pt x="153" y="220"/>
                  </a:cubicBezTo>
                  <a:cubicBezTo>
                    <a:pt x="152" y="219"/>
                    <a:pt x="152" y="220"/>
                    <a:pt x="151" y="219"/>
                  </a:cubicBezTo>
                  <a:cubicBezTo>
                    <a:pt x="149" y="219"/>
                    <a:pt x="149" y="217"/>
                    <a:pt x="149" y="215"/>
                  </a:cubicBezTo>
                  <a:cubicBezTo>
                    <a:pt x="149" y="214"/>
                    <a:pt x="149" y="213"/>
                    <a:pt x="149" y="212"/>
                  </a:cubicBezTo>
                  <a:cubicBezTo>
                    <a:pt x="149" y="211"/>
                    <a:pt x="149" y="210"/>
                    <a:pt x="149" y="209"/>
                  </a:cubicBezTo>
                  <a:cubicBezTo>
                    <a:pt x="149" y="209"/>
                    <a:pt x="149" y="208"/>
                    <a:pt x="150" y="208"/>
                  </a:cubicBezTo>
                  <a:cubicBezTo>
                    <a:pt x="151" y="205"/>
                    <a:pt x="149" y="202"/>
                    <a:pt x="151" y="200"/>
                  </a:cubicBezTo>
                  <a:cubicBezTo>
                    <a:pt x="151" y="199"/>
                    <a:pt x="151" y="199"/>
                    <a:pt x="152" y="199"/>
                  </a:cubicBezTo>
                  <a:cubicBezTo>
                    <a:pt x="152" y="199"/>
                    <a:pt x="152" y="200"/>
                    <a:pt x="152" y="200"/>
                  </a:cubicBezTo>
                  <a:cubicBezTo>
                    <a:pt x="152" y="201"/>
                    <a:pt x="152" y="201"/>
                    <a:pt x="152" y="202"/>
                  </a:cubicBezTo>
                  <a:cubicBezTo>
                    <a:pt x="153" y="202"/>
                    <a:pt x="154" y="203"/>
                    <a:pt x="154" y="203"/>
                  </a:cubicBezTo>
                  <a:cubicBezTo>
                    <a:pt x="155" y="203"/>
                    <a:pt x="156" y="202"/>
                    <a:pt x="156" y="201"/>
                  </a:cubicBezTo>
                  <a:cubicBezTo>
                    <a:pt x="157" y="201"/>
                    <a:pt x="157" y="200"/>
                    <a:pt x="158" y="200"/>
                  </a:cubicBezTo>
                  <a:cubicBezTo>
                    <a:pt x="158" y="199"/>
                    <a:pt x="159" y="198"/>
                    <a:pt x="158" y="197"/>
                  </a:cubicBezTo>
                  <a:cubicBezTo>
                    <a:pt x="158" y="196"/>
                    <a:pt x="157" y="196"/>
                    <a:pt x="156" y="196"/>
                  </a:cubicBezTo>
                  <a:cubicBezTo>
                    <a:pt x="156" y="195"/>
                    <a:pt x="155" y="195"/>
                    <a:pt x="155" y="195"/>
                  </a:cubicBezTo>
                  <a:cubicBezTo>
                    <a:pt x="155" y="194"/>
                    <a:pt x="155" y="194"/>
                    <a:pt x="155" y="193"/>
                  </a:cubicBezTo>
                  <a:cubicBezTo>
                    <a:pt x="154" y="193"/>
                    <a:pt x="153" y="193"/>
                    <a:pt x="153" y="192"/>
                  </a:cubicBezTo>
                  <a:cubicBezTo>
                    <a:pt x="153" y="192"/>
                    <a:pt x="153" y="191"/>
                    <a:pt x="153" y="191"/>
                  </a:cubicBezTo>
                  <a:cubicBezTo>
                    <a:pt x="153" y="191"/>
                    <a:pt x="153" y="191"/>
                    <a:pt x="152" y="190"/>
                  </a:cubicBezTo>
                  <a:cubicBezTo>
                    <a:pt x="152" y="190"/>
                    <a:pt x="151" y="190"/>
                    <a:pt x="151" y="190"/>
                  </a:cubicBezTo>
                  <a:cubicBezTo>
                    <a:pt x="150" y="190"/>
                    <a:pt x="150" y="190"/>
                    <a:pt x="150" y="189"/>
                  </a:cubicBezTo>
                  <a:cubicBezTo>
                    <a:pt x="150" y="189"/>
                    <a:pt x="151" y="189"/>
                    <a:pt x="151" y="189"/>
                  </a:cubicBezTo>
                  <a:cubicBezTo>
                    <a:pt x="153" y="188"/>
                    <a:pt x="155" y="188"/>
                    <a:pt x="157" y="188"/>
                  </a:cubicBezTo>
                  <a:cubicBezTo>
                    <a:pt x="157" y="188"/>
                    <a:pt x="157" y="188"/>
                    <a:pt x="158" y="188"/>
                  </a:cubicBezTo>
                  <a:cubicBezTo>
                    <a:pt x="158" y="188"/>
                    <a:pt x="158" y="189"/>
                    <a:pt x="158" y="189"/>
                  </a:cubicBezTo>
                  <a:cubicBezTo>
                    <a:pt x="159" y="191"/>
                    <a:pt x="161" y="193"/>
                    <a:pt x="163" y="193"/>
                  </a:cubicBezTo>
                  <a:cubicBezTo>
                    <a:pt x="164" y="193"/>
                    <a:pt x="165" y="193"/>
                    <a:pt x="165" y="192"/>
                  </a:cubicBezTo>
                  <a:cubicBezTo>
                    <a:pt x="167" y="190"/>
                    <a:pt x="168" y="191"/>
                    <a:pt x="170" y="189"/>
                  </a:cubicBezTo>
                  <a:cubicBezTo>
                    <a:pt x="171" y="188"/>
                    <a:pt x="173" y="183"/>
                    <a:pt x="173" y="182"/>
                  </a:cubicBezTo>
                  <a:cubicBezTo>
                    <a:pt x="174" y="181"/>
                    <a:pt x="173" y="178"/>
                    <a:pt x="175" y="177"/>
                  </a:cubicBezTo>
                  <a:cubicBezTo>
                    <a:pt x="176" y="176"/>
                    <a:pt x="177" y="175"/>
                    <a:pt x="178" y="176"/>
                  </a:cubicBezTo>
                  <a:cubicBezTo>
                    <a:pt x="180" y="177"/>
                    <a:pt x="180" y="179"/>
                    <a:pt x="181" y="180"/>
                  </a:cubicBezTo>
                  <a:cubicBezTo>
                    <a:pt x="181" y="181"/>
                    <a:pt x="184" y="185"/>
                    <a:pt x="185" y="186"/>
                  </a:cubicBezTo>
                  <a:cubicBezTo>
                    <a:pt x="186" y="186"/>
                    <a:pt x="189" y="186"/>
                    <a:pt x="190" y="185"/>
                  </a:cubicBezTo>
                  <a:cubicBezTo>
                    <a:pt x="192" y="184"/>
                    <a:pt x="192" y="183"/>
                    <a:pt x="194" y="182"/>
                  </a:cubicBezTo>
                  <a:cubicBezTo>
                    <a:pt x="195" y="182"/>
                    <a:pt x="199" y="182"/>
                    <a:pt x="200" y="182"/>
                  </a:cubicBezTo>
                  <a:cubicBezTo>
                    <a:pt x="200" y="182"/>
                    <a:pt x="200" y="183"/>
                    <a:pt x="201" y="183"/>
                  </a:cubicBezTo>
                  <a:cubicBezTo>
                    <a:pt x="201" y="291"/>
                    <a:pt x="201" y="291"/>
                    <a:pt x="201" y="291"/>
                  </a:cubicBezTo>
                  <a:cubicBezTo>
                    <a:pt x="200" y="291"/>
                    <a:pt x="200" y="291"/>
                    <a:pt x="200" y="291"/>
                  </a:cubicBezTo>
                  <a:cubicBezTo>
                    <a:pt x="198" y="289"/>
                    <a:pt x="198" y="289"/>
                    <a:pt x="198" y="289"/>
                  </a:cubicBezTo>
                  <a:cubicBezTo>
                    <a:pt x="198" y="289"/>
                    <a:pt x="196" y="289"/>
                    <a:pt x="196" y="289"/>
                  </a:cubicBezTo>
                  <a:cubicBezTo>
                    <a:pt x="197" y="290"/>
                    <a:pt x="198" y="292"/>
                    <a:pt x="198" y="292"/>
                  </a:cubicBezTo>
                  <a:cubicBezTo>
                    <a:pt x="198" y="292"/>
                    <a:pt x="197" y="293"/>
                    <a:pt x="196" y="293"/>
                  </a:cubicBezTo>
                  <a:cubicBezTo>
                    <a:pt x="195" y="294"/>
                    <a:pt x="189" y="295"/>
                    <a:pt x="188" y="295"/>
                  </a:cubicBezTo>
                  <a:cubicBezTo>
                    <a:pt x="187" y="294"/>
                    <a:pt x="181" y="291"/>
                    <a:pt x="179" y="291"/>
                  </a:cubicBezTo>
                  <a:cubicBezTo>
                    <a:pt x="178" y="291"/>
                    <a:pt x="174" y="290"/>
                    <a:pt x="173" y="290"/>
                  </a:cubicBezTo>
                  <a:cubicBezTo>
                    <a:pt x="173" y="289"/>
                    <a:pt x="170" y="287"/>
                    <a:pt x="170" y="287"/>
                  </a:cubicBezTo>
                  <a:cubicBezTo>
                    <a:pt x="167" y="288"/>
                    <a:pt x="167" y="288"/>
                    <a:pt x="167" y="288"/>
                  </a:cubicBezTo>
                  <a:cubicBezTo>
                    <a:pt x="167" y="288"/>
                    <a:pt x="165" y="289"/>
                    <a:pt x="164" y="288"/>
                  </a:cubicBezTo>
                  <a:cubicBezTo>
                    <a:pt x="164" y="288"/>
                    <a:pt x="163" y="283"/>
                    <a:pt x="163" y="283"/>
                  </a:cubicBezTo>
                  <a:cubicBezTo>
                    <a:pt x="163" y="283"/>
                    <a:pt x="162" y="283"/>
                    <a:pt x="162" y="283"/>
                  </a:cubicBezTo>
                  <a:cubicBezTo>
                    <a:pt x="162" y="284"/>
                    <a:pt x="161" y="289"/>
                    <a:pt x="161" y="289"/>
                  </a:cubicBezTo>
                  <a:close/>
                  <a:moveTo>
                    <a:pt x="240" y="295"/>
                  </a:moveTo>
                  <a:cubicBezTo>
                    <a:pt x="236" y="293"/>
                    <a:pt x="231" y="295"/>
                    <a:pt x="226" y="293"/>
                  </a:cubicBezTo>
                  <a:cubicBezTo>
                    <a:pt x="226" y="293"/>
                    <a:pt x="225" y="293"/>
                    <a:pt x="225" y="293"/>
                  </a:cubicBezTo>
                  <a:cubicBezTo>
                    <a:pt x="224" y="293"/>
                    <a:pt x="224" y="293"/>
                    <a:pt x="223" y="293"/>
                  </a:cubicBezTo>
                  <a:cubicBezTo>
                    <a:pt x="221" y="292"/>
                    <a:pt x="220" y="291"/>
                    <a:pt x="218" y="291"/>
                  </a:cubicBezTo>
                  <a:cubicBezTo>
                    <a:pt x="217" y="291"/>
                    <a:pt x="216" y="292"/>
                    <a:pt x="215" y="292"/>
                  </a:cubicBezTo>
                  <a:cubicBezTo>
                    <a:pt x="214" y="293"/>
                    <a:pt x="214" y="293"/>
                    <a:pt x="213" y="293"/>
                  </a:cubicBezTo>
                  <a:cubicBezTo>
                    <a:pt x="212" y="293"/>
                    <a:pt x="211" y="293"/>
                    <a:pt x="211" y="293"/>
                  </a:cubicBezTo>
                  <a:cubicBezTo>
                    <a:pt x="210" y="294"/>
                    <a:pt x="210" y="295"/>
                    <a:pt x="210" y="295"/>
                  </a:cubicBezTo>
                  <a:cubicBezTo>
                    <a:pt x="210" y="296"/>
                    <a:pt x="211" y="296"/>
                    <a:pt x="212" y="297"/>
                  </a:cubicBezTo>
                  <a:cubicBezTo>
                    <a:pt x="213" y="297"/>
                    <a:pt x="214" y="299"/>
                    <a:pt x="214" y="300"/>
                  </a:cubicBezTo>
                  <a:cubicBezTo>
                    <a:pt x="215" y="301"/>
                    <a:pt x="215" y="302"/>
                    <a:pt x="215" y="303"/>
                  </a:cubicBezTo>
                  <a:cubicBezTo>
                    <a:pt x="215" y="304"/>
                    <a:pt x="215" y="305"/>
                    <a:pt x="215" y="306"/>
                  </a:cubicBezTo>
                  <a:cubicBezTo>
                    <a:pt x="215" y="306"/>
                    <a:pt x="216" y="307"/>
                    <a:pt x="216" y="308"/>
                  </a:cubicBezTo>
                  <a:cubicBezTo>
                    <a:pt x="217" y="308"/>
                    <a:pt x="218" y="309"/>
                    <a:pt x="219" y="309"/>
                  </a:cubicBezTo>
                  <a:cubicBezTo>
                    <a:pt x="219" y="309"/>
                    <a:pt x="219" y="309"/>
                    <a:pt x="220" y="309"/>
                  </a:cubicBezTo>
                  <a:cubicBezTo>
                    <a:pt x="220" y="308"/>
                    <a:pt x="220" y="307"/>
                    <a:pt x="220" y="307"/>
                  </a:cubicBezTo>
                  <a:cubicBezTo>
                    <a:pt x="220" y="307"/>
                    <a:pt x="221" y="306"/>
                    <a:pt x="221" y="306"/>
                  </a:cubicBezTo>
                  <a:cubicBezTo>
                    <a:pt x="221" y="306"/>
                    <a:pt x="222" y="306"/>
                    <a:pt x="222" y="306"/>
                  </a:cubicBezTo>
                  <a:cubicBezTo>
                    <a:pt x="223" y="307"/>
                    <a:pt x="224" y="307"/>
                    <a:pt x="224" y="307"/>
                  </a:cubicBezTo>
                  <a:cubicBezTo>
                    <a:pt x="225" y="308"/>
                    <a:pt x="226" y="309"/>
                    <a:pt x="227" y="309"/>
                  </a:cubicBezTo>
                  <a:cubicBezTo>
                    <a:pt x="227" y="310"/>
                    <a:pt x="229" y="310"/>
                    <a:pt x="229" y="309"/>
                  </a:cubicBezTo>
                  <a:cubicBezTo>
                    <a:pt x="230" y="308"/>
                    <a:pt x="229" y="307"/>
                    <a:pt x="230" y="307"/>
                  </a:cubicBezTo>
                  <a:cubicBezTo>
                    <a:pt x="230" y="306"/>
                    <a:pt x="231" y="305"/>
                    <a:pt x="232" y="306"/>
                  </a:cubicBezTo>
                  <a:cubicBezTo>
                    <a:pt x="233" y="306"/>
                    <a:pt x="234" y="306"/>
                    <a:pt x="234" y="306"/>
                  </a:cubicBezTo>
                  <a:cubicBezTo>
                    <a:pt x="235" y="307"/>
                    <a:pt x="235" y="309"/>
                    <a:pt x="234" y="309"/>
                  </a:cubicBezTo>
                  <a:cubicBezTo>
                    <a:pt x="234" y="310"/>
                    <a:pt x="233" y="310"/>
                    <a:pt x="233" y="310"/>
                  </a:cubicBezTo>
                  <a:cubicBezTo>
                    <a:pt x="233" y="310"/>
                    <a:pt x="233" y="311"/>
                    <a:pt x="233" y="311"/>
                  </a:cubicBezTo>
                  <a:cubicBezTo>
                    <a:pt x="233" y="311"/>
                    <a:pt x="234" y="311"/>
                    <a:pt x="234" y="311"/>
                  </a:cubicBezTo>
                  <a:cubicBezTo>
                    <a:pt x="234" y="311"/>
                    <a:pt x="234" y="312"/>
                    <a:pt x="235" y="312"/>
                  </a:cubicBezTo>
                  <a:cubicBezTo>
                    <a:pt x="235" y="312"/>
                    <a:pt x="235" y="312"/>
                    <a:pt x="235" y="312"/>
                  </a:cubicBezTo>
                  <a:cubicBezTo>
                    <a:pt x="237" y="312"/>
                    <a:pt x="238" y="312"/>
                    <a:pt x="239" y="312"/>
                  </a:cubicBezTo>
                  <a:cubicBezTo>
                    <a:pt x="239" y="312"/>
                    <a:pt x="240" y="312"/>
                    <a:pt x="240" y="312"/>
                  </a:cubicBezTo>
                  <a:cubicBezTo>
                    <a:pt x="241" y="312"/>
                    <a:pt x="241" y="310"/>
                    <a:pt x="242" y="309"/>
                  </a:cubicBezTo>
                  <a:cubicBezTo>
                    <a:pt x="242" y="308"/>
                    <a:pt x="244" y="308"/>
                    <a:pt x="244" y="306"/>
                  </a:cubicBezTo>
                  <a:cubicBezTo>
                    <a:pt x="245" y="306"/>
                    <a:pt x="245" y="305"/>
                    <a:pt x="245" y="304"/>
                  </a:cubicBezTo>
                  <a:cubicBezTo>
                    <a:pt x="245" y="301"/>
                    <a:pt x="243" y="297"/>
                    <a:pt x="240" y="295"/>
                  </a:cubicBezTo>
                  <a:close/>
                  <a:moveTo>
                    <a:pt x="249" y="307"/>
                  </a:moveTo>
                  <a:cubicBezTo>
                    <a:pt x="249" y="307"/>
                    <a:pt x="249" y="307"/>
                    <a:pt x="248" y="307"/>
                  </a:cubicBezTo>
                  <a:cubicBezTo>
                    <a:pt x="248" y="307"/>
                    <a:pt x="247" y="307"/>
                    <a:pt x="247" y="308"/>
                  </a:cubicBezTo>
                  <a:cubicBezTo>
                    <a:pt x="247" y="308"/>
                    <a:pt x="246" y="308"/>
                    <a:pt x="246" y="309"/>
                  </a:cubicBezTo>
                  <a:cubicBezTo>
                    <a:pt x="245" y="309"/>
                    <a:pt x="245" y="310"/>
                    <a:pt x="245" y="310"/>
                  </a:cubicBezTo>
                  <a:cubicBezTo>
                    <a:pt x="245" y="311"/>
                    <a:pt x="245" y="311"/>
                    <a:pt x="245" y="311"/>
                  </a:cubicBezTo>
                  <a:cubicBezTo>
                    <a:pt x="245" y="312"/>
                    <a:pt x="245" y="312"/>
                    <a:pt x="245" y="313"/>
                  </a:cubicBezTo>
                  <a:cubicBezTo>
                    <a:pt x="246" y="313"/>
                    <a:pt x="246" y="313"/>
                    <a:pt x="246" y="313"/>
                  </a:cubicBezTo>
                  <a:cubicBezTo>
                    <a:pt x="246" y="313"/>
                    <a:pt x="246" y="313"/>
                    <a:pt x="246" y="313"/>
                  </a:cubicBezTo>
                  <a:cubicBezTo>
                    <a:pt x="247" y="314"/>
                    <a:pt x="248" y="314"/>
                    <a:pt x="250" y="314"/>
                  </a:cubicBezTo>
                  <a:cubicBezTo>
                    <a:pt x="250" y="314"/>
                    <a:pt x="250" y="314"/>
                    <a:pt x="250" y="314"/>
                  </a:cubicBezTo>
                  <a:cubicBezTo>
                    <a:pt x="250" y="313"/>
                    <a:pt x="250" y="313"/>
                    <a:pt x="250" y="313"/>
                  </a:cubicBezTo>
                  <a:cubicBezTo>
                    <a:pt x="250" y="311"/>
                    <a:pt x="250" y="310"/>
                    <a:pt x="250" y="308"/>
                  </a:cubicBezTo>
                  <a:cubicBezTo>
                    <a:pt x="250" y="308"/>
                    <a:pt x="250" y="308"/>
                    <a:pt x="250" y="307"/>
                  </a:cubicBezTo>
                  <a:cubicBezTo>
                    <a:pt x="250" y="307"/>
                    <a:pt x="250" y="307"/>
                    <a:pt x="249" y="307"/>
                  </a:cubicBezTo>
                  <a:close/>
                  <a:moveTo>
                    <a:pt x="261" y="307"/>
                  </a:moveTo>
                  <a:cubicBezTo>
                    <a:pt x="261" y="307"/>
                    <a:pt x="261" y="306"/>
                    <a:pt x="260" y="306"/>
                  </a:cubicBezTo>
                  <a:cubicBezTo>
                    <a:pt x="260" y="306"/>
                    <a:pt x="259" y="305"/>
                    <a:pt x="259" y="306"/>
                  </a:cubicBezTo>
                  <a:cubicBezTo>
                    <a:pt x="259" y="306"/>
                    <a:pt x="259" y="306"/>
                    <a:pt x="258" y="306"/>
                  </a:cubicBezTo>
                  <a:cubicBezTo>
                    <a:pt x="258" y="306"/>
                    <a:pt x="258" y="307"/>
                    <a:pt x="258" y="307"/>
                  </a:cubicBezTo>
                  <a:cubicBezTo>
                    <a:pt x="257" y="307"/>
                    <a:pt x="257" y="307"/>
                    <a:pt x="257" y="308"/>
                  </a:cubicBezTo>
                  <a:cubicBezTo>
                    <a:pt x="256" y="309"/>
                    <a:pt x="256" y="310"/>
                    <a:pt x="256" y="311"/>
                  </a:cubicBezTo>
                  <a:cubicBezTo>
                    <a:pt x="256" y="311"/>
                    <a:pt x="256" y="311"/>
                    <a:pt x="257" y="311"/>
                  </a:cubicBezTo>
                  <a:cubicBezTo>
                    <a:pt x="257" y="311"/>
                    <a:pt x="257" y="311"/>
                    <a:pt x="257" y="311"/>
                  </a:cubicBezTo>
                  <a:cubicBezTo>
                    <a:pt x="258" y="311"/>
                    <a:pt x="258" y="311"/>
                    <a:pt x="259" y="311"/>
                  </a:cubicBezTo>
                  <a:cubicBezTo>
                    <a:pt x="259" y="310"/>
                    <a:pt x="259" y="310"/>
                    <a:pt x="259" y="310"/>
                  </a:cubicBezTo>
                  <a:cubicBezTo>
                    <a:pt x="259" y="309"/>
                    <a:pt x="260" y="309"/>
                    <a:pt x="260" y="309"/>
                  </a:cubicBezTo>
                  <a:cubicBezTo>
                    <a:pt x="261" y="309"/>
                    <a:pt x="261" y="308"/>
                    <a:pt x="261" y="308"/>
                  </a:cubicBezTo>
                  <a:cubicBezTo>
                    <a:pt x="261" y="307"/>
                    <a:pt x="261" y="307"/>
                    <a:pt x="261" y="307"/>
                  </a:cubicBezTo>
                  <a:close/>
                  <a:moveTo>
                    <a:pt x="217" y="324"/>
                  </a:moveTo>
                  <a:cubicBezTo>
                    <a:pt x="217" y="323"/>
                    <a:pt x="217" y="321"/>
                    <a:pt x="217" y="320"/>
                  </a:cubicBezTo>
                  <a:cubicBezTo>
                    <a:pt x="216" y="320"/>
                    <a:pt x="215" y="320"/>
                    <a:pt x="215" y="319"/>
                  </a:cubicBezTo>
                  <a:cubicBezTo>
                    <a:pt x="215" y="319"/>
                    <a:pt x="215" y="318"/>
                    <a:pt x="214" y="317"/>
                  </a:cubicBezTo>
                  <a:cubicBezTo>
                    <a:pt x="214" y="316"/>
                    <a:pt x="211" y="317"/>
                    <a:pt x="210" y="316"/>
                  </a:cubicBezTo>
                  <a:cubicBezTo>
                    <a:pt x="210" y="315"/>
                    <a:pt x="210" y="315"/>
                    <a:pt x="210" y="315"/>
                  </a:cubicBezTo>
                  <a:cubicBezTo>
                    <a:pt x="209" y="314"/>
                    <a:pt x="208" y="313"/>
                    <a:pt x="207" y="313"/>
                  </a:cubicBezTo>
                  <a:cubicBezTo>
                    <a:pt x="205" y="313"/>
                    <a:pt x="204" y="314"/>
                    <a:pt x="203" y="313"/>
                  </a:cubicBezTo>
                  <a:cubicBezTo>
                    <a:pt x="203" y="313"/>
                    <a:pt x="203" y="313"/>
                    <a:pt x="203" y="312"/>
                  </a:cubicBezTo>
                  <a:cubicBezTo>
                    <a:pt x="205" y="311"/>
                    <a:pt x="209" y="312"/>
                    <a:pt x="212" y="311"/>
                  </a:cubicBezTo>
                  <a:cubicBezTo>
                    <a:pt x="212" y="309"/>
                    <a:pt x="211" y="307"/>
                    <a:pt x="209" y="307"/>
                  </a:cubicBezTo>
                  <a:cubicBezTo>
                    <a:pt x="207" y="306"/>
                    <a:pt x="205" y="306"/>
                    <a:pt x="203" y="305"/>
                  </a:cubicBezTo>
                  <a:cubicBezTo>
                    <a:pt x="199" y="305"/>
                    <a:pt x="194" y="305"/>
                    <a:pt x="191" y="302"/>
                  </a:cubicBezTo>
                  <a:cubicBezTo>
                    <a:pt x="190" y="302"/>
                    <a:pt x="190" y="301"/>
                    <a:pt x="190" y="300"/>
                  </a:cubicBezTo>
                  <a:cubicBezTo>
                    <a:pt x="190" y="299"/>
                    <a:pt x="191" y="299"/>
                    <a:pt x="192" y="299"/>
                  </a:cubicBezTo>
                  <a:cubicBezTo>
                    <a:pt x="192" y="299"/>
                    <a:pt x="193" y="299"/>
                    <a:pt x="194" y="300"/>
                  </a:cubicBezTo>
                  <a:cubicBezTo>
                    <a:pt x="195" y="301"/>
                    <a:pt x="196" y="302"/>
                    <a:pt x="197" y="303"/>
                  </a:cubicBezTo>
                  <a:cubicBezTo>
                    <a:pt x="198" y="304"/>
                    <a:pt x="200" y="304"/>
                    <a:pt x="201" y="303"/>
                  </a:cubicBezTo>
                  <a:cubicBezTo>
                    <a:pt x="201" y="303"/>
                    <a:pt x="202" y="303"/>
                    <a:pt x="202" y="303"/>
                  </a:cubicBezTo>
                  <a:cubicBezTo>
                    <a:pt x="203" y="302"/>
                    <a:pt x="204" y="303"/>
                    <a:pt x="205" y="303"/>
                  </a:cubicBezTo>
                  <a:cubicBezTo>
                    <a:pt x="205" y="302"/>
                    <a:pt x="204" y="301"/>
                    <a:pt x="205" y="300"/>
                  </a:cubicBezTo>
                  <a:cubicBezTo>
                    <a:pt x="205" y="299"/>
                    <a:pt x="206" y="299"/>
                    <a:pt x="207" y="299"/>
                  </a:cubicBezTo>
                  <a:cubicBezTo>
                    <a:pt x="208" y="300"/>
                    <a:pt x="209" y="300"/>
                    <a:pt x="209" y="299"/>
                  </a:cubicBezTo>
                  <a:cubicBezTo>
                    <a:pt x="210" y="298"/>
                    <a:pt x="209" y="298"/>
                    <a:pt x="209" y="297"/>
                  </a:cubicBezTo>
                  <a:cubicBezTo>
                    <a:pt x="209" y="296"/>
                    <a:pt x="208" y="296"/>
                    <a:pt x="207" y="295"/>
                  </a:cubicBezTo>
                  <a:cubicBezTo>
                    <a:pt x="205" y="293"/>
                    <a:pt x="203" y="293"/>
                    <a:pt x="201" y="294"/>
                  </a:cubicBezTo>
                  <a:cubicBezTo>
                    <a:pt x="198" y="295"/>
                    <a:pt x="196" y="296"/>
                    <a:pt x="194" y="296"/>
                  </a:cubicBezTo>
                  <a:cubicBezTo>
                    <a:pt x="192" y="297"/>
                    <a:pt x="191" y="297"/>
                    <a:pt x="189" y="297"/>
                  </a:cubicBezTo>
                  <a:cubicBezTo>
                    <a:pt x="186" y="297"/>
                    <a:pt x="184" y="297"/>
                    <a:pt x="181" y="298"/>
                  </a:cubicBezTo>
                  <a:cubicBezTo>
                    <a:pt x="181" y="299"/>
                    <a:pt x="181" y="299"/>
                    <a:pt x="180" y="299"/>
                  </a:cubicBezTo>
                  <a:cubicBezTo>
                    <a:pt x="180" y="299"/>
                    <a:pt x="180" y="299"/>
                    <a:pt x="180" y="299"/>
                  </a:cubicBezTo>
                  <a:cubicBezTo>
                    <a:pt x="178" y="299"/>
                    <a:pt x="177" y="298"/>
                    <a:pt x="176" y="298"/>
                  </a:cubicBezTo>
                  <a:cubicBezTo>
                    <a:pt x="179" y="297"/>
                    <a:pt x="181" y="297"/>
                    <a:pt x="184" y="296"/>
                  </a:cubicBezTo>
                  <a:cubicBezTo>
                    <a:pt x="183" y="295"/>
                    <a:pt x="182" y="294"/>
                    <a:pt x="182" y="294"/>
                  </a:cubicBezTo>
                  <a:cubicBezTo>
                    <a:pt x="177" y="292"/>
                    <a:pt x="172" y="291"/>
                    <a:pt x="167" y="292"/>
                  </a:cubicBezTo>
                  <a:cubicBezTo>
                    <a:pt x="166" y="292"/>
                    <a:pt x="164" y="292"/>
                    <a:pt x="164" y="293"/>
                  </a:cubicBezTo>
                  <a:cubicBezTo>
                    <a:pt x="164" y="294"/>
                    <a:pt x="164" y="294"/>
                    <a:pt x="164" y="295"/>
                  </a:cubicBezTo>
                  <a:cubicBezTo>
                    <a:pt x="164" y="296"/>
                    <a:pt x="164" y="297"/>
                    <a:pt x="164" y="297"/>
                  </a:cubicBezTo>
                  <a:cubicBezTo>
                    <a:pt x="164" y="298"/>
                    <a:pt x="164" y="299"/>
                    <a:pt x="165" y="299"/>
                  </a:cubicBezTo>
                  <a:cubicBezTo>
                    <a:pt x="166" y="299"/>
                    <a:pt x="167" y="299"/>
                    <a:pt x="168" y="299"/>
                  </a:cubicBezTo>
                  <a:cubicBezTo>
                    <a:pt x="169" y="299"/>
                    <a:pt x="171" y="299"/>
                    <a:pt x="172" y="299"/>
                  </a:cubicBezTo>
                  <a:cubicBezTo>
                    <a:pt x="173" y="299"/>
                    <a:pt x="173" y="299"/>
                    <a:pt x="173" y="299"/>
                  </a:cubicBezTo>
                  <a:cubicBezTo>
                    <a:pt x="173" y="299"/>
                    <a:pt x="173" y="299"/>
                    <a:pt x="173" y="300"/>
                  </a:cubicBezTo>
                  <a:cubicBezTo>
                    <a:pt x="171" y="301"/>
                    <a:pt x="168" y="300"/>
                    <a:pt x="165" y="301"/>
                  </a:cubicBezTo>
                  <a:cubicBezTo>
                    <a:pt x="165" y="301"/>
                    <a:pt x="164" y="301"/>
                    <a:pt x="164" y="302"/>
                  </a:cubicBezTo>
                  <a:cubicBezTo>
                    <a:pt x="163" y="302"/>
                    <a:pt x="163" y="303"/>
                    <a:pt x="163" y="303"/>
                  </a:cubicBezTo>
                  <a:cubicBezTo>
                    <a:pt x="163" y="304"/>
                    <a:pt x="161" y="304"/>
                    <a:pt x="161" y="305"/>
                  </a:cubicBezTo>
                  <a:cubicBezTo>
                    <a:pt x="161" y="305"/>
                    <a:pt x="161" y="305"/>
                    <a:pt x="161" y="305"/>
                  </a:cubicBezTo>
                  <a:cubicBezTo>
                    <a:pt x="161" y="306"/>
                    <a:pt x="161" y="306"/>
                    <a:pt x="162" y="306"/>
                  </a:cubicBezTo>
                  <a:cubicBezTo>
                    <a:pt x="162" y="306"/>
                    <a:pt x="163" y="306"/>
                    <a:pt x="163" y="307"/>
                  </a:cubicBezTo>
                  <a:cubicBezTo>
                    <a:pt x="164" y="307"/>
                    <a:pt x="164" y="308"/>
                    <a:pt x="164" y="308"/>
                  </a:cubicBezTo>
                  <a:cubicBezTo>
                    <a:pt x="163" y="309"/>
                    <a:pt x="162" y="309"/>
                    <a:pt x="163" y="310"/>
                  </a:cubicBezTo>
                  <a:cubicBezTo>
                    <a:pt x="163" y="311"/>
                    <a:pt x="164" y="310"/>
                    <a:pt x="165" y="310"/>
                  </a:cubicBezTo>
                  <a:cubicBezTo>
                    <a:pt x="166" y="311"/>
                    <a:pt x="166" y="311"/>
                    <a:pt x="167" y="311"/>
                  </a:cubicBezTo>
                  <a:cubicBezTo>
                    <a:pt x="168" y="311"/>
                    <a:pt x="168" y="310"/>
                    <a:pt x="169" y="310"/>
                  </a:cubicBezTo>
                  <a:cubicBezTo>
                    <a:pt x="170" y="309"/>
                    <a:pt x="171" y="309"/>
                    <a:pt x="171" y="310"/>
                  </a:cubicBezTo>
                  <a:cubicBezTo>
                    <a:pt x="172" y="311"/>
                    <a:pt x="171" y="311"/>
                    <a:pt x="170" y="312"/>
                  </a:cubicBezTo>
                  <a:cubicBezTo>
                    <a:pt x="169" y="312"/>
                    <a:pt x="168" y="313"/>
                    <a:pt x="169" y="314"/>
                  </a:cubicBezTo>
                  <a:cubicBezTo>
                    <a:pt x="169" y="314"/>
                    <a:pt x="169" y="314"/>
                    <a:pt x="169" y="315"/>
                  </a:cubicBezTo>
                  <a:cubicBezTo>
                    <a:pt x="171" y="315"/>
                    <a:pt x="172" y="316"/>
                    <a:pt x="174" y="317"/>
                  </a:cubicBezTo>
                  <a:cubicBezTo>
                    <a:pt x="174" y="317"/>
                    <a:pt x="175" y="317"/>
                    <a:pt x="175" y="317"/>
                  </a:cubicBezTo>
                  <a:cubicBezTo>
                    <a:pt x="176" y="317"/>
                    <a:pt x="176" y="317"/>
                    <a:pt x="176" y="317"/>
                  </a:cubicBezTo>
                  <a:cubicBezTo>
                    <a:pt x="177" y="317"/>
                    <a:pt x="177" y="317"/>
                    <a:pt x="177" y="317"/>
                  </a:cubicBezTo>
                  <a:cubicBezTo>
                    <a:pt x="178" y="319"/>
                    <a:pt x="178" y="320"/>
                    <a:pt x="179" y="322"/>
                  </a:cubicBezTo>
                  <a:cubicBezTo>
                    <a:pt x="180" y="321"/>
                    <a:pt x="181" y="322"/>
                    <a:pt x="182" y="322"/>
                  </a:cubicBezTo>
                  <a:cubicBezTo>
                    <a:pt x="182" y="323"/>
                    <a:pt x="183" y="323"/>
                    <a:pt x="183" y="323"/>
                  </a:cubicBezTo>
                  <a:cubicBezTo>
                    <a:pt x="183" y="323"/>
                    <a:pt x="183" y="323"/>
                    <a:pt x="184" y="323"/>
                  </a:cubicBezTo>
                  <a:cubicBezTo>
                    <a:pt x="184" y="322"/>
                    <a:pt x="186" y="322"/>
                    <a:pt x="187" y="322"/>
                  </a:cubicBezTo>
                  <a:cubicBezTo>
                    <a:pt x="187" y="321"/>
                    <a:pt x="187" y="320"/>
                    <a:pt x="187" y="319"/>
                  </a:cubicBezTo>
                  <a:cubicBezTo>
                    <a:pt x="186" y="319"/>
                    <a:pt x="186" y="319"/>
                    <a:pt x="186" y="319"/>
                  </a:cubicBezTo>
                  <a:cubicBezTo>
                    <a:pt x="185" y="319"/>
                    <a:pt x="184" y="319"/>
                    <a:pt x="183" y="319"/>
                  </a:cubicBezTo>
                  <a:cubicBezTo>
                    <a:pt x="184" y="318"/>
                    <a:pt x="185" y="317"/>
                    <a:pt x="184" y="317"/>
                  </a:cubicBezTo>
                  <a:cubicBezTo>
                    <a:pt x="184" y="316"/>
                    <a:pt x="184" y="315"/>
                    <a:pt x="183" y="314"/>
                  </a:cubicBezTo>
                  <a:cubicBezTo>
                    <a:pt x="182" y="313"/>
                    <a:pt x="181" y="312"/>
                    <a:pt x="180" y="311"/>
                  </a:cubicBezTo>
                  <a:cubicBezTo>
                    <a:pt x="181" y="311"/>
                    <a:pt x="182" y="311"/>
                    <a:pt x="184" y="310"/>
                  </a:cubicBezTo>
                  <a:cubicBezTo>
                    <a:pt x="183" y="310"/>
                    <a:pt x="182" y="309"/>
                    <a:pt x="182" y="309"/>
                  </a:cubicBezTo>
                  <a:cubicBezTo>
                    <a:pt x="182" y="308"/>
                    <a:pt x="183" y="307"/>
                    <a:pt x="184" y="308"/>
                  </a:cubicBezTo>
                  <a:cubicBezTo>
                    <a:pt x="184" y="308"/>
                    <a:pt x="184" y="308"/>
                    <a:pt x="184" y="308"/>
                  </a:cubicBezTo>
                  <a:cubicBezTo>
                    <a:pt x="185" y="309"/>
                    <a:pt x="186" y="310"/>
                    <a:pt x="188" y="310"/>
                  </a:cubicBezTo>
                  <a:cubicBezTo>
                    <a:pt x="188" y="310"/>
                    <a:pt x="188" y="310"/>
                    <a:pt x="189" y="310"/>
                  </a:cubicBezTo>
                  <a:cubicBezTo>
                    <a:pt x="189" y="311"/>
                    <a:pt x="189" y="311"/>
                    <a:pt x="190" y="312"/>
                  </a:cubicBezTo>
                  <a:cubicBezTo>
                    <a:pt x="190" y="312"/>
                    <a:pt x="191" y="312"/>
                    <a:pt x="191" y="311"/>
                  </a:cubicBezTo>
                  <a:cubicBezTo>
                    <a:pt x="191" y="312"/>
                    <a:pt x="192" y="313"/>
                    <a:pt x="193" y="313"/>
                  </a:cubicBezTo>
                  <a:cubicBezTo>
                    <a:pt x="193" y="312"/>
                    <a:pt x="193" y="312"/>
                    <a:pt x="193" y="311"/>
                  </a:cubicBezTo>
                  <a:cubicBezTo>
                    <a:pt x="194" y="311"/>
                    <a:pt x="195" y="313"/>
                    <a:pt x="195" y="314"/>
                  </a:cubicBezTo>
                  <a:cubicBezTo>
                    <a:pt x="194" y="315"/>
                    <a:pt x="193" y="316"/>
                    <a:pt x="192" y="315"/>
                  </a:cubicBezTo>
                  <a:cubicBezTo>
                    <a:pt x="192" y="316"/>
                    <a:pt x="193" y="317"/>
                    <a:pt x="193" y="317"/>
                  </a:cubicBezTo>
                  <a:cubicBezTo>
                    <a:pt x="192" y="318"/>
                    <a:pt x="192" y="318"/>
                    <a:pt x="192" y="318"/>
                  </a:cubicBezTo>
                  <a:cubicBezTo>
                    <a:pt x="191" y="318"/>
                    <a:pt x="192" y="319"/>
                    <a:pt x="193" y="320"/>
                  </a:cubicBezTo>
                  <a:cubicBezTo>
                    <a:pt x="194" y="320"/>
                    <a:pt x="194" y="320"/>
                    <a:pt x="195" y="321"/>
                  </a:cubicBezTo>
                  <a:cubicBezTo>
                    <a:pt x="196" y="322"/>
                    <a:pt x="196" y="323"/>
                    <a:pt x="197" y="323"/>
                  </a:cubicBezTo>
                  <a:cubicBezTo>
                    <a:pt x="197" y="323"/>
                    <a:pt x="198" y="322"/>
                    <a:pt x="197" y="321"/>
                  </a:cubicBezTo>
                  <a:cubicBezTo>
                    <a:pt x="197" y="320"/>
                    <a:pt x="197" y="319"/>
                    <a:pt x="198" y="319"/>
                  </a:cubicBezTo>
                  <a:cubicBezTo>
                    <a:pt x="198" y="318"/>
                    <a:pt x="199" y="319"/>
                    <a:pt x="199" y="319"/>
                  </a:cubicBezTo>
                  <a:cubicBezTo>
                    <a:pt x="199" y="320"/>
                    <a:pt x="199" y="320"/>
                    <a:pt x="199" y="321"/>
                  </a:cubicBezTo>
                  <a:cubicBezTo>
                    <a:pt x="200" y="323"/>
                    <a:pt x="202" y="324"/>
                    <a:pt x="203" y="323"/>
                  </a:cubicBezTo>
                  <a:cubicBezTo>
                    <a:pt x="202" y="322"/>
                    <a:pt x="200" y="320"/>
                    <a:pt x="201" y="318"/>
                  </a:cubicBezTo>
                  <a:cubicBezTo>
                    <a:pt x="204" y="319"/>
                    <a:pt x="207" y="321"/>
                    <a:pt x="210" y="323"/>
                  </a:cubicBezTo>
                  <a:cubicBezTo>
                    <a:pt x="211" y="323"/>
                    <a:pt x="212" y="325"/>
                    <a:pt x="212" y="326"/>
                  </a:cubicBezTo>
                  <a:cubicBezTo>
                    <a:pt x="211" y="326"/>
                    <a:pt x="211" y="326"/>
                    <a:pt x="211" y="327"/>
                  </a:cubicBezTo>
                  <a:cubicBezTo>
                    <a:pt x="213" y="327"/>
                    <a:pt x="215" y="328"/>
                    <a:pt x="216" y="330"/>
                  </a:cubicBezTo>
                  <a:cubicBezTo>
                    <a:pt x="216" y="331"/>
                    <a:pt x="216" y="331"/>
                    <a:pt x="217" y="331"/>
                  </a:cubicBezTo>
                  <a:cubicBezTo>
                    <a:pt x="217" y="331"/>
                    <a:pt x="218" y="331"/>
                    <a:pt x="218" y="330"/>
                  </a:cubicBezTo>
                  <a:cubicBezTo>
                    <a:pt x="218" y="329"/>
                    <a:pt x="218" y="329"/>
                    <a:pt x="218" y="328"/>
                  </a:cubicBezTo>
                  <a:cubicBezTo>
                    <a:pt x="219" y="328"/>
                    <a:pt x="219" y="328"/>
                    <a:pt x="219" y="327"/>
                  </a:cubicBezTo>
                  <a:cubicBezTo>
                    <a:pt x="219" y="327"/>
                    <a:pt x="219" y="326"/>
                    <a:pt x="218" y="325"/>
                  </a:cubicBezTo>
                  <a:cubicBezTo>
                    <a:pt x="218" y="325"/>
                    <a:pt x="217" y="325"/>
                    <a:pt x="217" y="324"/>
                  </a:cubicBezTo>
                  <a:close/>
                  <a:moveTo>
                    <a:pt x="106" y="259"/>
                  </a:moveTo>
                  <a:cubicBezTo>
                    <a:pt x="107" y="259"/>
                    <a:pt x="108" y="259"/>
                    <a:pt x="109" y="260"/>
                  </a:cubicBezTo>
                  <a:cubicBezTo>
                    <a:pt x="108" y="260"/>
                    <a:pt x="108" y="261"/>
                    <a:pt x="107" y="262"/>
                  </a:cubicBezTo>
                  <a:cubicBezTo>
                    <a:pt x="107" y="262"/>
                    <a:pt x="107" y="262"/>
                    <a:pt x="107" y="262"/>
                  </a:cubicBezTo>
                  <a:cubicBezTo>
                    <a:pt x="106" y="263"/>
                    <a:pt x="107" y="264"/>
                    <a:pt x="107" y="264"/>
                  </a:cubicBezTo>
                  <a:cubicBezTo>
                    <a:pt x="108" y="264"/>
                    <a:pt x="109" y="264"/>
                    <a:pt x="111" y="264"/>
                  </a:cubicBezTo>
                  <a:cubicBezTo>
                    <a:pt x="111" y="264"/>
                    <a:pt x="111" y="264"/>
                    <a:pt x="111" y="264"/>
                  </a:cubicBezTo>
                  <a:cubicBezTo>
                    <a:pt x="112" y="263"/>
                    <a:pt x="111" y="262"/>
                    <a:pt x="112" y="261"/>
                  </a:cubicBezTo>
                  <a:cubicBezTo>
                    <a:pt x="112" y="261"/>
                    <a:pt x="113" y="261"/>
                    <a:pt x="113" y="260"/>
                  </a:cubicBezTo>
                  <a:cubicBezTo>
                    <a:pt x="113" y="260"/>
                    <a:pt x="113" y="260"/>
                    <a:pt x="113" y="260"/>
                  </a:cubicBezTo>
                  <a:cubicBezTo>
                    <a:pt x="112" y="257"/>
                    <a:pt x="110" y="255"/>
                    <a:pt x="108" y="254"/>
                  </a:cubicBezTo>
                  <a:cubicBezTo>
                    <a:pt x="108" y="254"/>
                    <a:pt x="107" y="253"/>
                    <a:pt x="107" y="253"/>
                  </a:cubicBezTo>
                  <a:cubicBezTo>
                    <a:pt x="107" y="252"/>
                    <a:pt x="107" y="251"/>
                    <a:pt x="108" y="251"/>
                  </a:cubicBezTo>
                  <a:cubicBezTo>
                    <a:pt x="109" y="251"/>
                    <a:pt x="110" y="251"/>
                    <a:pt x="110" y="252"/>
                  </a:cubicBezTo>
                  <a:cubicBezTo>
                    <a:pt x="110" y="252"/>
                    <a:pt x="110" y="253"/>
                    <a:pt x="110" y="253"/>
                  </a:cubicBezTo>
                  <a:cubicBezTo>
                    <a:pt x="110" y="253"/>
                    <a:pt x="110" y="254"/>
                    <a:pt x="111" y="254"/>
                  </a:cubicBezTo>
                  <a:cubicBezTo>
                    <a:pt x="111" y="255"/>
                    <a:pt x="112" y="255"/>
                    <a:pt x="113" y="256"/>
                  </a:cubicBezTo>
                  <a:cubicBezTo>
                    <a:pt x="114" y="256"/>
                    <a:pt x="114" y="256"/>
                    <a:pt x="114" y="256"/>
                  </a:cubicBezTo>
                  <a:cubicBezTo>
                    <a:pt x="115" y="256"/>
                    <a:pt x="114" y="257"/>
                    <a:pt x="115" y="258"/>
                  </a:cubicBezTo>
                  <a:cubicBezTo>
                    <a:pt x="115" y="259"/>
                    <a:pt x="117" y="259"/>
                    <a:pt x="118" y="260"/>
                  </a:cubicBezTo>
                  <a:cubicBezTo>
                    <a:pt x="118" y="260"/>
                    <a:pt x="117" y="261"/>
                    <a:pt x="118" y="262"/>
                  </a:cubicBezTo>
                  <a:cubicBezTo>
                    <a:pt x="118" y="262"/>
                    <a:pt x="118" y="262"/>
                    <a:pt x="119" y="262"/>
                  </a:cubicBezTo>
                  <a:cubicBezTo>
                    <a:pt x="119" y="262"/>
                    <a:pt x="119" y="263"/>
                    <a:pt x="119" y="264"/>
                  </a:cubicBezTo>
                  <a:cubicBezTo>
                    <a:pt x="120" y="264"/>
                    <a:pt x="120" y="264"/>
                    <a:pt x="121" y="264"/>
                  </a:cubicBezTo>
                  <a:cubicBezTo>
                    <a:pt x="121" y="263"/>
                    <a:pt x="121" y="263"/>
                    <a:pt x="122" y="263"/>
                  </a:cubicBezTo>
                  <a:cubicBezTo>
                    <a:pt x="122" y="262"/>
                    <a:pt x="122" y="262"/>
                    <a:pt x="123" y="262"/>
                  </a:cubicBezTo>
                  <a:cubicBezTo>
                    <a:pt x="123" y="261"/>
                    <a:pt x="123" y="261"/>
                    <a:pt x="123" y="260"/>
                  </a:cubicBezTo>
                  <a:cubicBezTo>
                    <a:pt x="123" y="260"/>
                    <a:pt x="124" y="259"/>
                    <a:pt x="125" y="259"/>
                  </a:cubicBezTo>
                  <a:cubicBezTo>
                    <a:pt x="125" y="259"/>
                    <a:pt x="126" y="260"/>
                    <a:pt x="127" y="260"/>
                  </a:cubicBezTo>
                  <a:cubicBezTo>
                    <a:pt x="127" y="261"/>
                    <a:pt x="126" y="261"/>
                    <a:pt x="125" y="261"/>
                  </a:cubicBezTo>
                  <a:cubicBezTo>
                    <a:pt x="125" y="261"/>
                    <a:pt x="125" y="261"/>
                    <a:pt x="125" y="261"/>
                  </a:cubicBezTo>
                  <a:cubicBezTo>
                    <a:pt x="124" y="261"/>
                    <a:pt x="124" y="261"/>
                    <a:pt x="124" y="262"/>
                  </a:cubicBezTo>
                  <a:cubicBezTo>
                    <a:pt x="124" y="262"/>
                    <a:pt x="124" y="262"/>
                    <a:pt x="124" y="262"/>
                  </a:cubicBezTo>
                  <a:cubicBezTo>
                    <a:pt x="125" y="263"/>
                    <a:pt x="126" y="264"/>
                    <a:pt x="127" y="265"/>
                  </a:cubicBezTo>
                  <a:cubicBezTo>
                    <a:pt x="128" y="266"/>
                    <a:pt x="128" y="266"/>
                    <a:pt x="129" y="267"/>
                  </a:cubicBezTo>
                  <a:cubicBezTo>
                    <a:pt x="130" y="267"/>
                    <a:pt x="131" y="267"/>
                    <a:pt x="131" y="266"/>
                  </a:cubicBezTo>
                  <a:cubicBezTo>
                    <a:pt x="132" y="266"/>
                    <a:pt x="132" y="265"/>
                    <a:pt x="132" y="265"/>
                  </a:cubicBezTo>
                  <a:cubicBezTo>
                    <a:pt x="132" y="264"/>
                    <a:pt x="133" y="263"/>
                    <a:pt x="133" y="262"/>
                  </a:cubicBezTo>
                  <a:cubicBezTo>
                    <a:pt x="133" y="262"/>
                    <a:pt x="133" y="261"/>
                    <a:pt x="133" y="260"/>
                  </a:cubicBezTo>
                  <a:cubicBezTo>
                    <a:pt x="134" y="259"/>
                    <a:pt x="134" y="258"/>
                    <a:pt x="134" y="257"/>
                  </a:cubicBezTo>
                  <a:cubicBezTo>
                    <a:pt x="134" y="257"/>
                    <a:pt x="134" y="257"/>
                    <a:pt x="134" y="256"/>
                  </a:cubicBezTo>
                  <a:cubicBezTo>
                    <a:pt x="134" y="256"/>
                    <a:pt x="134" y="256"/>
                    <a:pt x="134" y="256"/>
                  </a:cubicBezTo>
                  <a:cubicBezTo>
                    <a:pt x="133" y="255"/>
                    <a:pt x="132" y="253"/>
                    <a:pt x="132" y="252"/>
                  </a:cubicBezTo>
                  <a:cubicBezTo>
                    <a:pt x="132" y="252"/>
                    <a:pt x="131" y="253"/>
                    <a:pt x="131" y="253"/>
                  </a:cubicBezTo>
                  <a:cubicBezTo>
                    <a:pt x="130" y="253"/>
                    <a:pt x="130" y="253"/>
                    <a:pt x="129" y="253"/>
                  </a:cubicBezTo>
                  <a:cubicBezTo>
                    <a:pt x="129" y="253"/>
                    <a:pt x="129" y="254"/>
                    <a:pt x="128" y="254"/>
                  </a:cubicBezTo>
                  <a:cubicBezTo>
                    <a:pt x="128" y="254"/>
                    <a:pt x="127" y="254"/>
                    <a:pt x="127" y="254"/>
                  </a:cubicBezTo>
                  <a:cubicBezTo>
                    <a:pt x="126" y="253"/>
                    <a:pt x="126" y="251"/>
                    <a:pt x="126" y="250"/>
                  </a:cubicBezTo>
                  <a:cubicBezTo>
                    <a:pt x="126" y="250"/>
                    <a:pt x="127" y="249"/>
                    <a:pt x="127" y="249"/>
                  </a:cubicBezTo>
                  <a:cubicBezTo>
                    <a:pt x="127" y="248"/>
                    <a:pt x="126" y="248"/>
                    <a:pt x="126" y="248"/>
                  </a:cubicBezTo>
                  <a:cubicBezTo>
                    <a:pt x="126" y="247"/>
                    <a:pt x="125" y="248"/>
                    <a:pt x="125" y="247"/>
                  </a:cubicBezTo>
                  <a:cubicBezTo>
                    <a:pt x="125" y="247"/>
                    <a:pt x="124" y="247"/>
                    <a:pt x="124" y="247"/>
                  </a:cubicBezTo>
                  <a:cubicBezTo>
                    <a:pt x="124" y="247"/>
                    <a:pt x="123" y="247"/>
                    <a:pt x="123" y="247"/>
                  </a:cubicBezTo>
                  <a:cubicBezTo>
                    <a:pt x="123" y="247"/>
                    <a:pt x="123" y="248"/>
                    <a:pt x="122" y="248"/>
                  </a:cubicBezTo>
                  <a:cubicBezTo>
                    <a:pt x="122" y="248"/>
                    <a:pt x="121" y="248"/>
                    <a:pt x="121" y="247"/>
                  </a:cubicBezTo>
                  <a:cubicBezTo>
                    <a:pt x="121" y="247"/>
                    <a:pt x="121" y="246"/>
                    <a:pt x="121" y="246"/>
                  </a:cubicBezTo>
                  <a:cubicBezTo>
                    <a:pt x="120" y="246"/>
                    <a:pt x="120" y="245"/>
                    <a:pt x="119" y="245"/>
                  </a:cubicBezTo>
                  <a:cubicBezTo>
                    <a:pt x="118" y="245"/>
                    <a:pt x="117" y="245"/>
                    <a:pt x="117" y="246"/>
                  </a:cubicBezTo>
                  <a:cubicBezTo>
                    <a:pt x="117" y="246"/>
                    <a:pt x="117" y="246"/>
                    <a:pt x="116" y="247"/>
                  </a:cubicBezTo>
                  <a:cubicBezTo>
                    <a:pt x="116" y="247"/>
                    <a:pt x="116" y="247"/>
                    <a:pt x="116" y="247"/>
                  </a:cubicBezTo>
                  <a:cubicBezTo>
                    <a:pt x="115" y="248"/>
                    <a:pt x="116" y="249"/>
                    <a:pt x="116" y="250"/>
                  </a:cubicBezTo>
                  <a:cubicBezTo>
                    <a:pt x="116" y="250"/>
                    <a:pt x="117" y="251"/>
                    <a:pt x="117" y="251"/>
                  </a:cubicBezTo>
                  <a:cubicBezTo>
                    <a:pt x="117" y="251"/>
                    <a:pt x="116" y="252"/>
                    <a:pt x="116" y="252"/>
                  </a:cubicBezTo>
                  <a:cubicBezTo>
                    <a:pt x="114" y="251"/>
                    <a:pt x="113" y="250"/>
                    <a:pt x="113" y="248"/>
                  </a:cubicBezTo>
                  <a:cubicBezTo>
                    <a:pt x="113" y="247"/>
                    <a:pt x="113" y="247"/>
                    <a:pt x="114" y="246"/>
                  </a:cubicBezTo>
                  <a:cubicBezTo>
                    <a:pt x="114" y="246"/>
                    <a:pt x="114" y="246"/>
                    <a:pt x="115" y="245"/>
                  </a:cubicBezTo>
                  <a:cubicBezTo>
                    <a:pt x="115" y="245"/>
                    <a:pt x="115" y="245"/>
                    <a:pt x="115" y="244"/>
                  </a:cubicBezTo>
                  <a:cubicBezTo>
                    <a:pt x="114" y="244"/>
                    <a:pt x="113" y="244"/>
                    <a:pt x="112" y="244"/>
                  </a:cubicBezTo>
                  <a:cubicBezTo>
                    <a:pt x="112" y="243"/>
                    <a:pt x="112" y="243"/>
                    <a:pt x="112" y="243"/>
                  </a:cubicBezTo>
                  <a:cubicBezTo>
                    <a:pt x="112" y="243"/>
                    <a:pt x="111" y="243"/>
                    <a:pt x="111" y="244"/>
                  </a:cubicBezTo>
                  <a:cubicBezTo>
                    <a:pt x="111" y="244"/>
                    <a:pt x="111" y="245"/>
                    <a:pt x="111" y="245"/>
                  </a:cubicBezTo>
                  <a:cubicBezTo>
                    <a:pt x="110" y="245"/>
                    <a:pt x="110" y="245"/>
                    <a:pt x="109" y="245"/>
                  </a:cubicBezTo>
                  <a:cubicBezTo>
                    <a:pt x="109" y="245"/>
                    <a:pt x="109" y="244"/>
                    <a:pt x="109" y="244"/>
                  </a:cubicBezTo>
                  <a:cubicBezTo>
                    <a:pt x="109" y="243"/>
                    <a:pt x="109" y="243"/>
                    <a:pt x="109" y="242"/>
                  </a:cubicBezTo>
                  <a:cubicBezTo>
                    <a:pt x="108" y="242"/>
                    <a:pt x="107" y="243"/>
                    <a:pt x="105" y="243"/>
                  </a:cubicBezTo>
                  <a:cubicBezTo>
                    <a:pt x="105" y="243"/>
                    <a:pt x="105" y="243"/>
                    <a:pt x="105" y="243"/>
                  </a:cubicBezTo>
                  <a:cubicBezTo>
                    <a:pt x="105" y="243"/>
                    <a:pt x="105" y="243"/>
                    <a:pt x="105" y="244"/>
                  </a:cubicBezTo>
                  <a:cubicBezTo>
                    <a:pt x="104" y="244"/>
                    <a:pt x="103" y="245"/>
                    <a:pt x="102" y="245"/>
                  </a:cubicBezTo>
                  <a:cubicBezTo>
                    <a:pt x="102" y="245"/>
                    <a:pt x="102" y="244"/>
                    <a:pt x="102" y="244"/>
                  </a:cubicBezTo>
                  <a:cubicBezTo>
                    <a:pt x="102" y="244"/>
                    <a:pt x="102" y="244"/>
                    <a:pt x="102" y="244"/>
                  </a:cubicBezTo>
                  <a:cubicBezTo>
                    <a:pt x="103" y="243"/>
                    <a:pt x="103" y="243"/>
                    <a:pt x="104" y="242"/>
                  </a:cubicBezTo>
                  <a:cubicBezTo>
                    <a:pt x="104" y="241"/>
                    <a:pt x="103" y="240"/>
                    <a:pt x="102" y="240"/>
                  </a:cubicBezTo>
                  <a:cubicBezTo>
                    <a:pt x="102" y="240"/>
                    <a:pt x="102" y="240"/>
                    <a:pt x="101" y="240"/>
                  </a:cubicBezTo>
                  <a:cubicBezTo>
                    <a:pt x="101" y="241"/>
                    <a:pt x="100" y="241"/>
                    <a:pt x="100" y="242"/>
                  </a:cubicBezTo>
                  <a:cubicBezTo>
                    <a:pt x="100" y="242"/>
                    <a:pt x="101" y="243"/>
                    <a:pt x="101" y="243"/>
                  </a:cubicBezTo>
                  <a:cubicBezTo>
                    <a:pt x="101" y="243"/>
                    <a:pt x="101" y="244"/>
                    <a:pt x="100" y="244"/>
                  </a:cubicBezTo>
                  <a:cubicBezTo>
                    <a:pt x="100" y="244"/>
                    <a:pt x="99" y="244"/>
                    <a:pt x="99" y="244"/>
                  </a:cubicBezTo>
                  <a:cubicBezTo>
                    <a:pt x="98" y="244"/>
                    <a:pt x="98" y="245"/>
                    <a:pt x="98" y="246"/>
                  </a:cubicBezTo>
                  <a:cubicBezTo>
                    <a:pt x="98" y="246"/>
                    <a:pt x="98" y="247"/>
                    <a:pt x="98" y="248"/>
                  </a:cubicBezTo>
                  <a:cubicBezTo>
                    <a:pt x="99" y="249"/>
                    <a:pt x="99" y="251"/>
                    <a:pt x="99" y="252"/>
                  </a:cubicBezTo>
                  <a:cubicBezTo>
                    <a:pt x="100" y="253"/>
                    <a:pt x="100" y="252"/>
                    <a:pt x="101" y="251"/>
                  </a:cubicBezTo>
                  <a:cubicBezTo>
                    <a:pt x="101" y="251"/>
                    <a:pt x="102" y="250"/>
                    <a:pt x="102" y="251"/>
                  </a:cubicBezTo>
                  <a:cubicBezTo>
                    <a:pt x="103" y="251"/>
                    <a:pt x="102" y="253"/>
                    <a:pt x="102" y="253"/>
                  </a:cubicBezTo>
                  <a:cubicBezTo>
                    <a:pt x="102" y="253"/>
                    <a:pt x="101" y="253"/>
                    <a:pt x="101" y="254"/>
                  </a:cubicBezTo>
                  <a:cubicBezTo>
                    <a:pt x="101" y="254"/>
                    <a:pt x="101" y="255"/>
                    <a:pt x="102" y="255"/>
                  </a:cubicBezTo>
                  <a:cubicBezTo>
                    <a:pt x="103" y="256"/>
                    <a:pt x="104" y="257"/>
                    <a:pt x="105" y="258"/>
                  </a:cubicBezTo>
                  <a:cubicBezTo>
                    <a:pt x="105" y="258"/>
                    <a:pt x="106" y="259"/>
                    <a:pt x="106" y="259"/>
                  </a:cubicBezTo>
                  <a:close/>
                  <a:moveTo>
                    <a:pt x="97" y="255"/>
                  </a:moveTo>
                  <a:cubicBezTo>
                    <a:pt x="97" y="255"/>
                    <a:pt x="97" y="255"/>
                    <a:pt x="97" y="255"/>
                  </a:cubicBezTo>
                  <a:cubicBezTo>
                    <a:pt x="97" y="254"/>
                    <a:pt x="97" y="253"/>
                    <a:pt x="96" y="253"/>
                  </a:cubicBezTo>
                  <a:cubicBezTo>
                    <a:pt x="96" y="253"/>
                    <a:pt x="96" y="253"/>
                    <a:pt x="95" y="253"/>
                  </a:cubicBezTo>
                  <a:cubicBezTo>
                    <a:pt x="95" y="253"/>
                    <a:pt x="95" y="253"/>
                    <a:pt x="95" y="254"/>
                  </a:cubicBezTo>
                  <a:cubicBezTo>
                    <a:pt x="94" y="255"/>
                    <a:pt x="94" y="256"/>
                    <a:pt x="93" y="256"/>
                  </a:cubicBezTo>
                  <a:cubicBezTo>
                    <a:pt x="92" y="257"/>
                    <a:pt x="91" y="257"/>
                    <a:pt x="91" y="258"/>
                  </a:cubicBezTo>
                  <a:cubicBezTo>
                    <a:pt x="91" y="259"/>
                    <a:pt x="90" y="259"/>
                    <a:pt x="91" y="259"/>
                  </a:cubicBezTo>
                  <a:cubicBezTo>
                    <a:pt x="91" y="260"/>
                    <a:pt x="91" y="260"/>
                    <a:pt x="91" y="260"/>
                  </a:cubicBezTo>
                  <a:cubicBezTo>
                    <a:pt x="92" y="260"/>
                    <a:pt x="93" y="260"/>
                    <a:pt x="94" y="260"/>
                  </a:cubicBezTo>
                  <a:cubicBezTo>
                    <a:pt x="94" y="260"/>
                    <a:pt x="94" y="260"/>
                    <a:pt x="95" y="259"/>
                  </a:cubicBezTo>
                  <a:cubicBezTo>
                    <a:pt x="96" y="259"/>
                    <a:pt x="96" y="259"/>
                    <a:pt x="97" y="258"/>
                  </a:cubicBezTo>
                  <a:cubicBezTo>
                    <a:pt x="97" y="258"/>
                    <a:pt x="98" y="257"/>
                    <a:pt x="98" y="256"/>
                  </a:cubicBezTo>
                  <a:cubicBezTo>
                    <a:pt x="98" y="256"/>
                    <a:pt x="97" y="256"/>
                    <a:pt x="97" y="255"/>
                  </a:cubicBezTo>
                  <a:close/>
                  <a:moveTo>
                    <a:pt x="96" y="263"/>
                  </a:moveTo>
                  <a:cubicBezTo>
                    <a:pt x="94" y="264"/>
                    <a:pt x="93" y="264"/>
                    <a:pt x="92" y="265"/>
                  </a:cubicBezTo>
                  <a:cubicBezTo>
                    <a:pt x="92" y="265"/>
                    <a:pt x="91" y="265"/>
                    <a:pt x="91" y="266"/>
                  </a:cubicBezTo>
                  <a:cubicBezTo>
                    <a:pt x="91" y="266"/>
                    <a:pt x="90" y="266"/>
                    <a:pt x="90" y="267"/>
                  </a:cubicBezTo>
                  <a:cubicBezTo>
                    <a:pt x="90" y="267"/>
                    <a:pt x="90" y="267"/>
                    <a:pt x="90" y="267"/>
                  </a:cubicBezTo>
                  <a:cubicBezTo>
                    <a:pt x="90" y="267"/>
                    <a:pt x="90" y="267"/>
                    <a:pt x="91" y="267"/>
                  </a:cubicBezTo>
                  <a:cubicBezTo>
                    <a:pt x="91" y="267"/>
                    <a:pt x="91" y="267"/>
                    <a:pt x="92" y="267"/>
                  </a:cubicBezTo>
                  <a:cubicBezTo>
                    <a:pt x="92" y="267"/>
                    <a:pt x="93" y="267"/>
                    <a:pt x="93" y="267"/>
                  </a:cubicBezTo>
                  <a:cubicBezTo>
                    <a:pt x="93" y="267"/>
                    <a:pt x="93" y="267"/>
                    <a:pt x="93" y="267"/>
                  </a:cubicBezTo>
                  <a:cubicBezTo>
                    <a:pt x="94" y="267"/>
                    <a:pt x="94" y="267"/>
                    <a:pt x="94" y="267"/>
                  </a:cubicBezTo>
                  <a:cubicBezTo>
                    <a:pt x="94" y="266"/>
                    <a:pt x="95" y="266"/>
                    <a:pt x="96" y="265"/>
                  </a:cubicBezTo>
                  <a:cubicBezTo>
                    <a:pt x="96" y="265"/>
                    <a:pt x="96" y="265"/>
                    <a:pt x="97" y="265"/>
                  </a:cubicBezTo>
                  <a:cubicBezTo>
                    <a:pt x="97" y="264"/>
                    <a:pt x="97" y="264"/>
                    <a:pt x="97" y="264"/>
                  </a:cubicBezTo>
                  <a:cubicBezTo>
                    <a:pt x="97" y="263"/>
                    <a:pt x="97" y="263"/>
                    <a:pt x="97" y="263"/>
                  </a:cubicBezTo>
                  <a:cubicBezTo>
                    <a:pt x="97" y="263"/>
                    <a:pt x="96" y="263"/>
                    <a:pt x="96" y="263"/>
                  </a:cubicBezTo>
                  <a:close/>
                  <a:moveTo>
                    <a:pt x="151" y="300"/>
                  </a:moveTo>
                  <a:cubicBezTo>
                    <a:pt x="150" y="300"/>
                    <a:pt x="150" y="300"/>
                    <a:pt x="149" y="300"/>
                  </a:cubicBezTo>
                  <a:cubicBezTo>
                    <a:pt x="148" y="300"/>
                    <a:pt x="147" y="300"/>
                    <a:pt x="147" y="300"/>
                  </a:cubicBezTo>
                  <a:cubicBezTo>
                    <a:pt x="147" y="299"/>
                    <a:pt x="147" y="299"/>
                    <a:pt x="146" y="299"/>
                  </a:cubicBezTo>
                  <a:cubicBezTo>
                    <a:pt x="146" y="299"/>
                    <a:pt x="146" y="299"/>
                    <a:pt x="146" y="299"/>
                  </a:cubicBezTo>
                  <a:cubicBezTo>
                    <a:pt x="146" y="299"/>
                    <a:pt x="145" y="300"/>
                    <a:pt x="145" y="300"/>
                  </a:cubicBezTo>
                  <a:cubicBezTo>
                    <a:pt x="145" y="301"/>
                    <a:pt x="145" y="301"/>
                    <a:pt x="145" y="302"/>
                  </a:cubicBezTo>
                  <a:cubicBezTo>
                    <a:pt x="145" y="302"/>
                    <a:pt x="146" y="302"/>
                    <a:pt x="146" y="302"/>
                  </a:cubicBezTo>
                  <a:cubicBezTo>
                    <a:pt x="146" y="303"/>
                    <a:pt x="146" y="304"/>
                    <a:pt x="146" y="304"/>
                  </a:cubicBezTo>
                  <a:cubicBezTo>
                    <a:pt x="147" y="304"/>
                    <a:pt x="147" y="304"/>
                    <a:pt x="148" y="304"/>
                  </a:cubicBezTo>
                  <a:cubicBezTo>
                    <a:pt x="148" y="304"/>
                    <a:pt x="148" y="304"/>
                    <a:pt x="148" y="304"/>
                  </a:cubicBezTo>
                  <a:cubicBezTo>
                    <a:pt x="148" y="304"/>
                    <a:pt x="148" y="304"/>
                    <a:pt x="148" y="304"/>
                  </a:cubicBezTo>
                  <a:cubicBezTo>
                    <a:pt x="148" y="303"/>
                    <a:pt x="149" y="303"/>
                    <a:pt x="149" y="302"/>
                  </a:cubicBezTo>
                  <a:cubicBezTo>
                    <a:pt x="150" y="302"/>
                    <a:pt x="150" y="303"/>
                    <a:pt x="150" y="303"/>
                  </a:cubicBezTo>
                  <a:cubicBezTo>
                    <a:pt x="150" y="303"/>
                    <a:pt x="151" y="303"/>
                    <a:pt x="151" y="302"/>
                  </a:cubicBezTo>
                  <a:cubicBezTo>
                    <a:pt x="151" y="302"/>
                    <a:pt x="151" y="302"/>
                    <a:pt x="151" y="302"/>
                  </a:cubicBezTo>
                  <a:cubicBezTo>
                    <a:pt x="151" y="302"/>
                    <a:pt x="152" y="302"/>
                    <a:pt x="152" y="301"/>
                  </a:cubicBezTo>
                  <a:cubicBezTo>
                    <a:pt x="152" y="301"/>
                    <a:pt x="152" y="300"/>
                    <a:pt x="152" y="300"/>
                  </a:cubicBezTo>
                  <a:cubicBezTo>
                    <a:pt x="152" y="300"/>
                    <a:pt x="151" y="300"/>
                    <a:pt x="151" y="300"/>
                  </a:cubicBezTo>
                  <a:close/>
                  <a:moveTo>
                    <a:pt x="151" y="293"/>
                  </a:moveTo>
                  <a:cubicBezTo>
                    <a:pt x="151" y="293"/>
                    <a:pt x="151" y="293"/>
                    <a:pt x="150" y="293"/>
                  </a:cubicBezTo>
                  <a:cubicBezTo>
                    <a:pt x="150" y="293"/>
                    <a:pt x="150" y="293"/>
                    <a:pt x="150" y="293"/>
                  </a:cubicBezTo>
                  <a:cubicBezTo>
                    <a:pt x="149" y="292"/>
                    <a:pt x="149" y="292"/>
                    <a:pt x="148" y="292"/>
                  </a:cubicBezTo>
                  <a:cubicBezTo>
                    <a:pt x="147" y="292"/>
                    <a:pt x="147" y="293"/>
                    <a:pt x="146" y="293"/>
                  </a:cubicBezTo>
                  <a:cubicBezTo>
                    <a:pt x="146" y="293"/>
                    <a:pt x="146" y="294"/>
                    <a:pt x="146" y="294"/>
                  </a:cubicBezTo>
                  <a:cubicBezTo>
                    <a:pt x="145" y="294"/>
                    <a:pt x="145" y="295"/>
                    <a:pt x="144" y="295"/>
                  </a:cubicBezTo>
                  <a:cubicBezTo>
                    <a:pt x="144" y="295"/>
                    <a:pt x="144" y="296"/>
                    <a:pt x="144" y="296"/>
                  </a:cubicBezTo>
                  <a:cubicBezTo>
                    <a:pt x="144" y="296"/>
                    <a:pt x="143" y="296"/>
                    <a:pt x="143" y="296"/>
                  </a:cubicBezTo>
                  <a:cubicBezTo>
                    <a:pt x="143" y="296"/>
                    <a:pt x="143" y="296"/>
                    <a:pt x="142" y="296"/>
                  </a:cubicBezTo>
                  <a:cubicBezTo>
                    <a:pt x="142" y="296"/>
                    <a:pt x="142" y="295"/>
                    <a:pt x="142" y="295"/>
                  </a:cubicBezTo>
                  <a:cubicBezTo>
                    <a:pt x="141" y="295"/>
                    <a:pt x="141" y="295"/>
                    <a:pt x="140" y="295"/>
                  </a:cubicBezTo>
                  <a:cubicBezTo>
                    <a:pt x="139" y="296"/>
                    <a:pt x="138" y="296"/>
                    <a:pt x="138" y="295"/>
                  </a:cubicBezTo>
                  <a:cubicBezTo>
                    <a:pt x="137" y="295"/>
                    <a:pt x="137" y="294"/>
                    <a:pt x="137" y="295"/>
                  </a:cubicBezTo>
                  <a:cubicBezTo>
                    <a:pt x="137" y="295"/>
                    <a:pt x="136" y="295"/>
                    <a:pt x="136" y="295"/>
                  </a:cubicBezTo>
                  <a:cubicBezTo>
                    <a:pt x="136" y="295"/>
                    <a:pt x="135" y="295"/>
                    <a:pt x="134" y="296"/>
                  </a:cubicBezTo>
                  <a:cubicBezTo>
                    <a:pt x="134" y="296"/>
                    <a:pt x="134" y="296"/>
                    <a:pt x="133" y="297"/>
                  </a:cubicBezTo>
                  <a:cubicBezTo>
                    <a:pt x="133" y="298"/>
                    <a:pt x="134" y="298"/>
                    <a:pt x="134" y="299"/>
                  </a:cubicBezTo>
                  <a:cubicBezTo>
                    <a:pt x="134" y="299"/>
                    <a:pt x="134" y="300"/>
                    <a:pt x="134" y="300"/>
                  </a:cubicBezTo>
                  <a:cubicBezTo>
                    <a:pt x="135" y="300"/>
                    <a:pt x="135" y="300"/>
                    <a:pt x="136" y="300"/>
                  </a:cubicBezTo>
                  <a:cubicBezTo>
                    <a:pt x="136" y="299"/>
                    <a:pt x="136" y="300"/>
                    <a:pt x="136" y="300"/>
                  </a:cubicBezTo>
                  <a:cubicBezTo>
                    <a:pt x="138" y="300"/>
                    <a:pt x="139" y="300"/>
                    <a:pt x="140" y="300"/>
                  </a:cubicBezTo>
                  <a:cubicBezTo>
                    <a:pt x="140" y="300"/>
                    <a:pt x="141" y="300"/>
                    <a:pt x="141" y="300"/>
                  </a:cubicBezTo>
                  <a:cubicBezTo>
                    <a:pt x="141" y="301"/>
                    <a:pt x="141" y="301"/>
                    <a:pt x="141" y="301"/>
                  </a:cubicBezTo>
                  <a:cubicBezTo>
                    <a:pt x="141" y="301"/>
                    <a:pt x="142" y="302"/>
                    <a:pt x="142" y="301"/>
                  </a:cubicBezTo>
                  <a:cubicBezTo>
                    <a:pt x="142" y="301"/>
                    <a:pt x="143" y="301"/>
                    <a:pt x="143" y="301"/>
                  </a:cubicBezTo>
                  <a:cubicBezTo>
                    <a:pt x="143" y="300"/>
                    <a:pt x="143" y="300"/>
                    <a:pt x="143" y="299"/>
                  </a:cubicBezTo>
                  <a:cubicBezTo>
                    <a:pt x="143" y="299"/>
                    <a:pt x="143" y="299"/>
                    <a:pt x="143" y="299"/>
                  </a:cubicBezTo>
                  <a:cubicBezTo>
                    <a:pt x="143" y="298"/>
                    <a:pt x="143" y="298"/>
                    <a:pt x="144" y="298"/>
                  </a:cubicBezTo>
                  <a:cubicBezTo>
                    <a:pt x="144" y="297"/>
                    <a:pt x="145" y="298"/>
                    <a:pt x="145" y="298"/>
                  </a:cubicBezTo>
                  <a:cubicBezTo>
                    <a:pt x="146" y="298"/>
                    <a:pt x="146" y="297"/>
                    <a:pt x="146" y="297"/>
                  </a:cubicBezTo>
                  <a:cubicBezTo>
                    <a:pt x="147" y="297"/>
                    <a:pt x="147" y="297"/>
                    <a:pt x="147" y="297"/>
                  </a:cubicBezTo>
                  <a:cubicBezTo>
                    <a:pt x="147" y="296"/>
                    <a:pt x="147" y="296"/>
                    <a:pt x="148" y="296"/>
                  </a:cubicBezTo>
                  <a:cubicBezTo>
                    <a:pt x="148" y="296"/>
                    <a:pt x="149" y="296"/>
                    <a:pt x="149" y="297"/>
                  </a:cubicBezTo>
                  <a:cubicBezTo>
                    <a:pt x="149" y="297"/>
                    <a:pt x="149" y="297"/>
                    <a:pt x="149" y="297"/>
                  </a:cubicBezTo>
                  <a:cubicBezTo>
                    <a:pt x="149" y="297"/>
                    <a:pt x="150" y="298"/>
                    <a:pt x="150" y="298"/>
                  </a:cubicBezTo>
                  <a:cubicBezTo>
                    <a:pt x="151" y="298"/>
                    <a:pt x="151" y="297"/>
                    <a:pt x="152" y="297"/>
                  </a:cubicBezTo>
                  <a:cubicBezTo>
                    <a:pt x="152" y="297"/>
                    <a:pt x="152" y="296"/>
                    <a:pt x="153" y="295"/>
                  </a:cubicBezTo>
                  <a:cubicBezTo>
                    <a:pt x="153" y="295"/>
                    <a:pt x="153" y="294"/>
                    <a:pt x="153" y="294"/>
                  </a:cubicBezTo>
                  <a:cubicBezTo>
                    <a:pt x="152" y="293"/>
                    <a:pt x="151" y="294"/>
                    <a:pt x="151" y="293"/>
                  </a:cubicBezTo>
                  <a:close/>
                  <a:moveTo>
                    <a:pt x="131" y="291"/>
                  </a:moveTo>
                  <a:cubicBezTo>
                    <a:pt x="132" y="291"/>
                    <a:pt x="131" y="290"/>
                    <a:pt x="131" y="290"/>
                  </a:cubicBezTo>
                  <a:cubicBezTo>
                    <a:pt x="130" y="289"/>
                    <a:pt x="128" y="289"/>
                    <a:pt x="127" y="289"/>
                  </a:cubicBezTo>
                  <a:cubicBezTo>
                    <a:pt x="127" y="288"/>
                    <a:pt x="127" y="288"/>
                    <a:pt x="126" y="288"/>
                  </a:cubicBezTo>
                  <a:cubicBezTo>
                    <a:pt x="126" y="287"/>
                    <a:pt x="125" y="287"/>
                    <a:pt x="124" y="287"/>
                  </a:cubicBezTo>
                  <a:cubicBezTo>
                    <a:pt x="123" y="287"/>
                    <a:pt x="123" y="287"/>
                    <a:pt x="122" y="288"/>
                  </a:cubicBezTo>
                  <a:cubicBezTo>
                    <a:pt x="122" y="288"/>
                    <a:pt x="122" y="288"/>
                    <a:pt x="122" y="288"/>
                  </a:cubicBezTo>
                  <a:cubicBezTo>
                    <a:pt x="121" y="289"/>
                    <a:pt x="121" y="289"/>
                    <a:pt x="121" y="290"/>
                  </a:cubicBezTo>
                  <a:cubicBezTo>
                    <a:pt x="120" y="290"/>
                    <a:pt x="120" y="291"/>
                    <a:pt x="120" y="291"/>
                  </a:cubicBezTo>
                  <a:cubicBezTo>
                    <a:pt x="120" y="291"/>
                    <a:pt x="120" y="291"/>
                    <a:pt x="120" y="291"/>
                  </a:cubicBezTo>
                  <a:cubicBezTo>
                    <a:pt x="121" y="292"/>
                    <a:pt x="121" y="292"/>
                    <a:pt x="121" y="293"/>
                  </a:cubicBezTo>
                  <a:cubicBezTo>
                    <a:pt x="122" y="293"/>
                    <a:pt x="122" y="293"/>
                    <a:pt x="123" y="293"/>
                  </a:cubicBezTo>
                  <a:cubicBezTo>
                    <a:pt x="123" y="292"/>
                    <a:pt x="123" y="292"/>
                    <a:pt x="124" y="292"/>
                  </a:cubicBezTo>
                  <a:cubicBezTo>
                    <a:pt x="124" y="291"/>
                    <a:pt x="124" y="291"/>
                    <a:pt x="125" y="291"/>
                  </a:cubicBezTo>
                  <a:cubicBezTo>
                    <a:pt x="125" y="290"/>
                    <a:pt x="125" y="290"/>
                    <a:pt x="126" y="290"/>
                  </a:cubicBezTo>
                  <a:cubicBezTo>
                    <a:pt x="126" y="290"/>
                    <a:pt x="126" y="291"/>
                    <a:pt x="126" y="291"/>
                  </a:cubicBezTo>
                  <a:cubicBezTo>
                    <a:pt x="126" y="291"/>
                    <a:pt x="127" y="291"/>
                    <a:pt x="127" y="291"/>
                  </a:cubicBezTo>
                  <a:cubicBezTo>
                    <a:pt x="128" y="291"/>
                    <a:pt x="129" y="291"/>
                    <a:pt x="130" y="291"/>
                  </a:cubicBezTo>
                  <a:cubicBezTo>
                    <a:pt x="131" y="291"/>
                    <a:pt x="131" y="291"/>
                    <a:pt x="131" y="291"/>
                  </a:cubicBezTo>
                  <a:close/>
                  <a:moveTo>
                    <a:pt x="133" y="292"/>
                  </a:moveTo>
                  <a:cubicBezTo>
                    <a:pt x="132" y="292"/>
                    <a:pt x="132" y="292"/>
                    <a:pt x="132" y="292"/>
                  </a:cubicBezTo>
                  <a:cubicBezTo>
                    <a:pt x="131" y="293"/>
                    <a:pt x="130" y="294"/>
                    <a:pt x="128" y="295"/>
                  </a:cubicBezTo>
                  <a:cubicBezTo>
                    <a:pt x="128" y="295"/>
                    <a:pt x="128" y="295"/>
                    <a:pt x="127" y="296"/>
                  </a:cubicBezTo>
                  <a:cubicBezTo>
                    <a:pt x="127" y="296"/>
                    <a:pt x="127" y="297"/>
                    <a:pt x="127" y="297"/>
                  </a:cubicBezTo>
                  <a:cubicBezTo>
                    <a:pt x="128" y="297"/>
                    <a:pt x="129" y="297"/>
                    <a:pt x="129" y="297"/>
                  </a:cubicBezTo>
                  <a:cubicBezTo>
                    <a:pt x="129" y="296"/>
                    <a:pt x="130" y="296"/>
                    <a:pt x="130" y="296"/>
                  </a:cubicBezTo>
                  <a:cubicBezTo>
                    <a:pt x="130" y="295"/>
                    <a:pt x="131" y="294"/>
                    <a:pt x="132" y="294"/>
                  </a:cubicBezTo>
                  <a:cubicBezTo>
                    <a:pt x="133" y="293"/>
                    <a:pt x="133" y="293"/>
                    <a:pt x="133" y="293"/>
                  </a:cubicBezTo>
                  <a:cubicBezTo>
                    <a:pt x="133" y="292"/>
                    <a:pt x="133" y="292"/>
                    <a:pt x="133" y="292"/>
                  </a:cubicBezTo>
                  <a:cubicBezTo>
                    <a:pt x="133" y="292"/>
                    <a:pt x="133" y="292"/>
                    <a:pt x="133" y="292"/>
                  </a:cubicBezTo>
                  <a:close/>
                  <a:moveTo>
                    <a:pt x="91" y="249"/>
                  </a:moveTo>
                  <a:cubicBezTo>
                    <a:pt x="92" y="248"/>
                    <a:pt x="93" y="250"/>
                    <a:pt x="94" y="250"/>
                  </a:cubicBezTo>
                  <a:cubicBezTo>
                    <a:pt x="94" y="250"/>
                    <a:pt x="95" y="249"/>
                    <a:pt x="95" y="248"/>
                  </a:cubicBezTo>
                  <a:cubicBezTo>
                    <a:pt x="96" y="248"/>
                    <a:pt x="96" y="247"/>
                    <a:pt x="95" y="246"/>
                  </a:cubicBezTo>
                  <a:cubicBezTo>
                    <a:pt x="95" y="245"/>
                    <a:pt x="95" y="243"/>
                    <a:pt x="96" y="242"/>
                  </a:cubicBezTo>
                  <a:cubicBezTo>
                    <a:pt x="96" y="241"/>
                    <a:pt x="96" y="240"/>
                    <a:pt x="97" y="240"/>
                  </a:cubicBezTo>
                  <a:cubicBezTo>
                    <a:pt x="97" y="240"/>
                    <a:pt x="98" y="240"/>
                    <a:pt x="98" y="241"/>
                  </a:cubicBezTo>
                  <a:cubicBezTo>
                    <a:pt x="98" y="241"/>
                    <a:pt x="99" y="241"/>
                    <a:pt x="99" y="241"/>
                  </a:cubicBezTo>
                  <a:cubicBezTo>
                    <a:pt x="99" y="240"/>
                    <a:pt x="99" y="239"/>
                    <a:pt x="99" y="238"/>
                  </a:cubicBezTo>
                  <a:cubicBezTo>
                    <a:pt x="99" y="238"/>
                    <a:pt x="98" y="237"/>
                    <a:pt x="98" y="237"/>
                  </a:cubicBezTo>
                  <a:cubicBezTo>
                    <a:pt x="98" y="237"/>
                    <a:pt x="97" y="237"/>
                    <a:pt x="97" y="237"/>
                  </a:cubicBezTo>
                  <a:cubicBezTo>
                    <a:pt x="97" y="236"/>
                    <a:pt x="97" y="236"/>
                    <a:pt x="97" y="235"/>
                  </a:cubicBezTo>
                  <a:cubicBezTo>
                    <a:pt x="97" y="234"/>
                    <a:pt x="96" y="233"/>
                    <a:pt x="95" y="233"/>
                  </a:cubicBezTo>
                  <a:cubicBezTo>
                    <a:pt x="95" y="233"/>
                    <a:pt x="94" y="233"/>
                    <a:pt x="94" y="233"/>
                  </a:cubicBezTo>
                  <a:cubicBezTo>
                    <a:pt x="94" y="234"/>
                    <a:pt x="93" y="235"/>
                    <a:pt x="92" y="234"/>
                  </a:cubicBezTo>
                  <a:cubicBezTo>
                    <a:pt x="92" y="234"/>
                    <a:pt x="92" y="234"/>
                    <a:pt x="93" y="234"/>
                  </a:cubicBezTo>
                  <a:cubicBezTo>
                    <a:pt x="93" y="233"/>
                    <a:pt x="93" y="233"/>
                    <a:pt x="93" y="233"/>
                  </a:cubicBezTo>
                  <a:cubicBezTo>
                    <a:pt x="92" y="233"/>
                    <a:pt x="91" y="232"/>
                    <a:pt x="89" y="232"/>
                  </a:cubicBezTo>
                  <a:cubicBezTo>
                    <a:pt x="90" y="232"/>
                    <a:pt x="90" y="232"/>
                    <a:pt x="90" y="232"/>
                  </a:cubicBezTo>
                  <a:cubicBezTo>
                    <a:pt x="92" y="232"/>
                    <a:pt x="93" y="231"/>
                    <a:pt x="95" y="231"/>
                  </a:cubicBezTo>
                  <a:cubicBezTo>
                    <a:pt x="95" y="231"/>
                    <a:pt x="96" y="232"/>
                    <a:pt x="97" y="232"/>
                  </a:cubicBezTo>
                  <a:cubicBezTo>
                    <a:pt x="98" y="231"/>
                    <a:pt x="98" y="230"/>
                    <a:pt x="98" y="230"/>
                  </a:cubicBezTo>
                  <a:cubicBezTo>
                    <a:pt x="97" y="229"/>
                    <a:pt x="95" y="229"/>
                    <a:pt x="94" y="228"/>
                  </a:cubicBezTo>
                  <a:cubicBezTo>
                    <a:pt x="94" y="229"/>
                    <a:pt x="93" y="229"/>
                    <a:pt x="92" y="229"/>
                  </a:cubicBezTo>
                  <a:cubicBezTo>
                    <a:pt x="91" y="229"/>
                    <a:pt x="91" y="228"/>
                    <a:pt x="90" y="228"/>
                  </a:cubicBezTo>
                  <a:cubicBezTo>
                    <a:pt x="89" y="227"/>
                    <a:pt x="88" y="227"/>
                    <a:pt x="87" y="226"/>
                  </a:cubicBezTo>
                  <a:cubicBezTo>
                    <a:pt x="87" y="227"/>
                    <a:pt x="86" y="228"/>
                    <a:pt x="86" y="229"/>
                  </a:cubicBezTo>
                  <a:cubicBezTo>
                    <a:pt x="86" y="230"/>
                    <a:pt x="86" y="230"/>
                    <a:pt x="85" y="230"/>
                  </a:cubicBezTo>
                  <a:cubicBezTo>
                    <a:pt x="84" y="228"/>
                    <a:pt x="86" y="226"/>
                    <a:pt x="85" y="225"/>
                  </a:cubicBezTo>
                  <a:cubicBezTo>
                    <a:pt x="84" y="224"/>
                    <a:pt x="83" y="224"/>
                    <a:pt x="81" y="224"/>
                  </a:cubicBezTo>
                  <a:cubicBezTo>
                    <a:pt x="81" y="224"/>
                    <a:pt x="82" y="225"/>
                    <a:pt x="82" y="225"/>
                  </a:cubicBezTo>
                  <a:cubicBezTo>
                    <a:pt x="83" y="226"/>
                    <a:pt x="83" y="226"/>
                    <a:pt x="83" y="226"/>
                  </a:cubicBezTo>
                  <a:cubicBezTo>
                    <a:pt x="83" y="227"/>
                    <a:pt x="83" y="227"/>
                    <a:pt x="82" y="228"/>
                  </a:cubicBezTo>
                  <a:cubicBezTo>
                    <a:pt x="82" y="228"/>
                    <a:pt x="81" y="228"/>
                    <a:pt x="80" y="227"/>
                  </a:cubicBezTo>
                  <a:cubicBezTo>
                    <a:pt x="80" y="227"/>
                    <a:pt x="80" y="227"/>
                    <a:pt x="80" y="226"/>
                  </a:cubicBezTo>
                  <a:cubicBezTo>
                    <a:pt x="80" y="226"/>
                    <a:pt x="79" y="226"/>
                    <a:pt x="79" y="225"/>
                  </a:cubicBezTo>
                  <a:cubicBezTo>
                    <a:pt x="79" y="224"/>
                    <a:pt x="80" y="224"/>
                    <a:pt x="80" y="223"/>
                  </a:cubicBezTo>
                  <a:cubicBezTo>
                    <a:pt x="80" y="222"/>
                    <a:pt x="79" y="221"/>
                    <a:pt x="78" y="220"/>
                  </a:cubicBezTo>
                  <a:cubicBezTo>
                    <a:pt x="77" y="220"/>
                    <a:pt x="77" y="219"/>
                    <a:pt x="76" y="218"/>
                  </a:cubicBezTo>
                  <a:cubicBezTo>
                    <a:pt x="75" y="218"/>
                    <a:pt x="73" y="219"/>
                    <a:pt x="73" y="220"/>
                  </a:cubicBezTo>
                  <a:cubicBezTo>
                    <a:pt x="73" y="221"/>
                    <a:pt x="74" y="222"/>
                    <a:pt x="74" y="223"/>
                  </a:cubicBezTo>
                  <a:cubicBezTo>
                    <a:pt x="74" y="224"/>
                    <a:pt x="72" y="224"/>
                    <a:pt x="71" y="224"/>
                  </a:cubicBezTo>
                  <a:cubicBezTo>
                    <a:pt x="70" y="223"/>
                    <a:pt x="69" y="223"/>
                    <a:pt x="68" y="223"/>
                  </a:cubicBezTo>
                  <a:cubicBezTo>
                    <a:pt x="67" y="223"/>
                    <a:pt x="67" y="224"/>
                    <a:pt x="67" y="225"/>
                  </a:cubicBezTo>
                  <a:cubicBezTo>
                    <a:pt x="67" y="225"/>
                    <a:pt x="66" y="225"/>
                    <a:pt x="66" y="225"/>
                  </a:cubicBezTo>
                  <a:cubicBezTo>
                    <a:pt x="66" y="224"/>
                    <a:pt x="66" y="224"/>
                    <a:pt x="66" y="224"/>
                  </a:cubicBezTo>
                  <a:cubicBezTo>
                    <a:pt x="65" y="224"/>
                    <a:pt x="65" y="223"/>
                    <a:pt x="65" y="223"/>
                  </a:cubicBezTo>
                  <a:cubicBezTo>
                    <a:pt x="65" y="223"/>
                    <a:pt x="65" y="222"/>
                    <a:pt x="65" y="221"/>
                  </a:cubicBezTo>
                  <a:cubicBezTo>
                    <a:pt x="65" y="221"/>
                    <a:pt x="65" y="220"/>
                    <a:pt x="65" y="219"/>
                  </a:cubicBezTo>
                  <a:cubicBezTo>
                    <a:pt x="64" y="219"/>
                    <a:pt x="63" y="220"/>
                    <a:pt x="62" y="220"/>
                  </a:cubicBezTo>
                  <a:cubicBezTo>
                    <a:pt x="62" y="220"/>
                    <a:pt x="61" y="220"/>
                    <a:pt x="61" y="219"/>
                  </a:cubicBezTo>
                  <a:cubicBezTo>
                    <a:pt x="61" y="219"/>
                    <a:pt x="60" y="219"/>
                    <a:pt x="60" y="219"/>
                  </a:cubicBezTo>
                  <a:cubicBezTo>
                    <a:pt x="60" y="221"/>
                    <a:pt x="61" y="223"/>
                    <a:pt x="61" y="225"/>
                  </a:cubicBezTo>
                  <a:cubicBezTo>
                    <a:pt x="60" y="225"/>
                    <a:pt x="58" y="224"/>
                    <a:pt x="56" y="223"/>
                  </a:cubicBezTo>
                  <a:cubicBezTo>
                    <a:pt x="56" y="223"/>
                    <a:pt x="55" y="223"/>
                    <a:pt x="55" y="223"/>
                  </a:cubicBezTo>
                  <a:cubicBezTo>
                    <a:pt x="54" y="224"/>
                    <a:pt x="54" y="225"/>
                    <a:pt x="54" y="225"/>
                  </a:cubicBezTo>
                  <a:cubicBezTo>
                    <a:pt x="54" y="226"/>
                    <a:pt x="54" y="227"/>
                    <a:pt x="55" y="227"/>
                  </a:cubicBezTo>
                  <a:cubicBezTo>
                    <a:pt x="55" y="228"/>
                    <a:pt x="55" y="228"/>
                    <a:pt x="56" y="229"/>
                  </a:cubicBezTo>
                  <a:cubicBezTo>
                    <a:pt x="56" y="229"/>
                    <a:pt x="56" y="230"/>
                    <a:pt x="57" y="230"/>
                  </a:cubicBezTo>
                  <a:cubicBezTo>
                    <a:pt x="57" y="230"/>
                    <a:pt x="57" y="229"/>
                    <a:pt x="58" y="229"/>
                  </a:cubicBezTo>
                  <a:cubicBezTo>
                    <a:pt x="58" y="228"/>
                    <a:pt x="59" y="227"/>
                    <a:pt x="60" y="226"/>
                  </a:cubicBezTo>
                  <a:cubicBezTo>
                    <a:pt x="61" y="227"/>
                    <a:pt x="61" y="228"/>
                    <a:pt x="62" y="228"/>
                  </a:cubicBezTo>
                  <a:cubicBezTo>
                    <a:pt x="63" y="229"/>
                    <a:pt x="64" y="230"/>
                    <a:pt x="65" y="230"/>
                  </a:cubicBezTo>
                  <a:cubicBezTo>
                    <a:pt x="66" y="230"/>
                    <a:pt x="67" y="230"/>
                    <a:pt x="68" y="230"/>
                  </a:cubicBezTo>
                  <a:cubicBezTo>
                    <a:pt x="68" y="230"/>
                    <a:pt x="67" y="229"/>
                    <a:pt x="67" y="229"/>
                  </a:cubicBezTo>
                  <a:cubicBezTo>
                    <a:pt x="67" y="229"/>
                    <a:pt x="67" y="229"/>
                    <a:pt x="66" y="228"/>
                  </a:cubicBezTo>
                  <a:cubicBezTo>
                    <a:pt x="66" y="228"/>
                    <a:pt x="67" y="227"/>
                    <a:pt x="67" y="227"/>
                  </a:cubicBezTo>
                  <a:cubicBezTo>
                    <a:pt x="68" y="227"/>
                    <a:pt x="68" y="227"/>
                    <a:pt x="69" y="228"/>
                  </a:cubicBezTo>
                  <a:cubicBezTo>
                    <a:pt x="70" y="228"/>
                    <a:pt x="70" y="229"/>
                    <a:pt x="71" y="230"/>
                  </a:cubicBezTo>
                  <a:cubicBezTo>
                    <a:pt x="72" y="231"/>
                    <a:pt x="73" y="231"/>
                    <a:pt x="74" y="230"/>
                  </a:cubicBezTo>
                  <a:cubicBezTo>
                    <a:pt x="74" y="229"/>
                    <a:pt x="74" y="229"/>
                    <a:pt x="74" y="229"/>
                  </a:cubicBezTo>
                  <a:cubicBezTo>
                    <a:pt x="75" y="228"/>
                    <a:pt x="75" y="228"/>
                    <a:pt x="76" y="228"/>
                  </a:cubicBezTo>
                  <a:cubicBezTo>
                    <a:pt x="76" y="230"/>
                    <a:pt x="75" y="231"/>
                    <a:pt x="75" y="232"/>
                  </a:cubicBezTo>
                  <a:cubicBezTo>
                    <a:pt x="75" y="233"/>
                    <a:pt x="75" y="233"/>
                    <a:pt x="75" y="233"/>
                  </a:cubicBezTo>
                  <a:cubicBezTo>
                    <a:pt x="75" y="233"/>
                    <a:pt x="75" y="233"/>
                    <a:pt x="76" y="233"/>
                  </a:cubicBezTo>
                  <a:cubicBezTo>
                    <a:pt x="77" y="233"/>
                    <a:pt x="78" y="233"/>
                    <a:pt x="79" y="234"/>
                  </a:cubicBezTo>
                  <a:cubicBezTo>
                    <a:pt x="79" y="234"/>
                    <a:pt x="79" y="234"/>
                    <a:pt x="79" y="234"/>
                  </a:cubicBezTo>
                  <a:cubicBezTo>
                    <a:pt x="79" y="235"/>
                    <a:pt x="79" y="235"/>
                    <a:pt x="78" y="235"/>
                  </a:cubicBezTo>
                  <a:cubicBezTo>
                    <a:pt x="78" y="235"/>
                    <a:pt x="77" y="235"/>
                    <a:pt x="77" y="235"/>
                  </a:cubicBezTo>
                  <a:cubicBezTo>
                    <a:pt x="76" y="235"/>
                    <a:pt x="75" y="236"/>
                    <a:pt x="75" y="236"/>
                  </a:cubicBezTo>
                  <a:cubicBezTo>
                    <a:pt x="74" y="236"/>
                    <a:pt x="74" y="237"/>
                    <a:pt x="74" y="237"/>
                  </a:cubicBezTo>
                  <a:cubicBezTo>
                    <a:pt x="74" y="237"/>
                    <a:pt x="74" y="238"/>
                    <a:pt x="75" y="238"/>
                  </a:cubicBezTo>
                  <a:cubicBezTo>
                    <a:pt x="75" y="238"/>
                    <a:pt x="76" y="238"/>
                    <a:pt x="76" y="238"/>
                  </a:cubicBezTo>
                  <a:cubicBezTo>
                    <a:pt x="77" y="238"/>
                    <a:pt x="78" y="238"/>
                    <a:pt x="78" y="239"/>
                  </a:cubicBezTo>
                  <a:cubicBezTo>
                    <a:pt x="77" y="239"/>
                    <a:pt x="77" y="240"/>
                    <a:pt x="77" y="241"/>
                  </a:cubicBezTo>
                  <a:cubicBezTo>
                    <a:pt x="77" y="241"/>
                    <a:pt x="77" y="242"/>
                    <a:pt x="77" y="243"/>
                  </a:cubicBezTo>
                  <a:cubicBezTo>
                    <a:pt x="77" y="243"/>
                    <a:pt x="77" y="244"/>
                    <a:pt x="78" y="244"/>
                  </a:cubicBezTo>
                  <a:cubicBezTo>
                    <a:pt x="78" y="244"/>
                    <a:pt x="78" y="243"/>
                    <a:pt x="79" y="243"/>
                  </a:cubicBezTo>
                  <a:cubicBezTo>
                    <a:pt x="79" y="244"/>
                    <a:pt x="79" y="244"/>
                    <a:pt x="79" y="245"/>
                  </a:cubicBezTo>
                  <a:cubicBezTo>
                    <a:pt x="80" y="245"/>
                    <a:pt x="80" y="245"/>
                    <a:pt x="81" y="245"/>
                  </a:cubicBezTo>
                  <a:cubicBezTo>
                    <a:pt x="81" y="244"/>
                    <a:pt x="80" y="243"/>
                    <a:pt x="80" y="242"/>
                  </a:cubicBezTo>
                  <a:cubicBezTo>
                    <a:pt x="80" y="241"/>
                    <a:pt x="80" y="240"/>
                    <a:pt x="80" y="240"/>
                  </a:cubicBezTo>
                  <a:cubicBezTo>
                    <a:pt x="81" y="239"/>
                    <a:pt x="81" y="239"/>
                    <a:pt x="81" y="238"/>
                  </a:cubicBezTo>
                  <a:cubicBezTo>
                    <a:pt x="82" y="238"/>
                    <a:pt x="82" y="238"/>
                    <a:pt x="82" y="239"/>
                  </a:cubicBezTo>
                  <a:cubicBezTo>
                    <a:pt x="82" y="239"/>
                    <a:pt x="82" y="239"/>
                    <a:pt x="82" y="239"/>
                  </a:cubicBezTo>
                  <a:cubicBezTo>
                    <a:pt x="82" y="241"/>
                    <a:pt x="82" y="243"/>
                    <a:pt x="83" y="244"/>
                  </a:cubicBezTo>
                  <a:cubicBezTo>
                    <a:pt x="84" y="245"/>
                    <a:pt x="84" y="245"/>
                    <a:pt x="84" y="246"/>
                  </a:cubicBezTo>
                  <a:cubicBezTo>
                    <a:pt x="84" y="246"/>
                    <a:pt x="83" y="247"/>
                    <a:pt x="83" y="247"/>
                  </a:cubicBezTo>
                  <a:cubicBezTo>
                    <a:pt x="82" y="247"/>
                    <a:pt x="81" y="246"/>
                    <a:pt x="81" y="247"/>
                  </a:cubicBezTo>
                  <a:cubicBezTo>
                    <a:pt x="81" y="247"/>
                    <a:pt x="80" y="247"/>
                    <a:pt x="80" y="247"/>
                  </a:cubicBezTo>
                  <a:cubicBezTo>
                    <a:pt x="80" y="247"/>
                    <a:pt x="80" y="247"/>
                    <a:pt x="81" y="248"/>
                  </a:cubicBezTo>
                  <a:cubicBezTo>
                    <a:pt x="82" y="248"/>
                    <a:pt x="83" y="249"/>
                    <a:pt x="83" y="250"/>
                  </a:cubicBezTo>
                  <a:cubicBezTo>
                    <a:pt x="84" y="250"/>
                    <a:pt x="84" y="250"/>
                    <a:pt x="84" y="250"/>
                  </a:cubicBezTo>
                  <a:cubicBezTo>
                    <a:pt x="84" y="250"/>
                    <a:pt x="84" y="251"/>
                    <a:pt x="83" y="251"/>
                  </a:cubicBezTo>
                  <a:cubicBezTo>
                    <a:pt x="83" y="251"/>
                    <a:pt x="83" y="251"/>
                    <a:pt x="82" y="251"/>
                  </a:cubicBezTo>
                  <a:cubicBezTo>
                    <a:pt x="81" y="251"/>
                    <a:pt x="80" y="251"/>
                    <a:pt x="79" y="251"/>
                  </a:cubicBezTo>
                  <a:cubicBezTo>
                    <a:pt x="81" y="253"/>
                    <a:pt x="85" y="253"/>
                    <a:pt x="87" y="251"/>
                  </a:cubicBezTo>
                  <a:cubicBezTo>
                    <a:pt x="87" y="251"/>
                    <a:pt x="88" y="252"/>
                    <a:pt x="89" y="252"/>
                  </a:cubicBezTo>
                  <a:cubicBezTo>
                    <a:pt x="89" y="252"/>
                    <a:pt x="90" y="251"/>
                    <a:pt x="90" y="251"/>
                  </a:cubicBezTo>
                  <a:cubicBezTo>
                    <a:pt x="91" y="250"/>
                    <a:pt x="91" y="249"/>
                    <a:pt x="91" y="249"/>
                  </a:cubicBezTo>
                  <a:close/>
                  <a:moveTo>
                    <a:pt x="74" y="240"/>
                  </a:moveTo>
                  <a:cubicBezTo>
                    <a:pt x="74" y="240"/>
                    <a:pt x="74" y="240"/>
                    <a:pt x="74" y="240"/>
                  </a:cubicBezTo>
                  <a:cubicBezTo>
                    <a:pt x="74" y="240"/>
                    <a:pt x="74" y="240"/>
                    <a:pt x="74" y="240"/>
                  </a:cubicBezTo>
                  <a:cubicBezTo>
                    <a:pt x="73" y="239"/>
                    <a:pt x="72" y="239"/>
                    <a:pt x="71" y="239"/>
                  </a:cubicBezTo>
                  <a:cubicBezTo>
                    <a:pt x="70" y="239"/>
                    <a:pt x="70" y="239"/>
                    <a:pt x="70" y="239"/>
                  </a:cubicBezTo>
                  <a:cubicBezTo>
                    <a:pt x="70" y="239"/>
                    <a:pt x="70" y="240"/>
                    <a:pt x="70" y="240"/>
                  </a:cubicBezTo>
                  <a:cubicBezTo>
                    <a:pt x="70" y="240"/>
                    <a:pt x="69" y="241"/>
                    <a:pt x="69" y="241"/>
                  </a:cubicBezTo>
                  <a:cubicBezTo>
                    <a:pt x="69" y="242"/>
                    <a:pt x="69" y="242"/>
                    <a:pt x="69" y="243"/>
                  </a:cubicBezTo>
                  <a:cubicBezTo>
                    <a:pt x="69" y="242"/>
                    <a:pt x="70" y="243"/>
                    <a:pt x="70" y="243"/>
                  </a:cubicBezTo>
                  <a:cubicBezTo>
                    <a:pt x="70" y="243"/>
                    <a:pt x="70" y="243"/>
                    <a:pt x="70" y="243"/>
                  </a:cubicBezTo>
                  <a:cubicBezTo>
                    <a:pt x="71" y="242"/>
                    <a:pt x="73" y="242"/>
                    <a:pt x="74" y="242"/>
                  </a:cubicBezTo>
                  <a:cubicBezTo>
                    <a:pt x="74" y="242"/>
                    <a:pt x="75" y="242"/>
                    <a:pt x="75" y="242"/>
                  </a:cubicBezTo>
                  <a:cubicBezTo>
                    <a:pt x="75" y="242"/>
                    <a:pt x="75" y="241"/>
                    <a:pt x="75" y="241"/>
                  </a:cubicBezTo>
                  <a:cubicBezTo>
                    <a:pt x="75" y="241"/>
                    <a:pt x="74" y="240"/>
                    <a:pt x="74" y="240"/>
                  </a:cubicBezTo>
                  <a:close/>
                  <a:moveTo>
                    <a:pt x="71" y="251"/>
                  </a:moveTo>
                  <a:cubicBezTo>
                    <a:pt x="70" y="251"/>
                    <a:pt x="70" y="251"/>
                    <a:pt x="70" y="250"/>
                  </a:cubicBezTo>
                  <a:cubicBezTo>
                    <a:pt x="69" y="250"/>
                    <a:pt x="69" y="250"/>
                    <a:pt x="68" y="250"/>
                  </a:cubicBezTo>
                  <a:cubicBezTo>
                    <a:pt x="68" y="250"/>
                    <a:pt x="68" y="250"/>
                    <a:pt x="67" y="250"/>
                  </a:cubicBezTo>
                  <a:cubicBezTo>
                    <a:pt x="67" y="249"/>
                    <a:pt x="67" y="249"/>
                    <a:pt x="67" y="248"/>
                  </a:cubicBezTo>
                  <a:cubicBezTo>
                    <a:pt x="67" y="248"/>
                    <a:pt x="66" y="248"/>
                    <a:pt x="66" y="248"/>
                  </a:cubicBezTo>
                  <a:cubicBezTo>
                    <a:pt x="65" y="249"/>
                    <a:pt x="65" y="249"/>
                    <a:pt x="65" y="250"/>
                  </a:cubicBezTo>
                  <a:cubicBezTo>
                    <a:pt x="65" y="250"/>
                    <a:pt x="65" y="250"/>
                    <a:pt x="65" y="250"/>
                  </a:cubicBezTo>
                  <a:cubicBezTo>
                    <a:pt x="65" y="251"/>
                    <a:pt x="65" y="251"/>
                    <a:pt x="65" y="251"/>
                  </a:cubicBezTo>
                  <a:cubicBezTo>
                    <a:pt x="64" y="251"/>
                    <a:pt x="65" y="251"/>
                    <a:pt x="65" y="251"/>
                  </a:cubicBezTo>
                  <a:cubicBezTo>
                    <a:pt x="65" y="252"/>
                    <a:pt x="65" y="252"/>
                    <a:pt x="66" y="252"/>
                  </a:cubicBezTo>
                  <a:cubicBezTo>
                    <a:pt x="66" y="252"/>
                    <a:pt x="66" y="252"/>
                    <a:pt x="67" y="252"/>
                  </a:cubicBezTo>
                  <a:cubicBezTo>
                    <a:pt x="67" y="252"/>
                    <a:pt x="67" y="252"/>
                    <a:pt x="67" y="252"/>
                  </a:cubicBezTo>
                  <a:cubicBezTo>
                    <a:pt x="67" y="253"/>
                    <a:pt x="67" y="253"/>
                    <a:pt x="67" y="253"/>
                  </a:cubicBezTo>
                  <a:cubicBezTo>
                    <a:pt x="68" y="253"/>
                    <a:pt x="68" y="254"/>
                    <a:pt x="68" y="254"/>
                  </a:cubicBezTo>
                  <a:cubicBezTo>
                    <a:pt x="68" y="255"/>
                    <a:pt x="69" y="255"/>
                    <a:pt x="69" y="255"/>
                  </a:cubicBezTo>
                  <a:cubicBezTo>
                    <a:pt x="69" y="255"/>
                    <a:pt x="70" y="255"/>
                    <a:pt x="70" y="254"/>
                  </a:cubicBezTo>
                  <a:cubicBezTo>
                    <a:pt x="70" y="254"/>
                    <a:pt x="70" y="254"/>
                    <a:pt x="70" y="254"/>
                  </a:cubicBezTo>
                  <a:cubicBezTo>
                    <a:pt x="70" y="253"/>
                    <a:pt x="71" y="253"/>
                    <a:pt x="71" y="253"/>
                  </a:cubicBezTo>
                  <a:cubicBezTo>
                    <a:pt x="72" y="252"/>
                    <a:pt x="72" y="252"/>
                    <a:pt x="72" y="252"/>
                  </a:cubicBezTo>
                  <a:cubicBezTo>
                    <a:pt x="72" y="252"/>
                    <a:pt x="71" y="252"/>
                    <a:pt x="71" y="251"/>
                  </a:cubicBezTo>
                  <a:close/>
                  <a:moveTo>
                    <a:pt x="55" y="209"/>
                  </a:moveTo>
                  <a:cubicBezTo>
                    <a:pt x="54" y="209"/>
                    <a:pt x="54" y="208"/>
                    <a:pt x="54" y="208"/>
                  </a:cubicBezTo>
                  <a:cubicBezTo>
                    <a:pt x="55" y="208"/>
                    <a:pt x="55" y="208"/>
                    <a:pt x="55" y="208"/>
                  </a:cubicBezTo>
                  <a:cubicBezTo>
                    <a:pt x="57" y="209"/>
                    <a:pt x="58" y="210"/>
                    <a:pt x="59" y="211"/>
                  </a:cubicBezTo>
                  <a:cubicBezTo>
                    <a:pt x="59" y="212"/>
                    <a:pt x="60" y="212"/>
                    <a:pt x="60" y="212"/>
                  </a:cubicBezTo>
                  <a:cubicBezTo>
                    <a:pt x="61" y="213"/>
                    <a:pt x="61" y="214"/>
                    <a:pt x="61" y="214"/>
                  </a:cubicBezTo>
                  <a:cubicBezTo>
                    <a:pt x="61" y="215"/>
                    <a:pt x="60" y="215"/>
                    <a:pt x="61" y="216"/>
                  </a:cubicBezTo>
                  <a:cubicBezTo>
                    <a:pt x="61" y="216"/>
                    <a:pt x="62" y="217"/>
                    <a:pt x="62" y="217"/>
                  </a:cubicBezTo>
                  <a:cubicBezTo>
                    <a:pt x="63" y="217"/>
                    <a:pt x="64" y="216"/>
                    <a:pt x="65" y="216"/>
                  </a:cubicBezTo>
                  <a:cubicBezTo>
                    <a:pt x="66" y="216"/>
                    <a:pt x="67" y="217"/>
                    <a:pt x="67" y="217"/>
                  </a:cubicBezTo>
                  <a:cubicBezTo>
                    <a:pt x="69" y="218"/>
                    <a:pt x="70" y="218"/>
                    <a:pt x="72" y="217"/>
                  </a:cubicBezTo>
                  <a:cubicBezTo>
                    <a:pt x="72" y="217"/>
                    <a:pt x="73" y="217"/>
                    <a:pt x="73" y="217"/>
                  </a:cubicBezTo>
                  <a:cubicBezTo>
                    <a:pt x="73" y="216"/>
                    <a:pt x="73" y="216"/>
                    <a:pt x="72" y="216"/>
                  </a:cubicBezTo>
                  <a:cubicBezTo>
                    <a:pt x="71" y="215"/>
                    <a:pt x="70" y="214"/>
                    <a:pt x="69" y="214"/>
                  </a:cubicBezTo>
                  <a:cubicBezTo>
                    <a:pt x="68" y="213"/>
                    <a:pt x="67" y="212"/>
                    <a:pt x="66" y="211"/>
                  </a:cubicBezTo>
                  <a:cubicBezTo>
                    <a:pt x="66" y="211"/>
                    <a:pt x="66" y="210"/>
                    <a:pt x="66" y="210"/>
                  </a:cubicBezTo>
                  <a:cubicBezTo>
                    <a:pt x="65" y="209"/>
                    <a:pt x="64" y="208"/>
                    <a:pt x="63" y="207"/>
                  </a:cubicBezTo>
                  <a:cubicBezTo>
                    <a:pt x="63" y="207"/>
                    <a:pt x="63" y="208"/>
                    <a:pt x="63" y="209"/>
                  </a:cubicBezTo>
                  <a:cubicBezTo>
                    <a:pt x="64" y="209"/>
                    <a:pt x="64" y="210"/>
                    <a:pt x="63" y="210"/>
                  </a:cubicBezTo>
                  <a:cubicBezTo>
                    <a:pt x="63" y="211"/>
                    <a:pt x="62" y="211"/>
                    <a:pt x="62" y="211"/>
                  </a:cubicBezTo>
                  <a:cubicBezTo>
                    <a:pt x="62" y="211"/>
                    <a:pt x="61" y="210"/>
                    <a:pt x="61" y="210"/>
                  </a:cubicBezTo>
                  <a:cubicBezTo>
                    <a:pt x="61" y="209"/>
                    <a:pt x="61" y="208"/>
                    <a:pt x="61" y="207"/>
                  </a:cubicBezTo>
                  <a:cubicBezTo>
                    <a:pt x="61" y="207"/>
                    <a:pt x="61" y="207"/>
                    <a:pt x="61" y="207"/>
                  </a:cubicBezTo>
                  <a:cubicBezTo>
                    <a:pt x="61" y="206"/>
                    <a:pt x="61" y="206"/>
                    <a:pt x="61" y="206"/>
                  </a:cubicBezTo>
                  <a:cubicBezTo>
                    <a:pt x="59" y="205"/>
                    <a:pt x="57" y="204"/>
                    <a:pt x="55" y="204"/>
                  </a:cubicBezTo>
                  <a:cubicBezTo>
                    <a:pt x="55" y="203"/>
                    <a:pt x="54" y="203"/>
                    <a:pt x="54" y="203"/>
                  </a:cubicBezTo>
                  <a:cubicBezTo>
                    <a:pt x="53" y="202"/>
                    <a:pt x="53" y="202"/>
                    <a:pt x="53" y="201"/>
                  </a:cubicBezTo>
                  <a:cubicBezTo>
                    <a:pt x="51" y="200"/>
                    <a:pt x="48" y="200"/>
                    <a:pt x="47" y="199"/>
                  </a:cubicBezTo>
                  <a:cubicBezTo>
                    <a:pt x="46" y="199"/>
                    <a:pt x="46" y="199"/>
                    <a:pt x="46" y="199"/>
                  </a:cubicBezTo>
                  <a:cubicBezTo>
                    <a:pt x="46" y="199"/>
                    <a:pt x="46" y="199"/>
                    <a:pt x="45" y="200"/>
                  </a:cubicBezTo>
                  <a:cubicBezTo>
                    <a:pt x="45" y="200"/>
                    <a:pt x="44" y="200"/>
                    <a:pt x="44" y="200"/>
                  </a:cubicBezTo>
                  <a:cubicBezTo>
                    <a:pt x="43" y="199"/>
                    <a:pt x="43" y="199"/>
                    <a:pt x="42" y="199"/>
                  </a:cubicBezTo>
                  <a:cubicBezTo>
                    <a:pt x="42" y="199"/>
                    <a:pt x="42" y="199"/>
                    <a:pt x="41" y="199"/>
                  </a:cubicBezTo>
                  <a:cubicBezTo>
                    <a:pt x="40" y="199"/>
                    <a:pt x="40" y="199"/>
                    <a:pt x="39" y="198"/>
                  </a:cubicBezTo>
                  <a:cubicBezTo>
                    <a:pt x="38" y="197"/>
                    <a:pt x="37" y="196"/>
                    <a:pt x="37" y="194"/>
                  </a:cubicBezTo>
                  <a:cubicBezTo>
                    <a:pt x="37" y="193"/>
                    <a:pt x="37" y="193"/>
                    <a:pt x="37" y="192"/>
                  </a:cubicBezTo>
                  <a:cubicBezTo>
                    <a:pt x="36" y="192"/>
                    <a:pt x="35" y="192"/>
                    <a:pt x="35" y="192"/>
                  </a:cubicBezTo>
                  <a:cubicBezTo>
                    <a:pt x="33" y="191"/>
                    <a:pt x="32" y="189"/>
                    <a:pt x="30" y="189"/>
                  </a:cubicBezTo>
                  <a:cubicBezTo>
                    <a:pt x="30" y="189"/>
                    <a:pt x="30" y="189"/>
                    <a:pt x="30" y="190"/>
                  </a:cubicBezTo>
                  <a:cubicBezTo>
                    <a:pt x="29" y="190"/>
                    <a:pt x="30" y="191"/>
                    <a:pt x="30" y="191"/>
                  </a:cubicBezTo>
                  <a:cubicBezTo>
                    <a:pt x="31" y="192"/>
                    <a:pt x="32" y="192"/>
                    <a:pt x="31" y="193"/>
                  </a:cubicBezTo>
                  <a:cubicBezTo>
                    <a:pt x="31" y="193"/>
                    <a:pt x="31" y="194"/>
                    <a:pt x="31" y="194"/>
                  </a:cubicBezTo>
                  <a:cubicBezTo>
                    <a:pt x="31" y="195"/>
                    <a:pt x="32" y="195"/>
                    <a:pt x="32" y="195"/>
                  </a:cubicBezTo>
                  <a:cubicBezTo>
                    <a:pt x="32" y="195"/>
                    <a:pt x="32" y="196"/>
                    <a:pt x="32" y="197"/>
                  </a:cubicBezTo>
                  <a:cubicBezTo>
                    <a:pt x="32" y="199"/>
                    <a:pt x="35" y="198"/>
                    <a:pt x="36" y="200"/>
                  </a:cubicBezTo>
                  <a:cubicBezTo>
                    <a:pt x="36" y="201"/>
                    <a:pt x="36" y="201"/>
                    <a:pt x="36" y="202"/>
                  </a:cubicBezTo>
                  <a:cubicBezTo>
                    <a:pt x="36" y="203"/>
                    <a:pt x="37" y="203"/>
                    <a:pt x="38" y="203"/>
                  </a:cubicBezTo>
                  <a:cubicBezTo>
                    <a:pt x="39" y="204"/>
                    <a:pt x="40" y="205"/>
                    <a:pt x="40" y="206"/>
                  </a:cubicBezTo>
                  <a:cubicBezTo>
                    <a:pt x="40" y="206"/>
                    <a:pt x="41" y="207"/>
                    <a:pt x="41" y="207"/>
                  </a:cubicBezTo>
                  <a:cubicBezTo>
                    <a:pt x="42" y="206"/>
                    <a:pt x="42" y="206"/>
                    <a:pt x="42" y="206"/>
                  </a:cubicBezTo>
                  <a:cubicBezTo>
                    <a:pt x="42" y="205"/>
                    <a:pt x="43" y="205"/>
                    <a:pt x="44" y="206"/>
                  </a:cubicBezTo>
                  <a:cubicBezTo>
                    <a:pt x="44" y="206"/>
                    <a:pt x="45" y="207"/>
                    <a:pt x="46" y="207"/>
                  </a:cubicBezTo>
                  <a:cubicBezTo>
                    <a:pt x="46" y="207"/>
                    <a:pt x="46" y="207"/>
                    <a:pt x="47" y="207"/>
                  </a:cubicBezTo>
                  <a:cubicBezTo>
                    <a:pt x="48" y="207"/>
                    <a:pt x="48" y="208"/>
                    <a:pt x="49" y="209"/>
                  </a:cubicBezTo>
                  <a:cubicBezTo>
                    <a:pt x="49" y="208"/>
                    <a:pt x="48" y="207"/>
                    <a:pt x="48" y="206"/>
                  </a:cubicBezTo>
                  <a:cubicBezTo>
                    <a:pt x="48" y="206"/>
                    <a:pt x="49" y="206"/>
                    <a:pt x="50" y="206"/>
                  </a:cubicBezTo>
                  <a:cubicBezTo>
                    <a:pt x="50" y="206"/>
                    <a:pt x="50" y="206"/>
                    <a:pt x="50" y="206"/>
                  </a:cubicBezTo>
                  <a:cubicBezTo>
                    <a:pt x="51" y="207"/>
                    <a:pt x="50" y="207"/>
                    <a:pt x="51" y="208"/>
                  </a:cubicBezTo>
                  <a:cubicBezTo>
                    <a:pt x="51" y="208"/>
                    <a:pt x="51" y="208"/>
                    <a:pt x="51" y="209"/>
                  </a:cubicBezTo>
                  <a:cubicBezTo>
                    <a:pt x="52" y="209"/>
                    <a:pt x="53" y="210"/>
                    <a:pt x="54" y="210"/>
                  </a:cubicBezTo>
                  <a:cubicBezTo>
                    <a:pt x="54" y="210"/>
                    <a:pt x="54" y="211"/>
                    <a:pt x="55" y="210"/>
                  </a:cubicBezTo>
                  <a:cubicBezTo>
                    <a:pt x="55" y="210"/>
                    <a:pt x="55" y="210"/>
                    <a:pt x="55" y="209"/>
                  </a:cubicBezTo>
                  <a:close/>
                  <a:moveTo>
                    <a:pt x="57" y="172"/>
                  </a:moveTo>
                  <a:cubicBezTo>
                    <a:pt x="56" y="171"/>
                    <a:pt x="56" y="171"/>
                    <a:pt x="56" y="171"/>
                  </a:cubicBezTo>
                  <a:cubicBezTo>
                    <a:pt x="55" y="170"/>
                    <a:pt x="55" y="169"/>
                    <a:pt x="56" y="168"/>
                  </a:cubicBezTo>
                  <a:cubicBezTo>
                    <a:pt x="56" y="168"/>
                    <a:pt x="56" y="167"/>
                    <a:pt x="56" y="167"/>
                  </a:cubicBezTo>
                  <a:cubicBezTo>
                    <a:pt x="56" y="166"/>
                    <a:pt x="55" y="166"/>
                    <a:pt x="55" y="165"/>
                  </a:cubicBezTo>
                  <a:cubicBezTo>
                    <a:pt x="55" y="166"/>
                    <a:pt x="54" y="166"/>
                    <a:pt x="54" y="166"/>
                  </a:cubicBezTo>
                  <a:cubicBezTo>
                    <a:pt x="54" y="165"/>
                    <a:pt x="54" y="165"/>
                    <a:pt x="54" y="164"/>
                  </a:cubicBezTo>
                  <a:cubicBezTo>
                    <a:pt x="54" y="164"/>
                    <a:pt x="53" y="163"/>
                    <a:pt x="53" y="162"/>
                  </a:cubicBezTo>
                  <a:cubicBezTo>
                    <a:pt x="53" y="162"/>
                    <a:pt x="53" y="161"/>
                    <a:pt x="52" y="162"/>
                  </a:cubicBezTo>
                  <a:cubicBezTo>
                    <a:pt x="52" y="162"/>
                    <a:pt x="52" y="162"/>
                    <a:pt x="52" y="162"/>
                  </a:cubicBezTo>
                  <a:cubicBezTo>
                    <a:pt x="51" y="162"/>
                    <a:pt x="51" y="162"/>
                    <a:pt x="50" y="162"/>
                  </a:cubicBezTo>
                  <a:cubicBezTo>
                    <a:pt x="50" y="162"/>
                    <a:pt x="50" y="161"/>
                    <a:pt x="49" y="161"/>
                  </a:cubicBezTo>
                  <a:cubicBezTo>
                    <a:pt x="49" y="161"/>
                    <a:pt x="48" y="161"/>
                    <a:pt x="48" y="160"/>
                  </a:cubicBezTo>
                  <a:cubicBezTo>
                    <a:pt x="48" y="160"/>
                    <a:pt x="47" y="160"/>
                    <a:pt x="47" y="159"/>
                  </a:cubicBezTo>
                  <a:cubicBezTo>
                    <a:pt x="47" y="159"/>
                    <a:pt x="46" y="158"/>
                    <a:pt x="45" y="158"/>
                  </a:cubicBezTo>
                  <a:cubicBezTo>
                    <a:pt x="44" y="158"/>
                    <a:pt x="44" y="159"/>
                    <a:pt x="43" y="159"/>
                  </a:cubicBezTo>
                  <a:cubicBezTo>
                    <a:pt x="42" y="159"/>
                    <a:pt x="42" y="159"/>
                    <a:pt x="41" y="159"/>
                  </a:cubicBezTo>
                  <a:cubicBezTo>
                    <a:pt x="41" y="159"/>
                    <a:pt x="41" y="159"/>
                    <a:pt x="41" y="159"/>
                  </a:cubicBezTo>
                  <a:cubicBezTo>
                    <a:pt x="40" y="158"/>
                    <a:pt x="40" y="159"/>
                    <a:pt x="39" y="159"/>
                  </a:cubicBezTo>
                  <a:cubicBezTo>
                    <a:pt x="39" y="159"/>
                    <a:pt x="39" y="159"/>
                    <a:pt x="38" y="159"/>
                  </a:cubicBezTo>
                  <a:cubicBezTo>
                    <a:pt x="38" y="160"/>
                    <a:pt x="38" y="160"/>
                    <a:pt x="38" y="160"/>
                  </a:cubicBezTo>
                  <a:cubicBezTo>
                    <a:pt x="37" y="161"/>
                    <a:pt x="36" y="162"/>
                    <a:pt x="36" y="163"/>
                  </a:cubicBezTo>
                  <a:cubicBezTo>
                    <a:pt x="38" y="163"/>
                    <a:pt x="39" y="164"/>
                    <a:pt x="39" y="165"/>
                  </a:cubicBezTo>
                  <a:cubicBezTo>
                    <a:pt x="40" y="165"/>
                    <a:pt x="40" y="165"/>
                    <a:pt x="41" y="164"/>
                  </a:cubicBezTo>
                  <a:cubicBezTo>
                    <a:pt x="41" y="163"/>
                    <a:pt x="43" y="163"/>
                    <a:pt x="44" y="163"/>
                  </a:cubicBezTo>
                  <a:cubicBezTo>
                    <a:pt x="44" y="163"/>
                    <a:pt x="44" y="163"/>
                    <a:pt x="44" y="163"/>
                  </a:cubicBezTo>
                  <a:cubicBezTo>
                    <a:pt x="44" y="163"/>
                    <a:pt x="44" y="164"/>
                    <a:pt x="44" y="164"/>
                  </a:cubicBezTo>
                  <a:cubicBezTo>
                    <a:pt x="44" y="164"/>
                    <a:pt x="44" y="165"/>
                    <a:pt x="44" y="165"/>
                  </a:cubicBezTo>
                  <a:cubicBezTo>
                    <a:pt x="43" y="166"/>
                    <a:pt x="43" y="168"/>
                    <a:pt x="44" y="169"/>
                  </a:cubicBezTo>
                  <a:cubicBezTo>
                    <a:pt x="44" y="169"/>
                    <a:pt x="44" y="169"/>
                    <a:pt x="44" y="169"/>
                  </a:cubicBezTo>
                  <a:cubicBezTo>
                    <a:pt x="44" y="169"/>
                    <a:pt x="44" y="169"/>
                    <a:pt x="44" y="170"/>
                  </a:cubicBezTo>
                  <a:cubicBezTo>
                    <a:pt x="43" y="170"/>
                    <a:pt x="43" y="171"/>
                    <a:pt x="43" y="171"/>
                  </a:cubicBezTo>
                  <a:cubicBezTo>
                    <a:pt x="44" y="171"/>
                    <a:pt x="44" y="172"/>
                    <a:pt x="44" y="172"/>
                  </a:cubicBezTo>
                  <a:cubicBezTo>
                    <a:pt x="44" y="172"/>
                    <a:pt x="44" y="173"/>
                    <a:pt x="44" y="173"/>
                  </a:cubicBezTo>
                  <a:cubicBezTo>
                    <a:pt x="44" y="173"/>
                    <a:pt x="45" y="173"/>
                    <a:pt x="45" y="173"/>
                  </a:cubicBezTo>
                  <a:cubicBezTo>
                    <a:pt x="45" y="173"/>
                    <a:pt x="46" y="173"/>
                    <a:pt x="47" y="173"/>
                  </a:cubicBezTo>
                  <a:cubicBezTo>
                    <a:pt x="47" y="173"/>
                    <a:pt x="47" y="173"/>
                    <a:pt x="47" y="173"/>
                  </a:cubicBezTo>
                  <a:cubicBezTo>
                    <a:pt x="48" y="173"/>
                    <a:pt x="48" y="173"/>
                    <a:pt x="49" y="172"/>
                  </a:cubicBezTo>
                  <a:cubicBezTo>
                    <a:pt x="49" y="172"/>
                    <a:pt x="49" y="172"/>
                    <a:pt x="49" y="172"/>
                  </a:cubicBezTo>
                  <a:cubicBezTo>
                    <a:pt x="49" y="171"/>
                    <a:pt x="49" y="171"/>
                    <a:pt x="50" y="171"/>
                  </a:cubicBezTo>
                  <a:cubicBezTo>
                    <a:pt x="50" y="171"/>
                    <a:pt x="50" y="171"/>
                    <a:pt x="50" y="170"/>
                  </a:cubicBezTo>
                  <a:cubicBezTo>
                    <a:pt x="50" y="169"/>
                    <a:pt x="49" y="169"/>
                    <a:pt x="49" y="169"/>
                  </a:cubicBezTo>
                  <a:cubicBezTo>
                    <a:pt x="49" y="168"/>
                    <a:pt x="49" y="168"/>
                    <a:pt x="50" y="168"/>
                  </a:cubicBezTo>
                  <a:cubicBezTo>
                    <a:pt x="50" y="167"/>
                    <a:pt x="50" y="168"/>
                    <a:pt x="51" y="168"/>
                  </a:cubicBezTo>
                  <a:cubicBezTo>
                    <a:pt x="52" y="168"/>
                    <a:pt x="52" y="168"/>
                    <a:pt x="53" y="169"/>
                  </a:cubicBezTo>
                  <a:cubicBezTo>
                    <a:pt x="53" y="169"/>
                    <a:pt x="53" y="171"/>
                    <a:pt x="52" y="171"/>
                  </a:cubicBezTo>
                  <a:cubicBezTo>
                    <a:pt x="53" y="171"/>
                    <a:pt x="53" y="172"/>
                    <a:pt x="53" y="172"/>
                  </a:cubicBezTo>
                  <a:cubicBezTo>
                    <a:pt x="54" y="172"/>
                    <a:pt x="54" y="172"/>
                    <a:pt x="54" y="172"/>
                  </a:cubicBezTo>
                  <a:cubicBezTo>
                    <a:pt x="54" y="173"/>
                    <a:pt x="54" y="173"/>
                    <a:pt x="54" y="173"/>
                  </a:cubicBezTo>
                  <a:cubicBezTo>
                    <a:pt x="53" y="173"/>
                    <a:pt x="53" y="173"/>
                    <a:pt x="53" y="173"/>
                  </a:cubicBezTo>
                  <a:cubicBezTo>
                    <a:pt x="52" y="174"/>
                    <a:pt x="51" y="175"/>
                    <a:pt x="50" y="175"/>
                  </a:cubicBezTo>
                  <a:cubicBezTo>
                    <a:pt x="50" y="175"/>
                    <a:pt x="50" y="176"/>
                    <a:pt x="50" y="177"/>
                  </a:cubicBezTo>
                  <a:cubicBezTo>
                    <a:pt x="50" y="177"/>
                    <a:pt x="50" y="177"/>
                    <a:pt x="50" y="177"/>
                  </a:cubicBezTo>
                  <a:cubicBezTo>
                    <a:pt x="50" y="177"/>
                    <a:pt x="50" y="177"/>
                    <a:pt x="50" y="178"/>
                  </a:cubicBezTo>
                  <a:cubicBezTo>
                    <a:pt x="50" y="178"/>
                    <a:pt x="49" y="179"/>
                    <a:pt x="49" y="180"/>
                  </a:cubicBezTo>
                  <a:cubicBezTo>
                    <a:pt x="49" y="180"/>
                    <a:pt x="48" y="180"/>
                    <a:pt x="48" y="181"/>
                  </a:cubicBezTo>
                  <a:cubicBezTo>
                    <a:pt x="48" y="181"/>
                    <a:pt x="47" y="182"/>
                    <a:pt x="48" y="183"/>
                  </a:cubicBezTo>
                  <a:cubicBezTo>
                    <a:pt x="48" y="184"/>
                    <a:pt x="48" y="184"/>
                    <a:pt x="49" y="184"/>
                  </a:cubicBezTo>
                  <a:cubicBezTo>
                    <a:pt x="49" y="184"/>
                    <a:pt x="49" y="184"/>
                    <a:pt x="50" y="184"/>
                  </a:cubicBezTo>
                  <a:cubicBezTo>
                    <a:pt x="50" y="184"/>
                    <a:pt x="51" y="184"/>
                    <a:pt x="51" y="185"/>
                  </a:cubicBezTo>
                  <a:cubicBezTo>
                    <a:pt x="52" y="185"/>
                    <a:pt x="52" y="186"/>
                    <a:pt x="52" y="186"/>
                  </a:cubicBezTo>
                  <a:cubicBezTo>
                    <a:pt x="52" y="187"/>
                    <a:pt x="51" y="187"/>
                    <a:pt x="51" y="188"/>
                  </a:cubicBezTo>
                  <a:cubicBezTo>
                    <a:pt x="51" y="188"/>
                    <a:pt x="52" y="188"/>
                    <a:pt x="52" y="188"/>
                  </a:cubicBezTo>
                  <a:cubicBezTo>
                    <a:pt x="52" y="188"/>
                    <a:pt x="53" y="188"/>
                    <a:pt x="53" y="188"/>
                  </a:cubicBezTo>
                  <a:cubicBezTo>
                    <a:pt x="54" y="187"/>
                    <a:pt x="56" y="185"/>
                    <a:pt x="56" y="184"/>
                  </a:cubicBezTo>
                  <a:cubicBezTo>
                    <a:pt x="57" y="183"/>
                    <a:pt x="56" y="182"/>
                    <a:pt x="56" y="181"/>
                  </a:cubicBezTo>
                  <a:cubicBezTo>
                    <a:pt x="56" y="179"/>
                    <a:pt x="57" y="177"/>
                    <a:pt x="57" y="174"/>
                  </a:cubicBezTo>
                  <a:cubicBezTo>
                    <a:pt x="57" y="173"/>
                    <a:pt x="57" y="172"/>
                    <a:pt x="57" y="172"/>
                  </a:cubicBezTo>
                  <a:close/>
                  <a:moveTo>
                    <a:pt x="38" y="148"/>
                  </a:moveTo>
                  <a:cubicBezTo>
                    <a:pt x="39" y="149"/>
                    <a:pt x="39" y="149"/>
                    <a:pt x="39" y="150"/>
                  </a:cubicBezTo>
                  <a:cubicBezTo>
                    <a:pt x="40" y="150"/>
                    <a:pt x="41" y="151"/>
                    <a:pt x="42" y="152"/>
                  </a:cubicBezTo>
                  <a:cubicBezTo>
                    <a:pt x="43" y="152"/>
                    <a:pt x="44" y="153"/>
                    <a:pt x="45" y="153"/>
                  </a:cubicBezTo>
                  <a:cubicBezTo>
                    <a:pt x="46" y="154"/>
                    <a:pt x="46" y="154"/>
                    <a:pt x="46" y="154"/>
                  </a:cubicBezTo>
                  <a:cubicBezTo>
                    <a:pt x="47" y="154"/>
                    <a:pt x="47" y="155"/>
                    <a:pt x="47" y="155"/>
                  </a:cubicBezTo>
                  <a:cubicBezTo>
                    <a:pt x="47" y="155"/>
                    <a:pt x="47" y="156"/>
                    <a:pt x="48" y="156"/>
                  </a:cubicBezTo>
                  <a:cubicBezTo>
                    <a:pt x="50" y="158"/>
                    <a:pt x="53" y="160"/>
                    <a:pt x="55" y="162"/>
                  </a:cubicBezTo>
                  <a:cubicBezTo>
                    <a:pt x="55" y="162"/>
                    <a:pt x="56" y="162"/>
                    <a:pt x="56" y="162"/>
                  </a:cubicBezTo>
                  <a:cubicBezTo>
                    <a:pt x="56" y="161"/>
                    <a:pt x="56" y="161"/>
                    <a:pt x="56" y="160"/>
                  </a:cubicBezTo>
                  <a:cubicBezTo>
                    <a:pt x="55" y="159"/>
                    <a:pt x="54" y="158"/>
                    <a:pt x="54" y="156"/>
                  </a:cubicBezTo>
                  <a:cubicBezTo>
                    <a:pt x="54" y="156"/>
                    <a:pt x="53" y="155"/>
                    <a:pt x="53" y="155"/>
                  </a:cubicBezTo>
                  <a:cubicBezTo>
                    <a:pt x="53" y="154"/>
                    <a:pt x="53" y="154"/>
                    <a:pt x="52" y="154"/>
                  </a:cubicBezTo>
                  <a:cubicBezTo>
                    <a:pt x="52" y="154"/>
                    <a:pt x="52" y="153"/>
                    <a:pt x="52" y="153"/>
                  </a:cubicBezTo>
                  <a:cubicBezTo>
                    <a:pt x="51" y="152"/>
                    <a:pt x="50" y="153"/>
                    <a:pt x="49" y="152"/>
                  </a:cubicBezTo>
                  <a:cubicBezTo>
                    <a:pt x="49" y="152"/>
                    <a:pt x="49" y="151"/>
                    <a:pt x="49" y="151"/>
                  </a:cubicBezTo>
                  <a:cubicBezTo>
                    <a:pt x="49" y="151"/>
                    <a:pt x="48" y="151"/>
                    <a:pt x="48" y="150"/>
                  </a:cubicBezTo>
                  <a:cubicBezTo>
                    <a:pt x="48" y="150"/>
                    <a:pt x="48" y="150"/>
                    <a:pt x="47" y="149"/>
                  </a:cubicBezTo>
                  <a:cubicBezTo>
                    <a:pt x="47" y="149"/>
                    <a:pt x="46" y="149"/>
                    <a:pt x="46" y="149"/>
                  </a:cubicBezTo>
                  <a:cubicBezTo>
                    <a:pt x="45" y="149"/>
                    <a:pt x="45" y="149"/>
                    <a:pt x="45" y="149"/>
                  </a:cubicBezTo>
                  <a:cubicBezTo>
                    <a:pt x="45" y="149"/>
                    <a:pt x="45" y="149"/>
                    <a:pt x="44" y="148"/>
                  </a:cubicBezTo>
                  <a:cubicBezTo>
                    <a:pt x="44" y="148"/>
                    <a:pt x="44" y="148"/>
                    <a:pt x="44" y="147"/>
                  </a:cubicBezTo>
                  <a:cubicBezTo>
                    <a:pt x="44" y="147"/>
                    <a:pt x="43" y="146"/>
                    <a:pt x="42" y="146"/>
                  </a:cubicBezTo>
                  <a:cubicBezTo>
                    <a:pt x="41" y="146"/>
                    <a:pt x="40" y="145"/>
                    <a:pt x="40" y="144"/>
                  </a:cubicBezTo>
                  <a:cubicBezTo>
                    <a:pt x="40" y="144"/>
                    <a:pt x="40" y="143"/>
                    <a:pt x="39" y="142"/>
                  </a:cubicBezTo>
                  <a:cubicBezTo>
                    <a:pt x="39" y="142"/>
                    <a:pt x="38" y="142"/>
                    <a:pt x="38" y="142"/>
                  </a:cubicBezTo>
                  <a:cubicBezTo>
                    <a:pt x="37" y="141"/>
                    <a:pt x="37" y="141"/>
                    <a:pt x="36" y="141"/>
                  </a:cubicBezTo>
                  <a:cubicBezTo>
                    <a:pt x="36" y="141"/>
                    <a:pt x="35" y="141"/>
                    <a:pt x="35" y="141"/>
                  </a:cubicBezTo>
                  <a:cubicBezTo>
                    <a:pt x="35" y="141"/>
                    <a:pt x="35" y="141"/>
                    <a:pt x="35" y="141"/>
                  </a:cubicBezTo>
                  <a:cubicBezTo>
                    <a:pt x="35" y="141"/>
                    <a:pt x="35" y="141"/>
                    <a:pt x="35" y="141"/>
                  </a:cubicBezTo>
                  <a:cubicBezTo>
                    <a:pt x="36" y="144"/>
                    <a:pt x="37" y="146"/>
                    <a:pt x="38" y="148"/>
                  </a:cubicBezTo>
                  <a:close/>
                  <a:moveTo>
                    <a:pt x="56" y="148"/>
                  </a:moveTo>
                  <a:cubicBezTo>
                    <a:pt x="56" y="147"/>
                    <a:pt x="55" y="147"/>
                    <a:pt x="54" y="147"/>
                  </a:cubicBezTo>
                  <a:cubicBezTo>
                    <a:pt x="53" y="147"/>
                    <a:pt x="52" y="146"/>
                    <a:pt x="51" y="145"/>
                  </a:cubicBezTo>
                  <a:cubicBezTo>
                    <a:pt x="51" y="145"/>
                    <a:pt x="51" y="145"/>
                    <a:pt x="51" y="145"/>
                  </a:cubicBezTo>
                  <a:cubicBezTo>
                    <a:pt x="50" y="144"/>
                    <a:pt x="50" y="144"/>
                    <a:pt x="50" y="144"/>
                  </a:cubicBezTo>
                  <a:cubicBezTo>
                    <a:pt x="50" y="143"/>
                    <a:pt x="49" y="142"/>
                    <a:pt x="49" y="141"/>
                  </a:cubicBezTo>
                  <a:cubicBezTo>
                    <a:pt x="49" y="141"/>
                    <a:pt x="50" y="140"/>
                    <a:pt x="50" y="139"/>
                  </a:cubicBezTo>
                  <a:cubicBezTo>
                    <a:pt x="50" y="139"/>
                    <a:pt x="50" y="138"/>
                    <a:pt x="49" y="137"/>
                  </a:cubicBezTo>
                  <a:cubicBezTo>
                    <a:pt x="49" y="137"/>
                    <a:pt x="49" y="137"/>
                    <a:pt x="48" y="137"/>
                  </a:cubicBezTo>
                  <a:cubicBezTo>
                    <a:pt x="48" y="136"/>
                    <a:pt x="49" y="134"/>
                    <a:pt x="48" y="134"/>
                  </a:cubicBezTo>
                  <a:cubicBezTo>
                    <a:pt x="47" y="134"/>
                    <a:pt x="47" y="134"/>
                    <a:pt x="46" y="135"/>
                  </a:cubicBezTo>
                  <a:cubicBezTo>
                    <a:pt x="46" y="135"/>
                    <a:pt x="46" y="135"/>
                    <a:pt x="46" y="136"/>
                  </a:cubicBezTo>
                  <a:cubicBezTo>
                    <a:pt x="46" y="136"/>
                    <a:pt x="46" y="136"/>
                    <a:pt x="46" y="136"/>
                  </a:cubicBezTo>
                  <a:cubicBezTo>
                    <a:pt x="46" y="138"/>
                    <a:pt x="45" y="139"/>
                    <a:pt x="44" y="140"/>
                  </a:cubicBezTo>
                  <a:cubicBezTo>
                    <a:pt x="44" y="140"/>
                    <a:pt x="43" y="141"/>
                    <a:pt x="43" y="141"/>
                  </a:cubicBezTo>
                  <a:cubicBezTo>
                    <a:pt x="43" y="142"/>
                    <a:pt x="43" y="142"/>
                    <a:pt x="44" y="142"/>
                  </a:cubicBezTo>
                  <a:cubicBezTo>
                    <a:pt x="45" y="145"/>
                    <a:pt x="48" y="146"/>
                    <a:pt x="50" y="148"/>
                  </a:cubicBezTo>
                  <a:cubicBezTo>
                    <a:pt x="51" y="148"/>
                    <a:pt x="51" y="149"/>
                    <a:pt x="52" y="149"/>
                  </a:cubicBezTo>
                  <a:cubicBezTo>
                    <a:pt x="52" y="150"/>
                    <a:pt x="53" y="150"/>
                    <a:pt x="53" y="151"/>
                  </a:cubicBezTo>
                  <a:cubicBezTo>
                    <a:pt x="53" y="151"/>
                    <a:pt x="53" y="151"/>
                    <a:pt x="53" y="151"/>
                  </a:cubicBezTo>
                  <a:cubicBezTo>
                    <a:pt x="53" y="153"/>
                    <a:pt x="54" y="154"/>
                    <a:pt x="55" y="154"/>
                  </a:cubicBezTo>
                  <a:cubicBezTo>
                    <a:pt x="56" y="154"/>
                    <a:pt x="56" y="154"/>
                    <a:pt x="57" y="154"/>
                  </a:cubicBezTo>
                  <a:cubicBezTo>
                    <a:pt x="57" y="154"/>
                    <a:pt x="57" y="153"/>
                    <a:pt x="57" y="153"/>
                  </a:cubicBezTo>
                  <a:cubicBezTo>
                    <a:pt x="56" y="152"/>
                    <a:pt x="56" y="152"/>
                    <a:pt x="56" y="151"/>
                  </a:cubicBezTo>
                  <a:cubicBezTo>
                    <a:pt x="56" y="150"/>
                    <a:pt x="57" y="149"/>
                    <a:pt x="56" y="148"/>
                  </a:cubicBezTo>
                  <a:close/>
                  <a:moveTo>
                    <a:pt x="24" y="158"/>
                  </a:moveTo>
                  <a:cubicBezTo>
                    <a:pt x="25" y="157"/>
                    <a:pt x="25" y="158"/>
                    <a:pt x="26" y="158"/>
                  </a:cubicBezTo>
                  <a:cubicBezTo>
                    <a:pt x="26" y="158"/>
                    <a:pt x="25" y="159"/>
                    <a:pt x="25" y="159"/>
                  </a:cubicBezTo>
                  <a:cubicBezTo>
                    <a:pt x="25" y="159"/>
                    <a:pt x="25" y="160"/>
                    <a:pt x="25" y="160"/>
                  </a:cubicBezTo>
                  <a:cubicBezTo>
                    <a:pt x="25" y="160"/>
                    <a:pt x="25" y="160"/>
                    <a:pt x="25" y="160"/>
                  </a:cubicBezTo>
                  <a:cubicBezTo>
                    <a:pt x="26" y="160"/>
                    <a:pt x="26" y="160"/>
                    <a:pt x="27" y="160"/>
                  </a:cubicBezTo>
                  <a:cubicBezTo>
                    <a:pt x="27" y="160"/>
                    <a:pt x="27" y="160"/>
                    <a:pt x="28" y="160"/>
                  </a:cubicBezTo>
                  <a:cubicBezTo>
                    <a:pt x="29" y="159"/>
                    <a:pt x="30" y="158"/>
                    <a:pt x="31" y="158"/>
                  </a:cubicBezTo>
                  <a:cubicBezTo>
                    <a:pt x="31" y="158"/>
                    <a:pt x="32" y="158"/>
                    <a:pt x="32" y="157"/>
                  </a:cubicBezTo>
                  <a:cubicBezTo>
                    <a:pt x="33" y="157"/>
                    <a:pt x="34" y="157"/>
                    <a:pt x="35" y="156"/>
                  </a:cubicBezTo>
                  <a:cubicBezTo>
                    <a:pt x="35" y="156"/>
                    <a:pt x="36" y="156"/>
                    <a:pt x="36" y="155"/>
                  </a:cubicBezTo>
                  <a:cubicBezTo>
                    <a:pt x="37" y="154"/>
                    <a:pt x="36" y="153"/>
                    <a:pt x="36" y="153"/>
                  </a:cubicBezTo>
                  <a:cubicBezTo>
                    <a:pt x="35" y="152"/>
                    <a:pt x="35" y="151"/>
                    <a:pt x="34" y="151"/>
                  </a:cubicBezTo>
                  <a:cubicBezTo>
                    <a:pt x="33" y="151"/>
                    <a:pt x="33" y="152"/>
                    <a:pt x="32" y="152"/>
                  </a:cubicBezTo>
                  <a:cubicBezTo>
                    <a:pt x="31" y="153"/>
                    <a:pt x="31" y="153"/>
                    <a:pt x="30" y="153"/>
                  </a:cubicBezTo>
                  <a:cubicBezTo>
                    <a:pt x="30" y="152"/>
                    <a:pt x="30" y="151"/>
                    <a:pt x="31" y="151"/>
                  </a:cubicBezTo>
                  <a:cubicBezTo>
                    <a:pt x="31" y="151"/>
                    <a:pt x="32" y="150"/>
                    <a:pt x="33" y="150"/>
                  </a:cubicBezTo>
                  <a:cubicBezTo>
                    <a:pt x="33" y="149"/>
                    <a:pt x="33" y="147"/>
                    <a:pt x="32" y="146"/>
                  </a:cubicBezTo>
                  <a:cubicBezTo>
                    <a:pt x="32" y="146"/>
                    <a:pt x="31" y="146"/>
                    <a:pt x="31" y="145"/>
                  </a:cubicBezTo>
                  <a:cubicBezTo>
                    <a:pt x="31" y="145"/>
                    <a:pt x="31" y="145"/>
                    <a:pt x="31" y="144"/>
                  </a:cubicBezTo>
                  <a:cubicBezTo>
                    <a:pt x="31" y="144"/>
                    <a:pt x="30" y="143"/>
                    <a:pt x="30" y="143"/>
                  </a:cubicBezTo>
                  <a:cubicBezTo>
                    <a:pt x="30" y="143"/>
                    <a:pt x="31" y="143"/>
                    <a:pt x="31" y="142"/>
                  </a:cubicBezTo>
                  <a:cubicBezTo>
                    <a:pt x="31" y="142"/>
                    <a:pt x="31" y="142"/>
                    <a:pt x="31" y="142"/>
                  </a:cubicBezTo>
                  <a:cubicBezTo>
                    <a:pt x="31" y="142"/>
                    <a:pt x="30" y="141"/>
                    <a:pt x="30" y="141"/>
                  </a:cubicBezTo>
                  <a:cubicBezTo>
                    <a:pt x="30" y="141"/>
                    <a:pt x="30" y="140"/>
                    <a:pt x="29" y="140"/>
                  </a:cubicBezTo>
                  <a:cubicBezTo>
                    <a:pt x="29" y="140"/>
                    <a:pt x="29" y="140"/>
                    <a:pt x="28" y="141"/>
                  </a:cubicBezTo>
                  <a:cubicBezTo>
                    <a:pt x="28" y="141"/>
                    <a:pt x="28" y="142"/>
                    <a:pt x="28" y="142"/>
                  </a:cubicBezTo>
                  <a:cubicBezTo>
                    <a:pt x="28" y="143"/>
                    <a:pt x="28" y="145"/>
                    <a:pt x="28" y="146"/>
                  </a:cubicBezTo>
                  <a:cubicBezTo>
                    <a:pt x="28" y="146"/>
                    <a:pt x="28" y="147"/>
                    <a:pt x="27" y="147"/>
                  </a:cubicBezTo>
                  <a:cubicBezTo>
                    <a:pt x="27" y="144"/>
                    <a:pt x="27" y="142"/>
                    <a:pt x="27" y="140"/>
                  </a:cubicBezTo>
                  <a:cubicBezTo>
                    <a:pt x="27" y="140"/>
                    <a:pt x="27" y="139"/>
                    <a:pt x="26" y="139"/>
                  </a:cubicBezTo>
                  <a:cubicBezTo>
                    <a:pt x="26" y="139"/>
                    <a:pt x="26" y="139"/>
                    <a:pt x="26" y="139"/>
                  </a:cubicBezTo>
                  <a:cubicBezTo>
                    <a:pt x="26" y="139"/>
                    <a:pt x="26" y="139"/>
                    <a:pt x="26" y="139"/>
                  </a:cubicBezTo>
                  <a:cubicBezTo>
                    <a:pt x="26" y="138"/>
                    <a:pt x="25" y="138"/>
                    <a:pt x="24" y="138"/>
                  </a:cubicBezTo>
                  <a:cubicBezTo>
                    <a:pt x="24" y="138"/>
                    <a:pt x="24" y="138"/>
                    <a:pt x="24" y="138"/>
                  </a:cubicBezTo>
                  <a:cubicBezTo>
                    <a:pt x="24" y="138"/>
                    <a:pt x="24" y="138"/>
                    <a:pt x="24" y="139"/>
                  </a:cubicBezTo>
                  <a:cubicBezTo>
                    <a:pt x="24" y="139"/>
                    <a:pt x="23" y="139"/>
                    <a:pt x="23" y="140"/>
                  </a:cubicBezTo>
                  <a:cubicBezTo>
                    <a:pt x="22" y="140"/>
                    <a:pt x="23" y="140"/>
                    <a:pt x="23" y="141"/>
                  </a:cubicBezTo>
                  <a:cubicBezTo>
                    <a:pt x="23" y="141"/>
                    <a:pt x="24" y="141"/>
                    <a:pt x="24" y="141"/>
                  </a:cubicBezTo>
                  <a:cubicBezTo>
                    <a:pt x="25" y="141"/>
                    <a:pt x="25" y="141"/>
                    <a:pt x="25" y="141"/>
                  </a:cubicBezTo>
                  <a:cubicBezTo>
                    <a:pt x="26" y="141"/>
                    <a:pt x="26" y="141"/>
                    <a:pt x="26" y="142"/>
                  </a:cubicBezTo>
                  <a:cubicBezTo>
                    <a:pt x="26" y="142"/>
                    <a:pt x="26" y="142"/>
                    <a:pt x="26" y="142"/>
                  </a:cubicBezTo>
                  <a:cubicBezTo>
                    <a:pt x="26" y="142"/>
                    <a:pt x="25" y="142"/>
                    <a:pt x="25" y="142"/>
                  </a:cubicBezTo>
                  <a:cubicBezTo>
                    <a:pt x="24" y="143"/>
                    <a:pt x="24" y="143"/>
                    <a:pt x="24" y="144"/>
                  </a:cubicBezTo>
                  <a:cubicBezTo>
                    <a:pt x="24" y="145"/>
                    <a:pt x="25" y="145"/>
                    <a:pt x="25" y="146"/>
                  </a:cubicBezTo>
                  <a:cubicBezTo>
                    <a:pt x="25" y="146"/>
                    <a:pt x="26" y="146"/>
                    <a:pt x="26" y="147"/>
                  </a:cubicBezTo>
                  <a:cubicBezTo>
                    <a:pt x="26" y="147"/>
                    <a:pt x="26" y="148"/>
                    <a:pt x="26" y="148"/>
                  </a:cubicBezTo>
                  <a:cubicBezTo>
                    <a:pt x="25" y="148"/>
                    <a:pt x="25" y="148"/>
                    <a:pt x="24" y="148"/>
                  </a:cubicBezTo>
                  <a:cubicBezTo>
                    <a:pt x="24" y="147"/>
                    <a:pt x="23" y="147"/>
                    <a:pt x="23" y="146"/>
                  </a:cubicBezTo>
                  <a:cubicBezTo>
                    <a:pt x="23" y="146"/>
                    <a:pt x="22" y="146"/>
                    <a:pt x="22" y="146"/>
                  </a:cubicBezTo>
                  <a:cubicBezTo>
                    <a:pt x="21" y="145"/>
                    <a:pt x="21" y="144"/>
                    <a:pt x="22" y="144"/>
                  </a:cubicBezTo>
                  <a:cubicBezTo>
                    <a:pt x="22" y="143"/>
                    <a:pt x="22" y="143"/>
                    <a:pt x="22" y="143"/>
                  </a:cubicBezTo>
                  <a:cubicBezTo>
                    <a:pt x="22" y="143"/>
                    <a:pt x="21" y="143"/>
                    <a:pt x="21" y="142"/>
                  </a:cubicBezTo>
                  <a:cubicBezTo>
                    <a:pt x="21" y="142"/>
                    <a:pt x="20" y="142"/>
                    <a:pt x="20" y="142"/>
                  </a:cubicBezTo>
                  <a:cubicBezTo>
                    <a:pt x="19" y="142"/>
                    <a:pt x="18" y="143"/>
                    <a:pt x="18" y="143"/>
                  </a:cubicBezTo>
                  <a:cubicBezTo>
                    <a:pt x="18" y="143"/>
                    <a:pt x="18" y="144"/>
                    <a:pt x="18" y="144"/>
                  </a:cubicBezTo>
                  <a:cubicBezTo>
                    <a:pt x="18" y="145"/>
                    <a:pt x="18" y="146"/>
                    <a:pt x="18" y="147"/>
                  </a:cubicBezTo>
                  <a:cubicBezTo>
                    <a:pt x="18" y="148"/>
                    <a:pt x="18" y="148"/>
                    <a:pt x="18" y="149"/>
                  </a:cubicBezTo>
                  <a:cubicBezTo>
                    <a:pt x="19" y="150"/>
                    <a:pt x="20" y="150"/>
                    <a:pt x="20" y="149"/>
                  </a:cubicBezTo>
                  <a:cubicBezTo>
                    <a:pt x="20" y="149"/>
                    <a:pt x="20" y="148"/>
                    <a:pt x="21" y="148"/>
                  </a:cubicBezTo>
                  <a:cubicBezTo>
                    <a:pt x="21" y="148"/>
                    <a:pt x="21" y="148"/>
                    <a:pt x="21" y="148"/>
                  </a:cubicBezTo>
                  <a:cubicBezTo>
                    <a:pt x="21" y="148"/>
                    <a:pt x="21" y="148"/>
                    <a:pt x="21" y="149"/>
                  </a:cubicBezTo>
                  <a:cubicBezTo>
                    <a:pt x="21" y="149"/>
                    <a:pt x="21" y="150"/>
                    <a:pt x="20" y="151"/>
                  </a:cubicBezTo>
                  <a:cubicBezTo>
                    <a:pt x="20" y="151"/>
                    <a:pt x="20" y="151"/>
                    <a:pt x="20" y="151"/>
                  </a:cubicBezTo>
                  <a:cubicBezTo>
                    <a:pt x="19" y="151"/>
                    <a:pt x="19" y="152"/>
                    <a:pt x="19" y="152"/>
                  </a:cubicBezTo>
                  <a:cubicBezTo>
                    <a:pt x="20" y="153"/>
                    <a:pt x="20" y="155"/>
                    <a:pt x="20" y="156"/>
                  </a:cubicBezTo>
                  <a:cubicBezTo>
                    <a:pt x="20" y="156"/>
                    <a:pt x="20" y="157"/>
                    <a:pt x="20" y="157"/>
                  </a:cubicBezTo>
                  <a:cubicBezTo>
                    <a:pt x="20" y="157"/>
                    <a:pt x="20" y="158"/>
                    <a:pt x="20" y="158"/>
                  </a:cubicBezTo>
                  <a:cubicBezTo>
                    <a:pt x="20" y="158"/>
                    <a:pt x="20" y="158"/>
                    <a:pt x="20" y="159"/>
                  </a:cubicBezTo>
                  <a:cubicBezTo>
                    <a:pt x="21" y="159"/>
                    <a:pt x="21" y="159"/>
                    <a:pt x="21" y="159"/>
                  </a:cubicBezTo>
                  <a:cubicBezTo>
                    <a:pt x="21" y="159"/>
                    <a:pt x="21" y="159"/>
                    <a:pt x="21" y="159"/>
                  </a:cubicBezTo>
                  <a:cubicBezTo>
                    <a:pt x="22" y="160"/>
                    <a:pt x="23" y="160"/>
                    <a:pt x="23" y="159"/>
                  </a:cubicBezTo>
                  <a:cubicBezTo>
                    <a:pt x="23" y="159"/>
                    <a:pt x="23" y="159"/>
                    <a:pt x="23" y="158"/>
                  </a:cubicBezTo>
                  <a:cubicBezTo>
                    <a:pt x="23" y="158"/>
                    <a:pt x="24" y="158"/>
                    <a:pt x="24" y="158"/>
                  </a:cubicBezTo>
                  <a:close/>
                  <a:moveTo>
                    <a:pt x="32" y="168"/>
                  </a:moveTo>
                  <a:cubicBezTo>
                    <a:pt x="32" y="168"/>
                    <a:pt x="32" y="168"/>
                    <a:pt x="33" y="168"/>
                  </a:cubicBezTo>
                  <a:cubicBezTo>
                    <a:pt x="33" y="168"/>
                    <a:pt x="33" y="168"/>
                    <a:pt x="33" y="168"/>
                  </a:cubicBezTo>
                  <a:cubicBezTo>
                    <a:pt x="33" y="166"/>
                    <a:pt x="33" y="165"/>
                    <a:pt x="32" y="164"/>
                  </a:cubicBezTo>
                  <a:cubicBezTo>
                    <a:pt x="32" y="164"/>
                    <a:pt x="32" y="164"/>
                    <a:pt x="31" y="164"/>
                  </a:cubicBezTo>
                  <a:cubicBezTo>
                    <a:pt x="31" y="164"/>
                    <a:pt x="31" y="163"/>
                    <a:pt x="32" y="163"/>
                  </a:cubicBezTo>
                  <a:cubicBezTo>
                    <a:pt x="32" y="161"/>
                    <a:pt x="33" y="160"/>
                    <a:pt x="33" y="159"/>
                  </a:cubicBezTo>
                  <a:cubicBezTo>
                    <a:pt x="32" y="159"/>
                    <a:pt x="31" y="159"/>
                    <a:pt x="31" y="160"/>
                  </a:cubicBezTo>
                  <a:cubicBezTo>
                    <a:pt x="30" y="160"/>
                    <a:pt x="30" y="161"/>
                    <a:pt x="29" y="161"/>
                  </a:cubicBezTo>
                  <a:cubicBezTo>
                    <a:pt x="29" y="161"/>
                    <a:pt x="28" y="161"/>
                    <a:pt x="28" y="162"/>
                  </a:cubicBezTo>
                  <a:cubicBezTo>
                    <a:pt x="27" y="162"/>
                    <a:pt x="27" y="164"/>
                    <a:pt x="27" y="164"/>
                  </a:cubicBezTo>
                  <a:cubicBezTo>
                    <a:pt x="26" y="164"/>
                    <a:pt x="25" y="163"/>
                    <a:pt x="24" y="164"/>
                  </a:cubicBezTo>
                  <a:cubicBezTo>
                    <a:pt x="23" y="164"/>
                    <a:pt x="23" y="164"/>
                    <a:pt x="23" y="165"/>
                  </a:cubicBezTo>
                  <a:cubicBezTo>
                    <a:pt x="23" y="165"/>
                    <a:pt x="23" y="166"/>
                    <a:pt x="23" y="167"/>
                  </a:cubicBezTo>
                  <a:cubicBezTo>
                    <a:pt x="24" y="167"/>
                    <a:pt x="24" y="167"/>
                    <a:pt x="25" y="167"/>
                  </a:cubicBezTo>
                  <a:cubicBezTo>
                    <a:pt x="26" y="167"/>
                    <a:pt x="27" y="167"/>
                    <a:pt x="27" y="168"/>
                  </a:cubicBezTo>
                  <a:cubicBezTo>
                    <a:pt x="27" y="168"/>
                    <a:pt x="27" y="168"/>
                    <a:pt x="27" y="169"/>
                  </a:cubicBezTo>
                  <a:cubicBezTo>
                    <a:pt x="27" y="169"/>
                    <a:pt x="28" y="170"/>
                    <a:pt x="29" y="170"/>
                  </a:cubicBezTo>
                  <a:cubicBezTo>
                    <a:pt x="30" y="170"/>
                    <a:pt x="31" y="170"/>
                    <a:pt x="32" y="169"/>
                  </a:cubicBezTo>
                  <a:cubicBezTo>
                    <a:pt x="32" y="169"/>
                    <a:pt x="32" y="168"/>
                    <a:pt x="32" y="168"/>
                  </a:cubicBezTo>
                  <a:close/>
                  <a:moveTo>
                    <a:pt x="50" y="121"/>
                  </a:moveTo>
                  <a:cubicBezTo>
                    <a:pt x="50" y="121"/>
                    <a:pt x="50" y="121"/>
                    <a:pt x="50" y="121"/>
                  </a:cubicBezTo>
                  <a:cubicBezTo>
                    <a:pt x="50" y="121"/>
                    <a:pt x="50" y="120"/>
                    <a:pt x="50" y="120"/>
                  </a:cubicBezTo>
                  <a:cubicBezTo>
                    <a:pt x="50" y="120"/>
                    <a:pt x="49" y="120"/>
                    <a:pt x="49" y="120"/>
                  </a:cubicBezTo>
                  <a:cubicBezTo>
                    <a:pt x="48" y="119"/>
                    <a:pt x="47" y="120"/>
                    <a:pt x="47" y="120"/>
                  </a:cubicBezTo>
                  <a:cubicBezTo>
                    <a:pt x="47" y="121"/>
                    <a:pt x="47" y="121"/>
                    <a:pt x="46" y="121"/>
                  </a:cubicBezTo>
                  <a:cubicBezTo>
                    <a:pt x="46" y="121"/>
                    <a:pt x="46" y="121"/>
                    <a:pt x="46" y="121"/>
                  </a:cubicBezTo>
                  <a:cubicBezTo>
                    <a:pt x="46" y="122"/>
                    <a:pt x="46" y="122"/>
                    <a:pt x="45" y="122"/>
                  </a:cubicBezTo>
                  <a:cubicBezTo>
                    <a:pt x="45" y="122"/>
                    <a:pt x="45" y="122"/>
                    <a:pt x="44" y="122"/>
                  </a:cubicBezTo>
                  <a:cubicBezTo>
                    <a:pt x="43" y="122"/>
                    <a:pt x="43" y="122"/>
                    <a:pt x="42" y="122"/>
                  </a:cubicBezTo>
                  <a:cubicBezTo>
                    <a:pt x="42" y="123"/>
                    <a:pt x="42" y="123"/>
                    <a:pt x="42" y="123"/>
                  </a:cubicBezTo>
                  <a:cubicBezTo>
                    <a:pt x="41" y="123"/>
                    <a:pt x="41" y="123"/>
                    <a:pt x="41" y="124"/>
                  </a:cubicBezTo>
                  <a:cubicBezTo>
                    <a:pt x="41" y="124"/>
                    <a:pt x="41" y="125"/>
                    <a:pt x="42" y="126"/>
                  </a:cubicBezTo>
                  <a:cubicBezTo>
                    <a:pt x="42" y="126"/>
                    <a:pt x="43" y="126"/>
                    <a:pt x="43" y="127"/>
                  </a:cubicBezTo>
                  <a:cubicBezTo>
                    <a:pt x="43" y="127"/>
                    <a:pt x="43" y="127"/>
                    <a:pt x="43" y="128"/>
                  </a:cubicBezTo>
                  <a:cubicBezTo>
                    <a:pt x="43" y="128"/>
                    <a:pt x="43" y="128"/>
                    <a:pt x="43" y="128"/>
                  </a:cubicBezTo>
                  <a:cubicBezTo>
                    <a:pt x="43" y="129"/>
                    <a:pt x="43" y="129"/>
                    <a:pt x="44" y="129"/>
                  </a:cubicBezTo>
                  <a:cubicBezTo>
                    <a:pt x="44" y="128"/>
                    <a:pt x="45" y="128"/>
                    <a:pt x="45" y="128"/>
                  </a:cubicBezTo>
                  <a:cubicBezTo>
                    <a:pt x="46" y="128"/>
                    <a:pt x="46" y="128"/>
                    <a:pt x="47" y="128"/>
                  </a:cubicBezTo>
                  <a:cubicBezTo>
                    <a:pt x="47" y="128"/>
                    <a:pt x="47" y="127"/>
                    <a:pt x="47" y="126"/>
                  </a:cubicBezTo>
                  <a:cubicBezTo>
                    <a:pt x="47" y="126"/>
                    <a:pt x="46" y="126"/>
                    <a:pt x="46" y="126"/>
                  </a:cubicBezTo>
                  <a:cubicBezTo>
                    <a:pt x="46" y="126"/>
                    <a:pt x="46" y="125"/>
                    <a:pt x="46" y="125"/>
                  </a:cubicBezTo>
                  <a:cubicBezTo>
                    <a:pt x="47" y="124"/>
                    <a:pt x="47" y="124"/>
                    <a:pt x="48" y="124"/>
                  </a:cubicBezTo>
                  <a:cubicBezTo>
                    <a:pt x="49" y="124"/>
                    <a:pt x="50" y="124"/>
                    <a:pt x="50" y="124"/>
                  </a:cubicBezTo>
                  <a:cubicBezTo>
                    <a:pt x="51" y="123"/>
                    <a:pt x="51" y="123"/>
                    <a:pt x="51" y="123"/>
                  </a:cubicBezTo>
                  <a:cubicBezTo>
                    <a:pt x="52" y="122"/>
                    <a:pt x="51" y="121"/>
                    <a:pt x="50" y="121"/>
                  </a:cubicBezTo>
                  <a:close/>
                  <a:moveTo>
                    <a:pt x="20" y="127"/>
                  </a:moveTo>
                  <a:cubicBezTo>
                    <a:pt x="20" y="126"/>
                    <a:pt x="20" y="125"/>
                    <a:pt x="20" y="124"/>
                  </a:cubicBezTo>
                  <a:cubicBezTo>
                    <a:pt x="21" y="123"/>
                    <a:pt x="21" y="123"/>
                    <a:pt x="22" y="122"/>
                  </a:cubicBezTo>
                  <a:cubicBezTo>
                    <a:pt x="23" y="122"/>
                    <a:pt x="23" y="121"/>
                    <a:pt x="23" y="120"/>
                  </a:cubicBezTo>
                  <a:cubicBezTo>
                    <a:pt x="22" y="121"/>
                    <a:pt x="22" y="121"/>
                    <a:pt x="21" y="121"/>
                  </a:cubicBezTo>
                  <a:cubicBezTo>
                    <a:pt x="21" y="121"/>
                    <a:pt x="21" y="121"/>
                    <a:pt x="21" y="121"/>
                  </a:cubicBezTo>
                  <a:cubicBezTo>
                    <a:pt x="20" y="121"/>
                    <a:pt x="20" y="121"/>
                    <a:pt x="20" y="122"/>
                  </a:cubicBezTo>
                  <a:cubicBezTo>
                    <a:pt x="20" y="122"/>
                    <a:pt x="19" y="122"/>
                    <a:pt x="19" y="123"/>
                  </a:cubicBezTo>
                  <a:cubicBezTo>
                    <a:pt x="19" y="123"/>
                    <a:pt x="19" y="123"/>
                    <a:pt x="19" y="123"/>
                  </a:cubicBezTo>
                  <a:cubicBezTo>
                    <a:pt x="18" y="123"/>
                    <a:pt x="18" y="123"/>
                    <a:pt x="17" y="123"/>
                  </a:cubicBezTo>
                  <a:cubicBezTo>
                    <a:pt x="17" y="123"/>
                    <a:pt x="18" y="122"/>
                    <a:pt x="18" y="122"/>
                  </a:cubicBezTo>
                  <a:cubicBezTo>
                    <a:pt x="17" y="121"/>
                    <a:pt x="17" y="121"/>
                    <a:pt x="17" y="121"/>
                  </a:cubicBezTo>
                  <a:cubicBezTo>
                    <a:pt x="16" y="121"/>
                    <a:pt x="16" y="122"/>
                    <a:pt x="16" y="122"/>
                  </a:cubicBezTo>
                  <a:cubicBezTo>
                    <a:pt x="15" y="123"/>
                    <a:pt x="15" y="125"/>
                    <a:pt x="15" y="126"/>
                  </a:cubicBezTo>
                  <a:cubicBezTo>
                    <a:pt x="15" y="127"/>
                    <a:pt x="15" y="128"/>
                    <a:pt x="15" y="129"/>
                  </a:cubicBezTo>
                  <a:cubicBezTo>
                    <a:pt x="15" y="129"/>
                    <a:pt x="15" y="130"/>
                    <a:pt x="14" y="130"/>
                  </a:cubicBezTo>
                  <a:cubicBezTo>
                    <a:pt x="14" y="131"/>
                    <a:pt x="14" y="131"/>
                    <a:pt x="14" y="131"/>
                  </a:cubicBezTo>
                  <a:cubicBezTo>
                    <a:pt x="12" y="133"/>
                    <a:pt x="12" y="135"/>
                    <a:pt x="13" y="137"/>
                  </a:cubicBezTo>
                  <a:cubicBezTo>
                    <a:pt x="14" y="137"/>
                    <a:pt x="16" y="136"/>
                    <a:pt x="16" y="134"/>
                  </a:cubicBezTo>
                  <a:cubicBezTo>
                    <a:pt x="17" y="133"/>
                    <a:pt x="17" y="131"/>
                    <a:pt x="17" y="130"/>
                  </a:cubicBezTo>
                  <a:cubicBezTo>
                    <a:pt x="17" y="129"/>
                    <a:pt x="18" y="128"/>
                    <a:pt x="19" y="128"/>
                  </a:cubicBezTo>
                  <a:cubicBezTo>
                    <a:pt x="19" y="128"/>
                    <a:pt x="20" y="127"/>
                    <a:pt x="20" y="127"/>
                  </a:cubicBezTo>
                  <a:close/>
                  <a:moveTo>
                    <a:pt x="33" y="123"/>
                  </a:moveTo>
                  <a:cubicBezTo>
                    <a:pt x="34" y="122"/>
                    <a:pt x="34" y="123"/>
                    <a:pt x="35" y="123"/>
                  </a:cubicBezTo>
                  <a:cubicBezTo>
                    <a:pt x="35" y="123"/>
                    <a:pt x="35" y="122"/>
                    <a:pt x="35" y="122"/>
                  </a:cubicBezTo>
                  <a:cubicBezTo>
                    <a:pt x="35" y="121"/>
                    <a:pt x="35" y="121"/>
                    <a:pt x="34" y="121"/>
                  </a:cubicBezTo>
                  <a:cubicBezTo>
                    <a:pt x="34" y="120"/>
                    <a:pt x="33" y="120"/>
                    <a:pt x="32" y="119"/>
                  </a:cubicBezTo>
                  <a:cubicBezTo>
                    <a:pt x="32" y="119"/>
                    <a:pt x="32" y="118"/>
                    <a:pt x="32" y="118"/>
                  </a:cubicBezTo>
                  <a:cubicBezTo>
                    <a:pt x="32" y="117"/>
                    <a:pt x="33" y="117"/>
                    <a:pt x="34" y="117"/>
                  </a:cubicBezTo>
                  <a:cubicBezTo>
                    <a:pt x="34" y="117"/>
                    <a:pt x="35" y="118"/>
                    <a:pt x="35" y="119"/>
                  </a:cubicBezTo>
                  <a:cubicBezTo>
                    <a:pt x="35" y="119"/>
                    <a:pt x="35" y="119"/>
                    <a:pt x="35" y="119"/>
                  </a:cubicBezTo>
                  <a:cubicBezTo>
                    <a:pt x="36" y="119"/>
                    <a:pt x="36" y="119"/>
                    <a:pt x="37" y="119"/>
                  </a:cubicBezTo>
                  <a:cubicBezTo>
                    <a:pt x="37" y="118"/>
                    <a:pt x="38" y="117"/>
                    <a:pt x="38" y="117"/>
                  </a:cubicBezTo>
                  <a:cubicBezTo>
                    <a:pt x="38" y="116"/>
                    <a:pt x="39" y="116"/>
                    <a:pt x="39" y="116"/>
                  </a:cubicBezTo>
                  <a:cubicBezTo>
                    <a:pt x="39" y="115"/>
                    <a:pt x="37" y="114"/>
                    <a:pt x="37" y="113"/>
                  </a:cubicBezTo>
                  <a:cubicBezTo>
                    <a:pt x="36" y="113"/>
                    <a:pt x="35" y="113"/>
                    <a:pt x="34" y="112"/>
                  </a:cubicBezTo>
                  <a:cubicBezTo>
                    <a:pt x="35" y="112"/>
                    <a:pt x="35" y="111"/>
                    <a:pt x="36" y="111"/>
                  </a:cubicBezTo>
                  <a:cubicBezTo>
                    <a:pt x="37" y="111"/>
                    <a:pt x="38" y="111"/>
                    <a:pt x="39" y="111"/>
                  </a:cubicBezTo>
                  <a:cubicBezTo>
                    <a:pt x="38" y="110"/>
                    <a:pt x="37" y="109"/>
                    <a:pt x="37" y="107"/>
                  </a:cubicBezTo>
                  <a:cubicBezTo>
                    <a:pt x="37" y="105"/>
                    <a:pt x="38" y="103"/>
                    <a:pt x="38" y="102"/>
                  </a:cubicBezTo>
                  <a:cubicBezTo>
                    <a:pt x="38" y="101"/>
                    <a:pt x="38" y="101"/>
                    <a:pt x="38" y="101"/>
                  </a:cubicBezTo>
                  <a:cubicBezTo>
                    <a:pt x="38" y="101"/>
                    <a:pt x="37" y="101"/>
                    <a:pt x="37" y="101"/>
                  </a:cubicBezTo>
                  <a:cubicBezTo>
                    <a:pt x="36" y="101"/>
                    <a:pt x="36" y="100"/>
                    <a:pt x="35" y="100"/>
                  </a:cubicBezTo>
                  <a:cubicBezTo>
                    <a:pt x="35" y="100"/>
                    <a:pt x="35" y="99"/>
                    <a:pt x="35" y="99"/>
                  </a:cubicBezTo>
                  <a:cubicBezTo>
                    <a:pt x="34" y="99"/>
                    <a:pt x="34" y="98"/>
                    <a:pt x="34" y="97"/>
                  </a:cubicBezTo>
                  <a:cubicBezTo>
                    <a:pt x="34" y="97"/>
                    <a:pt x="34" y="97"/>
                    <a:pt x="34" y="97"/>
                  </a:cubicBezTo>
                  <a:cubicBezTo>
                    <a:pt x="33" y="97"/>
                    <a:pt x="33" y="97"/>
                    <a:pt x="33" y="98"/>
                  </a:cubicBezTo>
                  <a:cubicBezTo>
                    <a:pt x="33" y="98"/>
                    <a:pt x="32" y="98"/>
                    <a:pt x="32" y="98"/>
                  </a:cubicBezTo>
                  <a:cubicBezTo>
                    <a:pt x="31" y="98"/>
                    <a:pt x="31" y="98"/>
                    <a:pt x="31" y="98"/>
                  </a:cubicBezTo>
                  <a:cubicBezTo>
                    <a:pt x="31" y="98"/>
                    <a:pt x="32" y="99"/>
                    <a:pt x="32" y="100"/>
                  </a:cubicBezTo>
                  <a:cubicBezTo>
                    <a:pt x="32" y="101"/>
                    <a:pt x="31" y="101"/>
                    <a:pt x="30" y="101"/>
                  </a:cubicBezTo>
                  <a:cubicBezTo>
                    <a:pt x="30" y="100"/>
                    <a:pt x="30" y="99"/>
                    <a:pt x="29" y="98"/>
                  </a:cubicBezTo>
                  <a:cubicBezTo>
                    <a:pt x="29" y="98"/>
                    <a:pt x="29" y="98"/>
                    <a:pt x="28" y="98"/>
                  </a:cubicBezTo>
                  <a:cubicBezTo>
                    <a:pt x="28" y="97"/>
                    <a:pt x="29" y="96"/>
                    <a:pt x="28" y="95"/>
                  </a:cubicBezTo>
                  <a:cubicBezTo>
                    <a:pt x="28" y="95"/>
                    <a:pt x="27" y="95"/>
                    <a:pt x="27" y="94"/>
                  </a:cubicBezTo>
                  <a:cubicBezTo>
                    <a:pt x="27" y="94"/>
                    <a:pt x="26" y="94"/>
                    <a:pt x="25" y="95"/>
                  </a:cubicBezTo>
                  <a:cubicBezTo>
                    <a:pt x="25" y="95"/>
                    <a:pt x="25" y="95"/>
                    <a:pt x="24" y="96"/>
                  </a:cubicBezTo>
                  <a:cubicBezTo>
                    <a:pt x="23" y="96"/>
                    <a:pt x="22" y="96"/>
                    <a:pt x="22" y="97"/>
                  </a:cubicBezTo>
                  <a:cubicBezTo>
                    <a:pt x="21" y="97"/>
                    <a:pt x="22" y="98"/>
                    <a:pt x="22" y="98"/>
                  </a:cubicBezTo>
                  <a:cubicBezTo>
                    <a:pt x="23" y="99"/>
                    <a:pt x="23" y="100"/>
                    <a:pt x="22" y="100"/>
                  </a:cubicBezTo>
                  <a:cubicBezTo>
                    <a:pt x="22" y="100"/>
                    <a:pt x="22" y="100"/>
                    <a:pt x="22" y="101"/>
                  </a:cubicBezTo>
                  <a:cubicBezTo>
                    <a:pt x="22" y="101"/>
                    <a:pt x="22" y="101"/>
                    <a:pt x="22" y="101"/>
                  </a:cubicBezTo>
                  <a:cubicBezTo>
                    <a:pt x="22" y="101"/>
                    <a:pt x="23" y="102"/>
                    <a:pt x="23" y="102"/>
                  </a:cubicBezTo>
                  <a:cubicBezTo>
                    <a:pt x="23" y="102"/>
                    <a:pt x="23" y="102"/>
                    <a:pt x="23" y="102"/>
                  </a:cubicBezTo>
                  <a:cubicBezTo>
                    <a:pt x="24" y="103"/>
                    <a:pt x="25" y="103"/>
                    <a:pt x="26" y="103"/>
                  </a:cubicBezTo>
                  <a:cubicBezTo>
                    <a:pt x="26" y="103"/>
                    <a:pt x="26" y="103"/>
                    <a:pt x="26" y="104"/>
                  </a:cubicBezTo>
                  <a:cubicBezTo>
                    <a:pt x="26" y="104"/>
                    <a:pt x="25" y="104"/>
                    <a:pt x="25" y="104"/>
                  </a:cubicBezTo>
                  <a:cubicBezTo>
                    <a:pt x="24" y="104"/>
                    <a:pt x="24" y="104"/>
                    <a:pt x="23" y="104"/>
                  </a:cubicBezTo>
                  <a:cubicBezTo>
                    <a:pt x="23" y="104"/>
                    <a:pt x="22" y="104"/>
                    <a:pt x="22" y="104"/>
                  </a:cubicBezTo>
                  <a:cubicBezTo>
                    <a:pt x="22" y="105"/>
                    <a:pt x="22" y="105"/>
                    <a:pt x="22" y="105"/>
                  </a:cubicBezTo>
                  <a:cubicBezTo>
                    <a:pt x="22" y="106"/>
                    <a:pt x="22" y="107"/>
                    <a:pt x="21" y="107"/>
                  </a:cubicBezTo>
                  <a:cubicBezTo>
                    <a:pt x="20" y="108"/>
                    <a:pt x="20" y="107"/>
                    <a:pt x="19" y="108"/>
                  </a:cubicBezTo>
                  <a:cubicBezTo>
                    <a:pt x="19" y="108"/>
                    <a:pt x="20" y="109"/>
                    <a:pt x="20" y="109"/>
                  </a:cubicBezTo>
                  <a:cubicBezTo>
                    <a:pt x="21" y="109"/>
                    <a:pt x="21" y="109"/>
                    <a:pt x="22" y="109"/>
                  </a:cubicBezTo>
                  <a:cubicBezTo>
                    <a:pt x="22" y="110"/>
                    <a:pt x="22" y="110"/>
                    <a:pt x="22" y="110"/>
                  </a:cubicBezTo>
                  <a:cubicBezTo>
                    <a:pt x="22" y="111"/>
                    <a:pt x="23" y="112"/>
                    <a:pt x="24" y="112"/>
                  </a:cubicBezTo>
                  <a:cubicBezTo>
                    <a:pt x="24" y="112"/>
                    <a:pt x="25" y="112"/>
                    <a:pt x="25" y="112"/>
                  </a:cubicBezTo>
                  <a:cubicBezTo>
                    <a:pt x="25" y="112"/>
                    <a:pt x="25" y="112"/>
                    <a:pt x="26" y="112"/>
                  </a:cubicBezTo>
                  <a:cubicBezTo>
                    <a:pt x="26" y="113"/>
                    <a:pt x="27" y="112"/>
                    <a:pt x="27" y="112"/>
                  </a:cubicBezTo>
                  <a:cubicBezTo>
                    <a:pt x="27" y="111"/>
                    <a:pt x="27" y="110"/>
                    <a:pt x="27" y="110"/>
                  </a:cubicBezTo>
                  <a:cubicBezTo>
                    <a:pt x="28" y="110"/>
                    <a:pt x="28" y="111"/>
                    <a:pt x="29" y="111"/>
                  </a:cubicBezTo>
                  <a:cubicBezTo>
                    <a:pt x="29" y="112"/>
                    <a:pt x="28" y="113"/>
                    <a:pt x="29" y="113"/>
                  </a:cubicBezTo>
                  <a:cubicBezTo>
                    <a:pt x="29" y="113"/>
                    <a:pt x="30" y="114"/>
                    <a:pt x="31" y="114"/>
                  </a:cubicBezTo>
                  <a:cubicBezTo>
                    <a:pt x="30" y="114"/>
                    <a:pt x="30" y="114"/>
                    <a:pt x="29" y="115"/>
                  </a:cubicBezTo>
                  <a:cubicBezTo>
                    <a:pt x="29" y="115"/>
                    <a:pt x="29" y="115"/>
                    <a:pt x="29" y="115"/>
                  </a:cubicBezTo>
                  <a:cubicBezTo>
                    <a:pt x="29" y="116"/>
                    <a:pt x="28" y="116"/>
                    <a:pt x="28" y="116"/>
                  </a:cubicBezTo>
                  <a:cubicBezTo>
                    <a:pt x="28" y="116"/>
                    <a:pt x="28" y="117"/>
                    <a:pt x="28" y="117"/>
                  </a:cubicBezTo>
                  <a:cubicBezTo>
                    <a:pt x="28" y="118"/>
                    <a:pt x="28" y="118"/>
                    <a:pt x="27" y="119"/>
                  </a:cubicBezTo>
                  <a:cubicBezTo>
                    <a:pt x="27" y="119"/>
                    <a:pt x="27" y="118"/>
                    <a:pt x="26" y="118"/>
                  </a:cubicBezTo>
                  <a:cubicBezTo>
                    <a:pt x="26" y="118"/>
                    <a:pt x="25" y="117"/>
                    <a:pt x="25" y="116"/>
                  </a:cubicBezTo>
                  <a:cubicBezTo>
                    <a:pt x="25" y="116"/>
                    <a:pt x="26" y="115"/>
                    <a:pt x="26" y="115"/>
                  </a:cubicBezTo>
                  <a:cubicBezTo>
                    <a:pt x="26" y="115"/>
                    <a:pt x="26" y="114"/>
                    <a:pt x="25" y="114"/>
                  </a:cubicBezTo>
                  <a:cubicBezTo>
                    <a:pt x="25" y="114"/>
                    <a:pt x="24" y="114"/>
                    <a:pt x="24" y="114"/>
                  </a:cubicBezTo>
                  <a:cubicBezTo>
                    <a:pt x="23" y="114"/>
                    <a:pt x="22" y="114"/>
                    <a:pt x="22" y="114"/>
                  </a:cubicBezTo>
                  <a:cubicBezTo>
                    <a:pt x="21" y="114"/>
                    <a:pt x="21" y="114"/>
                    <a:pt x="21" y="114"/>
                  </a:cubicBezTo>
                  <a:cubicBezTo>
                    <a:pt x="21" y="114"/>
                    <a:pt x="21" y="115"/>
                    <a:pt x="21" y="115"/>
                  </a:cubicBezTo>
                  <a:cubicBezTo>
                    <a:pt x="21" y="115"/>
                    <a:pt x="21" y="116"/>
                    <a:pt x="21" y="117"/>
                  </a:cubicBezTo>
                  <a:cubicBezTo>
                    <a:pt x="21" y="117"/>
                    <a:pt x="21" y="118"/>
                    <a:pt x="22" y="118"/>
                  </a:cubicBezTo>
                  <a:cubicBezTo>
                    <a:pt x="22" y="119"/>
                    <a:pt x="23" y="118"/>
                    <a:pt x="23" y="118"/>
                  </a:cubicBezTo>
                  <a:cubicBezTo>
                    <a:pt x="24" y="118"/>
                    <a:pt x="25" y="119"/>
                    <a:pt x="25" y="120"/>
                  </a:cubicBezTo>
                  <a:cubicBezTo>
                    <a:pt x="25" y="121"/>
                    <a:pt x="25" y="121"/>
                    <a:pt x="24" y="121"/>
                  </a:cubicBezTo>
                  <a:cubicBezTo>
                    <a:pt x="24" y="122"/>
                    <a:pt x="24" y="123"/>
                    <a:pt x="23" y="123"/>
                  </a:cubicBezTo>
                  <a:cubicBezTo>
                    <a:pt x="23" y="124"/>
                    <a:pt x="22" y="124"/>
                    <a:pt x="22" y="125"/>
                  </a:cubicBezTo>
                  <a:cubicBezTo>
                    <a:pt x="22" y="126"/>
                    <a:pt x="23" y="126"/>
                    <a:pt x="23" y="126"/>
                  </a:cubicBezTo>
                  <a:cubicBezTo>
                    <a:pt x="22" y="128"/>
                    <a:pt x="21" y="128"/>
                    <a:pt x="20" y="129"/>
                  </a:cubicBezTo>
                  <a:cubicBezTo>
                    <a:pt x="20" y="129"/>
                    <a:pt x="20" y="130"/>
                    <a:pt x="20" y="130"/>
                  </a:cubicBezTo>
                  <a:cubicBezTo>
                    <a:pt x="21" y="130"/>
                    <a:pt x="21" y="130"/>
                    <a:pt x="21" y="130"/>
                  </a:cubicBezTo>
                  <a:cubicBezTo>
                    <a:pt x="22" y="130"/>
                    <a:pt x="22" y="131"/>
                    <a:pt x="22" y="131"/>
                  </a:cubicBezTo>
                  <a:cubicBezTo>
                    <a:pt x="21" y="132"/>
                    <a:pt x="21" y="132"/>
                    <a:pt x="21" y="133"/>
                  </a:cubicBezTo>
                  <a:cubicBezTo>
                    <a:pt x="21" y="133"/>
                    <a:pt x="21" y="134"/>
                    <a:pt x="22" y="134"/>
                  </a:cubicBezTo>
                  <a:cubicBezTo>
                    <a:pt x="22" y="134"/>
                    <a:pt x="22" y="133"/>
                    <a:pt x="23" y="133"/>
                  </a:cubicBezTo>
                  <a:cubicBezTo>
                    <a:pt x="23" y="132"/>
                    <a:pt x="23" y="131"/>
                    <a:pt x="24" y="131"/>
                  </a:cubicBezTo>
                  <a:cubicBezTo>
                    <a:pt x="24" y="130"/>
                    <a:pt x="24" y="129"/>
                    <a:pt x="25" y="129"/>
                  </a:cubicBezTo>
                  <a:cubicBezTo>
                    <a:pt x="25" y="128"/>
                    <a:pt x="26" y="128"/>
                    <a:pt x="26" y="128"/>
                  </a:cubicBezTo>
                  <a:cubicBezTo>
                    <a:pt x="27" y="128"/>
                    <a:pt x="27" y="128"/>
                    <a:pt x="27" y="127"/>
                  </a:cubicBezTo>
                  <a:cubicBezTo>
                    <a:pt x="27" y="127"/>
                    <a:pt x="29" y="128"/>
                    <a:pt x="29" y="127"/>
                  </a:cubicBezTo>
                  <a:cubicBezTo>
                    <a:pt x="29" y="127"/>
                    <a:pt x="29" y="126"/>
                    <a:pt x="29" y="126"/>
                  </a:cubicBezTo>
                  <a:cubicBezTo>
                    <a:pt x="28" y="126"/>
                    <a:pt x="28" y="125"/>
                    <a:pt x="28" y="125"/>
                  </a:cubicBezTo>
                  <a:cubicBezTo>
                    <a:pt x="30" y="124"/>
                    <a:pt x="32" y="126"/>
                    <a:pt x="33" y="126"/>
                  </a:cubicBezTo>
                  <a:cubicBezTo>
                    <a:pt x="33" y="126"/>
                    <a:pt x="33" y="125"/>
                    <a:pt x="33" y="125"/>
                  </a:cubicBezTo>
                  <a:cubicBezTo>
                    <a:pt x="33" y="124"/>
                    <a:pt x="32" y="124"/>
                    <a:pt x="32" y="124"/>
                  </a:cubicBezTo>
                  <a:cubicBezTo>
                    <a:pt x="32" y="124"/>
                    <a:pt x="32" y="123"/>
                    <a:pt x="33" y="123"/>
                  </a:cubicBezTo>
                  <a:close/>
                  <a:moveTo>
                    <a:pt x="35" y="89"/>
                  </a:moveTo>
                  <a:cubicBezTo>
                    <a:pt x="34" y="90"/>
                    <a:pt x="34" y="91"/>
                    <a:pt x="33" y="92"/>
                  </a:cubicBezTo>
                  <a:cubicBezTo>
                    <a:pt x="33" y="93"/>
                    <a:pt x="33" y="94"/>
                    <a:pt x="34" y="95"/>
                  </a:cubicBezTo>
                  <a:cubicBezTo>
                    <a:pt x="35" y="95"/>
                    <a:pt x="35" y="95"/>
                    <a:pt x="35" y="95"/>
                  </a:cubicBezTo>
                  <a:cubicBezTo>
                    <a:pt x="36" y="96"/>
                    <a:pt x="36" y="97"/>
                    <a:pt x="37" y="98"/>
                  </a:cubicBezTo>
                  <a:cubicBezTo>
                    <a:pt x="38" y="99"/>
                    <a:pt x="39" y="100"/>
                    <a:pt x="40" y="101"/>
                  </a:cubicBezTo>
                  <a:cubicBezTo>
                    <a:pt x="40" y="100"/>
                    <a:pt x="40" y="100"/>
                    <a:pt x="41" y="100"/>
                  </a:cubicBezTo>
                  <a:cubicBezTo>
                    <a:pt x="41" y="99"/>
                    <a:pt x="42" y="100"/>
                    <a:pt x="43" y="100"/>
                  </a:cubicBezTo>
                  <a:cubicBezTo>
                    <a:pt x="43" y="100"/>
                    <a:pt x="43" y="101"/>
                    <a:pt x="43" y="101"/>
                  </a:cubicBezTo>
                  <a:cubicBezTo>
                    <a:pt x="43" y="100"/>
                    <a:pt x="44" y="99"/>
                    <a:pt x="43" y="98"/>
                  </a:cubicBezTo>
                  <a:cubicBezTo>
                    <a:pt x="43" y="98"/>
                    <a:pt x="43" y="98"/>
                    <a:pt x="43" y="97"/>
                  </a:cubicBezTo>
                  <a:cubicBezTo>
                    <a:pt x="43" y="96"/>
                    <a:pt x="42" y="95"/>
                    <a:pt x="42" y="94"/>
                  </a:cubicBezTo>
                  <a:cubicBezTo>
                    <a:pt x="42" y="94"/>
                    <a:pt x="41" y="93"/>
                    <a:pt x="41" y="93"/>
                  </a:cubicBezTo>
                  <a:cubicBezTo>
                    <a:pt x="41" y="93"/>
                    <a:pt x="41" y="92"/>
                    <a:pt x="41" y="92"/>
                  </a:cubicBezTo>
                  <a:cubicBezTo>
                    <a:pt x="41" y="91"/>
                    <a:pt x="40" y="91"/>
                    <a:pt x="40" y="90"/>
                  </a:cubicBezTo>
                  <a:cubicBezTo>
                    <a:pt x="40" y="90"/>
                    <a:pt x="40" y="90"/>
                    <a:pt x="39" y="90"/>
                  </a:cubicBezTo>
                  <a:cubicBezTo>
                    <a:pt x="39" y="89"/>
                    <a:pt x="39" y="89"/>
                    <a:pt x="39" y="89"/>
                  </a:cubicBezTo>
                  <a:cubicBezTo>
                    <a:pt x="39" y="88"/>
                    <a:pt x="39" y="87"/>
                    <a:pt x="39" y="87"/>
                  </a:cubicBezTo>
                  <a:cubicBezTo>
                    <a:pt x="39" y="86"/>
                    <a:pt x="39" y="86"/>
                    <a:pt x="39" y="86"/>
                  </a:cubicBezTo>
                  <a:cubicBezTo>
                    <a:pt x="39" y="86"/>
                    <a:pt x="39" y="85"/>
                    <a:pt x="38" y="85"/>
                  </a:cubicBezTo>
                  <a:cubicBezTo>
                    <a:pt x="37" y="85"/>
                    <a:pt x="36" y="85"/>
                    <a:pt x="35" y="84"/>
                  </a:cubicBezTo>
                  <a:cubicBezTo>
                    <a:pt x="35" y="84"/>
                    <a:pt x="35" y="84"/>
                    <a:pt x="34" y="83"/>
                  </a:cubicBezTo>
                  <a:cubicBezTo>
                    <a:pt x="34" y="83"/>
                    <a:pt x="34" y="83"/>
                    <a:pt x="34" y="83"/>
                  </a:cubicBezTo>
                  <a:cubicBezTo>
                    <a:pt x="34" y="82"/>
                    <a:pt x="33" y="82"/>
                    <a:pt x="33" y="82"/>
                  </a:cubicBezTo>
                  <a:cubicBezTo>
                    <a:pt x="33" y="82"/>
                    <a:pt x="33" y="82"/>
                    <a:pt x="33" y="81"/>
                  </a:cubicBezTo>
                  <a:cubicBezTo>
                    <a:pt x="32" y="81"/>
                    <a:pt x="32" y="81"/>
                    <a:pt x="31" y="81"/>
                  </a:cubicBezTo>
                  <a:cubicBezTo>
                    <a:pt x="30" y="81"/>
                    <a:pt x="29" y="81"/>
                    <a:pt x="27" y="82"/>
                  </a:cubicBezTo>
                  <a:cubicBezTo>
                    <a:pt x="27" y="82"/>
                    <a:pt x="27" y="82"/>
                    <a:pt x="27" y="82"/>
                  </a:cubicBezTo>
                  <a:cubicBezTo>
                    <a:pt x="27" y="82"/>
                    <a:pt x="27" y="82"/>
                    <a:pt x="27" y="82"/>
                  </a:cubicBezTo>
                  <a:cubicBezTo>
                    <a:pt x="27" y="83"/>
                    <a:pt x="27" y="84"/>
                    <a:pt x="27" y="84"/>
                  </a:cubicBezTo>
                  <a:cubicBezTo>
                    <a:pt x="27" y="85"/>
                    <a:pt x="28" y="86"/>
                    <a:pt x="28" y="86"/>
                  </a:cubicBezTo>
                  <a:cubicBezTo>
                    <a:pt x="29" y="86"/>
                    <a:pt x="29" y="86"/>
                    <a:pt x="30" y="86"/>
                  </a:cubicBezTo>
                  <a:cubicBezTo>
                    <a:pt x="30" y="86"/>
                    <a:pt x="31" y="86"/>
                    <a:pt x="31" y="87"/>
                  </a:cubicBezTo>
                  <a:cubicBezTo>
                    <a:pt x="31" y="87"/>
                    <a:pt x="30" y="87"/>
                    <a:pt x="30" y="87"/>
                  </a:cubicBezTo>
                  <a:cubicBezTo>
                    <a:pt x="30" y="87"/>
                    <a:pt x="30" y="88"/>
                    <a:pt x="29" y="88"/>
                  </a:cubicBezTo>
                  <a:cubicBezTo>
                    <a:pt x="29" y="89"/>
                    <a:pt x="29" y="89"/>
                    <a:pt x="29" y="90"/>
                  </a:cubicBezTo>
                  <a:cubicBezTo>
                    <a:pt x="29" y="90"/>
                    <a:pt x="30" y="90"/>
                    <a:pt x="30" y="91"/>
                  </a:cubicBezTo>
                  <a:cubicBezTo>
                    <a:pt x="31" y="91"/>
                    <a:pt x="31" y="90"/>
                    <a:pt x="32" y="90"/>
                  </a:cubicBezTo>
                  <a:cubicBezTo>
                    <a:pt x="32" y="90"/>
                    <a:pt x="32" y="89"/>
                    <a:pt x="32" y="88"/>
                  </a:cubicBezTo>
                  <a:cubicBezTo>
                    <a:pt x="32" y="88"/>
                    <a:pt x="32" y="87"/>
                    <a:pt x="32" y="87"/>
                  </a:cubicBezTo>
                  <a:cubicBezTo>
                    <a:pt x="32" y="87"/>
                    <a:pt x="33" y="87"/>
                    <a:pt x="34" y="87"/>
                  </a:cubicBezTo>
                  <a:cubicBezTo>
                    <a:pt x="34" y="87"/>
                    <a:pt x="35" y="87"/>
                    <a:pt x="35" y="87"/>
                  </a:cubicBezTo>
                  <a:cubicBezTo>
                    <a:pt x="36" y="87"/>
                    <a:pt x="36" y="88"/>
                    <a:pt x="36" y="88"/>
                  </a:cubicBezTo>
                  <a:cubicBezTo>
                    <a:pt x="36" y="89"/>
                    <a:pt x="35" y="89"/>
                    <a:pt x="35" y="89"/>
                  </a:cubicBezTo>
                  <a:close/>
                  <a:moveTo>
                    <a:pt x="14" y="95"/>
                  </a:moveTo>
                  <a:cubicBezTo>
                    <a:pt x="13" y="94"/>
                    <a:pt x="13" y="93"/>
                    <a:pt x="13" y="93"/>
                  </a:cubicBezTo>
                  <a:cubicBezTo>
                    <a:pt x="12" y="92"/>
                    <a:pt x="12" y="92"/>
                    <a:pt x="12" y="92"/>
                  </a:cubicBezTo>
                  <a:cubicBezTo>
                    <a:pt x="12" y="92"/>
                    <a:pt x="13" y="92"/>
                    <a:pt x="13" y="92"/>
                  </a:cubicBezTo>
                  <a:cubicBezTo>
                    <a:pt x="13" y="91"/>
                    <a:pt x="14" y="91"/>
                    <a:pt x="14" y="91"/>
                  </a:cubicBezTo>
                  <a:cubicBezTo>
                    <a:pt x="15" y="91"/>
                    <a:pt x="15" y="91"/>
                    <a:pt x="15" y="90"/>
                  </a:cubicBezTo>
                  <a:cubicBezTo>
                    <a:pt x="16" y="90"/>
                    <a:pt x="16" y="90"/>
                    <a:pt x="16" y="90"/>
                  </a:cubicBezTo>
                  <a:cubicBezTo>
                    <a:pt x="16" y="89"/>
                    <a:pt x="18" y="88"/>
                    <a:pt x="18" y="88"/>
                  </a:cubicBezTo>
                  <a:cubicBezTo>
                    <a:pt x="18" y="87"/>
                    <a:pt x="19" y="87"/>
                    <a:pt x="18" y="87"/>
                  </a:cubicBezTo>
                  <a:cubicBezTo>
                    <a:pt x="18" y="87"/>
                    <a:pt x="18" y="87"/>
                    <a:pt x="18" y="87"/>
                  </a:cubicBezTo>
                  <a:cubicBezTo>
                    <a:pt x="16" y="87"/>
                    <a:pt x="14" y="87"/>
                    <a:pt x="12" y="87"/>
                  </a:cubicBezTo>
                  <a:cubicBezTo>
                    <a:pt x="12" y="87"/>
                    <a:pt x="11" y="87"/>
                    <a:pt x="10" y="86"/>
                  </a:cubicBezTo>
                  <a:cubicBezTo>
                    <a:pt x="10" y="86"/>
                    <a:pt x="10" y="86"/>
                    <a:pt x="10" y="86"/>
                  </a:cubicBezTo>
                  <a:cubicBezTo>
                    <a:pt x="9" y="86"/>
                    <a:pt x="9" y="86"/>
                    <a:pt x="9" y="86"/>
                  </a:cubicBezTo>
                  <a:cubicBezTo>
                    <a:pt x="9" y="86"/>
                    <a:pt x="8" y="86"/>
                    <a:pt x="8" y="87"/>
                  </a:cubicBezTo>
                  <a:cubicBezTo>
                    <a:pt x="7" y="87"/>
                    <a:pt x="7" y="87"/>
                    <a:pt x="7" y="87"/>
                  </a:cubicBezTo>
                  <a:cubicBezTo>
                    <a:pt x="7" y="87"/>
                    <a:pt x="7" y="87"/>
                    <a:pt x="8" y="88"/>
                  </a:cubicBezTo>
                  <a:cubicBezTo>
                    <a:pt x="8" y="88"/>
                    <a:pt x="8" y="88"/>
                    <a:pt x="8" y="88"/>
                  </a:cubicBezTo>
                  <a:cubicBezTo>
                    <a:pt x="8" y="89"/>
                    <a:pt x="8" y="89"/>
                    <a:pt x="8" y="89"/>
                  </a:cubicBezTo>
                  <a:cubicBezTo>
                    <a:pt x="8" y="90"/>
                    <a:pt x="9" y="90"/>
                    <a:pt x="10" y="90"/>
                  </a:cubicBezTo>
                  <a:cubicBezTo>
                    <a:pt x="10" y="91"/>
                    <a:pt x="9" y="91"/>
                    <a:pt x="9" y="92"/>
                  </a:cubicBezTo>
                  <a:cubicBezTo>
                    <a:pt x="8" y="92"/>
                    <a:pt x="8" y="92"/>
                    <a:pt x="8" y="93"/>
                  </a:cubicBezTo>
                  <a:cubicBezTo>
                    <a:pt x="8" y="94"/>
                    <a:pt x="9" y="94"/>
                    <a:pt x="9" y="94"/>
                  </a:cubicBezTo>
                  <a:cubicBezTo>
                    <a:pt x="9" y="94"/>
                    <a:pt x="9" y="95"/>
                    <a:pt x="9" y="95"/>
                  </a:cubicBezTo>
                  <a:cubicBezTo>
                    <a:pt x="9" y="95"/>
                    <a:pt x="9" y="95"/>
                    <a:pt x="9" y="96"/>
                  </a:cubicBezTo>
                  <a:cubicBezTo>
                    <a:pt x="8" y="96"/>
                    <a:pt x="8" y="96"/>
                    <a:pt x="8" y="97"/>
                  </a:cubicBezTo>
                  <a:cubicBezTo>
                    <a:pt x="8" y="97"/>
                    <a:pt x="9" y="97"/>
                    <a:pt x="9" y="97"/>
                  </a:cubicBezTo>
                  <a:cubicBezTo>
                    <a:pt x="9" y="97"/>
                    <a:pt x="9" y="98"/>
                    <a:pt x="9" y="98"/>
                  </a:cubicBezTo>
                  <a:cubicBezTo>
                    <a:pt x="10" y="98"/>
                    <a:pt x="10" y="98"/>
                    <a:pt x="10" y="98"/>
                  </a:cubicBezTo>
                  <a:cubicBezTo>
                    <a:pt x="10" y="98"/>
                    <a:pt x="10" y="99"/>
                    <a:pt x="11" y="99"/>
                  </a:cubicBezTo>
                  <a:cubicBezTo>
                    <a:pt x="11" y="99"/>
                    <a:pt x="13" y="99"/>
                    <a:pt x="13" y="99"/>
                  </a:cubicBezTo>
                  <a:cubicBezTo>
                    <a:pt x="13" y="97"/>
                    <a:pt x="13" y="96"/>
                    <a:pt x="14" y="95"/>
                  </a:cubicBezTo>
                  <a:close/>
                  <a:moveTo>
                    <a:pt x="10" y="82"/>
                  </a:moveTo>
                  <a:cubicBezTo>
                    <a:pt x="11" y="82"/>
                    <a:pt x="11" y="81"/>
                    <a:pt x="11" y="80"/>
                  </a:cubicBezTo>
                  <a:cubicBezTo>
                    <a:pt x="12" y="80"/>
                    <a:pt x="13" y="79"/>
                    <a:pt x="13" y="79"/>
                  </a:cubicBezTo>
                  <a:cubicBezTo>
                    <a:pt x="13" y="79"/>
                    <a:pt x="14" y="79"/>
                    <a:pt x="14" y="80"/>
                  </a:cubicBezTo>
                  <a:cubicBezTo>
                    <a:pt x="14" y="80"/>
                    <a:pt x="14" y="81"/>
                    <a:pt x="13" y="81"/>
                  </a:cubicBezTo>
                  <a:cubicBezTo>
                    <a:pt x="13" y="82"/>
                    <a:pt x="12" y="82"/>
                    <a:pt x="11" y="83"/>
                  </a:cubicBezTo>
                  <a:cubicBezTo>
                    <a:pt x="11" y="83"/>
                    <a:pt x="11" y="84"/>
                    <a:pt x="11" y="84"/>
                  </a:cubicBezTo>
                  <a:cubicBezTo>
                    <a:pt x="12" y="84"/>
                    <a:pt x="12" y="84"/>
                    <a:pt x="12" y="85"/>
                  </a:cubicBezTo>
                  <a:cubicBezTo>
                    <a:pt x="14" y="85"/>
                    <a:pt x="15" y="85"/>
                    <a:pt x="16" y="84"/>
                  </a:cubicBezTo>
                  <a:cubicBezTo>
                    <a:pt x="17" y="84"/>
                    <a:pt x="17" y="84"/>
                    <a:pt x="18" y="84"/>
                  </a:cubicBezTo>
                  <a:cubicBezTo>
                    <a:pt x="18" y="85"/>
                    <a:pt x="19" y="84"/>
                    <a:pt x="20" y="84"/>
                  </a:cubicBezTo>
                  <a:cubicBezTo>
                    <a:pt x="20" y="83"/>
                    <a:pt x="20" y="83"/>
                    <a:pt x="21" y="82"/>
                  </a:cubicBezTo>
                  <a:cubicBezTo>
                    <a:pt x="22" y="79"/>
                    <a:pt x="24" y="77"/>
                    <a:pt x="25" y="75"/>
                  </a:cubicBezTo>
                  <a:cubicBezTo>
                    <a:pt x="26" y="74"/>
                    <a:pt x="26" y="74"/>
                    <a:pt x="26" y="73"/>
                  </a:cubicBezTo>
                  <a:cubicBezTo>
                    <a:pt x="26" y="73"/>
                    <a:pt x="26" y="72"/>
                    <a:pt x="26" y="72"/>
                  </a:cubicBezTo>
                  <a:cubicBezTo>
                    <a:pt x="26" y="71"/>
                    <a:pt x="26" y="71"/>
                    <a:pt x="25" y="71"/>
                  </a:cubicBezTo>
                  <a:cubicBezTo>
                    <a:pt x="25" y="70"/>
                    <a:pt x="25" y="70"/>
                    <a:pt x="24" y="70"/>
                  </a:cubicBezTo>
                  <a:cubicBezTo>
                    <a:pt x="24" y="70"/>
                    <a:pt x="23" y="69"/>
                    <a:pt x="22" y="69"/>
                  </a:cubicBezTo>
                  <a:cubicBezTo>
                    <a:pt x="22" y="68"/>
                    <a:pt x="22" y="68"/>
                    <a:pt x="22" y="68"/>
                  </a:cubicBezTo>
                  <a:cubicBezTo>
                    <a:pt x="22" y="68"/>
                    <a:pt x="21" y="68"/>
                    <a:pt x="21" y="68"/>
                  </a:cubicBezTo>
                  <a:cubicBezTo>
                    <a:pt x="21" y="68"/>
                    <a:pt x="20" y="69"/>
                    <a:pt x="20" y="69"/>
                  </a:cubicBezTo>
                  <a:cubicBezTo>
                    <a:pt x="19" y="69"/>
                    <a:pt x="18" y="69"/>
                    <a:pt x="18" y="68"/>
                  </a:cubicBezTo>
                  <a:cubicBezTo>
                    <a:pt x="18" y="68"/>
                    <a:pt x="18" y="67"/>
                    <a:pt x="18" y="67"/>
                  </a:cubicBezTo>
                  <a:cubicBezTo>
                    <a:pt x="18" y="67"/>
                    <a:pt x="18" y="67"/>
                    <a:pt x="17" y="66"/>
                  </a:cubicBezTo>
                  <a:cubicBezTo>
                    <a:pt x="17" y="66"/>
                    <a:pt x="17" y="66"/>
                    <a:pt x="17" y="66"/>
                  </a:cubicBezTo>
                  <a:cubicBezTo>
                    <a:pt x="17" y="65"/>
                    <a:pt x="15" y="65"/>
                    <a:pt x="15" y="66"/>
                  </a:cubicBezTo>
                  <a:cubicBezTo>
                    <a:pt x="15" y="66"/>
                    <a:pt x="15" y="66"/>
                    <a:pt x="15" y="66"/>
                  </a:cubicBezTo>
                  <a:cubicBezTo>
                    <a:pt x="14" y="67"/>
                    <a:pt x="13" y="67"/>
                    <a:pt x="13" y="66"/>
                  </a:cubicBezTo>
                  <a:cubicBezTo>
                    <a:pt x="13" y="66"/>
                    <a:pt x="13" y="65"/>
                    <a:pt x="13" y="64"/>
                  </a:cubicBezTo>
                  <a:cubicBezTo>
                    <a:pt x="13" y="64"/>
                    <a:pt x="12" y="64"/>
                    <a:pt x="12" y="64"/>
                  </a:cubicBezTo>
                  <a:cubicBezTo>
                    <a:pt x="11" y="65"/>
                    <a:pt x="11" y="65"/>
                    <a:pt x="11" y="65"/>
                  </a:cubicBezTo>
                  <a:cubicBezTo>
                    <a:pt x="10" y="65"/>
                    <a:pt x="10" y="65"/>
                    <a:pt x="10" y="66"/>
                  </a:cubicBezTo>
                  <a:cubicBezTo>
                    <a:pt x="9" y="67"/>
                    <a:pt x="10" y="68"/>
                    <a:pt x="10" y="68"/>
                  </a:cubicBezTo>
                  <a:cubicBezTo>
                    <a:pt x="10" y="68"/>
                    <a:pt x="11" y="68"/>
                    <a:pt x="11" y="69"/>
                  </a:cubicBezTo>
                  <a:cubicBezTo>
                    <a:pt x="11" y="69"/>
                    <a:pt x="11" y="69"/>
                    <a:pt x="11" y="70"/>
                  </a:cubicBezTo>
                  <a:cubicBezTo>
                    <a:pt x="11" y="70"/>
                    <a:pt x="13" y="70"/>
                    <a:pt x="13" y="71"/>
                  </a:cubicBezTo>
                  <a:cubicBezTo>
                    <a:pt x="13" y="71"/>
                    <a:pt x="13" y="71"/>
                    <a:pt x="14" y="71"/>
                  </a:cubicBezTo>
                  <a:cubicBezTo>
                    <a:pt x="14" y="71"/>
                    <a:pt x="14" y="71"/>
                    <a:pt x="14" y="71"/>
                  </a:cubicBezTo>
                  <a:cubicBezTo>
                    <a:pt x="14" y="71"/>
                    <a:pt x="15" y="71"/>
                    <a:pt x="15" y="71"/>
                  </a:cubicBezTo>
                  <a:cubicBezTo>
                    <a:pt x="15" y="71"/>
                    <a:pt x="16" y="71"/>
                    <a:pt x="16" y="71"/>
                  </a:cubicBezTo>
                  <a:cubicBezTo>
                    <a:pt x="16" y="72"/>
                    <a:pt x="16" y="72"/>
                    <a:pt x="17" y="72"/>
                  </a:cubicBezTo>
                  <a:cubicBezTo>
                    <a:pt x="17" y="73"/>
                    <a:pt x="17" y="74"/>
                    <a:pt x="16" y="75"/>
                  </a:cubicBezTo>
                  <a:cubicBezTo>
                    <a:pt x="16" y="75"/>
                    <a:pt x="15" y="75"/>
                    <a:pt x="15" y="75"/>
                  </a:cubicBezTo>
                  <a:cubicBezTo>
                    <a:pt x="14" y="75"/>
                    <a:pt x="13" y="75"/>
                    <a:pt x="13" y="75"/>
                  </a:cubicBezTo>
                  <a:cubicBezTo>
                    <a:pt x="12" y="75"/>
                    <a:pt x="11" y="74"/>
                    <a:pt x="11" y="74"/>
                  </a:cubicBezTo>
                  <a:cubicBezTo>
                    <a:pt x="11" y="74"/>
                    <a:pt x="11" y="74"/>
                    <a:pt x="11" y="73"/>
                  </a:cubicBezTo>
                  <a:cubicBezTo>
                    <a:pt x="11" y="73"/>
                    <a:pt x="11" y="73"/>
                    <a:pt x="11" y="73"/>
                  </a:cubicBezTo>
                  <a:cubicBezTo>
                    <a:pt x="11" y="73"/>
                    <a:pt x="11" y="72"/>
                    <a:pt x="11" y="72"/>
                  </a:cubicBezTo>
                  <a:cubicBezTo>
                    <a:pt x="11" y="72"/>
                    <a:pt x="10" y="72"/>
                    <a:pt x="10" y="72"/>
                  </a:cubicBezTo>
                  <a:cubicBezTo>
                    <a:pt x="9" y="72"/>
                    <a:pt x="9" y="72"/>
                    <a:pt x="9" y="72"/>
                  </a:cubicBezTo>
                  <a:cubicBezTo>
                    <a:pt x="8" y="72"/>
                    <a:pt x="8" y="73"/>
                    <a:pt x="8" y="74"/>
                  </a:cubicBezTo>
                  <a:cubicBezTo>
                    <a:pt x="8" y="74"/>
                    <a:pt x="8" y="75"/>
                    <a:pt x="8" y="75"/>
                  </a:cubicBezTo>
                  <a:cubicBezTo>
                    <a:pt x="8" y="76"/>
                    <a:pt x="8" y="76"/>
                    <a:pt x="7" y="77"/>
                  </a:cubicBezTo>
                  <a:cubicBezTo>
                    <a:pt x="7" y="77"/>
                    <a:pt x="7" y="78"/>
                    <a:pt x="7" y="78"/>
                  </a:cubicBezTo>
                  <a:cubicBezTo>
                    <a:pt x="7" y="79"/>
                    <a:pt x="7" y="80"/>
                    <a:pt x="7" y="81"/>
                  </a:cubicBezTo>
                  <a:cubicBezTo>
                    <a:pt x="8" y="82"/>
                    <a:pt x="9" y="83"/>
                    <a:pt x="10" y="82"/>
                  </a:cubicBezTo>
                  <a:close/>
                  <a:moveTo>
                    <a:pt x="9" y="54"/>
                  </a:moveTo>
                  <a:cubicBezTo>
                    <a:pt x="9" y="54"/>
                    <a:pt x="10" y="54"/>
                    <a:pt x="10" y="54"/>
                  </a:cubicBezTo>
                  <a:cubicBezTo>
                    <a:pt x="11" y="54"/>
                    <a:pt x="11" y="54"/>
                    <a:pt x="11" y="54"/>
                  </a:cubicBezTo>
                  <a:cubicBezTo>
                    <a:pt x="11" y="54"/>
                    <a:pt x="11" y="55"/>
                    <a:pt x="11" y="55"/>
                  </a:cubicBezTo>
                  <a:cubicBezTo>
                    <a:pt x="11" y="55"/>
                    <a:pt x="10" y="55"/>
                    <a:pt x="10" y="55"/>
                  </a:cubicBezTo>
                  <a:cubicBezTo>
                    <a:pt x="10" y="55"/>
                    <a:pt x="10" y="56"/>
                    <a:pt x="10" y="56"/>
                  </a:cubicBezTo>
                  <a:cubicBezTo>
                    <a:pt x="10" y="56"/>
                    <a:pt x="10" y="56"/>
                    <a:pt x="10" y="57"/>
                  </a:cubicBezTo>
                  <a:cubicBezTo>
                    <a:pt x="11" y="57"/>
                    <a:pt x="11" y="57"/>
                    <a:pt x="12" y="58"/>
                  </a:cubicBezTo>
                  <a:cubicBezTo>
                    <a:pt x="12" y="58"/>
                    <a:pt x="13" y="59"/>
                    <a:pt x="13" y="59"/>
                  </a:cubicBezTo>
                  <a:cubicBezTo>
                    <a:pt x="14" y="59"/>
                    <a:pt x="15" y="59"/>
                    <a:pt x="15" y="58"/>
                  </a:cubicBezTo>
                  <a:cubicBezTo>
                    <a:pt x="15" y="57"/>
                    <a:pt x="15" y="57"/>
                    <a:pt x="14" y="56"/>
                  </a:cubicBezTo>
                  <a:cubicBezTo>
                    <a:pt x="14" y="56"/>
                    <a:pt x="14" y="55"/>
                    <a:pt x="13" y="54"/>
                  </a:cubicBezTo>
                  <a:cubicBezTo>
                    <a:pt x="13" y="53"/>
                    <a:pt x="12" y="52"/>
                    <a:pt x="12" y="50"/>
                  </a:cubicBezTo>
                  <a:cubicBezTo>
                    <a:pt x="12" y="50"/>
                    <a:pt x="12" y="50"/>
                    <a:pt x="12" y="50"/>
                  </a:cubicBezTo>
                  <a:cubicBezTo>
                    <a:pt x="12" y="50"/>
                    <a:pt x="12" y="50"/>
                    <a:pt x="11" y="49"/>
                  </a:cubicBezTo>
                  <a:cubicBezTo>
                    <a:pt x="11" y="49"/>
                    <a:pt x="11" y="49"/>
                    <a:pt x="10" y="48"/>
                  </a:cubicBezTo>
                  <a:cubicBezTo>
                    <a:pt x="10" y="48"/>
                    <a:pt x="10" y="48"/>
                    <a:pt x="10" y="47"/>
                  </a:cubicBezTo>
                  <a:cubicBezTo>
                    <a:pt x="10" y="47"/>
                    <a:pt x="9" y="47"/>
                    <a:pt x="9" y="47"/>
                  </a:cubicBezTo>
                  <a:cubicBezTo>
                    <a:pt x="8" y="47"/>
                    <a:pt x="7" y="47"/>
                    <a:pt x="6" y="47"/>
                  </a:cubicBezTo>
                  <a:cubicBezTo>
                    <a:pt x="6" y="48"/>
                    <a:pt x="5" y="48"/>
                    <a:pt x="5" y="48"/>
                  </a:cubicBezTo>
                  <a:cubicBezTo>
                    <a:pt x="5" y="48"/>
                    <a:pt x="4" y="48"/>
                    <a:pt x="4" y="48"/>
                  </a:cubicBezTo>
                  <a:cubicBezTo>
                    <a:pt x="4" y="48"/>
                    <a:pt x="3" y="48"/>
                    <a:pt x="3" y="48"/>
                  </a:cubicBezTo>
                  <a:cubicBezTo>
                    <a:pt x="3" y="49"/>
                    <a:pt x="3" y="49"/>
                    <a:pt x="3" y="49"/>
                  </a:cubicBezTo>
                  <a:cubicBezTo>
                    <a:pt x="3" y="49"/>
                    <a:pt x="3" y="49"/>
                    <a:pt x="4" y="49"/>
                  </a:cubicBezTo>
                  <a:cubicBezTo>
                    <a:pt x="5" y="50"/>
                    <a:pt x="5" y="51"/>
                    <a:pt x="5" y="52"/>
                  </a:cubicBezTo>
                  <a:cubicBezTo>
                    <a:pt x="5" y="52"/>
                    <a:pt x="5" y="52"/>
                    <a:pt x="5" y="52"/>
                  </a:cubicBezTo>
                  <a:cubicBezTo>
                    <a:pt x="5" y="53"/>
                    <a:pt x="4" y="53"/>
                    <a:pt x="4" y="54"/>
                  </a:cubicBezTo>
                  <a:cubicBezTo>
                    <a:pt x="3" y="55"/>
                    <a:pt x="3" y="55"/>
                    <a:pt x="4" y="56"/>
                  </a:cubicBezTo>
                  <a:cubicBezTo>
                    <a:pt x="4" y="57"/>
                    <a:pt x="4" y="57"/>
                    <a:pt x="4" y="57"/>
                  </a:cubicBezTo>
                  <a:cubicBezTo>
                    <a:pt x="5" y="57"/>
                    <a:pt x="5" y="57"/>
                    <a:pt x="5" y="57"/>
                  </a:cubicBezTo>
                  <a:cubicBezTo>
                    <a:pt x="5" y="56"/>
                    <a:pt x="5" y="56"/>
                    <a:pt x="5" y="56"/>
                  </a:cubicBezTo>
                  <a:cubicBezTo>
                    <a:pt x="6" y="55"/>
                    <a:pt x="6" y="55"/>
                    <a:pt x="7" y="54"/>
                  </a:cubicBezTo>
                  <a:cubicBezTo>
                    <a:pt x="7" y="54"/>
                    <a:pt x="8" y="54"/>
                    <a:pt x="8" y="54"/>
                  </a:cubicBezTo>
                  <a:cubicBezTo>
                    <a:pt x="8" y="54"/>
                    <a:pt x="9" y="54"/>
                    <a:pt x="9" y="54"/>
                  </a:cubicBezTo>
                  <a:close/>
                  <a:moveTo>
                    <a:pt x="107" y="280"/>
                  </a:moveTo>
                  <a:cubicBezTo>
                    <a:pt x="107" y="280"/>
                    <a:pt x="106" y="280"/>
                    <a:pt x="106" y="280"/>
                  </a:cubicBezTo>
                  <a:cubicBezTo>
                    <a:pt x="106" y="279"/>
                    <a:pt x="105" y="279"/>
                    <a:pt x="105" y="278"/>
                  </a:cubicBezTo>
                  <a:cubicBezTo>
                    <a:pt x="104" y="278"/>
                    <a:pt x="104" y="279"/>
                    <a:pt x="104" y="279"/>
                  </a:cubicBezTo>
                  <a:cubicBezTo>
                    <a:pt x="104" y="280"/>
                    <a:pt x="104" y="280"/>
                    <a:pt x="105" y="281"/>
                  </a:cubicBezTo>
                  <a:cubicBezTo>
                    <a:pt x="105" y="281"/>
                    <a:pt x="105" y="281"/>
                    <a:pt x="105" y="281"/>
                  </a:cubicBezTo>
                  <a:cubicBezTo>
                    <a:pt x="105" y="282"/>
                    <a:pt x="106" y="282"/>
                    <a:pt x="106" y="282"/>
                  </a:cubicBezTo>
                  <a:cubicBezTo>
                    <a:pt x="106" y="283"/>
                    <a:pt x="106" y="283"/>
                    <a:pt x="107" y="284"/>
                  </a:cubicBezTo>
                  <a:cubicBezTo>
                    <a:pt x="107" y="284"/>
                    <a:pt x="107" y="284"/>
                    <a:pt x="107" y="284"/>
                  </a:cubicBezTo>
                  <a:cubicBezTo>
                    <a:pt x="107" y="284"/>
                    <a:pt x="107" y="284"/>
                    <a:pt x="107" y="283"/>
                  </a:cubicBezTo>
                  <a:cubicBezTo>
                    <a:pt x="107" y="283"/>
                    <a:pt x="107" y="283"/>
                    <a:pt x="107" y="282"/>
                  </a:cubicBezTo>
                  <a:cubicBezTo>
                    <a:pt x="107" y="281"/>
                    <a:pt x="107" y="281"/>
                    <a:pt x="107" y="280"/>
                  </a:cubicBezTo>
                  <a:close/>
                  <a:moveTo>
                    <a:pt x="230" y="338"/>
                  </a:moveTo>
                  <a:cubicBezTo>
                    <a:pt x="228" y="338"/>
                    <a:pt x="226" y="338"/>
                    <a:pt x="224" y="338"/>
                  </a:cubicBezTo>
                  <a:cubicBezTo>
                    <a:pt x="224" y="338"/>
                    <a:pt x="224" y="338"/>
                    <a:pt x="224" y="338"/>
                  </a:cubicBezTo>
                  <a:cubicBezTo>
                    <a:pt x="224" y="338"/>
                    <a:pt x="224" y="337"/>
                    <a:pt x="224" y="337"/>
                  </a:cubicBezTo>
                  <a:cubicBezTo>
                    <a:pt x="224" y="337"/>
                    <a:pt x="223" y="337"/>
                    <a:pt x="223" y="337"/>
                  </a:cubicBezTo>
                  <a:cubicBezTo>
                    <a:pt x="223" y="337"/>
                    <a:pt x="223" y="337"/>
                    <a:pt x="222" y="337"/>
                  </a:cubicBezTo>
                  <a:cubicBezTo>
                    <a:pt x="222" y="337"/>
                    <a:pt x="222" y="338"/>
                    <a:pt x="222" y="338"/>
                  </a:cubicBezTo>
                  <a:cubicBezTo>
                    <a:pt x="221" y="338"/>
                    <a:pt x="221" y="338"/>
                    <a:pt x="221" y="339"/>
                  </a:cubicBezTo>
                  <a:cubicBezTo>
                    <a:pt x="221" y="339"/>
                    <a:pt x="221" y="339"/>
                    <a:pt x="221" y="339"/>
                  </a:cubicBezTo>
                  <a:cubicBezTo>
                    <a:pt x="221" y="340"/>
                    <a:pt x="222" y="340"/>
                    <a:pt x="222" y="340"/>
                  </a:cubicBezTo>
                  <a:cubicBezTo>
                    <a:pt x="222" y="340"/>
                    <a:pt x="222" y="341"/>
                    <a:pt x="222" y="341"/>
                  </a:cubicBezTo>
                  <a:cubicBezTo>
                    <a:pt x="223" y="341"/>
                    <a:pt x="223" y="341"/>
                    <a:pt x="223" y="341"/>
                  </a:cubicBezTo>
                  <a:cubicBezTo>
                    <a:pt x="223" y="341"/>
                    <a:pt x="223" y="340"/>
                    <a:pt x="223" y="340"/>
                  </a:cubicBezTo>
                  <a:cubicBezTo>
                    <a:pt x="223" y="340"/>
                    <a:pt x="224" y="340"/>
                    <a:pt x="224" y="340"/>
                  </a:cubicBezTo>
                  <a:cubicBezTo>
                    <a:pt x="225" y="340"/>
                    <a:pt x="226" y="340"/>
                    <a:pt x="226" y="340"/>
                  </a:cubicBezTo>
                  <a:cubicBezTo>
                    <a:pt x="227" y="340"/>
                    <a:pt x="227" y="340"/>
                    <a:pt x="227" y="340"/>
                  </a:cubicBezTo>
                  <a:cubicBezTo>
                    <a:pt x="227" y="340"/>
                    <a:pt x="227" y="340"/>
                    <a:pt x="227" y="340"/>
                  </a:cubicBezTo>
                  <a:cubicBezTo>
                    <a:pt x="228" y="341"/>
                    <a:pt x="229" y="341"/>
                    <a:pt x="229" y="341"/>
                  </a:cubicBezTo>
                  <a:cubicBezTo>
                    <a:pt x="229" y="341"/>
                    <a:pt x="229" y="341"/>
                    <a:pt x="229" y="341"/>
                  </a:cubicBezTo>
                  <a:cubicBezTo>
                    <a:pt x="230" y="341"/>
                    <a:pt x="230" y="341"/>
                    <a:pt x="230" y="341"/>
                  </a:cubicBezTo>
                  <a:cubicBezTo>
                    <a:pt x="230" y="340"/>
                    <a:pt x="230" y="340"/>
                    <a:pt x="230" y="340"/>
                  </a:cubicBezTo>
                  <a:cubicBezTo>
                    <a:pt x="230" y="339"/>
                    <a:pt x="231" y="339"/>
                    <a:pt x="230" y="339"/>
                  </a:cubicBezTo>
                  <a:cubicBezTo>
                    <a:pt x="230" y="339"/>
                    <a:pt x="230" y="338"/>
                    <a:pt x="230" y="338"/>
                  </a:cubicBezTo>
                  <a:close/>
                  <a:moveTo>
                    <a:pt x="228" y="327"/>
                  </a:moveTo>
                  <a:cubicBezTo>
                    <a:pt x="228" y="327"/>
                    <a:pt x="229" y="326"/>
                    <a:pt x="229" y="326"/>
                  </a:cubicBezTo>
                  <a:cubicBezTo>
                    <a:pt x="229" y="325"/>
                    <a:pt x="229" y="325"/>
                    <a:pt x="229" y="324"/>
                  </a:cubicBezTo>
                  <a:cubicBezTo>
                    <a:pt x="229" y="324"/>
                    <a:pt x="229" y="323"/>
                    <a:pt x="228" y="323"/>
                  </a:cubicBezTo>
                  <a:cubicBezTo>
                    <a:pt x="228" y="323"/>
                    <a:pt x="228" y="323"/>
                    <a:pt x="228" y="323"/>
                  </a:cubicBezTo>
                  <a:cubicBezTo>
                    <a:pt x="228" y="323"/>
                    <a:pt x="228" y="323"/>
                    <a:pt x="228" y="322"/>
                  </a:cubicBezTo>
                  <a:cubicBezTo>
                    <a:pt x="228" y="322"/>
                    <a:pt x="228" y="322"/>
                    <a:pt x="228" y="322"/>
                  </a:cubicBezTo>
                  <a:cubicBezTo>
                    <a:pt x="228" y="322"/>
                    <a:pt x="228" y="322"/>
                    <a:pt x="228" y="322"/>
                  </a:cubicBezTo>
                  <a:cubicBezTo>
                    <a:pt x="227" y="323"/>
                    <a:pt x="227" y="323"/>
                    <a:pt x="227" y="324"/>
                  </a:cubicBezTo>
                  <a:cubicBezTo>
                    <a:pt x="227" y="325"/>
                    <a:pt x="227" y="325"/>
                    <a:pt x="226" y="326"/>
                  </a:cubicBezTo>
                  <a:cubicBezTo>
                    <a:pt x="226" y="326"/>
                    <a:pt x="225" y="326"/>
                    <a:pt x="225" y="326"/>
                  </a:cubicBezTo>
                  <a:cubicBezTo>
                    <a:pt x="225" y="326"/>
                    <a:pt x="225" y="326"/>
                    <a:pt x="225" y="326"/>
                  </a:cubicBezTo>
                  <a:cubicBezTo>
                    <a:pt x="225" y="327"/>
                    <a:pt x="226" y="327"/>
                    <a:pt x="226" y="327"/>
                  </a:cubicBezTo>
                  <a:cubicBezTo>
                    <a:pt x="226" y="327"/>
                    <a:pt x="227" y="327"/>
                    <a:pt x="228" y="327"/>
                  </a:cubicBezTo>
                  <a:close/>
                  <a:moveTo>
                    <a:pt x="237" y="336"/>
                  </a:moveTo>
                  <a:cubicBezTo>
                    <a:pt x="237" y="336"/>
                    <a:pt x="237" y="336"/>
                    <a:pt x="238" y="336"/>
                  </a:cubicBezTo>
                  <a:cubicBezTo>
                    <a:pt x="238" y="336"/>
                    <a:pt x="238" y="335"/>
                    <a:pt x="238" y="335"/>
                  </a:cubicBezTo>
                  <a:cubicBezTo>
                    <a:pt x="238" y="335"/>
                    <a:pt x="238" y="335"/>
                    <a:pt x="239" y="335"/>
                  </a:cubicBezTo>
                  <a:cubicBezTo>
                    <a:pt x="239" y="335"/>
                    <a:pt x="239" y="335"/>
                    <a:pt x="239" y="334"/>
                  </a:cubicBezTo>
                  <a:cubicBezTo>
                    <a:pt x="239" y="334"/>
                    <a:pt x="239" y="334"/>
                    <a:pt x="239" y="334"/>
                  </a:cubicBezTo>
                  <a:cubicBezTo>
                    <a:pt x="239" y="333"/>
                    <a:pt x="239" y="333"/>
                    <a:pt x="239" y="333"/>
                  </a:cubicBezTo>
                  <a:cubicBezTo>
                    <a:pt x="238" y="333"/>
                    <a:pt x="238" y="332"/>
                    <a:pt x="238" y="332"/>
                  </a:cubicBezTo>
                  <a:cubicBezTo>
                    <a:pt x="237" y="332"/>
                    <a:pt x="238" y="331"/>
                    <a:pt x="237" y="331"/>
                  </a:cubicBezTo>
                  <a:cubicBezTo>
                    <a:pt x="237" y="331"/>
                    <a:pt x="237" y="331"/>
                    <a:pt x="237" y="331"/>
                  </a:cubicBezTo>
                  <a:cubicBezTo>
                    <a:pt x="236" y="331"/>
                    <a:pt x="236" y="330"/>
                    <a:pt x="236" y="330"/>
                  </a:cubicBezTo>
                  <a:cubicBezTo>
                    <a:pt x="236" y="330"/>
                    <a:pt x="236" y="330"/>
                    <a:pt x="236" y="330"/>
                  </a:cubicBezTo>
                  <a:cubicBezTo>
                    <a:pt x="236" y="330"/>
                    <a:pt x="236" y="330"/>
                    <a:pt x="236" y="330"/>
                  </a:cubicBezTo>
                  <a:cubicBezTo>
                    <a:pt x="236" y="330"/>
                    <a:pt x="236" y="329"/>
                    <a:pt x="236" y="329"/>
                  </a:cubicBezTo>
                  <a:cubicBezTo>
                    <a:pt x="236" y="328"/>
                    <a:pt x="236" y="328"/>
                    <a:pt x="236" y="328"/>
                  </a:cubicBezTo>
                  <a:cubicBezTo>
                    <a:pt x="236" y="328"/>
                    <a:pt x="235" y="327"/>
                    <a:pt x="235" y="326"/>
                  </a:cubicBezTo>
                  <a:cubicBezTo>
                    <a:pt x="235" y="326"/>
                    <a:pt x="235" y="325"/>
                    <a:pt x="235" y="325"/>
                  </a:cubicBezTo>
                  <a:cubicBezTo>
                    <a:pt x="235" y="325"/>
                    <a:pt x="235" y="325"/>
                    <a:pt x="235" y="325"/>
                  </a:cubicBezTo>
                  <a:cubicBezTo>
                    <a:pt x="235" y="325"/>
                    <a:pt x="234" y="325"/>
                    <a:pt x="234" y="325"/>
                  </a:cubicBezTo>
                  <a:cubicBezTo>
                    <a:pt x="234" y="325"/>
                    <a:pt x="234" y="325"/>
                    <a:pt x="234" y="326"/>
                  </a:cubicBezTo>
                  <a:cubicBezTo>
                    <a:pt x="233" y="326"/>
                    <a:pt x="233" y="326"/>
                    <a:pt x="233" y="327"/>
                  </a:cubicBezTo>
                  <a:cubicBezTo>
                    <a:pt x="233" y="327"/>
                    <a:pt x="233" y="327"/>
                    <a:pt x="234" y="328"/>
                  </a:cubicBezTo>
                  <a:cubicBezTo>
                    <a:pt x="234" y="328"/>
                    <a:pt x="234" y="328"/>
                    <a:pt x="234" y="328"/>
                  </a:cubicBezTo>
                  <a:cubicBezTo>
                    <a:pt x="234" y="328"/>
                    <a:pt x="234" y="329"/>
                    <a:pt x="234" y="329"/>
                  </a:cubicBezTo>
                  <a:cubicBezTo>
                    <a:pt x="234" y="330"/>
                    <a:pt x="234" y="330"/>
                    <a:pt x="234" y="330"/>
                  </a:cubicBezTo>
                  <a:cubicBezTo>
                    <a:pt x="234" y="331"/>
                    <a:pt x="234" y="331"/>
                    <a:pt x="233" y="331"/>
                  </a:cubicBezTo>
                  <a:cubicBezTo>
                    <a:pt x="233" y="331"/>
                    <a:pt x="232" y="331"/>
                    <a:pt x="231" y="330"/>
                  </a:cubicBezTo>
                  <a:cubicBezTo>
                    <a:pt x="231" y="331"/>
                    <a:pt x="232" y="332"/>
                    <a:pt x="232" y="332"/>
                  </a:cubicBezTo>
                  <a:cubicBezTo>
                    <a:pt x="233" y="332"/>
                    <a:pt x="233" y="333"/>
                    <a:pt x="234" y="333"/>
                  </a:cubicBezTo>
                  <a:cubicBezTo>
                    <a:pt x="234" y="333"/>
                    <a:pt x="235" y="333"/>
                    <a:pt x="235" y="334"/>
                  </a:cubicBezTo>
                  <a:cubicBezTo>
                    <a:pt x="235" y="334"/>
                    <a:pt x="235" y="334"/>
                    <a:pt x="235" y="334"/>
                  </a:cubicBezTo>
                  <a:cubicBezTo>
                    <a:pt x="236" y="335"/>
                    <a:pt x="236" y="335"/>
                    <a:pt x="236" y="335"/>
                  </a:cubicBezTo>
                  <a:cubicBezTo>
                    <a:pt x="236" y="335"/>
                    <a:pt x="237" y="336"/>
                    <a:pt x="237" y="336"/>
                  </a:cubicBezTo>
                  <a:close/>
                  <a:moveTo>
                    <a:pt x="241" y="339"/>
                  </a:moveTo>
                  <a:cubicBezTo>
                    <a:pt x="240" y="339"/>
                    <a:pt x="240" y="339"/>
                    <a:pt x="240" y="339"/>
                  </a:cubicBezTo>
                  <a:cubicBezTo>
                    <a:pt x="240" y="339"/>
                    <a:pt x="240" y="339"/>
                    <a:pt x="240" y="339"/>
                  </a:cubicBezTo>
                  <a:cubicBezTo>
                    <a:pt x="240" y="339"/>
                    <a:pt x="240" y="339"/>
                    <a:pt x="240" y="339"/>
                  </a:cubicBezTo>
                  <a:cubicBezTo>
                    <a:pt x="239" y="338"/>
                    <a:pt x="238" y="338"/>
                    <a:pt x="237" y="338"/>
                  </a:cubicBezTo>
                  <a:cubicBezTo>
                    <a:pt x="237" y="338"/>
                    <a:pt x="237" y="338"/>
                    <a:pt x="237" y="338"/>
                  </a:cubicBezTo>
                  <a:cubicBezTo>
                    <a:pt x="236" y="338"/>
                    <a:pt x="236" y="338"/>
                    <a:pt x="236" y="338"/>
                  </a:cubicBezTo>
                  <a:cubicBezTo>
                    <a:pt x="236" y="338"/>
                    <a:pt x="236" y="338"/>
                    <a:pt x="236" y="338"/>
                  </a:cubicBezTo>
                  <a:cubicBezTo>
                    <a:pt x="236" y="338"/>
                    <a:pt x="236" y="338"/>
                    <a:pt x="236" y="338"/>
                  </a:cubicBezTo>
                  <a:cubicBezTo>
                    <a:pt x="236" y="339"/>
                    <a:pt x="237" y="339"/>
                    <a:pt x="237" y="339"/>
                  </a:cubicBezTo>
                  <a:cubicBezTo>
                    <a:pt x="238" y="340"/>
                    <a:pt x="238" y="340"/>
                    <a:pt x="238" y="340"/>
                  </a:cubicBezTo>
                  <a:cubicBezTo>
                    <a:pt x="239" y="340"/>
                    <a:pt x="239" y="340"/>
                    <a:pt x="239" y="340"/>
                  </a:cubicBezTo>
                  <a:cubicBezTo>
                    <a:pt x="240" y="340"/>
                    <a:pt x="240" y="340"/>
                    <a:pt x="241" y="340"/>
                  </a:cubicBezTo>
                  <a:cubicBezTo>
                    <a:pt x="241" y="340"/>
                    <a:pt x="241" y="339"/>
                    <a:pt x="241" y="339"/>
                  </a:cubicBezTo>
                  <a:close/>
                  <a:moveTo>
                    <a:pt x="194" y="166"/>
                  </a:moveTo>
                  <a:cubicBezTo>
                    <a:pt x="191" y="165"/>
                    <a:pt x="187" y="162"/>
                    <a:pt x="183" y="161"/>
                  </a:cubicBezTo>
                  <a:cubicBezTo>
                    <a:pt x="180" y="161"/>
                    <a:pt x="177" y="162"/>
                    <a:pt x="175" y="161"/>
                  </a:cubicBezTo>
                  <a:cubicBezTo>
                    <a:pt x="172" y="160"/>
                    <a:pt x="170" y="158"/>
                    <a:pt x="168" y="157"/>
                  </a:cubicBezTo>
                  <a:cubicBezTo>
                    <a:pt x="166" y="155"/>
                    <a:pt x="164" y="154"/>
                    <a:pt x="161" y="154"/>
                  </a:cubicBezTo>
                  <a:cubicBezTo>
                    <a:pt x="106" y="154"/>
                    <a:pt x="106" y="154"/>
                    <a:pt x="106" y="154"/>
                  </a:cubicBezTo>
                  <a:cubicBezTo>
                    <a:pt x="105" y="153"/>
                    <a:pt x="104" y="153"/>
                    <a:pt x="104" y="152"/>
                  </a:cubicBezTo>
                  <a:cubicBezTo>
                    <a:pt x="104" y="152"/>
                    <a:pt x="103" y="152"/>
                    <a:pt x="103" y="152"/>
                  </a:cubicBezTo>
                  <a:cubicBezTo>
                    <a:pt x="103" y="152"/>
                    <a:pt x="104" y="152"/>
                    <a:pt x="104" y="152"/>
                  </a:cubicBezTo>
                  <a:cubicBezTo>
                    <a:pt x="105" y="151"/>
                    <a:pt x="105" y="150"/>
                    <a:pt x="106" y="150"/>
                  </a:cubicBezTo>
                  <a:cubicBezTo>
                    <a:pt x="106" y="150"/>
                    <a:pt x="106" y="149"/>
                    <a:pt x="107" y="149"/>
                  </a:cubicBezTo>
                  <a:cubicBezTo>
                    <a:pt x="107" y="149"/>
                    <a:pt x="106" y="148"/>
                    <a:pt x="106" y="148"/>
                  </a:cubicBezTo>
                  <a:cubicBezTo>
                    <a:pt x="105" y="147"/>
                    <a:pt x="105" y="146"/>
                    <a:pt x="104" y="146"/>
                  </a:cubicBezTo>
                  <a:cubicBezTo>
                    <a:pt x="103" y="144"/>
                    <a:pt x="101" y="142"/>
                    <a:pt x="98" y="141"/>
                  </a:cubicBezTo>
                  <a:cubicBezTo>
                    <a:pt x="98" y="140"/>
                    <a:pt x="97" y="140"/>
                    <a:pt x="96" y="140"/>
                  </a:cubicBezTo>
                  <a:cubicBezTo>
                    <a:pt x="95" y="138"/>
                    <a:pt x="96" y="136"/>
                    <a:pt x="95" y="135"/>
                  </a:cubicBezTo>
                  <a:cubicBezTo>
                    <a:pt x="94" y="134"/>
                    <a:pt x="93" y="134"/>
                    <a:pt x="93" y="134"/>
                  </a:cubicBezTo>
                  <a:cubicBezTo>
                    <a:pt x="92" y="133"/>
                    <a:pt x="93" y="133"/>
                    <a:pt x="93" y="133"/>
                  </a:cubicBezTo>
                  <a:cubicBezTo>
                    <a:pt x="94" y="132"/>
                    <a:pt x="95" y="130"/>
                    <a:pt x="95" y="129"/>
                  </a:cubicBezTo>
                  <a:cubicBezTo>
                    <a:pt x="96" y="128"/>
                    <a:pt x="96" y="126"/>
                    <a:pt x="96" y="125"/>
                  </a:cubicBezTo>
                  <a:cubicBezTo>
                    <a:pt x="95" y="124"/>
                    <a:pt x="95" y="124"/>
                    <a:pt x="95" y="123"/>
                  </a:cubicBezTo>
                  <a:cubicBezTo>
                    <a:pt x="95" y="123"/>
                    <a:pt x="95" y="123"/>
                    <a:pt x="95" y="122"/>
                  </a:cubicBezTo>
                  <a:cubicBezTo>
                    <a:pt x="96" y="122"/>
                    <a:pt x="96" y="121"/>
                    <a:pt x="97" y="120"/>
                  </a:cubicBezTo>
                  <a:cubicBezTo>
                    <a:pt x="97" y="120"/>
                    <a:pt x="97" y="120"/>
                    <a:pt x="97" y="120"/>
                  </a:cubicBezTo>
                  <a:cubicBezTo>
                    <a:pt x="97" y="119"/>
                    <a:pt x="97" y="119"/>
                    <a:pt x="97" y="119"/>
                  </a:cubicBezTo>
                  <a:cubicBezTo>
                    <a:pt x="96" y="117"/>
                    <a:pt x="94" y="116"/>
                    <a:pt x="93" y="114"/>
                  </a:cubicBezTo>
                  <a:cubicBezTo>
                    <a:pt x="93" y="112"/>
                    <a:pt x="93" y="111"/>
                    <a:pt x="94" y="109"/>
                  </a:cubicBezTo>
                  <a:cubicBezTo>
                    <a:pt x="95" y="109"/>
                    <a:pt x="96" y="109"/>
                    <a:pt x="97" y="109"/>
                  </a:cubicBezTo>
                  <a:cubicBezTo>
                    <a:pt x="97" y="109"/>
                    <a:pt x="97" y="109"/>
                    <a:pt x="98" y="109"/>
                  </a:cubicBezTo>
                  <a:cubicBezTo>
                    <a:pt x="98" y="109"/>
                    <a:pt x="98" y="109"/>
                    <a:pt x="98" y="108"/>
                  </a:cubicBezTo>
                  <a:cubicBezTo>
                    <a:pt x="98" y="106"/>
                    <a:pt x="98" y="103"/>
                    <a:pt x="97" y="101"/>
                  </a:cubicBezTo>
                  <a:cubicBezTo>
                    <a:pt x="97" y="101"/>
                    <a:pt x="96" y="99"/>
                    <a:pt x="96" y="99"/>
                  </a:cubicBezTo>
                  <a:cubicBezTo>
                    <a:pt x="96" y="99"/>
                    <a:pt x="95" y="96"/>
                    <a:pt x="95" y="96"/>
                  </a:cubicBezTo>
                  <a:cubicBezTo>
                    <a:pt x="96" y="95"/>
                    <a:pt x="96" y="94"/>
                    <a:pt x="96" y="94"/>
                  </a:cubicBezTo>
                  <a:cubicBezTo>
                    <a:pt x="97" y="93"/>
                    <a:pt x="96" y="93"/>
                    <a:pt x="95" y="92"/>
                  </a:cubicBezTo>
                  <a:cubicBezTo>
                    <a:pt x="94" y="92"/>
                    <a:pt x="92" y="91"/>
                    <a:pt x="91" y="90"/>
                  </a:cubicBezTo>
                  <a:cubicBezTo>
                    <a:pt x="91" y="90"/>
                    <a:pt x="90" y="91"/>
                    <a:pt x="89" y="92"/>
                  </a:cubicBezTo>
                  <a:cubicBezTo>
                    <a:pt x="89" y="93"/>
                    <a:pt x="88" y="94"/>
                    <a:pt x="87" y="94"/>
                  </a:cubicBezTo>
                  <a:cubicBezTo>
                    <a:pt x="87" y="94"/>
                    <a:pt x="84" y="91"/>
                    <a:pt x="84" y="91"/>
                  </a:cubicBezTo>
                  <a:cubicBezTo>
                    <a:pt x="84" y="91"/>
                    <a:pt x="77" y="97"/>
                    <a:pt x="77" y="97"/>
                  </a:cubicBezTo>
                  <a:cubicBezTo>
                    <a:pt x="76" y="97"/>
                    <a:pt x="71" y="99"/>
                    <a:pt x="71" y="99"/>
                  </a:cubicBezTo>
                  <a:cubicBezTo>
                    <a:pt x="71" y="96"/>
                    <a:pt x="71" y="96"/>
                    <a:pt x="71" y="96"/>
                  </a:cubicBezTo>
                  <a:cubicBezTo>
                    <a:pt x="72" y="94"/>
                    <a:pt x="72" y="94"/>
                    <a:pt x="72" y="94"/>
                  </a:cubicBezTo>
                  <a:cubicBezTo>
                    <a:pt x="72" y="94"/>
                    <a:pt x="71" y="92"/>
                    <a:pt x="70" y="92"/>
                  </a:cubicBezTo>
                  <a:cubicBezTo>
                    <a:pt x="70" y="91"/>
                    <a:pt x="67" y="89"/>
                    <a:pt x="67" y="89"/>
                  </a:cubicBezTo>
                  <a:cubicBezTo>
                    <a:pt x="67" y="89"/>
                    <a:pt x="66" y="86"/>
                    <a:pt x="66" y="86"/>
                  </a:cubicBezTo>
                  <a:cubicBezTo>
                    <a:pt x="66" y="86"/>
                    <a:pt x="66" y="81"/>
                    <a:pt x="66" y="81"/>
                  </a:cubicBezTo>
                  <a:cubicBezTo>
                    <a:pt x="66" y="80"/>
                    <a:pt x="65" y="80"/>
                    <a:pt x="65" y="80"/>
                  </a:cubicBezTo>
                  <a:cubicBezTo>
                    <a:pt x="65" y="79"/>
                    <a:pt x="66" y="78"/>
                    <a:pt x="66" y="77"/>
                  </a:cubicBezTo>
                  <a:cubicBezTo>
                    <a:pt x="66" y="76"/>
                    <a:pt x="64" y="75"/>
                    <a:pt x="64" y="75"/>
                  </a:cubicBezTo>
                  <a:cubicBezTo>
                    <a:pt x="64" y="74"/>
                    <a:pt x="64" y="71"/>
                    <a:pt x="64" y="71"/>
                  </a:cubicBezTo>
                  <a:cubicBezTo>
                    <a:pt x="64" y="71"/>
                    <a:pt x="62" y="71"/>
                    <a:pt x="62" y="70"/>
                  </a:cubicBezTo>
                  <a:cubicBezTo>
                    <a:pt x="62" y="70"/>
                    <a:pt x="62" y="68"/>
                    <a:pt x="62" y="68"/>
                  </a:cubicBezTo>
                  <a:cubicBezTo>
                    <a:pt x="63" y="68"/>
                    <a:pt x="64" y="65"/>
                    <a:pt x="64" y="65"/>
                  </a:cubicBezTo>
                  <a:cubicBezTo>
                    <a:pt x="64" y="62"/>
                    <a:pt x="64" y="62"/>
                    <a:pt x="64" y="62"/>
                  </a:cubicBezTo>
                  <a:cubicBezTo>
                    <a:pt x="61" y="61"/>
                    <a:pt x="61" y="61"/>
                    <a:pt x="61" y="61"/>
                  </a:cubicBezTo>
                  <a:cubicBezTo>
                    <a:pt x="63" y="55"/>
                    <a:pt x="63" y="55"/>
                    <a:pt x="63" y="55"/>
                  </a:cubicBezTo>
                  <a:cubicBezTo>
                    <a:pt x="63" y="55"/>
                    <a:pt x="70" y="45"/>
                    <a:pt x="70" y="44"/>
                  </a:cubicBezTo>
                  <a:cubicBezTo>
                    <a:pt x="70" y="44"/>
                    <a:pt x="71" y="43"/>
                    <a:pt x="71" y="41"/>
                  </a:cubicBezTo>
                  <a:cubicBezTo>
                    <a:pt x="67" y="36"/>
                    <a:pt x="62" y="29"/>
                    <a:pt x="61" y="28"/>
                  </a:cubicBezTo>
                  <a:cubicBezTo>
                    <a:pt x="60" y="26"/>
                    <a:pt x="45" y="13"/>
                    <a:pt x="45" y="13"/>
                  </a:cubicBezTo>
                  <a:cubicBezTo>
                    <a:pt x="40" y="10"/>
                    <a:pt x="40" y="10"/>
                    <a:pt x="40" y="10"/>
                  </a:cubicBezTo>
                  <a:cubicBezTo>
                    <a:pt x="39" y="10"/>
                    <a:pt x="39" y="11"/>
                    <a:pt x="38" y="11"/>
                  </a:cubicBezTo>
                  <a:cubicBezTo>
                    <a:pt x="38" y="11"/>
                    <a:pt x="38" y="12"/>
                    <a:pt x="38" y="12"/>
                  </a:cubicBezTo>
                  <a:cubicBezTo>
                    <a:pt x="37" y="13"/>
                    <a:pt x="38" y="14"/>
                    <a:pt x="38" y="15"/>
                  </a:cubicBezTo>
                  <a:cubicBezTo>
                    <a:pt x="38" y="16"/>
                    <a:pt x="38" y="17"/>
                    <a:pt x="38" y="18"/>
                  </a:cubicBezTo>
                  <a:cubicBezTo>
                    <a:pt x="36" y="17"/>
                    <a:pt x="35" y="15"/>
                    <a:pt x="35" y="13"/>
                  </a:cubicBezTo>
                  <a:cubicBezTo>
                    <a:pt x="35" y="13"/>
                    <a:pt x="35" y="12"/>
                    <a:pt x="35" y="11"/>
                  </a:cubicBezTo>
                  <a:cubicBezTo>
                    <a:pt x="35" y="10"/>
                    <a:pt x="35" y="9"/>
                    <a:pt x="34" y="9"/>
                  </a:cubicBezTo>
                  <a:cubicBezTo>
                    <a:pt x="33" y="10"/>
                    <a:pt x="32" y="11"/>
                    <a:pt x="32" y="10"/>
                  </a:cubicBezTo>
                  <a:cubicBezTo>
                    <a:pt x="31" y="10"/>
                    <a:pt x="32" y="9"/>
                    <a:pt x="32" y="8"/>
                  </a:cubicBezTo>
                  <a:cubicBezTo>
                    <a:pt x="31" y="8"/>
                    <a:pt x="30" y="7"/>
                    <a:pt x="29" y="7"/>
                  </a:cubicBezTo>
                  <a:cubicBezTo>
                    <a:pt x="29" y="7"/>
                    <a:pt x="28" y="7"/>
                    <a:pt x="27" y="6"/>
                  </a:cubicBezTo>
                  <a:cubicBezTo>
                    <a:pt x="26" y="6"/>
                    <a:pt x="26" y="7"/>
                    <a:pt x="25" y="7"/>
                  </a:cubicBezTo>
                  <a:cubicBezTo>
                    <a:pt x="24" y="7"/>
                    <a:pt x="23" y="8"/>
                    <a:pt x="21" y="8"/>
                  </a:cubicBezTo>
                  <a:cubicBezTo>
                    <a:pt x="21" y="7"/>
                    <a:pt x="20" y="6"/>
                    <a:pt x="20" y="5"/>
                  </a:cubicBezTo>
                  <a:cubicBezTo>
                    <a:pt x="19" y="8"/>
                    <a:pt x="15" y="9"/>
                    <a:pt x="14" y="12"/>
                  </a:cubicBezTo>
                  <a:cubicBezTo>
                    <a:pt x="14" y="13"/>
                    <a:pt x="14" y="14"/>
                    <a:pt x="13" y="14"/>
                  </a:cubicBezTo>
                  <a:cubicBezTo>
                    <a:pt x="13" y="14"/>
                    <a:pt x="12" y="14"/>
                    <a:pt x="12" y="13"/>
                  </a:cubicBezTo>
                  <a:cubicBezTo>
                    <a:pt x="12" y="13"/>
                    <a:pt x="12" y="13"/>
                    <a:pt x="12" y="13"/>
                  </a:cubicBezTo>
                  <a:cubicBezTo>
                    <a:pt x="11" y="12"/>
                    <a:pt x="10" y="10"/>
                    <a:pt x="9" y="11"/>
                  </a:cubicBezTo>
                  <a:cubicBezTo>
                    <a:pt x="8" y="11"/>
                    <a:pt x="7" y="12"/>
                    <a:pt x="6" y="12"/>
                  </a:cubicBezTo>
                  <a:cubicBezTo>
                    <a:pt x="5" y="13"/>
                    <a:pt x="5" y="12"/>
                    <a:pt x="5" y="12"/>
                  </a:cubicBezTo>
                  <a:cubicBezTo>
                    <a:pt x="4" y="13"/>
                    <a:pt x="4" y="13"/>
                    <a:pt x="4" y="13"/>
                  </a:cubicBezTo>
                  <a:cubicBezTo>
                    <a:pt x="3" y="16"/>
                    <a:pt x="4" y="19"/>
                    <a:pt x="6" y="21"/>
                  </a:cubicBezTo>
                  <a:cubicBezTo>
                    <a:pt x="4" y="21"/>
                    <a:pt x="2" y="21"/>
                    <a:pt x="0" y="20"/>
                  </a:cubicBezTo>
                  <a:cubicBezTo>
                    <a:pt x="0" y="21"/>
                    <a:pt x="2" y="22"/>
                    <a:pt x="3" y="22"/>
                  </a:cubicBezTo>
                  <a:cubicBezTo>
                    <a:pt x="3" y="23"/>
                    <a:pt x="4" y="24"/>
                    <a:pt x="4" y="24"/>
                  </a:cubicBezTo>
                  <a:cubicBezTo>
                    <a:pt x="5" y="24"/>
                    <a:pt x="6" y="23"/>
                    <a:pt x="6" y="22"/>
                  </a:cubicBezTo>
                  <a:cubicBezTo>
                    <a:pt x="6" y="22"/>
                    <a:pt x="6" y="22"/>
                    <a:pt x="7" y="22"/>
                  </a:cubicBezTo>
                  <a:cubicBezTo>
                    <a:pt x="7" y="21"/>
                    <a:pt x="8" y="21"/>
                    <a:pt x="8" y="21"/>
                  </a:cubicBezTo>
                  <a:cubicBezTo>
                    <a:pt x="9" y="22"/>
                    <a:pt x="9" y="22"/>
                    <a:pt x="8" y="23"/>
                  </a:cubicBezTo>
                  <a:cubicBezTo>
                    <a:pt x="8" y="23"/>
                    <a:pt x="8" y="23"/>
                    <a:pt x="7" y="24"/>
                  </a:cubicBezTo>
                  <a:cubicBezTo>
                    <a:pt x="5" y="24"/>
                    <a:pt x="4" y="26"/>
                    <a:pt x="3" y="29"/>
                  </a:cubicBezTo>
                  <a:cubicBezTo>
                    <a:pt x="3" y="29"/>
                    <a:pt x="3" y="30"/>
                    <a:pt x="3" y="30"/>
                  </a:cubicBezTo>
                  <a:cubicBezTo>
                    <a:pt x="4" y="30"/>
                    <a:pt x="4" y="30"/>
                    <a:pt x="4" y="30"/>
                  </a:cubicBezTo>
                  <a:cubicBezTo>
                    <a:pt x="6" y="31"/>
                    <a:pt x="7" y="30"/>
                    <a:pt x="9" y="29"/>
                  </a:cubicBezTo>
                  <a:cubicBezTo>
                    <a:pt x="10" y="29"/>
                    <a:pt x="10" y="28"/>
                    <a:pt x="11" y="27"/>
                  </a:cubicBezTo>
                  <a:cubicBezTo>
                    <a:pt x="12" y="26"/>
                    <a:pt x="13" y="26"/>
                    <a:pt x="13" y="25"/>
                  </a:cubicBezTo>
                  <a:cubicBezTo>
                    <a:pt x="15" y="23"/>
                    <a:pt x="16" y="22"/>
                    <a:pt x="17" y="20"/>
                  </a:cubicBezTo>
                  <a:cubicBezTo>
                    <a:pt x="17" y="20"/>
                    <a:pt x="17" y="19"/>
                    <a:pt x="17" y="19"/>
                  </a:cubicBezTo>
                  <a:cubicBezTo>
                    <a:pt x="18" y="19"/>
                    <a:pt x="18" y="18"/>
                    <a:pt x="19" y="18"/>
                  </a:cubicBezTo>
                  <a:cubicBezTo>
                    <a:pt x="19" y="19"/>
                    <a:pt x="20" y="19"/>
                    <a:pt x="20" y="18"/>
                  </a:cubicBezTo>
                  <a:cubicBezTo>
                    <a:pt x="18" y="16"/>
                    <a:pt x="19" y="12"/>
                    <a:pt x="21" y="10"/>
                  </a:cubicBezTo>
                  <a:cubicBezTo>
                    <a:pt x="22" y="11"/>
                    <a:pt x="21" y="12"/>
                    <a:pt x="21" y="13"/>
                  </a:cubicBezTo>
                  <a:cubicBezTo>
                    <a:pt x="21" y="15"/>
                    <a:pt x="20" y="16"/>
                    <a:pt x="21" y="17"/>
                  </a:cubicBezTo>
                  <a:cubicBezTo>
                    <a:pt x="22" y="17"/>
                    <a:pt x="22" y="17"/>
                    <a:pt x="22" y="18"/>
                  </a:cubicBezTo>
                  <a:cubicBezTo>
                    <a:pt x="23" y="18"/>
                    <a:pt x="23" y="19"/>
                    <a:pt x="23" y="20"/>
                  </a:cubicBezTo>
                  <a:cubicBezTo>
                    <a:pt x="22" y="20"/>
                    <a:pt x="22" y="20"/>
                    <a:pt x="22" y="21"/>
                  </a:cubicBezTo>
                  <a:cubicBezTo>
                    <a:pt x="22" y="21"/>
                    <a:pt x="21" y="21"/>
                    <a:pt x="20" y="21"/>
                  </a:cubicBezTo>
                  <a:cubicBezTo>
                    <a:pt x="19" y="21"/>
                    <a:pt x="18" y="22"/>
                    <a:pt x="17" y="23"/>
                  </a:cubicBezTo>
                  <a:cubicBezTo>
                    <a:pt x="16" y="24"/>
                    <a:pt x="16" y="25"/>
                    <a:pt x="15" y="26"/>
                  </a:cubicBezTo>
                  <a:cubicBezTo>
                    <a:pt x="16" y="26"/>
                    <a:pt x="17" y="27"/>
                    <a:pt x="17" y="27"/>
                  </a:cubicBezTo>
                  <a:cubicBezTo>
                    <a:pt x="17" y="28"/>
                    <a:pt x="17" y="28"/>
                    <a:pt x="16" y="28"/>
                  </a:cubicBezTo>
                  <a:cubicBezTo>
                    <a:pt x="15" y="29"/>
                    <a:pt x="14" y="30"/>
                    <a:pt x="12" y="31"/>
                  </a:cubicBezTo>
                  <a:cubicBezTo>
                    <a:pt x="12" y="31"/>
                    <a:pt x="11" y="32"/>
                    <a:pt x="11" y="32"/>
                  </a:cubicBezTo>
                  <a:cubicBezTo>
                    <a:pt x="11" y="32"/>
                    <a:pt x="10" y="31"/>
                    <a:pt x="10" y="32"/>
                  </a:cubicBezTo>
                  <a:cubicBezTo>
                    <a:pt x="9" y="32"/>
                    <a:pt x="9" y="32"/>
                    <a:pt x="8" y="33"/>
                  </a:cubicBezTo>
                  <a:cubicBezTo>
                    <a:pt x="8" y="35"/>
                    <a:pt x="8" y="36"/>
                    <a:pt x="9" y="38"/>
                  </a:cubicBezTo>
                  <a:cubicBezTo>
                    <a:pt x="9" y="38"/>
                    <a:pt x="9" y="38"/>
                    <a:pt x="9" y="39"/>
                  </a:cubicBezTo>
                  <a:cubicBezTo>
                    <a:pt x="10" y="40"/>
                    <a:pt x="9" y="41"/>
                    <a:pt x="9" y="42"/>
                  </a:cubicBezTo>
                  <a:cubicBezTo>
                    <a:pt x="10" y="43"/>
                    <a:pt x="12" y="43"/>
                    <a:pt x="13" y="42"/>
                  </a:cubicBezTo>
                  <a:cubicBezTo>
                    <a:pt x="13" y="43"/>
                    <a:pt x="13" y="43"/>
                    <a:pt x="13" y="44"/>
                  </a:cubicBezTo>
                  <a:cubicBezTo>
                    <a:pt x="13" y="45"/>
                    <a:pt x="13" y="46"/>
                    <a:pt x="13" y="47"/>
                  </a:cubicBezTo>
                  <a:cubicBezTo>
                    <a:pt x="13" y="47"/>
                    <a:pt x="13" y="47"/>
                    <a:pt x="13" y="48"/>
                  </a:cubicBezTo>
                  <a:cubicBezTo>
                    <a:pt x="13" y="48"/>
                    <a:pt x="13" y="48"/>
                    <a:pt x="14" y="48"/>
                  </a:cubicBezTo>
                  <a:cubicBezTo>
                    <a:pt x="14" y="49"/>
                    <a:pt x="14" y="50"/>
                    <a:pt x="14" y="51"/>
                  </a:cubicBezTo>
                  <a:cubicBezTo>
                    <a:pt x="14" y="52"/>
                    <a:pt x="15" y="54"/>
                    <a:pt x="16" y="56"/>
                  </a:cubicBezTo>
                  <a:cubicBezTo>
                    <a:pt x="17" y="57"/>
                    <a:pt x="18" y="59"/>
                    <a:pt x="20" y="60"/>
                  </a:cubicBezTo>
                  <a:cubicBezTo>
                    <a:pt x="22" y="57"/>
                    <a:pt x="22" y="53"/>
                    <a:pt x="22" y="50"/>
                  </a:cubicBezTo>
                  <a:cubicBezTo>
                    <a:pt x="22" y="49"/>
                    <a:pt x="21" y="48"/>
                    <a:pt x="22" y="47"/>
                  </a:cubicBezTo>
                  <a:cubicBezTo>
                    <a:pt x="22" y="45"/>
                    <a:pt x="24" y="43"/>
                    <a:pt x="26" y="42"/>
                  </a:cubicBezTo>
                  <a:cubicBezTo>
                    <a:pt x="25" y="45"/>
                    <a:pt x="25" y="47"/>
                    <a:pt x="24" y="49"/>
                  </a:cubicBezTo>
                  <a:cubicBezTo>
                    <a:pt x="24" y="50"/>
                    <a:pt x="24" y="51"/>
                    <a:pt x="24" y="52"/>
                  </a:cubicBezTo>
                  <a:cubicBezTo>
                    <a:pt x="24" y="53"/>
                    <a:pt x="25" y="55"/>
                    <a:pt x="25" y="57"/>
                  </a:cubicBezTo>
                  <a:cubicBezTo>
                    <a:pt x="25" y="57"/>
                    <a:pt x="25" y="57"/>
                    <a:pt x="25" y="57"/>
                  </a:cubicBezTo>
                  <a:cubicBezTo>
                    <a:pt x="25" y="58"/>
                    <a:pt x="25" y="58"/>
                    <a:pt x="25" y="58"/>
                  </a:cubicBezTo>
                  <a:cubicBezTo>
                    <a:pt x="24" y="58"/>
                    <a:pt x="23" y="59"/>
                    <a:pt x="23" y="60"/>
                  </a:cubicBezTo>
                  <a:cubicBezTo>
                    <a:pt x="22" y="60"/>
                    <a:pt x="22" y="61"/>
                    <a:pt x="23" y="62"/>
                  </a:cubicBezTo>
                  <a:cubicBezTo>
                    <a:pt x="23" y="62"/>
                    <a:pt x="24" y="62"/>
                    <a:pt x="24" y="63"/>
                  </a:cubicBezTo>
                  <a:cubicBezTo>
                    <a:pt x="25" y="64"/>
                    <a:pt x="24" y="65"/>
                    <a:pt x="24" y="66"/>
                  </a:cubicBezTo>
                  <a:cubicBezTo>
                    <a:pt x="24" y="67"/>
                    <a:pt x="26" y="67"/>
                    <a:pt x="27" y="67"/>
                  </a:cubicBezTo>
                  <a:cubicBezTo>
                    <a:pt x="29" y="67"/>
                    <a:pt x="32" y="67"/>
                    <a:pt x="33" y="65"/>
                  </a:cubicBezTo>
                  <a:cubicBezTo>
                    <a:pt x="33" y="64"/>
                    <a:pt x="34" y="64"/>
                    <a:pt x="34" y="63"/>
                  </a:cubicBezTo>
                  <a:cubicBezTo>
                    <a:pt x="35" y="62"/>
                    <a:pt x="36" y="62"/>
                    <a:pt x="37" y="60"/>
                  </a:cubicBezTo>
                  <a:cubicBezTo>
                    <a:pt x="37" y="59"/>
                    <a:pt x="36" y="57"/>
                    <a:pt x="37" y="56"/>
                  </a:cubicBezTo>
                  <a:cubicBezTo>
                    <a:pt x="37" y="55"/>
                    <a:pt x="37" y="54"/>
                    <a:pt x="38" y="53"/>
                  </a:cubicBezTo>
                  <a:cubicBezTo>
                    <a:pt x="38" y="52"/>
                    <a:pt x="38" y="50"/>
                    <a:pt x="37" y="50"/>
                  </a:cubicBezTo>
                  <a:cubicBezTo>
                    <a:pt x="37" y="49"/>
                    <a:pt x="36" y="49"/>
                    <a:pt x="36" y="49"/>
                  </a:cubicBezTo>
                  <a:cubicBezTo>
                    <a:pt x="36" y="49"/>
                    <a:pt x="35" y="48"/>
                    <a:pt x="36" y="48"/>
                  </a:cubicBezTo>
                  <a:cubicBezTo>
                    <a:pt x="36" y="47"/>
                    <a:pt x="37" y="48"/>
                    <a:pt x="37" y="48"/>
                  </a:cubicBezTo>
                  <a:cubicBezTo>
                    <a:pt x="38" y="48"/>
                    <a:pt x="40" y="47"/>
                    <a:pt x="41" y="46"/>
                  </a:cubicBezTo>
                  <a:cubicBezTo>
                    <a:pt x="41" y="45"/>
                    <a:pt x="41" y="44"/>
                    <a:pt x="42" y="44"/>
                  </a:cubicBezTo>
                  <a:cubicBezTo>
                    <a:pt x="42" y="43"/>
                    <a:pt x="43" y="43"/>
                    <a:pt x="43" y="43"/>
                  </a:cubicBezTo>
                  <a:cubicBezTo>
                    <a:pt x="45" y="42"/>
                    <a:pt x="46" y="39"/>
                    <a:pt x="46" y="36"/>
                  </a:cubicBezTo>
                  <a:cubicBezTo>
                    <a:pt x="46" y="33"/>
                    <a:pt x="45" y="30"/>
                    <a:pt x="47" y="29"/>
                  </a:cubicBezTo>
                  <a:cubicBezTo>
                    <a:pt x="48" y="29"/>
                    <a:pt x="48" y="28"/>
                    <a:pt x="48" y="28"/>
                  </a:cubicBezTo>
                  <a:cubicBezTo>
                    <a:pt x="48" y="28"/>
                    <a:pt x="48" y="29"/>
                    <a:pt x="48" y="29"/>
                  </a:cubicBezTo>
                  <a:cubicBezTo>
                    <a:pt x="49" y="29"/>
                    <a:pt x="50" y="29"/>
                    <a:pt x="50" y="30"/>
                  </a:cubicBezTo>
                  <a:cubicBezTo>
                    <a:pt x="51" y="30"/>
                    <a:pt x="51" y="30"/>
                    <a:pt x="51" y="30"/>
                  </a:cubicBezTo>
                  <a:cubicBezTo>
                    <a:pt x="51" y="31"/>
                    <a:pt x="50" y="31"/>
                    <a:pt x="50" y="31"/>
                  </a:cubicBezTo>
                  <a:cubicBezTo>
                    <a:pt x="50" y="31"/>
                    <a:pt x="49" y="31"/>
                    <a:pt x="49" y="31"/>
                  </a:cubicBezTo>
                  <a:cubicBezTo>
                    <a:pt x="47" y="31"/>
                    <a:pt x="47" y="33"/>
                    <a:pt x="47" y="34"/>
                  </a:cubicBezTo>
                  <a:cubicBezTo>
                    <a:pt x="47" y="36"/>
                    <a:pt x="47" y="38"/>
                    <a:pt x="47" y="39"/>
                  </a:cubicBezTo>
                  <a:cubicBezTo>
                    <a:pt x="47" y="41"/>
                    <a:pt x="47" y="42"/>
                    <a:pt x="49" y="43"/>
                  </a:cubicBezTo>
                  <a:cubicBezTo>
                    <a:pt x="50" y="43"/>
                    <a:pt x="51" y="42"/>
                    <a:pt x="52" y="43"/>
                  </a:cubicBezTo>
                  <a:cubicBezTo>
                    <a:pt x="52" y="43"/>
                    <a:pt x="53" y="44"/>
                    <a:pt x="53" y="44"/>
                  </a:cubicBezTo>
                  <a:cubicBezTo>
                    <a:pt x="54" y="46"/>
                    <a:pt x="54" y="48"/>
                    <a:pt x="53" y="49"/>
                  </a:cubicBezTo>
                  <a:cubicBezTo>
                    <a:pt x="53" y="48"/>
                    <a:pt x="52" y="46"/>
                    <a:pt x="51" y="46"/>
                  </a:cubicBezTo>
                  <a:cubicBezTo>
                    <a:pt x="49" y="44"/>
                    <a:pt x="47" y="46"/>
                    <a:pt x="45" y="46"/>
                  </a:cubicBezTo>
                  <a:cubicBezTo>
                    <a:pt x="44" y="46"/>
                    <a:pt x="43" y="47"/>
                    <a:pt x="42" y="47"/>
                  </a:cubicBezTo>
                  <a:cubicBezTo>
                    <a:pt x="41" y="47"/>
                    <a:pt x="40" y="48"/>
                    <a:pt x="40" y="49"/>
                  </a:cubicBezTo>
                  <a:cubicBezTo>
                    <a:pt x="41" y="51"/>
                    <a:pt x="42" y="52"/>
                    <a:pt x="42" y="53"/>
                  </a:cubicBezTo>
                  <a:cubicBezTo>
                    <a:pt x="43" y="54"/>
                    <a:pt x="42" y="55"/>
                    <a:pt x="41" y="56"/>
                  </a:cubicBezTo>
                  <a:cubicBezTo>
                    <a:pt x="40" y="57"/>
                    <a:pt x="39" y="58"/>
                    <a:pt x="40" y="59"/>
                  </a:cubicBezTo>
                  <a:cubicBezTo>
                    <a:pt x="40" y="60"/>
                    <a:pt x="41" y="60"/>
                    <a:pt x="42" y="60"/>
                  </a:cubicBezTo>
                  <a:cubicBezTo>
                    <a:pt x="43" y="60"/>
                    <a:pt x="43" y="60"/>
                    <a:pt x="44" y="60"/>
                  </a:cubicBezTo>
                  <a:cubicBezTo>
                    <a:pt x="45" y="60"/>
                    <a:pt x="45" y="60"/>
                    <a:pt x="45" y="60"/>
                  </a:cubicBezTo>
                  <a:cubicBezTo>
                    <a:pt x="46" y="61"/>
                    <a:pt x="46" y="61"/>
                    <a:pt x="46" y="61"/>
                  </a:cubicBezTo>
                  <a:cubicBezTo>
                    <a:pt x="46" y="62"/>
                    <a:pt x="47" y="63"/>
                    <a:pt x="48" y="63"/>
                  </a:cubicBezTo>
                  <a:cubicBezTo>
                    <a:pt x="48" y="62"/>
                    <a:pt x="48" y="60"/>
                    <a:pt x="48" y="59"/>
                  </a:cubicBezTo>
                  <a:cubicBezTo>
                    <a:pt x="48" y="58"/>
                    <a:pt x="48" y="56"/>
                    <a:pt x="49" y="56"/>
                  </a:cubicBezTo>
                  <a:cubicBezTo>
                    <a:pt x="50" y="55"/>
                    <a:pt x="52" y="56"/>
                    <a:pt x="52" y="58"/>
                  </a:cubicBezTo>
                  <a:cubicBezTo>
                    <a:pt x="52" y="58"/>
                    <a:pt x="53" y="57"/>
                    <a:pt x="53" y="57"/>
                  </a:cubicBezTo>
                  <a:cubicBezTo>
                    <a:pt x="53" y="58"/>
                    <a:pt x="53" y="59"/>
                    <a:pt x="53" y="59"/>
                  </a:cubicBezTo>
                  <a:cubicBezTo>
                    <a:pt x="53" y="60"/>
                    <a:pt x="52" y="60"/>
                    <a:pt x="52" y="60"/>
                  </a:cubicBezTo>
                  <a:cubicBezTo>
                    <a:pt x="52" y="60"/>
                    <a:pt x="52" y="61"/>
                    <a:pt x="52" y="61"/>
                  </a:cubicBezTo>
                  <a:cubicBezTo>
                    <a:pt x="52" y="61"/>
                    <a:pt x="51" y="62"/>
                    <a:pt x="52" y="63"/>
                  </a:cubicBezTo>
                  <a:cubicBezTo>
                    <a:pt x="52" y="64"/>
                    <a:pt x="52" y="64"/>
                    <a:pt x="53" y="65"/>
                  </a:cubicBezTo>
                  <a:cubicBezTo>
                    <a:pt x="53" y="66"/>
                    <a:pt x="52" y="67"/>
                    <a:pt x="50" y="67"/>
                  </a:cubicBezTo>
                  <a:cubicBezTo>
                    <a:pt x="50" y="67"/>
                    <a:pt x="50" y="67"/>
                    <a:pt x="49" y="67"/>
                  </a:cubicBezTo>
                  <a:cubicBezTo>
                    <a:pt x="49" y="67"/>
                    <a:pt x="49" y="66"/>
                    <a:pt x="49" y="66"/>
                  </a:cubicBezTo>
                  <a:cubicBezTo>
                    <a:pt x="47" y="64"/>
                    <a:pt x="44" y="63"/>
                    <a:pt x="41" y="62"/>
                  </a:cubicBezTo>
                  <a:cubicBezTo>
                    <a:pt x="41" y="62"/>
                    <a:pt x="41" y="62"/>
                    <a:pt x="41" y="62"/>
                  </a:cubicBezTo>
                  <a:cubicBezTo>
                    <a:pt x="40" y="62"/>
                    <a:pt x="40" y="63"/>
                    <a:pt x="40" y="64"/>
                  </a:cubicBezTo>
                  <a:cubicBezTo>
                    <a:pt x="40" y="64"/>
                    <a:pt x="39" y="64"/>
                    <a:pt x="39" y="64"/>
                  </a:cubicBezTo>
                  <a:cubicBezTo>
                    <a:pt x="39" y="65"/>
                    <a:pt x="39" y="65"/>
                    <a:pt x="39" y="65"/>
                  </a:cubicBezTo>
                  <a:cubicBezTo>
                    <a:pt x="40" y="67"/>
                    <a:pt x="42" y="67"/>
                    <a:pt x="43" y="69"/>
                  </a:cubicBezTo>
                  <a:cubicBezTo>
                    <a:pt x="43" y="69"/>
                    <a:pt x="43" y="70"/>
                    <a:pt x="43" y="70"/>
                  </a:cubicBezTo>
                  <a:cubicBezTo>
                    <a:pt x="43" y="72"/>
                    <a:pt x="44" y="73"/>
                    <a:pt x="45" y="74"/>
                  </a:cubicBezTo>
                  <a:cubicBezTo>
                    <a:pt x="44" y="75"/>
                    <a:pt x="42" y="74"/>
                    <a:pt x="42" y="73"/>
                  </a:cubicBezTo>
                  <a:cubicBezTo>
                    <a:pt x="42" y="72"/>
                    <a:pt x="42" y="71"/>
                    <a:pt x="41" y="70"/>
                  </a:cubicBezTo>
                  <a:cubicBezTo>
                    <a:pt x="41" y="70"/>
                    <a:pt x="41" y="70"/>
                    <a:pt x="40" y="69"/>
                  </a:cubicBezTo>
                  <a:cubicBezTo>
                    <a:pt x="39" y="68"/>
                    <a:pt x="37" y="67"/>
                    <a:pt x="36" y="66"/>
                  </a:cubicBezTo>
                  <a:cubicBezTo>
                    <a:pt x="35" y="67"/>
                    <a:pt x="32" y="68"/>
                    <a:pt x="32" y="69"/>
                  </a:cubicBezTo>
                  <a:cubicBezTo>
                    <a:pt x="31" y="70"/>
                    <a:pt x="32" y="70"/>
                    <a:pt x="31" y="71"/>
                  </a:cubicBezTo>
                  <a:cubicBezTo>
                    <a:pt x="31" y="72"/>
                    <a:pt x="30" y="72"/>
                    <a:pt x="30" y="72"/>
                  </a:cubicBezTo>
                  <a:cubicBezTo>
                    <a:pt x="29" y="73"/>
                    <a:pt x="29" y="74"/>
                    <a:pt x="29" y="74"/>
                  </a:cubicBezTo>
                  <a:cubicBezTo>
                    <a:pt x="30" y="75"/>
                    <a:pt x="32" y="74"/>
                    <a:pt x="32" y="75"/>
                  </a:cubicBezTo>
                  <a:cubicBezTo>
                    <a:pt x="32" y="75"/>
                    <a:pt x="32" y="75"/>
                    <a:pt x="32" y="76"/>
                  </a:cubicBezTo>
                  <a:cubicBezTo>
                    <a:pt x="32" y="77"/>
                    <a:pt x="34" y="77"/>
                    <a:pt x="35" y="78"/>
                  </a:cubicBezTo>
                  <a:cubicBezTo>
                    <a:pt x="35" y="79"/>
                    <a:pt x="35" y="79"/>
                    <a:pt x="35" y="80"/>
                  </a:cubicBezTo>
                  <a:cubicBezTo>
                    <a:pt x="35" y="80"/>
                    <a:pt x="36" y="81"/>
                    <a:pt x="37" y="81"/>
                  </a:cubicBezTo>
                  <a:cubicBezTo>
                    <a:pt x="38" y="81"/>
                    <a:pt x="39" y="80"/>
                    <a:pt x="40" y="80"/>
                  </a:cubicBezTo>
                  <a:cubicBezTo>
                    <a:pt x="41" y="80"/>
                    <a:pt x="40" y="81"/>
                    <a:pt x="41" y="82"/>
                  </a:cubicBezTo>
                  <a:cubicBezTo>
                    <a:pt x="41" y="82"/>
                    <a:pt x="42" y="83"/>
                    <a:pt x="43" y="83"/>
                  </a:cubicBezTo>
                  <a:cubicBezTo>
                    <a:pt x="44" y="83"/>
                    <a:pt x="46" y="85"/>
                    <a:pt x="46" y="86"/>
                  </a:cubicBezTo>
                  <a:cubicBezTo>
                    <a:pt x="45" y="87"/>
                    <a:pt x="45" y="87"/>
                    <a:pt x="44" y="86"/>
                  </a:cubicBezTo>
                  <a:cubicBezTo>
                    <a:pt x="44" y="86"/>
                    <a:pt x="43" y="85"/>
                    <a:pt x="43" y="85"/>
                  </a:cubicBezTo>
                  <a:cubicBezTo>
                    <a:pt x="42" y="85"/>
                    <a:pt x="41" y="85"/>
                    <a:pt x="42" y="86"/>
                  </a:cubicBezTo>
                  <a:cubicBezTo>
                    <a:pt x="41" y="87"/>
                    <a:pt x="41" y="88"/>
                    <a:pt x="42" y="88"/>
                  </a:cubicBezTo>
                  <a:cubicBezTo>
                    <a:pt x="42" y="89"/>
                    <a:pt x="43" y="90"/>
                    <a:pt x="43" y="91"/>
                  </a:cubicBezTo>
                  <a:cubicBezTo>
                    <a:pt x="43" y="91"/>
                    <a:pt x="43" y="92"/>
                    <a:pt x="43" y="92"/>
                  </a:cubicBezTo>
                  <a:cubicBezTo>
                    <a:pt x="43" y="93"/>
                    <a:pt x="45" y="94"/>
                    <a:pt x="45" y="95"/>
                  </a:cubicBezTo>
                  <a:cubicBezTo>
                    <a:pt x="45" y="95"/>
                    <a:pt x="45" y="96"/>
                    <a:pt x="45" y="96"/>
                  </a:cubicBezTo>
                  <a:cubicBezTo>
                    <a:pt x="46" y="96"/>
                    <a:pt x="46" y="95"/>
                    <a:pt x="47" y="95"/>
                  </a:cubicBezTo>
                  <a:cubicBezTo>
                    <a:pt x="47" y="96"/>
                    <a:pt x="47" y="96"/>
                    <a:pt x="47" y="97"/>
                  </a:cubicBezTo>
                  <a:cubicBezTo>
                    <a:pt x="47" y="97"/>
                    <a:pt x="46" y="98"/>
                    <a:pt x="46" y="98"/>
                  </a:cubicBezTo>
                  <a:cubicBezTo>
                    <a:pt x="45" y="99"/>
                    <a:pt x="46" y="101"/>
                    <a:pt x="48" y="100"/>
                  </a:cubicBezTo>
                  <a:cubicBezTo>
                    <a:pt x="48" y="100"/>
                    <a:pt x="49" y="100"/>
                    <a:pt x="49" y="100"/>
                  </a:cubicBezTo>
                  <a:cubicBezTo>
                    <a:pt x="49" y="101"/>
                    <a:pt x="49" y="101"/>
                    <a:pt x="50" y="101"/>
                  </a:cubicBezTo>
                  <a:cubicBezTo>
                    <a:pt x="50" y="102"/>
                    <a:pt x="52" y="102"/>
                    <a:pt x="52" y="101"/>
                  </a:cubicBezTo>
                  <a:cubicBezTo>
                    <a:pt x="52" y="100"/>
                    <a:pt x="52" y="100"/>
                    <a:pt x="53" y="99"/>
                  </a:cubicBezTo>
                  <a:cubicBezTo>
                    <a:pt x="53" y="99"/>
                    <a:pt x="53" y="99"/>
                    <a:pt x="54" y="99"/>
                  </a:cubicBezTo>
                  <a:cubicBezTo>
                    <a:pt x="54" y="99"/>
                    <a:pt x="54" y="98"/>
                    <a:pt x="54" y="97"/>
                  </a:cubicBezTo>
                  <a:cubicBezTo>
                    <a:pt x="54" y="96"/>
                    <a:pt x="54" y="95"/>
                    <a:pt x="54" y="93"/>
                  </a:cubicBezTo>
                  <a:cubicBezTo>
                    <a:pt x="54" y="93"/>
                    <a:pt x="54" y="93"/>
                    <a:pt x="54" y="92"/>
                  </a:cubicBezTo>
                  <a:cubicBezTo>
                    <a:pt x="54" y="92"/>
                    <a:pt x="55" y="92"/>
                    <a:pt x="55" y="92"/>
                  </a:cubicBezTo>
                  <a:cubicBezTo>
                    <a:pt x="56" y="91"/>
                    <a:pt x="55" y="89"/>
                    <a:pt x="56" y="88"/>
                  </a:cubicBezTo>
                  <a:cubicBezTo>
                    <a:pt x="57" y="88"/>
                    <a:pt x="57" y="88"/>
                    <a:pt x="57" y="89"/>
                  </a:cubicBezTo>
                  <a:cubicBezTo>
                    <a:pt x="58" y="91"/>
                    <a:pt x="59" y="92"/>
                    <a:pt x="60" y="92"/>
                  </a:cubicBezTo>
                  <a:cubicBezTo>
                    <a:pt x="61" y="92"/>
                    <a:pt x="61" y="92"/>
                    <a:pt x="62" y="93"/>
                  </a:cubicBezTo>
                  <a:cubicBezTo>
                    <a:pt x="62" y="93"/>
                    <a:pt x="63" y="93"/>
                    <a:pt x="63" y="94"/>
                  </a:cubicBezTo>
                  <a:cubicBezTo>
                    <a:pt x="61" y="94"/>
                    <a:pt x="59" y="94"/>
                    <a:pt x="57" y="94"/>
                  </a:cubicBezTo>
                  <a:cubicBezTo>
                    <a:pt x="56" y="94"/>
                    <a:pt x="56" y="94"/>
                    <a:pt x="56" y="94"/>
                  </a:cubicBezTo>
                  <a:cubicBezTo>
                    <a:pt x="56" y="94"/>
                    <a:pt x="56" y="94"/>
                    <a:pt x="56" y="95"/>
                  </a:cubicBezTo>
                  <a:cubicBezTo>
                    <a:pt x="56" y="96"/>
                    <a:pt x="56" y="97"/>
                    <a:pt x="56" y="98"/>
                  </a:cubicBezTo>
                  <a:cubicBezTo>
                    <a:pt x="56" y="98"/>
                    <a:pt x="56" y="99"/>
                    <a:pt x="56" y="99"/>
                  </a:cubicBezTo>
                  <a:cubicBezTo>
                    <a:pt x="55" y="100"/>
                    <a:pt x="54" y="100"/>
                    <a:pt x="53" y="101"/>
                  </a:cubicBezTo>
                  <a:cubicBezTo>
                    <a:pt x="53" y="101"/>
                    <a:pt x="53" y="102"/>
                    <a:pt x="54" y="102"/>
                  </a:cubicBezTo>
                  <a:cubicBezTo>
                    <a:pt x="54" y="103"/>
                    <a:pt x="55" y="105"/>
                    <a:pt x="55" y="106"/>
                  </a:cubicBezTo>
                  <a:cubicBezTo>
                    <a:pt x="55" y="107"/>
                    <a:pt x="54" y="106"/>
                    <a:pt x="53" y="106"/>
                  </a:cubicBezTo>
                  <a:cubicBezTo>
                    <a:pt x="53" y="105"/>
                    <a:pt x="53" y="104"/>
                    <a:pt x="53" y="103"/>
                  </a:cubicBezTo>
                  <a:cubicBezTo>
                    <a:pt x="53" y="103"/>
                    <a:pt x="52" y="103"/>
                    <a:pt x="52" y="103"/>
                  </a:cubicBezTo>
                  <a:cubicBezTo>
                    <a:pt x="52" y="104"/>
                    <a:pt x="51" y="104"/>
                    <a:pt x="51" y="104"/>
                  </a:cubicBezTo>
                  <a:cubicBezTo>
                    <a:pt x="51" y="104"/>
                    <a:pt x="50" y="104"/>
                    <a:pt x="50" y="104"/>
                  </a:cubicBezTo>
                  <a:cubicBezTo>
                    <a:pt x="49" y="103"/>
                    <a:pt x="48" y="103"/>
                    <a:pt x="47" y="103"/>
                  </a:cubicBezTo>
                  <a:cubicBezTo>
                    <a:pt x="45" y="103"/>
                    <a:pt x="43" y="104"/>
                    <a:pt x="42" y="106"/>
                  </a:cubicBezTo>
                  <a:cubicBezTo>
                    <a:pt x="42" y="106"/>
                    <a:pt x="41" y="107"/>
                    <a:pt x="41" y="107"/>
                  </a:cubicBezTo>
                  <a:cubicBezTo>
                    <a:pt x="41" y="106"/>
                    <a:pt x="41" y="106"/>
                    <a:pt x="41" y="105"/>
                  </a:cubicBezTo>
                  <a:cubicBezTo>
                    <a:pt x="41" y="105"/>
                    <a:pt x="40" y="105"/>
                    <a:pt x="40" y="105"/>
                  </a:cubicBezTo>
                  <a:cubicBezTo>
                    <a:pt x="40" y="105"/>
                    <a:pt x="40" y="106"/>
                    <a:pt x="40" y="106"/>
                  </a:cubicBezTo>
                  <a:cubicBezTo>
                    <a:pt x="40" y="106"/>
                    <a:pt x="40" y="107"/>
                    <a:pt x="40" y="107"/>
                  </a:cubicBezTo>
                  <a:cubicBezTo>
                    <a:pt x="39" y="107"/>
                    <a:pt x="39" y="108"/>
                    <a:pt x="40" y="108"/>
                  </a:cubicBezTo>
                  <a:cubicBezTo>
                    <a:pt x="40" y="108"/>
                    <a:pt x="40" y="108"/>
                    <a:pt x="40" y="108"/>
                  </a:cubicBezTo>
                  <a:cubicBezTo>
                    <a:pt x="41" y="109"/>
                    <a:pt x="41" y="111"/>
                    <a:pt x="40" y="112"/>
                  </a:cubicBezTo>
                  <a:cubicBezTo>
                    <a:pt x="40" y="113"/>
                    <a:pt x="40" y="115"/>
                    <a:pt x="41" y="116"/>
                  </a:cubicBezTo>
                  <a:cubicBezTo>
                    <a:pt x="42" y="117"/>
                    <a:pt x="42" y="117"/>
                    <a:pt x="42" y="117"/>
                  </a:cubicBezTo>
                  <a:cubicBezTo>
                    <a:pt x="42" y="117"/>
                    <a:pt x="42" y="118"/>
                    <a:pt x="42" y="119"/>
                  </a:cubicBezTo>
                  <a:cubicBezTo>
                    <a:pt x="42" y="119"/>
                    <a:pt x="42" y="120"/>
                    <a:pt x="43" y="120"/>
                  </a:cubicBezTo>
                  <a:cubicBezTo>
                    <a:pt x="43" y="120"/>
                    <a:pt x="43" y="120"/>
                    <a:pt x="44" y="120"/>
                  </a:cubicBezTo>
                  <a:cubicBezTo>
                    <a:pt x="44" y="119"/>
                    <a:pt x="45" y="118"/>
                    <a:pt x="44" y="117"/>
                  </a:cubicBezTo>
                  <a:cubicBezTo>
                    <a:pt x="44" y="117"/>
                    <a:pt x="44" y="116"/>
                    <a:pt x="44" y="116"/>
                  </a:cubicBezTo>
                  <a:cubicBezTo>
                    <a:pt x="43" y="115"/>
                    <a:pt x="43" y="113"/>
                    <a:pt x="44" y="112"/>
                  </a:cubicBezTo>
                  <a:cubicBezTo>
                    <a:pt x="44" y="111"/>
                    <a:pt x="44" y="111"/>
                    <a:pt x="45" y="111"/>
                  </a:cubicBezTo>
                  <a:cubicBezTo>
                    <a:pt x="46" y="111"/>
                    <a:pt x="46" y="112"/>
                    <a:pt x="46" y="112"/>
                  </a:cubicBezTo>
                  <a:cubicBezTo>
                    <a:pt x="46" y="113"/>
                    <a:pt x="45" y="114"/>
                    <a:pt x="45" y="115"/>
                  </a:cubicBezTo>
                  <a:cubicBezTo>
                    <a:pt x="46" y="115"/>
                    <a:pt x="46" y="116"/>
                    <a:pt x="46" y="116"/>
                  </a:cubicBezTo>
                  <a:cubicBezTo>
                    <a:pt x="46" y="117"/>
                    <a:pt x="47" y="117"/>
                    <a:pt x="48" y="117"/>
                  </a:cubicBezTo>
                  <a:cubicBezTo>
                    <a:pt x="49" y="117"/>
                    <a:pt x="50" y="117"/>
                    <a:pt x="51" y="116"/>
                  </a:cubicBezTo>
                  <a:cubicBezTo>
                    <a:pt x="52" y="118"/>
                    <a:pt x="52" y="119"/>
                    <a:pt x="52" y="120"/>
                  </a:cubicBezTo>
                  <a:cubicBezTo>
                    <a:pt x="53" y="120"/>
                    <a:pt x="53" y="121"/>
                    <a:pt x="53" y="121"/>
                  </a:cubicBezTo>
                  <a:cubicBezTo>
                    <a:pt x="53" y="122"/>
                    <a:pt x="53" y="123"/>
                    <a:pt x="53" y="123"/>
                  </a:cubicBezTo>
                  <a:cubicBezTo>
                    <a:pt x="53" y="124"/>
                    <a:pt x="54" y="124"/>
                    <a:pt x="54" y="124"/>
                  </a:cubicBezTo>
                  <a:cubicBezTo>
                    <a:pt x="54" y="124"/>
                    <a:pt x="55" y="124"/>
                    <a:pt x="56" y="125"/>
                  </a:cubicBezTo>
                  <a:cubicBezTo>
                    <a:pt x="56" y="125"/>
                    <a:pt x="56" y="125"/>
                    <a:pt x="56" y="125"/>
                  </a:cubicBezTo>
                  <a:cubicBezTo>
                    <a:pt x="57" y="125"/>
                    <a:pt x="57" y="124"/>
                    <a:pt x="57" y="123"/>
                  </a:cubicBezTo>
                  <a:cubicBezTo>
                    <a:pt x="57" y="122"/>
                    <a:pt x="56" y="122"/>
                    <a:pt x="56" y="121"/>
                  </a:cubicBezTo>
                  <a:cubicBezTo>
                    <a:pt x="55" y="121"/>
                    <a:pt x="55" y="120"/>
                    <a:pt x="55" y="120"/>
                  </a:cubicBezTo>
                  <a:cubicBezTo>
                    <a:pt x="54" y="119"/>
                    <a:pt x="55" y="119"/>
                    <a:pt x="56" y="118"/>
                  </a:cubicBezTo>
                  <a:cubicBezTo>
                    <a:pt x="56" y="118"/>
                    <a:pt x="57" y="118"/>
                    <a:pt x="58" y="118"/>
                  </a:cubicBezTo>
                  <a:cubicBezTo>
                    <a:pt x="58" y="119"/>
                    <a:pt x="57" y="120"/>
                    <a:pt x="58" y="121"/>
                  </a:cubicBezTo>
                  <a:cubicBezTo>
                    <a:pt x="58" y="121"/>
                    <a:pt x="58" y="122"/>
                    <a:pt x="58" y="122"/>
                  </a:cubicBezTo>
                  <a:cubicBezTo>
                    <a:pt x="59" y="123"/>
                    <a:pt x="58" y="124"/>
                    <a:pt x="58" y="125"/>
                  </a:cubicBezTo>
                  <a:cubicBezTo>
                    <a:pt x="58" y="126"/>
                    <a:pt x="59" y="128"/>
                    <a:pt x="59" y="129"/>
                  </a:cubicBezTo>
                  <a:cubicBezTo>
                    <a:pt x="59" y="130"/>
                    <a:pt x="60" y="131"/>
                    <a:pt x="59" y="132"/>
                  </a:cubicBezTo>
                  <a:cubicBezTo>
                    <a:pt x="58" y="131"/>
                    <a:pt x="58" y="131"/>
                    <a:pt x="57" y="130"/>
                  </a:cubicBezTo>
                  <a:cubicBezTo>
                    <a:pt x="57" y="130"/>
                    <a:pt x="57" y="129"/>
                    <a:pt x="57" y="129"/>
                  </a:cubicBezTo>
                  <a:cubicBezTo>
                    <a:pt x="56" y="129"/>
                    <a:pt x="56" y="129"/>
                    <a:pt x="56" y="129"/>
                  </a:cubicBezTo>
                  <a:cubicBezTo>
                    <a:pt x="55" y="128"/>
                    <a:pt x="55" y="128"/>
                    <a:pt x="54" y="127"/>
                  </a:cubicBezTo>
                  <a:cubicBezTo>
                    <a:pt x="54" y="127"/>
                    <a:pt x="53" y="126"/>
                    <a:pt x="53" y="127"/>
                  </a:cubicBezTo>
                  <a:cubicBezTo>
                    <a:pt x="53" y="128"/>
                    <a:pt x="52" y="130"/>
                    <a:pt x="52" y="132"/>
                  </a:cubicBezTo>
                  <a:cubicBezTo>
                    <a:pt x="52" y="133"/>
                    <a:pt x="52" y="135"/>
                    <a:pt x="52" y="136"/>
                  </a:cubicBezTo>
                  <a:cubicBezTo>
                    <a:pt x="52" y="136"/>
                    <a:pt x="52" y="137"/>
                    <a:pt x="52" y="137"/>
                  </a:cubicBezTo>
                  <a:cubicBezTo>
                    <a:pt x="52" y="137"/>
                    <a:pt x="53" y="137"/>
                    <a:pt x="54" y="137"/>
                  </a:cubicBezTo>
                  <a:cubicBezTo>
                    <a:pt x="55" y="137"/>
                    <a:pt x="56" y="137"/>
                    <a:pt x="56" y="138"/>
                  </a:cubicBezTo>
                  <a:cubicBezTo>
                    <a:pt x="56" y="138"/>
                    <a:pt x="56" y="139"/>
                    <a:pt x="55" y="139"/>
                  </a:cubicBezTo>
                  <a:cubicBezTo>
                    <a:pt x="55" y="139"/>
                    <a:pt x="55" y="139"/>
                    <a:pt x="55" y="139"/>
                  </a:cubicBezTo>
                  <a:cubicBezTo>
                    <a:pt x="54" y="139"/>
                    <a:pt x="54" y="139"/>
                    <a:pt x="54" y="139"/>
                  </a:cubicBezTo>
                  <a:cubicBezTo>
                    <a:pt x="54" y="139"/>
                    <a:pt x="54" y="140"/>
                    <a:pt x="54" y="140"/>
                  </a:cubicBezTo>
                  <a:cubicBezTo>
                    <a:pt x="54" y="141"/>
                    <a:pt x="55" y="141"/>
                    <a:pt x="55" y="141"/>
                  </a:cubicBezTo>
                  <a:cubicBezTo>
                    <a:pt x="55" y="141"/>
                    <a:pt x="55" y="142"/>
                    <a:pt x="54" y="142"/>
                  </a:cubicBezTo>
                  <a:cubicBezTo>
                    <a:pt x="54" y="142"/>
                    <a:pt x="54" y="142"/>
                    <a:pt x="53" y="142"/>
                  </a:cubicBezTo>
                  <a:cubicBezTo>
                    <a:pt x="53" y="142"/>
                    <a:pt x="53" y="141"/>
                    <a:pt x="52" y="140"/>
                  </a:cubicBezTo>
                  <a:cubicBezTo>
                    <a:pt x="52" y="141"/>
                    <a:pt x="52" y="142"/>
                    <a:pt x="53" y="142"/>
                  </a:cubicBezTo>
                  <a:cubicBezTo>
                    <a:pt x="52" y="143"/>
                    <a:pt x="52" y="144"/>
                    <a:pt x="53" y="145"/>
                  </a:cubicBezTo>
                  <a:cubicBezTo>
                    <a:pt x="54" y="145"/>
                    <a:pt x="55" y="145"/>
                    <a:pt x="56" y="145"/>
                  </a:cubicBezTo>
                  <a:cubicBezTo>
                    <a:pt x="56" y="144"/>
                    <a:pt x="57" y="143"/>
                    <a:pt x="57" y="143"/>
                  </a:cubicBezTo>
                  <a:cubicBezTo>
                    <a:pt x="58" y="142"/>
                    <a:pt x="59" y="143"/>
                    <a:pt x="59" y="142"/>
                  </a:cubicBezTo>
                  <a:cubicBezTo>
                    <a:pt x="59" y="142"/>
                    <a:pt x="60" y="142"/>
                    <a:pt x="60" y="142"/>
                  </a:cubicBezTo>
                  <a:cubicBezTo>
                    <a:pt x="60" y="142"/>
                    <a:pt x="61" y="142"/>
                    <a:pt x="61" y="142"/>
                  </a:cubicBezTo>
                  <a:cubicBezTo>
                    <a:pt x="62" y="143"/>
                    <a:pt x="62" y="145"/>
                    <a:pt x="62" y="147"/>
                  </a:cubicBezTo>
                  <a:cubicBezTo>
                    <a:pt x="62" y="148"/>
                    <a:pt x="63" y="148"/>
                    <a:pt x="64" y="149"/>
                  </a:cubicBezTo>
                  <a:cubicBezTo>
                    <a:pt x="64" y="149"/>
                    <a:pt x="64" y="149"/>
                    <a:pt x="64" y="150"/>
                  </a:cubicBezTo>
                  <a:cubicBezTo>
                    <a:pt x="65" y="150"/>
                    <a:pt x="64" y="151"/>
                    <a:pt x="64" y="152"/>
                  </a:cubicBezTo>
                  <a:cubicBezTo>
                    <a:pt x="64" y="152"/>
                    <a:pt x="63" y="152"/>
                    <a:pt x="63" y="152"/>
                  </a:cubicBezTo>
                  <a:cubicBezTo>
                    <a:pt x="62" y="152"/>
                    <a:pt x="62" y="151"/>
                    <a:pt x="62" y="151"/>
                  </a:cubicBezTo>
                  <a:cubicBezTo>
                    <a:pt x="62" y="149"/>
                    <a:pt x="61" y="148"/>
                    <a:pt x="61" y="147"/>
                  </a:cubicBezTo>
                  <a:cubicBezTo>
                    <a:pt x="60" y="147"/>
                    <a:pt x="60" y="147"/>
                    <a:pt x="60" y="147"/>
                  </a:cubicBezTo>
                  <a:cubicBezTo>
                    <a:pt x="60" y="147"/>
                    <a:pt x="59" y="147"/>
                    <a:pt x="59" y="148"/>
                  </a:cubicBezTo>
                  <a:cubicBezTo>
                    <a:pt x="60" y="149"/>
                    <a:pt x="61" y="150"/>
                    <a:pt x="61" y="152"/>
                  </a:cubicBezTo>
                  <a:cubicBezTo>
                    <a:pt x="61" y="153"/>
                    <a:pt x="60" y="154"/>
                    <a:pt x="61" y="155"/>
                  </a:cubicBezTo>
                  <a:cubicBezTo>
                    <a:pt x="61" y="156"/>
                    <a:pt x="62" y="156"/>
                    <a:pt x="63" y="156"/>
                  </a:cubicBezTo>
                  <a:cubicBezTo>
                    <a:pt x="64" y="157"/>
                    <a:pt x="65" y="158"/>
                    <a:pt x="66" y="159"/>
                  </a:cubicBezTo>
                  <a:cubicBezTo>
                    <a:pt x="66" y="159"/>
                    <a:pt x="66" y="160"/>
                    <a:pt x="67" y="160"/>
                  </a:cubicBezTo>
                  <a:cubicBezTo>
                    <a:pt x="67" y="161"/>
                    <a:pt x="68" y="161"/>
                    <a:pt x="69" y="160"/>
                  </a:cubicBezTo>
                  <a:cubicBezTo>
                    <a:pt x="70" y="159"/>
                    <a:pt x="70" y="158"/>
                    <a:pt x="70" y="157"/>
                  </a:cubicBezTo>
                  <a:cubicBezTo>
                    <a:pt x="70" y="157"/>
                    <a:pt x="70" y="157"/>
                    <a:pt x="70" y="158"/>
                  </a:cubicBezTo>
                  <a:cubicBezTo>
                    <a:pt x="71" y="158"/>
                    <a:pt x="71" y="158"/>
                    <a:pt x="71" y="159"/>
                  </a:cubicBezTo>
                  <a:cubicBezTo>
                    <a:pt x="72" y="159"/>
                    <a:pt x="73" y="158"/>
                    <a:pt x="73" y="157"/>
                  </a:cubicBezTo>
                  <a:cubicBezTo>
                    <a:pt x="73" y="157"/>
                    <a:pt x="73" y="156"/>
                    <a:pt x="73" y="155"/>
                  </a:cubicBezTo>
                  <a:cubicBezTo>
                    <a:pt x="73" y="154"/>
                    <a:pt x="73" y="153"/>
                    <a:pt x="73" y="152"/>
                  </a:cubicBezTo>
                  <a:cubicBezTo>
                    <a:pt x="73" y="152"/>
                    <a:pt x="73" y="151"/>
                    <a:pt x="74" y="150"/>
                  </a:cubicBezTo>
                  <a:cubicBezTo>
                    <a:pt x="73" y="150"/>
                    <a:pt x="72" y="149"/>
                    <a:pt x="71" y="148"/>
                  </a:cubicBezTo>
                  <a:cubicBezTo>
                    <a:pt x="73" y="148"/>
                    <a:pt x="74" y="148"/>
                    <a:pt x="75" y="147"/>
                  </a:cubicBezTo>
                  <a:cubicBezTo>
                    <a:pt x="76" y="148"/>
                    <a:pt x="76" y="149"/>
                    <a:pt x="76" y="151"/>
                  </a:cubicBezTo>
                  <a:cubicBezTo>
                    <a:pt x="76" y="151"/>
                    <a:pt x="76" y="151"/>
                    <a:pt x="76" y="151"/>
                  </a:cubicBezTo>
                  <a:cubicBezTo>
                    <a:pt x="76" y="152"/>
                    <a:pt x="76" y="152"/>
                    <a:pt x="75" y="152"/>
                  </a:cubicBezTo>
                  <a:cubicBezTo>
                    <a:pt x="75" y="153"/>
                    <a:pt x="74" y="155"/>
                    <a:pt x="74" y="157"/>
                  </a:cubicBezTo>
                  <a:cubicBezTo>
                    <a:pt x="74" y="157"/>
                    <a:pt x="74" y="158"/>
                    <a:pt x="74" y="159"/>
                  </a:cubicBezTo>
                  <a:cubicBezTo>
                    <a:pt x="73" y="159"/>
                    <a:pt x="73" y="159"/>
                    <a:pt x="72" y="160"/>
                  </a:cubicBezTo>
                  <a:cubicBezTo>
                    <a:pt x="71" y="160"/>
                    <a:pt x="71" y="161"/>
                    <a:pt x="70" y="162"/>
                  </a:cubicBezTo>
                  <a:cubicBezTo>
                    <a:pt x="69" y="163"/>
                    <a:pt x="67" y="163"/>
                    <a:pt x="66" y="164"/>
                  </a:cubicBezTo>
                  <a:cubicBezTo>
                    <a:pt x="66" y="163"/>
                    <a:pt x="66" y="162"/>
                    <a:pt x="66" y="162"/>
                  </a:cubicBezTo>
                  <a:cubicBezTo>
                    <a:pt x="66" y="162"/>
                    <a:pt x="66" y="161"/>
                    <a:pt x="66" y="161"/>
                  </a:cubicBezTo>
                  <a:cubicBezTo>
                    <a:pt x="65" y="161"/>
                    <a:pt x="64" y="161"/>
                    <a:pt x="64" y="161"/>
                  </a:cubicBezTo>
                  <a:cubicBezTo>
                    <a:pt x="63" y="162"/>
                    <a:pt x="62" y="161"/>
                    <a:pt x="61" y="161"/>
                  </a:cubicBezTo>
                  <a:cubicBezTo>
                    <a:pt x="60" y="160"/>
                    <a:pt x="60" y="159"/>
                    <a:pt x="59" y="158"/>
                  </a:cubicBezTo>
                  <a:cubicBezTo>
                    <a:pt x="59" y="158"/>
                    <a:pt x="58" y="157"/>
                    <a:pt x="58" y="157"/>
                  </a:cubicBezTo>
                  <a:cubicBezTo>
                    <a:pt x="57" y="157"/>
                    <a:pt x="56" y="157"/>
                    <a:pt x="56" y="158"/>
                  </a:cubicBezTo>
                  <a:cubicBezTo>
                    <a:pt x="56" y="158"/>
                    <a:pt x="57" y="158"/>
                    <a:pt x="57" y="159"/>
                  </a:cubicBezTo>
                  <a:cubicBezTo>
                    <a:pt x="57" y="159"/>
                    <a:pt x="58" y="160"/>
                    <a:pt x="58" y="160"/>
                  </a:cubicBezTo>
                  <a:cubicBezTo>
                    <a:pt x="59" y="162"/>
                    <a:pt x="61" y="163"/>
                    <a:pt x="61" y="164"/>
                  </a:cubicBezTo>
                  <a:cubicBezTo>
                    <a:pt x="61" y="165"/>
                    <a:pt x="60" y="166"/>
                    <a:pt x="60" y="166"/>
                  </a:cubicBezTo>
                  <a:cubicBezTo>
                    <a:pt x="60" y="168"/>
                    <a:pt x="60" y="169"/>
                    <a:pt x="60" y="170"/>
                  </a:cubicBezTo>
                  <a:cubicBezTo>
                    <a:pt x="60" y="171"/>
                    <a:pt x="61" y="172"/>
                    <a:pt x="60" y="173"/>
                  </a:cubicBezTo>
                  <a:cubicBezTo>
                    <a:pt x="60" y="174"/>
                    <a:pt x="60" y="174"/>
                    <a:pt x="60" y="174"/>
                  </a:cubicBezTo>
                  <a:cubicBezTo>
                    <a:pt x="60" y="174"/>
                    <a:pt x="60" y="175"/>
                    <a:pt x="60" y="175"/>
                  </a:cubicBezTo>
                  <a:cubicBezTo>
                    <a:pt x="60" y="175"/>
                    <a:pt x="61" y="176"/>
                    <a:pt x="61" y="176"/>
                  </a:cubicBezTo>
                  <a:cubicBezTo>
                    <a:pt x="61" y="177"/>
                    <a:pt x="61" y="177"/>
                    <a:pt x="61" y="178"/>
                  </a:cubicBezTo>
                  <a:cubicBezTo>
                    <a:pt x="61" y="178"/>
                    <a:pt x="61" y="179"/>
                    <a:pt x="61" y="179"/>
                  </a:cubicBezTo>
                  <a:cubicBezTo>
                    <a:pt x="61" y="180"/>
                    <a:pt x="61" y="181"/>
                    <a:pt x="61" y="182"/>
                  </a:cubicBezTo>
                  <a:cubicBezTo>
                    <a:pt x="60" y="182"/>
                    <a:pt x="59" y="182"/>
                    <a:pt x="59" y="183"/>
                  </a:cubicBezTo>
                  <a:cubicBezTo>
                    <a:pt x="58" y="184"/>
                    <a:pt x="59" y="185"/>
                    <a:pt x="58" y="186"/>
                  </a:cubicBezTo>
                  <a:cubicBezTo>
                    <a:pt x="58" y="187"/>
                    <a:pt x="57" y="187"/>
                    <a:pt x="58" y="188"/>
                  </a:cubicBezTo>
                  <a:cubicBezTo>
                    <a:pt x="58" y="189"/>
                    <a:pt x="59" y="189"/>
                    <a:pt x="60" y="189"/>
                  </a:cubicBezTo>
                  <a:cubicBezTo>
                    <a:pt x="60" y="188"/>
                    <a:pt x="61" y="188"/>
                    <a:pt x="62" y="187"/>
                  </a:cubicBezTo>
                  <a:cubicBezTo>
                    <a:pt x="62" y="187"/>
                    <a:pt x="63" y="187"/>
                    <a:pt x="63" y="187"/>
                  </a:cubicBezTo>
                  <a:cubicBezTo>
                    <a:pt x="63" y="187"/>
                    <a:pt x="64" y="187"/>
                    <a:pt x="64" y="186"/>
                  </a:cubicBezTo>
                  <a:cubicBezTo>
                    <a:pt x="65" y="186"/>
                    <a:pt x="65" y="185"/>
                    <a:pt x="66" y="184"/>
                  </a:cubicBezTo>
                  <a:cubicBezTo>
                    <a:pt x="66" y="184"/>
                    <a:pt x="66" y="184"/>
                    <a:pt x="67" y="184"/>
                  </a:cubicBezTo>
                  <a:cubicBezTo>
                    <a:pt x="67" y="183"/>
                    <a:pt x="67" y="184"/>
                    <a:pt x="67" y="184"/>
                  </a:cubicBezTo>
                  <a:cubicBezTo>
                    <a:pt x="68" y="184"/>
                    <a:pt x="68" y="185"/>
                    <a:pt x="68" y="185"/>
                  </a:cubicBezTo>
                  <a:cubicBezTo>
                    <a:pt x="67" y="186"/>
                    <a:pt x="67" y="186"/>
                    <a:pt x="66" y="186"/>
                  </a:cubicBezTo>
                  <a:cubicBezTo>
                    <a:pt x="66" y="186"/>
                    <a:pt x="66" y="186"/>
                    <a:pt x="66" y="186"/>
                  </a:cubicBezTo>
                  <a:cubicBezTo>
                    <a:pt x="66" y="186"/>
                    <a:pt x="66" y="187"/>
                    <a:pt x="66" y="187"/>
                  </a:cubicBezTo>
                  <a:cubicBezTo>
                    <a:pt x="66" y="187"/>
                    <a:pt x="66" y="187"/>
                    <a:pt x="67" y="187"/>
                  </a:cubicBezTo>
                  <a:cubicBezTo>
                    <a:pt x="67" y="187"/>
                    <a:pt x="67" y="187"/>
                    <a:pt x="68" y="187"/>
                  </a:cubicBezTo>
                  <a:cubicBezTo>
                    <a:pt x="68" y="187"/>
                    <a:pt x="68" y="188"/>
                    <a:pt x="68" y="188"/>
                  </a:cubicBezTo>
                  <a:cubicBezTo>
                    <a:pt x="69" y="189"/>
                    <a:pt x="69" y="189"/>
                    <a:pt x="69" y="190"/>
                  </a:cubicBezTo>
                  <a:cubicBezTo>
                    <a:pt x="69" y="190"/>
                    <a:pt x="70" y="190"/>
                    <a:pt x="70" y="190"/>
                  </a:cubicBezTo>
                  <a:cubicBezTo>
                    <a:pt x="70" y="191"/>
                    <a:pt x="70" y="191"/>
                    <a:pt x="69" y="192"/>
                  </a:cubicBezTo>
                  <a:cubicBezTo>
                    <a:pt x="69" y="192"/>
                    <a:pt x="69" y="192"/>
                    <a:pt x="68" y="192"/>
                  </a:cubicBezTo>
                  <a:cubicBezTo>
                    <a:pt x="68" y="192"/>
                    <a:pt x="67" y="192"/>
                    <a:pt x="67" y="192"/>
                  </a:cubicBezTo>
                  <a:cubicBezTo>
                    <a:pt x="67" y="191"/>
                    <a:pt x="67" y="191"/>
                    <a:pt x="67" y="191"/>
                  </a:cubicBezTo>
                  <a:cubicBezTo>
                    <a:pt x="66" y="191"/>
                    <a:pt x="66" y="191"/>
                    <a:pt x="66" y="191"/>
                  </a:cubicBezTo>
                  <a:cubicBezTo>
                    <a:pt x="66" y="191"/>
                    <a:pt x="65" y="191"/>
                    <a:pt x="65" y="191"/>
                  </a:cubicBezTo>
                  <a:cubicBezTo>
                    <a:pt x="64" y="191"/>
                    <a:pt x="63" y="191"/>
                    <a:pt x="62" y="191"/>
                  </a:cubicBezTo>
                  <a:cubicBezTo>
                    <a:pt x="61" y="192"/>
                    <a:pt x="61" y="193"/>
                    <a:pt x="62" y="193"/>
                  </a:cubicBezTo>
                  <a:cubicBezTo>
                    <a:pt x="62" y="193"/>
                    <a:pt x="62" y="193"/>
                    <a:pt x="62" y="194"/>
                  </a:cubicBezTo>
                  <a:cubicBezTo>
                    <a:pt x="62" y="194"/>
                    <a:pt x="62" y="194"/>
                    <a:pt x="62" y="194"/>
                  </a:cubicBezTo>
                  <a:cubicBezTo>
                    <a:pt x="61" y="194"/>
                    <a:pt x="60" y="194"/>
                    <a:pt x="59" y="194"/>
                  </a:cubicBezTo>
                  <a:cubicBezTo>
                    <a:pt x="59" y="194"/>
                    <a:pt x="58" y="194"/>
                    <a:pt x="58" y="195"/>
                  </a:cubicBezTo>
                  <a:cubicBezTo>
                    <a:pt x="57" y="195"/>
                    <a:pt x="57" y="195"/>
                    <a:pt x="57" y="196"/>
                  </a:cubicBezTo>
                  <a:cubicBezTo>
                    <a:pt x="57" y="196"/>
                    <a:pt x="58" y="196"/>
                    <a:pt x="58" y="196"/>
                  </a:cubicBezTo>
                  <a:cubicBezTo>
                    <a:pt x="59" y="196"/>
                    <a:pt x="59" y="196"/>
                    <a:pt x="59" y="196"/>
                  </a:cubicBezTo>
                  <a:cubicBezTo>
                    <a:pt x="60" y="195"/>
                    <a:pt x="61" y="195"/>
                    <a:pt x="61" y="196"/>
                  </a:cubicBezTo>
                  <a:cubicBezTo>
                    <a:pt x="62" y="196"/>
                    <a:pt x="63" y="197"/>
                    <a:pt x="63" y="197"/>
                  </a:cubicBezTo>
                  <a:cubicBezTo>
                    <a:pt x="63" y="198"/>
                    <a:pt x="63" y="198"/>
                    <a:pt x="64" y="198"/>
                  </a:cubicBezTo>
                  <a:cubicBezTo>
                    <a:pt x="64" y="198"/>
                    <a:pt x="64" y="198"/>
                    <a:pt x="64" y="198"/>
                  </a:cubicBezTo>
                  <a:cubicBezTo>
                    <a:pt x="65" y="199"/>
                    <a:pt x="65" y="200"/>
                    <a:pt x="65" y="201"/>
                  </a:cubicBezTo>
                  <a:cubicBezTo>
                    <a:pt x="65" y="201"/>
                    <a:pt x="65" y="201"/>
                    <a:pt x="64" y="201"/>
                  </a:cubicBezTo>
                  <a:cubicBezTo>
                    <a:pt x="64" y="202"/>
                    <a:pt x="65" y="202"/>
                    <a:pt x="66" y="203"/>
                  </a:cubicBezTo>
                  <a:cubicBezTo>
                    <a:pt x="67" y="204"/>
                    <a:pt x="67" y="205"/>
                    <a:pt x="68" y="205"/>
                  </a:cubicBezTo>
                  <a:cubicBezTo>
                    <a:pt x="69" y="205"/>
                    <a:pt x="70" y="205"/>
                    <a:pt x="70" y="205"/>
                  </a:cubicBezTo>
                  <a:cubicBezTo>
                    <a:pt x="70" y="205"/>
                    <a:pt x="71" y="206"/>
                    <a:pt x="71" y="206"/>
                  </a:cubicBezTo>
                  <a:cubicBezTo>
                    <a:pt x="71" y="206"/>
                    <a:pt x="71" y="206"/>
                    <a:pt x="72" y="205"/>
                  </a:cubicBezTo>
                  <a:cubicBezTo>
                    <a:pt x="72" y="205"/>
                    <a:pt x="72" y="204"/>
                    <a:pt x="72" y="204"/>
                  </a:cubicBezTo>
                  <a:cubicBezTo>
                    <a:pt x="73" y="204"/>
                    <a:pt x="74" y="205"/>
                    <a:pt x="74" y="205"/>
                  </a:cubicBezTo>
                  <a:cubicBezTo>
                    <a:pt x="75" y="205"/>
                    <a:pt x="75" y="204"/>
                    <a:pt x="75" y="204"/>
                  </a:cubicBezTo>
                  <a:cubicBezTo>
                    <a:pt x="76" y="204"/>
                    <a:pt x="76" y="204"/>
                    <a:pt x="77" y="204"/>
                  </a:cubicBezTo>
                  <a:cubicBezTo>
                    <a:pt x="77" y="204"/>
                    <a:pt x="78" y="204"/>
                    <a:pt x="78" y="204"/>
                  </a:cubicBezTo>
                  <a:cubicBezTo>
                    <a:pt x="78" y="203"/>
                    <a:pt x="78" y="203"/>
                    <a:pt x="78" y="203"/>
                  </a:cubicBezTo>
                  <a:cubicBezTo>
                    <a:pt x="78" y="203"/>
                    <a:pt x="79" y="203"/>
                    <a:pt x="79" y="203"/>
                  </a:cubicBezTo>
                  <a:cubicBezTo>
                    <a:pt x="79" y="201"/>
                    <a:pt x="79" y="198"/>
                    <a:pt x="78" y="196"/>
                  </a:cubicBezTo>
                  <a:cubicBezTo>
                    <a:pt x="77" y="195"/>
                    <a:pt x="77" y="194"/>
                    <a:pt x="78" y="193"/>
                  </a:cubicBezTo>
                  <a:cubicBezTo>
                    <a:pt x="78" y="192"/>
                    <a:pt x="79" y="192"/>
                    <a:pt x="80" y="192"/>
                  </a:cubicBezTo>
                  <a:cubicBezTo>
                    <a:pt x="83" y="191"/>
                    <a:pt x="84" y="187"/>
                    <a:pt x="86" y="186"/>
                  </a:cubicBezTo>
                  <a:cubicBezTo>
                    <a:pt x="86" y="186"/>
                    <a:pt x="86" y="186"/>
                    <a:pt x="86" y="186"/>
                  </a:cubicBezTo>
                  <a:cubicBezTo>
                    <a:pt x="86" y="185"/>
                    <a:pt x="86" y="185"/>
                    <a:pt x="86" y="184"/>
                  </a:cubicBezTo>
                  <a:cubicBezTo>
                    <a:pt x="85" y="183"/>
                    <a:pt x="82" y="184"/>
                    <a:pt x="81" y="183"/>
                  </a:cubicBezTo>
                  <a:cubicBezTo>
                    <a:pt x="81" y="182"/>
                    <a:pt x="81" y="181"/>
                    <a:pt x="81" y="181"/>
                  </a:cubicBezTo>
                  <a:cubicBezTo>
                    <a:pt x="81" y="180"/>
                    <a:pt x="81" y="180"/>
                    <a:pt x="82" y="180"/>
                  </a:cubicBezTo>
                  <a:cubicBezTo>
                    <a:pt x="83" y="179"/>
                    <a:pt x="84" y="181"/>
                    <a:pt x="85" y="181"/>
                  </a:cubicBezTo>
                  <a:cubicBezTo>
                    <a:pt x="85" y="180"/>
                    <a:pt x="85" y="180"/>
                    <a:pt x="86" y="180"/>
                  </a:cubicBezTo>
                  <a:cubicBezTo>
                    <a:pt x="86" y="180"/>
                    <a:pt x="86" y="180"/>
                    <a:pt x="86" y="180"/>
                  </a:cubicBezTo>
                  <a:cubicBezTo>
                    <a:pt x="88" y="182"/>
                    <a:pt x="91" y="183"/>
                    <a:pt x="93" y="185"/>
                  </a:cubicBezTo>
                  <a:cubicBezTo>
                    <a:pt x="94" y="184"/>
                    <a:pt x="94" y="182"/>
                    <a:pt x="94" y="181"/>
                  </a:cubicBezTo>
                  <a:cubicBezTo>
                    <a:pt x="95" y="180"/>
                    <a:pt x="96" y="180"/>
                    <a:pt x="96" y="180"/>
                  </a:cubicBezTo>
                  <a:cubicBezTo>
                    <a:pt x="98" y="179"/>
                    <a:pt x="99" y="179"/>
                    <a:pt x="101" y="179"/>
                  </a:cubicBezTo>
                  <a:cubicBezTo>
                    <a:pt x="102" y="179"/>
                    <a:pt x="104" y="179"/>
                    <a:pt x="106" y="180"/>
                  </a:cubicBezTo>
                  <a:cubicBezTo>
                    <a:pt x="107" y="180"/>
                    <a:pt x="108" y="180"/>
                    <a:pt x="109" y="180"/>
                  </a:cubicBezTo>
                  <a:cubicBezTo>
                    <a:pt x="111" y="180"/>
                    <a:pt x="113" y="181"/>
                    <a:pt x="115" y="181"/>
                  </a:cubicBezTo>
                  <a:cubicBezTo>
                    <a:pt x="116" y="181"/>
                    <a:pt x="117" y="181"/>
                    <a:pt x="118" y="181"/>
                  </a:cubicBezTo>
                  <a:cubicBezTo>
                    <a:pt x="119" y="182"/>
                    <a:pt x="120" y="183"/>
                    <a:pt x="119" y="184"/>
                  </a:cubicBezTo>
                  <a:cubicBezTo>
                    <a:pt x="119" y="185"/>
                    <a:pt x="118" y="185"/>
                    <a:pt x="117" y="185"/>
                  </a:cubicBezTo>
                  <a:cubicBezTo>
                    <a:pt x="116" y="186"/>
                    <a:pt x="115" y="186"/>
                    <a:pt x="114" y="186"/>
                  </a:cubicBezTo>
                  <a:cubicBezTo>
                    <a:pt x="112" y="187"/>
                    <a:pt x="110" y="187"/>
                    <a:pt x="108" y="186"/>
                  </a:cubicBezTo>
                  <a:cubicBezTo>
                    <a:pt x="108" y="185"/>
                    <a:pt x="108" y="185"/>
                    <a:pt x="108" y="185"/>
                  </a:cubicBezTo>
                  <a:cubicBezTo>
                    <a:pt x="107" y="184"/>
                    <a:pt x="105" y="185"/>
                    <a:pt x="104" y="186"/>
                  </a:cubicBezTo>
                  <a:cubicBezTo>
                    <a:pt x="104" y="185"/>
                    <a:pt x="103" y="185"/>
                    <a:pt x="102" y="185"/>
                  </a:cubicBezTo>
                  <a:cubicBezTo>
                    <a:pt x="101" y="185"/>
                    <a:pt x="101" y="186"/>
                    <a:pt x="100" y="186"/>
                  </a:cubicBezTo>
                  <a:cubicBezTo>
                    <a:pt x="100" y="186"/>
                    <a:pt x="99" y="186"/>
                    <a:pt x="99" y="186"/>
                  </a:cubicBezTo>
                  <a:cubicBezTo>
                    <a:pt x="99" y="186"/>
                    <a:pt x="99" y="187"/>
                    <a:pt x="99" y="187"/>
                  </a:cubicBezTo>
                  <a:cubicBezTo>
                    <a:pt x="98" y="189"/>
                    <a:pt x="94" y="190"/>
                    <a:pt x="93" y="192"/>
                  </a:cubicBezTo>
                  <a:cubicBezTo>
                    <a:pt x="93" y="193"/>
                    <a:pt x="92" y="193"/>
                    <a:pt x="92" y="193"/>
                  </a:cubicBezTo>
                  <a:cubicBezTo>
                    <a:pt x="91" y="193"/>
                    <a:pt x="91" y="193"/>
                    <a:pt x="91" y="193"/>
                  </a:cubicBezTo>
                  <a:cubicBezTo>
                    <a:pt x="89" y="191"/>
                    <a:pt x="87" y="189"/>
                    <a:pt x="85" y="188"/>
                  </a:cubicBezTo>
                  <a:cubicBezTo>
                    <a:pt x="85" y="188"/>
                    <a:pt x="85" y="188"/>
                    <a:pt x="85" y="188"/>
                  </a:cubicBezTo>
                  <a:cubicBezTo>
                    <a:pt x="84" y="188"/>
                    <a:pt x="84" y="189"/>
                    <a:pt x="84" y="189"/>
                  </a:cubicBezTo>
                  <a:cubicBezTo>
                    <a:pt x="83" y="190"/>
                    <a:pt x="83" y="192"/>
                    <a:pt x="81" y="192"/>
                  </a:cubicBezTo>
                  <a:cubicBezTo>
                    <a:pt x="80" y="193"/>
                    <a:pt x="79" y="193"/>
                    <a:pt x="78" y="194"/>
                  </a:cubicBezTo>
                  <a:cubicBezTo>
                    <a:pt x="78" y="194"/>
                    <a:pt x="78" y="195"/>
                    <a:pt x="79" y="195"/>
                  </a:cubicBezTo>
                  <a:cubicBezTo>
                    <a:pt x="79" y="197"/>
                    <a:pt x="80" y="198"/>
                    <a:pt x="80" y="200"/>
                  </a:cubicBezTo>
                  <a:cubicBezTo>
                    <a:pt x="80" y="202"/>
                    <a:pt x="80" y="203"/>
                    <a:pt x="80" y="205"/>
                  </a:cubicBezTo>
                  <a:cubicBezTo>
                    <a:pt x="79" y="205"/>
                    <a:pt x="79" y="205"/>
                    <a:pt x="79" y="205"/>
                  </a:cubicBezTo>
                  <a:cubicBezTo>
                    <a:pt x="79" y="206"/>
                    <a:pt x="80" y="207"/>
                    <a:pt x="81" y="207"/>
                  </a:cubicBezTo>
                  <a:cubicBezTo>
                    <a:pt x="82" y="207"/>
                    <a:pt x="83" y="207"/>
                    <a:pt x="84" y="206"/>
                  </a:cubicBezTo>
                  <a:cubicBezTo>
                    <a:pt x="84" y="207"/>
                    <a:pt x="85" y="208"/>
                    <a:pt x="84" y="209"/>
                  </a:cubicBezTo>
                  <a:cubicBezTo>
                    <a:pt x="84" y="210"/>
                    <a:pt x="84" y="211"/>
                    <a:pt x="84" y="211"/>
                  </a:cubicBezTo>
                  <a:cubicBezTo>
                    <a:pt x="85" y="212"/>
                    <a:pt x="85" y="212"/>
                    <a:pt x="85" y="212"/>
                  </a:cubicBezTo>
                  <a:cubicBezTo>
                    <a:pt x="85" y="213"/>
                    <a:pt x="86" y="213"/>
                    <a:pt x="85" y="213"/>
                  </a:cubicBezTo>
                  <a:cubicBezTo>
                    <a:pt x="84" y="213"/>
                    <a:pt x="84" y="212"/>
                    <a:pt x="83" y="212"/>
                  </a:cubicBezTo>
                  <a:cubicBezTo>
                    <a:pt x="82" y="210"/>
                    <a:pt x="80" y="209"/>
                    <a:pt x="78" y="209"/>
                  </a:cubicBezTo>
                  <a:cubicBezTo>
                    <a:pt x="77" y="209"/>
                    <a:pt x="75" y="209"/>
                    <a:pt x="73" y="209"/>
                  </a:cubicBezTo>
                  <a:cubicBezTo>
                    <a:pt x="72" y="209"/>
                    <a:pt x="70" y="210"/>
                    <a:pt x="70" y="211"/>
                  </a:cubicBezTo>
                  <a:cubicBezTo>
                    <a:pt x="71" y="212"/>
                    <a:pt x="72" y="212"/>
                    <a:pt x="73" y="212"/>
                  </a:cubicBezTo>
                  <a:cubicBezTo>
                    <a:pt x="75" y="213"/>
                    <a:pt x="76" y="215"/>
                    <a:pt x="78" y="217"/>
                  </a:cubicBezTo>
                  <a:cubicBezTo>
                    <a:pt x="80" y="219"/>
                    <a:pt x="83" y="220"/>
                    <a:pt x="85" y="222"/>
                  </a:cubicBezTo>
                  <a:cubicBezTo>
                    <a:pt x="86" y="223"/>
                    <a:pt x="86" y="223"/>
                    <a:pt x="86" y="224"/>
                  </a:cubicBezTo>
                  <a:cubicBezTo>
                    <a:pt x="87" y="224"/>
                    <a:pt x="87" y="224"/>
                    <a:pt x="88" y="224"/>
                  </a:cubicBezTo>
                  <a:cubicBezTo>
                    <a:pt x="89" y="225"/>
                    <a:pt x="90" y="225"/>
                    <a:pt x="91" y="226"/>
                  </a:cubicBezTo>
                  <a:cubicBezTo>
                    <a:pt x="92" y="226"/>
                    <a:pt x="92" y="226"/>
                    <a:pt x="93" y="226"/>
                  </a:cubicBezTo>
                  <a:cubicBezTo>
                    <a:pt x="93" y="225"/>
                    <a:pt x="93" y="224"/>
                    <a:pt x="93" y="223"/>
                  </a:cubicBezTo>
                  <a:cubicBezTo>
                    <a:pt x="92" y="221"/>
                    <a:pt x="91" y="220"/>
                    <a:pt x="89" y="219"/>
                  </a:cubicBezTo>
                  <a:cubicBezTo>
                    <a:pt x="89" y="219"/>
                    <a:pt x="89" y="219"/>
                    <a:pt x="89" y="218"/>
                  </a:cubicBezTo>
                  <a:cubicBezTo>
                    <a:pt x="89" y="218"/>
                    <a:pt x="89" y="218"/>
                    <a:pt x="89" y="217"/>
                  </a:cubicBezTo>
                  <a:cubicBezTo>
                    <a:pt x="90" y="216"/>
                    <a:pt x="91" y="216"/>
                    <a:pt x="91" y="215"/>
                  </a:cubicBezTo>
                  <a:cubicBezTo>
                    <a:pt x="92" y="214"/>
                    <a:pt x="92" y="213"/>
                    <a:pt x="92" y="212"/>
                  </a:cubicBezTo>
                  <a:cubicBezTo>
                    <a:pt x="92" y="212"/>
                    <a:pt x="92" y="212"/>
                    <a:pt x="92" y="211"/>
                  </a:cubicBezTo>
                  <a:cubicBezTo>
                    <a:pt x="92" y="210"/>
                    <a:pt x="93" y="211"/>
                    <a:pt x="94" y="211"/>
                  </a:cubicBezTo>
                  <a:cubicBezTo>
                    <a:pt x="94" y="211"/>
                    <a:pt x="95" y="212"/>
                    <a:pt x="95" y="212"/>
                  </a:cubicBezTo>
                  <a:cubicBezTo>
                    <a:pt x="95" y="211"/>
                    <a:pt x="95" y="211"/>
                    <a:pt x="96" y="210"/>
                  </a:cubicBezTo>
                  <a:cubicBezTo>
                    <a:pt x="96" y="209"/>
                    <a:pt x="97" y="209"/>
                    <a:pt x="98" y="209"/>
                  </a:cubicBezTo>
                  <a:cubicBezTo>
                    <a:pt x="99" y="208"/>
                    <a:pt x="98" y="207"/>
                    <a:pt x="97" y="206"/>
                  </a:cubicBezTo>
                  <a:cubicBezTo>
                    <a:pt x="96" y="206"/>
                    <a:pt x="94" y="206"/>
                    <a:pt x="94" y="205"/>
                  </a:cubicBezTo>
                  <a:cubicBezTo>
                    <a:pt x="93" y="205"/>
                    <a:pt x="93" y="204"/>
                    <a:pt x="93" y="204"/>
                  </a:cubicBezTo>
                  <a:cubicBezTo>
                    <a:pt x="93" y="203"/>
                    <a:pt x="94" y="203"/>
                    <a:pt x="95" y="203"/>
                  </a:cubicBezTo>
                  <a:cubicBezTo>
                    <a:pt x="95" y="204"/>
                    <a:pt x="96" y="205"/>
                    <a:pt x="97" y="205"/>
                  </a:cubicBezTo>
                  <a:cubicBezTo>
                    <a:pt x="97" y="205"/>
                    <a:pt x="98" y="204"/>
                    <a:pt x="99" y="204"/>
                  </a:cubicBezTo>
                  <a:cubicBezTo>
                    <a:pt x="100" y="204"/>
                    <a:pt x="101" y="205"/>
                    <a:pt x="101" y="205"/>
                  </a:cubicBezTo>
                  <a:cubicBezTo>
                    <a:pt x="100" y="206"/>
                    <a:pt x="101" y="207"/>
                    <a:pt x="101" y="207"/>
                  </a:cubicBezTo>
                  <a:cubicBezTo>
                    <a:pt x="102" y="207"/>
                    <a:pt x="103" y="207"/>
                    <a:pt x="103" y="206"/>
                  </a:cubicBezTo>
                  <a:cubicBezTo>
                    <a:pt x="105" y="206"/>
                    <a:pt x="106" y="205"/>
                    <a:pt x="107" y="205"/>
                  </a:cubicBezTo>
                  <a:cubicBezTo>
                    <a:pt x="106" y="203"/>
                    <a:pt x="107" y="202"/>
                    <a:pt x="108" y="201"/>
                  </a:cubicBezTo>
                  <a:cubicBezTo>
                    <a:pt x="110" y="200"/>
                    <a:pt x="111" y="199"/>
                    <a:pt x="112" y="198"/>
                  </a:cubicBezTo>
                  <a:cubicBezTo>
                    <a:pt x="114" y="197"/>
                    <a:pt x="116" y="196"/>
                    <a:pt x="118" y="194"/>
                  </a:cubicBezTo>
                  <a:cubicBezTo>
                    <a:pt x="120" y="193"/>
                    <a:pt x="123" y="192"/>
                    <a:pt x="126" y="192"/>
                  </a:cubicBezTo>
                  <a:cubicBezTo>
                    <a:pt x="126" y="192"/>
                    <a:pt x="127" y="192"/>
                    <a:pt x="128" y="193"/>
                  </a:cubicBezTo>
                  <a:cubicBezTo>
                    <a:pt x="128" y="193"/>
                    <a:pt x="128" y="193"/>
                    <a:pt x="128" y="194"/>
                  </a:cubicBezTo>
                  <a:cubicBezTo>
                    <a:pt x="129" y="194"/>
                    <a:pt x="130" y="195"/>
                    <a:pt x="130" y="196"/>
                  </a:cubicBezTo>
                  <a:cubicBezTo>
                    <a:pt x="129" y="198"/>
                    <a:pt x="128" y="198"/>
                    <a:pt x="127" y="199"/>
                  </a:cubicBezTo>
                  <a:cubicBezTo>
                    <a:pt x="126" y="200"/>
                    <a:pt x="126" y="201"/>
                    <a:pt x="125" y="203"/>
                  </a:cubicBezTo>
                  <a:cubicBezTo>
                    <a:pt x="125" y="204"/>
                    <a:pt x="124" y="206"/>
                    <a:pt x="123" y="206"/>
                  </a:cubicBezTo>
                  <a:cubicBezTo>
                    <a:pt x="122" y="207"/>
                    <a:pt x="121" y="206"/>
                    <a:pt x="121" y="207"/>
                  </a:cubicBezTo>
                  <a:cubicBezTo>
                    <a:pt x="120" y="207"/>
                    <a:pt x="120" y="207"/>
                    <a:pt x="120" y="208"/>
                  </a:cubicBezTo>
                  <a:cubicBezTo>
                    <a:pt x="119" y="208"/>
                    <a:pt x="118" y="208"/>
                    <a:pt x="117" y="209"/>
                  </a:cubicBezTo>
                  <a:cubicBezTo>
                    <a:pt x="116" y="209"/>
                    <a:pt x="116" y="210"/>
                    <a:pt x="115" y="211"/>
                  </a:cubicBezTo>
                  <a:cubicBezTo>
                    <a:pt x="115" y="211"/>
                    <a:pt x="114" y="211"/>
                    <a:pt x="113" y="211"/>
                  </a:cubicBezTo>
                  <a:cubicBezTo>
                    <a:pt x="112" y="212"/>
                    <a:pt x="112" y="214"/>
                    <a:pt x="112" y="215"/>
                  </a:cubicBezTo>
                  <a:cubicBezTo>
                    <a:pt x="112" y="217"/>
                    <a:pt x="112" y="218"/>
                    <a:pt x="111" y="219"/>
                  </a:cubicBezTo>
                  <a:cubicBezTo>
                    <a:pt x="109" y="218"/>
                    <a:pt x="111" y="214"/>
                    <a:pt x="110" y="213"/>
                  </a:cubicBezTo>
                  <a:cubicBezTo>
                    <a:pt x="109" y="212"/>
                    <a:pt x="107" y="212"/>
                    <a:pt x="106" y="212"/>
                  </a:cubicBezTo>
                  <a:cubicBezTo>
                    <a:pt x="105" y="212"/>
                    <a:pt x="105" y="212"/>
                    <a:pt x="105" y="212"/>
                  </a:cubicBezTo>
                  <a:cubicBezTo>
                    <a:pt x="104" y="213"/>
                    <a:pt x="104" y="214"/>
                    <a:pt x="104" y="215"/>
                  </a:cubicBezTo>
                  <a:cubicBezTo>
                    <a:pt x="104" y="218"/>
                    <a:pt x="102" y="221"/>
                    <a:pt x="100" y="222"/>
                  </a:cubicBezTo>
                  <a:cubicBezTo>
                    <a:pt x="99" y="221"/>
                    <a:pt x="100" y="220"/>
                    <a:pt x="100" y="220"/>
                  </a:cubicBezTo>
                  <a:cubicBezTo>
                    <a:pt x="101" y="219"/>
                    <a:pt x="101" y="219"/>
                    <a:pt x="101" y="218"/>
                  </a:cubicBezTo>
                  <a:cubicBezTo>
                    <a:pt x="102" y="218"/>
                    <a:pt x="102" y="217"/>
                    <a:pt x="102" y="217"/>
                  </a:cubicBezTo>
                  <a:cubicBezTo>
                    <a:pt x="101" y="216"/>
                    <a:pt x="101" y="215"/>
                    <a:pt x="101" y="214"/>
                  </a:cubicBezTo>
                  <a:cubicBezTo>
                    <a:pt x="101" y="214"/>
                    <a:pt x="101" y="214"/>
                    <a:pt x="101" y="214"/>
                  </a:cubicBezTo>
                  <a:cubicBezTo>
                    <a:pt x="101" y="213"/>
                    <a:pt x="101" y="213"/>
                    <a:pt x="101" y="213"/>
                  </a:cubicBezTo>
                  <a:cubicBezTo>
                    <a:pt x="99" y="213"/>
                    <a:pt x="97" y="213"/>
                    <a:pt x="95" y="214"/>
                  </a:cubicBezTo>
                  <a:cubicBezTo>
                    <a:pt x="94" y="215"/>
                    <a:pt x="93" y="217"/>
                    <a:pt x="93" y="218"/>
                  </a:cubicBezTo>
                  <a:cubicBezTo>
                    <a:pt x="92" y="221"/>
                    <a:pt x="95" y="223"/>
                    <a:pt x="95" y="225"/>
                  </a:cubicBezTo>
                  <a:cubicBezTo>
                    <a:pt x="95" y="226"/>
                    <a:pt x="96" y="226"/>
                    <a:pt x="96" y="226"/>
                  </a:cubicBezTo>
                  <a:cubicBezTo>
                    <a:pt x="96" y="226"/>
                    <a:pt x="96" y="227"/>
                    <a:pt x="97" y="227"/>
                  </a:cubicBezTo>
                  <a:cubicBezTo>
                    <a:pt x="98" y="227"/>
                    <a:pt x="98" y="228"/>
                    <a:pt x="99" y="229"/>
                  </a:cubicBezTo>
                  <a:cubicBezTo>
                    <a:pt x="100" y="229"/>
                    <a:pt x="100" y="230"/>
                    <a:pt x="100" y="230"/>
                  </a:cubicBezTo>
                  <a:cubicBezTo>
                    <a:pt x="100" y="231"/>
                    <a:pt x="100" y="231"/>
                    <a:pt x="100" y="231"/>
                  </a:cubicBezTo>
                  <a:cubicBezTo>
                    <a:pt x="101" y="232"/>
                    <a:pt x="102" y="232"/>
                    <a:pt x="102" y="233"/>
                  </a:cubicBezTo>
                  <a:cubicBezTo>
                    <a:pt x="104" y="233"/>
                    <a:pt x="105" y="234"/>
                    <a:pt x="107" y="235"/>
                  </a:cubicBezTo>
                  <a:cubicBezTo>
                    <a:pt x="107" y="235"/>
                    <a:pt x="108" y="235"/>
                    <a:pt x="109" y="236"/>
                  </a:cubicBezTo>
                  <a:cubicBezTo>
                    <a:pt x="109" y="236"/>
                    <a:pt x="109" y="237"/>
                    <a:pt x="109" y="237"/>
                  </a:cubicBezTo>
                  <a:cubicBezTo>
                    <a:pt x="110" y="237"/>
                    <a:pt x="110" y="237"/>
                    <a:pt x="111" y="237"/>
                  </a:cubicBezTo>
                  <a:cubicBezTo>
                    <a:pt x="112" y="237"/>
                    <a:pt x="113" y="239"/>
                    <a:pt x="115" y="239"/>
                  </a:cubicBezTo>
                  <a:cubicBezTo>
                    <a:pt x="115" y="239"/>
                    <a:pt x="116" y="239"/>
                    <a:pt x="117" y="239"/>
                  </a:cubicBezTo>
                  <a:cubicBezTo>
                    <a:pt x="119" y="239"/>
                    <a:pt x="120" y="241"/>
                    <a:pt x="122" y="242"/>
                  </a:cubicBezTo>
                  <a:cubicBezTo>
                    <a:pt x="125" y="243"/>
                    <a:pt x="129" y="242"/>
                    <a:pt x="131" y="240"/>
                  </a:cubicBezTo>
                  <a:cubicBezTo>
                    <a:pt x="132" y="239"/>
                    <a:pt x="133" y="238"/>
                    <a:pt x="133" y="237"/>
                  </a:cubicBezTo>
                  <a:cubicBezTo>
                    <a:pt x="133" y="236"/>
                    <a:pt x="134" y="235"/>
                    <a:pt x="134" y="234"/>
                  </a:cubicBezTo>
                  <a:cubicBezTo>
                    <a:pt x="134" y="234"/>
                    <a:pt x="134" y="233"/>
                    <a:pt x="134" y="232"/>
                  </a:cubicBezTo>
                  <a:cubicBezTo>
                    <a:pt x="135" y="231"/>
                    <a:pt x="134" y="229"/>
                    <a:pt x="134" y="228"/>
                  </a:cubicBezTo>
                  <a:cubicBezTo>
                    <a:pt x="134" y="224"/>
                    <a:pt x="134" y="220"/>
                    <a:pt x="134" y="216"/>
                  </a:cubicBezTo>
                  <a:cubicBezTo>
                    <a:pt x="134" y="215"/>
                    <a:pt x="134" y="214"/>
                    <a:pt x="135" y="213"/>
                  </a:cubicBezTo>
                  <a:cubicBezTo>
                    <a:pt x="135" y="211"/>
                    <a:pt x="135" y="208"/>
                    <a:pt x="137" y="206"/>
                  </a:cubicBezTo>
                  <a:cubicBezTo>
                    <a:pt x="137" y="205"/>
                    <a:pt x="138" y="204"/>
                    <a:pt x="139" y="203"/>
                  </a:cubicBezTo>
                  <a:cubicBezTo>
                    <a:pt x="139" y="201"/>
                    <a:pt x="138" y="199"/>
                    <a:pt x="140" y="198"/>
                  </a:cubicBezTo>
                  <a:cubicBezTo>
                    <a:pt x="139" y="198"/>
                    <a:pt x="138" y="197"/>
                    <a:pt x="138" y="196"/>
                  </a:cubicBezTo>
                  <a:cubicBezTo>
                    <a:pt x="138" y="195"/>
                    <a:pt x="138" y="195"/>
                    <a:pt x="138" y="194"/>
                  </a:cubicBezTo>
                  <a:cubicBezTo>
                    <a:pt x="139" y="193"/>
                    <a:pt x="139" y="193"/>
                    <a:pt x="139" y="192"/>
                  </a:cubicBezTo>
                  <a:cubicBezTo>
                    <a:pt x="139" y="192"/>
                    <a:pt x="139" y="192"/>
                    <a:pt x="140" y="192"/>
                  </a:cubicBezTo>
                  <a:cubicBezTo>
                    <a:pt x="140" y="191"/>
                    <a:pt x="139" y="191"/>
                    <a:pt x="139" y="190"/>
                  </a:cubicBezTo>
                  <a:cubicBezTo>
                    <a:pt x="139" y="190"/>
                    <a:pt x="140" y="189"/>
                    <a:pt x="140" y="189"/>
                  </a:cubicBezTo>
                  <a:cubicBezTo>
                    <a:pt x="141" y="188"/>
                    <a:pt x="142" y="188"/>
                    <a:pt x="142" y="188"/>
                  </a:cubicBezTo>
                  <a:cubicBezTo>
                    <a:pt x="143" y="188"/>
                    <a:pt x="143" y="188"/>
                    <a:pt x="144" y="188"/>
                  </a:cubicBezTo>
                  <a:cubicBezTo>
                    <a:pt x="144" y="188"/>
                    <a:pt x="144" y="187"/>
                    <a:pt x="144" y="187"/>
                  </a:cubicBezTo>
                  <a:cubicBezTo>
                    <a:pt x="145" y="186"/>
                    <a:pt x="146" y="185"/>
                    <a:pt x="147" y="186"/>
                  </a:cubicBezTo>
                  <a:cubicBezTo>
                    <a:pt x="147" y="186"/>
                    <a:pt x="148" y="187"/>
                    <a:pt x="148" y="187"/>
                  </a:cubicBezTo>
                  <a:cubicBezTo>
                    <a:pt x="149" y="187"/>
                    <a:pt x="149" y="186"/>
                    <a:pt x="150" y="186"/>
                  </a:cubicBezTo>
                  <a:cubicBezTo>
                    <a:pt x="151" y="186"/>
                    <a:pt x="152" y="185"/>
                    <a:pt x="153" y="185"/>
                  </a:cubicBezTo>
                  <a:cubicBezTo>
                    <a:pt x="154" y="184"/>
                    <a:pt x="154" y="184"/>
                    <a:pt x="155" y="183"/>
                  </a:cubicBezTo>
                  <a:cubicBezTo>
                    <a:pt x="155" y="183"/>
                    <a:pt x="156" y="183"/>
                    <a:pt x="156" y="182"/>
                  </a:cubicBezTo>
                  <a:cubicBezTo>
                    <a:pt x="157" y="182"/>
                    <a:pt x="157" y="182"/>
                    <a:pt x="158" y="181"/>
                  </a:cubicBezTo>
                  <a:cubicBezTo>
                    <a:pt x="160" y="180"/>
                    <a:pt x="163" y="179"/>
                    <a:pt x="165" y="177"/>
                  </a:cubicBezTo>
                  <a:cubicBezTo>
                    <a:pt x="166" y="177"/>
                    <a:pt x="166" y="177"/>
                    <a:pt x="166" y="177"/>
                  </a:cubicBezTo>
                  <a:cubicBezTo>
                    <a:pt x="166" y="177"/>
                    <a:pt x="166" y="177"/>
                    <a:pt x="167" y="177"/>
                  </a:cubicBezTo>
                  <a:cubicBezTo>
                    <a:pt x="167" y="178"/>
                    <a:pt x="168" y="178"/>
                    <a:pt x="169" y="179"/>
                  </a:cubicBezTo>
                  <a:cubicBezTo>
                    <a:pt x="169" y="179"/>
                    <a:pt x="170" y="179"/>
                    <a:pt x="170" y="179"/>
                  </a:cubicBezTo>
                  <a:cubicBezTo>
                    <a:pt x="171" y="179"/>
                    <a:pt x="171" y="179"/>
                    <a:pt x="171" y="178"/>
                  </a:cubicBezTo>
                  <a:cubicBezTo>
                    <a:pt x="173" y="177"/>
                    <a:pt x="174" y="174"/>
                    <a:pt x="175" y="172"/>
                  </a:cubicBezTo>
                  <a:cubicBezTo>
                    <a:pt x="176" y="170"/>
                    <a:pt x="176" y="168"/>
                    <a:pt x="178" y="167"/>
                  </a:cubicBezTo>
                  <a:cubicBezTo>
                    <a:pt x="179" y="166"/>
                    <a:pt x="179" y="166"/>
                    <a:pt x="180" y="166"/>
                  </a:cubicBezTo>
                  <a:cubicBezTo>
                    <a:pt x="181" y="165"/>
                    <a:pt x="182" y="164"/>
                    <a:pt x="182" y="164"/>
                  </a:cubicBezTo>
                  <a:cubicBezTo>
                    <a:pt x="183" y="163"/>
                    <a:pt x="184" y="163"/>
                    <a:pt x="185" y="163"/>
                  </a:cubicBezTo>
                  <a:cubicBezTo>
                    <a:pt x="186" y="164"/>
                    <a:pt x="187" y="165"/>
                    <a:pt x="188" y="165"/>
                  </a:cubicBezTo>
                  <a:cubicBezTo>
                    <a:pt x="188" y="165"/>
                    <a:pt x="188" y="165"/>
                    <a:pt x="188" y="165"/>
                  </a:cubicBezTo>
                  <a:cubicBezTo>
                    <a:pt x="189" y="165"/>
                    <a:pt x="189" y="166"/>
                    <a:pt x="189" y="166"/>
                  </a:cubicBezTo>
                  <a:cubicBezTo>
                    <a:pt x="189" y="166"/>
                    <a:pt x="190" y="167"/>
                    <a:pt x="190" y="168"/>
                  </a:cubicBezTo>
                  <a:cubicBezTo>
                    <a:pt x="190" y="168"/>
                    <a:pt x="191" y="168"/>
                    <a:pt x="191" y="168"/>
                  </a:cubicBezTo>
                  <a:cubicBezTo>
                    <a:pt x="191" y="168"/>
                    <a:pt x="191" y="168"/>
                    <a:pt x="192" y="168"/>
                  </a:cubicBezTo>
                  <a:cubicBezTo>
                    <a:pt x="192" y="168"/>
                    <a:pt x="193" y="168"/>
                    <a:pt x="194" y="168"/>
                  </a:cubicBezTo>
                  <a:cubicBezTo>
                    <a:pt x="199" y="168"/>
                    <a:pt x="199" y="168"/>
                    <a:pt x="199" y="168"/>
                  </a:cubicBezTo>
                  <a:cubicBezTo>
                    <a:pt x="198" y="167"/>
                    <a:pt x="196" y="167"/>
                    <a:pt x="194" y="166"/>
                  </a:cubicBezTo>
                  <a:close/>
                  <a:moveTo>
                    <a:pt x="13" y="1"/>
                  </a:moveTo>
                  <a:cubicBezTo>
                    <a:pt x="11" y="1"/>
                    <a:pt x="10" y="2"/>
                    <a:pt x="9" y="2"/>
                  </a:cubicBezTo>
                  <a:cubicBezTo>
                    <a:pt x="8" y="3"/>
                    <a:pt x="7" y="3"/>
                    <a:pt x="5" y="4"/>
                  </a:cubicBezTo>
                  <a:cubicBezTo>
                    <a:pt x="6" y="4"/>
                    <a:pt x="6" y="4"/>
                    <a:pt x="6" y="4"/>
                  </a:cubicBezTo>
                  <a:cubicBezTo>
                    <a:pt x="7" y="5"/>
                    <a:pt x="7" y="6"/>
                    <a:pt x="7" y="6"/>
                  </a:cubicBezTo>
                  <a:cubicBezTo>
                    <a:pt x="7" y="6"/>
                    <a:pt x="6" y="6"/>
                    <a:pt x="6" y="6"/>
                  </a:cubicBezTo>
                  <a:cubicBezTo>
                    <a:pt x="6" y="6"/>
                    <a:pt x="6" y="6"/>
                    <a:pt x="5" y="6"/>
                  </a:cubicBezTo>
                  <a:cubicBezTo>
                    <a:pt x="5" y="6"/>
                    <a:pt x="5" y="6"/>
                    <a:pt x="5" y="6"/>
                  </a:cubicBezTo>
                  <a:cubicBezTo>
                    <a:pt x="4" y="6"/>
                    <a:pt x="4" y="7"/>
                    <a:pt x="4" y="7"/>
                  </a:cubicBezTo>
                  <a:cubicBezTo>
                    <a:pt x="5" y="8"/>
                    <a:pt x="5" y="8"/>
                    <a:pt x="5" y="9"/>
                  </a:cubicBezTo>
                  <a:cubicBezTo>
                    <a:pt x="5" y="9"/>
                    <a:pt x="5" y="10"/>
                    <a:pt x="6" y="10"/>
                  </a:cubicBezTo>
                  <a:cubicBezTo>
                    <a:pt x="6" y="10"/>
                    <a:pt x="7" y="10"/>
                    <a:pt x="7" y="10"/>
                  </a:cubicBezTo>
                  <a:cubicBezTo>
                    <a:pt x="7" y="10"/>
                    <a:pt x="8" y="9"/>
                    <a:pt x="8" y="9"/>
                  </a:cubicBezTo>
                  <a:cubicBezTo>
                    <a:pt x="9" y="8"/>
                    <a:pt x="11" y="8"/>
                    <a:pt x="12" y="9"/>
                  </a:cubicBezTo>
                  <a:cubicBezTo>
                    <a:pt x="12" y="9"/>
                    <a:pt x="13" y="9"/>
                    <a:pt x="13" y="9"/>
                  </a:cubicBezTo>
                  <a:cubicBezTo>
                    <a:pt x="13" y="9"/>
                    <a:pt x="14" y="9"/>
                    <a:pt x="14" y="9"/>
                  </a:cubicBezTo>
                  <a:cubicBezTo>
                    <a:pt x="15" y="8"/>
                    <a:pt x="16" y="6"/>
                    <a:pt x="18" y="5"/>
                  </a:cubicBezTo>
                  <a:cubicBezTo>
                    <a:pt x="18" y="4"/>
                    <a:pt x="20" y="4"/>
                    <a:pt x="20" y="2"/>
                  </a:cubicBezTo>
                  <a:cubicBezTo>
                    <a:pt x="20" y="2"/>
                    <a:pt x="20" y="1"/>
                    <a:pt x="20" y="1"/>
                  </a:cubicBezTo>
                  <a:cubicBezTo>
                    <a:pt x="20" y="0"/>
                    <a:pt x="20" y="0"/>
                    <a:pt x="20" y="0"/>
                  </a:cubicBezTo>
                  <a:cubicBezTo>
                    <a:pt x="19" y="0"/>
                    <a:pt x="19" y="0"/>
                    <a:pt x="18" y="0"/>
                  </a:cubicBezTo>
                  <a:cubicBezTo>
                    <a:pt x="16" y="0"/>
                    <a:pt x="14" y="0"/>
                    <a:pt x="13" y="1"/>
                  </a:cubicBezTo>
                  <a:close/>
                  <a:moveTo>
                    <a:pt x="36" y="5"/>
                  </a:moveTo>
                  <a:cubicBezTo>
                    <a:pt x="36" y="4"/>
                    <a:pt x="35" y="4"/>
                    <a:pt x="34" y="3"/>
                  </a:cubicBezTo>
                  <a:cubicBezTo>
                    <a:pt x="34" y="3"/>
                    <a:pt x="33" y="2"/>
                    <a:pt x="33" y="2"/>
                  </a:cubicBezTo>
                  <a:cubicBezTo>
                    <a:pt x="31" y="1"/>
                    <a:pt x="29" y="0"/>
                    <a:pt x="27" y="0"/>
                  </a:cubicBezTo>
                  <a:cubicBezTo>
                    <a:pt x="25" y="0"/>
                    <a:pt x="24" y="0"/>
                    <a:pt x="22" y="0"/>
                  </a:cubicBezTo>
                  <a:cubicBezTo>
                    <a:pt x="22" y="1"/>
                    <a:pt x="22" y="2"/>
                    <a:pt x="23" y="3"/>
                  </a:cubicBezTo>
                  <a:cubicBezTo>
                    <a:pt x="24" y="4"/>
                    <a:pt x="25" y="4"/>
                    <a:pt x="26" y="4"/>
                  </a:cubicBezTo>
                  <a:cubicBezTo>
                    <a:pt x="26" y="4"/>
                    <a:pt x="27" y="4"/>
                    <a:pt x="28" y="5"/>
                  </a:cubicBezTo>
                  <a:cubicBezTo>
                    <a:pt x="29" y="5"/>
                    <a:pt x="31" y="6"/>
                    <a:pt x="33" y="7"/>
                  </a:cubicBezTo>
                  <a:cubicBezTo>
                    <a:pt x="33" y="7"/>
                    <a:pt x="33" y="7"/>
                    <a:pt x="34" y="7"/>
                  </a:cubicBezTo>
                  <a:cubicBezTo>
                    <a:pt x="34" y="7"/>
                    <a:pt x="35" y="7"/>
                    <a:pt x="35" y="7"/>
                  </a:cubicBezTo>
                  <a:cubicBezTo>
                    <a:pt x="36" y="6"/>
                    <a:pt x="37" y="5"/>
                    <a:pt x="36" y="5"/>
                  </a:cubicBezTo>
                  <a:close/>
                </a:path>
              </a:pathLst>
            </a:custGeom>
            <a:grpFill/>
            <a:ln w="3175" cap="rnd">
              <a:solidFill>
                <a:schemeClr val="accent5"/>
              </a:solidFill>
              <a:prstDash val="solid"/>
              <a:round/>
              <a:headEnd/>
              <a:tailEnd/>
            </a:ln>
          </p:spPr>
          <p:txBody>
            <a:bodyPr/>
            <a:lstStyle/>
            <a:p>
              <a:endParaRPr lang="ru-RU"/>
            </a:p>
          </p:txBody>
        </p:sp>
        <p:sp>
          <p:nvSpPr>
            <p:cNvPr id="131" name="Freeform 130">
              <a:extLst>
                <a:ext uri="{FF2B5EF4-FFF2-40B4-BE49-F238E27FC236}">
                  <a16:creationId xmlns:a16="http://schemas.microsoft.com/office/drawing/2014/main" id="{62F02324-4ECB-28DA-225C-4C6FA0B31E58}"/>
                </a:ext>
              </a:extLst>
            </p:cNvPr>
            <p:cNvSpPr>
              <a:spLocks/>
            </p:cNvSpPr>
            <p:nvPr/>
          </p:nvSpPr>
          <p:spPr bwMode="auto">
            <a:xfrm>
              <a:off x="2640013" y="3843338"/>
              <a:ext cx="223837" cy="201612"/>
            </a:xfrm>
            <a:custGeom>
              <a:avLst/>
              <a:gdLst>
                <a:gd name="T0" fmla="*/ 41732 w 59"/>
                <a:gd name="T1" fmla="*/ 152160 h 53"/>
                <a:gd name="T2" fmla="*/ 49320 w 59"/>
                <a:gd name="T3" fmla="*/ 152160 h 53"/>
                <a:gd name="T4" fmla="*/ 68289 w 59"/>
                <a:gd name="T5" fmla="*/ 140748 h 53"/>
                <a:gd name="T6" fmla="*/ 79671 w 59"/>
                <a:gd name="T7" fmla="*/ 148356 h 53"/>
                <a:gd name="T8" fmla="*/ 91052 w 59"/>
                <a:gd name="T9" fmla="*/ 167376 h 53"/>
                <a:gd name="T10" fmla="*/ 125197 w 59"/>
                <a:gd name="T11" fmla="*/ 190200 h 53"/>
                <a:gd name="T12" fmla="*/ 140372 w 59"/>
                <a:gd name="T13" fmla="*/ 201612 h 53"/>
                <a:gd name="T14" fmla="*/ 159342 w 59"/>
                <a:gd name="T15" fmla="*/ 190200 h 53"/>
                <a:gd name="T16" fmla="*/ 166929 w 59"/>
                <a:gd name="T17" fmla="*/ 174984 h 53"/>
                <a:gd name="T18" fmla="*/ 189692 w 59"/>
                <a:gd name="T19" fmla="*/ 174984 h 53"/>
                <a:gd name="T20" fmla="*/ 197280 w 59"/>
                <a:gd name="T21" fmla="*/ 174984 h 53"/>
                <a:gd name="T22" fmla="*/ 197280 w 59"/>
                <a:gd name="T23" fmla="*/ 174984 h 53"/>
                <a:gd name="T24" fmla="*/ 197280 w 59"/>
                <a:gd name="T25" fmla="*/ 163572 h 53"/>
                <a:gd name="T26" fmla="*/ 201074 w 59"/>
                <a:gd name="T27" fmla="*/ 155964 h 53"/>
                <a:gd name="T28" fmla="*/ 212455 w 59"/>
                <a:gd name="T29" fmla="*/ 152160 h 53"/>
                <a:gd name="T30" fmla="*/ 220043 w 59"/>
                <a:gd name="T31" fmla="*/ 144552 h 53"/>
                <a:gd name="T32" fmla="*/ 216249 w 59"/>
                <a:gd name="T33" fmla="*/ 136944 h 53"/>
                <a:gd name="T34" fmla="*/ 201074 w 59"/>
                <a:gd name="T35" fmla="*/ 117924 h 53"/>
                <a:gd name="T36" fmla="*/ 201074 w 59"/>
                <a:gd name="T37" fmla="*/ 110316 h 53"/>
                <a:gd name="T38" fmla="*/ 212455 w 59"/>
                <a:gd name="T39" fmla="*/ 106512 h 53"/>
                <a:gd name="T40" fmla="*/ 220043 w 59"/>
                <a:gd name="T41" fmla="*/ 98904 h 53"/>
                <a:gd name="T42" fmla="*/ 223837 w 59"/>
                <a:gd name="T43" fmla="*/ 83688 h 53"/>
                <a:gd name="T44" fmla="*/ 223837 w 59"/>
                <a:gd name="T45" fmla="*/ 76080 h 53"/>
                <a:gd name="T46" fmla="*/ 216249 w 59"/>
                <a:gd name="T47" fmla="*/ 68472 h 53"/>
                <a:gd name="T48" fmla="*/ 216249 w 59"/>
                <a:gd name="T49" fmla="*/ 38040 h 53"/>
                <a:gd name="T50" fmla="*/ 204868 w 59"/>
                <a:gd name="T51" fmla="*/ 26628 h 53"/>
                <a:gd name="T52" fmla="*/ 193486 w 59"/>
                <a:gd name="T53" fmla="*/ 19020 h 53"/>
                <a:gd name="T54" fmla="*/ 174517 w 59"/>
                <a:gd name="T55" fmla="*/ 19020 h 53"/>
                <a:gd name="T56" fmla="*/ 159342 w 59"/>
                <a:gd name="T57" fmla="*/ 30432 h 53"/>
                <a:gd name="T58" fmla="*/ 144166 w 59"/>
                <a:gd name="T59" fmla="*/ 26628 h 53"/>
                <a:gd name="T60" fmla="*/ 128991 w 59"/>
                <a:gd name="T61" fmla="*/ 22824 h 53"/>
                <a:gd name="T62" fmla="*/ 106228 w 59"/>
                <a:gd name="T63" fmla="*/ 22824 h 53"/>
                <a:gd name="T64" fmla="*/ 98640 w 59"/>
                <a:gd name="T65" fmla="*/ 7608 h 53"/>
                <a:gd name="T66" fmla="*/ 87258 w 59"/>
                <a:gd name="T67" fmla="*/ 0 h 53"/>
                <a:gd name="T68" fmla="*/ 75877 w 59"/>
                <a:gd name="T69" fmla="*/ 3804 h 53"/>
                <a:gd name="T70" fmla="*/ 64495 w 59"/>
                <a:gd name="T71" fmla="*/ 15216 h 53"/>
                <a:gd name="T72" fmla="*/ 56908 w 59"/>
                <a:gd name="T73" fmla="*/ 15216 h 53"/>
                <a:gd name="T74" fmla="*/ 53114 w 59"/>
                <a:gd name="T75" fmla="*/ 22824 h 53"/>
                <a:gd name="T76" fmla="*/ 49320 w 59"/>
                <a:gd name="T77" fmla="*/ 38040 h 53"/>
                <a:gd name="T78" fmla="*/ 37938 w 59"/>
                <a:gd name="T79" fmla="*/ 53256 h 53"/>
                <a:gd name="T80" fmla="*/ 34145 w 59"/>
                <a:gd name="T81" fmla="*/ 64668 h 53"/>
                <a:gd name="T82" fmla="*/ 37938 w 59"/>
                <a:gd name="T83" fmla="*/ 76080 h 53"/>
                <a:gd name="T84" fmla="*/ 37938 w 59"/>
                <a:gd name="T85" fmla="*/ 83688 h 53"/>
                <a:gd name="T86" fmla="*/ 26557 w 59"/>
                <a:gd name="T87" fmla="*/ 76080 h 53"/>
                <a:gd name="T88" fmla="*/ 22763 w 59"/>
                <a:gd name="T89" fmla="*/ 83688 h 53"/>
                <a:gd name="T90" fmla="*/ 7588 w 59"/>
                <a:gd name="T91" fmla="*/ 91296 h 53"/>
                <a:gd name="T92" fmla="*/ 7588 w 59"/>
                <a:gd name="T93" fmla="*/ 102708 h 53"/>
                <a:gd name="T94" fmla="*/ 11382 w 59"/>
                <a:gd name="T95" fmla="*/ 110316 h 53"/>
                <a:gd name="T96" fmla="*/ 11382 w 59"/>
                <a:gd name="T97" fmla="*/ 117924 h 53"/>
                <a:gd name="T98" fmla="*/ 0 w 59"/>
                <a:gd name="T99" fmla="*/ 129336 h 53"/>
                <a:gd name="T100" fmla="*/ 0 w 59"/>
                <a:gd name="T101" fmla="*/ 140748 h 53"/>
                <a:gd name="T102" fmla="*/ 30351 w 59"/>
                <a:gd name="T103" fmla="*/ 140748 h 53"/>
                <a:gd name="T104" fmla="*/ 41732 w 59"/>
                <a:gd name="T105" fmla="*/ 152160 h 5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9" h="53">
                  <a:moveTo>
                    <a:pt x="11" y="40"/>
                  </a:moveTo>
                  <a:cubicBezTo>
                    <a:pt x="13" y="40"/>
                    <a:pt x="13" y="40"/>
                    <a:pt x="13" y="40"/>
                  </a:cubicBezTo>
                  <a:cubicBezTo>
                    <a:pt x="18" y="37"/>
                    <a:pt x="18" y="37"/>
                    <a:pt x="18" y="37"/>
                  </a:cubicBezTo>
                  <a:cubicBezTo>
                    <a:pt x="21" y="39"/>
                    <a:pt x="21" y="39"/>
                    <a:pt x="21" y="39"/>
                  </a:cubicBezTo>
                  <a:cubicBezTo>
                    <a:pt x="24" y="44"/>
                    <a:pt x="24" y="44"/>
                    <a:pt x="24" y="44"/>
                  </a:cubicBezTo>
                  <a:cubicBezTo>
                    <a:pt x="33" y="50"/>
                    <a:pt x="33" y="50"/>
                    <a:pt x="33" y="50"/>
                  </a:cubicBezTo>
                  <a:cubicBezTo>
                    <a:pt x="37" y="53"/>
                    <a:pt x="37" y="53"/>
                    <a:pt x="37" y="53"/>
                  </a:cubicBezTo>
                  <a:cubicBezTo>
                    <a:pt x="42" y="50"/>
                    <a:pt x="42" y="50"/>
                    <a:pt x="42" y="50"/>
                  </a:cubicBezTo>
                  <a:cubicBezTo>
                    <a:pt x="42" y="50"/>
                    <a:pt x="43" y="46"/>
                    <a:pt x="44" y="46"/>
                  </a:cubicBezTo>
                  <a:cubicBezTo>
                    <a:pt x="45" y="46"/>
                    <a:pt x="50" y="46"/>
                    <a:pt x="50" y="46"/>
                  </a:cubicBezTo>
                  <a:cubicBezTo>
                    <a:pt x="52" y="46"/>
                    <a:pt x="52" y="46"/>
                    <a:pt x="52" y="46"/>
                  </a:cubicBezTo>
                  <a:cubicBezTo>
                    <a:pt x="52" y="46"/>
                    <a:pt x="52" y="46"/>
                    <a:pt x="52" y="46"/>
                  </a:cubicBezTo>
                  <a:cubicBezTo>
                    <a:pt x="52" y="45"/>
                    <a:pt x="52" y="44"/>
                    <a:pt x="52" y="43"/>
                  </a:cubicBezTo>
                  <a:cubicBezTo>
                    <a:pt x="52" y="42"/>
                    <a:pt x="53" y="41"/>
                    <a:pt x="53" y="41"/>
                  </a:cubicBezTo>
                  <a:cubicBezTo>
                    <a:pt x="53" y="41"/>
                    <a:pt x="55" y="40"/>
                    <a:pt x="56" y="40"/>
                  </a:cubicBezTo>
                  <a:cubicBezTo>
                    <a:pt x="56" y="39"/>
                    <a:pt x="58" y="38"/>
                    <a:pt x="58" y="38"/>
                  </a:cubicBezTo>
                  <a:cubicBezTo>
                    <a:pt x="58" y="38"/>
                    <a:pt x="58" y="37"/>
                    <a:pt x="57" y="36"/>
                  </a:cubicBezTo>
                  <a:cubicBezTo>
                    <a:pt x="56" y="34"/>
                    <a:pt x="54" y="32"/>
                    <a:pt x="53" y="31"/>
                  </a:cubicBezTo>
                  <a:cubicBezTo>
                    <a:pt x="53" y="30"/>
                    <a:pt x="53" y="29"/>
                    <a:pt x="53" y="29"/>
                  </a:cubicBezTo>
                  <a:cubicBezTo>
                    <a:pt x="54" y="29"/>
                    <a:pt x="55" y="28"/>
                    <a:pt x="56" y="28"/>
                  </a:cubicBezTo>
                  <a:cubicBezTo>
                    <a:pt x="56" y="28"/>
                    <a:pt x="58" y="26"/>
                    <a:pt x="58" y="26"/>
                  </a:cubicBezTo>
                  <a:cubicBezTo>
                    <a:pt x="58" y="25"/>
                    <a:pt x="59" y="23"/>
                    <a:pt x="59" y="22"/>
                  </a:cubicBezTo>
                  <a:cubicBezTo>
                    <a:pt x="59" y="22"/>
                    <a:pt x="59" y="20"/>
                    <a:pt x="59" y="20"/>
                  </a:cubicBezTo>
                  <a:cubicBezTo>
                    <a:pt x="59" y="19"/>
                    <a:pt x="57" y="18"/>
                    <a:pt x="57" y="18"/>
                  </a:cubicBezTo>
                  <a:cubicBezTo>
                    <a:pt x="57" y="10"/>
                    <a:pt x="57" y="10"/>
                    <a:pt x="57" y="10"/>
                  </a:cubicBezTo>
                  <a:cubicBezTo>
                    <a:pt x="56" y="9"/>
                    <a:pt x="55" y="7"/>
                    <a:pt x="54" y="7"/>
                  </a:cubicBezTo>
                  <a:cubicBezTo>
                    <a:pt x="54" y="7"/>
                    <a:pt x="51" y="5"/>
                    <a:pt x="51" y="5"/>
                  </a:cubicBezTo>
                  <a:cubicBezTo>
                    <a:pt x="51" y="5"/>
                    <a:pt x="46" y="5"/>
                    <a:pt x="46" y="5"/>
                  </a:cubicBezTo>
                  <a:cubicBezTo>
                    <a:pt x="46" y="5"/>
                    <a:pt x="42" y="8"/>
                    <a:pt x="42" y="8"/>
                  </a:cubicBezTo>
                  <a:cubicBezTo>
                    <a:pt x="41" y="8"/>
                    <a:pt x="38" y="7"/>
                    <a:pt x="38" y="7"/>
                  </a:cubicBezTo>
                  <a:cubicBezTo>
                    <a:pt x="37" y="7"/>
                    <a:pt x="34" y="6"/>
                    <a:pt x="34" y="6"/>
                  </a:cubicBezTo>
                  <a:cubicBezTo>
                    <a:pt x="28" y="6"/>
                    <a:pt x="28" y="6"/>
                    <a:pt x="28" y="6"/>
                  </a:cubicBezTo>
                  <a:cubicBezTo>
                    <a:pt x="28" y="6"/>
                    <a:pt x="26" y="2"/>
                    <a:pt x="26" y="2"/>
                  </a:cubicBezTo>
                  <a:cubicBezTo>
                    <a:pt x="25" y="1"/>
                    <a:pt x="23" y="0"/>
                    <a:pt x="23" y="0"/>
                  </a:cubicBezTo>
                  <a:cubicBezTo>
                    <a:pt x="20" y="1"/>
                    <a:pt x="20" y="1"/>
                    <a:pt x="20" y="1"/>
                  </a:cubicBezTo>
                  <a:cubicBezTo>
                    <a:pt x="17" y="4"/>
                    <a:pt x="17" y="4"/>
                    <a:pt x="17" y="4"/>
                  </a:cubicBezTo>
                  <a:cubicBezTo>
                    <a:pt x="15" y="4"/>
                    <a:pt x="15" y="4"/>
                    <a:pt x="15" y="4"/>
                  </a:cubicBezTo>
                  <a:cubicBezTo>
                    <a:pt x="15" y="5"/>
                    <a:pt x="15" y="6"/>
                    <a:pt x="14" y="6"/>
                  </a:cubicBezTo>
                  <a:cubicBezTo>
                    <a:pt x="14" y="7"/>
                    <a:pt x="14" y="8"/>
                    <a:pt x="13" y="10"/>
                  </a:cubicBezTo>
                  <a:cubicBezTo>
                    <a:pt x="11" y="11"/>
                    <a:pt x="10" y="13"/>
                    <a:pt x="10" y="14"/>
                  </a:cubicBezTo>
                  <a:cubicBezTo>
                    <a:pt x="10" y="15"/>
                    <a:pt x="9" y="17"/>
                    <a:pt x="9" y="17"/>
                  </a:cubicBezTo>
                  <a:cubicBezTo>
                    <a:pt x="10" y="18"/>
                    <a:pt x="10" y="20"/>
                    <a:pt x="10" y="20"/>
                  </a:cubicBezTo>
                  <a:cubicBezTo>
                    <a:pt x="10" y="21"/>
                    <a:pt x="11" y="22"/>
                    <a:pt x="10" y="22"/>
                  </a:cubicBezTo>
                  <a:cubicBezTo>
                    <a:pt x="9" y="21"/>
                    <a:pt x="8" y="20"/>
                    <a:pt x="7" y="20"/>
                  </a:cubicBezTo>
                  <a:cubicBezTo>
                    <a:pt x="6" y="20"/>
                    <a:pt x="7" y="22"/>
                    <a:pt x="6" y="22"/>
                  </a:cubicBezTo>
                  <a:cubicBezTo>
                    <a:pt x="5" y="23"/>
                    <a:pt x="3" y="23"/>
                    <a:pt x="2" y="24"/>
                  </a:cubicBezTo>
                  <a:cubicBezTo>
                    <a:pt x="2" y="25"/>
                    <a:pt x="2" y="27"/>
                    <a:pt x="2" y="27"/>
                  </a:cubicBezTo>
                  <a:cubicBezTo>
                    <a:pt x="2" y="28"/>
                    <a:pt x="2" y="28"/>
                    <a:pt x="3" y="29"/>
                  </a:cubicBezTo>
                  <a:cubicBezTo>
                    <a:pt x="3" y="30"/>
                    <a:pt x="3" y="30"/>
                    <a:pt x="3" y="31"/>
                  </a:cubicBezTo>
                  <a:cubicBezTo>
                    <a:pt x="2" y="31"/>
                    <a:pt x="1" y="33"/>
                    <a:pt x="0" y="34"/>
                  </a:cubicBezTo>
                  <a:cubicBezTo>
                    <a:pt x="0" y="34"/>
                    <a:pt x="0" y="35"/>
                    <a:pt x="0" y="37"/>
                  </a:cubicBezTo>
                  <a:cubicBezTo>
                    <a:pt x="8" y="37"/>
                    <a:pt x="8" y="37"/>
                    <a:pt x="8" y="37"/>
                  </a:cubicBezTo>
                  <a:lnTo>
                    <a:pt x="11" y="40"/>
                  </a:lnTo>
                  <a:close/>
                </a:path>
              </a:pathLst>
            </a:custGeom>
            <a:grpFill/>
            <a:ln w="3175" cap="rnd">
              <a:solidFill>
                <a:schemeClr val="accent5"/>
              </a:solidFill>
              <a:prstDash val="solid"/>
              <a:round/>
              <a:headEnd/>
              <a:tailEnd/>
            </a:ln>
          </p:spPr>
          <p:txBody>
            <a:bodyPr/>
            <a:lstStyle/>
            <a:p>
              <a:endParaRPr lang="ru-RU"/>
            </a:p>
          </p:txBody>
        </p:sp>
        <p:sp>
          <p:nvSpPr>
            <p:cNvPr id="132" name="Freeform 131">
              <a:extLst>
                <a:ext uri="{FF2B5EF4-FFF2-40B4-BE49-F238E27FC236}">
                  <a16:creationId xmlns:a16="http://schemas.microsoft.com/office/drawing/2014/main" id="{5116C6F1-87A2-CC48-A0EE-F5743405DEED}"/>
                </a:ext>
              </a:extLst>
            </p:cNvPr>
            <p:cNvSpPr>
              <a:spLocks noEditPoints="1"/>
            </p:cNvSpPr>
            <p:nvPr/>
          </p:nvSpPr>
          <p:spPr bwMode="auto">
            <a:xfrm>
              <a:off x="2525713" y="3984625"/>
              <a:ext cx="342900" cy="528637"/>
            </a:xfrm>
            <a:custGeom>
              <a:avLst/>
              <a:gdLst>
                <a:gd name="T0" fmla="*/ 64770 w 90"/>
                <a:gd name="T1" fmla="*/ 380314 h 139"/>
                <a:gd name="T2" fmla="*/ 72390 w 90"/>
                <a:gd name="T3" fmla="*/ 330874 h 139"/>
                <a:gd name="T4" fmla="*/ 68580 w 90"/>
                <a:gd name="T5" fmla="*/ 270023 h 139"/>
                <a:gd name="T6" fmla="*/ 80010 w 90"/>
                <a:gd name="T7" fmla="*/ 216779 h 139"/>
                <a:gd name="T8" fmla="*/ 95250 w 90"/>
                <a:gd name="T9" fmla="*/ 216779 h 139"/>
                <a:gd name="T10" fmla="*/ 114300 w 90"/>
                <a:gd name="T11" fmla="*/ 220582 h 139"/>
                <a:gd name="T12" fmla="*/ 133350 w 90"/>
                <a:gd name="T13" fmla="*/ 212976 h 139"/>
                <a:gd name="T14" fmla="*/ 144780 w 90"/>
                <a:gd name="T15" fmla="*/ 239598 h 139"/>
                <a:gd name="T16" fmla="*/ 144780 w 90"/>
                <a:gd name="T17" fmla="*/ 262417 h 139"/>
                <a:gd name="T18" fmla="*/ 152400 w 90"/>
                <a:gd name="T19" fmla="*/ 289039 h 139"/>
                <a:gd name="T20" fmla="*/ 140970 w 90"/>
                <a:gd name="T21" fmla="*/ 300448 h 139"/>
                <a:gd name="T22" fmla="*/ 125730 w 90"/>
                <a:gd name="T23" fmla="*/ 296645 h 139"/>
                <a:gd name="T24" fmla="*/ 118110 w 90"/>
                <a:gd name="T25" fmla="*/ 319464 h 139"/>
                <a:gd name="T26" fmla="*/ 140970 w 90"/>
                <a:gd name="T27" fmla="*/ 365102 h 139"/>
                <a:gd name="T28" fmla="*/ 133350 w 90"/>
                <a:gd name="T29" fmla="*/ 380314 h 139"/>
                <a:gd name="T30" fmla="*/ 121920 w 90"/>
                <a:gd name="T31" fmla="*/ 406936 h 139"/>
                <a:gd name="T32" fmla="*/ 121920 w 90"/>
                <a:gd name="T33" fmla="*/ 425952 h 139"/>
                <a:gd name="T34" fmla="*/ 121920 w 90"/>
                <a:gd name="T35" fmla="*/ 444968 h 139"/>
                <a:gd name="T36" fmla="*/ 83820 w 90"/>
                <a:gd name="T37" fmla="*/ 441165 h 139"/>
                <a:gd name="T38" fmla="*/ 45720 w 90"/>
                <a:gd name="T39" fmla="*/ 422149 h 139"/>
                <a:gd name="T40" fmla="*/ 15240 w 90"/>
                <a:gd name="T41" fmla="*/ 475393 h 139"/>
                <a:gd name="T42" fmla="*/ 19050 w 90"/>
                <a:gd name="T43" fmla="*/ 467787 h 139"/>
                <a:gd name="T44" fmla="*/ 3810 w 90"/>
                <a:gd name="T45" fmla="*/ 463984 h 139"/>
                <a:gd name="T46" fmla="*/ 3810 w 90"/>
                <a:gd name="T47" fmla="*/ 475393 h 139"/>
                <a:gd name="T48" fmla="*/ 304800 w 90"/>
                <a:gd name="T49" fmla="*/ 524834 h 139"/>
                <a:gd name="T50" fmla="*/ 342900 w 90"/>
                <a:gd name="T51" fmla="*/ 479196 h 139"/>
                <a:gd name="T52" fmla="*/ 323850 w 90"/>
                <a:gd name="T53" fmla="*/ 425952 h 139"/>
                <a:gd name="T54" fmla="*/ 285750 w 90"/>
                <a:gd name="T55" fmla="*/ 365102 h 139"/>
                <a:gd name="T56" fmla="*/ 297180 w 90"/>
                <a:gd name="T57" fmla="*/ 308055 h 139"/>
                <a:gd name="T58" fmla="*/ 281940 w 90"/>
                <a:gd name="T59" fmla="*/ 258614 h 139"/>
                <a:gd name="T60" fmla="*/ 323850 w 90"/>
                <a:gd name="T61" fmla="*/ 258614 h 139"/>
                <a:gd name="T62" fmla="*/ 316230 w 90"/>
                <a:gd name="T63" fmla="*/ 167338 h 139"/>
                <a:gd name="T64" fmla="*/ 320040 w 90"/>
                <a:gd name="T65" fmla="*/ 106488 h 139"/>
                <a:gd name="T66" fmla="*/ 304800 w 90"/>
                <a:gd name="T67" fmla="*/ 57047 h 139"/>
                <a:gd name="T68" fmla="*/ 274320 w 90"/>
                <a:gd name="T69" fmla="*/ 49441 h 139"/>
                <a:gd name="T70" fmla="*/ 182880 w 90"/>
                <a:gd name="T71" fmla="*/ 0 h 139"/>
                <a:gd name="T72" fmla="*/ 114300 w 90"/>
                <a:gd name="T73" fmla="*/ 22819 h 139"/>
                <a:gd name="T74" fmla="*/ 99060 w 90"/>
                <a:gd name="T75" fmla="*/ 76063 h 139"/>
                <a:gd name="T76" fmla="*/ 102870 w 90"/>
                <a:gd name="T77" fmla="*/ 133110 h 139"/>
                <a:gd name="T78" fmla="*/ 121920 w 90"/>
                <a:gd name="T79" fmla="*/ 186354 h 139"/>
                <a:gd name="T80" fmla="*/ 133350 w 90"/>
                <a:gd name="T81" fmla="*/ 205370 h 139"/>
                <a:gd name="T82" fmla="*/ 148590 w 90"/>
                <a:gd name="T83" fmla="*/ 205370 h 139"/>
                <a:gd name="T84" fmla="*/ 190500 w 90"/>
                <a:gd name="T85" fmla="*/ 182551 h 139"/>
                <a:gd name="T86" fmla="*/ 205740 w 90"/>
                <a:gd name="T87" fmla="*/ 163535 h 139"/>
                <a:gd name="T88" fmla="*/ 217170 w 90"/>
                <a:gd name="T89" fmla="*/ 216779 h 139"/>
                <a:gd name="T90" fmla="*/ 247650 w 90"/>
                <a:gd name="T91" fmla="*/ 239598 h 139"/>
                <a:gd name="T92" fmla="*/ 251460 w 90"/>
                <a:gd name="T93" fmla="*/ 277630 h 139"/>
                <a:gd name="T94" fmla="*/ 259080 w 90"/>
                <a:gd name="T95" fmla="*/ 300448 h 139"/>
                <a:gd name="T96" fmla="*/ 217170 w 90"/>
                <a:gd name="T97" fmla="*/ 273826 h 139"/>
                <a:gd name="T98" fmla="*/ 236220 w 90"/>
                <a:gd name="T99" fmla="*/ 315661 h 139"/>
                <a:gd name="T100" fmla="*/ 209550 w 90"/>
                <a:gd name="T101" fmla="*/ 330874 h 139"/>
                <a:gd name="T102" fmla="*/ 217170 w 90"/>
                <a:gd name="T103" fmla="*/ 365102 h 139"/>
                <a:gd name="T104" fmla="*/ 213360 w 90"/>
                <a:gd name="T105" fmla="*/ 387921 h 139"/>
                <a:gd name="T106" fmla="*/ 205740 w 90"/>
                <a:gd name="T107" fmla="*/ 418346 h 139"/>
                <a:gd name="T108" fmla="*/ 190500 w 90"/>
                <a:gd name="T109" fmla="*/ 429755 h 139"/>
                <a:gd name="T110" fmla="*/ 190500 w 90"/>
                <a:gd name="T111" fmla="*/ 460180 h 139"/>
                <a:gd name="T112" fmla="*/ 198120 w 90"/>
                <a:gd name="T113" fmla="*/ 479196 h 139"/>
                <a:gd name="T114" fmla="*/ 205740 w 90"/>
                <a:gd name="T115" fmla="*/ 494409 h 13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0" h="139">
                  <a:moveTo>
                    <a:pt x="12" y="111"/>
                  </a:moveTo>
                  <a:cubicBezTo>
                    <a:pt x="12" y="110"/>
                    <a:pt x="12" y="109"/>
                    <a:pt x="13" y="108"/>
                  </a:cubicBezTo>
                  <a:cubicBezTo>
                    <a:pt x="13" y="107"/>
                    <a:pt x="13" y="107"/>
                    <a:pt x="14" y="106"/>
                  </a:cubicBezTo>
                  <a:cubicBezTo>
                    <a:pt x="15" y="105"/>
                    <a:pt x="15" y="104"/>
                    <a:pt x="15" y="103"/>
                  </a:cubicBezTo>
                  <a:cubicBezTo>
                    <a:pt x="16" y="102"/>
                    <a:pt x="16" y="101"/>
                    <a:pt x="17" y="100"/>
                  </a:cubicBezTo>
                  <a:cubicBezTo>
                    <a:pt x="17" y="99"/>
                    <a:pt x="17" y="98"/>
                    <a:pt x="18" y="97"/>
                  </a:cubicBezTo>
                  <a:cubicBezTo>
                    <a:pt x="18" y="96"/>
                    <a:pt x="18" y="95"/>
                    <a:pt x="18" y="94"/>
                  </a:cubicBezTo>
                  <a:cubicBezTo>
                    <a:pt x="18" y="92"/>
                    <a:pt x="18" y="91"/>
                    <a:pt x="18" y="90"/>
                  </a:cubicBezTo>
                  <a:cubicBezTo>
                    <a:pt x="18" y="90"/>
                    <a:pt x="18" y="89"/>
                    <a:pt x="18" y="88"/>
                  </a:cubicBezTo>
                  <a:cubicBezTo>
                    <a:pt x="18" y="88"/>
                    <a:pt x="19" y="87"/>
                    <a:pt x="19" y="87"/>
                  </a:cubicBezTo>
                  <a:cubicBezTo>
                    <a:pt x="20" y="86"/>
                    <a:pt x="19" y="85"/>
                    <a:pt x="19" y="84"/>
                  </a:cubicBezTo>
                  <a:cubicBezTo>
                    <a:pt x="18" y="84"/>
                    <a:pt x="18" y="84"/>
                    <a:pt x="18" y="83"/>
                  </a:cubicBezTo>
                  <a:cubicBezTo>
                    <a:pt x="18" y="83"/>
                    <a:pt x="18" y="83"/>
                    <a:pt x="18" y="83"/>
                  </a:cubicBezTo>
                  <a:cubicBezTo>
                    <a:pt x="18" y="80"/>
                    <a:pt x="17" y="77"/>
                    <a:pt x="17" y="74"/>
                  </a:cubicBezTo>
                  <a:cubicBezTo>
                    <a:pt x="17" y="73"/>
                    <a:pt x="17" y="72"/>
                    <a:pt x="18" y="71"/>
                  </a:cubicBezTo>
                  <a:cubicBezTo>
                    <a:pt x="18" y="71"/>
                    <a:pt x="19" y="70"/>
                    <a:pt x="20" y="70"/>
                  </a:cubicBezTo>
                  <a:cubicBezTo>
                    <a:pt x="21" y="69"/>
                    <a:pt x="22" y="67"/>
                    <a:pt x="22" y="66"/>
                  </a:cubicBezTo>
                  <a:cubicBezTo>
                    <a:pt x="22" y="64"/>
                    <a:pt x="22" y="63"/>
                    <a:pt x="22" y="61"/>
                  </a:cubicBezTo>
                  <a:cubicBezTo>
                    <a:pt x="22" y="60"/>
                    <a:pt x="22" y="60"/>
                    <a:pt x="22" y="59"/>
                  </a:cubicBezTo>
                  <a:cubicBezTo>
                    <a:pt x="21" y="58"/>
                    <a:pt x="21" y="58"/>
                    <a:pt x="21" y="57"/>
                  </a:cubicBezTo>
                  <a:cubicBezTo>
                    <a:pt x="21" y="56"/>
                    <a:pt x="22" y="56"/>
                    <a:pt x="22" y="56"/>
                  </a:cubicBezTo>
                  <a:cubicBezTo>
                    <a:pt x="22" y="55"/>
                    <a:pt x="22" y="54"/>
                    <a:pt x="23" y="54"/>
                  </a:cubicBezTo>
                  <a:cubicBezTo>
                    <a:pt x="23" y="54"/>
                    <a:pt x="24" y="55"/>
                    <a:pt x="24" y="55"/>
                  </a:cubicBezTo>
                  <a:cubicBezTo>
                    <a:pt x="24" y="56"/>
                    <a:pt x="24" y="56"/>
                    <a:pt x="25" y="57"/>
                  </a:cubicBezTo>
                  <a:cubicBezTo>
                    <a:pt x="25" y="57"/>
                    <a:pt x="25" y="57"/>
                    <a:pt x="25" y="57"/>
                  </a:cubicBezTo>
                  <a:cubicBezTo>
                    <a:pt x="26" y="57"/>
                    <a:pt x="26" y="57"/>
                    <a:pt x="26" y="58"/>
                  </a:cubicBezTo>
                  <a:cubicBezTo>
                    <a:pt x="27" y="58"/>
                    <a:pt x="28" y="58"/>
                    <a:pt x="28" y="59"/>
                  </a:cubicBezTo>
                  <a:cubicBezTo>
                    <a:pt x="28" y="59"/>
                    <a:pt x="28" y="60"/>
                    <a:pt x="29" y="60"/>
                  </a:cubicBezTo>
                  <a:cubicBezTo>
                    <a:pt x="29" y="60"/>
                    <a:pt x="29" y="60"/>
                    <a:pt x="30" y="60"/>
                  </a:cubicBezTo>
                  <a:cubicBezTo>
                    <a:pt x="30" y="59"/>
                    <a:pt x="30" y="59"/>
                    <a:pt x="30" y="58"/>
                  </a:cubicBezTo>
                  <a:cubicBezTo>
                    <a:pt x="30" y="58"/>
                    <a:pt x="30" y="58"/>
                    <a:pt x="30" y="57"/>
                  </a:cubicBezTo>
                  <a:cubicBezTo>
                    <a:pt x="30" y="57"/>
                    <a:pt x="31" y="56"/>
                    <a:pt x="31" y="56"/>
                  </a:cubicBezTo>
                  <a:cubicBezTo>
                    <a:pt x="32" y="56"/>
                    <a:pt x="33" y="56"/>
                    <a:pt x="33" y="56"/>
                  </a:cubicBezTo>
                  <a:cubicBezTo>
                    <a:pt x="34" y="56"/>
                    <a:pt x="34" y="56"/>
                    <a:pt x="35" y="56"/>
                  </a:cubicBezTo>
                  <a:cubicBezTo>
                    <a:pt x="35" y="56"/>
                    <a:pt x="35" y="56"/>
                    <a:pt x="35" y="56"/>
                  </a:cubicBezTo>
                  <a:cubicBezTo>
                    <a:pt x="36" y="56"/>
                    <a:pt x="36" y="56"/>
                    <a:pt x="36" y="56"/>
                  </a:cubicBezTo>
                  <a:cubicBezTo>
                    <a:pt x="36" y="57"/>
                    <a:pt x="36" y="57"/>
                    <a:pt x="36" y="57"/>
                  </a:cubicBezTo>
                  <a:cubicBezTo>
                    <a:pt x="37" y="57"/>
                    <a:pt x="37" y="57"/>
                    <a:pt x="37" y="58"/>
                  </a:cubicBezTo>
                  <a:cubicBezTo>
                    <a:pt x="36" y="59"/>
                    <a:pt x="36" y="60"/>
                    <a:pt x="36" y="61"/>
                  </a:cubicBezTo>
                  <a:cubicBezTo>
                    <a:pt x="36" y="62"/>
                    <a:pt x="37" y="63"/>
                    <a:pt x="38" y="63"/>
                  </a:cubicBezTo>
                  <a:cubicBezTo>
                    <a:pt x="38" y="64"/>
                    <a:pt x="39" y="65"/>
                    <a:pt x="39" y="65"/>
                  </a:cubicBezTo>
                  <a:cubicBezTo>
                    <a:pt x="40" y="66"/>
                    <a:pt x="39" y="68"/>
                    <a:pt x="38" y="68"/>
                  </a:cubicBezTo>
                  <a:cubicBezTo>
                    <a:pt x="38" y="68"/>
                    <a:pt x="38" y="68"/>
                    <a:pt x="37" y="68"/>
                  </a:cubicBezTo>
                  <a:cubicBezTo>
                    <a:pt x="37" y="68"/>
                    <a:pt x="37" y="69"/>
                    <a:pt x="37" y="69"/>
                  </a:cubicBezTo>
                  <a:cubicBezTo>
                    <a:pt x="37" y="69"/>
                    <a:pt x="37" y="69"/>
                    <a:pt x="38" y="69"/>
                  </a:cubicBezTo>
                  <a:cubicBezTo>
                    <a:pt x="38" y="69"/>
                    <a:pt x="39" y="69"/>
                    <a:pt x="40" y="70"/>
                  </a:cubicBezTo>
                  <a:cubicBezTo>
                    <a:pt x="40" y="70"/>
                    <a:pt x="40" y="70"/>
                    <a:pt x="40" y="70"/>
                  </a:cubicBezTo>
                  <a:cubicBezTo>
                    <a:pt x="40" y="70"/>
                    <a:pt x="40" y="70"/>
                    <a:pt x="41" y="70"/>
                  </a:cubicBezTo>
                  <a:cubicBezTo>
                    <a:pt x="41" y="72"/>
                    <a:pt x="41" y="73"/>
                    <a:pt x="41" y="74"/>
                  </a:cubicBezTo>
                  <a:cubicBezTo>
                    <a:pt x="41" y="75"/>
                    <a:pt x="41" y="75"/>
                    <a:pt x="40" y="76"/>
                  </a:cubicBezTo>
                  <a:cubicBezTo>
                    <a:pt x="40" y="76"/>
                    <a:pt x="39" y="76"/>
                    <a:pt x="39" y="76"/>
                  </a:cubicBezTo>
                  <a:cubicBezTo>
                    <a:pt x="38" y="76"/>
                    <a:pt x="37" y="76"/>
                    <a:pt x="35" y="76"/>
                  </a:cubicBezTo>
                  <a:cubicBezTo>
                    <a:pt x="35" y="76"/>
                    <a:pt x="35" y="76"/>
                    <a:pt x="35" y="76"/>
                  </a:cubicBezTo>
                  <a:cubicBezTo>
                    <a:pt x="35" y="76"/>
                    <a:pt x="35" y="77"/>
                    <a:pt x="35" y="77"/>
                  </a:cubicBezTo>
                  <a:cubicBezTo>
                    <a:pt x="36" y="78"/>
                    <a:pt x="36" y="78"/>
                    <a:pt x="37" y="79"/>
                  </a:cubicBezTo>
                  <a:cubicBezTo>
                    <a:pt x="38" y="79"/>
                    <a:pt x="38" y="80"/>
                    <a:pt x="38" y="81"/>
                  </a:cubicBezTo>
                  <a:cubicBezTo>
                    <a:pt x="38" y="81"/>
                    <a:pt x="38" y="81"/>
                    <a:pt x="37" y="81"/>
                  </a:cubicBezTo>
                  <a:cubicBezTo>
                    <a:pt x="37" y="81"/>
                    <a:pt x="37" y="81"/>
                    <a:pt x="37" y="81"/>
                  </a:cubicBezTo>
                  <a:cubicBezTo>
                    <a:pt x="36" y="80"/>
                    <a:pt x="36" y="80"/>
                    <a:pt x="35" y="79"/>
                  </a:cubicBezTo>
                  <a:cubicBezTo>
                    <a:pt x="34" y="79"/>
                    <a:pt x="34" y="78"/>
                    <a:pt x="33" y="78"/>
                  </a:cubicBezTo>
                  <a:cubicBezTo>
                    <a:pt x="33" y="78"/>
                    <a:pt x="32" y="79"/>
                    <a:pt x="32" y="79"/>
                  </a:cubicBezTo>
                  <a:cubicBezTo>
                    <a:pt x="32" y="80"/>
                    <a:pt x="33" y="80"/>
                    <a:pt x="33" y="81"/>
                  </a:cubicBezTo>
                  <a:cubicBezTo>
                    <a:pt x="34" y="81"/>
                    <a:pt x="34" y="82"/>
                    <a:pt x="34" y="82"/>
                  </a:cubicBezTo>
                  <a:cubicBezTo>
                    <a:pt x="34" y="83"/>
                    <a:pt x="34" y="83"/>
                    <a:pt x="34" y="83"/>
                  </a:cubicBezTo>
                  <a:cubicBezTo>
                    <a:pt x="33" y="83"/>
                    <a:pt x="32" y="84"/>
                    <a:pt x="31" y="84"/>
                  </a:cubicBezTo>
                  <a:cubicBezTo>
                    <a:pt x="30" y="84"/>
                    <a:pt x="30" y="84"/>
                    <a:pt x="29" y="85"/>
                  </a:cubicBezTo>
                  <a:cubicBezTo>
                    <a:pt x="29" y="85"/>
                    <a:pt x="29" y="86"/>
                    <a:pt x="29" y="87"/>
                  </a:cubicBezTo>
                  <a:cubicBezTo>
                    <a:pt x="30" y="87"/>
                    <a:pt x="30" y="88"/>
                    <a:pt x="31" y="88"/>
                  </a:cubicBezTo>
                  <a:cubicBezTo>
                    <a:pt x="32" y="89"/>
                    <a:pt x="34" y="90"/>
                    <a:pt x="35" y="91"/>
                  </a:cubicBezTo>
                  <a:cubicBezTo>
                    <a:pt x="36" y="92"/>
                    <a:pt x="37" y="94"/>
                    <a:pt x="37" y="96"/>
                  </a:cubicBezTo>
                  <a:cubicBezTo>
                    <a:pt x="37" y="96"/>
                    <a:pt x="37" y="97"/>
                    <a:pt x="36" y="97"/>
                  </a:cubicBezTo>
                  <a:cubicBezTo>
                    <a:pt x="36" y="97"/>
                    <a:pt x="35" y="96"/>
                    <a:pt x="35" y="96"/>
                  </a:cubicBezTo>
                  <a:cubicBezTo>
                    <a:pt x="34" y="96"/>
                    <a:pt x="33" y="97"/>
                    <a:pt x="34" y="97"/>
                  </a:cubicBezTo>
                  <a:cubicBezTo>
                    <a:pt x="34" y="98"/>
                    <a:pt x="34" y="98"/>
                    <a:pt x="35" y="98"/>
                  </a:cubicBezTo>
                  <a:cubicBezTo>
                    <a:pt x="35" y="99"/>
                    <a:pt x="35" y="100"/>
                    <a:pt x="35" y="100"/>
                  </a:cubicBezTo>
                  <a:cubicBezTo>
                    <a:pt x="35" y="101"/>
                    <a:pt x="35" y="102"/>
                    <a:pt x="36" y="102"/>
                  </a:cubicBezTo>
                  <a:cubicBezTo>
                    <a:pt x="36" y="103"/>
                    <a:pt x="37" y="103"/>
                    <a:pt x="37" y="104"/>
                  </a:cubicBezTo>
                  <a:cubicBezTo>
                    <a:pt x="37" y="104"/>
                    <a:pt x="36" y="105"/>
                    <a:pt x="36" y="105"/>
                  </a:cubicBezTo>
                  <a:cubicBezTo>
                    <a:pt x="35" y="105"/>
                    <a:pt x="34" y="105"/>
                    <a:pt x="33" y="106"/>
                  </a:cubicBezTo>
                  <a:cubicBezTo>
                    <a:pt x="33" y="106"/>
                    <a:pt x="32" y="107"/>
                    <a:pt x="32" y="107"/>
                  </a:cubicBezTo>
                  <a:cubicBezTo>
                    <a:pt x="31" y="107"/>
                    <a:pt x="31" y="106"/>
                    <a:pt x="30" y="106"/>
                  </a:cubicBezTo>
                  <a:cubicBezTo>
                    <a:pt x="30" y="106"/>
                    <a:pt x="29" y="107"/>
                    <a:pt x="29" y="108"/>
                  </a:cubicBezTo>
                  <a:cubicBezTo>
                    <a:pt x="30" y="108"/>
                    <a:pt x="30" y="109"/>
                    <a:pt x="31" y="109"/>
                  </a:cubicBezTo>
                  <a:cubicBezTo>
                    <a:pt x="31" y="109"/>
                    <a:pt x="31" y="109"/>
                    <a:pt x="32" y="109"/>
                  </a:cubicBezTo>
                  <a:cubicBezTo>
                    <a:pt x="33" y="110"/>
                    <a:pt x="32" y="111"/>
                    <a:pt x="32" y="112"/>
                  </a:cubicBezTo>
                  <a:cubicBezTo>
                    <a:pt x="32" y="112"/>
                    <a:pt x="32" y="113"/>
                    <a:pt x="32" y="113"/>
                  </a:cubicBezTo>
                  <a:cubicBezTo>
                    <a:pt x="32" y="114"/>
                    <a:pt x="32" y="114"/>
                    <a:pt x="32" y="114"/>
                  </a:cubicBezTo>
                  <a:cubicBezTo>
                    <a:pt x="33" y="115"/>
                    <a:pt x="33" y="116"/>
                    <a:pt x="32" y="116"/>
                  </a:cubicBezTo>
                  <a:cubicBezTo>
                    <a:pt x="32" y="117"/>
                    <a:pt x="32" y="117"/>
                    <a:pt x="32" y="117"/>
                  </a:cubicBezTo>
                  <a:cubicBezTo>
                    <a:pt x="32" y="117"/>
                    <a:pt x="32" y="117"/>
                    <a:pt x="32" y="117"/>
                  </a:cubicBezTo>
                  <a:cubicBezTo>
                    <a:pt x="30" y="117"/>
                    <a:pt x="29" y="117"/>
                    <a:pt x="28" y="117"/>
                  </a:cubicBezTo>
                  <a:cubicBezTo>
                    <a:pt x="28" y="117"/>
                    <a:pt x="27" y="117"/>
                    <a:pt x="27" y="117"/>
                  </a:cubicBezTo>
                  <a:cubicBezTo>
                    <a:pt x="26" y="117"/>
                    <a:pt x="26" y="116"/>
                    <a:pt x="26" y="116"/>
                  </a:cubicBezTo>
                  <a:cubicBezTo>
                    <a:pt x="25" y="116"/>
                    <a:pt x="25" y="116"/>
                    <a:pt x="25" y="116"/>
                  </a:cubicBezTo>
                  <a:cubicBezTo>
                    <a:pt x="24" y="116"/>
                    <a:pt x="23" y="116"/>
                    <a:pt x="22" y="116"/>
                  </a:cubicBezTo>
                  <a:cubicBezTo>
                    <a:pt x="22" y="116"/>
                    <a:pt x="21" y="116"/>
                    <a:pt x="21" y="116"/>
                  </a:cubicBezTo>
                  <a:cubicBezTo>
                    <a:pt x="21" y="116"/>
                    <a:pt x="20" y="116"/>
                    <a:pt x="20" y="117"/>
                  </a:cubicBezTo>
                  <a:cubicBezTo>
                    <a:pt x="20" y="117"/>
                    <a:pt x="19" y="116"/>
                    <a:pt x="19" y="116"/>
                  </a:cubicBezTo>
                  <a:cubicBezTo>
                    <a:pt x="19" y="115"/>
                    <a:pt x="17" y="115"/>
                    <a:pt x="16" y="114"/>
                  </a:cubicBezTo>
                  <a:cubicBezTo>
                    <a:pt x="15" y="114"/>
                    <a:pt x="12" y="113"/>
                    <a:pt x="12" y="111"/>
                  </a:cubicBezTo>
                  <a:close/>
                  <a:moveTo>
                    <a:pt x="1" y="125"/>
                  </a:moveTo>
                  <a:cubicBezTo>
                    <a:pt x="1" y="125"/>
                    <a:pt x="1" y="126"/>
                    <a:pt x="1" y="126"/>
                  </a:cubicBezTo>
                  <a:cubicBezTo>
                    <a:pt x="2" y="126"/>
                    <a:pt x="2" y="126"/>
                    <a:pt x="2" y="125"/>
                  </a:cubicBezTo>
                  <a:cubicBezTo>
                    <a:pt x="3" y="125"/>
                    <a:pt x="3" y="125"/>
                    <a:pt x="3" y="125"/>
                  </a:cubicBezTo>
                  <a:cubicBezTo>
                    <a:pt x="3" y="125"/>
                    <a:pt x="3" y="125"/>
                    <a:pt x="4" y="125"/>
                  </a:cubicBezTo>
                  <a:cubicBezTo>
                    <a:pt x="4" y="125"/>
                    <a:pt x="5" y="125"/>
                    <a:pt x="5" y="125"/>
                  </a:cubicBezTo>
                  <a:cubicBezTo>
                    <a:pt x="5" y="125"/>
                    <a:pt x="6" y="125"/>
                    <a:pt x="6" y="125"/>
                  </a:cubicBezTo>
                  <a:cubicBezTo>
                    <a:pt x="6" y="125"/>
                    <a:pt x="6" y="124"/>
                    <a:pt x="6" y="124"/>
                  </a:cubicBezTo>
                  <a:cubicBezTo>
                    <a:pt x="6" y="123"/>
                    <a:pt x="6" y="123"/>
                    <a:pt x="6" y="123"/>
                  </a:cubicBezTo>
                  <a:cubicBezTo>
                    <a:pt x="6" y="123"/>
                    <a:pt x="5" y="123"/>
                    <a:pt x="5" y="123"/>
                  </a:cubicBezTo>
                  <a:cubicBezTo>
                    <a:pt x="5" y="123"/>
                    <a:pt x="4" y="123"/>
                    <a:pt x="4" y="123"/>
                  </a:cubicBezTo>
                  <a:cubicBezTo>
                    <a:pt x="4" y="123"/>
                    <a:pt x="4" y="122"/>
                    <a:pt x="4" y="122"/>
                  </a:cubicBezTo>
                  <a:cubicBezTo>
                    <a:pt x="3" y="122"/>
                    <a:pt x="4" y="122"/>
                    <a:pt x="3" y="122"/>
                  </a:cubicBezTo>
                  <a:cubicBezTo>
                    <a:pt x="3" y="121"/>
                    <a:pt x="3" y="121"/>
                    <a:pt x="3" y="121"/>
                  </a:cubicBezTo>
                  <a:cubicBezTo>
                    <a:pt x="2" y="121"/>
                    <a:pt x="1" y="121"/>
                    <a:pt x="1" y="122"/>
                  </a:cubicBezTo>
                  <a:cubicBezTo>
                    <a:pt x="1" y="122"/>
                    <a:pt x="1" y="122"/>
                    <a:pt x="1" y="123"/>
                  </a:cubicBezTo>
                  <a:cubicBezTo>
                    <a:pt x="1" y="123"/>
                    <a:pt x="0" y="124"/>
                    <a:pt x="0" y="124"/>
                  </a:cubicBezTo>
                  <a:cubicBezTo>
                    <a:pt x="0" y="124"/>
                    <a:pt x="0" y="124"/>
                    <a:pt x="0" y="124"/>
                  </a:cubicBezTo>
                  <a:cubicBezTo>
                    <a:pt x="0" y="124"/>
                    <a:pt x="0" y="124"/>
                    <a:pt x="0" y="124"/>
                  </a:cubicBezTo>
                  <a:cubicBezTo>
                    <a:pt x="0" y="125"/>
                    <a:pt x="0" y="125"/>
                    <a:pt x="1" y="125"/>
                  </a:cubicBezTo>
                  <a:close/>
                  <a:moveTo>
                    <a:pt x="68" y="129"/>
                  </a:moveTo>
                  <a:cubicBezTo>
                    <a:pt x="68" y="129"/>
                    <a:pt x="70" y="131"/>
                    <a:pt x="70" y="132"/>
                  </a:cubicBezTo>
                  <a:cubicBezTo>
                    <a:pt x="70" y="132"/>
                    <a:pt x="74" y="135"/>
                    <a:pt x="74" y="135"/>
                  </a:cubicBezTo>
                  <a:cubicBezTo>
                    <a:pt x="74" y="135"/>
                    <a:pt x="76" y="138"/>
                    <a:pt x="76" y="139"/>
                  </a:cubicBezTo>
                  <a:cubicBezTo>
                    <a:pt x="76" y="139"/>
                    <a:pt x="80" y="138"/>
                    <a:pt x="80" y="138"/>
                  </a:cubicBezTo>
                  <a:cubicBezTo>
                    <a:pt x="84" y="136"/>
                    <a:pt x="84" y="136"/>
                    <a:pt x="84" y="136"/>
                  </a:cubicBezTo>
                  <a:cubicBezTo>
                    <a:pt x="88" y="135"/>
                    <a:pt x="88" y="135"/>
                    <a:pt x="88" y="135"/>
                  </a:cubicBezTo>
                  <a:cubicBezTo>
                    <a:pt x="87" y="134"/>
                    <a:pt x="87" y="134"/>
                    <a:pt x="87" y="133"/>
                  </a:cubicBezTo>
                  <a:cubicBezTo>
                    <a:pt x="87" y="132"/>
                    <a:pt x="86" y="131"/>
                    <a:pt x="86" y="131"/>
                  </a:cubicBezTo>
                  <a:cubicBezTo>
                    <a:pt x="86" y="130"/>
                    <a:pt x="90" y="126"/>
                    <a:pt x="90" y="126"/>
                  </a:cubicBezTo>
                  <a:cubicBezTo>
                    <a:pt x="90" y="126"/>
                    <a:pt x="88" y="125"/>
                    <a:pt x="87" y="124"/>
                  </a:cubicBezTo>
                  <a:cubicBezTo>
                    <a:pt x="86" y="123"/>
                    <a:pt x="85" y="121"/>
                    <a:pt x="84" y="120"/>
                  </a:cubicBezTo>
                  <a:cubicBezTo>
                    <a:pt x="84" y="120"/>
                    <a:pt x="82" y="119"/>
                    <a:pt x="82" y="118"/>
                  </a:cubicBezTo>
                  <a:cubicBezTo>
                    <a:pt x="81" y="117"/>
                    <a:pt x="81" y="113"/>
                    <a:pt x="81" y="113"/>
                  </a:cubicBezTo>
                  <a:cubicBezTo>
                    <a:pt x="81" y="113"/>
                    <a:pt x="84" y="113"/>
                    <a:pt x="85" y="112"/>
                  </a:cubicBezTo>
                  <a:cubicBezTo>
                    <a:pt x="85" y="112"/>
                    <a:pt x="86" y="109"/>
                    <a:pt x="86" y="109"/>
                  </a:cubicBezTo>
                  <a:cubicBezTo>
                    <a:pt x="86" y="108"/>
                    <a:pt x="86" y="108"/>
                    <a:pt x="85" y="108"/>
                  </a:cubicBezTo>
                  <a:cubicBezTo>
                    <a:pt x="85" y="107"/>
                    <a:pt x="82" y="105"/>
                    <a:pt x="81" y="104"/>
                  </a:cubicBezTo>
                  <a:cubicBezTo>
                    <a:pt x="80" y="103"/>
                    <a:pt x="79" y="101"/>
                    <a:pt x="79" y="100"/>
                  </a:cubicBezTo>
                  <a:cubicBezTo>
                    <a:pt x="78" y="100"/>
                    <a:pt x="75" y="97"/>
                    <a:pt x="75" y="96"/>
                  </a:cubicBezTo>
                  <a:cubicBezTo>
                    <a:pt x="75" y="96"/>
                    <a:pt x="75" y="94"/>
                    <a:pt x="75" y="93"/>
                  </a:cubicBezTo>
                  <a:cubicBezTo>
                    <a:pt x="75" y="92"/>
                    <a:pt x="75" y="90"/>
                    <a:pt x="75" y="90"/>
                  </a:cubicBezTo>
                  <a:cubicBezTo>
                    <a:pt x="75" y="89"/>
                    <a:pt x="74" y="87"/>
                    <a:pt x="74" y="87"/>
                  </a:cubicBezTo>
                  <a:cubicBezTo>
                    <a:pt x="74" y="87"/>
                    <a:pt x="76" y="85"/>
                    <a:pt x="76" y="85"/>
                  </a:cubicBezTo>
                  <a:cubicBezTo>
                    <a:pt x="76" y="85"/>
                    <a:pt x="78" y="81"/>
                    <a:pt x="78" y="81"/>
                  </a:cubicBezTo>
                  <a:cubicBezTo>
                    <a:pt x="78" y="81"/>
                    <a:pt x="78" y="78"/>
                    <a:pt x="78" y="78"/>
                  </a:cubicBezTo>
                  <a:cubicBezTo>
                    <a:pt x="77" y="78"/>
                    <a:pt x="76" y="77"/>
                    <a:pt x="75" y="76"/>
                  </a:cubicBezTo>
                  <a:cubicBezTo>
                    <a:pt x="75" y="76"/>
                    <a:pt x="74" y="75"/>
                    <a:pt x="74" y="74"/>
                  </a:cubicBezTo>
                  <a:cubicBezTo>
                    <a:pt x="74" y="74"/>
                    <a:pt x="74" y="72"/>
                    <a:pt x="74" y="72"/>
                  </a:cubicBezTo>
                  <a:cubicBezTo>
                    <a:pt x="73" y="71"/>
                    <a:pt x="73" y="68"/>
                    <a:pt x="74" y="68"/>
                  </a:cubicBezTo>
                  <a:cubicBezTo>
                    <a:pt x="74" y="67"/>
                    <a:pt x="76" y="66"/>
                    <a:pt x="77" y="66"/>
                  </a:cubicBezTo>
                  <a:cubicBezTo>
                    <a:pt x="77" y="66"/>
                    <a:pt x="78" y="67"/>
                    <a:pt x="79" y="68"/>
                  </a:cubicBezTo>
                  <a:cubicBezTo>
                    <a:pt x="80" y="68"/>
                    <a:pt x="82" y="69"/>
                    <a:pt x="82" y="69"/>
                  </a:cubicBezTo>
                  <a:cubicBezTo>
                    <a:pt x="82" y="69"/>
                    <a:pt x="83" y="68"/>
                    <a:pt x="83" y="68"/>
                  </a:cubicBezTo>
                  <a:cubicBezTo>
                    <a:pt x="84" y="68"/>
                    <a:pt x="85" y="68"/>
                    <a:pt x="85" y="68"/>
                  </a:cubicBezTo>
                  <a:cubicBezTo>
                    <a:pt x="85" y="52"/>
                    <a:pt x="85" y="52"/>
                    <a:pt x="85" y="52"/>
                  </a:cubicBezTo>
                  <a:cubicBezTo>
                    <a:pt x="83" y="49"/>
                    <a:pt x="83" y="49"/>
                    <a:pt x="83" y="49"/>
                  </a:cubicBezTo>
                  <a:cubicBezTo>
                    <a:pt x="83" y="49"/>
                    <a:pt x="82" y="48"/>
                    <a:pt x="82" y="48"/>
                  </a:cubicBezTo>
                  <a:cubicBezTo>
                    <a:pt x="82" y="48"/>
                    <a:pt x="83" y="46"/>
                    <a:pt x="83" y="46"/>
                  </a:cubicBezTo>
                  <a:cubicBezTo>
                    <a:pt x="83" y="46"/>
                    <a:pt x="83" y="44"/>
                    <a:pt x="83" y="44"/>
                  </a:cubicBezTo>
                  <a:cubicBezTo>
                    <a:pt x="83" y="43"/>
                    <a:pt x="83" y="41"/>
                    <a:pt x="82" y="41"/>
                  </a:cubicBezTo>
                  <a:cubicBezTo>
                    <a:pt x="82" y="40"/>
                    <a:pt x="82" y="39"/>
                    <a:pt x="82" y="38"/>
                  </a:cubicBezTo>
                  <a:cubicBezTo>
                    <a:pt x="82" y="37"/>
                    <a:pt x="82" y="35"/>
                    <a:pt x="82" y="35"/>
                  </a:cubicBezTo>
                  <a:cubicBezTo>
                    <a:pt x="83" y="34"/>
                    <a:pt x="83" y="33"/>
                    <a:pt x="83" y="32"/>
                  </a:cubicBezTo>
                  <a:cubicBezTo>
                    <a:pt x="83" y="31"/>
                    <a:pt x="84" y="28"/>
                    <a:pt x="84" y="28"/>
                  </a:cubicBezTo>
                  <a:cubicBezTo>
                    <a:pt x="84" y="28"/>
                    <a:pt x="83" y="26"/>
                    <a:pt x="83" y="25"/>
                  </a:cubicBezTo>
                  <a:cubicBezTo>
                    <a:pt x="83" y="25"/>
                    <a:pt x="82" y="23"/>
                    <a:pt x="82" y="23"/>
                  </a:cubicBezTo>
                  <a:cubicBezTo>
                    <a:pt x="82" y="23"/>
                    <a:pt x="82" y="21"/>
                    <a:pt x="83" y="21"/>
                  </a:cubicBezTo>
                  <a:cubicBezTo>
                    <a:pt x="83" y="20"/>
                    <a:pt x="82" y="18"/>
                    <a:pt x="82" y="18"/>
                  </a:cubicBezTo>
                  <a:cubicBezTo>
                    <a:pt x="82" y="18"/>
                    <a:pt x="80" y="15"/>
                    <a:pt x="80" y="15"/>
                  </a:cubicBezTo>
                  <a:cubicBezTo>
                    <a:pt x="80" y="14"/>
                    <a:pt x="80" y="13"/>
                    <a:pt x="80" y="12"/>
                  </a:cubicBezTo>
                  <a:cubicBezTo>
                    <a:pt x="81" y="11"/>
                    <a:pt x="82" y="10"/>
                    <a:pt x="82" y="9"/>
                  </a:cubicBezTo>
                  <a:cubicBezTo>
                    <a:pt x="80" y="9"/>
                    <a:pt x="80" y="9"/>
                    <a:pt x="80" y="9"/>
                  </a:cubicBezTo>
                  <a:cubicBezTo>
                    <a:pt x="80" y="9"/>
                    <a:pt x="75" y="9"/>
                    <a:pt x="74" y="9"/>
                  </a:cubicBezTo>
                  <a:cubicBezTo>
                    <a:pt x="73" y="9"/>
                    <a:pt x="72" y="13"/>
                    <a:pt x="72" y="13"/>
                  </a:cubicBezTo>
                  <a:cubicBezTo>
                    <a:pt x="67" y="16"/>
                    <a:pt x="67" y="16"/>
                    <a:pt x="67" y="16"/>
                  </a:cubicBezTo>
                  <a:cubicBezTo>
                    <a:pt x="63" y="13"/>
                    <a:pt x="63" y="13"/>
                    <a:pt x="63" y="13"/>
                  </a:cubicBezTo>
                  <a:cubicBezTo>
                    <a:pt x="54" y="7"/>
                    <a:pt x="54" y="7"/>
                    <a:pt x="54" y="7"/>
                  </a:cubicBezTo>
                  <a:cubicBezTo>
                    <a:pt x="51" y="2"/>
                    <a:pt x="51" y="2"/>
                    <a:pt x="51" y="2"/>
                  </a:cubicBezTo>
                  <a:cubicBezTo>
                    <a:pt x="48" y="0"/>
                    <a:pt x="48" y="0"/>
                    <a:pt x="48" y="0"/>
                  </a:cubicBezTo>
                  <a:cubicBezTo>
                    <a:pt x="43" y="3"/>
                    <a:pt x="43" y="3"/>
                    <a:pt x="43" y="3"/>
                  </a:cubicBezTo>
                  <a:cubicBezTo>
                    <a:pt x="41" y="3"/>
                    <a:pt x="41" y="3"/>
                    <a:pt x="41" y="3"/>
                  </a:cubicBezTo>
                  <a:cubicBezTo>
                    <a:pt x="38" y="0"/>
                    <a:pt x="38" y="0"/>
                    <a:pt x="38" y="0"/>
                  </a:cubicBezTo>
                  <a:cubicBezTo>
                    <a:pt x="30" y="0"/>
                    <a:pt x="30" y="0"/>
                    <a:pt x="30" y="0"/>
                  </a:cubicBezTo>
                  <a:cubicBezTo>
                    <a:pt x="29" y="2"/>
                    <a:pt x="30" y="6"/>
                    <a:pt x="30" y="6"/>
                  </a:cubicBezTo>
                  <a:cubicBezTo>
                    <a:pt x="30" y="6"/>
                    <a:pt x="30" y="7"/>
                    <a:pt x="30" y="8"/>
                  </a:cubicBezTo>
                  <a:cubicBezTo>
                    <a:pt x="30" y="8"/>
                    <a:pt x="30" y="9"/>
                    <a:pt x="30" y="10"/>
                  </a:cubicBezTo>
                  <a:cubicBezTo>
                    <a:pt x="30" y="10"/>
                    <a:pt x="27" y="14"/>
                    <a:pt x="27" y="15"/>
                  </a:cubicBezTo>
                  <a:cubicBezTo>
                    <a:pt x="27" y="16"/>
                    <a:pt x="27" y="18"/>
                    <a:pt x="27" y="18"/>
                  </a:cubicBezTo>
                  <a:cubicBezTo>
                    <a:pt x="27" y="19"/>
                    <a:pt x="26" y="19"/>
                    <a:pt x="26" y="20"/>
                  </a:cubicBezTo>
                  <a:cubicBezTo>
                    <a:pt x="26" y="20"/>
                    <a:pt x="27" y="21"/>
                    <a:pt x="27" y="21"/>
                  </a:cubicBezTo>
                  <a:cubicBezTo>
                    <a:pt x="27" y="22"/>
                    <a:pt x="26" y="23"/>
                    <a:pt x="25" y="23"/>
                  </a:cubicBezTo>
                  <a:cubicBezTo>
                    <a:pt x="24" y="24"/>
                    <a:pt x="25" y="29"/>
                    <a:pt x="25" y="29"/>
                  </a:cubicBezTo>
                  <a:cubicBezTo>
                    <a:pt x="25" y="30"/>
                    <a:pt x="25" y="30"/>
                    <a:pt x="26" y="32"/>
                  </a:cubicBezTo>
                  <a:cubicBezTo>
                    <a:pt x="26" y="33"/>
                    <a:pt x="27" y="34"/>
                    <a:pt x="27" y="35"/>
                  </a:cubicBezTo>
                  <a:cubicBezTo>
                    <a:pt x="27" y="35"/>
                    <a:pt x="27" y="40"/>
                    <a:pt x="27" y="41"/>
                  </a:cubicBezTo>
                  <a:cubicBezTo>
                    <a:pt x="27" y="42"/>
                    <a:pt x="27" y="43"/>
                    <a:pt x="28" y="44"/>
                  </a:cubicBezTo>
                  <a:cubicBezTo>
                    <a:pt x="28" y="45"/>
                    <a:pt x="28" y="46"/>
                    <a:pt x="29" y="46"/>
                  </a:cubicBezTo>
                  <a:cubicBezTo>
                    <a:pt x="30" y="47"/>
                    <a:pt x="31" y="47"/>
                    <a:pt x="32" y="47"/>
                  </a:cubicBezTo>
                  <a:cubicBezTo>
                    <a:pt x="32" y="48"/>
                    <a:pt x="32" y="49"/>
                    <a:pt x="32" y="49"/>
                  </a:cubicBezTo>
                  <a:cubicBezTo>
                    <a:pt x="32" y="50"/>
                    <a:pt x="31" y="51"/>
                    <a:pt x="31" y="51"/>
                  </a:cubicBezTo>
                  <a:cubicBezTo>
                    <a:pt x="31" y="52"/>
                    <a:pt x="30" y="53"/>
                    <a:pt x="31" y="53"/>
                  </a:cubicBezTo>
                  <a:cubicBezTo>
                    <a:pt x="31" y="53"/>
                    <a:pt x="33" y="53"/>
                    <a:pt x="34" y="53"/>
                  </a:cubicBezTo>
                  <a:cubicBezTo>
                    <a:pt x="35" y="53"/>
                    <a:pt x="35" y="53"/>
                    <a:pt x="35" y="54"/>
                  </a:cubicBezTo>
                  <a:cubicBezTo>
                    <a:pt x="35" y="54"/>
                    <a:pt x="35" y="54"/>
                    <a:pt x="35" y="54"/>
                  </a:cubicBezTo>
                  <a:cubicBezTo>
                    <a:pt x="35" y="54"/>
                    <a:pt x="35" y="54"/>
                    <a:pt x="35" y="54"/>
                  </a:cubicBezTo>
                  <a:cubicBezTo>
                    <a:pt x="36" y="54"/>
                    <a:pt x="36" y="54"/>
                    <a:pt x="36" y="55"/>
                  </a:cubicBezTo>
                  <a:cubicBezTo>
                    <a:pt x="37" y="55"/>
                    <a:pt x="37" y="55"/>
                    <a:pt x="37" y="55"/>
                  </a:cubicBezTo>
                  <a:cubicBezTo>
                    <a:pt x="37" y="55"/>
                    <a:pt x="37" y="55"/>
                    <a:pt x="37" y="55"/>
                  </a:cubicBezTo>
                  <a:cubicBezTo>
                    <a:pt x="38" y="54"/>
                    <a:pt x="39" y="54"/>
                    <a:pt x="39" y="54"/>
                  </a:cubicBezTo>
                  <a:cubicBezTo>
                    <a:pt x="41" y="55"/>
                    <a:pt x="43" y="55"/>
                    <a:pt x="45" y="54"/>
                  </a:cubicBezTo>
                  <a:cubicBezTo>
                    <a:pt x="46" y="54"/>
                    <a:pt x="46" y="54"/>
                    <a:pt x="46" y="54"/>
                  </a:cubicBezTo>
                  <a:cubicBezTo>
                    <a:pt x="47" y="54"/>
                    <a:pt x="47" y="54"/>
                    <a:pt x="47" y="53"/>
                  </a:cubicBezTo>
                  <a:cubicBezTo>
                    <a:pt x="48" y="53"/>
                    <a:pt x="49" y="52"/>
                    <a:pt x="49" y="51"/>
                  </a:cubicBezTo>
                  <a:cubicBezTo>
                    <a:pt x="50" y="50"/>
                    <a:pt x="50" y="49"/>
                    <a:pt x="50" y="48"/>
                  </a:cubicBezTo>
                  <a:cubicBezTo>
                    <a:pt x="49" y="48"/>
                    <a:pt x="49" y="48"/>
                    <a:pt x="49" y="47"/>
                  </a:cubicBezTo>
                  <a:cubicBezTo>
                    <a:pt x="49" y="47"/>
                    <a:pt x="49" y="46"/>
                    <a:pt x="50" y="46"/>
                  </a:cubicBezTo>
                  <a:cubicBezTo>
                    <a:pt x="50" y="46"/>
                    <a:pt x="51" y="45"/>
                    <a:pt x="52" y="44"/>
                  </a:cubicBezTo>
                  <a:cubicBezTo>
                    <a:pt x="52" y="44"/>
                    <a:pt x="52" y="44"/>
                    <a:pt x="53" y="43"/>
                  </a:cubicBezTo>
                  <a:cubicBezTo>
                    <a:pt x="53" y="43"/>
                    <a:pt x="54" y="43"/>
                    <a:pt x="54" y="43"/>
                  </a:cubicBezTo>
                  <a:cubicBezTo>
                    <a:pt x="56" y="44"/>
                    <a:pt x="57" y="44"/>
                    <a:pt x="58" y="45"/>
                  </a:cubicBezTo>
                  <a:cubicBezTo>
                    <a:pt x="58" y="45"/>
                    <a:pt x="59" y="46"/>
                    <a:pt x="59" y="46"/>
                  </a:cubicBezTo>
                  <a:cubicBezTo>
                    <a:pt x="60" y="47"/>
                    <a:pt x="60" y="48"/>
                    <a:pt x="61" y="49"/>
                  </a:cubicBezTo>
                  <a:cubicBezTo>
                    <a:pt x="61" y="50"/>
                    <a:pt x="61" y="52"/>
                    <a:pt x="61" y="53"/>
                  </a:cubicBezTo>
                  <a:cubicBezTo>
                    <a:pt x="60" y="55"/>
                    <a:pt x="58" y="56"/>
                    <a:pt x="57" y="57"/>
                  </a:cubicBezTo>
                  <a:cubicBezTo>
                    <a:pt x="56" y="58"/>
                    <a:pt x="56" y="58"/>
                    <a:pt x="56" y="59"/>
                  </a:cubicBezTo>
                  <a:cubicBezTo>
                    <a:pt x="56" y="59"/>
                    <a:pt x="56" y="60"/>
                    <a:pt x="56" y="60"/>
                  </a:cubicBezTo>
                  <a:cubicBezTo>
                    <a:pt x="57" y="61"/>
                    <a:pt x="59" y="62"/>
                    <a:pt x="60" y="63"/>
                  </a:cubicBezTo>
                  <a:cubicBezTo>
                    <a:pt x="61" y="64"/>
                    <a:pt x="62" y="64"/>
                    <a:pt x="62" y="64"/>
                  </a:cubicBezTo>
                  <a:cubicBezTo>
                    <a:pt x="63" y="64"/>
                    <a:pt x="64" y="64"/>
                    <a:pt x="65" y="63"/>
                  </a:cubicBezTo>
                  <a:cubicBezTo>
                    <a:pt x="65" y="63"/>
                    <a:pt x="65" y="63"/>
                    <a:pt x="66" y="62"/>
                  </a:cubicBezTo>
                  <a:cubicBezTo>
                    <a:pt x="66" y="62"/>
                    <a:pt x="66" y="62"/>
                    <a:pt x="67" y="62"/>
                  </a:cubicBezTo>
                  <a:cubicBezTo>
                    <a:pt x="67" y="62"/>
                    <a:pt x="67" y="63"/>
                    <a:pt x="67" y="63"/>
                  </a:cubicBezTo>
                  <a:cubicBezTo>
                    <a:pt x="67" y="66"/>
                    <a:pt x="67" y="68"/>
                    <a:pt x="67" y="71"/>
                  </a:cubicBezTo>
                  <a:cubicBezTo>
                    <a:pt x="67" y="71"/>
                    <a:pt x="67" y="72"/>
                    <a:pt x="66" y="73"/>
                  </a:cubicBezTo>
                  <a:cubicBezTo>
                    <a:pt x="66" y="73"/>
                    <a:pt x="66" y="73"/>
                    <a:pt x="66" y="74"/>
                  </a:cubicBezTo>
                  <a:cubicBezTo>
                    <a:pt x="66" y="74"/>
                    <a:pt x="66" y="75"/>
                    <a:pt x="66" y="75"/>
                  </a:cubicBezTo>
                  <a:cubicBezTo>
                    <a:pt x="66" y="76"/>
                    <a:pt x="67" y="76"/>
                    <a:pt x="67" y="77"/>
                  </a:cubicBezTo>
                  <a:cubicBezTo>
                    <a:pt x="68" y="77"/>
                    <a:pt x="68" y="78"/>
                    <a:pt x="68" y="78"/>
                  </a:cubicBezTo>
                  <a:cubicBezTo>
                    <a:pt x="68" y="79"/>
                    <a:pt x="68" y="79"/>
                    <a:pt x="68" y="79"/>
                  </a:cubicBezTo>
                  <a:cubicBezTo>
                    <a:pt x="66" y="78"/>
                    <a:pt x="65" y="76"/>
                    <a:pt x="64" y="74"/>
                  </a:cubicBezTo>
                  <a:cubicBezTo>
                    <a:pt x="64" y="73"/>
                    <a:pt x="64" y="72"/>
                    <a:pt x="64" y="72"/>
                  </a:cubicBezTo>
                  <a:cubicBezTo>
                    <a:pt x="64" y="71"/>
                    <a:pt x="64" y="71"/>
                    <a:pt x="63" y="71"/>
                  </a:cubicBezTo>
                  <a:cubicBezTo>
                    <a:pt x="62" y="70"/>
                    <a:pt x="61" y="71"/>
                    <a:pt x="60" y="72"/>
                  </a:cubicBezTo>
                  <a:cubicBezTo>
                    <a:pt x="59" y="72"/>
                    <a:pt x="58" y="71"/>
                    <a:pt x="57" y="72"/>
                  </a:cubicBezTo>
                  <a:cubicBezTo>
                    <a:pt x="57" y="72"/>
                    <a:pt x="57" y="73"/>
                    <a:pt x="57" y="73"/>
                  </a:cubicBezTo>
                  <a:cubicBezTo>
                    <a:pt x="57" y="74"/>
                    <a:pt x="57" y="75"/>
                    <a:pt x="57" y="75"/>
                  </a:cubicBezTo>
                  <a:cubicBezTo>
                    <a:pt x="57" y="76"/>
                    <a:pt x="58" y="77"/>
                    <a:pt x="59" y="78"/>
                  </a:cubicBezTo>
                  <a:cubicBezTo>
                    <a:pt x="60" y="79"/>
                    <a:pt x="61" y="81"/>
                    <a:pt x="62" y="82"/>
                  </a:cubicBezTo>
                  <a:cubicBezTo>
                    <a:pt x="62" y="83"/>
                    <a:pt x="62" y="83"/>
                    <a:pt x="62" y="83"/>
                  </a:cubicBezTo>
                  <a:cubicBezTo>
                    <a:pt x="62" y="84"/>
                    <a:pt x="62" y="84"/>
                    <a:pt x="62" y="84"/>
                  </a:cubicBezTo>
                  <a:cubicBezTo>
                    <a:pt x="61" y="84"/>
                    <a:pt x="60" y="83"/>
                    <a:pt x="59" y="82"/>
                  </a:cubicBezTo>
                  <a:cubicBezTo>
                    <a:pt x="59" y="82"/>
                    <a:pt x="58" y="82"/>
                    <a:pt x="58" y="82"/>
                  </a:cubicBezTo>
                  <a:cubicBezTo>
                    <a:pt x="58" y="82"/>
                    <a:pt x="57" y="82"/>
                    <a:pt x="57" y="82"/>
                  </a:cubicBezTo>
                  <a:cubicBezTo>
                    <a:pt x="55" y="84"/>
                    <a:pt x="55" y="85"/>
                    <a:pt x="55" y="87"/>
                  </a:cubicBezTo>
                  <a:cubicBezTo>
                    <a:pt x="55" y="88"/>
                    <a:pt x="55" y="88"/>
                    <a:pt x="55" y="89"/>
                  </a:cubicBezTo>
                  <a:cubicBezTo>
                    <a:pt x="55" y="89"/>
                    <a:pt x="56" y="90"/>
                    <a:pt x="56" y="90"/>
                  </a:cubicBezTo>
                  <a:cubicBezTo>
                    <a:pt x="55" y="91"/>
                    <a:pt x="55" y="92"/>
                    <a:pt x="55" y="94"/>
                  </a:cubicBezTo>
                  <a:cubicBezTo>
                    <a:pt x="55" y="94"/>
                    <a:pt x="55" y="95"/>
                    <a:pt x="55" y="95"/>
                  </a:cubicBezTo>
                  <a:cubicBezTo>
                    <a:pt x="56" y="96"/>
                    <a:pt x="56" y="96"/>
                    <a:pt x="57" y="96"/>
                  </a:cubicBezTo>
                  <a:cubicBezTo>
                    <a:pt x="57" y="96"/>
                    <a:pt x="57" y="96"/>
                    <a:pt x="57" y="96"/>
                  </a:cubicBezTo>
                  <a:cubicBezTo>
                    <a:pt x="57" y="97"/>
                    <a:pt x="57" y="97"/>
                    <a:pt x="56" y="97"/>
                  </a:cubicBezTo>
                  <a:cubicBezTo>
                    <a:pt x="56" y="98"/>
                    <a:pt x="56" y="99"/>
                    <a:pt x="57" y="99"/>
                  </a:cubicBezTo>
                  <a:cubicBezTo>
                    <a:pt x="57" y="100"/>
                    <a:pt x="57" y="101"/>
                    <a:pt x="57" y="102"/>
                  </a:cubicBezTo>
                  <a:cubicBezTo>
                    <a:pt x="56" y="102"/>
                    <a:pt x="56" y="102"/>
                    <a:pt x="56" y="102"/>
                  </a:cubicBezTo>
                  <a:cubicBezTo>
                    <a:pt x="55" y="102"/>
                    <a:pt x="54" y="103"/>
                    <a:pt x="54" y="104"/>
                  </a:cubicBezTo>
                  <a:cubicBezTo>
                    <a:pt x="54" y="105"/>
                    <a:pt x="53" y="105"/>
                    <a:pt x="53" y="106"/>
                  </a:cubicBezTo>
                  <a:cubicBezTo>
                    <a:pt x="54" y="106"/>
                    <a:pt x="54" y="106"/>
                    <a:pt x="54" y="107"/>
                  </a:cubicBezTo>
                  <a:cubicBezTo>
                    <a:pt x="54" y="107"/>
                    <a:pt x="54" y="107"/>
                    <a:pt x="54" y="107"/>
                  </a:cubicBezTo>
                  <a:cubicBezTo>
                    <a:pt x="54" y="108"/>
                    <a:pt x="54" y="109"/>
                    <a:pt x="54" y="110"/>
                  </a:cubicBezTo>
                  <a:cubicBezTo>
                    <a:pt x="54" y="110"/>
                    <a:pt x="54" y="110"/>
                    <a:pt x="54" y="110"/>
                  </a:cubicBezTo>
                  <a:cubicBezTo>
                    <a:pt x="54" y="110"/>
                    <a:pt x="54" y="110"/>
                    <a:pt x="54" y="110"/>
                  </a:cubicBezTo>
                  <a:cubicBezTo>
                    <a:pt x="53" y="111"/>
                    <a:pt x="53" y="111"/>
                    <a:pt x="52" y="111"/>
                  </a:cubicBezTo>
                  <a:cubicBezTo>
                    <a:pt x="52" y="112"/>
                    <a:pt x="51" y="112"/>
                    <a:pt x="50" y="113"/>
                  </a:cubicBezTo>
                  <a:cubicBezTo>
                    <a:pt x="50" y="113"/>
                    <a:pt x="50" y="113"/>
                    <a:pt x="50" y="113"/>
                  </a:cubicBezTo>
                  <a:cubicBezTo>
                    <a:pt x="50" y="114"/>
                    <a:pt x="49" y="114"/>
                    <a:pt x="49" y="115"/>
                  </a:cubicBezTo>
                  <a:cubicBezTo>
                    <a:pt x="49" y="116"/>
                    <a:pt x="49" y="117"/>
                    <a:pt x="49" y="118"/>
                  </a:cubicBezTo>
                  <a:cubicBezTo>
                    <a:pt x="49" y="118"/>
                    <a:pt x="48" y="118"/>
                    <a:pt x="48" y="118"/>
                  </a:cubicBezTo>
                  <a:cubicBezTo>
                    <a:pt x="48" y="118"/>
                    <a:pt x="49" y="119"/>
                    <a:pt x="49" y="119"/>
                  </a:cubicBezTo>
                  <a:cubicBezTo>
                    <a:pt x="50" y="119"/>
                    <a:pt x="50" y="120"/>
                    <a:pt x="50" y="121"/>
                  </a:cubicBezTo>
                  <a:cubicBezTo>
                    <a:pt x="50" y="122"/>
                    <a:pt x="51" y="122"/>
                    <a:pt x="51" y="123"/>
                  </a:cubicBezTo>
                  <a:cubicBezTo>
                    <a:pt x="51" y="123"/>
                    <a:pt x="51" y="123"/>
                    <a:pt x="51" y="124"/>
                  </a:cubicBezTo>
                  <a:cubicBezTo>
                    <a:pt x="52" y="124"/>
                    <a:pt x="52" y="124"/>
                    <a:pt x="53" y="124"/>
                  </a:cubicBezTo>
                  <a:cubicBezTo>
                    <a:pt x="53" y="125"/>
                    <a:pt x="53" y="125"/>
                    <a:pt x="53" y="125"/>
                  </a:cubicBezTo>
                  <a:cubicBezTo>
                    <a:pt x="53" y="126"/>
                    <a:pt x="53" y="126"/>
                    <a:pt x="52" y="126"/>
                  </a:cubicBezTo>
                  <a:cubicBezTo>
                    <a:pt x="52" y="127"/>
                    <a:pt x="51" y="127"/>
                    <a:pt x="50" y="128"/>
                  </a:cubicBezTo>
                  <a:cubicBezTo>
                    <a:pt x="50" y="128"/>
                    <a:pt x="49" y="129"/>
                    <a:pt x="49" y="129"/>
                  </a:cubicBezTo>
                  <a:cubicBezTo>
                    <a:pt x="49" y="129"/>
                    <a:pt x="49" y="130"/>
                    <a:pt x="50" y="130"/>
                  </a:cubicBezTo>
                  <a:cubicBezTo>
                    <a:pt x="50" y="130"/>
                    <a:pt x="50" y="130"/>
                    <a:pt x="50" y="130"/>
                  </a:cubicBezTo>
                  <a:cubicBezTo>
                    <a:pt x="52" y="130"/>
                    <a:pt x="53" y="130"/>
                    <a:pt x="54" y="130"/>
                  </a:cubicBezTo>
                  <a:cubicBezTo>
                    <a:pt x="54" y="130"/>
                    <a:pt x="55" y="130"/>
                    <a:pt x="55" y="130"/>
                  </a:cubicBezTo>
                  <a:cubicBezTo>
                    <a:pt x="55" y="130"/>
                    <a:pt x="55" y="131"/>
                    <a:pt x="55" y="131"/>
                  </a:cubicBezTo>
                  <a:cubicBezTo>
                    <a:pt x="62" y="134"/>
                    <a:pt x="62" y="134"/>
                    <a:pt x="62" y="134"/>
                  </a:cubicBezTo>
                  <a:cubicBezTo>
                    <a:pt x="62" y="134"/>
                    <a:pt x="68" y="129"/>
                    <a:pt x="68" y="129"/>
                  </a:cubicBezTo>
                  <a:close/>
                </a:path>
              </a:pathLst>
            </a:custGeom>
            <a:grpFill/>
            <a:ln w="3175" cap="rnd">
              <a:solidFill>
                <a:schemeClr val="accent5"/>
              </a:solidFill>
              <a:prstDash val="solid"/>
              <a:round/>
              <a:headEnd/>
              <a:tailEnd/>
            </a:ln>
          </p:spPr>
          <p:txBody>
            <a:bodyPr/>
            <a:lstStyle/>
            <a:p>
              <a:endParaRPr lang="ru-RU"/>
            </a:p>
          </p:txBody>
        </p:sp>
        <p:sp>
          <p:nvSpPr>
            <p:cNvPr id="133" name="Freeform 132">
              <a:extLst>
                <a:ext uri="{FF2B5EF4-FFF2-40B4-BE49-F238E27FC236}">
                  <a16:creationId xmlns:a16="http://schemas.microsoft.com/office/drawing/2014/main" id="{8272737C-8A6B-C12D-6518-022067892EF9}"/>
                </a:ext>
              </a:extLst>
            </p:cNvPr>
            <p:cNvSpPr>
              <a:spLocks/>
            </p:cNvSpPr>
            <p:nvPr/>
          </p:nvSpPr>
          <p:spPr bwMode="auto">
            <a:xfrm>
              <a:off x="2860675" y="2505075"/>
              <a:ext cx="198437" cy="404812"/>
            </a:xfrm>
            <a:custGeom>
              <a:avLst/>
              <a:gdLst>
                <a:gd name="T0" fmla="*/ 57241 w 52"/>
                <a:gd name="T1" fmla="*/ 389536 h 106"/>
                <a:gd name="T2" fmla="*/ 91586 w 52"/>
                <a:gd name="T3" fmla="*/ 378079 h 106"/>
                <a:gd name="T4" fmla="*/ 114483 w 52"/>
                <a:gd name="T5" fmla="*/ 389536 h 106"/>
                <a:gd name="T6" fmla="*/ 137379 w 52"/>
                <a:gd name="T7" fmla="*/ 404812 h 106"/>
                <a:gd name="T8" fmla="*/ 145012 w 52"/>
                <a:gd name="T9" fmla="*/ 397174 h 106"/>
                <a:gd name="T10" fmla="*/ 141196 w 52"/>
                <a:gd name="T11" fmla="*/ 374260 h 106"/>
                <a:gd name="T12" fmla="*/ 152644 w 52"/>
                <a:gd name="T13" fmla="*/ 370441 h 106"/>
                <a:gd name="T14" fmla="*/ 133563 w 52"/>
                <a:gd name="T15" fmla="*/ 347527 h 106"/>
                <a:gd name="T16" fmla="*/ 125931 w 52"/>
                <a:gd name="T17" fmla="*/ 336070 h 106"/>
                <a:gd name="T18" fmla="*/ 122115 w 52"/>
                <a:gd name="T19" fmla="*/ 290243 h 106"/>
                <a:gd name="T20" fmla="*/ 125931 w 52"/>
                <a:gd name="T21" fmla="*/ 252053 h 106"/>
                <a:gd name="T22" fmla="*/ 137379 w 52"/>
                <a:gd name="T23" fmla="*/ 255872 h 106"/>
                <a:gd name="T24" fmla="*/ 148828 w 52"/>
                <a:gd name="T25" fmla="*/ 248234 h 106"/>
                <a:gd name="T26" fmla="*/ 148828 w 52"/>
                <a:gd name="T27" fmla="*/ 232958 h 106"/>
                <a:gd name="T28" fmla="*/ 156460 w 52"/>
                <a:gd name="T29" fmla="*/ 190949 h 106"/>
                <a:gd name="T30" fmla="*/ 167908 w 52"/>
                <a:gd name="T31" fmla="*/ 168035 h 106"/>
                <a:gd name="T32" fmla="*/ 175540 w 52"/>
                <a:gd name="T33" fmla="*/ 156578 h 106"/>
                <a:gd name="T34" fmla="*/ 194621 w 52"/>
                <a:gd name="T35" fmla="*/ 141302 h 106"/>
                <a:gd name="T36" fmla="*/ 186989 w 52"/>
                <a:gd name="T37" fmla="*/ 126026 h 106"/>
                <a:gd name="T38" fmla="*/ 186989 w 52"/>
                <a:gd name="T39" fmla="*/ 64923 h 106"/>
                <a:gd name="T40" fmla="*/ 148828 w 52"/>
                <a:gd name="T41" fmla="*/ 53466 h 106"/>
                <a:gd name="T42" fmla="*/ 133563 w 52"/>
                <a:gd name="T43" fmla="*/ 38190 h 106"/>
                <a:gd name="T44" fmla="*/ 110667 w 52"/>
                <a:gd name="T45" fmla="*/ 7638 h 106"/>
                <a:gd name="T46" fmla="*/ 91586 w 52"/>
                <a:gd name="T47" fmla="*/ 7638 h 106"/>
                <a:gd name="T48" fmla="*/ 80138 w 52"/>
                <a:gd name="T49" fmla="*/ 38190 h 106"/>
                <a:gd name="T50" fmla="*/ 57241 w 52"/>
                <a:gd name="T51" fmla="*/ 34371 h 106"/>
                <a:gd name="T52" fmla="*/ 22897 w 52"/>
                <a:gd name="T53" fmla="*/ 19095 h 106"/>
                <a:gd name="T54" fmla="*/ 34345 w 52"/>
                <a:gd name="T55" fmla="*/ 26733 h 106"/>
                <a:gd name="T56" fmla="*/ 41977 w 52"/>
                <a:gd name="T57" fmla="*/ 49647 h 106"/>
                <a:gd name="T58" fmla="*/ 38161 w 52"/>
                <a:gd name="T59" fmla="*/ 64923 h 106"/>
                <a:gd name="T60" fmla="*/ 38161 w 52"/>
                <a:gd name="T61" fmla="*/ 76380 h 106"/>
                <a:gd name="T62" fmla="*/ 41977 w 52"/>
                <a:gd name="T63" fmla="*/ 91656 h 106"/>
                <a:gd name="T64" fmla="*/ 30529 w 52"/>
                <a:gd name="T65" fmla="*/ 114569 h 106"/>
                <a:gd name="T66" fmla="*/ 22897 w 52"/>
                <a:gd name="T67" fmla="*/ 141302 h 106"/>
                <a:gd name="T68" fmla="*/ 0 w 52"/>
                <a:gd name="T69" fmla="*/ 152759 h 106"/>
                <a:gd name="T70" fmla="*/ 3816 w 52"/>
                <a:gd name="T71" fmla="*/ 263510 h 106"/>
                <a:gd name="T72" fmla="*/ 15264 w 52"/>
                <a:gd name="T73" fmla="*/ 351346 h 106"/>
                <a:gd name="T74" fmla="*/ 22897 w 52"/>
                <a:gd name="T75" fmla="*/ 389536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106">
                  <a:moveTo>
                    <a:pt x="9" y="103"/>
                  </a:moveTo>
                  <a:cubicBezTo>
                    <a:pt x="15" y="102"/>
                    <a:pt x="15" y="102"/>
                    <a:pt x="15" y="102"/>
                  </a:cubicBezTo>
                  <a:cubicBezTo>
                    <a:pt x="19" y="99"/>
                    <a:pt x="19" y="99"/>
                    <a:pt x="19" y="99"/>
                  </a:cubicBezTo>
                  <a:cubicBezTo>
                    <a:pt x="19" y="99"/>
                    <a:pt x="23" y="99"/>
                    <a:pt x="24" y="99"/>
                  </a:cubicBezTo>
                  <a:cubicBezTo>
                    <a:pt x="24" y="99"/>
                    <a:pt x="28" y="100"/>
                    <a:pt x="28" y="100"/>
                  </a:cubicBezTo>
                  <a:cubicBezTo>
                    <a:pt x="28" y="100"/>
                    <a:pt x="30" y="102"/>
                    <a:pt x="30" y="102"/>
                  </a:cubicBezTo>
                  <a:cubicBezTo>
                    <a:pt x="30" y="103"/>
                    <a:pt x="34" y="103"/>
                    <a:pt x="34" y="103"/>
                  </a:cubicBezTo>
                  <a:cubicBezTo>
                    <a:pt x="34" y="103"/>
                    <a:pt x="36" y="106"/>
                    <a:pt x="36" y="106"/>
                  </a:cubicBezTo>
                  <a:cubicBezTo>
                    <a:pt x="39" y="106"/>
                    <a:pt x="39" y="106"/>
                    <a:pt x="39" y="106"/>
                  </a:cubicBezTo>
                  <a:cubicBezTo>
                    <a:pt x="39" y="105"/>
                    <a:pt x="38" y="105"/>
                    <a:pt x="38" y="104"/>
                  </a:cubicBezTo>
                  <a:cubicBezTo>
                    <a:pt x="38" y="103"/>
                    <a:pt x="39" y="101"/>
                    <a:pt x="38" y="100"/>
                  </a:cubicBezTo>
                  <a:cubicBezTo>
                    <a:pt x="38" y="99"/>
                    <a:pt x="37" y="99"/>
                    <a:pt x="37" y="98"/>
                  </a:cubicBezTo>
                  <a:cubicBezTo>
                    <a:pt x="37" y="98"/>
                    <a:pt x="37" y="97"/>
                    <a:pt x="38" y="97"/>
                  </a:cubicBezTo>
                  <a:cubicBezTo>
                    <a:pt x="39" y="97"/>
                    <a:pt x="39" y="97"/>
                    <a:pt x="40" y="97"/>
                  </a:cubicBezTo>
                  <a:cubicBezTo>
                    <a:pt x="41" y="96"/>
                    <a:pt x="41" y="95"/>
                    <a:pt x="41" y="94"/>
                  </a:cubicBezTo>
                  <a:cubicBezTo>
                    <a:pt x="39" y="93"/>
                    <a:pt x="37" y="92"/>
                    <a:pt x="35" y="91"/>
                  </a:cubicBezTo>
                  <a:cubicBezTo>
                    <a:pt x="35" y="91"/>
                    <a:pt x="34" y="90"/>
                    <a:pt x="34" y="90"/>
                  </a:cubicBezTo>
                  <a:cubicBezTo>
                    <a:pt x="34" y="89"/>
                    <a:pt x="33" y="88"/>
                    <a:pt x="33" y="88"/>
                  </a:cubicBezTo>
                  <a:cubicBezTo>
                    <a:pt x="33" y="86"/>
                    <a:pt x="33" y="83"/>
                    <a:pt x="32" y="81"/>
                  </a:cubicBezTo>
                  <a:cubicBezTo>
                    <a:pt x="32" y="79"/>
                    <a:pt x="32" y="78"/>
                    <a:pt x="32" y="76"/>
                  </a:cubicBezTo>
                  <a:cubicBezTo>
                    <a:pt x="32" y="73"/>
                    <a:pt x="33" y="71"/>
                    <a:pt x="33" y="68"/>
                  </a:cubicBezTo>
                  <a:cubicBezTo>
                    <a:pt x="33" y="67"/>
                    <a:pt x="33" y="67"/>
                    <a:pt x="33" y="66"/>
                  </a:cubicBezTo>
                  <a:cubicBezTo>
                    <a:pt x="34" y="65"/>
                    <a:pt x="35" y="65"/>
                    <a:pt x="35" y="66"/>
                  </a:cubicBezTo>
                  <a:cubicBezTo>
                    <a:pt x="36" y="66"/>
                    <a:pt x="36" y="67"/>
                    <a:pt x="36" y="67"/>
                  </a:cubicBezTo>
                  <a:cubicBezTo>
                    <a:pt x="37" y="67"/>
                    <a:pt x="37" y="67"/>
                    <a:pt x="38" y="67"/>
                  </a:cubicBezTo>
                  <a:cubicBezTo>
                    <a:pt x="38" y="66"/>
                    <a:pt x="38" y="65"/>
                    <a:pt x="39" y="65"/>
                  </a:cubicBezTo>
                  <a:cubicBezTo>
                    <a:pt x="39" y="65"/>
                    <a:pt x="40" y="64"/>
                    <a:pt x="40" y="64"/>
                  </a:cubicBezTo>
                  <a:cubicBezTo>
                    <a:pt x="40" y="63"/>
                    <a:pt x="39" y="62"/>
                    <a:pt x="39" y="61"/>
                  </a:cubicBezTo>
                  <a:cubicBezTo>
                    <a:pt x="38" y="59"/>
                    <a:pt x="39" y="58"/>
                    <a:pt x="39" y="56"/>
                  </a:cubicBezTo>
                  <a:cubicBezTo>
                    <a:pt x="40" y="54"/>
                    <a:pt x="40" y="52"/>
                    <a:pt x="41" y="50"/>
                  </a:cubicBezTo>
                  <a:cubicBezTo>
                    <a:pt x="40" y="48"/>
                    <a:pt x="41" y="46"/>
                    <a:pt x="43" y="45"/>
                  </a:cubicBezTo>
                  <a:cubicBezTo>
                    <a:pt x="43" y="44"/>
                    <a:pt x="44" y="44"/>
                    <a:pt x="44" y="44"/>
                  </a:cubicBezTo>
                  <a:cubicBezTo>
                    <a:pt x="44" y="43"/>
                    <a:pt x="43" y="42"/>
                    <a:pt x="43" y="41"/>
                  </a:cubicBezTo>
                  <a:cubicBezTo>
                    <a:pt x="43" y="40"/>
                    <a:pt x="45" y="41"/>
                    <a:pt x="46" y="41"/>
                  </a:cubicBezTo>
                  <a:cubicBezTo>
                    <a:pt x="47" y="42"/>
                    <a:pt x="50" y="41"/>
                    <a:pt x="51" y="39"/>
                  </a:cubicBezTo>
                  <a:cubicBezTo>
                    <a:pt x="51" y="38"/>
                    <a:pt x="51" y="38"/>
                    <a:pt x="51" y="37"/>
                  </a:cubicBezTo>
                  <a:cubicBezTo>
                    <a:pt x="51" y="36"/>
                    <a:pt x="52" y="35"/>
                    <a:pt x="52" y="34"/>
                  </a:cubicBezTo>
                  <a:cubicBezTo>
                    <a:pt x="51" y="33"/>
                    <a:pt x="50" y="34"/>
                    <a:pt x="49" y="33"/>
                  </a:cubicBezTo>
                  <a:cubicBezTo>
                    <a:pt x="48" y="32"/>
                    <a:pt x="49" y="31"/>
                    <a:pt x="49" y="30"/>
                  </a:cubicBezTo>
                  <a:cubicBezTo>
                    <a:pt x="51" y="26"/>
                    <a:pt x="50" y="21"/>
                    <a:pt x="49" y="17"/>
                  </a:cubicBezTo>
                  <a:cubicBezTo>
                    <a:pt x="46" y="17"/>
                    <a:pt x="46" y="17"/>
                    <a:pt x="46" y="17"/>
                  </a:cubicBezTo>
                  <a:cubicBezTo>
                    <a:pt x="46" y="17"/>
                    <a:pt x="40" y="14"/>
                    <a:pt x="39" y="14"/>
                  </a:cubicBezTo>
                  <a:cubicBezTo>
                    <a:pt x="39" y="13"/>
                    <a:pt x="35" y="12"/>
                    <a:pt x="35" y="12"/>
                  </a:cubicBezTo>
                  <a:cubicBezTo>
                    <a:pt x="35" y="12"/>
                    <a:pt x="35" y="11"/>
                    <a:pt x="35" y="10"/>
                  </a:cubicBezTo>
                  <a:cubicBezTo>
                    <a:pt x="34" y="10"/>
                    <a:pt x="34" y="8"/>
                    <a:pt x="33" y="7"/>
                  </a:cubicBezTo>
                  <a:cubicBezTo>
                    <a:pt x="33" y="6"/>
                    <a:pt x="30" y="3"/>
                    <a:pt x="29" y="2"/>
                  </a:cubicBezTo>
                  <a:cubicBezTo>
                    <a:pt x="29" y="1"/>
                    <a:pt x="27" y="0"/>
                    <a:pt x="27" y="0"/>
                  </a:cubicBezTo>
                  <a:cubicBezTo>
                    <a:pt x="27" y="0"/>
                    <a:pt x="24" y="2"/>
                    <a:pt x="24" y="2"/>
                  </a:cubicBezTo>
                  <a:cubicBezTo>
                    <a:pt x="24" y="3"/>
                    <a:pt x="23" y="5"/>
                    <a:pt x="23" y="6"/>
                  </a:cubicBezTo>
                  <a:cubicBezTo>
                    <a:pt x="22" y="6"/>
                    <a:pt x="21" y="10"/>
                    <a:pt x="21" y="10"/>
                  </a:cubicBezTo>
                  <a:cubicBezTo>
                    <a:pt x="17" y="11"/>
                    <a:pt x="17" y="11"/>
                    <a:pt x="17" y="11"/>
                  </a:cubicBezTo>
                  <a:cubicBezTo>
                    <a:pt x="17" y="11"/>
                    <a:pt x="15" y="9"/>
                    <a:pt x="15" y="9"/>
                  </a:cubicBezTo>
                  <a:cubicBezTo>
                    <a:pt x="14" y="8"/>
                    <a:pt x="12" y="3"/>
                    <a:pt x="12" y="3"/>
                  </a:cubicBezTo>
                  <a:cubicBezTo>
                    <a:pt x="6" y="5"/>
                    <a:pt x="6" y="5"/>
                    <a:pt x="6" y="5"/>
                  </a:cubicBezTo>
                  <a:cubicBezTo>
                    <a:pt x="6" y="5"/>
                    <a:pt x="6" y="5"/>
                    <a:pt x="6" y="5"/>
                  </a:cubicBezTo>
                  <a:cubicBezTo>
                    <a:pt x="6" y="6"/>
                    <a:pt x="8" y="6"/>
                    <a:pt x="9" y="7"/>
                  </a:cubicBezTo>
                  <a:cubicBezTo>
                    <a:pt x="10" y="8"/>
                    <a:pt x="11" y="9"/>
                    <a:pt x="11" y="10"/>
                  </a:cubicBezTo>
                  <a:cubicBezTo>
                    <a:pt x="12" y="11"/>
                    <a:pt x="11" y="13"/>
                    <a:pt x="11" y="13"/>
                  </a:cubicBezTo>
                  <a:cubicBezTo>
                    <a:pt x="11" y="13"/>
                    <a:pt x="10" y="14"/>
                    <a:pt x="10" y="14"/>
                  </a:cubicBezTo>
                  <a:cubicBezTo>
                    <a:pt x="10" y="15"/>
                    <a:pt x="10" y="16"/>
                    <a:pt x="10" y="17"/>
                  </a:cubicBezTo>
                  <a:cubicBezTo>
                    <a:pt x="10" y="17"/>
                    <a:pt x="11" y="18"/>
                    <a:pt x="11" y="18"/>
                  </a:cubicBezTo>
                  <a:cubicBezTo>
                    <a:pt x="11" y="18"/>
                    <a:pt x="10" y="19"/>
                    <a:pt x="10" y="20"/>
                  </a:cubicBezTo>
                  <a:cubicBezTo>
                    <a:pt x="10" y="20"/>
                    <a:pt x="10" y="21"/>
                    <a:pt x="10" y="22"/>
                  </a:cubicBezTo>
                  <a:cubicBezTo>
                    <a:pt x="10" y="22"/>
                    <a:pt x="11" y="24"/>
                    <a:pt x="11" y="24"/>
                  </a:cubicBezTo>
                  <a:cubicBezTo>
                    <a:pt x="12" y="25"/>
                    <a:pt x="12" y="25"/>
                    <a:pt x="12" y="26"/>
                  </a:cubicBezTo>
                  <a:cubicBezTo>
                    <a:pt x="11" y="27"/>
                    <a:pt x="9" y="29"/>
                    <a:pt x="8" y="30"/>
                  </a:cubicBezTo>
                  <a:cubicBezTo>
                    <a:pt x="8" y="31"/>
                    <a:pt x="8" y="33"/>
                    <a:pt x="7" y="34"/>
                  </a:cubicBezTo>
                  <a:cubicBezTo>
                    <a:pt x="7" y="34"/>
                    <a:pt x="7" y="36"/>
                    <a:pt x="6" y="37"/>
                  </a:cubicBezTo>
                  <a:cubicBezTo>
                    <a:pt x="6" y="38"/>
                    <a:pt x="5" y="40"/>
                    <a:pt x="3" y="40"/>
                  </a:cubicBezTo>
                  <a:cubicBezTo>
                    <a:pt x="2" y="40"/>
                    <a:pt x="0" y="40"/>
                    <a:pt x="0" y="40"/>
                  </a:cubicBezTo>
                  <a:cubicBezTo>
                    <a:pt x="0" y="56"/>
                    <a:pt x="0" y="56"/>
                    <a:pt x="0" y="56"/>
                  </a:cubicBezTo>
                  <a:cubicBezTo>
                    <a:pt x="0" y="56"/>
                    <a:pt x="1" y="66"/>
                    <a:pt x="1" y="69"/>
                  </a:cubicBezTo>
                  <a:cubicBezTo>
                    <a:pt x="1" y="72"/>
                    <a:pt x="3" y="77"/>
                    <a:pt x="3" y="79"/>
                  </a:cubicBezTo>
                  <a:cubicBezTo>
                    <a:pt x="3" y="82"/>
                    <a:pt x="4" y="88"/>
                    <a:pt x="4" y="92"/>
                  </a:cubicBezTo>
                  <a:cubicBezTo>
                    <a:pt x="4" y="96"/>
                    <a:pt x="4" y="101"/>
                    <a:pt x="4" y="104"/>
                  </a:cubicBezTo>
                  <a:cubicBezTo>
                    <a:pt x="6" y="102"/>
                    <a:pt x="6" y="102"/>
                    <a:pt x="6" y="102"/>
                  </a:cubicBezTo>
                  <a:lnTo>
                    <a:pt x="9" y="103"/>
                  </a:lnTo>
                  <a:close/>
                </a:path>
              </a:pathLst>
            </a:custGeom>
            <a:grpFill/>
            <a:ln w="3175" cap="rnd">
              <a:solidFill>
                <a:schemeClr val="accent5"/>
              </a:solidFill>
              <a:prstDash val="solid"/>
              <a:round/>
              <a:headEnd/>
              <a:tailEnd/>
            </a:ln>
          </p:spPr>
          <p:txBody>
            <a:bodyPr/>
            <a:lstStyle/>
            <a:p>
              <a:endParaRPr lang="ru-RU"/>
            </a:p>
          </p:txBody>
        </p:sp>
        <p:sp>
          <p:nvSpPr>
            <p:cNvPr id="134" name="Freeform 133">
              <a:extLst>
                <a:ext uri="{FF2B5EF4-FFF2-40B4-BE49-F238E27FC236}">
                  <a16:creationId xmlns:a16="http://schemas.microsoft.com/office/drawing/2014/main" id="{42EC5FD9-F877-B761-71D5-13F1D0506645}"/>
                </a:ext>
              </a:extLst>
            </p:cNvPr>
            <p:cNvSpPr>
              <a:spLocks/>
            </p:cNvSpPr>
            <p:nvPr/>
          </p:nvSpPr>
          <p:spPr bwMode="auto">
            <a:xfrm>
              <a:off x="2643188" y="3457575"/>
              <a:ext cx="288925" cy="263525"/>
            </a:xfrm>
            <a:custGeom>
              <a:avLst/>
              <a:gdLst>
                <a:gd name="T0" fmla="*/ 273718 w 76"/>
                <a:gd name="T1" fmla="*/ 175683 h 69"/>
                <a:gd name="T2" fmla="*/ 266115 w 76"/>
                <a:gd name="T3" fmla="*/ 156587 h 69"/>
                <a:gd name="T4" fmla="*/ 269917 w 76"/>
                <a:gd name="T5" fmla="*/ 137491 h 69"/>
                <a:gd name="T6" fmla="*/ 273718 w 76"/>
                <a:gd name="T7" fmla="*/ 118395 h 69"/>
                <a:gd name="T8" fmla="*/ 269917 w 76"/>
                <a:gd name="T9" fmla="*/ 95480 h 69"/>
                <a:gd name="T10" fmla="*/ 258512 w 76"/>
                <a:gd name="T11" fmla="*/ 87842 h 69"/>
                <a:gd name="T12" fmla="*/ 247107 w 76"/>
                <a:gd name="T13" fmla="*/ 80203 h 69"/>
                <a:gd name="T14" fmla="*/ 228099 w 76"/>
                <a:gd name="T15" fmla="*/ 72565 h 69"/>
                <a:gd name="T16" fmla="*/ 228099 w 76"/>
                <a:gd name="T17" fmla="*/ 76384 h 69"/>
                <a:gd name="T18" fmla="*/ 209090 w 76"/>
                <a:gd name="T19" fmla="*/ 87842 h 69"/>
                <a:gd name="T20" fmla="*/ 190082 w 76"/>
                <a:gd name="T21" fmla="*/ 95480 h 69"/>
                <a:gd name="T22" fmla="*/ 163471 w 76"/>
                <a:gd name="T23" fmla="*/ 95480 h 69"/>
                <a:gd name="T24" fmla="*/ 144463 w 76"/>
                <a:gd name="T25" fmla="*/ 91661 h 69"/>
                <a:gd name="T26" fmla="*/ 152066 w 76"/>
                <a:gd name="T27" fmla="*/ 76384 h 69"/>
                <a:gd name="T28" fmla="*/ 144463 w 76"/>
                <a:gd name="T29" fmla="*/ 68746 h 69"/>
                <a:gd name="T30" fmla="*/ 114049 w 76"/>
                <a:gd name="T31" fmla="*/ 57288 h 69"/>
                <a:gd name="T32" fmla="*/ 102644 w 76"/>
                <a:gd name="T33" fmla="*/ 53469 h 69"/>
                <a:gd name="T34" fmla="*/ 110248 w 76"/>
                <a:gd name="T35" fmla="*/ 38192 h 69"/>
                <a:gd name="T36" fmla="*/ 98843 w 76"/>
                <a:gd name="T37" fmla="*/ 15277 h 69"/>
                <a:gd name="T38" fmla="*/ 83636 w 76"/>
                <a:gd name="T39" fmla="*/ 0 h 69"/>
                <a:gd name="T40" fmla="*/ 68430 w 76"/>
                <a:gd name="T41" fmla="*/ 30554 h 69"/>
                <a:gd name="T42" fmla="*/ 64628 w 76"/>
                <a:gd name="T43" fmla="*/ 45830 h 69"/>
                <a:gd name="T44" fmla="*/ 60826 w 76"/>
                <a:gd name="T45" fmla="*/ 68746 h 69"/>
                <a:gd name="T46" fmla="*/ 41818 w 76"/>
                <a:gd name="T47" fmla="*/ 99299 h 69"/>
                <a:gd name="T48" fmla="*/ 7603 w 76"/>
                <a:gd name="T49" fmla="*/ 95480 h 69"/>
                <a:gd name="T50" fmla="*/ 11405 w 76"/>
                <a:gd name="T51" fmla="*/ 133672 h 69"/>
                <a:gd name="T52" fmla="*/ 3802 w 76"/>
                <a:gd name="T53" fmla="*/ 156587 h 69"/>
                <a:gd name="T54" fmla="*/ 22810 w 76"/>
                <a:gd name="T55" fmla="*/ 194779 h 69"/>
                <a:gd name="T56" fmla="*/ 26612 w 76"/>
                <a:gd name="T57" fmla="*/ 229152 h 69"/>
                <a:gd name="T58" fmla="*/ 22810 w 76"/>
                <a:gd name="T59" fmla="*/ 259706 h 69"/>
                <a:gd name="T60" fmla="*/ 53223 w 76"/>
                <a:gd name="T61" fmla="*/ 244429 h 69"/>
                <a:gd name="T62" fmla="*/ 57025 w 76"/>
                <a:gd name="T63" fmla="*/ 213875 h 69"/>
                <a:gd name="T64" fmla="*/ 76033 w 76"/>
                <a:gd name="T65" fmla="*/ 175683 h 69"/>
                <a:gd name="T66" fmla="*/ 76033 w 76"/>
                <a:gd name="T67" fmla="*/ 152768 h 69"/>
                <a:gd name="T68" fmla="*/ 117851 w 76"/>
                <a:gd name="T69" fmla="*/ 164226 h 69"/>
                <a:gd name="T70" fmla="*/ 159669 w 76"/>
                <a:gd name="T71" fmla="*/ 190960 h 69"/>
                <a:gd name="T72" fmla="*/ 190082 w 76"/>
                <a:gd name="T73" fmla="*/ 213875 h 69"/>
                <a:gd name="T74" fmla="*/ 212892 w 76"/>
                <a:gd name="T75" fmla="*/ 221514 h 69"/>
                <a:gd name="T76" fmla="*/ 239504 w 76"/>
                <a:gd name="T77" fmla="*/ 236791 h 69"/>
                <a:gd name="T78" fmla="*/ 285123 w 76"/>
                <a:gd name="T79" fmla="*/ 225333 h 69"/>
                <a:gd name="T80" fmla="*/ 288925 w 76"/>
                <a:gd name="T81" fmla="*/ 210056 h 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6" h="69">
                  <a:moveTo>
                    <a:pt x="71" y="47"/>
                  </a:moveTo>
                  <a:cubicBezTo>
                    <a:pt x="71" y="47"/>
                    <a:pt x="72" y="46"/>
                    <a:pt x="72" y="46"/>
                  </a:cubicBezTo>
                  <a:cubicBezTo>
                    <a:pt x="72" y="45"/>
                    <a:pt x="72" y="45"/>
                    <a:pt x="71" y="44"/>
                  </a:cubicBezTo>
                  <a:cubicBezTo>
                    <a:pt x="71" y="43"/>
                    <a:pt x="70" y="42"/>
                    <a:pt x="70" y="41"/>
                  </a:cubicBezTo>
                  <a:cubicBezTo>
                    <a:pt x="70" y="40"/>
                    <a:pt x="70" y="40"/>
                    <a:pt x="70" y="39"/>
                  </a:cubicBezTo>
                  <a:cubicBezTo>
                    <a:pt x="71" y="39"/>
                    <a:pt x="71" y="37"/>
                    <a:pt x="71" y="36"/>
                  </a:cubicBezTo>
                  <a:cubicBezTo>
                    <a:pt x="71" y="36"/>
                    <a:pt x="72" y="33"/>
                    <a:pt x="72" y="33"/>
                  </a:cubicBezTo>
                  <a:cubicBezTo>
                    <a:pt x="72" y="33"/>
                    <a:pt x="72" y="31"/>
                    <a:pt x="72" y="31"/>
                  </a:cubicBezTo>
                  <a:cubicBezTo>
                    <a:pt x="72" y="30"/>
                    <a:pt x="70" y="27"/>
                    <a:pt x="70" y="27"/>
                  </a:cubicBezTo>
                  <a:cubicBezTo>
                    <a:pt x="70" y="27"/>
                    <a:pt x="71" y="26"/>
                    <a:pt x="71" y="25"/>
                  </a:cubicBezTo>
                  <a:cubicBezTo>
                    <a:pt x="72" y="25"/>
                    <a:pt x="72" y="24"/>
                    <a:pt x="73" y="23"/>
                  </a:cubicBezTo>
                  <a:cubicBezTo>
                    <a:pt x="71" y="23"/>
                    <a:pt x="70" y="22"/>
                    <a:pt x="68" y="23"/>
                  </a:cubicBezTo>
                  <a:cubicBezTo>
                    <a:pt x="67" y="23"/>
                    <a:pt x="67" y="23"/>
                    <a:pt x="66" y="22"/>
                  </a:cubicBezTo>
                  <a:cubicBezTo>
                    <a:pt x="66" y="22"/>
                    <a:pt x="65" y="21"/>
                    <a:pt x="65" y="21"/>
                  </a:cubicBezTo>
                  <a:cubicBezTo>
                    <a:pt x="64" y="21"/>
                    <a:pt x="64" y="21"/>
                    <a:pt x="63" y="21"/>
                  </a:cubicBezTo>
                  <a:cubicBezTo>
                    <a:pt x="62" y="22"/>
                    <a:pt x="61" y="20"/>
                    <a:pt x="60" y="19"/>
                  </a:cubicBezTo>
                  <a:cubicBezTo>
                    <a:pt x="60" y="19"/>
                    <a:pt x="60" y="19"/>
                    <a:pt x="60" y="19"/>
                  </a:cubicBezTo>
                  <a:cubicBezTo>
                    <a:pt x="60" y="19"/>
                    <a:pt x="60" y="19"/>
                    <a:pt x="60" y="20"/>
                  </a:cubicBezTo>
                  <a:cubicBezTo>
                    <a:pt x="60" y="21"/>
                    <a:pt x="60" y="22"/>
                    <a:pt x="59" y="22"/>
                  </a:cubicBezTo>
                  <a:cubicBezTo>
                    <a:pt x="58" y="23"/>
                    <a:pt x="56" y="24"/>
                    <a:pt x="55" y="23"/>
                  </a:cubicBezTo>
                  <a:cubicBezTo>
                    <a:pt x="54" y="23"/>
                    <a:pt x="52" y="22"/>
                    <a:pt x="51" y="23"/>
                  </a:cubicBezTo>
                  <a:cubicBezTo>
                    <a:pt x="50" y="24"/>
                    <a:pt x="50" y="25"/>
                    <a:pt x="50" y="25"/>
                  </a:cubicBezTo>
                  <a:cubicBezTo>
                    <a:pt x="48" y="26"/>
                    <a:pt x="46" y="24"/>
                    <a:pt x="44" y="25"/>
                  </a:cubicBezTo>
                  <a:cubicBezTo>
                    <a:pt x="44" y="25"/>
                    <a:pt x="44" y="25"/>
                    <a:pt x="43" y="25"/>
                  </a:cubicBezTo>
                  <a:cubicBezTo>
                    <a:pt x="42" y="25"/>
                    <a:pt x="42" y="25"/>
                    <a:pt x="41" y="25"/>
                  </a:cubicBezTo>
                  <a:cubicBezTo>
                    <a:pt x="40" y="25"/>
                    <a:pt x="39" y="25"/>
                    <a:pt x="38" y="24"/>
                  </a:cubicBezTo>
                  <a:cubicBezTo>
                    <a:pt x="37" y="24"/>
                    <a:pt x="37" y="23"/>
                    <a:pt x="38" y="22"/>
                  </a:cubicBezTo>
                  <a:cubicBezTo>
                    <a:pt x="38" y="22"/>
                    <a:pt x="39" y="21"/>
                    <a:pt x="40" y="20"/>
                  </a:cubicBezTo>
                  <a:cubicBezTo>
                    <a:pt x="40" y="20"/>
                    <a:pt x="40" y="19"/>
                    <a:pt x="40" y="18"/>
                  </a:cubicBezTo>
                  <a:cubicBezTo>
                    <a:pt x="39" y="18"/>
                    <a:pt x="38" y="18"/>
                    <a:pt x="38" y="18"/>
                  </a:cubicBezTo>
                  <a:cubicBezTo>
                    <a:pt x="36" y="17"/>
                    <a:pt x="36" y="15"/>
                    <a:pt x="34" y="14"/>
                  </a:cubicBezTo>
                  <a:cubicBezTo>
                    <a:pt x="33" y="14"/>
                    <a:pt x="31" y="15"/>
                    <a:pt x="30" y="15"/>
                  </a:cubicBezTo>
                  <a:cubicBezTo>
                    <a:pt x="29" y="15"/>
                    <a:pt x="28" y="15"/>
                    <a:pt x="27" y="14"/>
                  </a:cubicBezTo>
                  <a:cubicBezTo>
                    <a:pt x="27" y="14"/>
                    <a:pt x="27" y="14"/>
                    <a:pt x="27" y="14"/>
                  </a:cubicBezTo>
                  <a:cubicBezTo>
                    <a:pt x="27" y="13"/>
                    <a:pt x="28" y="13"/>
                    <a:pt x="28" y="13"/>
                  </a:cubicBezTo>
                  <a:cubicBezTo>
                    <a:pt x="29" y="13"/>
                    <a:pt x="29" y="11"/>
                    <a:pt x="29" y="10"/>
                  </a:cubicBezTo>
                  <a:cubicBezTo>
                    <a:pt x="28" y="9"/>
                    <a:pt x="28" y="7"/>
                    <a:pt x="27" y="6"/>
                  </a:cubicBezTo>
                  <a:cubicBezTo>
                    <a:pt x="27" y="5"/>
                    <a:pt x="27" y="4"/>
                    <a:pt x="26" y="4"/>
                  </a:cubicBezTo>
                  <a:cubicBezTo>
                    <a:pt x="25" y="3"/>
                    <a:pt x="24" y="3"/>
                    <a:pt x="24" y="3"/>
                  </a:cubicBezTo>
                  <a:cubicBezTo>
                    <a:pt x="23" y="2"/>
                    <a:pt x="23" y="1"/>
                    <a:pt x="22" y="0"/>
                  </a:cubicBezTo>
                  <a:cubicBezTo>
                    <a:pt x="22" y="1"/>
                    <a:pt x="20" y="3"/>
                    <a:pt x="20" y="5"/>
                  </a:cubicBezTo>
                  <a:cubicBezTo>
                    <a:pt x="20" y="6"/>
                    <a:pt x="18" y="7"/>
                    <a:pt x="18" y="8"/>
                  </a:cubicBezTo>
                  <a:cubicBezTo>
                    <a:pt x="17" y="8"/>
                    <a:pt x="16" y="9"/>
                    <a:pt x="16" y="10"/>
                  </a:cubicBezTo>
                  <a:cubicBezTo>
                    <a:pt x="17" y="11"/>
                    <a:pt x="17" y="11"/>
                    <a:pt x="17" y="12"/>
                  </a:cubicBezTo>
                  <a:cubicBezTo>
                    <a:pt x="16" y="13"/>
                    <a:pt x="15" y="14"/>
                    <a:pt x="15" y="15"/>
                  </a:cubicBezTo>
                  <a:cubicBezTo>
                    <a:pt x="15" y="16"/>
                    <a:pt x="16" y="17"/>
                    <a:pt x="16" y="18"/>
                  </a:cubicBezTo>
                  <a:cubicBezTo>
                    <a:pt x="16" y="19"/>
                    <a:pt x="16" y="20"/>
                    <a:pt x="15" y="22"/>
                  </a:cubicBezTo>
                  <a:cubicBezTo>
                    <a:pt x="14" y="24"/>
                    <a:pt x="12" y="26"/>
                    <a:pt x="11" y="26"/>
                  </a:cubicBezTo>
                  <a:cubicBezTo>
                    <a:pt x="9" y="26"/>
                    <a:pt x="8" y="26"/>
                    <a:pt x="6" y="25"/>
                  </a:cubicBezTo>
                  <a:cubicBezTo>
                    <a:pt x="5" y="25"/>
                    <a:pt x="2" y="24"/>
                    <a:pt x="2" y="25"/>
                  </a:cubicBezTo>
                  <a:cubicBezTo>
                    <a:pt x="2" y="26"/>
                    <a:pt x="0" y="29"/>
                    <a:pt x="3" y="32"/>
                  </a:cubicBezTo>
                  <a:cubicBezTo>
                    <a:pt x="3" y="33"/>
                    <a:pt x="3" y="33"/>
                    <a:pt x="3" y="35"/>
                  </a:cubicBezTo>
                  <a:cubicBezTo>
                    <a:pt x="3" y="36"/>
                    <a:pt x="3" y="37"/>
                    <a:pt x="2" y="38"/>
                  </a:cubicBezTo>
                  <a:cubicBezTo>
                    <a:pt x="2" y="39"/>
                    <a:pt x="1" y="39"/>
                    <a:pt x="1" y="41"/>
                  </a:cubicBezTo>
                  <a:cubicBezTo>
                    <a:pt x="1" y="42"/>
                    <a:pt x="2" y="43"/>
                    <a:pt x="2" y="44"/>
                  </a:cubicBezTo>
                  <a:cubicBezTo>
                    <a:pt x="2" y="45"/>
                    <a:pt x="5" y="50"/>
                    <a:pt x="6" y="51"/>
                  </a:cubicBezTo>
                  <a:cubicBezTo>
                    <a:pt x="6" y="52"/>
                    <a:pt x="7" y="53"/>
                    <a:pt x="7" y="55"/>
                  </a:cubicBezTo>
                  <a:cubicBezTo>
                    <a:pt x="7" y="56"/>
                    <a:pt x="7" y="59"/>
                    <a:pt x="7" y="60"/>
                  </a:cubicBezTo>
                  <a:cubicBezTo>
                    <a:pt x="6" y="61"/>
                    <a:pt x="6" y="61"/>
                    <a:pt x="6" y="63"/>
                  </a:cubicBezTo>
                  <a:cubicBezTo>
                    <a:pt x="6" y="64"/>
                    <a:pt x="6" y="66"/>
                    <a:pt x="6" y="68"/>
                  </a:cubicBezTo>
                  <a:cubicBezTo>
                    <a:pt x="8" y="69"/>
                    <a:pt x="10" y="69"/>
                    <a:pt x="10" y="69"/>
                  </a:cubicBezTo>
                  <a:cubicBezTo>
                    <a:pt x="10" y="69"/>
                    <a:pt x="14" y="65"/>
                    <a:pt x="14" y="64"/>
                  </a:cubicBezTo>
                  <a:cubicBezTo>
                    <a:pt x="15" y="64"/>
                    <a:pt x="17" y="60"/>
                    <a:pt x="17" y="60"/>
                  </a:cubicBezTo>
                  <a:cubicBezTo>
                    <a:pt x="15" y="56"/>
                    <a:pt x="15" y="56"/>
                    <a:pt x="15" y="56"/>
                  </a:cubicBezTo>
                  <a:cubicBezTo>
                    <a:pt x="15" y="56"/>
                    <a:pt x="18" y="52"/>
                    <a:pt x="18" y="51"/>
                  </a:cubicBezTo>
                  <a:cubicBezTo>
                    <a:pt x="18" y="51"/>
                    <a:pt x="20" y="46"/>
                    <a:pt x="20" y="46"/>
                  </a:cubicBezTo>
                  <a:cubicBezTo>
                    <a:pt x="20" y="46"/>
                    <a:pt x="16" y="44"/>
                    <a:pt x="16" y="43"/>
                  </a:cubicBezTo>
                  <a:cubicBezTo>
                    <a:pt x="16" y="42"/>
                    <a:pt x="20" y="40"/>
                    <a:pt x="20" y="40"/>
                  </a:cubicBezTo>
                  <a:cubicBezTo>
                    <a:pt x="20" y="40"/>
                    <a:pt x="26" y="42"/>
                    <a:pt x="26" y="42"/>
                  </a:cubicBezTo>
                  <a:cubicBezTo>
                    <a:pt x="27" y="43"/>
                    <a:pt x="31" y="43"/>
                    <a:pt x="31" y="43"/>
                  </a:cubicBezTo>
                  <a:cubicBezTo>
                    <a:pt x="31" y="43"/>
                    <a:pt x="37" y="49"/>
                    <a:pt x="37" y="49"/>
                  </a:cubicBezTo>
                  <a:cubicBezTo>
                    <a:pt x="38" y="49"/>
                    <a:pt x="41" y="49"/>
                    <a:pt x="42" y="50"/>
                  </a:cubicBezTo>
                  <a:cubicBezTo>
                    <a:pt x="42" y="50"/>
                    <a:pt x="44" y="52"/>
                    <a:pt x="44" y="53"/>
                  </a:cubicBezTo>
                  <a:cubicBezTo>
                    <a:pt x="45" y="54"/>
                    <a:pt x="49" y="56"/>
                    <a:pt x="50" y="56"/>
                  </a:cubicBezTo>
                  <a:cubicBezTo>
                    <a:pt x="50" y="56"/>
                    <a:pt x="56" y="55"/>
                    <a:pt x="56" y="55"/>
                  </a:cubicBezTo>
                  <a:cubicBezTo>
                    <a:pt x="56" y="55"/>
                    <a:pt x="55" y="56"/>
                    <a:pt x="56" y="58"/>
                  </a:cubicBezTo>
                  <a:cubicBezTo>
                    <a:pt x="56" y="60"/>
                    <a:pt x="58" y="66"/>
                    <a:pt x="58" y="66"/>
                  </a:cubicBezTo>
                  <a:cubicBezTo>
                    <a:pt x="63" y="62"/>
                    <a:pt x="63" y="62"/>
                    <a:pt x="63" y="62"/>
                  </a:cubicBezTo>
                  <a:cubicBezTo>
                    <a:pt x="66" y="59"/>
                    <a:pt x="66" y="59"/>
                    <a:pt x="66" y="59"/>
                  </a:cubicBezTo>
                  <a:cubicBezTo>
                    <a:pt x="75" y="59"/>
                    <a:pt x="75" y="59"/>
                    <a:pt x="75" y="59"/>
                  </a:cubicBezTo>
                  <a:cubicBezTo>
                    <a:pt x="75" y="58"/>
                    <a:pt x="75" y="58"/>
                    <a:pt x="75" y="57"/>
                  </a:cubicBezTo>
                  <a:cubicBezTo>
                    <a:pt x="75" y="57"/>
                    <a:pt x="76" y="55"/>
                    <a:pt x="76" y="55"/>
                  </a:cubicBezTo>
                  <a:cubicBezTo>
                    <a:pt x="76" y="55"/>
                    <a:pt x="71" y="48"/>
                    <a:pt x="71" y="47"/>
                  </a:cubicBezTo>
                  <a:close/>
                </a:path>
              </a:pathLst>
            </a:custGeom>
            <a:grpFill/>
            <a:ln w="3175" cap="rnd">
              <a:solidFill>
                <a:schemeClr val="accent5"/>
              </a:solidFill>
              <a:prstDash val="solid"/>
              <a:round/>
              <a:headEnd/>
              <a:tailEnd/>
            </a:ln>
          </p:spPr>
          <p:txBody>
            <a:bodyPr/>
            <a:lstStyle/>
            <a:p>
              <a:endParaRPr lang="ru-RU"/>
            </a:p>
          </p:txBody>
        </p:sp>
        <p:sp>
          <p:nvSpPr>
            <p:cNvPr id="135" name="Freeform 17">
              <a:extLst>
                <a:ext uri="{FF2B5EF4-FFF2-40B4-BE49-F238E27FC236}">
                  <a16:creationId xmlns:a16="http://schemas.microsoft.com/office/drawing/2014/main" id="{E5EC7239-AAB9-5DBA-0FB8-E1FFEF05A570}"/>
                </a:ext>
              </a:extLst>
            </p:cNvPr>
            <p:cNvSpPr>
              <a:spLocks noEditPoints="1"/>
            </p:cNvSpPr>
            <p:nvPr/>
          </p:nvSpPr>
          <p:spPr bwMode="auto">
            <a:xfrm>
              <a:off x="2430463" y="4475163"/>
              <a:ext cx="490537" cy="900112"/>
            </a:xfrm>
            <a:custGeom>
              <a:avLst/>
              <a:gdLst>
                <a:gd name="T0" fmla="*/ 57039 w 129"/>
                <a:gd name="T1" fmla="*/ 614059 h 236"/>
                <a:gd name="T2" fmla="*/ 144499 w 129"/>
                <a:gd name="T3" fmla="*/ 507267 h 236"/>
                <a:gd name="T4" fmla="*/ 209144 w 129"/>
                <a:gd name="T5" fmla="*/ 369961 h 236"/>
                <a:gd name="T6" fmla="*/ 224354 w 129"/>
                <a:gd name="T7" fmla="*/ 274610 h 236"/>
                <a:gd name="T8" fmla="*/ 144499 w 129"/>
                <a:gd name="T9" fmla="*/ 263168 h 236"/>
                <a:gd name="T10" fmla="*/ 212946 w 129"/>
                <a:gd name="T11" fmla="*/ 213586 h 236"/>
                <a:gd name="T12" fmla="*/ 171118 w 129"/>
                <a:gd name="T13" fmla="*/ 194516 h 236"/>
                <a:gd name="T14" fmla="*/ 167315 w 129"/>
                <a:gd name="T15" fmla="*/ 244098 h 236"/>
                <a:gd name="T16" fmla="*/ 193933 w 129"/>
                <a:gd name="T17" fmla="*/ 278424 h 236"/>
                <a:gd name="T18" fmla="*/ 258578 w 129"/>
                <a:gd name="T19" fmla="*/ 175446 h 236"/>
                <a:gd name="T20" fmla="*/ 315617 w 129"/>
                <a:gd name="T21" fmla="*/ 122049 h 236"/>
                <a:gd name="T22" fmla="*/ 273788 w 129"/>
                <a:gd name="T23" fmla="*/ 125863 h 236"/>
                <a:gd name="T24" fmla="*/ 144499 w 129"/>
                <a:gd name="T25" fmla="*/ 228842 h 236"/>
                <a:gd name="T26" fmla="*/ 140697 w 129"/>
                <a:gd name="T27" fmla="*/ 167817 h 236"/>
                <a:gd name="T28" fmla="*/ 148302 w 129"/>
                <a:gd name="T29" fmla="*/ 156375 h 236"/>
                <a:gd name="T30" fmla="*/ 167315 w 129"/>
                <a:gd name="T31" fmla="*/ 133491 h 236"/>
                <a:gd name="T32" fmla="*/ 201538 w 129"/>
                <a:gd name="T33" fmla="*/ 133491 h 236"/>
                <a:gd name="T34" fmla="*/ 224354 w 129"/>
                <a:gd name="T35" fmla="*/ 133491 h 236"/>
                <a:gd name="T36" fmla="*/ 205341 w 129"/>
                <a:gd name="T37" fmla="*/ 183074 h 236"/>
                <a:gd name="T38" fmla="*/ 140697 w 129"/>
                <a:gd name="T39" fmla="*/ 122049 h 236"/>
                <a:gd name="T40" fmla="*/ 144499 w 129"/>
                <a:gd name="T41" fmla="*/ 99165 h 236"/>
                <a:gd name="T42" fmla="*/ 186328 w 129"/>
                <a:gd name="T43" fmla="*/ 118235 h 236"/>
                <a:gd name="T44" fmla="*/ 193933 w 129"/>
                <a:gd name="T45" fmla="*/ 95351 h 236"/>
                <a:gd name="T46" fmla="*/ 197736 w 129"/>
                <a:gd name="T47" fmla="*/ 64839 h 236"/>
                <a:gd name="T48" fmla="*/ 174920 w 129"/>
                <a:gd name="T49" fmla="*/ 99165 h 236"/>
                <a:gd name="T50" fmla="*/ 193933 w 129"/>
                <a:gd name="T51" fmla="*/ 34326 h 236"/>
                <a:gd name="T52" fmla="*/ 182525 w 129"/>
                <a:gd name="T53" fmla="*/ 11442 h 236"/>
                <a:gd name="T54" fmla="*/ 64644 w 129"/>
                <a:gd name="T55" fmla="*/ 179260 h 236"/>
                <a:gd name="T56" fmla="*/ 102671 w 129"/>
                <a:gd name="T57" fmla="*/ 137305 h 236"/>
                <a:gd name="T58" fmla="*/ 368853 w 129"/>
                <a:gd name="T59" fmla="*/ 705596 h 236"/>
                <a:gd name="T60" fmla="*/ 395472 w 129"/>
                <a:gd name="T61" fmla="*/ 530151 h 236"/>
                <a:gd name="T62" fmla="*/ 422090 w 129"/>
                <a:gd name="T63" fmla="*/ 358519 h 236"/>
                <a:gd name="T64" fmla="*/ 399274 w 129"/>
                <a:gd name="T65" fmla="*/ 175446 h 236"/>
                <a:gd name="T66" fmla="*/ 410682 w 129"/>
                <a:gd name="T67" fmla="*/ 95351 h 236"/>
                <a:gd name="T68" fmla="*/ 288999 w 129"/>
                <a:gd name="T69" fmla="*/ 15256 h 236"/>
                <a:gd name="T70" fmla="*/ 266183 w 129"/>
                <a:gd name="T71" fmla="*/ 49582 h 236"/>
                <a:gd name="T72" fmla="*/ 288999 w 129"/>
                <a:gd name="T73" fmla="*/ 83909 h 236"/>
                <a:gd name="T74" fmla="*/ 304209 w 129"/>
                <a:gd name="T75" fmla="*/ 164003 h 236"/>
                <a:gd name="T76" fmla="*/ 243367 w 129"/>
                <a:gd name="T77" fmla="*/ 209772 h 236"/>
                <a:gd name="T78" fmla="*/ 315617 w 129"/>
                <a:gd name="T79" fmla="*/ 255540 h 236"/>
                <a:gd name="T80" fmla="*/ 228157 w 129"/>
                <a:gd name="T81" fmla="*/ 301309 h 236"/>
                <a:gd name="T82" fmla="*/ 220552 w 129"/>
                <a:gd name="T83" fmla="*/ 381403 h 236"/>
                <a:gd name="T84" fmla="*/ 197736 w 129"/>
                <a:gd name="T85" fmla="*/ 415730 h 236"/>
                <a:gd name="T86" fmla="*/ 190131 w 129"/>
                <a:gd name="T87" fmla="*/ 354705 h 236"/>
                <a:gd name="T88" fmla="*/ 178723 w 129"/>
                <a:gd name="T89" fmla="*/ 308937 h 236"/>
                <a:gd name="T90" fmla="*/ 68447 w 129"/>
                <a:gd name="T91" fmla="*/ 331821 h 236"/>
                <a:gd name="T92" fmla="*/ 87460 w 129"/>
                <a:gd name="T93" fmla="*/ 389031 h 236"/>
                <a:gd name="T94" fmla="*/ 3803 w 129"/>
                <a:gd name="T95" fmla="*/ 472940 h 236"/>
                <a:gd name="T96" fmla="*/ 79855 w 129"/>
                <a:gd name="T97" fmla="*/ 427172 h 236"/>
                <a:gd name="T98" fmla="*/ 152104 w 129"/>
                <a:gd name="T99" fmla="*/ 469126 h 236"/>
                <a:gd name="T100" fmla="*/ 136894 w 129"/>
                <a:gd name="T101" fmla="*/ 579733 h 236"/>
                <a:gd name="T102" fmla="*/ 106473 w 129"/>
                <a:gd name="T103" fmla="*/ 606431 h 236"/>
                <a:gd name="T104" fmla="*/ 178723 w 129"/>
                <a:gd name="T105" fmla="*/ 636944 h 236"/>
                <a:gd name="T106" fmla="*/ 220552 w 129"/>
                <a:gd name="T107" fmla="*/ 602617 h 236"/>
                <a:gd name="T108" fmla="*/ 243367 w 129"/>
                <a:gd name="T109" fmla="*/ 690340 h 236"/>
                <a:gd name="T110" fmla="*/ 125486 w 129"/>
                <a:gd name="T111" fmla="*/ 682712 h 236"/>
                <a:gd name="T112" fmla="*/ 159710 w 129"/>
                <a:gd name="T113" fmla="*/ 739923 h 236"/>
                <a:gd name="T114" fmla="*/ 45631 w 129"/>
                <a:gd name="T115" fmla="*/ 671270 h 236"/>
                <a:gd name="T116" fmla="*/ 26618 w 129"/>
                <a:gd name="T117" fmla="*/ 720852 h 236"/>
                <a:gd name="T118" fmla="*/ 15210 w 129"/>
                <a:gd name="T119" fmla="*/ 758993 h 236"/>
                <a:gd name="T120" fmla="*/ 110276 w 129"/>
                <a:gd name="T121" fmla="*/ 690340 h 236"/>
                <a:gd name="T122" fmla="*/ 95065 w 129"/>
                <a:gd name="T123" fmla="*/ 629316 h 236"/>
                <a:gd name="T124" fmla="*/ 57039 w 129"/>
                <a:gd name="T125" fmla="*/ 678898 h 2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9" h="236">
                  <a:moveTo>
                    <a:pt x="23" y="163"/>
                  </a:moveTo>
                  <a:cubicBezTo>
                    <a:pt x="23" y="163"/>
                    <a:pt x="23" y="164"/>
                    <a:pt x="22" y="164"/>
                  </a:cubicBezTo>
                  <a:cubicBezTo>
                    <a:pt x="22" y="164"/>
                    <a:pt x="22" y="164"/>
                    <a:pt x="22" y="164"/>
                  </a:cubicBezTo>
                  <a:cubicBezTo>
                    <a:pt x="21" y="164"/>
                    <a:pt x="20" y="164"/>
                    <a:pt x="20" y="163"/>
                  </a:cubicBezTo>
                  <a:cubicBezTo>
                    <a:pt x="20" y="163"/>
                    <a:pt x="19" y="163"/>
                    <a:pt x="19" y="163"/>
                  </a:cubicBezTo>
                  <a:cubicBezTo>
                    <a:pt x="19" y="163"/>
                    <a:pt x="18" y="163"/>
                    <a:pt x="18" y="164"/>
                  </a:cubicBezTo>
                  <a:cubicBezTo>
                    <a:pt x="18" y="164"/>
                    <a:pt x="18" y="165"/>
                    <a:pt x="17" y="165"/>
                  </a:cubicBezTo>
                  <a:cubicBezTo>
                    <a:pt x="17" y="166"/>
                    <a:pt x="17" y="166"/>
                    <a:pt x="17" y="166"/>
                  </a:cubicBezTo>
                  <a:cubicBezTo>
                    <a:pt x="17" y="166"/>
                    <a:pt x="17" y="166"/>
                    <a:pt x="16" y="166"/>
                  </a:cubicBezTo>
                  <a:cubicBezTo>
                    <a:pt x="15" y="166"/>
                    <a:pt x="14" y="165"/>
                    <a:pt x="14" y="165"/>
                  </a:cubicBezTo>
                  <a:cubicBezTo>
                    <a:pt x="13" y="164"/>
                    <a:pt x="12" y="164"/>
                    <a:pt x="12" y="164"/>
                  </a:cubicBezTo>
                  <a:cubicBezTo>
                    <a:pt x="12" y="164"/>
                    <a:pt x="11" y="164"/>
                    <a:pt x="11" y="164"/>
                  </a:cubicBezTo>
                  <a:cubicBezTo>
                    <a:pt x="11" y="163"/>
                    <a:pt x="11" y="163"/>
                    <a:pt x="12" y="163"/>
                  </a:cubicBezTo>
                  <a:cubicBezTo>
                    <a:pt x="12" y="163"/>
                    <a:pt x="12" y="163"/>
                    <a:pt x="13" y="163"/>
                  </a:cubicBezTo>
                  <a:cubicBezTo>
                    <a:pt x="13" y="163"/>
                    <a:pt x="13" y="163"/>
                    <a:pt x="14" y="163"/>
                  </a:cubicBezTo>
                  <a:cubicBezTo>
                    <a:pt x="14" y="163"/>
                    <a:pt x="15" y="162"/>
                    <a:pt x="15" y="162"/>
                  </a:cubicBezTo>
                  <a:cubicBezTo>
                    <a:pt x="15" y="162"/>
                    <a:pt x="15" y="162"/>
                    <a:pt x="15" y="161"/>
                  </a:cubicBezTo>
                  <a:cubicBezTo>
                    <a:pt x="16" y="161"/>
                    <a:pt x="16" y="161"/>
                    <a:pt x="16" y="161"/>
                  </a:cubicBezTo>
                  <a:cubicBezTo>
                    <a:pt x="17" y="161"/>
                    <a:pt x="17" y="161"/>
                    <a:pt x="17" y="160"/>
                  </a:cubicBezTo>
                  <a:cubicBezTo>
                    <a:pt x="18" y="160"/>
                    <a:pt x="18" y="160"/>
                    <a:pt x="19" y="160"/>
                  </a:cubicBezTo>
                  <a:cubicBezTo>
                    <a:pt x="19" y="160"/>
                    <a:pt x="20" y="160"/>
                    <a:pt x="20" y="160"/>
                  </a:cubicBezTo>
                  <a:cubicBezTo>
                    <a:pt x="21" y="160"/>
                    <a:pt x="21" y="161"/>
                    <a:pt x="21" y="161"/>
                  </a:cubicBezTo>
                  <a:cubicBezTo>
                    <a:pt x="21" y="161"/>
                    <a:pt x="22" y="161"/>
                    <a:pt x="22" y="162"/>
                  </a:cubicBezTo>
                  <a:cubicBezTo>
                    <a:pt x="23" y="162"/>
                    <a:pt x="23" y="163"/>
                    <a:pt x="23" y="163"/>
                  </a:cubicBezTo>
                  <a:close/>
                  <a:moveTo>
                    <a:pt x="36" y="137"/>
                  </a:moveTo>
                  <a:cubicBezTo>
                    <a:pt x="36" y="137"/>
                    <a:pt x="36" y="137"/>
                    <a:pt x="36" y="137"/>
                  </a:cubicBezTo>
                  <a:cubicBezTo>
                    <a:pt x="37" y="137"/>
                    <a:pt x="37" y="138"/>
                    <a:pt x="37" y="138"/>
                  </a:cubicBezTo>
                  <a:cubicBezTo>
                    <a:pt x="38" y="138"/>
                    <a:pt x="39" y="137"/>
                    <a:pt x="39" y="137"/>
                  </a:cubicBezTo>
                  <a:cubicBezTo>
                    <a:pt x="39" y="136"/>
                    <a:pt x="39" y="136"/>
                    <a:pt x="40" y="136"/>
                  </a:cubicBezTo>
                  <a:cubicBezTo>
                    <a:pt x="40" y="135"/>
                    <a:pt x="40" y="135"/>
                    <a:pt x="40" y="134"/>
                  </a:cubicBezTo>
                  <a:cubicBezTo>
                    <a:pt x="40" y="134"/>
                    <a:pt x="40" y="134"/>
                    <a:pt x="40" y="134"/>
                  </a:cubicBezTo>
                  <a:cubicBezTo>
                    <a:pt x="41" y="133"/>
                    <a:pt x="40" y="133"/>
                    <a:pt x="40" y="133"/>
                  </a:cubicBezTo>
                  <a:cubicBezTo>
                    <a:pt x="39" y="132"/>
                    <a:pt x="39" y="132"/>
                    <a:pt x="39" y="133"/>
                  </a:cubicBezTo>
                  <a:cubicBezTo>
                    <a:pt x="38" y="133"/>
                    <a:pt x="38" y="133"/>
                    <a:pt x="38" y="133"/>
                  </a:cubicBezTo>
                  <a:cubicBezTo>
                    <a:pt x="38" y="133"/>
                    <a:pt x="37" y="133"/>
                    <a:pt x="37" y="134"/>
                  </a:cubicBezTo>
                  <a:cubicBezTo>
                    <a:pt x="37" y="134"/>
                    <a:pt x="36" y="134"/>
                    <a:pt x="36" y="135"/>
                  </a:cubicBezTo>
                  <a:cubicBezTo>
                    <a:pt x="35" y="135"/>
                    <a:pt x="35" y="135"/>
                    <a:pt x="35" y="136"/>
                  </a:cubicBezTo>
                  <a:cubicBezTo>
                    <a:pt x="35" y="136"/>
                    <a:pt x="35" y="136"/>
                    <a:pt x="35" y="136"/>
                  </a:cubicBezTo>
                  <a:cubicBezTo>
                    <a:pt x="36" y="137"/>
                    <a:pt x="36" y="137"/>
                    <a:pt x="36" y="137"/>
                  </a:cubicBezTo>
                  <a:close/>
                  <a:moveTo>
                    <a:pt x="57" y="91"/>
                  </a:moveTo>
                  <a:cubicBezTo>
                    <a:pt x="57" y="91"/>
                    <a:pt x="57" y="91"/>
                    <a:pt x="57" y="90"/>
                  </a:cubicBezTo>
                  <a:cubicBezTo>
                    <a:pt x="57" y="89"/>
                    <a:pt x="57" y="87"/>
                    <a:pt x="57" y="85"/>
                  </a:cubicBezTo>
                  <a:cubicBezTo>
                    <a:pt x="57" y="85"/>
                    <a:pt x="57" y="85"/>
                    <a:pt x="57" y="85"/>
                  </a:cubicBezTo>
                  <a:cubicBezTo>
                    <a:pt x="57" y="84"/>
                    <a:pt x="56" y="84"/>
                    <a:pt x="56" y="84"/>
                  </a:cubicBezTo>
                  <a:cubicBezTo>
                    <a:pt x="55" y="84"/>
                    <a:pt x="55" y="84"/>
                    <a:pt x="54" y="85"/>
                  </a:cubicBezTo>
                  <a:cubicBezTo>
                    <a:pt x="53" y="85"/>
                    <a:pt x="53" y="86"/>
                    <a:pt x="52" y="86"/>
                  </a:cubicBezTo>
                  <a:cubicBezTo>
                    <a:pt x="52" y="87"/>
                    <a:pt x="52" y="87"/>
                    <a:pt x="52" y="88"/>
                  </a:cubicBezTo>
                  <a:cubicBezTo>
                    <a:pt x="51" y="90"/>
                    <a:pt x="51" y="92"/>
                    <a:pt x="52" y="93"/>
                  </a:cubicBezTo>
                  <a:cubicBezTo>
                    <a:pt x="53" y="94"/>
                    <a:pt x="53" y="94"/>
                    <a:pt x="53" y="94"/>
                  </a:cubicBezTo>
                  <a:cubicBezTo>
                    <a:pt x="54" y="95"/>
                    <a:pt x="54" y="95"/>
                    <a:pt x="54" y="96"/>
                  </a:cubicBezTo>
                  <a:cubicBezTo>
                    <a:pt x="54" y="96"/>
                    <a:pt x="54" y="97"/>
                    <a:pt x="55" y="97"/>
                  </a:cubicBezTo>
                  <a:cubicBezTo>
                    <a:pt x="55" y="98"/>
                    <a:pt x="56" y="98"/>
                    <a:pt x="56" y="97"/>
                  </a:cubicBezTo>
                  <a:cubicBezTo>
                    <a:pt x="56" y="97"/>
                    <a:pt x="57" y="97"/>
                    <a:pt x="57" y="97"/>
                  </a:cubicBezTo>
                  <a:cubicBezTo>
                    <a:pt x="57" y="95"/>
                    <a:pt x="56" y="93"/>
                    <a:pt x="55" y="93"/>
                  </a:cubicBezTo>
                  <a:cubicBezTo>
                    <a:pt x="55" y="92"/>
                    <a:pt x="56" y="92"/>
                    <a:pt x="57" y="91"/>
                  </a:cubicBezTo>
                  <a:close/>
                  <a:moveTo>
                    <a:pt x="59" y="72"/>
                  </a:moveTo>
                  <a:cubicBezTo>
                    <a:pt x="59" y="72"/>
                    <a:pt x="60" y="71"/>
                    <a:pt x="60" y="70"/>
                  </a:cubicBezTo>
                  <a:cubicBezTo>
                    <a:pt x="60" y="70"/>
                    <a:pt x="60" y="70"/>
                    <a:pt x="59" y="69"/>
                  </a:cubicBezTo>
                  <a:cubicBezTo>
                    <a:pt x="59" y="69"/>
                    <a:pt x="59" y="68"/>
                    <a:pt x="58" y="68"/>
                  </a:cubicBezTo>
                  <a:cubicBezTo>
                    <a:pt x="58" y="68"/>
                    <a:pt x="57" y="69"/>
                    <a:pt x="57" y="69"/>
                  </a:cubicBezTo>
                  <a:cubicBezTo>
                    <a:pt x="56" y="70"/>
                    <a:pt x="55" y="71"/>
                    <a:pt x="55" y="72"/>
                  </a:cubicBezTo>
                  <a:cubicBezTo>
                    <a:pt x="55" y="73"/>
                    <a:pt x="54" y="73"/>
                    <a:pt x="54" y="74"/>
                  </a:cubicBezTo>
                  <a:cubicBezTo>
                    <a:pt x="54" y="75"/>
                    <a:pt x="53" y="77"/>
                    <a:pt x="54" y="78"/>
                  </a:cubicBezTo>
                  <a:cubicBezTo>
                    <a:pt x="55" y="78"/>
                    <a:pt x="57" y="79"/>
                    <a:pt x="57" y="80"/>
                  </a:cubicBezTo>
                  <a:cubicBezTo>
                    <a:pt x="58" y="80"/>
                    <a:pt x="59" y="79"/>
                    <a:pt x="59" y="78"/>
                  </a:cubicBezTo>
                  <a:cubicBezTo>
                    <a:pt x="59" y="78"/>
                    <a:pt x="58" y="77"/>
                    <a:pt x="58" y="77"/>
                  </a:cubicBezTo>
                  <a:cubicBezTo>
                    <a:pt x="58" y="76"/>
                    <a:pt x="59" y="75"/>
                    <a:pt x="59" y="74"/>
                  </a:cubicBezTo>
                  <a:cubicBezTo>
                    <a:pt x="59" y="73"/>
                    <a:pt x="59" y="73"/>
                    <a:pt x="59" y="72"/>
                  </a:cubicBezTo>
                  <a:close/>
                  <a:moveTo>
                    <a:pt x="30" y="76"/>
                  </a:moveTo>
                  <a:cubicBezTo>
                    <a:pt x="29" y="77"/>
                    <a:pt x="28" y="78"/>
                    <a:pt x="28" y="80"/>
                  </a:cubicBezTo>
                  <a:cubicBezTo>
                    <a:pt x="29" y="81"/>
                    <a:pt x="31" y="80"/>
                    <a:pt x="32" y="81"/>
                  </a:cubicBezTo>
                  <a:cubicBezTo>
                    <a:pt x="32" y="81"/>
                    <a:pt x="33" y="82"/>
                    <a:pt x="33" y="82"/>
                  </a:cubicBezTo>
                  <a:cubicBezTo>
                    <a:pt x="33" y="82"/>
                    <a:pt x="33" y="83"/>
                    <a:pt x="34" y="82"/>
                  </a:cubicBezTo>
                  <a:cubicBezTo>
                    <a:pt x="34" y="82"/>
                    <a:pt x="34" y="82"/>
                    <a:pt x="34" y="82"/>
                  </a:cubicBezTo>
                  <a:cubicBezTo>
                    <a:pt x="35" y="81"/>
                    <a:pt x="35" y="81"/>
                    <a:pt x="36" y="81"/>
                  </a:cubicBezTo>
                  <a:cubicBezTo>
                    <a:pt x="37" y="80"/>
                    <a:pt x="37" y="80"/>
                    <a:pt x="38" y="80"/>
                  </a:cubicBezTo>
                  <a:cubicBezTo>
                    <a:pt x="38" y="79"/>
                    <a:pt x="38" y="79"/>
                    <a:pt x="39" y="78"/>
                  </a:cubicBezTo>
                  <a:cubicBezTo>
                    <a:pt x="39" y="78"/>
                    <a:pt x="40" y="78"/>
                    <a:pt x="41" y="78"/>
                  </a:cubicBezTo>
                  <a:cubicBezTo>
                    <a:pt x="42" y="77"/>
                    <a:pt x="42" y="76"/>
                    <a:pt x="42" y="76"/>
                  </a:cubicBezTo>
                  <a:cubicBezTo>
                    <a:pt x="42" y="74"/>
                    <a:pt x="42" y="73"/>
                    <a:pt x="41" y="72"/>
                  </a:cubicBezTo>
                  <a:cubicBezTo>
                    <a:pt x="41" y="72"/>
                    <a:pt x="41" y="72"/>
                    <a:pt x="40" y="71"/>
                  </a:cubicBezTo>
                  <a:cubicBezTo>
                    <a:pt x="40" y="71"/>
                    <a:pt x="40" y="71"/>
                    <a:pt x="40" y="70"/>
                  </a:cubicBezTo>
                  <a:cubicBezTo>
                    <a:pt x="40" y="70"/>
                    <a:pt x="40" y="69"/>
                    <a:pt x="40" y="69"/>
                  </a:cubicBezTo>
                  <a:cubicBezTo>
                    <a:pt x="40" y="69"/>
                    <a:pt x="40" y="69"/>
                    <a:pt x="39" y="69"/>
                  </a:cubicBezTo>
                  <a:cubicBezTo>
                    <a:pt x="39" y="69"/>
                    <a:pt x="39" y="69"/>
                    <a:pt x="38" y="69"/>
                  </a:cubicBezTo>
                  <a:cubicBezTo>
                    <a:pt x="37" y="69"/>
                    <a:pt x="37" y="69"/>
                    <a:pt x="36" y="69"/>
                  </a:cubicBezTo>
                  <a:cubicBezTo>
                    <a:pt x="36" y="69"/>
                    <a:pt x="35" y="69"/>
                    <a:pt x="35" y="68"/>
                  </a:cubicBezTo>
                  <a:cubicBezTo>
                    <a:pt x="34" y="69"/>
                    <a:pt x="32" y="69"/>
                    <a:pt x="32" y="71"/>
                  </a:cubicBezTo>
                  <a:cubicBezTo>
                    <a:pt x="32" y="71"/>
                    <a:pt x="32" y="71"/>
                    <a:pt x="32" y="72"/>
                  </a:cubicBezTo>
                  <a:cubicBezTo>
                    <a:pt x="32" y="73"/>
                    <a:pt x="31" y="75"/>
                    <a:pt x="30" y="76"/>
                  </a:cubicBezTo>
                  <a:close/>
                  <a:moveTo>
                    <a:pt x="51" y="67"/>
                  </a:moveTo>
                  <a:cubicBezTo>
                    <a:pt x="52" y="67"/>
                    <a:pt x="52" y="67"/>
                    <a:pt x="53" y="67"/>
                  </a:cubicBezTo>
                  <a:cubicBezTo>
                    <a:pt x="53" y="67"/>
                    <a:pt x="53" y="67"/>
                    <a:pt x="53" y="67"/>
                  </a:cubicBezTo>
                  <a:cubicBezTo>
                    <a:pt x="53" y="67"/>
                    <a:pt x="53" y="67"/>
                    <a:pt x="53" y="66"/>
                  </a:cubicBezTo>
                  <a:cubicBezTo>
                    <a:pt x="54" y="66"/>
                    <a:pt x="54" y="65"/>
                    <a:pt x="54" y="64"/>
                  </a:cubicBezTo>
                  <a:cubicBezTo>
                    <a:pt x="54" y="63"/>
                    <a:pt x="55" y="63"/>
                    <a:pt x="54" y="62"/>
                  </a:cubicBezTo>
                  <a:cubicBezTo>
                    <a:pt x="54" y="62"/>
                    <a:pt x="54" y="62"/>
                    <a:pt x="54" y="62"/>
                  </a:cubicBezTo>
                  <a:cubicBezTo>
                    <a:pt x="54" y="61"/>
                    <a:pt x="53" y="61"/>
                    <a:pt x="54" y="61"/>
                  </a:cubicBezTo>
                  <a:cubicBezTo>
                    <a:pt x="54" y="61"/>
                    <a:pt x="55" y="60"/>
                    <a:pt x="55" y="60"/>
                  </a:cubicBezTo>
                  <a:cubicBezTo>
                    <a:pt x="56" y="60"/>
                    <a:pt x="56" y="59"/>
                    <a:pt x="56" y="58"/>
                  </a:cubicBezTo>
                  <a:cubicBezTo>
                    <a:pt x="57" y="58"/>
                    <a:pt x="57" y="58"/>
                    <a:pt x="57" y="57"/>
                  </a:cubicBezTo>
                  <a:cubicBezTo>
                    <a:pt x="57" y="56"/>
                    <a:pt x="56" y="56"/>
                    <a:pt x="56" y="56"/>
                  </a:cubicBezTo>
                  <a:cubicBezTo>
                    <a:pt x="55" y="55"/>
                    <a:pt x="56" y="54"/>
                    <a:pt x="56" y="53"/>
                  </a:cubicBezTo>
                  <a:cubicBezTo>
                    <a:pt x="56" y="53"/>
                    <a:pt x="55" y="53"/>
                    <a:pt x="55" y="52"/>
                  </a:cubicBezTo>
                  <a:cubicBezTo>
                    <a:pt x="55" y="52"/>
                    <a:pt x="55" y="52"/>
                    <a:pt x="55" y="51"/>
                  </a:cubicBezTo>
                  <a:cubicBezTo>
                    <a:pt x="55" y="51"/>
                    <a:pt x="54" y="50"/>
                    <a:pt x="53" y="50"/>
                  </a:cubicBezTo>
                  <a:cubicBezTo>
                    <a:pt x="51" y="49"/>
                    <a:pt x="50" y="47"/>
                    <a:pt x="49" y="47"/>
                  </a:cubicBezTo>
                  <a:cubicBezTo>
                    <a:pt x="48" y="47"/>
                    <a:pt x="48" y="47"/>
                    <a:pt x="48" y="46"/>
                  </a:cubicBezTo>
                  <a:cubicBezTo>
                    <a:pt x="47" y="46"/>
                    <a:pt x="47" y="46"/>
                    <a:pt x="47" y="46"/>
                  </a:cubicBezTo>
                  <a:cubicBezTo>
                    <a:pt x="47" y="45"/>
                    <a:pt x="45" y="46"/>
                    <a:pt x="44" y="45"/>
                  </a:cubicBezTo>
                  <a:cubicBezTo>
                    <a:pt x="44" y="45"/>
                    <a:pt x="44" y="45"/>
                    <a:pt x="44" y="45"/>
                  </a:cubicBezTo>
                  <a:cubicBezTo>
                    <a:pt x="44" y="45"/>
                    <a:pt x="44" y="45"/>
                    <a:pt x="44" y="45"/>
                  </a:cubicBezTo>
                  <a:cubicBezTo>
                    <a:pt x="43" y="45"/>
                    <a:pt x="42" y="46"/>
                    <a:pt x="41" y="47"/>
                  </a:cubicBezTo>
                  <a:cubicBezTo>
                    <a:pt x="41" y="47"/>
                    <a:pt x="41" y="47"/>
                    <a:pt x="41" y="47"/>
                  </a:cubicBezTo>
                  <a:cubicBezTo>
                    <a:pt x="41" y="48"/>
                    <a:pt x="40" y="47"/>
                    <a:pt x="40" y="47"/>
                  </a:cubicBezTo>
                  <a:cubicBezTo>
                    <a:pt x="39" y="48"/>
                    <a:pt x="38" y="49"/>
                    <a:pt x="38" y="50"/>
                  </a:cubicBezTo>
                  <a:cubicBezTo>
                    <a:pt x="38" y="50"/>
                    <a:pt x="38" y="50"/>
                    <a:pt x="38" y="51"/>
                  </a:cubicBezTo>
                  <a:cubicBezTo>
                    <a:pt x="38" y="51"/>
                    <a:pt x="39" y="51"/>
                    <a:pt x="39" y="51"/>
                  </a:cubicBezTo>
                  <a:cubicBezTo>
                    <a:pt x="41" y="51"/>
                    <a:pt x="43" y="51"/>
                    <a:pt x="45" y="51"/>
                  </a:cubicBezTo>
                  <a:cubicBezTo>
                    <a:pt x="45" y="51"/>
                    <a:pt x="46" y="51"/>
                    <a:pt x="46" y="51"/>
                  </a:cubicBezTo>
                  <a:cubicBezTo>
                    <a:pt x="46" y="51"/>
                    <a:pt x="46" y="50"/>
                    <a:pt x="47" y="50"/>
                  </a:cubicBezTo>
                  <a:cubicBezTo>
                    <a:pt x="47" y="50"/>
                    <a:pt x="48" y="50"/>
                    <a:pt x="49" y="50"/>
                  </a:cubicBezTo>
                  <a:cubicBezTo>
                    <a:pt x="49" y="50"/>
                    <a:pt x="50" y="50"/>
                    <a:pt x="50" y="50"/>
                  </a:cubicBezTo>
                  <a:cubicBezTo>
                    <a:pt x="50" y="51"/>
                    <a:pt x="50" y="51"/>
                    <a:pt x="49" y="51"/>
                  </a:cubicBezTo>
                  <a:cubicBezTo>
                    <a:pt x="49" y="51"/>
                    <a:pt x="49" y="52"/>
                    <a:pt x="49" y="52"/>
                  </a:cubicBezTo>
                  <a:cubicBezTo>
                    <a:pt x="48" y="53"/>
                    <a:pt x="47" y="53"/>
                    <a:pt x="46" y="52"/>
                  </a:cubicBezTo>
                  <a:cubicBezTo>
                    <a:pt x="45" y="52"/>
                    <a:pt x="43" y="52"/>
                    <a:pt x="42" y="52"/>
                  </a:cubicBezTo>
                  <a:cubicBezTo>
                    <a:pt x="42" y="53"/>
                    <a:pt x="42" y="54"/>
                    <a:pt x="42" y="55"/>
                  </a:cubicBezTo>
                  <a:cubicBezTo>
                    <a:pt x="41" y="55"/>
                    <a:pt x="41" y="55"/>
                    <a:pt x="41" y="56"/>
                  </a:cubicBezTo>
                  <a:cubicBezTo>
                    <a:pt x="42" y="56"/>
                    <a:pt x="42" y="56"/>
                    <a:pt x="43" y="56"/>
                  </a:cubicBezTo>
                  <a:cubicBezTo>
                    <a:pt x="45" y="56"/>
                    <a:pt x="47" y="57"/>
                    <a:pt x="48" y="58"/>
                  </a:cubicBezTo>
                  <a:cubicBezTo>
                    <a:pt x="48" y="59"/>
                    <a:pt x="48" y="59"/>
                    <a:pt x="48" y="59"/>
                  </a:cubicBezTo>
                  <a:cubicBezTo>
                    <a:pt x="48" y="59"/>
                    <a:pt x="48" y="59"/>
                    <a:pt x="47" y="60"/>
                  </a:cubicBezTo>
                  <a:cubicBezTo>
                    <a:pt x="47" y="60"/>
                    <a:pt x="47" y="59"/>
                    <a:pt x="47" y="59"/>
                  </a:cubicBezTo>
                  <a:cubicBezTo>
                    <a:pt x="46" y="59"/>
                    <a:pt x="45" y="58"/>
                    <a:pt x="44" y="58"/>
                  </a:cubicBezTo>
                  <a:cubicBezTo>
                    <a:pt x="44" y="60"/>
                    <a:pt x="44" y="62"/>
                    <a:pt x="44" y="64"/>
                  </a:cubicBezTo>
                  <a:cubicBezTo>
                    <a:pt x="44" y="64"/>
                    <a:pt x="44" y="65"/>
                    <a:pt x="45" y="65"/>
                  </a:cubicBezTo>
                  <a:cubicBezTo>
                    <a:pt x="45" y="66"/>
                    <a:pt x="46" y="66"/>
                    <a:pt x="46" y="66"/>
                  </a:cubicBezTo>
                  <a:cubicBezTo>
                    <a:pt x="46" y="67"/>
                    <a:pt x="46" y="67"/>
                    <a:pt x="46" y="67"/>
                  </a:cubicBezTo>
                  <a:cubicBezTo>
                    <a:pt x="45" y="69"/>
                    <a:pt x="45" y="71"/>
                    <a:pt x="45" y="73"/>
                  </a:cubicBezTo>
                  <a:cubicBezTo>
                    <a:pt x="46" y="73"/>
                    <a:pt x="46" y="72"/>
                    <a:pt x="47" y="72"/>
                  </a:cubicBezTo>
                  <a:cubicBezTo>
                    <a:pt x="47" y="73"/>
                    <a:pt x="47" y="73"/>
                    <a:pt x="46" y="73"/>
                  </a:cubicBezTo>
                  <a:cubicBezTo>
                    <a:pt x="46" y="74"/>
                    <a:pt x="46" y="74"/>
                    <a:pt x="46" y="74"/>
                  </a:cubicBezTo>
                  <a:cubicBezTo>
                    <a:pt x="46" y="75"/>
                    <a:pt x="46" y="75"/>
                    <a:pt x="46" y="75"/>
                  </a:cubicBezTo>
                  <a:cubicBezTo>
                    <a:pt x="46" y="76"/>
                    <a:pt x="46" y="77"/>
                    <a:pt x="46" y="77"/>
                  </a:cubicBezTo>
                  <a:cubicBezTo>
                    <a:pt x="46" y="77"/>
                    <a:pt x="45" y="78"/>
                    <a:pt x="45" y="78"/>
                  </a:cubicBezTo>
                  <a:cubicBezTo>
                    <a:pt x="46" y="79"/>
                    <a:pt x="47" y="80"/>
                    <a:pt x="48" y="79"/>
                  </a:cubicBezTo>
                  <a:cubicBezTo>
                    <a:pt x="48" y="79"/>
                    <a:pt x="49" y="79"/>
                    <a:pt x="49" y="79"/>
                  </a:cubicBezTo>
                  <a:cubicBezTo>
                    <a:pt x="50" y="78"/>
                    <a:pt x="50" y="77"/>
                    <a:pt x="51" y="77"/>
                  </a:cubicBezTo>
                  <a:cubicBezTo>
                    <a:pt x="51" y="77"/>
                    <a:pt x="51" y="76"/>
                    <a:pt x="52" y="76"/>
                  </a:cubicBezTo>
                  <a:cubicBezTo>
                    <a:pt x="52" y="76"/>
                    <a:pt x="52" y="75"/>
                    <a:pt x="51" y="75"/>
                  </a:cubicBezTo>
                  <a:cubicBezTo>
                    <a:pt x="51" y="74"/>
                    <a:pt x="51" y="74"/>
                    <a:pt x="51" y="74"/>
                  </a:cubicBezTo>
                  <a:cubicBezTo>
                    <a:pt x="50" y="74"/>
                    <a:pt x="51" y="73"/>
                    <a:pt x="51" y="73"/>
                  </a:cubicBezTo>
                  <a:cubicBezTo>
                    <a:pt x="51" y="73"/>
                    <a:pt x="51" y="73"/>
                    <a:pt x="52" y="73"/>
                  </a:cubicBezTo>
                  <a:cubicBezTo>
                    <a:pt x="53" y="72"/>
                    <a:pt x="53" y="71"/>
                    <a:pt x="53" y="70"/>
                  </a:cubicBezTo>
                  <a:cubicBezTo>
                    <a:pt x="53" y="69"/>
                    <a:pt x="52" y="69"/>
                    <a:pt x="52" y="68"/>
                  </a:cubicBezTo>
                  <a:cubicBezTo>
                    <a:pt x="52" y="68"/>
                    <a:pt x="51" y="68"/>
                    <a:pt x="50" y="68"/>
                  </a:cubicBezTo>
                  <a:cubicBezTo>
                    <a:pt x="50" y="68"/>
                    <a:pt x="51" y="67"/>
                    <a:pt x="51" y="67"/>
                  </a:cubicBezTo>
                  <a:close/>
                  <a:moveTo>
                    <a:pt x="71" y="33"/>
                  </a:moveTo>
                  <a:cubicBezTo>
                    <a:pt x="70" y="33"/>
                    <a:pt x="70" y="33"/>
                    <a:pt x="70" y="33"/>
                  </a:cubicBezTo>
                  <a:cubicBezTo>
                    <a:pt x="69" y="33"/>
                    <a:pt x="68" y="33"/>
                    <a:pt x="68" y="33"/>
                  </a:cubicBezTo>
                  <a:cubicBezTo>
                    <a:pt x="68" y="33"/>
                    <a:pt x="68" y="34"/>
                    <a:pt x="68" y="34"/>
                  </a:cubicBezTo>
                  <a:cubicBezTo>
                    <a:pt x="68" y="34"/>
                    <a:pt x="67" y="34"/>
                    <a:pt x="67" y="35"/>
                  </a:cubicBezTo>
                  <a:cubicBezTo>
                    <a:pt x="66" y="35"/>
                    <a:pt x="65" y="36"/>
                    <a:pt x="64" y="37"/>
                  </a:cubicBezTo>
                  <a:cubicBezTo>
                    <a:pt x="64" y="37"/>
                    <a:pt x="63" y="38"/>
                    <a:pt x="63" y="38"/>
                  </a:cubicBezTo>
                  <a:cubicBezTo>
                    <a:pt x="63" y="39"/>
                    <a:pt x="63" y="39"/>
                    <a:pt x="64" y="40"/>
                  </a:cubicBezTo>
                  <a:cubicBezTo>
                    <a:pt x="64" y="40"/>
                    <a:pt x="64" y="40"/>
                    <a:pt x="65" y="40"/>
                  </a:cubicBezTo>
                  <a:cubicBezTo>
                    <a:pt x="65" y="41"/>
                    <a:pt x="66" y="41"/>
                    <a:pt x="66" y="42"/>
                  </a:cubicBezTo>
                  <a:cubicBezTo>
                    <a:pt x="66" y="42"/>
                    <a:pt x="66" y="43"/>
                    <a:pt x="66" y="43"/>
                  </a:cubicBezTo>
                  <a:cubicBezTo>
                    <a:pt x="66" y="45"/>
                    <a:pt x="67" y="46"/>
                    <a:pt x="68" y="46"/>
                  </a:cubicBezTo>
                  <a:cubicBezTo>
                    <a:pt x="69" y="47"/>
                    <a:pt x="69" y="47"/>
                    <a:pt x="70" y="47"/>
                  </a:cubicBezTo>
                  <a:cubicBezTo>
                    <a:pt x="71" y="47"/>
                    <a:pt x="71" y="47"/>
                    <a:pt x="72" y="47"/>
                  </a:cubicBezTo>
                  <a:cubicBezTo>
                    <a:pt x="72" y="46"/>
                    <a:pt x="73" y="46"/>
                    <a:pt x="73" y="46"/>
                  </a:cubicBezTo>
                  <a:cubicBezTo>
                    <a:pt x="75" y="43"/>
                    <a:pt x="78" y="42"/>
                    <a:pt x="80" y="40"/>
                  </a:cubicBezTo>
                  <a:cubicBezTo>
                    <a:pt x="81" y="40"/>
                    <a:pt x="81" y="40"/>
                    <a:pt x="81" y="40"/>
                  </a:cubicBezTo>
                  <a:cubicBezTo>
                    <a:pt x="81" y="39"/>
                    <a:pt x="81" y="39"/>
                    <a:pt x="81" y="39"/>
                  </a:cubicBezTo>
                  <a:cubicBezTo>
                    <a:pt x="81" y="38"/>
                    <a:pt x="81" y="38"/>
                    <a:pt x="81" y="37"/>
                  </a:cubicBezTo>
                  <a:cubicBezTo>
                    <a:pt x="81" y="37"/>
                    <a:pt x="81" y="36"/>
                    <a:pt x="81" y="36"/>
                  </a:cubicBezTo>
                  <a:cubicBezTo>
                    <a:pt x="81" y="36"/>
                    <a:pt x="80" y="36"/>
                    <a:pt x="80" y="36"/>
                  </a:cubicBezTo>
                  <a:cubicBezTo>
                    <a:pt x="80" y="36"/>
                    <a:pt x="79" y="36"/>
                    <a:pt x="79" y="36"/>
                  </a:cubicBezTo>
                  <a:cubicBezTo>
                    <a:pt x="79" y="36"/>
                    <a:pt x="78" y="36"/>
                    <a:pt x="78" y="36"/>
                  </a:cubicBezTo>
                  <a:cubicBezTo>
                    <a:pt x="78" y="35"/>
                    <a:pt x="78" y="35"/>
                    <a:pt x="79" y="35"/>
                  </a:cubicBezTo>
                  <a:cubicBezTo>
                    <a:pt x="79" y="35"/>
                    <a:pt x="79" y="35"/>
                    <a:pt x="80" y="35"/>
                  </a:cubicBezTo>
                  <a:cubicBezTo>
                    <a:pt x="80" y="36"/>
                    <a:pt x="81" y="36"/>
                    <a:pt x="82" y="35"/>
                  </a:cubicBezTo>
                  <a:cubicBezTo>
                    <a:pt x="82" y="35"/>
                    <a:pt x="83" y="35"/>
                    <a:pt x="83" y="35"/>
                  </a:cubicBezTo>
                  <a:cubicBezTo>
                    <a:pt x="83" y="35"/>
                    <a:pt x="83" y="35"/>
                    <a:pt x="83" y="34"/>
                  </a:cubicBezTo>
                  <a:cubicBezTo>
                    <a:pt x="83" y="34"/>
                    <a:pt x="83" y="33"/>
                    <a:pt x="83" y="32"/>
                  </a:cubicBezTo>
                  <a:cubicBezTo>
                    <a:pt x="82" y="31"/>
                    <a:pt x="82" y="31"/>
                    <a:pt x="82" y="31"/>
                  </a:cubicBezTo>
                  <a:cubicBezTo>
                    <a:pt x="81" y="30"/>
                    <a:pt x="81" y="30"/>
                    <a:pt x="80" y="29"/>
                  </a:cubicBezTo>
                  <a:cubicBezTo>
                    <a:pt x="80" y="29"/>
                    <a:pt x="80" y="29"/>
                    <a:pt x="79" y="29"/>
                  </a:cubicBezTo>
                  <a:cubicBezTo>
                    <a:pt x="79" y="29"/>
                    <a:pt x="79" y="29"/>
                    <a:pt x="79" y="29"/>
                  </a:cubicBezTo>
                  <a:cubicBezTo>
                    <a:pt x="78" y="29"/>
                    <a:pt x="78" y="27"/>
                    <a:pt x="77" y="27"/>
                  </a:cubicBezTo>
                  <a:cubicBezTo>
                    <a:pt x="77" y="27"/>
                    <a:pt x="77" y="27"/>
                    <a:pt x="77" y="27"/>
                  </a:cubicBezTo>
                  <a:cubicBezTo>
                    <a:pt x="77" y="27"/>
                    <a:pt x="77" y="27"/>
                    <a:pt x="77" y="27"/>
                  </a:cubicBezTo>
                  <a:cubicBezTo>
                    <a:pt x="77" y="26"/>
                    <a:pt x="76" y="26"/>
                    <a:pt x="76" y="26"/>
                  </a:cubicBezTo>
                  <a:cubicBezTo>
                    <a:pt x="75" y="26"/>
                    <a:pt x="74" y="26"/>
                    <a:pt x="73" y="27"/>
                  </a:cubicBezTo>
                  <a:cubicBezTo>
                    <a:pt x="73" y="27"/>
                    <a:pt x="73" y="27"/>
                    <a:pt x="73" y="27"/>
                  </a:cubicBezTo>
                  <a:cubicBezTo>
                    <a:pt x="72" y="27"/>
                    <a:pt x="72" y="27"/>
                    <a:pt x="71" y="27"/>
                  </a:cubicBezTo>
                  <a:cubicBezTo>
                    <a:pt x="71" y="27"/>
                    <a:pt x="70" y="27"/>
                    <a:pt x="70" y="28"/>
                  </a:cubicBezTo>
                  <a:cubicBezTo>
                    <a:pt x="70" y="28"/>
                    <a:pt x="70" y="29"/>
                    <a:pt x="70" y="29"/>
                  </a:cubicBezTo>
                  <a:cubicBezTo>
                    <a:pt x="70" y="29"/>
                    <a:pt x="70" y="30"/>
                    <a:pt x="70" y="30"/>
                  </a:cubicBezTo>
                  <a:cubicBezTo>
                    <a:pt x="70" y="31"/>
                    <a:pt x="70" y="31"/>
                    <a:pt x="71" y="31"/>
                  </a:cubicBezTo>
                  <a:cubicBezTo>
                    <a:pt x="71" y="32"/>
                    <a:pt x="71" y="32"/>
                    <a:pt x="71" y="32"/>
                  </a:cubicBezTo>
                  <a:cubicBezTo>
                    <a:pt x="72" y="32"/>
                    <a:pt x="72" y="33"/>
                    <a:pt x="72" y="33"/>
                  </a:cubicBezTo>
                  <a:cubicBezTo>
                    <a:pt x="71" y="33"/>
                    <a:pt x="71" y="33"/>
                    <a:pt x="71" y="33"/>
                  </a:cubicBezTo>
                  <a:close/>
                  <a:moveTo>
                    <a:pt x="35" y="64"/>
                  </a:moveTo>
                  <a:cubicBezTo>
                    <a:pt x="36" y="64"/>
                    <a:pt x="35" y="65"/>
                    <a:pt x="36" y="65"/>
                  </a:cubicBezTo>
                  <a:cubicBezTo>
                    <a:pt x="36" y="66"/>
                    <a:pt x="37" y="66"/>
                    <a:pt x="37" y="66"/>
                  </a:cubicBezTo>
                  <a:cubicBezTo>
                    <a:pt x="37" y="66"/>
                    <a:pt x="37" y="66"/>
                    <a:pt x="37" y="67"/>
                  </a:cubicBezTo>
                  <a:cubicBezTo>
                    <a:pt x="38" y="67"/>
                    <a:pt x="38" y="67"/>
                    <a:pt x="38" y="67"/>
                  </a:cubicBezTo>
                  <a:cubicBezTo>
                    <a:pt x="39" y="67"/>
                    <a:pt x="39" y="67"/>
                    <a:pt x="39" y="66"/>
                  </a:cubicBezTo>
                  <a:cubicBezTo>
                    <a:pt x="40" y="66"/>
                    <a:pt x="40" y="66"/>
                    <a:pt x="39" y="65"/>
                  </a:cubicBezTo>
                  <a:cubicBezTo>
                    <a:pt x="39" y="63"/>
                    <a:pt x="40" y="61"/>
                    <a:pt x="39" y="59"/>
                  </a:cubicBezTo>
                  <a:cubicBezTo>
                    <a:pt x="39" y="59"/>
                    <a:pt x="39" y="59"/>
                    <a:pt x="39" y="59"/>
                  </a:cubicBezTo>
                  <a:cubicBezTo>
                    <a:pt x="39" y="59"/>
                    <a:pt x="39" y="59"/>
                    <a:pt x="39" y="58"/>
                  </a:cubicBezTo>
                  <a:cubicBezTo>
                    <a:pt x="39" y="58"/>
                    <a:pt x="39" y="58"/>
                    <a:pt x="39" y="58"/>
                  </a:cubicBezTo>
                  <a:cubicBezTo>
                    <a:pt x="39" y="58"/>
                    <a:pt x="38" y="57"/>
                    <a:pt x="38" y="57"/>
                  </a:cubicBezTo>
                  <a:cubicBezTo>
                    <a:pt x="38" y="57"/>
                    <a:pt x="38" y="57"/>
                    <a:pt x="38" y="57"/>
                  </a:cubicBezTo>
                  <a:cubicBezTo>
                    <a:pt x="37" y="57"/>
                    <a:pt x="37" y="57"/>
                    <a:pt x="37" y="58"/>
                  </a:cubicBezTo>
                  <a:cubicBezTo>
                    <a:pt x="37" y="58"/>
                    <a:pt x="37" y="58"/>
                    <a:pt x="37" y="59"/>
                  </a:cubicBezTo>
                  <a:cubicBezTo>
                    <a:pt x="37" y="59"/>
                    <a:pt x="38" y="60"/>
                    <a:pt x="38" y="60"/>
                  </a:cubicBezTo>
                  <a:cubicBezTo>
                    <a:pt x="38" y="60"/>
                    <a:pt x="38" y="60"/>
                    <a:pt x="38" y="60"/>
                  </a:cubicBezTo>
                  <a:cubicBezTo>
                    <a:pt x="38" y="60"/>
                    <a:pt x="38" y="60"/>
                    <a:pt x="38" y="60"/>
                  </a:cubicBezTo>
                  <a:cubicBezTo>
                    <a:pt x="38" y="61"/>
                    <a:pt x="38" y="61"/>
                    <a:pt x="37" y="61"/>
                  </a:cubicBezTo>
                  <a:cubicBezTo>
                    <a:pt x="37" y="61"/>
                    <a:pt x="36" y="61"/>
                    <a:pt x="36" y="62"/>
                  </a:cubicBezTo>
                  <a:cubicBezTo>
                    <a:pt x="36" y="62"/>
                    <a:pt x="36" y="62"/>
                    <a:pt x="36" y="62"/>
                  </a:cubicBezTo>
                  <a:cubicBezTo>
                    <a:pt x="35" y="62"/>
                    <a:pt x="35" y="62"/>
                    <a:pt x="35" y="62"/>
                  </a:cubicBezTo>
                  <a:cubicBezTo>
                    <a:pt x="35" y="63"/>
                    <a:pt x="34" y="63"/>
                    <a:pt x="34" y="63"/>
                  </a:cubicBezTo>
                  <a:cubicBezTo>
                    <a:pt x="34" y="63"/>
                    <a:pt x="35" y="63"/>
                    <a:pt x="35" y="64"/>
                  </a:cubicBezTo>
                  <a:close/>
                  <a:moveTo>
                    <a:pt x="34" y="40"/>
                  </a:moveTo>
                  <a:cubicBezTo>
                    <a:pt x="34" y="40"/>
                    <a:pt x="34" y="40"/>
                    <a:pt x="34" y="40"/>
                  </a:cubicBezTo>
                  <a:cubicBezTo>
                    <a:pt x="34" y="40"/>
                    <a:pt x="33" y="40"/>
                    <a:pt x="33" y="41"/>
                  </a:cubicBezTo>
                  <a:cubicBezTo>
                    <a:pt x="34" y="41"/>
                    <a:pt x="34" y="41"/>
                    <a:pt x="35" y="42"/>
                  </a:cubicBezTo>
                  <a:cubicBezTo>
                    <a:pt x="35" y="42"/>
                    <a:pt x="35" y="42"/>
                    <a:pt x="35" y="43"/>
                  </a:cubicBezTo>
                  <a:cubicBezTo>
                    <a:pt x="35" y="43"/>
                    <a:pt x="36" y="43"/>
                    <a:pt x="36" y="44"/>
                  </a:cubicBezTo>
                  <a:cubicBezTo>
                    <a:pt x="36" y="44"/>
                    <a:pt x="36" y="44"/>
                    <a:pt x="36" y="44"/>
                  </a:cubicBezTo>
                  <a:cubicBezTo>
                    <a:pt x="36" y="44"/>
                    <a:pt x="36" y="44"/>
                    <a:pt x="37" y="44"/>
                  </a:cubicBezTo>
                  <a:cubicBezTo>
                    <a:pt x="37" y="44"/>
                    <a:pt x="37" y="44"/>
                    <a:pt x="37" y="44"/>
                  </a:cubicBezTo>
                  <a:cubicBezTo>
                    <a:pt x="37" y="44"/>
                    <a:pt x="37" y="43"/>
                    <a:pt x="37" y="43"/>
                  </a:cubicBezTo>
                  <a:cubicBezTo>
                    <a:pt x="37" y="43"/>
                    <a:pt x="37" y="42"/>
                    <a:pt x="37" y="42"/>
                  </a:cubicBezTo>
                  <a:cubicBezTo>
                    <a:pt x="37" y="41"/>
                    <a:pt x="37" y="41"/>
                    <a:pt x="37" y="41"/>
                  </a:cubicBezTo>
                  <a:cubicBezTo>
                    <a:pt x="36" y="40"/>
                    <a:pt x="36" y="40"/>
                    <a:pt x="35" y="40"/>
                  </a:cubicBezTo>
                  <a:cubicBezTo>
                    <a:pt x="35" y="40"/>
                    <a:pt x="35" y="40"/>
                    <a:pt x="34" y="40"/>
                  </a:cubicBezTo>
                  <a:close/>
                  <a:moveTo>
                    <a:pt x="42" y="35"/>
                  </a:moveTo>
                  <a:cubicBezTo>
                    <a:pt x="41" y="35"/>
                    <a:pt x="40" y="35"/>
                    <a:pt x="39" y="35"/>
                  </a:cubicBezTo>
                  <a:cubicBezTo>
                    <a:pt x="39" y="35"/>
                    <a:pt x="38" y="35"/>
                    <a:pt x="38" y="35"/>
                  </a:cubicBezTo>
                  <a:cubicBezTo>
                    <a:pt x="38" y="35"/>
                    <a:pt x="38" y="35"/>
                    <a:pt x="37" y="35"/>
                  </a:cubicBezTo>
                  <a:cubicBezTo>
                    <a:pt x="37" y="36"/>
                    <a:pt x="37" y="36"/>
                    <a:pt x="37" y="36"/>
                  </a:cubicBezTo>
                  <a:cubicBezTo>
                    <a:pt x="36" y="36"/>
                    <a:pt x="36" y="37"/>
                    <a:pt x="37" y="37"/>
                  </a:cubicBezTo>
                  <a:cubicBezTo>
                    <a:pt x="37" y="37"/>
                    <a:pt x="37" y="38"/>
                    <a:pt x="37" y="38"/>
                  </a:cubicBezTo>
                  <a:cubicBezTo>
                    <a:pt x="37" y="38"/>
                    <a:pt x="38" y="38"/>
                    <a:pt x="38" y="38"/>
                  </a:cubicBezTo>
                  <a:cubicBezTo>
                    <a:pt x="38" y="39"/>
                    <a:pt x="39" y="38"/>
                    <a:pt x="39" y="39"/>
                  </a:cubicBezTo>
                  <a:cubicBezTo>
                    <a:pt x="39" y="39"/>
                    <a:pt x="39" y="40"/>
                    <a:pt x="39" y="40"/>
                  </a:cubicBezTo>
                  <a:cubicBezTo>
                    <a:pt x="39" y="40"/>
                    <a:pt x="39" y="40"/>
                    <a:pt x="39" y="40"/>
                  </a:cubicBezTo>
                  <a:cubicBezTo>
                    <a:pt x="39" y="41"/>
                    <a:pt x="38" y="41"/>
                    <a:pt x="39" y="41"/>
                  </a:cubicBezTo>
                  <a:cubicBezTo>
                    <a:pt x="39" y="41"/>
                    <a:pt x="39" y="41"/>
                    <a:pt x="39" y="41"/>
                  </a:cubicBezTo>
                  <a:cubicBezTo>
                    <a:pt x="40" y="42"/>
                    <a:pt x="41" y="42"/>
                    <a:pt x="41" y="42"/>
                  </a:cubicBezTo>
                  <a:cubicBezTo>
                    <a:pt x="42" y="41"/>
                    <a:pt x="43" y="41"/>
                    <a:pt x="44" y="41"/>
                  </a:cubicBezTo>
                  <a:cubicBezTo>
                    <a:pt x="44" y="41"/>
                    <a:pt x="45" y="41"/>
                    <a:pt x="45" y="40"/>
                  </a:cubicBezTo>
                  <a:cubicBezTo>
                    <a:pt x="46" y="40"/>
                    <a:pt x="46" y="40"/>
                    <a:pt x="47" y="40"/>
                  </a:cubicBezTo>
                  <a:cubicBezTo>
                    <a:pt x="47" y="39"/>
                    <a:pt x="48" y="39"/>
                    <a:pt x="48" y="39"/>
                  </a:cubicBezTo>
                  <a:cubicBezTo>
                    <a:pt x="49" y="39"/>
                    <a:pt x="49" y="39"/>
                    <a:pt x="50" y="39"/>
                  </a:cubicBezTo>
                  <a:cubicBezTo>
                    <a:pt x="50" y="39"/>
                    <a:pt x="50" y="39"/>
                    <a:pt x="51" y="39"/>
                  </a:cubicBezTo>
                  <a:cubicBezTo>
                    <a:pt x="51" y="39"/>
                    <a:pt x="51" y="38"/>
                    <a:pt x="52" y="38"/>
                  </a:cubicBezTo>
                  <a:cubicBezTo>
                    <a:pt x="52" y="38"/>
                    <a:pt x="52" y="37"/>
                    <a:pt x="52" y="37"/>
                  </a:cubicBezTo>
                  <a:cubicBezTo>
                    <a:pt x="51" y="36"/>
                    <a:pt x="51" y="36"/>
                    <a:pt x="51" y="36"/>
                  </a:cubicBezTo>
                  <a:cubicBezTo>
                    <a:pt x="51" y="35"/>
                    <a:pt x="51" y="35"/>
                    <a:pt x="51" y="35"/>
                  </a:cubicBezTo>
                  <a:cubicBezTo>
                    <a:pt x="51" y="35"/>
                    <a:pt x="50" y="34"/>
                    <a:pt x="50" y="34"/>
                  </a:cubicBezTo>
                  <a:cubicBezTo>
                    <a:pt x="50" y="34"/>
                    <a:pt x="50" y="34"/>
                    <a:pt x="50" y="34"/>
                  </a:cubicBezTo>
                  <a:cubicBezTo>
                    <a:pt x="49" y="33"/>
                    <a:pt x="49" y="34"/>
                    <a:pt x="48" y="34"/>
                  </a:cubicBezTo>
                  <a:cubicBezTo>
                    <a:pt x="48" y="34"/>
                    <a:pt x="47" y="34"/>
                    <a:pt x="47" y="35"/>
                  </a:cubicBezTo>
                  <a:cubicBezTo>
                    <a:pt x="46" y="35"/>
                    <a:pt x="45" y="35"/>
                    <a:pt x="44" y="35"/>
                  </a:cubicBezTo>
                  <a:cubicBezTo>
                    <a:pt x="44" y="35"/>
                    <a:pt x="43" y="35"/>
                    <a:pt x="42" y="35"/>
                  </a:cubicBezTo>
                  <a:close/>
                  <a:moveTo>
                    <a:pt x="47" y="42"/>
                  </a:moveTo>
                  <a:cubicBezTo>
                    <a:pt x="47" y="42"/>
                    <a:pt x="46" y="42"/>
                    <a:pt x="46" y="42"/>
                  </a:cubicBezTo>
                  <a:cubicBezTo>
                    <a:pt x="45" y="42"/>
                    <a:pt x="44" y="43"/>
                    <a:pt x="44" y="43"/>
                  </a:cubicBezTo>
                  <a:cubicBezTo>
                    <a:pt x="44" y="43"/>
                    <a:pt x="44" y="44"/>
                    <a:pt x="44" y="44"/>
                  </a:cubicBezTo>
                  <a:cubicBezTo>
                    <a:pt x="44" y="44"/>
                    <a:pt x="44" y="44"/>
                    <a:pt x="45" y="44"/>
                  </a:cubicBezTo>
                  <a:cubicBezTo>
                    <a:pt x="45" y="44"/>
                    <a:pt x="45" y="44"/>
                    <a:pt x="46" y="44"/>
                  </a:cubicBezTo>
                  <a:cubicBezTo>
                    <a:pt x="46" y="45"/>
                    <a:pt x="47" y="45"/>
                    <a:pt x="47" y="45"/>
                  </a:cubicBezTo>
                  <a:cubicBezTo>
                    <a:pt x="47" y="44"/>
                    <a:pt x="48" y="44"/>
                    <a:pt x="48" y="44"/>
                  </a:cubicBezTo>
                  <a:cubicBezTo>
                    <a:pt x="48" y="44"/>
                    <a:pt x="48" y="44"/>
                    <a:pt x="48" y="44"/>
                  </a:cubicBezTo>
                  <a:cubicBezTo>
                    <a:pt x="48" y="44"/>
                    <a:pt x="48" y="44"/>
                    <a:pt x="48" y="43"/>
                  </a:cubicBezTo>
                  <a:cubicBezTo>
                    <a:pt x="49" y="43"/>
                    <a:pt x="49" y="42"/>
                    <a:pt x="48" y="42"/>
                  </a:cubicBezTo>
                  <a:cubicBezTo>
                    <a:pt x="48" y="42"/>
                    <a:pt x="48" y="42"/>
                    <a:pt x="47" y="42"/>
                  </a:cubicBezTo>
                  <a:close/>
                  <a:moveTo>
                    <a:pt x="55" y="32"/>
                  </a:moveTo>
                  <a:cubicBezTo>
                    <a:pt x="55" y="33"/>
                    <a:pt x="54" y="32"/>
                    <a:pt x="54" y="33"/>
                  </a:cubicBezTo>
                  <a:cubicBezTo>
                    <a:pt x="53" y="33"/>
                    <a:pt x="53" y="33"/>
                    <a:pt x="53" y="34"/>
                  </a:cubicBezTo>
                  <a:cubicBezTo>
                    <a:pt x="53" y="34"/>
                    <a:pt x="53" y="35"/>
                    <a:pt x="53" y="35"/>
                  </a:cubicBezTo>
                  <a:cubicBezTo>
                    <a:pt x="53" y="36"/>
                    <a:pt x="53" y="37"/>
                    <a:pt x="53" y="38"/>
                  </a:cubicBezTo>
                  <a:cubicBezTo>
                    <a:pt x="54" y="39"/>
                    <a:pt x="54" y="39"/>
                    <a:pt x="54" y="39"/>
                  </a:cubicBezTo>
                  <a:cubicBezTo>
                    <a:pt x="54" y="39"/>
                    <a:pt x="54" y="39"/>
                    <a:pt x="54" y="39"/>
                  </a:cubicBezTo>
                  <a:cubicBezTo>
                    <a:pt x="55" y="40"/>
                    <a:pt x="54" y="40"/>
                    <a:pt x="55" y="41"/>
                  </a:cubicBezTo>
                  <a:cubicBezTo>
                    <a:pt x="55" y="41"/>
                    <a:pt x="56" y="41"/>
                    <a:pt x="56" y="41"/>
                  </a:cubicBezTo>
                  <a:cubicBezTo>
                    <a:pt x="57" y="41"/>
                    <a:pt x="56" y="42"/>
                    <a:pt x="57" y="43"/>
                  </a:cubicBezTo>
                  <a:cubicBezTo>
                    <a:pt x="57" y="43"/>
                    <a:pt x="57" y="43"/>
                    <a:pt x="57" y="43"/>
                  </a:cubicBezTo>
                  <a:cubicBezTo>
                    <a:pt x="58" y="43"/>
                    <a:pt x="58" y="43"/>
                    <a:pt x="59" y="43"/>
                  </a:cubicBezTo>
                  <a:cubicBezTo>
                    <a:pt x="59" y="43"/>
                    <a:pt x="59" y="43"/>
                    <a:pt x="59" y="43"/>
                  </a:cubicBezTo>
                  <a:cubicBezTo>
                    <a:pt x="59" y="42"/>
                    <a:pt x="59" y="42"/>
                    <a:pt x="59" y="42"/>
                  </a:cubicBezTo>
                  <a:cubicBezTo>
                    <a:pt x="59" y="42"/>
                    <a:pt x="59" y="41"/>
                    <a:pt x="59" y="41"/>
                  </a:cubicBezTo>
                  <a:cubicBezTo>
                    <a:pt x="59" y="41"/>
                    <a:pt x="58" y="41"/>
                    <a:pt x="58" y="41"/>
                  </a:cubicBezTo>
                  <a:cubicBezTo>
                    <a:pt x="58" y="40"/>
                    <a:pt x="58" y="40"/>
                    <a:pt x="58" y="39"/>
                  </a:cubicBezTo>
                  <a:cubicBezTo>
                    <a:pt x="58" y="39"/>
                    <a:pt x="58" y="38"/>
                    <a:pt x="58" y="38"/>
                  </a:cubicBezTo>
                  <a:cubicBezTo>
                    <a:pt x="58" y="37"/>
                    <a:pt x="58" y="37"/>
                    <a:pt x="58" y="37"/>
                  </a:cubicBezTo>
                  <a:cubicBezTo>
                    <a:pt x="58" y="37"/>
                    <a:pt x="58" y="37"/>
                    <a:pt x="59" y="36"/>
                  </a:cubicBezTo>
                  <a:cubicBezTo>
                    <a:pt x="59" y="36"/>
                    <a:pt x="59" y="36"/>
                    <a:pt x="59" y="35"/>
                  </a:cubicBezTo>
                  <a:cubicBezTo>
                    <a:pt x="59" y="35"/>
                    <a:pt x="59" y="35"/>
                    <a:pt x="59" y="34"/>
                  </a:cubicBezTo>
                  <a:cubicBezTo>
                    <a:pt x="59" y="34"/>
                    <a:pt x="58" y="34"/>
                    <a:pt x="58" y="34"/>
                  </a:cubicBezTo>
                  <a:cubicBezTo>
                    <a:pt x="58" y="34"/>
                    <a:pt x="58" y="34"/>
                    <a:pt x="58" y="33"/>
                  </a:cubicBezTo>
                  <a:cubicBezTo>
                    <a:pt x="58" y="33"/>
                    <a:pt x="58" y="32"/>
                    <a:pt x="58" y="32"/>
                  </a:cubicBezTo>
                  <a:cubicBezTo>
                    <a:pt x="58" y="31"/>
                    <a:pt x="58" y="31"/>
                    <a:pt x="58" y="30"/>
                  </a:cubicBezTo>
                  <a:cubicBezTo>
                    <a:pt x="57" y="30"/>
                    <a:pt x="57" y="30"/>
                    <a:pt x="57" y="31"/>
                  </a:cubicBezTo>
                  <a:cubicBezTo>
                    <a:pt x="57" y="31"/>
                    <a:pt x="56" y="31"/>
                    <a:pt x="56" y="31"/>
                  </a:cubicBezTo>
                  <a:cubicBezTo>
                    <a:pt x="56" y="31"/>
                    <a:pt x="56" y="32"/>
                    <a:pt x="55" y="32"/>
                  </a:cubicBezTo>
                  <a:cubicBezTo>
                    <a:pt x="55" y="32"/>
                    <a:pt x="55" y="32"/>
                    <a:pt x="55" y="32"/>
                  </a:cubicBezTo>
                  <a:close/>
                  <a:moveTo>
                    <a:pt x="51" y="46"/>
                  </a:moveTo>
                  <a:cubicBezTo>
                    <a:pt x="51" y="46"/>
                    <a:pt x="51" y="47"/>
                    <a:pt x="51" y="47"/>
                  </a:cubicBezTo>
                  <a:cubicBezTo>
                    <a:pt x="52" y="47"/>
                    <a:pt x="52" y="47"/>
                    <a:pt x="52" y="47"/>
                  </a:cubicBezTo>
                  <a:cubicBezTo>
                    <a:pt x="52" y="47"/>
                    <a:pt x="52" y="48"/>
                    <a:pt x="52" y="48"/>
                  </a:cubicBezTo>
                  <a:cubicBezTo>
                    <a:pt x="52" y="48"/>
                    <a:pt x="52" y="48"/>
                    <a:pt x="53" y="48"/>
                  </a:cubicBezTo>
                  <a:cubicBezTo>
                    <a:pt x="53" y="48"/>
                    <a:pt x="53" y="48"/>
                    <a:pt x="53" y="48"/>
                  </a:cubicBezTo>
                  <a:cubicBezTo>
                    <a:pt x="53" y="48"/>
                    <a:pt x="54" y="48"/>
                    <a:pt x="54" y="48"/>
                  </a:cubicBezTo>
                  <a:cubicBezTo>
                    <a:pt x="54" y="48"/>
                    <a:pt x="54" y="48"/>
                    <a:pt x="54" y="48"/>
                  </a:cubicBezTo>
                  <a:cubicBezTo>
                    <a:pt x="54" y="48"/>
                    <a:pt x="54" y="48"/>
                    <a:pt x="54" y="47"/>
                  </a:cubicBezTo>
                  <a:cubicBezTo>
                    <a:pt x="54" y="47"/>
                    <a:pt x="55" y="47"/>
                    <a:pt x="55" y="47"/>
                  </a:cubicBezTo>
                  <a:cubicBezTo>
                    <a:pt x="55" y="47"/>
                    <a:pt x="55" y="46"/>
                    <a:pt x="55" y="46"/>
                  </a:cubicBezTo>
                  <a:cubicBezTo>
                    <a:pt x="55" y="45"/>
                    <a:pt x="55" y="45"/>
                    <a:pt x="55" y="45"/>
                  </a:cubicBezTo>
                  <a:cubicBezTo>
                    <a:pt x="54" y="45"/>
                    <a:pt x="54" y="45"/>
                    <a:pt x="54" y="45"/>
                  </a:cubicBezTo>
                  <a:cubicBezTo>
                    <a:pt x="54" y="45"/>
                    <a:pt x="53" y="45"/>
                    <a:pt x="53" y="44"/>
                  </a:cubicBezTo>
                  <a:cubicBezTo>
                    <a:pt x="53" y="44"/>
                    <a:pt x="53" y="43"/>
                    <a:pt x="53" y="43"/>
                  </a:cubicBezTo>
                  <a:cubicBezTo>
                    <a:pt x="53" y="42"/>
                    <a:pt x="53" y="42"/>
                    <a:pt x="52" y="42"/>
                  </a:cubicBezTo>
                  <a:cubicBezTo>
                    <a:pt x="52" y="42"/>
                    <a:pt x="52" y="42"/>
                    <a:pt x="51" y="43"/>
                  </a:cubicBezTo>
                  <a:cubicBezTo>
                    <a:pt x="51" y="43"/>
                    <a:pt x="51" y="44"/>
                    <a:pt x="51" y="44"/>
                  </a:cubicBezTo>
                  <a:cubicBezTo>
                    <a:pt x="51" y="45"/>
                    <a:pt x="52" y="45"/>
                    <a:pt x="52" y="45"/>
                  </a:cubicBezTo>
                  <a:cubicBezTo>
                    <a:pt x="52" y="46"/>
                    <a:pt x="51" y="46"/>
                    <a:pt x="51" y="46"/>
                  </a:cubicBezTo>
                  <a:close/>
                  <a:moveTo>
                    <a:pt x="33" y="31"/>
                  </a:moveTo>
                  <a:cubicBezTo>
                    <a:pt x="33" y="31"/>
                    <a:pt x="33" y="31"/>
                    <a:pt x="33" y="31"/>
                  </a:cubicBezTo>
                  <a:cubicBezTo>
                    <a:pt x="34" y="31"/>
                    <a:pt x="35" y="31"/>
                    <a:pt x="36" y="31"/>
                  </a:cubicBezTo>
                  <a:cubicBezTo>
                    <a:pt x="36" y="31"/>
                    <a:pt x="37" y="31"/>
                    <a:pt x="37" y="32"/>
                  </a:cubicBezTo>
                  <a:cubicBezTo>
                    <a:pt x="37" y="32"/>
                    <a:pt x="37" y="32"/>
                    <a:pt x="37" y="32"/>
                  </a:cubicBezTo>
                  <a:cubicBezTo>
                    <a:pt x="38" y="32"/>
                    <a:pt x="38" y="32"/>
                    <a:pt x="38" y="33"/>
                  </a:cubicBezTo>
                  <a:cubicBezTo>
                    <a:pt x="38" y="33"/>
                    <a:pt x="38" y="33"/>
                    <a:pt x="38" y="33"/>
                  </a:cubicBezTo>
                  <a:cubicBezTo>
                    <a:pt x="38" y="33"/>
                    <a:pt x="39" y="33"/>
                    <a:pt x="39" y="33"/>
                  </a:cubicBezTo>
                  <a:cubicBezTo>
                    <a:pt x="40" y="33"/>
                    <a:pt x="42" y="33"/>
                    <a:pt x="43" y="33"/>
                  </a:cubicBezTo>
                  <a:cubicBezTo>
                    <a:pt x="43" y="33"/>
                    <a:pt x="43" y="33"/>
                    <a:pt x="43" y="33"/>
                  </a:cubicBezTo>
                  <a:cubicBezTo>
                    <a:pt x="44" y="33"/>
                    <a:pt x="44" y="33"/>
                    <a:pt x="44" y="32"/>
                  </a:cubicBezTo>
                  <a:cubicBezTo>
                    <a:pt x="44" y="32"/>
                    <a:pt x="44" y="31"/>
                    <a:pt x="43" y="30"/>
                  </a:cubicBezTo>
                  <a:cubicBezTo>
                    <a:pt x="43" y="30"/>
                    <a:pt x="43" y="30"/>
                    <a:pt x="42" y="29"/>
                  </a:cubicBezTo>
                  <a:cubicBezTo>
                    <a:pt x="42" y="29"/>
                    <a:pt x="42" y="29"/>
                    <a:pt x="42" y="28"/>
                  </a:cubicBezTo>
                  <a:cubicBezTo>
                    <a:pt x="42" y="28"/>
                    <a:pt x="41" y="28"/>
                    <a:pt x="41" y="28"/>
                  </a:cubicBezTo>
                  <a:cubicBezTo>
                    <a:pt x="41" y="27"/>
                    <a:pt x="41" y="27"/>
                    <a:pt x="41" y="27"/>
                  </a:cubicBezTo>
                  <a:cubicBezTo>
                    <a:pt x="41" y="26"/>
                    <a:pt x="40" y="26"/>
                    <a:pt x="40" y="26"/>
                  </a:cubicBezTo>
                  <a:cubicBezTo>
                    <a:pt x="40" y="25"/>
                    <a:pt x="40" y="25"/>
                    <a:pt x="40" y="25"/>
                  </a:cubicBezTo>
                  <a:cubicBezTo>
                    <a:pt x="40" y="24"/>
                    <a:pt x="40" y="24"/>
                    <a:pt x="39" y="24"/>
                  </a:cubicBezTo>
                  <a:cubicBezTo>
                    <a:pt x="39" y="23"/>
                    <a:pt x="39" y="23"/>
                    <a:pt x="38" y="23"/>
                  </a:cubicBezTo>
                  <a:cubicBezTo>
                    <a:pt x="38" y="23"/>
                    <a:pt x="37" y="24"/>
                    <a:pt x="37" y="24"/>
                  </a:cubicBezTo>
                  <a:cubicBezTo>
                    <a:pt x="37" y="25"/>
                    <a:pt x="38" y="26"/>
                    <a:pt x="38" y="26"/>
                  </a:cubicBezTo>
                  <a:cubicBezTo>
                    <a:pt x="38" y="26"/>
                    <a:pt x="38" y="26"/>
                    <a:pt x="38" y="27"/>
                  </a:cubicBezTo>
                  <a:cubicBezTo>
                    <a:pt x="38" y="27"/>
                    <a:pt x="38" y="27"/>
                    <a:pt x="38" y="27"/>
                  </a:cubicBezTo>
                  <a:cubicBezTo>
                    <a:pt x="38" y="27"/>
                    <a:pt x="37" y="27"/>
                    <a:pt x="37" y="27"/>
                  </a:cubicBezTo>
                  <a:cubicBezTo>
                    <a:pt x="37" y="28"/>
                    <a:pt x="37" y="28"/>
                    <a:pt x="37" y="28"/>
                  </a:cubicBezTo>
                  <a:cubicBezTo>
                    <a:pt x="37" y="28"/>
                    <a:pt x="37" y="28"/>
                    <a:pt x="36" y="28"/>
                  </a:cubicBezTo>
                  <a:cubicBezTo>
                    <a:pt x="36" y="28"/>
                    <a:pt x="36" y="28"/>
                    <a:pt x="35" y="28"/>
                  </a:cubicBezTo>
                  <a:cubicBezTo>
                    <a:pt x="35" y="28"/>
                    <a:pt x="35" y="28"/>
                    <a:pt x="35" y="28"/>
                  </a:cubicBezTo>
                  <a:cubicBezTo>
                    <a:pt x="35" y="28"/>
                    <a:pt x="35" y="28"/>
                    <a:pt x="35" y="28"/>
                  </a:cubicBezTo>
                  <a:cubicBezTo>
                    <a:pt x="35" y="27"/>
                    <a:pt x="35" y="27"/>
                    <a:pt x="34" y="27"/>
                  </a:cubicBezTo>
                  <a:cubicBezTo>
                    <a:pt x="34" y="27"/>
                    <a:pt x="34" y="27"/>
                    <a:pt x="34" y="27"/>
                  </a:cubicBezTo>
                  <a:cubicBezTo>
                    <a:pt x="33" y="27"/>
                    <a:pt x="33" y="28"/>
                    <a:pt x="33" y="28"/>
                  </a:cubicBezTo>
                  <a:cubicBezTo>
                    <a:pt x="33" y="28"/>
                    <a:pt x="33" y="28"/>
                    <a:pt x="33" y="29"/>
                  </a:cubicBezTo>
                  <a:cubicBezTo>
                    <a:pt x="33" y="29"/>
                    <a:pt x="32" y="29"/>
                    <a:pt x="32" y="30"/>
                  </a:cubicBezTo>
                  <a:cubicBezTo>
                    <a:pt x="32" y="30"/>
                    <a:pt x="32" y="31"/>
                    <a:pt x="33" y="31"/>
                  </a:cubicBezTo>
                  <a:close/>
                  <a:moveTo>
                    <a:pt x="47" y="32"/>
                  </a:moveTo>
                  <a:cubicBezTo>
                    <a:pt x="48" y="32"/>
                    <a:pt x="48" y="32"/>
                    <a:pt x="48" y="32"/>
                  </a:cubicBezTo>
                  <a:cubicBezTo>
                    <a:pt x="49" y="32"/>
                    <a:pt x="49" y="32"/>
                    <a:pt x="49" y="31"/>
                  </a:cubicBezTo>
                  <a:cubicBezTo>
                    <a:pt x="50" y="31"/>
                    <a:pt x="49" y="30"/>
                    <a:pt x="49" y="29"/>
                  </a:cubicBezTo>
                  <a:cubicBezTo>
                    <a:pt x="48" y="28"/>
                    <a:pt x="47" y="28"/>
                    <a:pt x="46" y="29"/>
                  </a:cubicBezTo>
                  <a:cubicBezTo>
                    <a:pt x="46" y="29"/>
                    <a:pt x="46" y="29"/>
                    <a:pt x="46" y="29"/>
                  </a:cubicBezTo>
                  <a:cubicBezTo>
                    <a:pt x="46" y="29"/>
                    <a:pt x="46" y="29"/>
                    <a:pt x="46" y="29"/>
                  </a:cubicBezTo>
                  <a:cubicBezTo>
                    <a:pt x="45" y="29"/>
                    <a:pt x="45" y="29"/>
                    <a:pt x="45" y="29"/>
                  </a:cubicBezTo>
                  <a:cubicBezTo>
                    <a:pt x="45" y="30"/>
                    <a:pt x="45" y="30"/>
                    <a:pt x="45" y="30"/>
                  </a:cubicBezTo>
                  <a:cubicBezTo>
                    <a:pt x="45" y="30"/>
                    <a:pt x="45" y="31"/>
                    <a:pt x="46" y="31"/>
                  </a:cubicBezTo>
                  <a:cubicBezTo>
                    <a:pt x="46" y="32"/>
                    <a:pt x="46" y="32"/>
                    <a:pt x="46" y="32"/>
                  </a:cubicBezTo>
                  <a:cubicBezTo>
                    <a:pt x="46" y="32"/>
                    <a:pt x="47" y="32"/>
                    <a:pt x="47" y="32"/>
                  </a:cubicBezTo>
                  <a:close/>
                  <a:moveTo>
                    <a:pt x="52" y="28"/>
                  </a:moveTo>
                  <a:cubicBezTo>
                    <a:pt x="52" y="28"/>
                    <a:pt x="53" y="28"/>
                    <a:pt x="53" y="28"/>
                  </a:cubicBezTo>
                  <a:cubicBezTo>
                    <a:pt x="53" y="28"/>
                    <a:pt x="53" y="28"/>
                    <a:pt x="53" y="28"/>
                  </a:cubicBezTo>
                  <a:cubicBezTo>
                    <a:pt x="53" y="28"/>
                    <a:pt x="53" y="27"/>
                    <a:pt x="53" y="27"/>
                  </a:cubicBezTo>
                  <a:cubicBezTo>
                    <a:pt x="53" y="27"/>
                    <a:pt x="53" y="26"/>
                    <a:pt x="53" y="26"/>
                  </a:cubicBezTo>
                  <a:cubicBezTo>
                    <a:pt x="52" y="26"/>
                    <a:pt x="52" y="26"/>
                    <a:pt x="52" y="26"/>
                  </a:cubicBezTo>
                  <a:cubicBezTo>
                    <a:pt x="52" y="26"/>
                    <a:pt x="51" y="26"/>
                    <a:pt x="51" y="26"/>
                  </a:cubicBezTo>
                  <a:cubicBezTo>
                    <a:pt x="51" y="25"/>
                    <a:pt x="51" y="25"/>
                    <a:pt x="51" y="25"/>
                  </a:cubicBezTo>
                  <a:cubicBezTo>
                    <a:pt x="51" y="25"/>
                    <a:pt x="51" y="25"/>
                    <a:pt x="51" y="25"/>
                  </a:cubicBezTo>
                  <a:cubicBezTo>
                    <a:pt x="50" y="25"/>
                    <a:pt x="50" y="24"/>
                    <a:pt x="50" y="24"/>
                  </a:cubicBezTo>
                  <a:cubicBezTo>
                    <a:pt x="50" y="24"/>
                    <a:pt x="51" y="24"/>
                    <a:pt x="51" y="24"/>
                  </a:cubicBezTo>
                  <a:cubicBezTo>
                    <a:pt x="51" y="24"/>
                    <a:pt x="52" y="24"/>
                    <a:pt x="52" y="24"/>
                  </a:cubicBezTo>
                  <a:cubicBezTo>
                    <a:pt x="53" y="24"/>
                    <a:pt x="53" y="24"/>
                    <a:pt x="54" y="24"/>
                  </a:cubicBezTo>
                  <a:cubicBezTo>
                    <a:pt x="54" y="24"/>
                    <a:pt x="54" y="24"/>
                    <a:pt x="54" y="24"/>
                  </a:cubicBezTo>
                  <a:cubicBezTo>
                    <a:pt x="54" y="23"/>
                    <a:pt x="54" y="22"/>
                    <a:pt x="54" y="22"/>
                  </a:cubicBezTo>
                  <a:cubicBezTo>
                    <a:pt x="54" y="21"/>
                    <a:pt x="54" y="21"/>
                    <a:pt x="54" y="21"/>
                  </a:cubicBezTo>
                  <a:cubicBezTo>
                    <a:pt x="54" y="21"/>
                    <a:pt x="53" y="21"/>
                    <a:pt x="53" y="21"/>
                  </a:cubicBezTo>
                  <a:cubicBezTo>
                    <a:pt x="53" y="21"/>
                    <a:pt x="53" y="21"/>
                    <a:pt x="53" y="21"/>
                  </a:cubicBezTo>
                  <a:cubicBezTo>
                    <a:pt x="53" y="22"/>
                    <a:pt x="53" y="22"/>
                    <a:pt x="52" y="22"/>
                  </a:cubicBezTo>
                  <a:cubicBezTo>
                    <a:pt x="52" y="22"/>
                    <a:pt x="51" y="22"/>
                    <a:pt x="50" y="22"/>
                  </a:cubicBezTo>
                  <a:cubicBezTo>
                    <a:pt x="50" y="22"/>
                    <a:pt x="50" y="22"/>
                    <a:pt x="49" y="21"/>
                  </a:cubicBezTo>
                  <a:cubicBezTo>
                    <a:pt x="49" y="21"/>
                    <a:pt x="50" y="21"/>
                    <a:pt x="50" y="21"/>
                  </a:cubicBezTo>
                  <a:cubicBezTo>
                    <a:pt x="50" y="21"/>
                    <a:pt x="50" y="21"/>
                    <a:pt x="50" y="20"/>
                  </a:cubicBezTo>
                  <a:cubicBezTo>
                    <a:pt x="51" y="20"/>
                    <a:pt x="51" y="19"/>
                    <a:pt x="51" y="19"/>
                  </a:cubicBezTo>
                  <a:cubicBezTo>
                    <a:pt x="52" y="18"/>
                    <a:pt x="52" y="18"/>
                    <a:pt x="52" y="17"/>
                  </a:cubicBezTo>
                  <a:cubicBezTo>
                    <a:pt x="52" y="17"/>
                    <a:pt x="51" y="17"/>
                    <a:pt x="51" y="16"/>
                  </a:cubicBezTo>
                  <a:cubicBezTo>
                    <a:pt x="51" y="16"/>
                    <a:pt x="51" y="15"/>
                    <a:pt x="51" y="15"/>
                  </a:cubicBezTo>
                  <a:cubicBezTo>
                    <a:pt x="50" y="15"/>
                    <a:pt x="50" y="16"/>
                    <a:pt x="49" y="16"/>
                  </a:cubicBezTo>
                  <a:cubicBezTo>
                    <a:pt x="49" y="16"/>
                    <a:pt x="49" y="16"/>
                    <a:pt x="49" y="17"/>
                  </a:cubicBezTo>
                  <a:cubicBezTo>
                    <a:pt x="49" y="17"/>
                    <a:pt x="48" y="17"/>
                    <a:pt x="48" y="17"/>
                  </a:cubicBezTo>
                  <a:cubicBezTo>
                    <a:pt x="48" y="17"/>
                    <a:pt x="48" y="17"/>
                    <a:pt x="48" y="17"/>
                  </a:cubicBezTo>
                  <a:cubicBezTo>
                    <a:pt x="48" y="18"/>
                    <a:pt x="47" y="17"/>
                    <a:pt x="47" y="17"/>
                  </a:cubicBezTo>
                  <a:cubicBezTo>
                    <a:pt x="47" y="17"/>
                    <a:pt x="46" y="17"/>
                    <a:pt x="45" y="17"/>
                  </a:cubicBezTo>
                  <a:cubicBezTo>
                    <a:pt x="45" y="17"/>
                    <a:pt x="45" y="18"/>
                    <a:pt x="45" y="18"/>
                  </a:cubicBezTo>
                  <a:cubicBezTo>
                    <a:pt x="45" y="18"/>
                    <a:pt x="45" y="18"/>
                    <a:pt x="45" y="18"/>
                  </a:cubicBezTo>
                  <a:cubicBezTo>
                    <a:pt x="45" y="19"/>
                    <a:pt x="45" y="19"/>
                    <a:pt x="45" y="20"/>
                  </a:cubicBezTo>
                  <a:cubicBezTo>
                    <a:pt x="45" y="20"/>
                    <a:pt x="46" y="20"/>
                    <a:pt x="46" y="21"/>
                  </a:cubicBezTo>
                  <a:cubicBezTo>
                    <a:pt x="46" y="21"/>
                    <a:pt x="46" y="21"/>
                    <a:pt x="46" y="21"/>
                  </a:cubicBezTo>
                  <a:cubicBezTo>
                    <a:pt x="46" y="22"/>
                    <a:pt x="46" y="22"/>
                    <a:pt x="46" y="23"/>
                  </a:cubicBezTo>
                  <a:cubicBezTo>
                    <a:pt x="46" y="23"/>
                    <a:pt x="46" y="23"/>
                    <a:pt x="46" y="23"/>
                  </a:cubicBezTo>
                  <a:cubicBezTo>
                    <a:pt x="46" y="24"/>
                    <a:pt x="46" y="25"/>
                    <a:pt x="46" y="25"/>
                  </a:cubicBezTo>
                  <a:cubicBezTo>
                    <a:pt x="46" y="25"/>
                    <a:pt x="46" y="25"/>
                    <a:pt x="46" y="26"/>
                  </a:cubicBezTo>
                  <a:cubicBezTo>
                    <a:pt x="46" y="26"/>
                    <a:pt x="46" y="26"/>
                    <a:pt x="47" y="26"/>
                  </a:cubicBezTo>
                  <a:cubicBezTo>
                    <a:pt x="47" y="26"/>
                    <a:pt x="47" y="26"/>
                    <a:pt x="47" y="26"/>
                  </a:cubicBezTo>
                  <a:cubicBezTo>
                    <a:pt x="47" y="27"/>
                    <a:pt x="47" y="27"/>
                    <a:pt x="48" y="27"/>
                  </a:cubicBezTo>
                  <a:cubicBezTo>
                    <a:pt x="48" y="27"/>
                    <a:pt x="48" y="27"/>
                    <a:pt x="48" y="27"/>
                  </a:cubicBezTo>
                  <a:cubicBezTo>
                    <a:pt x="49" y="27"/>
                    <a:pt x="50" y="28"/>
                    <a:pt x="51" y="28"/>
                  </a:cubicBezTo>
                  <a:cubicBezTo>
                    <a:pt x="51" y="28"/>
                    <a:pt x="52" y="28"/>
                    <a:pt x="52" y="28"/>
                  </a:cubicBezTo>
                  <a:close/>
                  <a:moveTo>
                    <a:pt x="47" y="2"/>
                  </a:moveTo>
                  <a:cubicBezTo>
                    <a:pt x="47" y="2"/>
                    <a:pt x="46" y="3"/>
                    <a:pt x="46" y="3"/>
                  </a:cubicBezTo>
                  <a:cubicBezTo>
                    <a:pt x="46" y="3"/>
                    <a:pt x="46" y="3"/>
                    <a:pt x="45" y="3"/>
                  </a:cubicBezTo>
                  <a:cubicBezTo>
                    <a:pt x="45" y="4"/>
                    <a:pt x="45" y="4"/>
                    <a:pt x="45" y="4"/>
                  </a:cubicBezTo>
                  <a:cubicBezTo>
                    <a:pt x="44" y="5"/>
                    <a:pt x="44" y="5"/>
                    <a:pt x="44" y="5"/>
                  </a:cubicBezTo>
                  <a:cubicBezTo>
                    <a:pt x="45" y="6"/>
                    <a:pt x="45" y="6"/>
                    <a:pt x="46" y="6"/>
                  </a:cubicBezTo>
                  <a:cubicBezTo>
                    <a:pt x="46" y="6"/>
                    <a:pt x="46" y="7"/>
                    <a:pt x="46" y="7"/>
                  </a:cubicBezTo>
                  <a:cubicBezTo>
                    <a:pt x="46" y="7"/>
                    <a:pt x="47" y="7"/>
                    <a:pt x="48" y="8"/>
                  </a:cubicBezTo>
                  <a:cubicBezTo>
                    <a:pt x="48" y="8"/>
                    <a:pt x="48" y="8"/>
                    <a:pt x="48" y="8"/>
                  </a:cubicBezTo>
                  <a:cubicBezTo>
                    <a:pt x="49" y="9"/>
                    <a:pt x="50" y="8"/>
                    <a:pt x="50" y="9"/>
                  </a:cubicBezTo>
                  <a:cubicBezTo>
                    <a:pt x="50" y="9"/>
                    <a:pt x="50" y="9"/>
                    <a:pt x="51" y="9"/>
                  </a:cubicBezTo>
                  <a:cubicBezTo>
                    <a:pt x="51" y="9"/>
                    <a:pt x="51" y="10"/>
                    <a:pt x="51" y="10"/>
                  </a:cubicBezTo>
                  <a:cubicBezTo>
                    <a:pt x="52" y="10"/>
                    <a:pt x="53" y="10"/>
                    <a:pt x="53" y="9"/>
                  </a:cubicBezTo>
                  <a:cubicBezTo>
                    <a:pt x="53" y="9"/>
                    <a:pt x="54" y="9"/>
                    <a:pt x="54" y="8"/>
                  </a:cubicBezTo>
                  <a:cubicBezTo>
                    <a:pt x="54" y="7"/>
                    <a:pt x="54" y="6"/>
                    <a:pt x="54" y="5"/>
                  </a:cubicBezTo>
                  <a:cubicBezTo>
                    <a:pt x="54" y="5"/>
                    <a:pt x="54" y="4"/>
                    <a:pt x="54" y="4"/>
                  </a:cubicBezTo>
                  <a:cubicBezTo>
                    <a:pt x="54" y="4"/>
                    <a:pt x="54" y="3"/>
                    <a:pt x="53" y="3"/>
                  </a:cubicBezTo>
                  <a:cubicBezTo>
                    <a:pt x="53" y="3"/>
                    <a:pt x="53" y="3"/>
                    <a:pt x="53" y="3"/>
                  </a:cubicBezTo>
                  <a:cubicBezTo>
                    <a:pt x="53" y="2"/>
                    <a:pt x="53" y="2"/>
                    <a:pt x="53" y="2"/>
                  </a:cubicBezTo>
                  <a:cubicBezTo>
                    <a:pt x="52" y="2"/>
                    <a:pt x="52" y="2"/>
                    <a:pt x="52" y="2"/>
                  </a:cubicBezTo>
                  <a:cubicBezTo>
                    <a:pt x="52" y="3"/>
                    <a:pt x="52" y="3"/>
                    <a:pt x="52" y="3"/>
                  </a:cubicBezTo>
                  <a:cubicBezTo>
                    <a:pt x="52" y="3"/>
                    <a:pt x="51" y="4"/>
                    <a:pt x="51" y="4"/>
                  </a:cubicBezTo>
                  <a:cubicBezTo>
                    <a:pt x="51" y="4"/>
                    <a:pt x="51" y="4"/>
                    <a:pt x="50" y="4"/>
                  </a:cubicBezTo>
                  <a:cubicBezTo>
                    <a:pt x="50" y="4"/>
                    <a:pt x="50" y="5"/>
                    <a:pt x="50" y="5"/>
                  </a:cubicBezTo>
                  <a:cubicBezTo>
                    <a:pt x="50" y="5"/>
                    <a:pt x="50" y="5"/>
                    <a:pt x="49" y="5"/>
                  </a:cubicBezTo>
                  <a:cubicBezTo>
                    <a:pt x="49" y="5"/>
                    <a:pt x="49" y="5"/>
                    <a:pt x="49" y="5"/>
                  </a:cubicBezTo>
                  <a:cubicBezTo>
                    <a:pt x="49" y="4"/>
                    <a:pt x="49" y="4"/>
                    <a:pt x="48" y="4"/>
                  </a:cubicBezTo>
                  <a:cubicBezTo>
                    <a:pt x="48" y="4"/>
                    <a:pt x="48" y="4"/>
                    <a:pt x="48" y="3"/>
                  </a:cubicBezTo>
                  <a:cubicBezTo>
                    <a:pt x="48" y="3"/>
                    <a:pt x="48" y="3"/>
                    <a:pt x="48" y="3"/>
                  </a:cubicBezTo>
                  <a:cubicBezTo>
                    <a:pt x="48" y="3"/>
                    <a:pt x="47" y="2"/>
                    <a:pt x="47" y="2"/>
                  </a:cubicBezTo>
                  <a:close/>
                  <a:moveTo>
                    <a:pt x="57" y="14"/>
                  </a:moveTo>
                  <a:cubicBezTo>
                    <a:pt x="57" y="14"/>
                    <a:pt x="58" y="15"/>
                    <a:pt x="58" y="15"/>
                  </a:cubicBezTo>
                  <a:cubicBezTo>
                    <a:pt x="58" y="14"/>
                    <a:pt x="59" y="14"/>
                    <a:pt x="59" y="13"/>
                  </a:cubicBezTo>
                  <a:cubicBezTo>
                    <a:pt x="59" y="13"/>
                    <a:pt x="59" y="13"/>
                    <a:pt x="59" y="13"/>
                  </a:cubicBezTo>
                  <a:cubicBezTo>
                    <a:pt x="59" y="12"/>
                    <a:pt x="58" y="11"/>
                    <a:pt x="58" y="10"/>
                  </a:cubicBezTo>
                  <a:cubicBezTo>
                    <a:pt x="58" y="10"/>
                    <a:pt x="58" y="10"/>
                    <a:pt x="58" y="10"/>
                  </a:cubicBezTo>
                  <a:cubicBezTo>
                    <a:pt x="58" y="10"/>
                    <a:pt x="57" y="10"/>
                    <a:pt x="57" y="9"/>
                  </a:cubicBezTo>
                  <a:cubicBezTo>
                    <a:pt x="57" y="9"/>
                    <a:pt x="57" y="8"/>
                    <a:pt x="57" y="8"/>
                  </a:cubicBezTo>
                  <a:cubicBezTo>
                    <a:pt x="56" y="8"/>
                    <a:pt x="56" y="8"/>
                    <a:pt x="56" y="9"/>
                  </a:cubicBezTo>
                  <a:cubicBezTo>
                    <a:pt x="55" y="9"/>
                    <a:pt x="56" y="10"/>
                    <a:pt x="56" y="11"/>
                  </a:cubicBezTo>
                  <a:cubicBezTo>
                    <a:pt x="56" y="12"/>
                    <a:pt x="56" y="13"/>
                    <a:pt x="56" y="13"/>
                  </a:cubicBezTo>
                  <a:cubicBezTo>
                    <a:pt x="57" y="14"/>
                    <a:pt x="57" y="14"/>
                    <a:pt x="57" y="14"/>
                  </a:cubicBezTo>
                  <a:close/>
                  <a:moveTo>
                    <a:pt x="15" y="47"/>
                  </a:moveTo>
                  <a:cubicBezTo>
                    <a:pt x="16" y="47"/>
                    <a:pt x="16" y="47"/>
                    <a:pt x="17" y="47"/>
                  </a:cubicBezTo>
                  <a:cubicBezTo>
                    <a:pt x="17" y="47"/>
                    <a:pt x="17" y="47"/>
                    <a:pt x="17" y="47"/>
                  </a:cubicBezTo>
                  <a:cubicBezTo>
                    <a:pt x="18" y="47"/>
                    <a:pt x="18" y="46"/>
                    <a:pt x="18" y="46"/>
                  </a:cubicBezTo>
                  <a:cubicBezTo>
                    <a:pt x="18" y="46"/>
                    <a:pt x="18" y="46"/>
                    <a:pt x="18" y="46"/>
                  </a:cubicBezTo>
                  <a:cubicBezTo>
                    <a:pt x="19" y="46"/>
                    <a:pt x="19" y="45"/>
                    <a:pt x="19" y="44"/>
                  </a:cubicBezTo>
                  <a:cubicBezTo>
                    <a:pt x="19" y="44"/>
                    <a:pt x="18" y="44"/>
                    <a:pt x="18" y="43"/>
                  </a:cubicBezTo>
                  <a:cubicBezTo>
                    <a:pt x="17" y="43"/>
                    <a:pt x="17" y="43"/>
                    <a:pt x="17" y="42"/>
                  </a:cubicBezTo>
                  <a:cubicBezTo>
                    <a:pt x="16" y="42"/>
                    <a:pt x="16" y="41"/>
                    <a:pt x="16" y="41"/>
                  </a:cubicBezTo>
                  <a:cubicBezTo>
                    <a:pt x="16" y="41"/>
                    <a:pt x="15" y="40"/>
                    <a:pt x="15" y="40"/>
                  </a:cubicBezTo>
                  <a:cubicBezTo>
                    <a:pt x="15" y="40"/>
                    <a:pt x="15" y="41"/>
                    <a:pt x="15" y="41"/>
                  </a:cubicBezTo>
                  <a:cubicBezTo>
                    <a:pt x="14" y="42"/>
                    <a:pt x="15" y="44"/>
                    <a:pt x="15" y="45"/>
                  </a:cubicBezTo>
                  <a:cubicBezTo>
                    <a:pt x="15" y="46"/>
                    <a:pt x="15" y="46"/>
                    <a:pt x="15" y="47"/>
                  </a:cubicBezTo>
                  <a:close/>
                  <a:moveTo>
                    <a:pt x="26" y="33"/>
                  </a:moveTo>
                  <a:cubicBezTo>
                    <a:pt x="26" y="33"/>
                    <a:pt x="26" y="33"/>
                    <a:pt x="26" y="33"/>
                  </a:cubicBezTo>
                  <a:cubicBezTo>
                    <a:pt x="26" y="33"/>
                    <a:pt x="26" y="33"/>
                    <a:pt x="26" y="33"/>
                  </a:cubicBezTo>
                  <a:cubicBezTo>
                    <a:pt x="25" y="33"/>
                    <a:pt x="25" y="34"/>
                    <a:pt x="25" y="34"/>
                  </a:cubicBezTo>
                  <a:cubicBezTo>
                    <a:pt x="25" y="34"/>
                    <a:pt x="25" y="35"/>
                    <a:pt x="25" y="35"/>
                  </a:cubicBezTo>
                  <a:cubicBezTo>
                    <a:pt x="25" y="36"/>
                    <a:pt x="26" y="36"/>
                    <a:pt x="26" y="37"/>
                  </a:cubicBezTo>
                  <a:cubicBezTo>
                    <a:pt x="27" y="37"/>
                    <a:pt x="27" y="37"/>
                    <a:pt x="27" y="36"/>
                  </a:cubicBezTo>
                  <a:cubicBezTo>
                    <a:pt x="27" y="36"/>
                    <a:pt x="27" y="36"/>
                    <a:pt x="27" y="35"/>
                  </a:cubicBezTo>
                  <a:cubicBezTo>
                    <a:pt x="27" y="35"/>
                    <a:pt x="27" y="34"/>
                    <a:pt x="27" y="33"/>
                  </a:cubicBezTo>
                  <a:cubicBezTo>
                    <a:pt x="27" y="33"/>
                    <a:pt x="27" y="33"/>
                    <a:pt x="26" y="33"/>
                  </a:cubicBezTo>
                  <a:close/>
                  <a:moveTo>
                    <a:pt x="60" y="223"/>
                  </a:moveTo>
                  <a:cubicBezTo>
                    <a:pt x="61" y="224"/>
                    <a:pt x="66" y="231"/>
                    <a:pt x="70" y="236"/>
                  </a:cubicBezTo>
                  <a:cubicBezTo>
                    <a:pt x="71" y="233"/>
                    <a:pt x="73" y="228"/>
                    <a:pt x="73" y="228"/>
                  </a:cubicBezTo>
                  <a:cubicBezTo>
                    <a:pt x="73" y="228"/>
                    <a:pt x="72" y="225"/>
                    <a:pt x="72" y="225"/>
                  </a:cubicBezTo>
                  <a:cubicBezTo>
                    <a:pt x="72" y="224"/>
                    <a:pt x="72" y="221"/>
                    <a:pt x="72" y="221"/>
                  </a:cubicBezTo>
                  <a:cubicBezTo>
                    <a:pt x="77" y="213"/>
                    <a:pt x="77" y="213"/>
                    <a:pt x="77" y="213"/>
                  </a:cubicBezTo>
                  <a:cubicBezTo>
                    <a:pt x="81" y="214"/>
                    <a:pt x="81" y="214"/>
                    <a:pt x="81" y="214"/>
                  </a:cubicBezTo>
                  <a:cubicBezTo>
                    <a:pt x="89" y="206"/>
                    <a:pt x="89" y="206"/>
                    <a:pt x="89" y="206"/>
                  </a:cubicBezTo>
                  <a:cubicBezTo>
                    <a:pt x="89" y="206"/>
                    <a:pt x="88" y="200"/>
                    <a:pt x="88" y="200"/>
                  </a:cubicBezTo>
                  <a:cubicBezTo>
                    <a:pt x="88" y="199"/>
                    <a:pt x="87" y="194"/>
                    <a:pt x="87" y="194"/>
                  </a:cubicBezTo>
                  <a:cubicBezTo>
                    <a:pt x="92" y="193"/>
                    <a:pt x="92" y="193"/>
                    <a:pt x="92" y="193"/>
                  </a:cubicBezTo>
                  <a:cubicBezTo>
                    <a:pt x="93" y="187"/>
                    <a:pt x="93" y="187"/>
                    <a:pt x="93" y="187"/>
                  </a:cubicBezTo>
                  <a:cubicBezTo>
                    <a:pt x="93" y="187"/>
                    <a:pt x="97" y="187"/>
                    <a:pt x="97" y="187"/>
                  </a:cubicBezTo>
                  <a:cubicBezTo>
                    <a:pt x="97" y="187"/>
                    <a:pt x="97" y="186"/>
                    <a:pt x="97" y="185"/>
                  </a:cubicBezTo>
                  <a:cubicBezTo>
                    <a:pt x="96" y="185"/>
                    <a:pt x="94" y="182"/>
                    <a:pt x="94" y="182"/>
                  </a:cubicBezTo>
                  <a:cubicBezTo>
                    <a:pt x="94" y="177"/>
                    <a:pt x="94" y="177"/>
                    <a:pt x="94" y="177"/>
                  </a:cubicBezTo>
                  <a:cubicBezTo>
                    <a:pt x="94" y="177"/>
                    <a:pt x="92" y="177"/>
                    <a:pt x="92" y="176"/>
                  </a:cubicBezTo>
                  <a:cubicBezTo>
                    <a:pt x="92" y="176"/>
                    <a:pt x="91" y="174"/>
                    <a:pt x="91" y="174"/>
                  </a:cubicBezTo>
                  <a:cubicBezTo>
                    <a:pt x="91" y="173"/>
                    <a:pt x="91" y="171"/>
                    <a:pt x="91" y="171"/>
                  </a:cubicBezTo>
                  <a:cubicBezTo>
                    <a:pt x="91" y="170"/>
                    <a:pt x="89" y="170"/>
                    <a:pt x="89" y="170"/>
                  </a:cubicBezTo>
                  <a:cubicBezTo>
                    <a:pt x="89" y="170"/>
                    <a:pt x="90" y="168"/>
                    <a:pt x="90" y="168"/>
                  </a:cubicBezTo>
                  <a:cubicBezTo>
                    <a:pt x="90" y="167"/>
                    <a:pt x="91" y="166"/>
                    <a:pt x="90" y="165"/>
                  </a:cubicBezTo>
                  <a:cubicBezTo>
                    <a:pt x="90" y="165"/>
                    <a:pt x="90" y="164"/>
                    <a:pt x="90" y="163"/>
                  </a:cubicBezTo>
                  <a:cubicBezTo>
                    <a:pt x="90" y="163"/>
                    <a:pt x="90" y="162"/>
                    <a:pt x="90" y="162"/>
                  </a:cubicBezTo>
                  <a:cubicBezTo>
                    <a:pt x="90" y="162"/>
                    <a:pt x="92" y="161"/>
                    <a:pt x="92" y="161"/>
                  </a:cubicBezTo>
                  <a:cubicBezTo>
                    <a:pt x="92" y="160"/>
                    <a:pt x="93" y="158"/>
                    <a:pt x="94" y="157"/>
                  </a:cubicBezTo>
                  <a:cubicBezTo>
                    <a:pt x="94" y="157"/>
                    <a:pt x="95" y="155"/>
                    <a:pt x="95" y="155"/>
                  </a:cubicBezTo>
                  <a:cubicBezTo>
                    <a:pt x="95" y="154"/>
                    <a:pt x="95" y="150"/>
                    <a:pt x="95" y="150"/>
                  </a:cubicBezTo>
                  <a:cubicBezTo>
                    <a:pt x="95" y="150"/>
                    <a:pt x="98" y="148"/>
                    <a:pt x="98" y="148"/>
                  </a:cubicBezTo>
                  <a:cubicBezTo>
                    <a:pt x="98" y="148"/>
                    <a:pt x="104" y="144"/>
                    <a:pt x="104" y="144"/>
                  </a:cubicBezTo>
                  <a:cubicBezTo>
                    <a:pt x="104" y="139"/>
                    <a:pt x="104" y="139"/>
                    <a:pt x="104" y="139"/>
                  </a:cubicBezTo>
                  <a:cubicBezTo>
                    <a:pt x="107" y="141"/>
                    <a:pt x="107" y="141"/>
                    <a:pt x="107" y="141"/>
                  </a:cubicBezTo>
                  <a:cubicBezTo>
                    <a:pt x="107" y="141"/>
                    <a:pt x="108" y="140"/>
                    <a:pt x="108" y="139"/>
                  </a:cubicBezTo>
                  <a:cubicBezTo>
                    <a:pt x="108" y="138"/>
                    <a:pt x="108" y="136"/>
                    <a:pt x="108" y="136"/>
                  </a:cubicBezTo>
                  <a:cubicBezTo>
                    <a:pt x="107" y="135"/>
                    <a:pt x="106" y="135"/>
                    <a:pt x="106" y="134"/>
                  </a:cubicBezTo>
                  <a:cubicBezTo>
                    <a:pt x="106" y="134"/>
                    <a:pt x="107" y="132"/>
                    <a:pt x="107" y="132"/>
                  </a:cubicBezTo>
                  <a:cubicBezTo>
                    <a:pt x="107" y="131"/>
                    <a:pt x="105" y="130"/>
                    <a:pt x="105" y="129"/>
                  </a:cubicBezTo>
                  <a:cubicBezTo>
                    <a:pt x="105" y="128"/>
                    <a:pt x="105" y="123"/>
                    <a:pt x="105" y="123"/>
                  </a:cubicBezTo>
                  <a:cubicBezTo>
                    <a:pt x="105" y="123"/>
                    <a:pt x="107" y="123"/>
                    <a:pt x="108" y="122"/>
                  </a:cubicBezTo>
                  <a:cubicBezTo>
                    <a:pt x="108" y="122"/>
                    <a:pt x="110" y="121"/>
                    <a:pt x="111" y="120"/>
                  </a:cubicBezTo>
                  <a:cubicBezTo>
                    <a:pt x="112" y="120"/>
                    <a:pt x="113" y="118"/>
                    <a:pt x="114" y="118"/>
                  </a:cubicBezTo>
                  <a:cubicBezTo>
                    <a:pt x="114" y="117"/>
                    <a:pt x="113" y="115"/>
                    <a:pt x="113" y="114"/>
                  </a:cubicBezTo>
                  <a:cubicBezTo>
                    <a:pt x="112" y="112"/>
                    <a:pt x="112" y="111"/>
                    <a:pt x="112" y="110"/>
                  </a:cubicBezTo>
                  <a:cubicBezTo>
                    <a:pt x="111" y="108"/>
                    <a:pt x="111" y="106"/>
                    <a:pt x="111" y="106"/>
                  </a:cubicBezTo>
                  <a:cubicBezTo>
                    <a:pt x="111" y="105"/>
                    <a:pt x="111" y="103"/>
                    <a:pt x="111" y="102"/>
                  </a:cubicBezTo>
                  <a:cubicBezTo>
                    <a:pt x="111" y="101"/>
                    <a:pt x="111" y="100"/>
                    <a:pt x="110" y="99"/>
                  </a:cubicBezTo>
                  <a:cubicBezTo>
                    <a:pt x="109" y="99"/>
                    <a:pt x="107" y="96"/>
                    <a:pt x="107" y="96"/>
                  </a:cubicBezTo>
                  <a:cubicBezTo>
                    <a:pt x="111" y="94"/>
                    <a:pt x="111" y="94"/>
                    <a:pt x="111" y="94"/>
                  </a:cubicBezTo>
                  <a:cubicBezTo>
                    <a:pt x="111" y="94"/>
                    <a:pt x="114" y="91"/>
                    <a:pt x="114" y="91"/>
                  </a:cubicBezTo>
                  <a:cubicBezTo>
                    <a:pt x="114" y="90"/>
                    <a:pt x="114" y="88"/>
                    <a:pt x="114" y="87"/>
                  </a:cubicBezTo>
                  <a:cubicBezTo>
                    <a:pt x="114" y="87"/>
                    <a:pt x="114" y="86"/>
                    <a:pt x="113" y="85"/>
                  </a:cubicBezTo>
                  <a:cubicBezTo>
                    <a:pt x="111" y="84"/>
                    <a:pt x="110" y="83"/>
                    <a:pt x="110" y="83"/>
                  </a:cubicBezTo>
                  <a:cubicBezTo>
                    <a:pt x="110" y="74"/>
                    <a:pt x="110" y="74"/>
                    <a:pt x="110" y="74"/>
                  </a:cubicBezTo>
                  <a:cubicBezTo>
                    <a:pt x="110" y="74"/>
                    <a:pt x="110" y="72"/>
                    <a:pt x="110" y="72"/>
                  </a:cubicBezTo>
                  <a:cubicBezTo>
                    <a:pt x="111" y="71"/>
                    <a:pt x="113" y="70"/>
                    <a:pt x="113" y="70"/>
                  </a:cubicBezTo>
                  <a:cubicBezTo>
                    <a:pt x="113" y="70"/>
                    <a:pt x="116" y="70"/>
                    <a:pt x="117" y="70"/>
                  </a:cubicBezTo>
                  <a:cubicBezTo>
                    <a:pt x="117" y="70"/>
                    <a:pt x="119" y="70"/>
                    <a:pt x="118" y="69"/>
                  </a:cubicBezTo>
                  <a:cubicBezTo>
                    <a:pt x="118" y="69"/>
                    <a:pt x="116" y="66"/>
                    <a:pt x="116" y="66"/>
                  </a:cubicBezTo>
                  <a:cubicBezTo>
                    <a:pt x="116" y="66"/>
                    <a:pt x="120" y="65"/>
                    <a:pt x="120" y="65"/>
                  </a:cubicBezTo>
                  <a:cubicBezTo>
                    <a:pt x="120" y="65"/>
                    <a:pt x="122" y="62"/>
                    <a:pt x="122" y="62"/>
                  </a:cubicBezTo>
                  <a:cubicBezTo>
                    <a:pt x="122" y="62"/>
                    <a:pt x="122" y="60"/>
                    <a:pt x="121" y="59"/>
                  </a:cubicBezTo>
                  <a:cubicBezTo>
                    <a:pt x="120" y="58"/>
                    <a:pt x="116" y="52"/>
                    <a:pt x="116" y="51"/>
                  </a:cubicBezTo>
                  <a:cubicBezTo>
                    <a:pt x="116" y="51"/>
                    <a:pt x="116" y="48"/>
                    <a:pt x="116" y="48"/>
                  </a:cubicBezTo>
                  <a:cubicBezTo>
                    <a:pt x="116" y="48"/>
                    <a:pt x="112" y="48"/>
                    <a:pt x="111" y="47"/>
                  </a:cubicBezTo>
                  <a:cubicBezTo>
                    <a:pt x="110" y="47"/>
                    <a:pt x="106" y="47"/>
                    <a:pt x="105" y="46"/>
                  </a:cubicBezTo>
                  <a:cubicBezTo>
                    <a:pt x="104" y="46"/>
                    <a:pt x="102" y="46"/>
                    <a:pt x="102" y="45"/>
                  </a:cubicBezTo>
                  <a:cubicBezTo>
                    <a:pt x="102" y="44"/>
                    <a:pt x="102" y="41"/>
                    <a:pt x="102" y="41"/>
                  </a:cubicBezTo>
                  <a:cubicBezTo>
                    <a:pt x="102" y="41"/>
                    <a:pt x="107" y="41"/>
                    <a:pt x="107" y="41"/>
                  </a:cubicBezTo>
                  <a:cubicBezTo>
                    <a:pt x="107" y="41"/>
                    <a:pt x="110" y="40"/>
                    <a:pt x="110" y="40"/>
                  </a:cubicBezTo>
                  <a:cubicBezTo>
                    <a:pt x="111" y="40"/>
                    <a:pt x="112" y="41"/>
                    <a:pt x="113" y="41"/>
                  </a:cubicBezTo>
                  <a:cubicBezTo>
                    <a:pt x="113" y="41"/>
                    <a:pt x="114" y="40"/>
                    <a:pt x="115" y="40"/>
                  </a:cubicBezTo>
                  <a:cubicBezTo>
                    <a:pt x="115" y="40"/>
                    <a:pt x="119" y="39"/>
                    <a:pt x="120" y="39"/>
                  </a:cubicBezTo>
                  <a:cubicBezTo>
                    <a:pt x="120" y="39"/>
                    <a:pt x="123" y="41"/>
                    <a:pt x="124" y="42"/>
                  </a:cubicBezTo>
                  <a:cubicBezTo>
                    <a:pt x="124" y="42"/>
                    <a:pt x="126" y="41"/>
                    <a:pt x="126" y="41"/>
                  </a:cubicBezTo>
                  <a:cubicBezTo>
                    <a:pt x="126" y="41"/>
                    <a:pt x="126" y="35"/>
                    <a:pt x="126" y="35"/>
                  </a:cubicBezTo>
                  <a:cubicBezTo>
                    <a:pt x="129" y="33"/>
                    <a:pt x="129" y="33"/>
                    <a:pt x="129" y="33"/>
                  </a:cubicBezTo>
                  <a:cubicBezTo>
                    <a:pt x="129" y="33"/>
                    <a:pt x="129" y="30"/>
                    <a:pt x="129" y="30"/>
                  </a:cubicBezTo>
                  <a:cubicBezTo>
                    <a:pt x="128" y="29"/>
                    <a:pt x="127" y="27"/>
                    <a:pt x="127" y="27"/>
                  </a:cubicBezTo>
                  <a:cubicBezTo>
                    <a:pt x="126" y="27"/>
                    <a:pt x="124" y="26"/>
                    <a:pt x="123" y="26"/>
                  </a:cubicBezTo>
                  <a:cubicBezTo>
                    <a:pt x="123" y="26"/>
                    <a:pt x="114" y="25"/>
                    <a:pt x="114" y="25"/>
                  </a:cubicBezTo>
                  <a:cubicBezTo>
                    <a:pt x="114" y="25"/>
                    <a:pt x="110" y="26"/>
                    <a:pt x="110" y="26"/>
                  </a:cubicBezTo>
                  <a:cubicBezTo>
                    <a:pt x="110" y="27"/>
                    <a:pt x="108" y="26"/>
                    <a:pt x="108" y="25"/>
                  </a:cubicBezTo>
                  <a:cubicBezTo>
                    <a:pt x="108" y="24"/>
                    <a:pt x="108" y="23"/>
                    <a:pt x="109" y="23"/>
                  </a:cubicBezTo>
                  <a:cubicBezTo>
                    <a:pt x="109" y="22"/>
                    <a:pt x="110" y="20"/>
                    <a:pt x="110" y="19"/>
                  </a:cubicBezTo>
                  <a:cubicBezTo>
                    <a:pt x="110" y="18"/>
                    <a:pt x="108" y="15"/>
                    <a:pt x="108" y="15"/>
                  </a:cubicBezTo>
                  <a:cubicBezTo>
                    <a:pt x="111" y="14"/>
                    <a:pt x="111" y="14"/>
                    <a:pt x="111" y="14"/>
                  </a:cubicBezTo>
                  <a:cubicBezTo>
                    <a:pt x="114" y="8"/>
                    <a:pt x="114" y="8"/>
                    <a:pt x="114" y="8"/>
                  </a:cubicBezTo>
                  <a:cubicBezTo>
                    <a:pt x="114" y="8"/>
                    <a:pt x="113" y="7"/>
                    <a:pt x="113" y="6"/>
                  </a:cubicBezTo>
                  <a:cubicBezTo>
                    <a:pt x="109" y="7"/>
                    <a:pt x="109" y="7"/>
                    <a:pt x="109" y="7"/>
                  </a:cubicBezTo>
                  <a:cubicBezTo>
                    <a:pt x="105" y="9"/>
                    <a:pt x="105" y="9"/>
                    <a:pt x="105" y="9"/>
                  </a:cubicBezTo>
                  <a:cubicBezTo>
                    <a:pt x="105" y="9"/>
                    <a:pt x="101" y="10"/>
                    <a:pt x="101" y="10"/>
                  </a:cubicBezTo>
                  <a:cubicBezTo>
                    <a:pt x="101" y="9"/>
                    <a:pt x="99" y="6"/>
                    <a:pt x="99" y="6"/>
                  </a:cubicBezTo>
                  <a:cubicBezTo>
                    <a:pt x="99" y="6"/>
                    <a:pt x="95" y="3"/>
                    <a:pt x="95" y="3"/>
                  </a:cubicBezTo>
                  <a:cubicBezTo>
                    <a:pt x="95" y="2"/>
                    <a:pt x="93" y="0"/>
                    <a:pt x="93" y="0"/>
                  </a:cubicBezTo>
                  <a:cubicBezTo>
                    <a:pt x="93" y="0"/>
                    <a:pt x="87" y="5"/>
                    <a:pt x="87" y="5"/>
                  </a:cubicBezTo>
                  <a:cubicBezTo>
                    <a:pt x="80" y="2"/>
                    <a:pt x="80" y="2"/>
                    <a:pt x="80" y="2"/>
                  </a:cubicBezTo>
                  <a:cubicBezTo>
                    <a:pt x="80" y="2"/>
                    <a:pt x="79" y="2"/>
                    <a:pt x="79" y="2"/>
                  </a:cubicBezTo>
                  <a:cubicBezTo>
                    <a:pt x="79" y="2"/>
                    <a:pt x="78" y="2"/>
                    <a:pt x="78" y="2"/>
                  </a:cubicBezTo>
                  <a:cubicBezTo>
                    <a:pt x="77" y="3"/>
                    <a:pt x="77" y="4"/>
                    <a:pt x="76" y="4"/>
                  </a:cubicBezTo>
                  <a:cubicBezTo>
                    <a:pt x="76" y="4"/>
                    <a:pt x="76" y="5"/>
                    <a:pt x="75" y="5"/>
                  </a:cubicBezTo>
                  <a:cubicBezTo>
                    <a:pt x="75" y="6"/>
                    <a:pt x="75" y="6"/>
                    <a:pt x="75" y="7"/>
                  </a:cubicBezTo>
                  <a:cubicBezTo>
                    <a:pt x="75" y="7"/>
                    <a:pt x="75" y="8"/>
                    <a:pt x="74" y="8"/>
                  </a:cubicBezTo>
                  <a:cubicBezTo>
                    <a:pt x="74" y="9"/>
                    <a:pt x="73" y="10"/>
                    <a:pt x="73" y="10"/>
                  </a:cubicBezTo>
                  <a:cubicBezTo>
                    <a:pt x="72" y="10"/>
                    <a:pt x="72" y="9"/>
                    <a:pt x="72" y="9"/>
                  </a:cubicBezTo>
                  <a:cubicBezTo>
                    <a:pt x="73" y="9"/>
                    <a:pt x="73" y="8"/>
                    <a:pt x="73" y="8"/>
                  </a:cubicBezTo>
                  <a:cubicBezTo>
                    <a:pt x="73" y="8"/>
                    <a:pt x="73" y="8"/>
                    <a:pt x="72" y="7"/>
                  </a:cubicBezTo>
                  <a:cubicBezTo>
                    <a:pt x="72" y="7"/>
                    <a:pt x="72" y="7"/>
                    <a:pt x="72" y="7"/>
                  </a:cubicBezTo>
                  <a:cubicBezTo>
                    <a:pt x="72" y="7"/>
                    <a:pt x="72" y="6"/>
                    <a:pt x="71" y="7"/>
                  </a:cubicBezTo>
                  <a:cubicBezTo>
                    <a:pt x="71" y="7"/>
                    <a:pt x="71" y="7"/>
                    <a:pt x="71" y="7"/>
                  </a:cubicBezTo>
                  <a:cubicBezTo>
                    <a:pt x="70" y="8"/>
                    <a:pt x="70" y="8"/>
                    <a:pt x="69" y="9"/>
                  </a:cubicBezTo>
                  <a:cubicBezTo>
                    <a:pt x="69" y="9"/>
                    <a:pt x="69" y="9"/>
                    <a:pt x="69" y="9"/>
                  </a:cubicBezTo>
                  <a:cubicBezTo>
                    <a:pt x="69" y="9"/>
                    <a:pt x="69" y="9"/>
                    <a:pt x="69" y="9"/>
                  </a:cubicBezTo>
                  <a:cubicBezTo>
                    <a:pt x="69" y="10"/>
                    <a:pt x="69" y="10"/>
                    <a:pt x="69" y="11"/>
                  </a:cubicBezTo>
                  <a:cubicBezTo>
                    <a:pt x="69" y="11"/>
                    <a:pt x="70" y="11"/>
                    <a:pt x="70" y="11"/>
                  </a:cubicBezTo>
                  <a:cubicBezTo>
                    <a:pt x="70" y="11"/>
                    <a:pt x="70" y="12"/>
                    <a:pt x="70" y="12"/>
                  </a:cubicBezTo>
                  <a:cubicBezTo>
                    <a:pt x="70" y="12"/>
                    <a:pt x="70" y="13"/>
                    <a:pt x="70" y="13"/>
                  </a:cubicBezTo>
                  <a:cubicBezTo>
                    <a:pt x="71" y="13"/>
                    <a:pt x="71" y="13"/>
                    <a:pt x="71" y="13"/>
                  </a:cubicBezTo>
                  <a:cubicBezTo>
                    <a:pt x="71" y="13"/>
                    <a:pt x="71" y="13"/>
                    <a:pt x="71" y="13"/>
                  </a:cubicBezTo>
                  <a:cubicBezTo>
                    <a:pt x="71" y="14"/>
                    <a:pt x="71" y="14"/>
                    <a:pt x="71" y="15"/>
                  </a:cubicBezTo>
                  <a:cubicBezTo>
                    <a:pt x="71" y="15"/>
                    <a:pt x="70" y="16"/>
                    <a:pt x="70" y="16"/>
                  </a:cubicBezTo>
                  <a:cubicBezTo>
                    <a:pt x="69" y="16"/>
                    <a:pt x="69" y="16"/>
                    <a:pt x="68" y="16"/>
                  </a:cubicBezTo>
                  <a:cubicBezTo>
                    <a:pt x="68" y="16"/>
                    <a:pt x="68" y="16"/>
                    <a:pt x="68" y="16"/>
                  </a:cubicBezTo>
                  <a:cubicBezTo>
                    <a:pt x="68" y="17"/>
                    <a:pt x="68" y="18"/>
                    <a:pt x="69" y="18"/>
                  </a:cubicBezTo>
                  <a:cubicBezTo>
                    <a:pt x="69" y="19"/>
                    <a:pt x="70" y="19"/>
                    <a:pt x="71" y="19"/>
                  </a:cubicBezTo>
                  <a:cubicBezTo>
                    <a:pt x="71" y="19"/>
                    <a:pt x="71" y="19"/>
                    <a:pt x="71" y="19"/>
                  </a:cubicBezTo>
                  <a:cubicBezTo>
                    <a:pt x="71" y="19"/>
                    <a:pt x="72" y="19"/>
                    <a:pt x="72" y="19"/>
                  </a:cubicBezTo>
                  <a:cubicBezTo>
                    <a:pt x="72" y="20"/>
                    <a:pt x="71" y="20"/>
                    <a:pt x="71" y="20"/>
                  </a:cubicBezTo>
                  <a:cubicBezTo>
                    <a:pt x="71" y="20"/>
                    <a:pt x="71" y="21"/>
                    <a:pt x="71" y="21"/>
                  </a:cubicBezTo>
                  <a:cubicBezTo>
                    <a:pt x="72" y="21"/>
                    <a:pt x="72" y="21"/>
                    <a:pt x="72" y="21"/>
                  </a:cubicBezTo>
                  <a:cubicBezTo>
                    <a:pt x="73" y="21"/>
                    <a:pt x="73" y="21"/>
                    <a:pt x="74" y="21"/>
                  </a:cubicBezTo>
                  <a:cubicBezTo>
                    <a:pt x="74" y="21"/>
                    <a:pt x="75" y="21"/>
                    <a:pt x="76" y="21"/>
                  </a:cubicBezTo>
                  <a:cubicBezTo>
                    <a:pt x="76" y="21"/>
                    <a:pt x="76" y="22"/>
                    <a:pt x="76" y="22"/>
                  </a:cubicBezTo>
                  <a:cubicBezTo>
                    <a:pt x="76" y="22"/>
                    <a:pt x="76" y="22"/>
                    <a:pt x="76" y="22"/>
                  </a:cubicBezTo>
                  <a:cubicBezTo>
                    <a:pt x="77" y="22"/>
                    <a:pt x="79" y="22"/>
                    <a:pt x="79" y="23"/>
                  </a:cubicBezTo>
                  <a:cubicBezTo>
                    <a:pt x="79" y="24"/>
                    <a:pt x="79" y="24"/>
                    <a:pt x="79" y="25"/>
                  </a:cubicBezTo>
                  <a:cubicBezTo>
                    <a:pt x="79" y="25"/>
                    <a:pt x="79" y="26"/>
                    <a:pt x="80" y="26"/>
                  </a:cubicBezTo>
                  <a:cubicBezTo>
                    <a:pt x="80" y="26"/>
                    <a:pt x="80" y="26"/>
                    <a:pt x="80" y="26"/>
                  </a:cubicBezTo>
                  <a:cubicBezTo>
                    <a:pt x="81" y="28"/>
                    <a:pt x="83" y="29"/>
                    <a:pt x="84" y="30"/>
                  </a:cubicBezTo>
                  <a:cubicBezTo>
                    <a:pt x="84" y="31"/>
                    <a:pt x="84" y="31"/>
                    <a:pt x="85" y="31"/>
                  </a:cubicBezTo>
                  <a:cubicBezTo>
                    <a:pt x="85" y="31"/>
                    <a:pt x="85" y="30"/>
                    <a:pt x="85" y="29"/>
                  </a:cubicBezTo>
                  <a:cubicBezTo>
                    <a:pt x="85" y="28"/>
                    <a:pt x="86" y="27"/>
                    <a:pt x="87" y="27"/>
                  </a:cubicBezTo>
                  <a:cubicBezTo>
                    <a:pt x="87" y="27"/>
                    <a:pt x="88" y="27"/>
                    <a:pt x="88" y="28"/>
                  </a:cubicBezTo>
                  <a:cubicBezTo>
                    <a:pt x="88" y="28"/>
                    <a:pt x="88" y="29"/>
                    <a:pt x="88" y="29"/>
                  </a:cubicBezTo>
                  <a:cubicBezTo>
                    <a:pt x="88" y="30"/>
                    <a:pt x="88" y="31"/>
                    <a:pt x="87" y="32"/>
                  </a:cubicBezTo>
                  <a:cubicBezTo>
                    <a:pt x="86" y="32"/>
                    <a:pt x="86" y="32"/>
                    <a:pt x="86" y="33"/>
                  </a:cubicBezTo>
                  <a:cubicBezTo>
                    <a:pt x="86" y="33"/>
                    <a:pt x="86" y="33"/>
                    <a:pt x="85" y="34"/>
                  </a:cubicBezTo>
                  <a:cubicBezTo>
                    <a:pt x="85" y="35"/>
                    <a:pt x="84" y="36"/>
                    <a:pt x="84" y="37"/>
                  </a:cubicBezTo>
                  <a:cubicBezTo>
                    <a:pt x="84" y="38"/>
                    <a:pt x="85" y="39"/>
                    <a:pt x="84" y="40"/>
                  </a:cubicBezTo>
                  <a:cubicBezTo>
                    <a:pt x="84" y="40"/>
                    <a:pt x="84" y="40"/>
                    <a:pt x="83" y="41"/>
                  </a:cubicBezTo>
                  <a:cubicBezTo>
                    <a:pt x="82" y="41"/>
                    <a:pt x="81" y="42"/>
                    <a:pt x="80" y="43"/>
                  </a:cubicBezTo>
                  <a:cubicBezTo>
                    <a:pt x="79" y="44"/>
                    <a:pt x="79" y="44"/>
                    <a:pt x="78" y="45"/>
                  </a:cubicBezTo>
                  <a:cubicBezTo>
                    <a:pt x="77" y="46"/>
                    <a:pt x="75" y="47"/>
                    <a:pt x="74" y="48"/>
                  </a:cubicBezTo>
                  <a:cubicBezTo>
                    <a:pt x="74" y="48"/>
                    <a:pt x="74" y="48"/>
                    <a:pt x="74" y="48"/>
                  </a:cubicBezTo>
                  <a:cubicBezTo>
                    <a:pt x="74" y="48"/>
                    <a:pt x="73" y="48"/>
                    <a:pt x="73" y="48"/>
                  </a:cubicBezTo>
                  <a:cubicBezTo>
                    <a:pt x="73" y="48"/>
                    <a:pt x="72" y="48"/>
                    <a:pt x="72" y="48"/>
                  </a:cubicBezTo>
                  <a:cubicBezTo>
                    <a:pt x="70" y="48"/>
                    <a:pt x="69" y="48"/>
                    <a:pt x="67" y="48"/>
                  </a:cubicBezTo>
                  <a:cubicBezTo>
                    <a:pt x="67" y="48"/>
                    <a:pt x="66" y="48"/>
                    <a:pt x="66" y="48"/>
                  </a:cubicBezTo>
                  <a:cubicBezTo>
                    <a:pt x="66" y="49"/>
                    <a:pt x="66" y="49"/>
                    <a:pt x="66" y="49"/>
                  </a:cubicBezTo>
                  <a:cubicBezTo>
                    <a:pt x="66" y="50"/>
                    <a:pt x="66" y="51"/>
                    <a:pt x="66" y="52"/>
                  </a:cubicBezTo>
                  <a:cubicBezTo>
                    <a:pt x="66" y="52"/>
                    <a:pt x="66" y="53"/>
                    <a:pt x="66" y="53"/>
                  </a:cubicBezTo>
                  <a:cubicBezTo>
                    <a:pt x="66" y="53"/>
                    <a:pt x="66" y="54"/>
                    <a:pt x="66" y="54"/>
                  </a:cubicBezTo>
                  <a:cubicBezTo>
                    <a:pt x="67" y="54"/>
                    <a:pt x="67" y="55"/>
                    <a:pt x="67" y="55"/>
                  </a:cubicBezTo>
                  <a:cubicBezTo>
                    <a:pt x="67" y="55"/>
                    <a:pt x="67" y="55"/>
                    <a:pt x="67" y="55"/>
                  </a:cubicBezTo>
                  <a:cubicBezTo>
                    <a:pt x="66" y="55"/>
                    <a:pt x="66" y="55"/>
                    <a:pt x="66" y="55"/>
                  </a:cubicBezTo>
                  <a:cubicBezTo>
                    <a:pt x="66" y="56"/>
                    <a:pt x="66" y="56"/>
                    <a:pt x="66" y="56"/>
                  </a:cubicBezTo>
                  <a:cubicBezTo>
                    <a:pt x="65" y="56"/>
                    <a:pt x="65" y="56"/>
                    <a:pt x="65" y="56"/>
                  </a:cubicBezTo>
                  <a:cubicBezTo>
                    <a:pt x="65" y="55"/>
                    <a:pt x="65" y="55"/>
                    <a:pt x="64" y="55"/>
                  </a:cubicBezTo>
                  <a:cubicBezTo>
                    <a:pt x="64" y="55"/>
                    <a:pt x="64" y="55"/>
                    <a:pt x="64" y="55"/>
                  </a:cubicBezTo>
                  <a:cubicBezTo>
                    <a:pt x="64" y="55"/>
                    <a:pt x="64" y="55"/>
                    <a:pt x="64" y="55"/>
                  </a:cubicBezTo>
                  <a:cubicBezTo>
                    <a:pt x="64" y="55"/>
                    <a:pt x="64" y="56"/>
                    <a:pt x="64" y="56"/>
                  </a:cubicBezTo>
                  <a:cubicBezTo>
                    <a:pt x="64" y="56"/>
                    <a:pt x="65" y="57"/>
                    <a:pt x="65" y="57"/>
                  </a:cubicBezTo>
                  <a:cubicBezTo>
                    <a:pt x="65" y="58"/>
                    <a:pt x="65" y="59"/>
                    <a:pt x="65" y="60"/>
                  </a:cubicBezTo>
                  <a:cubicBezTo>
                    <a:pt x="65" y="61"/>
                    <a:pt x="64" y="61"/>
                    <a:pt x="65" y="62"/>
                  </a:cubicBezTo>
                  <a:cubicBezTo>
                    <a:pt x="65" y="63"/>
                    <a:pt x="66" y="63"/>
                    <a:pt x="67" y="62"/>
                  </a:cubicBezTo>
                  <a:cubicBezTo>
                    <a:pt x="67" y="62"/>
                    <a:pt x="67" y="62"/>
                    <a:pt x="67" y="61"/>
                  </a:cubicBezTo>
                  <a:cubicBezTo>
                    <a:pt x="67" y="61"/>
                    <a:pt x="67" y="61"/>
                    <a:pt x="68" y="61"/>
                  </a:cubicBezTo>
                  <a:cubicBezTo>
                    <a:pt x="69" y="61"/>
                    <a:pt x="70" y="61"/>
                    <a:pt x="71" y="61"/>
                  </a:cubicBezTo>
                  <a:cubicBezTo>
                    <a:pt x="72" y="61"/>
                    <a:pt x="73" y="62"/>
                    <a:pt x="75" y="64"/>
                  </a:cubicBezTo>
                  <a:cubicBezTo>
                    <a:pt x="75" y="64"/>
                    <a:pt x="76" y="65"/>
                    <a:pt x="77" y="66"/>
                  </a:cubicBezTo>
                  <a:cubicBezTo>
                    <a:pt x="78" y="67"/>
                    <a:pt x="78" y="67"/>
                    <a:pt x="79" y="67"/>
                  </a:cubicBezTo>
                  <a:cubicBezTo>
                    <a:pt x="79" y="66"/>
                    <a:pt x="79" y="66"/>
                    <a:pt x="79" y="66"/>
                  </a:cubicBezTo>
                  <a:cubicBezTo>
                    <a:pt x="80" y="65"/>
                    <a:pt x="81" y="65"/>
                    <a:pt x="82" y="65"/>
                  </a:cubicBezTo>
                  <a:cubicBezTo>
                    <a:pt x="83" y="65"/>
                    <a:pt x="83" y="66"/>
                    <a:pt x="83" y="66"/>
                  </a:cubicBezTo>
                  <a:cubicBezTo>
                    <a:pt x="83" y="66"/>
                    <a:pt x="83" y="66"/>
                    <a:pt x="83" y="67"/>
                  </a:cubicBezTo>
                  <a:cubicBezTo>
                    <a:pt x="82" y="68"/>
                    <a:pt x="80" y="69"/>
                    <a:pt x="78" y="69"/>
                  </a:cubicBezTo>
                  <a:cubicBezTo>
                    <a:pt x="78" y="68"/>
                    <a:pt x="78" y="68"/>
                    <a:pt x="77" y="68"/>
                  </a:cubicBezTo>
                  <a:cubicBezTo>
                    <a:pt x="77" y="68"/>
                    <a:pt x="77" y="68"/>
                    <a:pt x="76" y="68"/>
                  </a:cubicBezTo>
                  <a:cubicBezTo>
                    <a:pt x="75" y="68"/>
                    <a:pt x="73" y="67"/>
                    <a:pt x="72" y="66"/>
                  </a:cubicBezTo>
                  <a:cubicBezTo>
                    <a:pt x="72" y="65"/>
                    <a:pt x="72" y="64"/>
                    <a:pt x="71" y="64"/>
                  </a:cubicBezTo>
                  <a:cubicBezTo>
                    <a:pt x="71" y="63"/>
                    <a:pt x="69" y="63"/>
                    <a:pt x="68" y="63"/>
                  </a:cubicBezTo>
                  <a:cubicBezTo>
                    <a:pt x="68" y="63"/>
                    <a:pt x="67" y="63"/>
                    <a:pt x="67" y="64"/>
                  </a:cubicBezTo>
                  <a:cubicBezTo>
                    <a:pt x="67" y="64"/>
                    <a:pt x="67" y="64"/>
                    <a:pt x="66" y="64"/>
                  </a:cubicBezTo>
                  <a:cubicBezTo>
                    <a:pt x="66" y="65"/>
                    <a:pt x="65" y="66"/>
                    <a:pt x="65" y="67"/>
                  </a:cubicBezTo>
                  <a:cubicBezTo>
                    <a:pt x="65" y="67"/>
                    <a:pt x="64" y="68"/>
                    <a:pt x="64" y="68"/>
                  </a:cubicBezTo>
                  <a:cubicBezTo>
                    <a:pt x="63" y="68"/>
                    <a:pt x="63" y="68"/>
                    <a:pt x="62" y="68"/>
                  </a:cubicBezTo>
                  <a:cubicBezTo>
                    <a:pt x="62" y="69"/>
                    <a:pt x="62" y="69"/>
                    <a:pt x="62" y="70"/>
                  </a:cubicBezTo>
                  <a:cubicBezTo>
                    <a:pt x="62" y="71"/>
                    <a:pt x="62" y="71"/>
                    <a:pt x="62" y="72"/>
                  </a:cubicBezTo>
                  <a:cubicBezTo>
                    <a:pt x="62" y="74"/>
                    <a:pt x="62" y="75"/>
                    <a:pt x="61" y="76"/>
                  </a:cubicBezTo>
                  <a:cubicBezTo>
                    <a:pt x="61" y="77"/>
                    <a:pt x="60" y="77"/>
                    <a:pt x="60" y="77"/>
                  </a:cubicBezTo>
                  <a:cubicBezTo>
                    <a:pt x="60" y="77"/>
                    <a:pt x="60" y="77"/>
                    <a:pt x="60" y="78"/>
                  </a:cubicBezTo>
                  <a:cubicBezTo>
                    <a:pt x="60" y="78"/>
                    <a:pt x="60" y="79"/>
                    <a:pt x="60" y="79"/>
                  </a:cubicBezTo>
                  <a:cubicBezTo>
                    <a:pt x="60" y="80"/>
                    <a:pt x="60" y="80"/>
                    <a:pt x="61" y="80"/>
                  </a:cubicBezTo>
                  <a:cubicBezTo>
                    <a:pt x="61" y="81"/>
                    <a:pt x="62" y="80"/>
                    <a:pt x="62" y="80"/>
                  </a:cubicBezTo>
                  <a:cubicBezTo>
                    <a:pt x="64" y="79"/>
                    <a:pt x="65" y="78"/>
                    <a:pt x="66" y="76"/>
                  </a:cubicBezTo>
                  <a:cubicBezTo>
                    <a:pt x="66" y="76"/>
                    <a:pt x="67" y="75"/>
                    <a:pt x="67" y="75"/>
                  </a:cubicBezTo>
                  <a:cubicBezTo>
                    <a:pt x="67" y="75"/>
                    <a:pt x="68" y="75"/>
                    <a:pt x="68" y="76"/>
                  </a:cubicBezTo>
                  <a:cubicBezTo>
                    <a:pt x="68" y="76"/>
                    <a:pt x="68" y="77"/>
                    <a:pt x="68" y="77"/>
                  </a:cubicBezTo>
                  <a:cubicBezTo>
                    <a:pt x="68" y="78"/>
                    <a:pt x="68" y="78"/>
                    <a:pt x="67" y="78"/>
                  </a:cubicBezTo>
                  <a:cubicBezTo>
                    <a:pt x="66" y="78"/>
                    <a:pt x="66" y="78"/>
                    <a:pt x="65" y="78"/>
                  </a:cubicBezTo>
                  <a:cubicBezTo>
                    <a:pt x="65" y="78"/>
                    <a:pt x="65" y="79"/>
                    <a:pt x="65" y="79"/>
                  </a:cubicBezTo>
                  <a:cubicBezTo>
                    <a:pt x="64" y="80"/>
                    <a:pt x="63" y="82"/>
                    <a:pt x="62" y="83"/>
                  </a:cubicBezTo>
                  <a:cubicBezTo>
                    <a:pt x="62" y="83"/>
                    <a:pt x="62" y="84"/>
                    <a:pt x="62" y="84"/>
                  </a:cubicBezTo>
                  <a:cubicBezTo>
                    <a:pt x="62" y="84"/>
                    <a:pt x="63" y="84"/>
                    <a:pt x="63" y="85"/>
                  </a:cubicBezTo>
                  <a:cubicBezTo>
                    <a:pt x="63" y="85"/>
                    <a:pt x="63" y="85"/>
                    <a:pt x="62" y="86"/>
                  </a:cubicBezTo>
                  <a:cubicBezTo>
                    <a:pt x="62" y="86"/>
                    <a:pt x="62" y="86"/>
                    <a:pt x="61" y="86"/>
                  </a:cubicBezTo>
                  <a:cubicBezTo>
                    <a:pt x="60" y="86"/>
                    <a:pt x="59" y="87"/>
                    <a:pt x="59" y="88"/>
                  </a:cubicBezTo>
                  <a:cubicBezTo>
                    <a:pt x="60" y="91"/>
                    <a:pt x="58" y="93"/>
                    <a:pt x="58" y="96"/>
                  </a:cubicBezTo>
                  <a:cubicBezTo>
                    <a:pt x="58" y="97"/>
                    <a:pt x="58" y="99"/>
                    <a:pt x="58" y="100"/>
                  </a:cubicBezTo>
                  <a:cubicBezTo>
                    <a:pt x="57" y="101"/>
                    <a:pt x="57" y="102"/>
                    <a:pt x="57" y="102"/>
                  </a:cubicBezTo>
                  <a:cubicBezTo>
                    <a:pt x="57" y="103"/>
                    <a:pt x="58" y="103"/>
                    <a:pt x="58" y="102"/>
                  </a:cubicBezTo>
                  <a:cubicBezTo>
                    <a:pt x="59" y="102"/>
                    <a:pt x="59" y="101"/>
                    <a:pt x="59" y="101"/>
                  </a:cubicBezTo>
                  <a:cubicBezTo>
                    <a:pt x="59" y="99"/>
                    <a:pt x="60" y="98"/>
                    <a:pt x="61" y="97"/>
                  </a:cubicBezTo>
                  <a:cubicBezTo>
                    <a:pt x="61" y="96"/>
                    <a:pt x="62" y="95"/>
                    <a:pt x="63" y="94"/>
                  </a:cubicBezTo>
                  <a:cubicBezTo>
                    <a:pt x="63" y="93"/>
                    <a:pt x="64" y="93"/>
                    <a:pt x="64" y="93"/>
                  </a:cubicBezTo>
                  <a:cubicBezTo>
                    <a:pt x="64" y="93"/>
                    <a:pt x="65" y="93"/>
                    <a:pt x="65" y="93"/>
                  </a:cubicBezTo>
                  <a:cubicBezTo>
                    <a:pt x="65" y="93"/>
                    <a:pt x="65" y="93"/>
                    <a:pt x="65" y="93"/>
                  </a:cubicBezTo>
                  <a:cubicBezTo>
                    <a:pt x="65" y="95"/>
                    <a:pt x="64" y="96"/>
                    <a:pt x="63" y="97"/>
                  </a:cubicBezTo>
                  <a:cubicBezTo>
                    <a:pt x="62" y="97"/>
                    <a:pt x="61" y="98"/>
                    <a:pt x="61" y="99"/>
                  </a:cubicBezTo>
                  <a:cubicBezTo>
                    <a:pt x="60" y="100"/>
                    <a:pt x="60" y="102"/>
                    <a:pt x="60" y="103"/>
                  </a:cubicBezTo>
                  <a:cubicBezTo>
                    <a:pt x="59" y="104"/>
                    <a:pt x="58" y="105"/>
                    <a:pt x="57" y="106"/>
                  </a:cubicBezTo>
                  <a:cubicBezTo>
                    <a:pt x="56" y="107"/>
                    <a:pt x="56" y="109"/>
                    <a:pt x="55" y="110"/>
                  </a:cubicBezTo>
                  <a:cubicBezTo>
                    <a:pt x="54" y="111"/>
                    <a:pt x="54" y="112"/>
                    <a:pt x="53" y="113"/>
                  </a:cubicBezTo>
                  <a:cubicBezTo>
                    <a:pt x="52" y="113"/>
                    <a:pt x="52" y="113"/>
                    <a:pt x="52" y="113"/>
                  </a:cubicBezTo>
                  <a:cubicBezTo>
                    <a:pt x="51" y="113"/>
                    <a:pt x="51" y="112"/>
                    <a:pt x="51" y="112"/>
                  </a:cubicBezTo>
                  <a:cubicBezTo>
                    <a:pt x="52" y="111"/>
                    <a:pt x="52" y="110"/>
                    <a:pt x="52" y="109"/>
                  </a:cubicBezTo>
                  <a:cubicBezTo>
                    <a:pt x="53" y="108"/>
                    <a:pt x="53" y="107"/>
                    <a:pt x="54" y="107"/>
                  </a:cubicBezTo>
                  <a:cubicBezTo>
                    <a:pt x="54" y="105"/>
                    <a:pt x="55" y="104"/>
                    <a:pt x="55" y="103"/>
                  </a:cubicBezTo>
                  <a:cubicBezTo>
                    <a:pt x="55" y="102"/>
                    <a:pt x="55" y="102"/>
                    <a:pt x="55" y="102"/>
                  </a:cubicBezTo>
                  <a:cubicBezTo>
                    <a:pt x="55" y="101"/>
                    <a:pt x="55" y="101"/>
                    <a:pt x="55" y="101"/>
                  </a:cubicBezTo>
                  <a:cubicBezTo>
                    <a:pt x="54" y="100"/>
                    <a:pt x="53" y="99"/>
                    <a:pt x="53" y="98"/>
                  </a:cubicBezTo>
                  <a:cubicBezTo>
                    <a:pt x="52" y="98"/>
                    <a:pt x="51" y="97"/>
                    <a:pt x="51" y="96"/>
                  </a:cubicBezTo>
                  <a:cubicBezTo>
                    <a:pt x="51" y="95"/>
                    <a:pt x="51" y="95"/>
                    <a:pt x="51" y="95"/>
                  </a:cubicBezTo>
                  <a:cubicBezTo>
                    <a:pt x="51" y="94"/>
                    <a:pt x="51" y="94"/>
                    <a:pt x="50" y="94"/>
                  </a:cubicBezTo>
                  <a:cubicBezTo>
                    <a:pt x="50" y="94"/>
                    <a:pt x="50" y="94"/>
                    <a:pt x="50" y="95"/>
                  </a:cubicBezTo>
                  <a:cubicBezTo>
                    <a:pt x="50" y="95"/>
                    <a:pt x="50" y="96"/>
                    <a:pt x="50" y="97"/>
                  </a:cubicBezTo>
                  <a:cubicBezTo>
                    <a:pt x="50" y="98"/>
                    <a:pt x="49" y="99"/>
                    <a:pt x="49" y="99"/>
                  </a:cubicBezTo>
                  <a:cubicBezTo>
                    <a:pt x="48" y="99"/>
                    <a:pt x="47" y="99"/>
                    <a:pt x="47" y="99"/>
                  </a:cubicBezTo>
                  <a:cubicBezTo>
                    <a:pt x="47" y="99"/>
                    <a:pt x="46" y="99"/>
                    <a:pt x="46" y="99"/>
                  </a:cubicBezTo>
                  <a:cubicBezTo>
                    <a:pt x="46" y="99"/>
                    <a:pt x="46" y="98"/>
                    <a:pt x="46" y="98"/>
                  </a:cubicBezTo>
                  <a:cubicBezTo>
                    <a:pt x="46" y="98"/>
                    <a:pt x="47" y="98"/>
                    <a:pt x="47" y="98"/>
                  </a:cubicBezTo>
                  <a:cubicBezTo>
                    <a:pt x="48" y="97"/>
                    <a:pt x="49" y="96"/>
                    <a:pt x="49" y="95"/>
                  </a:cubicBezTo>
                  <a:cubicBezTo>
                    <a:pt x="50" y="94"/>
                    <a:pt x="50" y="94"/>
                    <a:pt x="50" y="93"/>
                  </a:cubicBezTo>
                  <a:cubicBezTo>
                    <a:pt x="50" y="93"/>
                    <a:pt x="50" y="92"/>
                    <a:pt x="49" y="92"/>
                  </a:cubicBezTo>
                  <a:cubicBezTo>
                    <a:pt x="49" y="91"/>
                    <a:pt x="48" y="92"/>
                    <a:pt x="47" y="92"/>
                  </a:cubicBezTo>
                  <a:cubicBezTo>
                    <a:pt x="47" y="93"/>
                    <a:pt x="47" y="94"/>
                    <a:pt x="47" y="95"/>
                  </a:cubicBezTo>
                  <a:cubicBezTo>
                    <a:pt x="46" y="94"/>
                    <a:pt x="46" y="93"/>
                    <a:pt x="46" y="92"/>
                  </a:cubicBezTo>
                  <a:cubicBezTo>
                    <a:pt x="45" y="92"/>
                    <a:pt x="45" y="92"/>
                    <a:pt x="45" y="91"/>
                  </a:cubicBezTo>
                  <a:cubicBezTo>
                    <a:pt x="45" y="91"/>
                    <a:pt x="45" y="91"/>
                    <a:pt x="45" y="91"/>
                  </a:cubicBezTo>
                  <a:cubicBezTo>
                    <a:pt x="46" y="89"/>
                    <a:pt x="48" y="87"/>
                    <a:pt x="49" y="85"/>
                  </a:cubicBezTo>
                  <a:cubicBezTo>
                    <a:pt x="49" y="84"/>
                    <a:pt x="49" y="84"/>
                    <a:pt x="50" y="84"/>
                  </a:cubicBezTo>
                  <a:cubicBezTo>
                    <a:pt x="50" y="83"/>
                    <a:pt x="51" y="83"/>
                    <a:pt x="51" y="83"/>
                  </a:cubicBezTo>
                  <a:cubicBezTo>
                    <a:pt x="51" y="84"/>
                    <a:pt x="51" y="84"/>
                    <a:pt x="51" y="84"/>
                  </a:cubicBezTo>
                  <a:cubicBezTo>
                    <a:pt x="52" y="84"/>
                    <a:pt x="53" y="84"/>
                    <a:pt x="53" y="83"/>
                  </a:cubicBezTo>
                  <a:cubicBezTo>
                    <a:pt x="53" y="83"/>
                    <a:pt x="54" y="82"/>
                    <a:pt x="54" y="82"/>
                  </a:cubicBezTo>
                  <a:cubicBezTo>
                    <a:pt x="54" y="81"/>
                    <a:pt x="53" y="82"/>
                    <a:pt x="52" y="82"/>
                  </a:cubicBezTo>
                  <a:cubicBezTo>
                    <a:pt x="52" y="81"/>
                    <a:pt x="52" y="81"/>
                    <a:pt x="52" y="81"/>
                  </a:cubicBezTo>
                  <a:cubicBezTo>
                    <a:pt x="52" y="81"/>
                    <a:pt x="51" y="81"/>
                    <a:pt x="51" y="81"/>
                  </a:cubicBezTo>
                  <a:cubicBezTo>
                    <a:pt x="50" y="81"/>
                    <a:pt x="49" y="81"/>
                    <a:pt x="49" y="80"/>
                  </a:cubicBezTo>
                  <a:cubicBezTo>
                    <a:pt x="48" y="80"/>
                    <a:pt x="47" y="80"/>
                    <a:pt x="47" y="81"/>
                  </a:cubicBezTo>
                  <a:cubicBezTo>
                    <a:pt x="46" y="81"/>
                    <a:pt x="46" y="81"/>
                    <a:pt x="46" y="82"/>
                  </a:cubicBezTo>
                  <a:cubicBezTo>
                    <a:pt x="45" y="82"/>
                    <a:pt x="45" y="82"/>
                    <a:pt x="45" y="82"/>
                  </a:cubicBezTo>
                  <a:cubicBezTo>
                    <a:pt x="45" y="82"/>
                    <a:pt x="45" y="81"/>
                    <a:pt x="45" y="81"/>
                  </a:cubicBezTo>
                  <a:cubicBezTo>
                    <a:pt x="44" y="80"/>
                    <a:pt x="43" y="81"/>
                    <a:pt x="43" y="80"/>
                  </a:cubicBezTo>
                  <a:cubicBezTo>
                    <a:pt x="42" y="80"/>
                    <a:pt x="41" y="79"/>
                    <a:pt x="40" y="80"/>
                  </a:cubicBezTo>
                  <a:cubicBezTo>
                    <a:pt x="39" y="80"/>
                    <a:pt x="40" y="82"/>
                    <a:pt x="39" y="83"/>
                  </a:cubicBezTo>
                  <a:cubicBezTo>
                    <a:pt x="38" y="83"/>
                    <a:pt x="37" y="83"/>
                    <a:pt x="37" y="83"/>
                  </a:cubicBezTo>
                  <a:cubicBezTo>
                    <a:pt x="36" y="83"/>
                    <a:pt x="36" y="83"/>
                    <a:pt x="36" y="84"/>
                  </a:cubicBezTo>
                  <a:cubicBezTo>
                    <a:pt x="36" y="86"/>
                    <a:pt x="36" y="87"/>
                    <a:pt x="36" y="89"/>
                  </a:cubicBezTo>
                  <a:cubicBezTo>
                    <a:pt x="35" y="89"/>
                    <a:pt x="35" y="88"/>
                    <a:pt x="35" y="88"/>
                  </a:cubicBezTo>
                  <a:cubicBezTo>
                    <a:pt x="34" y="87"/>
                    <a:pt x="34" y="87"/>
                    <a:pt x="34" y="86"/>
                  </a:cubicBezTo>
                  <a:cubicBezTo>
                    <a:pt x="33" y="85"/>
                    <a:pt x="30" y="84"/>
                    <a:pt x="28" y="84"/>
                  </a:cubicBezTo>
                  <a:cubicBezTo>
                    <a:pt x="27" y="84"/>
                    <a:pt x="27" y="84"/>
                    <a:pt x="26" y="85"/>
                  </a:cubicBezTo>
                  <a:cubicBezTo>
                    <a:pt x="25" y="85"/>
                    <a:pt x="25" y="85"/>
                    <a:pt x="25" y="85"/>
                  </a:cubicBezTo>
                  <a:cubicBezTo>
                    <a:pt x="24" y="86"/>
                    <a:pt x="23" y="86"/>
                    <a:pt x="23" y="86"/>
                  </a:cubicBezTo>
                  <a:cubicBezTo>
                    <a:pt x="21" y="86"/>
                    <a:pt x="19" y="86"/>
                    <a:pt x="18" y="86"/>
                  </a:cubicBezTo>
                  <a:cubicBezTo>
                    <a:pt x="17" y="86"/>
                    <a:pt x="17" y="87"/>
                    <a:pt x="18" y="87"/>
                  </a:cubicBezTo>
                  <a:cubicBezTo>
                    <a:pt x="18" y="88"/>
                    <a:pt x="18" y="88"/>
                    <a:pt x="18" y="88"/>
                  </a:cubicBezTo>
                  <a:cubicBezTo>
                    <a:pt x="19" y="89"/>
                    <a:pt x="19" y="90"/>
                    <a:pt x="19" y="91"/>
                  </a:cubicBezTo>
                  <a:cubicBezTo>
                    <a:pt x="19" y="91"/>
                    <a:pt x="20" y="91"/>
                    <a:pt x="20" y="92"/>
                  </a:cubicBezTo>
                  <a:cubicBezTo>
                    <a:pt x="19" y="92"/>
                    <a:pt x="18" y="93"/>
                    <a:pt x="19" y="94"/>
                  </a:cubicBezTo>
                  <a:cubicBezTo>
                    <a:pt x="19" y="95"/>
                    <a:pt x="20" y="96"/>
                    <a:pt x="21" y="95"/>
                  </a:cubicBezTo>
                  <a:cubicBezTo>
                    <a:pt x="22" y="95"/>
                    <a:pt x="23" y="95"/>
                    <a:pt x="24" y="94"/>
                  </a:cubicBezTo>
                  <a:cubicBezTo>
                    <a:pt x="24" y="93"/>
                    <a:pt x="25" y="93"/>
                    <a:pt x="26" y="92"/>
                  </a:cubicBezTo>
                  <a:cubicBezTo>
                    <a:pt x="26" y="91"/>
                    <a:pt x="27" y="90"/>
                    <a:pt x="28" y="90"/>
                  </a:cubicBezTo>
                  <a:cubicBezTo>
                    <a:pt x="29" y="91"/>
                    <a:pt x="28" y="92"/>
                    <a:pt x="28" y="93"/>
                  </a:cubicBezTo>
                  <a:cubicBezTo>
                    <a:pt x="27" y="94"/>
                    <a:pt x="26" y="94"/>
                    <a:pt x="26" y="95"/>
                  </a:cubicBezTo>
                  <a:cubicBezTo>
                    <a:pt x="26" y="96"/>
                    <a:pt x="26" y="97"/>
                    <a:pt x="26" y="98"/>
                  </a:cubicBezTo>
                  <a:cubicBezTo>
                    <a:pt x="27" y="98"/>
                    <a:pt x="27" y="98"/>
                    <a:pt x="27" y="98"/>
                  </a:cubicBezTo>
                  <a:cubicBezTo>
                    <a:pt x="27" y="99"/>
                    <a:pt x="27" y="99"/>
                    <a:pt x="26" y="99"/>
                  </a:cubicBezTo>
                  <a:cubicBezTo>
                    <a:pt x="26" y="99"/>
                    <a:pt x="25" y="99"/>
                    <a:pt x="25" y="98"/>
                  </a:cubicBezTo>
                  <a:cubicBezTo>
                    <a:pt x="25" y="98"/>
                    <a:pt x="25" y="98"/>
                    <a:pt x="24" y="97"/>
                  </a:cubicBezTo>
                  <a:cubicBezTo>
                    <a:pt x="23" y="97"/>
                    <a:pt x="22" y="98"/>
                    <a:pt x="22" y="99"/>
                  </a:cubicBezTo>
                  <a:cubicBezTo>
                    <a:pt x="22" y="100"/>
                    <a:pt x="22" y="101"/>
                    <a:pt x="23" y="102"/>
                  </a:cubicBezTo>
                  <a:cubicBezTo>
                    <a:pt x="22" y="102"/>
                    <a:pt x="20" y="101"/>
                    <a:pt x="20" y="100"/>
                  </a:cubicBezTo>
                  <a:cubicBezTo>
                    <a:pt x="19" y="100"/>
                    <a:pt x="19" y="100"/>
                    <a:pt x="19" y="100"/>
                  </a:cubicBezTo>
                  <a:cubicBezTo>
                    <a:pt x="19" y="99"/>
                    <a:pt x="18" y="100"/>
                    <a:pt x="18" y="101"/>
                  </a:cubicBezTo>
                  <a:cubicBezTo>
                    <a:pt x="17" y="101"/>
                    <a:pt x="17" y="102"/>
                    <a:pt x="17" y="103"/>
                  </a:cubicBezTo>
                  <a:cubicBezTo>
                    <a:pt x="16" y="103"/>
                    <a:pt x="16" y="103"/>
                    <a:pt x="15" y="104"/>
                  </a:cubicBezTo>
                  <a:cubicBezTo>
                    <a:pt x="15" y="104"/>
                    <a:pt x="14" y="105"/>
                    <a:pt x="14" y="105"/>
                  </a:cubicBezTo>
                  <a:cubicBezTo>
                    <a:pt x="13" y="106"/>
                    <a:pt x="12" y="107"/>
                    <a:pt x="12" y="108"/>
                  </a:cubicBezTo>
                  <a:cubicBezTo>
                    <a:pt x="11" y="108"/>
                    <a:pt x="10" y="109"/>
                    <a:pt x="10" y="110"/>
                  </a:cubicBezTo>
                  <a:cubicBezTo>
                    <a:pt x="10" y="110"/>
                    <a:pt x="11" y="111"/>
                    <a:pt x="10" y="111"/>
                  </a:cubicBezTo>
                  <a:cubicBezTo>
                    <a:pt x="10" y="111"/>
                    <a:pt x="10" y="112"/>
                    <a:pt x="10" y="112"/>
                  </a:cubicBezTo>
                  <a:cubicBezTo>
                    <a:pt x="9" y="112"/>
                    <a:pt x="9" y="112"/>
                    <a:pt x="8" y="112"/>
                  </a:cubicBezTo>
                  <a:cubicBezTo>
                    <a:pt x="8" y="112"/>
                    <a:pt x="8" y="112"/>
                    <a:pt x="7" y="112"/>
                  </a:cubicBezTo>
                  <a:cubicBezTo>
                    <a:pt x="7" y="112"/>
                    <a:pt x="7" y="112"/>
                    <a:pt x="7" y="112"/>
                  </a:cubicBezTo>
                  <a:cubicBezTo>
                    <a:pt x="6" y="112"/>
                    <a:pt x="6" y="112"/>
                    <a:pt x="6" y="113"/>
                  </a:cubicBezTo>
                  <a:cubicBezTo>
                    <a:pt x="6" y="114"/>
                    <a:pt x="5" y="114"/>
                    <a:pt x="4" y="115"/>
                  </a:cubicBezTo>
                  <a:cubicBezTo>
                    <a:pt x="2" y="116"/>
                    <a:pt x="0" y="120"/>
                    <a:pt x="0" y="123"/>
                  </a:cubicBezTo>
                  <a:cubicBezTo>
                    <a:pt x="0" y="123"/>
                    <a:pt x="0" y="123"/>
                    <a:pt x="1" y="124"/>
                  </a:cubicBezTo>
                  <a:cubicBezTo>
                    <a:pt x="1" y="124"/>
                    <a:pt x="1" y="124"/>
                    <a:pt x="2" y="124"/>
                  </a:cubicBezTo>
                  <a:cubicBezTo>
                    <a:pt x="3" y="125"/>
                    <a:pt x="5" y="126"/>
                    <a:pt x="5" y="127"/>
                  </a:cubicBezTo>
                  <a:cubicBezTo>
                    <a:pt x="6" y="128"/>
                    <a:pt x="5" y="130"/>
                    <a:pt x="6" y="130"/>
                  </a:cubicBezTo>
                  <a:cubicBezTo>
                    <a:pt x="7" y="131"/>
                    <a:pt x="9" y="131"/>
                    <a:pt x="10" y="130"/>
                  </a:cubicBezTo>
                  <a:cubicBezTo>
                    <a:pt x="11" y="129"/>
                    <a:pt x="11" y="128"/>
                    <a:pt x="12" y="127"/>
                  </a:cubicBezTo>
                  <a:cubicBezTo>
                    <a:pt x="12" y="126"/>
                    <a:pt x="13" y="125"/>
                    <a:pt x="12" y="124"/>
                  </a:cubicBezTo>
                  <a:cubicBezTo>
                    <a:pt x="12" y="123"/>
                    <a:pt x="10" y="123"/>
                    <a:pt x="10" y="122"/>
                  </a:cubicBezTo>
                  <a:cubicBezTo>
                    <a:pt x="10" y="121"/>
                    <a:pt x="10" y="121"/>
                    <a:pt x="10" y="121"/>
                  </a:cubicBezTo>
                  <a:cubicBezTo>
                    <a:pt x="10" y="120"/>
                    <a:pt x="9" y="120"/>
                    <a:pt x="8" y="120"/>
                  </a:cubicBezTo>
                  <a:cubicBezTo>
                    <a:pt x="7" y="120"/>
                    <a:pt x="6" y="120"/>
                    <a:pt x="6" y="119"/>
                  </a:cubicBezTo>
                  <a:cubicBezTo>
                    <a:pt x="7" y="119"/>
                    <a:pt x="8" y="118"/>
                    <a:pt x="8" y="118"/>
                  </a:cubicBezTo>
                  <a:cubicBezTo>
                    <a:pt x="9" y="117"/>
                    <a:pt x="9" y="117"/>
                    <a:pt x="9" y="117"/>
                  </a:cubicBezTo>
                  <a:cubicBezTo>
                    <a:pt x="10" y="117"/>
                    <a:pt x="11" y="118"/>
                    <a:pt x="11" y="118"/>
                  </a:cubicBezTo>
                  <a:cubicBezTo>
                    <a:pt x="12" y="118"/>
                    <a:pt x="12" y="118"/>
                    <a:pt x="13" y="118"/>
                  </a:cubicBezTo>
                  <a:cubicBezTo>
                    <a:pt x="15" y="116"/>
                    <a:pt x="17" y="114"/>
                    <a:pt x="20" y="112"/>
                  </a:cubicBezTo>
                  <a:cubicBezTo>
                    <a:pt x="20" y="111"/>
                    <a:pt x="21" y="110"/>
                    <a:pt x="22" y="110"/>
                  </a:cubicBezTo>
                  <a:cubicBezTo>
                    <a:pt x="22" y="111"/>
                    <a:pt x="22" y="112"/>
                    <a:pt x="21" y="112"/>
                  </a:cubicBezTo>
                  <a:cubicBezTo>
                    <a:pt x="21" y="113"/>
                    <a:pt x="20" y="113"/>
                    <a:pt x="19" y="114"/>
                  </a:cubicBezTo>
                  <a:cubicBezTo>
                    <a:pt x="19" y="115"/>
                    <a:pt x="19" y="117"/>
                    <a:pt x="19" y="119"/>
                  </a:cubicBezTo>
                  <a:cubicBezTo>
                    <a:pt x="19" y="120"/>
                    <a:pt x="20" y="122"/>
                    <a:pt x="22" y="122"/>
                  </a:cubicBezTo>
                  <a:cubicBezTo>
                    <a:pt x="23" y="122"/>
                    <a:pt x="24" y="122"/>
                    <a:pt x="24" y="122"/>
                  </a:cubicBezTo>
                  <a:cubicBezTo>
                    <a:pt x="24" y="123"/>
                    <a:pt x="24" y="123"/>
                    <a:pt x="25" y="123"/>
                  </a:cubicBezTo>
                  <a:cubicBezTo>
                    <a:pt x="25" y="125"/>
                    <a:pt x="28" y="124"/>
                    <a:pt x="29" y="125"/>
                  </a:cubicBezTo>
                  <a:cubicBezTo>
                    <a:pt x="29" y="125"/>
                    <a:pt x="29" y="126"/>
                    <a:pt x="29" y="126"/>
                  </a:cubicBezTo>
                  <a:cubicBezTo>
                    <a:pt x="29" y="126"/>
                    <a:pt x="30" y="126"/>
                    <a:pt x="30" y="126"/>
                  </a:cubicBezTo>
                  <a:cubicBezTo>
                    <a:pt x="32" y="127"/>
                    <a:pt x="33" y="127"/>
                    <a:pt x="34" y="127"/>
                  </a:cubicBezTo>
                  <a:cubicBezTo>
                    <a:pt x="35" y="127"/>
                    <a:pt x="36" y="126"/>
                    <a:pt x="36" y="126"/>
                  </a:cubicBezTo>
                  <a:cubicBezTo>
                    <a:pt x="35" y="125"/>
                    <a:pt x="33" y="124"/>
                    <a:pt x="32" y="124"/>
                  </a:cubicBezTo>
                  <a:cubicBezTo>
                    <a:pt x="32" y="125"/>
                    <a:pt x="31" y="125"/>
                    <a:pt x="31" y="125"/>
                  </a:cubicBezTo>
                  <a:cubicBezTo>
                    <a:pt x="30" y="125"/>
                    <a:pt x="30" y="124"/>
                    <a:pt x="31" y="124"/>
                  </a:cubicBezTo>
                  <a:cubicBezTo>
                    <a:pt x="31" y="123"/>
                    <a:pt x="31" y="123"/>
                    <a:pt x="32" y="123"/>
                  </a:cubicBezTo>
                  <a:cubicBezTo>
                    <a:pt x="34" y="123"/>
                    <a:pt x="36" y="122"/>
                    <a:pt x="38" y="122"/>
                  </a:cubicBezTo>
                  <a:cubicBezTo>
                    <a:pt x="39" y="122"/>
                    <a:pt x="39" y="121"/>
                    <a:pt x="40" y="122"/>
                  </a:cubicBezTo>
                  <a:cubicBezTo>
                    <a:pt x="40" y="122"/>
                    <a:pt x="41" y="123"/>
                    <a:pt x="40" y="123"/>
                  </a:cubicBezTo>
                  <a:cubicBezTo>
                    <a:pt x="40" y="124"/>
                    <a:pt x="41" y="124"/>
                    <a:pt x="41" y="125"/>
                  </a:cubicBezTo>
                  <a:cubicBezTo>
                    <a:pt x="42" y="126"/>
                    <a:pt x="43" y="127"/>
                    <a:pt x="43" y="128"/>
                  </a:cubicBezTo>
                  <a:cubicBezTo>
                    <a:pt x="44" y="128"/>
                    <a:pt x="44" y="128"/>
                    <a:pt x="44" y="128"/>
                  </a:cubicBezTo>
                  <a:cubicBezTo>
                    <a:pt x="45" y="129"/>
                    <a:pt x="45" y="130"/>
                    <a:pt x="46" y="130"/>
                  </a:cubicBezTo>
                  <a:cubicBezTo>
                    <a:pt x="46" y="131"/>
                    <a:pt x="47" y="131"/>
                    <a:pt x="47" y="131"/>
                  </a:cubicBezTo>
                  <a:cubicBezTo>
                    <a:pt x="47" y="132"/>
                    <a:pt x="47" y="132"/>
                    <a:pt x="46" y="132"/>
                  </a:cubicBezTo>
                  <a:cubicBezTo>
                    <a:pt x="46" y="133"/>
                    <a:pt x="45" y="132"/>
                    <a:pt x="44" y="132"/>
                  </a:cubicBezTo>
                  <a:cubicBezTo>
                    <a:pt x="44" y="131"/>
                    <a:pt x="44" y="132"/>
                    <a:pt x="43" y="132"/>
                  </a:cubicBezTo>
                  <a:cubicBezTo>
                    <a:pt x="43" y="133"/>
                    <a:pt x="43" y="133"/>
                    <a:pt x="43" y="134"/>
                  </a:cubicBezTo>
                  <a:cubicBezTo>
                    <a:pt x="43" y="134"/>
                    <a:pt x="43" y="134"/>
                    <a:pt x="42" y="134"/>
                  </a:cubicBezTo>
                  <a:cubicBezTo>
                    <a:pt x="42" y="135"/>
                    <a:pt x="41" y="136"/>
                    <a:pt x="42" y="137"/>
                  </a:cubicBezTo>
                  <a:cubicBezTo>
                    <a:pt x="43" y="138"/>
                    <a:pt x="43" y="138"/>
                    <a:pt x="43" y="139"/>
                  </a:cubicBezTo>
                  <a:cubicBezTo>
                    <a:pt x="43" y="139"/>
                    <a:pt x="43" y="140"/>
                    <a:pt x="42" y="140"/>
                  </a:cubicBezTo>
                  <a:cubicBezTo>
                    <a:pt x="41" y="140"/>
                    <a:pt x="40" y="140"/>
                    <a:pt x="40" y="141"/>
                  </a:cubicBezTo>
                  <a:cubicBezTo>
                    <a:pt x="37" y="142"/>
                    <a:pt x="36" y="145"/>
                    <a:pt x="35" y="148"/>
                  </a:cubicBezTo>
                  <a:cubicBezTo>
                    <a:pt x="35" y="149"/>
                    <a:pt x="35" y="149"/>
                    <a:pt x="35" y="150"/>
                  </a:cubicBezTo>
                  <a:cubicBezTo>
                    <a:pt x="35" y="151"/>
                    <a:pt x="36" y="151"/>
                    <a:pt x="36" y="152"/>
                  </a:cubicBezTo>
                  <a:cubicBezTo>
                    <a:pt x="37" y="153"/>
                    <a:pt x="39" y="154"/>
                    <a:pt x="40" y="154"/>
                  </a:cubicBezTo>
                  <a:cubicBezTo>
                    <a:pt x="41" y="155"/>
                    <a:pt x="42" y="155"/>
                    <a:pt x="43" y="155"/>
                  </a:cubicBezTo>
                  <a:cubicBezTo>
                    <a:pt x="44" y="155"/>
                    <a:pt x="45" y="155"/>
                    <a:pt x="45" y="156"/>
                  </a:cubicBezTo>
                  <a:cubicBezTo>
                    <a:pt x="46" y="157"/>
                    <a:pt x="46" y="158"/>
                    <a:pt x="45" y="159"/>
                  </a:cubicBezTo>
                  <a:cubicBezTo>
                    <a:pt x="44" y="159"/>
                    <a:pt x="43" y="159"/>
                    <a:pt x="43" y="159"/>
                  </a:cubicBezTo>
                  <a:cubicBezTo>
                    <a:pt x="42" y="158"/>
                    <a:pt x="41" y="158"/>
                    <a:pt x="41" y="159"/>
                  </a:cubicBezTo>
                  <a:cubicBezTo>
                    <a:pt x="41" y="159"/>
                    <a:pt x="41" y="159"/>
                    <a:pt x="41" y="159"/>
                  </a:cubicBezTo>
                  <a:cubicBezTo>
                    <a:pt x="40" y="159"/>
                    <a:pt x="40" y="159"/>
                    <a:pt x="40" y="159"/>
                  </a:cubicBezTo>
                  <a:cubicBezTo>
                    <a:pt x="39" y="159"/>
                    <a:pt x="39" y="159"/>
                    <a:pt x="38" y="159"/>
                  </a:cubicBezTo>
                  <a:cubicBezTo>
                    <a:pt x="38" y="159"/>
                    <a:pt x="37" y="158"/>
                    <a:pt x="37" y="158"/>
                  </a:cubicBezTo>
                  <a:cubicBezTo>
                    <a:pt x="38" y="158"/>
                    <a:pt x="38" y="158"/>
                    <a:pt x="38" y="158"/>
                  </a:cubicBezTo>
                  <a:cubicBezTo>
                    <a:pt x="38" y="157"/>
                    <a:pt x="38" y="157"/>
                    <a:pt x="38" y="157"/>
                  </a:cubicBezTo>
                  <a:cubicBezTo>
                    <a:pt x="38" y="156"/>
                    <a:pt x="37" y="156"/>
                    <a:pt x="37" y="156"/>
                  </a:cubicBezTo>
                  <a:cubicBezTo>
                    <a:pt x="36" y="155"/>
                    <a:pt x="35" y="154"/>
                    <a:pt x="34" y="154"/>
                  </a:cubicBezTo>
                  <a:cubicBezTo>
                    <a:pt x="33" y="154"/>
                    <a:pt x="32" y="155"/>
                    <a:pt x="31" y="155"/>
                  </a:cubicBezTo>
                  <a:cubicBezTo>
                    <a:pt x="31" y="156"/>
                    <a:pt x="30" y="157"/>
                    <a:pt x="30" y="158"/>
                  </a:cubicBezTo>
                  <a:cubicBezTo>
                    <a:pt x="29" y="158"/>
                    <a:pt x="29" y="159"/>
                    <a:pt x="28" y="159"/>
                  </a:cubicBezTo>
                  <a:cubicBezTo>
                    <a:pt x="28" y="160"/>
                    <a:pt x="29" y="162"/>
                    <a:pt x="30" y="162"/>
                  </a:cubicBezTo>
                  <a:cubicBezTo>
                    <a:pt x="30" y="163"/>
                    <a:pt x="31" y="164"/>
                    <a:pt x="32" y="164"/>
                  </a:cubicBezTo>
                  <a:cubicBezTo>
                    <a:pt x="33" y="164"/>
                    <a:pt x="34" y="164"/>
                    <a:pt x="35" y="163"/>
                  </a:cubicBezTo>
                  <a:cubicBezTo>
                    <a:pt x="36" y="163"/>
                    <a:pt x="37" y="163"/>
                    <a:pt x="38" y="163"/>
                  </a:cubicBezTo>
                  <a:cubicBezTo>
                    <a:pt x="39" y="163"/>
                    <a:pt x="40" y="164"/>
                    <a:pt x="40" y="164"/>
                  </a:cubicBezTo>
                  <a:cubicBezTo>
                    <a:pt x="39" y="165"/>
                    <a:pt x="38" y="165"/>
                    <a:pt x="38" y="165"/>
                  </a:cubicBezTo>
                  <a:cubicBezTo>
                    <a:pt x="37" y="165"/>
                    <a:pt x="36" y="165"/>
                    <a:pt x="35" y="165"/>
                  </a:cubicBezTo>
                  <a:cubicBezTo>
                    <a:pt x="35" y="166"/>
                    <a:pt x="35" y="167"/>
                    <a:pt x="35" y="168"/>
                  </a:cubicBezTo>
                  <a:cubicBezTo>
                    <a:pt x="36" y="168"/>
                    <a:pt x="36" y="169"/>
                    <a:pt x="37" y="169"/>
                  </a:cubicBezTo>
                  <a:cubicBezTo>
                    <a:pt x="38" y="170"/>
                    <a:pt x="39" y="170"/>
                    <a:pt x="40" y="171"/>
                  </a:cubicBezTo>
                  <a:cubicBezTo>
                    <a:pt x="41" y="171"/>
                    <a:pt x="41" y="171"/>
                    <a:pt x="42" y="171"/>
                  </a:cubicBezTo>
                  <a:cubicBezTo>
                    <a:pt x="43" y="171"/>
                    <a:pt x="43" y="171"/>
                    <a:pt x="44" y="171"/>
                  </a:cubicBezTo>
                  <a:cubicBezTo>
                    <a:pt x="45" y="171"/>
                    <a:pt x="45" y="171"/>
                    <a:pt x="45" y="171"/>
                  </a:cubicBezTo>
                  <a:cubicBezTo>
                    <a:pt x="45" y="170"/>
                    <a:pt x="45" y="169"/>
                    <a:pt x="45" y="169"/>
                  </a:cubicBezTo>
                  <a:cubicBezTo>
                    <a:pt x="45" y="169"/>
                    <a:pt x="46" y="169"/>
                    <a:pt x="46" y="169"/>
                  </a:cubicBezTo>
                  <a:cubicBezTo>
                    <a:pt x="46" y="168"/>
                    <a:pt x="46" y="168"/>
                    <a:pt x="46" y="168"/>
                  </a:cubicBezTo>
                  <a:cubicBezTo>
                    <a:pt x="46" y="167"/>
                    <a:pt x="47" y="167"/>
                    <a:pt x="47" y="167"/>
                  </a:cubicBezTo>
                  <a:cubicBezTo>
                    <a:pt x="47" y="168"/>
                    <a:pt x="48" y="168"/>
                    <a:pt x="48" y="169"/>
                  </a:cubicBezTo>
                  <a:cubicBezTo>
                    <a:pt x="48" y="169"/>
                    <a:pt x="48" y="169"/>
                    <a:pt x="48" y="170"/>
                  </a:cubicBezTo>
                  <a:cubicBezTo>
                    <a:pt x="48" y="170"/>
                    <a:pt x="48" y="170"/>
                    <a:pt x="48" y="170"/>
                  </a:cubicBezTo>
                  <a:cubicBezTo>
                    <a:pt x="49" y="170"/>
                    <a:pt x="49" y="170"/>
                    <a:pt x="50" y="170"/>
                  </a:cubicBezTo>
                  <a:cubicBezTo>
                    <a:pt x="50" y="170"/>
                    <a:pt x="51" y="170"/>
                    <a:pt x="51" y="170"/>
                  </a:cubicBezTo>
                  <a:cubicBezTo>
                    <a:pt x="52" y="170"/>
                    <a:pt x="53" y="170"/>
                    <a:pt x="54" y="169"/>
                  </a:cubicBezTo>
                  <a:cubicBezTo>
                    <a:pt x="54" y="169"/>
                    <a:pt x="54" y="169"/>
                    <a:pt x="54" y="168"/>
                  </a:cubicBezTo>
                  <a:cubicBezTo>
                    <a:pt x="54" y="168"/>
                    <a:pt x="53" y="168"/>
                    <a:pt x="53" y="167"/>
                  </a:cubicBezTo>
                  <a:cubicBezTo>
                    <a:pt x="51" y="167"/>
                    <a:pt x="49" y="166"/>
                    <a:pt x="47" y="165"/>
                  </a:cubicBezTo>
                  <a:cubicBezTo>
                    <a:pt x="47" y="165"/>
                    <a:pt x="46" y="165"/>
                    <a:pt x="47" y="164"/>
                  </a:cubicBezTo>
                  <a:cubicBezTo>
                    <a:pt x="47" y="164"/>
                    <a:pt x="47" y="164"/>
                    <a:pt x="47" y="164"/>
                  </a:cubicBezTo>
                  <a:cubicBezTo>
                    <a:pt x="48" y="164"/>
                    <a:pt x="49" y="165"/>
                    <a:pt x="50" y="165"/>
                  </a:cubicBezTo>
                  <a:cubicBezTo>
                    <a:pt x="52" y="165"/>
                    <a:pt x="54" y="165"/>
                    <a:pt x="55" y="164"/>
                  </a:cubicBezTo>
                  <a:cubicBezTo>
                    <a:pt x="55" y="162"/>
                    <a:pt x="56" y="160"/>
                    <a:pt x="57" y="158"/>
                  </a:cubicBezTo>
                  <a:cubicBezTo>
                    <a:pt x="57" y="157"/>
                    <a:pt x="57" y="157"/>
                    <a:pt x="58" y="156"/>
                  </a:cubicBezTo>
                  <a:cubicBezTo>
                    <a:pt x="58" y="156"/>
                    <a:pt x="59" y="156"/>
                    <a:pt x="59" y="157"/>
                  </a:cubicBezTo>
                  <a:cubicBezTo>
                    <a:pt x="60" y="158"/>
                    <a:pt x="59" y="158"/>
                    <a:pt x="58" y="158"/>
                  </a:cubicBezTo>
                  <a:cubicBezTo>
                    <a:pt x="58" y="158"/>
                    <a:pt x="58" y="159"/>
                    <a:pt x="57" y="159"/>
                  </a:cubicBezTo>
                  <a:cubicBezTo>
                    <a:pt x="57" y="159"/>
                    <a:pt x="57" y="159"/>
                    <a:pt x="57" y="159"/>
                  </a:cubicBezTo>
                  <a:cubicBezTo>
                    <a:pt x="57" y="161"/>
                    <a:pt x="57" y="163"/>
                    <a:pt x="58" y="164"/>
                  </a:cubicBezTo>
                  <a:cubicBezTo>
                    <a:pt x="59" y="164"/>
                    <a:pt x="59" y="165"/>
                    <a:pt x="60" y="165"/>
                  </a:cubicBezTo>
                  <a:cubicBezTo>
                    <a:pt x="61" y="165"/>
                    <a:pt x="62" y="166"/>
                    <a:pt x="62" y="167"/>
                  </a:cubicBezTo>
                  <a:cubicBezTo>
                    <a:pt x="62" y="167"/>
                    <a:pt x="61" y="167"/>
                    <a:pt x="61" y="168"/>
                  </a:cubicBezTo>
                  <a:cubicBezTo>
                    <a:pt x="61" y="168"/>
                    <a:pt x="60" y="168"/>
                    <a:pt x="60" y="168"/>
                  </a:cubicBezTo>
                  <a:cubicBezTo>
                    <a:pt x="58" y="168"/>
                    <a:pt x="56" y="168"/>
                    <a:pt x="56" y="170"/>
                  </a:cubicBezTo>
                  <a:cubicBezTo>
                    <a:pt x="55" y="171"/>
                    <a:pt x="56" y="172"/>
                    <a:pt x="58" y="172"/>
                  </a:cubicBezTo>
                  <a:cubicBezTo>
                    <a:pt x="58" y="172"/>
                    <a:pt x="58" y="172"/>
                    <a:pt x="59" y="172"/>
                  </a:cubicBezTo>
                  <a:cubicBezTo>
                    <a:pt x="59" y="173"/>
                    <a:pt x="60" y="173"/>
                    <a:pt x="60" y="173"/>
                  </a:cubicBezTo>
                  <a:cubicBezTo>
                    <a:pt x="61" y="174"/>
                    <a:pt x="61" y="175"/>
                    <a:pt x="62" y="176"/>
                  </a:cubicBezTo>
                  <a:cubicBezTo>
                    <a:pt x="62" y="177"/>
                    <a:pt x="63" y="179"/>
                    <a:pt x="64" y="179"/>
                  </a:cubicBezTo>
                  <a:cubicBezTo>
                    <a:pt x="65" y="179"/>
                    <a:pt x="65" y="179"/>
                    <a:pt x="66" y="180"/>
                  </a:cubicBezTo>
                  <a:cubicBezTo>
                    <a:pt x="66" y="180"/>
                    <a:pt x="66" y="180"/>
                    <a:pt x="66" y="181"/>
                  </a:cubicBezTo>
                  <a:cubicBezTo>
                    <a:pt x="66" y="181"/>
                    <a:pt x="65" y="181"/>
                    <a:pt x="65" y="181"/>
                  </a:cubicBezTo>
                  <a:cubicBezTo>
                    <a:pt x="65" y="181"/>
                    <a:pt x="64" y="181"/>
                    <a:pt x="64" y="181"/>
                  </a:cubicBezTo>
                  <a:cubicBezTo>
                    <a:pt x="63" y="181"/>
                    <a:pt x="63" y="182"/>
                    <a:pt x="62" y="183"/>
                  </a:cubicBezTo>
                  <a:cubicBezTo>
                    <a:pt x="61" y="183"/>
                    <a:pt x="61" y="182"/>
                    <a:pt x="61" y="182"/>
                  </a:cubicBezTo>
                  <a:cubicBezTo>
                    <a:pt x="61" y="181"/>
                    <a:pt x="61" y="180"/>
                    <a:pt x="61" y="180"/>
                  </a:cubicBezTo>
                  <a:cubicBezTo>
                    <a:pt x="60" y="179"/>
                    <a:pt x="59" y="178"/>
                    <a:pt x="58" y="178"/>
                  </a:cubicBezTo>
                  <a:cubicBezTo>
                    <a:pt x="57" y="177"/>
                    <a:pt x="56" y="177"/>
                    <a:pt x="56" y="176"/>
                  </a:cubicBezTo>
                  <a:cubicBezTo>
                    <a:pt x="55" y="175"/>
                    <a:pt x="55" y="175"/>
                    <a:pt x="55" y="175"/>
                  </a:cubicBezTo>
                  <a:cubicBezTo>
                    <a:pt x="54" y="174"/>
                    <a:pt x="53" y="174"/>
                    <a:pt x="52" y="174"/>
                  </a:cubicBezTo>
                  <a:cubicBezTo>
                    <a:pt x="51" y="174"/>
                    <a:pt x="50" y="174"/>
                    <a:pt x="50" y="174"/>
                  </a:cubicBezTo>
                  <a:cubicBezTo>
                    <a:pt x="49" y="174"/>
                    <a:pt x="48" y="173"/>
                    <a:pt x="47" y="173"/>
                  </a:cubicBezTo>
                  <a:cubicBezTo>
                    <a:pt x="46" y="172"/>
                    <a:pt x="43" y="172"/>
                    <a:pt x="42" y="173"/>
                  </a:cubicBezTo>
                  <a:cubicBezTo>
                    <a:pt x="41" y="173"/>
                    <a:pt x="41" y="174"/>
                    <a:pt x="41" y="174"/>
                  </a:cubicBezTo>
                  <a:cubicBezTo>
                    <a:pt x="40" y="174"/>
                    <a:pt x="39" y="173"/>
                    <a:pt x="38" y="172"/>
                  </a:cubicBezTo>
                  <a:cubicBezTo>
                    <a:pt x="36" y="171"/>
                    <a:pt x="35" y="171"/>
                    <a:pt x="33" y="171"/>
                  </a:cubicBezTo>
                  <a:cubicBezTo>
                    <a:pt x="33" y="171"/>
                    <a:pt x="33" y="171"/>
                    <a:pt x="32" y="171"/>
                  </a:cubicBezTo>
                  <a:cubicBezTo>
                    <a:pt x="32" y="171"/>
                    <a:pt x="32" y="172"/>
                    <a:pt x="32" y="172"/>
                  </a:cubicBezTo>
                  <a:cubicBezTo>
                    <a:pt x="32" y="173"/>
                    <a:pt x="31" y="174"/>
                    <a:pt x="31" y="174"/>
                  </a:cubicBezTo>
                  <a:cubicBezTo>
                    <a:pt x="31" y="176"/>
                    <a:pt x="33" y="177"/>
                    <a:pt x="33" y="179"/>
                  </a:cubicBezTo>
                  <a:cubicBezTo>
                    <a:pt x="33" y="180"/>
                    <a:pt x="32" y="181"/>
                    <a:pt x="32" y="182"/>
                  </a:cubicBezTo>
                  <a:cubicBezTo>
                    <a:pt x="32" y="183"/>
                    <a:pt x="32" y="184"/>
                    <a:pt x="33" y="185"/>
                  </a:cubicBezTo>
                  <a:cubicBezTo>
                    <a:pt x="33" y="185"/>
                    <a:pt x="34" y="185"/>
                    <a:pt x="34" y="185"/>
                  </a:cubicBezTo>
                  <a:cubicBezTo>
                    <a:pt x="35" y="186"/>
                    <a:pt x="35" y="186"/>
                    <a:pt x="35" y="187"/>
                  </a:cubicBezTo>
                  <a:cubicBezTo>
                    <a:pt x="35" y="188"/>
                    <a:pt x="36" y="190"/>
                    <a:pt x="38" y="190"/>
                  </a:cubicBezTo>
                  <a:cubicBezTo>
                    <a:pt x="38" y="190"/>
                    <a:pt x="39" y="191"/>
                    <a:pt x="39" y="191"/>
                  </a:cubicBezTo>
                  <a:cubicBezTo>
                    <a:pt x="39" y="192"/>
                    <a:pt x="38" y="191"/>
                    <a:pt x="38" y="191"/>
                  </a:cubicBezTo>
                  <a:cubicBezTo>
                    <a:pt x="37" y="191"/>
                    <a:pt x="36" y="191"/>
                    <a:pt x="36" y="191"/>
                  </a:cubicBezTo>
                  <a:cubicBezTo>
                    <a:pt x="35" y="192"/>
                    <a:pt x="36" y="194"/>
                    <a:pt x="37" y="195"/>
                  </a:cubicBezTo>
                  <a:cubicBezTo>
                    <a:pt x="37" y="195"/>
                    <a:pt x="38" y="196"/>
                    <a:pt x="39" y="196"/>
                  </a:cubicBezTo>
                  <a:cubicBezTo>
                    <a:pt x="40" y="195"/>
                    <a:pt x="40" y="194"/>
                    <a:pt x="41" y="194"/>
                  </a:cubicBezTo>
                  <a:cubicBezTo>
                    <a:pt x="42" y="193"/>
                    <a:pt x="44" y="192"/>
                    <a:pt x="45" y="193"/>
                  </a:cubicBezTo>
                  <a:cubicBezTo>
                    <a:pt x="47" y="193"/>
                    <a:pt x="48" y="195"/>
                    <a:pt x="48" y="196"/>
                  </a:cubicBezTo>
                  <a:cubicBezTo>
                    <a:pt x="48" y="196"/>
                    <a:pt x="48" y="197"/>
                    <a:pt x="48" y="197"/>
                  </a:cubicBezTo>
                  <a:cubicBezTo>
                    <a:pt x="48" y="197"/>
                    <a:pt x="48" y="197"/>
                    <a:pt x="48" y="197"/>
                  </a:cubicBezTo>
                  <a:cubicBezTo>
                    <a:pt x="47" y="196"/>
                    <a:pt x="46" y="196"/>
                    <a:pt x="45" y="195"/>
                  </a:cubicBezTo>
                  <a:cubicBezTo>
                    <a:pt x="44" y="194"/>
                    <a:pt x="43" y="194"/>
                    <a:pt x="42" y="194"/>
                  </a:cubicBezTo>
                  <a:cubicBezTo>
                    <a:pt x="42" y="195"/>
                    <a:pt x="41" y="195"/>
                    <a:pt x="41" y="195"/>
                  </a:cubicBezTo>
                  <a:cubicBezTo>
                    <a:pt x="41" y="196"/>
                    <a:pt x="40" y="196"/>
                    <a:pt x="40" y="196"/>
                  </a:cubicBezTo>
                  <a:cubicBezTo>
                    <a:pt x="39" y="197"/>
                    <a:pt x="38" y="199"/>
                    <a:pt x="38" y="200"/>
                  </a:cubicBezTo>
                  <a:cubicBezTo>
                    <a:pt x="39" y="201"/>
                    <a:pt x="39" y="201"/>
                    <a:pt x="39" y="201"/>
                  </a:cubicBezTo>
                  <a:cubicBezTo>
                    <a:pt x="40" y="202"/>
                    <a:pt x="40" y="203"/>
                    <a:pt x="40" y="203"/>
                  </a:cubicBezTo>
                  <a:cubicBezTo>
                    <a:pt x="40" y="203"/>
                    <a:pt x="41" y="204"/>
                    <a:pt x="41" y="204"/>
                  </a:cubicBezTo>
                  <a:cubicBezTo>
                    <a:pt x="41" y="204"/>
                    <a:pt x="40" y="204"/>
                    <a:pt x="39" y="205"/>
                  </a:cubicBezTo>
                  <a:cubicBezTo>
                    <a:pt x="44" y="208"/>
                    <a:pt x="44" y="208"/>
                    <a:pt x="44" y="208"/>
                  </a:cubicBezTo>
                  <a:cubicBezTo>
                    <a:pt x="44" y="208"/>
                    <a:pt x="59" y="221"/>
                    <a:pt x="60" y="223"/>
                  </a:cubicBezTo>
                  <a:close/>
                  <a:moveTo>
                    <a:pt x="17" y="191"/>
                  </a:moveTo>
                  <a:cubicBezTo>
                    <a:pt x="17" y="190"/>
                    <a:pt x="17" y="190"/>
                    <a:pt x="16" y="190"/>
                  </a:cubicBezTo>
                  <a:cubicBezTo>
                    <a:pt x="16" y="189"/>
                    <a:pt x="16" y="189"/>
                    <a:pt x="16" y="188"/>
                  </a:cubicBezTo>
                  <a:cubicBezTo>
                    <a:pt x="15" y="186"/>
                    <a:pt x="14" y="184"/>
                    <a:pt x="14" y="182"/>
                  </a:cubicBezTo>
                  <a:cubicBezTo>
                    <a:pt x="13" y="181"/>
                    <a:pt x="14" y="180"/>
                    <a:pt x="13" y="179"/>
                  </a:cubicBezTo>
                  <a:cubicBezTo>
                    <a:pt x="13" y="179"/>
                    <a:pt x="12" y="178"/>
                    <a:pt x="12" y="178"/>
                  </a:cubicBezTo>
                  <a:cubicBezTo>
                    <a:pt x="12" y="177"/>
                    <a:pt x="12" y="177"/>
                    <a:pt x="12" y="177"/>
                  </a:cubicBezTo>
                  <a:cubicBezTo>
                    <a:pt x="12" y="177"/>
                    <a:pt x="12" y="177"/>
                    <a:pt x="12" y="176"/>
                  </a:cubicBezTo>
                  <a:cubicBezTo>
                    <a:pt x="11" y="176"/>
                    <a:pt x="11" y="176"/>
                    <a:pt x="11" y="175"/>
                  </a:cubicBezTo>
                  <a:cubicBezTo>
                    <a:pt x="11" y="175"/>
                    <a:pt x="11" y="174"/>
                    <a:pt x="10" y="175"/>
                  </a:cubicBezTo>
                  <a:cubicBezTo>
                    <a:pt x="10" y="175"/>
                    <a:pt x="10" y="175"/>
                    <a:pt x="10" y="175"/>
                  </a:cubicBezTo>
                  <a:cubicBezTo>
                    <a:pt x="10" y="176"/>
                    <a:pt x="9" y="175"/>
                    <a:pt x="8" y="175"/>
                  </a:cubicBezTo>
                  <a:cubicBezTo>
                    <a:pt x="8" y="175"/>
                    <a:pt x="8" y="175"/>
                    <a:pt x="8" y="175"/>
                  </a:cubicBezTo>
                  <a:cubicBezTo>
                    <a:pt x="8" y="175"/>
                    <a:pt x="8" y="175"/>
                    <a:pt x="8" y="175"/>
                  </a:cubicBezTo>
                  <a:cubicBezTo>
                    <a:pt x="8" y="176"/>
                    <a:pt x="7" y="176"/>
                    <a:pt x="7" y="176"/>
                  </a:cubicBezTo>
                  <a:cubicBezTo>
                    <a:pt x="6" y="176"/>
                    <a:pt x="6" y="176"/>
                    <a:pt x="5" y="177"/>
                  </a:cubicBezTo>
                  <a:cubicBezTo>
                    <a:pt x="5" y="177"/>
                    <a:pt x="5" y="178"/>
                    <a:pt x="5" y="179"/>
                  </a:cubicBezTo>
                  <a:cubicBezTo>
                    <a:pt x="5" y="180"/>
                    <a:pt x="6" y="181"/>
                    <a:pt x="6" y="182"/>
                  </a:cubicBezTo>
                  <a:cubicBezTo>
                    <a:pt x="6" y="182"/>
                    <a:pt x="6" y="183"/>
                    <a:pt x="6" y="183"/>
                  </a:cubicBezTo>
                  <a:cubicBezTo>
                    <a:pt x="6" y="183"/>
                    <a:pt x="7" y="183"/>
                    <a:pt x="7" y="183"/>
                  </a:cubicBezTo>
                  <a:cubicBezTo>
                    <a:pt x="7" y="184"/>
                    <a:pt x="7" y="184"/>
                    <a:pt x="7" y="185"/>
                  </a:cubicBezTo>
                  <a:cubicBezTo>
                    <a:pt x="6" y="185"/>
                    <a:pt x="6" y="185"/>
                    <a:pt x="6" y="185"/>
                  </a:cubicBezTo>
                  <a:cubicBezTo>
                    <a:pt x="6" y="186"/>
                    <a:pt x="7" y="186"/>
                    <a:pt x="7" y="186"/>
                  </a:cubicBezTo>
                  <a:cubicBezTo>
                    <a:pt x="7" y="186"/>
                    <a:pt x="7" y="186"/>
                    <a:pt x="7" y="187"/>
                  </a:cubicBezTo>
                  <a:cubicBezTo>
                    <a:pt x="7" y="187"/>
                    <a:pt x="7" y="188"/>
                    <a:pt x="7" y="189"/>
                  </a:cubicBezTo>
                  <a:cubicBezTo>
                    <a:pt x="7" y="190"/>
                    <a:pt x="7" y="190"/>
                    <a:pt x="8" y="190"/>
                  </a:cubicBezTo>
                  <a:cubicBezTo>
                    <a:pt x="8" y="190"/>
                    <a:pt x="8" y="190"/>
                    <a:pt x="9" y="190"/>
                  </a:cubicBezTo>
                  <a:cubicBezTo>
                    <a:pt x="10" y="189"/>
                    <a:pt x="10" y="189"/>
                    <a:pt x="11" y="188"/>
                  </a:cubicBezTo>
                  <a:cubicBezTo>
                    <a:pt x="11" y="188"/>
                    <a:pt x="12" y="188"/>
                    <a:pt x="12" y="188"/>
                  </a:cubicBezTo>
                  <a:cubicBezTo>
                    <a:pt x="12" y="188"/>
                    <a:pt x="13" y="188"/>
                    <a:pt x="13" y="188"/>
                  </a:cubicBezTo>
                  <a:cubicBezTo>
                    <a:pt x="13" y="189"/>
                    <a:pt x="12" y="189"/>
                    <a:pt x="12" y="190"/>
                  </a:cubicBezTo>
                  <a:cubicBezTo>
                    <a:pt x="12" y="191"/>
                    <a:pt x="13" y="191"/>
                    <a:pt x="13" y="192"/>
                  </a:cubicBezTo>
                  <a:cubicBezTo>
                    <a:pt x="14" y="192"/>
                    <a:pt x="13" y="193"/>
                    <a:pt x="12" y="193"/>
                  </a:cubicBezTo>
                  <a:cubicBezTo>
                    <a:pt x="12" y="193"/>
                    <a:pt x="11" y="193"/>
                    <a:pt x="11" y="192"/>
                  </a:cubicBezTo>
                  <a:cubicBezTo>
                    <a:pt x="11" y="192"/>
                    <a:pt x="10" y="192"/>
                    <a:pt x="10" y="192"/>
                  </a:cubicBezTo>
                  <a:cubicBezTo>
                    <a:pt x="9" y="192"/>
                    <a:pt x="8" y="192"/>
                    <a:pt x="7" y="192"/>
                  </a:cubicBezTo>
                  <a:cubicBezTo>
                    <a:pt x="6" y="192"/>
                    <a:pt x="6" y="192"/>
                    <a:pt x="5" y="192"/>
                  </a:cubicBezTo>
                  <a:cubicBezTo>
                    <a:pt x="4" y="192"/>
                    <a:pt x="3" y="192"/>
                    <a:pt x="3" y="193"/>
                  </a:cubicBezTo>
                  <a:cubicBezTo>
                    <a:pt x="2" y="193"/>
                    <a:pt x="2" y="194"/>
                    <a:pt x="2" y="194"/>
                  </a:cubicBezTo>
                  <a:cubicBezTo>
                    <a:pt x="2" y="195"/>
                    <a:pt x="2" y="196"/>
                    <a:pt x="2" y="197"/>
                  </a:cubicBezTo>
                  <a:cubicBezTo>
                    <a:pt x="3" y="198"/>
                    <a:pt x="3" y="198"/>
                    <a:pt x="4" y="199"/>
                  </a:cubicBezTo>
                  <a:cubicBezTo>
                    <a:pt x="4" y="199"/>
                    <a:pt x="4" y="199"/>
                    <a:pt x="4" y="199"/>
                  </a:cubicBezTo>
                  <a:cubicBezTo>
                    <a:pt x="6" y="198"/>
                    <a:pt x="7" y="198"/>
                    <a:pt x="8" y="197"/>
                  </a:cubicBezTo>
                  <a:cubicBezTo>
                    <a:pt x="9" y="197"/>
                    <a:pt x="10" y="196"/>
                    <a:pt x="12" y="196"/>
                  </a:cubicBezTo>
                  <a:cubicBezTo>
                    <a:pt x="13" y="195"/>
                    <a:pt x="15" y="195"/>
                    <a:pt x="17" y="195"/>
                  </a:cubicBezTo>
                  <a:cubicBezTo>
                    <a:pt x="18" y="195"/>
                    <a:pt x="18" y="195"/>
                    <a:pt x="19" y="195"/>
                  </a:cubicBezTo>
                  <a:cubicBezTo>
                    <a:pt x="18" y="194"/>
                    <a:pt x="18" y="194"/>
                    <a:pt x="18" y="193"/>
                  </a:cubicBezTo>
                  <a:cubicBezTo>
                    <a:pt x="18" y="192"/>
                    <a:pt x="18" y="191"/>
                    <a:pt x="17" y="191"/>
                  </a:cubicBezTo>
                  <a:close/>
                  <a:moveTo>
                    <a:pt x="26" y="195"/>
                  </a:moveTo>
                  <a:cubicBezTo>
                    <a:pt x="28" y="195"/>
                    <a:pt x="30" y="196"/>
                    <a:pt x="32" y="197"/>
                  </a:cubicBezTo>
                  <a:cubicBezTo>
                    <a:pt x="32" y="196"/>
                    <a:pt x="32" y="196"/>
                    <a:pt x="32" y="195"/>
                  </a:cubicBezTo>
                  <a:cubicBezTo>
                    <a:pt x="32" y="194"/>
                    <a:pt x="32" y="193"/>
                    <a:pt x="32" y="192"/>
                  </a:cubicBezTo>
                  <a:cubicBezTo>
                    <a:pt x="32" y="192"/>
                    <a:pt x="32" y="192"/>
                    <a:pt x="32" y="192"/>
                  </a:cubicBezTo>
                  <a:cubicBezTo>
                    <a:pt x="31" y="191"/>
                    <a:pt x="32" y="191"/>
                    <a:pt x="32" y="191"/>
                  </a:cubicBezTo>
                  <a:cubicBezTo>
                    <a:pt x="33" y="190"/>
                    <a:pt x="33" y="188"/>
                    <a:pt x="32" y="188"/>
                  </a:cubicBezTo>
                  <a:cubicBezTo>
                    <a:pt x="32" y="187"/>
                    <a:pt x="31" y="187"/>
                    <a:pt x="31" y="187"/>
                  </a:cubicBezTo>
                  <a:cubicBezTo>
                    <a:pt x="31" y="186"/>
                    <a:pt x="31" y="186"/>
                    <a:pt x="31" y="185"/>
                  </a:cubicBezTo>
                  <a:cubicBezTo>
                    <a:pt x="31" y="184"/>
                    <a:pt x="30" y="184"/>
                    <a:pt x="30" y="183"/>
                  </a:cubicBezTo>
                  <a:cubicBezTo>
                    <a:pt x="29" y="182"/>
                    <a:pt x="29" y="182"/>
                    <a:pt x="29" y="181"/>
                  </a:cubicBezTo>
                  <a:cubicBezTo>
                    <a:pt x="29" y="181"/>
                    <a:pt x="29" y="180"/>
                    <a:pt x="29" y="180"/>
                  </a:cubicBezTo>
                  <a:cubicBezTo>
                    <a:pt x="28" y="179"/>
                    <a:pt x="27" y="179"/>
                    <a:pt x="27" y="180"/>
                  </a:cubicBezTo>
                  <a:cubicBezTo>
                    <a:pt x="28" y="180"/>
                    <a:pt x="28" y="181"/>
                    <a:pt x="28" y="181"/>
                  </a:cubicBezTo>
                  <a:cubicBezTo>
                    <a:pt x="28" y="182"/>
                    <a:pt x="28" y="183"/>
                    <a:pt x="28" y="183"/>
                  </a:cubicBezTo>
                  <a:cubicBezTo>
                    <a:pt x="28" y="184"/>
                    <a:pt x="28" y="184"/>
                    <a:pt x="27" y="185"/>
                  </a:cubicBezTo>
                  <a:cubicBezTo>
                    <a:pt x="27" y="185"/>
                    <a:pt x="26" y="185"/>
                    <a:pt x="26" y="185"/>
                  </a:cubicBezTo>
                  <a:cubicBezTo>
                    <a:pt x="26" y="184"/>
                    <a:pt x="27" y="184"/>
                    <a:pt x="27" y="183"/>
                  </a:cubicBezTo>
                  <a:cubicBezTo>
                    <a:pt x="27" y="182"/>
                    <a:pt x="26" y="182"/>
                    <a:pt x="26" y="181"/>
                  </a:cubicBezTo>
                  <a:cubicBezTo>
                    <a:pt x="26" y="181"/>
                    <a:pt x="26" y="181"/>
                    <a:pt x="26" y="180"/>
                  </a:cubicBezTo>
                  <a:cubicBezTo>
                    <a:pt x="26" y="179"/>
                    <a:pt x="26" y="178"/>
                    <a:pt x="25" y="178"/>
                  </a:cubicBezTo>
                  <a:cubicBezTo>
                    <a:pt x="27" y="177"/>
                    <a:pt x="29" y="174"/>
                    <a:pt x="28" y="172"/>
                  </a:cubicBezTo>
                  <a:cubicBezTo>
                    <a:pt x="28" y="172"/>
                    <a:pt x="28" y="171"/>
                    <a:pt x="28" y="171"/>
                  </a:cubicBezTo>
                  <a:cubicBezTo>
                    <a:pt x="27" y="171"/>
                    <a:pt x="27" y="171"/>
                    <a:pt x="26" y="171"/>
                  </a:cubicBezTo>
                  <a:cubicBezTo>
                    <a:pt x="26" y="171"/>
                    <a:pt x="25" y="171"/>
                    <a:pt x="25" y="170"/>
                  </a:cubicBezTo>
                  <a:cubicBezTo>
                    <a:pt x="25" y="170"/>
                    <a:pt x="25" y="170"/>
                    <a:pt x="25" y="170"/>
                  </a:cubicBezTo>
                  <a:cubicBezTo>
                    <a:pt x="26" y="169"/>
                    <a:pt x="26" y="168"/>
                    <a:pt x="26" y="167"/>
                  </a:cubicBezTo>
                  <a:cubicBezTo>
                    <a:pt x="26" y="166"/>
                    <a:pt x="26" y="166"/>
                    <a:pt x="25" y="165"/>
                  </a:cubicBezTo>
                  <a:cubicBezTo>
                    <a:pt x="25" y="165"/>
                    <a:pt x="24" y="165"/>
                    <a:pt x="24" y="166"/>
                  </a:cubicBezTo>
                  <a:cubicBezTo>
                    <a:pt x="23" y="166"/>
                    <a:pt x="23" y="167"/>
                    <a:pt x="23" y="168"/>
                  </a:cubicBezTo>
                  <a:cubicBezTo>
                    <a:pt x="22" y="168"/>
                    <a:pt x="22" y="169"/>
                    <a:pt x="21" y="169"/>
                  </a:cubicBezTo>
                  <a:cubicBezTo>
                    <a:pt x="21" y="170"/>
                    <a:pt x="19" y="169"/>
                    <a:pt x="19" y="169"/>
                  </a:cubicBezTo>
                  <a:cubicBezTo>
                    <a:pt x="18" y="168"/>
                    <a:pt x="16" y="168"/>
                    <a:pt x="16" y="169"/>
                  </a:cubicBezTo>
                  <a:cubicBezTo>
                    <a:pt x="15" y="169"/>
                    <a:pt x="15" y="169"/>
                    <a:pt x="15" y="170"/>
                  </a:cubicBezTo>
                  <a:cubicBezTo>
                    <a:pt x="14" y="170"/>
                    <a:pt x="14" y="170"/>
                    <a:pt x="14" y="170"/>
                  </a:cubicBezTo>
                  <a:cubicBezTo>
                    <a:pt x="13" y="171"/>
                    <a:pt x="13" y="171"/>
                    <a:pt x="13" y="171"/>
                  </a:cubicBezTo>
                  <a:cubicBezTo>
                    <a:pt x="13" y="172"/>
                    <a:pt x="14" y="172"/>
                    <a:pt x="15" y="172"/>
                  </a:cubicBezTo>
                  <a:cubicBezTo>
                    <a:pt x="15" y="172"/>
                    <a:pt x="16" y="172"/>
                    <a:pt x="16" y="172"/>
                  </a:cubicBezTo>
                  <a:cubicBezTo>
                    <a:pt x="16" y="173"/>
                    <a:pt x="15" y="173"/>
                    <a:pt x="15" y="173"/>
                  </a:cubicBezTo>
                  <a:cubicBezTo>
                    <a:pt x="15" y="174"/>
                    <a:pt x="15" y="174"/>
                    <a:pt x="15" y="174"/>
                  </a:cubicBezTo>
                  <a:cubicBezTo>
                    <a:pt x="17" y="175"/>
                    <a:pt x="18" y="176"/>
                    <a:pt x="20" y="176"/>
                  </a:cubicBezTo>
                  <a:cubicBezTo>
                    <a:pt x="20" y="177"/>
                    <a:pt x="19" y="177"/>
                    <a:pt x="19" y="177"/>
                  </a:cubicBezTo>
                  <a:cubicBezTo>
                    <a:pt x="18" y="177"/>
                    <a:pt x="18" y="177"/>
                    <a:pt x="17" y="177"/>
                  </a:cubicBezTo>
                  <a:cubicBezTo>
                    <a:pt x="17" y="177"/>
                    <a:pt x="16" y="177"/>
                    <a:pt x="15" y="178"/>
                  </a:cubicBezTo>
                  <a:cubicBezTo>
                    <a:pt x="15" y="178"/>
                    <a:pt x="15" y="178"/>
                    <a:pt x="15" y="178"/>
                  </a:cubicBezTo>
                  <a:cubicBezTo>
                    <a:pt x="15" y="178"/>
                    <a:pt x="15" y="178"/>
                    <a:pt x="15" y="179"/>
                  </a:cubicBezTo>
                  <a:cubicBezTo>
                    <a:pt x="15" y="180"/>
                    <a:pt x="15" y="181"/>
                    <a:pt x="16" y="182"/>
                  </a:cubicBezTo>
                  <a:cubicBezTo>
                    <a:pt x="16" y="183"/>
                    <a:pt x="16" y="184"/>
                    <a:pt x="16" y="184"/>
                  </a:cubicBezTo>
                  <a:cubicBezTo>
                    <a:pt x="17" y="185"/>
                    <a:pt x="17" y="185"/>
                    <a:pt x="17" y="185"/>
                  </a:cubicBezTo>
                  <a:cubicBezTo>
                    <a:pt x="18" y="186"/>
                    <a:pt x="18" y="187"/>
                    <a:pt x="18" y="187"/>
                  </a:cubicBezTo>
                  <a:cubicBezTo>
                    <a:pt x="18" y="188"/>
                    <a:pt x="18" y="189"/>
                    <a:pt x="18" y="189"/>
                  </a:cubicBezTo>
                  <a:cubicBezTo>
                    <a:pt x="18" y="189"/>
                    <a:pt x="19" y="190"/>
                    <a:pt x="19" y="190"/>
                  </a:cubicBezTo>
                  <a:cubicBezTo>
                    <a:pt x="20" y="190"/>
                    <a:pt x="20" y="191"/>
                    <a:pt x="20" y="192"/>
                  </a:cubicBezTo>
                  <a:cubicBezTo>
                    <a:pt x="21" y="191"/>
                    <a:pt x="21" y="191"/>
                    <a:pt x="22" y="191"/>
                  </a:cubicBezTo>
                  <a:cubicBezTo>
                    <a:pt x="22" y="192"/>
                    <a:pt x="22" y="192"/>
                    <a:pt x="21" y="193"/>
                  </a:cubicBezTo>
                  <a:cubicBezTo>
                    <a:pt x="21" y="193"/>
                    <a:pt x="21" y="193"/>
                    <a:pt x="21" y="193"/>
                  </a:cubicBezTo>
                  <a:cubicBezTo>
                    <a:pt x="21" y="194"/>
                    <a:pt x="21" y="194"/>
                    <a:pt x="21" y="194"/>
                  </a:cubicBezTo>
                  <a:cubicBezTo>
                    <a:pt x="21" y="194"/>
                    <a:pt x="21" y="194"/>
                    <a:pt x="21" y="195"/>
                  </a:cubicBezTo>
                  <a:cubicBezTo>
                    <a:pt x="23" y="195"/>
                    <a:pt x="24" y="195"/>
                    <a:pt x="26" y="195"/>
                  </a:cubicBezTo>
                  <a:close/>
                </a:path>
              </a:pathLst>
            </a:custGeom>
            <a:grpFill/>
            <a:ln w="3175" cap="rnd">
              <a:solidFill>
                <a:schemeClr val="accent5"/>
              </a:solidFill>
              <a:prstDash val="solid"/>
              <a:round/>
              <a:headEnd/>
              <a:tailEnd/>
            </a:ln>
          </p:spPr>
          <p:txBody>
            <a:bodyPr/>
            <a:lstStyle/>
            <a:p>
              <a:endParaRPr lang="ru-RU"/>
            </a:p>
          </p:txBody>
        </p:sp>
        <p:sp>
          <p:nvSpPr>
            <p:cNvPr id="136" name="Freeform 18">
              <a:extLst>
                <a:ext uri="{FF2B5EF4-FFF2-40B4-BE49-F238E27FC236}">
                  <a16:creationId xmlns:a16="http://schemas.microsoft.com/office/drawing/2014/main" id="{75197A5F-9DC5-B007-1C09-B6F1827192E1}"/>
                </a:ext>
              </a:extLst>
            </p:cNvPr>
            <p:cNvSpPr>
              <a:spLocks/>
            </p:cNvSpPr>
            <p:nvPr/>
          </p:nvSpPr>
          <p:spPr bwMode="auto">
            <a:xfrm>
              <a:off x="2879725" y="2047875"/>
              <a:ext cx="346075" cy="522287"/>
            </a:xfrm>
            <a:custGeom>
              <a:avLst/>
              <a:gdLst>
                <a:gd name="T0" fmla="*/ 45636 w 91"/>
                <a:gd name="T1" fmla="*/ 499413 h 137"/>
                <a:gd name="T2" fmla="*/ 68454 w 91"/>
                <a:gd name="T3" fmla="*/ 480352 h 137"/>
                <a:gd name="T4" fmla="*/ 83666 w 91"/>
                <a:gd name="T5" fmla="*/ 457478 h 137"/>
                <a:gd name="T6" fmla="*/ 106485 w 91"/>
                <a:gd name="T7" fmla="*/ 484164 h 137"/>
                <a:gd name="T8" fmla="*/ 114091 w 91"/>
                <a:gd name="T9" fmla="*/ 503225 h 137"/>
                <a:gd name="T10" fmla="*/ 155924 w 91"/>
                <a:gd name="T11" fmla="*/ 522287 h 137"/>
                <a:gd name="T12" fmla="*/ 163530 w 91"/>
                <a:gd name="T13" fmla="*/ 503225 h 137"/>
                <a:gd name="T14" fmla="*/ 178742 w 91"/>
                <a:gd name="T15" fmla="*/ 461290 h 137"/>
                <a:gd name="T16" fmla="*/ 197757 w 91"/>
                <a:gd name="T17" fmla="*/ 377419 h 137"/>
                <a:gd name="T18" fmla="*/ 209166 w 91"/>
                <a:gd name="T19" fmla="*/ 362170 h 137"/>
                <a:gd name="T20" fmla="*/ 224378 w 91"/>
                <a:gd name="T21" fmla="*/ 346921 h 137"/>
                <a:gd name="T22" fmla="*/ 243393 w 91"/>
                <a:gd name="T23" fmla="*/ 320234 h 137"/>
                <a:gd name="T24" fmla="*/ 250999 w 91"/>
                <a:gd name="T25" fmla="*/ 312610 h 137"/>
                <a:gd name="T26" fmla="*/ 266212 w 91"/>
                <a:gd name="T27" fmla="*/ 270674 h 137"/>
                <a:gd name="T28" fmla="*/ 273818 w 91"/>
                <a:gd name="T29" fmla="*/ 255425 h 137"/>
                <a:gd name="T30" fmla="*/ 285227 w 91"/>
                <a:gd name="T31" fmla="*/ 221114 h 137"/>
                <a:gd name="T32" fmla="*/ 311848 w 91"/>
                <a:gd name="T33" fmla="*/ 221114 h 137"/>
                <a:gd name="T34" fmla="*/ 338469 w 91"/>
                <a:gd name="T35" fmla="*/ 209677 h 137"/>
                <a:gd name="T36" fmla="*/ 342272 w 91"/>
                <a:gd name="T37" fmla="*/ 190616 h 137"/>
                <a:gd name="T38" fmla="*/ 319454 w 91"/>
                <a:gd name="T39" fmla="*/ 114369 h 137"/>
                <a:gd name="T40" fmla="*/ 330863 w 91"/>
                <a:gd name="T41" fmla="*/ 83871 h 137"/>
                <a:gd name="T42" fmla="*/ 315651 w 91"/>
                <a:gd name="T43" fmla="*/ 15249 h 137"/>
                <a:gd name="T44" fmla="*/ 319454 w 91"/>
                <a:gd name="T45" fmla="*/ 0 h 137"/>
                <a:gd name="T46" fmla="*/ 296636 w 91"/>
                <a:gd name="T47" fmla="*/ 15249 h 137"/>
                <a:gd name="T48" fmla="*/ 270015 w 91"/>
                <a:gd name="T49" fmla="*/ 22874 h 137"/>
                <a:gd name="T50" fmla="*/ 258605 w 91"/>
                <a:gd name="T51" fmla="*/ 45748 h 137"/>
                <a:gd name="T52" fmla="*/ 228181 w 91"/>
                <a:gd name="T53" fmla="*/ 64809 h 137"/>
                <a:gd name="T54" fmla="*/ 212969 w 91"/>
                <a:gd name="T55" fmla="*/ 76246 h 137"/>
                <a:gd name="T56" fmla="*/ 186348 w 91"/>
                <a:gd name="T57" fmla="*/ 76246 h 137"/>
                <a:gd name="T58" fmla="*/ 155924 w 91"/>
                <a:gd name="T59" fmla="*/ 68622 h 137"/>
                <a:gd name="T60" fmla="*/ 110288 w 91"/>
                <a:gd name="T61" fmla="*/ 83871 h 137"/>
                <a:gd name="T62" fmla="*/ 91273 w 91"/>
                <a:gd name="T63" fmla="*/ 99120 h 137"/>
                <a:gd name="T64" fmla="*/ 91273 w 91"/>
                <a:gd name="T65" fmla="*/ 110557 h 137"/>
                <a:gd name="T66" fmla="*/ 91273 w 91"/>
                <a:gd name="T67" fmla="*/ 125806 h 137"/>
                <a:gd name="T68" fmla="*/ 87470 w 91"/>
                <a:gd name="T69" fmla="*/ 148680 h 137"/>
                <a:gd name="T70" fmla="*/ 83666 w 91"/>
                <a:gd name="T71" fmla="*/ 171554 h 137"/>
                <a:gd name="T72" fmla="*/ 76060 w 91"/>
                <a:gd name="T73" fmla="*/ 190616 h 137"/>
                <a:gd name="T74" fmla="*/ 72257 w 91"/>
                <a:gd name="T75" fmla="*/ 205865 h 137"/>
                <a:gd name="T76" fmla="*/ 60848 w 91"/>
                <a:gd name="T77" fmla="*/ 221114 h 137"/>
                <a:gd name="T78" fmla="*/ 64651 w 91"/>
                <a:gd name="T79" fmla="*/ 243988 h 137"/>
                <a:gd name="T80" fmla="*/ 60848 w 91"/>
                <a:gd name="T81" fmla="*/ 259237 h 137"/>
                <a:gd name="T82" fmla="*/ 60848 w 91"/>
                <a:gd name="T83" fmla="*/ 285924 h 137"/>
                <a:gd name="T84" fmla="*/ 45636 w 91"/>
                <a:gd name="T85" fmla="*/ 308797 h 137"/>
                <a:gd name="T86" fmla="*/ 38030 w 91"/>
                <a:gd name="T87" fmla="*/ 324047 h 137"/>
                <a:gd name="T88" fmla="*/ 22818 w 91"/>
                <a:gd name="T89" fmla="*/ 392668 h 137"/>
                <a:gd name="T90" fmla="*/ 22818 w 91"/>
                <a:gd name="T91" fmla="*/ 411730 h 137"/>
                <a:gd name="T92" fmla="*/ 3803 w 91"/>
                <a:gd name="T93" fmla="*/ 434604 h 137"/>
                <a:gd name="T94" fmla="*/ 3803 w 91"/>
                <a:gd name="T95" fmla="*/ 446041 h 137"/>
                <a:gd name="T96" fmla="*/ 3803 w 91"/>
                <a:gd name="T97" fmla="*/ 476539 h 137"/>
                <a:gd name="T98" fmla="*/ 38030 w 91"/>
                <a:gd name="T99" fmla="*/ 491788 h 1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1" h="137">
                  <a:moveTo>
                    <a:pt x="10" y="129"/>
                  </a:moveTo>
                  <a:cubicBezTo>
                    <a:pt x="10" y="129"/>
                    <a:pt x="12" y="131"/>
                    <a:pt x="12" y="131"/>
                  </a:cubicBezTo>
                  <a:cubicBezTo>
                    <a:pt x="16" y="130"/>
                    <a:pt x="16" y="130"/>
                    <a:pt x="16" y="130"/>
                  </a:cubicBezTo>
                  <a:cubicBezTo>
                    <a:pt x="16" y="130"/>
                    <a:pt x="17" y="126"/>
                    <a:pt x="18" y="126"/>
                  </a:cubicBezTo>
                  <a:cubicBezTo>
                    <a:pt x="18" y="125"/>
                    <a:pt x="19" y="123"/>
                    <a:pt x="19" y="122"/>
                  </a:cubicBezTo>
                  <a:cubicBezTo>
                    <a:pt x="19" y="122"/>
                    <a:pt x="22" y="120"/>
                    <a:pt x="22" y="120"/>
                  </a:cubicBezTo>
                  <a:cubicBezTo>
                    <a:pt x="22" y="120"/>
                    <a:pt x="24" y="121"/>
                    <a:pt x="24" y="122"/>
                  </a:cubicBezTo>
                  <a:cubicBezTo>
                    <a:pt x="25" y="123"/>
                    <a:pt x="28" y="126"/>
                    <a:pt x="28" y="127"/>
                  </a:cubicBezTo>
                  <a:cubicBezTo>
                    <a:pt x="29" y="128"/>
                    <a:pt x="29" y="130"/>
                    <a:pt x="30" y="130"/>
                  </a:cubicBezTo>
                  <a:cubicBezTo>
                    <a:pt x="30" y="131"/>
                    <a:pt x="30" y="132"/>
                    <a:pt x="30" y="132"/>
                  </a:cubicBezTo>
                  <a:cubicBezTo>
                    <a:pt x="30" y="132"/>
                    <a:pt x="34" y="133"/>
                    <a:pt x="34" y="134"/>
                  </a:cubicBezTo>
                  <a:cubicBezTo>
                    <a:pt x="35" y="134"/>
                    <a:pt x="41" y="137"/>
                    <a:pt x="41" y="137"/>
                  </a:cubicBezTo>
                  <a:cubicBezTo>
                    <a:pt x="44" y="137"/>
                    <a:pt x="44" y="137"/>
                    <a:pt x="44" y="137"/>
                  </a:cubicBezTo>
                  <a:cubicBezTo>
                    <a:pt x="44" y="135"/>
                    <a:pt x="43" y="133"/>
                    <a:pt x="43" y="132"/>
                  </a:cubicBezTo>
                  <a:cubicBezTo>
                    <a:pt x="42" y="129"/>
                    <a:pt x="42" y="125"/>
                    <a:pt x="44" y="123"/>
                  </a:cubicBezTo>
                  <a:cubicBezTo>
                    <a:pt x="45" y="122"/>
                    <a:pt x="46" y="122"/>
                    <a:pt x="47" y="121"/>
                  </a:cubicBezTo>
                  <a:cubicBezTo>
                    <a:pt x="49" y="120"/>
                    <a:pt x="49" y="118"/>
                    <a:pt x="49" y="115"/>
                  </a:cubicBezTo>
                  <a:cubicBezTo>
                    <a:pt x="50" y="110"/>
                    <a:pt x="51" y="104"/>
                    <a:pt x="52" y="99"/>
                  </a:cubicBezTo>
                  <a:cubicBezTo>
                    <a:pt x="52" y="98"/>
                    <a:pt x="52" y="97"/>
                    <a:pt x="53" y="97"/>
                  </a:cubicBezTo>
                  <a:cubicBezTo>
                    <a:pt x="54" y="96"/>
                    <a:pt x="55" y="96"/>
                    <a:pt x="55" y="95"/>
                  </a:cubicBezTo>
                  <a:cubicBezTo>
                    <a:pt x="56" y="94"/>
                    <a:pt x="56" y="92"/>
                    <a:pt x="58" y="91"/>
                  </a:cubicBezTo>
                  <a:cubicBezTo>
                    <a:pt x="58" y="91"/>
                    <a:pt x="58" y="91"/>
                    <a:pt x="59" y="91"/>
                  </a:cubicBezTo>
                  <a:cubicBezTo>
                    <a:pt x="60" y="91"/>
                    <a:pt x="60" y="90"/>
                    <a:pt x="60" y="90"/>
                  </a:cubicBezTo>
                  <a:cubicBezTo>
                    <a:pt x="61" y="88"/>
                    <a:pt x="62" y="85"/>
                    <a:pt x="64" y="84"/>
                  </a:cubicBezTo>
                  <a:cubicBezTo>
                    <a:pt x="64" y="84"/>
                    <a:pt x="65" y="84"/>
                    <a:pt x="65" y="84"/>
                  </a:cubicBezTo>
                  <a:cubicBezTo>
                    <a:pt x="66" y="83"/>
                    <a:pt x="66" y="83"/>
                    <a:pt x="66" y="82"/>
                  </a:cubicBezTo>
                  <a:cubicBezTo>
                    <a:pt x="66" y="81"/>
                    <a:pt x="67" y="80"/>
                    <a:pt x="67" y="79"/>
                  </a:cubicBezTo>
                  <a:cubicBezTo>
                    <a:pt x="67" y="76"/>
                    <a:pt x="68" y="73"/>
                    <a:pt x="70" y="71"/>
                  </a:cubicBezTo>
                  <a:cubicBezTo>
                    <a:pt x="71" y="71"/>
                    <a:pt x="71" y="70"/>
                    <a:pt x="71" y="69"/>
                  </a:cubicBezTo>
                  <a:cubicBezTo>
                    <a:pt x="72" y="69"/>
                    <a:pt x="72" y="68"/>
                    <a:pt x="72" y="67"/>
                  </a:cubicBezTo>
                  <a:cubicBezTo>
                    <a:pt x="72" y="65"/>
                    <a:pt x="74" y="64"/>
                    <a:pt x="76" y="63"/>
                  </a:cubicBezTo>
                  <a:cubicBezTo>
                    <a:pt x="74" y="62"/>
                    <a:pt x="74" y="60"/>
                    <a:pt x="75" y="58"/>
                  </a:cubicBezTo>
                  <a:cubicBezTo>
                    <a:pt x="76" y="57"/>
                    <a:pt x="78" y="56"/>
                    <a:pt x="80" y="57"/>
                  </a:cubicBezTo>
                  <a:cubicBezTo>
                    <a:pt x="81" y="58"/>
                    <a:pt x="81" y="58"/>
                    <a:pt x="82" y="58"/>
                  </a:cubicBezTo>
                  <a:cubicBezTo>
                    <a:pt x="82" y="58"/>
                    <a:pt x="83" y="58"/>
                    <a:pt x="83" y="58"/>
                  </a:cubicBezTo>
                  <a:cubicBezTo>
                    <a:pt x="85" y="57"/>
                    <a:pt x="87" y="56"/>
                    <a:pt x="89" y="55"/>
                  </a:cubicBezTo>
                  <a:cubicBezTo>
                    <a:pt x="90" y="54"/>
                    <a:pt x="90" y="54"/>
                    <a:pt x="91" y="53"/>
                  </a:cubicBezTo>
                  <a:cubicBezTo>
                    <a:pt x="91" y="52"/>
                    <a:pt x="91" y="51"/>
                    <a:pt x="90" y="50"/>
                  </a:cubicBezTo>
                  <a:cubicBezTo>
                    <a:pt x="89" y="47"/>
                    <a:pt x="86" y="44"/>
                    <a:pt x="84" y="41"/>
                  </a:cubicBezTo>
                  <a:cubicBezTo>
                    <a:pt x="83" y="37"/>
                    <a:pt x="82" y="33"/>
                    <a:pt x="84" y="30"/>
                  </a:cubicBezTo>
                  <a:cubicBezTo>
                    <a:pt x="85" y="28"/>
                    <a:pt x="87" y="27"/>
                    <a:pt x="87" y="25"/>
                  </a:cubicBezTo>
                  <a:cubicBezTo>
                    <a:pt x="88" y="24"/>
                    <a:pt x="87" y="23"/>
                    <a:pt x="87" y="22"/>
                  </a:cubicBezTo>
                  <a:cubicBezTo>
                    <a:pt x="86" y="17"/>
                    <a:pt x="84" y="12"/>
                    <a:pt x="83" y="8"/>
                  </a:cubicBezTo>
                  <a:cubicBezTo>
                    <a:pt x="83" y="6"/>
                    <a:pt x="82" y="5"/>
                    <a:pt x="83" y="4"/>
                  </a:cubicBezTo>
                  <a:cubicBezTo>
                    <a:pt x="83" y="3"/>
                    <a:pt x="83" y="2"/>
                    <a:pt x="83" y="1"/>
                  </a:cubicBezTo>
                  <a:cubicBezTo>
                    <a:pt x="84" y="1"/>
                    <a:pt x="84" y="1"/>
                    <a:pt x="84" y="0"/>
                  </a:cubicBezTo>
                  <a:cubicBezTo>
                    <a:pt x="82" y="1"/>
                    <a:pt x="81" y="1"/>
                    <a:pt x="81" y="1"/>
                  </a:cubicBezTo>
                  <a:cubicBezTo>
                    <a:pt x="80" y="0"/>
                    <a:pt x="78" y="4"/>
                    <a:pt x="78" y="4"/>
                  </a:cubicBezTo>
                  <a:cubicBezTo>
                    <a:pt x="78" y="4"/>
                    <a:pt x="75" y="4"/>
                    <a:pt x="75" y="4"/>
                  </a:cubicBezTo>
                  <a:cubicBezTo>
                    <a:pt x="74" y="5"/>
                    <a:pt x="71" y="6"/>
                    <a:pt x="71" y="6"/>
                  </a:cubicBezTo>
                  <a:cubicBezTo>
                    <a:pt x="70" y="11"/>
                    <a:pt x="70" y="11"/>
                    <a:pt x="70" y="11"/>
                  </a:cubicBezTo>
                  <a:cubicBezTo>
                    <a:pt x="70" y="11"/>
                    <a:pt x="69" y="12"/>
                    <a:pt x="68" y="12"/>
                  </a:cubicBezTo>
                  <a:cubicBezTo>
                    <a:pt x="67" y="13"/>
                    <a:pt x="68" y="17"/>
                    <a:pt x="68" y="17"/>
                  </a:cubicBezTo>
                  <a:cubicBezTo>
                    <a:pt x="68" y="17"/>
                    <a:pt x="61" y="17"/>
                    <a:pt x="60" y="17"/>
                  </a:cubicBezTo>
                  <a:cubicBezTo>
                    <a:pt x="60" y="17"/>
                    <a:pt x="59" y="20"/>
                    <a:pt x="59" y="20"/>
                  </a:cubicBezTo>
                  <a:cubicBezTo>
                    <a:pt x="59" y="21"/>
                    <a:pt x="56" y="20"/>
                    <a:pt x="56" y="20"/>
                  </a:cubicBezTo>
                  <a:cubicBezTo>
                    <a:pt x="53" y="24"/>
                    <a:pt x="53" y="24"/>
                    <a:pt x="53" y="24"/>
                  </a:cubicBezTo>
                  <a:cubicBezTo>
                    <a:pt x="53" y="24"/>
                    <a:pt x="49" y="21"/>
                    <a:pt x="49" y="20"/>
                  </a:cubicBezTo>
                  <a:cubicBezTo>
                    <a:pt x="48" y="20"/>
                    <a:pt x="45" y="18"/>
                    <a:pt x="44" y="18"/>
                  </a:cubicBezTo>
                  <a:cubicBezTo>
                    <a:pt x="44" y="18"/>
                    <a:pt x="41" y="18"/>
                    <a:pt x="41" y="18"/>
                  </a:cubicBezTo>
                  <a:cubicBezTo>
                    <a:pt x="35" y="21"/>
                    <a:pt x="35" y="21"/>
                    <a:pt x="35" y="21"/>
                  </a:cubicBezTo>
                  <a:cubicBezTo>
                    <a:pt x="29" y="22"/>
                    <a:pt x="29" y="22"/>
                    <a:pt x="29" y="22"/>
                  </a:cubicBezTo>
                  <a:cubicBezTo>
                    <a:pt x="24" y="24"/>
                    <a:pt x="24" y="24"/>
                    <a:pt x="24" y="24"/>
                  </a:cubicBezTo>
                  <a:cubicBezTo>
                    <a:pt x="24" y="25"/>
                    <a:pt x="24" y="25"/>
                    <a:pt x="24" y="26"/>
                  </a:cubicBezTo>
                  <a:cubicBezTo>
                    <a:pt x="24" y="26"/>
                    <a:pt x="23" y="27"/>
                    <a:pt x="23" y="28"/>
                  </a:cubicBezTo>
                  <a:cubicBezTo>
                    <a:pt x="23" y="28"/>
                    <a:pt x="24" y="28"/>
                    <a:pt x="24" y="29"/>
                  </a:cubicBezTo>
                  <a:cubicBezTo>
                    <a:pt x="24" y="29"/>
                    <a:pt x="25" y="31"/>
                    <a:pt x="25" y="31"/>
                  </a:cubicBezTo>
                  <a:cubicBezTo>
                    <a:pt x="25" y="32"/>
                    <a:pt x="25" y="32"/>
                    <a:pt x="24" y="33"/>
                  </a:cubicBezTo>
                  <a:cubicBezTo>
                    <a:pt x="24" y="34"/>
                    <a:pt x="23" y="35"/>
                    <a:pt x="23" y="35"/>
                  </a:cubicBezTo>
                  <a:cubicBezTo>
                    <a:pt x="23" y="36"/>
                    <a:pt x="23" y="39"/>
                    <a:pt x="23" y="39"/>
                  </a:cubicBezTo>
                  <a:cubicBezTo>
                    <a:pt x="23" y="40"/>
                    <a:pt x="22" y="41"/>
                    <a:pt x="22" y="42"/>
                  </a:cubicBezTo>
                  <a:cubicBezTo>
                    <a:pt x="22" y="43"/>
                    <a:pt x="22" y="45"/>
                    <a:pt x="22" y="45"/>
                  </a:cubicBezTo>
                  <a:cubicBezTo>
                    <a:pt x="21" y="46"/>
                    <a:pt x="20" y="47"/>
                    <a:pt x="20" y="48"/>
                  </a:cubicBezTo>
                  <a:cubicBezTo>
                    <a:pt x="20" y="48"/>
                    <a:pt x="20" y="49"/>
                    <a:pt x="20" y="50"/>
                  </a:cubicBezTo>
                  <a:cubicBezTo>
                    <a:pt x="20" y="51"/>
                    <a:pt x="21" y="52"/>
                    <a:pt x="21" y="52"/>
                  </a:cubicBezTo>
                  <a:cubicBezTo>
                    <a:pt x="21" y="53"/>
                    <a:pt x="19" y="54"/>
                    <a:pt x="19" y="54"/>
                  </a:cubicBezTo>
                  <a:cubicBezTo>
                    <a:pt x="19" y="54"/>
                    <a:pt x="19" y="56"/>
                    <a:pt x="19" y="56"/>
                  </a:cubicBezTo>
                  <a:cubicBezTo>
                    <a:pt x="19" y="57"/>
                    <a:pt x="16" y="57"/>
                    <a:pt x="16" y="58"/>
                  </a:cubicBezTo>
                  <a:cubicBezTo>
                    <a:pt x="16" y="59"/>
                    <a:pt x="16" y="62"/>
                    <a:pt x="16" y="63"/>
                  </a:cubicBezTo>
                  <a:cubicBezTo>
                    <a:pt x="16" y="63"/>
                    <a:pt x="17" y="64"/>
                    <a:pt x="17" y="64"/>
                  </a:cubicBezTo>
                  <a:cubicBezTo>
                    <a:pt x="17" y="65"/>
                    <a:pt x="16" y="65"/>
                    <a:pt x="16" y="66"/>
                  </a:cubicBezTo>
                  <a:cubicBezTo>
                    <a:pt x="16" y="66"/>
                    <a:pt x="16" y="68"/>
                    <a:pt x="16" y="68"/>
                  </a:cubicBezTo>
                  <a:cubicBezTo>
                    <a:pt x="17" y="68"/>
                    <a:pt x="18" y="69"/>
                    <a:pt x="17" y="70"/>
                  </a:cubicBezTo>
                  <a:cubicBezTo>
                    <a:pt x="17" y="71"/>
                    <a:pt x="16" y="75"/>
                    <a:pt x="16" y="75"/>
                  </a:cubicBezTo>
                  <a:cubicBezTo>
                    <a:pt x="15" y="76"/>
                    <a:pt x="13" y="77"/>
                    <a:pt x="13" y="78"/>
                  </a:cubicBezTo>
                  <a:cubicBezTo>
                    <a:pt x="12" y="79"/>
                    <a:pt x="12" y="81"/>
                    <a:pt x="12" y="81"/>
                  </a:cubicBezTo>
                  <a:cubicBezTo>
                    <a:pt x="12" y="82"/>
                    <a:pt x="11" y="82"/>
                    <a:pt x="11" y="83"/>
                  </a:cubicBezTo>
                  <a:cubicBezTo>
                    <a:pt x="10" y="84"/>
                    <a:pt x="10" y="84"/>
                    <a:pt x="10" y="85"/>
                  </a:cubicBezTo>
                  <a:cubicBezTo>
                    <a:pt x="10" y="86"/>
                    <a:pt x="9" y="99"/>
                    <a:pt x="9" y="99"/>
                  </a:cubicBezTo>
                  <a:cubicBezTo>
                    <a:pt x="9" y="99"/>
                    <a:pt x="7" y="102"/>
                    <a:pt x="6" y="103"/>
                  </a:cubicBezTo>
                  <a:cubicBezTo>
                    <a:pt x="6" y="103"/>
                    <a:pt x="6" y="105"/>
                    <a:pt x="6" y="106"/>
                  </a:cubicBezTo>
                  <a:cubicBezTo>
                    <a:pt x="6" y="106"/>
                    <a:pt x="6" y="108"/>
                    <a:pt x="6" y="108"/>
                  </a:cubicBezTo>
                  <a:cubicBezTo>
                    <a:pt x="5" y="109"/>
                    <a:pt x="5" y="110"/>
                    <a:pt x="4" y="111"/>
                  </a:cubicBezTo>
                  <a:cubicBezTo>
                    <a:pt x="4" y="112"/>
                    <a:pt x="1" y="114"/>
                    <a:pt x="1" y="114"/>
                  </a:cubicBezTo>
                  <a:cubicBezTo>
                    <a:pt x="0" y="115"/>
                    <a:pt x="0" y="115"/>
                    <a:pt x="0" y="116"/>
                  </a:cubicBezTo>
                  <a:cubicBezTo>
                    <a:pt x="0" y="116"/>
                    <a:pt x="1" y="117"/>
                    <a:pt x="1" y="117"/>
                  </a:cubicBezTo>
                  <a:cubicBezTo>
                    <a:pt x="1" y="118"/>
                    <a:pt x="1" y="119"/>
                    <a:pt x="1" y="121"/>
                  </a:cubicBezTo>
                  <a:cubicBezTo>
                    <a:pt x="1" y="122"/>
                    <a:pt x="1" y="124"/>
                    <a:pt x="1" y="125"/>
                  </a:cubicBezTo>
                  <a:cubicBezTo>
                    <a:pt x="7" y="123"/>
                    <a:pt x="7" y="123"/>
                    <a:pt x="7" y="123"/>
                  </a:cubicBezTo>
                  <a:cubicBezTo>
                    <a:pt x="7" y="123"/>
                    <a:pt x="9" y="128"/>
                    <a:pt x="10" y="129"/>
                  </a:cubicBezTo>
                  <a:close/>
                </a:path>
              </a:pathLst>
            </a:custGeom>
            <a:grpFill/>
            <a:ln w="3175" cap="rnd">
              <a:solidFill>
                <a:schemeClr val="accent5"/>
              </a:solidFill>
              <a:prstDash val="solid"/>
              <a:round/>
              <a:headEnd/>
              <a:tailEnd/>
            </a:ln>
          </p:spPr>
          <p:txBody>
            <a:bodyPr/>
            <a:lstStyle/>
            <a:p>
              <a:endParaRPr lang="ru-RU"/>
            </a:p>
          </p:txBody>
        </p:sp>
        <p:sp>
          <p:nvSpPr>
            <p:cNvPr id="137" name="Freeform 19">
              <a:extLst>
                <a:ext uri="{FF2B5EF4-FFF2-40B4-BE49-F238E27FC236}">
                  <a16:creationId xmlns:a16="http://schemas.microsoft.com/office/drawing/2014/main" id="{04AD535C-93BE-2EF6-D4F6-8B7CDC0CC998}"/>
                </a:ext>
              </a:extLst>
            </p:cNvPr>
            <p:cNvSpPr>
              <a:spLocks/>
            </p:cNvSpPr>
            <p:nvPr/>
          </p:nvSpPr>
          <p:spPr bwMode="auto">
            <a:xfrm>
              <a:off x="2997200" y="1136650"/>
              <a:ext cx="160337" cy="209550"/>
            </a:xfrm>
            <a:custGeom>
              <a:avLst/>
              <a:gdLst>
                <a:gd name="T0" fmla="*/ 64898 w 42"/>
                <a:gd name="T1" fmla="*/ 186690 h 55"/>
                <a:gd name="T2" fmla="*/ 99256 w 42"/>
                <a:gd name="T3" fmla="*/ 190500 h 55"/>
                <a:gd name="T4" fmla="*/ 110709 w 42"/>
                <a:gd name="T5" fmla="*/ 201930 h 55"/>
                <a:gd name="T6" fmla="*/ 129797 w 42"/>
                <a:gd name="T7" fmla="*/ 194310 h 55"/>
                <a:gd name="T8" fmla="*/ 133614 w 42"/>
                <a:gd name="T9" fmla="*/ 182880 h 55"/>
                <a:gd name="T10" fmla="*/ 141249 w 42"/>
                <a:gd name="T11" fmla="*/ 171450 h 55"/>
                <a:gd name="T12" fmla="*/ 156519 w 42"/>
                <a:gd name="T13" fmla="*/ 167640 h 55"/>
                <a:gd name="T14" fmla="*/ 160337 w 42"/>
                <a:gd name="T15" fmla="*/ 160020 h 55"/>
                <a:gd name="T16" fmla="*/ 148884 w 42"/>
                <a:gd name="T17" fmla="*/ 133350 h 55"/>
                <a:gd name="T18" fmla="*/ 145067 w 42"/>
                <a:gd name="T19" fmla="*/ 87630 h 55"/>
                <a:gd name="T20" fmla="*/ 133614 w 42"/>
                <a:gd name="T21" fmla="*/ 76200 h 55"/>
                <a:gd name="T22" fmla="*/ 141249 w 42"/>
                <a:gd name="T23" fmla="*/ 64770 h 55"/>
                <a:gd name="T24" fmla="*/ 129797 w 42"/>
                <a:gd name="T25" fmla="*/ 60960 h 55"/>
                <a:gd name="T26" fmla="*/ 118344 w 42"/>
                <a:gd name="T27" fmla="*/ 57150 h 55"/>
                <a:gd name="T28" fmla="*/ 114526 w 42"/>
                <a:gd name="T29" fmla="*/ 41910 h 55"/>
                <a:gd name="T30" fmla="*/ 110709 w 42"/>
                <a:gd name="T31" fmla="*/ 26670 h 55"/>
                <a:gd name="T32" fmla="*/ 103074 w 42"/>
                <a:gd name="T33" fmla="*/ 15240 h 55"/>
                <a:gd name="T34" fmla="*/ 103074 w 42"/>
                <a:gd name="T35" fmla="*/ 0 h 55"/>
                <a:gd name="T36" fmla="*/ 95439 w 42"/>
                <a:gd name="T37" fmla="*/ 7620 h 55"/>
                <a:gd name="T38" fmla="*/ 87804 w 42"/>
                <a:gd name="T39" fmla="*/ 19050 h 55"/>
                <a:gd name="T40" fmla="*/ 76351 w 42"/>
                <a:gd name="T41" fmla="*/ 22860 h 55"/>
                <a:gd name="T42" fmla="*/ 68716 w 42"/>
                <a:gd name="T43" fmla="*/ 22860 h 55"/>
                <a:gd name="T44" fmla="*/ 64898 w 42"/>
                <a:gd name="T45" fmla="*/ 45720 h 55"/>
                <a:gd name="T46" fmla="*/ 68716 w 42"/>
                <a:gd name="T47" fmla="*/ 53340 h 55"/>
                <a:gd name="T48" fmla="*/ 68716 w 42"/>
                <a:gd name="T49" fmla="*/ 64770 h 55"/>
                <a:gd name="T50" fmla="*/ 57263 w 42"/>
                <a:gd name="T51" fmla="*/ 83820 h 55"/>
                <a:gd name="T52" fmla="*/ 30540 w 42"/>
                <a:gd name="T53" fmla="*/ 99060 h 55"/>
                <a:gd name="T54" fmla="*/ 7635 w 42"/>
                <a:gd name="T55" fmla="*/ 99060 h 55"/>
                <a:gd name="T56" fmla="*/ 0 w 42"/>
                <a:gd name="T57" fmla="*/ 102870 h 55"/>
                <a:gd name="T58" fmla="*/ 7635 w 42"/>
                <a:gd name="T59" fmla="*/ 110490 h 55"/>
                <a:gd name="T60" fmla="*/ 11453 w 42"/>
                <a:gd name="T61" fmla="*/ 114300 h 55"/>
                <a:gd name="T62" fmla="*/ 11453 w 42"/>
                <a:gd name="T63" fmla="*/ 125730 h 55"/>
                <a:gd name="T64" fmla="*/ 11453 w 42"/>
                <a:gd name="T65" fmla="*/ 140970 h 55"/>
                <a:gd name="T66" fmla="*/ 11453 w 42"/>
                <a:gd name="T67" fmla="*/ 182880 h 55"/>
                <a:gd name="T68" fmla="*/ 15270 w 42"/>
                <a:gd name="T69" fmla="*/ 194310 h 55"/>
                <a:gd name="T70" fmla="*/ 15270 w 42"/>
                <a:gd name="T71" fmla="*/ 209550 h 55"/>
                <a:gd name="T72" fmla="*/ 38175 w 42"/>
                <a:gd name="T73" fmla="*/ 205740 h 55"/>
                <a:gd name="T74" fmla="*/ 64898 w 42"/>
                <a:gd name="T75" fmla="*/ 186690 h 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2" h="55">
                  <a:moveTo>
                    <a:pt x="17" y="49"/>
                  </a:moveTo>
                  <a:cubicBezTo>
                    <a:pt x="17" y="49"/>
                    <a:pt x="26" y="50"/>
                    <a:pt x="26" y="50"/>
                  </a:cubicBezTo>
                  <a:cubicBezTo>
                    <a:pt x="26" y="50"/>
                    <a:pt x="29" y="53"/>
                    <a:pt x="29" y="53"/>
                  </a:cubicBezTo>
                  <a:cubicBezTo>
                    <a:pt x="34" y="51"/>
                    <a:pt x="34" y="51"/>
                    <a:pt x="34" y="51"/>
                  </a:cubicBezTo>
                  <a:cubicBezTo>
                    <a:pt x="35" y="48"/>
                    <a:pt x="35" y="48"/>
                    <a:pt x="35" y="48"/>
                  </a:cubicBezTo>
                  <a:cubicBezTo>
                    <a:pt x="37" y="45"/>
                    <a:pt x="37" y="45"/>
                    <a:pt x="37" y="45"/>
                  </a:cubicBezTo>
                  <a:cubicBezTo>
                    <a:pt x="41" y="44"/>
                    <a:pt x="41" y="44"/>
                    <a:pt x="41" y="44"/>
                  </a:cubicBezTo>
                  <a:cubicBezTo>
                    <a:pt x="42" y="42"/>
                    <a:pt x="42" y="42"/>
                    <a:pt x="42" y="42"/>
                  </a:cubicBezTo>
                  <a:cubicBezTo>
                    <a:pt x="39" y="35"/>
                    <a:pt x="39" y="35"/>
                    <a:pt x="39" y="35"/>
                  </a:cubicBezTo>
                  <a:cubicBezTo>
                    <a:pt x="38" y="23"/>
                    <a:pt x="38" y="23"/>
                    <a:pt x="38" y="23"/>
                  </a:cubicBezTo>
                  <a:cubicBezTo>
                    <a:pt x="35" y="20"/>
                    <a:pt x="35" y="20"/>
                    <a:pt x="35" y="20"/>
                  </a:cubicBezTo>
                  <a:cubicBezTo>
                    <a:pt x="37" y="17"/>
                    <a:pt x="37" y="17"/>
                    <a:pt x="37" y="17"/>
                  </a:cubicBezTo>
                  <a:cubicBezTo>
                    <a:pt x="37" y="17"/>
                    <a:pt x="34" y="16"/>
                    <a:pt x="34" y="16"/>
                  </a:cubicBezTo>
                  <a:cubicBezTo>
                    <a:pt x="34" y="15"/>
                    <a:pt x="31" y="15"/>
                    <a:pt x="31" y="15"/>
                  </a:cubicBezTo>
                  <a:cubicBezTo>
                    <a:pt x="31" y="15"/>
                    <a:pt x="31" y="12"/>
                    <a:pt x="30" y="11"/>
                  </a:cubicBezTo>
                  <a:cubicBezTo>
                    <a:pt x="30" y="10"/>
                    <a:pt x="30" y="8"/>
                    <a:pt x="29" y="7"/>
                  </a:cubicBezTo>
                  <a:cubicBezTo>
                    <a:pt x="29" y="6"/>
                    <a:pt x="27" y="5"/>
                    <a:pt x="27" y="4"/>
                  </a:cubicBezTo>
                  <a:cubicBezTo>
                    <a:pt x="27" y="4"/>
                    <a:pt x="27" y="0"/>
                    <a:pt x="27" y="0"/>
                  </a:cubicBezTo>
                  <a:cubicBezTo>
                    <a:pt x="27" y="0"/>
                    <a:pt x="25" y="1"/>
                    <a:pt x="25" y="2"/>
                  </a:cubicBezTo>
                  <a:cubicBezTo>
                    <a:pt x="25" y="2"/>
                    <a:pt x="23" y="4"/>
                    <a:pt x="23" y="5"/>
                  </a:cubicBezTo>
                  <a:cubicBezTo>
                    <a:pt x="23" y="5"/>
                    <a:pt x="20" y="6"/>
                    <a:pt x="20" y="6"/>
                  </a:cubicBezTo>
                  <a:cubicBezTo>
                    <a:pt x="18" y="6"/>
                    <a:pt x="18" y="6"/>
                    <a:pt x="18" y="6"/>
                  </a:cubicBezTo>
                  <a:cubicBezTo>
                    <a:pt x="18" y="6"/>
                    <a:pt x="17" y="11"/>
                    <a:pt x="17" y="12"/>
                  </a:cubicBezTo>
                  <a:cubicBezTo>
                    <a:pt x="17" y="12"/>
                    <a:pt x="18" y="14"/>
                    <a:pt x="18" y="14"/>
                  </a:cubicBezTo>
                  <a:cubicBezTo>
                    <a:pt x="18" y="14"/>
                    <a:pt x="18" y="17"/>
                    <a:pt x="18" y="17"/>
                  </a:cubicBezTo>
                  <a:cubicBezTo>
                    <a:pt x="17" y="18"/>
                    <a:pt x="15" y="22"/>
                    <a:pt x="15" y="22"/>
                  </a:cubicBezTo>
                  <a:cubicBezTo>
                    <a:pt x="8" y="26"/>
                    <a:pt x="8" y="26"/>
                    <a:pt x="8" y="26"/>
                  </a:cubicBezTo>
                  <a:cubicBezTo>
                    <a:pt x="2" y="26"/>
                    <a:pt x="2" y="26"/>
                    <a:pt x="2" y="26"/>
                  </a:cubicBezTo>
                  <a:cubicBezTo>
                    <a:pt x="0" y="27"/>
                    <a:pt x="0" y="27"/>
                    <a:pt x="0" y="27"/>
                  </a:cubicBezTo>
                  <a:cubicBezTo>
                    <a:pt x="1" y="28"/>
                    <a:pt x="1" y="28"/>
                    <a:pt x="2" y="29"/>
                  </a:cubicBezTo>
                  <a:cubicBezTo>
                    <a:pt x="2" y="29"/>
                    <a:pt x="3" y="30"/>
                    <a:pt x="3" y="30"/>
                  </a:cubicBezTo>
                  <a:cubicBezTo>
                    <a:pt x="4" y="31"/>
                    <a:pt x="3" y="32"/>
                    <a:pt x="3" y="33"/>
                  </a:cubicBezTo>
                  <a:cubicBezTo>
                    <a:pt x="2" y="34"/>
                    <a:pt x="2" y="36"/>
                    <a:pt x="3" y="37"/>
                  </a:cubicBezTo>
                  <a:cubicBezTo>
                    <a:pt x="3" y="39"/>
                    <a:pt x="3" y="48"/>
                    <a:pt x="3" y="48"/>
                  </a:cubicBezTo>
                  <a:cubicBezTo>
                    <a:pt x="3" y="49"/>
                    <a:pt x="4" y="51"/>
                    <a:pt x="4" y="51"/>
                  </a:cubicBezTo>
                  <a:cubicBezTo>
                    <a:pt x="4" y="52"/>
                    <a:pt x="3" y="54"/>
                    <a:pt x="4" y="55"/>
                  </a:cubicBezTo>
                  <a:cubicBezTo>
                    <a:pt x="7" y="55"/>
                    <a:pt x="10" y="54"/>
                    <a:pt x="10" y="54"/>
                  </a:cubicBezTo>
                  <a:cubicBezTo>
                    <a:pt x="11" y="53"/>
                    <a:pt x="17" y="49"/>
                    <a:pt x="17" y="49"/>
                  </a:cubicBezTo>
                  <a:close/>
                </a:path>
              </a:pathLst>
            </a:custGeom>
            <a:grpFill/>
            <a:ln w="3175" cap="rnd">
              <a:solidFill>
                <a:schemeClr val="accent5"/>
              </a:solidFill>
              <a:prstDash val="solid"/>
              <a:round/>
              <a:headEnd/>
              <a:tailEnd/>
            </a:ln>
          </p:spPr>
          <p:txBody>
            <a:bodyPr/>
            <a:lstStyle/>
            <a:p>
              <a:endParaRPr lang="ru-RU"/>
            </a:p>
          </p:txBody>
        </p:sp>
        <p:sp>
          <p:nvSpPr>
            <p:cNvPr id="138" name="Freeform 20">
              <a:extLst>
                <a:ext uri="{FF2B5EF4-FFF2-40B4-BE49-F238E27FC236}">
                  <a16:creationId xmlns:a16="http://schemas.microsoft.com/office/drawing/2014/main" id="{49D825E0-0700-D661-5445-7463FFC24034}"/>
                </a:ext>
              </a:extLst>
            </p:cNvPr>
            <p:cNvSpPr>
              <a:spLocks/>
            </p:cNvSpPr>
            <p:nvPr/>
          </p:nvSpPr>
          <p:spPr bwMode="auto">
            <a:xfrm>
              <a:off x="2665413" y="3609975"/>
              <a:ext cx="282575" cy="279400"/>
            </a:xfrm>
            <a:custGeom>
              <a:avLst/>
              <a:gdLst>
                <a:gd name="T0" fmla="*/ 61097 w 74"/>
                <a:gd name="T1" fmla="*/ 233471 h 73"/>
                <a:gd name="T2" fmla="*/ 80190 w 74"/>
                <a:gd name="T3" fmla="*/ 256436 h 73"/>
                <a:gd name="T4" fmla="*/ 118376 w 74"/>
                <a:gd name="T5" fmla="*/ 260263 h 73"/>
                <a:gd name="T6" fmla="*/ 148925 w 74"/>
                <a:gd name="T7" fmla="*/ 252608 h 73"/>
                <a:gd name="T8" fmla="*/ 179473 w 74"/>
                <a:gd name="T9" fmla="*/ 260263 h 73"/>
                <a:gd name="T10" fmla="*/ 190929 w 74"/>
                <a:gd name="T11" fmla="*/ 264090 h 73"/>
                <a:gd name="T12" fmla="*/ 213841 w 74"/>
                <a:gd name="T13" fmla="*/ 279400 h 73"/>
                <a:gd name="T14" fmla="*/ 210022 w 74"/>
                <a:gd name="T15" fmla="*/ 264090 h 73"/>
                <a:gd name="T16" fmla="*/ 225296 w 74"/>
                <a:gd name="T17" fmla="*/ 229644 h 73"/>
                <a:gd name="T18" fmla="*/ 255845 w 74"/>
                <a:gd name="T19" fmla="*/ 153096 h 73"/>
                <a:gd name="T20" fmla="*/ 282575 w 74"/>
                <a:gd name="T21" fmla="*/ 141614 h 73"/>
                <a:gd name="T22" fmla="*/ 274938 w 74"/>
                <a:gd name="T23" fmla="*/ 114822 h 73"/>
                <a:gd name="T24" fmla="*/ 267301 w 74"/>
                <a:gd name="T25" fmla="*/ 88030 h 73"/>
                <a:gd name="T26" fmla="*/ 263482 w 74"/>
                <a:gd name="T27" fmla="*/ 72721 h 73"/>
                <a:gd name="T28" fmla="*/ 217659 w 74"/>
                <a:gd name="T29" fmla="*/ 84203 h 73"/>
                <a:gd name="T30" fmla="*/ 190929 w 74"/>
                <a:gd name="T31" fmla="*/ 68893 h 73"/>
                <a:gd name="T32" fmla="*/ 168018 w 74"/>
                <a:gd name="T33" fmla="*/ 61238 h 73"/>
                <a:gd name="T34" fmla="*/ 137469 w 74"/>
                <a:gd name="T35" fmla="*/ 38274 h 73"/>
                <a:gd name="T36" fmla="*/ 95465 w 74"/>
                <a:gd name="T37" fmla="*/ 11482 h 73"/>
                <a:gd name="T38" fmla="*/ 53460 w 74"/>
                <a:gd name="T39" fmla="*/ 0 h 73"/>
                <a:gd name="T40" fmla="*/ 53460 w 74"/>
                <a:gd name="T41" fmla="*/ 22964 h 73"/>
                <a:gd name="T42" fmla="*/ 34367 w 74"/>
                <a:gd name="T43" fmla="*/ 61238 h 73"/>
                <a:gd name="T44" fmla="*/ 30549 w 74"/>
                <a:gd name="T45" fmla="*/ 91858 h 73"/>
                <a:gd name="T46" fmla="*/ 0 w 74"/>
                <a:gd name="T47" fmla="*/ 107167 h 73"/>
                <a:gd name="T48" fmla="*/ 0 w 74"/>
                <a:gd name="T49" fmla="*/ 141614 h 73"/>
                <a:gd name="T50" fmla="*/ 15274 w 74"/>
                <a:gd name="T51" fmla="*/ 145441 h 73"/>
                <a:gd name="T52" fmla="*/ 26730 w 74"/>
                <a:gd name="T53" fmla="*/ 153096 h 73"/>
                <a:gd name="T54" fmla="*/ 11456 w 74"/>
                <a:gd name="T55" fmla="*/ 164578 h 73"/>
                <a:gd name="T56" fmla="*/ 30549 w 74"/>
                <a:gd name="T57" fmla="*/ 172233 h 73"/>
                <a:gd name="T58" fmla="*/ 19093 w 74"/>
                <a:gd name="T59" fmla="*/ 176060 h 73"/>
                <a:gd name="T60" fmla="*/ 22911 w 74"/>
                <a:gd name="T61" fmla="*/ 199025 h 73"/>
                <a:gd name="T62" fmla="*/ 30549 w 74"/>
                <a:gd name="T63" fmla="*/ 225816 h 73"/>
                <a:gd name="T64" fmla="*/ 38186 w 74"/>
                <a:gd name="T65" fmla="*/ 248781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4" h="73">
                  <a:moveTo>
                    <a:pt x="13" y="62"/>
                  </a:moveTo>
                  <a:cubicBezTo>
                    <a:pt x="16" y="61"/>
                    <a:pt x="16" y="61"/>
                    <a:pt x="16" y="61"/>
                  </a:cubicBezTo>
                  <a:cubicBezTo>
                    <a:pt x="16" y="61"/>
                    <a:pt x="18" y="62"/>
                    <a:pt x="19" y="63"/>
                  </a:cubicBezTo>
                  <a:cubicBezTo>
                    <a:pt x="19" y="63"/>
                    <a:pt x="21" y="67"/>
                    <a:pt x="21" y="67"/>
                  </a:cubicBezTo>
                  <a:cubicBezTo>
                    <a:pt x="27" y="67"/>
                    <a:pt x="27" y="67"/>
                    <a:pt x="27" y="67"/>
                  </a:cubicBezTo>
                  <a:cubicBezTo>
                    <a:pt x="27" y="67"/>
                    <a:pt x="30" y="68"/>
                    <a:pt x="31" y="68"/>
                  </a:cubicBezTo>
                  <a:cubicBezTo>
                    <a:pt x="31" y="68"/>
                    <a:pt x="34" y="69"/>
                    <a:pt x="35" y="69"/>
                  </a:cubicBezTo>
                  <a:cubicBezTo>
                    <a:pt x="35" y="69"/>
                    <a:pt x="39" y="66"/>
                    <a:pt x="39" y="66"/>
                  </a:cubicBezTo>
                  <a:cubicBezTo>
                    <a:pt x="39" y="66"/>
                    <a:pt x="44" y="66"/>
                    <a:pt x="44" y="66"/>
                  </a:cubicBezTo>
                  <a:cubicBezTo>
                    <a:pt x="44" y="66"/>
                    <a:pt x="47" y="68"/>
                    <a:pt x="47" y="68"/>
                  </a:cubicBezTo>
                  <a:cubicBezTo>
                    <a:pt x="48" y="68"/>
                    <a:pt x="49" y="70"/>
                    <a:pt x="50" y="71"/>
                  </a:cubicBezTo>
                  <a:cubicBezTo>
                    <a:pt x="50" y="69"/>
                    <a:pt x="50" y="69"/>
                    <a:pt x="50" y="69"/>
                  </a:cubicBezTo>
                  <a:cubicBezTo>
                    <a:pt x="50" y="69"/>
                    <a:pt x="52" y="69"/>
                    <a:pt x="52" y="69"/>
                  </a:cubicBezTo>
                  <a:cubicBezTo>
                    <a:pt x="52" y="70"/>
                    <a:pt x="56" y="73"/>
                    <a:pt x="56" y="73"/>
                  </a:cubicBezTo>
                  <a:cubicBezTo>
                    <a:pt x="56" y="73"/>
                    <a:pt x="57" y="72"/>
                    <a:pt x="57" y="71"/>
                  </a:cubicBezTo>
                  <a:cubicBezTo>
                    <a:pt x="57" y="71"/>
                    <a:pt x="55" y="69"/>
                    <a:pt x="55" y="69"/>
                  </a:cubicBezTo>
                  <a:cubicBezTo>
                    <a:pt x="55" y="68"/>
                    <a:pt x="56" y="66"/>
                    <a:pt x="56" y="65"/>
                  </a:cubicBezTo>
                  <a:cubicBezTo>
                    <a:pt x="56" y="64"/>
                    <a:pt x="59" y="60"/>
                    <a:pt x="59" y="60"/>
                  </a:cubicBezTo>
                  <a:cubicBezTo>
                    <a:pt x="59" y="45"/>
                    <a:pt x="59" y="45"/>
                    <a:pt x="59" y="45"/>
                  </a:cubicBezTo>
                  <a:cubicBezTo>
                    <a:pt x="67" y="40"/>
                    <a:pt x="67" y="40"/>
                    <a:pt x="67" y="40"/>
                  </a:cubicBezTo>
                  <a:cubicBezTo>
                    <a:pt x="73" y="40"/>
                    <a:pt x="73" y="40"/>
                    <a:pt x="73" y="40"/>
                  </a:cubicBezTo>
                  <a:cubicBezTo>
                    <a:pt x="73" y="40"/>
                    <a:pt x="74" y="37"/>
                    <a:pt x="74" y="37"/>
                  </a:cubicBezTo>
                  <a:cubicBezTo>
                    <a:pt x="74" y="36"/>
                    <a:pt x="74" y="34"/>
                    <a:pt x="74" y="34"/>
                  </a:cubicBezTo>
                  <a:cubicBezTo>
                    <a:pt x="74" y="33"/>
                    <a:pt x="73" y="31"/>
                    <a:pt x="72" y="30"/>
                  </a:cubicBezTo>
                  <a:cubicBezTo>
                    <a:pt x="72" y="30"/>
                    <a:pt x="70" y="28"/>
                    <a:pt x="70" y="28"/>
                  </a:cubicBezTo>
                  <a:cubicBezTo>
                    <a:pt x="70" y="27"/>
                    <a:pt x="70" y="23"/>
                    <a:pt x="70" y="23"/>
                  </a:cubicBezTo>
                  <a:cubicBezTo>
                    <a:pt x="70" y="22"/>
                    <a:pt x="69" y="21"/>
                    <a:pt x="69" y="20"/>
                  </a:cubicBezTo>
                  <a:cubicBezTo>
                    <a:pt x="69" y="20"/>
                    <a:pt x="69" y="19"/>
                    <a:pt x="69" y="19"/>
                  </a:cubicBezTo>
                  <a:cubicBezTo>
                    <a:pt x="60" y="19"/>
                    <a:pt x="60" y="19"/>
                    <a:pt x="60" y="19"/>
                  </a:cubicBezTo>
                  <a:cubicBezTo>
                    <a:pt x="57" y="22"/>
                    <a:pt x="57" y="22"/>
                    <a:pt x="57" y="22"/>
                  </a:cubicBezTo>
                  <a:cubicBezTo>
                    <a:pt x="52" y="26"/>
                    <a:pt x="52" y="26"/>
                    <a:pt x="52" y="26"/>
                  </a:cubicBezTo>
                  <a:cubicBezTo>
                    <a:pt x="52" y="26"/>
                    <a:pt x="50" y="20"/>
                    <a:pt x="50" y="18"/>
                  </a:cubicBezTo>
                  <a:cubicBezTo>
                    <a:pt x="49" y="16"/>
                    <a:pt x="50" y="15"/>
                    <a:pt x="50" y="15"/>
                  </a:cubicBezTo>
                  <a:cubicBezTo>
                    <a:pt x="50" y="15"/>
                    <a:pt x="44" y="16"/>
                    <a:pt x="44" y="16"/>
                  </a:cubicBezTo>
                  <a:cubicBezTo>
                    <a:pt x="43" y="16"/>
                    <a:pt x="39" y="14"/>
                    <a:pt x="38" y="13"/>
                  </a:cubicBezTo>
                  <a:cubicBezTo>
                    <a:pt x="38" y="12"/>
                    <a:pt x="36" y="10"/>
                    <a:pt x="36" y="10"/>
                  </a:cubicBezTo>
                  <a:cubicBezTo>
                    <a:pt x="35" y="9"/>
                    <a:pt x="32" y="9"/>
                    <a:pt x="31" y="9"/>
                  </a:cubicBezTo>
                  <a:cubicBezTo>
                    <a:pt x="31" y="9"/>
                    <a:pt x="25" y="3"/>
                    <a:pt x="25" y="3"/>
                  </a:cubicBezTo>
                  <a:cubicBezTo>
                    <a:pt x="25" y="3"/>
                    <a:pt x="21" y="3"/>
                    <a:pt x="20" y="2"/>
                  </a:cubicBezTo>
                  <a:cubicBezTo>
                    <a:pt x="20" y="2"/>
                    <a:pt x="14" y="0"/>
                    <a:pt x="14" y="0"/>
                  </a:cubicBezTo>
                  <a:cubicBezTo>
                    <a:pt x="14" y="0"/>
                    <a:pt x="10" y="2"/>
                    <a:pt x="10" y="3"/>
                  </a:cubicBezTo>
                  <a:cubicBezTo>
                    <a:pt x="10" y="4"/>
                    <a:pt x="14" y="6"/>
                    <a:pt x="14" y="6"/>
                  </a:cubicBezTo>
                  <a:cubicBezTo>
                    <a:pt x="14" y="6"/>
                    <a:pt x="12" y="11"/>
                    <a:pt x="12" y="11"/>
                  </a:cubicBezTo>
                  <a:cubicBezTo>
                    <a:pt x="12" y="12"/>
                    <a:pt x="9" y="16"/>
                    <a:pt x="9" y="16"/>
                  </a:cubicBezTo>
                  <a:cubicBezTo>
                    <a:pt x="11" y="20"/>
                    <a:pt x="11" y="20"/>
                    <a:pt x="11" y="20"/>
                  </a:cubicBezTo>
                  <a:cubicBezTo>
                    <a:pt x="11" y="20"/>
                    <a:pt x="9" y="24"/>
                    <a:pt x="8" y="24"/>
                  </a:cubicBezTo>
                  <a:cubicBezTo>
                    <a:pt x="8" y="25"/>
                    <a:pt x="4" y="29"/>
                    <a:pt x="4" y="29"/>
                  </a:cubicBezTo>
                  <a:cubicBezTo>
                    <a:pt x="4" y="29"/>
                    <a:pt x="2" y="29"/>
                    <a:pt x="0" y="28"/>
                  </a:cubicBezTo>
                  <a:cubicBezTo>
                    <a:pt x="0" y="31"/>
                    <a:pt x="0" y="34"/>
                    <a:pt x="0" y="35"/>
                  </a:cubicBezTo>
                  <a:cubicBezTo>
                    <a:pt x="0" y="36"/>
                    <a:pt x="0" y="37"/>
                    <a:pt x="0" y="37"/>
                  </a:cubicBezTo>
                  <a:cubicBezTo>
                    <a:pt x="1" y="38"/>
                    <a:pt x="0" y="39"/>
                    <a:pt x="2" y="39"/>
                  </a:cubicBezTo>
                  <a:cubicBezTo>
                    <a:pt x="3" y="39"/>
                    <a:pt x="3" y="38"/>
                    <a:pt x="4" y="38"/>
                  </a:cubicBezTo>
                  <a:cubicBezTo>
                    <a:pt x="5" y="38"/>
                    <a:pt x="9" y="38"/>
                    <a:pt x="9" y="39"/>
                  </a:cubicBezTo>
                  <a:cubicBezTo>
                    <a:pt x="9" y="39"/>
                    <a:pt x="8" y="40"/>
                    <a:pt x="7" y="40"/>
                  </a:cubicBezTo>
                  <a:cubicBezTo>
                    <a:pt x="5" y="40"/>
                    <a:pt x="4" y="40"/>
                    <a:pt x="3" y="41"/>
                  </a:cubicBezTo>
                  <a:cubicBezTo>
                    <a:pt x="3" y="42"/>
                    <a:pt x="2" y="43"/>
                    <a:pt x="3" y="43"/>
                  </a:cubicBezTo>
                  <a:cubicBezTo>
                    <a:pt x="4" y="43"/>
                    <a:pt x="6" y="42"/>
                    <a:pt x="6" y="42"/>
                  </a:cubicBezTo>
                  <a:cubicBezTo>
                    <a:pt x="7" y="42"/>
                    <a:pt x="8" y="44"/>
                    <a:pt x="8" y="45"/>
                  </a:cubicBezTo>
                  <a:cubicBezTo>
                    <a:pt x="7" y="45"/>
                    <a:pt x="7" y="47"/>
                    <a:pt x="6" y="46"/>
                  </a:cubicBezTo>
                  <a:cubicBezTo>
                    <a:pt x="5" y="46"/>
                    <a:pt x="5" y="45"/>
                    <a:pt x="5" y="46"/>
                  </a:cubicBezTo>
                  <a:cubicBezTo>
                    <a:pt x="4" y="47"/>
                    <a:pt x="4" y="47"/>
                    <a:pt x="5" y="49"/>
                  </a:cubicBezTo>
                  <a:cubicBezTo>
                    <a:pt x="5" y="50"/>
                    <a:pt x="6" y="51"/>
                    <a:pt x="6" y="52"/>
                  </a:cubicBezTo>
                  <a:cubicBezTo>
                    <a:pt x="6" y="53"/>
                    <a:pt x="6" y="54"/>
                    <a:pt x="7" y="55"/>
                  </a:cubicBezTo>
                  <a:cubicBezTo>
                    <a:pt x="8" y="56"/>
                    <a:pt x="8" y="57"/>
                    <a:pt x="8" y="59"/>
                  </a:cubicBezTo>
                  <a:cubicBezTo>
                    <a:pt x="8" y="60"/>
                    <a:pt x="8" y="63"/>
                    <a:pt x="8" y="65"/>
                  </a:cubicBezTo>
                  <a:cubicBezTo>
                    <a:pt x="10" y="65"/>
                    <a:pt x="10" y="65"/>
                    <a:pt x="10" y="65"/>
                  </a:cubicBezTo>
                  <a:lnTo>
                    <a:pt x="13" y="62"/>
                  </a:lnTo>
                  <a:close/>
                </a:path>
              </a:pathLst>
            </a:custGeom>
            <a:grpFill/>
            <a:ln w="3175" cap="rnd">
              <a:solidFill>
                <a:schemeClr val="accent5"/>
              </a:solidFill>
              <a:prstDash val="solid"/>
              <a:round/>
              <a:headEnd/>
              <a:tailEnd/>
            </a:ln>
          </p:spPr>
          <p:txBody>
            <a:bodyPr/>
            <a:lstStyle/>
            <a:p>
              <a:endParaRPr lang="ru-RU"/>
            </a:p>
          </p:txBody>
        </p:sp>
        <p:sp>
          <p:nvSpPr>
            <p:cNvPr id="139" name="Freeform 21">
              <a:extLst>
                <a:ext uri="{FF2B5EF4-FFF2-40B4-BE49-F238E27FC236}">
                  <a16:creationId xmlns:a16="http://schemas.microsoft.com/office/drawing/2014/main" id="{62F7C78B-ED84-2F6D-80B7-61231BBE13AB}"/>
                </a:ext>
              </a:extLst>
            </p:cNvPr>
            <p:cNvSpPr>
              <a:spLocks/>
            </p:cNvSpPr>
            <p:nvPr/>
          </p:nvSpPr>
          <p:spPr bwMode="auto">
            <a:xfrm>
              <a:off x="2963863" y="1533525"/>
              <a:ext cx="398462" cy="606425"/>
            </a:xfrm>
            <a:custGeom>
              <a:avLst/>
              <a:gdLst>
                <a:gd name="T0" fmla="*/ 72103 w 105"/>
                <a:gd name="T1" fmla="*/ 583541 h 159"/>
                <a:gd name="T2" fmla="*/ 102462 w 105"/>
                <a:gd name="T3" fmla="*/ 591169 h 159"/>
                <a:gd name="T4" fmla="*/ 129026 w 105"/>
                <a:gd name="T5" fmla="*/ 591169 h 159"/>
                <a:gd name="T6" fmla="*/ 144205 w 105"/>
                <a:gd name="T7" fmla="*/ 579727 h 159"/>
                <a:gd name="T8" fmla="*/ 174564 w 105"/>
                <a:gd name="T9" fmla="*/ 560657 h 159"/>
                <a:gd name="T10" fmla="*/ 185949 w 105"/>
                <a:gd name="T11" fmla="*/ 537773 h 159"/>
                <a:gd name="T12" fmla="*/ 212513 w 105"/>
                <a:gd name="T13" fmla="*/ 530145 h 159"/>
                <a:gd name="T14" fmla="*/ 235282 w 105"/>
                <a:gd name="T15" fmla="*/ 514889 h 159"/>
                <a:gd name="T16" fmla="*/ 250462 w 105"/>
                <a:gd name="T17" fmla="*/ 495819 h 159"/>
                <a:gd name="T18" fmla="*/ 231487 w 105"/>
                <a:gd name="T19" fmla="*/ 453865 h 159"/>
                <a:gd name="T20" fmla="*/ 246667 w 105"/>
                <a:gd name="T21" fmla="*/ 423353 h 159"/>
                <a:gd name="T22" fmla="*/ 258052 w 105"/>
                <a:gd name="T23" fmla="*/ 415725 h 159"/>
                <a:gd name="T24" fmla="*/ 273231 w 105"/>
                <a:gd name="T25" fmla="*/ 400469 h 159"/>
                <a:gd name="T26" fmla="*/ 356718 w 105"/>
                <a:gd name="T27" fmla="*/ 366143 h 159"/>
                <a:gd name="T28" fmla="*/ 364308 w 105"/>
                <a:gd name="T29" fmla="*/ 354701 h 159"/>
                <a:gd name="T30" fmla="*/ 379488 w 105"/>
                <a:gd name="T31" fmla="*/ 221212 h 159"/>
                <a:gd name="T32" fmla="*/ 352923 w 105"/>
                <a:gd name="T33" fmla="*/ 228840 h 159"/>
                <a:gd name="T34" fmla="*/ 322564 w 105"/>
                <a:gd name="T35" fmla="*/ 225026 h 159"/>
                <a:gd name="T36" fmla="*/ 299795 w 105"/>
                <a:gd name="T37" fmla="*/ 217398 h 159"/>
                <a:gd name="T38" fmla="*/ 311180 w 105"/>
                <a:gd name="T39" fmla="*/ 190700 h 159"/>
                <a:gd name="T40" fmla="*/ 299795 w 105"/>
                <a:gd name="T41" fmla="*/ 164002 h 159"/>
                <a:gd name="T42" fmla="*/ 284616 w 105"/>
                <a:gd name="T43" fmla="*/ 122048 h 159"/>
                <a:gd name="T44" fmla="*/ 284616 w 105"/>
                <a:gd name="T45" fmla="*/ 95350 h 159"/>
                <a:gd name="T46" fmla="*/ 269436 w 105"/>
                <a:gd name="T47" fmla="*/ 41954 h 159"/>
                <a:gd name="T48" fmla="*/ 235282 w 105"/>
                <a:gd name="T49" fmla="*/ 0 h 159"/>
                <a:gd name="T50" fmla="*/ 201128 w 105"/>
                <a:gd name="T51" fmla="*/ 0 h 159"/>
                <a:gd name="T52" fmla="*/ 204923 w 105"/>
                <a:gd name="T53" fmla="*/ 15256 h 159"/>
                <a:gd name="T54" fmla="*/ 212513 w 105"/>
                <a:gd name="T55" fmla="*/ 34326 h 159"/>
                <a:gd name="T56" fmla="*/ 189744 w 105"/>
                <a:gd name="T57" fmla="*/ 53396 h 159"/>
                <a:gd name="T58" fmla="*/ 72103 w 105"/>
                <a:gd name="T59" fmla="*/ 64838 h 159"/>
                <a:gd name="T60" fmla="*/ 64513 w 105"/>
                <a:gd name="T61" fmla="*/ 87722 h 159"/>
                <a:gd name="T62" fmla="*/ 64513 w 105"/>
                <a:gd name="T63" fmla="*/ 129676 h 159"/>
                <a:gd name="T64" fmla="*/ 53128 w 105"/>
                <a:gd name="T65" fmla="*/ 148746 h 159"/>
                <a:gd name="T66" fmla="*/ 53128 w 105"/>
                <a:gd name="T67" fmla="*/ 194514 h 159"/>
                <a:gd name="T68" fmla="*/ 45539 w 105"/>
                <a:gd name="T69" fmla="*/ 228840 h 159"/>
                <a:gd name="T70" fmla="*/ 41744 w 105"/>
                <a:gd name="T71" fmla="*/ 251724 h 159"/>
                <a:gd name="T72" fmla="*/ 22769 w 105"/>
                <a:gd name="T73" fmla="*/ 251724 h 159"/>
                <a:gd name="T74" fmla="*/ 18974 w 105"/>
                <a:gd name="T75" fmla="*/ 270794 h 159"/>
                <a:gd name="T76" fmla="*/ 15180 w 105"/>
                <a:gd name="T77" fmla="*/ 297492 h 159"/>
                <a:gd name="T78" fmla="*/ 26564 w 105"/>
                <a:gd name="T79" fmla="*/ 305119 h 159"/>
                <a:gd name="T80" fmla="*/ 34154 w 105"/>
                <a:gd name="T81" fmla="*/ 308933 h 159"/>
                <a:gd name="T82" fmla="*/ 26564 w 105"/>
                <a:gd name="T83" fmla="*/ 335631 h 159"/>
                <a:gd name="T84" fmla="*/ 22769 w 105"/>
                <a:gd name="T85" fmla="*/ 369957 h 159"/>
                <a:gd name="T86" fmla="*/ 18974 w 105"/>
                <a:gd name="T87" fmla="*/ 400469 h 159"/>
                <a:gd name="T88" fmla="*/ 18974 w 105"/>
                <a:gd name="T89" fmla="*/ 457679 h 159"/>
                <a:gd name="T90" fmla="*/ 30359 w 105"/>
                <a:gd name="T91" fmla="*/ 472935 h 159"/>
                <a:gd name="T92" fmla="*/ 22769 w 105"/>
                <a:gd name="T93" fmla="*/ 492005 h 159"/>
                <a:gd name="T94" fmla="*/ 34154 w 105"/>
                <a:gd name="T95" fmla="*/ 507261 h 159"/>
                <a:gd name="T96" fmla="*/ 18974 w 105"/>
                <a:gd name="T97" fmla="*/ 537773 h 159"/>
                <a:gd name="T98" fmla="*/ 11385 w 105"/>
                <a:gd name="T99" fmla="*/ 556843 h 159"/>
                <a:gd name="T100" fmla="*/ 0 w 105"/>
                <a:gd name="T101" fmla="*/ 572099 h 159"/>
                <a:gd name="T102" fmla="*/ 7590 w 105"/>
                <a:gd name="T103" fmla="*/ 587355 h 159"/>
                <a:gd name="T104" fmla="*/ 7590 w 105"/>
                <a:gd name="T105" fmla="*/ 606425 h 159"/>
                <a:gd name="T106" fmla="*/ 49333 w 105"/>
                <a:gd name="T107" fmla="*/ 594983 h 1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5" h="159">
                  <a:moveTo>
                    <a:pt x="13" y="156"/>
                  </a:moveTo>
                  <a:cubicBezTo>
                    <a:pt x="19" y="153"/>
                    <a:pt x="19" y="153"/>
                    <a:pt x="19" y="153"/>
                  </a:cubicBezTo>
                  <a:cubicBezTo>
                    <a:pt x="19" y="153"/>
                    <a:pt x="22" y="153"/>
                    <a:pt x="22" y="153"/>
                  </a:cubicBezTo>
                  <a:cubicBezTo>
                    <a:pt x="23" y="153"/>
                    <a:pt x="26" y="155"/>
                    <a:pt x="27" y="155"/>
                  </a:cubicBezTo>
                  <a:cubicBezTo>
                    <a:pt x="27" y="156"/>
                    <a:pt x="31" y="159"/>
                    <a:pt x="31" y="159"/>
                  </a:cubicBezTo>
                  <a:cubicBezTo>
                    <a:pt x="34" y="155"/>
                    <a:pt x="34" y="155"/>
                    <a:pt x="34" y="155"/>
                  </a:cubicBezTo>
                  <a:cubicBezTo>
                    <a:pt x="34" y="155"/>
                    <a:pt x="37" y="156"/>
                    <a:pt x="37" y="155"/>
                  </a:cubicBezTo>
                  <a:cubicBezTo>
                    <a:pt x="37" y="155"/>
                    <a:pt x="38" y="152"/>
                    <a:pt x="38" y="152"/>
                  </a:cubicBezTo>
                  <a:cubicBezTo>
                    <a:pt x="39" y="152"/>
                    <a:pt x="46" y="152"/>
                    <a:pt x="46" y="152"/>
                  </a:cubicBezTo>
                  <a:cubicBezTo>
                    <a:pt x="46" y="152"/>
                    <a:pt x="45" y="148"/>
                    <a:pt x="46" y="147"/>
                  </a:cubicBezTo>
                  <a:cubicBezTo>
                    <a:pt x="47" y="147"/>
                    <a:pt x="48" y="146"/>
                    <a:pt x="48" y="146"/>
                  </a:cubicBezTo>
                  <a:cubicBezTo>
                    <a:pt x="49" y="141"/>
                    <a:pt x="49" y="141"/>
                    <a:pt x="49" y="141"/>
                  </a:cubicBezTo>
                  <a:cubicBezTo>
                    <a:pt x="49" y="141"/>
                    <a:pt x="52" y="140"/>
                    <a:pt x="53" y="139"/>
                  </a:cubicBezTo>
                  <a:cubicBezTo>
                    <a:pt x="53" y="139"/>
                    <a:pt x="56" y="139"/>
                    <a:pt x="56" y="139"/>
                  </a:cubicBezTo>
                  <a:cubicBezTo>
                    <a:pt x="56" y="139"/>
                    <a:pt x="58" y="135"/>
                    <a:pt x="59" y="136"/>
                  </a:cubicBezTo>
                  <a:cubicBezTo>
                    <a:pt x="59" y="136"/>
                    <a:pt x="60" y="136"/>
                    <a:pt x="62" y="135"/>
                  </a:cubicBezTo>
                  <a:cubicBezTo>
                    <a:pt x="62" y="133"/>
                    <a:pt x="62" y="131"/>
                    <a:pt x="64" y="130"/>
                  </a:cubicBezTo>
                  <a:cubicBezTo>
                    <a:pt x="64" y="130"/>
                    <a:pt x="65" y="130"/>
                    <a:pt x="66" y="130"/>
                  </a:cubicBezTo>
                  <a:cubicBezTo>
                    <a:pt x="66" y="129"/>
                    <a:pt x="66" y="129"/>
                    <a:pt x="66" y="128"/>
                  </a:cubicBezTo>
                  <a:cubicBezTo>
                    <a:pt x="66" y="125"/>
                    <a:pt x="62" y="123"/>
                    <a:pt x="61" y="119"/>
                  </a:cubicBezTo>
                  <a:cubicBezTo>
                    <a:pt x="61" y="117"/>
                    <a:pt x="62" y="115"/>
                    <a:pt x="63" y="113"/>
                  </a:cubicBezTo>
                  <a:cubicBezTo>
                    <a:pt x="64" y="112"/>
                    <a:pt x="65" y="112"/>
                    <a:pt x="65" y="111"/>
                  </a:cubicBezTo>
                  <a:cubicBezTo>
                    <a:pt x="65" y="111"/>
                    <a:pt x="65" y="110"/>
                    <a:pt x="65" y="110"/>
                  </a:cubicBezTo>
                  <a:cubicBezTo>
                    <a:pt x="65" y="109"/>
                    <a:pt x="67" y="109"/>
                    <a:pt x="68" y="109"/>
                  </a:cubicBezTo>
                  <a:cubicBezTo>
                    <a:pt x="68" y="109"/>
                    <a:pt x="69" y="107"/>
                    <a:pt x="69" y="107"/>
                  </a:cubicBezTo>
                  <a:cubicBezTo>
                    <a:pt x="70" y="106"/>
                    <a:pt x="71" y="106"/>
                    <a:pt x="72" y="105"/>
                  </a:cubicBezTo>
                  <a:cubicBezTo>
                    <a:pt x="74" y="105"/>
                    <a:pt x="76" y="104"/>
                    <a:pt x="78" y="103"/>
                  </a:cubicBezTo>
                  <a:cubicBezTo>
                    <a:pt x="83" y="101"/>
                    <a:pt x="88" y="98"/>
                    <a:pt x="94" y="96"/>
                  </a:cubicBezTo>
                  <a:cubicBezTo>
                    <a:pt x="94" y="96"/>
                    <a:pt x="95" y="95"/>
                    <a:pt x="96" y="95"/>
                  </a:cubicBezTo>
                  <a:cubicBezTo>
                    <a:pt x="96" y="94"/>
                    <a:pt x="96" y="93"/>
                    <a:pt x="96" y="93"/>
                  </a:cubicBezTo>
                  <a:cubicBezTo>
                    <a:pt x="99" y="83"/>
                    <a:pt x="102" y="73"/>
                    <a:pt x="105" y="64"/>
                  </a:cubicBezTo>
                  <a:cubicBezTo>
                    <a:pt x="100" y="58"/>
                    <a:pt x="100" y="58"/>
                    <a:pt x="100" y="58"/>
                  </a:cubicBezTo>
                  <a:cubicBezTo>
                    <a:pt x="97" y="58"/>
                    <a:pt x="97" y="58"/>
                    <a:pt x="97" y="58"/>
                  </a:cubicBezTo>
                  <a:cubicBezTo>
                    <a:pt x="97" y="58"/>
                    <a:pt x="93" y="60"/>
                    <a:pt x="93" y="60"/>
                  </a:cubicBezTo>
                  <a:cubicBezTo>
                    <a:pt x="92" y="60"/>
                    <a:pt x="88" y="60"/>
                    <a:pt x="88" y="60"/>
                  </a:cubicBezTo>
                  <a:cubicBezTo>
                    <a:pt x="88" y="60"/>
                    <a:pt x="86" y="59"/>
                    <a:pt x="85" y="59"/>
                  </a:cubicBezTo>
                  <a:cubicBezTo>
                    <a:pt x="85" y="59"/>
                    <a:pt x="81" y="59"/>
                    <a:pt x="81" y="58"/>
                  </a:cubicBezTo>
                  <a:cubicBezTo>
                    <a:pt x="80" y="58"/>
                    <a:pt x="79" y="58"/>
                    <a:pt x="79" y="57"/>
                  </a:cubicBezTo>
                  <a:cubicBezTo>
                    <a:pt x="79" y="56"/>
                    <a:pt x="80" y="52"/>
                    <a:pt x="80" y="52"/>
                  </a:cubicBezTo>
                  <a:cubicBezTo>
                    <a:pt x="80" y="52"/>
                    <a:pt x="82" y="50"/>
                    <a:pt x="82" y="50"/>
                  </a:cubicBezTo>
                  <a:cubicBezTo>
                    <a:pt x="82" y="50"/>
                    <a:pt x="79" y="47"/>
                    <a:pt x="79" y="46"/>
                  </a:cubicBezTo>
                  <a:cubicBezTo>
                    <a:pt x="79" y="46"/>
                    <a:pt x="78" y="44"/>
                    <a:pt x="79" y="43"/>
                  </a:cubicBezTo>
                  <a:cubicBezTo>
                    <a:pt x="79" y="43"/>
                    <a:pt x="79" y="36"/>
                    <a:pt x="79" y="36"/>
                  </a:cubicBezTo>
                  <a:cubicBezTo>
                    <a:pt x="79" y="36"/>
                    <a:pt x="75" y="33"/>
                    <a:pt x="75" y="32"/>
                  </a:cubicBezTo>
                  <a:cubicBezTo>
                    <a:pt x="75" y="32"/>
                    <a:pt x="75" y="28"/>
                    <a:pt x="75" y="27"/>
                  </a:cubicBezTo>
                  <a:cubicBezTo>
                    <a:pt x="75" y="27"/>
                    <a:pt x="75" y="26"/>
                    <a:pt x="75" y="25"/>
                  </a:cubicBezTo>
                  <a:cubicBezTo>
                    <a:pt x="74" y="25"/>
                    <a:pt x="72" y="22"/>
                    <a:pt x="72" y="21"/>
                  </a:cubicBezTo>
                  <a:cubicBezTo>
                    <a:pt x="71" y="21"/>
                    <a:pt x="71" y="11"/>
                    <a:pt x="71" y="11"/>
                  </a:cubicBezTo>
                  <a:cubicBezTo>
                    <a:pt x="64" y="0"/>
                    <a:pt x="64" y="0"/>
                    <a:pt x="64" y="0"/>
                  </a:cubicBezTo>
                  <a:cubicBezTo>
                    <a:pt x="64" y="0"/>
                    <a:pt x="62" y="1"/>
                    <a:pt x="62" y="0"/>
                  </a:cubicBezTo>
                  <a:cubicBezTo>
                    <a:pt x="59" y="2"/>
                    <a:pt x="59" y="2"/>
                    <a:pt x="59" y="2"/>
                  </a:cubicBezTo>
                  <a:cubicBezTo>
                    <a:pt x="53" y="0"/>
                    <a:pt x="53" y="0"/>
                    <a:pt x="53" y="0"/>
                  </a:cubicBezTo>
                  <a:cubicBezTo>
                    <a:pt x="51" y="2"/>
                    <a:pt x="51" y="2"/>
                    <a:pt x="51" y="2"/>
                  </a:cubicBezTo>
                  <a:cubicBezTo>
                    <a:pt x="54" y="4"/>
                    <a:pt x="54" y="4"/>
                    <a:pt x="54" y="4"/>
                  </a:cubicBezTo>
                  <a:cubicBezTo>
                    <a:pt x="59" y="4"/>
                    <a:pt x="59" y="4"/>
                    <a:pt x="59" y="4"/>
                  </a:cubicBezTo>
                  <a:cubicBezTo>
                    <a:pt x="56" y="9"/>
                    <a:pt x="56" y="9"/>
                    <a:pt x="56" y="9"/>
                  </a:cubicBezTo>
                  <a:cubicBezTo>
                    <a:pt x="56" y="13"/>
                    <a:pt x="56" y="13"/>
                    <a:pt x="56" y="13"/>
                  </a:cubicBezTo>
                  <a:cubicBezTo>
                    <a:pt x="50" y="14"/>
                    <a:pt x="50" y="14"/>
                    <a:pt x="50" y="14"/>
                  </a:cubicBezTo>
                  <a:cubicBezTo>
                    <a:pt x="30" y="18"/>
                    <a:pt x="30" y="18"/>
                    <a:pt x="30" y="18"/>
                  </a:cubicBezTo>
                  <a:cubicBezTo>
                    <a:pt x="19" y="17"/>
                    <a:pt x="19" y="17"/>
                    <a:pt x="19" y="17"/>
                  </a:cubicBezTo>
                  <a:cubicBezTo>
                    <a:pt x="19" y="18"/>
                    <a:pt x="19" y="20"/>
                    <a:pt x="19" y="21"/>
                  </a:cubicBezTo>
                  <a:cubicBezTo>
                    <a:pt x="18" y="21"/>
                    <a:pt x="17" y="22"/>
                    <a:pt x="17" y="23"/>
                  </a:cubicBezTo>
                  <a:cubicBezTo>
                    <a:pt x="16" y="24"/>
                    <a:pt x="16" y="27"/>
                    <a:pt x="16" y="27"/>
                  </a:cubicBezTo>
                  <a:cubicBezTo>
                    <a:pt x="17" y="28"/>
                    <a:pt x="17" y="33"/>
                    <a:pt x="17" y="34"/>
                  </a:cubicBezTo>
                  <a:cubicBezTo>
                    <a:pt x="16" y="34"/>
                    <a:pt x="16" y="35"/>
                    <a:pt x="15" y="36"/>
                  </a:cubicBezTo>
                  <a:cubicBezTo>
                    <a:pt x="14" y="37"/>
                    <a:pt x="14" y="38"/>
                    <a:pt x="14" y="39"/>
                  </a:cubicBezTo>
                  <a:cubicBezTo>
                    <a:pt x="14" y="40"/>
                    <a:pt x="14" y="44"/>
                    <a:pt x="14" y="45"/>
                  </a:cubicBezTo>
                  <a:cubicBezTo>
                    <a:pt x="14" y="46"/>
                    <a:pt x="14" y="49"/>
                    <a:pt x="14" y="51"/>
                  </a:cubicBezTo>
                  <a:cubicBezTo>
                    <a:pt x="14" y="52"/>
                    <a:pt x="13" y="53"/>
                    <a:pt x="13" y="54"/>
                  </a:cubicBezTo>
                  <a:cubicBezTo>
                    <a:pt x="13" y="54"/>
                    <a:pt x="12" y="59"/>
                    <a:pt x="12" y="60"/>
                  </a:cubicBezTo>
                  <a:cubicBezTo>
                    <a:pt x="12" y="61"/>
                    <a:pt x="12" y="62"/>
                    <a:pt x="12" y="63"/>
                  </a:cubicBezTo>
                  <a:cubicBezTo>
                    <a:pt x="12" y="64"/>
                    <a:pt x="12" y="65"/>
                    <a:pt x="11" y="66"/>
                  </a:cubicBezTo>
                  <a:cubicBezTo>
                    <a:pt x="10" y="66"/>
                    <a:pt x="8" y="67"/>
                    <a:pt x="8" y="67"/>
                  </a:cubicBezTo>
                  <a:cubicBezTo>
                    <a:pt x="7" y="67"/>
                    <a:pt x="6" y="66"/>
                    <a:pt x="6" y="66"/>
                  </a:cubicBezTo>
                  <a:cubicBezTo>
                    <a:pt x="6" y="66"/>
                    <a:pt x="5" y="67"/>
                    <a:pt x="5" y="67"/>
                  </a:cubicBezTo>
                  <a:cubicBezTo>
                    <a:pt x="5" y="68"/>
                    <a:pt x="5" y="70"/>
                    <a:pt x="5" y="71"/>
                  </a:cubicBezTo>
                  <a:cubicBezTo>
                    <a:pt x="5" y="71"/>
                    <a:pt x="4" y="72"/>
                    <a:pt x="4" y="74"/>
                  </a:cubicBezTo>
                  <a:cubicBezTo>
                    <a:pt x="4" y="75"/>
                    <a:pt x="4" y="77"/>
                    <a:pt x="4" y="78"/>
                  </a:cubicBezTo>
                  <a:cubicBezTo>
                    <a:pt x="4" y="79"/>
                    <a:pt x="4" y="79"/>
                    <a:pt x="5" y="80"/>
                  </a:cubicBezTo>
                  <a:cubicBezTo>
                    <a:pt x="6" y="80"/>
                    <a:pt x="7" y="81"/>
                    <a:pt x="7" y="80"/>
                  </a:cubicBezTo>
                  <a:cubicBezTo>
                    <a:pt x="7" y="79"/>
                    <a:pt x="8" y="78"/>
                    <a:pt x="8" y="79"/>
                  </a:cubicBezTo>
                  <a:cubicBezTo>
                    <a:pt x="9" y="80"/>
                    <a:pt x="9" y="81"/>
                    <a:pt x="9" y="81"/>
                  </a:cubicBezTo>
                  <a:cubicBezTo>
                    <a:pt x="9" y="82"/>
                    <a:pt x="9" y="85"/>
                    <a:pt x="9" y="85"/>
                  </a:cubicBezTo>
                  <a:cubicBezTo>
                    <a:pt x="9" y="86"/>
                    <a:pt x="7" y="87"/>
                    <a:pt x="7" y="88"/>
                  </a:cubicBezTo>
                  <a:cubicBezTo>
                    <a:pt x="7" y="89"/>
                    <a:pt x="6" y="91"/>
                    <a:pt x="6" y="92"/>
                  </a:cubicBezTo>
                  <a:cubicBezTo>
                    <a:pt x="6" y="93"/>
                    <a:pt x="6" y="96"/>
                    <a:pt x="6" y="97"/>
                  </a:cubicBezTo>
                  <a:cubicBezTo>
                    <a:pt x="6" y="98"/>
                    <a:pt x="6" y="101"/>
                    <a:pt x="6" y="102"/>
                  </a:cubicBezTo>
                  <a:cubicBezTo>
                    <a:pt x="5" y="103"/>
                    <a:pt x="5" y="104"/>
                    <a:pt x="5" y="105"/>
                  </a:cubicBezTo>
                  <a:cubicBezTo>
                    <a:pt x="5" y="105"/>
                    <a:pt x="5" y="115"/>
                    <a:pt x="5" y="116"/>
                  </a:cubicBezTo>
                  <a:cubicBezTo>
                    <a:pt x="5" y="116"/>
                    <a:pt x="5" y="119"/>
                    <a:pt x="5" y="120"/>
                  </a:cubicBezTo>
                  <a:cubicBezTo>
                    <a:pt x="5" y="121"/>
                    <a:pt x="5" y="122"/>
                    <a:pt x="5" y="123"/>
                  </a:cubicBezTo>
                  <a:cubicBezTo>
                    <a:pt x="6" y="123"/>
                    <a:pt x="8" y="124"/>
                    <a:pt x="8" y="124"/>
                  </a:cubicBezTo>
                  <a:cubicBezTo>
                    <a:pt x="8" y="125"/>
                    <a:pt x="9" y="126"/>
                    <a:pt x="8" y="127"/>
                  </a:cubicBezTo>
                  <a:cubicBezTo>
                    <a:pt x="8" y="128"/>
                    <a:pt x="7" y="127"/>
                    <a:pt x="6" y="129"/>
                  </a:cubicBezTo>
                  <a:cubicBezTo>
                    <a:pt x="6" y="130"/>
                    <a:pt x="8" y="132"/>
                    <a:pt x="8" y="132"/>
                  </a:cubicBezTo>
                  <a:cubicBezTo>
                    <a:pt x="8" y="132"/>
                    <a:pt x="9" y="131"/>
                    <a:pt x="9" y="133"/>
                  </a:cubicBezTo>
                  <a:cubicBezTo>
                    <a:pt x="9" y="134"/>
                    <a:pt x="9" y="135"/>
                    <a:pt x="9" y="136"/>
                  </a:cubicBezTo>
                  <a:cubicBezTo>
                    <a:pt x="8" y="137"/>
                    <a:pt x="5" y="141"/>
                    <a:pt x="5" y="141"/>
                  </a:cubicBezTo>
                  <a:cubicBezTo>
                    <a:pt x="4" y="141"/>
                    <a:pt x="3" y="141"/>
                    <a:pt x="3" y="142"/>
                  </a:cubicBezTo>
                  <a:cubicBezTo>
                    <a:pt x="3" y="142"/>
                    <a:pt x="3" y="146"/>
                    <a:pt x="3" y="146"/>
                  </a:cubicBezTo>
                  <a:cubicBezTo>
                    <a:pt x="2" y="147"/>
                    <a:pt x="2" y="148"/>
                    <a:pt x="1" y="149"/>
                  </a:cubicBezTo>
                  <a:cubicBezTo>
                    <a:pt x="0" y="149"/>
                    <a:pt x="0" y="150"/>
                    <a:pt x="0" y="150"/>
                  </a:cubicBezTo>
                  <a:cubicBezTo>
                    <a:pt x="0" y="151"/>
                    <a:pt x="0" y="152"/>
                    <a:pt x="0" y="153"/>
                  </a:cubicBezTo>
                  <a:cubicBezTo>
                    <a:pt x="1" y="153"/>
                    <a:pt x="2" y="154"/>
                    <a:pt x="2" y="154"/>
                  </a:cubicBezTo>
                  <a:cubicBezTo>
                    <a:pt x="2" y="155"/>
                    <a:pt x="3" y="155"/>
                    <a:pt x="3" y="157"/>
                  </a:cubicBezTo>
                  <a:cubicBezTo>
                    <a:pt x="3" y="158"/>
                    <a:pt x="2" y="158"/>
                    <a:pt x="2" y="159"/>
                  </a:cubicBezTo>
                  <a:cubicBezTo>
                    <a:pt x="7" y="157"/>
                    <a:pt x="7" y="157"/>
                    <a:pt x="7" y="157"/>
                  </a:cubicBezTo>
                  <a:lnTo>
                    <a:pt x="13" y="156"/>
                  </a:lnTo>
                  <a:close/>
                </a:path>
              </a:pathLst>
            </a:custGeom>
            <a:grpFill/>
            <a:ln w="3175" cap="rnd">
              <a:solidFill>
                <a:schemeClr val="accent5"/>
              </a:solidFill>
              <a:prstDash val="solid"/>
              <a:round/>
              <a:headEnd/>
              <a:tailEnd/>
            </a:ln>
          </p:spPr>
          <p:txBody>
            <a:bodyPr/>
            <a:lstStyle/>
            <a:p>
              <a:endParaRPr lang="ru-RU"/>
            </a:p>
          </p:txBody>
        </p:sp>
      </p:grpSp>
    </p:spTree>
    <p:extLst>
      <p:ext uri="{BB962C8B-B14F-4D97-AF65-F5344CB8AC3E}">
        <p14:creationId xmlns:p14="http://schemas.microsoft.com/office/powerpoint/2010/main" val="37712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D901F0F-4FB9-88DC-5B4A-4D6004A3434C}"/>
              </a:ext>
            </a:extLst>
          </p:cNvPr>
          <p:cNvGraphicFramePr>
            <a:graphicFrameLocks/>
          </p:cNvGraphicFramePr>
          <p:nvPr>
            <p:custDataLst>
              <p:tags r:id="rId1"/>
            </p:custDataLst>
            <p:extLst>
              <p:ext uri="{D42A27DB-BD31-4B8C-83A1-F6EECF244321}">
                <p14:modId xmlns:p14="http://schemas.microsoft.com/office/powerpoint/2010/main" val="122653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0" name=""/>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5EA587E-3D60-8A97-BAAB-D55151235FDA}"/>
              </a:ext>
            </a:extLst>
          </p:cNvPr>
          <p:cNvSpPr>
            <a:spLocks noGrp="1"/>
          </p:cNvSpPr>
          <p:nvPr>
            <p:ph type="title"/>
          </p:nvPr>
        </p:nvSpPr>
        <p:spPr/>
        <p:txBody>
          <a:bodyPr vert="horz" rIns="91440"/>
          <a:lstStyle/>
          <a:p>
            <a:r>
              <a:rPr lang="en-US" dirty="0"/>
              <a:t>Japan’s 23 GW potential remained untapped for decades, but policy reform and local co-creation are driving a cautious revival </a:t>
            </a:r>
          </a:p>
        </p:txBody>
      </p:sp>
      <p:sp>
        <p:nvSpPr>
          <p:cNvPr id="6" name="Footer Placeholder 5">
            <a:extLst>
              <a:ext uri="{FF2B5EF4-FFF2-40B4-BE49-F238E27FC236}">
                <a16:creationId xmlns:a16="http://schemas.microsoft.com/office/drawing/2014/main" id="{D8FD6B36-7EAB-8730-F90F-4B9AC6A12634}"/>
              </a:ext>
            </a:extLst>
          </p:cNvPr>
          <p:cNvSpPr>
            <a:spLocks noGrp="1"/>
          </p:cNvSpPr>
          <p:nvPr>
            <p:ph type="ftr" sz="quarter" idx="3"/>
          </p:nvPr>
        </p:nvSpPr>
        <p:spPr>
          <a:xfrm>
            <a:off x="334962" y="6274097"/>
            <a:ext cx="9147241" cy="216706"/>
          </a:xfrm>
        </p:spPr>
        <p:txBody>
          <a:bodyPr/>
          <a:lstStyle/>
          <a:p>
            <a:r>
              <a:rPr lang="en-US" dirty="0">
                <a:solidFill>
                  <a:srgbClr val="000000"/>
                </a:solidFill>
              </a:rPr>
              <a:t>Sources: </a:t>
            </a:r>
            <a:r>
              <a:rPr lang="en-US" dirty="0">
                <a:solidFill>
                  <a:srgbClr val="000000"/>
                </a:solidFill>
                <a:hlinkClick r:id="rId14"/>
              </a:rPr>
              <a:t>Geothermal Japan Country Report</a:t>
            </a:r>
            <a:r>
              <a:rPr lang="en-US" dirty="0">
                <a:solidFill>
                  <a:srgbClr val="000000"/>
                </a:solidFill>
              </a:rPr>
              <a:t> (IEA, 2024); </a:t>
            </a:r>
            <a:r>
              <a:rPr lang="en-US" dirty="0">
                <a:hlinkClick r:id="rId15"/>
              </a:rPr>
              <a:t>Japan to develop geothermal power under net zero plan </a:t>
            </a:r>
            <a:r>
              <a:rPr lang="en-US" dirty="0">
                <a:solidFill>
                  <a:schemeClr val="tx1"/>
                </a:solidFill>
              </a:rPr>
              <a:t>(Argus Media, 2025); </a:t>
            </a:r>
            <a:r>
              <a:rPr lang="en-US" dirty="0">
                <a:hlinkClick r:id="rId16"/>
              </a:rPr>
              <a:t>Unlocking geothermal potential in Japan through small-scale generation</a:t>
            </a:r>
            <a:r>
              <a:rPr lang="en-US" i="1" dirty="0"/>
              <a:t> </a:t>
            </a:r>
            <a:r>
              <a:rPr lang="en-US" dirty="0">
                <a:solidFill>
                  <a:schemeClr val="tx1"/>
                </a:solidFill>
              </a:rPr>
              <a:t>(IRENA, 2009); </a:t>
            </a:r>
            <a:r>
              <a:rPr lang="en-US" dirty="0">
                <a:solidFill>
                  <a:srgbClr val="000000"/>
                </a:solidFill>
                <a:hlinkClick r:id="rId17"/>
              </a:rPr>
              <a:t>The Future of Geothermal Energy</a:t>
            </a:r>
            <a:r>
              <a:rPr lang="en-US" dirty="0">
                <a:solidFill>
                  <a:srgbClr val="000000"/>
                </a:solidFill>
              </a:rPr>
              <a:t> (</a:t>
            </a:r>
            <a:r>
              <a:rPr lang="en-US" dirty="0">
                <a:solidFill>
                  <a:schemeClr val="tx1"/>
                </a:solidFill>
              </a:rPr>
              <a:t>IEA, </a:t>
            </a:r>
            <a:r>
              <a:rPr lang="en-US" dirty="0">
                <a:solidFill>
                  <a:srgbClr val="000000"/>
                </a:solidFill>
              </a:rPr>
              <a:t>2024).</a:t>
            </a:r>
            <a:br>
              <a:rPr lang="en-US" dirty="0"/>
            </a:br>
            <a:r>
              <a:rPr lang="en-US" dirty="0">
                <a:solidFill>
                  <a:srgbClr val="000000"/>
                </a:solidFill>
              </a:rPr>
              <a:t>Credit: Shubhangi Prasad, and </a:t>
            </a:r>
            <a:r>
              <a:rPr lang="en-US" dirty="0">
                <a:hlinkClick r:id="rId18"/>
              </a:rPr>
              <a:t>Gernot Wagner.</a:t>
            </a:r>
            <a:r>
              <a:rPr lang="en-US" dirty="0">
                <a:solidFill>
                  <a:srgbClr val="000000"/>
                </a:solidFill>
              </a:rPr>
              <a:t> </a:t>
            </a:r>
            <a:r>
              <a:rPr lang="en-US" dirty="0">
                <a:hlinkClick r:id="rId1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7" name="Text Placeholder 6">
            <a:extLst>
              <a:ext uri="{FF2B5EF4-FFF2-40B4-BE49-F238E27FC236}">
                <a16:creationId xmlns:a16="http://schemas.microsoft.com/office/drawing/2014/main" id="{18903CA5-02E5-B1B9-F313-714682A7112E}"/>
              </a:ext>
            </a:extLst>
          </p:cNvPr>
          <p:cNvSpPr>
            <a:spLocks noGrp="1"/>
          </p:cNvSpPr>
          <p:nvPr>
            <p:ph type="body" sz="quarter" idx="13"/>
          </p:nvPr>
        </p:nvSpPr>
        <p:spPr/>
        <p:txBody>
          <a:bodyPr/>
          <a:lstStyle/>
          <a:p>
            <a:r>
              <a:rPr lang="en-US" dirty="0"/>
              <a:t>Japan is using </a:t>
            </a:r>
            <a:r>
              <a:rPr lang="en-US" dirty="0" err="1"/>
              <a:t>FiTs</a:t>
            </a:r>
            <a:r>
              <a:rPr lang="en-US" dirty="0"/>
              <a:t>, R&amp;D programs focused on closed-loop and superhot potential for its geothermal strategy</a:t>
            </a:r>
          </a:p>
        </p:txBody>
      </p:sp>
      <p:sp>
        <p:nvSpPr>
          <p:cNvPr id="8" name="Text Placeholder 7">
            <a:extLst>
              <a:ext uri="{FF2B5EF4-FFF2-40B4-BE49-F238E27FC236}">
                <a16:creationId xmlns:a16="http://schemas.microsoft.com/office/drawing/2014/main" id="{562EDDF0-C0CD-2BF6-5899-35205941BD98}"/>
              </a:ext>
            </a:extLst>
          </p:cNvPr>
          <p:cNvSpPr>
            <a:spLocks noGrp="1"/>
          </p:cNvSpPr>
          <p:nvPr>
            <p:ph type="body" sz="quarter" idx="16"/>
          </p:nvPr>
        </p:nvSpPr>
        <p:spPr/>
        <p:txBody>
          <a:bodyPr/>
          <a:lstStyle/>
          <a:p>
            <a:r>
              <a:rPr lang="en-US" dirty="0"/>
              <a:t>Japan Geothermal Installed Capacity,</a:t>
            </a:r>
            <a:r>
              <a:rPr lang="en-US" i="1" dirty="0"/>
              <a:t> MW</a:t>
            </a:r>
          </a:p>
        </p:txBody>
      </p:sp>
      <p:sp>
        <p:nvSpPr>
          <p:cNvPr id="10" name="Text Placeholder 1">
            <a:extLst>
              <a:ext uri="{FF2B5EF4-FFF2-40B4-BE49-F238E27FC236}">
                <a16:creationId xmlns:a16="http://schemas.microsoft.com/office/drawing/2014/main" id="{A93B04B8-6045-53C3-9D7B-141FC0D350C8}"/>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Japan</a:t>
            </a:r>
          </a:p>
        </p:txBody>
      </p:sp>
      <p:sp>
        <p:nvSpPr>
          <p:cNvPr id="11" name="Rectangle 10">
            <a:extLst>
              <a:ext uri="{FF2B5EF4-FFF2-40B4-BE49-F238E27FC236}">
                <a16:creationId xmlns:a16="http://schemas.microsoft.com/office/drawing/2014/main" id="{00392FFC-E901-B91B-DC32-E70D8BF96CB0}"/>
              </a:ext>
            </a:extLst>
          </p:cNvPr>
          <p:cNvSpPr/>
          <p:nvPr/>
        </p:nvSpPr>
        <p:spPr bwMode="gray">
          <a:xfrm>
            <a:off x="324000" y="2071686"/>
            <a:ext cx="5010767" cy="415954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E0B8970B-52A9-3ED1-07BF-E30D32F62068}"/>
              </a:ext>
            </a:extLst>
          </p:cNvPr>
          <p:cNvSpPr/>
          <p:nvPr/>
        </p:nvSpPr>
        <p:spPr bwMode="gray">
          <a:xfrm>
            <a:off x="5632450" y="4830763"/>
            <a:ext cx="1393825" cy="233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Straight Arrow Connector 12">
            <a:extLst>
              <a:ext uri="{FF2B5EF4-FFF2-40B4-BE49-F238E27FC236}">
                <a16:creationId xmlns:a16="http://schemas.microsoft.com/office/drawing/2014/main" id="{C7EC2B3E-B32F-01F4-4DE2-ED958EE507A0}"/>
              </a:ext>
            </a:extLst>
          </p:cNvPr>
          <p:cNvCxnSpPr>
            <a:cxnSpLocks/>
          </p:cNvCxnSpPr>
          <p:nvPr/>
        </p:nvCxnSpPr>
        <p:spPr bwMode="gray">
          <a:xfrm>
            <a:off x="553063" y="2327275"/>
            <a:ext cx="0" cy="3790659"/>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5389618F-2420-F826-3A20-D7F2B6D358F5}"/>
              </a:ext>
            </a:extLst>
          </p:cNvPr>
          <p:cNvSpPr/>
          <p:nvPr/>
        </p:nvSpPr>
        <p:spPr bwMode="gray">
          <a:xfrm>
            <a:off x="491973" y="2898775"/>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44452511-7B6F-A189-E347-C652B677CEDB}"/>
              </a:ext>
            </a:extLst>
          </p:cNvPr>
          <p:cNvSpPr/>
          <p:nvPr/>
        </p:nvSpPr>
        <p:spPr bwMode="gray">
          <a:xfrm>
            <a:off x="373958" y="2143125"/>
            <a:ext cx="578666"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66</a:t>
            </a:r>
          </a:p>
        </p:txBody>
      </p:sp>
      <p:sp>
        <p:nvSpPr>
          <p:cNvPr id="16" name="Rectangle 15">
            <a:extLst>
              <a:ext uri="{FF2B5EF4-FFF2-40B4-BE49-F238E27FC236}">
                <a16:creationId xmlns:a16="http://schemas.microsoft.com/office/drawing/2014/main" id="{441117DC-4928-2A64-3249-16E2690C7E0D}"/>
              </a:ext>
            </a:extLst>
          </p:cNvPr>
          <p:cNvSpPr/>
          <p:nvPr/>
        </p:nvSpPr>
        <p:spPr bwMode="gray">
          <a:xfrm>
            <a:off x="819403" y="2209800"/>
            <a:ext cx="4316123" cy="3473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Matsukawa plant, Japan's first commercial geothermal facility, starts operations in 1966. </a:t>
            </a:r>
          </a:p>
        </p:txBody>
      </p:sp>
      <p:sp>
        <p:nvSpPr>
          <p:cNvPr id="17" name="Rectangle 16">
            <a:extLst>
              <a:ext uri="{FF2B5EF4-FFF2-40B4-BE49-F238E27FC236}">
                <a16:creationId xmlns:a16="http://schemas.microsoft.com/office/drawing/2014/main" id="{8484F891-3678-FBEA-402E-923F53E9C69F}"/>
              </a:ext>
            </a:extLst>
          </p:cNvPr>
          <p:cNvSpPr/>
          <p:nvPr/>
        </p:nvSpPr>
        <p:spPr bwMode="gray">
          <a:xfrm>
            <a:off x="336034" y="2654300"/>
            <a:ext cx="513996" cy="2237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60-</a:t>
            </a:r>
            <a:br>
              <a:rPr lang="en-US" sz="800" dirty="0">
                <a:solidFill>
                  <a:schemeClr val="tx1"/>
                </a:solidFill>
              </a:rPr>
            </a:br>
            <a:r>
              <a:rPr lang="en-US" sz="800" dirty="0">
                <a:solidFill>
                  <a:schemeClr val="tx1"/>
                </a:solidFill>
              </a:rPr>
              <a:t>1990</a:t>
            </a:r>
          </a:p>
        </p:txBody>
      </p:sp>
      <p:sp>
        <p:nvSpPr>
          <p:cNvPr id="18" name="Rectangle 17">
            <a:extLst>
              <a:ext uri="{FF2B5EF4-FFF2-40B4-BE49-F238E27FC236}">
                <a16:creationId xmlns:a16="http://schemas.microsoft.com/office/drawing/2014/main" id="{4E8233F6-4D91-8579-6E53-E01484E6E9D1}"/>
              </a:ext>
            </a:extLst>
          </p:cNvPr>
          <p:cNvSpPr/>
          <p:nvPr/>
        </p:nvSpPr>
        <p:spPr bwMode="gray">
          <a:xfrm>
            <a:off x="833047" y="3773494"/>
            <a:ext cx="4302479" cy="7436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The 2012 Feed-in Tariff (FiT) and regulatory relaxation for under 7.5 MW projects, along with relaxed national park permitting reforms (2015), open new sites and create the first clear legal path for small-scale and binary geothermal plants.</a:t>
            </a:r>
          </a:p>
        </p:txBody>
      </p:sp>
      <p:sp>
        <p:nvSpPr>
          <p:cNvPr id="19" name="Rectangle 18">
            <a:extLst>
              <a:ext uri="{FF2B5EF4-FFF2-40B4-BE49-F238E27FC236}">
                <a16:creationId xmlns:a16="http://schemas.microsoft.com/office/drawing/2014/main" id="{1AA76A5B-0144-5AD7-FD3E-155D85F1062D}"/>
              </a:ext>
            </a:extLst>
          </p:cNvPr>
          <p:cNvSpPr/>
          <p:nvPr/>
        </p:nvSpPr>
        <p:spPr bwMode="gray">
          <a:xfrm>
            <a:off x="391404" y="4841875"/>
            <a:ext cx="66353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1</a:t>
            </a:r>
          </a:p>
        </p:txBody>
      </p:sp>
      <p:sp>
        <p:nvSpPr>
          <p:cNvPr id="20" name="Rectangle 19">
            <a:extLst>
              <a:ext uri="{FF2B5EF4-FFF2-40B4-BE49-F238E27FC236}">
                <a16:creationId xmlns:a16="http://schemas.microsoft.com/office/drawing/2014/main" id="{928FE333-D9FF-E78C-A085-18A97A5FF77B}"/>
              </a:ext>
            </a:extLst>
          </p:cNvPr>
          <p:cNvSpPr/>
          <p:nvPr/>
        </p:nvSpPr>
        <p:spPr bwMode="gray">
          <a:xfrm>
            <a:off x="318197" y="5670548"/>
            <a:ext cx="456018" cy="19535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5-35</a:t>
            </a:r>
          </a:p>
        </p:txBody>
      </p:sp>
      <p:sp>
        <p:nvSpPr>
          <p:cNvPr id="21" name="Rectangle 20">
            <a:extLst>
              <a:ext uri="{FF2B5EF4-FFF2-40B4-BE49-F238E27FC236}">
                <a16:creationId xmlns:a16="http://schemas.microsoft.com/office/drawing/2014/main" id="{32102371-D3D2-76E8-CF87-2566039A62D7}"/>
              </a:ext>
            </a:extLst>
          </p:cNvPr>
          <p:cNvSpPr/>
          <p:nvPr/>
        </p:nvSpPr>
        <p:spPr bwMode="gray">
          <a:xfrm>
            <a:off x="748584" y="2203450"/>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 </a:t>
            </a:r>
          </a:p>
        </p:txBody>
      </p:sp>
      <p:sp>
        <p:nvSpPr>
          <p:cNvPr id="22" name="Rectangle 21">
            <a:extLst>
              <a:ext uri="{FF2B5EF4-FFF2-40B4-BE49-F238E27FC236}">
                <a16:creationId xmlns:a16="http://schemas.microsoft.com/office/drawing/2014/main" id="{A5CB6EE9-3732-3134-8B80-2239F0F15487}"/>
              </a:ext>
            </a:extLst>
          </p:cNvPr>
          <p:cNvSpPr/>
          <p:nvPr/>
        </p:nvSpPr>
        <p:spPr bwMode="gray">
          <a:xfrm>
            <a:off x="708652" y="3028950"/>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3" name="Rectangle 22">
            <a:extLst>
              <a:ext uri="{FF2B5EF4-FFF2-40B4-BE49-F238E27FC236}">
                <a16:creationId xmlns:a16="http://schemas.microsoft.com/office/drawing/2014/main" id="{8B77F83B-2644-7489-B031-D07C90E890B9}"/>
              </a:ext>
            </a:extLst>
          </p:cNvPr>
          <p:cNvSpPr/>
          <p:nvPr/>
        </p:nvSpPr>
        <p:spPr bwMode="gray">
          <a:xfrm>
            <a:off x="779756" y="4479925"/>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4" name="Rectangle 23">
            <a:extLst>
              <a:ext uri="{FF2B5EF4-FFF2-40B4-BE49-F238E27FC236}">
                <a16:creationId xmlns:a16="http://schemas.microsoft.com/office/drawing/2014/main" id="{D21BF4D2-1C8F-4139-A314-5D53819B06AE}"/>
              </a:ext>
            </a:extLst>
          </p:cNvPr>
          <p:cNvSpPr/>
          <p:nvPr/>
        </p:nvSpPr>
        <p:spPr bwMode="gray">
          <a:xfrm>
            <a:off x="734682" y="5207000"/>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5" name="Rectangle 24">
            <a:extLst>
              <a:ext uri="{FF2B5EF4-FFF2-40B4-BE49-F238E27FC236}">
                <a16:creationId xmlns:a16="http://schemas.microsoft.com/office/drawing/2014/main" id="{1C2D43A4-403E-5CD5-AF3E-7CF950611D4F}"/>
              </a:ext>
            </a:extLst>
          </p:cNvPr>
          <p:cNvSpPr/>
          <p:nvPr/>
        </p:nvSpPr>
        <p:spPr bwMode="gray">
          <a:xfrm>
            <a:off x="862125" y="5554661"/>
            <a:ext cx="4273401" cy="563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New R&amp;D programs for closed-loop and superhot geothermal pair with policies focused on risk reduction, faster permits, and community consensus to scale by 2035.</a:t>
            </a:r>
          </a:p>
        </p:txBody>
      </p:sp>
      <p:sp>
        <p:nvSpPr>
          <p:cNvPr id="26" name="Rectangle 25">
            <a:extLst>
              <a:ext uri="{FF2B5EF4-FFF2-40B4-BE49-F238E27FC236}">
                <a16:creationId xmlns:a16="http://schemas.microsoft.com/office/drawing/2014/main" id="{F6F597E2-FF91-CE13-BD02-354163AB657A}"/>
              </a:ext>
            </a:extLst>
          </p:cNvPr>
          <p:cNvSpPr/>
          <p:nvPr/>
        </p:nvSpPr>
        <p:spPr bwMode="gray">
          <a:xfrm>
            <a:off x="306645" y="3960813"/>
            <a:ext cx="467570" cy="198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2-15</a:t>
            </a:r>
          </a:p>
        </p:txBody>
      </p:sp>
      <p:sp>
        <p:nvSpPr>
          <p:cNvPr id="27" name="Rectangle 26">
            <a:extLst>
              <a:ext uri="{FF2B5EF4-FFF2-40B4-BE49-F238E27FC236}">
                <a16:creationId xmlns:a16="http://schemas.microsoft.com/office/drawing/2014/main" id="{BF9C1466-C679-02D8-5BFB-0AD5DD86B3D4}"/>
              </a:ext>
            </a:extLst>
          </p:cNvPr>
          <p:cNvSpPr/>
          <p:nvPr/>
        </p:nvSpPr>
        <p:spPr bwMode="gray">
          <a:xfrm>
            <a:off x="839918" y="4603377"/>
            <a:ext cx="4295608" cy="8650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The 6</a:t>
            </a:r>
            <a:r>
              <a:rPr lang="en-US" sz="1050" baseline="30000" dirty="0">
                <a:solidFill>
                  <a:schemeClr val="tx1"/>
                </a:solidFill>
              </a:rPr>
              <a:t>th</a:t>
            </a:r>
            <a:r>
              <a:rPr lang="en-US" sz="1050" dirty="0">
                <a:solidFill>
                  <a:schemeClr val="tx1"/>
                </a:solidFill>
              </a:rPr>
              <a:t> Strategic Energy Plan reaffirms geothermal as a key firm renewable alongside nuclear and hydrogen. Sets a 2030 target of ~1.5 GW (1.1% of power) and empowers JOGMEC with subsidies, equity, and loan guarantees, making geothermal officially part of national energy planning.</a:t>
            </a:r>
          </a:p>
        </p:txBody>
      </p:sp>
      <p:sp>
        <p:nvSpPr>
          <p:cNvPr id="28" name="Oval 27">
            <a:extLst>
              <a:ext uri="{FF2B5EF4-FFF2-40B4-BE49-F238E27FC236}">
                <a16:creationId xmlns:a16="http://schemas.microsoft.com/office/drawing/2014/main" id="{F467935D-08B3-3F36-54B9-665198FAB56F}"/>
              </a:ext>
            </a:extLst>
          </p:cNvPr>
          <p:cNvSpPr/>
          <p:nvPr/>
        </p:nvSpPr>
        <p:spPr bwMode="gray">
          <a:xfrm>
            <a:off x="482982" y="350361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Oval 28">
            <a:extLst>
              <a:ext uri="{FF2B5EF4-FFF2-40B4-BE49-F238E27FC236}">
                <a16:creationId xmlns:a16="http://schemas.microsoft.com/office/drawing/2014/main" id="{7C890538-B05C-9D86-99E7-EE419634AF9A}"/>
              </a:ext>
            </a:extLst>
          </p:cNvPr>
          <p:cNvSpPr/>
          <p:nvPr/>
        </p:nvSpPr>
        <p:spPr bwMode="gray">
          <a:xfrm>
            <a:off x="482982" y="4170363"/>
            <a:ext cx="133036" cy="119412"/>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Oval 29">
            <a:extLst>
              <a:ext uri="{FF2B5EF4-FFF2-40B4-BE49-F238E27FC236}">
                <a16:creationId xmlns:a16="http://schemas.microsoft.com/office/drawing/2014/main" id="{03DA42AF-7E90-6247-D660-C80DE4CF956E}"/>
              </a:ext>
            </a:extLst>
          </p:cNvPr>
          <p:cNvSpPr/>
          <p:nvPr/>
        </p:nvSpPr>
        <p:spPr bwMode="gray">
          <a:xfrm>
            <a:off x="482982" y="5878509"/>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819AE0E4-2BCD-78A2-5AC2-6E128AE519D1}"/>
              </a:ext>
            </a:extLst>
          </p:cNvPr>
          <p:cNvSpPr/>
          <p:nvPr/>
        </p:nvSpPr>
        <p:spPr bwMode="gray">
          <a:xfrm>
            <a:off x="482982" y="5205413"/>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Rectangle 31">
            <a:extLst>
              <a:ext uri="{FF2B5EF4-FFF2-40B4-BE49-F238E27FC236}">
                <a16:creationId xmlns:a16="http://schemas.microsoft.com/office/drawing/2014/main" id="{D87948D7-560D-EBBA-63CA-EFAC95553869}"/>
              </a:ext>
            </a:extLst>
          </p:cNvPr>
          <p:cNvSpPr/>
          <p:nvPr/>
        </p:nvSpPr>
        <p:spPr bwMode="gray">
          <a:xfrm>
            <a:off x="5763841" y="4641850"/>
            <a:ext cx="6176089" cy="1592559"/>
          </a:xfrm>
          <a:prstGeom prst="rect">
            <a:avLst/>
          </a:prstGeom>
          <a:solidFill>
            <a:srgbClr val="E3E8EE"/>
          </a:solidFill>
        </p:spPr>
        <p:txBody>
          <a:bodyPr wrap="square" lIns="137160" tIns="137160" rIns="274320" bIns="137160" rtlCol="0" anchor="t">
            <a:noAutofit/>
          </a:bodyPr>
          <a:lstStyle/>
          <a:p>
            <a:pPr marL="0" indent="0">
              <a:buNone/>
            </a:pPr>
            <a:r>
              <a:rPr lang="en-US" sz="1100" b="1" dirty="0">
                <a:solidFill>
                  <a:schemeClr val="tx1"/>
                </a:solidFill>
              </a:rPr>
              <a:t>Observations</a:t>
            </a:r>
          </a:p>
          <a:p>
            <a:pPr marL="285750" indent="-285750">
              <a:spcBef>
                <a:spcPts val="600"/>
              </a:spcBef>
              <a:buFont typeface="Arial" panose="020B0604020202020204" pitchFamily="34" charset="0"/>
              <a:buChar char="•"/>
            </a:pPr>
            <a:r>
              <a:rPr lang="en-US" sz="1100" dirty="0">
                <a:solidFill>
                  <a:schemeClr val="tx1"/>
                </a:solidFill>
              </a:rPr>
              <a:t>Approximately 80% of Japan's geothermal reserves are in national parks and onsen regions, necessitating multi-ministry permissions and extensive coordination, which makes development difficult and slow.</a:t>
            </a:r>
          </a:p>
          <a:p>
            <a:pPr marL="285750" indent="-285750">
              <a:spcBef>
                <a:spcPts val="600"/>
              </a:spcBef>
              <a:buFont typeface="Arial" panose="020B0604020202020204" pitchFamily="34" charset="0"/>
              <a:buChar char="•"/>
            </a:pPr>
            <a:r>
              <a:rPr lang="en-US" sz="1100" dirty="0">
                <a:solidFill>
                  <a:schemeClr val="tx1"/>
                </a:solidFill>
              </a:rPr>
              <a:t>Japan uses only ~2%, or ~520 MW, of its 23 GW potential due to decades of policy, permitting, and community barriers; however, recent reforms and a new target of ~1.5 GW by 2030 signal a slow revival in the sector.</a:t>
            </a:r>
          </a:p>
        </p:txBody>
      </p:sp>
      <p:sp>
        <p:nvSpPr>
          <p:cNvPr id="33" name="Rectangle 32">
            <a:extLst>
              <a:ext uri="{FF2B5EF4-FFF2-40B4-BE49-F238E27FC236}">
                <a16:creationId xmlns:a16="http://schemas.microsoft.com/office/drawing/2014/main" id="{55C1438E-36A2-1E7A-6830-AA4D3E718ABD}"/>
              </a:ext>
            </a:extLst>
          </p:cNvPr>
          <p:cNvSpPr/>
          <p:nvPr/>
        </p:nvSpPr>
        <p:spPr bwMode="gray">
          <a:xfrm>
            <a:off x="833047" y="3234539"/>
            <a:ext cx="4302479" cy="4527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National Parks Law and Hot Spring Act increase environmental regulations; social acceptance and environmental limits become core barriers.</a:t>
            </a:r>
          </a:p>
        </p:txBody>
      </p:sp>
      <p:sp>
        <p:nvSpPr>
          <p:cNvPr id="34" name="Rectangle 33">
            <a:extLst>
              <a:ext uri="{FF2B5EF4-FFF2-40B4-BE49-F238E27FC236}">
                <a16:creationId xmlns:a16="http://schemas.microsoft.com/office/drawing/2014/main" id="{DF871C27-0B7C-75A6-45A3-BD6D149A3FDF}"/>
              </a:ext>
            </a:extLst>
          </p:cNvPr>
          <p:cNvSpPr/>
          <p:nvPr/>
        </p:nvSpPr>
        <p:spPr bwMode="gray">
          <a:xfrm>
            <a:off x="833047" y="2643322"/>
            <a:ext cx="4302479" cy="505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Government leads research and exploration under the New Energy and Industrial Technology Development Organization (NEDO); policy support is concentrated on geological surveys.</a:t>
            </a:r>
          </a:p>
        </p:txBody>
      </p:sp>
      <p:sp>
        <p:nvSpPr>
          <p:cNvPr id="35" name="Oval 34">
            <a:extLst>
              <a:ext uri="{FF2B5EF4-FFF2-40B4-BE49-F238E27FC236}">
                <a16:creationId xmlns:a16="http://schemas.microsoft.com/office/drawing/2014/main" id="{FB9404E8-FC1D-F0DE-E4C1-5A11667CBEFF}"/>
              </a:ext>
            </a:extLst>
          </p:cNvPr>
          <p:cNvSpPr/>
          <p:nvPr/>
        </p:nvSpPr>
        <p:spPr bwMode="gray">
          <a:xfrm>
            <a:off x="482982" y="2344738"/>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9164683B-F889-30E8-7FBC-B80209A7F703}"/>
              </a:ext>
            </a:extLst>
          </p:cNvPr>
          <p:cNvSpPr/>
          <p:nvPr/>
        </p:nvSpPr>
        <p:spPr bwMode="gray">
          <a:xfrm>
            <a:off x="324000" y="3235325"/>
            <a:ext cx="384652" cy="2359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97-2000s</a:t>
            </a:r>
          </a:p>
        </p:txBody>
      </p:sp>
      <p:graphicFrame>
        <p:nvGraphicFramePr>
          <p:cNvPr id="55" name="Chart 54">
            <a:extLst>
              <a:ext uri="{FF2B5EF4-FFF2-40B4-BE49-F238E27FC236}">
                <a16:creationId xmlns:a16="http://schemas.microsoft.com/office/drawing/2014/main" id="{8E8354F0-12EE-1FC1-5D43-95AF0191C44F}"/>
              </a:ext>
            </a:extLst>
          </p:cNvPr>
          <p:cNvGraphicFramePr/>
          <p:nvPr>
            <p:custDataLst>
              <p:tags r:id="rId2"/>
            </p:custDataLst>
            <p:extLst>
              <p:ext uri="{D42A27DB-BD31-4B8C-83A1-F6EECF244321}">
                <p14:modId xmlns:p14="http://schemas.microsoft.com/office/powerpoint/2010/main" val="4036605634"/>
              </p:ext>
            </p:extLst>
          </p:nvPr>
        </p:nvGraphicFramePr>
        <p:xfrm>
          <a:off x="6094413" y="2030413"/>
          <a:ext cx="5584825" cy="2370137"/>
        </p:xfrm>
        <a:graphic>
          <a:graphicData uri="http://schemas.openxmlformats.org/drawingml/2006/chart">
            <c:chart xmlns:c="http://schemas.openxmlformats.org/drawingml/2006/chart" xmlns:r="http://schemas.openxmlformats.org/officeDocument/2006/relationships" r:id="rId20"/>
          </a:graphicData>
        </a:graphic>
      </p:graphicFrame>
      <p:sp>
        <p:nvSpPr>
          <p:cNvPr id="38" name="Text Placeholder 10">
            <a:extLst>
              <a:ext uri="{FF2B5EF4-FFF2-40B4-BE49-F238E27FC236}">
                <a16:creationId xmlns:a16="http://schemas.microsoft.com/office/drawing/2014/main" id="{551ACA9C-8064-A864-FC3C-1B9A0EA765D8}"/>
              </a:ext>
            </a:extLst>
          </p:cNvPr>
          <p:cNvSpPr txBox="1">
            <a:spLocks/>
          </p:cNvSpPr>
          <p:nvPr>
            <p:custDataLst>
              <p:tags r:id="rId3"/>
            </p:custDataLst>
          </p:nvPr>
        </p:nvSpPr>
        <p:spPr bwMode="auto">
          <a:xfrm>
            <a:off x="6802438"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F3DE49-727B-4EF4-8B6E-18955E40CC7A}" type="datetime'''''1''''9''''''''''''7''''''''''''''''''''''''''''''''0'''''">
              <a:rPr lang="en-US" altLang="en-US" sz="1000" smtClean="0"/>
              <a:pPr marL="0" indent="0" algn="ctr">
                <a:spcBef>
                  <a:spcPct val="0"/>
                </a:spcBef>
                <a:spcAft>
                  <a:spcPct val="0"/>
                </a:spcAft>
                <a:buNone/>
              </a:pPr>
              <a:t>1970</a:t>
            </a:fld>
            <a:endParaRPr lang="en-US" sz="1000" dirty="0"/>
          </a:p>
        </p:txBody>
      </p:sp>
      <p:sp>
        <p:nvSpPr>
          <p:cNvPr id="39" name="Text Placeholder 10">
            <a:extLst>
              <a:ext uri="{FF2B5EF4-FFF2-40B4-BE49-F238E27FC236}">
                <a16:creationId xmlns:a16="http://schemas.microsoft.com/office/drawing/2014/main" id="{456AAFC0-BDE7-7816-232B-0A4F2F9D2F2E}"/>
              </a:ext>
            </a:extLst>
          </p:cNvPr>
          <p:cNvSpPr txBox="1">
            <a:spLocks/>
          </p:cNvSpPr>
          <p:nvPr>
            <p:custDataLst>
              <p:tags r:id="rId4"/>
            </p:custDataLst>
          </p:nvPr>
        </p:nvSpPr>
        <p:spPr bwMode="auto">
          <a:xfrm>
            <a:off x="7423150"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EE0F9E-9EF2-4B2C-A8EE-EE9A7C007E9F}" type="datetime'''''''1''''''''''''9''''''''''''''''''8''''''''''''''''''0'''">
              <a:rPr lang="en-US" altLang="en-US" sz="1000" smtClean="0"/>
              <a:pPr marL="0" indent="0" algn="ctr">
                <a:spcBef>
                  <a:spcPct val="0"/>
                </a:spcBef>
                <a:spcAft>
                  <a:spcPct val="0"/>
                </a:spcAft>
                <a:buNone/>
              </a:pPr>
              <a:t>1980</a:t>
            </a:fld>
            <a:endParaRPr lang="en-US" sz="1000" dirty="0"/>
          </a:p>
        </p:txBody>
      </p:sp>
      <p:sp>
        <p:nvSpPr>
          <p:cNvPr id="40" name="Text Placeholder 10">
            <a:extLst>
              <a:ext uri="{FF2B5EF4-FFF2-40B4-BE49-F238E27FC236}">
                <a16:creationId xmlns:a16="http://schemas.microsoft.com/office/drawing/2014/main" id="{830E0279-CD23-0E5B-115E-986E7A29E3F0}"/>
              </a:ext>
            </a:extLst>
          </p:cNvPr>
          <p:cNvSpPr txBox="1">
            <a:spLocks/>
          </p:cNvSpPr>
          <p:nvPr>
            <p:custDataLst>
              <p:tags r:id="rId5"/>
            </p:custDataLst>
          </p:nvPr>
        </p:nvSpPr>
        <p:spPr bwMode="auto">
          <a:xfrm>
            <a:off x="8042275"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406392-F138-4393-B110-E4302214448D}" type="datetime'''''''''''''''''''''''''19''''''''''''''''''9''''''''0'''">
              <a:rPr lang="en-US" altLang="en-US" sz="1000" smtClean="0"/>
              <a:pPr marL="0" indent="0" algn="ctr">
                <a:spcBef>
                  <a:spcPct val="0"/>
                </a:spcBef>
                <a:spcAft>
                  <a:spcPct val="0"/>
                </a:spcAft>
                <a:buNone/>
              </a:pPr>
              <a:t>1990</a:t>
            </a:fld>
            <a:endParaRPr lang="en-US" sz="1000" dirty="0"/>
          </a:p>
        </p:txBody>
      </p:sp>
      <p:sp>
        <p:nvSpPr>
          <p:cNvPr id="41" name="Text Placeholder 10">
            <a:extLst>
              <a:ext uri="{FF2B5EF4-FFF2-40B4-BE49-F238E27FC236}">
                <a16:creationId xmlns:a16="http://schemas.microsoft.com/office/drawing/2014/main" id="{22F6F761-A1D8-5C75-FAC8-0BB890356E87}"/>
              </a:ext>
            </a:extLst>
          </p:cNvPr>
          <p:cNvSpPr txBox="1">
            <a:spLocks/>
          </p:cNvSpPr>
          <p:nvPr>
            <p:custDataLst>
              <p:tags r:id="rId6"/>
            </p:custDataLst>
          </p:nvPr>
        </p:nvSpPr>
        <p:spPr bwMode="auto">
          <a:xfrm>
            <a:off x="8661400"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1CEF1C-260F-45E8-8A0E-38DA5885175F}" type="datetime'''''''''''''''''''''''''''''1''''''''''''''99''''''''5'''''">
              <a:rPr lang="en-US" altLang="en-US" sz="1000" smtClean="0"/>
              <a:pPr marL="0" indent="0" algn="ctr">
                <a:spcBef>
                  <a:spcPct val="0"/>
                </a:spcBef>
                <a:spcAft>
                  <a:spcPct val="0"/>
                </a:spcAft>
                <a:buNone/>
              </a:pPr>
              <a:t>1995</a:t>
            </a:fld>
            <a:endParaRPr lang="en-US" sz="1000" dirty="0"/>
          </a:p>
        </p:txBody>
      </p:sp>
      <p:sp>
        <p:nvSpPr>
          <p:cNvPr id="42" name="Text Placeholder 10">
            <a:extLst>
              <a:ext uri="{FF2B5EF4-FFF2-40B4-BE49-F238E27FC236}">
                <a16:creationId xmlns:a16="http://schemas.microsoft.com/office/drawing/2014/main" id="{485F3847-D996-0738-8B4B-52FD0E595060}"/>
              </a:ext>
            </a:extLst>
          </p:cNvPr>
          <p:cNvSpPr txBox="1">
            <a:spLocks/>
          </p:cNvSpPr>
          <p:nvPr>
            <p:custDataLst>
              <p:tags r:id="rId7"/>
            </p:custDataLst>
          </p:nvPr>
        </p:nvSpPr>
        <p:spPr bwMode="auto">
          <a:xfrm>
            <a:off x="9280525"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49F973-E4B9-46A0-B748-997FFA3720BE}" type="datetime'''''''''''''''2''''''''''''''''''0''0''''''0'''''''''">
              <a:rPr lang="en-US" altLang="en-US" sz="1000" smtClean="0"/>
              <a:pPr marL="0" indent="0" algn="ctr">
                <a:spcBef>
                  <a:spcPct val="0"/>
                </a:spcBef>
                <a:spcAft>
                  <a:spcPct val="0"/>
                </a:spcAft>
                <a:buNone/>
              </a:pPr>
              <a:t>2000</a:t>
            </a:fld>
            <a:endParaRPr lang="en-US" sz="1000" dirty="0"/>
          </a:p>
        </p:txBody>
      </p:sp>
      <p:sp>
        <p:nvSpPr>
          <p:cNvPr id="43" name="Text Placeholder 10">
            <a:extLst>
              <a:ext uri="{FF2B5EF4-FFF2-40B4-BE49-F238E27FC236}">
                <a16:creationId xmlns:a16="http://schemas.microsoft.com/office/drawing/2014/main" id="{65D4B96B-D7AD-EBC0-7E6C-927BD9FAD393}"/>
              </a:ext>
            </a:extLst>
          </p:cNvPr>
          <p:cNvSpPr txBox="1">
            <a:spLocks/>
          </p:cNvSpPr>
          <p:nvPr>
            <p:custDataLst>
              <p:tags r:id="rId8"/>
            </p:custDataLst>
          </p:nvPr>
        </p:nvSpPr>
        <p:spPr bwMode="auto">
          <a:xfrm>
            <a:off x="9901238"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21225C-4670-459B-BB65-6CBBCC1A2B88}" type="datetime'''''''2''0''''''''1''''''''''''''''''''''0'''''''''">
              <a:rPr lang="en-US" altLang="en-US" sz="1000" smtClean="0"/>
              <a:pPr marL="0" indent="0" algn="ctr">
                <a:spcBef>
                  <a:spcPct val="0"/>
                </a:spcBef>
                <a:spcAft>
                  <a:spcPct val="0"/>
                </a:spcAft>
                <a:buNone/>
              </a:pPr>
              <a:t>2010</a:t>
            </a:fld>
            <a:endParaRPr lang="en-US" sz="1000" dirty="0"/>
          </a:p>
        </p:txBody>
      </p:sp>
      <p:sp>
        <p:nvSpPr>
          <p:cNvPr id="44" name="Text Placeholder 10">
            <a:extLst>
              <a:ext uri="{FF2B5EF4-FFF2-40B4-BE49-F238E27FC236}">
                <a16:creationId xmlns:a16="http://schemas.microsoft.com/office/drawing/2014/main" id="{563EBFE8-41D2-E973-3C94-46A6D3E3D5FE}"/>
              </a:ext>
            </a:extLst>
          </p:cNvPr>
          <p:cNvSpPr txBox="1">
            <a:spLocks/>
          </p:cNvSpPr>
          <p:nvPr>
            <p:custDataLst>
              <p:tags r:id="rId9"/>
            </p:custDataLst>
          </p:nvPr>
        </p:nvSpPr>
        <p:spPr bwMode="auto">
          <a:xfrm>
            <a:off x="10520363" y="4287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A93B9B-C75E-4697-9624-7089535AC95E}" type="datetime'''''2''''''''''''''0''2''''''''''4'''''''''''''''''''''''''''">
              <a:rPr lang="en-US" altLang="en-US" sz="1000" smtClean="0"/>
              <a:pPr marL="0" indent="0" algn="ctr">
                <a:spcBef>
                  <a:spcPct val="0"/>
                </a:spcBef>
                <a:spcAft>
                  <a:spcPct val="0"/>
                </a:spcAft>
                <a:buNone/>
              </a:pPr>
              <a:t>2024</a:t>
            </a:fld>
            <a:endParaRPr lang="en-US" sz="1000" dirty="0"/>
          </a:p>
        </p:txBody>
      </p:sp>
      <p:sp>
        <p:nvSpPr>
          <p:cNvPr id="45" name="Text Placeholder 10">
            <a:extLst>
              <a:ext uri="{FF2B5EF4-FFF2-40B4-BE49-F238E27FC236}">
                <a16:creationId xmlns:a16="http://schemas.microsoft.com/office/drawing/2014/main" id="{D1F3B625-2275-1450-BC30-A67E70B2A932}"/>
              </a:ext>
            </a:extLst>
          </p:cNvPr>
          <p:cNvSpPr txBox="1">
            <a:spLocks/>
          </p:cNvSpPr>
          <p:nvPr>
            <p:custDataLst>
              <p:tags r:id="rId10"/>
            </p:custDataLst>
          </p:nvPr>
        </p:nvSpPr>
        <p:spPr bwMode="auto">
          <a:xfrm>
            <a:off x="10969625" y="4287838"/>
            <a:ext cx="6318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42314C-59B1-4980-A6DC-46D36ABF58E8}" type="datetime'2''''''''035  (''''Pro''je''''ct''e''''''d'''''''''')'''''''">
              <a:rPr lang="en-US" altLang="en-US" sz="1000" smtClean="0"/>
              <a:pPr marL="0" indent="0" algn="ctr">
                <a:spcBef>
                  <a:spcPct val="0"/>
                </a:spcBef>
                <a:spcAft>
                  <a:spcPct val="0"/>
                </a:spcAft>
                <a:buNone/>
              </a:pPr>
              <a:t>2035  (Projected)</a:t>
            </a:fld>
            <a:endParaRPr lang="en-US" sz="1000" dirty="0"/>
          </a:p>
        </p:txBody>
      </p:sp>
      <p:sp>
        <p:nvSpPr>
          <p:cNvPr id="46" name="Rectangular Callout 45">
            <a:extLst>
              <a:ext uri="{FF2B5EF4-FFF2-40B4-BE49-F238E27FC236}">
                <a16:creationId xmlns:a16="http://schemas.microsoft.com/office/drawing/2014/main" id="{BC5BB32C-9298-F7EA-604B-B96E49CE0364}"/>
              </a:ext>
            </a:extLst>
          </p:cNvPr>
          <p:cNvSpPr/>
          <p:nvPr/>
        </p:nvSpPr>
        <p:spPr bwMode="gray">
          <a:xfrm>
            <a:off x="6802437" y="2235201"/>
            <a:ext cx="1418799" cy="1203420"/>
          </a:xfrm>
          <a:prstGeom prst="wedgeRectCallout">
            <a:avLst>
              <a:gd name="adj1" fmla="val 31530"/>
              <a:gd name="adj2" fmla="val 697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Japan’s 1990-95 surge reflects the last wave of large plants from its subsidy-driven 1980s pipeline, before permitting and community land-use constraints stalled further expansion.</a:t>
            </a:r>
            <a:endParaRPr lang="en-US" sz="1600" dirty="0">
              <a:solidFill>
                <a:schemeClr val="tx1"/>
              </a:solidFill>
            </a:endParaRPr>
          </a:p>
        </p:txBody>
      </p:sp>
      <p:cxnSp>
        <p:nvCxnSpPr>
          <p:cNvPr id="47" name="Straight Arrow Connector 46">
            <a:extLst>
              <a:ext uri="{FF2B5EF4-FFF2-40B4-BE49-F238E27FC236}">
                <a16:creationId xmlns:a16="http://schemas.microsoft.com/office/drawing/2014/main" id="{33DBAF3D-2280-841D-5ECE-0F430FC6A850}"/>
              </a:ext>
            </a:extLst>
          </p:cNvPr>
          <p:cNvCxnSpPr>
            <a:cxnSpLocks/>
          </p:cNvCxnSpPr>
          <p:nvPr/>
        </p:nvCxnSpPr>
        <p:spPr bwMode="gray">
          <a:xfrm flipV="1">
            <a:off x="7756525" y="3576638"/>
            <a:ext cx="450773" cy="336775"/>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8" name="Rectangular Callout 47">
            <a:extLst>
              <a:ext uri="{FF2B5EF4-FFF2-40B4-BE49-F238E27FC236}">
                <a16:creationId xmlns:a16="http://schemas.microsoft.com/office/drawing/2014/main" id="{4B4C2FA1-0DA9-CC34-E05F-591198D1138E}"/>
              </a:ext>
            </a:extLst>
          </p:cNvPr>
          <p:cNvSpPr/>
          <p:nvPr/>
        </p:nvSpPr>
        <p:spPr bwMode="gray">
          <a:xfrm>
            <a:off x="8462248" y="2887663"/>
            <a:ext cx="2034324" cy="432964"/>
          </a:xfrm>
          <a:prstGeom prst="wedgeRectCallout">
            <a:avLst>
              <a:gd name="adj1" fmla="val 29431"/>
              <a:gd name="adj2" fmla="val 7338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b="0" i="0" dirty="0">
                <a:solidFill>
                  <a:srgbClr val="222222"/>
                </a:solidFill>
                <a:effectLst/>
                <a:latin typeface="Arial" panose="020B0604020202020204" pitchFamily="34" charset="0"/>
              </a:rPr>
              <a:t>Incentives rise after 2012, but land-use limits, community resistance, and slow permitting keep capacity flat.</a:t>
            </a:r>
            <a:endParaRPr lang="en-US" sz="800" dirty="0">
              <a:solidFill>
                <a:schemeClr val="tx1"/>
              </a:solidFill>
            </a:endParaRPr>
          </a:p>
        </p:txBody>
      </p:sp>
      <p:cxnSp>
        <p:nvCxnSpPr>
          <p:cNvPr id="49" name="Straight Arrow Connector 48">
            <a:extLst>
              <a:ext uri="{FF2B5EF4-FFF2-40B4-BE49-F238E27FC236}">
                <a16:creationId xmlns:a16="http://schemas.microsoft.com/office/drawing/2014/main" id="{059EBF71-F07E-0E81-8732-DD3098734D8D}"/>
              </a:ext>
            </a:extLst>
          </p:cNvPr>
          <p:cNvCxnSpPr>
            <a:cxnSpLocks/>
          </p:cNvCxnSpPr>
          <p:nvPr/>
        </p:nvCxnSpPr>
        <p:spPr bwMode="gray">
          <a:xfrm flipV="1">
            <a:off x="8307388" y="3457575"/>
            <a:ext cx="2387600" cy="14116"/>
          </a:xfrm>
          <a:prstGeom prst="straightConnector1">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Straight Arrow Connector 49">
            <a:extLst>
              <a:ext uri="{FF2B5EF4-FFF2-40B4-BE49-F238E27FC236}">
                <a16:creationId xmlns:a16="http://schemas.microsoft.com/office/drawing/2014/main" id="{F78743C5-8B95-BDB6-15D7-B7101802ADD0}"/>
              </a:ext>
            </a:extLst>
          </p:cNvPr>
          <p:cNvCxnSpPr>
            <a:cxnSpLocks/>
          </p:cNvCxnSpPr>
          <p:nvPr/>
        </p:nvCxnSpPr>
        <p:spPr bwMode="gray">
          <a:xfrm flipV="1">
            <a:off x="10704551" y="2235200"/>
            <a:ext cx="225387" cy="1191592"/>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1" name="Rectangular Callout 50">
            <a:extLst>
              <a:ext uri="{FF2B5EF4-FFF2-40B4-BE49-F238E27FC236}">
                <a16:creationId xmlns:a16="http://schemas.microsoft.com/office/drawing/2014/main" id="{D5151842-3DDD-0987-4679-393EE5BD9BF5}"/>
              </a:ext>
            </a:extLst>
          </p:cNvPr>
          <p:cNvSpPr/>
          <p:nvPr/>
        </p:nvSpPr>
        <p:spPr bwMode="gray">
          <a:xfrm>
            <a:off x="8462248" y="2241550"/>
            <a:ext cx="2034324" cy="432964"/>
          </a:xfrm>
          <a:prstGeom prst="wedgeRectCallout">
            <a:avLst>
              <a:gd name="adj1" fmla="val 60760"/>
              <a:gd name="adj2" fmla="val -26154"/>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b="0" i="0" dirty="0">
                <a:solidFill>
                  <a:srgbClr val="222222"/>
                </a:solidFill>
                <a:effectLst/>
                <a:latin typeface="Arial" panose="020B0604020202020204" pitchFamily="34" charset="0"/>
              </a:rPr>
              <a:t>Japan’s new R&amp;D and permitting reforms target risk, speed, and consensus to enable 2035 scale-up.</a:t>
            </a:r>
            <a:endParaRPr lang="en-US" sz="800" dirty="0">
              <a:solidFill>
                <a:schemeClr val="tx1"/>
              </a:solidFill>
            </a:endParaRPr>
          </a:p>
        </p:txBody>
      </p:sp>
    </p:spTree>
    <p:extLst>
      <p:ext uri="{BB962C8B-B14F-4D97-AF65-F5344CB8AC3E}">
        <p14:creationId xmlns:p14="http://schemas.microsoft.com/office/powerpoint/2010/main" val="28232388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blipFill>
          <a:blip r:embed="rId4" cstate="screen">
            <a:extLst>
              <a:ext uri="{28A0092B-C50C-407E-A947-70E740481C1C}">
                <a14:useLocalDpi xmlns:a14="http://schemas.microsoft.com/office/drawing/2010/main"/>
              </a:ext>
            </a:extLst>
          </a:blip>
          <a:stretch>
            <a:fillRect/>
          </a:stretch>
        </a:blipFill>
        <a:effectLst/>
      </p:bgPr>
    </p:bg>
    <p:spTree>
      <p:nvGrpSpPr>
        <p:cNvPr id="1" name="">
          <a:extLst>
            <a:ext uri="{FF2B5EF4-FFF2-40B4-BE49-F238E27FC236}">
              <a16:creationId xmlns:a16="http://schemas.microsoft.com/office/drawing/2014/main" id="{21FBBC3D-CEB3-8EB1-08D2-9C7A85EE4CE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60000F-316C-A2F7-B97D-34DE74E32016}"/>
              </a:ext>
            </a:extLst>
          </p:cNvPr>
          <p:cNvGraphicFramePr>
            <a:graphicFrameLocks/>
          </p:cNvGraphicFramePr>
          <p:nvPr>
            <p:custDataLst>
              <p:tags r:id="rId1"/>
            </p:custDataLst>
            <p:extLst>
              <p:ext uri="{D42A27DB-BD31-4B8C-83A1-F6EECF244321}">
                <p14:modId xmlns:p14="http://schemas.microsoft.com/office/powerpoint/2010/main" val="639543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think-cell data - do not delete" hidden="1">
                        <a:extLst>
                          <a:ext uri="{FF2B5EF4-FFF2-40B4-BE49-F238E27FC236}">
                            <a16:creationId xmlns:a16="http://schemas.microsoft.com/office/drawing/2014/main" id="{7260000F-316C-A2F7-B97D-34DE74E320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AB1B4483-7DB6-7CDA-086C-81273B993CCE}"/>
              </a:ext>
            </a:extLst>
          </p:cNvPr>
          <p:cNvSpPr>
            <a:spLocks noGrp="1"/>
          </p:cNvSpPr>
          <p:nvPr>
            <p:ph type="title"/>
          </p:nvPr>
        </p:nvSpPr>
        <p:spPr/>
        <p:txBody>
          <a:bodyPr vert="horz" rIns="91440">
            <a:normAutofit/>
          </a:bodyPr>
          <a:lstStyle/>
          <a:p>
            <a:r>
              <a:rPr lang="en-US" sz="4800" dirty="0"/>
              <a:t>Geothermal Power Finance</a:t>
            </a:r>
          </a:p>
        </p:txBody>
      </p:sp>
    </p:spTree>
    <p:extLst>
      <p:ext uri="{BB962C8B-B14F-4D97-AF65-F5344CB8AC3E}">
        <p14:creationId xmlns:p14="http://schemas.microsoft.com/office/powerpoint/2010/main" val="38130860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snowy mountain landscape with a small building&#10;&#10;AI-generated content may be incorrect.">
            <a:extLst>
              <a:ext uri="{FF2B5EF4-FFF2-40B4-BE49-F238E27FC236}">
                <a16:creationId xmlns:a16="http://schemas.microsoft.com/office/drawing/2014/main" id="{5BA722DE-6DEB-7292-CB5E-3D2886B8CACC}"/>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t="2658" b="2658"/>
          <a:stretch>
            <a:fillRect/>
          </a:stretch>
        </p:blipFill>
        <p:spPr>
          <a:prstGeom prst="rect">
            <a:avLst/>
          </a:prstGeom>
        </p:spPr>
      </p:pic>
      <p:sp>
        <p:nvSpPr>
          <p:cNvPr id="3" name="Text Placeholder 2">
            <a:extLst>
              <a:ext uri="{FF2B5EF4-FFF2-40B4-BE49-F238E27FC236}">
                <a16:creationId xmlns:a16="http://schemas.microsoft.com/office/drawing/2014/main" id="{B248D470-3F14-0B94-4844-25827C373694}"/>
              </a:ext>
            </a:extLst>
          </p:cNvPr>
          <p:cNvSpPr>
            <a:spLocks noGrp="1"/>
          </p:cNvSpPr>
          <p:nvPr>
            <p:ph type="body" sz="quarter" idx="13"/>
          </p:nvPr>
        </p:nvSpPr>
        <p:spPr/>
        <p:txBody>
          <a:bodyPr/>
          <a:lstStyle/>
          <a:p>
            <a:pPr marL="0" indent="0">
              <a:buNone/>
            </a:pPr>
            <a:r>
              <a:rPr lang="en-US" sz="1200" b="1" dirty="0"/>
              <a:t>Energy Access, Development Needs, and </a:t>
            </a:r>
            <a:r>
              <a:rPr lang="en-US" sz="1200" b="1" dirty="0" err="1"/>
              <a:t>Geothermal’s</a:t>
            </a:r>
            <a:r>
              <a:rPr lang="en-US" sz="1200" b="1" dirty="0"/>
              <a:t> Role</a:t>
            </a:r>
          </a:p>
          <a:p>
            <a:r>
              <a:rPr lang="en-US" altLang="en-US" sz="1200" dirty="0"/>
              <a:t>Developing countries face ongoing challenges in achieving </a:t>
            </a:r>
            <a:r>
              <a:rPr lang="en-US" altLang="en-US" sz="1200" b="1" dirty="0"/>
              <a:t>affordable, reliable, and sustainable energy</a:t>
            </a:r>
            <a:r>
              <a:rPr lang="en-US" altLang="en-US" sz="1200" dirty="0"/>
              <a:t>, limiting industrial growth and economic development. Expanding infrastructure, diversifying  supply sources and transitioning to low-carbon systems are key priorities.</a:t>
            </a:r>
          </a:p>
          <a:p>
            <a:r>
              <a:rPr lang="en-US" altLang="en-US" sz="1200" dirty="0"/>
              <a:t>Geothermal energy offers </a:t>
            </a:r>
            <a:r>
              <a:rPr lang="en-US" altLang="en-US" sz="1200" b="1" dirty="0"/>
              <a:t>24/7, low-cost, carbon-free baseload power</a:t>
            </a:r>
            <a:r>
              <a:rPr lang="en-US" altLang="en-US" sz="1200" dirty="0"/>
              <a:t>, but deployment is constrained by </a:t>
            </a:r>
            <a:r>
              <a:rPr lang="en-US" altLang="en-US" sz="1200" b="1" dirty="0"/>
              <a:t>high upfront costs</a:t>
            </a:r>
            <a:r>
              <a:rPr lang="en-US" altLang="en-US" sz="1200" dirty="0"/>
              <a:t>, </a:t>
            </a:r>
            <a:r>
              <a:rPr lang="en-US" altLang="en-US" sz="1200" b="1" dirty="0"/>
              <a:t>geological uncertainty</a:t>
            </a:r>
            <a:r>
              <a:rPr lang="en-US" altLang="en-US" sz="1200" dirty="0"/>
              <a:t>, and </a:t>
            </a:r>
            <a:r>
              <a:rPr lang="en-US" altLang="en-US" sz="1200" b="1" dirty="0"/>
              <a:t>limited technical capacity</a:t>
            </a:r>
            <a:r>
              <a:rPr lang="en-US" altLang="en-US" sz="1200" dirty="0"/>
              <a:t>.</a:t>
            </a:r>
          </a:p>
          <a:p>
            <a:pPr marL="0" indent="0">
              <a:buNone/>
            </a:pPr>
            <a:endParaRPr lang="en-US" sz="1200" b="1" dirty="0"/>
          </a:p>
          <a:p>
            <a:pPr marL="0" indent="0">
              <a:buNone/>
            </a:pPr>
            <a:r>
              <a:rPr lang="en-US" sz="1200" b="1" dirty="0"/>
              <a:t>Technological Cost Reductions in Binary and Flash Geothermal</a:t>
            </a:r>
          </a:p>
          <a:p>
            <a:r>
              <a:rPr lang="en-US" sz="1200" dirty="0"/>
              <a:t>Both binary and flash geothermal technologies are achieving major cost declines through </a:t>
            </a:r>
            <a:r>
              <a:rPr lang="en-US" sz="1200" b="1" dirty="0"/>
              <a:t>faster drilling, material efficiency, and plant scaling</a:t>
            </a:r>
            <a:r>
              <a:rPr lang="en-US" sz="1200" dirty="0"/>
              <a:t>. Advanced binary systems can reduce </a:t>
            </a:r>
            <a:r>
              <a:rPr lang="en-US" sz="1200" dirty="0" err="1"/>
              <a:t>CapEx</a:t>
            </a:r>
            <a:r>
              <a:rPr lang="en-US" sz="1200" dirty="0"/>
              <a:t> by up to </a:t>
            </a:r>
            <a:r>
              <a:rPr lang="en-US" sz="1200" b="1" dirty="0"/>
              <a:t>30%</a:t>
            </a:r>
            <a:r>
              <a:rPr lang="en-US" sz="1200" dirty="0"/>
              <a:t>, while flash systems — with </a:t>
            </a:r>
            <a:r>
              <a:rPr lang="en-US" sz="1200" b="1" dirty="0" err="1"/>
              <a:t>monobore</a:t>
            </a:r>
            <a:r>
              <a:rPr lang="en-US" sz="1200" b="1" dirty="0"/>
              <a:t> wells</a:t>
            </a:r>
            <a:r>
              <a:rPr lang="en-US" sz="1200" dirty="0"/>
              <a:t>, </a:t>
            </a:r>
            <a:r>
              <a:rPr lang="en-US" sz="1200" b="1" dirty="0"/>
              <a:t>4x faster drilling</a:t>
            </a:r>
            <a:r>
              <a:rPr lang="en-US" sz="1200" dirty="0"/>
              <a:t>, and </a:t>
            </a:r>
            <a:r>
              <a:rPr lang="en-US" sz="1200" b="1" dirty="0"/>
              <a:t>100 MW plants </a:t>
            </a:r>
            <a:r>
              <a:rPr lang="en-US" sz="1200" dirty="0"/>
              <a:t>— cut per-MW costs and timelines dramatically. Such innovations expand </a:t>
            </a:r>
            <a:r>
              <a:rPr lang="en-US" sz="1200" dirty="0" err="1"/>
              <a:t>geothermal’s</a:t>
            </a:r>
            <a:r>
              <a:rPr lang="en-US" sz="1200" dirty="0"/>
              <a:t> geographic reach and competitiveness in emerging economies.</a:t>
            </a:r>
          </a:p>
          <a:p>
            <a:pPr marL="0" indent="0">
              <a:buNone/>
            </a:pPr>
            <a:endParaRPr lang="en-US" sz="1200" b="1" dirty="0"/>
          </a:p>
          <a:p>
            <a:pPr marL="0" indent="0">
              <a:buNone/>
            </a:pPr>
            <a:r>
              <a:rPr lang="en-US" sz="1200" b="1" dirty="0"/>
              <a:t>Risk Mitigation, Policy Support, and Financing Models</a:t>
            </a:r>
          </a:p>
          <a:p>
            <a:r>
              <a:rPr lang="en-US" sz="1200" dirty="0"/>
              <a:t>Early-stage uncertainty remains the key investment barrier. Global programs like </a:t>
            </a:r>
            <a:r>
              <a:rPr lang="en-US" sz="1200" b="1" dirty="0"/>
              <a:t>World Bank’s ESMAP </a:t>
            </a:r>
            <a:r>
              <a:rPr lang="en-US" sz="1200" dirty="0"/>
              <a:t>show that </a:t>
            </a:r>
            <a:r>
              <a:rPr lang="en-US" sz="1200" b="1" dirty="0"/>
              <a:t>government-led exploration</a:t>
            </a:r>
            <a:r>
              <a:rPr lang="en-US" sz="1200" dirty="0"/>
              <a:t>, </a:t>
            </a:r>
            <a:r>
              <a:rPr lang="en-US" sz="1200" b="1" dirty="0"/>
              <a:t>cost-shared drilling</a:t>
            </a:r>
            <a:r>
              <a:rPr lang="en-US" sz="1200" dirty="0"/>
              <a:t>, and </a:t>
            </a:r>
            <a:r>
              <a:rPr lang="en-US" sz="1200" b="1" dirty="0"/>
              <a:t>fiscal incentives</a:t>
            </a:r>
            <a:r>
              <a:rPr lang="en-US" sz="1200" dirty="0"/>
              <a:t> attract private capital. De-risking tools such as </a:t>
            </a:r>
            <a:r>
              <a:rPr lang="en-US" sz="1200" b="1" dirty="0"/>
              <a:t>GRIF, insurance, and grants</a:t>
            </a:r>
            <a:r>
              <a:rPr lang="en-US" sz="1200" dirty="0"/>
              <a:t>, combined with </a:t>
            </a:r>
            <a:r>
              <a:rPr lang="en-US" sz="1200" b="1" dirty="0"/>
              <a:t>oil &amp; gas expertise</a:t>
            </a:r>
            <a:r>
              <a:rPr lang="en-US" sz="1200" dirty="0"/>
              <a:t> in drilling and modular design, could reduce next-gen geothermal costs by up to </a:t>
            </a:r>
            <a:r>
              <a:rPr lang="en-US" sz="1200" b="1" dirty="0"/>
              <a:t>80%</a:t>
            </a:r>
            <a:r>
              <a:rPr lang="en-US" sz="1200" dirty="0"/>
              <a:t>, achieving </a:t>
            </a:r>
            <a:r>
              <a:rPr lang="en-US" sz="1200" b="1" dirty="0"/>
              <a:t>~$40/MWh</a:t>
            </a:r>
            <a:r>
              <a:rPr lang="en-US" sz="1200" dirty="0"/>
              <a:t>,</a:t>
            </a:r>
            <a:r>
              <a:rPr lang="en-US" sz="1200" b="1" dirty="0"/>
              <a:t> </a:t>
            </a:r>
            <a:r>
              <a:rPr lang="en-US" sz="1200" dirty="0"/>
              <a:t>competitive with nuclear and PV + storage.</a:t>
            </a:r>
          </a:p>
          <a:p>
            <a:pPr marL="0" indent="0">
              <a:buNone/>
            </a:pPr>
            <a:endParaRPr lang="en-US" sz="1200" b="1" dirty="0"/>
          </a:p>
          <a:p>
            <a:pPr marL="0" indent="0">
              <a:buNone/>
            </a:pPr>
            <a:r>
              <a:rPr lang="en-US" sz="1200" b="1" dirty="0"/>
              <a:t>Competitiveness and Industry Spillovers </a:t>
            </a:r>
          </a:p>
          <a:p>
            <a:r>
              <a:rPr lang="en-US" altLang="en-US" sz="1200" dirty="0" err="1"/>
              <a:t>Geothermal’s</a:t>
            </a:r>
            <a:r>
              <a:rPr lang="en-US" altLang="en-US" sz="1200" dirty="0"/>
              <a:t> </a:t>
            </a:r>
            <a:r>
              <a:rPr lang="en-US" altLang="en-US" sz="1200" b="1" dirty="0"/>
              <a:t>LCOEs ($61-$102/MWh)</a:t>
            </a:r>
            <a:r>
              <a:rPr lang="en-US" altLang="en-US" sz="1200" dirty="0"/>
              <a:t> are cheaper than coal and gas and about half the cost of nuclear, with </a:t>
            </a:r>
            <a:r>
              <a:rPr lang="en-US" altLang="en-US" sz="1200" b="1" dirty="0"/>
              <a:t>oil &amp; gas technology spillovers</a:t>
            </a:r>
            <a:r>
              <a:rPr lang="en-US" altLang="en-US" sz="1200" dirty="0"/>
              <a:t> accelerating commercialization.</a:t>
            </a:r>
          </a:p>
          <a:p>
            <a:r>
              <a:rPr lang="en-US" altLang="en-US" sz="1200" b="1" dirty="0" err="1">
                <a:cs typeface="Arial"/>
              </a:rPr>
              <a:t>Fervo</a:t>
            </a:r>
            <a:r>
              <a:rPr lang="en-US" altLang="en-US" sz="1200" b="1" dirty="0">
                <a:cs typeface="Arial"/>
              </a:rPr>
              <a:t> Energy</a:t>
            </a:r>
            <a:r>
              <a:rPr lang="en-US" altLang="en-US" sz="1200" dirty="0">
                <a:cs typeface="Arial"/>
              </a:rPr>
              <a:t> leverages </a:t>
            </a:r>
            <a:r>
              <a:rPr lang="en-US" altLang="en-US" sz="1200" b="1" dirty="0">
                <a:cs typeface="Arial"/>
              </a:rPr>
              <a:t>horizontal drilling</a:t>
            </a:r>
            <a:r>
              <a:rPr lang="en-US" altLang="en-US" sz="1200" dirty="0">
                <a:cs typeface="Arial"/>
              </a:rPr>
              <a:t> and </a:t>
            </a:r>
            <a:r>
              <a:rPr lang="en-US" altLang="en-US" sz="1200" b="1" dirty="0">
                <a:cs typeface="Arial"/>
              </a:rPr>
              <a:t>rapid well completion</a:t>
            </a:r>
            <a:r>
              <a:rPr lang="en-US" altLang="en-US" sz="1200" dirty="0">
                <a:cs typeface="Arial"/>
              </a:rPr>
              <a:t> to attract major </a:t>
            </a:r>
            <a:r>
              <a:rPr lang="en-US" altLang="en-US" sz="1200" b="1" dirty="0">
                <a:cs typeface="Arial"/>
              </a:rPr>
              <a:t>equity and debt financing</a:t>
            </a:r>
            <a:r>
              <a:rPr lang="en-US" altLang="en-US" sz="1200" dirty="0">
                <a:cs typeface="Arial"/>
              </a:rPr>
              <a:t>, including a </a:t>
            </a:r>
            <a:r>
              <a:rPr lang="en-US" altLang="en-US" sz="1200" b="1" dirty="0">
                <a:cs typeface="Arial"/>
              </a:rPr>
              <a:t>$300 million Series E</a:t>
            </a:r>
            <a:r>
              <a:rPr lang="en-US" altLang="en-US" sz="1200" dirty="0">
                <a:cs typeface="Arial"/>
              </a:rPr>
              <a:t> ahead of a planned IPO, advancing geothermal toward </a:t>
            </a:r>
            <a:r>
              <a:rPr lang="en-US" altLang="en-US" sz="1200" b="1" dirty="0">
                <a:cs typeface="Arial"/>
              </a:rPr>
              <a:t>commercial bankability</a:t>
            </a:r>
            <a:r>
              <a:rPr lang="en-US" altLang="en-US" sz="1200" dirty="0">
                <a:cs typeface="Arial"/>
              </a:rPr>
              <a:t> and a </a:t>
            </a:r>
            <a:r>
              <a:rPr lang="en-US" altLang="en-US" sz="1200" b="1" dirty="0">
                <a:cs typeface="Arial"/>
              </a:rPr>
              <a:t>trillion-dollar clean energy market</a:t>
            </a:r>
            <a:r>
              <a:rPr lang="en-US" altLang="en-US" sz="1200" dirty="0">
                <a:cs typeface="Arial"/>
              </a:rPr>
              <a:t>.</a:t>
            </a:r>
          </a:p>
          <a:p>
            <a:pPr marL="177800" lvl="1" indent="0">
              <a:buNone/>
            </a:pPr>
            <a:endParaRPr lang="en-US" dirty="0"/>
          </a:p>
          <a:p>
            <a:endParaRPr lang="en-US" sz="1200" dirty="0"/>
          </a:p>
        </p:txBody>
      </p:sp>
      <p:sp>
        <p:nvSpPr>
          <p:cNvPr id="5" name="Content Placeholder 4">
            <a:extLst>
              <a:ext uri="{FF2B5EF4-FFF2-40B4-BE49-F238E27FC236}">
                <a16:creationId xmlns:a16="http://schemas.microsoft.com/office/drawing/2014/main" id="{4EF99BDA-5820-54C6-CC7C-AF8CC62BB36C}"/>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Finance</a:t>
            </a:r>
          </a:p>
        </p:txBody>
      </p:sp>
      <p:cxnSp>
        <p:nvCxnSpPr>
          <p:cNvPr id="8" name="Straight Connector 7">
            <a:extLst>
              <a:ext uri="{FF2B5EF4-FFF2-40B4-BE49-F238E27FC236}">
                <a16:creationId xmlns:a16="http://schemas.microsoft.com/office/drawing/2014/main" id="{B3BD69BD-9891-55A4-B91D-ACE35A9EF4DD}"/>
              </a:ext>
            </a:extLst>
          </p:cNvPr>
          <p:cNvCxnSpPr>
            <a:cxnSpLocks/>
          </p:cNvCxnSpPr>
          <p:nvPr/>
        </p:nvCxnSpPr>
        <p:spPr bwMode="gray">
          <a:xfrm>
            <a:off x="4183267" y="2019376"/>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DC5450-4448-30C1-E57C-2CE99E70C6BA}"/>
              </a:ext>
            </a:extLst>
          </p:cNvPr>
          <p:cNvCxnSpPr>
            <a:cxnSpLocks/>
          </p:cNvCxnSpPr>
          <p:nvPr/>
        </p:nvCxnSpPr>
        <p:spPr bwMode="gray">
          <a:xfrm>
            <a:off x="4183267" y="3284160"/>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3DDF60-2628-5565-61F2-96528A07A866}"/>
              </a:ext>
            </a:extLst>
          </p:cNvPr>
          <p:cNvCxnSpPr>
            <a:cxnSpLocks/>
          </p:cNvCxnSpPr>
          <p:nvPr/>
        </p:nvCxnSpPr>
        <p:spPr bwMode="gray">
          <a:xfrm>
            <a:off x="4183267" y="4577367"/>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FA41C2CC-9730-6623-72F3-9E5CE12FD596}"/>
              </a:ext>
            </a:extLst>
          </p:cNvPr>
          <p:cNvSpPr>
            <a:spLocks noGrp="1"/>
          </p:cNvSpPr>
          <p:nvPr>
            <p:ph type="ftr" sz="quarter" idx="3"/>
          </p:nvPr>
        </p:nvSpPr>
        <p:spPr>
          <a:xfrm>
            <a:off x="334962" y="6435873"/>
            <a:ext cx="9147241" cy="216706"/>
          </a:xfrm>
        </p:spPr>
        <p:txBody>
          <a:bodyPr/>
          <a:lstStyle/>
          <a:p>
            <a:pPr marL="0" indent="0">
              <a:buNone/>
            </a:pPr>
            <a:r>
              <a:rPr lang="en-US" dirty="0">
                <a:hlinkClick r:id="rId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15856760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9BD243-9B12-6499-E625-D3DE9990F4BD}"/>
              </a:ext>
            </a:extLst>
          </p:cNvPr>
          <p:cNvGraphicFramePr>
            <a:graphicFrameLocks/>
          </p:cNvGraphicFramePr>
          <p:nvPr>
            <p:custDataLst>
              <p:tags r:id="rId1"/>
            </p:custDataLst>
            <p:extLst>
              <p:ext uri="{D42A27DB-BD31-4B8C-83A1-F6EECF244321}">
                <p14:modId xmlns:p14="http://schemas.microsoft.com/office/powerpoint/2010/main" val="2073407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0" name=""/>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F308EB7-86F8-CA9D-D66C-9CD6FC5C4150}"/>
              </a:ext>
            </a:extLst>
          </p:cNvPr>
          <p:cNvSpPr>
            <a:spLocks noGrp="1"/>
          </p:cNvSpPr>
          <p:nvPr>
            <p:ph type="body" sz="quarter" idx="14"/>
          </p:nvPr>
        </p:nvSpPr>
        <p:spPr/>
        <p:txBody>
          <a:bodyPr rIns="91440"/>
          <a:lstStyle/>
          <a:p>
            <a:pPr marL="0" indent="0">
              <a:buNone/>
            </a:pPr>
            <a:r>
              <a:rPr lang="en-US" b="1" dirty="0"/>
              <a:t>Observations</a:t>
            </a:r>
          </a:p>
          <a:p>
            <a:pPr marL="0" indent="0">
              <a:buNone/>
            </a:pPr>
            <a:r>
              <a:rPr lang="en-US" sz="850" dirty="0"/>
              <a:t>Binary geothermal sees </a:t>
            </a:r>
            <a:r>
              <a:rPr lang="en-US" sz="850" b="1" dirty="0"/>
              <a:t>cost reductions through both subsurface and surface improvements</a:t>
            </a:r>
            <a:r>
              <a:rPr lang="en-US" sz="850" dirty="0"/>
              <a:t>.  </a:t>
            </a:r>
          </a:p>
          <a:p>
            <a:pPr marL="173736" indent="-173736">
              <a:spcBef>
                <a:spcPts val="300"/>
              </a:spcBef>
            </a:pPr>
            <a:r>
              <a:rPr lang="en-US" sz="850" dirty="0"/>
              <a:t>Conservative: Learning is incremental with limited drilling gains. </a:t>
            </a:r>
          </a:p>
          <a:p>
            <a:pPr marL="173736" indent="-173736">
              <a:spcBef>
                <a:spcPts val="300"/>
              </a:spcBef>
            </a:pPr>
            <a:r>
              <a:rPr lang="en-US" sz="850" dirty="0"/>
              <a:t>Moderate: Introduces faster drilling, reduced material use, and moderate plant scaling (to 40 MW), supported by a 13% learning rate. </a:t>
            </a:r>
          </a:p>
          <a:p>
            <a:pPr marL="173736" indent="-173736">
              <a:spcBef>
                <a:spcPts val="300"/>
              </a:spcBef>
            </a:pPr>
            <a:r>
              <a:rPr lang="en-US" sz="850" dirty="0"/>
              <a:t>Advanced: Accelerates progress with major drilling breakthroughs, larger plants, and advanced surface system efficiency, resulting in up to 30% learning-driven </a:t>
            </a:r>
            <a:r>
              <a:rPr lang="en-US" sz="850" dirty="0" err="1"/>
              <a:t>CapEx</a:t>
            </a:r>
            <a:r>
              <a:rPr lang="en-US" sz="850" dirty="0"/>
              <a:t> reduction. As a result, binary systems become increasingly viable across a wider range of geographies.</a:t>
            </a:r>
          </a:p>
          <a:p>
            <a:pPr marL="0" indent="0">
              <a:buNone/>
            </a:pPr>
            <a:r>
              <a:rPr lang="en-US" sz="850" dirty="0"/>
              <a:t>Flash geothermal sees cost reductions </a:t>
            </a:r>
            <a:r>
              <a:rPr lang="en-US" sz="850" b="1" dirty="0"/>
              <a:t>driven by drilling efficiency and plant scale</a:t>
            </a:r>
            <a:r>
              <a:rPr lang="en-US" sz="850" dirty="0"/>
              <a:t>. </a:t>
            </a:r>
          </a:p>
          <a:p>
            <a:pPr marL="173736" indent="-173736">
              <a:spcBef>
                <a:spcPts val="300"/>
              </a:spcBef>
            </a:pPr>
            <a:r>
              <a:rPr lang="en-US" sz="850" dirty="0"/>
              <a:t>Conservative: Only modest gains are expected, with minor improvements in drilling speed and bit durability. </a:t>
            </a:r>
          </a:p>
          <a:p>
            <a:pPr marL="173736" indent="-173736">
              <a:spcBef>
                <a:spcPts val="300"/>
              </a:spcBef>
            </a:pPr>
            <a:r>
              <a:rPr lang="en-US" sz="850" dirty="0"/>
              <a:t>Moderate: Assumes faster drilling, fewer casing stages, and streamlined permitting, leading to more meaningful </a:t>
            </a:r>
            <a:r>
              <a:rPr lang="en-US" sz="850" dirty="0" err="1"/>
              <a:t>CapEx</a:t>
            </a:r>
            <a:r>
              <a:rPr lang="en-US" sz="850" dirty="0"/>
              <a:t> savings. </a:t>
            </a:r>
          </a:p>
          <a:p>
            <a:pPr marL="173736" indent="-173736">
              <a:spcBef>
                <a:spcPts val="300"/>
              </a:spcBef>
            </a:pPr>
            <a:r>
              <a:rPr lang="en-US" sz="850" dirty="0"/>
              <a:t>Advanced: Transformational gains, such as 4x faster drilling, </a:t>
            </a:r>
            <a:r>
              <a:rPr lang="en-US" sz="850" dirty="0" err="1"/>
              <a:t>monobore</a:t>
            </a:r>
            <a:r>
              <a:rPr lang="en-US" sz="850" dirty="0"/>
              <a:t> well designs, and deployment of 100 MW plants unlock significant cost reductions by cutting timelines, material use, and per-MW development cost. </a:t>
            </a:r>
          </a:p>
          <a:p>
            <a:endParaRPr lang="en-US" sz="850" dirty="0"/>
          </a:p>
        </p:txBody>
      </p:sp>
      <p:sp>
        <p:nvSpPr>
          <p:cNvPr id="3" name="Title 2">
            <a:extLst>
              <a:ext uri="{FF2B5EF4-FFF2-40B4-BE49-F238E27FC236}">
                <a16:creationId xmlns:a16="http://schemas.microsoft.com/office/drawing/2014/main" id="{EFB5F008-7214-296E-EF18-FF803B02E796}"/>
              </a:ext>
            </a:extLst>
          </p:cNvPr>
          <p:cNvSpPr>
            <a:spLocks noGrp="1"/>
          </p:cNvSpPr>
          <p:nvPr>
            <p:ph type="title"/>
          </p:nvPr>
        </p:nvSpPr>
        <p:spPr/>
        <p:txBody>
          <a:bodyPr vert="horz" rIns="91440"/>
          <a:lstStyle/>
          <a:p>
            <a:r>
              <a:rPr lang="en-US" dirty="0"/>
              <a:t>Conventional geothermal construction costs projected to continue to decline, driven by tech improvements and efficiency gains</a:t>
            </a:r>
          </a:p>
        </p:txBody>
      </p:sp>
      <p:sp>
        <p:nvSpPr>
          <p:cNvPr id="4" name="Footer Placeholder 3">
            <a:extLst>
              <a:ext uri="{FF2B5EF4-FFF2-40B4-BE49-F238E27FC236}">
                <a16:creationId xmlns:a16="http://schemas.microsoft.com/office/drawing/2014/main" id="{DF60E89B-041C-9596-0E74-4E817D4F7F9A}"/>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6"/>
              </a:rPr>
              <a:t>Annual Technology Baseline</a:t>
            </a:r>
            <a:r>
              <a:rPr lang="en-US" dirty="0">
                <a:solidFill>
                  <a:srgbClr val="000000"/>
                </a:solidFill>
              </a:rPr>
              <a:t> (NREL,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57"/>
              </a:rPr>
              <a:t>Gernot Wagner.</a:t>
            </a:r>
            <a:r>
              <a:rPr lang="en-US" dirty="0">
                <a:solidFill>
                  <a:srgbClr val="000000"/>
                </a:solidFill>
              </a:rPr>
              <a:t> </a:t>
            </a:r>
            <a:r>
              <a:rPr lang="en-US" dirty="0">
                <a:hlinkClick r:id="rId5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5C43588A-715D-72D2-9544-0F222670BD7B}"/>
              </a:ext>
            </a:extLst>
          </p:cNvPr>
          <p:cNvSpPr>
            <a:spLocks noGrp="1"/>
          </p:cNvSpPr>
          <p:nvPr>
            <p:ph type="body" sz="quarter" idx="13"/>
          </p:nvPr>
        </p:nvSpPr>
        <p:spPr/>
        <p:txBody>
          <a:bodyPr/>
          <a:lstStyle/>
          <a:p>
            <a:r>
              <a:rPr lang="en-US" dirty="0"/>
              <a:t>Cost of construction for both flash and binary geothermal are expected to decline from 2022 to 2050 under conservative to advanced scenarios</a:t>
            </a:r>
          </a:p>
        </p:txBody>
      </p:sp>
      <p:sp>
        <p:nvSpPr>
          <p:cNvPr id="7" name="Text Placeholder 1">
            <a:extLst>
              <a:ext uri="{FF2B5EF4-FFF2-40B4-BE49-F238E27FC236}">
                <a16:creationId xmlns:a16="http://schemas.microsoft.com/office/drawing/2014/main" id="{BC45FC10-7E37-301F-11FF-0183915DA3D6}"/>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cxnSp>
        <p:nvCxnSpPr>
          <p:cNvPr id="13" name="Straight Connector 12">
            <a:extLst>
              <a:ext uri="{FF2B5EF4-FFF2-40B4-BE49-F238E27FC236}">
                <a16:creationId xmlns:a16="http://schemas.microsoft.com/office/drawing/2014/main" id="{BBC307D9-7B32-C912-E55D-1A0F450B7FA1}"/>
              </a:ext>
            </a:extLst>
          </p:cNvPr>
          <p:cNvCxnSpPr/>
          <p:nvPr>
            <p:custDataLst>
              <p:tags r:id="rId2"/>
            </p:custDataLst>
          </p:nvPr>
        </p:nvCxnSpPr>
        <p:spPr bwMode="auto">
          <a:xfrm>
            <a:off x="4405313"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15CCF942-DD22-6C82-0C81-4CD7958B7AAC}"/>
              </a:ext>
            </a:extLst>
          </p:cNvPr>
          <p:cNvCxnSpPr/>
          <p:nvPr>
            <p:custDataLst>
              <p:tags r:id="rId3"/>
            </p:custDataLst>
          </p:nvPr>
        </p:nvCxnSpPr>
        <p:spPr bwMode="auto">
          <a:xfrm>
            <a:off x="8432800"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DEBB6707-EA5C-CE76-42EC-A9D5044BFDCF}"/>
              </a:ext>
            </a:extLst>
          </p:cNvPr>
          <p:cNvCxnSpPr/>
          <p:nvPr>
            <p:custDataLst>
              <p:tags r:id="rId4"/>
            </p:custDataLst>
          </p:nvPr>
        </p:nvCxnSpPr>
        <p:spPr bwMode="auto">
          <a:xfrm>
            <a:off x="7089775"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CC51384-6CF0-6035-0690-3EC4C2323D7D}"/>
              </a:ext>
            </a:extLst>
          </p:cNvPr>
          <p:cNvCxnSpPr/>
          <p:nvPr>
            <p:custDataLst>
              <p:tags r:id="rId5"/>
            </p:custDataLst>
          </p:nvPr>
        </p:nvCxnSpPr>
        <p:spPr bwMode="auto">
          <a:xfrm>
            <a:off x="1719263"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A986898-B662-6432-F1BE-61C84DFC3AD8}"/>
              </a:ext>
            </a:extLst>
          </p:cNvPr>
          <p:cNvCxnSpPr/>
          <p:nvPr>
            <p:custDataLst>
              <p:tags r:id="rId6"/>
            </p:custDataLst>
          </p:nvPr>
        </p:nvCxnSpPr>
        <p:spPr bwMode="auto">
          <a:xfrm>
            <a:off x="5748338"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AD5BBAFA-CD7D-D1E0-7188-ED3A9E7A1D0F}"/>
              </a:ext>
            </a:extLst>
          </p:cNvPr>
          <p:cNvCxnSpPr/>
          <p:nvPr>
            <p:custDataLst>
              <p:tags r:id="rId7"/>
            </p:custDataLst>
          </p:nvPr>
        </p:nvCxnSpPr>
        <p:spPr bwMode="auto">
          <a:xfrm>
            <a:off x="3062288"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4" name="Chart 63">
            <a:extLst>
              <a:ext uri="{FF2B5EF4-FFF2-40B4-BE49-F238E27FC236}">
                <a16:creationId xmlns:a16="http://schemas.microsoft.com/office/drawing/2014/main" id="{A0DBD876-6719-0C40-EEB2-F6FC88100EE6}"/>
              </a:ext>
            </a:extLst>
          </p:cNvPr>
          <p:cNvGraphicFramePr/>
          <p:nvPr>
            <p:custDataLst>
              <p:tags r:id="rId8"/>
            </p:custDataLst>
            <p:extLst>
              <p:ext uri="{D42A27DB-BD31-4B8C-83A1-F6EECF244321}">
                <p14:modId xmlns:p14="http://schemas.microsoft.com/office/powerpoint/2010/main" val="3474211993"/>
              </p:ext>
            </p:extLst>
          </p:nvPr>
        </p:nvGraphicFramePr>
        <p:xfrm>
          <a:off x="831850" y="2657475"/>
          <a:ext cx="7683500" cy="3171825"/>
        </p:xfrm>
        <a:graphic>
          <a:graphicData uri="http://schemas.openxmlformats.org/drawingml/2006/chart">
            <c:chart xmlns:c="http://schemas.openxmlformats.org/drawingml/2006/chart" xmlns:r="http://schemas.openxmlformats.org/officeDocument/2006/relationships" r:id="rId59"/>
          </a:graphicData>
        </a:graphic>
      </p:graphicFrame>
      <p:sp>
        <p:nvSpPr>
          <p:cNvPr id="25" name="Text Placeholder 10">
            <a:extLst>
              <a:ext uri="{FF2B5EF4-FFF2-40B4-BE49-F238E27FC236}">
                <a16:creationId xmlns:a16="http://schemas.microsoft.com/office/drawing/2014/main" id="{6378AECC-8672-4A49-66C3-9718EFEF7797}"/>
              </a:ext>
            </a:extLst>
          </p:cNvPr>
          <p:cNvSpPr>
            <a:spLocks/>
          </p:cNvSpPr>
          <p:nvPr>
            <p:custDataLst>
              <p:tags r:id="rId9"/>
            </p:custDataLst>
          </p:nvPr>
        </p:nvSpPr>
        <p:spPr bwMode="gray">
          <a:xfrm>
            <a:off x="433388" y="43322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F4E28F-3C21-4026-997F-BB184B063A55}" type="datetime'''''''''''''''7,0''''''0''''''''''''''0'''''''''''''''''''">
              <a:rPr lang="en-US" altLang="en-US" sz="1200" smtClean="0"/>
              <a:pPr marL="0" lvl="0" indent="0" algn="r">
                <a:spcBef>
                  <a:spcPct val="0"/>
                </a:spcBef>
                <a:spcAft>
                  <a:spcPct val="0"/>
                </a:spcAft>
                <a:buNone/>
              </a:pPr>
              <a:t>7,000</a:t>
            </a:fld>
            <a:endParaRPr lang="en-US" sz="1200" dirty="0"/>
          </a:p>
        </p:txBody>
      </p:sp>
      <p:sp>
        <p:nvSpPr>
          <p:cNvPr id="29" name="Text Placeholder 10">
            <a:extLst>
              <a:ext uri="{FF2B5EF4-FFF2-40B4-BE49-F238E27FC236}">
                <a16:creationId xmlns:a16="http://schemas.microsoft.com/office/drawing/2014/main" id="{0D8817C5-C435-13F5-A200-1954CCAA723D}"/>
              </a:ext>
            </a:extLst>
          </p:cNvPr>
          <p:cNvSpPr>
            <a:spLocks/>
          </p:cNvSpPr>
          <p:nvPr>
            <p:custDataLst>
              <p:tags r:id="rId10"/>
            </p:custDataLst>
          </p:nvPr>
        </p:nvSpPr>
        <p:spPr bwMode="gray">
          <a:xfrm>
            <a:off x="433388" y="32099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A387AF-F868-4160-97CC-3A9B54FE2DB1}" type="datetime'''''9'''''''',''''''''''''''''0''''''''0''''''''''''''0'''">
              <a:rPr lang="en-US" altLang="en-US" sz="1200" smtClean="0"/>
              <a:pPr marL="0" lvl="0" indent="0" algn="r">
                <a:spcBef>
                  <a:spcPct val="0"/>
                </a:spcBef>
                <a:spcAft>
                  <a:spcPct val="0"/>
                </a:spcAft>
                <a:buNone/>
              </a:pPr>
              <a:t>9,000</a:t>
            </a:fld>
            <a:endParaRPr lang="en-US" sz="1200" dirty="0"/>
          </a:p>
        </p:txBody>
      </p:sp>
      <p:sp>
        <p:nvSpPr>
          <p:cNvPr id="18" name="Text Placeholder 10">
            <a:extLst>
              <a:ext uri="{FF2B5EF4-FFF2-40B4-BE49-F238E27FC236}">
                <a16:creationId xmlns:a16="http://schemas.microsoft.com/office/drawing/2014/main" id="{6BA35AEB-C647-1E7E-CA12-BA0D5C90CACA}"/>
              </a:ext>
            </a:extLst>
          </p:cNvPr>
          <p:cNvSpPr>
            <a:spLocks/>
          </p:cNvSpPr>
          <p:nvPr>
            <p:custDataLst>
              <p:tags r:id="rId11"/>
            </p:custDataLst>
          </p:nvPr>
        </p:nvSpPr>
        <p:spPr bwMode="gray">
          <a:xfrm>
            <a:off x="5580063"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B7901B-BBD0-4B9E-A1C1-5264C0DC6DA6}" type="datetime'2''''''''0''4''''''''0'''''''''''''">
              <a:rPr lang="en-US" altLang="en-US" sz="1200" smtClean="0"/>
              <a:pPr marL="0" lvl="0" indent="0" algn="ctr">
                <a:spcBef>
                  <a:spcPct val="0"/>
                </a:spcBef>
                <a:spcAft>
                  <a:spcPct val="0"/>
                </a:spcAft>
                <a:buNone/>
              </a:pPr>
              <a:t>2040</a:t>
            </a:fld>
            <a:endParaRPr lang="en-US" sz="1200" dirty="0"/>
          </a:p>
        </p:txBody>
      </p:sp>
      <p:sp>
        <p:nvSpPr>
          <p:cNvPr id="28" name="Text Placeholder 10">
            <a:extLst>
              <a:ext uri="{FF2B5EF4-FFF2-40B4-BE49-F238E27FC236}">
                <a16:creationId xmlns:a16="http://schemas.microsoft.com/office/drawing/2014/main" id="{DEA0F582-F44E-2770-CF5D-8D5E7352B54A}"/>
              </a:ext>
            </a:extLst>
          </p:cNvPr>
          <p:cNvSpPr>
            <a:spLocks/>
          </p:cNvSpPr>
          <p:nvPr>
            <p:custDataLst>
              <p:tags r:id="rId12"/>
            </p:custDataLst>
          </p:nvPr>
        </p:nvSpPr>
        <p:spPr bwMode="gray">
          <a:xfrm>
            <a:off x="2894013"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E6D92C-B308-4E82-9BDC-47B504C3F338}" type="datetime'''''''''''''''''''''''2''0''''''''3''''''''0'''''">
              <a:rPr lang="en-US" altLang="en-US" sz="1200" smtClean="0"/>
              <a:pPr marL="0" lvl="0" indent="0" algn="ctr">
                <a:spcBef>
                  <a:spcPct val="0"/>
                </a:spcBef>
                <a:spcAft>
                  <a:spcPct val="0"/>
                </a:spcAft>
                <a:buNone/>
              </a:pPr>
              <a:t>2030</a:t>
            </a:fld>
            <a:endParaRPr lang="en-US" sz="1200" dirty="0"/>
          </a:p>
        </p:txBody>
      </p:sp>
      <p:sp>
        <p:nvSpPr>
          <p:cNvPr id="17" name="Text Placeholder 10">
            <a:extLst>
              <a:ext uri="{FF2B5EF4-FFF2-40B4-BE49-F238E27FC236}">
                <a16:creationId xmlns:a16="http://schemas.microsoft.com/office/drawing/2014/main" id="{06042DBC-9032-B87A-8672-871BE911E239}"/>
              </a:ext>
            </a:extLst>
          </p:cNvPr>
          <p:cNvSpPr>
            <a:spLocks/>
          </p:cNvSpPr>
          <p:nvPr>
            <p:custDataLst>
              <p:tags r:id="rId13"/>
            </p:custDataLst>
          </p:nvPr>
        </p:nvSpPr>
        <p:spPr bwMode="gray">
          <a:xfrm>
            <a:off x="6921500"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BEEF68-E2C3-4706-9FE7-670BA7E26344}" type="datetime'''''''''''''''''''''''''''''2''''''''''''0''45'''''''''''''">
              <a:rPr lang="en-US" altLang="en-US" sz="1200" smtClean="0"/>
              <a:pPr marL="0" lvl="0" indent="0" algn="ctr">
                <a:spcBef>
                  <a:spcPct val="0"/>
                </a:spcBef>
                <a:spcAft>
                  <a:spcPct val="0"/>
                </a:spcAft>
                <a:buNone/>
              </a:pPr>
              <a:t>2045</a:t>
            </a:fld>
            <a:endParaRPr lang="en-US" sz="1200" dirty="0"/>
          </a:p>
        </p:txBody>
      </p:sp>
      <p:sp>
        <p:nvSpPr>
          <p:cNvPr id="32" name="Text Placeholder 10">
            <a:extLst>
              <a:ext uri="{FF2B5EF4-FFF2-40B4-BE49-F238E27FC236}">
                <a16:creationId xmlns:a16="http://schemas.microsoft.com/office/drawing/2014/main" id="{7EA393F8-4A80-989D-DD6A-539F2BD5FAEB}"/>
              </a:ext>
            </a:extLst>
          </p:cNvPr>
          <p:cNvSpPr>
            <a:spLocks/>
          </p:cNvSpPr>
          <p:nvPr>
            <p:custDataLst>
              <p:tags r:id="rId14"/>
            </p:custDataLst>
          </p:nvPr>
        </p:nvSpPr>
        <p:spPr bwMode="gray">
          <a:xfrm>
            <a:off x="1550988"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4BA6DC-AEB7-41F5-A31A-52A924F6489A}" type="datetime'''''''''''2''''0''''''''''''''''25'''''''''''''''''''''''''''">
              <a:rPr lang="en-US" altLang="en-US" sz="1200" smtClean="0"/>
              <a:pPr marL="0" lvl="0" indent="0" algn="ctr">
                <a:spcBef>
                  <a:spcPct val="0"/>
                </a:spcBef>
                <a:spcAft>
                  <a:spcPct val="0"/>
                </a:spcAft>
                <a:buNone/>
              </a:pPr>
              <a:t>2025</a:t>
            </a:fld>
            <a:endParaRPr lang="en-US" sz="1200" dirty="0"/>
          </a:p>
        </p:txBody>
      </p:sp>
      <p:sp>
        <p:nvSpPr>
          <p:cNvPr id="19" name="Text Placeholder 10">
            <a:extLst>
              <a:ext uri="{FF2B5EF4-FFF2-40B4-BE49-F238E27FC236}">
                <a16:creationId xmlns:a16="http://schemas.microsoft.com/office/drawing/2014/main" id="{C87A429B-B360-2CB3-D2B4-724AE0028B28}"/>
              </a:ext>
            </a:extLst>
          </p:cNvPr>
          <p:cNvSpPr>
            <a:spLocks/>
          </p:cNvSpPr>
          <p:nvPr>
            <p:custDataLst>
              <p:tags r:id="rId15"/>
            </p:custDataLst>
          </p:nvPr>
        </p:nvSpPr>
        <p:spPr bwMode="gray">
          <a:xfrm>
            <a:off x="8264525"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7787A5-3CD3-4E1E-B01D-ABA8C31AB41E}" type="datetime'''''2''0''''''''''5''''''''''''''''''''''''''0'''''''''''">
              <a:rPr lang="en-US" altLang="en-US" sz="1200" smtClean="0"/>
              <a:pPr marL="0" lvl="0" indent="0" algn="ctr">
                <a:spcBef>
                  <a:spcPct val="0"/>
                </a:spcBef>
                <a:spcAft>
                  <a:spcPct val="0"/>
                </a:spcAft>
                <a:buNone/>
              </a:pPr>
              <a:t>2050</a:t>
            </a:fld>
            <a:endParaRPr lang="en-US" sz="1200" dirty="0"/>
          </a:p>
        </p:txBody>
      </p:sp>
      <p:sp>
        <p:nvSpPr>
          <p:cNvPr id="31" name="Text Placeholder 10">
            <a:extLst>
              <a:ext uri="{FF2B5EF4-FFF2-40B4-BE49-F238E27FC236}">
                <a16:creationId xmlns:a16="http://schemas.microsoft.com/office/drawing/2014/main" id="{B1104D3C-C617-07DA-71C2-92A8C0F4338F}"/>
              </a:ext>
            </a:extLst>
          </p:cNvPr>
          <p:cNvSpPr>
            <a:spLocks/>
          </p:cNvSpPr>
          <p:nvPr>
            <p:custDataLst>
              <p:tags r:id="rId16"/>
            </p:custDataLst>
          </p:nvPr>
        </p:nvSpPr>
        <p:spPr bwMode="gray">
          <a:xfrm>
            <a:off x="349250" y="2649538"/>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10D372-61CE-43FB-B0EF-03CCA21B2043}" type="datetime'''''''''1''''0'''''''',''''''''''''''0''''''0''''''''0'''''''">
              <a:rPr lang="en-US" altLang="en-US" sz="1200" smtClean="0"/>
              <a:pPr marL="0" lvl="0" indent="0" algn="r">
                <a:spcBef>
                  <a:spcPct val="0"/>
                </a:spcBef>
                <a:spcAft>
                  <a:spcPct val="0"/>
                </a:spcAft>
                <a:buNone/>
              </a:pPr>
              <a:t>10,000</a:t>
            </a:fld>
            <a:endParaRPr lang="en-US" sz="1200" dirty="0"/>
          </a:p>
        </p:txBody>
      </p:sp>
      <p:sp>
        <p:nvSpPr>
          <p:cNvPr id="21" name="Text Placeholder 10">
            <a:extLst>
              <a:ext uri="{FF2B5EF4-FFF2-40B4-BE49-F238E27FC236}">
                <a16:creationId xmlns:a16="http://schemas.microsoft.com/office/drawing/2014/main" id="{9FD9AB3B-8E8D-FDB1-C22A-F8E3E369382E}"/>
              </a:ext>
            </a:extLst>
          </p:cNvPr>
          <p:cNvSpPr>
            <a:spLocks/>
          </p:cNvSpPr>
          <p:nvPr>
            <p:custDataLst>
              <p:tags r:id="rId17"/>
            </p:custDataLst>
          </p:nvPr>
        </p:nvSpPr>
        <p:spPr bwMode="gray">
          <a:xfrm>
            <a:off x="728663" y="565626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88CD6F0-A3ED-46E0-8E6E-E321DC6FF00F}" type="datetime'''''''''''''''''''''''0'''''''''''''''''''''">
              <a:rPr lang="en-US" altLang="en-US" sz="1200" smtClean="0"/>
              <a:pPr marL="0" lvl="0" indent="0" algn="r">
                <a:spcBef>
                  <a:spcPct val="0"/>
                </a:spcBef>
                <a:spcAft>
                  <a:spcPct val="0"/>
                </a:spcAft>
                <a:buNone/>
              </a:pPr>
              <a:t>0</a:t>
            </a:fld>
            <a:endParaRPr lang="en-US" sz="1200" dirty="0"/>
          </a:p>
        </p:txBody>
      </p:sp>
      <p:sp>
        <p:nvSpPr>
          <p:cNvPr id="22" name="Text Placeholder 10">
            <a:extLst>
              <a:ext uri="{FF2B5EF4-FFF2-40B4-BE49-F238E27FC236}">
                <a16:creationId xmlns:a16="http://schemas.microsoft.com/office/drawing/2014/main" id="{496EC1B4-3009-D2A4-8DD2-21485D5A3BD5}"/>
              </a:ext>
            </a:extLst>
          </p:cNvPr>
          <p:cNvSpPr>
            <a:spLocks/>
          </p:cNvSpPr>
          <p:nvPr>
            <p:custDataLst>
              <p:tags r:id="rId18"/>
            </p:custDataLst>
          </p:nvPr>
        </p:nvSpPr>
        <p:spPr bwMode="gray">
          <a:xfrm>
            <a:off x="433388" y="51736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7E44ED-3374-4153-A44D-6BF2F3575B8B}" type="datetime'''''''5'''''''''''',5''''''''''''0''''''''''''''''0'">
              <a:rPr lang="en-US" altLang="en-US" sz="1200" smtClean="0"/>
              <a:pPr marL="0" lvl="0" indent="0" algn="r">
                <a:spcBef>
                  <a:spcPct val="0"/>
                </a:spcBef>
                <a:spcAft>
                  <a:spcPct val="0"/>
                </a:spcAft>
                <a:buNone/>
              </a:pPr>
              <a:t>5,500</a:t>
            </a:fld>
            <a:endParaRPr lang="en-US" sz="1200" dirty="0"/>
          </a:p>
        </p:txBody>
      </p:sp>
      <p:sp>
        <p:nvSpPr>
          <p:cNvPr id="23" name="Text Placeholder 10">
            <a:extLst>
              <a:ext uri="{FF2B5EF4-FFF2-40B4-BE49-F238E27FC236}">
                <a16:creationId xmlns:a16="http://schemas.microsoft.com/office/drawing/2014/main" id="{70739ECE-8A71-0356-B13B-56E0C87BC7FB}"/>
              </a:ext>
            </a:extLst>
          </p:cNvPr>
          <p:cNvSpPr>
            <a:spLocks/>
          </p:cNvSpPr>
          <p:nvPr>
            <p:custDataLst>
              <p:tags r:id="rId19"/>
            </p:custDataLst>
          </p:nvPr>
        </p:nvSpPr>
        <p:spPr bwMode="gray">
          <a:xfrm>
            <a:off x="433388" y="489267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9A3CAA-EC4B-42DF-A890-187C92FEFDE3}" type="datetime'''''''''''''''''''6'''''''',''''''0''''''''0''0'''''''''''''">
              <a:rPr lang="en-US" altLang="en-US" sz="1200" smtClean="0"/>
              <a:pPr marL="0" lvl="0" indent="0" algn="r">
                <a:spcBef>
                  <a:spcPct val="0"/>
                </a:spcBef>
                <a:spcAft>
                  <a:spcPct val="0"/>
                </a:spcAft>
                <a:buNone/>
              </a:pPr>
              <a:t>6,000</a:t>
            </a:fld>
            <a:endParaRPr lang="en-US" sz="1200" dirty="0"/>
          </a:p>
        </p:txBody>
      </p:sp>
      <p:sp>
        <p:nvSpPr>
          <p:cNvPr id="24" name="Text Placeholder 10">
            <a:extLst>
              <a:ext uri="{FF2B5EF4-FFF2-40B4-BE49-F238E27FC236}">
                <a16:creationId xmlns:a16="http://schemas.microsoft.com/office/drawing/2014/main" id="{2BB55099-B8D5-DC0E-ED94-03646EB4F475}"/>
              </a:ext>
            </a:extLst>
          </p:cNvPr>
          <p:cNvSpPr>
            <a:spLocks/>
          </p:cNvSpPr>
          <p:nvPr>
            <p:custDataLst>
              <p:tags r:id="rId20"/>
            </p:custDataLst>
          </p:nvPr>
        </p:nvSpPr>
        <p:spPr bwMode="gray">
          <a:xfrm>
            <a:off x="433388" y="461327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488E52-1DE7-4159-BB89-BB38C57C769B}" type="datetime'6'''''''''''''''''''''''',''''''''''5''''''''''''''''''''00'''">
              <a:rPr lang="en-US" altLang="en-US" sz="1200" smtClean="0"/>
              <a:pPr marL="0" lvl="0" indent="0" algn="r">
                <a:spcBef>
                  <a:spcPct val="0"/>
                </a:spcBef>
                <a:spcAft>
                  <a:spcPct val="0"/>
                </a:spcAft>
                <a:buNone/>
              </a:pPr>
              <a:t>6,500</a:t>
            </a:fld>
            <a:endParaRPr lang="en-US" sz="1200" dirty="0"/>
          </a:p>
        </p:txBody>
      </p:sp>
      <p:sp>
        <p:nvSpPr>
          <p:cNvPr id="30" name="Text Placeholder 10">
            <a:extLst>
              <a:ext uri="{FF2B5EF4-FFF2-40B4-BE49-F238E27FC236}">
                <a16:creationId xmlns:a16="http://schemas.microsoft.com/office/drawing/2014/main" id="{E3BCE93F-4133-85FD-A3F4-961DE7309CD3}"/>
              </a:ext>
            </a:extLst>
          </p:cNvPr>
          <p:cNvSpPr>
            <a:spLocks/>
          </p:cNvSpPr>
          <p:nvPr>
            <p:custDataLst>
              <p:tags r:id="rId21"/>
            </p:custDataLst>
          </p:nvPr>
        </p:nvSpPr>
        <p:spPr bwMode="gray">
          <a:xfrm>
            <a:off x="433388" y="29305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6C35D6A-C142-4726-A568-EE9D08648517}" type="datetime'''''''9'''''',''''''''5''''''''''''''''''''0''''''''''''0'">
              <a:rPr lang="en-US" altLang="en-US" sz="1200" smtClean="0"/>
              <a:pPr marL="0" lvl="0" indent="0" algn="r">
                <a:spcBef>
                  <a:spcPct val="0"/>
                </a:spcBef>
                <a:spcAft>
                  <a:spcPct val="0"/>
                </a:spcAft>
                <a:buNone/>
              </a:pPr>
              <a:t>9,500</a:t>
            </a:fld>
            <a:endParaRPr lang="en-US" sz="1200" dirty="0"/>
          </a:p>
        </p:txBody>
      </p:sp>
      <p:sp>
        <p:nvSpPr>
          <p:cNvPr id="26" name="Text Placeholder 10">
            <a:extLst>
              <a:ext uri="{FF2B5EF4-FFF2-40B4-BE49-F238E27FC236}">
                <a16:creationId xmlns:a16="http://schemas.microsoft.com/office/drawing/2014/main" id="{144E3A8E-3EBC-B93D-AC26-D4625CDED641}"/>
              </a:ext>
            </a:extLst>
          </p:cNvPr>
          <p:cNvSpPr>
            <a:spLocks/>
          </p:cNvSpPr>
          <p:nvPr>
            <p:custDataLst>
              <p:tags r:id="rId22"/>
            </p:custDataLst>
          </p:nvPr>
        </p:nvSpPr>
        <p:spPr bwMode="gray">
          <a:xfrm>
            <a:off x="433388" y="40513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22D2839-87AD-47E0-B619-FA0609179C75}" type="datetime'''''''''''''''''7'',''''5''''''0''''''0'''''''''">
              <a:rPr lang="en-US" altLang="en-US" sz="1200" smtClean="0"/>
              <a:pPr marL="0" lvl="0" indent="0" algn="r">
                <a:spcBef>
                  <a:spcPct val="0"/>
                </a:spcBef>
                <a:spcAft>
                  <a:spcPct val="0"/>
                </a:spcAft>
                <a:buNone/>
              </a:pPr>
              <a:t>7,500</a:t>
            </a:fld>
            <a:endParaRPr lang="en-US" sz="1200" dirty="0"/>
          </a:p>
        </p:txBody>
      </p:sp>
      <p:sp>
        <p:nvSpPr>
          <p:cNvPr id="27" name="Text Placeholder 10">
            <a:extLst>
              <a:ext uri="{FF2B5EF4-FFF2-40B4-BE49-F238E27FC236}">
                <a16:creationId xmlns:a16="http://schemas.microsoft.com/office/drawing/2014/main" id="{2BD70EFF-C1AA-7156-A739-CCFB4D37AA2E}"/>
              </a:ext>
            </a:extLst>
          </p:cNvPr>
          <p:cNvSpPr>
            <a:spLocks/>
          </p:cNvSpPr>
          <p:nvPr>
            <p:custDataLst>
              <p:tags r:id="rId23"/>
            </p:custDataLst>
          </p:nvPr>
        </p:nvSpPr>
        <p:spPr bwMode="gray">
          <a:xfrm>
            <a:off x="433388" y="37719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2DF956-B2D5-4995-8DF9-A9363B320047}" type="datetime'''''''''8'''''''''''''',0''''''''''''''0''''''''''''''0'''''">
              <a:rPr lang="en-US" altLang="en-US" sz="1200" smtClean="0"/>
              <a:pPr marL="0" lvl="0" indent="0" algn="r">
                <a:spcBef>
                  <a:spcPct val="0"/>
                </a:spcBef>
                <a:spcAft>
                  <a:spcPct val="0"/>
                </a:spcAft>
                <a:buNone/>
              </a:pPr>
              <a:t>8,000</a:t>
            </a:fld>
            <a:endParaRPr lang="en-US" sz="1200" dirty="0"/>
          </a:p>
        </p:txBody>
      </p:sp>
      <p:sp>
        <p:nvSpPr>
          <p:cNvPr id="16" name="Text Placeholder 10">
            <a:extLst>
              <a:ext uri="{FF2B5EF4-FFF2-40B4-BE49-F238E27FC236}">
                <a16:creationId xmlns:a16="http://schemas.microsoft.com/office/drawing/2014/main" id="{663944DA-C774-9D29-E8C9-AA46B5704556}"/>
              </a:ext>
            </a:extLst>
          </p:cNvPr>
          <p:cNvSpPr>
            <a:spLocks/>
          </p:cNvSpPr>
          <p:nvPr>
            <p:custDataLst>
              <p:tags r:id="rId24"/>
            </p:custDataLst>
          </p:nvPr>
        </p:nvSpPr>
        <p:spPr bwMode="gray">
          <a:xfrm>
            <a:off x="433388" y="34909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021B8D-544D-4F55-9A1E-1483A060812E}" type="datetime'''''''''8'',''''5''''''''''0''''''''''''''''0'''''''''''">
              <a:rPr lang="en-US" altLang="en-US" sz="1200" smtClean="0"/>
              <a:pPr marL="0" lvl="0" indent="0" algn="r">
                <a:spcBef>
                  <a:spcPct val="0"/>
                </a:spcBef>
                <a:spcAft>
                  <a:spcPct val="0"/>
                </a:spcAft>
                <a:buNone/>
              </a:pPr>
              <a:t>8,500</a:t>
            </a:fld>
            <a:endParaRPr lang="en-US" sz="1200" dirty="0"/>
          </a:p>
        </p:txBody>
      </p:sp>
      <p:sp>
        <p:nvSpPr>
          <p:cNvPr id="20" name="Text Placeholder 10">
            <a:extLst>
              <a:ext uri="{FF2B5EF4-FFF2-40B4-BE49-F238E27FC236}">
                <a16:creationId xmlns:a16="http://schemas.microsoft.com/office/drawing/2014/main" id="{0D8E9D6A-39B6-B672-A34A-70883CC39CB2}"/>
              </a:ext>
            </a:extLst>
          </p:cNvPr>
          <p:cNvSpPr>
            <a:spLocks/>
          </p:cNvSpPr>
          <p:nvPr>
            <p:custDataLst>
              <p:tags r:id="rId25"/>
            </p:custDataLst>
          </p:nvPr>
        </p:nvSpPr>
        <p:spPr bwMode="gray">
          <a:xfrm>
            <a:off x="4237038"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BC4921-EB21-4F36-8065-8ACB6867152E}" type="datetime'''''''''2''''''''0''''''''''''''''''''3''''5'''''''''''''''">
              <a:rPr lang="en-US" altLang="en-US" sz="1200" smtClean="0"/>
              <a:pPr marL="0" lvl="0" indent="0" algn="ctr">
                <a:spcBef>
                  <a:spcPct val="0"/>
                </a:spcBef>
                <a:spcAft>
                  <a:spcPct val="0"/>
                </a:spcAft>
                <a:buNone/>
              </a:pPr>
              <a:t>2035</a:t>
            </a:fld>
            <a:endParaRPr lang="en-US" sz="1200" dirty="0"/>
          </a:p>
        </p:txBody>
      </p:sp>
      <p:sp useBgFill="1">
        <p:nvSpPr>
          <p:cNvPr id="33" name="Freeform 32">
            <a:extLst>
              <a:ext uri="{FF2B5EF4-FFF2-40B4-BE49-F238E27FC236}">
                <a16:creationId xmlns:a16="http://schemas.microsoft.com/office/drawing/2014/main" id="{AA7E1FCF-7EE3-DC59-8795-D3F9D45DE9C1}"/>
              </a:ext>
            </a:extLst>
          </p:cNvPr>
          <p:cNvSpPr/>
          <p:nvPr>
            <p:custDataLst>
              <p:tags r:id="rId26"/>
            </p:custDataLst>
          </p:nvPr>
        </p:nvSpPr>
        <p:spPr bwMode="auto">
          <a:xfrm>
            <a:off x="841375" y="56340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 name="Freeform 34">
            <a:extLst>
              <a:ext uri="{FF2B5EF4-FFF2-40B4-BE49-F238E27FC236}">
                <a16:creationId xmlns:a16="http://schemas.microsoft.com/office/drawing/2014/main" id="{C1C1EEE9-9DB2-9D04-44B4-53BE67B6206E}"/>
              </a:ext>
            </a:extLst>
          </p:cNvPr>
          <p:cNvSpPr/>
          <p:nvPr>
            <p:custDataLst>
              <p:tags r:id="rId27"/>
            </p:custDataLst>
          </p:nvPr>
        </p:nvSpPr>
        <p:spPr bwMode="auto">
          <a:xfrm>
            <a:off x="841375" y="56911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a:extLst>
              <a:ext uri="{FF2B5EF4-FFF2-40B4-BE49-F238E27FC236}">
                <a16:creationId xmlns:a16="http://schemas.microsoft.com/office/drawing/2014/main" id="{923DC241-78AE-4A1E-FA79-5487F433CEF4}"/>
              </a:ext>
            </a:extLst>
          </p:cNvPr>
          <p:cNvSpPr/>
          <p:nvPr>
            <p:custDataLst>
              <p:tags r:id="rId28"/>
            </p:custDataLst>
          </p:nvPr>
        </p:nvSpPr>
        <p:spPr bwMode="auto">
          <a:xfrm>
            <a:off x="841375" y="56340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BD90E52D-B1D6-1C9D-E32B-868F25F5D05A}"/>
              </a:ext>
            </a:extLst>
          </p:cNvPr>
          <p:cNvCxnSpPr/>
          <p:nvPr>
            <p:custDataLst>
              <p:tags r:id="rId29"/>
            </p:custDataLst>
          </p:nvPr>
        </p:nvCxnSpPr>
        <p:spPr bwMode="auto">
          <a:xfrm>
            <a:off x="8432800" y="5561013"/>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59E79D6-839B-D191-E08D-614540A7D290}"/>
              </a:ext>
            </a:extLst>
          </p:cNvPr>
          <p:cNvCxnSpPr/>
          <p:nvPr>
            <p:custDataLst>
              <p:tags r:id="rId30"/>
            </p:custDataLst>
          </p:nvPr>
        </p:nvCxnSpPr>
        <p:spPr bwMode="auto">
          <a:xfrm>
            <a:off x="8432800" y="507682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FD16FC55-FDF5-4B23-AA08-355CCA3BCCEA}"/>
              </a:ext>
            </a:extLst>
          </p:cNvPr>
          <p:cNvCxnSpPr/>
          <p:nvPr>
            <p:custDataLst>
              <p:tags r:id="rId31"/>
            </p:custDataLst>
          </p:nvPr>
        </p:nvCxnSpPr>
        <p:spPr bwMode="auto">
          <a:xfrm>
            <a:off x="8432800" y="476567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038D6B0-1F2F-C874-034E-B95FB6C9F41C}"/>
              </a:ext>
            </a:extLst>
          </p:cNvPr>
          <p:cNvCxnSpPr/>
          <p:nvPr>
            <p:custDataLst>
              <p:tags r:id="rId32"/>
            </p:custDataLst>
          </p:nvPr>
        </p:nvCxnSpPr>
        <p:spPr bwMode="auto">
          <a:xfrm>
            <a:off x="8432800" y="4919663"/>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0A9AB97-86FC-8B8B-D3DB-B498DBCFBCA2}"/>
              </a:ext>
            </a:extLst>
          </p:cNvPr>
          <p:cNvCxnSpPr/>
          <p:nvPr>
            <p:custDataLst>
              <p:tags r:id="rId33"/>
            </p:custDataLst>
          </p:nvPr>
        </p:nvCxnSpPr>
        <p:spPr bwMode="auto">
          <a:xfrm>
            <a:off x="8432800" y="4184650"/>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7071799-48A4-D089-2767-73A26C88C820}"/>
              </a:ext>
            </a:extLst>
          </p:cNvPr>
          <p:cNvCxnSpPr/>
          <p:nvPr>
            <p:custDataLst>
              <p:tags r:id="rId34"/>
            </p:custDataLst>
          </p:nvPr>
        </p:nvCxnSpPr>
        <p:spPr bwMode="auto">
          <a:xfrm>
            <a:off x="8432800" y="361632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7" name="Text Placeholder 10">
            <a:extLst>
              <a:ext uri="{FF2B5EF4-FFF2-40B4-BE49-F238E27FC236}">
                <a16:creationId xmlns:a16="http://schemas.microsoft.com/office/drawing/2014/main" id="{11E7B457-C88D-C299-957C-705D077D3D80}"/>
              </a:ext>
            </a:extLst>
          </p:cNvPr>
          <p:cNvSpPr>
            <a:spLocks/>
          </p:cNvSpPr>
          <p:nvPr>
            <p:custDataLst>
              <p:tags r:id="rId35"/>
            </p:custDataLst>
          </p:nvPr>
        </p:nvSpPr>
        <p:spPr bwMode="gray">
          <a:xfrm>
            <a:off x="8221663" y="5378450"/>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FF37D7-4408-4CB1-9318-2A30C469CADB}" type="datetime'''''''''''''''4'''''',''''''8''''''7''''1'''''''''">
              <a:rPr lang="en-US" altLang="en-US" sz="1200" smtClean="0"/>
              <a:pPr marL="0" lvl="0" indent="0" algn="ctr">
                <a:spcBef>
                  <a:spcPct val="0"/>
                </a:spcBef>
                <a:spcAft>
                  <a:spcPct val="0"/>
                </a:spcAft>
                <a:buNone/>
              </a:pPr>
              <a:t>4,871</a:t>
            </a:fld>
            <a:endParaRPr lang="en-US" sz="1200" dirty="0"/>
          </a:p>
        </p:txBody>
      </p:sp>
      <p:sp useBgFill="1">
        <p:nvSpPr>
          <p:cNvPr id="42" name="Text Placeholder 10">
            <a:extLst>
              <a:ext uri="{FF2B5EF4-FFF2-40B4-BE49-F238E27FC236}">
                <a16:creationId xmlns:a16="http://schemas.microsoft.com/office/drawing/2014/main" id="{45784DFD-5676-CDB9-BA1C-7C09E16E527F}"/>
              </a:ext>
            </a:extLst>
          </p:cNvPr>
          <p:cNvSpPr>
            <a:spLocks/>
          </p:cNvSpPr>
          <p:nvPr>
            <p:custDataLst>
              <p:tags r:id="rId36"/>
            </p:custDataLst>
          </p:nvPr>
        </p:nvSpPr>
        <p:spPr bwMode="gray">
          <a:xfrm>
            <a:off x="8221663" y="4894263"/>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8FB51A-FE5D-4989-8E73-24E625834ABC}" type="datetime'''''''5,''''7''''''''''''''3''''''''''''''''5'''''''''''">
              <a:rPr lang="en-US" altLang="en-US" sz="1200" smtClean="0">
                <a:effectLst/>
              </a:rPr>
              <a:pPr marL="0" lvl="0" indent="0" algn="ctr">
                <a:spcBef>
                  <a:spcPct val="0"/>
                </a:spcBef>
                <a:spcAft>
                  <a:spcPct val="0"/>
                </a:spcAft>
                <a:buNone/>
              </a:pPr>
              <a:t>5,735</a:t>
            </a:fld>
            <a:endParaRPr lang="en-US" sz="1200" dirty="0"/>
          </a:p>
        </p:txBody>
      </p:sp>
      <p:sp>
        <p:nvSpPr>
          <p:cNvPr id="43" name="Text Placeholder 10">
            <a:extLst>
              <a:ext uri="{FF2B5EF4-FFF2-40B4-BE49-F238E27FC236}">
                <a16:creationId xmlns:a16="http://schemas.microsoft.com/office/drawing/2014/main" id="{9E7FF2D9-F316-61ED-21E9-833B970BA080}"/>
              </a:ext>
            </a:extLst>
          </p:cNvPr>
          <p:cNvSpPr>
            <a:spLocks/>
          </p:cNvSpPr>
          <p:nvPr>
            <p:custDataLst>
              <p:tags r:id="rId37"/>
            </p:custDataLst>
          </p:nvPr>
        </p:nvSpPr>
        <p:spPr bwMode="gray">
          <a:xfrm>
            <a:off x="8221663" y="458311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FAA2D2-47AA-4655-A026-ECA8A6BB6C70}" type="datetime'''''''6'''''''''''''''',2''''''''''''''''''''''''''''''8''8'">
              <a:rPr lang="en-US" altLang="en-US" sz="1200" smtClean="0"/>
              <a:pPr marL="0" lvl="0" indent="0" algn="ctr">
                <a:spcBef>
                  <a:spcPct val="0"/>
                </a:spcBef>
                <a:spcAft>
                  <a:spcPct val="0"/>
                </a:spcAft>
                <a:buNone/>
              </a:pPr>
              <a:t>6,288</a:t>
            </a:fld>
            <a:endParaRPr lang="en-US" sz="1200" dirty="0"/>
          </a:p>
        </p:txBody>
      </p:sp>
      <p:sp useBgFill="1">
        <p:nvSpPr>
          <p:cNvPr id="44" name="Text Placeholder 10">
            <a:extLst>
              <a:ext uri="{FF2B5EF4-FFF2-40B4-BE49-F238E27FC236}">
                <a16:creationId xmlns:a16="http://schemas.microsoft.com/office/drawing/2014/main" id="{D54E4A2B-AF0F-20CF-8D65-660523C24236}"/>
              </a:ext>
            </a:extLst>
          </p:cNvPr>
          <p:cNvSpPr>
            <a:spLocks/>
          </p:cNvSpPr>
          <p:nvPr>
            <p:custDataLst>
              <p:tags r:id="rId38"/>
            </p:custDataLst>
          </p:nvPr>
        </p:nvSpPr>
        <p:spPr bwMode="gray">
          <a:xfrm>
            <a:off x="8221663" y="473710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E7B62D-F090-4083-AC37-EF4E32870FC2}" type="datetime'''''''''''''''''''6'''''''''',''''0''''''''15'">
              <a:rPr lang="en-US" altLang="en-US" sz="1200" smtClean="0">
                <a:effectLst/>
              </a:rPr>
              <a:pPr marL="0" lvl="0" indent="0" algn="ctr">
                <a:spcBef>
                  <a:spcPct val="0"/>
                </a:spcBef>
                <a:spcAft>
                  <a:spcPct val="0"/>
                </a:spcAft>
                <a:buNone/>
              </a:pPr>
              <a:t>6,015</a:t>
            </a:fld>
            <a:endParaRPr lang="en-US" sz="1200" dirty="0"/>
          </a:p>
        </p:txBody>
      </p:sp>
      <p:sp>
        <p:nvSpPr>
          <p:cNvPr id="45" name="Text Placeholder 10">
            <a:extLst>
              <a:ext uri="{FF2B5EF4-FFF2-40B4-BE49-F238E27FC236}">
                <a16:creationId xmlns:a16="http://schemas.microsoft.com/office/drawing/2014/main" id="{A1B2E6FB-0B9E-3DC4-CBC0-B1C9A650C0DF}"/>
              </a:ext>
            </a:extLst>
          </p:cNvPr>
          <p:cNvSpPr>
            <a:spLocks/>
          </p:cNvSpPr>
          <p:nvPr>
            <p:custDataLst>
              <p:tags r:id="rId39"/>
            </p:custDataLst>
          </p:nvPr>
        </p:nvSpPr>
        <p:spPr bwMode="gray">
          <a:xfrm>
            <a:off x="8221663" y="4002088"/>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650A14-5AE5-4642-9DAC-C98812C227E9}" type="datetime'''''''''''''''''''''''''''7,''3''''2''5'''''">
              <a:rPr lang="en-US" altLang="en-US" sz="1200" smtClean="0"/>
              <a:pPr marL="0" lvl="0" indent="0" algn="ctr">
                <a:spcBef>
                  <a:spcPct val="0"/>
                </a:spcBef>
                <a:spcAft>
                  <a:spcPct val="0"/>
                </a:spcAft>
                <a:buNone/>
              </a:pPr>
              <a:t>7,325</a:t>
            </a:fld>
            <a:endParaRPr lang="en-US" sz="1200" dirty="0"/>
          </a:p>
        </p:txBody>
      </p:sp>
      <p:sp>
        <p:nvSpPr>
          <p:cNvPr id="46" name="Text Placeholder 10">
            <a:extLst>
              <a:ext uri="{FF2B5EF4-FFF2-40B4-BE49-F238E27FC236}">
                <a16:creationId xmlns:a16="http://schemas.microsoft.com/office/drawing/2014/main" id="{8F197ACF-5187-9A88-B723-70AC2BC94F8E}"/>
              </a:ext>
            </a:extLst>
          </p:cNvPr>
          <p:cNvSpPr>
            <a:spLocks/>
          </p:cNvSpPr>
          <p:nvPr>
            <p:custDataLst>
              <p:tags r:id="rId40"/>
            </p:custDataLst>
          </p:nvPr>
        </p:nvSpPr>
        <p:spPr bwMode="gray">
          <a:xfrm>
            <a:off x="8221663" y="343376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C09099-B0F5-4602-B465-E67F44FECF35}" type="datetime'''''''''''''''''8,''''3''''''''''''3''''''''9'''''">
              <a:rPr lang="en-US" altLang="en-US" sz="1200" smtClean="0"/>
              <a:pPr marL="0" lvl="0" indent="0" algn="ctr">
                <a:spcBef>
                  <a:spcPct val="0"/>
                </a:spcBef>
                <a:spcAft>
                  <a:spcPct val="0"/>
                </a:spcAft>
                <a:buNone/>
              </a:pPr>
              <a:t>8,339</a:t>
            </a:fld>
            <a:endParaRPr lang="en-US" sz="1200" dirty="0"/>
          </a:p>
        </p:txBody>
      </p:sp>
      <p:cxnSp>
        <p:nvCxnSpPr>
          <p:cNvPr id="49" name="Straight Connector 48">
            <a:extLst>
              <a:ext uri="{FF2B5EF4-FFF2-40B4-BE49-F238E27FC236}">
                <a16:creationId xmlns:a16="http://schemas.microsoft.com/office/drawing/2014/main" id="{98E8E432-3143-C855-CCDC-3DED42ACBB66}"/>
              </a:ext>
            </a:extLst>
          </p:cNvPr>
          <p:cNvCxnSpPr/>
          <p:nvPr>
            <p:custDataLst>
              <p:tags r:id="rId41"/>
            </p:custDataLst>
          </p:nvPr>
        </p:nvCxnSpPr>
        <p:spPr bwMode="gray">
          <a:xfrm>
            <a:off x="5667375" y="2274888"/>
            <a:ext cx="150813"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9B38F34D-1642-0D6E-E041-4ADCE410B411}"/>
              </a:ext>
            </a:extLst>
          </p:cNvPr>
          <p:cNvCxnSpPr/>
          <p:nvPr>
            <p:custDataLst>
              <p:tags r:id="rId42"/>
            </p:custDataLst>
          </p:nvPr>
        </p:nvCxnSpPr>
        <p:spPr bwMode="gray">
          <a:xfrm>
            <a:off x="5667375" y="2478088"/>
            <a:ext cx="150813"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6497AD9E-B16B-23D9-065F-155CF97ADE53}"/>
              </a:ext>
            </a:extLst>
          </p:cNvPr>
          <p:cNvCxnSpPr/>
          <p:nvPr>
            <p:custDataLst>
              <p:tags r:id="rId43"/>
            </p:custDataLst>
          </p:nvPr>
        </p:nvCxnSpPr>
        <p:spPr bwMode="gray">
          <a:xfrm>
            <a:off x="5667375" y="2681288"/>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134A51F-300F-6D61-EC87-A5BFAABEC6FC}"/>
              </a:ext>
            </a:extLst>
          </p:cNvPr>
          <p:cNvCxnSpPr/>
          <p:nvPr>
            <p:custDataLst>
              <p:tags r:id="rId44"/>
            </p:custDataLst>
          </p:nvPr>
        </p:nvCxnSpPr>
        <p:spPr bwMode="gray">
          <a:xfrm>
            <a:off x="7138988" y="227488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DB91D33F-5803-6EBD-73A6-A4A915F4A591}"/>
              </a:ext>
            </a:extLst>
          </p:cNvPr>
          <p:cNvCxnSpPr/>
          <p:nvPr>
            <p:custDataLst>
              <p:tags r:id="rId45"/>
            </p:custDataLst>
          </p:nvPr>
        </p:nvCxnSpPr>
        <p:spPr bwMode="gray">
          <a:xfrm>
            <a:off x="7138988" y="24780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B3BAB261-9A0F-5EC9-358C-5FFDACFA41B0}"/>
              </a:ext>
            </a:extLst>
          </p:cNvPr>
          <p:cNvCxnSpPr/>
          <p:nvPr>
            <p:custDataLst>
              <p:tags r:id="rId46"/>
            </p:custDataLst>
          </p:nvPr>
        </p:nvCxnSpPr>
        <p:spPr bwMode="gray">
          <a:xfrm>
            <a:off x="7138988" y="2681288"/>
            <a:ext cx="150813" cy="0"/>
          </a:xfrm>
          <a:prstGeom prst="line">
            <a:avLst/>
          </a:prstGeom>
          <a:ln w="28575"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5" name="Text Placeholder 10">
            <a:extLst>
              <a:ext uri="{FF2B5EF4-FFF2-40B4-BE49-F238E27FC236}">
                <a16:creationId xmlns:a16="http://schemas.microsoft.com/office/drawing/2014/main" id="{12B2348B-E8F8-8561-7937-F9E978D75D0D}"/>
              </a:ext>
            </a:extLst>
          </p:cNvPr>
          <p:cNvSpPr>
            <a:spLocks/>
          </p:cNvSpPr>
          <p:nvPr>
            <p:custDataLst>
              <p:tags r:id="rId47"/>
            </p:custDataLst>
          </p:nvPr>
        </p:nvSpPr>
        <p:spPr bwMode="auto">
          <a:xfrm>
            <a:off x="5883275" y="2203450"/>
            <a:ext cx="976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71BA58-313E-4E85-BC84-70BE9B40F5CB}" type="datetime'F''''la''s''''''''''h'''''' (''''a''''''dv''a''n''''ce''d'')'">
              <a:rPr lang="en-US" altLang="en-US" sz="1000" smtClean="0"/>
              <a:pPr/>
              <a:t>Flash (advanced)</a:t>
            </a:fld>
            <a:endParaRPr lang="en-US" sz="1000" dirty="0"/>
          </a:p>
        </p:txBody>
      </p:sp>
      <p:sp>
        <p:nvSpPr>
          <p:cNvPr id="56" name="Text Placeholder 10">
            <a:extLst>
              <a:ext uri="{FF2B5EF4-FFF2-40B4-BE49-F238E27FC236}">
                <a16:creationId xmlns:a16="http://schemas.microsoft.com/office/drawing/2014/main" id="{9A01DF17-58E8-CB8D-34C8-559C40783013}"/>
              </a:ext>
            </a:extLst>
          </p:cNvPr>
          <p:cNvSpPr>
            <a:spLocks/>
          </p:cNvSpPr>
          <p:nvPr>
            <p:custDataLst>
              <p:tags r:id="rId48"/>
            </p:custDataLst>
          </p:nvPr>
        </p:nvSpPr>
        <p:spPr bwMode="auto">
          <a:xfrm>
            <a:off x="5883275" y="2406650"/>
            <a:ext cx="963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B95D37-FB6E-4B29-89B8-A29F633826AA}" type="datetime'''''Fla''s''h'''''''''' (m''o''''''d''''erat''e'''')'''">
              <a:rPr lang="en-US" altLang="en-US" sz="1000" smtClean="0"/>
              <a:pPr/>
              <a:t>Flash (moderate)</a:t>
            </a:fld>
            <a:endParaRPr lang="en-US" sz="1000" dirty="0"/>
          </a:p>
        </p:txBody>
      </p:sp>
      <p:sp>
        <p:nvSpPr>
          <p:cNvPr id="57" name="Text Placeholder 10">
            <a:extLst>
              <a:ext uri="{FF2B5EF4-FFF2-40B4-BE49-F238E27FC236}">
                <a16:creationId xmlns:a16="http://schemas.microsoft.com/office/drawing/2014/main" id="{523E93A1-5296-D239-5931-2DB076F01588}"/>
              </a:ext>
            </a:extLst>
          </p:cNvPr>
          <p:cNvSpPr>
            <a:spLocks/>
          </p:cNvSpPr>
          <p:nvPr>
            <p:custDataLst>
              <p:tags r:id="rId49"/>
            </p:custDataLst>
          </p:nvPr>
        </p:nvSpPr>
        <p:spPr bwMode="auto">
          <a:xfrm>
            <a:off x="5883275" y="2609850"/>
            <a:ext cx="1139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1E267B-1A5C-45B1-9A82-FAE4087D4B51}" type="datetime'''Fl''a''sh ''(c''''''''on''''ser''''''''''v''ati''ve)'">
              <a:rPr lang="en-US" altLang="en-US" sz="1000" smtClean="0"/>
              <a:pPr/>
              <a:t>Flash (conservative)</a:t>
            </a:fld>
            <a:endParaRPr lang="en-US" sz="1000" dirty="0"/>
          </a:p>
        </p:txBody>
      </p:sp>
      <p:sp>
        <p:nvSpPr>
          <p:cNvPr id="58" name="Text Placeholder 10">
            <a:extLst>
              <a:ext uri="{FF2B5EF4-FFF2-40B4-BE49-F238E27FC236}">
                <a16:creationId xmlns:a16="http://schemas.microsoft.com/office/drawing/2014/main" id="{6F14255D-F15F-CA18-069D-66633E916D9A}"/>
              </a:ext>
            </a:extLst>
          </p:cNvPr>
          <p:cNvSpPr>
            <a:spLocks/>
          </p:cNvSpPr>
          <p:nvPr>
            <p:custDataLst>
              <p:tags r:id="rId50"/>
            </p:custDataLst>
          </p:nvPr>
        </p:nvSpPr>
        <p:spPr bwMode="auto">
          <a:xfrm>
            <a:off x="7354888" y="2203450"/>
            <a:ext cx="1025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1624CB-192C-4963-8746-44D5BE0A6AF2}" type="datetime'''Bi''''na''ry ''''(a''d''v''''an''''''ce''''''''''''d)'''">
              <a:rPr lang="en-US" altLang="en-US" sz="1000" smtClean="0"/>
              <a:pPr/>
              <a:t>Binary (advanced)</a:t>
            </a:fld>
            <a:endParaRPr lang="en-US" sz="1000" dirty="0"/>
          </a:p>
        </p:txBody>
      </p:sp>
      <p:sp>
        <p:nvSpPr>
          <p:cNvPr id="59" name="Text Placeholder 10">
            <a:extLst>
              <a:ext uri="{FF2B5EF4-FFF2-40B4-BE49-F238E27FC236}">
                <a16:creationId xmlns:a16="http://schemas.microsoft.com/office/drawing/2014/main" id="{6EF6FA60-1F17-C66B-B392-B36B66692358}"/>
              </a:ext>
            </a:extLst>
          </p:cNvPr>
          <p:cNvSpPr>
            <a:spLocks/>
          </p:cNvSpPr>
          <p:nvPr>
            <p:custDataLst>
              <p:tags r:id="rId51"/>
            </p:custDataLst>
          </p:nvPr>
        </p:nvSpPr>
        <p:spPr bwMode="auto">
          <a:xfrm>
            <a:off x="7354888" y="2406650"/>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E858102-1650-4017-A3A8-BD23CD651DEF}" type="datetime'''B''''in''a''''''r''''''''''''''''y (mo''''de''r''''a''''te)'">
              <a:rPr lang="en-US" altLang="en-US" sz="1000" smtClean="0"/>
              <a:pPr/>
              <a:t>Binary (moderate)</a:t>
            </a:fld>
            <a:endParaRPr lang="en-US" sz="1000" dirty="0"/>
          </a:p>
        </p:txBody>
      </p:sp>
      <p:sp>
        <p:nvSpPr>
          <p:cNvPr id="60" name="Text Placeholder 10">
            <a:extLst>
              <a:ext uri="{FF2B5EF4-FFF2-40B4-BE49-F238E27FC236}">
                <a16:creationId xmlns:a16="http://schemas.microsoft.com/office/drawing/2014/main" id="{16459F6D-8D71-43C8-24D8-33025D7A6485}"/>
              </a:ext>
            </a:extLst>
          </p:cNvPr>
          <p:cNvSpPr>
            <a:spLocks/>
          </p:cNvSpPr>
          <p:nvPr>
            <p:custDataLst>
              <p:tags r:id="rId52"/>
            </p:custDataLst>
          </p:nvPr>
        </p:nvSpPr>
        <p:spPr bwMode="auto">
          <a:xfrm>
            <a:off x="7354888" y="2609850"/>
            <a:ext cx="1189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43929-1163-4A2A-BEC0-A0DF5FDFFD37}" type="datetime'Binar''''y'' (co''n''''s''erva''t''i''''''''''''v''''''e)'''">
              <a:rPr lang="en-US" altLang="en-US" sz="1000" smtClean="0"/>
              <a:pPr/>
              <a:t>Binary (conservative)</a:t>
            </a:fld>
            <a:endParaRPr lang="en-US" sz="1000" dirty="0"/>
          </a:p>
        </p:txBody>
      </p:sp>
      <p:sp>
        <p:nvSpPr>
          <p:cNvPr id="63" name="Content Placeholder 527">
            <a:extLst>
              <a:ext uri="{FF2B5EF4-FFF2-40B4-BE49-F238E27FC236}">
                <a16:creationId xmlns:a16="http://schemas.microsoft.com/office/drawing/2014/main" id="{15E4BE89-3B4E-AFF0-0E78-43FEFBAC4C50}"/>
              </a:ext>
            </a:extLst>
          </p:cNvPr>
          <p:cNvSpPr txBox="1">
            <a:spLocks/>
          </p:cNvSpPr>
          <p:nvPr/>
        </p:nvSpPr>
        <p:spPr>
          <a:xfrm>
            <a:off x="324000" y="2196783"/>
            <a:ext cx="8979408" cy="274320"/>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Estimated construction costs</a:t>
            </a:r>
            <a:r>
              <a:rPr lang="en-US" sz="1200" i="1" dirty="0"/>
              <a:t>, US$/kW</a:t>
            </a:r>
          </a:p>
        </p:txBody>
      </p:sp>
    </p:spTree>
    <p:extLst>
      <p:ext uri="{BB962C8B-B14F-4D97-AF65-F5344CB8AC3E}">
        <p14:creationId xmlns:p14="http://schemas.microsoft.com/office/powerpoint/2010/main" val="16221726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5082E-F38A-E4A1-60BD-836692DCD3EC}"/>
              </a:ext>
            </a:extLst>
          </p:cNvPr>
          <p:cNvGraphicFramePr>
            <a:graphicFrameLocks/>
          </p:cNvGraphicFramePr>
          <p:nvPr>
            <p:custDataLst>
              <p:tags r:id="rId1"/>
            </p:custDataLst>
            <p:extLst>
              <p:ext uri="{D42A27DB-BD31-4B8C-83A1-F6EECF244321}">
                <p14:modId xmlns:p14="http://schemas.microsoft.com/office/powerpoint/2010/main" val="1620686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C6E8CB5-A741-06A7-0AD3-832D494AF6E5}"/>
              </a:ext>
            </a:extLst>
          </p:cNvPr>
          <p:cNvSpPr>
            <a:spLocks noGrp="1"/>
          </p:cNvSpPr>
          <p:nvPr>
            <p:ph type="title"/>
          </p:nvPr>
        </p:nvSpPr>
        <p:spPr/>
        <p:txBody>
          <a:bodyPr vert="horz" rIns="91440"/>
          <a:lstStyle/>
          <a:p>
            <a:r>
              <a:rPr lang="en-US" dirty="0"/>
              <a:t>Next-gen tech is riskier and more equity-heavy, while proven technologies attract more debt through traditional project finance</a:t>
            </a:r>
          </a:p>
        </p:txBody>
      </p:sp>
      <p:sp>
        <p:nvSpPr>
          <p:cNvPr id="4" name="Footer Placeholder 3">
            <a:extLst>
              <a:ext uri="{FF2B5EF4-FFF2-40B4-BE49-F238E27FC236}">
                <a16:creationId xmlns:a16="http://schemas.microsoft.com/office/drawing/2014/main" id="{BC66925E-F7BC-7005-BAA8-72C2681E9B74}"/>
              </a:ext>
            </a:extLst>
          </p:cNvPr>
          <p:cNvSpPr>
            <a:spLocks noGrp="1"/>
          </p:cNvSpPr>
          <p:nvPr>
            <p:ph type="ftr" sz="quarter" idx="3"/>
          </p:nvPr>
        </p:nvSpPr>
        <p:spPr/>
        <p:txBody>
          <a:bodyPr/>
          <a:lstStyle/>
          <a:p>
            <a:pPr lvl="0">
              <a:defRPr/>
            </a:pPr>
            <a:r>
              <a:rPr lang="en-US" dirty="0">
                <a:solidFill>
                  <a:srgbClr val="000000"/>
                </a:solidFill>
              </a:rPr>
              <a:t>Sources: </a:t>
            </a:r>
            <a:r>
              <a:rPr lang="en-US" dirty="0">
                <a:solidFill>
                  <a:srgbClr val="45647B"/>
                </a:solidFill>
                <a:hlinkClick r:id="rId5">
                  <a:extLst>
                    <a:ext uri="{A12FA001-AC4F-418D-AE19-62706E023703}">
                      <ahyp:hlinkClr xmlns:ahyp="http://schemas.microsoft.com/office/drawing/2018/hyperlinkcolor" val="tx"/>
                    </a:ext>
                  </a:extLst>
                </a:hlinkClick>
              </a:rPr>
              <a:t>Sarulla Case Study</a:t>
            </a:r>
            <a:r>
              <a:rPr lang="en-US" dirty="0">
                <a:solidFill>
                  <a:srgbClr val="45647B"/>
                </a:solidFill>
              </a:rPr>
              <a:t> </a:t>
            </a:r>
            <a:r>
              <a:rPr lang="en-US" dirty="0">
                <a:solidFill>
                  <a:srgbClr val="000000"/>
                </a:solidFill>
              </a:rPr>
              <a:t>(World Bank, 2018); </a:t>
            </a:r>
            <a:r>
              <a:rPr lang="en-US" dirty="0">
                <a:solidFill>
                  <a:srgbClr val="45647B"/>
                </a:solidFill>
                <a:hlinkClick r:id="rId6">
                  <a:extLst>
                    <a:ext uri="{A12FA001-AC4F-418D-AE19-62706E023703}">
                      <ahyp:hlinkClr xmlns:ahyp="http://schemas.microsoft.com/office/drawing/2018/hyperlinkcolor" val="tx"/>
                    </a:ext>
                  </a:extLst>
                </a:hlinkClick>
              </a:rPr>
              <a:t>Renewable Energy Auctions in Kenya</a:t>
            </a:r>
            <a:r>
              <a:rPr lang="en-US" dirty="0">
                <a:solidFill>
                  <a:srgbClr val="45647B"/>
                </a:solidFill>
              </a:rPr>
              <a:t> </a:t>
            </a:r>
            <a:r>
              <a:rPr lang="en-US" dirty="0">
                <a:solidFill>
                  <a:srgbClr val="000000"/>
                </a:solidFill>
              </a:rPr>
              <a:t>(IRENA, 2021); </a:t>
            </a:r>
            <a:r>
              <a:rPr lang="en-US" dirty="0">
                <a:solidFill>
                  <a:srgbClr val="45647B"/>
                </a:solidFill>
                <a:hlinkClick r:id="rId7">
                  <a:extLst>
                    <a:ext uri="{A12FA001-AC4F-418D-AE19-62706E023703}">
                      <ahyp:hlinkClr xmlns:ahyp="http://schemas.microsoft.com/office/drawing/2018/hyperlinkcolor" val="tx"/>
                    </a:ext>
                  </a:extLst>
                </a:hlinkClick>
              </a:rPr>
              <a:t>Geothermal Handbook</a:t>
            </a:r>
            <a:r>
              <a:rPr lang="en-US" dirty="0">
                <a:solidFill>
                  <a:srgbClr val="45647B"/>
                </a:solidFill>
              </a:rPr>
              <a:t> </a:t>
            </a:r>
            <a:r>
              <a:rPr lang="en-US" dirty="0">
                <a:solidFill>
                  <a:srgbClr val="000000"/>
                </a:solidFill>
              </a:rPr>
              <a:t>(ESMAP, 2012); </a:t>
            </a:r>
            <a:r>
              <a:rPr lang="en-US" dirty="0">
                <a:solidFill>
                  <a:srgbClr val="45647B"/>
                </a:solidFill>
                <a:hlinkClick r:id="rId8">
                  <a:extLst>
                    <a:ext uri="{A12FA001-AC4F-418D-AE19-62706E023703}">
                      <ahyp:hlinkClr xmlns:ahyp="http://schemas.microsoft.com/office/drawing/2018/hyperlinkcolor" val="tx"/>
                    </a:ext>
                  </a:extLst>
                </a:hlinkClick>
              </a:rPr>
              <a:t>Cape Station Project Financing</a:t>
            </a:r>
            <a:r>
              <a:rPr lang="en-US" dirty="0">
                <a:solidFill>
                  <a:srgbClr val="45647B"/>
                </a:solidFill>
              </a:rPr>
              <a:t> </a:t>
            </a:r>
            <a:r>
              <a:rPr lang="en-US" dirty="0">
                <a:solidFill>
                  <a:srgbClr val="000000"/>
                </a:solidFill>
              </a:rPr>
              <a:t>(TechCrunch, 2025).</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Heather Hartel, Isabel Hoyos, and </a:t>
            </a:r>
            <a:r>
              <a:rPr lang="en-US" dirty="0">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ED8B1178-3252-607F-3DE9-4BFAACEA52C4}"/>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sp>
        <p:nvSpPr>
          <p:cNvPr id="7" name="TextBox 6">
            <a:extLst>
              <a:ext uri="{FF2B5EF4-FFF2-40B4-BE49-F238E27FC236}">
                <a16:creationId xmlns:a16="http://schemas.microsoft.com/office/drawing/2014/main" id="{043F2974-CC22-7FA6-3576-6F5969377B2D}"/>
              </a:ext>
            </a:extLst>
          </p:cNvPr>
          <p:cNvSpPr txBox="1"/>
          <p:nvPr/>
        </p:nvSpPr>
        <p:spPr bwMode="gray">
          <a:xfrm>
            <a:off x="324000" y="2350314"/>
            <a:ext cx="2011995" cy="461665"/>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echnology</a:t>
            </a:r>
          </a:p>
        </p:txBody>
      </p:sp>
      <p:graphicFrame>
        <p:nvGraphicFramePr>
          <p:cNvPr id="8" name="Table 7">
            <a:extLst>
              <a:ext uri="{FF2B5EF4-FFF2-40B4-BE49-F238E27FC236}">
                <a16:creationId xmlns:a16="http://schemas.microsoft.com/office/drawing/2014/main" id="{6CE74BAC-C8C8-BBD8-84AE-C2ED2D08159E}"/>
              </a:ext>
            </a:extLst>
          </p:cNvPr>
          <p:cNvGraphicFramePr>
            <a:graphicFrameLocks noGrp="1"/>
          </p:cNvGraphicFramePr>
          <p:nvPr>
            <p:extLst>
              <p:ext uri="{D42A27DB-BD31-4B8C-83A1-F6EECF244321}">
                <p14:modId xmlns:p14="http://schemas.microsoft.com/office/powerpoint/2010/main" val="1038889555"/>
              </p:ext>
            </p:extLst>
          </p:nvPr>
        </p:nvGraphicFramePr>
        <p:xfrm>
          <a:off x="2427890" y="1977090"/>
          <a:ext cx="9238593" cy="4182030"/>
        </p:xfrm>
        <a:graphic>
          <a:graphicData uri="http://schemas.openxmlformats.org/drawingml/2006/table">
            <a:tbl>
              <a:tblPr firstRow="1" bandRow="1">
                <a:tableStyleId>{5C22544A-7EE6-4342-B048-85BDC9FD1C3A}</a:tableStyleId>
              </a:tblPr>
              <a:tblGrid>
                <a:gridCol w="3079531">
                  <a:extLst>
                    <a:ext uri="{9D8B030D-6E8A-4147-A177-3AD203B41FA5}">
                      <a16:colId xmlns:a16="http://schemas.microsoft.com/office/drawing/2014/main" val="4164570758"/>
                    </a:ext>
                  </a:extLst>
                </a:gridCol>
                <a:gridCol w="3079531">
                  <a:extLst>
                    <a:ext uri="{9D8B030D-6E8A-4147-A177-3AD203B41FA5}">
                      <a16:colId xmlns:a16="http://schemas.microsoft.com/office/drawing/2014/main" val="20001"/>
                    </a:ext>
                  </a:extLst>
                </a:gridCol>
                <a:gridCol w="3079531">
                  <a:extLst>
                    <a:ext uri="{9D8B030D-6E8A-4147-A177-3AD203B41FA5}">
                      <a16:colId xmlns:a16="http://schemas.microsoft.com/office/drawing/2014/main" val="20002"/>
                    </a:ext>
                  </a:extLst>
                </a:gridCol>
              </a:tblGrid>
              <a:tr h="372030">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Fervo, U.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Rift Valley, Keny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3"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b="1" kern="1200" dirty="0">
                          <a:solidFill>
                            <a:schemeClr val="tx1"/>
                          </a:solidFill>
                          <a:latin typeface="+mn-lt"/>
                          <a:ea typeface="+mn-ea"/>
                          <a:cs typeface="+mn-cs"/>
                        </a:rPr>
                        <a:t>Sarulla, Indones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47967">
                <a:tc>
                  <a:txBody>
                    <a:bodyPr/>
                    <a:lstStyle/>
                    <a:p>
                      <a:pPr marL="0" indent="0" algn="l" fontAlgn="b">
                        <a:buNone/>
                      </a:pPr>
                      <a:r>
                        <a:rPr lang="en-US" sz="1200" b="1" i="0" u="none" strike="noStrike" dirty="0">
                          <a:solidFill>
                            <a:srgbClr val="000000"/>
                          </a:solidFill>
                          <a:effectLst/>
                          <a:latin typeface="+mn-lt"/>
                        </a:rPr>
                        <a:t>Next-gen</a:t>
                      </a:r>
                      <a:r>
                        <a:rPr lang="en-US" sz="1200" b="0" i="0" u="none" strike="noStrike" dirty="0">
                          <a:solidFill>
                            <a:srgbClr val="000000"/>
                          </a:solidFill>
                          <a:effectLst/>
                          <a:latin typeface="+mn-lt"/>
                        </a:rPr>
                        <a:t> geothermal (EGS, advanced drilling, and fiber op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Conventional</a:t>
                      </a:r>
                      <a:r>
                        <a:rPr lang="en-US" sz="1200" b="0" i="0" u="none" strike="noStrike" dirty="0">
                          <a:solidFill>
                            <a:srgbClr val="000000"/>
                          </a:solidFill>
                          <a:effectLst/>
                          <a:latin typeface="+mn-lt"/>
                        </a:rPr>
                        <a:t> geothermal (mixture of flash and bina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Conventional</a:t>
                      </a:r>
                      <a:r>
                        <a:rPr lang="en-US" sz="1200" b="0" i="0" u="none" strike="noStrike" dirty="0">
                          <a:solidFill>
                            <a:srgbClr val="000000"/>
                          </a:solidFill>
                          <a:effectLst/>
                          <a:latin typeface="+mn-lt"/>
                        </a:rPr>
                        <a:t> geothermal (flash ste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849955528"/>
                  </a:ext>
                </a:extLst>
              </a:tr>
              <a:tr h="0">
                <a:tc>
                  <a:txBody>
                    <a:bodyPr/>
                    <a:lstStyle/>
                    <a:p>
                      <a:pPr marL="0" marR="0" indent="0" algn="l" defTabSz="711200" rtl="0" eaLnBrk="1" fontAlgn="b" latinLnBrk="0" hangingPunct="1">
                        <a:lnSpc>
                          <a:spcPct val="100000"/>
                        </a:lnSpc>
                        <a:spcBef>
                          <a:spcPts val="1200"/>
                        </a:spcBef>
                        <a:spcAft>
                          <a:spcPts val="0"/>
                        </a:spcAft>
                        <a:buClrTx/>
                        <a:buSzTx/>
                        <a:buFontTx/>
                        <a:buNone/>
                        <a:tabLst/>
                        <a:defRPr/>
                      </a:pPr>
                      <a:r>
                        <a:rPr lang="en-US" sz="1200" b="1" dirty="0"/>
                        <a:t>Moderate technology risk:</a:t>
                      </a:r>
                      <a:r>
                        <a:rPr lang="en-US" sz="1200" dirty="0"/>
                        <a:t> While EGS has been de-risked by field pilots like Project Red (TRL 9 in 2024), scaling commercial deployment still carries subsurface and reservoir uncertainty.</a:t>
                      </a:r>
                    </a:p>
                    <a:p>
                      <a:pPr marL="0" marR="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mn-lt"/>
                        </a:rPr>
                        <a:t>Medium resource risk:</a:t>
                      </a:r>
                      <a:r>
                        <a:rPr lang="en-US" sz="1200" b="0" i="0" u="none" strike="noStrike" dirty="0">
                          <a:solidFill>
                            <a:srgbClr val="000000"/>
                          </a:solidFill>
                          <a:effectLst/>
                          <a:latin typeface="+mn-lt"/>
                        </a:rPr>
                        <a:t> E</a:t>
                      </a:r>
                      <a:r>
                        <a:rPr lang="en-US" sz="1200" dirty="0"/>
                        <a:t>GS creates its own reservoir, which avoids natural resource uncertainty but introduces engineered subsurface complexity.</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Low technology risk:</a:t>
                      </a:r>
                      <a:r>
                        <a:rPr lang="en-US" sz="1200" b="0" i="0" u="none" strike="noStrike" dirty="0">
                          <a:solidFill>
                            <a:srgbClr val="000000"/>
                          </a:solidFill>
                          <a:effectLst/>
                          <a:latin typeface="+mn-lt"/>
                        </a:rPr>
                        <a:t> Uses proven conventional technology.</a:t>
                      </a:r>
                    </a:p>
                    <a:p>
                      <a:pPr marL="0" indent="0" algn="l" fontAlgn="b">
                        <a:buNone/>
                      </a:pPr>
                      <a:r>
                        <a:rPr lang="en-US" sz="1200" b="1" dirty="0"/>
                        <a:t>High resource risk:</a:t>
                      </a:r>
                      <a:r>
                        <a:rPr lang="en-US" sz="1200" b="0" dirty="0"/>
                        <a:t> I</a:t>
                      </a:r>
                      <a:r>
                        <a:rPr lang="en-US" sz="1200" dirty="0"/>
                        <a:t>n early phases, especially in unexplored or underexplored zones, but borne by the public sector through Kenya’s state-owned GDC, which validates the resource before handing it off to private IPP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Low technology risk:</a:t>
                      </a:r>
                      <a:r>
                        <a:rPr lang="en-US" sz="1200" b="0" i="0" u="none" strike="noStrike" dirty="0">
                          <a:solidFill>
                            <a:srgbClr val="000000"/>
                          </a:solidFill>
                          <a:effectLst/>
                          <a:latin typeface="+mn-lt"/>
                        </a:rPr>
                        <a:t> Uses proven conventional technology.</a:t>
                      </a:r>
                    </a:p>
                    <a:p>
                      <a:pPr marL="0" indent="0" algn="l" fontAlgn="b">
                        <a:buClr>
                          <a:srgbClr val="FFFFFF"/>
                        </a:buClr>
                        <a:buNone/>
                      </a:pPr>
                      <a:r>
                        <a:rPr lang="en-US" sz="1200" b="1" i="0" u="none" strike="noStrike" dirty="0">
                          <a:solidFill>
                            <a:srgbClr val="000000"/>
                          </a:solidFill>
                          <a:effectLst/>
                          <a:latin typeface="+mn-lt"/>
                        </a:rPr>
                        <a:t>Low resource risk:</a:t>
                      </a:r>
                      <a:r>
                        <a:rPr lang="en-US" sz="1200" b="0" i="0" u="none" strike="noStrike" dirty="0">
                          <a:solidFill>
                            <a:srgbClr val="000000"/>
                          </a:solidFill>
                          <a:effectLst/>
                          <a:latin typeface="+mn-lt"/>
                        </a:rPr>
                        <a:t> L</a:t>
                      </a:r>
                      <a:r>
                        <a:rPr lang="en-US" sz="1200" dirty="0"/>
                        <a:t>ocated in a well-characterized field with extensive drilling and historical data.</a:t>
                      </a:r>
                      <a:endParaRPr lang="en-US" sz="1200" b="0" i="0" u="none" strike="noStrike" dirty="0">
                        <a:solidFill>
                          <a:srgbClr val="000000"/>
                        </a:solidFill>
                        <a:effectLst/>
                        <a:latin typeface="+mn-lt"/>
                      </a:endParaRPr>
                    </a:p>
                    <a:p>
                      <a:pPr marL="0" indent="0" algn="l" fontAlgn="b">
                        <a:buClr>
                          <a:srgbClr val="FFFFFF"/>
                        </a:buClr>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70051309"/>
                  </a:ext>
                </a:extLst>
              </a:tr>
              <a:tr h="0">
                <a:tc>
                  <a:txBody>
                    <a:bodyPr/>
                    <a:lstStyle/>
                    <a:p>
                      <a:pPr marL="0" indent="0" algn="l" fontAlgn="b">
                        <a:buNone/>
                      </a:pPr>
                      <a:r>
                        <a:rPr lang="en-US" sz="1200" b="0" i="0" u="none" strike="noStrike" dirty="0">
                          <a:solidFill>
                            <a:srgbClr val="000000"/>
                          </a:solidFill>
                          <a:effectLst/>
                          <a:latin typeface="+mn-lt"/>
                        </a:rPr>
                        <a:t>Long-term PPAs with utilities or corporate, pilot to commercial-scal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mn-lt"/>
                        </a:rPr>
                        <a:t>Utility offtake with donor-backed pric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
                          <a:srgbClr val="FFFFFF"/>
                        </a:buClr>
                        <a:buSzTx/>
                        <a:buFontTx/>
                        <a:buNone/>
                        <a:tabLst/>
                        <a:defRPr/>
                      </a:pPr>
                      <a:r>
                        <a:rPr lang="en-US" sz="1200" b="0" i="0" u="none" strike="noStrike" dirty="0">
                          <a:solidFill>
                            <a:srgbClr val="000000"/>
                          </a:solidFill>
                          <a:effectLst/>
                          <a:latin typeface="+mn-lt"/>
                        </a:rPr>
                        <a:t>IPP model with 30-year PPA under feed-in tariff, </a:t>
                      </a:r>
                      <a:r>
                        <a:rPr lang="en-US" sz="1200" dirty="0"/>
                        <a:t>backed by political risk guarantee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13219629"/>
                  </a:ext>
                </a:extLst>
              </a:tr>
              <a:tr h="0">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mn-lt"/>
                        </a:rPr>
                        <a:t>More equity:</a:t>
                      </a:r>
                      <a:r>
                        <a:rPr lang="en-US" sz="1200" b="0" i="0" u="none" strike="noStrike" dirty="0">
                          <a:solidFill>
                            <a:srgbClr val="000000"/>
                          </a:solidFill>
                          <a:effectLst/>
                          <a:latin typeface="+mn-lt"/>
                        </a:rPr>
                        <a:t> E</a:t>
                      </a:r>
                      <a:r>
                        <a:rPr lang="en-US" sz="1200" dirty="0"/>
                        <a:t>arly-stage EGS projects are equity-heavy, backed by VC/PE </a:t>
                      </a:r>
                      <a:br>
                        <a:rPr lang="en-US" sz="1200" dirty="0"/>
                      </a:br>
                      <a:r>
                        <a:rPr lang="en-US" sz="1200" dirty="0"/>
                        <a:t>(e.g., Breakthrough Energy, Capricorn). </a:t>
                      </a:r>
                      <a:r>
                        <a:rPr lang="en-US" sz="1200" b="1" dirty="0"/>
                        <a:t>Transitioning toward project finance</a:t>
                      </a:r>
                      <a:r>
                        <a:rPr lang="en-US" sz="1200" dirty="0"/>
                        <a:t> as risk perception decline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More debt:</a:t>
                      </a:r>
                      <a:r>
                        <a:rPr lang="en-US" sz="1200" b="0" i="0" u="none" strike="noStrike" dirty="0">
                          <a:solidFill>
                            <a:srgbClr val="000000"/>
                          </a:solidFill>
                          <a:effectLst/>
                          <a:latin typeface="+mn-lt"/>
                        </a:rPr>
                        <a:t> </a:t>
                      </a:r>
                      <a:r>
                        <a:rPr lang="en-US" sz="1200" dirty="0"/>
                        <a:t>GDC-led exploration allows donor-backed debt instruments (e.g., AfDB, AFD, World Bank); equity participation from KenGen and private IPP.</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More debt:</a:t>
                      </a:r>
                      <a:r>
                        <a:rPr lang="en-US" sz="1200" b="0" i="0" u="none" strike="noStrike" dirty="0">
                          <a:solidFill>
                            <a:srgbClr val="000000"/>
                          </a:solidFill>
                          <a:effectLst/>
                          <a:latin typeface="+mn-lt"/>
                        </a:rPr>
                        <a:t> C</a:t>
                      </a:r>
                      <a:r>
                        <a:rPr lang="en-US" sz="1200" dirty="0"/>
                        <a:t>lassic project finance with concessional and commercial debt (ADB, JBIC, CTF); equity from Medco, Itochu, Kyushu Electric, INPEX.</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9125100"/>
                  </a:ext>
                </a:extLst>
              </a:tr>
            </a:tbl>
          </a:graphicData>
        </a:graphic>
      </p:graphicFrame>
      <p:sp>
        <p:nvSpPr>
          <p:cNvPr id="9" name="Right Triangle 8">
            <a:extLst>
              <a:ext uri="{FF2B5EF4-FFF2-40B4-BE49-F238E27FC236}">
                <a16:creationId xmlns:a16="http://schemas.microsoft.com/office/drawing/2014/main" id="{9593C168-54CE-E0AF-3E55-D581803846D6}"/>
              </a:ext>
            </a:extLst>
          </p:cNvPr>
          <p:cNvSpPr/>
          <p:nvPr/>
        </p:nvSpPr>
        <p:spPr bwMode="gray">
          <a:xfrm>
            <a:off x="2427891" y="1449144"/>
            <a:ext cx="9238592" cy="368737"/>
          </a:xfrm>
          <a:prstGeom prst="rtTriangl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F753C400-72AA-8B53-807F-82AB94EBC4AE}"/>
              </a:ext>
            </a:extLst>
          </p:cNvPr>
          <p:cNvSpPr txBox="1"/>
          <p:nvPr/>
        </p:nvSpPr>
        <p:spPr bwMode="gray">
          <a:xfrm>
            <a:off x="2341179" y="1461358"/>
            <a:ext cx="2396358" cy="469359"/>
          </a:xfrm>
          <a:prstGeom prst="rect">
            <a:avLst/>
          </a:prstGeom>
          <a:no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Frontier tech, higher risk</a:t>
            </a:r>
          </a:p>
        </p:txBody>
      </p:sp>
      <p:sp>
        <p:nvSpPr>
          <p:cNvPr id="11" name="TextBox 10">
            <a:extLst>
              <a:ext uri="{FF2B5EF4-FFF2-40B4-BE49-F238E27FC236}">
                <a16:creationId xmlns:a16="http://schemas.microsoft.com/office/drawing/2014/main" id="{676EE1B7-D32B-A4B2-22D8-F3CDF9C0B65A}"/>
              </a:ext>
            </a:extLst>
          </p:cNvPr>
          <p:cNvSpPr txBox="1"/>
          <p:nvPr/>
        </p:nvSpPr>
        <p:spPr bwMode="gray">
          <a:xfrm>
            <a:off x="9270125" y="1444594"/>
            <a:ext cx="2396358" cy="469359"/>
          </a:xfrm>
          <a:prstGeom prst="rect">
            <a:avLst/>
          </a:prstGeom>
          <a:noFill/>
        </p:spPr>
        <p:txBody>
          <a:bodyPr wrap="square" lIns="137160" tIns="137160" rIns="274320" bIns="137160" rtlCol="0">
            <a:spAutoFit/>
          </a:bodyPr>
          <a:lstStyle/>
          <a:p>
            <a:pPr marL="0" marR="0" lvl="0" indent="0" algn="r" defTabSz="711200" rtl="0" eaLnBrk="1" fontAlgn="auto" latinLnBrk="0" hangingPunct="1">
              <a:lnSpc>
                <a:spcPct val="100000"/>
              </a:lnSpc>
              <a:spcBef>
                <a:spcPts val="600"/>
              </a:spcBef>
              <a:spcAft>
                <a:spcPts val="6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Proven tech, lower risk</a:t>
            </a:r>
          </a:p>
        </p:txBody>
      </p:sp>
      <p:sp>
        <p:nvSpPr>
          <p:cNvPr id="12" name="TextBox 11">
            <a:extLst>
              <a:ext uri="{FF2B5EF4-FFF2-40B4-BE49-F238E27FC236}">
                <a16:creationId xmlns:a16="http://schemas.microsoft.com/office/drawing/2014/main" id="{79C00476-9229-5669-B9EB-E20B56B94048}"/>
              </a:ext>
            </a:extLst>
          </p:cNvPr>
          <p:cNvSpPr txBox="1"/>
          <p:nvPr/>
        </p:nvSpPr>
        <p:spPr bwMode="gray">
          <a:xfrm>
            <a:off x="324000" y="2879909"/>
            <a:ext cx="2011995" cy="1815882"/>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isk profile</a:t>
            </a: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4D2C1BE2-CF66-F2ED-63C5-4B254A4EA57D}"/>
              </a:ext>
            </a:extLst>
          </p:cNvPr>
          <p:cNvSpPr txBox="1"/>
          <p:nvPr/>
        </p:nvSpPr>
        <p:spPr bwMode="gray">
          <a:xfrm>
            <a:off x="324000" y="4756783"/>
            <a:ext cx="2011995" cy="419695"/>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venue model</a:t>
            </a:r>
          </a:p>
        </p:txBody>
      </p:sp>
      <p:sp>
        <p:nvSpPr>
          <p:cNvPr id="14" name="TextBox 13">
            <a:extLst>
              <a:ext uri="{FF2B5EF4-FFF2-40B4-BE49-F238E27FC236}">
                <a16:creationId xmlns:a16="http://schemas.microsoft.com/office/drawing/2014/main" id="{5F4EF451-C1C7-E4AA-5621-0EE8D86C9AEC}"/>
              </a:ext>
            </a:extLst>
          </p:cNvPr>
          <p:cNvSpPr txBox="1"/>
          <p:nvPr/>
        </p:nvSpPr>
        <p:spPr bwMode="gray">
          <a:xfrm>
            <a:off x="324000" y="5243545"/>
            <a:ext cx="2011995" cy="646331"/>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Financing instrument and stakeholder</a:t>
            </a:r>
          </a:p>
        </p:txBody>
      </p:sp>
    </p:spTree>
    <p:extLst>
      <p:ext uri="{BB962C8B-B14F-4D97-AF65-F5344CB8AC3E}">
        <p14:creationId xmlns:p14="http://schemas.microsoft.com/office/powerpoint/2010/main" val="1393956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ED33DC-A1C2-FFD7-8FF7-8F91BCEAE278}"/>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ED33DC-A1C2-FFD7-8FF7-8F91BCEAE2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551966F-422A-2205-AA88-6F9D0B153AE8}"/>
              </a:ext>
            </a:extLst>
          </p:cNvPr>
          <p:cNvSpPr>
            <a:spLocks noGrp="1"/>
          </p:cNvSpPr>
          <p:nvPr>
            <p:ph type="body" sz="quarter" idx="14"/>
          </p:nvPr>
        </p:nvSpPr>
        <p:spPr/>
        <p:txBody>
          <a:bodyPr tIns="1828800"/>
          <a:lstStyle/>
          <a:p>
            <a:pPr marL="0" indent="0">
              <a:buNone/>
            </a:pPr>
            <a:r>
              <a:rPr lang="en-US" b="1" dirty="0"/>
              <a:t>Observations </a:t>
            </a:r>
          </a:p>
          <a:p>
            <a:pPr marL="0" indent="0">
              <a:buNone/>
            </a:pPr>
            <a:endParaRPr lang="en-US" b="1" dirty="0"/>
          </a:p>
          <a:p>
            <a:r>
              <a:rPr lang="en-US" sz="1050" b="1" dirty="0"/>
              <a:t>China holds over 50% </a:t>
            </a:r>
            <a:r>
              <a:rPr lang="en-US" sz="1050" dirty="0"/>
              <a:t>of installed capacity, and the </a:t>
            </a:r>
            <a:r>
              <a:rPr lang="en-US" sz="1050" b="1" dirty="0"/>
              <a:t>10 largest consumers</a:t>
            </a:r>
            <a:r>
              <a:rPr lang="en-US" sz="1050" dirty="0"/>
              <a:t> account for ~90% of the global total.</a:t>
            </a:r>
          </a:p>
          <a:p>
            <a:r>
              <a:rPr lang="en-US" sz="1050" b="1" dirty="0"/>
              <a:t>Europe is expected to scale </a:t>
            </a:r>
            <a:r>
              <a:rPr lang="en-US" sz="1050" dirty="0"/>
              <a:t>as a result of the EU Green Deal.</a:t>
            </a:r>
          </a:p>
          <a:p>
            <a:r>
              <a:rPr lang="en-US" sz="1050" b="1" dirty="0"/>
              <a:t>Geothermal heat pumps account for 72% of installed capacity</a:t>
            </a:r>
            <a:r>
              <a:rPr lang="en-US" sz="1050" dirty="0"/>
              <a:t>, while 28% is direct use.</a:t>
            </a:r>
          </a:p>
          <a:p>
            <a:r>
              <a:rPr lang="en-US" sz="1050" b="1" dirty="0"/>
              <a:t>Global geothermal potential </a:t>
            </a:r>
            <a:r>
              <a:rPr lang="en-US" sz="1050" dirty="0"/>
              <a:t>up to 3 km and &gt;90ºC is </a:t>
            </a:r>
            <a:r>
              <a:rPr lang="en-US" sz="1050" b="1" dirty="0"/>
              <a:t>~320 TW</a:t>
            </a:r>
            <a:r>
              <a:rPr lang="en-US" sz="1050" dirty="0"/>
              <a:t>, while the potential for &lt;90ºC increases 10x.</a:t>
            </a:r>
          </a:p>
          <a:p>
            <a:endParaRPr lang="en-US" dirty="0"/>
          </a:p>
        </p:txBody>
      </p:sp>
      <p:sp>
        <p:nvSpPr>
          <p:cNvPr id="3" name="Title 2">
            <a:extLst>
              <a:ext uri="{FF2B5EF4-FFF2-40B4-BE49-F238E27FC236}">
                <a16:creationId xmlns:a16="http://schemas.microsoft.com/office/drawing/2014/main" id="{D3318C85-80BA-B0CB-BC29-0B714EF3EA50}"/>
              </a:ext>
            </a:extLst>
          </p:cNvPr>
          <p:cNvSpPr>
            <a:spLocks noGrp="1"/>
          </p:cNvSpPr>
          <p:nvPr>
            <p:ph type="title"/>
          </p:nvPr>
        </p:nvSpPr>
        <p:spPr/>
        <p:txBody>
          <a:bodyPr vert="horz" rIns="91440"/>
          <a:lstStyle/>
          <a:p>
            <a:r>
              <a:rPr lang="en-US" dirty="0"/>
              <a:t>Global geothermal heating and cooling capacity is ~173,300 </a:t>
            </a:r>
            <a:r>
              <a:rPr lang="en-US" dirty="0" err="1"/>
              <a:t>MW</a:t>
            </a:r>
            <a:r>
              <a:rPr lang="en-US" baseline="-25000" dirty="0" err="1"/>
              <a:t>th</a:t>
            </a:r>
            <a:r>
              <a:rPr lang="en-US" dirty="0"/>
              <a:t>, with over 50% of global installed capacity in China</a:t>
            </a:r>
          </a:p>
        </p:txBody>
      </p:sp>
      <p:sp>
        <p:nvSpPr>
          <p:cNvPr id="4" name="Footer Placeholder 3">
            <a:extLst>
              <a:ext uri="{FF2B5EF4-FFF2-40B4-BE49-F238E27FC236}">
                <a16:creationId xmlns:a16="http://schemas.microsoft.com/office/drawing/2014/main" id="{0AEE5AB3-742B-CDEE-19C3-C94FFCAF60C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othermal Energy Database</a:t>
            </a:r>
            <a:r>
              <a:rPr kumimoji="0" lang="en-US" sz="800" b="0" i="0" u="none" strike="noStrike" kern="1200" cap="none" spc="0" normalizeH="0" baseline="0" noProof="0" dirty="0">
                <a:ln>
                  <a:noFill/>
                </a:ln>
                <a:solidFill>
                  <a:srgbClr val="000000"/>
                </a:solidFill>
                <a:effectLst/>
                <a:uLnTx/>
                <a:uFillTx/>
                <a:latin typeface="Arial"/>
                <a:ea typeface="+mn-ea"/>
                <a:cs typeface="+mn-cs"/>
              </a:rPr>
              <a:t> (International Geothermal Association,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lobal Geothermal Market and Technology Assessment </a:t>
            </a:r>
            <a:r>
              <a:rPr kumimoji="0" lang="en-US" sz="800" b="0" i="0" u="none" strike="noStrike" kern="1200" cap="none" spc="0" normalizeH="0" baseline="0" noProof="0" dirty="0">
                <a:ln>
                  <a:noFill/>
                </a:ln>
                <a:solidFill>
                  <a:srgbClr val="000000"/>
                </a:solidFill>
                <a:effectLst/>
                <a:uLnTx/>
                <a:uFillTx/>
                <a:latin typeface="Arial"/>
                <a:ea typeface="+mn-ea"/>
                <a:cs typeface="+mn-cs"/>
              </a:rPr>
              <a:t>(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World Bank</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European Commission, 2020).</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nd </a:t>
            </a:r>
            <a:r>
              <a:rPr lang="en-US" dirty="0">
                <a:solidFill>
                  <a:srgbClr val="000000">
                    <a:tint val="82000"/>
                  </a:srgbClr>
                </a:solidFill>
                <a:hlinkClick r:id="rId10"/>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5" name="Text Placeholder 4">
            <a:extLst>
              <a:ext uri="{FF2B5EF4-FFF2-40B4-BE49-F238E27FC236}">
                <a16:creationId xmlns:a16="http://schemas.microsoft.com/office/drawing/2014/main" id="{BAC3BD1D-E44D-1FCA-DA6F-FDDF62B2CB8F}"/>
              </a:ext>
            </a:extLst>
          </p:cNvPr>
          <p:cNvSpPr>
            <a:spLocks noGrp="1"/>
          </p:cNvSpPr>
          <p:nvPr>
            <p:ph type="body" sz="quarter" idx="13"/>
          </p:nvPr>
        </p:nvSpPr>
        <p:spPr/>
        <p:txBody>
          <a:bodyPr/>
          <a:lstStyle/>
          <a:p>
            <a:r>
              <a:rPr lang="en-US" dirty="0"/>
              <a:t>Global geothermal heating &amp; cooling installed capacity, </a:t>
            </a:r>
            <a:r>
              <a:rPr lang="en-US" dirty="0" err="1"/>
              <a:t>MW</a:t>
            </a:r>
            <a:r>
              <a:rPr lang="en-US" baseline="-25000" dirty="0" err="1"/>
              <a:t>th</a:t>
            </a:r>
            <a:endParaRPr lang="en-US" baseline="-25000" dirty="0"/>
          </a:p>
        </p:txBody>
      </p:sp>
      <p:sp>
        <p:nvSpPr>
          <p:cNvPr id="7" name="Text Placeholder 1">
            <a:extLst>
              <a:ext uri="{FF2B5EF4-FFF2-40B4-BE49-F238E27FC236}">
                <a16:creationId xmlns:a16="http://schemas.microsoft.com/office/drawing/2014/main" id="{5EB31D65-C800-6E3C-978E-FC436E7FCED4}"/>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Heating &amp; cooling</a:t>
            </a:r>
          </a:p>
        </p:txBody>
      </p:sp>
      <p:pic>
        <p:nvPicPr>
          <p:cNvPr id="9" name="Content Placeholder 20" descr="A map of the world with flags&#10;&#10;AI-generated content may be incorrect.">
            <a:extLst>
              <a:ext uri="{FF2B5EF4-FFF2-40B4-BE49-F238E27FC236}">
                <a16:creationId xmlns:a16="http://schemas.microsoft.com/office/drawing/2014/main" id="{62BEE4BF-5D51-5194-6ED4-661888DC0BB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04799" y="2153633"/>
            <a:ext cx="8149389" cy="3992150"/>
          </a:xfrm>
          <a:prstGeom prst="rect">
            <a:avLst/>
          </a:prstGeom>
        </p:spPr>
      </p:pic>
      <p:graphicFrame>
        <p:nvGraphicFramePr>
          <p:cNvPr id="10" name="Table 9">
            <a:extLst>
              <a:ext uri="{FF2B5EF4-FFF2-40B4-BE49-F238E27FC236}">
                <a16:creationId xmlns:a16="http://schemas.microsoft.com/office/drawing/2014/main" id="{EB2D2A7B-CF21-776C-D166-0F7EDAC9DD2E}"/>
              </a:ext>
            </a:extLst>
          </p:cNvPr>
          <p:cNvGraphicFramePr>
            <a:graphicFrameLocks noGrp="1"/>
          </p:cNvGraphicFramePr>
          <p:nvPr/>
        </p:nvGraphicFramePr>
        <p:xfrm>
          <a:off x="9308592" y="1549400"/>
          <a:ext cx="2548447" cy="1729740"/>
        </p:xfrm>
        <a:graphic>
          <a:graphicData uri="http://schemas.openxmlformats.org/drawingml/2006/table">
            <a:tbl>
              <a:tblPr firstRow="1" bandRow="1">
                <a:noFill/>
                <a:tableStyleId>{2D5ABB26-0587-4C30-8999-92F81FD0307C}</a:tableStyleId>
              </a:tblPr>
              <a:tblGrid>
                <a:gridCol w="1581656">
                  <a:extLst>
                    <a:ext uri="{9D8B030D-6E8A-4147-A177-3AD203B41FA5}">
                      <a16:colId xmlns:a16="http://schemas.microsoft.com/office/drawing/2014/main" val="606684705"/>
                    </a:ext>
                  </a:extLst>
                </a:gridCol>
                <a:gridCol w="966791">
                  <a:extLst>
                    <a:ext uri="{9D8B030D-6E8A-4147-A177-3AD203B41FA5}">
                      <a16:colId xmlns:a16="http://schemas.microsoft.com/office/drawing/2014/main" val="1767935765"/>
                    </a:ext>
                  </a:extLst>
                </a:gridCol>
              </a:tblGrid>
              <a:tr h="412776">
                <a:tc gridSpan="2">
                  <a:txBody>
                    <a:bodyPr/>
                    <a:lstStyle/>
                    <a:p>
                      <a:pPr marL="0" indent="0" algn="ctr">
                        <a:buNone/>
                      </a:pPr>
                      <a:r>
                        <a:rPr lang="en-US" sz="1250" b="1" dirty="0">
                          <a:solidFill>
                            <a:schemeClr val="bg1"/>
                          </a:solidFill>
                        </a:rPr>
                        <a:t>Largest installed capacity per capita (KW</a:t>
                      </a:r>
                      <a:r>
                        <a:rPr lang="en-US" sz="1250" b="1" baseline="-25000" dirty="0">
                          <a:solidFill>
                            <a:schemeClr val="bg1"/>
                          </a:solidFill>
                        </a:rPr>
                        <a:t>th</a:t>
                      </a:r>
                      <a:r>
                        <a:rPr lang="en-US" sz="1200" b="1" dirty="0">
                          <a:solidFill>
                            <a:schemeClr val="bg1"/>
                          </a:solidFill>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5478"/>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5206576"/>
                  </a:ext>
                </a:extLst>
              </a:tr>
              <a:tr h="220147">
                <a:tc>
                  <a:txBody>
                    <a:bodyPr/>
                    <a:lstStyle/>
                    <a:p>
                      <a:pPr marL="0" indent="0">
                        <a:buNone/>
                      </a:pPr>
                      <a:r>
                        <a:rPr lang="en-US" sz="1050" b="1" dirty="0"/>
                        <a:t>Ice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7.177</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878681301"/>
                  </a:ext>
                </a:extLst>
              </a:tr>
              <a:tr h="220147">
                <a:tc>
                  <a:txBody>
                    <a:bodyPr/>
                    <a:lstStyle/>
                    <a:p>
                      <a:pPr marL="0" indent="0">
                        <a:buNone/>
                      </a:pPr>
                      <a:r>
                        <a:rPr lang="en-US" sz="1050" b="1" dirty="0"/>
                        <a:t>Sweden</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69</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530165970"/>
                  </a:ext>
                </a:extLst>
              </a:tr>
              <a:tr h="220147">
                <a:tc>
                  <a:txBody>
                    <a:bodyPr/>
                    <a:lstStyle/>
                    <a:p>
                      <a:pPr marL="0" indent="0">
                        <a:buNone/>
                      </a:pPr>
                      <a:r>
                        <a:rPr lang="en-US" sz="1050" b="1" dirty="0"/>
                        <a:t>Fin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41</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050251489"/>
                  </a:ext>
                </a:extLst>
              </a:tr>
              <a:tr h="220147">
                <a:tc>
                  <a:txBody>
                    <a:bodyPr/>
                    <a:lstStyle/>
                    <a:p>
                      <a:pPr marL="0" indent="0">
                        <a:buNone/>
                      </a:pPr>
                      <a:r>
                        <a:rPr lang="en-US" sz="1050" b="1" dirty="0"/>
                        <a:t>Switzerland</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tc>
                  <a:txBody>
                    <a:bodyPr/>
                    <a:lstStyle/>
                    <a:p>
                      <a:pPr marL="0" indent="0">
                        <a:buNone/>
                      </a:pPr>
                      <a:r>
                        <a:rPr lang="en-US" sz="1050" b="1" dirty="0"/>
                        <a:t>0.27</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3E9EE"/>
                    </a:solidFill>
                  </a:tcPr>
                </a:tc>
                <a:extLst>
                  <a:ext uri="{0D108BD9-81ED-4DB2-BD59-A6C34878D82A}">
                    <a16:rowId xmlns:a16="http://schemas.microsoft.com/office/drawing/2014/main" val="3081804348"/>
                  </a:ext>
                </a:extLst>
              </a:tr>
              <a:tr h="220147">
                <a:tc>
                  <a:txBody>
                    <a:bodyPr/>
                    <a:lstStyle/>
                    <a:p>
                      <a:pPr marL="0" indent="0">
                        <a:buNone/>
                      </a:pPr>
                      <a:r>
                        <a:rPr lang="en-US" sz="1050" b="1" dirty="0"/>
                        <a:t>Norway</a:t>
                      </a:r>
                    </a:p>
                  </a:txBody>
                  <a:tcP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tc>
                  <a:txBody>
                    <a:bodyPr/>
                    <a:lstStyle/>
                    <a:p>
                      <a:pPr marL="0" indent="0">
                        <a:buNone/>
                      </a:pPr>
                      <a:r>
                        <a:rPr lang="en-US" sz="1050" b="1" dirty="0"/>
                        <a:t>0.21</a:t>
                      </a:r>
                    </a:p>
                  </a:txBody>
                  <a:tcP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3E9EE"/>
                    </a:solidFill>
                  </a:tcPr>
                </a:tc>
                <a:extLst>
                  <a:ext uri="{0D108BD9-81ED-4DB2-BD59-A6C34878D82A}">
                    <a16:rowId xmlns:a16="http://schemas.microsoft.com/office/drawing/2014/main" val="2197890842"/>
                  </a:ext>
                </a:extLst>
              </a:tr>
            </a:tbl>
          </a:graphicData>
        </a:graphic>
      </p:graphicFrame>
    </p:spTree>
    <p:extLst>
      <p:ext uri="{BB962C8B-B14F-4D97-AF65-F5344CB8AC3E}">
        <p14:creationId xmlns:p14="http://schemas.microsoft.com/office/powerpoint/2010/main" val="16096040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6CFDE4-E158-8693-00F0-A1423ECDF393}"/>
              </a:ext>
            </a:extLst>
          </p:cNvPr>
          <p:cNvGraphicFramePr>
            <a:graphicFrameLocks/>
          </p:cNvGraphicFramePr>
          <p:nvPr>
            <p:custDataLst>
              <p:tags r:id="rId1"/>
            </p:custDataLst>
            <p:extLst>
              <p:ext uri="{D42A27DB-BD31-4B8C-83A1-F6EECF244321}">
                <p14:modId xmlns:p14="http://schemas.microsoft.com/office/powerpoint/2010/main" val="22575723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D45B939-B6E9-5F1F-E03C-3663BA633973}"/>
              </a:ext>
            </a:extLst>
          </p:cNvPr>
          <p:cNvSpPr>
            <a:spLocks noGrp="1"/>
          </p:cNvSpPr>
          <p:nvPr>
            <p:ph type="title"/>
          </p:nvPr>
        </p:nvSpPr>
        <p:spPr/>
        <p:txBody>
          <a:bodyPr vert="horz" rIns="91440"/>
          <a:lstStyle/>
          <a:p>
            <a:r>
              <a:rPr lang="en-US" sz="2600" dirty="0"/>
              <a:t>Domestic policy support that aims to de-risk geothermal development in the United States is preserved under the Trump administration</a:t>
            </a:r>
          </a:p>
        </p:txBody>
      </p:sp>
      <p:sp>
        <p:nvSpPr>
          <p:cNvPr id="6" name="Footer Placeholder 5">
            <a:extLst>
              <a:ext uri="{FF2B5EF4-FFF2-40B4-BE49-F238E27FC236}">
                <a16:creationId xmlns:a16="http://schemas.microsoft.com/office/drawing/2014/main" id="{7222C09B-13E5-C7C9-AA19-508CA326E6D9}"/>
              </a:ext>
            </a:extLst>
          </p:cNvPr>
          <p:cNvSpPr>
            <a:spLocks noGrp="1"/>
          </p:cNvSpPr>
          <p:nvPr>
            <p:ph type="ftr" sz="quarter" idx="3"/>
          </p:nvPr>
        </p:nvSpPr>
        <p:spPr>
          <a:xfrm>
            <a:off x="334962" y="6282647"/>
            <a:ext cx="9147241" cy="216706"/>
          </a:xfrm>
        </p:spPr>
        <p:txBody>
          <a:bodyPr/>
          <a:lstStyle/>
          <a:p>
            <a:pPr lvl="0">
              <a:defRPr/>
            </a:pPr>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5"/>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rPr>
              <a:t>;</a:t>
            </a:r>
            <a:r>
              <a:rPr lang="en-US" dirty="0">
                <a:solidFill>
                  <a:srgbClr val="000000"/>
                </a:solidFill>
              </a:rPr>
              <a:t> </a:t>
            </a:r>
            <a:r>
              <a:rPr lang="en-US" dirty="0">
                <a:solidFill>
                  <a:srgbClr val="000000"/>
                </a:solidFill>
                <a:hlinkClick r:id="rId6"/>
              </a:rPr>
              <a:t>DOE Launches $84 Million Program to Demonstrate Enhanced Geothermal Energy Systems</a:t>
            </a:r>
            <a:r>
              <a:rPr lang="en-US" dirty="0">
                <a:solidFill>
                  <a:srgbClr val="000000"/>
                </a:solidFill>
              </a:rPr>
              <a:t> (DOE, 2022); </a:t>
            </a:r>
            <a:r>
              <a:rPr lang="en-US" dirty="0">
                <a:solidFill>
                  <a:srgbClr val="000000"/>
                </a:solidFill>
                <a:hlinkClick r:id="rId7"/>
              </a:rPr>
              <a:t>How the One Big Beautiful Bill Changes Green Energy Tax Credits</a:t>
            </a:r>
            <a:r>
              <a:rPr lang="en-US" dirty="0">
                <a:solidFill>
                  <a:srgbClr val="000000"/>
                </a:solidFill>
              </a:rPr>
              <a:t> (Tax Foundation, 2025).</a:t>
            </a:r>
          </a:p>
          <a:p>
            <a:pPr lvl="0">
              <a:defRPr/>
            </a:pPr>
            <a:r>
              <a:rPr lang="en-US" dirty="0">
                <a:solidFill>
                  <a:srgbClr val="000000"/>
                </a:solidFill>
              </a:rPr>
              <a:t>Credit: Heather Hartel, Isabel Hoyos, and </a:t>
            </a:r>
            <a:r>
              <a:rPr lang="en-US" dirty="0">
                <a:hlinkClick r:id="rId8"/>
              </a:rPr>
              <a:t>Gernot Wagner.</a:t>
            </a:r>
            <a:r>
              <a:rPr lang="en-US" dirty="0">
                <a:solidFill>
                  <a:srgbClr val="000000"/>
                </a:solidFill>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C0F65245-3D21-E96E-BBB2-2AD8C0D8EE65}"/>
              </a:ext>
            </a:extLst>
          </p:cNvPr>
          <p:cNvSpPr>
            <a:spLocks noGrp="1"/>
          </p:cNvSpPr>
          <p:nvPr>
            <p:ph type="body" sz="quarter" idx="13"/>
          </p:nvPr>
        </p:nvSpPr>
        <p:spPr/>
        <p:txBody>
          <a:bodyPr/>
          <a:lstStyle/>
          <a:p>
            <a:r>
              <a:rPr lang="en-US" dirty="0">
                <a:solidFill>
                  <a:srgbClr val="000000"/>
                </a:solidFill>
                <a:cs typeface="Arial"/>
              </a:rPr>
              <a:t>IRA, BIL, and OBBBA enhance bankability through tax credits, direct pay, and federal loan support</a:t>
            </a:r>
          </a:p>
        </p:txBody>
      </p:sp>
      <p:sp>
        <p:nvSpPr>
          <p:cNvPr id="8" name="Text Placeholder 7">
            <a:extLst>
              <a:ext uri="{FF2B5EF4-FFF2-40B4-BE49-F238E27FC236}">
                <a16:creationId xmlns:a16="http://schemas.microsoft.com/office/drawing/2014/main" id="{94F22CA4-297E-1168-CB8F-25467B2833D0}"/>
              </a:ext>
            </a:extLst>
          </p:cNvPr>
          <p:cNvSpPr>
            <a:spLocks noGrp="1"/>
          </p:cNvSpPr>
          <p:nvPr>
            <p:ph type="body" sz="quarter" idx="16"/>
          </p:nvPr>
        </p:nvSpPr>
        <p:spPr/>
        <p:txBody>
          <a:bodyPr/>
          <a:lstStyle/>
          <a:p>
            <a:r>
              <a:rPr lang="en-US" dirty="0">
                <a:solidFill>
                  <a:srgbClr val="000000"/>
                </a:solidFill>
                <a:cs typeface="Arial"/>
              </a:rPr>
              <a:t>Emerging risk-sharing programs and public-private partnerships lower risk and crowd in private capital</a:t>
            </a:r>
          </a:p>
        </p:txBody>
      </p:sp>
      <p:sp>
        <p:nvSpPr>
          <p:cNvPr id="9" name="Text Placeholder 1">
            <a:extLst>
              <a:ext uri="{FF2B5EF4-FFF2-40B4-BE49-F238E27FC236}">
                <a16:creationId xmlns:a16="http://schemas.microsoft.com/office/drawing/2014/main" id="{40670470-3D12-CFF9-4E68-38EDD2D32B9E}"/>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graphicFrame>
        <p:nvGraphicFramePr>
          <p:cNvPr id="11" name="Table 10">
            <a:extLst>
              <a:ext uri="{FF2B5EF4-FFF2-40B4-BE49-F238E27FC236}">
                <a16:creationId xmlns:a16="http://schemas.microsoft.com/office/drawing/2014/main" id="{8768DCB2-A9F8-91FD-FACB-C29A4AD5B107}"/>
              </a:ext>
            </a:extLst>
          </p:cNvPr>
          <p:cNvGraphicFramePr>
            <a:graphicFrameLocks noGrp="1"/>
          </p:cNvGraphicFramePr>
          <p:nvPr>
            <p:extLst>
              <p:ext uri="{D42A27DB-BD31-4B8C-83A1-F6EECF244321}">
                <p14:modId xmlns:p14="http://schemas.microsoft.com/office/powerpoint/2010/main" val="460620602"/>
              </p:ext>
            </p:extLst>
          </p:nvPr>
        </p:nvGraphicFramePr>
        <p:xfrm>
          <a:off x="322383" y="2163453"/>
          <a:ext cx="5660137" cy="4022253"/>
        </p:xfrm>
        <a:graphic>
          <a:graphicData uri="http://schemas.openxmlformats.org/drawingml/2006/table">
            <a:tbl>
              <a:tblPr firstRow="1" bandRow="1">
                <a:tableStyleId>{2D5ABB26-0587-4C30-8999-92F81FD0307C}</a:tableStyleId>
              </a:tblPr>
              <a:tblGrid>
                <a:gridCol w="975076">
                  <a:extLst>
                    <a:ext uri="{9D8B030D-6E8A-4147-A177-3AD203B41FA5}">
                      <a16:colId xmlns:a16="http://schemas.microsoft.com/office/drawing/2014/main" val="4246772383"/>
                    </a:ext>
                  </a:extLst>
                </a:gridCol>
                <a:gridCol w="988541">
                  <a:extLst>
                    <a:ext uri="{9D8B030D-6E8A-4147-A177-3AD203B41FA5}">
                      <a16:colId xmlns:a16="http://schemas.microsoft.com/office/drawing/2014/main" val="3599731686"/>
                    </a:ext>
                  </a:extLst>
                </a:gridCol>
                <a:gridCol w="1976872">
                  <a:extLst>
                    <a:ext uri="{9D8B030D-6E8A-4147-A177-3AD203B41FA5}">
                      <a16:colId xmlns:a16="http://schemas.microsoft.com/office/drawing/2014/main" val="869608096"/>
                    </a:ext>
                  </a:extLst>
                </a:gridCol>
                <a:gridCol w="1719648">
                  <a:extLst>
                    <a:ext uri="{9D8B030D-6E8A-4147-A177-3AD203B41FA5}">
                      <a16:colId xmlns:a16="http://schemas.microsoft.com/office/drawing/2014/main" val="728090652"/>
                    </a:ext>
                  </a:extLst>
                </a:gridCol>
              </a:tblGrid>
              <a:tr h="486563">
                <a:tc>
                  <a:txBody>
                    <a:bodyPr/>
                    <a:lstStyle/>
                    <a:p>
                      <a:pPr algn="ctr">
                        <a:buNone/>
                      </a:pPr>
                      <a:r>
                        <a:rPr lang="en-US" sz="1200" b="1" dirty="0">
                          <a:solidFill>
                            <a:schemeClr val="bg1"/>
                          </a:solidFill>
                        </a:rPr>
                        <a:t>Policy</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marL="0" indent="0" algn="ctr">
                        <a:buNone/>
                      </a:pPr>
                      <a:r>
                        <a:rPr lang="en-US" sz="1200" b="1" dirty="0">
                          <a:solidFill>
                            <a:schemeClr val="bg1"/>
                          </a:solidFill>
                        </a:rPr>
                        <a:t>Type of Suppor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marL="0" algn="ctr">
                        <a:spcBef>
                          <a:spcPts val="0"/>
                        </a:spcBef>
                        <a:buNone/>
                      </a:pPr>
                      <a:r>
                        <a:rPr lang="en-US" sz="1200" b="1" dirty="0">
                          <a:solidFill>
                            <a:schemeClr val="bg1"/>
                          </a:solidFill>
                        </a:rPr>
                        <a:t>Key Provisions for Geotherm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marL="0" indent="0" algn="ctr">
                        <a:buNone/>
                      </a:pPr>
                      <a:r>
                        <a:rPr lang="en-US" sz="1200" b="1" dirty="0">
                          <a:solidFill>
                            <a:schemeClr val="bg1"/>
                          </a:solidFill>
                        </a:rPr>
                        <a:t>Impact/Intent</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extLst>
                  <a:ext uri="{0D108BD9-81ED-4DB2-BD59-A6C34878D82A}">
                    <a16:rowId xmlns:a16="http://schemas.microsoft.com/office/drawing/2014/main" val="4261655736"/>
                  </a:ext>
                </a:extLst>
              </a:tr>
              <a:tr h="1070438">
                <a:tc>
                  <a:txBody>
                    <a:bodyPr/>
                    <a:lstStyle/>
                    <a:p>
                      <a:pPr marL="0" indent="0">
                        <a:buNone/>
                      </a:pPr>
                      <a:r>
                        <a:rPr lang="en-US" sz="1000" b="1" dirty="0"/>
                        <a:t>Inflation Reduction Act (IRA) (2022)</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l">
                        <a:spcBef>
                          <a:spcPts val="0"/>
                        </a:spcBef>
                        <a:buNone/>
                      </a:pPr>
                      <a:r>
                        <a:rPr lang="en-US" sz="1000" kern="1200" dirty="0">
                          <a:solidFill>
                            <a:schemeClr val="tx1"/>
                          </a:solidFill>
                          <a:latin typeface="+mn-lt"/>
                          <a:ea typeface="+mn-ea"/>
                          <a:cs typeface="+mn-cs"/>
                        </a:rPr>
                        <a:t>Tax credits that improve project economic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buNone/>
                      </a:pPr>
                      <a:r>
                        <a:rPr lang="en-US" sz="1000" dirty="0"/>
                        <a:t>30% </a:t>
                      </a:r>
                      <a:r>
                        <a:rPr lang="en-US" sz="1000" b="1" dirty="0"/>
                        <a:t>ITC</a:t>
                      </a:r>
                      <a:r>
                        <a:rPr lang="en-US" sz="1000" dirty="0"/>
                        <a:t> or </a:t>
                      </a:r>
                      <a:r>
                        <a:rPr lang="en-US" sz="1000" b="1" dirty="0"/>
                        <a:t>PTC</a:t>
                      </a:r>
                      <a:r>
                        <a:rPr lang="en-US" sz="1000" dirty="0"/>
                        <a:t> eligibility; </a:t>
                      </a:r>
                      <a:r>
                        <a:rPr lang="en-US" sz="1000" b="1" dirty="0"/>
                        <a:t>direct pay</a:t>
                      </a:r>
                      <a:r>
                        <a:rPr lang="en-US" sz="1000" dirty="0"/>
                        <a:t> (for tax-exempt entities); </a:t>
                      </a:r>
                      <a:r>
                        <a:rPr lang="en-US" sz="1000" b="1" dirty="0"/>
                        <a:t>transferability</a:t>
                      </a:r>
                      <a:r>
                        <a:rPr lang="en-US" sz="1000" dirty="0"/>
                        <a:t> of credits; </a:t>
                      </a:r>
                      <a:r>
                        <a:rPr lang="en-US" sz="1000" b="1" dirty="0"/>
                        <a:t>adders</a:t>
                      </a:r>
                      <a:r>
                        <a:rPr lang="en-US" sz="1000" dirty="0"/>
                        <a:t> (+10% energy communities; +10% domestic content, where met)</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l">
                        <a:spcBef>
                          <a:spcPts val="0"/>
                        </a:spcBef>
                        <a:buNone/>
                      </a:pPr>
                      <a:r>
                        <a:rPr lang="en-US" sz="1000" dirty="0"/>
                        <a:t>First-time </a:t>
                      </a:r>
                      <a:r>
                        <a:rPr lang="en-US" sz="1000" b="1" dirty="0"/>
                        <a:t>inclusion of geothermal</a:t>
                      </a:r>
                      <a:r>
                        <a:rPr lang="en-US" sz="1000" dirty="0"/>
                        <a:t>; enables </a:t>
                      </a:r>
                      <a:r>
                        <a:rPr lang="en-US" sz="1000" b="1" dirty="0"/>
                        <a:t>monetization of credits and broader investor participation</a:t>
                      </a:r>
                      <a:r>
                        <a:rPr lang="en-US" sz="1000" dirty="0"/>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020226769"/>
                  </a:ext>
                </a:extLst>
              </a:tr>
              <a:tr h="1232626">
                <a:tc>
                  <a:txBody>
                    <a:bodyPr/>
                    <a:lstStyle/>
                    <a:p>
                      <a:pPr marL="0">
                        <a:spcBef>
                          <a:spcPts val="0"/>
                        </a:spcBef>
                        <a:buNone/>
                      </a:pPr>
                      <a:r>
                        <a:rPr lang="en-US" sz="1000" b="1" kern="1200" dirty="0">
                          <a:solidFill>
                            <a:schemeClr val="tx1"/>
                          </a:solidFill>
                          <a:latin typeface="+mn-lt"/>
                          <a:ea typeface="+mn-ea"/>
                          <a:cs typeface="+mn-cs"/>
                        </a:rPr>
                        <a:t>Bipartisan Infrastructure Law (BIL) (2022)</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indent="0" algn="l">
                        <a:buNone/>
                      </a:pPr>
                      <a:r>
                        <a:rPr lang="en-US" sz="1000" dirty="0"/>
                        <a:t>Federal R&amp;D, grants, and data to reduce early-stage risk</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a:spcBef>
                          <a:spcPts val="0"/>
                        </a:spcBef>
                        <a:buNone/>
                      </a:pPr>
                      <a:r>
                        <a:rPr lang="en-US" sz="1000" kern="1200" dirty="0">
                          <a:solidFill>
                            <a:schemeClr val="tx1"/>
                          </a:solidFill>
                          <a:latin typeface="+mn-lt"/>
                          <a:ea typeface="+mn-ea"/>
                          <a:cs typeface="+mn-cs"/>
                        </a:rPr>
                        <a:t>DOE Geothermal Technologies Office funding; </a:t>
                      </a:r>
                      <a:r>
                        <a:rPr lang="en-US" sz="1000" b="1" kern="1200" dirty="0">
                          <a:solidFill>
                            <a:schemeClr val="tx1"/>
                          </a:solidFill>
                          <a:latin typeface="+mn-lt"/>
                          <a:ea typeface="+mn-ea"/>
                          <a:cs typeface="+mn-cs"/>
                        </a:rPr>
                        <a:t>EGS pilot demonstrations</a:t>
                      </a:r>
                      <a:r>
                        <a:rPr lang="en-US" sz="1000" kern="1200" dirty="0">
                          <a:solidFill>
                            <a:schemeClr val="tx1"/>
                          </a:solidFill>
                          <a:latin typeface="+mn-lt"/>
                          <a:ea typeface="+mn-ea"/>
                          <a:cs typeface="+mn-cs"/>
                        </a:rPr>
                        <a:t>; USGS Earth MRI mapping/data; authority for DOE to run field pilot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a:spcBef>
                          <a:spcPts val="0"/>
                        </a:spcBef>
                        <a:buNone/>
                      </a:pPr>
                      <a:r>
                        <a:rPr lang="en-US" sz="1000" dirty="0"/>
                        <a:t>Focused on </a:t>
                      </a:r>
                      <a:r>
                        <a:rPr lang="en-US" sz="1000" b="1" dirty="0"/>
                        <a:t>early-stage risk reduction</a:t>
                      </a:r>
                      <a:r>
                        <a:rPr lang="en-US" sz="1000" dirty="0"/>
                        <a:t>: funding exploration, subsurface data, and demonstration wells; supports </a:t>
                      </a:r>
                      <a:r>
                        <a:rPr lang="en-US" sz="1000" b="1" dirty="0"/>
                        <a:t>cost-shared projects</a:t>
                      </a:r>
                      <a:r>
                        <a:rPr lang="en-US" sz="1000" dirty="0"/>
                        <a:t> to crowd-in private capit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580002566"/>
                  </a:ext>
                </a:extLst>
              </a:tr>
              <a:tr h="123262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dirty="0">
                          <a:solidFill>
                            <a:schemeClr val="tx1"/>
                          </a:solidFill>
                          <a:latin typeface="+mn-lt"/>
                          <a:ea typeface="+mn-ea"/>
                          <a:cs typeface="+mn-cs"/>
                        </a:rPr>
                        <a:t>One Big Beautiful Bill Act (OBBBA) (2025) </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l">
                        <a:buNone/>
                      </a:pPr>
                      <a:r>
                        <a:rPr lang="en-US" sz="1000" dirty="0"/>
                        <a:t>Credit design plus phase-out policy and domestic supply guardrai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a:spcBef>
                          <a:spcPts val="0"/>
                        </a:spcBef>
                        <a:buNone/>
                      </a:pPr>
                      <a:r>
                        <a:rPr lang="en-US" sz="1000" kern="1200" dirty="0">
                          <a:solidFill>
                            <a:schemeClr val="tx1"/>
                          </a:solidFill>
                          <a:latin typeface="+mn-lt"/>
                          <a:ea typeface="+mn-ea"/>
                          <a:cs typeface="+mn-cs"/>
                        </a:rPr>
                        <a:t>Tightens </a:t>
                      </a:r>
                      <a:r>
                        <a:rPr lang="en-US" sz="1000" b="1" kern="1200" dirty="0">
                          <a:solidFill>
                            <a:schemeClr val="tx1"/>
                          </a:solidFill>
                          <a:latin typeface="+mn-lt"/>
                          <a:ea typeface="+mn-ea"/>
                          <a:cs typeface="+mn-cs"/>
                        </a:rPr>
                        <a:t>FEOC rules</a:t>
                      </a:r>
                      <a:r>
                        <a:rPr lang="en-US" sz="1000" b="0" kern="1200" dirty="0">
                          <a:solidFill>
                            <a:schemeClr val="tx1"/>
                          </a:solidFill>
                          <a:latin typeface="+mn-lt"/>
                          <a:ea typeface="+mn-ea"/>
                          <a:cs typeface="+mn-cs"/>
                        </a:rPr>
                        <a:t>; </a:t>
                      </a:r>
                      <a:r>
                        <a:rPr lang="en-US" sz="1000" kern="1200" dirty="0">
                          <a:solidFill>
                            <a:schemeClr val="tx1"/>
                          </a:solidFill>
                          <a:latin typeface="+mn-lt"/>
                          <a:ea typeface="+mn-ea"/>
                          <a:cs typeface="+mn-cs"/>
                        </a:rPr>
                        <a:t>strengthens/clarifies domestic content; </a:t>
                      </a:r>
                      <a:r>
                        <a:rPr lang="en-US" sz="1000" b="1" kern="1200" dirty="0">
                          <a:solidFill>
                            <a:schemeClr val="tx1"/>
                          </a:solidFill>
                          <a:latin typeface="+mn-lt"/>
                          <a:ea typeface="+mn-ea"/>
                          <a:cs typeface="+mn-cs"/>
                        </a:rPr>
                        <a:t>retains geothermal ITC/PTC runway through 2033</a:t>
                      </a:r>
                      <a:r>
                        <a:rPr lang="en-US" sz="1000" kern="1200" dirty="0">
                          <a:solidFill>
                            <a:schemeClr val="tx1"/>
                          </a:solidFill>
                          <a:latin typeface="+mn-lt"/>
                          <a:ea typeface="+mn-ea"/>
                          <a:cs typeface="+mn-cs"/>
                        </a:rPr>
                        <a:t> with gradual phaseout; </a:t>
                      </a:r>
                      <a:r>
                        <a:rPr lang="en-US" sz="1000" b="1" kern="1200" dirty="0">
                          <a:solidFill>
                            <a:schemeClr val="tx1"/>
                          </a:solidFill>
                          <a:latin typeface="+mn-lt"/>
                          <a:ea typeface="+mn-ea"/>
                          <a:cs typeface="+mn-cs"/>
                        </a:rPr>
                        <a:t>accelerates phaseouts for mature tech </a:t>
                      </a:r>
                      <a:r>
                        <a:rPr lang="en-US" sz="1000" kern="1200" dirty="0">
                          <a:solidFill>
                            <a:schemeClr val="tx1"/>
                          </a:solidFill>
                          <a:latin typeface="+mn-lt"/>
                          <a:ea typeface="+mn-ea"/>
                          <a:cs typeface="+mn-cs"/>
                        </a:rPr>
                        <a:t>(solar/wind)</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a:spcBef>
                          <a:spcPts val="0"/>
                        </a:spcBef>
                        <a:buNone/>
                      </a:pPr>
                      <a:r>
                        <a:rPr lang="en-US" sz="1000" dirty="0"/>
                        <a:t>Protects geothermal’s </a:t>
                      </a:r>
                      <a:r>
                        <a:rPr lang="en-US" sz="1000" b="1" dirty="0"/>
                        <a:t>long credit runway</a:t>
                      </a:r>
                      <a:r>
                        <a:rPr lang="en-US" sz="1000" dirty="0"/>
                        <a:t> while phasing out mature renewables; encourages </a:t>
                      </a:r>
                      <a:r>
                        <a:rPr lang="en-US" sz="1000" b="1" dirty="0"/>
                        <a:t>domestic supply-chain alignment</a:t>
                      </a:r>
                      <a:endParaRPr lang="en-U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26015054"/>
                  </a:ext>
                </a:extLst>
              </a:tr>
            </a:tbl>
          </a:graphicData>
        </a:graphic>
      </p:graphicFrame>
      <p:sp>
        <p:nvSpPr>
          <p:cNvPr id="12" name="Triangle 11">
            <a:extLst>
              <a:ext uri="{FF2B5EF4-FFF2-40B4-BE49-F238E27FC236}">
                <a16:creationId xmlns:a16="http://schemas.microsoft.com/office/drawing/2014/main" id="{F774A164-DE3D-A8CE-8494-6BA1CB1445AD}"/>
              </a:ext>
            </a:extLst>
          </p:cNvPr>
          <p:cNvSpPr/>
          <p:nvPr/>
        </p:nvSpPr>
        <p:spPr bwMode="gray">
          <a:xfrm>
            <a:off x="7007108" y="2166073"/>
            <a:ext cx="4297228" cy="3144252"/>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73C48C0A-CC95-FFAB-70FF-5EA525E4E76C}"/>
              </a:ext>
            </a:extLst>
          </p:cNvPr>
          <p:cNvSpPr/>
          <p:nvPr/>
        </p:nvSpPr>
        <p:spPr bwMode="gray">
          <a:xfrm>
            <a:off x="7494360" y="3398515"/>
            <a:ext cx="3481136" cy="11229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7E3C51A-4650-D88A-56C3-6A78FA87C989}"/>
              </a:ext>
            </a:extLst>
          </p:cNvPr>
          <p:cNvSpPr/>
          <p:nvPr/>
        </p:nvSpPr>
        <p:spPr bwMode="gray">
          <a:xfrm>
            <a:off x="7007108" y="4425731"/>
            <a:ext cx="3968388" cy="11229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ounded Rectangular Callout 14">
            <a:extLst>
              <a:ext uri="{FF2B5EF4-FFF2-40B4-BE49-F238E27FC236}">
                <a16:creationId xmlns:a16="http://schemas.microsoft.com/office/drawing/2014/main" id="{C1327FB9-7608-0EE5-C619-3CEE852B9483}"/>
              </a:ext>
            </a:extLst>
          </p:cNvPr>
          <p:cNvSpPr/>
          <p:nvPr/>
        </p:nvSpPr>
        <p:spPr bwMode="gray">
          <a:xfrm>
            <a:off x="6326982" y="4041815"/>
            <a:ext cx="870868" cy="912104"/>
          </a:xfrm>
          <a:prstGeom prst="wedgeRoundRectCallout">
            <a:avLst>
              <a:gd name="adj1" fmla="val 61981"/>
              <a:gd name="adj2" fmla="val 39045"/>
              <a:gd name="adj3" fmla="val 16667"/>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Public funds absorb exploration risk.</a:t>
            </a:r>
          </a:p>
        </p:txBody>
      </p:sp>
      <p:sp>
        <p:nvSpPr>
          <p:cNvPr id="16" name="Rounded Rectangular Callout 15">
            <a:extLst>
              <a:ext uri="{FF2B5EF4-FFF2-40B4-BE49-F238E27FC236}">
                <a16:creationId xmlns:a16="http://schemas.microsoft.com/office/drawing/2014/main" id="{026E415B-3353-89ED-07B1-50C713D290D8}"/>
              </a:ext>
            </a:extLst>
          </p:cNvPr>
          <p:cNvSpPr/>
          <p:nvPr/>
        </p:nvSpPr>
        <p:spPr bwMode="gray">
          <a:xfrm>
            <a:off x="10713464" y="3446232"/>
            <a:ext cx="933923" cy="678053"/>
          </a:xfrm>
          <a:prstGeom prst="wedgeRoundRectCallout">
            <a:avLst>
              <a:gd name="adj1" fmla="val -79767"/>
              <a:gd name="adj2" fmla="val 32027"/>
              <a:gd name="adj3" fmla="val 16667"/>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Partnerships demonstrate viability.</a:t>
            </a:r>
          </a:p>
        </p:txBody>
      </p:sp>
      <p:sp>
        <p:nvSpPr>
          <p:cNvPr id="17" name="Rounded Rectangular Callout 16">
            <a:extLst>
              <a:ext uri="{FF2B5EF4-FFF2-40B4-BE49-F238E27FC236}">
                <a16:creationId xmlns:a16="http://schemas.microsoft.com/office/drawing/2014/main" id="{D95D0586-26C4-1F31-5361-C43125143175}"/>
              </a:ext>
            </a:extLst>
          </p:cNvPr>
          <p:cNvSpPr/>
          <p:nvPr/>
        </p:nvSpPr>
        <p:spPr bwMode="gray">
          <a:xfrm>
            <a:off x="7129689" y="2240988"/>
            <a:ext cx="933923" cy="1054914"/>
          </a:xfrm>
          <a:prstGeom prst="wedgeRoundRectCallout">
            <a:avLst>
              <a:gd name="adj1" fmla="val 79826"/>
              <a:gd name="adj2" fmla="val 42816"/>
              <a:gd name="adj3" fmla="val 16667"/>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Tax incentives unlock private deployment.</a:t>
            </a:r>
          </a:p>
        </p:txBody>
      </p:sp>
      <p:sp>
        <p:nvSpPr>
          <p:cNvPr id="18" name="TextBox 17">
            <a:extLst>
              <a:ext uri="{FF2B5EF4-FFF2-40B4-BE49-F238E27FC236}">
                <a16:creationId xmlns:a16="http://schemas.microsoft.com/office/drawing/2014/main" id="{B56C0DBD-1F54-69E1-FE08-CC75E48F4748}"/>
              </a:ext>
            </a:extLst>
          </p:cNvPr>
          <p:cNvSpPr txBox="1"/>
          <p:nvPr/>
        </p:nvSpPr>
        <p:spPr bwMode="gray">
          <a:xfrm>
            <a:off x="8688760" y="2523133"/>
            <a:ext cx="933923" cy="880617"/>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Private Investment Incentivized by Tax Credits</a:t>
            </a:r>
          </a:p>
        </p:txBody>
      </p:sp>
      <p:sp>
        <p:nvSpPr>
          <p:cNvPr id="19" name="TextBox 18">
            <a:extLst>
              <a:ext uri="{FF2B5EF4-FFF2-40B4-BE49-F238E27FC236}">
                <a16:creationId xmlns:a16="http://schemas.microsoft.com/office/drawing/2014/main" id="{D12A6ADE-A99C-5A7F-0A12-FE09DF56CFCE}"/>
              </a:ext>
            </a:extLst>
          </p:cNvPr>
          <p:cNvSpPr txBox="1"/>
          <p:nvPr/>
        </p:nvSpPr>
        <p:spPr bwMode="gray">
          <a:xfrm>
            <a:off x="8157863" y="3539031"/>
            <a:ext cx="1995715" cy="395869"/>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Shared Risk &amp; Market Demonstration</a:t>
            </a:r>
          </a:p>
        </p:txBody>
      </p:sp>
      <p:sp>
        <p:nvSpPr>
          <p:cNvPr id="20" name="TextBox 19">
            <a:extLst>
              <a:ext uri="{FF2B5EF4-FFF2-40B4-BE49-F238E27FC236}">
                <a16:creationId xmlns:a16="http://schemas.microsoft.com/office/drawing/2014/main" id="{EC71FD55-FA3C-682A-0028-A750C409D423}"/>
              </a:ext>
            </a:extLst>
          </p:cNvPr>
          <p:cNvSpPr txBox="1"/>
          <p:nvPr/>
        </p:nvSpPr>
        <p:spPr bwMode="gray">
          <a:xfrm>
            <a:off x="8189249" y="4590782"/>
            <a:ext cx="1995715" cy="234286"/>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arly-Stage Public Investment</a:t>
            </a:r>
          </a:p>
        </p:txBody>
      </p:sp>
      <p:sp>
        <p:nvSpPr>
          <p:cNvPr id="21" name="TextBox 20">
            <a:extLst>
              <a:ext uri="{FF2B5EF4-FFF2-40B4-BE49-F238E27FC236}">
                <a16:creationId xmlns:a16="http://schemas.microsoft.com/office/drawing/2014/main" id="{15D4F6ED-8173-E8BA-B7B4-287752D80454}"/>
              </a:ext>
            </a:extLst>
          </p:cNvPr>
          <p:cNvSpPr txBox="1"/>
          <p:nvPr/>
        </p:nvSpPr>
        <p:spPr bwMode="gray">
          <a:xfrm>
            <a:off x="8013343" y="3864989"/>
            <a:ext cx="2284753" cy="557451"/>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ate and local utility partnerships (e.g., </a:t>
            </a:r>
            <a:r>
              <a:rPr kumimoji="0" lang="en-US" sz="1050" b="0" i="1" u="none" strike="noStrike" kern="1200" cap="none" spc="0" normalizeH="0" baseline="0" noProof="0" dirty="0">
                <a:ln>
                  <a:noFill/>
                </a:ln>
                <a:solidFill>
                  <a:srgbClr val="000000"/>
                </a:solidFill>
                <a:effectLst/>
                <a:uLnTx/>
                <a:uFillTx/>
                <a:latin typeface="Arial"/>
                <a:ea typeface="+mn-ea"/>
                <a:cs typeface="+mn-cs"/>
              </a:rPr>
              <a:t>Utah FORG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1" u="none" strike="noStrike" kern="1200" cap="none" spc="0" normalizeH="0" baseline="0" noProof="0" dirty="0">
                <a:ln>
                  <a:noFill/>
                </a:ln>
                <a:solidFill>
                  <a:srgbClr val="000000"/>
                </a:solidFill>
                <a:effectLst/>
                <a:uLnTx/>
                <a:uFillTx/>
                <a:latin typeface="Arial"/>
                <a:ea typeface="+mn-ea"/>
                <a:cs typeface="+mn-cs"/>
              </a:rPr>
              <a:t>Calpine DOE pilot</a:t>
            </a:r>
            <a:r>
              <a:rPr kumimoji="0" lang="en-US" sz="1050" b="0" i="0" u="none" strike="noStrike" kern="1200" cap="none" spc="0" normalizeH="0" baseline="0" noProof="0" dirty="0">
                <a:ln>
                  <a:noFill/>
                </a:ln>
                <a:solidFill>
                  <a:srgbClr val="000000"/>
                </a:solidFill>
                <a:effectLst/>
                <a:uLnTx/>
                <a:uFillTx/>
                <a:latin typeface="Arial"/>
                <a:ea typeface="+mn-ea"/>
                <a:cs typeface="+mn-cs"/>
              </a:rPr>
              <a:t>) demonstrate technical viability.</a:t>
            </a:r>
          </a:p>
        </p:txBody>
      </p:sp>
      <p:sp>
        <p:nvSpPr>
          <p:cNvPr id="22" name="TextBox 21">
            <a:extLst>
              <a:ext uri="{FF2B5EF4-FFF2-40B4-BE49-F238E27FC236}">
                <a16:creationId xmlns:a16="http://schemas.microsoft.com/office/drawing/2014/main" id="{A1DDFE4A-1F79-3F76-AF33-65CE5999EB53}"/>
              </a:ext>
            </a:extLst>
          </p:cNvPr>
          <p:cNvSpPr txBox="1"/>
          <p:nvPr/>
        </p:nvSpPr>
        <p:spPr bwMode="gray">
          <a:xfrm>
            <a:off x="7463816" y="4774566"/>
            <a:ext cx="3383805" cy="557451"/>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ost-shared drilling grants (DOE, </a:t>
            </a:r>
            <a:r>
              <a:rPr kumimoji="0" lang="en-US" sz="1050" b="0" u="none" strike="noStrike" kern="1200" cap="none" spc="0" normalizeH="0" baseline="0" noProof="0" dirty="0">
                <a:ln>
                  <a:noFill/>
                </a:ln>
                <a:solidFill>
                  <a:srgbClr val="000000"/>
                </a:solidFill>
                <a:effectLst/>
                <a:uLnTx/>
                <a:uFillTx/>
                <a:latin typeface="Arial"/>
                <a:ea typeface="+mn-ea"/>
                <a:cs typeface="+mn-cs"/>
              </a:rPr>
              <a:t>USGS Earth MRI</a:t>
            </a:r>
            <a:r>
              <a:rPr kumimoji="0" lang="en-US" sz="1050" b="0" i="0" u="none" strike="noStrike" kern="1200" cap="none" spc="0" normalizeH="0" baseline="0" noProof="0" dirty="0">
                <a:ln>
                  <a:noFill/>
                </a:ln>
                <a:solidFill>
                  <a:srgbClr val="000000"/>
                </a:solidFill>
                <a:effectLst/>
                <a:uLnTx/>
                <a:uFillTx/>
                <a:latin typeface="Arial"/>
                <a:ea typeface="+mn-ea"/>
                <a:cs typeface="+mn-cs"/>
              </a:rPr>
              <a:t>) and federal data programs reduce exploration risk and resource uncertainty.</a:t>
            </a:r>
          </a:p>
        </p:txBody>
      </p:sp>
      <p:sp>
        <p:nvSpPr>
          <p:cNvPr id="23" name="Rounded Rectangular Callout 22">
            <a:extLst>
              <a:ext uri="{FF2B5EF4-FFF2-40B4-BE49-F238E27FC236}">
                <a16:creationId xmlns:a16="http://schemas.microsoft.com/office/drawing/2014/main" id="{E3AE80D8-C25C-9D59-22CD-BC5878AB352C}"/>
              </a:ext>
            </a:extLst>
          </p:cNvPr>
          <p:cNvSpPr/>
          <p:nvPr/>
        </p:nvSpPr>
        <p:spPr bwMode="gray">
          <a:xfrm>
            <a:off x="9976098" y="2163454"/>
            <a:ext cx="1743046" cy="929996"/>
          </a:xfrm>
          <a:prstGeom prst="wedgeRoundRectCallout">
            <a:avLst>
              <a:gd name="adj1" fmla="val -61537"/>
              <a:gd name="adj2" fmla="val 29814"/>
              <a:gd name="adj3" fmla="val 16667"/>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RA/OBBBA ITC/PTC and transferability attract developers and tax-equity investors once technical risk is reduced.</a:t>
            </a:r>
          </a:p>
        </p:txBody>
      </p:sp>
      <p:sp>
        <p:nvSpPr>
          <p:cNvPr id="24" name="Trapezoid 23">
            <a:extLst>
              <a:ext uri="{FF2B5EF4-FFF2-40B4-BE49-F238E27FC236}">
                <a16:creationId xmlns:a16="http://schemas.microsoft.com/office/drawing/2014/main" id="{F05BB6B9-16E5-E735-E344-B95A9CFB751A}"/>
              </a:ext>
            </a:extLst>
          </p:cNvPr>
          <p:cNvSpPr/>
          <p:nvPr/>
        </p:nvSpPr>
        <p:spPr bwMode="gray">
          <a:xfrm>
            <a:off x="6486221" y="5427134"/>
            <a:ext cx="5375579" cy="758573"/>
          </a:xfrm>
          <a:prstGeom prst="trapezoid">
            <a:avLst>
              <a:gd name="adj" fmla="val 63573"/>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eothermal projects benefit most from policies targeting exploration risk and long payback timelines — areas where solar and wind no longer require subsidy.</a:t>
            </a:r>
          </a:p>
        </p:txBody>
      </p:sp>
    </p:spTree>
    <p:extLst>
      <p:ext uri="{BB962C8B-B14F-4D97-AF65-F5344CB8AC3E}">
        <p14:creationId xmlns:p14="http://schemas.microsoft.com/office/powerpoint/2010/main" val="28530676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BB1EDC5-3E48-E3F1-DCE7-AED87DD9BA01}"/>
              </a:ext>
            </a:extLst>
          </p:cNvPr>
          <p:cNvGraphicFramePr>
            <a:graphicFrameLocks/>
          </p:cNvGraphicFramePr>
          <p:nvPr>
            <p:custDataLst>
              <p:tags r:id="rId1"/>
            </p:custDataLst>
            <p:extLst>
              <p:ext uri="{D42A27DB-BD31-4B8C-83A1-F6EECF244321}">
                <p14:modId xmlns:p14="http://schemas.microsoft.com/office/powerpoint/2010/main" val="3649297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032A3B6-073B-78C0-ECEC-D62985A46F37}"/>
              </a:ext>
            </a:extLst>
          </p:cNvPr>
          <p:cNvSpPr>
            <a:spLocks noGrp="1"/>
          </p:cNvSpPr>
          <p:nvPr>
            <p:ph type="title"/>
          </p:nvPr>
        </p:nvSpPr>
        <p:spPr/>
        <p:txBody>
          <a:bodyPr vert="horz" rIns="91440"/>
          <a:lstStyle/>
          <a:p>
            <a:r>
              <a:rPr lang="en-US" dirty="0"/>
              <a:t>Investors double down on </a:t>
            </a:r>
            <a:r>
              <a:rPr lang="en-US" dirty="0" err="1"/>
              <a:t>Fervo</a:t>
            </a:r>
            <a:r>
              <a:rPr lang="en-US"/>
              <a:t> with equity and debt funding to commercially deploy EGS; total $1.69B raised to date</a:t>
            </a:r>
            <a:endParaRPr lang="en-US" dirty="0"/>
          </a:p>
        </p:txBody>
      </p:sp>
      <p:sp>
        <p:nvSpPr>
          <p:cNvPr id="5" name="Footer Placeholder 4">
            <a:extLst>
              <a:ext uri="{FF2B5EF4-FFF2-40B4-BE49-F238E27FC236}">
                <a16:creationId xmlns:a16="http://schemas.microsoft.com/office/drawing/2014/main" id="{2609C592-BDF2-B18E-ABC0-A046AEFE9342}"/>
              </a:ext>
            </a:extLst>
          </p:cNvPr>
          <p:cNvSpPr>
            <a:spLocks noGrp="1"/>
          </p:cNvSpPr>
          <p:nvPr>
            <p:ph type="ftr" sz="quarter" idx="3"/>
          </p:nvPr>
        </p:nvSpPr>
        <p:spPr>
          <a:xfrm>
            <a:off x="334962" y="6184012"/>
            <a:ext cx="9147241" cy="216706"/>
          </a:xfrm>
        </p:spPr>
        <p:txBody>
          <a:bodyPr/>
          <a:lstStyle/>
          <a:p>
            <a:r>
              <a:rPr lang="en-US" dirty="0">
                <a:solidFill>
                  <a:srgbClr val="000000"/>
                </a:solidFill>
              </a:rPr>
              <a:t>Sources: </a:t>
            </a:r>
            <a:r>
              <a:rPr lang="en-US" dirty="0">
                <a:solidFill>
                  <a:schemeClr val="tx1"/>
                </a:solidFill>
                <a:hlinkClick r:id="rId5"/>
              </a:rPr>
              <a:t>Fervo Energy Secures $206M</a:t>
            </a:r>
            <a:r>
              <a:rPr lang="en-US" dirty="0">
                <a:solidFill>
                  <a:srgbClr val="000000"/>
                </a:solidFill>
              </a:rPr>
              <a:t> </a:t>
            </a:r>
            <a:r>
              <a:rPr lang="en-US" dirty="0">
                <a:solidFill>
                  <a:schemeClr val="tx1"/>
                </a:solidFill>
                <a:hlinkClick r:id="rId5">
                  <a:extLst>
                    <a:ext uri="{A12FA001-AC4F-418D-AE19-62706E023703}">
                      <ahyp:hlinkClr xmlns:ahyp="http://schemas.microsoft.com/office/drawing/2018/hyperlinkcolor" val="tx"/>
                    </a:ext>
                  </a:extLst>
                </a:hlinkClick>
              </a:rPr>
              <a:t>(</a:t>
            </a:r>
            <a:r>
              <a:rPr lang="en-US" dirty="0" err="1">
                <a:solidFill>
                  <a:schemeClr val="tx1"/>
                </a:solidFill>
              </a:rPr>
              <a:t>Fervo</a:t>
            </a:r>
            <a:r>
              <a:rPr lang="en-US" dirty="0">
                <a:solidFill>
                  <a:schemeClr val="tx1"/>
                </a:solidFill>
              </a:rPr>
              <a:t> Energy, 2025); </a:t>
            </a:r>
            <a:r>
              <a:rPr lang="en-US" dirty="0" err="1">
                <a:solidFill>
                  <a:srgbClr val="45647B"/>
                </a:solidFill>
              </a:rPr>
              <a:t>F</a:t>
            </a:r>
            <a:r>
              <a:rPr lang="en-US" dirty="0" err="1">
                <a:solidFill>
                  <a:schemeClr val="tx1"/>
                </a:solidFill>
                <a:hlinkClick r:id="rId6"/>
              </a:rPr>
              <a:t>ervo</a:t>
            </a:r>
            <a:r>
              <a:rPr lang="en-US" dirty="0">
                <a:solidFill>
                  <a:schemeClr val="tx1"/>
                </a:solidFill>
                <a:hlinkClick r:id="rId6"/>
              </a:rPr>
              <a:t> Energy Secures $255M</a:t>
            </a:r>
            <a:r>
              <a:rPr lang="en-US" dirty="0">
                <a:solidFill>
                  <a:srgbClr val="000000"/>
                </a:solidFill>
              </a:rPr>
              <a:t> </a:t>
            </a:r>
            <a:r>
              <a:rPr lang="en-US" dirty="0">
                <a:solidFill>
                  <a:schemeClr val="tx1"/>
                </a:solidFill>
                <a:hlinkClick r:id="rId6">
                  <a:extLst>
                    <a:ext uri="{A12FA001-AC4F-418D-AE19-62706E023703}">
                      <ahyp:hlinkClr xmlns:ahyp="http://schemas.microsoft.com/office/drawing/2018/hyperlinkcolor" val="tx"/>
                    </a:ext>
                  </a:extLst>
                </a:hlinkClick>
              </a:rPr>
              <a:t>(</a:t>
            </a:r>
            <a:r>
              <a:rPr lang="en-US" dirty="0">
                <a:solidFill>
                  <a:schemeClr val="tx1"/>
                </a:solidFill>
              </a:rPr>
              <a:t>2024); </a:t>
            </a:r>
            <a:r>
              <a:rPr lang="en-US" dirty="0">
                <a:solidFill>
                  <a:schemeClr val="tx1"/>
                </a:solidFill>
                <a:hlinkClick r:id="rId7"/>
              </a:rPr>
              <a:t>Bridgin</a:t>
            </a:r>
            <a:r>
              <a:rPr lang="en-US" dirty="0">
                <a:hlinkClick r:id="rId7"/>
              </a:rPr>
              <a:t>g the Valley of Death</a:t>
            </a:r>
            <a:r>
              <a:rPr lang="en-US" dirty="0">
                <a:solidFill>
                  <a:srgbClr val="000000"/>
                </a:solidFill>
              </a:rPr>
              <a:t> </a:t>
            </a:r>
            <a:r>
              <a:rPr lang="en-US" dirty="0">
                <a:solidFill>
                  <a:schemeClr val="tx1"/>
                </a:solidFill>
                <a:hlinkClick r:id="rId7">
                  <a:extLst>
                    <a:ext uri="{A12FA001-AC4F-418D-AE19-62706E023703}">
                      <ahyp:hlinkClr xmlns:ahyp="http://schemas.microsoft.com/office/drawing/2018/hyperlinkcolor" val="tx"/>
                    </a:ext>
                  </a:extLst>
                </a:hlinkClick>
              </a:rPr>
              <a:t>(</a:t>
            </a:r>
            <a:r>
              <a:rPr lang="en-US" dirty="0">
                <a:solidFill>
                  <a:schemeClr val="tx1"/>
                </a:solidFill>
              </a:rPr>
              <a:t>Consulate General of Denmark, 2021); </a:t>
            </a:r>
            <a:r>
              <a:rPr lang="en-US" dirty="0">
                <a:hlinkClick r:id="rId8"/>
              </a:rPr>
              <a:t>Fervo Energy Raises $138M</a:t>
            </a:r>
            <a:r>
              <a:rPr lang="en-US" dirty="0">
                <a:solidFill>
                  <a:srgbClr val="000000"/>
                </a:solidFill>
              </a:rPr>
              <a:t> </a:t>
            </a:r>
            <a:r>
              <a:rPr lang="en-US" dirty="0">
                <a:solidFill>
                  <a:schemeClr val="tx1"/>
                </a:solidFill>
              </a:rPr>
              <a:t>(Business Wire, 2022); </a:t>
            </a:r>
            <a:r>
              <a:rPr lang="en-US" dirty="0">
                <a:hlinkClick r:id="rId9"/>
              </a:rPr>
              <a:t>Fervo Energy Raises $28 Million</a:t>
            </a:r>
            <a:r>
              <a:rPr lang="en-US" dirty="0">
                <a:solidFill>
                  <a:srgbClr val="000000"/>
                </a:solidFill>
              </a:rPr>
              <a:t> </a:t>
            </a:r>
            <a:r>
              <a:rPr lang="en-US" dirty="0">
                <a:solidFill>
                  <a:schemeClr val="tx1"/>
                </a:solidFill>
              </a:rPr>
              <a:t>(</a:t>
            </a:r>
            <a:r>
              <a:rPr lang="en-US" dirty="0" err="1">
                <a:solidFill>
                  <a:schemeClr val="tx1"/>
                </a:solidFill>
              </a:rPr>
              <a:t>Fervo</a:t>
            </a:r>
            <a:r>
              <a:rPr lang="en-US" dirty="0">
                <a:solidFill>
                  <a:schemeClr val="tx1"/>
                </a:solidFill>
              </a:rPr>
              <a:t> Energy, 2021); </a:t>
            </a:r>
            <a:r>
              <a:rPr lang="en-US" dirty="0">
                <a:hlinkClick r:id="rId10"/>
              </a:rPr>
              <a:t>Fervo Energy Raises $244</a:t>
            </a:r>
            <a:r>
              <a:rPr lang="en-US" dirty="0">
                <a:solidFill>
                  <a:srgbClr val="000000"/>
                </a:solidFill>
              </a:rPr>
              <a:t> </a:t>
            </a:r>
            <a:r>
              <a:rPr lang="en-US" dirty="0">
                <a:solidFill>
                  <a:schemeClr val="tx1"/>
                </a:solidFill>
              </a:rPr>
              <a:t>(</a:t>
            </a:r>
            <a:r>
              <a:rPr lang="en-US" dirty="0" err="1">
                <a:solidFill>
                  <a:schemeClr val="tx1"/>
                </a:solidFill>
              </a:rPr>
              <a:t>Fervo</a:t>
            </a:r>
            <a:r>
              <a:rPr lang="en-US" dirty="0">
                <a:solidFill>
                  <a:schemeClr val="tx1"/>
                </a:solidFill>
              </a:rPr>
              <a:t> Energy, 2024); </a:t>
            </a:r>
            <a:r>
              <a:rPr lang="en-US" dirty="0">
                <a:hlinkClick r:id="rId11"/>
              </a:rPr>
              <a:t>Scoop: Fervo Energy raising $300M</a:t>
            </a:r>
            <a:r>
              <a:rPr lang="en-US" dirty="0">
                <a:solidFill>
                  <a:srgbClr val="000000"/>
                </a:solidFill>
              </a:rPr>
              <a:t> </a:t>
            </a:r>
            <a:r>
              <a:rPr lang="en-US" dirty="0">
                <a:solidFill>
                  <a:schemeClr val="tx1"/>
                </a:solidFill>
              </a:rPr>
              <a:t>(Axios, 2025); </a:t>
            </a:r>
            <a:r>
              <a:rPr lang="en-US" dirty="0">
                <a:hlinkClick r:id="rId12"/>
              </a:rPr>
              <a:t>Fervo Energy</a:t>
            </a:r>
            <a:r>
              <a:rPr lang="en-US" dirty="0"/>
              <a:t> </a:t>
            </a:r>
            <a:r>
              <a:rPr lang="en-US" dirty="0">
                <a:solidFill>
                  <a:schemeClr val="tx1"/>
                </a:solidFill>
              </a:rPr>
              <a:t>(Pitchbook, 2025).</a:t>
            </a:r>
            <a:br>
              <a:rPr lang="en-US" dirty="0"/>
            </a:br>
            <a:r>
              <a:rPr lang="en-US" dirty="0">
                <a:solidFill>
                  <a:srgbClr val="000000"/>
                </a:solidFill>
              </a:rPr>
              <a:t>Credit: Stephanie Chen, Isabel Hoyos, and </a:t>
            </a:r>
            <a:r>
              <a:rPr lang="en-US" dirty="0">
                <a:hlinkClick r:id="rId13"/>
              </a:rPr>
              <a:t>Gernot Wagner.</a:t>
            </a:r>
            <a:r>
              <a:rPr lang="en-US" dirty="0">
                <a:solidFill>
                  <a:srgbClr val="000000"/>
                </a:solidFill>
              </a:rPr>
              <a:t> </a:t>
            </a:r>
            <a:r>
              <a:rPr lang="en-US" dirty="0">
                <a:hlinkClick r:id="rId1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5">
            <a:extLst>
              <a:ext uri="{FF2B5EF4-FFF2-40B4-BE49-F238E27FC236}">
                <a16:creationId xmlns:a16="http://schemas.microsoft.com/office/drawing/2014/main" id="{4B84DA3E-83D2-9D2A-1CB6-727E9011A586}"/>
              </a:ext>
            </a:extLst>
          </p:cNvPr>
          <p:cNvSpPr>
            <a:spLocks noGrp="1"/>
          </p:cNvSpPr>
          <p:nvPr>
            <p:ph type="body" sz="quarter" idx="13"/>
          </p:nvPr>
        </p:nvSpPr>
        <p:spPr/>
        <p:txBody>
          <a:bodyPr/>
          <a:lstStyle/>
          <a:p>
            <a:r>
              <a:rPr lang="en-US" sz="1500" dirty="0"/>
              <a:t>As </a:t>
            </a:r>
            <a:r>
              <a:rPr lang="en-US" sz="1500" dirty="0" err="1"/>
              <a:t>Fervo</a:t>
            </a:r>
            <a:r>
              <a:rPr lang="en-US" sz="1500" dirty="0"/>
              <a:t> achieved scale-up milestones, the company consistently attracted capital</a:t>
            </a:r>
          </a:p>
        </p:txBody>
      </p:sp>
      <p:sp>
        <p:nvSpPr>
          <p:cNvPr id="7" name="Text Placeholder 6">
            <a:extLst>
              <a:ext uri="{FF2B5EF4-FFF2-40B4-BE49-F238E27FC236}">
                <a16:creationId xmlns:a16="http://schemas.microsoft.com/office/drawing/2014/main" id="{13917BA9-7AE0-5BDE-6F78-7AEC5D370967}"/>
              </a:ext>
            </a:extLst>
          </p:cNvPr>
          <p:cNvSpPr>
            <a:spLocks noGrp="1"/>
          </p:cNvSpPr>
          <p:nvPr>
            <p:ph type="body" sz="quarter" idx="19"/>
          </p:nvPr>
        </p:nvSpPr>
        <p:spPr/>
        <p:txBody>
          <a:bodyPr/>
          <a:lstStyle/>
          <a:p>
            <a:r>
              <a:rPr lang="en-US" sz="1500" dirty="0" err="1"/>
              <a:t>Fervo</a:t>
            </a:r>
            <a:r>
              <a:rPr lang="en-US" sz="1500" dirty="0"/>
              <a:t> lands $206 million in project financing in 2025 </a:t>
            </a:r>
            <a:r>
              <a:rPr lang="en-US" sz="1500" i="1" dirty="0"/>
              <a:t>(US$M)</a:t>
            </a:r>
          </a:p>
        </p:txBody>
      </p:sp>
      <p:sp>
        <p:nvSpPr>
          <p:cNvPr id="8" name="Text Placeholder 7">
            <a:extLst>
              <a:ext uri="{FF2B5EF4-FFF2-40B4-BE49-F238E27FC236}">
                <a16:creationId xmlns:a16="http://schemas.microsoft.com/office/drawing/2014/main" id="{F1339F8B-0AA1-1C2E-4024-2D5BBFFCF39C}"/>
              </a:ext>
            </a:extLst>
          </p:cNvPr>
          <p:cNvSpPr>
            <a:spLocks noGrp="1"/>
          </p:cNvSpPr>
          <p:nvPr>
            <p:ph type="body" sz="quarter" idx="14"/>
          </p:nvPr>
        </p:nvSpPr>
        <p:spPr/>
        <p:txBody>
          <a:bodyPr/>
          <a:lstStyle/>
          <a:p>
            <a:pPr marL="0" indent="0">
              <a:spcBef>
                <a:spcPts val="600"/>
              </a:spcBef>
              <a:buNone/>
            </a:pPr>
            <a:r>
              <a:rPr lang="en-US" b="1" dirty="0"/>
              <a:t>Observations</a:t>
            </a:r>
          </a:p>
          <a:p>
            <a:pPr marL="0" indent="0">
              <a:spcBef>
                <a:spcPts val="600"/>
              </a:spcBef>
              <a:buNone/>
            </a:pPr>
            <a:endParaRPr lang="en-US" b="1" dirty="0"/>
          </a:p>
          <a:p>
            <a:r>
              <a:rPr lang="en-US" sz="1050" dirty="0" err="1"/>
              <a:t>Fervo</a:t>
            </a:r>
            <a:r>
              <a:rPr lang="en-US" sz="1050" dirty="0"/>
              <a:t> </a:t>
            </a:r>
            <a:r>
              <a:rPr lang="en-US" sz="1050" b="1" dirty="0"/>
              <a:t>confidentially filed to go public on January 22, 2026</a:t>
            </a:r>
            <a:r>
              <a:rPr lang="en-US" sz="1050" dirty="0"/>
              <a:t>. It would be the first EGS startup to IPO in the United States.</a:t>
            </a:r>
          </a:p>
          <a:p>
            <a:r>
              <a:rPr lang="en-US" sz="1050" dirty="0"/>
              <a:t>Breakthrough Energy Ventures is a longtime investor that has consistently invested in new rounds, demonstrating conviction in </a:t>
            </a:r>
            <a:r>
              <a:rPr lang="en-US" sz="1050" dirty="0" err="1"/>
              <a:t>Fervo’s</a:t>
            </a:r>
            <a:r>
              <a:rPr lang="en-US" sz="1050" dirty="0"/>
              <a:t> technology.</a:t>
            </a:r>
          </a:p>
          <a:p>
            <a:r>
              <a:rPr lang="en-US" sz="1050" dirty="0"/>
              <a:t>With technological breakthroughs like horizontal drilling and record-breaking drilling times, </a:t>
            </a:r>
            <a:r>
              <a:rPr lang="en-US" sz="1050" dirty="0" err="1"/>
              <a:t>Fervo</a:t>
            </a:r>
            <a:r>
              <a:rPr lang="en-US" sz="1050" dirty="0"/>
              <a:t> has consistently raised larger rounds and accessed debt financing.</a:t>
            </a:r>
          </a:p>
          <a:p>
            <a:r>
              <a:rPr lang="en-US" sz="1050" dirty="0" err="1"/>
              <a:t>Fervo’s</a:t>
            </a:r>
            <a:r>
              <a:rPr lang="en-US" sz="1050" dirty="0"/>
              <a:t> ability </a:t>
            </a:r>
            <a:r>
              <a:rPr lang="en-US" sz="1050" b="1" dirty="0"/>
              <a:t>to attract project financing i</a:t>
            </a:r>
            <a:r>
              <a:rPr lang="en-US" sz="1050" dirty="0"/>
              <a:t>s a critical hurdle for a hard tech investment and key to unlocking widespread commercial deployment.</a:t>
            </a:r>
          </a:p>
        </p:txBody>
      </p:sp>
      <p:sp>
        <p:nvSpPr>
          <p:cNvPr id="9" name="Text Placeholder 1">
            <a:extLst>
              <a:ext uri="{FF2B5EF4-FFF2-40B4-BE49-F238E27FC236}">
                <a16:creationId xmlns:a16="http://schemas.microsoft.com/office/drawing/2014/main" id="{E093B442-2FC2-44A9-8BF6-33517494AA22}"/>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err="1">
                <a:solidFill>
                  <a:srgbClr val="000000"/>
                </a:solidFill>
                <a:cs typeface="Arial"/>
              </a:rPr>
              <a:t>Fervo</a:t>
            </a:r>
            <a:r>
              <a:rPr lang="en-US" sz="1600" b="1" dirty="0">
                <a:solidFill>
                  <a:srgbClr val="000000"/>
                </a:solidFill>
                <a:cs typeface="Arial"/>
              </a:rPr>
              <a:t> Energy</a:t>
            </a:r>
            <a:endParaRPr lang="en-US" sz="1600" b="1" dirty="0"/>
          </a:p>
        </p:txBody>
      </p:sp>
      <mc:AlternateContent xmlns:mc="http://schemas.openxmlformats.org/markup-compatibility/2006" xmlns:cx4="http://schemas.microsoft.com/office/drawing/2016/5/10/chartex">
        <mc:Choice Requires="cx4">
          <p:graphicFrame>
            <p:nvGraphicFramePr>
              <p:cNvPr id="11" name="Chart 10">
                <a:extLst>
                  <a:ext uri="{FF2B5EF4-FFF2-40B4-BE49-F238E27FC236}">
                    <a16:creationId xmlns:a16="http://schemas.microsoft.com/office/drawing/2014/main" id="{30AD8066-4118-B35B-F859-A8149E096983}"/>
                  </a:ext>
                </a:extLst>
              </p:cNvPr>
              <p:cNvGraphicFramePr/>
              <p:nvPr>
                <p:extLst>
                  <p:ext uri="{D42A27DB-BD31-4B8C-83A1-F6EECF244321}">
                    <p14:modId xmlns:p14="http://schemas.microsoft.com/office/powerpoint/2010/main" val="131451962"/>
                  </p:ext>
                </p:extLst>
              </p:nvPr>
            </p:nvGraphicFramePr>
            <p:xfrm>
              <a:off x="4894693" y="2128423"/>
              <a:ext cx="4394085" cy="3617510"/>
            </p:xfrm>
            <a:graphic>
              <a:graphicData uri="http://schemas.microsoft.com/office/drawing/2014/chartex">
                <cx:chart xmlns:cx="http://schemas.microsoft.com/office/drawing/2014/chartex" xmlns:r="http://schemas.openxmlformats.org/officeDocument/2006/relationships" r:id="rId15"/>
              </a:graphicData>
            </a:graphic>
          </p:graphicFrame>
        </mc:Choice>
        <mc:Fallback xmlns="">
          <p:pic>
            <p:nvPicPr>
              <p:cNvPr id="11" name="Chart 10">
                <a:extLst>
                  <a:ext uri="{FF2B5EF4-FFF2-40B4-BE49-F238E27FC236}">
                    <a16:creationId xmlns:a16="http://schemas.microsoft.com/office/drawing/2014/main" id="{30AD8066-4118-B35B-F859-A8149E096983}"/>
                  </a:ext>
                </a:extLst>
              </p:cNvPr>
              <p:cNvPicPr>
                <a:picLocks noGrp="1" noRot="1" noChangeAspect="1" noMove="1" noResize="1" noEditPoints="1" noAdjustHandles="1" noChangeArrowheads="1" noChangeShapeType="1"/>
              </p:cNvPicPr>
              <p:nvPr/>
            </p:nvPicPr>
            <p:blipFill>
              <a:blip r:embed="rId16"/>
              <a:stretch>
                <a:fillRect/>
              </a:stretch>
            </p:blipFill>
            <p:spPr>
              <a:xfrm>
                <a:off x="4894693" y="2128423"/>
                <a:ext cx="4394085" cy="3617510"/>
              </a:xfrm>
              <a:prstGeom prst="rect">
                <a:avLst/>
              </a:prstGeom>
            </p:spPr>
          </p:pic>
        </mc:Fallback>
      </mc:AlternateContent>
      <p:sp>
        <p:nvSpPr>
          <p:cNvPr id="12" name="TextBox 11">
            <a:extLst>
              <a:ext uri="{FF2B5EF4-FFF2-40B4-BE49-F238E27FC236}">
                <a16:creationId xmlns:a16="http://schemas.microsoft.com/office/drawing/2014/main" id="{69F9861F-9F08-1DB9-8DCA-6AFCEF04CC13}"/>
              </a:ext>
            </a:extLst>
          </p:cNvPr>
          <p:cNvSpPr txBox="1"/>
          <p:nvPr/>
        </p:nvSpPr>
        <p:spPr bwMode="gray">
          <a:xfrm>
            <a:off x="7200060" y="3623075"/>
            <a:ext cx="1026050" cy="707886"/>
          </a:xfrm>
          <a:prstGeom prst="rect">
            <a:avLst/>
          </a:prstGeom>
          <a:noFill/>
        </p:spPr>
        <p:txBody>
          <a:bodyPr wrap="square">
            <a:spAutoFit/>
          </a:bodyPr>
          <a:lstStyle/>
          <a:p>
            <a:pPr marL="0" indent="0" fontAlgn="base">
              <a:buNone/>
            </a:pPr>
            <a:r>
              <a:rPr lang="en-US" sz="800" dirty="0"/>
              <a:t>XRL upsized non-dilutive bridge debt financing from $100M to $145.6M. </a:t>
            </a:r>
          </a:p>
        </p:txBody>
      </p:sp>
      <p:sp>
        <p:nvSpPr>
          <p:cNvPr id="28" name="TextBox 27">
            <a:extLst>
              <a:ext uri="{FF2B5EF4-FFF2-40B4-BE49-F238E27FC236}">
                <a16:creationId xmlns:a16="http://schemas.microsoft.com/office/drawing/2014/main" id="{8496E5E6-18E6-D9C9-9BBA-2BE59422594E}"/>
              </a:ext>
            </a:extLst>
          </p:cNvPr>
          <p:cNvSpPr txBox="1"/>
          <p:nvPr/>
        </p:nvSpPr>
        <p:spPr bwMode="gray">
          <a:xfrm>
            <a:off x="5042285" y="3449517"/>
            <a:ext cx="1026050" cy="584775"/>
          </a:xfrm>
          <a:prstGeom prst="rect">
            <a:avLst/>
          </a:prstGeom>
          <a:noFill/>
        </p:spPr>
        <p:txBody>
          <a:bodyPr wrap="square">
            <a:spAutoFit/>
          </a:bodyPr>
          <a:lstStyle/>
          <a:p>
            <a:pPr marL="0" indent="0" fontAlgn="base">
              <a:buNone/>
            </a:pPr>
            <a:r>
              <a:rPr lang="en-US" sz="800" dirty="0"/>
              <a:t>Breakthrough Energy Catalyst invests $100M of preferred equity.</a:t>
            </a:r>
          </a:p>
        </p:txBody>
      </p:sp>
      <p:sp>
        <p:nvSpPr>
          <p:cNvPr id="29" name="TextBox 28">
            <a:extLst>
              <a:ext uri="{FF2B5EF4-FFF2-40B4-BE49-F238E27FC236}">
                <a16:creationId xmlns:a16="http://schemas.microsoft.com/office/drawing/2014/main" id="{927233EA-2A70-0762-DA40-F2F272C75198}"/>
              </a:ext>
            </a:extLst>
          </p:cNvPr>
          <p:cNvSpPr txBox="1"/>
          <p:nvPr/>
        </p:nvSpPr>
        <p:spPr bwMode="gray">
          <a:xfrm>
            <a:off x="6065685" y="4359880"/>
            <a:ext cx="1026050" cy="584775"/>
          </a:xfrm>
          <a:prstGeom prst="rect">
            <a:avLst/>
          </a:prstGeom>
          <a:noFill/>
        </p:spPr>
        <p:txBody>
          <a:bodyPr wrap="square">
            <a:spAutoFit/>
          </a:bodyPr>
          <a:lstStyle/>
          <a:p>
            <a:pPr marL="0" indent="0">
              <a:buNone/>
            </a:pPr>
            <a:r>
              <a:rPr lang="en-US" sz="800" dirty="0"/>
              <a:t>Mercuria upsized its term loan by $60M for a total of $100M.</a:t>
            </a:r>
          </a:p>
        </p:txBody>
      </p:sp>
      <p:sp>
        <p:nvSpPr>
          <p:cNvPr id="2" name="TextBox 1">
            <a:extLst>
              <a:ext uri="{FF2B5EF4-FFF2-40B4-BE49-F238E27FC236}">
                <a16:creationId xmlns:a16="http://schemas.microsoft.com/office/drawing/2014/main" id="{2D8CF66D-3AB7-44DA-8A7E-858F7BE4AA27}"/>
              </a:ext>
            </a:extLst>
          </p:cNvPr>
          <p:cNvSpPr txBox="1"/>
          <p:nvPr/>
        </p:nvSpPr>
        <p:spPr bwMode="gray">
          <a:xfrm>
            <a:off x="637185" y="2897956"/>
            <a:ext cx="3991247" cy="246221"/>
          </a:xfrm>
          <a:prstGeom prst="rect">
            <a:avLst/>
          </a:prstGeom>
          <a:noFill/>
        </p:spPr>
        <p:txBody>
          <a:bodyPr wrap="square">
            <a:spAutoFit/>
          </a:bodyPr>
          <a:lstStyle/>
          <a:p>
            <a:pPr marL="0" indent="0" fontAlgn="base">
              <a:buNone/>
            </a:pPr>
            <a:r>
              <a:rPr lang="en-US" sz="1000" b="1" dirty="0">
                <a:solidFill>
                  <a:schemeClr val="accent1"/>
                </a:solidFill>
              </a:rPr>
              <a:t>2021 – Series B: </a:t>
            </a:r>
            <a:r>
              <a:rPr lang="en-US" sz="1000" dirty="0"/>
              <a:t>$28M</a:t>
            </a:r>
            <a:r>
              <a:rPr lang="en-US" sz="1000" b="1" dirty="0"/>
              <a:t>, l</a:t>
            </a:r>
            <a:r>
              <a:rPr lang="en-US" sz="1000" dirty="0"/>
              <a:t>ed by Capricorn Investment Group</a:t>
            </a:r>
          </a:p>
        </p:txBody>
      </p:sp>
      <p:sp>
        <p:nvSpPr>
          <p:cNvPr id="3" name="TextBox 2">
            <a:extLst>
              <a:ext uri="{FF2B5EF4-FFF2-40B4-BE49-F238E27FC236}">
                <a16:creationId xmlns:a16="http://schemas.microsoft.com/office/drawing/2014/main" id="{16C87B97-53F2-C4FB-C896-759B6001E3C3}"/>
              </a:ext>
            </a:extLst>
          </p:cNvPr>
          <p:cNvSpPr txBox="1"/>
          <p:nvPr/>
        </p:nvSpPr>
        <p:spPr bwMode="gray">
          <a:xfrm>
            <a:off x="637185" y="3757132"/>
            <a:ext cx="3354628" cy="246221"/>
          </a:xfrm>
          <a:prstGeom prst="rect">
            <a:avLst/>
          </a:prstGeom>
          <a:noFill/>
        </p:spPr>
        <p:txBody>
          <a:bodyPr wrap="square">
            <a:spAutoFit/>
          </a:bodyPr>
          <a:lstStyle/>
          <a:p>
            <a:pPr marL="0" indent="0" fontAlgn="base">
              <a:buNone/>
            </a:pPr>
            <a:r>
              <a:rPr lang="en-US" sz="1000" b="1" dirty="0">
                <a:solidFill>
                  <a:schemeClr val="accent1"/>
                </a:solidFill>
              </a:rPr>
              <a:t>2024 – Series D: </a:t>
            </a:r>
            <a:r>
              <a:rPr lang="en-US" sz="1000" dirty="0"/>
              <a:t>$244M</a:t>
            </a:r>
            <a:r>
              <a:rPr lang="en-US" sz="1000" b="1" dirty="0"/>
              <a:t>, l</a:t>
            </a:r>
            <a:r>
              <a:rPr lang="en-US" sz="1000" dirty="0"/>
              <a:t>ed by Devon Energy</a:t>
            </a:r>
          </a:p>
        </p:txBody>
      </p:sp>
      <p:sp>
        <p:nvSpPr>
          <p:cNvPr id="32" name="TextBox 31">
            <a:extLst>
              <a:ext uri="{FF2B5EF4-FFF2-40B4-BE49-F238E27FC236}">
                <a16:creationId xmlns:a16="http://schemas.microsoft.com/office/drawing/2014/main" id="{D28D86EC-13C8-322E-FC0E-AE00C659CA2A}"/>
              </a:ext>
            </a:extLst>
          </p:cNvPr>
          <p:cNvSpPr txBox="1"/>
          <p:nvPr/>
        </p:nvSpPr>
        <p:spPr bwMode="gray">
          <a:xfrm>
            <a:off x="637185" y="3327544"/>
            <a:ext cx="3466913" cy="246221"/>
          </a:xfrm>
          <a:prstGeom prst="rect">
            <a:avLst/>
          </a:prstGeom>
          <a:noFill/>
        </p:spPr>
        <p:txBody>
          <a:bodyPr wrap="square">
            <a:spAutoFit/>
          </a:bodyPr>
          <a:lstStyle/>
          <a:p>
            <a:pPr marL="0" indent="0" fontAlgn="base">
              <a:buNone/>
            </a:pPr>
            <a:r>
              <a:rPr lang="en-US" sz="1000" b="1" dirty="0">
                <a:solidFill>
                  <a:schemeClr val="accent1"/>
                </a:solidFill>
              </a:rPr>
              <a:t>2023 – Series C: </a:t>
            </a:r>
            <a:r>
              <a:rPr lang="en-US" sz="1000" dirty="0"/>
              <a:t>$138M</a:t>
            </a:r>
            <a:r>
              <a:rPr lang="en-US" sz="1000" b="1" dirty="0"/>
              <a:t>, l</a:t>
            </a:r>
            <a:r>
              <a:rPr lang="en-US" sz="1000" dirty="0"/>
              <a:t>ed by DCVC</a:t>
            </a:r>
          </a:p>
        </p:txBody>
      </p:sp>
      <p:sp>
        <p:nvSpPr>
          <p:cNvPr id="33" name="TextBox 32">
            <a:extLst>
              <a:ext uri="{FF2B5EF4-FFF2-40B4-BE49-F238E27FC236}">
                <a16:creationId xmlns:a16="http://schemas.microsoft.com/office/drawing/2014/main" id="{14B27EAF-593E-305A-1E26-F18DAAC9904C}"/>
              </a:ext>
            </a:extLst>
          </p:cNvPr>
          <p:cNvSpPr txBox="1"/>
          <p:nvPr/>
        </p:nvSpPr>
        <p:spPr bwMode="gray">
          <a:xfrm>
            <a:off x="637185" y="2468368"/>
            <a:ext cx="3878962" cy="246221"/>
          </a:xfrm>
          <a:prstGeom prst="rect">
            <a:avLst/>
          </a:prstGeom>
          <a:noFill/>
        </p:spPr>
        <p:txBody>
          <a:bodyPr wrap="square">
            <a:spAutoFit/>
          </a:bodyPr>
          <a:lstStyle/>
          <a:p>
            <a:pPr marL="0" indent="0" fontAlgn="base">
              <a:buNone/>
            </a:pPr>
            <a:r>
              <a:rPr lang="en-US" sz="1000" b="1" dirty="0">
                <a:solidFill>
                  <a:schemeClr val="accent1"/>
                </a:solidFill>
              </a:rPr>
              <a:t>2019 – Series A: </a:t>
            </a:r>
            <a:r>
              <a:rPr lang="en-US" sz="1000" dirty="0"/>
              <a:t>$11M</a:t>
            </a:r>
            <a:r>
              <a:rPr lang="en-US" sz="1000" b="1" dirty="0"/>
              <a:t>, l</a:t>
            </a:r>
            <a:r>
              <a:rPr lang="en-US" sz="1000" dirty="0"/>
              <a:t>ed by Breakthrough Energy</a:t>
            </a:r>
          </a:p>
        </p:txBody>
      </p:sp>
      <p:sp>
        <p:nvSpPr>
          <p:cNvPr id="34" name="Oval 33">
            <a:extLst>
              <a:ext uri="{FF2B5EF4-FFF2-40B4-BE49-F238E27FC236}">
                <a16:creationId xmlns:a16="http://schemas.microsoft.com/office/drawing/2014/main" id="{E09508FC-647E-D65E-A508-963643F7AA8B}"/>
              </a:ext>
            </a:extLst>
          </p:cNvPr>
          <p:cNvSpPr/>
          <p:nvPr/>
        </p:nvSpPr>
        <p:spPr bwMode="gray">
          <a:xfrm>
            <a:off x="446694" y="2522898"/>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5" name="Oval 34">
            <a:extLst>
              <a:ext uri="{FF2B5EF4-FFF2-40B4-BE49-F238E27FC236}">
                <a16:creationId xmlns:a16="http://schemas.microsoft.com/office/drawing/2014/main" id="{E67606CF-5E5D-E871-976F-0ACEF676ECE1}"/>
              </a:ext>
            </a:extLst>
          </p:cNvPr>
          <p:cNvSpPr/>
          <p:nvPr/>
        </p:nvSpPr>
        <p:spPr bwMode="gray">
          <a:xfrm>
            <a:off x="446694" y="2952486"/>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6" name="Oval 35">
            <a:extLst>
              <a:ext uri="{FF2B5EF4-FFF2-40B4-BE49-F238E27FC236}">
                <a16:creationId xmlns:a16="http://schemas.microsoft.com/office/drawing/2014/main" id="{8E986BB8-0E7C-4AED-5771-F86EB5EC2DBB}"/>
              </a:ext>
            </a:extLst>
          </p:cNvPr>
          <p:cNvSpPr/>
          <p:nvPr/>
        </p:nvSpPr>
        <p:spPr bwMode="gray">
          <a:xfrm>
            <a:off x="446694" y="3382074"/>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7" name="Oval 36">
            <a:extLst>
              <a:ext uri="{FF2B5EF4-FFF2-40B4-BE49-F238E27FC236}">
                <a16:creationId xmlns:a16="http://schemas.microsoft.com/office/drawing/2014/main" id="{0F3D0134-420B-7C8A-1DCA-D59379FFAAAC}"/>
              </a:ext>
            </a:extLst>
          </p:cNvPr>
          <p:cNvSpPr/>
          <p:nvPr/>
        </p:nvSpPr>
        <p:spPr bwMode="gray">
          <a:xfrm>
            <a:off x="446694" y="3811662"/>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8" name="Oval 37">
            <a:extLst>
              <a:ext uri="{FF2B5EF4-FFF2-40B4-BE49-F238E27FC236}">
                <a16:creationId xmlns:a16="http://schemas.microsoft.com/office/drawing/2014/main" id="{22AF1A72-BEEE-7BE2-7018-D20971EC7FC9}"/>
              </a:ext>
            </a:extLst>
          </p:cNvPr>
          <p:cNvSpPr/>
          <p:nvPr/>
        </p:nvSpPr>
        <p:spPr bwMode="gray">
          <a:xfrm>
            <a:off x="446694" y="4241250"/>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9" name="TextBox 38">
            <a:extLst>
              <a:ext uri="{FF2B5EF4-FFF2-40B4-BE49-F238E27FC236}">
                <a16:creationId xmlns:a16="http://schemas.microsoft.com/office/drawing/2014/main" id="{16B4AED2-A000-4994-B418-6BE3EF8921F1}"/>
              </a:ext>
            </a:extLst>
          </p:cNvPr>
          <p:cNvSpPr txBox="1"/>
          <p:nvPr/>
        </p:nvSpPr>
        <p:spPr bwMode="gray">
          <a:xfrm>
            <a:off x="637185" y="4186720"/>
            <a:ext cx="4195656" cy="246221"/>
          </a:xfrm>
          <a:prstGeom prst="rect">
            <a:avLst/>
          </a:prstGeom>
          <a:noFill/>
        </p:spPr>
        <p:txBody>
          <a:bodyPr wrap="square">
            <a:spAutoFit/>
          </a:bodyPr>
          <a:lstStyle/>
          <a:p>
            <a:pPr marL="0" indent="0" fontAlgn="base">
              <a:buNone/>
            </a:pPr>
            <a:r>
              <a:rPr lang="en-US" sz="1000" b="1" dirty="0">
                <a:solidFill>
                  <a:schemeClr val="accent1"/>
                </a:solidFill>
              </a:rPr>
              <a:t>2024 – Debt: </a:t>
            </a:r>
            <a:r>
              <a:rPr lang="en-US" sz="1000" dirty="0"/>
              <a:t>$220M,</a:t>
            </a:r>
            <a:r>
              <a:rPr lang="en-US" sz="1000" b="1" dirty="0"/>
              <a:t> t</a:t>
            </a:r>
            <a:r>
              <a:rPr lang="en-US" sz="1000" dirty="0"/>
              <a:t>erm loan, letters of credit, project bridge loan</a:t>
            </a:r>
          </a:p>
        </p:txBody>
      </p:sp>
      <p:sp>
        <p:nvSpPr>
          <p:cNvPr id="40" name="Oval 39">
            <a:extLst>
              <a:ext uri="{FF2B5EF4-FFF2-40B4-BE49-F238E27FC236}">
                <a16:creationId xmlns:a16="http://schemas.microsoft.com/office/drawing/2014/main" id="{39B7936E-01D2-72D6-79C2-99F6741058A5}"/>
              </a:ext>
            </a:extLst>
          </p:cNvPr>
          <p:cNvSpPr/>
          <p:nvPr/>
        </p:nvSpPr>
        <p:spPr bwMode="gray">
          <a:xfrm>
            <a:off x="446694" y="4670838"/>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1" name="TextBox 40">
            <a:extLst>
              <a:ext uri="{FF2B5EF4-FFF2-40B4-BE49-F238E27FC236}">
                <a16:creationId xmlns:a16="http://schemas.microsoft.com/office/drawing/2014/main" id="{FBF0713B-DF6E-4C99-0710-0862514F85D0}"/>
              </a:ext>
            </a:extLst>
          </p:cNvPr>
          <p:cNvSpPr txBox="1"/>
          <p:nvPr/>
        </p:nvSpPr>
        <p:spPr bwMode="gray">
          <a:xfrm>
            <a:off x="637185" y="4616308"/>
            <a:ext cx="3734650" cy="246221"/>
          </a:xfrm>
          <a:prstGeom prst="rect">
            <a:avLst/>
          </a:prstGeom>
          <a:noFill/>
        </p:spPr>
        <p:txBody>
          <a:bodyPr wrap="square">
            <a:spAutoFit/>
          </a:bodyPr>
          <a:lstStyle/>
          <a:p>
            <a:pPr marL="0" indent="0" fontAlgn="base">
              <a:buNone/>
            </a:pPr>
            <a:r>
              <a:rPr lang="en-US" sz="1000" b="1" dirty="0">
                <a:solidFill>
                  <a:schemeClr val="accent1"/>
                </a:solidFill>
              </a:rPr>
              <a:t>2024 – Series D extension: </a:t>
            </a:r>
            <a:r>
              <a:rPr lang="en-US" sz="1000" dirty="0"/>
              <a:t>$135M, corporate equity</a:t>
            </a:r>
          </a:p>
        </p:txBody>
      </p:sp>
      <p:sp>
        <p:nvSpPr>
          <p:cNvPr id="42" name="Oval 41">
            <a:extLst>
              <a:ext uri="{FF2B5EF4-FFF2-40B4-BE49-F238E27FC236}">
                <a16:creationId xmlns:a16="http://schemas.microsoft.com/office/drawing/2014/main" id="{9E465223-1076-32AF-0737-97A3D9DE14E3}"/>
              </a:ext>
            </a:extLst>
          </p:cNvPr>
          <p:cNvSpPr/>
          <p:nvPr/>
        </p:nvSpPr>
        <p:spPr bwMode="gray">
          <a:xfrm>
            <a:off x="446694" y="5100426"/>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3" name="TextBox 42">
            <a:extLst>
              <a:ext uri="{FF2B5EF4-FFF2-40B4-BE49-F238E27FC236}">
                <a16:creationId xmlns:a16="http://schemas.microsoft.com/office/drawing/2014/main" id="{9C60C6AC-DA51-AB68-3DC3-B54D29ADECB8}"/>
              </a:ext>
            </a:extLst>
          </p:cNvPr>
          <p:cNvSpPr txBox="1"/>
          <p:nvPr/>
        </p:nvSpPr>
        <p:spPr bwMode="gray">
          <a:xfrm>
            <a:off x="637185" y="5045896"/>
            <a:ext cx="4848311" cy="246221"/>
          </a:xfrm>
          <a:prstGeom prst="rect">
            <a:avLst/>
          </a:prstGeom>
          <a:noFill/>
        </p:spPr>
        <p:txBody>
          <a:bodyPr wrap="square">
            <a:spAutoFit/>
          </a:bodyPr>
          <a:lstStyle/>
          <a:p>
            <a:pPr marL="0" indent="0" fontAlgn="base">
              <a:buNone/>
            </a:pPr>
            <a:r>
              <a:rPr lang="en-US" sz="1000" b="1" dirty="0">
                <a:solidFill>
                  <a:schemeClr val="accent1"/>
                </a:solidFill>
              </a:rPr>
              <a:t>2025 – Project finance: </a:t>
            </a:r>
            <a:r>
              <a:rPr lang="en-US" sz="1000" dirty="0"/>
              <a:t>$206M, preferred equity, bridge and term loan</a:t>
            </a:r>
          </a:p>
        </p:txBody>
      </p:sp>
      <p:sp>
        <p:nvSpPr>
          <p:cNvPr id="44" name="TextBox 43">
            <a:extLst>
              <a:ext uri="{FF2B5EF4-FFF2-40B4-BE49-F238E27FC236}">
                <a16:creationId xmlns:a16="http://schemas.microsoft.com/office/drawing/2014/main" id="{F5EE9DA2-722A-88F0-132E-56C09C09B797}"/>
              </a:ext>
            </a:extLst>
          </p:cNvPr>
          <p:cNvSpPr txBox="1"/>
          <p:nvPr/>
        </p:nvSpPr>
        <p:spPr bwMode="gray">
          <a:xfrm>
            <a:off x="637185" y="5475486"/>
            <a:ext cx="4848311" cy="246221"/>
          </a:xfrm>
          <a:prstGeom prst="rect">
            <a:avLst/>
          </a:prstGeom>
          <a:noFill/>
        </p:spPr>
        <p:txBody>
          <a:bodyPr wrap="square">
            <a:spAutoFit/>
          </a:bodyPr>
          <a:lstStyle/>
          <a:p>
            <a:pPr marL="0" indent="0" fontAlgn="base">
              <a:buNone/>
            </a:pPr>
            <a:r>
              <a:rPr lang="en-US" sz="1000" b="1" dirty="0">
                <a:solidFill>
                  <a:schemeClr val="accent1"/>
                </a:solidFill>
              </a:rPr>
              <a:t>2025 – Series E: </a:t>
            </a:r>
            <a:r>
              <a:rPr lang="en-US" sz="1000" dirty="0"/>
              <a:t>$460M, led by B Capital Group</a:t>
            </a:r>
          </a:p>
        </p:txBody>
      </p:sp>
      <p:sp>
        <p:nvSpPr>
          <p:cNvPr id="45" name="Oval 44">
            <a:extLst>
              <a:ext uri="{FF2B5EF4-FFF2-40B4-BE49-F238E27FC236}">
                <a16:creationId xmlns:a16="http://schemas.microsoft.com/office/drawing/2014/main" id="{4F803BE1-A20B-528D-246F-57BCABEEF687}"/>
              </a:ext>
            </a:extLst>
          </p:cNvPr>
          <p:cNvSpPr/>
          <p:nvPr/>
        </p:nvSpPr>
        <p:spPr bwMode="gray">
          <a:xfrm>
            <a:off x="446694" y="5530016"/>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6" name="Oval 45">
            <a:extLst>
              <a:ext uri="{FF2B5EF4-FFF2-40B4-BE49-F238E27FC236}">
                <a16:creationId xmlns:a16="http://schemas.microsoft.com/office/drawing/2014/main" id="{3217C960-9A4C-8D92-D6D1-AF6A5F087169}"/>
              </a:ext>
            </a:extLst>
          </p:cNvPr>
          <p:cNvSpPr/>
          <p:nvPr/>
        </p:nvSpPr>
        <p:spPr bwMode="gray">
          <a:xfrm>
            <a:off x="446694" y="2093310"/>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7" name="TextBox 46">
            <a:extLst>
              <a:ext uri="{FF2B5EF4-FFF2-40B4-BE49-F238E27FC236}">
                <a16:creationId xmlns:a16="http://schemas.microsoft.com/office/drawing/2014/main" id="{E9B3B82B-3F2C-0CD7-4793-4584DC25466A}"/>
              </a:ext>
            </a:extLst>
          </p:cNvPr>
          <p:cNvSpPr txBox="1"/>
          <p:nvPr/>
        </p:nvSpPr>
        <p:spPr bwMode="gray">
          <a:xfrm>
            <a:off x="637185" y="5910543"/>
            <a:ext cx="4848311" cy="246221"/>
          </a:xfrm>
          <a:prstGeom prst="rect">
            <a:avLst/>
          </a:prstGeom>
          <a:noFill/>
        </p:spPr>
        <p:txBody>
          <a:bodyPr wrap="square">
            <a:spAutoFit/>
          </a:bodyPr>
          <a:lstStyle/>
          <a:p>
            <a:pPr marL="0" indent="0" fontAlgn="base">
              <a:buNone/>
            </a:pPr>
            <a:r>
              <a:rPr lang="en-US" sz="1000" b="1" dirty="0">
                <a:solidFill>
                  <a:schemeClr val="accent1"/>
                </a:solidFill>
              </a:rPr>
              <a:t>January 2026 – Announced IPO</a:t>
            </a:r>
            <a:endParaRPr lang="en-US" sz="1000" dirty="0"/>
          </a:p>
        </p:txBody>
      </p:sp>
      <p:sp>
        <p:nvSpPr>
          <p:cNvPr id="48" name="Oval 47">
            <a:extLst>
              <a:ext uri="{FF2B5EF4-FFF2-40B4-BE49-F238E27FC236}">
                <a16:creationId xmlns:a16="http://schemas.microsoft.com/office/drawing/2014/main" id="{71352284-3934-4030-D888-F9DAA155F104}"/>
              </a:ext>
            </a:extLst>
          </p:cNvPr>
          <p:cNvSpPr/>
          <p:nvPr/>
        </p:nvSpPr>
        <p:spPr bwMode="gray">
          <a:xfrm>
            <a:off x="446694" y="5965074"/>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9" name="TextBox 48">
            <a:extLst>
              <a:ext uri="{FF2B5EF4-FFF2-40B4-BE49-F238E27FC236}">
                <a16:creationId xmlns:a16="http://schemas.microsoft.com/office/drawing/2014/main" id="{D8FC65D0-BEB7-52E9-1765-7ACD71C6E39B}"/>
              </a:ext>
            </a:extLst>
          </p:cNvPr>
          <p:cNvSpPr txBox="1"/>
          <p:nvPr/>
        </p:nvSpPr>
        <p:spPr bwMode="gray">
          <a:xfrm>
            <a:off x="637185" y="2069953"/>
            <a:ext cx="4841593" cy="246221"/>
          </a:xfrm>
          <a:prstGeom prst="rect">
            <a:avLst/>
          </a:prstGeom>
          <a:noFill/>
        </p:spPr>
        <p:txBody>
          <a:bodyPr wrap="square">
            <a:spAutoFit/>
          </a:bodyPr>
          <a:lstStyle/>
          <a:p>
            <a:pPr marL="0" indent="0" fontAlgn="base">
              <a:buNone/>
            </a:pPr>
            <a:r>
              <a:rPr lang="en-US" sz="1000" b="1" dirty="0">
                <a:solidFill>
                  <a:schemeClr val="accent1"/>
                </a:solidFill>
              </a:rPr>
              <a:t>2017 – Grant: </a:t>
            </a:r>
            <a:r>
              <a:rPr lang="en-US" sz="1000" dirty="0"/>
              <a:t>Undisclosed</a:t>
            </a:r>
            <a:r>
              <a:rPr lang="en-US" sz="1000" b="1" dirty="0"/>
              <a:t>, </a:t>
            </a:r>
            <a:r>
              <a:rPr lang="en-US" sz="1000" dirty="0"/>
              <a:t>from Stanford TomKat program </a:t>
            </a:r>
          </a:p>
        </p:txBody>
      </p:sp>
      <p:cxnSp>
        <p:nvCxnSpPr>
          <p:cNvPr id="50" name="Straight Connector 49">
            <a:extLst>
              <a:ext uri="{FF2B5EF4-FFF2-40B4-BE49-F238E27FC236}">
                <a16:creationId xmlns:a16="http://schemas.microsoft.com/office/drawing/2014/main" id="{54BE2028-CF9A-8E7C-93F2-18C43DA28BE3}"/>
              </a:ext>
            </a:extLst>
          </p:cNvPr>
          <p:cNvCxnSpPr>
            <a:cxnSpLocks/>
          </p:cNvCxnSpPr>
          <p:nvPr/>
        </p:nvCxnSpPr>
        <p:spPr bwMode="gray">
          <a:xfrm>
            <a:off x="515274" y="2071809"/>
            <a:ext cx="0" cy="402336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71743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3986AD-0133-46C3-A3EA-10CE4D57C48B}"/>
              </a:ext>
            </a:extLst>
          </p:cNvPr>
          <p:cNvGraphicFramePr>
            <a:graphicFrameLocks/>
          </p:cNvGraphicFramePr>
          <p:nvPr>
            <p:custDataLst>
              <p:tags r:id="rId1"/>
            </p:custDataLst>
            <p:extLst>
              <p:ext uri="{D42A27DB-BD31-4B8C-83A1-F6EECF244321}">
                <p14:modId xmlns:p14="http://schemas.microsoft.com/office/powerpoint/2010/main" val="41019932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4533AF9-535F-0AE1-A757-383D305620DA}"/>
              </a:ext>
            </a:extLst>
          </p:cNvPr>
          <p:cNvSpPr>
            <a:spLocks noGrp="1"/>
          </p:cNvSpPr>
          <p:nvPr>
            <p:ph type="body" sz="quarter" idx="14"/>
          </p:nvPr>
        </p:nvSpPr>
        <p:spPr/>
        <p:txBody>
          <a:bodyPr/>
          <a:lstStyle/>
          <a:p>
            <a:pPr marL="0" indent="0">
              <a:spcBef>
                <a:spcPts val="600"/>
              </a:spcBef>
              <a:buNone/>
            </a:pPr>
            <a:r>
              <a:rPr lang="en-US" sz="1050" b="1" dirty="0"/>
              <a:t>Observations</a:t>
            </a:r>
          </a:p>
          <a:p>
            <a:pPr marL="0" indent="0">
              <a:spcBef>
                <a:spcPts val="600"/>
              </a:spcBef>
              <a:buNone/>
            </a:pPr>
            <a:endParaRPr lang="en-US" sz="1050" b="1" dirty="0"/>
          </a:p>
          <a:p>
            <a:r>
              <a:rPr lang="en-US" sz="1000" b="1" dirty="0"/>
              <a:t>First privately financed </a:t>
            </a:r>
            <a:r>
              <a:rPr lang="en-US" sz="1000" dirty="0"/>
              <a:t>geothermal project in Africa from field to operations and maintenance</a:t>
            </a:r>
          </a:p>
          <a:p>
            <a:pPr marL="0" indent="0">
              <a:buNone/>
            </a:pPr>
            <a:r>
              <a:rPr lang="en-US" sz="1000" b="1" dirty="0"/>
              <a:t>Project returns:</a:t>
            </a:r>
          </a:p>
          <a:p>
            <a:pPr lvl="1">
              <a:buFont typeface="Arial" panose="020B0604020202020204" pitchFamily="34" charset="0"/>
              <a:buChar char="•"/>
            </a:pPr>
            <a:r>
              <a:rPr lang="en-US" sz="1000" b="1" dirty="0"/>
              <a:t>Equity IRR: 16%</a:t>
            </a:r>
          </a:p>
          <a:p>
            <a:pPr lvl="1">
              <a:buFont typeface="Arial" panose="020B0604020202020204" pitchFamily="34" charset="0"/>
              <a:buChar char="•"/>
            </a:pPr>
            <a:r>
              <a:rPr lang="en-US" sz="1000" dirty="0"/>
              <a:t>IRR without DFI support:10%</a:t>
            </a:r>
          </a:p>
          <a:p>
            <a:pPr marL="0" indent="0">
              <a:buNone/>
            </a:pPr>
            <a:r>
              <a:rPr lang="en-US" sz="1000" b="1" dirty="0"/>
              <a:t>Factors that led to a 16% IRR</a:t>
            </a:r>
            <a:r>
              <a:rPr lang="en-US" sz="1000" dirty="0"/>
              <a:t>:</a:t>
            </a:r>
          </a:p>
          <a:p>
            <a:pPr lvl="1">
              <a:buFont typeface="Arial" panose="020B0604020202020204" pitchFamily="34" charset="0"/>
              <a:buChar char="•"/>
            </a:pPr>
            <a:r>
              <a:rPr lang="en-US" sz="1000" dirty="0"/>
              <a:t>Low-cost and long-term debt from DFI </a:t>
            </a:r>
          </a:p>
          <a:p>
            <a:pPr lvl="1">
              <a:buFont typeface="Arial" panose="020B0604020202020204" pitchFamily="34" charset="0"/>
              <a:buChar char="•"/>
            </a:pPr>
            <a:r>
              <a:rPr lang="en-US" sz="1000" dirty="0"/>
              <a:t>Donation of wells from </a:t>
            </a:r>
            <a:r>
              <a:rPr lang="en-US" sz="1000" dirty="0" err="1"/>
              <a:t>KenGen</a:t>
            </a:r>
            <a:r>
              <a:rPr lang="en-US" sz="1000" dirty="0"/>
              <a:t>, Kenyan public electric company,  saved Ormat $24M, </a:t>
            </a:r>
            <a:r>
              <a:rPr lang="en-US" sz="1000" dirty="0">
                <a:sym typeface="Wingdings" pitchFamily="2" charset="2"/>
              </a:rPr>
              <a:t>leading to Ormat’s equity IRR increasing from 13% to 16%.</a:t>
            </a:r>
          </a:p>
          <a:p>
            <a:pPr lvl="1">
              <a:buFont typeface="Arial" panose="020B0604020202020204" pitchFamily="34" charset="0"/>
              <a:buChar char="•"/>
            </a:pPr>
            <a:r>
              <a:rPr lang="en-US" sz="1000" dirty="0">
                <a:sym typeface="Wingdings" pitchFamily="2" charset="2"/>
              </a:rPr>
              <a:t>Refinancing of Ormat equity supported IRR, but delays prevented the project from achieving higher returns.</a:t>
            </a:r>
            <a:endParaRPr lang="en-US" sz="1000" b="1" dirty="0">
              <a:hlinkClick r:id="rId5">
                <a:extLst>
                  <a:ext uri="{A12FA001-AC4F-418D-AE19-62706E023703}">
                    <ahyp:hlinkClr xmlns:ahyp="http://schemas.microsoft.com/office/drawing/2018/hyperlinkcolor" val="tx"/>
                  </a:ext>
                </a:extLst>
              </a:hlinkClick>
            </a:endParaRPr>
          </a:p>
          <a:p>
            <a:pPr marL="0" indent="0">
              <a:buNone/>
            </a:pPr>
            <a:r>
              <a:rPr lang="en-US" sz="1000" b="1" dirty="0"/>
              <a:t>Project outcomes:</a:t>
            </a:r>
          </a:p>
          <a:p>
            <a:pPr lvl="1">
              <a:buFont typeface="Arial" panose="020B0604020202020204" pitchFamily="34" charset="0"/>
              <a:buChar char="•"/>
            </a:pPr>
            <a:r>
              <a:rPr lang="en-US" sz="1000" dirty="0"/>
              <a:t>Estimated 13% lower LCOE and 31% decrease in costs for each geothermal plant</a:t>
            </a:r>
          </a:p>
          <a:p>
            <a:pPr lvl="1">
              <a:buFont typeface="Arial" panose="020B0604020202020204" pitchFamily="34" charset="0"/>
              <a:buChar char="•"/>
            </a:pPr>
            <a:r>
              <a:rPr lang="en-US" sz="1000" dirty="0"/>
              <a:t>Reduced Kenya’s emissions by an estimated 2 to 4%</a:t>
            </a:r>
          </a:p>
          <a:p>
            <a:endParaRPr lang="en-US" sz="1050" dirty="0"/>
          </a:p>
        </p:txBody>
      </p:sp>
      <p:sp>
        <p:nvSpPr>
          <p:cNvPr id="4" name="Title 3">
            <a:extLst>
              <a:ext uri="{FF2B5EF4-FFF2-40B4-BE49-F238E27FC236}">
                <a16:creationId xmlns:a16="http://schemas.microsoft.com/office/drawing/2014/main" id="{2FED5AF1-3065-A06F-96C0-0A4B18B4DC49}"/>
              </a:ext>
            </a:extLst>
          </p:cNvPr>
          <p:cNvSpPr>
            <a:spLocks noGrp="1"/>
          </p:cNvSpPr>
          <p:nvPr>
            <p:ph type="title"/>
          </p:nvPr>
        </p:nvSpPr>
        <p:spPr/>
        <p:txBody>
          <a:bodyPr vert="horz" rIns="91440"/>
          <a:lstStyle/>
          <a:p>
            <a:r>
              <a:rPr lang="en-US" dirty="0"/>
              <a:t>Private and public sector financing was essential for Kenya’s Olkaria III geothermal project, leading to a 16% equity IRR</a:t>
            </a:r>
          </a:p>
        </p:txBody>
      </p:sp>
      <p:sp>
        <p:nvSpPr>
          <p:cNvPr id="5" name="Footer Placeholder 4">
            <a:extLst>
              <a:ext uri="{FF2B5EF4-FFF2-40B4-BE49-F238E27FC236}">
                <a16:creationId xmlns:a16="http://schemas.microsoft.com/office/drawing/2014/main" id="{F836A99E-5479-3675-7802-6E1CAA1871FB}"/>
              </a:ext>
            </a:extLst>
          </p:cNvPr>
          <p:cNvSpPr>
            <a:spLocks noGrp="1"/>
          </p:cNvSpPr>
          <p:nvPr>
            <p:ph type="ftr" sz="quarter" idx="3"/>
          </p:nvPr>
        </p:nvSpPr>
        <p:spPr/>
        <p:txBody>
          <a:bodyPr/>
          <a:lstStyle/>
          <a:p>
            <a:r>
              <a:rPr lang="en-US" dirty="0">
                <a:solidFill>
                  <a:srgbClr val="000000"/>
                </a:solidFill>
              </a:rPr>
              <a:t>Sources:</a:t>
            </a:r>
            <a:r>
              <a:rPr lang="en-US" dirty="0">
                <a:solidFill>
                  <a:schemeClr val="tx1"/>
                </a:solidFill>
              </a:rPr>
              <a:t> </a:t>
            </a:r>
            <a:r>
              <a:rPr lang="en-US" dirty="0">
                <a:solidFill>
                  <a:schemeClr val="tx1"/>
                </a:solidFill>
                <a:hlinkClick r:id="rId6"/>
              </a:rPr>
              <a:t>Using Public Finance to Attract Investment in Geothermal</a:t>
            </a:r>
            <a:r>
              <a:rPr lang="en-US" dirty="0"/>
              <a:t> </a:t>
            </a:r>
            <a:r>
              <a:rPr lang="en-US" dirty="0">
                <a:solidFill>
                  <a:schemeClr val="tx1"/>
                </a:solidFill>
              </a:rPr>
              <a:t>(Climate Policy Initiative, 2015); </a:t>
            </a:r>
            <a:r>
              <a:rPr lang="en-US" dirty="0">
                <a:hlinkClick r:id="rId5"/>
              </a:rPr>
              <a:t>Kenya: EIB and Agence Française de Développement agree crucial financing</a:t>
            </a:r>
            <a:r>
              <a:rPr lang="en-US" dirty="0"/>
              <a:t> </a:t>
            </a:r>
            <a:r>
              <a:rPr lang="en-US" dirty="0">
                <a:solidFill>
                  <a:schemeClr val="tx1"/>
                </a:solidFill>
                <a:hlinkClick r:id="rId5">
                  <a:extLst>
                    <a:ext uri="{A12FA001-AC4F-418D-AE19-62706E023703}">
                      <ahyp:hlinkClr xmlns:ahyp="http://schemas.microsoft.com/office/drawing/2018/hyperlinkcolor" val="tx"/>
                    </a:ext>
                  </a:extLst>
                </a:hlinkClick>
              </a:rPr>
              <a:t>(</a:t>
            </a:r>
            <a:r>
              <a:rPr lang="en-US" dirty="0">
                <a:solidFill>
                  <a:schemeClr val="tx1"/>
                </a:solidFill>
              </a:rPr>
              <a:t>EIB, 2010).</a:t>
            </a:r>
            <a:br>
              <a:rPr lang="en-US" dirty="0"/>
            </a:br>
            <a:r>
              <a:rPr lang="en-US" dirty="0">
                <a:solidFill>
                  <a:srgbClr val="000000"/>
                </a:solidFill>
              </a:rPr>
              <a:t>Credit: Stephanie Chen,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1">
            <a:extLst>
              <a:ext uri="{FF2B5EF4-FFF2-40B4-BE49-F238E27FC236}">
                <a16:creationId xmlns:a16="http://schemas.microsoft.com/office/drawing/2014/main" id="{EBE491D5-D2B8-1C73-CB1C-8CDE3E6FCE64}"/>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a:solidFill>
                  <a:srgbClr val="000000"/>
                </a:solidFill>
                <a:cs typeface="Arial"/>
              </a:rPr>
              <a:t>Olkaria</a:t>
            </a:r>
            <a:endParaRPr lang="en-US" sz="1600" b="1" dirty="0"/>
          </a:p>
        </p:txBody>
      </p:sp>
      <p:sp>
        <p:nvSpPr>
          <p:cNvPr id="8" name="Rounded Rectangle 7">
            <a:extLst>
              <a:ext uri="{FF2B5EF4-FFF2-40B4-BE49-F238E27FC236}">
                <a16:creationId xmlns:a16="http://schemas.microsoft.com/office/drawing/2014/main" id="{0691B290-9918-0E84-77F1-13BABEA451EB}"/>
              </a:ext>
            </a:extLst>
          </p:cNvPr>
          <p:cNvSpPr/>
          <p:nvPr/>
        </p:nvSpPr>
        <p:spPr bwMode="gray">
          <a:xfrm>
            <a:off x="2444834" y="2820291"/>
            <a:ext cx="841630" cy="527137"/>
          </a:xfrm>
          <a:prstGeom prst="roundRect">
            <a:avLst/>
          </a:prstGeom>
          <a:solidFill>
            <a:srgbClr val="F1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Olkaria III  </a:t>
            </a:r>
            <a:r>
              <a:rPr lang="en-US" sz="900" i="1" dirty="0">
                <a:solidFill>
                  <a:schemeClr val="tx1"/>
                </a:solidFill>
              </a:rPr>
              <a:t>Geothermal Plant</a:t>
            </a:r>
          </a:p>
        </p:txBody>
      </p:sp>
      <p:sp>
        <p:nvSpPr>
          <p:cNvPr id="9" name="Rounded Rectangle 8">
            <a:extLst>
              <a:ext uri="{FF2B5EF4-FFF2-40B4-BE49-F238E27FC236}">
                <a16:creationId xmlns:a16="http://schemas.microsoft.com/office/drawing/2014/main" id="{BB414777-2C90-FA37-861A-F21624865AEC}"/>
              </a:ext>
            </a:extLst>
          </p:cNvPr>
          <p:cNvSpPr/>
          <p:nvPr/>
        </p:nvSpPr>
        <p:spPr bwMode="gray">
          <a:xfrm>
            <a:off x="3041857" y="1863796"/>
            <a:ext cx="873086" cy="542362"/>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OPIC     </a:t>
            </a:r>
            <a:r>
              <a:rPr lang="en-US" sz="900" i="1" dirty="0">
                <a:solidFill>
                  <a:schemeClr val="tx1"/>
                </a:solidFill>
              </a:rPr>
              <a:t>Senior Debt </a:t>
            </a:r>
            <a:r>
              <a:rPr lang="en-US" sz="900" dirty="0">
                <a:solidFill>
                  <a:schemeClr val="tx1"/>
                </a:solidFill>
              </a:rPr>
              <a:t>$310M</a:t>
            </a:r>
          </a:p>
        </p:txBody>
      </p:sp>
      <p:sp>
        <p:nvSpPr>
          <p:cNvPr id="10" name="Rounded Rectangle 9">
            <a:extLst>
              <a:ext uri="{FF2B5EF4-FFF2-40B4-BE49-F238E27FC236}">
                <a16:creationId xmlns:a16="http://schemas.microsoft.com/office/drawing/2014/main" id="{1645BC83-8BE3-EB42-DD56-F77BA1CD4716}"/>
              </a:ext>
            </a:extLst>
          </p:cNvPr>
          <p:cNvSpPr/>
          <p:nvPr/>
        </p:nvSpPr>
        <p:spPr bwMode="gray">
          <a:xfrm>
            <a:off x="4274957" y="1870919"/>
            <a:ext cx="841617" cy="520527"/>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MIGA       </a:t>
            </a:r>
            <a:r>
              <a:rPr lang="en-US" sz="900" i="1" dirty="0">
                <a:solidFill>
                  <a:schemeClr val="tx1"/>
                </a:solidFill>
              </a:rPr>
              <a:t>Risk              </a:t>
            </a:r>
            <a:r>
              <a:rPr lang="en-US" sz="900" dirty="0">
                <a:solidFill>
                  <a:schemeClr val="tx1"/>
                </a:solidFill>
              </a:rPr>
              <a:t>$55M</a:t>
            </a:r>
          </a:p>
        </p:txBody>
      </p:sp>
      <p:sp>
        <p:nvSpPr>
          <p:cNvPr id="11" name="Rounded Rectangle 10">
            <a:extLst>
              <a:ext uri="{FF2B5EF4-FFF2-40B4-BE49-F238E27FC236}">
                <a16:creationId xmlns:a16="http://schemas.microsoft.com/office/drawing/2014/main" id="{8348C27F-884F-0009-F8B1-08C86E5ACF07}"/>
              </a:ext>
            </a:extLst>
          </p:cNvPr>
          <p:cNvSpPr/>
          <p:nvPr/>
        </p:nvSpPr>
        <p:spPr bwMode="gray">
          <a:xfrm>
            <a:off x="434775" y="1843989"/>
            <a:ext cx="873086" cy="576135"/>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DEG + KFW </a:t>
            </a:r>
            <a:r>
              <a:rPr lang="en-US" sz="900" i="1" dirty="0">
                <a:solidFill>
                  <a:schemeClr val="tx1"/>
                </a:solidFill>
              </a:rPr>
              <a:t>Subordinated </a:t>
            </a:r>
            <a:r>
              <a:rPr lang="en-US" sz="900" dirty="0">
                <a:solidFill>
                  <a:schemeClr val="tx1"/>
                </a:solidFill>
              </a:rPr>
              <a:t>$40M</a:t>
            </a:r>
          </a:p>
        </p:txBody>
      </p:sp>
      <p:sp>
        <p:nvSpPr>
          <p:cNvPr id="12" name="Rounded Rectangle 11">
            <a:extLst>
              <a:ext uri="{FF2B5EF4-FFF2-40B4-BE49-F238E27FC236}">
                <a16:creationId xmlns:a16="http://schemas.microsoft.com/office/drawing/2014/main" id="{41A73A5A-756B-FF18-8EC0-5DC937C99316}"/>
              </a:ext>
            </a:extLst>
          </p:cNvPr>
          <p:cNvSpPr/>
          <p:nvPr/>
        </p:nvSpPr>
        <p:spPr bwMode="gray">
          <a:xfrm>
            <a:off x="1611611" y="1869294"/>
            <a:ext cx="948162" cy="538289"/>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Co-lenders </a:t>
            </a:r>
            <a:r>
              <a:rPr lang="en-US" sz="900" i="1" dirty="0">
                <a:solidFill>
                  <a:schemeClr val="tx1"/>
                </a:solidFill>
              </a:rPr>
              <a:t>Subordinated $</a:t>
            </a:r>
            <a:r>
              <a:rPr lang="en-US" sz="900" dirty="0">
                <a:solidFill>
                  <a:schemeClr val="tx1"/>
                </a:solidFill>
              </a:rPr>
              <a:t>65M</a:t>
            </a:r>
          </a:p>
        </p:txBody>
      </p:sp>
      <p:sp>
        <p:nvSpPr>
          <p:cNvPr id="13" name="Rounded Rectangle 12">
            <a:extLst>
              <a:ext uri="{FF2B5EF4-FFF2-40B4-BE49-F238E27FC236}">
                <a16:creationId xmlns:a16="http://schemas.microsoft.com/office/drawing/2014/main" id="{469F9551-2F80-CAF0-B0A4-9217CD510AD6}"/>
              </a:ext>
            </a:extLst>
          </p:cNvPr>
          <p:cNvSpPr/>
          <p:nvPr/>
        </p:nvSpPr>
        <p:spPr bwMode="gray">
          <a:xfrm>
            <a:off x="532259" y="2794090"/>
            <a:ext cx="841629" cy="542899"/>
          </a:xfrm>
          <a:prstGeom prst="roundRect">
            <a:avLst/>
          </a:prstGeom>
          <a:solidFill>
            <a:srgbClr val="E0D6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Ormat   </a:t>
            </a:r>
            <a:r>
              <a:rPr lang="en-US" sz="900" i="1" dirty="0">
                <a:solidFill>
                  <a:schemeClr val="tx1"/>
                </a:solidFill>
              </a:rPr>
              <a:t>Project Developer</a:t>
            </a:r>
          </a:p>
        </p:txBody>
      </p:sp>
      <p:sp>
        <p:nvSpPr>
          <p:cNvPr id="14" name="Rounded Rectangle 13">
            <a:extLst>
              <a:ext uri="{FF2B5EF4-FFF2-40B4-BE49-F238E27FC236}">
                <a16:creationId xmlns:a16="http://schemas.microsoft.com/office/drawing/2014/main" id="{ED6AC2E7-A64C-4FEB-3512-5F026EF816AF}"/>
              </a:ext>
            </a:extLst>
          </p:cNvPr>
          <p:cNvSpPr/>
          <p:nvPr/>
        </p:nvSpPr>
        <p:spPr bwMode="gray">
          <a:xfrm>
            <a:off x="4209447" y="2835417"/>
            <a:ext cx="841626" cy="520527"/>
          </a:xfrm>
          <a:prstGeom prst="roundRect">
            <a:avLst/>
          </a:prstGeom>
          <a:solidFill>
            <a:srgbClr val="D2F1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KPLC        </a:t>
            </a:r>
            <a:r>
              <a:rPr lang="en-US" sz="900" i="1" dirty="0">
                <a:solidFill>
                  <a:schemeClr val="tx1"/>
                </a:solidFill>
              </a:rPr>
              <a:t>Off-taker</a:t>
            </a:r>
          </a:p>
        </p:txBody>
      </p:sp>
      <p:cxnSp>
        <p:nvCxnSpPr>
          <p:cNvPr id="15" name="Straight Arrow Connector 14">
            <a:extLst>
              <a:ext uri="{FF2B5EF4-FFF2-40B4-BE49-F238E27FC236}">
                <a16:creationId xmlns:a16="http://schemas.microsoft.com/office/drawing/2014/main" id="{9183C1BE-B427-FBF6-FC31-C9A7743B6176}"/>
              </a:ext>
            </a:extLst>
          </p:cNvPr>
          <p:cNvCxnSpPr>
            <a:cxnSpLocks/>
          </p:cNvCxnSpPr>
          <p:nvPr/>
        </p:nvCxnSpPr>
        <p:spPr bwMode="gray">
          <a:xfrm>
            <a:off x="3479007" y="3173724"/>
            <a:ext cx="58834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67BE9C7-1867-E1BC-49E8-82DEFD665B03}"/>
              </a:ext>
            </a:extLst>
          </p:cNvPr>
          <p:cNvCxnSpPr>
            <a:cxnSpLocks/>
          </p:cNvCxnSpPr>
          <p:nvPr/>
        </p:nvCxnSpPr>
        <p:spPr bwMode="gray">
          <a:xfrm>
            <a:off x="2904840" y="2576580"/>
            <a:ext cx="0" cy="21086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0F92A91-50F5-E7B6-9F92-104B48CA258B}"/>
              </a:ext>
            </a:extLst>
          </p:cNvPr>
          <p:cNvCxnSpPr>
            <a:cxnSpLocks/>
          </p:cNvCxnSpPr>
          <p:nvPr/>
        </p:nvCxnSpPr>
        <p:spPr bwMode="gray">
          <a:xfrm>
            <a:off x="1503285" y="3173724"/>
            <a:ext cx="58834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le 17">
            <a:extLst>
              <a:ext uri="{FF2B5EF4-FFF2-40B4-BE49-F238E27FC236}">
                <a16:creationId xmlns:a16="http://schemas.microsoft.com/office/drawing/2014/main" id="{8AF07AE5-BC19-2ACE-BEF0-19EEE2A778C4}"/>
              </a:ext>
            </a:extLst>
          </p:cNvPr>
          <p:cNvGraphicFramePr>
            <a:graphicFrameLocks noGrp="1"/>
          </p:cNvGraphicFramePr>
          <p:nvPr>
            <p:extLst>
              <p:ext uri="{D42A27DB-BD31-4B8C-83A1-F6EECF244321}">
                <p14:modId xmlns:p14="http://schemas.microsoft.com/office/powerpoint/2010/main" val="1912468822"/>
              </p:ext>
            </p:extLst>
          </p:nvPr>
        </p:nvGraphicFramePr>
        <p:xfrm>
          <a:off x="469673" y="3510573"/>
          <a:ext cx="4841643" cy="2826360"/>
        </p:xfrm>
        <a:graphic>
          <a:graphicData uri="http://schemas.openxmlformats.org/drawingml/2006/table">
            <a:tbl>
              <a:tblPr firstRow="1" bandRow="1">
                <a:tableStyleId>{2D5ABB26-0587-4C30-8999-92F81FD0307C}</a:tableStyleId>
              </a:tblPr>
              <a:tblGrid>
                <a:gridCol w="1858633">
                  <a:extLst>
                    <a:ext uri="{9D8B030D-6E8A-4147-A177-3AD203B41FA5}">
                      <a16:colId xmlns:a16="http://schemas.microsoft.com/office/drawing/2014/main" val="1209005246"/>
                    </a:ext>
                  </a:extLst>
                </a:gridCol>
                <a:gridCol w="2983010">
                  <a:extLst>
                    <a:ext uri="{9D8B030D-6E8A-4147-A177-3AD203B41FA5}">
                      <a16:colId xmlns:a16="http://schemas.microsoft.com/office/drawing/2014/main" val="858342927"/>
                    </a:ext>
                  </a:extLst>
                </a:gridCol>
              </a:tblGrid>
              <a:tr h="234443">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dirty="0">
                          <a:ln>
                            <a:noFill/>
                          </a:ln>
                          <a:solidFill>
                            <a:schemeClr val="tx1"/>
                          </a:solidFill>
                          <a:effectLst/>
                          <a:uLnTx/>
                          <a:uFillTx/>
                          <a:latin typeface="+mn-lt"/>
                          <a:ea typeface="+mn-ea"/>
                          <a:cs typeface="+mn-cs"/>
                        </a:rPr>
                        <a:t>Stakeholder</a:t>
                      </a:r>
                    </a:p>
                  </a:txBody>
                  <a:tcP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Details</a:t>
                      </a:r>
                    </a:p>
                  </a:txBody>
                  <a:tcPr anchor="ctr">
                    <a:noFill/>
                  </a:tcPr>
                </a:tc>
                <a:extLst>
                  <a:ext uri="{0D108BD9-81ED-4DB2-BD59-A6C34878D82A}">
                    <a16:rowId xmlns:a16="http://schemas.microsoft.com/office/drawing/2014/main" val="1912434023"/>
                  </a:ext>
                </a:extLst>
              </a:tr>
              <a:tr h="398819">
                <a:tc>
                  <a:txBody>
                    <a:bodyPr/>
                    <a:lstStyle/>
                    <a:p>
                      <a:pPr marL="0" indent="0" algn="ctr">
                        <a:buNone/>
                      </a:pPr>
                      <a:r>
                        <a:rPr lang="en-US" sz="1000" b="1" dirty="0">
                          <a:solidFill>
                            <a:schemeClr val="tx1"/>
                          </a:solidFill>
                        </a:rPr>
                        <a:t>Olkaria III</a:t>
                      </a:r>
                    </a:p>
                  </a:txBody>
                  <a:tcPr>
                    <a:lnB w="6350" cap="flat" cmpd="sng" algn="ctr">
                      <a:solidFill>
                        <a:schemeClr val="tx1"/>
                      </a:solidFill>
                      <a:prstDash val="solid"/>
                      <a:round/>
                      <a:headEnd type="none" w="med" len="med"/>
                      <a:tailEnd type="none" w="med" len="med"/>
                    </a:lnB>
                    <a:solidFill>
                      <a:srgbClr val="F1D6F0"/>
                    </a:solidFill>
                  </a:tcPr>
                </a:tc>
                <a:tc>
                  <a:txBody>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110 MW geothermal project in Kenya</a:t>
                      </a:r>
                    </a:p>
                  </a:txBody>
                  <a:tcPr>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080875"/>
                  </a:ext>
                </a:extLst>
              </a:tr>
              <a:tr h="351665">
                <a:tc>
                  <a:txBody>
                    <a:bodyPr/>
                    <a:lstStyle/>
                    <a:p>
                      <a:pPr marL="0" indent="0" algn="ctr">
                        <a:spcBef>
                          <a:spcPts val="0"/>
                        </a:spcBef>
                        <a:buNone/>
                      </a:pPr>
                      <a:r>
                        <a:rPr lang="en-US" sz="1000" b="1" dirty="0">
                          <a:solidFill>
                            <a:schemeClr val="tx1"/>
                          </a:solidFill>
                        </a:rPr>
                        <a:t>Orm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0D6F4"/>
                    </a:solidFill>
                  </a:tcPr>
                </a:tc>
                <a:tc>
                  <a:txBody>
                    <a:bodyPr/>
                    <a:lstStyle/>
                    <a:p>
                      <a:pPr marL="0" marR="0" lvl="0" indent="6350" algn="ctr" defTabSz="711200" rtl="0" eaLnBrk="1" fontAlgn="auto" latinLnBrk="0" hangingPunct="1">
                        <a:lnSpc>
                          <a:spcPct val="100000"/>
                        </a:lnSpc>
                        <a:spcBef>
                          <a:spcPts val="1200"/>
                        </a:spcBef>
                        <a:spcAft>
                          <a:spcPts val="0"/>
                        </a:spcAft>
                        <a:buClrTx/>
                        <a:buSzTx/>
                        <a:buFontTx/>
                        <a:buNone/>
                        <a:tabLst/>
                        <a:defRPr/>
                      </a:pPr>
                      <a:r>
                        <a:rPr lang="en-US" sz="900" b="1" dirty="0"/>
                        <a:t>Experienced project developer </a:t>
                      </a:r>
                      <a:r>
                        <a:rPr lang="en-US" sz="900" b="0" dirty="0"/>
                        <a:t>and key equity, was a stakeholder at the beginning of the projec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4235953"/>
                  </a:ext>
                </a:extLst>
              </a:tr>
              <a:tr h="380970">
                <a:tc>
                  <a:txBody>
                    <a:bodyPr/>
                    <a:lstStyle/>
                    <a:p>
                      <a:pPr marL="0" indent="0" algn="ctr">
                        <a:spcBef>
                          <a:spcPts val="0"/>
                        </a:spcBef>
                        <a:buNone/>
                      </a:pPr>
                      <a:r>
                        <a:rPr lang="en-US" sz="1000" b="1" dirty="0">
                          <a:solidFill>
                            <a:schemeClr val="tx1"/>
                          </a:solidFill>
                        </a:rPr>
                        <a:t>Kenya Power and Lighting Company (KPLC)</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2F1F0"/>
                    </a:solidFill>
                  </a:tcPr>
                </a:tc>
                <a:tc>
                  <a:txBody>
                    <a:bodyPr/>
                    <a:lstStyle/>
                    <a:p>
                      <a:pPr marL="0" indent="0" algn="ctr">
                        <a:buNone/>
                      </a:pPr>
                      <a:r>
                        <a:rPr lang="en-US" sz="900" b="1" i="1" dirty="0">
                          <a:solidFill>
                            <a:schemeClr val="tx1"/>
                          </a:solidFill>
                        </a:rPr>
                        <a:t>Signed 20-year PPA </a:t>
                      </a:r>
                      <a:r>
                        <a:rPr lang="en-US" sz="900" b="0" i="1" dirty="0">
                          <a:solidFill>
                            <a:schemeClr val="tx1"/>
                          </a:solidFill>
                        </a:rPr>
                        <a:t>in 1998, at the start of </a:t>
                      </a:r>
                      <a:br>
                        <a:rPr lang="en-US" sz="900" b="0" i="1" dirty="0">
                          <a:solidFill>
                            <a:schemeClr val="tx1"/>
                          </a:solidFill>
                        </a:rPr>
                      </a:br>
                      <a:r>
                        <a:rPr lang="en-US" sz="900" b="0" i="1" dirty="0">
                          <a:solidFill>
                            <a:schemeClr val="tx1"/>
                          </a:solidFill>
                        </a:rPr>
                        <a:t>the projec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9318249"/>
                  </a:ext>
                </a:extLst>
              </a:tr>
              <a:tr h="415861">
                <a:tc>
                  <a:txBody>
                    <a:bodyPr/>
                    <a:lstStyle/>
                    <a:p>
                      <a:pPr marL="0" indent="0" algn="ctr">
                        <a:spcBef>
                          <a:spcPts val="0"/>
                        </a:spcBef>
                        <a:buNone/>
                      </a:pPr>
                      <a:r>
                        <a:rPr lang="en-US" sz="1000" b="1" dirty="0">
                          <a:solidFill>
                            <a:schemeClr val="tx1"/>
                          </a:solidFill>
                        </a:rPr>
                        <a:t>DFI Banks: DEG and KFW, co-len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F0FF"/>
                    </a:solidFill>
                  </a:tcPr>
                </a:tc>
                <a:tc>
                  <a:txBody>
                    <a:bodyPr/>
                    <a:lstStyle/>
                    <a:p>
                      <a:pPr marL="0" indent="0" algn="ctr">
                        <a:buNone/>
                      </a:pPr>
                      <a:r>
                        <a:rPr lang="en-US" sz="900" dirty="0"/>
                        <a:t>DEG and KFW Development Bank refinanced Ormat’s equity and provided </a:t>
                      </a:r>
                      <a:r>
                        <a:rPr lang="en-US" sz="900" b="1" dirty="0"/>
                        <a:t>low-cost, long-term debt</a:t>
                      </a:r>
                      <a:r>
                        <a:rPr lang="en-US" sz="900" b="0" dirty="0"/>
                        <a:t>.</a:t>
                      </a:r>
                      <a:endParaRPr lang="en-US" sz="900" b="0" i="1"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313410"/>
                  </a:ext>
                </a:extLst>
              </a:tr>
              <a:tr h="483539">
                <a:tc>
                  <a:txBody>
                    <a:bodyPr/>
                    <a:lstStyle/>
                    <a:p>
                      <a:pPr marL="0" indent="0" algn="ctr">
                        <a:spcBef>
                          <a:spcPts val="0"/>
                        </a:spcBef>
                        <a:buNone/>
                      </a:pPr>
                      <a:endParaRPr lang="en-US" sz="1000" b="1" dirty="0">
                        <a:solidFill>
                          <a:schemeClr val="tx1"/>
                        </a:solidFill>
                      </a:endParaRPr>
                    </a:p>
                    <a:p>
                      <a:pPr marL="0" indent="0" algn="ctr">
                        <a:spcBef>
                          <a:spcPts val="0"/>
                        </a:spcBef>
                        <a:buNone/>
                      </a:pPr>
                      <a:r>
                        <a:rPr lang="en-US" sz="1000" b="1" dirty="0">
                          <a:solidFill>
                            <a:schemeClr val="tx1"/>
                          </a:solidFill>
                        </a:rPr>
                        <a:t>OPIC</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F0FF"/>
                    </a:solidFill>
                  </a:tcPr>
                </a:tc>
                <a:tc>
                  <a:txBody>
                    <a:bodyPr/>
                    <a:lstStyle/>
                    <a:p>
                      <a:pPr marL="0" indent="0" algn="ctr">
                        <a:buNone/>
                      </a:pPr>
                      <a:r>
                        <a:rPr lang="en-US" sz="900" b="0" dirty="0">
                          <a:solidFill>
                            <a:schemeClr val="tx1"/>
                          </a:solidFill>
                        </a:rPr>
                        <a:t>Provided a </a:t>
                      </a:r>
                      <a:r>
                        <a:rPr lang="en-US" sz="900" b="1" dirty="0">
                          <a:solidFill>
                            <a:schemeClr val="tx1"/>
                          </a:solidFill>
                        </a:rPr>
                        <a:t>19-year senior loan in three tranches</a:t>
                      </a:r>
                      <a:r>
                        <a:rPr lang="en-US" sz="900" b="0" dirty="0">
                          <a:solidFill>
                            <a:schemeClr val="tx1"/>
                          </a:solidFill>
                        </a:rPr>
                        <a:t>. The long-term debt was essential and was OPIC’s first geothermal investmen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45507205"/>
                  </a:ext>
                </a:extLst>
              </a:tr>
              <a:tr h="483539">
                <a:tc>
                  <a:txBody>
                    <a:bodyPr/>
                    <a:lstStyle/>
                    <a:p>
                      <a:pPr marL="0" indent="0" algn="ctr">
                        <a:spcBef>
                          <a:spcPts val="0"/>
                        </a:spcBef>
                        <a:buNone/>
                      </a:pPr>
                      <a:endParaRPr lang="en-US" sz="1000" b="1" dirty="0">
                        <a:solidFill>
                          <a:schemeClr val="tx1"/>
                        </a:solidFill>
                      </a:endParaRPr>
                    </a:p>
                    <a:p>
                      <a:pPr marL="0" indent="0" algn="ctr">
                        <a:spcBef>
                          <a:spcPts val="0"/>
                        </a:spcBef>
                        <a:buNone/>
                      </a:pPr>
                      <a:r>
                        <a:rPr lang="en-US" sz="1000" b="1" dirty="0">
                          <a:solidFill>
                            <a:schemeClr val="tx1"/>
                          </a:solidFill>
                        </a:rPr>
                        <a:t>MIG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F0FF"/>
                    </a:solidFill>
                  </a:tcPr>
                </a:tc>
                <a:tc>
                  <a:txBody>
                    <a:bodyPr/>
                    <a:lstStyle/>
                    <a:p>
                      <a:pPr marL="0" indent="0" algn="ctr">
                        <a:buNone/>
                      </a:pPr>
                      <a:r>
                        <a:rPr lang="en-US" sz="900" b="0" dirty="0">
                          <a:solidFill>
                            <a:schemeClr val="tx1"/>
                          </a:solidFill>
                        </a:rPr>
                        <a:t>Multilateral Investment Guarantee Agency (MIGA) </a:t>
                      </a:r>
                      <a:r>
                        <a:rPr lang="en-US" sz="900" b="1" dirty="0">
                          <a:solidFill>
                            <a:schemeClr val="tx1"/>
                          </a:solidFill>
                        </a:rPr>
                        <a:t>provided political risk insurance </a:t>
                      </a:r>
                      <a:r>
                        <a:rPr lang="en-US" sz="900" b="0" dirty="0">
                          <a:solidFill>
                            <a:schemeClr val="tx1"/>
                          </a:solidFill>
                        </a:rPr>
                        <a:t>for equity stakeholder Ormat (2% premium).</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0010661"/>
                  </a:ext>
                </a:extLst>
              </a:tr>
            </a:tbl>
          </a:graphicData>
        </a:graphic>
      </p:graphicFrame>
      <p:cxnSp>
        <p:nvCxnSpPr>
          <p:cNvPr id="19" name="Straight Connector 18">
            <a:extLst>
              <a:ext uri="{FF2B5EF4-FFF2-40B4-BE49-F238E27FC236}">
                <a16:creationId xmlns:a16="http://schemas.microsoft.com/office/drawing/2014/main" id="{D7123B63-E1FC-DAE5-94FA-CB3EAD1E90EC}"/>
              </a:ext>
            </a:extLst>
          </p:cNvPr>
          <p:cNvCxnSpPr>
            <a:cxnSpLocks/>
          </p:cNvCxnSpPr>
          <p:nvPr/>
        </p:nvCxnSpPr>
        <p:spPr bwMode="gray">
          <a:xfrm>
            <a:off x="828675" y="2566339"/>
            <a:ext cx="3943062" cy="107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8C1BD5-A837-1EB0-7194-930DF1554F16}"/>
              </a:ext>
            </a:extLst>
          </p:cNvPr>
          <p:cNvCxnSpPr>
            <a:cxnSpLocks/>
          </p:cNvCxnSpPr>
          <p:nvPr/>
        </p:nvCxnSpPr>
        <p:spPr bwMode="gray">
          <a:xfrm flipV="1">
            <a:off x="850107" y="2445684"/>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1107A45-FCA9-5670-37F6-D786B786D6BE}"/>
              </a:ext>
            </a:extLst>
          </p:cNvPr>
          <p:cNvCxnSpPr>
            <a:cxnSpLocks/>
          </p:cNvCxnSpPr>
          <p:nvPr/>
        </p:nvCxnSpPr>
        <p:spPr bwMode="gray">
          <a:xfrm flipV="1">
            <a:off x="2091628" y="2418372"/>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78AA29-2237-E1A7-74EA-710F1AEA869E}"/>
              </a:ext>
            </a:extLst>
          </p:cNvPr>
          <p:cNvCxnSpPr>
            <a:cxnSpLocks/>
          </p:cNvCxnSpPr>
          <p:nvPr/>
        </p:nvCxnSpPr>
        <p:spPr bwMode="gray">
          <a:xfrm flipV="1">
            <a:off x="3479007" y="2420284"/>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AEBC2A4-594C-C691-07A4-1D99658F52F5}"/>
              </a:ext>
            </a:extLst>
          </p:cNvPr>
          <p:cNvCxnSpPr>
            <a:cxnSpLocks/>
          </p:cNvCxnSpPr>
          <p:nvPr/>
        </p:nvCxnSpPr>
        <p:spPr bwMode="gray">
          <a:xfrm flipV="1">
            <a:off x="4771737" y="2432745"/>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C33F5F2-4EDC-4D15-1134-2A8B4C79D57D}"/>
              </a:ext>
            </a:extLst>
          </p:cNvPr>
          <p:cNvSpPr txBox="1"/>
          <p:nvPr/>
        </p:nvSpPr>
        <p:spPr bwMode="gray">
          <a:xfrm>
            <a:off x="5958609" y="2670980"/>
            <a:ext cx="3354628" cy="246221"/>
          </a:xfrm>
          <a:prstGeom prst="rect">
            <a:avLst/>
          </a:prstGeom>
          <a:noFill/>
        </p:spPr>
        <p:txBody>
          <a:bodyPr wrap="square">
            <a:spAutoFit/>
          </a:bodyPr>
          <a:lstStyle/>
          <a:p>
            <a:pPr marL="0" indent="0" fontAlgn="base">
              <a:buNone/>
            </a:pPr>
            <a:r>
              <a:rPr lang="en-US" sz="1000" b="1" dirty="0">
                <a:solidFill>
                  <a:schemeClr val="accent1"/>
                </a:solidFill>
              </a:rPr>
              <a:t>1998 – Ormat: </a:t>
            </a:r>
            <a:r>
              <a:rPr lang="en-US" sz="1000" dirty="0"/>
              <a:t>$40M equity financing</a:t>
            </a:r>
          </a:p>
        </p:txBody>
      </p:sp>
      <p:sp>
        <p:nvSpPr>
          <p:cNvPr id="25" name="TextBox 24">
            <a:extLst>
              <a:ext uri="{FF2B5EF4-FFF2-40B4-BE49-F238E27FC236}">
                <a16:creationId xmlns:a16="http://schemas.microsoft.com/office/drawing/2014/main" id="{5E6D6473-C1BB-9F92-37A7-1B185900A930}"/>
              </a:ext>
            </a:extLst>
          </p:cNvPr>
          <p:cNvSpPr txBox="1"/>
          <p:nvPr/>
        </p:nvSpPr>
        <p:spPr bwMode="gray">
          <a:xfrm>
            <a:off x="5958608" y="3676581"/>
            <a:ext cx="3615503" cy="246221"/>
          </a:xfrm>
          <a:prstGeom prst="rect">
            <a:avLst/>
          </a:prstGeom>
          <a:noFill/>
        </p:spPr>
        <p:txBody>
          <a:bodyPr wrap="square">
            <a:spAutoFit/>
          </a:bodyPr>
          <a:lstStyle/>
          <a:p>
            <a:pPr marL="0" indent="0" fontAlgn="base">
              <a:buNone/>
            </a:pPr>
            <a:r>
              <a:rPr lang="en-US" sz="1000" b="1" dirty="0">
                <a:solidFill>
                  <a:schemeClr val="accent1"/>
                </a:solidFill>
              </a:rPr>
              <a:t>2009 – DEG &amp; KFW: </a:t>
            </a:r>
            <a:r>
              <a:rPr lang="en-US" sz="1000" dirty="0"/>
              <a:t>Refinanced equity for $105M loan</a:t>
            </a:r>
          </a:p>
        </p:txBody>
      </p:sp>
      <p:sp>
        <p:nvSpPr>
          <p:cNvPr id="26" name="TextBox 25">
            <a:extLst>
              <a:ext uri="{FF2B5EF4-FFF2-40B4-BE49-F238E27FC236}">
                <a16:creationId xmlns:a16="http://schemas.microsoft.com/office/drawing/2014/main" id="{9B2F9BB5-A66F-8269-8195-731526E64557}"/>
              </a:ext>
            </a:extLst>
          </p:cNvPr>
          <p:cNvSpPr txBox="1"/>
          <p:nvPr/>
        </p:nvSpPr>
        <p:spPr bwMode="gray">
          <a:xfrm>
            <a:off x="5958609" y="4695170"/>
            <a:ext cx="3354628" cy="246221"/>
          </a:xfrm>
          <a:prstGeom prst="rect">
            <a:avLst/>
          </a:prstGeom>
          <a:noFill/>
        </p:spPr>
        <p:txBody>
          <a:bodyPr wrap="square">
            <a:spAutoFit/>
          </a:bodyPr>
          <a:lstStyle/>
          <a:p>
            <a:pPr marL="0" indent="0" fontAlgn="base">
              <a:buNone/>
            </a:pPr>
            <a:r>
              <a:rPr lang="en-US" sz="1000" b="1" dirty="0">
                <a:solidFill>
                  <a:schemeClr val="accent1"/>
                </a:solidFill>
              </a:rPr>
              <a:t>2013 – Olkaria III: </a:t>
            </a:r>
            <a:r>
              <a:rPr lang="en-US" sz="1000" dirty="0"/>
              <a:t>Full plant commissioned at 84 MW</a:t>
            </a:r>
          </a:p>
        </p:txBody>
      </p:sp>
      <p:sp>
        <p:nvSpPr>
          <p:cNvPr id="27" name="TextBox 26">
            <a:extLst>
              <a:ext uri="{FF2B5EF4-FFF2-40B4-BE49-F238E27FC236}">
                <a16:creationId xmlns:a16="http://schemas.microsoft.com/office/drawing/2014/main" id="{BB5FD661-E82A-1949-C015-5F08DF510C87}"/>
              </a:ext>
            </a:extLst>
          </p:cNvPr>
          <p:cNvSpPr txBox="1"/>
          <p:nvPr/>
        </p:nvSpPr>
        <p:spPr bwMode="gray">
          <a:xfrm>
            <a:off x="5958608" y="4185875"/>
            <a:ext cx="3466913" cy="246221"/>
          </a:xfrm>
          <a:prstGeom prst="rect">
            <a:avLst/>
          </a:prstGeom>
          <a:noFill/>
        </p:spPr>
        <p:txBody>
          <a:bodyPr wrap="square">
            <a:spAutoFit/>
          </a:bodyPr>
          <a:lstStyle/>
          <a:p>
            <a:pPr marL="0" indent="0" fontAlgn="base">
              <a:buNone/>
            </a:pPr>
            <a:r>
              <a:rPr lang="en-US" sz="1000" b="1" dirty="0">
                <a:solidFill>
                  <a:schemeClr val="accent1"/>
                </a:solidFill>
              </a:rPr>
              <a:t>2012 – OPIC: </a:t>
            </a:r>
            <a:r>
              <a:rPr lang="en-US" sz="1000" dirty="0"/>
              <a:t>Senior loan of $310M</a:t>
            </a:r>
          </a:p>
        </p:txBody>
      </p:sp>
      <p:sp>
        <p:nvSpPr>
          <p:cNvPr id="28" name="TextBox 27">
            <a:extLst>
              <a:ext uri="{FF2B5EF4-FFF2-40B4-BE49-F238E27FC236}">
                <a16:creationId xmlns:a16="http://schemas.microsoft.com/office/drawing/2014/main" id="{A593CA45-9C2A-78BA-DFB9-C1143B529307}"/>
              </a:ext>
            </a:extLst>
          </p:cNvPr>
          <p:cNvSpPr txBox="1"/>
          <p:nvPr/>
        </p:nvSpPr>
        <p:spPr bwMode="gray">
          <a:xfrm>
            <a:off x="5958609" y="3180275"/>
            <a:ext cx="3592658" cy="246221"/>
          </a:xfrm>
          <a:prstGeom prst="rect">
            <a:avLst/>
          </a:prstGeom>
          <a:noFill/>
        </p:spPr>
        <p:txBody>
          <a:bodyPr wrap="square">
            <a:spAutoFit/>
          </a:bodyPr>
          <a:lstStyle/>
          <a:p>
            <a:pPr marL="0" indent="0" fontAlgn="base">
              <a:buNone/>
            </a:pPr>
            <a:r>
              <a:rPr lang="en-US" sz="1000" b="1" dirty="0">
                <a:solidFill>
                  <a:schemeClr val="accent1"/>
                </a:solidFill>
              </a:rPr>
              <a:t>2006 – Ormat: </a:t>
            </a:r>
            <a:r>
              <a:rPr lang="en-US" sz="1000" dirty="0"/>
              <a:t>$150M equity financing</a:t>
            </a:r>
          </a:p>
        </p:txBody>
      </p:sp>
      <p:cxnSp>
        <p:nvCxnSpPr>
          <p:cNvPr id="29" name="Straight Connector 28">
            <a:extLst>
              <a:ext uri="{FF2B5EF4-FFF2-40B4-BE49-F238E27FC236}">
                <a16:creationId xmlns:a16="http://schemas.microsoft.com/office/drawing/2014/main" id="{95B410BE-D98D-411A-C322-2DDFEC34590D}"/>
              </a:ext>
            </a:extLst>
          </p:cNvPr>
          <p:cNvCxnSpPr>
            <a:cxnSpLocks/>
          </p:cNvCxnSpPr>
          <p:nvPr/>
        </p:nvCxnSpPr>
        <p:spPr bwMode="gray">
          <a:xfrm>
            <a:off x="5821448" y="2151062"/>
            <a:ext cx="0" cy="3893174"/>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8571D04E-D198-E3B1-77AC-E9A8ABE80077}"/>
              </a:ext>
            </a:extLst>
          </p:cNvPr>
          <p:cNvSpPr/>
          <p:nvPr/>
        </p:nvSpPr>
        <p:spPr bwMode="gray">
          <a:xfrm>
            <a:off x="5766315" y="3224124"/>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1" name="Oval 30">
            <a:extLst>
              <a:ext uri="{FF2B5EF4-FFF2-40B4-BE49-F238E27FC236}">
                <a16:creationId xmlns:a16="http://schemas.microsoft.com/office/drawing/2014/main" id="{D565AEF3-AEE6-A423-8BB4-AC2AC97CE757}"/>
              </a:ext>
            </a:extLst>
          </p:cNvPr>
          <p:cNvSpPr/>
          <p:nvPr/>
        </p:nvSpPr>
        <p:spPr bwMode="gray">
          <a:xfrm>
            <a:off x="5766315" y="2716280"/>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2" name="Oval 31">
            <a:extLst>
              <a:ext uri="{FF2B5EF4-FFF2-40B4-BE49-F238E27FC236}">
                <a16:creationId xmlns:a16="http://schemas.microsoft.com/office/drawing/2014/main" id="{9FAED2F7-5871-8E2B-5608-8AE18E321F0A}"/>
              </a:ext>
            </a:extLst>
          </p:cNvPr>
          <p:cNvSpPr/>
          <p:nvPr/>
        </p:nvSpPr>
        <p:spPr bwMode="gray">
          <a:xfrm>
            <a:off x="5766315" y="3731968"/>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3" name="Oval 32">
            <a:extLst>
              <a:ext uri="{FF2B5EF4-FFF2-40B4-BE49-F238E27FC236}">
                <a16:creationId xmlns:a16="http://schemas.microsoft.com/office/drawing/2014/main" id="{957321D8-5D15-75A9-D183-72E39EAC89B5}"/>
              </a:ext>
            </a:extLst>
          </p:cNvPr>
          <p:cNvSpPr/>
          <p:nvPr/>
        </p:nvSpPr>
        <p:spPr bwMode="gray">
          <a:xfrm>
            <a:off x="5766315" y="4239812"/>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4" name="Oval 33">
            <a:extLst>
              <a:ext uri="{FF2B5EF4-FFF2-40B4-BE49-F238E27FC236}">
                <a16:creationId xmlns:a16="http://schemas.microsoft.com/office/drawing/2014/main" id="{E25508F7-82A5-9C4B-AD7C-E3766FBF6F4A}"/>
              </a:ext>
            </a:extLst>
          </p:cNvPr>
          <p:cNvSpPr/>
          <p:nvPr/>
        </p:nvSpPr>
        <p:spPr bwMode="gray">
          <a:xfrm>
            <a:off x="5766315" y="4747656"/>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5" name="Oval 34">
            <a:extLst>
              <a:ext uri="{FF2B5EF4-FFF2-40B4-BE49-F238E27FC236}">
                <a16:creationId xmlns:a16="http://schemas.microsoft.com/office/drawing/2014/main" id="{1FF44B5A-7886-30AC-F70B-BCFF4DCA5BFE}"/>
              </a:ext>
            </a:extLst>
          </p:cNvPr>
          <p:cNvSpPr/>
          <p:nvPr/>
        </p:nvSpPr>
        <p:spPr bwMode="gray">
          <a:xfrm>
            <a:off x="5766315" y="5255500"/>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6" name="TextBox 35">
            <a:extLst>
              <a:ext uri="{FF2B5EF4-FFF2-40B4-BE49-F238E27FC236}">
                <a16:creationId xmlns:a16="http://schemas.microsoft.com/office/drawing/2014/main" id="{89C22038-E592-4039-1F4D-863165C48A0A}"/>
              </a:ext>
            </a:extLst>
          </p:cNvPr>
          <p:cNvSpPr txBox="1"/>
          <p:nvPr/>
        </p:nvSpPr>
        <p:spPr bwMode="gray">
          <a:xfrm>
            <a:off x="5958609" y="5204465"/>
            <a:ext cx="3759602" cy="246221"/>
          </a:xfrm>
          <a:prstGeom prst="rect">
            <a:avLst/>
          </a:prstGeom>
          <a:noFill/>
        </p:spPr>
        <p:txBody>
          <a:bodyPr wrap="square">
            <a:spAutoFit/>
          </a:bodyPr>
          <a:lstStyle/>
          <a:p>
            <a:pPr marL="0" indent="0" fontAlgn="base">
              <a:buNone/>
            </a:pPr>
            <a:r>
              <a:rPr lang="en-US" sz="1000" b="1" dirty="0">
                <a:solidFill>
                  <a:schemeClr val="accent1"/>
                </a:solidFill>
              </a:rPr>
              <a:t>2014 – Olkaria III: </a:t>
            </a:r>
            <a:r>
              <a:rPr lang="en-US" sz="1000" dirty="0"/>
              <a:t>Full plant commissioned at 110 MW</a:t>
            </a:r>
          </a:p>
        </p:txBody>
      </p:sp>
      <p:sp>
        <p:nvSpPr>
          <p:cNvPr id="37" name="Oval 36">
            <a:extLst>
              <a:ext uri="{FF2B5EF4-FFF2-40B4-BE49-F238E27FC236}">
                <a16:creationId xmlns:a16="http://schemas.microsoft.com/office/drawing/2014/main" id="{2B422924-AFCE-B193-1B68-1DA3EC690E9C}"/>
              </a:ext>
            </a:extLst>
          </p:cNvPr>
          <p:cNvSpPr/>
          <p:nvPr/>
        </p:nvSpPr>
        <p:spPr bwMode="gray">
          <a:xfrm>
            <a:off x="5766315" y="5763345"/>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38" name="TextBox 37">
            <a:extLst>
              <a:ext uri="{FF2B5EF4-FFF2-40B4-BE49-F238E27FC236}">
                <a16:creationId xmlns:a16="http://schemas.microsoft.com/office/drawing/2014/main" id="{BF9EF067-4B5E-9F72-5703-4AB8B5014AF6}"/>
              </a:ext>
            </a:extLst>
          </p:cNvPr>
          <p:cNvSpPr txBox="1"/>
          <p:nvPr/>
        </p:nvSpPr>
        <p:spPr bwMode="gray">
          <a:xfrm>
            <a:off x="5958608" y="5717811"/>
            <a:ext cx="3734650" cy="246221"/>
          </a:xfrm>
          <a:prstGeom prst="rect">
            <a:avLst/>
          </a:prstGeom>
          <a:noFill/>
        </p:spPr>
        <p:txBody>
          <a:bodyPr wrap="square">
            <a:spAutoFit/>
          </a:bodyPr>
          <a:lstStyle/>
          <a:p>
            <a:pPr marL="0" indent="0" fontAlgn="base">
              <a:buNone/>
            </a:pPr>
            <a:r>
              <a:rPr lang="en-US" sz="1000" b="1" dirty="0">
                <a:solidFill>
                  <a:schemeClr val="accent1"/>
                </a:solidFill>
              </a:rPr>
              <a:t>2016 – Olkaria III: </a:t>
            </a:r>
            <a:r>
              <a:rPr lang="en-US" sz="1000" dirty="0"/>
              <a:t>Ormat expansion to 134 MW</a:t>
            </a:r>
          </a:p>
        </p:txBody>
      </p:sp>
      <p:sp>
        <p:nvSpPr>
          <p:cNvPr id="39" name="Oval 38">
            <a:extLst>
              <a:ext uri="{FF2B5EF4-FFF2-40B4-BE49-F238E27FC236}">
                <a16:creationId xmlns:a16="http://schemas.microsoft.com/office/drawing/2014/main" id="{CFBA39EA-F381-02EE-5BEE-AC5D89A30E88}"/>
              </a:ext>
            </a:extLst>
          </p:cNvPr>
          <p:cNvSpPr/>
          <p:nvPr/>
        </p:nvSpPr>
        <p:spPr bwMode="gray">
          <a:xfrm>
            <a:off x="5766315" y="2246380"/>
            <a:ext cx="137160" cy="13716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accent1"/>
              </a:solidFill>
            </a:endParaRPr>
          </a:p>
        </p:txBody>
      </p:sp>
      <p:sp>
        <p:nvSpPr>
          <p:cNvPr id="40" name="TextBox 39">
            <a:extLst>
              <a:ext uri="{FF2B5EF4-FFF2-40B4-BE49-F238E27FC236}">
                <a16:creationId xmlns:a16="http://schemas.microsoft.com/office/drawing/2014/main" id="{4FBF9898-5947-30E9-B48F-FDBB1018D3DF}"/>
              </a:ext>
            </a:extLst>
          </p:cNvPr>
          <p:cNvSpPr txBox="1"/>
          <p:nvPr/>
        </p:nvSpPr>
        <p:spPr bwMode="gray">
          <a:xfrm>
            <a:off x="5940907" y="2176607"/>
            <a:ext cx="3590348" cy="246221"/>
          </a:xfrm>
          <a:prstGeom prst="rect">
            <a:avLst/>
          </a:prstGeom>
          <a:noFill/>
        </p:spPr>
        <p:txBody>
          <a:bodyPr wrap="square">
            <a:spAutoFit/>
          </a:bodyPr>
          <a:lstStyle/>
          <a:p>
            <a:pPr marL="0" indent="0" fontAlgn="base">
              <a:buNone/>
            </a:pPr>
            <a:r>
              <a:rPr lang="en-US" sz="1000" b="1" dirty="0">
                <a:solidFill>
                  <a:schemeClr val="accent1"/>
                </a:solidFill>
              </a:rPr>
              <a:t>1996 – Pre-project: </a:t>
            </a:r>
            <a:r>
              <a:rPr lang="en-US" sz="1000" dirty="0"/>
              <a:t>Tender for geothermal</a:t>
            </a:r>
          </a:p>
        </p:txBody>
      </p:sp>
      <p:sp>
        <p:nvSpPr>
          <p:cNvPr id="41" name="TextBox 40">
            <a:extLst>
              <a:ext uri="{FF2B5EF4-FFF2-40B4-BE49-F238E27FC236}">
                <a16:creationId xmlns:a16="http://schemas.microsoft.com/office/drawing/2014/main" id="{FABCB3A5-63F7-09A5-670D-707EDD4AD7DF}"/>
              </a:ext>
            </a:extLst>
          </p:cNvPr>
          <p:cNvSpPr txBox="1"/>
          <p:nvPr/>
        </p:nvSpPr>
        <p:spPr bwMode="gray">
          <a:xfrm>
            <a:off x="5657930" y="1470454"/>
            <a:ext cx="3873325" cy="338554"/>
          </a:xfrm>
          <a:prstGeom prst="rect">
            <a:avLst/>
          </a:prstGeom>
          <a:noFill/>
        </p:spPr>
        <p:txBody>
          <a:bodyPr wrap="square">
            <a:spAutoFit/>
          </a:bodyPr>
          <a:lstStyle/>
          <a:p>
            <a:pPr marL="0" indent="0">
              <a:buNone/>
            </a:pPr>
            <a:r>
              <a:rPr lang="en-US" b="1" dirty="0"/>
              <a:t>Project Timeline</a:t>
            </a:r>
          </a:p>
        </p:txBody>
      </p:sp>
      <p:sp>
        <p:nvSpPr>
          <p:cNvPr id="42" name="TextBox 41">
            <a:extLst>
              <a:ext uri="{FF2B5EF4-FFF2-40B4-BE49-F238E27FC236}">
                <a16:creationId xmlns:a16="http://schemas.microsoft.com/office/drawing/2014/main" id="{84328041-157B-D103-F76C-2199BDA5DAF6}"/>
              </a:ext>
            </a:extLst>
          </p:cNvPr>
          <p:cNvSpPr txBox="1"/>
          <p:nvPr/>
        </p:nvSpPr>
        <p:spPr bwMode="gray">
          <a:xfrm>
            <a:off x="330200" y="1431255"/>
            <a:ext cx="3873325" cy="338554"/>
          </a:xfrm>
          <a:prstGeom prst="rect">
            <a:avLst/>
          </a:prstGeom>
          <a:noFill/>
        </p:spPr>
        <p:txBody>
          <a:bodyPr wrap="square">
            <a:spAutoFit/>
          </a:bodyPr>
          <a:lstStyle/>
          <a:p>
            <a:pPr marL="0" indent="0">
              <a:buNone/>
            </a:pPr>
            <a:r>
              <a:rPr lang="en-US" b="1" dirty="0"/>
              <a:t>Olkaria III Project Stakeholders</a:t>
            </a:r>
          </a:p>
        </p:txBody>
      </p:sp>
    </p:spTree>
    <p:extLst>
      <p:ext uri="{BB962C8B-B14F-4D97-AF65-F5344CB8AC3E}">
        <p14:creationId xmlns:p14="http://schemas.microsoft.com/office/powerpoint/2010/main" val="3358687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C574A76-3AF1-FCB8-7D14-ED4CB9713FCC}"/>
              </a:ext>
            </a:extLst>
          </p:cNvPr>
          <p:cNvGraphicFramePr>
            <a:graphicFrameLocks/>
          </p:cNvGraphicFramePr>
          <p:nvPr>
            <p:custDataLst>
              <p:tags r:id="rId1"/>
            </p:custDataLst>
            <p:extLst>
              <p:ext uri="{D42A27DB-BD31-4B8C-83A1-F6EECF244321}">
                <p14:modId xmlns:p14="http://schemas.microsoft.com/office/powerpoint/2010/main" val="2501035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8699636-D75E-9EF7-6E57-1EB317833011}"/>
              </a:ext>
            </a:extLst>
          </p:cNvPr>
          <p:cNvSpPr>
            <a:spLocks noGrp="1"/>
          </p:cNvSpPr>
          <p:nvPr>
            <p:ph type="title"/>
          </p:nvPr>
        </p:nvSpPr>
        <p:spPr/>
        <p:txBody>
          <a:bodyPr vert="horz" rIns="91440"/>
          <a:lstStyle/>
          <a:p>
            <a:r>
              <a:rPr lang="en-US" dirty="0"/>
              <a:t>Indonesia's </a:t>
            </a:r>
            <a:r>
              <a:rPr lang="en-US" dirty="0" err="1"/>
              <a:t>Sarulla</a:t>
            </a:r>
            <a:r>
              <a:rPr lang="en-US" dirty="0"/>
              <a:t> project's financing success proves bankability of conventional geothermal technology</a:t>
            </a:r>
          </a:p>
        </p:txBody>
      </p:sp>
      <p:sp>
        <p:nvSpPr>
          <p:cNvPr id="5" name="Footer Placeholder 4">
            <a:extLst>
              <a:ext uri="{FF2B5EF4-FFF2-40B4-BE49-F238E27FC236}">
                <a16:creationId xmlns:a16="http://schemas.microsoft.com/office/drawing/2014/main" id="{0AE56ADD-89A6-F03A-1626-AAF5C0F9B726}"/>
              </a:ext>
            </a:extLst>
          </p:cNvPr>
          <p:cNvSpPr>
            <a:spLocks noGrp="1"/>
          </p:cNvSpPr>
          <p:nvPr>
            <p:ph type="ftr" sz="quarter" idx="3"/>
          </p:nvPr>
        </p:nvSpPr>
        <p:spPr>
          <a:xfrm>
            <a:off x="334962" y="6210620"/>
            <a:ext cx="9147241" cy="216706"/>
          </a:xfrm>
        </p:spPr>
        <p:txBody>
          <a:bodyPr/>
          <a:lstStyle/>
          <a:p>
            <a:r>
              <a:rPr lang="en-US" dirty="0">
                <a:solidFill>
                  <a:srgbClr val="000000"/>
                </a:solidFill>
              </a:rPr>
              <a:t>Sources:</a:t>
            </a:r>
            <a:r>
              <a:rPr lang="en-US" dirty="0">
                <a:solidFill>
                  <a:schemeClr val="tx1"/>
                </a:solidFill>
              </a:rPr>
              <a:t> </a:t>
            </a:r>
            <a:r>
              <a:rPr lang="en-US" dirty="0">
                <a:solidFill>
                  <a:schemeClr val="tx1"/>
                </a:solidFill>
                <a:hlinkClick r:id="rId17"/>
              </a:rPr>
              <a:t>Sarulla</a:t>
            </a:r>
            <a:r>
              <a:rPr lang="en-US" dirty="0">
                <a:hlinkClick r:id="rId17"/>
              </a:rPr>
              <a:t> Geothermal, Indonesia</a:t>
            </a:r>
            <a:r>
              <a:rPr lang="en-US" dirty="0"/>
              <a:t> </a:t>
            </a:r>
            <a:r>
              <a:rPr lang="en-US" dirty="0">
                <a:solidFill>
                  <a:schemeClr val="tx1"/>
                </a:solidFill>
              </a:rPr>
              <a:t>(IJ Global, 2014); </a:t>
            </a:r>
            <a:r>
              <a:rPr lang="en-US" dirty="0">
                <a:hlinkClick r:id="rId18"/>
              </a:rPr>
              <a:t>Project Financing and Political Risk Guarantee</a:t>
            </a:r>
            <a:r>
              <a:rPr lang="en-US" dirty="0"/>
              <a:t> </a:t>
            </a:r>
            <a:r>
              <a:rPr lang="en-US" dirty="0">
                <a:solidFill>
                  <a:schemeClr val="tx1"/>
                </a:solidFill>
              </a:rPr>
              <a:t>(JBIC, 2014); </a:t>
            </a:r>
            <a:r>
              <a:rPr lang="en-US" dirty="0">
                <a:hlinkClick r:id="rId19"/>
              </a:rPr>
              <a:t>Press release: Sarulla Geothermal</a:t>
            </a:r>
            <a:r>
              <a:rPr lang="en-US" dirty="0"/>
              <a:t> </a:t>
            </a:r>
            <a:r>
              <a:rPr lang="en-US" dirty="0">
                <a:solidFill>
                  <a:schemeClr val="tx1"/>
                </a:solidFill>
              </a:rPr>
              <a:t>(Ormat, 2017); </a:t>
            </a:r>
            <a:r>
              <a:rPr lang="en-US" dirty="0">
                <a:hlinkClick r:id="rId20"/>
              </a:rPr>
              <a:t>Mizuho Overview of Project Finance</a:t>
            </a:r>
            <a:r>
              <a:rPr lang="en-US" dirty="0"/>
              <a:t> </a:t>
            </a:r>
            <a:r>
              <a:rPr lang="en-US" dirty="0">
                <a:solidFill>
                  <a:schemeClr val="tx1"/>
                </a:solidFill>
              </a:rPr>
              <a:t>(World Bank, 2018). </a:t>
            </a:r>
            <a:br>
              <a:rPr lang="en-US" dirty="0"/>
            </a:br>
            <a:r>
              <a:rPr lang="en-US" dirty="0">
                <a:solidFill>
                  <a:srgbClr val="000000"/>
                </a:solidFill>
              </a:rPr>
              <a:t>Credit: Stephanie Chen, Isabel Hoyos, and </a:t>
            </a:r>
            <a:r>
              <a:rPr lang="en-US" dirty="0">
                <a:hlinkClick r:id="rId21"/>
              </a:rPr>
              <a:t>Gernot Wagner.</a:t>
            </a:r>
            <a:r>
              <a:rPr lang="en-US" dirty="0">
                <a:solidFill>
                  <a:srgbClr val="000000"/>
                </a:solidFill>
              </a:rPr>
              <a:t> </a:t>
            </a:r>
            <a:r>
              <a:rPr lang="en-US" dirty="0">
                <a:hlinkClick r:id="rId2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5">
            <a:extLst>
              <a:ext uri="{FF2B5EF4-FFF2-40B4-BE49-F238E27FC236}">
                <a16:creationId xmlns:a16="http://schemas.microsoft.com/office/drawing/2014/main" id="{598A449B-E36B-7733-BCC7-88A4CD4E6CEB}"/>
              </a:ext>
            </a:extLst>
          </p:cNvPr>
          <p:cNvSpPr>
            <a:spLocks noGrp="1"/>
          </p:cNvSpPr>
          <p:nvPr>
            <p:ph type="body" sz="quarter" idx="13"/>
          </p:nvPr>
        </p:nvSpPr>
        <p:spPr/>
        <p:txBody>
          <a:bodyPr/>
          <a:lstStyle/>
          <a:p>
            <a:r>
              <a:rPr lang="en-US" dirty="0"/>
              <a:t>Case Study: </a:t>
            </a:r>
            <a:r>
              <a:rPr lang="en-US" dirty="0" err="1"/>
              <a:t>Sarulla</a:t>
            </a:r>
            <a:r>
              <a:rPr lang="en-US" dirty="0"/>
              <a:t> Indonesia</a:t>
            </a:r>
          </a:p>
        </p:txBody>
      </p:sp>
      <p:sp>
        <p:nvSpPr>
          <p:cNvPr id="7" name="Text Placeholder 6">
            <a:extLst>
              <a:ext uri="{FF2B5EF4-FFF2-40B4-BE49-F238E27FC236}">
                <a16:creationId xmlns:a16="http://schemas.microsoft.com/office/drawing/2014/main" id="{CF5B217E-D2D9-ED08-6893-480419EA2907}"/>
              </a:ext>
            </a:extLst>
          </p:cNvPr>
          <p:cNvSpPr>
            <a:spLocks noGrp="1"/>
          </p:cNvSpPr>
          <p:nvPr>
            <p:ph type="body" sz="quarter" idx="19"/>
          </p:nvPr>
        </p:nvSpPr>
        <p:spPr/>
        <p:txBody>
          <a:bodyPr/>
          <a:lstStyle/>
          <a:p>
            <a:r>
              <a:rPr lang="en-US" dirty="0" err="1"/>
              <a:t>Sarulla</a:t>
            </a:r>
            <a:r>
              <a:rPr lang="en-US" dirty="0"/>
              <a:t> Project Capital Stack</a:t>
            </a:r>
          </a:p>
        </p:txBody>
      </p:sp>
      <p:sp>
        <p:nvSpPr>
          <p:cNvPr id="8" name="Text Placeholder 7">
            <a:extLst>
              <a:ext uri="{FF2B5EF4-FFF2-40B4-BE49-F238E27FC236}">
                <a16:creationId xmlns:a16="http://schemas.microsoft.com/office/drawing/2014/main" id="{4AD3A76D-D8EA-7227-0A44-EEBA164494C9}"/>
              </a:ext>
            </a:extLst>
          </p:cNvPr>
          <p:cNvSpPr>
            <a:spLocks noGrp="1"/>
          </p:cNvSpPr>
          <p:nvPr>
            <p:ph type="body" sz="quarter" idx="14"/>
          </p:nvPr>
        </p:nvSpPr>
        <p:spPr/>
        <p:txBody>
          <a:bodyPr/>
          <a:lstStyle/>
          <a:p>
            <a:pPr marL="0" indent="0">
              <a:spcBef>
                <a:spcPts val="600"/>
              </a:spcBef>
              <a:buNone/>
            </a:pPr>
            <a:r>
              <a:rPr lang="en-US" b="1" dirty="0"/>
              <a:t>Observations</a:t>
            </a:r>
          </a:p>
          <a:p>
            <a:r>
              <a:rPr lang="en-US" dirty="0" err="1"/>
              <a:t>Sarulla</a:t>
            </a:r>
            <a:r>
              <a:rPr lang="en-US" dirty="0"/>
              <a:t> is one of the largest conventional geothermal projects in the world, financed for $1.6B with a combination of senior debt, mezzanine debt, and sponsor equity. </a:t>
            </a:r>
          </a:p>
          <a:p>
            <a:r>
              <a:rPr lang="en-US" dirty="0"/>
              <a:t>Mezz lenders paid </a:t>
            </a:r>
            <a:r>
              <a:rPr lang="en-US" i="1" dirty="0"/>
              <a:t>pari-passu</a:t>
            </a:r>
            <a:r>
              <a:rPr lang="en-US" dirty="0"/>
              <a:t> in the event of default due to termination fee of the energy sales contract equaling the senior and mezz debt.</a:t>
            </a:r>
          </a:p>
          <a:p>
            <a:r>
              <a:rPr lang="en-US" b="1" dirty="0"/>
              <a:t>Guarantees: </a:t>
            </a:r>
            <a:r>
              <a:rPr lang="en-US" dirty="0"/>
              <a:t>To de-risk the project, the Indonesian government offered a guarantee on the project. JBIC also agreed to a political risk guarantee for the commercial banks if the government did not follow through.</a:t>
            </a:r>
          </a:p>
        </p:txBody>
      </p:sp>
      <p:sp>
        <p:nvSpPr>
          <p:cNvPr id="9" name="Text Placeholder 1">
            <a:extLst>
              <a:ext uri="{FF2B5EF4-FFF2-40B4-BE49-F238E27FC236}">
                <a16:creationId xmlns:a16="http://schemas.microsoft.com/office/drawing/2014/main" id="{1FEC97AE-5740-75A1-0EE2-F3F4F200F1BC}"/>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err="1"/>
              <a:t>Sarulla</a:t>
            </a:r>
            <a:endParaRPr lang="en-US" sz="1600" b="1" dirty="0"/>
          </a:p>
        </p:txBody>
      </p:sp>
      <p:graphicFrame>
        <p:nvGraphicFramePr>
          <p:cNvPr id="67" name="Chart 66">
            <a:extLst>
              <a:ext uri="{FF2B5EF4-FFF2-40B4-BE49-F238E27FC236}">
                <a16:creationId xmlns:a16="http://schemas.microsoft.com/office/drawing/2014/main" id="{854D1B27-DA3C-EC7D-3724-D5A6153D2E7F}"/>
              </a:ext>
            </a:extLst>
          </p:cNvPr>
          <p:cNvGraphicFramePr/>
          <p:nvPr>
            <p:custDataLst>
              <p:tags r:id="rId2"/>
            </p:custDataLst>
            <p:extLst>
              <p:ext uri="{D42A27DB-BD31-4B8C-83A1-F6EECF244321}">
                <p14:modId xmlns:p14="http://schemas.microsoft.com/office/powerpoint/2010/main" val="3166359498"/>
              </p:ext>
            </p:extLst>
          </p:nvPr>
        </p:nvGraphicFramePr>
        <p:xfrm>
          <a:off x="6392863" y="2108200"/>
          <a:ext cx="2000250" cy="3822700"/>
        </p:xfrm>
        <a:graphic>
          <a:graphicData uri="http://schemas.openxmlformats.org/drawingml/2006/chart">
            <c:chart xmlns:c="http://schemas.openxmlformats.org/drawingml/2006/chart" xmlns:r="http://schemas.openxmlformats.org/officeDocument/2006/relationships" r:id="rId23"/>
          </a:graphicData>
        </a:graphic>
      </p:graphicFrame>
      <p:cxnSp>
        <p:nvCxnSpPr>
          <p:cNvPr id="12" name="Straight Connector 11">
            <a:extLst>
              <a:ext uri="{FF2B5EF4-FFF2-40B4-BE49-F238E27FC236}">
                <a16:creationId xmlns:a16="http://schemas.microsoft.com/office/drawing/2014/main" id="{AA388C15-C1C4-8E28-A89E-5A34A2206868}"/>
              </a:ext>
            </a:extLst>
          </p:cNvPr>
          <p:cNvCxnSpPr/>
          <p:nvPr>
            <p:custDataLst>
              <p:tags r:id="rId3"/>
            </p:custDataLst>
          </p:nvPr>
        </p:nvCxnSpPr>
        <p:spPr bwMode="auto">
          <a:xfrm flipV="1">
            <a:off x="6994525" y="3282950"/>
            <a:ext cx="82550"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 name="Text Placeholder 10">
            <a:extLst>
              <a:ext uri="{FF2B5EF4-FFF2-40B4-BE49-F238E27FC236}">
                <a16:creationId xmlns:a16="http://schemas.microsoft.com/office/drawing/2014/main" id="{7D08D1FE-BCD8-241C-30DA-3E93BDBC52AD}"/>
              </a:ext>
            </a:extLst>
          </p:cNvPr>
          <p:cNvSpPr txBox="1">
            <a:spLocks/>
          </p:cNvSpPr>
          <p:nvPr>
            <p:custDataLst>
              <p:tags r:id="rId4"/>
            </p:custDataLst>
          </p:nvPr>
        </p:nvSpPr>
        <p:spPr bwMode="gray">
          <a:xfrm>
            <a:off x="7146925" y="3192463"/>
            <a:ext cx="2127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DA1F1A-66D3-4575-94AB-3FB175D0853E}" type="datetime'''2''''''''''''''''''''''''''''0'''''''''''''">
              <a:rPr lang="en-US" altLang="en-US" sz="1200" smtClean="0">
                <a:solidFill>
                  <a:schemeClr val="bg1"/>
                </a:solidFill>
                <a:effectLst/>
              </a:rPr>
              <a:pPr marL="0" indent="0" algn="ctr">
                <a:spcBef>
                  <a:spcPct val="0"/>
                </a:spcBef>
                <a:spcAft>
                  <a:spcPct val="0"/>
                </a:spcAft>
                <a:buNone/>
              </a:pPr>
              <a:t>20</a:t>
            </a:fld>
            <a:endParaRPr lang="en-US" sz="1200" dirty="0">
              <a:solidFill>
                <a:schemeClr val="bg1"/>
              </a:solidFill>
            </a:endParaRPr>
          </a:p>
        </p:txBody>
      </p:sp>
      <p:sp>
        <p:nvSpPr>
          <p:cNvPr id="14" name="Text Placeholder 10">
            <a:extLst>
              <a:ext uri="{FF2B5EF4-FFF2-40B4-BE49-F238E27FC236}">
                <a16:creationId xmlns:a16="http://schemas.microsoft.com/office/drawing/2014/main" id="{8BA01186-2F91-ED92-E562-FAA4819CF47D}"/>
              </a:ext>
            </a:extLst>
          </p:cNvPr>
          <p:cNvSpPr txBox="1">
            <a:spLocks/>
          </p:cNvSpPr>
          <p:nvPr>
            <p:custDataLst>
              <p:tags r:id="rId5"/>
            </p:custDataLst>
          </p:nvPr>
        </p:nvSpPr>
        <p:spPr bwMode="auto">
          <a:xfrm>
            <a:off x="6938963" y="5715000"/>
            <a:ext cx="908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6207C4-E3CB-4A92-B3B4-09BB45729392}" type="datetime'C''''''''''''a''''''''p''i''t''''''''''al'' ''St''ack'">
              <a:rPr lang="en-US" altLang="en-US" sz="1200" smtClean="0"/>
              <a:pPr marL="0" indent="0" algn="ctr">
                <a:spcBef>
                  <a:spcPct val="0"/>
                </a:spcBef>
                <a:spcAft>
                  <a:spcPct val="0"/>
                </a:spcAft>
                <a:buNone/>
              </a:pPr>
              <a:t>Capital Stack</a:t>
            </a:fld>
            <a:endParaRPr lang="en-US" sz="1200" dirty="0"/>
          </a:p>
        </p:txBody>
      </p:sp>
      <p:sp>
        <p:nvSpPr>
          <p:cNvPr id="15" name="Text Placeholder 10">
            <a:extLst>
              <a:ext uri="{FF2B5EF4-FFF2-40B4-BE49-F238E27FC236}">
                <a16:creationId xmlns:a16="http://schemas.microsoft.com/office/drawing/2014/main" id="{3BD9FE93-4A3C-D8C0-D26A-AF5D91AE3E24}"/>
              </a:ext>
            </a:extLst>
          </p:cNvPr>
          <p:cNvSpPr txBox="1">
            <a:spLocks/>
          </p:cNvSpPr>
          <p:nvPr>
            <p:custDataLst>
              <p:tags r:id="rId6"/>
            </p:custDataLst>
          </p:nvPr>
        </p:nvSpPr>
        <p:spPr bwMode="auto">
          <a:xfrm>
            <a:off x="6113463" y="2660650"/>
            <a:ext cx="855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2C3AEC-08AB-4028-82A6-E16D4BF0B44F}" type="datetime'''''''''''S''pon''''s''''''''''o''''r'''''''' E''''quit''''y'">
              <a:rPr lang="en-US" altLang="en-US" sz="1000" smtClean="0"/>
              <a:pPr marL="0" indent="0" algn="r">
                <a:spcBef>
                  <a:spcPct val="0"/>
                </a:spcBef>
                <a:spcAft>
                  <a:spcPct val="0"/>
                </a:spcAft>
                <a:buNone/>
              </a:pPr>
              <a:t>Sponsor Equity</a:t>
            </a:fld>
            <a:endParaRPr lang="en-US" sz="1000" dirty="0"/>
          </a:p>
        </p:txBody>
      </p:sp>
      <p:sp>
        <p:nvSpPr>
          <p:cNvPr id="16" name="Text Placeholder 10">
            <a:extLst>
              <a:ext uri="{FF2B5EF4-FFF2-40B4-BE49-F238E27FC236}">
                <a16:creationId xmlns:a16="http://schemas.microsoft.com/office/drawing/2014/main" id="{E86E4790-BD45-9128-8CE2-4730B68ED88D}"/>
              </a:ext>
            </a:extLst>
          </p:cNvPr>
          <p:cNvSpPr txBox="1">
            <a:spLocks/>
          </p:cNvSpPr>
          <p:nvPr>
            <p:custDataLst>
              <p:tags r:id="rId7"/>
            </p:custDataLst>
          </p:nvPr>
        </p:nvSpPr>
        <p:spPr bwMode="auto">
          <a:xfrm>
            <a:off x="5629275" y="3054350"/>
            <a:ext cx="133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D50DB6-A39E-4990-B6AD-919131A844BC}" type="datetime'''Clean ''Te''''c''hn''''o''l''''''''''''og''y ''''Fun''''d'">
              <a:rPr lang="en-US" altLang="en-US" sz="1000" smtClean="0"/>
              <a:pPr marL="0" indent="0" algn="r">
                <a:spcBef>
                  <a:spcPct val="0"/>
                </a:spcBef>
                <a:spcAft>
                  <a:spcPct val="0"/>
                </a:spcAft>
                <a:buNone/>
              </a:pPr>
              <a:t>Clean Technology Fund</a:t>
            </a:fld>
            <a:endParaRPr lang="en-US" sz="1000" dirty="0"/>
          </a:p>
        </p:txBody>
      </p:sp>
      <p:sp>
        <p:nvSpPr>
          <p:cNvPr id="17" name="Text Placeholder 10">
            <a:extLst>
              <a:ext uri="{FF2B5EF4-FFF2-40B4-BE49-F238E27FC236}">
                <a16:creationId xmlns:a16="http://schemas.microsoft.com/office/drawing/2014/main" id="{21F2760C-DE99-BC18-E49E-71681A795141}"/>
              </a:ext>
            </a:extLst>
          </p:cNvPr>
          <p:cNvSpPr txBox="1">
            <a:spLocks/>
          </p:cNvSpPr>
          <p:nvPr>
            <p:custDataLst>
              <p:tags r:id="rId8"/>
            </p:custDataLst>
          </p:nvPr>
        </p:nvSpPr>
        <p:spPr bwMode="auto">
          <a:xfrm>
            <a:off x="5684838" y="3257550"/>
            <a:ext cx="1284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1A3BF5-FCC0-4999-9CD5-8362A40BF28A}" type="datetime'Ca''nadian'''''''' ''Cl''''i''''''ma''te'''' ''fu''''''''nd'''">
              <a:rPr lang="en-US" altLang="en-US" sz="1000" smtClean="0"/>
              <a:pPr marL="0" indent="0" algn="r">
                <a:spcBef>
                  <a:spcPct val="0"/>
                </a:spcBef>
                <a:spcAft>
                  <a:spcPct val="0"/>
                </a:spcAft>
                <a:buNone/>
              </a:pPr>
              <a:t>Canadian Climate fund</a:t>
            </a:fld>
            <a:endParaRPr lang="en-US" sz="1000" dirty="0"/>
          </a:p>
        </p:txBody>
      </p:sp>
      <p:sp>
        <p:nvSpPr>
          <p:cNvPr id="18" name="Text Placeholder 10">
            <a:extLst>
              <a:ext uri="{FF2B5EF4-FFF2-40B4-BE49-F238E27FC236}">
                <a16:creationId xmlns:a16="http://schemas.microsoft.com/office/drawing/2014/main" id="{A54B6076-30AE-E00E-75C1-CD9DC984E948}"/>
              </a:ext>
            </a:extLst>
          </p:cNvPr>
          <p:cNvSpPr txBox="1">
            <a:spLocks/>
          </p:cNvSpPr>
          <p:nvPr>
            <p:custDataLst>
              <p:tags r:id="rId9"/>
            </p:custDataLst>
          </p:nvPr>
        </p:nvSpPr>
        <p:spPr bwMode="auto">
          <a:xfrm>
            <a:off x="5905500" y="3563938"/>
            <a:ext cx="1063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E96D3C5-4DE0-497F-A49D-C6951E017B98}" type="datetime'''C''''''o''m''m''''''e''''r''cia''l Ba''n''''k''''''''s'''''">
              <a:rPr lang="en-US" altLang="en-US" sz="1000" smtClean="0"/>
              <a:pPr marL="0" indent="0" algn="r">
                <a:spcBef>
                  <a:spcPct val="0"/>
                </a:spcBef>
                <a:spcAft>
                  <a:spcPct val="0"/>
                </a:spcAft>
                <a:buNone/>
              </a:pPr>
              <a:t>Commercial Banks</a:t>
            </a:fld>
            <a:endParaRPr lang="en-US" sz="1000" dirty="0"/>
          </a:p>
        </p:txBody>
      </p:sp>
      <p:sp>
        <p:nvSpPr>
          <p:cNvPr id="19" name="Text Placeholder 10">
            <a:extLst>
              <a:ext uri="{FF2B5EF4-FFF2-40B4-BE49-F238E27FC236}">
                <a16:creationId xmlns:a16="http://schemas.microsoft.com/office/drawing/2014/main" id="{B0E97CB1-645B-EF78-E877-14CEB6DC876D}"/>
              </a:ext>
            </a:extLst>
          </p:cNvPr>
          <p:cNvSpPr txBox="1">
            <a:spLocks/>
          </p:cNvSpPr>
          <p:nvPr>
            <p:custDataLst>
              <p:tags r:id="rId10"/>
            </p:custDataLst>
          </p:nvPr>
        </p:nvSpPr>
        <p:spPr bwMode="auto">
          <a:xfrm>
            <a:off x="6708775" y="4159250"/>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104A996-7EE4-4F3C-A869-316E19911FDD}" type="datetime'''''''''''''''''''''''''A''''''''''''D''''''''''''''B'''''''''">
              <a:rPr lang="en-US" altLang="en-US" sz="1000" smtClean="0"/>
              <a:pPr marL="0" indent="0" algn="r">
                <a:spcBef>
                  <a:spcPct val="0"/>
                </a:spcBef>
                <a:spcAft>
                  <a:spcPct val="0"/>
                </a:spcAft>
                <a:buNone/>
              </a:pPr>
              <a:t>ADB</a:t>
            </a:fld>
            <a:endParaRPr lang="en-US" sz="1000" dirty="0"/>
          </a:p>
        </p:txBody>
      </p:sp>
      <p:sp>
        <p:nvSpPr>
          <p:cNvPr id="20" name="Text Placeholder 10">
            <a:extLst>
              <a:ext uri="{FF2B5EF4-FFF2-40B4-BE49-F238E27FC236}">
                <a16:creationId xmlns:a16="http://schemas.microsoft.com/office/drawing/2014/main" id="{E6DC387B-42B9-DFAA-B982-53C760ADD64F}"/>
              </a:ext>
            </a:extLst>
          </p:cNvPr>
          <p:cNvSpPr txBox="1">
            <a:spLocks/>
          </p:cNvSpPr>
          <p:nvPr>
            <p:custDataLst>
              <p:tags r:id="rId11"/>
            </p:custDataLst>
          </p:nvPr>
        </p:nvSpPr>
        <p:spPr bwMode="auto">
          <a:xfrm>
            <a:off x="6694488" y="4921250"/>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F161AA-00A0-4E35-8055-FA7E375354A9}" type="datetime'''''''J''''''''BIC'''''''''''''''''''">
              <a:rPr lang="en-US" altLang="en-US" sz="1000" smtClean="0"/>
              <a:pPr marL="0" indent="0" algn="r">
                <a:spcBef>
                  <a:spcPct val="0"/>
                </a:spcBef>
                <a:spcAft>
                  <a:spcPct val="0"/>
                </a:spcAft>
                <a:buNone/>
              </a:pPr>
              <a:t>JBIC</a:t>
            </a:fld>
            <a:endParaRPr lang="en-US" sz="1000" dirty="0"/>
          </a:p>
        </p:txBody>
      </p:sp>
      <p:sp>
        <p:nvSpPr>
          <p:cNvPr id="21" name="Text Placeholder 10">
            <a:extLst>
              <a:ext uri="{FF2B5EF4-FFF2-40B4-BE49-F238E27FC236}">
                <a16:creationId xmlns:a16="http://schemas.microsoft.com/office/drawing/2014/main" id="{CBCE9FD6-F7B9-B2C8-3A29-694D13F3A7B0}"/>
              </a:ext>
            </a:extLst>
          </p:cNvPr>
          <p:cNvSpPr txBox="1">
            <a:spLocks/>
          </p:cNvSpPr>
          <p:nvPr>
            <p:custDataLst>
              <p:tags r:id="rId12"/>
            </p:custDataLst>
          </p:nvPr>
        </p:nvSpPr>
        <p:spPr bwMode="auto">
          <a:xfrm>
            <a:off x="5664200" y="5486400"/>
            <a:ext cx="1304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t>Pre-operating Revenue</a:t>
            </a:r>
            <a:endParaRPr lang="en-US" sz="1000" dirty="0"/>
          </a:p>
        </p:txBody>
      </p:sp>
      <p:sp>
        <p:nvSpPr>
          <p:cNvPr id="22" name="Text Placeholder 10">
            <a:extLst>
              <a:ext uri="{FF2B5EF4-FFF2-40B4-BE49-F238E27FC236}">
                <a16:creationId xmlns:a16="http://schemas.microsoft.com/office/drawing/2014/main" id="{39356BDE-CCC9-A2EC-0ADC-FA1400C89AC8}"/>
              </a:ext>
            </a:extLst>
          </p:cNvPr>
          <p:cNvSpPr txBox="1">
            <a:spLocks/>
          </p:cNvSpPr>
          <p:nvPr>
            <p:custDataLst>
              <p:tags r:id="rId13"/>
            </p:custDataLst>
          </p:nvPr>
        </p:nvSpPr>
        <p:spPr bwMode="gray">
          <a:xfrm>
            <a:off x="7146925" y="21367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ABE58-91F5-416A-B5D6-0BE6D0420F8B}" type="datetime'''''''''''''''1,''''''''''''''''''''''''''''6''0''''''''''0'">
              <a:rPr lang="en-US" altLang="en-US" sz="1400" smtClean="0"/>
              <a:pPr marL="0" indent="0" algn="ctr">
                <a:spcBef>
                  <a:spcPct val="0"/>
                </a:spcBef>
                <a:spcAft>
                  <a:spcPct val="0"/>
                </a:spcAft>
                <a:buNone/>
              </a:pPr>
              <a:t>1,600</a:t>
            </a:fld>
            <a:endParaRPr lang="en-US" sz="1400" dirty="0"/>
          </a:p>
        </p:txBody>
      </p:sp>
      <p:sp>
        <p:nvSpPr>
          <p:cNvPr id="23" name="Right Brace 22">
            <a:extLst>
              <a:ext uri="{FF2B5EF4-FFF2-40B4-BE49-F238E27FC236}">
                <a16:creationId xmlns:a16="http://schemas.microsoft.com/office/drawing/2014/main" id="{7F737E1F-923A-B617-0F39-B8D165BE63F1}"/>
              </a:ext>
            </a:extLst>
          </p:cNvPr>
          <p:cNvSpPr/>
          <p:nvPr/>
        </p:nvSpPr>
        <p:spPr bwMode="gray">
          <a:xfrm>
            <a:off x="7829550" y="2498725"/>
            <a:ext cx="54776" cy="564314"/>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Right Brace 23">
            <a:extLst>
              <a:ext uri="{FF2B5EF4-FFF2-40B4-BE49-F238E27FC236}">
                <a16:creationId xmlns:a16="http://schemas.microsoft.com/office/drawing/2014/main" id="{B2E3EF13-B9DB-C225-0CFD-13AB0966D73F}"/>
              </a:ext>
            </a:extLst>
          </p:cNvPr>
          <p:cNvSpPr/>
          <p:nvPr/>
        </p:nvSpPr>
        <p:spPr bwMode="gray">
          <a:xfrm>
            <a:off x="7827963" y="3125788"/>
            <a:ext cx="45719" cy="252678"/>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TextBox 24">
            <a:extLst>
              <a:ext uri="{FF2B5EF4-FFF2-40B4-BE49-F238E27FC236}">
                <a16:creationId xmlns:a16="http://schemas.microsoft.com/office/drawing/2014/main" id="{2A220B46-C505-63AC-AFD8-71FA7D918816}"/>
              </a:ext>
            </a:extLst>
          </p:cNvPr>
          <p:cNvSpPr txBox="1"/>
          <p:nvPr/>
        </p:nvSpPr>
        <p:spPr bwMode="gray">
          <a:xfrm>
            <a:off x="7872410" y="2592388"/>
            <a:ext cx="1384357" cy="349702"/>
          </a:xfrm>
          <a:prstGeom prst="rect">
            <a:avLst/>
          </a:prstGeom>
          <a:noFill/>
        </p:spPr>
        <p:txBody>
          <a:bodyPr wrap="square" lIns="36000" tIns="36000" rIns="36000" bIns="36000" rtlCol="0">
            <a:spAutoFit/>
          </a:bodyPr>
          <a:lstStyle/>
          <a:p>
            <a:pPr marL="0" indent="0">
              <a:buNone/>
            </a:pPr>
            <a:r>
              <a:rPr lang="en-US" sz="900" dirty="0"/>
              <a:t>Sponsors include Medco, Itochu, Kyush, Ormat</a:t>
            </a:r>
          </a:p>
        </p:txBody>
      </p:sp>
      <p:sp>
        <p:nvSpPr>
          <p:cNvPr id="26" name="TextBox 25">
            <a:extLst>
              <a:ext uri="{FF2B5EF4-FFF2-40B4-BE49-F238E27FC236}">
                <a16:creationId xmlns:a16="http://schemas.microsoft.com/office/drawing/2014/main" id="{59FEC709-EB9E-FE54-5DB4-AFDCDEA46849}"/>
              </a:ext>
            </a:extLst>
          </p:cNvPr>
          <p:cNvSpPr txBox="1"/>
          <p:nvPr/>
        </p:nvSpPr>
        <p:spPr bwMode="gray">
          <a:xfrm>
            <a:off x="7904160" y="3146425"/>
            <a:ext cx="1384357" cy="211203"/>
          </a:xfrm>
          <a:prstGeom prst="rect">
            <a:avLst/>
          </a:prstGeom>
          <a:noFill/>
        </p:spPr>
        <p:txBody>
          <a:bodyPr wrap="square" lIns="36000" tIns="36000" rIns="36000" bIns="36000" rtlCol="0">
            <a:spAutoFit/>
          </a:bodyPr>
          <a:lstStyle/>
          <a:p>
            <a:pPr marL="0" indent="0">
              <a:buNone/>
            </a:pPr>
            <a:r>
              <a:rPr lang="en-US" sz="900" dirty="0"/>
              <a:t>Mezzanine Debt</a:t>
            </a:r>
          </a:p>
        </p:txBody>
      </p:sp>
      <p:sp>
        <p:nvSpPr>
          <p:cNvPr id="27" name="Right Brace 26">
            <a:extLst>
              <a:ext uri="{FF2B5EF4-FFF2-40B4-BE49-F238E27FC236}">
                <a16:creationId xmlns:a16="http://schemas.microsoft.com/office/drawing/2014/main" id="{53103646-EFA8-B81E-C507-2D98525FDCF2}"/>
              </a:ext>
            </a:extLst>
          </p:cNvPr>
          <p:cNvSpPr/>
          <p:nvPr/>
        </p:nvSpPr>
        <p:spPr bwMode="gray">
          <a:xfrm>
            <a:off x="7832725" y="3430588"/>
            <a:ext cx="45719" cy="493712"/>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8" name="TextBox 27">
            <a:extLst>
              <a:ext uri="{FF2B5EF4-FFF2-40B4-BE49-F238E27FC236}">
                <a16:creationId xmlns:a16="http://schemas.microsoft.com/office/drawing/2014/main" id="{05F1DFEE-1053-68F9-F534-D5325B459E46}"/>
              </a:ext>
            </a:extLst>
          </p:cNvPr>
          <p:cNvSpPr txBox="1"/>
          <p:nvPr/>
        </p:nvSpPr>
        <p:spPr bwMode="gray">
          <a:xfrm>
            <a:off x="7872410" y="3468688"/>
            <a:ext cx="1507221" cy="488201"/>
          </a:xfrm>
          <a:prstGeom prst="rect">
            <a:avLst/>
          </a:prstGeom>
          <a:noFill/>
        </p:spPr>
        <p:txBody>
          <a:bodyPr wrap="square" lIns="36000" tIns="36000" rIns="36000" bIns="36000" rtlCol="0">
            <a:spAutoFit/>
          </a:bodyPr>
          <a:lstStyle/>
          <a:p>
            <a:pPr marL="0" indent="0">
              <a:buNone/>
            </a:pPr>
            <a:r>
              <a:rPr lang="en-US" sz="900" dirty="0"/>
              <a:t>Commercial banks include MUFG, ING, Mizuho, NAB, SMBC, Société Generale</a:t>
            </a:r>
          </a:p>
        </p:txBody>
      </p:sp>
      <p:sp>
        <p:nvSpPr>
          <p:cNvPr id="29" name="TextBox 28">
            <a:extLst>
              <a:ext uri="{FF2B5EF4-FFF2-40B4-BE49-F238E27FC236}">
                <a16:creationId xmlns:a16="http://schemas.microsoft.com/office/drawing/2014/main" id="{0B0F7EF0-597B-97B0-FFDC-71E9BBFBDE2A}"/>
              </a:ext>
            </a:extLst>
          </p:cNvPr>
          <p:cNvSpPr txBox="1"/>
          <p:nvPr/>
        </p:nvSpPr>
        <p:spPr bwMode="gray">
          <a:xfrm>
            <a:off x="334963" y="5005900"/>
            <a:ext cx="5272087" cy="1180699"/>
          </a:xfrm>
          <a:prstGeom prst="rect">
            <a:avLst/>
          </a:prstGeom>
          <a:noFill/>
        </p:spPr>
        <p:txBody>
          <a:bodyPr wrap="square" lIns="36000" tIns="36000" rIns="36000" bIns="36000" rtlCol="0">
            <a:spAutoFit/>
          </a:bodyPr>
          <a:lstStyle/>
          <a:p>
            <a:pPr>
              <a:spcBef>
                <a:spcPts val="0"/>
              </a:spcBef>
            </a:pPr>
            <a:r>
              <a:rPr lang="en-US" sz="900" b="1" dirty="0"/>
              <a:t>Location: </a:t>
            </a:r>
            <a:r>
              <a:rPr lang="en-US" sz="900" dirty="0"/>
              <a:t>North Sumatra, Indonesia</a:t>
            </a:r>
          </a:p>
          <a:p>
            <a:pPr>
              <a:spcBef>
                <a:spcPts val="0"/>
              </a:spcBef>
            </a:pPr>
            <a:r>
              <a:rPr lang="en-US" sz="900" b="1" dirty="0"/>
              <a:t>Details: </a:t>
            </a:r>
            <a:r>
              <a:rPr lang="en-US" sz="900" dirty="0"/>
              <a:t>A conventional geothermal project, built out in three phases across three 110 MW plants for a total of 330 MW</a:t>
            </a:r>
            <a:r>
              <a:rPr lang="en-US" sz="900" b="1" dirty="0"/>
              <a:t>. </a:t>
            </a:r>
          </a:p>
          <a:p>
            <a:pPr>
              <a:spcBef>
                <a:spcPts val="0"/>
              </a:spcBef>
            </a:pPr>
            <a:r>
              <a:rPr lang="en-US" sz="900" b="1" dirty="0"/>
              <a:t>Construction: </a:t>
            </a:r>
            <a:r>
              <a:rPr lang="en-US" sz="900" dirty="0"/>
              <a:t>Started in 2014 with target completion in February 2018. The third plant was completed a few months after the target date in May 2018. </a:t>
            </a:r>
          </a:p>
          <a:p>
            <a:pPr>
              <a:spcBef>
                <a:spcPts val="0"/>
              </a:spcBef>
            </a:pPr>
            <a:r>
              <a:rPr lang="en-US" sz="900" b="1" dirty="0"/>
              <a:t>Offtake Agreement: </a:t>
            </a:r>
            <a:r>
              <a:rPr lang="en-US" sz="900" dirty="0"/>
              <a:t>Signed an energy sales contract with PT Perusahaan Listrik, a state-owned utility, for 30 years of electricity offtake.</a:t>
            </a:r>
          </a:p>
          <a:p>
            <a:pPr marL="0" indent="0">
              <a:spcBef>
                <a:spcPts val="0"/>
              </a:spcBef>
              <a:buNone/>
            </a:pPr>
            <a:endParaRPr lang="en-US" sz="900" dirty="0"/>
          </a:p>
        </p:txBody>
      </p:sp>
      <p:sp>
        <p:nvSpPr>
          <p:cNvPr id="30" name="Right Brace 29">
            <a:extLst>
              <a:ext uri="{FF2B5EF4-FFF2-40B4-BE49-F238E27FC236}">
                <a16:creationId xmlns:a16="http://schemas.microsoft.com/office/drawing/2014/main" id="{5821F587-4240-3E33-BF85-5814A7A8D15C}"/>
              </a:ext>
            </a:extLst>
          </p:cNvPr>
          <p:cNvSpPr/>
          <p:nvPr/>
        </p:nvSpPr>
        <p:spPr bwMode="gray">
          <a:xfrm>
            <a:off x="7827963" y="4073525"/>
            <a:ext cx="45719" cy="1338263"/>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TextBox 30">
            <a:extLst>
              <a:ext uri="{FF2B5EF4-FFF2-40B4-BE49-F238E27FC236}">
                <a16:creationId xmlns:a16="http://schemas.microsoft.com/office/drawing/2014/main" id="{67B28D1F-9859-6748-F420-6162A02FB5E9}"/>
              </a:ext>
            </a:extLst>
          </p:cNvPr>
          <p:cNvSpPr txBox="1"/>
          <p:nvPr/>
        </p:nvSpPr>
        <p:spPr bwMode="gray">
          <a:xfrm>
            <a:off x="7904160" y="4573588"/>
            <a:ext cx="1507221" cy="211203"/>
          </a:xfrm>
          <a:prstGeom prst="rect">
            <a:avLst/>
          </a:prstGeom>
          <a:noFill/>
        </p:spPr>
        <p:txBody>
          <a:bodyPr wrap="square" lIns="36000" tIns="36000" rIns="36000" bIns="36000" rtlCol="0">
            <a:spAutoFit/>
          </a:bodyPr>
          <a:lstStyle/>
          <a:p>
            <a:pPr marL="0" indent="0">
              <a:buNone/>
            </a:pPr>
            <a:r>
              <a:rPr lang="en-US" sz="900" dirty="0"/>
              <a:t>Senior Debt</a:t>
            </a:r>
          </a:p>
        </p:txBody>
      </p:sp>
      <p:sp>
        <p:nvSpPr>
          <p:cNvPr id="32" name="Rounded Rectangle 31">
            <a:extLst>
              <a:ext uri="{FF2B5EF4-FFF2-40B4-BE49-F238E27FC236}">
                <a16:creationId xmlns:a16="http://schemas.microsoft.com/office/drawing/2014/main" id="{0C9F4A92-8897-A02C-5704-87CE1DB47EAE}"/>
              </a:ext>
            </a:extLst>
          </p:cNvPr>
          <p:cNvSpPr/>
          <p:nvPr/>
        </p:nvSpPr>
        <p:spPr bwMode="gray">
          <a:xfrm>
            <a:off x="2152646" y="4159250"/>
            <a:ext cx="804538" cy="569313"/>
          </a:xfrm>
          <a:prstGeom prst="roundRect">
            <a:avLst/>
          </a:prstGeom>
          <a:solidFill>
            <a:srgbClr val="A93C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Commercial Banks    </a:t>
            </a:r>
            <a:r>
              <a:rPr lang="en-US" sz="900" i="1" dirty="0">
                <a:solidFill>
                  <a:schemeClr val="bg1"/>
                </a:solidFill>
              </a:rPr>
              <a:t>Senior Debt</a:t>
            </a:r>
          </a:p>
        </p:txBody>
      </p:sp>
      <p:sp>
        <p:nvSpPr>
          <p:cNvPr id="33" name="Rounded Rectangle 32">
            <a:extLst>
              <a:ext uri="{FF2B5EF4-FFF2-40B4-BE49-F238E27FC236}">
                <a16:creationId xmlns:a16="http://schemas.microsoft.com/office/drawing/2014/main" id="{31A12197-8271-F314-504A-568A99544CAD}"/>
              </a:ext>
            </a:extLst>
          </p:cNvPr>
          <p:cNvSpPr/>
          <p:nvPr/>
        </p:nvSpPr>
        <p:spPr bwMode="gray">
          <a:xfrm>
            <a:off x="1874833" y="3254375"/>
            <a:ext cx="1232512" cy="490260"/>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Sarulla Ops. Ltd</a:t>
            </a:r>
            <a:r>
              <a:rPr lang="en-US" sz="900" dirty="0">
                <a:solidFill>
                  <a:schemeClr val="tx1"/>
                </a:solidFill>
              </a:rPr>
              <a:t>,         </a:t>
            </a:r>
            <a:r>
              <a:rPr lang="en-US" sz="900" i="1" dirty="0">
                <a:solidFill>
                  <a:schemeClr val="tx1"/>
                </a:solidFill>
              </a:rPr>
              <a:t>Geothermal plant</a:t>
            </a:r>
          </a:p>
        </p:txBody>
      </p:sp>
      <p:sp>
        <p:nvSpPr>
          <p:cNvPr id="34" name="Rounded Rectangle 33">
            <a:extLst>
              <a:ext uri="{FF2B5EF4-FFF2-40B4-BE49-F238E27FC236}">
                <a16:creationId xmlns:a16="http://schemas.microsoft.com/office/drawing/2014/main" id="{431FC20E-B8D4-D86C-E260-546D80144FED}"/>
              </a:ext>
            </a:extLst>
          </p:cNvPr>
          <p:cNvSpPr/>
          <p:nvPr/>
        </p:nvSpPr>
        <p:spPr bwMode="gray">
          <a:xfrm>
            <a:off x="314321" y="4146550"/>
            <a:ext cx="752361" cy="576135"/>
          </a:xfrm>
          <a:prstGeom prst="roundRect">
            <a:avLst/>
          </a:prstGeom>
          <a:solidFill>
            <a:srgbClr val="33A3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JBIC      </a:t>
            </a:r>
            <a:r>
              <a:rPr lang="en-US" sz="900" i="1" dirty="0">
                <a:solidFill>
                  <a:schemeClr val="bg1"/>
                </a:solidFill>
              </a:rPr>
              <a:t>Senior Debt</a:t>
            </a:r>
          </a:p>
        </p:txBody>
      </p:sp>
      <p:sp>
        <p:nvSpPr>
          <p:cNvPr id="35" name="Rounded Rectangle 34">
            <a:extLst>
              <a:ext uri="{FF2B5EF4-FFF2-40B4-BE49-F238E27FC236}">
                <a16:creationId xmlns:a16="http://schemas.microsoft.com/office/drawing/2014/main" id="{B24D80A5-9DA6-AFED-BEC1-4D6E6FBD2869}"/>
              </a:ext>
            </a:extLst>
          </p:cNvPr>
          <p:cNvSpPr/>
          <p:nvPr/>
        </p:nvSpPr>
        <p:spPr bwMode="gray">
          <a:xfrm>
            <a:off x="1236658" y="4140200"/>
            <a:ext cx="749551" cy="576135"/>
          </a:xfrm>
          <a:prstGeom prst="roundRect">
            <a:avLst/>
          </a:prstGeom>
          <a:solidFill>
            <a:srgbClr val="D022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ADB        </a:t>
            </a:r>
            <a:r>
              <a:rPr lang="en-US" sz="900" i="1" dirty="0">
                <a:solidFill>
                  <a:schemeClr val="bg1"/>
                </a:solidFill>
              </a:rPr>
              <a:t>Senior Debt</a:t>
            </a:r>
          </a:p>
        </p:txBody>
      </p:sp>
      <p:sp>
        <p:nvSpPr>
          <p:cNvPr id="36" name="Rounded Rectangle 35">
            <a:extLst>
              <a:ext uri="{FF2B5EF4-FFF2-40B4-BE49-F238E27FC236}">
                <a16:creationId xmlns:a16="http://schemas.microsoft.com/office/drawing/2014/main" id="{A4447DC9-B459-B215-90A0-1E8D32EF90EA}"/>
              </a:ext>
            </a:extLst>
          </p:cNvPr>
          <p:cNvSpPr/>
          <p:nvPr/>
        </p:nvSpPr>
        <p:spPr bwMode="gray">
          <a:xfrm>
            <a:off x="315908" y="3249613"/>
            <a:ext cx="931116" cy="476589"/>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Govt of Indonesia,  </a:t>
            </a:r>
            <a:r>
              <a:rPr lang="en-US" sz="900" i="1" dirty="0">
                <a:solidFill>
                  <a:schemeClr val="tx1"/>
                </a:solidFill>
              </a:rPr>
              <a:t>Guarantee</a:t>
            </a:r>
          </a:p>
        </p:txBody>
      </p:sp>
      <p:sp>
        <p:nvSpPr>
          <p:cNvPr id="37" name="Rounded Rectangle 36">
            <a:extLst>
              <a:ext uri="{FF2B5EF4-FFF2-40B4-BE49-F238E27FC236}">
                <a16:creationId xmlns:a16="http://schemas.microsoft.com/office/drawing/2014/main" id="{9B6A56AC-EDD4-17A8-1FCB-11FDE8A6759A}"/>
              </a:ext>
            </a:extLst>
          </p:cNvPr>
          <p:cNvSpPr/>
          <p:nvPr/>
        </p:nvSpPr>
        <p:spPr bwMode="gray">
          <a:xfrm>
            <a:off x="309558" y="2346325"/>
            <a:ext cx="714753" cy="520527"/>
          </a:xfrm>
          <a:prstGeom prst="round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Medco.    </a:t>
            </a:r>
            <a:r>
              <a:rPr lang="en-US" sz="900" i="1" dirty="0">
                <a:solidFill>
                  <a:schemeClr val="bg1"/>
                </a:solidFill>
              </a:rPr>
              <a:t>19%, Equity</a:t>
            </a:r>
          </a:p>
        </p:txBody>
      </p:sp>
      <p:sp>
        <p:nvSpPr>
          <p:cNvPr id="38" name="Rounded Rectangle 37">
            <a:extLst>
              <a:ext uri="{FF2B5EF4-FFF2-40B4-BE49-F238E27FC236}">
                <a16:creationId xmlns:a16="http://schemas.microsoft.com/office/drawing/2014/main" id="{B3BBEE2B-31B7-B08E-6645-AC75A8E2ACC9}"/>
              </a:ext>
            </a:extLst>
          </p:cNvPr>
          <p:cNvSpPr/>
          <p:nvPr/>
        </p:nvSpPr>
        <p:spPr bwMode="gray">
          <a:xfrm>
            <a:off x="1246183" y="2354263"/>
            <a:ext cx="740069" cy="520527"/>
          </a:xfrm>
          <a:prstGeom prst="round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Inpex    </a:t>
            </a:r>
            <a:r>
              <a:rPr lang="en-US" sz="900" i="1" dirty="0">
                <a:solidFill>
                  <a:schemeClr val="bg1"/>
                </a:solidFill>
              </a:rPr>
              <a:t>18.25%, Equity</a:t>
            </a:r>
          </a:p>
        </p:txBody>
      </p:sp>
      <p:sp>
        <p:nvSpPr>
          <p:cNvPr id="39" name="Rounded Rectangle 38">
            <a:extLst>
              <a:ext uri="{FF2B5EF4-FFF2-40B4-BE49-F238E27FC236}">
                <a16:creationId xmlns:a16="http://schemas.microsoft.com/office/drawing/2014/main" id="{8AF8A9E3-3670-72F0-2F79-2845EEB3573B}"/>
              </a:ext>
            </a:extLst>
          </p:cNvPr>
          <p:cNvSpPr/>
          <p:nvPr/>
        </p:nvSpPr>
        <p:spPr bwMode="gray">
          <a:xfrm>
            <a:off x="2208208" y="2354263"/>
            <a:ext cx="684945" cy="520527"/>
          </a:xfrm>
          <a:prstGeom prst="round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Itochu   </a:t>
            </a:r>
            <a:r>
              <a:rPr lang="en-US" sz="900" dirty="0">
                <a:solidFill>
                  <a:schemeClr val="bg1"/>
                </a:solidFill>
              </a:rPr>
              <a:t>   </a:t>
            </a:r>
            <a:r>
              <a:rPr lang="en-US" sz="900" i="1" dirty="0">
                <a:solidFill>
                  <a:schemeClr val="bg1"/>
                </a:solidFill>
              </a:rPr>
              <a:t>25%, Equity</a:t>
            </a:r>
          </a:p>
        </p:txBody>
      </p:sp>
      <p:sp>
        <p:nvSpPr>
          <p:cNvPr id="40" name="Rounded Rectangle 39">
            <a:extLst>
              <a:ext uri="{FF2B5EF4-FFF2-40B4-BE49-F238E27FC236}">
                <a16:creationId xmlns:a16="http://schemas.microsoft.com/office/drawing/2014/main" id="{CC6566AB-8E17-44CE-1540-E9AB54E0D3AA}"/>
              </a:ext>
            </a:extLst>
          </p:cNvPr>
          <p:cNvSpPr/>
          <p:nvPr/>
        </p:nvSpPr>
        <p:spPr bwMode="gray">
          <a:xfrm>
            <a:off x="3114671" y="2346325"/>
            <a:ext cx="681786" cy="520527"/>
          </a:xfrm>
          <a:prstGeom prst="round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Kyuden    </a:t>
            </a:r>
            <a:r>
              <a:rPr lang="en-US" sz="900" i="1" dirty="0">
                <a:solidFill>
                  <a:schemeClr val="bg1"/>
                </a:solidFill>
              </a:rPr>
              <a:t>25%, Equity</a:t>
            </a:r>
          </a:p>
        </p:txBody>
      </p:sp>
      <p:sp>
        <p:nvSpPr>
          <p:cNvPr id="41" name="Rounded Rectangle 40">
            <a:extLst>
              <a:ext uri="{FF2B5EF4-FFF2-40B4-BE49-F238E27FC236}">
                <a16:creationId xmlns:a16="http://schemas.microsoft.com/office/drawing/2014/main" id="{1ECE13B6-1906-6136-1F73-A8F234645158}"/>
              </a:ext>
            </a:extLst>
          </p:cNvPr>
          <p:cNvSpPr/>
          <p:nvPr/>
        </p:nvSpPr>
        <p:spPr bwMode="gray">
          <a:xfrm>
            <a:off x="4019546" y="2332038"/>
            <a:ext cx="664609" cy="520527"/>
          </a:xfrm>
          <a:prstGeom prst="round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Ormat</a:t>
            </a:r>
            <a:r>
              <a:rPr lang="en-US" sz="900" dirty="0">
                <a:solidFill>
                  <a:schemeClr val="bg1"/>
                </a:solidFill>
              </a:rPr>
              <a:t>  </a:t>
            </a:r>
            <a:r>
              <a:rPr lang="en-US" sz="900" i="1" dirty="0">
                <a:solidFill>
                  <a:schemeClr val="bg1"/>
                </a:solidFill>
              </a:rPr>
              <a:t>12.75%, Equity</a:t>
            </a:r>
          </a:p>
        </p:txBody>
      </p:sp>
      <p:sp>
        <p:nvSpPr>
          <p:cNvPr id="42" name="Rounded Rectangle 41">
            <a:extLst>
              <a:ext uri="{FF2B5EF4-FFF2-40B4-BE49-F238E27FC236}">
                <a16:creationId xmlns:a16="http://schemas.microsoft.com/office/drawing/2014/main" id="{B4F47C22-7443-15D0-EA71-967F997DC3EA}"/>
              </a:ext>
            </a:extLst>
          </p:cNvPr>
          <p:cNvSpPr/>
          <p:nvPr/>
        </p:nvSpPr>
        <p:spPr bwMode="gray">
          <a:xfrm>
            <a:off x="3041646" y="4160838"/>
            <a:ext cx="776318" cy="537388"/>
          </a:xfrm>
          <a:prstGeom prst="round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bg1"/>
                </a:solidFill>
              </a:rPr>
              <a:t>Mezzanine Debt</a:t>
            </a:r>
            <a:endParaRPr lang="en-US" sz="900" i="1" dirty="0">
              <a:solidFill>
                <a:schemeClr val="bg1"/>
              </a:solidFill>
            </a:endParaRPr>
          </a:p>
        </p:txBody>
      </p:sp>
      <p:sp>
        <p:nvSpPr>
          <p:cNvPr id="43" name="Rounded Rectangle 42">
            <a:extLst>
              <a:ext uri="{FF2B5EF4-FFF2-40B4-BE49-F238E27FC236}">
                <a16:creationId xmlns:a16="http://schemas.microsoft.com/office/drawing/2014/main" id="{E5C4E54F-7740-0553-3072-E3E09FA7540B}"/>
              </a:ext>
            </a:extLst>
          </p:cNvPr>
          <p:cNvSpPr/>
          <p:nvPr/>
        </p:nvSpPr>
        <p:spPr bwMode="gray">
          <a:xfrm>
            <a:off x="4011608" y="3151188"/>
            <a:ext cx="786330" cy="460511"/>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PLN         </a:t>
            </a:r>
            <a:r>
              <a:rPr lang="en-US" sz="900" i="1" dirty="0">
                <a:solidFill>
                  <a:schemeClr val="tx1"/>
                </a:solidFill>
              </a:rPr>
              <a:t>Off-taker</a:t>
            </a:r>
          </a:p>
        </p:txBody>
      </p:sp>
      <p:cxnSp>
        <p:nvCxnSpPr>
          <p:cNvPr id="44" name="Straight Arrow Connector 43">
            <a:extLst>
              <a:ext uri="{FF2B5EF4-FFF2-40B4-BE49-F238E27FC236}">
                <a16:creationId xmlns:a16="http://schemas.microsoft.com/office/drawing/2014/main" id="{16069509-92DA-CCDF-9A47-13537357D0F9}"/>
              </a:ext>
            </a:extLst>
          </p:cNvPr>
          <p:cNvCxnSpPr>
            <a:cxnSpLocks/>
          </p:cNvCxnSpPr>
          <p:nvPr/>
        </p:nvCxnSpPr>
        <p:spPr bwMode="gray">
          <a:xfrm>
            <a:off x="2513008" y="2995613"/>
            <a:ext cx="0" cy="210861"/>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DAFBC1-DC8F-85FE-802C-784CD5F43781}"/>
              </a:ext>
            </a:extLst>
          </p:cNvPr>
          <p:cNvCxnSpPr>
            <a:cxnSpLocks/>
          </p:cNvCxnSpPr>
          <p:nvPr/>
        </p:nvCxnSpPr>
        <p:spPr bwMode="gray">
          <a:xfrm>
            <a:off x="638171" y="2995613"/>
            <a:ext cx="3708400" cy="605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728C97F-47E7-86C7-413A-D77DF84462A9}"/>
              </a:ext>
            </a:extLst>
          </p:cNvPr>
          <p:cNvCxnSpPr>
            <a:cxnSpLocks/>
          </p:cNvCxnSpPr>
          <p:nvPr/>
        </p:nvCxnSpPr>
        <p:spPr bwMode="gray">
          <a:xfrm flipV="1">
            <a:off x="2182808" y="3762375"/>
            <a:ext cx="0" cy="21274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F986627-2B2A-4B21-7F89-307010685E51}"/>
              </a:ext>
            </a:extLst>
          </p:cNvPr>
          <p:cNvCxnSpPr>
            <a:cxnSpLocks/>
          </p:cNvCxnSpPr>
          <p:nvPr/>
        </p:nvCxnSpPr>
        <p:spPr bwMode="gray">
          <a:xfrm flipV="1">
            <a:off x="638171" y="28654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AD641D-A886-186C-1341-E1D57A9F46FA}"/>
              </a:ext>
            </a:extLst>
          </p:cNvPr>
          <p:cNvCxnSpPr>
            <a:cxnSpLocks/>
          </p:cNvCxnSpPr>
          <p:nvPr/>
        </p:nvCxnSpPr>
        <p:spPr bwMode="gray">
          <a:xfrm flipV="1">
            <a:off x="1628771" y="28654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257618-7619-6F3C-3952-45FF3D9C7B3A}"/>
              </a:ext>
            </a:extLst>
          </p:cNvPr>
          <p:cNvCxnSpPr>
            <a:cxnSpLocks/>
          </p:cNvCxnSpPr>
          <p:nvPr/>
        </p:nvCxnSpPr>
        <p:spPr bwMode="gray">
          <a:xfrm flipV="1">
            <a:off x="2505071" y="28654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5BDC1D-DCE4-AD6A-E2BD-3A9CF2D8E002}"/>
              </a:ext>
            </a:extLst>
          </p:cNvPr>
          <p:cNvCxnSpPr>
            <a:cxnSpLocks/>
          </p:cNvCxnSpPr>
          <p:nvPr/>
        </p:nvCxnSpPr>
        <p:spPr bwMode="gray">
          <a:xfrm flipV="1">
            <a:off x="3444871" y="28654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6BB8244-D643-7FC9-8D68-B84099E1079B}"/>
              </a:ext>
            </a:extLst>
          </p:cNvPr>
          <p:cNvCxnSpPr>
            <a:cxnSpLocks/>
          </p:cNvCxnSpPr>
          <p:nvPr/>
        </p:nvCxnSpPr>
        <p:spPr bwMode="gray">
          <a:xfrm flipV="1">
            <a:off x="4346571" y="28527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3508C95-A708-D536-B76D-DFA4442B07FE}"/>
              </a:ext>
            </a:extLst>
          </p:cNvPr>
          <p:cNvCxnSpPr>
            <a:cxnSpLocks/>
          </p:cNvCxnSpPr>
          <p:nvPr/>
        </p:nvCxnSpPr>
        <p:spPr bwMode="gray">
          <a:xfrm flipV="1">
            <a:off x="1571621" y="3986213"/>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5C9B215-7BB9-E050-3C7A-DE2252B41224}"/>
              </a:ext>
            </a:extLst>
          </p:cNvPr>
          <p:cNvCxnSpPr>
            <a:cxnSpLocks/>
          </p:cNvCxnSpPr>
          <p:nvPr/>
        </p:nvCxnSpPr>
        <p:spPr bwMode="gray">
          <a:xfrm flipV="1">
            <a:off x="558796" y="3973513"/>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145069C-E785-8724-E04C-BAEDC04AF0A2}"/>
              </a:ext>
            </a:extLst>
          </p:cNvPr>
          <p:cNvCxnSpPr>
            <a:cxnSpLocks/>
          </p:cNvCxnSpPr>
          <p:nvPr/>
        </p:nvCxnSpPr>
        <p:spPr bwMode="gray">
          <a:xfrm flipV="1">
            <a:off x="2505071" y="39957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C1FC118-3061-F0CB-CF95-5ED9D2CEF817}"/>
              </a:ext>
            </a:extLst>
          </p:cNvPr>
          <p:cNvCxnSpPr>
            <a:cxnSpLocks/>
          </p:cNvCxnSpPr>
          <p:nvPr/>
        </p:nvCxnSpPr>
        <p:spPr bwMode="gray">
          <a:xfrm flipV="1">
            <a:off x="3389308" y="3995738"/>
            <a:ext cx="1" cy="1371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2D6F652-1984-60F7-5FF5-BE50E427892A}"/>
              </a:ext>
            </a:extLst>
          </p:cNvPr>
          <p:cNvCxnSpPr>
            <a:cxnSpLocks/>
          </p:cNvCxnSpPr>
          <p:nvPr/>
        </p:nvCxnSpPr>
        <p:spPr bwMode="gray">
          <a:xfrm>
            <a:off x="1322383" y="3454400"/>
            <a:ext cx="512401"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E34E4F2-02C8-6B48-F6F8-D6AE6605E418}"/>
              </a:ext>
            </a:extLst>
          </p:cNvPr>
          <p:cNvCxnSpPr>
            <a:cxnSpLocks/>
          </p:cNvCxnSpPr>
          <p:nvPr/>
        </p:nvCxnSpPr>
        <p:spPr bwMode="gray">
          <a:xfrm>
            <a:off x="3154358" y="3448050"/>
            <a:ext cx="81917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8" name="Rounded Rectangle 57">
            <a:extLst>
              <a:ext uri="{FF2B5EF4-FFF2-40B4-BE49-F238E27FC236}">
                <a16:creationId xmlns:a16="http://schemas.microsoft.com/office/drawing/2014/main" id="{BDF35715-99B9-62C0-F3C1-988652CE9899}"/>
              </a:ext>
            </a:extLst>
          </p:cNvPr>
          <p:cNvSpPr/>
          <p:nvPr/>
        </p:nvSpPr>
        <p:spPr bwMode="gray">
          <a:xfrm>
            <a:off x="3998908" y="3905250"/>
            <a:ext cx="804538" cy="469166"/>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b="1" dirty="0">
                <a:solidFill>
                  <a:schemeClr val="tx1"/>
                </a:solidFill>
              </a:rPr>
              <a:t>Pertamina</a:t>
            </a:r>
            <a:endParaRPr lang="en-US" sz="900" i="1" dirty="0">
              <a:solidFill>
                <a:schemeClr val="tx1"/>
              </a:solidFill>
            </a:endParaRPr>
          </a:p>
        </p:txBody>
      </p:sp>
      <p:cxnSp>
        <p:nvCxnSpPr>
          <p:cNvPr id="59" name="Straight Connector 58">
            <a:extLst>
              <a:ext uri="{FF2B5EF4-FFF2-40B4-BE49-F238E27FC236}">
                <a16:creationId xmlns:a16="http://schemas.microsoft.com/office/drawing/2014/main" id="{0237901A-DF54-230B-A46C-0231F79BD4E6}"/>
              </a:ext>
            </a:extLst>
          </p:cNvPr>
          <p:cNvCxnSpPr>
            <a:cxnSpLocks/>
          </p:cNvCxnSpPr>
          <p:nvPr/>
        </p:nvCxnSpPr>
        <p:spPr bwMode="gray">
          <a:xfrm>
            <a:off x="558796" y="3986213"/>
            <a:ext cx="2830463" cy="1269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0BB8351-A95E-9C30-D19D-E803ECAD1C51}"/>
              </a:ext>
            </a:extLst>
          </p:cNvPr>
          <p:cNvCxnSpPr>
            <a:cxnSpLocks/>
          </p:cNvCxnSpPr>
          <p:nvPr/>
        </p:nvCxnSpPr>
        <p:spPr bwMode="gray">
          <a:xfrm>
            <a:off x="2974971" y="3944938"/>
            <a:ext cx="999253"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A77D7FE-552D-AE9E-7A9B-4FBA8A18A9F2}"/>
              </a:ext>
            </a:extLst>
          </p:cNvPr>
          <p:cNvCxnSpPr>
            <a:cxnSpLocks/>
          </p:cNvCxnSpPr>
          <p:nvPr/>
        </p:nvCxnSpPr>
        <p:spPr bwMode="gray">
          <a:xfrm flipV="1">
            <a:off x="2974971" y="3729038"/>
            <a:ext cx="0" cy="19843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BA0E11E-E107-9953-547C-32CE7C34B78B}"/>
              </a:ext>
            </a:extLst>
          </p:cNvPr>
          <p:cNvCxnSpPr>
            <a:stCxn id="43" idx="2"/>
            <a:endCxn id="58" idx="0"/>
          </p:cNvCxnSpPr>
          <p:nvPr/>
        </p:nvCxnSpPr>
        <p:spPr bwMode="gray">
          <a:xfrm flipH="1">
            <a:off x="4401177" y="3611699"/>
            <a:ext cx="3596" cy="293551"/>
          </a:xfrm>
          <a:prstGeom prst="straightConnector1">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96743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think-cell data - do not delete" hidden="1">
            <a:extLst>
              <a:ext uri="{FF2B5EF4-FFF2-40B4-BE49-F238E27FC236}">
                <a16:creationId xmlns:a16="http://schemas.microsoft.com/office/drawing/2014/main" id="{6A247037-9CB3-EECC-79CA-5A4B32A37873}"/>
              </a:ext>
            </a:extLst>
          </p:cNvPr>
          <p:cNvGraphicFramePr>
            <a:graphicFrameLocks/>
          </p:cNvGraphicFramePr>
          <p:nvPr>
            <p:custDataLst>
              <p:tags r:id="rId1"/>
            </p:custDataLst>
            <p:extLst>
              <p:ext uri="{D42A27DB-BD31-4B8C-83A1-F6EECF244321}">
                <p14:modId xmlns:p14="http://schemas.microsoft.com/office/powerpoint/2010/main" val="2937929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0" name=""/>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F9155AB-D35B-7DAA-6143-54082D1032EF}"/>
              </a:ext>
            </a:extLst>
          </p:cNvPr>
          <p:cNvSpPr>
            <a:spLocks noGrp="1"/>
          </p:cNvSpPr>
          <p:nvPr>
            <p:ph type="title"/>
          </p:nvPr>
        </p:nvSpPr>
        <p:spPr/>
        <p:txBody>
          <a:bodyPr vert="horz" rIns="91440"/>
          <a:lstStyle/>
          <a:p>
            <a:r>
              <a:rPr lang="en-US" dirty="0"/>
              <a:t>Oil &amp; gas expertise transfer can significantly reduce subsurface drilling costs, the largest component of geothermal construction</a:t>
            </a:r>
          </a:p>
        </p:txBody>
      </p:sp>
      <p:sp>
        <p:nvSpPr>
          <p:cNvPr id="5" name="Footer Placeholder 4">
            <a:extLst>
              <a:ext uri="{FF2B5EF4-FFF2-40B4-BE49-F238E27FC236}">
                <a16:creationId xmlns:a16="http://schemas.microsoft.com/office/drawing/2014/main" id="{87629204-95BD-630F-2132-34D9A3BA1A48}"/>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9"/>
              </a:rPr>
              <a:t>The Future of Geothermal Energy</a:t>
            </a:r>
            <a:r>
              <a:rPr lang="en-US" dirty="0"/>
              <a:t> </a:t>
            </a:r>
            <a:r>
              <a:rPr lang="en-US" dirty="0">
                <a:solidFill>
                  <a:srgbClr val="000000"/>
                </a:solidFill>
              </a:rPr>
              <a:t>(IEA,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40"/>
              </a:rPr>
              <a:t>Gernot Wagner.</a:t>
            </a:r>
            <a:r>
              <a:rPr lang="en-US" dirty="0">
                <a:solidFill>
                  <a:srgbClr val="000000"/>
                </a:solidFill>
              </a:rPr>
              <a:t> </a:t>
            </a:r>
            <a:r>
              <a:rPr lang="en-US" dirty="0">
                <a:hlinkClick r:id="rId4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5">
            <a:extLst>
              <a:ext uri="{FF2B5EF4-FFF2-40B4-BE49-F238E27FC236}">
                <a16:creationId xmlns:a16="http://schemas.microsoft.com/office/drawing/2014/main" id="{579F1BD0-D976-61C7-3E68-9BA7FB1E6A96}"/>
              </a:ext>
            </a:extLst>
          </p:cNvPr>
          <p:cNvSpPr>
            <a:spLocks noGrp="1"/>
          </p:cNvSpPr>
          <p:nvPr>
            <p:ph type="body" sz="quarter" idx="13"/>
          </p:nvPr>
        </p:nvSpPr>
        <p:spPr/>
        <p:txBody>
          <a:bodyPr/>
          <a:lstStyle/>
          <a:p>
            <a:r>
              <a:rPr lang="en-US" sz="1200" dirty="0"/>
              <a:t>Next-gen geothermal construction costs are projected to drop ~60-80% by 2050 …</a:t>
            </a:r>
          </a:p>
        </p:txBody>
      </p:sp>
      <p:sp>
        <p:nvSpPr>
          <p:cNvPr id="7" name="Text Placeholder 6">
            <a:extLst>
              <a:ext uri="{FF2B5EF4-FFF2-40B4-BE49-F238E27FC236}">
                <a16:creationId xmlns:a16="http://schemas.microsoft.com/office/drawing/2014/main" id="{72150D3A-3BAB-1933-A789-40CC45EC3F51}"/>
              </a:ext>
            </a:extLst>
          </p:cNvPr>
          <p:cNvSpPr>
            <a:spLocks noGrp="1"/>
          </p:cNvSpPr>
          <p:nvPr>
            <p:ph type="body" sz="quarter" idx="19"/>
          </p:nvPr>
        </p:nvSpPr>
        <p:spPr/>
        <p:txBody>
          <a:bodyPr/>
          <a:lstStyle/>
          <a:p>
            <a:r>
              <a:rPr lang="en-US" sz="1200" dirty="0"/>
              <a:t>… driven by oil &amp; gas expertise transfer; in the U.S., this can reduce costs by up to 80% of current baseline</a:t>
            </a:r>
          </a:p>
        </p:txBody>
      </p:sp>
      <p:sp>
        <p:nvSpPr>
          <p:cNvPr id="8" name="Text Placeholder 7">
            <a:extLst>
              <a:ext uri="{FF2B5EF4-FFF2-40B4-BE49-F238E27FC236}">
                <a16:creationId xmlns:a16="http://schemas.microsoft.com/office/drawing/2014/main" id="{26643401-9B1C-BA00-CC88-5FF079731857}"/>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1050" dirty="0"/>
              <a:t>Next-gen geothermal faces high upfront costs, with </a:t>
            </a:r>
            <a:r>
              <a:rPr lang="en-US" sz="1050" b="1" dirty="0"/>
              <a:t>subsurface drilling accounting for 60 to 80% of total expenses</a:t>
            </a:r>
            <a:r>
              <a:rPr lang="en-US" sz="1050" dirty="0"/>
              <a:t>.</a:t>
            </a:r>
          </a:p>
          <a:p>
            <a:endParaRPr lang="en-US" sz="1050" dirty="0"/>
          </a:p>
          <a:p>
            <a:r>
              <a:rPr lang="en-US" sz="1050" b="1" dirty="0"/>
              <a:t>Oil &amp; gas expertise </a:t>
            </a:r>
            <a:r>
              <a:rPr lang="en-US" sz="1050" dirty="0"/>
              <a:t>in drilling, supply chains, and modular plant design </a:t>
            </a:r>
            <a:r>
              <a:rPr lang="en-US" sz="1050" b="1" dirty="0"/>
              <a:t>is key to reducing costs</a:t>
            </a:r>
            <a:r>
              <a:rPr lang="en-US" sz="1050" dirty="0"/>
              <a:t>, driven by improved site planning, technology spillovers, economies of scale, and surface facility optimization, all areas where O&amp;G capabilities directly apply.</a:t>
            </a:r>
          </a:p>
          <a:p>
            <a:endParaRPr lang="en-US" sz="1050" dirty="0"/>
          </a:p>
          <a:p>
            <a:r>
              <a:rPr lang="en-US" sz="1050" dirty="0"/>
              <a:t>In a low-cost scenario, </a:t>
            </a:r>
            <a:r>
              <a:rPr lang="en-US" sz="1050" b="1" dirty="0"/>
              <a:t>effective O&amp;G knowledge transfer could cut costs by up to 80%</a:t>
            </a:r>
            <a:r>
              <a:rPr lang="en-US" sz="1050" dirty="0"/>
              <a:t>;</a:t>
            </a:r>
            <a:r>
              <a:rPr lang="en-US" sz="1050" b="1" dirty="0"/>
              <a:t> </a:t>
            </a:r>
            <a:r>
              <a:rPr lang="en-US" sz="1050" dirty="0"/>
              <a:t>the medium-cost case assumes more gradual progress and implementation barriers.</a:t>
            </a:r>
          </a:p>
          <a:p>
            <a:endParaRPr lang="en-US" dirty="0"/>
          </a:p>
        </p:txBody>
      </p:sp>
      <p:sp>
        <p:nvSpPr>
          <p:cNvPr id="9" name="Text Placeholder 1">
            <a:extLst>
              <a:ext uri="{FF2B5EF4-FFF2-40B4-BE49-F238E27FC236}">
                <a16:creationId xmlns:a16="http://schemas.microsoft.com/office/drawing/2014/main" id="{BB3D3279-FEF3-B136-6151-CD5A4D00E902}"/>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Oil &amp; gas transfer</a:t>
            </a:r>
          </a:p>
        </p:txBody>
      </p:sp>
      <p:cxnSp>
        <p:nvCxnSpPr>
          <p:cNvPr id="54" name="Straight Connector 53">
            <a:extLst>
              <a:ext uri="{FF2B5EF4-FFF2-40B4-BE49-F238E27FC236}">
                <a16:creationId xmlns:a16="http://schemas.microsoft.com/office/drawing/2014/main" id="{82B78196-EA5E-00C0-5DA6-41C507D7543D}"/>
              </a:ext>
            </a:extLst>
          </p:cNvPr>
          <p:cNvCxnSpPr/>
          <p:nvPr>
            <p:custDataLst>
              <p:tags r:id="rId2"/>
            </p:custDataLst>
          </p:nvPr>
        </p:nvCxnSpPr>
        <p:spPr bwMode="auto">
          <a:xfrm>
            <a:off x="5299075" y="2674938"/>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FDE099D1-02A9-1D3A-8714-F4EDE18F4C80}"/>
              </a:ext>
            </a:extLst>
          </p:cNvPr>
          <p:cNvCxnSpPr/>
          <p:nvPr>
            <p:custDataLst>
              <p:tags r:id="rId3"/>
            </p:custDataLst>
          </p:nvPr>
        </p:nvCxnSpPr>
        <p:spPr bwMode="auto">
          <a:xfrm>
            <a:off x="5913438" y="2884488"/>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DA0C136-4CBD-A3FE-AEEC-958DB8573097}"/>
              </a:ext>
            </a:extLst>
          </p:cNvPr>
          <p:cNvCxnSpPr/>
          <p:nvPr>
            <p:custDataLst>
              <p:tags r:id="rId4"/>
            </p:custDataLst>
          </p:nvPr>
        </p:nvCxnSpPr>
        <p:spPr bwMode="auto">
          <a:xfrm>
            <a:off x="6529388" y="3827463"/>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95FD28C-2C00-713F-AB32-CB37FF6B2360}"/>
              </a:ext>
            </a:extLst>
          </p:cNvPr>
          <p:cNvCxnSpPr/>
          <p:nvPr>
            <p:custDataLst>
              <p:tags r:id="rId5"/>
            </p:custDataLst>
          </p:nvPr>
        </p:nvCxnSpPr>
        <p:spPr bwMode="auto">
          <a:xfrm>
            <a:off x="7143750" y="4518025"/>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111F2E1-9036-A9F9-4B53-ACCA58C26A32}"/>
              </a:ext>
            </a:extLst>
          </p:cNvPr>
          <p:cNvCxnSpPr/>
          <p:nvPr>
            <p:custDataLst>
              <p:tags r:id="rId6"/>
            </p:custDataLst>
          </p:nvPr>
        </p:nvCxnSpPr>
        <p:spPr bwMode="auto">
          <a:xfrm>
            <a:off x="7759700" y="4957763"/>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0667EA3-4F27-042C-A5E8-79465E43B6A7}"/>
              </a:ext>
            </a:extLst>
          </p:cNvPr>
          <p:cNvCxnSpPr/>
          <p:nvPr>
            <p:custDataLst>
              <p:tags r:id="rId7"/>
            </p:custDataLst>
          </p:nvPr>
        </p:nvCxnSpPr>
        <p:spPr bwMode="auto">
          <a:xfrm>
            <a:off x="8374063" y="5187950"/>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9" name="Chart 98">
            <a:extLst>
              <a:ext uri="{FF2B5EF4-FFF2-40B4-BE49-F238E27FC236}">
                <a16:creationId xmlns:a16="http://schemas.microsoft.com/office/drawing/2014/main" id="{7B262744-1750-4CBF-C788-6A94BC9F1230}"/>
              </a:ext>
            </a:extLst>
          </p:cNvPr>
          <p:cNvGraphicFramePr/>
          <p:nvPr>
            <p:custDataLst>
              <p:tags r:id="rId8"/>
            </p:custDataLst>
            <p:extLst>
              <p:ext uri="{D42A27DB-BD31-4B8C-83A1-F6EECF244321}">
                <p14:modId xmlns:p14="http://schemas.microsoft.com/office/powerpoint/2010/main" val="3267596116"/>
              </p:ext>
            </p:extLst>
          </p:nvPr>
        </p:nvGraphicFramePr>
        <p:xfrm>
          <a:off x="4737100" y="2592388"/>
          <a:ext cx="4471988" cy="3306762"/>
        </p:xfrm>
        <a:graphic>
          <a:graphicData uri="http://schemas.openxmlformats.org/drawingml/2006/chart">
            <c:chart xmlns:c="http://schemas.openxmlformats.org/drawingml/2006/chart" xmlns:r="http://schemas.openxmlformats.org/officeDocument/2006/relationships" r:id="rId42"/>
          </a:graphicData>
        </a:graphic>
      </p:graphicFrame>
      <p:sp>
        <p:nvSpPr>
          <p:cNvPr id="61" name="Text Placeholder 10">
            <a:extLst>
              <a:ext uri="{FF2B5EF4-FFF2-40B4-BE49-F238E27FC236}">
                <a16:creationId xmlns:a16="http://schemas.microsoft.com/office/drawing/2014/main" id="{7186F692-6459-3CD3-FA3E-26686E8CE883}"/>
              </a:ext>
            </a:extLst>
          </p:cNvPr>
          <p:cNvSpPr>
            <a:spLocks/>
          </p:cNvSpPr>
          <p:nvPr>
            <p:custDataLst>
              <p:tags r:id="rId9"/>
            </p:custDataLst>
          </p:nvPr>
        </p:nvSpPr>
        <p:spPr bwMode="gray">
          <a:xfrm>
            <a:off x="4911725" y="4154488"/>
            <a:ext cx="431800"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429BAE-9E2F-42D7-BC33-071AD1EA8BEE}" type="datetime'''''''''''1''''''''''''''''''0''''''''''0''''''''%'''">
              <a:rPr lang="en-US" altLang="en-US" sz="1200" smtClean="0">
                <a:solidFill>
                  <a:schemeClr val="bg1"/>
                </a:solidFill>
              </a:rPr>
              <a:pPr marL="0" lvl="0" indent="0" algn="ctr">
                <a:spcBef>
                  <a:spcPct val="0"/>
                </a:spcBef>
                <a:spcAft>
                  <a:spcPct val="0"/>
                </a:spcAft>
                <a:buNone/>
              </a:pPr>
              <a:t>100%</a:t>
            </a:fld>
            <a:endParaRPr lang="en-US" sz="1200" dirty="0">
              <a:solidFill>
                <a:schemeClr val="bg1"/>
              </a:solidFill>
            </a:endParaRPr>
          </a:p>
        </p:txBody>
      </p:sp>
      <p:sp>
        <p:nvSpPr>
          <p:cNvPr id="62" name="Text Placeholder 10">
            <a:extLst>
              <a:ext uri="{FF2B5EF4-FFF2-40B4-BE49-F238E27FC236}">
                <a16:creationId xmlns:a16="http://schemas.microsoft.com/office/drawing/2014/main" id="{8A27E135-4C0D-3E1F-EC84-C99D2040AF39}"/>
              </a:ext>
            </a:extLst>
          </p:cNvPr>
          <p:cNvSpPr>
            <a:spLocks/>
          </p:cNvSpPr>
          <p:nvPr>
            <p:custDataLst>
              <p:tags r:id="rId10"/>
            </p:custDataLst>
          </p:nvPr>
        </p:nvSpPr>
        <p:spPr bwMode="auto">
          <a:xfrm>
            <a:off x="4879975" y="5859463"/>
            <a:ext cx="4968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BB065B-806E-4734-AC62-18C3D90A6797}" type="datetime'B''a''s''''e''l''''in''''''e ''''''''Co''''''''''''s''t'''''''">
              <a:rPr lang="en-US" altLang="en-US" sz="1000" smtClean="0"/>
              <a:pPr marL="0" lvl="0" indent="0" algn="ctr">
                <a:spcBef>
                  <a:spcPct val="0"/>
                </a:spcBef>
                <a:spcAft>
                  <a:spcPct val="0"/>
                </a:spcAft>
                <a:buNone/>
              </a:pPr>
              <a:t>Baseline Cost</a:t>
            </a:fld>
            <a:endParaRPr lang="en-US" sz="1000" dirty="0"/>
          </a:p>
        </p:txBody>
      </p:sp>
      <p:sp>
        <p:nvSpPr>
          <p:cNvPr id="63" name="Text Placeholder 10">
            <a:extLst>
              <a:ext uri="{FF2B5EF4-FFF2-40B4-BE49-F238E27FC236}">
                <a16:creationId xmlns:a16="http://schemas.microsoft.com/office/drawing/2014/main" id="{D576F7BA-5626-189A-9CD4-68352712366B}"/>
              </a:ext>
            </a:extLst>
          </p:cNvPr>
          <p:cNvSpPr>
            <a:spLocks/>
          </p:cNvSpPr>
          <p:nvPr>
            <p:custDataLst>
              <p:tags r:id="rId11"/>
            </p:custDataLst>
          </p:nvPr>
        </p:nvSpPr>
        <p:spPr bwMode="gray">
          <a:xfrm>
            <a:off x="5610225" y="26892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A5A234-D5C8-484C-AAD0-1026DDBAEF4B}"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64" name="Text Placeholder 10">
            <a:extLst>
              <a:ext uri="{FF2B5EF4-FFF2-40B4-BE49-F238E27FC236}">
                <a16:creationId xmlns:a16="http://schemas.microsoft.com/office/drawing/2014/main" id="{8B4F9853-4FA3-33A7-AF67-55BB4188B1C3}"/>
              </a:ext>
            </a:extLst>
          </p:cNvPr>
          <p:cNvSpPr>
            <a:spLocks/>
          </p:cNvSpPr>
          <p:nvPr>
            <p:custDataLst>
              <p:tags r:id="rId12"/>
            </p:custDataLst>
          </p:nvPr>
        </p:nvSpPr>
        <p:spPr bwMode="auto">
          <a:xfrm>
            <a:off x="5441950" y="5859463"/>
            <a:ext cx="6016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0CF71B-D676-498E-AD95-515D5F93E776}" type="datetime'E''va''''l''''''''u''''a''''ti''''''on'' &amp; ''''P''lan''nin''g'">
              <a:rPr lang="en-US" altLang="en-US" sz="1000" smtClean="0"/>
              <a:pPr marL="0" lvl="0" indent="0" algn="ctr">
                <a:spcBef>
                  <a:spcPct val="0"/>
                </a:spcBef>
                <a:spcAft>
                  <a:spcPct val="0"/>
                </a:spcAft>
                <a:buNone/>
              </a:pPr>
              <a:t>Evaluation &amp; Planning</a:t>
            </a:fld>
            <a:endParaRPr lang="en-US" sz="1000" dirty="0"/>
          </a:p>
        </p:txBody>
      </p:sp>
      <p:sp>
        <p:nvSpPr>
          <p:cNvPr id="65" name="Text Placeholder 10">
            <a:extLst>
              <a:ext uri="{FF2B5EF4-FFF2-40B4-BE49-F238E27FC236}">
                <a16:creationId xmlns:a16="http://schemas.microsoft.com/office/drawing/2014/main" id="{AB2BF9FF-C083-788E-7620-D597E197DFD7}"/>
              </a:ext>
            </a:extLst>
          </p:cNvPr>
          <p:cNvSpPr>
            <a:spLocks/>
          </p:cNvSpPr>
          <p:nvPr>
            <p:custDataLst>
              <p:tags r:id="rId13"/>
            </p:custDataLst>
          </p:nvPr>
        </p:nvSpPr>
        <p:spPr bwMode="gray">
          <a:xfrm>
            <a:off x="6184900" y="32654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68D20E-0349-4C6B-A9F0-A4E89E878BEF}" type="datetime'''''''''3''''''''''''''''''''''''''''''''''''''''''0''''''%'">
              <a:rPr lang="en-US" altLang="en-US" sz="1200" smtClean="0">
                <a:solidFill>
                  <a:schemeClr val="bg1"/>
                </a:solidFill>
              </a:rPr>
              <a:pPr marL="0" lvl="0" indent="0" algn="ctr">
                <a:spcBef>
                  <a:spcPct val="0"/>
                </a:spcBef>
                <a:spcAft>
                  <a:spcPct val="0"/>
                </a:spcAft>
                <a:buNone/>
              </a:pPr>
              <a:t>30%</a:t>
            </a:fld>
            <a:endParaRPr lang="en-US" sz="1200" dirty="0">
              <a:solidFill>
                <a:schemeClr val="bg1"/>
              </a:solidFill>
            </a:endParaRPr>
          </a:p>
        </p:txBody>
      </p:sp>
      <p:sp>
        <p:nvSpPr>
          <p:cNvPr id="66" name="Text Placeholder 10">
            <a:extLst>
              <a:ext uri="{FF2B5EF4-FFF2-40B4-BE49-F238E27FC236}">
                <a16:creationId xmlns:a16="http://schemas.microsoft.com/office/drawing/2014/main" id="{3AD0486E-C7CE-1072-FF84-86752EA650C2}"/>
              </a:ext>
            </a:extLst>
          </p:cNvPr>
          <p:cNvSpPr>
            <a:spLocks/>
          </p:cNvSpPr>
          <p:nvPr>
            <p:custDataLst>
              <p:tags r:id="rId14"/>
            </p:custDataLst>
          </p:nvPr>
        </p:nvSpPr>
        <p:spPr bwMode="auto">
          <a:xfrm>
            <a:off x="6081713" y="5859463"/>
            <a:ext cx="554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807484-A042-4F9E-A102-7E871FBB74A8}" type="datetime'''''R''e''''''''''s''''e''''a''''''''r''''''''''c''''''''''h'">
              <a:rPr lang="en-US" altLang="en-US" sz="1000" smtClean="0"/>
              <a:pPr marL="0" lvl="0" indent="0" algn="ctr">
                <a:spcBef>
                  <a:spcPct val="0"/>
                </a:spcBef>
                <a:spcAft>
                  <a:spcPct val="0"/>
                </a:spcAft>
                <a:buNone/>
              </a:pPr>
              <a:t>Research</a:t>
            </a:fld>
            <a:endParaRPr lang="en-US" sz="1000" dirty="0"/>
          </a:p>
        </p:txBody>
      </p:sp>
      <p:sp>
        <p:nvSpPr>
          <p:cNvPr id="67" name="Text Placeholder 10">
            <a:extLst>
              <a:ext uri="{FF2B5EF4-FFF2-40B4-BE49-F238E27FC236}">
                <a16:creationId xmlns:a16="http://schemas.microsoft.com/office/drawing/2014/main" id="{94F55FCC-E3D7-91E8-9879-B97143816C41}"/>
              </a:ext>
            </a:extLst>
          </p:cNvPr>
          <p:cNvSpPr>
            <a:spLocks/>
          </p:cNvSpPr>
          <p:nvPr>
            <p:custDataLst>
              <p:tags r:id="rId15"/>
            </p:custDataLst>
          </p:nvPr>
        </p:nvSpPr>
        <p:spPr bwMode="gray">
          <a:xfrm>
            <a:off x="6799263" y="40814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A7FD74-22C5-4299-9877-08CC837A3A94}" type="datetime'''''''''''''''2''''''''''''''2%'''''''''''''">
              <a:rPr lang="en-US" altLang="en-US" sz="1200" smtClean="0">
                <a:solidFill>
                  <a:schemeClr val="bg1"/>
                </a:solidFill>
              </a:rPr>
              <a:pPr marL="0" lvl="0" indent="0" algn="ctr">
                <a:spcBef>
                  <a:spcPct val="0"/>
                </a:spcBef>
                <a:spcAft>
                  <a:spcPct val="0"/>
                </a:spcAft>
                <a:buNone/>
              </a:pPr>
              <a:t>22%</a:t>
            </a:fld>
            <a:endParaRPr lang="en-US" sz="1200" dirty="0">
              <a:solidFill>
                <a:schemeClr val="bg1"/>
              </a:solidFill>
            </a:endParaRPr>
          </a:p>
        </p:txBody>
      </p:sp>
      <p:sp>
        <p:nvSpPr>
          <p:cNvPr id="68" name="Text Placeholder 10">
            <a:extLst>
              <a:ext uri="{FF2B5EF4-FFF2-40B4-BE49-F238E27FC236}">
                <a16:creationId xmlns:a16="http://schemas.microsoft.com/office/drawing/2014/main" id="{3B6F39DF-ECFD-FB5B-EDF4-2342B14BA0F0}"/>
              </a:ext>
            </a:extLst>
          </p:cNvPr>
          <p:cNvSpPr>
            <a:spLocks/>
          </p:cNvSpPr>
          <p:nvPr>
            <p:custDataLst>
              <p:tags r:id="rId16"/>
            </p:custDataLst>
          </p:nvPr>
        </p:nvSpPr>
        <p:spPr bwMode="auto">
          <a:xfrm>
            <a:off x="6723063" y="5859463"/>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AB42A3-CCA4-4DEE-9DBD-BBFFE03495C9}" type="datetime'S''''p''i''''''''''l''lo''''v''''e''''''''''''''r'''''''''''''">
              <a:rPr lang="en-US" altLang="en-US" sz="1000" smtClean="0"/>
              <a:pPr marL="0" lvl="0" indent="0" algn="ctr">
                <a:spcBef>
                  <a:spcPct val="0"/>
                </a:spcBef>
                <a:spcAft>
                  <a:spcPct val="0"/>
                </a:spcAft>
                <a:buNone/>
              </a:pPr>
              <a:t>Spillover</a:t>
            </a:fld>
            <a:endParaRPr lang="en-US" sz="1000" dirty="0"/>
          </a:p>
        </p:txBody>
      </p:sp>
      <p:sp>
        <p:nvSpPr>
          <p:cNvPr id="69" name="Text Placeholder 10">
            <a:extLst>
              <a:ext uri="{FF2B5EF4-FFF2-40B4-BE49-F238E27FC236}">
                <a16:creationId xmlns:a16="http://schemas.microsoft.com/office/drawing/2014/main" id="{24338616-BEA9-0C3F-2595-2CA9B15EB57B}"/>
              </a:ext>
            </a:extLst>
          </p:cNvPr>
          <p:cNvSpPr>
            <a:spLocks/>
          </p:cNvSpPr>
          <p:nvPr>
            <p:custDataLst>
              <p:tags r:id="rId17"/>
            </p:custDataLst>
          </p:nvPr>
        </p:nvSpPr>
        <p:spPr bwMode="gray">
          <a:xfrm>
            <a:off x="7415213" y="46466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67C813-B279-48A0-B522-2C4A9853585C}" type="datetime'''''''''1''''''''4%'''''''''''''''''''''">
              <a:rPr lang="en-US" altLang="en-US" sz="1200" smtClean="0">
                <a:solidFill>
                  <a:schemeClr val="bg1"/>
                </a:solidFill>
              </a:rPr>
              <a:pPr marL="0" lvl="0" indent="0" algn="ctr">
                <a:spcBef>
                  <a:spcPct val="0"/>
                </a:spcBef>
                <a:spcAft>
                  <a:spcPct val="0"/>
                </a:spcAft>
                <a:buNone/>
              </a:pPr>
              <a:t>14%</a:t>
            </a:fld>
            <a:endParaRPr lang="en-US" sz="1200" dirty="0">
              <a:solidFill>
                <a:schemeClr val="bg1"/>
              </a:solidFill>
            </a:endParaRPr>
          </a:p>
        </p:txBody>
      </p:sp>
      <p:sp>
        <p:nvSpPr>
          <p:cNvPr id="70" name="Text Placeholder 10">
            <a:extLst>
              <a:ext uri="{FF2B5EF4-FFF2-40B4-BE49-F238E27FC236}">
                <a16:creationId xmlns:a16="http://schemas.microsoft.com/office/drawing/2014/main" id="{A05A0CAC-7DD8-A9A9-1B03-26F0CAA8DC48}"/>
              </a:ext>
            </a:extLst>
          </p:cNvPr>
          <p:cNvSpPr>
            <a:spLocks/>
          </p:cNvSpPr>
          <p:nvPr>
            <p:custDataLst>
              <p:tags r:id="rId18"/>
            </p:custDataLst>
          </p:nvPr>
        </p:nvSpPr>
        <p:spPr bwMode="auto">
          <a:xfrm>
            <a:off x="7269163" y="5859463"/>
            <a:ext cx="6381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18FB2C-44CF-4FFF-8675-489A56B899E4}" type="datetime'E''''con''''''o''''mi''''''''''es'' o''''''f'''' Scale'">
              <a:rPr lang="en-US" altLang="en-US" sz="1000" smtClean="0"/>
              <a:pPr marL="0" lvl="0" indent="0" algn="ctr">
                <a:spcBef>
                  <a:spcPct val="0"/>
                </a:spcBef>
                <a:spcAft>
                  <a:spcPct val="0"/>
                </a:spcAft>
                <a:buNone/>
              </a:pPr>
              <a:t>Economies of Scale</a:t>
            </a:fld>
            <a:endParaRPr lang="en-US" sz="1000" dirty="0"/>
          </a:p>
        </p:txBody>
      </p:sp>
      <p:sp>
        <p:nvSpPr>
          <p:cNvPr id="71" name="Text Placeholder 10">
            <a:extLst>
              <a:ext uri="{FF2B5EF4-FFF2-40B4-BE49-F238E27FC236}">
                <a16:creationId xmlns:a16="http://schemas.microsoft.com/office/drawing/2014/main" id="{EC0D006A-F42E-3262-0273-2B83F67920F6}"/>
              </a:ext>
            </a:extLst>
          </p:cNvPr>
          <p:cNvSpPr>
            <a:spLocks/>
          </p:cNvSpPr>
          <p:nvPr>
            <p:custDataLst>
              <p:tags r:id="rId19"/>
            </p:custDataLst>
          </p:nvPr>
        </p:nvSpPr>
        <p:spPr bwMode="gray">
          <a:xfrm>
            <a:off x="8070850" y="49815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FBD9B9-69FE-4417-9E08-436A2F0F3C77}"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72" name="Text Placeholder 10">
            <a:extLst>
              <a:ext uri="{FF2B5EF4-FFF2-40B4-BE49-F238E27FC236}">
                <a16:creationId xmlns:a16="http://schemas.microsoft.com/office/drawing/2014/main" id="{1424065A-39C1-A6B8-D374-DEB887D5BF15}"/>
              </a:ext>
            </a:extLst>
          </p:cNvPr>
          <p:cNvSpPr>
            <a:spLocks/>
          </p:cNvSpPr>
          <p:nvPr>
            <p:custDataLst>
              <p:tags r:id="rId20"/>
            </p:custDataLst>
          </p:nvPr>
        </p:nvSpPr>
        <p:spPr bwMode="auto">
          <a:xfrm>
            <a:off x="7950200" y="5859463"/>
            <a:ext cx="5064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1D862B-52D5-4E0C-8548-50DAC0E38A33}" type="datetime'''''''S''''u''''rfa''ce ''Fac''il''i''''t''ie''''''''''s'''''">
              <a:rPr lang="en-US" altLang="en-US" sz="1000" smtClean="0"/>
              <a:pPr marL="0" lvl="0" indent="0" algn="ctr">
                <a:spcBef>
                  <a:spcPct val="0"/>
                </a:spcBef>
                <a:spcAft>
                  <a:spcPct val="0"/>
                </a:spcAft>
                <a:buNone/>
              </a:pPr>
              <a:t>Surface Facilities</a:t>
            </a:fld>
            <a:endParaRPr lang="en-US" sz="1000" dirty="0"/>
          </a:p>
        </p:txBody>
      </p:sp>
      <p:sp>
        <p:nvSpPr>
          <p:cNvPr id="73" name="Text Placeholder 10">
            <a:extLst>
              <a:ext uri="{FF2B5EF4-FFF2-40B4-BE49-F238E27FC236}">
                <a16:creationId xmlns:a16="http://schemas.microsoft.com/office/drawing/2014/main" id="{46B6CA3E-249F-4431-2C8C-D5945F8E3894}"/>
              </a:ext>
            </a:extLst>
          </p:cNvPr>
          <p:cNvSpPr>
            <a:spLocks/>
          </p:cNvSpPr>
          <p:nvPr>
            <p:custDataLst>
              <p:tags r:id="rId21"/>
            </p:custDataLst>
          </p:nvPr>
        </p:nvSpPr>
        <p:spPr bwMode="gray">
          <a:xfrm>
            <a:off x="8645525" y="5411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F8FED2-D39C-4944-91D5-97292B5C16B8}" type="datetime'''''2''''0%'''''''''''''''''''''''''''">
              <a:rPr lang="en-US" altLang="en-US" sz="1200" smtClean="0">
                <a:solidFill>
                  <a:schemeClr val="bg1"/>
                </a:solidFill>
              </a:rPr>
              <a:pPr marL="0" lvl="0" indent="0" algn="ctr">
                <a:spcBef>
                  <a:spcPct val="0"/>
                </a:spcBef>
                <a:spcAft>
                  <a:spcPct val="0"/>
                </a:spcAft>
                <a:buNone/>
              </a:pPr>
              <a:t>20%</a:t>
            </a:fld>
            <a:endParaRPr lang="en-US" sz="1200" dirty="0">
              <a:solidFill>
                <a:schemeClr val="bg1"/>
              </a:solidFill>
            </a:endParaRPr>
          </a:p>
        </p:txBody>
      </p:sp>
      <p:sp>
        <p:nvSpPr>
          <p:cNvPr id="74" name="Text Placeholder 10">
            <a:extLst>
              <a:ext uri="{FF2B5EF4-FFF2-40B4-BE49-F238E27FC236}">
                <a16:creationId xmlns:a16="http://schemas.microsoft.com/office/drawing/2014/main" id="{32639F6A-6CA6-4643-A204-FE62BD8D8720}"/>
              </a:ext>
            </a:extLst>
          </p:cNvPr>
          <p:cNvSpPr>
            <a:spLocks/>
          </p:cNvSpPr>
          <p:nvPr>
            <p:custDataLst>
              <p:tags r:id="rId22"/>
            </p:custDataLst>
          </p:nvPr>
        </p:nvSpPr>
        <p:spPr bwMode="auto">
          <a:xfrm>
            <a:off x="8559800" y="5859463"/>
            <a:ext cx="5175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7D2223-2FF8-484C-91AD-14B7108EA86F}" type="datetime'''''Re''''du''c''e''''''''''d ''C''''''''o''''''st'">
              <a:rPr lang="en-US" altLang="en-US" sz="1000" smtClean="0"/>
              <a:pPr marL="0" lvl="0" indent="0" algn="ctr">
                <a:spcBef>
                  <a:spcPct val="0"/>
                </a:spcBef>
                <a:spcAft>
                  <a:spcPct val="0"/>
                </a:spcAft>
                <a:buNone/>
              </a:pPr>
              <a:t>Reduced Cost</a:t>
            </a:fld>
            <a:endParaRPr lang="en-US" sz="1000" dirty="0"/>
          </a:p>
        </p:txBody>
      </p:sp>
      <p:sp>
        <p:nvSpPr>
          <p:cNvPr id="75" name="btfpColumnHeaderBoxText693473">
            <a:extLst>
              <a:ext uri="{FF2B5EF4-FFF2-40B4-BE49-F238E27FC236}">
                <a16:creationId xmlns:a16="http://schemas.microsoft.com/office/drawing/2014/main" id="{BB454897-7AB4-AB2B-7FAE-FE9CB5DEB6F5}"/>
              </a:ext>
            </a:extLst>
          </p:cNvPr>
          <p:cNvSpPr txBox="1"/>
          <p:nvPr>
            <p:custDataLst>
              <p:tags r:id="rId23"/>
            </p:custDataLst>
          </p:nvPr>
        </p:nvSpPr>
        <p:spPr bwMode="gray">
          <a:xfrm>
            <a:off x="4687888" y="2481620"/>
            <a:ext cx="1101726" cy="226664"/>
          </a:xfrm>
          <a:prstGeom prst="rect">
            <a:avLst/>
          </a:prstGeom>
          <a:noFill/>
        </p:spPr>
        <p:txBody>
          <a:bodyPr vert="horz" wrap="square" lIns="36036" tIns="36036" rIns="36036" bIns="36036" rtlCol="0" anchor="b">
            <a:spAutoFit/>
          </a:bodyPr>
          <a:lstStyle/>
          <a:p>
            <a:pPr marL="0" indent="0">
              <a:spcBef>
                <a:spcPts val="0"/>
              </a:spcBef>
              <a:buNone/>
            </a:pPr>
            <a:r>
              <a:rPr lang="en-US" sz="1000" dirty="0">
                <a:solidFill>
                  <a:srgbClr val="000000"/>
                </a:solidFill>
              </a:rPr>
              <a:t>14,000 US$/kW</a:t>
            </a:r>
          </a:p>
        </p:txBody>
      </p:sp>
      <p:sp>
        <p:nvSpPr>
          <p:cNvPr id="76" name="TextBox 75">
            <a:extLst>
              <a:ext uri="{FF2B5EF4-FFF2-40B4-BE49-F238E27FC236}">
                <a16:creationId xmlns:a16="http://schemas.microsoft.com/office/drawing/2014/main" id="{2F46F87A-0AD8-D724-B72C-A3F613B89665}"/>
              </a:ext>
            </a:extLst>
          </p:cNvPr>
          <p:cNvSpPr txBox="1"/>
          <p:nvPr/>
        </p:nvSpPr>
        <p:spPr bwMode="gray">
          <a:xfrm>
            <a:off x="5981700" y="4916487"/>
            <a:ext cx="1433508" cy="861774"/>
          </a:xfrm>
          <a:prstGeom prst="rect">
            <a:avLst/>
          </a:prstGeom>
          <a:solidFill>
            <a:srgbClr val="E3E8EE"/>
          </a:solidFill>
        </p:spPr>
        <p:txBody>
          <a:bodyPr wrap="square" lIns="45720" tIns="45720" rIns="45720" bIns="45720" rtlCol="0">
            <a:spAutoFit/>
          </a:bodyPr>
          <a:lstStyle/>
          <a:p>
            <a:pPr marL="0" indent="0">
              <a:spcBef>
                <a:spcPts val="600"/>
              </a:spcBef>
              <a:spcAft>
                <a:spcPts val="600"/>
              </a:spcAft>
              <a:buNone/>
            </a:pPr>
            <a:r>
              <a:rPr lang="en-US" sz="1000" dirty="0"/>
              <a:t>Research and spillover from oil &amp; gas would enhance drilling speed, reliability, and equipment use.</a:t>
            </a:r>
            <a:endParaRPr lang="en-US" sz="1000" b="1" dirty="0"/>
          </a:p>
        </p:txBody>
      </p:sp>
      <p:sp>
        <p:nvSpPr>
          <p:cNvPr id="77" name="TextBox 76">
            <a:extLst>
              <a:ext uri="{FF2B5EF4-FFF2-40B4-BE49-F238E27FC236}">
                <a16:creationId xmlns:a16="http://schemas.microsoft.com/office/drawing/2014/main" id="{A858A458-807A-261A-3071-386C6C41C405}"/>
              </a:ext>
            </a:extLst>
          </p:cNvPr>
          <p:cNvSpPr txBox="1"/>
          <p:nvPr/>
        </p:nvSpPr>
        <p:spPr bwMode="gray">
          <a:xfrm>
            <a:off x="5376863" y="3302329"/>
            <a:ext cx="794544" cy="1169551"/>
          </a:xfrm>
          <a:prstGeom prst="rect">
            <a:avLst/>
          </a:prstGeom>
          <a:solidFill>
            <a:srgbClr val="E3E8EE"/>
          </a:solidFill>
        </p:spPr>
        <p:txBody>
          <a:bodyPr wrap="square" lIns="45720" tIns="45720" rIns="0" bIns="45720" rtlCol="0">
            <a:spAutoFit/>
          </a:bodyPr>
          <a:lstStyle/>
          <a:p>
            <a:pPr marL="0" indent="0">
              <a:spcBef>
                <a:spcPts val="600"/>
              </a:spcBef>
              <a:spcAft>
                <a:spcPts val="600"/>
              </a:spcAft>
              <a:buNone/>
            </a:pPr>
            <a:r>
              <a:rPr lang="en-US" sz="1000" dirty="0"/>
              <a:t>Improvement of site targeting would reduce drilling failures.</a:t>
            </a:r>
            <a:endParaRPr lang="en-US" sz="1000" b="1" dirty="0"/>
          </a:p>
        </p:txBody>
      </p:sp>
      <p:sp>
        <p:nvSpPr>
          <p:cNvPr id="78" name="TextBox 77">
            <a:extLst>
              <a:ext uri="{FF2B5EF4-FFF2-40B4-BE49-F238E27FC236}">
                <a16:creationId xmlns:a16="http://schemas.microsoft.com/office/drawing/2014/main" id="{D684AF68-FC2C-6896-E2A0-AAC515F12AE8}"/>
              </a:ext>
            </a:extLst>
          </p:cNvPr>
          <p:cNvSpPr txBox="1"/>
          <p:nvPr/>
        </p:nvSpPr>
        <p:spPr bwMode="gray">
          <a:xfrm>
            <a:off x="7432675" y="3757613"/>
            <a:ext cx="1498600" cy="707886"/>
          </a:xfrm>
          <a:prstGeom prst="rect">
            <a:avLst/>
          </a:prstGeom>
          <a:solidFill>
            <a:srgbClr val="E3E8EE"/>
          </a:solidFill>
        </p:spPr>
        <p:txBody>
          <a:bodyPr wrap="square" lIns="45720" tIns="45720" rIns="45720" bIns="45720" rtlCol="0">
            <a:spAutoFit/>
          </a:bodyPr>
          <a:lstStyle/>
          <a:p>
            <a:pPr marL="0" indent="0">
              <a:spcBef>
                <a:spcPts val="600"/>
              </a:spcBef>
              <a:spcAft>
                <a:spcPts val="600"/>
              </a:spcAft>
              <a:buNone/>
            </a:pPr>
            <a:r>
              <a:rPr lang="en-US" sz="1000" dirty="0"/>
              <a:t>Reduction potential </a:t>
            </a:r>
            <a:br>
              <a:rPr lang="en-US" sz="1000" dirty="0"/>
            </a:br>
            <a:r>
              <a:rPr lang="en-US" sz="1000" dirty="0"/>
              <a:t>comes from modular, standardized plant design.</a:t>
            </a:r>
            <a:endParaRPr lang="en-US" sz="1000" b="1" dirty="0"/>
          </a:p>
        </p:txBody>
      </p:sp>
      <p:cxnSp>
        <p:nvCxnSpPr>
          <p:cNvPr id="79" name="Straight Connector 78">
            <a:extLst>
              <a:ext uri="{FF2B5EF4-FFF2-40B4-BE49-F238E27FC236}">
                <a16:creationId xmlns:a16="http://schemas.microsoft.com/office/drawing/2014/main" id="{20C51956-11D8-B811-F52C-EB057A4D88B2}"/>
              </a:ext>
            </a:extLst>
          </p:cNvPr>
          <p:cNvCxnSpPr/>
          <p:nvPr/>
        </p:nvCxnSpPr>
        <p:spPr bwMode="gray">
          <a:xfrm flipV="1">
            <a:off x="5797550" y="2905125"/>
            <a:ext cx="0" cy="403225"/>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BE433E-8528-8F4D-D2E8-081AC404CEA2}"/>
              </a:ext>
            </a:extLst>
          </p:cNvPr>
          <p:cNvCxnSpPr/>
          <p:nvPr/>
        </p:nvCxnSpPr>
        <p:spPr bwMode="gray">
          <a:xfrm flipV="1">
            <a:off x="6427788" y="3835400"/>
            <a:ext cx="0" cy="1046163"/>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B84E77B-537E-60A7-08BF-BA08D3799D01}"/>
              </a:ext>
            </a:extLst>
          </p:cNvPr>
          <p:cNvCxnSpPr/>
          <p:nvPr/>
        </p:nvCxnSpPr>
        <p:spPr bwMode="gray">
          <a:xfrm flipV="1">
            <a:off x="7107238" y="4527550"/>
            <a:ext cx="0" cy="369888"/>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08FBBC6-C33E-8358-F1F3-A8C493FC0B34}"/>
              </a:ext>
            </a:extLst>
          </p:cNvPr>
          <p:cNvCxnSpPr/>
          <p:nvPr/>
        </p:nvCxnSpPr>
        <p:spPr bwMode="gray">
          <a:xfrm flipV="1">
            <a:off x="7724775" y="4329113"/>
            <a:ext cx="0" cy="206375"/>
          </a:xfrm>
          <a:prstGeom prst="line">
            <a:avLst/>
          </a:prstGeom>
          <a:ln w="9525" cap="flat">
            <a:solidFill>
              <a:schemeClr val="tx1"/>
            </a:solidFill>
            <a:miter lim="800000"/>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766F409-749D-BFBF-7410-7296F3D45825}"/>
              </a:ext>
            </a:extLst>
          </p:cNvPr>
          <p:cNvCxnSpPr/>
          <p:nvPr/>
        </p:nvCxnSpPr>
        <p:spPr bwMode="gray">
          <a:xfrm flipV="1">
            <a:off x="8434388" y="4344988"/>
            <a:ext cx="0" cy="590550"/>
          </a:xfrm>
          <a:prstGeom prst="line">
            <a:avLst/>
          </a:prstGeom>
          <a:ln w="9525" cap="flat">
            <a:solidFill>
              <a:schemeClr val="tx1"/>
            </a:solidFill>
            <a:miter lim="800000"/>
            <a:headEnd type="oval"/>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4" name="Chart 83">
            <a:extLst>
              <a:ext uri="{FF2B5EF4-FFF2-40B4-BE49-F238E27FC236}">
                <a16:creationId xmlns:a16="http://schemas.microsoft.com/office/drawing/2014/main" id="{77D67B8C-2EAF-9463-46D7-B536F11311EA}"/>
              </a:ext>
            </a:extLst>
          </p:cNvPr>
          <p:cNvGraphicFramePr/>
          <p:nvPr>
            <p:custDataLst>
              <p:tags r:id="rId24"/>
            </p:custDataLst>
            <p:extLst>
              <p:ext uri="{D42A27DB-BD31-4B8C-83A1-F6EECF244321}">
                <p14:modId xmlns:p14="http://schemas.microsoft.com/office/powerpoint/2010/main" val="2119591608"/>
              </p:ext>
            </p:extLst>
          </p:nvPr>
        </p:nvGraphicFramePr>
        <p:xfrm>
          <a:off x="261938" y="2574925"/>
          <a:ext cx="4051300" cy="3467100"/>
        </p:xfrm>
        <a:graphic>
          <a:graphicData uri="http://schemas.openxmlformats.org/drawingml/2006/chart">
            <c:chart xmlns:c="http://schemas.openxmlformats.org/drawingml/2006/chart" xmlns:r="http://schemas.openxmlformats.org/officeDocument/2006/relationships" r:id="rId43"/>
          </a:graphicData>
        </a:graphic>
      </p:graphicFrame>
      <p:sp>
        <p:nvSpPr>
          <p:cNvPr id="85" name="Text Placeholder 10">
            <a:extLst>
              <a:ext uri="{FF2B5EF4-FFF2-40B4-BE49-F238E27FC236}">
                <a16:creationId xmlns:a16="http://schemas.microsoft.com/office/drawing/2014/main" id="{C849E94A-94B9-5CEF-171B-1CA721CE088A}"/>
              </a:ext>
            </a:extLst>
          </p:cNvPr>
          <p:cNvSpPr>
            <a:spLocks/>
          </p:cNvSpPr>
          <p:nvPr>
            <p:custDataLst>
              <p:tags r:id="rId25"/>
            </p:custDataLst>
          </p:nvPr>
        </p:nvSpPr>
        <p:spPr bwMode="auto">
          <a:xfrm>
            <a:off x="731838"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FACD44-407B-45D4-BAA6-013B2B339E4D}" type="datetime'''''''''''''''''''''''''''''2''''0''''''''''''''''2''''5'''">
              <a:rPr lang="en-US" altLang="en-US" sz="1000" smtClean="0"/>
              <a:pPr marL="0" lvl="0" indent="0" algn="ctr">
                <a:spcBef>
                  <a:spcPct val="0"/>
                </a:spcBef>
                <a:spcAft>
                  <a:spcPct val="0"/>
                </a:spcAft>
                <a:buNone/>
              </a:pPr>
              <a:t>2025</a:t>
            </a:fld>
            <a:endParaRPr lang="en-US" sz="1000" dirty="0"/>
          </a:p>
        </p:txBody>
      </p:sp>
      <p:sp useBgFill="1">
        <p:nvSpPr>
          <p:cNvPr id="86" name="Text Placeholder 10">
            <a:extLst>
              <a:ext uri="{FF2B5EF4-FFF2-40B4-BE49-F238E27FC236}">
                <a16:creationId xmlns:a16="http://schemas.microsoft.com/office/drawing/2014/main" id="{5805321D-276D-D008-EAE5-61924FE3D84C}"/>
              </a:ext>
            </a:extLst>
          </p:cNvPr>
          <p:cNvSpPr>
            <a:spLocks/>
          </p:cNvSpPr>
          <p:nvPr>
            <p:custDataLst>
              <p:tags r:id="rId26"/>
            </p:custDataLst>
          </p:nvPr>
        </p:nvSpPr>
        <p:spPr bwMode="gray">
          <a:xfrm>
            <a:off x="1995488" y="3995738"/>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CB6205-1259-4DD2-B56A-E193353466F6}" type="datetime'7'''''''''',''''''''''''''''''''''''''5''''''0''''0'''''''''">
              <a:rPr lang="en-US" altLang="en-US" sz="1000" smtClean="0">
                <a:effectLst/>
              </a:rPr>
              <a:pPr marL="0" lvl="0" indent="0" algn="ctr">
                <a:spcBef>
                  <a:spcPct val="0"/>
                </a:spcBef>
                <a:spcAft>
                  <a:spcPct val="0"/>
                </a:spcAft>
                <a:buNone/>
              </a:pPr>
              <a:t>7,500</a:t>
            </a:fld>
            <a:endParaRPr lang="en-US" sz="1000" dirty="0"/>
          </a:p>
        </p:txBody>
      </p:sp>
      <p:sp useBgFill="1">
        <p:nvSpPr>
          <p:cNvPr id="87" name="Text Placeholder 10">
            <a:extLst>
              <a:ext uri="{FF2B5EF4-FFF2-40B4-BE49-F238E27FC236}">
                <a16:creationId xmlns:a16="http://schemas.microsoft.com/office/drawing/2014/main" id="{197A325F-430F-ECE9-F4DB-1EA177AD174A}"/>
              </a:ext>
            </a:extLst>
          </p:cNvPr>
          <p:cNvSpPr>
            <a:spLocks/>
          </p:cNvSpPr>
          <p:nvPr>
            <p:custDataLst>
              <p:tags r:id="rId27"/>
            </p:custDataLst>
          </p:nvPr>
        </p:nvSpPr>
        <p:spPr bwMode="gray">
          <a:xfrm>
            <a:off x="1995488" y="4749800"/>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C95120-98BA-4FDD-B0D0-829500D22FAF}" type="datetime'''''''''''''''''4'''',''''''''''''''''''0''''''''0''''''0'''">
              <a:rPr lang="en-US" altLang="en-US" sz="1000" smtClean="0">
                <a:effectLst/>
              </a:rPr>
              <a:pPr marL="0" lvl="0" indent="0" algn="ctr">
                <a:spcBef>
                  <a:spcPct val="0"/>
                </a:spcBef>
                <a:spcAft>
                  <a:spcPct val="0"/>
                </a:spcAft>
                <a:buNone/>
              </a:pPr>
              <a:t>4,000</a:t>
            </a:fld>
            <a:endParaRPr lang="en-US" sz="1000" dirty="0"/>
          </a:p>
        </p:txBody>
      </p:sp>
      <p:sp>
        <p:nvSpPr>
          <p:cNvPr id="88" name="Text Placeholder 10">
            <a:extLst>
              <a:ext uri="{FF2B5EF4-FFF2-40B4-BE49-F238E27FC236}">
                <a16:creationId xmlns:a16="http://schemas.microsoft.com/office/drawing/2014/main" id="{F2D0665A-8987-E34F-5DA9-3F178E046420}"/>
              </a:ext>
            </a:extLst>
          </p:cNvPr>
          <p:cNvSpPr>
            <a:spLocks/>
          </p:cNvSpPr>
          <p:nvPr>
            <p:custDataLst>
              <p:tags r:id="rId28"/>
            </p:custDataLst>
          </p:nvPr>
        </p:nvSpPr>
        <p:spPr bwMode="auto">
          <a:xfrm>
            <a:off x="2024063"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C36BA2-92F9-4F34-A16A-F16BC9F2026F}" type="datetime'''2''0''''''''''''''''''''''3''''''''''''''''''''''''''''5'''">
              <a:rPr lang="en-US" altLang="en-US" sz="1000" smtClean="0"/>
              <a:pPr marL="0" lvl="0" indent="0" algn="ctr">
                <a:spcBef>
                  <a:spcPct val="0"/>
                </a:spcBef>
                <a:spcAft>
                  <a:spcPct val="0"/>
                </a:spcAft>
                <a:buNone/>
              </a:pPr>
              <a:t>2035</a:t>
            </a:fld>
            <a:endParaRPr lang="en-US" sz="1000" dirty="0"/>
          </a:p>
        </p:txBody>
      </p:sp>
      <p:sp>
        <p:nvSpPr>
          <p:cNvPr id="89" name="Text Placeholder 10">
            <a:extLst>
              <a:ext uri="{FF2B5EF4-FFF2-40B4-BE49-F238E27FC236}">
                <a16:creationId xmlns:a16="http://schemas.microsoft.com/office/drawing/2014/main" id="{79C1BFF8-D64D-C90F-6D4B-84D9DE330E1A}"/>
              </a:ext>
            </a:extLst>
          </p:cNvPr>
          <p:cNvSpPr>
            <a:spLocks/>
          </p:cNvSpPr>
          <p:nvPr>
            <p:custDataLst>
              <p:tags r:id="rId29"/>
            </p:custDataLst>
          </p:nvPr>
        </p:nvSpPr>
        <p:spPr bwMode="auto">
          <a:xfrm>
            <a:off x="3963988"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A8FC4E-47C3-429A-94E3-391DE614C9A8}" type="datetime'''''''2''''''''0''''''''''''''5''''''''''''''''''''''''''0'''">
              <a:rPr lang="en-US" altLang="en-US" sz="1000" smtClean="0"/>
              <a:pPr marL="0" lvl="0" indent="0" algn="ctr">
                <a:spcBef>
                  <a:spcPct val="0"/>
                </a:spcBef>
                <a:spcAft>
                  <a:spcPct val="0"/>
                </a:spcAft>
                <a:buNone/>
              </a:pPr>
              <a:t>2050</a:t>
            </a:fld>
            <a:endParaRPr lang="en-US" sz="1000" dirty="0"/>
          </a:p>
        </p:txBody>
      </p:sp>
      <p:sp>
        <p:nvSpPr>
          <p:cNvPr id="90" name="btfpColumnHeaderBoxText693473">
            <a:extLst>
              <a:ext uri="{FF2B5EF4-FFF2-40B4-BE49-F238E27FC236}">
                <a16:creationId xmlns:a16="http://schemas.microsoft.com/office/drawing/2014/main" id="{466D357A-BEFD-4996-3E87-45B5FDA41E04}"/>
              </a:ext>
            </a:extLst>
          </p:cNvPr>
          <p:cNvSpPr txBox="1"/>
          <p:nvPr>
            <p:custDataLst>
              <p:tags r:id="rId30"/>
            </p:custDataLst>
          </p:nvPr>
        </p:nvSpPr>
        <p:spPr bwMode="gray">
          <a:xfrm>
            <a:off x="324000" y="2097216"/>
            <a:ext cx="3789363"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Next-gen geothermal construction costs, </a:t>
            </a:r>
            <a:r>
              <a:rPr lang="en-US" sz="1200" i="1" dirty="0">
                <a:solidFill>
                  <a:srgbClr val="000000"/>
                </a:solidFill>
              </a:rPr>
              <a:t>US$/kW</a:t>
            </a:r>
          </a:p>
        </p:txBody>
      </p:sp>
      <p:cxnSp>
        <p:nvCxnSpPr>
          <p:cNvPr id="91" name="Straight Connector 90">
            <a:extLst>
              <a:ext uri="{FF2B5EF4-FFF2-40B4-BE49-F238E27FC236}">
                <a16:creationId xmlns:a16="http://schemas.microsoft.com/office/drawing/2014/main" id="{8B18A69A-B8F7-3049-4C98-8BF3DAC7478D}"/>
              </a:ext>
            </a:extLst>
          </p:cNvPr>
          <p:cNvCxnSpPr/>
          <p:nvPr>
            <p:custDataLst>
              <p:tags r:id="rId31"/>
            </p:custDataLst>
          </p:nvPr>
        </p:nvCxnSpPr>
        <p:spPr bwMode="gray">
          <a:xfrm>
            <a:off x="2527300" y="28463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2F50B738-62CD-0C84-4EBE-1721F033CB76}"/>
              </a:ext>
            </a:extLst>
          </p:cNvPr>
          <p:cNvCxnSpPr/>
          <p:nvPr>
            <p:custDataLst>
              <p:tags r:id="rId32"/>
            </p:custDataLst>
          </p:nvPr>
        </p:nvCxnSpPr>
        <p:spPr bwMode="gray">
          <a:xfrm>
            <a:off x="2527300" y="3049588"/>
            <a:ext cx="150813" cy="0"/>
          </a:xfrm>
          <a:prstGeom prst="line">
            <a:avLst/>
          </a:prstGeom>
          <a:ln w="28575" cap="rnd"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3" name="Text Placeholder 10">
            <a:extLst>
              <a:ext uri="{FF2B5EF4-FFF2-40B4-BE49-F238E27FC236}">
                <a16:creationId xmlns:a16="http://schemas.microsoft.com/office/drawing/2014/main" id="{22C24F57-850A-91B7-1651-25A757F3FA65}"/>
              </a:ext>
            </a:extLst>
          </p:cNvPr>
          <p:cNvSpPr>
            <a:spLocks/>
          </p:cNvSpPr>
          <p:nvPr>
            <p:custDataLst>
              <p:tags r:id="rId33"/>
            </p:custDataLst>
          </p:nvPr>
        </p:nvSpPr>
        <p:spPr bwMode="auto">
          <a:xfrm>
            <a:off x="2743200" y="2774950"/>
            <a:ext cx="1084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A9A704C-272D-4FCF-9CA1-3180F8B16D9B}" type="datetime'''''''''Mediu''m''''''-''''''''''''''''''''Co''st'' Cas''e'">
              <a:rPr lang="en-US" altLang="en-US" sz="1000" smtClean="0"/>
              <a:pPr/>
              <a:t>Medium-Cost Case</a:t>
            </a:fld>
            <a:endParaRPr lang="en-US" sz="1000" dirty="0"/>
          </a:p>
        </p:txBody>
      </p:sp>
      <p:sp>
        <p:nvSpPr>
          <p:cNvPr id="94" name="Text Placeholder 10">
            <a:extLst>
              <a:ext uri="{FF2B5EF4-FFF2-40B4-BE49-F238E27FC236}">
                <a16:creationId xmlns:a16="http://schemas.microsoft.com/office/drawing/2014/main" id="{18BFF739-138D-172E-88C5-581B1DB1F8D8}"/>
              </a:ext>
            </a:extLst>
          </p:cNvPr>
          <p:cNvSpPr>
            <a:spLocks/>
          </p:cNvSpPr>
          <p:nvPr>
            <p:custDataLst>
              <p:tags r:id="rId34"/>
            </p:custDataLst>
          </p:nvPr>
        </p:nvSpPr>
        <p:spPr bwMode="auto">
          <a:xfrm>
            <a:off x="2743200" y="297815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98B67DE-85B5-4B0D-98D7-79A0E8033ADA}" type="datetime'''L''''ow''-''C''''''o''s''''''''t'' ''''''''C''a''se'''">
              <a:rPr lang="en-US" altLang="en-US" sz="1000" smtClean="0"/>
              <a:pPr/>
              <a:t>Low-Cost Case</a:t>
            </a:fld>
            <a:endParaRPr lang="en-US" sz="1000" dirty="0"/>
          </a:p>
        </p:txBody>
      </p:sp>
      <p:sp>
        <p:nvSpPr>
          <p:cNvPr id="95" name="btfpColumnHeaderBoxText693473">
            <a:extLst>
              <a:ext uri="{FF2B5EF4-FFF2-40B4-BE49-F238E27FC236}">
                <a16:creationId xmlns:a16="http://schemas.microsoft.com/office/drawing/2014/main" id="{7BBFE737-D1B2-EF5C-E8C9-95C4953F57A9}"/>
              </a:ext>
            </a:extLst>
          </p:cNvPr>
          <p:cNvSpPr txBox="1"/>
          <p:nvPr>
            <p:custDataLst>
              <p:tags r:id="rId35"/>
            </p:custDataLst>
          </p:nvPr>
        </p:nvSpPr>
        <p:spPr bwMode="gray">
          <a:xfrm>
            <a:off x="4745833" y="2092731"/>
            <a:ext cx="4846638"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Breakdown of geothermal construction potential cost reduction, </a:t>
            </a:r>
            <a:r>
              <a:rPr lang="en-US" sz="1200" i="1" dirty="0">
                <a:solidFill>
                  <a:srgbClr val="000000"/>
                </a:solidFill>
              </a:rPr>
              <a:t>%</a:t>
            </a:r>
          </a:p>
        </p:txBody>
      </p:sp>
    </p:spTree>
    <p:extLst>
      <p:ext uri="{BB962C8B-B14F-4D97-AF65-F5344CB8AC3E}">
        <p14:creationId xmlns:p14="http://schemas.microsoft.com/office/powerpoint/2010/main" val="3363301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A13124-7843-6352-3CA3-C43FAF3C672C}"/>
              </a:ext>
            </a:extLst>
          </p:cNvPr>
          <p:cNvGraphicFramePr>
            <a:graphicFrameLocks/>
          </p:cNvGraphicFramePr>
          <p:nvPr>
            <p:custDataLst>
              <p:tags r:id="rId1"/>
            </p:custDataLst>
            <p:extLst>
              <p:ext uri="{D42A27DB-BD31-4B8C-83A1-F6EECF244321}">
                <p14:modId xmlns:p14="http://schemas.microsoft.com/office/powerpoint/2010/main" val="4039161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9E1FB51-F997-4D06-1DBE-B91542E23BED}"/>
              </a:ext>
            </a:extLst>
          </p:cNvPr>
          <p:cNvSpPr>
            <a:spLocks noGrp="1"/>
          </p:cNvSpPr>
          <p:nvPr>
            <p:ph type="body" sz="quarter" idx="14"/>
          </p:nvPr>
        </p:nvSpPr>
        <p:spPr/>
        <p:txBody>
          <a:bodyPr/>
          <a:lstStyle/>
          <a:p>
            <a:pPr marL="0" indent="0">
              <a:buNone/>
            </a:pPr>
            <a:r>
              <a:rPr lang="en-US" b="1" dirty="0"/>
              <a:t>Observations</a:t>
            </a:r>
          </a:p>
          <a:p>
            <a:endParaRPr lang="en-US" dirty="0"/>
          </a:p>
          <a:p>
            <a:r>
              <a:rPr lang="en-US" sz="1050" dirty="0"/>
              <a:t>Next-gen geothermal costs could drop significantly, </a:t>
            </a:r>
            <a:r>
              <a:rPr lang="en-US" sz="1050" b="1" dirty="0"/>
              <a:t>enabling power generation at ~US$40/MWh.</a:t>
            </a:r>
            <a:r>
              <a:rPr lang="en-US" sz="1050" dirty="0"/>
              <a:t> Both conventional and next-gen geothermal LCOE are on par with nuclear and PV + storage. </a:t>
            </a:r>
          </a:p>
          <a:p>
            <a:r>
              <a:rPr lang="en-US" sz="1050" dirty="0"/>
              <a:t>Oil &amp; gas expertise in advanced drilling, subsurface exploration, and modular plant design is accelerating cost declines. Solar PV, batteries, and EVs saw similar cost declines through industry spillover and rapid deployment.</a:t>
            </a:r>
          </a:p>
          <a:p>
            <a:r>
              <a:rPr lang="en-US" sz="1050" b="1" dirty="0"/>
              <a:t>Policy support and de-risking tools </a:t>
            </a:r>
            <a:r>
              <a:rPr lang="en-US" sz="1050" dirty="0"/>
              <a:t>(e.g., GRIF, insurance, grants) reduce early-stage risk, improve bankability, and crowd in private capital through blended finance and PPPs.</a:t>
            </a:r>
          </a:p>
          <a:p>
            <a:endParaRPr lang="en-US" sz="1050" dirty="0"/>
          </a:p>
        </p:txBody>
      </p:sp>
      <p:sp>
        <p:nvSpPr>
          <p:cNvPr id="3" name="Title 2">
            <a:extLst>
              <a:ext uri="{FF2B5EF4-FFF2-40B4-BE49-F238E27FC236}">
                <a16:creationId xmlns:a16="http://schemas.microsoft.com/office/drawing/2014/main" id="{DE603EB8-A2A1-DD4A-348E-9B11FA6571B2}"/>
              </a:ext>
            </a:extLst>
          </p:cNvPr>
          <p:cNvSpPr>
            <a:spLocks noGrp="1"/>
          </p:cNvSpPr>
          <p:nvPr>
            <p:ph type="title"/>
          </p:nvPr>
        </p:nvSpPr>
        <p:spPr/>
        <p:txBody>
          <a:bodyPr vert="horz" rIns="91440"/>
          <a:lstStyle/>
          <a:p>
            <a:r>
              <a:rPr lang="en-US" dirty="0"/>
              <a:t>Geothermal LCOE is on track to compete with hydro, nuclear, and solar PV + storage, through O&amp;G transfer and policy-led de-risking</a:t>
            </a:r>
          </a:p>
        </p:txBody>
      </p:sp>
      <p:sp>
        <p:nvSpPr>
          <p:cNvPr id="4" name="Footer Placeholder 3">
            <a:extLst>
              <a:ext uri="{FF2B5EF4-FFF2-40B4-BE49-F238E27FC236}">
                <a16:creationId xmlns:a16="http://schemas.microsoft.com/office/drawing/2014/main" id="{B966D4C8-C0B7-E2F5-8501-4572A1C670EB}"/>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3"/>
              </a:rPr>
              <a:t>Annual Technology Baseline Cost and Performance Data for Electricity Generation</a:t>
            </a:r>
            <a:r>
              <a:rPr lang="en-US" dirty="0">
                <a:solidFill>
                  <a:srgbClr val="000000"/>
                </a:solidFill>
              </a:rPr>
              <a:t> (Open Energy Data Initiative,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34"/>
              </a:rPr>
              <a:t>Gernot Wagner.</a:t>
            </a:r>
            <a:r>
              <a:rPr lang="en-US" dirty="0">
                <a:solidFill>
                  <a:srgbClr val="000000"/>
                </a:solidFill>
              </a:rPr>
              <a:t> </a:t>
            </a:r>
            <a:r>
              <a:rPr lang="en-US" dirty="0">
                <a:hlinkClick r:id="rId3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endParaRPr lang="en-US" dirty="0">
              <a:solidFill>
                <a:srgbClr val="000000"/>
              </a:solidFill>
            </a:endParaRPr>
          </a:p>
        </p:txBody>
      </p:sp>
      <p:sp>
        <p:nvSpPr>
          <p:cNvPr id="5" name="Text Placeholder 4">
            <a:extLst>
              <a:ext uri="{FF2B5EF4-FFF2-40B4-BE49-F238E27FC236}">
                <a16:creationId xmlns:a16="http://schemas.microsoft.com/office/drawing/2014/main" id="{E4E738FE-15EC-040A-1FD7-48E301F7C7A2}"/>
              </a:ext>
            </a:extLst>
          </p:cNvPr>
          <p:cNvSpPr>
            <a:spLocks noGrp="1"/>
          </p:cNvSpPr>
          <p:nvPr>
            <p:ph type="body" sz="quarter" idx="13"/>
          </p:nvPr>
        </p:nvSpPr>
        <p:spPr/>
        <p:txBody>
          <a:bodyPr/>
          <a:lstStyle/>
          <a:p>
            <a:r>
              <a:rPr lang="en-US" dirty="0"/>
              <a:t>Estimated LCOE (levelized cost of energy) under NREL Advanced scenario, </a:t>
            </a:r>
            <a:r>
              <a:rPr lang="en-US" i="1" dirty="0"/>
              <a:t>US$/MWh</a:t>
            </a:r>
          </a:p>
        </p:txBody>
      </p:sp>
      <p:sp>
        <p:nvSpPr>
          <p:cNvPr id="7" name="Text Placeholder 1">
            <a:extLst>
              <a:ext uri="{FF2B5EF4-FFF2-40B4-BE49-F238E27FC236}">
                <a16:creationId xmlns:a16="http://schemas.microsoft.com/office/drawing/2014/main" id="{2F71D026-758C-A4C9-E2B1-EDB66CDB30AA}"/>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Oil &amp; gas transfer</a:t>
            </a:r>
          </a:p>
        </p:txBody>
      </p:sp>
      <p:graphicFrame>
        <p:nvGraphicFramePr>
          <p:cNvPr id="71" name="Chart 70">
            <a:extLst>
              <a:ext uri="{FF2B5EF4-FFF2-40B4-BE49-F238E27FC236}">
                <a16:creationId xmlns:a16="http://schemas.microsoft.com/office/drawing/2014/main" id="{BDFDE93D-5B4F-2160-1373-2A6289DA53E0}"/>
              </a:ext>
            </a:extLst>
          </p:cNvPr>
          <p:cNvGraphicFramePr/>
          <p:nvPr>
            <p:custDataLst>
              <p:tags r:id="rId2"/>
            </p:custDataLst>
            <p:extLst>
              <p:ext uri="{D42A27DB-BD31-4B8C-83A1-F6EECF244321}">
                <p14:modId xmlns:p14="http://schemas.microsoft.com/office/powerpoint/2010/main" val="141372705"/>
              </p:ext>
            </p:extLst>
          </p:nvPr>
        </p:nvGraphicFramePr>
        <p:xfrm>
          <a:off x="484188" y="2162175"/>
          <a:ext cx="6550025" cy="4105275"/>
        </p:xfrm>
        <a:graphic>
          <a:graphicData uri="http://schemas.openxmlformats.org/drawingml/2006/chart">
            <c:chart xmlns:c="http://schemas.openxmlformats.org/drawingml/2006/chart" xmlns:r="http://schemas.openxmlformats.org/officeDocument/2006/relationships" r:id="rId36"/>
          </a:graphicData>
        </a:graphic>
      </p:graphicFrame>
      <p:sp>
        <p:nvSpPr>
          <p:cNvPr id="41" name="Text Placeholder 10">
            <a:extLst>
              <a:ext uri="{FF2B5EF4-FFF2-40B4-BE49-F238E27FC236}">
                <a16:creationId xmlns:a16="http://schemas.microsoft.com/office/drawing/2014/main" id="{A458D63A-DBE4-7F10-9F1E-4B9D2E2221E4}"/>
              </a:ext>
            </a:extLst>
          </p:cNvPr>
          <p:cNvSpPr>
            <a:spLocks/>
          </p:cNvSpPr>
          <p:nvPr>
            <p:custDataLst>
              <p:tags r:id="rId3"/>
            </p:custDataLst>
          </p:nvPr>
        </p:nvSpPr>
        <p:spPr bwMode="gray">
          <a:xfrm>
            <a:off x="628650" y="5816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4F8C61A-3FE8-4C7F-8502-3EBA5CB81C50}" type="datetime'''0'''''''''''">
              <a:rPr lang="en-US" altLang="en-US" sz="1000" smtClean="0"/>
              <a:pPr marL="0" lvl="0" indent="0" algn="r">
                <a:spcBef>
                  <a:spcPct val="0"/>
                </a:spcBef>
                <a:spcAft>
                  <a:spcPct val="0"/>
                </a:spcAft>
                <a:buNone/>
              </a:pPr>
              <a:t>0</a:t>
            </a:fld>
            <a:endParaRPr lang="en-US" sz="1000" dirty="0"/>
          </a:p>
        </p:txBody>
      </p:sp>
      <p:sp>
        <p:nvSpPr>
          <p:cNvPr id="42" name="Text Placeholder 10">
            <a:extLst>
              <a:ext uri="{FF2B5EF4-FFF2-40B4-BE49-F238E27FC236}">
                <a16:creationId xmlns:a16="http://schemas.microsoft.com/office/drawing/2014/main" id="{F070C433-DD85-E193-6A71-EDD31BCC0011}"/>
              </a:ext>
            </a:extLst>
          </p:cNvPr>
          <p:cNvSpPr>
            <a:spLocks/>
          </p:cNvSpPr>
          <p:nvPr>
            <p:custDataLst>
              <p:tags r:id="rId4"/>
            </p:custDataLst>
          </p:nvPr>
        </p:nvSpPr>
        <p:spPr bwMode="gray">
          <a:xfrm>
            <a:off x="558800" y="5497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D2E14E6-BEB3-437C-A910-E8EF9E506686}" type="datetime'''''''''''''''''''''''''''''''''''''''1''''''''''''0'''''''">
              <a:rPr lang="en-US" altLang="en-US" sz="1000" smtClean="0"/>
              <a:pPr marL="0" lvl="0" indent="0" algn="r">
                <a:spcBef>
                  <a:spcPct val="0"/>
                </a:spcBef>
                <a:spcAft>
                  <a:spcPct val="0"/>
                </a:spcAft>
                <a:buNone/>
              </a:pPr>
              <a:t>10</a:t>
            </a:fld>
            <a:endParaRPr lang="en-US" sz="1000" dirty="0"/>
          </a:p>
        </p:txBody>
      </p:sp>
      <p:sp>
        <p:nvSpPr>
          <p:cNvPr id="43" name="Text Placeholder 10">
            <a:extLst>
              <a:ext uri="{FF2B5EF4-FFF2-40B4-BE49-F238E27FC236}">
                <a16:creationId xmlns:a16="http://schemas.microsoft.com/office/drawing/2014/main" id="{A581A023-C0EA-E1BC-2DD6-5B30505463F1}"/>
              </a:ext>
            </a:extLst>
          </p:cNvPr>
          <p:cNvSpPr>
            <a:spLocks/>
          </p:cNvSpPr>
          <p:nvPr>
            <p:custDataLst>
              <p:tags r:id="rId5"/>
            </p:custDataLst>
          </p:nvPr>
        </p:nvSpPr>
        <p:spPr bwMode="gray">
          <a:xfrm>
            <a:off x="558800" y="4860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C3A587-B2E7-4221-A1CA-5D78856AFCEA}" type="datetime'3''''''''''''0'''''''''''''''''''''''''''''''''''">
              <a:rPr lang="en-US" altLang="en-US" sz="1000" smtClean="0"/>
              <a:pPr marL="0" lvl="0" indent="0" algn="r">
                <a:spcBef>
                  <a:spcPct val="0"/>
                </a:spcBef>
                <a:spcAft>
                  <a:spcPct val="0"/>
                </a:spcAft>
                <a:buNone/>
              </a:pPr>
              <a:t>30</a:t>
            </a:fld>
            <a:endParaRPr lang="en-US" sz="1000" dirty="0"/>
          </a:p>
        </p:txBody>
      </p:sp>
      <p:sp>
        <p:nvSpPr>
          <p:cNvPr id="44" name="Text Placeholder 10">
            <a:extLst>
              <a:ext uri="{FF2B5EF4-FFF2-40B4-BE49-F238E27FC236}">
                <a16:creationId xmlns:a16="http://schemas.microsoft.com/office/drawing/2014/main" id="{9A392F66-D4B4-B6B9-772B-427F3860EDDB}"/>
              </a:ext>
            </a:extLst>
          </p:cNvPr>
          <p:cNvSpPr>
            <a:spLocks/>
          </p:cNvSpPr>
          <p:nvPr>
            <p:custDataLst>
              <p:tags r:id="rId6"/>
            </p:custDataLst>
          </p:nvPr>
        </p:nvSpPr>
        <p:spPr bwMode="gray">
          <a:xfrm>
            <a:off x="558800" y="4541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7AE3460-224D-424D-94A7-7D0A40892AAD}" type="datetime'''''''''''''''''4''''''''0'''''''''''''''''''''''''''''''''''">
              <a:rPr lang="en-US" altLang="en-US" sz="1000" smtClean="0"/>
              <a:pPr marL="0" lvl="0" indent="0" algn="r">
                <a:spcBef>
                  <a:spcPct val="0"/>
                </a:spcBef>
                <a:spcAft>
                  <a:spcPct val="0"/>
                </a:spcAft>
                <a:buNone/>
              </a:pPr>
              <a:t>40</a:t>
            </a:fld>
            <a:endParaRPr lang="en-US" sz="1000" dirty="0"/>
          </a:p>
        </p:txBody>
      </p:sp>
      <p:sp>
        <p:nvSpPr>
          <p:cNvPr id="45" name="Text Placeholder 10">
            <a:extLst>
              <a:ext uri="{FF2B5EF4-FFF2-40B4-BE49-F238E27FC236}">
                <a16:creationId xmlns:a16="http://schemas.microsoft.com/office/drawing/2014/main" id="{4CEEC72B-4DA4-12D7-FDBF-89A00B395BA1}"/>
              </a:ext>
            </a:extLst>
          </p:cNvPr>
          <p:cNvSpPr>
            <a:spLocks/>
          </p:cNvSpPr>
          <p:nvPr>
            <p:custDataLst>
              <p:tags r:id="rId7"/>
            </p:custDataLst>
          </p:nvPr>
        </p:nvSpPr>
        <p:spPr bwMode="gray">
          <a:xfrm>
            <a:off x="558800" y="4222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A0CA64-2250-4E42-A907-C5C51AE8D066}" type="datetime'''''''''''''''''''''''''''''''50'''''''''">
              <a:rPr lang="en-US" altLang="en-US" sz="1000" smtClean="0"/>
              <a:pPr marL="0" lvl="0" indent="0" algn="r">
                <a:spcBef>
                  <a:spcPct val="0"/>
                </a:spcBef>
                <a:spcAft>
                  <a:spcPct val="0"/>
                </a:spcAft>
                <a:buNone/>
              </a:pPr>
              <a:t>50</a:t>
            </a:fld>
            <a:endParaRPr lang="en-US" sz="1000" dirty="0"/>
          </a:p>
        </p:txBody>
      </p:sp>
      <p:sp>
        <p:nvSpPr>
          <p:cNvPr id="46" name="Text Placeholder 10">
            <a:extLst>
              <a:ext uri="{FF2B5EF4-FFF2-40B4-BE49-F238E27FC236}">
                <a16:creationId xmlns:a16="http://schemas.microsoft.com/office/drawing/2014/main" id="{84FAF33F-FCC3-F336-8F6F-A6A769EBBE08}"/>
              </a:ext>
            </a:extLst>
          </p:cNvPr>
          <p:cNvSpPr>
            <a:spLocks/>
          </p:cNvSpPr>
          <p:nvPr>
            <p:custDataLst>
              <p:tags r:id="rId8"/>
            </p:custDataLst>
          </p:nvPr>
        </p:nvSpPr>
        <p:spPr bwMode="gray">
          <a:xfrm>
            <a:off x="558800" y="3905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3EDDDE-BFB8-4701-980D-8A790EEFA6A8}" type="datetime'''''''''6''''''''''''''''''''''''''''''''''''''0'''''''''''''">
              <a:rPr lang="en-US" altLang="en-US" sz="1000" smtClean="0"/>
              <a:pPr marL="0" lvl="0" indent="0" algn="r">
                <a:spcBef>
                  <a:spcPct val="0"/>
                </a:spcBef>
                <a:spcAft>
                  <a:spcPct val="0"/>
                </a:spcAft>
                <a:buNone/>
              </a:pPr>
              <a:t>60</a:t>
            </a:fld>
            <a:endParaRPr lang="en-US" sz="1000" dirty="0"/>
          </a:p>
        </p:txBody>
      </p:sp>
      <p:sp>
        <p:nvSpPr>
          <p:cNvPr id="47" name="Text Placeholder 10">
            <a:extLst>
              <a:ext uri="{FF2B5EF4-FFF2-40B4-BE49-F238E27FC236}">
                <a16:creationId xmlns:a16="http://schemas.microsoft.com/office/drawing/2014/main" id="{7CA66966-5DBE-1299-9F28-9222EFB4F36B}"/>
              </a:ext>
            </a:extLst>
          </p:cNvPr>
          <p:cNvSpPr>
            <a:spLocks/>
          </p:cNvSpPr>
          <p:nvPr>
            <p:custDataLst>
              <p:tags r:id="rId9"/>
            </p:custDataLst>
          </p:nvPr>
        </p:nvSpPr>
        <p:spPr bwMode="gray">
          <a:xfrm>
            <a:off x="558800"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7F9153-ACD1-4D0B-9A87-D1C5F9788FE1}" type="datetime'''''''''''''''''7''''''''''''''''''''''''''''''''''0'">
              <a:rPr lang="en-US" altLang="en-US" sz="1000" smtClean="0"/>
              <a:pPr marL="0" lvl="0" indent="0" algn="r">
                <a:spcBef>
                  <a:spcPct val="0"/>
                </a:spcBef>
                <a:spcAft>
                  <a:spcPct val="0"/>
                </a:spcAft>
                <a:buNone/>
              </a:pPr>
              <a:t>70</a:t>
            </a:fld>
            <a:endParaRPr lang="en-US" sz="1000" dirty="0"/>
          </a:p>
        </p:txBody>
      </p:sp>
      <p:sp>
        <p:nvSpPr>
          <p:cNvPr id="48" name="Text Placeholder 10">
            <a:extLst>
              <a:ext uri="{FF2B5EF4-FFF2-40B4-BE49-F238E27FC236}">
                <a16:creationId xmlns:a16="http://schemas.microsoft.com/office/drawing/2014/main" id="{1BFDF2ED-79FE-DC63-FA91-E6186CBA2DFA}"/>
              </a:ext>
            </a:extLst>
          </p:cNvPr>
          <p:cNvSpPr>
            <a:spLocks/>
          </p:cNvSpPr>
          <p:nvPr>
            <p:custDataLst>
              <p:tags r:id="rId10"/>
            </p:custDataLst>
          </p:nvPr>
        </p:nvSpPr>
        <p:spPr bwMode="gray">
          <a:xfrm>
            <a:off x="558800"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CF0235-107A-4261-9576-EDD73E7C0EAA}" type="datetime'''''''''''''''''8''''''0'''''''">
              <a:rPr lang="en-US" altLang="en-US" sz="1000" smtClean="0"/>
              <a:pPr marL="0" lvl="0" indent="0" algn="r">
                <a:spcBef>
                  <a:spcPct val="0"/>
                </a:spcBef>
                <a:spcAft>
                  <a:spcPct val="0"/>
                </a:spcAft>
                <a:buNone/>
              </a:pPr>
              <a:t>80</a:t>
            </a:fld>
            <a:endParaRPr lang="en-US" sz="1000" dirty="0"/>
          </a:p>
        </p:txBody>
      </p:sp>
      <p:sp>
        <p:nvSpPr>
          <p:cNvPr id="49" name="Text Placeholder 10">
            <a:extLst>
              <a:ext uri="{FF2B5EF4-FFF2-40B4-BE49-F238E27FC236}">
                <a16:creationId xmlns:a16="http://schemas.microsoft.com/office/drawing/2014/main" id="{6DF0B798-46A3-5E8D-DA70-72E2CF5F1E70}"/>
              </a:ext>
            </a:extLst>
          </p:cNvPr>
          <p:cNvSpPr>
            <a:spLocks/>
          </p:cNvSpPr>
          <p:nvPr>
            <p:custDataLst>
              <p:tags r:id="rId11"/>
            </p:custDataLst>
          </p:nvPr>
        </p:nvSpPr>
        <p:spPr bwMode="gray">
          <a:xfrm>
            <a:off x="558800" y="2947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F603D6-5E00-4AD0-873A-D55E4E7C557D}" type="datetime'''''''''''''''''9''''''''''''''''''''''''0'">
              <a:rPr lang="en-US" altLang="en-US" sz="1000" smtClean="0"/>
              <a:pPr marL="0" lvl="0" indent="0" algn="r">
                <a:spcBef>
                  <a:spcPct val="0"/>
                </a:spcBef>
                <a:spcAft>
                  <a:spcPct val="0"/>
                </a:spcAft>
                <a:buNone/>
              </a:pPr>
              <a:t>90</a:t>
            </a:fld>
            <a:endParaRPr lang="en-US" sz="1000" dirty="0"/>
          </a:p>
        </p:txBody>
      </p:sp>
      <p:sp>
        <p:nvSpPr>
          <p:cNvPr id="50" name="Text Placeholder 10">
            <a:extLst>
              <a:ext uri="{FF2B5EF4-FFF2-40B4-BE49-F238E27FC236}">
                <a16:creationId xmlns:a16="http://schemas.microsoft.com/office/drawing/2014/main" id="{36383AAC-D5BB-6CFC-CDED-5DC19B8F7846}"/>
              </a:ext>
            </a:extLst>
          </p:cNvPr>
          <p:cNvSpPr>
            <a:spLocks/>
          </p:cNvSpPr>
          <p:nvPr>
            <p:custDataLst>
              <p:tags r:id="rId12"/>
            </p:custDataLst>
          </p:nvPr>
        </p:nvSpPr>
        <p:spPr bwMode="gray">
          <a:xfrm>
            <a:off x="488950" y="2630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904DB1-B287-414E-966C-D2A71B75DE85}" type="datetime'''''''''''''''1''''''''''''''''''''''''''''''''''''''''0''0'">
              <a:rPr lang="en-US" altLang="en-US" sz="1000" smtClean="0"/>
              <a:pPr marL="0" lvl="0" indent="0" algn="r">
                <a:spcBef>
                  <a:spcPct val="0"/>
                </a:spcBef>
                <a:spcAft>
                  <a:spcPct val="0"/>
                </a:spcAft>
                <a:buNone/>
              </a:pPr>
              <a:t>100</a:t>
            </a:fld>
            <a:endParaRPr lang="en-US" sz="1000" dirty="0"/>
          </a:p>
        </p:txBody>
      </p:sp>
      <p:sp>
        <p:nvSpPr>
          <p:cNvPr id="51" name="Text Placeholder 10">
            <a:extLst>
              <a:ext uri="{FF2B5EF4-FFF2-40B4-BE49-F238E27FC236}">
                <a16:creationId xmlns:a16="http://schemas.microsoft.com/office/drawing/2014/main" id="{FDD44B33-72FA-C9B1-58F3-8E1169959065}"/>
              </a:ext>
            </a:extLst>
          </p:cNvPr>
          <p:cNvSpPr>
            <a:spLocks/>
          </p:cNvSpPr>
          <p:nvPr>
            <p:custDataLst>
              <p:tags r:id="rId13"/>
            </p:custDataLst>
          </p:nvPr>
        </p:nvSpPr>
        <p:spPr bwMode="gray">
          <a:xfrm>
            <a:off x="488950" y="231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554A3D-D181-4272-9751-197B25E4AB7C}" type="datetime'''1''''''''''''''''''''''''''''''''1''''''''''''0'''''''''''">
              <a:rPr lang="en-US" altLang="en-US" sz="1000" smtClean="0"/>
              <a:pPr marL="0" lvl="0" indent="0" algn="r">
                <a:spcBef>
                  <a:spcPct val="0"/>
                </a:spcBef>
                <a:spcAft>
                  <a:spcPct val="0"/>
                </a:spcAft>
                <a:buNone/>
              </a:pPr>
              <a:t>110</a:t>
            </a:fld>
            <a:endParaRPr lang="en-US" sz="1000" dirty="0"/>
          </a:p>
        </p:txBody>
      </p:sp>
      <p:sp>
        <p:nvSpPr>
          <p:cNvPr id="52" name="Text Placeholder 10">
            <a:extLst>
              <a:ext uri="{FF2B5EF4-FFF2-40B4-BE49-F238E27FC236}">
                <a16:creationId xmlns:a16="http://schemas.microsoft.com/office/drawing/2014/main" id="{C2EE0EA8-23D3-2D24-0A43-F7B479357CA9}"/>
              </a:ext>
            </a:extLst>
          </p:cNvPr>
          <p:cNvSpPr>
            <a:spLocks/>
          </p:cNvSpPr>
          <p:nvPr>
            <p:custDataLst>
              <p:tags r:id="rId14"/>
            </p:custDataLst>
          </p:nvPr>
        </p:nvSpPr>
        <p:spPr bwMode="gray">
          <a:xfrm>
            <a:off x="558800" y="5180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9007E84-4E92-4A70-8087-EC56B38B7441}" type="datetime'''2''0'''''''''''''''''''''''''''''''''''''''''''">
              <a:rPr lang="en-US" altLang="en-US" sz="1000" smtClean="0"/>
              <a:pPr marL="0" lvl="0" indent="0" algn="r">
                <a:spcBef>
                  <a:spcPct val="0"/>
                </a:spcBef>
                <a:spcAft>
                  <a:spcPct val="0"/>
                </a:spcAft>
                <a:buNone/>
              </a:pPr>
              <a:t>20</a:t>
            </a:fld>
            <a:endParaRPr lang="en-US" sz="1000" dirty="0"/>
          </a:p>
        </p:txBody>
      </p:sp>
      <p:cxnSp>
        <p:nvCxnSpPr>
          <p:cNvPr id="53" name="Straight Connector 52">
            <a:extLst>
              <a:ext uri="{FF2B5EF4-FFF2-40B4-BE49-F238E27FC236}">
                <a16:creationId xmlns:a16="http://schemas.microsoft.com/office/drawing/2014/main" id="{67532686-2242-9B1A-610C-519673637185}"/>
              </a:ext>
            </a:extLst>
          </p:cNvPr>
          <p:cNvCxnSpPr>
            <a:cxnSpLocks/>
          </p:cNvCxnSpPr>
          <p:nvPr>
            <p:custDataLst>
              <p:tags r:id="rId15"/>
            </p:custDataLst>
          </p:nvPr>
        </p:nvCxnSpPr>
        <p:spPr bwMode="auto">
          <a:xfrm>
            <a:off x="6681788" y="445452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1EC766E-9950-D955-A001-E002CB796F5D}"/>
              </a:ext>
            </a:extLst>
          </p:cNvPr>
          <p:cNvCxnSpPr>
            <a:cxnSpLocks/>
          </p:cNvCxnSpPr>
          <p:nvPr>
            <p:custDataLst>
              <p:tags r:id="rId16"/>
            </p:custDataLst>
          </p:nvPr>
        </p:nvCxnSpPr>
        <p:spPr bwMode="auto">
          <a:xfrm flipH="1">
            <a:off x="6748463" y="4548188"/>
            <a:ext cx="396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B4C72402-C6B0-629B-F303-78C32351A2ED}"/>
              </a:ext>
            </a:extLst>
          </p:cNvPr>
          <p:cNvCxnSpPr/>
          <p:nvPr>
            <p:custDataLst>
              <p:tags r:id="rId17"/>
            </p:custDataLst>
          </p:nvPr>
        </p:nvCxnSpPr>
        <p:spPr bwMode="auto">
          <a:xfrm>
            <a:off x="6681788" y="4692650"/>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07C5A7B-9B48-4B81-CFBF-8C4A610CD40C}"/>
              </a:ext>
            </a:extLst>
          </p:cNvPr>
          <p:cNvCxnSpPr/>
          <p:nvPr>
            <p:custDataLst>
              <p:tags r:id="rId18"/>
            </p:custDataLst>
          </p:nvPr>
        </p:nvCxnSpPr>
        <p:spPr bwMode="auto">
          <a:xfrm flipH="1">
            <a:off x="6810375" y="4370388"/>
            <a:ext cx="2286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43B9F93-04D4-4433-0682-5EA5874394B3}"/>
              </a:ext>
            </a:extLst>
          </p:cNvPr>
          <p:cNvCxnSpPr/>
          <p:nvPr>
            <p:custDataLst>
              <p:tags r:id="rId19"/>
            </p:custDataLst>
          </p:nvPr>
        </p:nvCxnSpPr>
        <p:spPr bwMode="auto">
          <a:xfrm flipH="1">
            <a:off x="6767513" y="4370388"/>
            <a:ext cx="42863" cy="841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160F098-8E2A-7DF0-4FC6-F2655B84C7BB}"/>
              </a:ext>
            </a:extLst>
          </p:cNvPr>
          <p:cNvCxnSpPr/>
          <p:nvPr>
            <p:custDataLst>
              <p:tags r:id="rId20"/>
            </p:custDataLst>
          </p:nvPr>
        </p:nvCxnSpPr>
        <p:spPr bwMode="auto">
          <a:xfrm flipH="1">
            <a:off x="6810375" y="4776788"/>
            <a:ext cx="2286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17943332-423F-9404-49F2-F49FC9E0B59F}"/>
              </a:ext>
            </a:extLst>
          </p:cNvPr>
          <p:cNvCxnSpPr/>
          <p:nvPr>
            <p:custDataLst>
              <p:tags r:id="rId21"/>
            </p:custDataLst>
          </p:nvPr>
        </p:nvCxnSpPr>
        <p:spPr bwMode="auto">
          <a:xfrm flipH="1" flipV="1">
            <a:off x="6767513" y="4692650"/>
            <a:ext cx="42863" cy="841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60" name="Text Placeholder 10">
            <a:extLst>
              <a:ext uri="{FF2B5EF4-FFF2-40B4-BE49-F238E27FC236}">
                <a16:creationId xmlns:a16="http://schemas.microsoft.com/office/drawing/2014/main" id="{029420B9-9E6B-C852-B6AB-A746997C6851}"/>
              </a:ext>
            </a:extLst>
          </p:cNvPr>
          <p:cNvSpPr>
            <a:spLocks/>
          </p:cNvSpPr>
          <p:nvPr>
            <p:custDataLst>
              <p:tags r:id="rId22"/>
            </p:custDataLst>
          </p:nvPr>
        </p:nvSpPr>
        <p:spPr bwMode="gray">
          <a:xfrm>
            <a:off x="6507163" y="4378325"/>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AB576F-E044-4AE8-96DB-D46276DBA068}" type="datetime'''''''''''''''4''''''5'''''''''''''''''''''''''''''''">
              <a:rPr lang="en-US" altLang="en-US" sz="1000" smtClean="0">
                <a:effectLst/>
              </a:rPr>
              <a:pPr marL="0" lvl="0" indent="0" algn="r">
                <a:spcBef>
                  <a:spcPct val="0"/>
                </a:spcBef>
                <a:spcAft>
                  <a:spcPct val="0"/>
                </a:spcAft>
                <a:buNone/>
              </a:pPr>
              <a:t>45</a:t>
            </a:fld>
            <a:endParaRPr lang="en-US" sz="1000" dirty="0"/>
          </a:p>
        </p:txBody>
      </p:sp>
      <p:sp useBgFill="1">
        <p:nvSpPr>
          <p:cNvPr id="61" name="Text Placeholder 10">
            <a:extLst>
              <a:ext uri="{FF2B5EF4-FFF2-40B4-BE49-F238E27FC236}">
                <a16:creationId xmlns:a16="http://schemas.microsoft.com/office/drawing/2014/main" id="{EEF66587-C8D9-E4C5-4F51-D9748A8E668F}"/>
              </a:ext>
            </a:extLst>
          </p:cNvPr>
          <p:cNvSpPr>
            <a:spLocks/>
          </p:cNvSpPr>
          <p:nvPr>
            <p:custDataLst>
              <p:tags r:id="rId23"/>
            </p:custDataLst>
          </p:nvPr>
        </p:nvSpPr>
        <p:spPr bwMode="gray">
          <a:xfrm>
            <a:off x="6507163" y="4616450"/>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7F0516-6EB4-4A3C-919C-4452EF138F18}" type="datetime'''''''''''''''''''''''''''3''''''''''''8'''">
              <a:rPr lang="en-US" altLang="en-US" sz="1000" smtClean="0">
                <a:solidFill>
                  <a:srgbClr val="969696"/>
                </a:solidFill>
                <a:effectLst/>
              </a:rPr>
              <a:pPr marL="0" lvl="0" indent="0" algn="r">
                <a:spcBef>
                  <a:spcPct val="0"/>
                </a:spcBef>
                <a:spcAft>
                  <a:spcPct val="0"/>
                </a:spcAft>
                <a:buNone/>
              </a:pPr>
              <a:t>38</a:t>
            </a:fld>
            <a:endParaRPr lang="en-US" sz="1000" dirty="0">
              <a:solidFill>
                <a:srgbClr val="969696"/>
              </a:solidFill>
            </a:endParaRPr>
          </a:p>
        </p:txBody>
      </p:sp>
      <p:sp>
        <p:nvSpPr>
          <p:cNvPr id="62" name="Text Placeholder 10">
            <a:extLst>
              <a:ext uri="{FF2B5EF4-FFF2-40B4-BE49-F238E27FC236}">
                <a16:creationId xmlns:a16="http://schemas.microsoft.com/office/drawing/2014/main" id="{5E8F6D8A-BB82-A508-351D-0421D4022C61}"/>
              </a:ext>
            </a:extLst>
          </p:cNvPr>
          <p:cNvSpPr>
            <a:spLocks/>
          </p:cNvSpPr>
          <p:nvPr>
            <p:custDataLst>
              <p:tags r:id="rId24"/>
            </p:custDataLst>
          </p:nvPr>
        </p:nvSpPr>
        <p:spPr bwMode="auto">
          <a:xfrm>
            <a:off x="7064375" y="4090988"/>
            <a:ext cx="185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691C6D-9034-4754-849F-3369AA664CF9}" type="datetime'''''Geoth''ermal ''- ''Conv''e''''nt''ional'' ''F''la''''''sh'">
              <a:rPr lang="en-US" altLang="en-US" sz="1000" smtClean="0"/>
              <a:pPr/>
              <a:t>Geothermal - Conventional Flash</a:t>
            </a:fld>
            <a:endParaRPr lang="en-US" sz="1000" dirty="0"/>
          </a:p>
        </p:txBody>
      </p:sp>
      <p:sp>
        <p:nvSpPr>
          <p:cNvPr id="63" name="Text Placeholder 10">
            <a:extLst>
              <a:ext uri="{FF2B5EF4-FFF2-40B4-BE49-F238E27FC236}">
                <a16:creationId xmlns:a16="http://schemas.microsoft.com/office/drawing/2014/main" id="{283C7326-2FC3-0248-C2B1-618DD217EFBA}"/>
              </a:ext>
            </a:extLst>
          </p:cNvPr>
          <p:cNvSpPr>
            <a:spLocks/>
          </p:cNvSpPr>
          <p:nvPr>
            <p:custDataLst>
              <p:tags r:id="rId25"/>
            </p:custDataLst>
          </p:nvPr>
        </p:nvSpPr>
        <p:spPr bwMode="auto">
          <a:xfrm>
            <a:off x="7064375" y="4497388"/>
            <a:ext cx="1720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CEA7FF-8E89-45BA-BAC6-456A9F126B0D}" type="datetime'''Ge''o''''the''r''mal - De''e''p'''''' EG''S ''''Fl''ash'''''">
              <a:rPr lang="en-US" altLang="en-US" sz="1000" smtClean="0"/>
              <a:pPr/>
              <a:t>Geothermal - Deep EGS Flash</a:t>
            </a:fld>
            <a:endParaRPr lang="en-US" sz="1000" dirty="0"/>
          </a:p>
        </p:txBody>
      </p:sp>
      <p:sp>
        <p:nvSpPr>
          <p:cNvPr id="64" name="Text Placeholder 10">
            <a:extLst>
              <a:ext uri="{FF2B5EF4-FFF2-40B4-BE49-F238E27FC236}">
                <a16:creationId xmlns:a16="http://schemas.microsoft.com/office/drawing/2014/main" id="{97266E82-2C38-3B31-6076-4A4C5FCBF223}"/>
              </a:ext>
            </a:extLst>
          </p:cNvPr>
          <p:cNvSpPr>
            <a:spLocks/>
          </p:cNvSpPr>
          <p:nvPr>
            <p:custDataLst>
              <p:tags r:id="rId26"/>
            </p:custDataLst>
          </p:nvPr>
        </p:nvSpPr>
        <p:spPr bwMode="auto">
          <a:xfrm>
            <a:off x="7064375" y="4294188"/>
            <a:ext cx="1222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0AEA51-1784-40D9-AD8D-14438C0C24F7}" type="datetime'N''''ucle''a''''r'' -'''''' L''''''a''rge'''' Sc''ale'''''''''">
              <a:rPr lang="en-US" altLang="en-US" sz="1000" smtClean="0"/>
              <a:pPr/>
              <a:t>Nuclear - Large Scale</a:t>
            </a:fld>
            <a:endParaRPr lang="en-US" sz="1000" dirty="0"/>
          </a:p>
        </p:txBody>
      </p:sp>
      <p:sp>
        <p:nvSpPr>
          <p:cNvPr id="65" name="Text Placeholder 10">
            <a:extLst>
              <a:ext uri="{FF2B5EF4-FFF2-40B4-BE49-F238E27FC236}">
                <a16:creationId xmlns:a16="http://schemas.microsoft.com/office/drawing/2014/main" id="{2824F633-13F2-B17E-AE7D-00A5236C3C9B}"/>
              </a:ext>
            </a:extLst>
          </p:cNvPr>
          <p:cNvSpPr>
            <a:spLocks/>
          </p:cNvSpPr>
          <p:nvPr>
            <p:custDataLst>
              <p:tags r:id="rId27"/>
            </p:custDataLst>
          </p:nvPr>
        </p:nvSpPr>
        <p:spPr bwMode="auto">
          <a:xfrm>
            <a:off x="7064375" y="3667125"/>
            <a:ext cx="682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6F14B0E-0064-4662-AFA3-A9D0A482532B}" type="datetime'''''''H''y''d''''''''ro''''''''po''w''e''''r'''''''''''''''''">
              <a:rPr lang="en-US" altLang="en-US" sz="1000" smtClean="0">
                <a:solidFill>
                  <a:srgbClr val="808080"/>
                </a:solidFill>
              </a:rPr>
              <a:pPr/>
              <a:t>Hydropower</a:t>
            </a:fld>
            <a:endParaRPr lang="en-US" sz="1000" dirty="0">
              <a:solidFill>
                <a:srgbClr val="808080"/>
              </a:solidFill>
            </a:endParaRPr>
          </a:p>
        </p:txBody>
      </p:sp>
      <p:sp>
        <p:nvSpPr>
          <p:cNvPr id="66" name="Text Placeholder 10">
            <a:extLst>
              <a:ext uri="{FF2B5EF4-FFF2-40B4-BE49-F238E27FC236}">
                <a16:creationId xmlns:a16="http://schemas.microsoft.com/office/drawing/2014/main" id="{7B9A0DD0-D2C3-BF8D-11CD-FC9218673DFD}"/>
              </a:ext>
            </a:extLst>
          </p:cNvPr>
          <p:cNvSpPr>
            <a:spLocks/>
          </p:cNvSpPr>
          <p:nvPr>
            <p:custDataLst>
              <p:tags r:id="rId28"/>
            </p:custDataLst>
          </p:nvPr>
        </p:nvSpPr>
        <p:spPr bwMode="auto">
          <a:xfrm>
            <a:off x="7064375" y="4700588"/>
            <a:ext cx="1508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047305-FD37-4EED-9897-47A2269E26F2}" type="datetime'''''''S''''''o''l''ar ''- Util''''ity'' ''PV + Stor''''age'">
              <a:rPr lang="en-US" altLang="en-US" sz="1000" smtClean="0">
                <a:solidFill>
                  <a:srgbClr val="808080"/>
                </a:solidFill>
              </a:rPr>
              <a:pPr/>
              <a:t>Solar - Utility PV + Storage</a:t>
            </a:fld>
            <a:endParaRPr lang="en-US" sz="1000" dirty="0">
              <a:solidFill>
                <a:srgbClr val="808080"/>
              </a:solidFill>
            </a:endParaRPr>
          </a:p>
        </p:txBody>
      </p:sp>
      <p:sp useBgFill="1">
        <p:nvSpPr>
          <p:cNvPr id="67" name="Text Placeholder 10">
            <a:extLst>
              <a:ext uri="{FF2B5EF4-FFF2-40B4-BE49-F238E27FC236}">
                <a16:creationId xmlns:a16="http://schemas.microsoft.com/office/drawing/2014/main" id="{5F769491-EF61-2EE6-4CE7-6065AA7F0CAE}"/>
              </a:ext>
            </a:extLst>
          </p:cNvPr>
          <p:cNvSpPr>
            <a:spLocks/>
          </p:cNvSpPr>
          <p:nvPr>
            <p:custDataLst>
              <p:tags r:id="rId29"/>
            </p:custDataLst>
          </p:nvPr>
        </p:nvSpPr>
        <p:spPr bwMode="gray">
          <a:xfrm>
            <a:off x="6646863" y="3667125"/>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16D688-0DD8-4D22-B484-3CF9FC22B796}" type="datetime'''''''''''''''''''''''''''''''''''''67'''''''''''''''''''''''">
              <a:rPr lang="en-US" altLang="en-US" sz="1000" smtClean="0">
                <a:solidFill>
                  <a:srgbClr val="808080"/>
                </a:solidFill>
                <a:effectLst/>
              </a:rPr>
              <a:pPr marL="0" lvl="0" indent="0" algn="ctr">
                <a:spcBef>
                  <a:spcPct val="0"/>
                </a:spcBef>
                <a:spcAft>
                  <a:spcPct val="0"/>
                </a:spcAft>
                <a:buNone/>
              </a:pPr>
              <a:t>67</a:t>
            </a:fld>
            <a:endParaRPr lang="en-US" sz="1000" dirty="0">
              <a:solidFill>
                <a:srgbClr val="808080"/>
              </a:solidFill>
            </a:endParaRPr>
          </a:p>
        </p:txBody>
      </p:sp>
      <p:sp>
        <p:nvSpPr>
          <p:cNvPr id="68" name="TextBox 67">
            <a:extLst>
              <a:ext uri="{FF2B5EF4-FFF2-40B4-BE49-F238E27FC236}">
                <a16:creationId xmlns:a16="http://schemas.microsoft.com/office/drawing/2014/main" id="{A356C363-4E39-4FA9-5F3F-C0F737451B71}"/>
              </a:ext>
            </a:extLst>
          </p:cNvPr>
          <p:cNvSpPr txBox="1"/>
          <p:nvPr/>
        </p:nvSpPr>
        <p:spPr bwMode="gray">
          <a:xfrm>
            <a:off x="1520563" y="4341813"/>
            <a:ext cx="1734448" cy="1169551"/>
          </a:xfrm>
          <a:prstGeom prst="rect">
            <a:avLst/>
          </a:prstGeom>
          <a:solidFill>
            <a:srgbClr val="E3E8EE"/>
          </a:solidFill>
        </p:spPr>
        <p:txBody>
          <a:bodyPr wrap="square" lIns="45720" tIns="45720" rIns="45720" bIns="45720" rtlCol="0">
            <a:spAutoFit/>
          </a:bodyPr>
          <a:lstStyle/>
          <a:p>
            <a:pPr marL="0" indent="0" algn="ctr">
              <a:spcBef>
                <a:spcPts val="600"/>
              </a:spcBef>
              <a:spcAft>
                <a:spcPts val="600"/>
              </a:spcAft>
              <a:buNone/>
            </a:pPr>
            <a:r>
              <a:rPr lang="en-US" sz="1000" i="1" dirty="0"/>
              <a:t>Advanced projections suggest next-gen EGS may achieve lower costs than conventional geothermal and be competitive with nuclear and PV + storage as early </a:t>
            </a:r>
            <a:br>
              <a:rPr lang="en-US" sz="1000" i="1" dirty="0"/>
            </a:br>
            <a:r>
              <a:rPr lang="en-US" sz="1000" i="1" dirty="0"/>
              <a:t>as 2029.</a:t>
            </a:r>
            <a:endParaRPr lang="en-US" sz="1000" b="1" i="1" dirty="0"/>
          </a:p>
        </p:txBody>
      </p:sp>
      <p:cxnSp>
        <p:nvCxnSpPr>
          <p:cNvPr id="69" name="Straight Connector 68">
            <a:extLst>
              <a:ext uri="{FF2B5EF4-FFF2-40B4-BE49-F238E27FC236}">
                <a16:creationId xmlns:a16="http://schemas.microsoft.com/office/drawing/2014/main" id="{A1DE9AD1-89A6-C11B-E33E-7B339BCFAD98}"/>
              </a:ext>
            </a:extLst>
          </p:cNvPr>
          <p:cNvCxnSpPr/>
          <p:nvPr/>
        </p:nvCxnSpPr>
        <p:spPr bwMode="gray">
          <a:xfrm flipV="1">
            <a:off x="2391352" y="3925888"/>
            <a:ext cx="0" cy="403667"/>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0764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4D38D92-1D6B-88A4-E01F-AC4751D2E962}"/>
              </a:ext>
            </a:extLst>
          </p:cNvPr>
          <p:cNvGraphicFramePr>
            <a:graphicFrameLocks/>
          </p:cNvGraphicFramePr>
          <p:nvPr>
            <p:custDataLst>
              <p:tags r:id="rId1"/>
            </p:custDataLst>
            <p:extLst>
              <p:ext uri="{D42A27DB-BD31-4B8C-83A1-F6EECF244321}">
                <p14:modId xmlns:p14="http://schemas.microsoft.com/office/powerpoint/2010/main" val="22829288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7" imgW="7772400" imgH="10058400" progId="TCLayout.ActiveDocument.1">
                  <p:embed/>
                </p:oleObj>
              </mc:Choice>
              <mc:Fallback>
                <p:oleObj name="think-cell Slide" r:id="rId67" imgW="7772400" imgH="10058400" progId="TCLayout.ActiveDocument.1">
                  <p:embed/>
                  <p:pic>
                    <p:nvPicPr>
                      <p:cNvPr id="0" name=""/>
                      <p:cNvPicPr/>
                      <p:nvPr/>
                    </p:nvPicPr>
                    <p:blipFill>
                      <a:blip r:embed="rId6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D44F11-BEB1-86F3-CC75-1235AE56B137}"/>
              </a:ext>
            </a:extLst>
          </p:cNvPr>
          <p:cNvSpPr>
            <a:spLocks noGrp="1"/>
          </p:cNvSpPr>
          <p:nvPr>
            <p:ph type="title"/>
          </p:nvPr>
        </p:nvSpPr>
        <p:spPr/>
        <p:txBody>
          <a:bodyPr vert="horz" rIns="91440"/>
          <a:lstStyle/>
          <a:p>
            <a:r>
              <a:rPr lang="en-US" dirty="0"/>
              <a:t>Modern cumulative investment in geothermal expected to reach </a:t>
            </a:r>
            <a:br>
              <a:rPr lang="en-US" dirty="0"/>
            </a:br>
            <a:r>
              <a:rPr lang="en-US" dirty="0"/>
              <a:t>$1 trillion a decade before nuclear fission technology </a:t>
            </a:r>
          </a:p>
        </p:txBody>
      </p:sp>
      <p:sp>
        <p:nvSpPr>
          <p:cNvPr id="5" name="Text Placeholder 1">
            <a:extLst>
              <a:ext uri="{FF2B5EF4-FFF2-40B4-BE49-F238E27FC236}">
                <a16:creationId xmlns:a16="http://schemas.microsoft.com/office/drawing/2014/main" id="{0F70A020-F44D-A82A-3A4E-FFA0FF0FBF7C}"/>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sp>
        <p:nvSpPr>
          <p:cNvPr id="7" name="Rectangle 6">
            <a:extLst>
              <a:ext uri="{FF2B5EF4-FFF2-40B4-BE49-F238E27FC236}">
                <a16:creationId xmlns:a16="http://schemas.microsoft.com/office/drawing/2014/main" id="{810B96D0-98CD-5EF6-9662-EAF2D0A43714}"/>
              </a:ext>
            </a:extLst>
          </p:cNvPr>
          <p:cNvSpPr/>
          <p:nvPr/>
        </p:nvSpPr>
        <p:spPr bwMode="gray">
          <a:xfrm>
            <a:off x="6581775" y="604202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 name="Rectangle 7">
            <a:extLst>
              <a:ext uri="{FF2B5EF4-FFF2-40B4-BE49-F238E27FC236}">
                <a16:creationId xmlns:a16="http://schemas.microsoft.com/office/drawing/2014/main" id="{FA650F6B-391E-C4A7-7DC6-C076B11E3C40}"/>
              </a:ext>
            </a:extLst>
          </p:cNvPr>
          <p:cNvSpPr/>
          <p:nvPr/>
        </p:nvSpPr>
        <p:spPr bwMode="gray">
          <a:xfrm>
            <a:off x="6581775" y="578961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Rectangle 8">
            <a:extLst>
              <a:ext uri="{FF2B5EF4-FFF2-40B4-BE49-F238E27FC236}">
                <a16:creationId xmlns:a16="http://schemas.microsoft.com/office/drawing/2014/main" id="{69B48EA4-8BE0-01DA-8351-A706B69383F2}"/>
              </a:ext>
            </a:extLst>
          </p:cNvPr>
          <p:cNvSpPr/>
          <p:nvPr/>
        </p:nvSpPr>
        <p:spPr bwMode="gray">
          <a:xfrm>
            <a:off x="6581775" y="5530850"/>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Rectangle 9">
            <a:extLst>
              <a:ext uri="{FF2B5EF4-FFF2-40B4-BE49-F238E27FC236}">
                <a16:creationId xmlns:a16="http://schemas.microsoft.com/office/drawing/2014/main" id="{13B49947-7558-24CE-80AB-CDF9DA3F6DBA}"/>
              </a:ext>
            </a:extLst>
          </p:cNvPr>
          <p:cNvSpPr/>
          <p:nvPr/>
        </p:nvSpPr>
        <p:spPr bwMode="gray">
          <a:xfrm>
            <a:off x="6581775" y="5278438"/>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Rectangle 10">
            <a:extLst>
              <a:ext uri="{FF2B5EF4-FFF2-40B4-BE49-F238E27FC236}">
                <a16:creationId xmlns:a16="http://schemas.microsoft.com/office/drawing/2014/main" id="{3489CE33-DF82-282B-4299-40575A775BAA}"/>
              </a:ext>
            </a:extLst>
          </p:cNvPr>
          <p:cNvSpPr/>
          <p:nvPr/>
        </p:nvSpPr>
        <p:spPr bwMode="gray">
          <a:xfrm>
            <a:off x="6581775" y="501967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B4A13552-5465-4A3E-81B7-FC7B8F5057C5}"/>
              </a:ext>
            </a:extLst>
          </p:cNvPr>
          <p:cNvSpPr/>
          <p:nvPr/>
        </p:nvSpPr>
        <p:spPr bwMode="gray">
          <a:xfrm>
            <a:off x="6582409" y="476726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ectangle 12">
            <a:extLst>
              <a:ext uri="{FF2B5EF4-FFF2-40B4-BE49-F238E27FC236}">
                <a16:creationId xmlns:a16="http://schemas.microsoft.com/office/drawing/2014/main" id="{2B82DD51-A5B9-E27D-67B0-F5B7653967B1}"/>
              </a:ext>
            </a:extLst>
          </p:cNvPr>
          <p:cNvSpPr/>
          <p:nvPr/>
        </p:nvSpPr>
        <p:spPr bwMode="gray">
          <a:xfrm>
            <a:off x="6581775" y="451326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AAF2C048-773F-9991-9595-731BB2250FDC}"/>
              </a:ext>
            </a:extLst>
          </p:cNvPr>
          <p:cNvSpPr/>
          <p:nvPr/>
        </p:nvSpPr>
        <p:spPr bwMode="gray">
          <a:xfrm>
            <a:off x="6582383" y="425767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Rectangle 14">
            <a:extLst>
              <a:ext uri="{FF2B5EF4-FFF2-40B4-BE49-F238E27FC236}">
                <a16:creationId xmlns:a16="http://schemas.microsoft.com/office/drawing/2014/main" id="{43CCE401-3B49-8BFC-64F7-438CAB333ED2}"/>
              </a:ext>
            </a:extLst>
          </p:cNvPr>
          <p:cNvSpPr/>
          <p:nvPr/>
        </p:nvSpPr>
        <p:spPr bwMode="gray">
          <a:xfrm>
            <a:off x="607219" y="604202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D34BD349-CB01-F4DD-1E4B-CDD12E37527C}"/>
              </a:ext>
            </a:extLst>
          </p:cNvPr>
          <p:cNvSpPr/>
          <p:nvPr/>
        </p:nvSpPr>
        <p:spPr bwMode="gray">
          <a:xfrm>
            <a:off x="607219" y="578961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7516FF65-86BA-1B08-E441-AB5CA230B751}"/>
              </a:ext>
            </a:extLst>
          </p:cNvPr>
          <p:cNvSpPr/>
          <p:nvPr/>
        </p:nvSpPr>
        <p:spPr bwMode="gray">
          <a:xfrm>
            <a:off x="607219" y="5530850"/>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0AC7874E-676B-1E06-8849-77521E26492A}"/>
              </a:ext>
            </a:extLst>
          </p:cNvPr>
          <p:cNvSpPr/>
          <p:nvPr/>
        </p:nvSpPr>
        <p:spPr bwMode="gray">
          <a:xfrm>
            <a:off x="607219" y="5278438"/>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2555B323-8CF2-610B-0475-33716B69AB99}"/>
              </a:ext>
            </a:extLst>
          </p:cNvPr>
          <p:cNvSpPr/>
          <p:nvPr/>
        </p:nvSpPr>
        <p:spPr bwMode="gray">
          <a:xfrm>
            <a:off x="607219" y="501967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Rectangle 19">
            <a:extLst>
              <a:ext uri="{FF2B5EF4-FFF2-40B4-BE49-F238E27FC236}">
                <a16:creationId xmlns:a16="http://schemas.microsoft.com/office/drawing/2014/main" id="{41B11F45-5951-50F3-0B8E-DE8A014E65AB}"/>
              </a:ext>
            </a:extLst>
          </p:cNvPr>
          <p:cNvSpPr/>
          <p:nvPr/>
        </p:nvSpPr>
        <p:spPr bwMode="gray">
          <a:xfrm>
            <a:off x="607853" y="476726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tangle 20">
            <a:extLst>
              <a:ext uri="{FF2B5EF4-FFF2-40B4-BE49-F238E27FC236}">
                <a16:creationId xmlns:a16="http://schemas.microsoft.com/office/drawing/2014/main" id="{795D5D3A-0198-F55D-BD1B-B7BB03C91050}"/>
              </a:ext>
            </a:extLst>
          </p:cNvPr>
          <p:cNvSpPr/>
          <p:nvPr/>
        </p:nvSpPr>
        <p:spPr bwMode="gray">
          <a:xfrm>
            <a:off x="607219" y="4513263"/>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Rectangle 21">
            <a:extLst>
              <a:ext uri="{FF2B5EF4-FFF2-40B4-BE49-F238E27FC236}">
                <a16:creationId xmlns:a16="http://schemas.microsoft.com/office/drawing/2014/main" id="{93C65BCB-9F7B-551F-DFDF-9476588DE721}"/>
              </a:ext>
            </a:extLst>
          </p:cNvPr>
          <p:cNvSpPr/>
          <p:nvPr/>
        </p:nvSpPr>
        <p:spPr bwMode="gray">
          <a:xfrm>
            <a:off x="607827" y="4257675"/>
            <a:ext cx="4413250" cy="258344"/>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33" name="Chart 132">
            <a:extLst>
              <a:ext uri="{FF2B5EF4-FFF2-40B4-BE49-F238E27FC236}">
                <a16:creationId xmlns:a16="http://schemas.microsoft.com/office/drawing/2014/main" id="{B311A4EC-B715-F3FE-7962-8C18294920D6}"/>
              </a:ext>
            </a:extLst>
          </p:cNvPr>
          <p:cNvGraphicFramePr/>
          <p:nvPr>
            <p:custDataLst>
              <p:tags r:id="rId2"/>
            </p:custDataLst>
            <p:extLst>
              <p:ext uri="{D42A27DB-BD31-4B8C-83A1-F6EECF244321}">
                <p14:modId xmlns:p14="http://schemas.microsoft.com/office/powerpoint/2010/main" val="1859849750"/>
              </p:ext>
            </p:extLst>
          </p:nvPr>
        </p:nvGraphicFramePr>
        <p:xfrm>
          <a:off x="6169025" y="1512888"/>
          <a:ext cx="4821238" cy="2384425"/>
        </p:xfrm>
        <a:graphic>
          <a:graphicData uri="http://schemas.openxmlformats.org/drawingml/2006/chart">
            <c:chart xmlns:c="http://schemas.openxmlformats.org/drawingml/2006/chart" xmlns:r="http://schemas.openxmlformats.org/officeDocument/2006/relationships" r:id="rId69"/>
          </a:graphicData>
        </a:graphic>
      </p:graphicFrame>
      <p:sp>
        <p:nvSpPr>
          <p:cNvPr id="24" name="Text Placeholder 10">
            <a:extLst>
              <a:ext uri="{FF2B5EF4-FFF2-40B4-BE49-F238E27FC236}">
                <a16:creationId xmlns:a16="http://schemas.microsoft.com/office/drawing/2014/main" id="{A1CA0168-83E6-B218-B571-B9FCB1526AD1}"/>
              </a:ext>
            </a:extLst>
          </p:cNvPr>
          <p:cNvSpPr txBox="1">
            <a:spLocks/>
          </p:cNvSpPr>
          <p:nvPr>
            <p:custDataLst>
              <p:tags r:id="rId3"/>
            </p:custDataLst>
          </p:nvPr>
        </p:nvSpPr>
        <p:spPr bwMode="auto">
          <a:xfrm>
            <a:off x="87884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B392A8-63EC-4A9F-90E3-AC0D434ED002}" type="datetime'''''''''''''''''''''''2''''''''''''''''0''''38'''''">
              <a:rPr lang="en-US" altLang="en-US" sz="800" b="1" smtClean="0"/>
              <a:pPr marL="0" indent="0" algn="r">
                <a:spcBef>
                  <a:spcPct val="0"/>
                </a:spcBef>
                <a:spcAft>
                  <a:spcPct val="0"/>
                </a:spcAft>
                <a:buNone/>
              </a:pPr>
              <a:t>2038</a:t>
            </a:fld>
            <a:endParaRPr lang="en-US" sz="800" b="1" dirty="0"/>
          </a:p>
        </p:txBody>
      </p:sp>
      <p:sp>
        <p:nvSpPr>
          <p:cNvPr id="25" name="Text Placeholder 10">
            <a:extLst>
              <a:ext uri="{FF2B5EF4-FFF2-40B4-BE49-F238E27FC236}">
                <a16:creationId xmlns:a16="http://schemas.microsoft.com/office/drawing/2014/main" id="{ECC29DBB-9853-59AF-D0BF-CC54320ED5D2}"/>
              </a:ext>
            </a:extLst>
          </p:cNvPr>
          <p:cNvSpPr txBox="1">
            <a:spLocks/>
          </p:cNvSpPr>
          <p:nvPr>
            <p:custDataLst>
              <p:tags r:id="rId4"/>
            </p:custDataLst>
          </p:nvPr>
        </p:nvSpPr>
        <p:spPr bwMode="auto">
          <a:xfrm>
            <a:off x="65563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019826-1678-4F8A-8950-8363D8CA9A7B}" type="datetime'''''20''''''''2''''''5'''''''''''''''''''''">
              <a:rPr lang="en-US" altLang="en-US" sz="800" b="1" smtClean="0"/>
              <a:pPr marL="0" indent="0" algn="r">
                <a:spcBef>
                  <a:spcPct val="0"/>
                </a:spcBef>
                <a:spcAft>
                  <a:spcPct val="0"/>
                </a:spcAft>
                <a:buNone/>
              </a:pPr>
              <a:t>2025</a:t>
            </a:fld>
            <a:endParaRPr lang="en-US" sz="800" b="1" dirty="0"/>
          </a:p>
        </p:txBody>
      </p:sp>
      <p:sp>
        <p:nvSpPr>
          <p:cNvPr id="26" name="Text Placeholder 10">
            <a:extLst>
              <a:ext uri="{FF2B5EF4-FFF2-40B4-BE49-F238E27FC236}">
                <a16:creationId xmlns:a16="http://schemas.microsoft.com/office/drawing/2014/main" id="{7E87A7A4-0ABB-DAC3-D7C7-8F818E970905}"/>
              </a:ext>
            </a:extLst>
          </p:cNvPr>
          <p:cNvSpPr txBox="1">
            <a:spLocks/>
          </p:cNvSpPr>
          <p:nvPr>
            <p:custDataLst>
              <p:tags r:id="rId5"/>
            </p:custDataLst>
          </p:nvPr>
        </p:nvSpPr>
        <p:spPr bwMode="auto">
          <a:xfrm>
            <a:off x="70707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94353C-3673-46D4-A7C7-9314DBFD2E98}" type="datetime'''''''''''2''''''0''''''2''''''''''''8'''''''''''''''''''''">
              <a:rPr lang="en-US" altLang="en-US" sz="800" b="1" smtClean="0"/>
              <a:pPr marL="0" indent="0" algn="r">
                <a:spcBef>
                  <a:spcPct val="0"/>
                </a:spcBef>
                <a:spcAft>
                  <a:spcPct val="0"/>
                </a:spcAft>
                <a:buNone/>
              </a:pPr>
              <a:t>2028</a:t>
            </a:fld>
            <a:endParaRPr lang="en-US" sz="800" b="1" dirty="0"/>
          </a:p>
        </p:txBody>
      </p:sp>
      <p:sp>
        <p:nvSpPr>
          <p:cNvPr id="27" name="Text Placeholder 10">
            <a:extLst>
              <a:ext uri="{FF2B5EF4-FFF2-40B4-BE49-F238E27FC236}">
                <a16:creationId xmlns:a16="http://schemas.microsoft.com/office/drawing/2014/main" id="{4011F2CE-8E9D-D531-8753-59893D8D0AB3}"/>
              </a:ext>
            </a:extLst>
          </p:cNvPr>
          <p:cNvSpPr txBox="1">
            <a:spLocks/>
          </p:cNvSpPr>
          <p:nvPr>
            <p:custDataLst>
              <p:tags r:id="rId6"/>
            </p:custDataLst>
          </p:nvPr>
        </p:nvSpPr>
        <p:spPr bwMode="auto">
          <a:xfrm>
            <a:off x="72421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D15575-EDD2-4CF7-BE41-1A337E0E94F4}" type="datetime'''''''''''''''''''''''''2''''''0''''2''''9'''''''''''''">
              <a:rPr lang="en-US" altLang="en-US" sz="800" b="1" smtClean="0"/>
              <a:pPr marL="0" indent="0" algn="r">
                <a:spcBef>
                  <a:spcPct val="0"/>
                </a:spcBef>
                <a:spcAft>
                  <a:spcPct val="0"/>
                </a:spcAft>
                <a:buNone/>
              </a:pPr>
              <a:t>2029</a:t>
            </a:fld>
            <a:endParaRPr lang="en-US" sz="800" b="1" dirty="0"/>
          </a:p>
        </p:txBody>
      </p:sp>
      <p:sp>
        <p:nvSpPr>
          <p:cNvPr id="28" name="Text Placeholder 10">
            <a:extLst>
              <a:ext uri="{FF2B5EF4-FFF2-40B4-BE49-F238E27FC236}">
                <a16:creationId xmlns:a16="http://schemas.microsoft.com/office/drawing/2014/main" id="{0B521372-4C8F-8CEC-3D2B-7E01DE26C5CA}"/>
              </a:ext>
            </a:extLst>
          </p:cNvPr>
          <p:cNvSpPr txBox="1">
            <a:spLocks/>
          </p:cNvSpPr>
          <p:nvPr>
            <p:custDataLst>
              <p:tags r:id="rId7"/>
            </p:custDataLst>
          </p:nvPr>
        </p:nvSpPr>
        <p:spPr bwMode="auto">
          <a:xfrm>
            <a:off x="74152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3CB386-DFFF-4C7D-AF64-56905A75778D}" type="datetime'2''''''''''''''''''0''''''''3''''''''''''''0'''''''''''">
              <a:rPr lang="en-US" altLang="en-US" sz="800" b="1" smtClean="0"/>
              <a:pPr marL="0" indent="0" algn="r">
                <a:spcBef>
                  <a:spcPct val="0"/>
                </a:spcBef>
                <a:spcAft>
                  <a:spcPct val="0"/>
                </a:spcAft>
                <a:buNone/>
              </a:pPr>
              <a:t>2030</a:t>
            </a:fld>
            <a:endParaRPr lang="en-US" sz="800" b="1" dirty="0"/>
          </a:p>
        </p:txBody>
      </p:sp>
      <p:sp>
        <p:nvSpPr>
          <p:cNvPr id="29" name="Text Placeholder 10">
            <a:extLst>
              <a:ext uri="{FF2B5EF4-FFF2-40B4-BE49-F238E27FC236}">
                <a16:creationId xmlns:a16="http://schemas.microsoft.com/office/drawing/2014/main" id="{A0119262-60CE-5E8D-B309-1800B4A01480}"/>
              </a:ext>
            </a:extLst>
          </p:cNvPr>
          <p:cNvSpPr txBox="1">
            <a:spLocks/>
          </p:cNvSpPr>
          <p:nvPr>
            <p:custDataLst>
              <p:tags r:id="rId8"/>
            </p:custDataLst>
          </p:nvPr>
        </p:nvSpPr>
        <p:spPr bwMode="auto">
          <a:xfrm>
            <a:off x="75866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BC55FF-9B05-4CBD-A7AE-FAB38341D566}" type="datetime'''''''''''''2''''''''''''''''0''''''''''''''''''3''''''1'">
              <a:rPr lang="en-US" altLang="en-US" sz="800" b="1" smtClean="0"/>
              <a:pPr marL="0" indent="0" algn="r">
                <a:spcBef>
                  <a:spcPct val="0"/>
                </a:spcBef>
                <a:spcAft>
                  <a:spcPct val="0"/>
                </a:spcAft>
                <a:buNone/>
              </a:pPr>
              <a:t>2031</a:t>
            </a:fld>
            <a:endParaRPr lang="en-US" sz="800" b="1" dirty="0"/>
          </a:p>
        </p:txBody>
      </p:sp>
      <p:sp>
        <p:nvSpPr>
          <p:cNvPr id="30" name="Text Placeholder 10">
            <a:extLst>
              <a:ext uri="{FF2B5EF4-FFF2-40B4-BE49-F238E27FC236}">
                <a16:creationId xmlns:a16="http://schemas.microsoft.com/office/drawing/2014/main" id="{505C6290-991C-EBE5-E74A-4A886F83F807}"/>
              </a:ext>
            </a:extLst>
          </p:cNvPr>
          <p:cNvSpPr txBox="1">
            <a:spLocks/>
          </p:cNvSpPr>
          <p:nvPr>
            <p:custDataLst>
              <p:tags r:id="rId9"/>
            </p:custDataLst>
          </p:nvPr>
        </p:nvSpPr>
        <p:spPr bwMode="auto">
          <a:xfrm>
            <a:off x="77581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0C8AF3-6EE8-4DF4-A354-6FFA2AB471E5}" type="datetime'''''''''''''2''0''''''''''3''''''''''''''''2'''''''''">
              <a:rPr lang="en-US" altLang="en-US" sz="800" b="1" smtClean="0"/>
              <a:pPr marL="0" indent="0" algn="r">
                <a:spcBef>
                  <a:spcPct val="0"/>
                </a:spcBef>
                <a:spcAft>
                  <a:spcPct val="0"/>
                </a:spcAft>
                <a:buNone/>
              </a:pPr>
              <a:t>2032</a:t>
            </a:fld>
            <a:endParaRPr lang="en-US" sz="800" b="1" dirty="0"/>
          </a:p>
        </p:txBody>
      </p:sp>
      <p:sp>
        <p:nvSpPr>
          <p:cNvPr id="31" name="Text Placeholder 10">
            <a:extLst>
              <a:ext uri="{FF2B5EF4-FFF2-40B4-BE49-F238E27FC236}">
                <a16:creationId xmlns:a16="http://schemas.microsoft.com/office/drawing/2014/main" id="{F95E8EE5-D09D-E403-786A-EF6F9D5C6ACF}"/>
              </a:ext>
            </a:extLst>
          </p:cNvPr>
          <p:cNvSpPr txBox="1">
            <a:spLocks/>
          </p:cNvSpPr>
          <p:nvPr>
            <p:custDataLst>
              <p:tags r:id="rId10"/>
            </p:custDataLst>
          </p:nvPr>
        </p:nvSpPr>
        <p:spPr bwMode="auto">
          <a:xfrm>
            <a:off x="79295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5199600-E440-424F-8AE1-21B0DD4DB4E4}" type="datetime'''''''''''''''''''''''20''''''3''''''''''''''''''''3'''''''''">
              <a:rPr lang="en-US" altLang="en-US" sz="800" b="1" smtClean="0"/>
              <a:pPr marL="0" indent="0" algn="r">
                <a:spcBef>
                  <a:spcPct val="0"/>
                </a:spcBef>
                <a:spcAft>
                  <a:spcPct val="0"/>
                </a:spcAft>
                <a:buNone/>
              </a:pPr>
              <a:t>2033</a:t>
            </a:fld>
            <a:endParaRPr lang="en-US" sz="800" b="1" dirty="0"/>
          </a:p>
        </p:txBody>
      </p:sp>
      <p:sp>
        <p:nvSpPr>
          <p:cNvPr id="32" name="Text Placeholder 10">
            <a:extLst>
              <a:ext uri="{FF2B5EF4-FFF2-40B4-BE49-F238E27FC236}">
                <a16:creationId xmlns:a16="http://schemas.microsoft.com/office/drawing/2014/main" id="{8EF3400B-EE46-980D-064D-A47301340B02}"/>
              </a:ext>
            </a:extLst>
          </p:cNvPr>
          <p:cNvSpPr txBox="1">
            <a:spLocks/>
          </p:cNvSpPr>
          <p:nvPr>
            <p:custDataLst>
              <p:tags r:id="rId11"/>
            </p:custDataLst>
          </p:nvPr>
        </p:nvSpPr>
        <p:spPr bwMode="auto">
          <a:xfrm>
            <a:off x="81010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1B7DC9-F16C-4002-BCC1-5C4652CB13F7}" type="datetime'2''''''''0''''''''''''''''''''''''3''''''''''''''''''''''4'''">
              <a:rPr lang="en-US" altLang="en-US" sz="800" b="1" smtClean="0"/>
              <a:pPr marL="0" indent="0" algn="r">
                <a:spcBef>
                  <a:spcPct val="0"/>
                </a:spcBef>
                <a:spcAft>
                  <a:spcPct val="0"/>
                </a:spcAft>
                <a:buNone/>
              </a:pPr>
              <a:t>2034</a:t>
            </a:fld>
            <a:endParaRPr lang="en-US" sz="800" b="1" dirty="0"/>
          </a:p>
        </p:txBody>
      </p:sp>
      <p:sp>
        <p:nvSpPr>
          <p:cNvPr id="33" name="Text Placeholder 10">
            <a:extLst>
              <a:ext uri="{FF2B5EF4-FFF2-40B4-BE49-F238E27FC236}">
                <a16:creationId xmlns:a16="http://schemas.microsoft.com/office/drawing/2014/main" id="{DBD32E99-E7DA-F57D-443E-081EF3185245}"/>
              </a:ext>
            </a:extLst>
          </p:cNvPr>
          <p:cNvSpPr txBox="1">
            <a:spLocks/>
          </p:cNvSpPr>
          <p:nvPr>
            <p:custDataLst>
              <p:tags r:id="rId12"/>
            </p:custDataLst>
          </p:nvPr>
        </p:nvSpPr>
        <p:spPr bwMode="auto">
          <a:xfrm>
            <a:off x="82724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EF3C1A3-939F-414F-943C-353F9A122208}" type="datetime'''2''''''''''''''''0''''''''''''''''''''''''''''''''3''5'">
              <a:rPr lang="en-US" altLang="en-US" sz="800" b="1" smtClean="0"/>
              <a:pPr marL="0" indent="0" algn="r">
                <a:spcBef>
                  <a:spcPct val="0"/>
                </a:spcBef>
                <a:spcAft>
                  <a:spcPct val="0"/>
                </a:spcAft>
                <a:buNone/>
              </a:pPr>
              <a:t>2035</a:t>
            </a:fld>
            <a:endParaRPr lang="en-US" sz="800" b="1" dirty="0"/>
          </a:p>
        </p:txBody>
      </p:sp>
      <p:sp>
        <p:nvSpPr>
          <p:cNvPr id="34" name="Text Placeholder 10">
            <a:extLst>
              <a:ext uri="{FF2B5EF4-FFF2-40B4-BE49-F238E27FC236}">
                <a16:creationId xmlns:a16="http://schemas.microsoft.com/office/drawing/2014/main" id="{72F032CC-7046-1CBD-C195-192AAF09C970}"/>
              </a:ext>
            </a:extLst>
          </p:cNvPr>
          <p:cNvSpPr txBox="1">
            <a:spLocks/>
          </p:cNvSpPr>
          <p:nvPr>
            <p:custDataLst>
              <p:tags r:id="rId13"/>
            </p:custDataLst>
          </p:nvPr>
        </p:nvSpPr>
        <p:spPr bwMode="auto">
          <a:xfrm>
            <a:off x="84439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D5D1CDA-704A-4734-ABEA-8E72C808B049}" type="datetime'''''2''''''0''3''''''''''6'''''''''''''''''''''''''''''''">
              <a:rPr lang="en-US" altLang="en-US" sz="800" b="1" smtClean="0"/>
              <a:pPr marL="0" indent="0" algn="r">
                <a:spcBef>
                  <a:spcPct val="0"/>
                </a:spcBef>
                <a:spcAft>
                  <a:spcPct val="0"/>
                </a:spcAft>
                <a:buNone/>
              </a:pPr>
              <a:t>2036</a:t>
            </a:fld>
            <a:endParaRPr lang="en-US" sz="800" b="1" dirty="0"/>
          </a:p>
        </p:txBody>
      </p:sp>
      <p:sp>
        <p:nvSpPr>
          <p:cNvPr id="35" name="Text Placeholder 10">
            <a:extLst>
              <a:ext uri="{FF2B5EF4-FFF2-40B4-BE49-F238E27FC236}">
                <a16:creationId xmlns:a16="http://schemas.microsoft.com/office/drawing/2014/main" id="{EF3AE2AB-566C-198B-C575-2CAF20C12E92}"/>
              </a:ext>
            </a:extLst>
          </p:cNvPr>
          <p:cNvSpPr txBox="1">
            <a:spLocks/>
          </p:cNvSpPr>
          <p:nvPr>
            <p:custDataLst>
              <p:tags r:id="rId14"/>
            </p:custDataLst>
          </p:nvPr>
        </p:nvSpPr>
        <p:spPr bwMode="auto">
          <a:xfrm>
            <a:off x="86153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E094CA-4BBF-4CF1-ACE4-EB8428D4D5D0}" type="datetime'''''''''''''''''''''2''''''''''''''0''''37'''''''''''">
              <a:rPr lang="en-US" altLang="en-US" sz="800" b="1" smtClean="0"/>
              <a:pPr marL="0" indent="0" algn="r">
                <a:spcBef>
                  <a:spcPct val="0"/>
                </a:spcBef>
                <a:spcAft>
                  <a:spcPct val="0"/>
                </a:spcAft>
                <a:buNone/>
              </a:pPr>
              <a:t>2037</a:t>
            </a:fld>
            <a:endParaRPr lang="en-US" sz="800" b="1" dirty="0"/>
          </a:p>
        </p:txBody>
      </p:sp>
      <p:sp>
        <p:nvSpPr>
          <p:cNvPr id="36" name="Text Placeholder 10">
            <a:extLst>
              <a:ext uri="{FF2B5EF4-FFF2-40B4-BE49-F238E27FC236}">
                <a16:creationId xmlns:a16="http://schemas.microsoft.com/office/drawing/2014/main" id="{F01C7A5F-7321-1A04-FA5F-7A988F16C333}"/>
              </a:ext>
            </a:extLst>
          </p:cNvPr>
          <p:cNvSpPr txBox="1">
            <a:spLocks/>
          </p:cNvSpPr>
          <p:nvPr>
            <p:custDataLst>
              <p:tags r:id="rId15"/>
            </p:custDataLst>
          </p:nvPr>
        </p:nvSpPr>
        <p:spPr bwMode="auto">
          <a:xfrm>
            <a:off x="67278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B979EEC-5296-4E68-853F-57B1DDC2AD07}" type="datetime'''''''''''2''''''''''''0''''2''''''''''''''6'''''">
              <a:rPr lang="en-US" altLang="en-US" sz="800" b="1" smtClean="0"/>
              <a:pPr marL="0" indent="0" algn="r">
                <a:spcBef>
                  <a:spcPct val="0"/>
                </a:spcBef>
                <a:spcAft>
                  <a:spcPct val="0"/>
                </a:spcAft>
                <a:buNone/>
              </a:pPr>
              <a:t>2026</a:t>
            </a:fld>
            <a:endParaRPr lang="en-US" sz="800" b="1" dirty="0"/>
          </a:p>
        </p:txBody>
      </p:sp>
      <p:sp>
        <p:nvSpPr>
          <p:cNvPr id="37" name="Text Placeholder 10">
            <a:extLst>
              <a:ext uri="{FF2B5EF4-FFF2-40B4-BE49-F238E27FC236}">
                <a16:creationId xmlns:a16="http://schemas.microsoft.com/office/drawing/2014/main" id="{9EAF3FDB-C846-99FF-0704-FEBCEC336D0E}"/>
              </a:ext>
            </a:extLst>
          </p:cNvPr>
          <p:cNvSpPr txBox="1">
            <a:spLocks/>
          </p:cNvSpPr>
          <p:nvPr>
            <p:custDataLst>
              <p:tags r:id="rId16"/>
            </p:custDataLst>
          </p:nvPr>
        </p:nvSpPr>
        <p:spPr bwMode="auto">
          <a:xfrm>
            <a:off x="89598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E8E31E-6662-49E3-9657-66D76D4820F6}" type="datetime'''2''''0''''''''3''''''''''''''''''''''''9'''''''''''''''">
              <a:rPr lang="en-US" altLang="en-US" sz="800" b="1" smtClean="0"/>
              <a:pPr marL="0" indent="0" algn="r">
                <a:spcBef>
                  <a:spcPct val="0"/>
                </a:spcBef>
                <a:spcAft>
                  <a:spcPct val="0"/>
                </a:spcAft>
                <a:buNone/>
              </a:pPr>
              <a:t>2039</a:t>
            </a:fld>
            <a:endParaRPr lang="en-US" sz="800" b="1" dirty="0"/>
          </a:p>
        </p:txBody>
      </p:sp>
      <p:sp>
        <p:nvSpPr>
          <p:cNvPr id="38" name="Text Placeholder 10">
            <a:extLst>
              <a:ext uri="{FF2B5EF4-FFF2-40B4-BE49-F238E27FC236}">
                <a16:creationId xmlns:a16="http://schemas.microsoft.com/office/drawing/2014/main" id="{5A03AAEF-9B15-0EFB-5B39-9739A17A120A}"/>
              </a:ext>
            </a:extLst>
          </p:cNvPr>
          <p:cNvSpPr txBox="1">
            <a:spLocks/>
          </p:cNvSpPr>
          <p:nvPr>
            <p:custDataLst>
              <p:tags r:id="rId17"/>
            </p:custDataLst>
          </p:nvPr>
        </p:nvSpPr>
        <p:spPr bwMode="auto">
          <a:xfrm>
            <a:off x="91313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04F9AE-FC07-4E17-A5EC-488CAD3B3BA4}" type="datetime'''2''''''''''''0''''4''''''''''''''''''''''0'''''''''">
              <a:rPr lang="en-US" altLang="en-US" sz="800" b="1" smtClean="0"/>
              <a:pPr marL="0" indent="0" algn="r">
                <a:spcBef>
                  <a:spcPct val="0"/>
                </a:spcBef>
                <a:spcAft>
                  <a:spcPct val="0"/>
                </a:spcAft>
                <a:buNone/>
              </a:pPr>
              <a:t>2040</a:t>
            </a:fld>
            <a:endParaRPr lang="en-US" sz="800" b="1" dirty="0"/>
          </a:p>
        </p:txBody>
      </p:sp>
      <p:sp>
        <p:nvSpPr>
          <p:cNvPr id="39" name="Text Placeholder 10">
            <a:extLst>
              <a:ext uri="{FF2B5EF4-FFF2-40B4-BE49-F238E27FC236}">
                <a16:creationId xmlns:a16="http://schemas.microsoft.com/office/drawing/2014/main" id="{A23F06E3-4021-AC2C-CEFB-DE3D083FFDEC}"/>
              </a:ext>
            </a:extLst>
          </p:cNvPr>
          <p:cNvSpPr txBox="1">
            <a:spLocks/>
          </p:cNvSpPr>
          <p:nvPr>
            <p:custDataLst>
              <p:tags r:id="rId18"/>
            </p:custDataLst>
          </p:nvPr>
        </p:nvSpPr>
        <p:spPr bwMode="auto">
          <a:xfrm>
            <a:off x="93027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11D20D-C5B7-4943-B323-82364833CB25}" type="datetime'''''''2''''''0''4''''''''''''''''''''''''''1'">
              <a:rPr lang="en-US" altLang="en-US" sz="800" b="1" smtClean="0"/>
              <a:pPr marL="0" indent="0" algn="r">
                <a:spcBef>
                  <a:spcPct val="0"/>
                </a:spcBef>
                <a:spcAft>
                  <a:spcPct val="0"/>
                </a:spcAft>
                <a:buNone/>
              </a:pPr>
              <a:t>2041</a:t>
            </a:fld>
            <a:endParaRPr lang="en-US" sz="800" b="1" dirty="0"/>
          </a:p>
        </p:txBody>
      </p:sp>
      <p:sp>
        <p:nvSpPr>
          <p:cNvPr id="40" name="Text Placeholder 10">
            <a:extLst>
              <a:ext uri="{FF2B5EF4-FFF2-40B4-BE49-F238E27FC236}">
                <a16:creationId xmlns:a16="http://schemas.microsoft.com/office/drawing/2014/main" id="{46DCFEAE-D9CA-C3A8-6693-5E848D085A7B}"/>
              </a:ext>
            </a:extLst>
          </p:cNvPr>
          <p:cNvSpPr txBox="1">
            <a:spLocks/>
          </p:cNvSpPr>
          <p:nvPr>
            <p:custDataLst>
              <p:tags r:id="rId19"/>
            </p:custDataLst>
          </p:nvPr>
        </p:nvSpPr>
        <p:spPr bwMode="auto">
          <a:xfrm>
            <a:off x="94742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4BB9465-4665-4A56-8F1D-B112E58863FE}" type="datetime'''''''''''''''''2''''''''''''''''0''''4''2'''''''''''">
              <a:rPr lang="en-US" altLang="en-US" sz="800" b="1" smtClean="0"/>
              <a:pPr marL="0" indent="0" algn="r">
                <a:spcBef>
                  <a:spcPct val="0"/>
                </a:spcBef>
                <a:spcAft>
                  <a:spcPct val="0"/>
                </a:spcAft>
                <a:buNone/>
              </a:pPr>
              <a:t>2042</a:t>
            </a:fld>
            <a:endParaRPr lang="en-US" sz="800" b="1" dirty="0"/>
          </a:p>
        </p:txBody>
      </p:sp>
      <p:sp>
        <p:nvSpPr>
          <p:cNvPr id="41" name="Text Placeholder 10">
            <a:extLst>
              <a:ext uri="{FF2B5EF4-FFF2-40B4-BE49-F238E27FC236}">
                <a16:creationId xmlns:a16="http://schemas.microsoft.com/office/drawing/2014/main" id="{45E16241-D17A-F8DF-9F89-EC9678E622BC}"/>
              </a:ext>
            </a:extLst>
          </p:cNvPr>
          <p:cNvSpPr txBox="1">
            <a:spLocks/>
          </p:cNvSpPr>
          <p:nvPr>
            <p:custDataLst>
              <p:tags r:id="rId20"/>
            </p:custDataLst>
          </p:nvPr>
        </p:nvSpPr>
        <p:spPr bwMode="auto">
          <a:xfrm>
            <a:off x="96456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D6F1B55-C2CB-46D2-96A7-AC5B27513ADB}" type="datetime'''''''''''''''''''''''2''''04''''''''''''''''3'''''''''">
              <a:rPr lang="en-US" altLang="en-US" sz="800" b="1" smtClean="0"/>
              <a:pPr marL="0" indent="0" algn="r">
                <a:spcBef>
                  <a:spcPct val="0"/>
                </a:spcBef>
                <a:spcAft>
                  <a:spcPct val="0"/>
                </a:spcAft>
                <a:buNone/>
              </a:pPr>
              <a:t>2043</a:t>
            </a:fld>
            <a:endParaRPr lang="en-US" sz="800" b="1" dirty="0"/>
          </a:p>
        </p:txBody>
      </p:sp>
      <p:sp>
        <p:nvSpPr>
          <p:cNvPr id="42" name="Text Placeholder 10">
            <a:extLst>
              <a:ext uri="{FF2B5EF4-FFF2-40B4-BE49-F238E27FC236}">
                <a16:creationId xmlns:a16="http://schemas.microsoft.com/office/drawing/2014/main" id="{5A95FC59-9203-1A87-F284-EAD0C295CD54}"/>
              </a:ext>
            </a:extLst>
          </p:cNvPr>
          <p:cNvSpPr txBox="1">
            <a:spLocks/>
          </p:cNvSpPr>
          <p:nvPr>
            <p:custDataLst>
              <p:tags r:id="rId21"/>
            </p:custDataLst>
          </p:nvPr>
        </p:nvSpPr>
        <p:spPr bwMode="auto">
          <a:xfrm>
            <a:off x="98171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1DFA2F-AF17-4E7D-B716-BC13904DA7F3}" type="datetime'''''20''''''''''''''''''''''''''''''''''''4''4'''">
              <a:rPr lang="en-US" altLang="en-US" sz="800" b="1" smtClean="0"/>
              <a:pPr marL="0" indent="0" algn="r">
                <a:spcBef>
                  <a:spcPct val="0"/>
                </a:spcBef>
                <a:spcAft>
                  <a:spcPct val="0"/>
                </a:spcAft>
                <a:buNone/>
              </a:pPr>
              <a:t>2044</a:t>
            </a:fld>
            <a:endParaRPr lang="en-US" sz="800" b="1" dirty="0"/>
          </a:p>
        </p:txBody>
      </p:sp>
      <p:sp>
        <p:nvSpPr>
          <p:cNvPr id="43" name="Text Placeholder 10">
            <a:extLst>
              <a:ext uri="{FF2B5EF4-FFF2-40B4-BE49-F238E27FC236}">
                <a16:creationId xmlns:a16="http://schemas.microsoft.com/office/drawing/2014/main" id="{7D9F2423-B01F-C7BD-E327-BBE094F4CEF3}"/>
              </a:ext>
            </a:extLst>
          </p:cNvPr>
          <p:cNvSpPr txBox="1">
            <a:spLocks/>
          </p:cNvSpPr>
          <p:nvPr>
            <p:custDataLst>
              <p:tags r:id="rId22"/>
            </p:custDataLst>
          </p:nvPr>
        </p:nvSpPr>
        <p:spPr bwMode="auto">
          <a:xfrm>
            <a:off x="99885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C8D8AB-40E3-4522-B6F4-DFF6C4CE34DE}" type="datetime'''''2''''''''''''''''''''''0''''''''''''''''45'''''''''''''">
              <a:rPr lang="en-US" altLang="en-US" sz="800" b="1" smtClean="0"/>
              <a:pPr marL="0" indent="0" algn="r">
                <a:spcBef>
                  <a:spcPct val="0"/>
                </a:spcBef>
                <a:spcAft>
                  <a:spcPct val="0"/>
                </a:spcAft>
                <a:buNone/>
              </a:pPr>
              <a:t>2045</a:t>
            </a:fld>
            <a:endParaRPr lang="en-US" sz="800" b="1" dirty="0"/>
          </a:p>
        </p:txBody>
      </p:sp>
      <p:sp>
        <p:nvSpPr>
          <p:cNvPr id="44" name="Text Placeholder 10">
            <a:extLst>
              <a:ext uri="{FF2B5EF4-FFF2-40B4-BE49-F238E27FC236}">
                <a16:creationId xmlns:a16="http://schemas.microsoft.com/office/drawing/2014/main" id="{6D6C100E-FDB5-403B-4841-4DCC74F8AF20}"/>
              </a:ext>
            </a:extLst>
          </p:cNvPr>
          <p:cNvSpPr txBox="1">
            <a:spLocks/>
          </p:cNvSpPr>
          <p:nvPr>
            <p:custDataLst>
              <p:tags r:id="rId23"/>
            </p:custDataLst>
          </p:nvPr>
        </p:nvSpPr>
        <p:spPr bwMode="auto">
          <a:xfrm>
            <a:off x="1016158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D143FCA-FADB-41CE-BC83-D61211B8466E}" type="datetime'''''''2''''''04''''''''''''6'''''''''''''''''''''''''">
              <a:rPr lang="en-US" altLang="en-US" sz="800" b="1" smtClean="0"/>
              <a:pPr marL="0" indent="0" algn="r">
                <a:spcBef>
                  <a:spcPct val="0"/>
                </a:spcBef>
                <a:spcAft>
                  <a:spcPct val="0"/>
                </a:spcAft>
                <a:buNone/>
              </a:pPr>
              <a:t>2046</a:t>
            </a:fld>
            <a:endParaRPr lang="en-US" sz="800" b="1" dirty="0"/>
          </a:p>
        </p:txBody>
      </p:sp>
      <p:sp>
        <p:nvSpPr>
          <p:cNvPr id="45" name="Text Placeholder 10">
            <a:extLst>
              <a:ext uri="{FF2B5EF4-FFF2-40B4-BE49-F238E27FC236}">
                <a16:creationId xmlns:a16="http://schemas.microsoft.com/office/drawing/2014/main" id="{E2F3361E-9F68-B035-0D72-FBA6E7442151}"/>
              </a:ext>
            </a:extLst>
          </p:cNvPr>
          <p:cNvSpPr txBox="1">
            <a:spLocks/>
          </p:cNvSpPr>
          <p:nvPr>
            <p:custDataLst>
              <p:tags r:id="rId24"/>
            </p:custDataLst>
          </p:nvPr>
        </p:nvSpPr>
        <p:spPr bwMode="auto">
          <a:xfrm>
            <a:off x="1033303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58ADE6-C76A-4E3B-948D-DDE6F43E876A}" type="datetime'''''''''''2''''''''''''''''''''''''''''''''0''''''''4''7'">
              <a:rPr lang="en-US" altLang="en-US" sz="800" b="1" smtClean="0"/>
              <a:pPr marL="0" indent="0" algn="r">
                <a:spcBef>
                  <a:spcPct val="0"/>
                </a:spcBef>
                <a:spcAft>
                  <a:spcPct val="0"/>
                </a:spcAft>
                <a:buNone/>
              </a:pPr>
              <a:t>2047</a:t>
            </a:fld>
            <a:endParaRPr lang="en-US" sz="800" b="1" dirty="0"/>
          </a:p>
        </p:txBody>
      </p:sp>
      <p:sp>
        <p:nvSpPr>
          <p:cNvPr id="46" name="Text Placeholder 10">
            <a:extLst>
              <a:ext uri="{FF2B5EF4-FFF2-40B4-BE49-F238E27FC236}">
                <a16:creationId xmlns:a16="http://schemas.microsoft.com/office/drawing/2014/main" id="{F3229A8F-C973-62A0-5745-96A76A88A38A}"/>
              </a:ext>
            </a:extLst>
          </p:cNvPr>
          <p:cNvSpPr txBox="1">
            <a:spLocks/>
          </p:cNvSpPr>
          <p:nvPr>
            <p:custDataLst>
              <p:tags r:id="rId25"/>
            </p:custDataLst>
          </p:nvPr>
        </p:nvSpPr>
        <p:spPr bwMode="auto">
          <a:xfrm>
            <a:off x="1050448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0EA3A78-24BD-4C2B-93BA-FA607679E28F}" type="datetime'''''''''2''''0''''''''''''''4''''''''''''''''''''''8'">
              <a:rPr lang="en-US" altLang="en-US" sz="800" b="1" smtClean="0"/>
              <a:pPr marL="0" indent="0" algn="r">
                <a:spcBef>
                  <a:spcPct val="0"/>
                </a:spcBef>
                <a:spcAft>
                  <a:spcPct val="0"/>
                </a:spcAft>
                <a:buNone/>
              </a:pPr>
              <a:t>2048</a:t>
            </a:fld>
            <a:endParaRPr lang="en-US" sz="800" b="1" dirty="0"/>
          </a:p>
        </p:txBody>
      </p:sp>
      <p:sp>
        <p:nvSpPr>
          <p:cNvPr id="47" name="Text Placeholder 10">
            <a:extLst>
              <a:ext uri="{FF2B5EF4-FFF2-40B4-BE49-F238E27FC236}">
                <a16:creationId xmlns:a16="http://schemas.microsoft.com/office/drawing/2014/main" id="{F816C289-FF5C-3300-D508-F76F9AE41763}"/>
              </a:ext>
            </a:extLst>
          </p:cNvPr>
          <p:cNvSpPr txBox="1">
            <a:spLocks/>
          </p:cNvSpPr>
          <p:nvPr>
            <p:custDataLst>
              <p:tags r:id="rId26"/>
            </p:custDataLst>
          </p:nvPr>
        </p:nvSpPr>
        <p:spPr bwMode="auto">
          <a:xfrm>
            <a:off x="1067593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5E64F69-CC2D-4C62-9613-7C2AC4EFE308}" type="datetime'20''''''4''''''''''''''''''''''''''''''''9'''''">
              <a:rPr lang="en-US" altLang="en-US" sz="800" b="1" smtClean="0"/>
              <a:pPr marL="0" indent="0" algn="r">
                <a:spcBef>
                  <a:spcPct val="0"/>
                </a:spcBef>
                <a:spcAft>
                  <a:spcPct val="0"/>
                </a:spcAft>
                <a:buNone/>
              </a:pPr>
              <a:t>2049</a:t>
            </a:fld>
            <a:endParaRPr lang="en-US" sz="800" b="1" dirty="0"/>
          </a:p>
        </p:txBody>
      </p:sp>
      <p:sp>
        <p:nvSpPr>
          <p:cNvPr id="48" name="Text Placeholder 10">
            <a:extLst>
              <a:ext uri="{FF2B5EF4-FFF2-40B4-BE49-F238E27FC236}">
                <a16:creationId xmlns:a16="http://schemas.microsoft.com/office/drawing/2014/main" id="{CFAFC3E6-9BAE-41E8-3955-EE1FBC9C72AB}"/>
              </a:ext>
            </a:extLst>
          </p:cNvPr>
          <p:cNvSpPr txBox="1">
            <a:spLocks/>
          </p:cNvSpPr>
          <p:nvPr>
            <p:custDataLst>
              <p:tags r:id="rId27"/>
            </p:custDataLst>
          </p:nvPr>
        </p:nvSpPr>
        <p:spPr bwMode="auto">
          <a:xfrm>
            <a:off x="1084738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DA1F28-5C5A-4431-98DB-5F76EA44E031}" type="datetime'''''''''''''''''''''''''''2''''''''''''''0''''''''''''50'''">
              <a:rPr lang="en-US" altLang="en-US" sz="800" b="1" smtClean="0"/>
              <a:pPr marL="0" indent="0" algn="r">
                <a:spcBef>
                  <a:spcPct val="0"/>
                </a:spcBef>
                <a:spcAft>
                  <a:spcPct val="0"/>
                </a:spcAft>
                <a:buNone/>
              </a:pPr>
              <a:t>2050</a:t>
            </a:fld>
            <a:endParaRPr lang="en-US" sz="800" b="1" dirty="0"/>
          </a:p>
        </p:txBody>
      </p:sp>
      <p:sp>
        <p:nvSpPr>
          <p:cNvPr id="49" name="Text Placeholder 10">
            <a:extLst>
              <a:ext uri="{FF2B5EF4-FFF2-40B4-BE49-F238E27FC236}">
                <a16:creationId xmlns:a16="http://schemas.microsoft.com/office/drawing/2014/main" id="{1BFE5AA0-B0B8-D8C8-7443-5C964C053F29}"/>
              </a:ext>
            </a:extLst>
          </p:cNvPr>
          <p:cNvSpPr txBox="1">
            <a:spLocks/>
          </p:cNvSpPr>
          <p:nvPr>
            <p:custDataLst>
              <p:tags r:id="rId28"/>
            </p:custDataLst>
          </p:nvPr>
        </p:nvSpPr>
        <p:spPr bwMode="auto">
          <a:xfrm>
            <a:off x="68992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9691EFA-27E0-460C-8E7F-BF07426C7A41}" type="datetime'''''''''''''''''''2''''''''''''''0''''''2''7'''">
              <a:rPr lang="en-US" altLang="en-US" sz="800" b="1" smtClean="0"/>
              <a:pPr marL="0" indent="0" algn="r">
                <a:spcBef>
                  <a:spcPct val="0"/>
                </a:spcBef>
                <a:spcAft>
                  <a:spcPct val="0"/>
                </a:spcAft>
                <a:buNone/>
              </a:pPr>
              <a:t>2027</a:t>
            </a:fld>
            <a:endParaRPr lang="en-US" sz="800" b="1" dirty="0"/>
          </a:p>
        </p:txBody>
      </p:sp>
      <p:cxnSp>
        <p:nvCxnSpPr>
          <p:cNvPr id="50" name="Straight Connector 49">
            <a:extLst>
              <a:ext uri="{FF2B5EF4-FFF2-40B4-BE49-F238E27FC236}">
                <a16:creationId xmlns:a16="http://schemas.microsoft.com/office/drawing/2014/main" id="{32F61306-DC57-D26C-BBC3-183C0076735E}"/>
              </a:ext>
            </a:extLst>
          </p:cNvPr>
          <p:cNvCxnSpPr>
            <a:cxnSpLocks/>
          </p:cNvCxnSpPr>
          <p:nvPr/>
        </p:nvCxnSpPr>
        <p:spPr bwMode="gray">
          <a:xfrm flipV="1">
            <a:off x="12192000" y="4768850"/>
            <a:ext cx="0" cy="1148569"/>
          </a:xfrm>
          <a:prstGeom prst="line">
            <a:avLst/>
          </a:prstGeom>
          <a:ln w="12700" cap="flat" cmpd="sng" algn="ctr">
            <a:solidFill>
              <a:schemeClr val="tx2">
                <a:lumMod val="75000"/>
              </a:schemeClr>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Rectangle 50">
            <a:extLst>
              <a:ext uri="{FF2B5EF4-FFF2-40B4-BE49-F238E27FC236}">
                <a16:creationId xmlns:a16="http://schemas.microsoft.com/office/drawing/2014/main" id="{6750F655-68E8-8D2A-A077-E84A9807B231}"/>
              </a:ext>
            </a:extLst>
          </p:cNvPr>
          <p:cNvSpPr/>
          <p:nvPr>
            <p:custDataLst>
              <p:tags r:id="rId29"/>
            </p:custDataLst>
          </p:nvPr>
        </p:nvSpPr>
        <p:spPr bwMode="auto">
          <a:xfrm>
            <a:off x="6616700" y="1685925"/>
            <a:ext cx="142875" cy="106363"/>
          </a:xfrm>
          <a:prstGeom prst="rect">
            <a:avLst/>
          </a:prstGeom>
          <a:solidFill>
            <a:srgbClr val="BDE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Rectangle 51">
            <a:extLst>
              <a:ext uri="{FF2B5EF4-FFF2-40B4-BE49-F238E27FC236}">
                <a16:creationId xmlns:a16="http://schemas.microsoft.com/office/drawing/2014/main" id="{1A0A0BFF-CBF0-37AC-BF03-69DDD2708D9B}"/>
              </a:ext>
            </a:extLst>
          </p:cNvPr>
          <p:cNvSpPr/>
          <p:nvPr>
            <p:custDataLst>
              <p:tags r:id="rId30"/>
            </p:custDataLst>
          </p:nvPr>
        </p:nvSpPr>
        <p:spPr bwMode="auto">
          <a:xfrm>
            <a:off x="6616700" y="1858963"/>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Rectangle 52">
            <a:extLst>
              <a:ext uri="{FF2B5EF4-FFF2-40B4-BE49-F238E27FC236}">
                <a16:creationId xmlns:a16="http://schemas.microsoft.com/office/drawing/2014/main" id="{63EF6A9F-EA0A-37FE-B2FD-56FDA529E278}"/>
              </a:ext>
            </a:extLst>
          </p:cNvPr>
          <p:cNvSpPr/>
          <p:nvPr>
            <p:custDataLst>
              <p:tags r:id="rId31"/>
            </p:custDataLst>
          </p:nvPr>
        </p:nvSpPr>
        <p:spPr bwMode="auto">
          <a:xfrm>
            <a:off x="6616700" y="203200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Text Placeholder 10">
            <a:extLst>
              <a:ext uri="{FF2B5EF4-FFF2-40B4-BE49-F238E27FC236}">
                <a16:creationId xmlns:a16="http://schemas.microsoft.com/office/drawing/2014/main" id="{7EFC148C-E63B-9453-F3D0-C3964B6F9778}"/>
              </a:ext>
            </a:extLst>
          </p:cNvPr>
          <p:cNvSpPr txBox="1">
            <a:spLocks/>
          </p:cNvSpPr>
          <p:nvPr>
            <p:custDataLst>
              <p:tags r:id="rId32"/>
            </p:custDataLst>
          </p:nvPr>
        </p:nvSpPr>
        <p:spPr bwMode="auto">
          <a:xfrm>
            <a:off x="6810375" y="1681163"/>
            <a:ext cx="715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2C68DA8-B79E-4F51-A618-03905F7EDAB1}" type="datetime'E''l''e''''c''''t''r''i''''''''''''''''c''''''''ty On''ly'">
              <a:rPr lang="en-US" altLang="en-US" sz="800" b="1" smtClean="0"/>
              <a:pPr/>
              <a:t>Electricty Only</a:t>
            </a:fld>
            <a:endParaRPr lang="en-US" sz="800" b="1" dirty="0"/>
          </a:p>
        </p:txBody>
      </p:sp>
      <p:sp>
        <p:nvSpPr>
          <p:cNvPr id="55" name="Text Placeholder 10">
            <a:extLst>
              <a:ext uri="{FF2B5EF4-FFF2-40B4-BE49-F238E27FC236}">
                <a16:creationId xmlns:a16="http://schemas.microsoft.com/office/drawing/2014/main" id="{724BE76F-567C-9964-4AE3-95B1C87ED4B1}"/>
              </a:ext>
            </a:extLst>
          </p:cNvPr>
          <p:cNvSpPr txBox="1">
            <a:spLocks/>
          </p:cNvSpPr>
          <p:nvPr>
            <p:custDataLst>
              <p:tags r:id="rId33"/>
            </p:custDataLst>
          </p:nvPr>
        </p:nvSpPr>
        <p:spPr bwMode="auto">
          <a:xfrm>
            <a:off x="6810375" y="1854200"/>
            <a:ext cx="1290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49DE5-F09D-4A12-8DFA-1EDA609A7C70}" type="datetime'Comb''i''ne''d'''''' ''H''e''a''''t ''''''an''d P''''owe''r'">
              <a:rPr lang="en-US" altLang="en-US" sz="800" b="1" smtClean="0"/>
              <a:pPr/>
              <a:t>Combined Heat and Power</a:t>
            </a:fld>
            <a:endParaRPr lang="en-US" sz="800" b="1" dirty="0"/>
          </a:p>
        </p:txBody>
      </p:sp>
      <p:sp>
        <p:nvSpPr>
          <p:cNvPr id="56" name="Text Placeholder 10">
            <a:extLst>
              <a:ext uri="{FF2B5EF4-FFF2-40B4-BE49-F238E27FC236}">
                <a16:creationId xmlns:a16="http://schemas.microsoft.com/office/drawing/2014/main" id="{3785D6C2-2BA0-0870-09C3-80F1F581FD36}"/>
              </a:ext>
            </a:extLst>
          </p:cNvPr>
          <p:cNvSpPr txBox="1">
            <a:spLocks/>
          </p:cNvSpPr>
          <p:nvPr>
            <p:custDataLst>
              <p:tags r:id="rId34"/>
            </p:custDataLst>
          </p:nvPr>
        </p:nvSpPr>
        <p:spPr bwMode="auto">
          <a:xfrm>
            <a:off x="6810375" y="2027238"/>
            <a:ext cx="708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1454565-FCD4-432E-8552-4AF64434E998}" type="datetime'''''''In''dustr''''''''''''ial'''''' ''H''''''ea''''''''''t'''">
              <a:rPr lang="en-US" altLang="en-US" sz="800" b="1" smtClean="0"/>
              <a:pPr/>
              <a:t>Industrial Heat</a:t>
            </a:fld>
            <a:endParaRPr lang="en-US" sz="800" b="1" dirty="0"/>
          </a:p>
        </p:txBody>
      </p:sp>
      <p:sp>
        <p:nvSpPr>
          <p:cNvPr id="57" name="Rectangle 56">
            <a:extLst>
              <a:ext uri="{FF2B5EF4-FFF2-40B4-BE49-F238E27FC236}">
                <a16:creationId xmlns:a16="http://schemas.microsoft.com/office/drawing/2014/main" id="{A76F7FFC-F0E1-46C7-C1EF-220739798CB1}"/>
              </a:ext>
            </a:extLst>
          </p:cNvPr>
          <p:cNvSpPr/>
          <p:nvPr/>
        </p:nvSpPr>
        <p:spPr bwMode="gray">
          <a:xfrm>
            <a:off x="6657975" y="1389063"/>
            <a:ext cx="4699000" cy="463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dirty="0">
                <a:solidFill>
                  <a:schemeClr val="tx1"/>
                </a:solidFill>
              </a:rPr>
              <a:t>Cumulative Investment Estimate of Geothermal Energy by Application (US$B)</a:t>
            </a:r>
          </a:p>
        </p:txBody>
      </p:sp>
      <p:cxnSp>
        <p:nvCxnSpPr>
          <p:cNvPr id="58" name="Straight Connector 57">
            <a:extLst>
              <a:ext uri="{FF2B5EF4-FFF2-40B4-BE49-F238E27FC236}">
                <a16:creationId xmlns:a16="http://schemas.microsoft.com/office/drawing/2014/main" id="{8E5A8074-5159-DBF0-CFF6-83A5A38C8146}"/>
              </a:ext>
            </a:extLst>
          </p:cNvPr>
          <p:cNvCxnSpPr>
            <a:cxnSpLocks/>
          </p:cNvCxnSpPr>
          <p:nvPr/>
        </p:nvCxnSpPr>
        <p:spPr bwMode="gray">
          <a:xfrm flipV="1">
            <a:off x="8187163" y="2944813"/>
            <a:ext cx="0" cy="81099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2C86C0DE-3E96-F9FF-AF70-94BC8166676A}"/>
              </a:ext>
            </a:extLst>
          </p:cNvPr>
          <p:cNvSpPr/>
          <p:nvPr/>
        </p:nvSpPr>
        <p:spPr bwMode="gray">
          <a:xfrm>
            <a:off x="7451300" y="2846388"/>
            <a:ext cx="735863" cy="1941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tx1"/>
                </a:solidFill>
              </a:rPr>
              <a:t>$1T by 2034</a:t>
            </a:r>
          </a:p>
        </p:txBody>
      </p:sp>
      <p:graphicFrame>
        <p:nvGraphicFramePr>
          <p:cNvPr id="134" name="Chart 133">
            <a:extLst>
              <a:ext uri="{FF2B5EF4-FFF2-40B4-BE49-F238E27FC236}">
                <a16:creationId xmlns:a16="http://schemas.microsoft.com/office/drawing/2014/main" id="{CFAB924D-C809-8152-D758-6ED84B3B0A43}"/>
              </a:ext>
            </a:extLst>
          </p:cNvPr>
          <p:cNvGraphicFramePr/>
          <p:nvPr>
            <p:custDataLst>
              <p:tags r:id="rId35"/>
            </p:custDataLst>
            <p:extLst>
              <p:ext uri="{D42A27DB-BD31-4B8C-83A1-F6EECF244321}">
                <p14:modId xmlns:p14="http://schemas.microsoft.com/office/powerpoint/2010/main" val="3387742269"/>
              </p:ext>
            </p:extLst>
          </p:nvPr>
        </p:nvGraphicFramePr>
        <p:xfrm>
          <a:off x="280988" y="1512888"/>
          <a:ext cx="4821237" cy="2384425"/>
        </p:xfrm>
        <a:graphic>
          <a:graphicData uri="http://schemas.openxmlformats.org/drawingml/2006/chart">
            <c:chart xmlns:c="http://schemas.openxmlformats.org/drawingml/2006/chart" xmlns:r="http://schemas.openxmlformats.org/officeDocument/2006/relationships" r:id="rId70"/>
          </a:graphicData>
        </a:graphic>
      </p:graphicFrame>
      <p:sp>
        <p:nvSpPr>
          <p:cNvPr id="61" name="Text Placeholder 10">
            <a:extLst>
              <a:ext uri="{FF2B5EF4-FFF2-40B4-BE49-F238E27FC236}">
                <a16:creationId xmlns:a16="http://schemas.microsoft.com/office/drawing/2014/main" id="{9D66CE4B-AB06-3764-7FF1-D61AB5D5EA03}"/>
              </a:ext>
            </a:extLst>
          </p:cNvPr>
          <p:cNvSpPr txBox="1">
            <a:spLocks/>
          </p:cNvSpPr>
          <p:nvPr>
            <p:custDataLst>
              <p:tags r:id="rId36"/>
            </p:custDataLst>
          </p:nvPr>
        </p:nvSpPr>
        <p:spPr bwMode="auto">
          <a:xfrm>
            <a:off x="29003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22683BF-DBD9-42F0-9601-25750F9BD29B}" type="datetime'''''''''''''''''''''2''0''''''3''''''''''''''''''''''''8'''''">
              <a:rPr lang="en-US" altLang="en-US" sz="800" b="1" smtClean="0"/>
              <a:pPr marL="0" indent="0" algn="r">
                <a:spcBef>
                  <a:spcPct val="0"/>
                </a:spcBef>
                <a:spcAft>
                  <a:spcPct val="0"/>
                </a:spcAft>
                <a:buNone/>
              </a:pPr>
              <a:t>2038</a:t>
            </a:fld>
            <a:endParaRPr lang="en-US" sz="800" b="1" dirty="0"/>
          </a:p>
        </p:txBody>
      </p:sp>
      <p:sp>
        <p:nvSpPr>
          <p:cNvPr id="62" name="Text Placeholder 10">
            <a:extLst>
              <a:ext uri="{FF2B5EF4-FFF2-40B4-BE49-F238E27FC236}">
                <a16:creationId xmlns:a16="http://schemas.microsoft.com/office/drawing/2014/main" id="{9BFA3D66-15C8-3C53-0390-849C3E91E621}"/>
              </a:ext>
            </a:extLst>
          </p:cNvPr>
          <p:cNvSpPr txBox="1">
            <a:spLocks/>
          </p:cNvSpPr>
          <p:nvPr>
            <p:custDataLst>
              <p:tags r:id="rId37"/>
            </p:custDataLst>
          </p:nvPr>
        </p:nvSpPr>
        <p:spPr bwMode="auto">
          <a:xfrm>
            <a:off x="66833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AE94A3A-CCC9-4991-B3F1-E6AA8863D70B}" type="datetime'''''''''''2''''''''''0''''''''''''''''''2''''''''5'''">
              <a:rPr lang="en-US" altLang="en-US" sz="800" b="1" smtClean="0"/>
              <a:pPr marL="0" indent="0" algn="r">
                <a:spcBef>
                  <a:spcPct val="0"/>
                </a:spcBef>
                <a:spcAft>
                  <a:spcPct val="0"/>
                </a:spcAft>
                <a:buNone/>
              </a:pPr>
              <a:t>2025</a:t>
            </a:fld>
            <a:endParaRPr lang="en-US" sz="800" b="1" dirty="0"/>
          </a:p>
        </p:txBody>
      </p:sp>
      <p:sp>
        <p:nvSpPr>
          <p:cNvPr id="63" name="Text Placeholder 10">
            <a:extLst>
              <a:ext uri="{FF2B5EF4-FFF2-40B4-BE49-F238E27FC236}">
                <a16:creationId xmlns:a16="http://schemas.microsoft.com/office/drawing/2014/main" id="{501767C2-043D-620C-5B9F-5B26EBAC3560}"/>
              </a:ext>
            </a:extLst>
          </p:cNvPr>
          <p:cNvSpPr txBox="1">
            <a:spLocks/>
          </p:cNvSpPr>
          <p:nvPr>
            <p:custDataLst>
              <p:tags r:id="rId38"/>
            </p:custDataLst>
          </p:nvPr>
        </p:nvSpPr>
        <p:spPr bwMode="auto">
          <a:xfrm>
            <a:off x="118268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2A09289-54AB-496C-B344-71CF5A918116}" type="datetime'''''''''''''''''''''''''''''''2''0''''2''''''8'''''''''''''">
              <a:rPr lang="en-US" altLang="en-US" sz="800" b="1" smtClean="0"/>
              <a:pPr marL="0" indent="0" algn="r">
                <a:spcBef>
                  <a:spcPct val="0"/>
                </a:spcBef>
                <a:spcAft>
                  <a:spcPct val="0"/>
                </a:spcAft>
                <a:buNone/>
              </a:pPr>
              <a:t>2028</a:t>
            </a:fld>
            <a:endParaRPr lang="en-US" sz="800" b="1" dirty="0"/>
          </a:p>
        </p:txBody>
      </p:sp>
      <p:sp>
        <p:nvSpPr>
          <p:cNvPr id="64" name="Text Placeholder 10">
            <a:extLst>
              <a:ext uri="{FF2B5EF4-FFF2-40B4-BE49-F238E27FC236}">
                <a16:creationId xmlns:a16="http://schemas.microsoft.com/office/drawing/2014/main" id="{B9A1E00A-737C-BCAD-C9B7-518834586183}"/>
              </a:ext>
            </a:extLst>
          </p:cNvPr>
          <p:cNvSpPr txBox="1">
            <a:spLocks/>
          </p:cNvSpPr>
          <p:nvPr>
            <p:custDataLst>
              <p:tags r:id="rId39"/>
            </p:custDataLst>
          </p:nvPr>
        </p:nvSpPr>
        <p:spPr bwMode="auto">
          <a:xfrm>
            <a:off x="135413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4C68CB-5503-4BBC-8BCF-19F52B98BFD8}" type="datetime'''''''2''''''''''''''''0''''''''''''''2''''9'''''''''''">
              <a:rPr lang="en-US" altLang="en-US" sz="800" b="1" smtClean="0"/>
              <a:pPr marL="0" indent="0" algn="r">
                <a:spcBef>
                  <a:spcPct val="0"/>
                </a:spcBef>
                <a:spcAft>
                  <a:spcPct val="0"/>
                </a:spcAft>
                <a:buNone/>
              </a:pPr>
              <a:t>2029</a:t>
            </a:fld>
            <a:endParaRPr lang="en-US" sz="800" b="1" dirty="0"/>
          </a:p>
        </p:txBody>
      </p:sp>
      <p:sp>
        <p:nvSpPr>
          <p:cNvPr id="65" name="Text Placeholder 10">
            <a:extLst>
              <a:ext uri="{FF2B5EF4-FFF2-40B4-BE49-F238E27FC236}">
                <a16:creationId xmlns:a16="http://schemas.microsoft.com/office/drawing/2014/main" id="{3D3A3AA7-0296-44BC-033E-30A255090379}"/>
              </a:ext>
            </a:extLst>
          </p:cNvPr>
          <p:cNvSpPr txBox="1">
            <a:spLocks/>
          </p:cNvSpPr>
          <p:nvPr>
            <p:custDataLst>
              <p:tags r:id="rId40"/>
            </p:custDataLst>
          </p:nvPr>
        </p:nvSpPr>
        <p:spPr bwMode="auto">
          <a:xfrm>
            <a:off x="15271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F05C21F-088F-4666-8601-E688310CE4E6}" type="datetime'''203''''''''''''''''''0'''''">
              <a:rPr lang="en-US" altLang="en-US" sz="800" b="1" smtClean="0"/>
              <a:pPr marL="0" indent="0" algn="r">
                <a:spcBef>
                  <a:spcPct val="0"/>
                </a:spcBef>
                <a:spcAft>
                  <a:spcPct val="0"/>
                </a:spcAft>
                <a:buNone/>
              </a:pPr>
              <a:t>2030</a:t>
            </a:fld>
            <a:endParaRPr lang="en-US" sz="800" b="1" dirty="0"/>
          </a:p>
        </p:txBody>
      </p:sp>
      <p:sp>
        <p:nvSpPr>
          <p:cNvPr id="66" name="Text Placeholder 10">
            <a:extLst>
              <a:ext uri="{FF2B5EF4-FFF2-40B4-BE49-F238E27FC236}">
                <a16:creationId xmlns:a16="http://schemas.microsoft.com/office/drawing/2014/main" id="{A918BD39-2AF4-F367-51F1-6C926EEEF0B0}"/>
              </a:ext>
            </a:extLst>
          </p:cNvPr>
          <p:cNvSpPr txBox="1">
            <a:spLocks/>
          </p:cNvSpPr>
          <p:nvPr>
            <p:custDataLst>
              <p:tags r:id="rId41"/>
            </p:custDataLst>
          </p:nvPr>
        </p:nvSpPr>
        <p:spPr bwMode="auto">
          <a:xfrm>
            <a:off x="16986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4A08EB-FE0F-4296-864B-40ADB2A94CBB}" type="datetime'''''''''2''''''''''0''''''31'''''''''''''''''''''''''''''''''">
              <a:rPr lang="en-US" altLang="en-US" sz="800" b="1" smtClean="0"/>
              <a:pPr marL="0" indent="0" algn="r">
                <a:spcBef>
                  <a:spcPct val="0"/>
                </a:spcBef>
                <a:spcAft>
                  <a:spcPct val="0"/>
                </a:spcAft>
                <a:buNone/>
              </a:pPr>
              <a:t>2031</a:t>
            </a:fld>
            <a:endParaRPr lang="en-US" sz="800" b="1" dirty="0"/>
          </a:p>
        </p:txBody>
      </p:sp>
      <p:sp>
        <p:nvSpPr>
          <p:cNvPr id="67" name="Text Placeholder 10">
            <a:extLst>
              <a:ext uri="{FF2B5EF4-FFF2-40B4-BE49-F238E27FC236}">
                <a16:creationId xmlns:a16="http://schemas.microsoft.com/office/drawing/2014/main" id="{2E9481FE-89CE-43A2-F12C-D2D941D87F49}"/>
              </a:ext>
            </a:extLst>
          </p:cNvPr>
          <p:cNvSpPr txBox="1">
            <a:spLocks/>
          </p:cNvSpPr>
          <p:nvPr>
            <p:custDataLst>
              <p:tags r:id="rId42"/>
            </p:custDataLst>
          </p:nvPr>
        </p:nvSpPr>
        <p:spPr bwMode="auto">
          <a:xfrm>
            <a:off x="18700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1775FF-D34A-486C-B260-A8946ED58DA4}" type="datetime'''2''0''''''''''''''''3''''''''''''''''''''2'''''">
              <a:rPr lang="en-US" altLang="en-US" sz="800" b="1" smtClean="0"/>
              <a:pPr marL="0" indent="0" algn="r">
                <a:spcBef>
                  <a:spcPct val="0"/>
                </a:spcBef>
                <a:spcAft>
                  <a:spcPct val="0"/>
                </a:spcAft>
                <a:buNone/>
              </a:pPr>
              <a:t>2032</a:t>
            </a:fld>
            <a:endParaRPr lang="en-US" sz="800" b="1" dirty="0"/>
          </a:p>
        </p:txBody>
      </p:sp>
      <p:sp>
        <p:nvSpPr>
          <p:cNvPr id="68" name="Text Placeholder 10">
            <a:extLst>
              <a:ext uri="{FF2B5EF4-FFF2-40B4-BE49-F238E27FC236}">
                <a16:creationId xmlns:a16="http://schemas.microsoft.com/office/drawing/2014/main" id="{27D4D779-4B11-D76B-F886-7AFE319C5CAD}"/>
              </a:ext>
            </a:extLst>
          </p:cNvPr>
          <p:cNvSpPr txBox="1">
            <a:spLocks/>
          </p:cNvSpPr>
          <p:nvPr>
            <p:custDataLst>
              <p:tags r:id="rId43"/>
            </p:custDataLst>
          </p:nvPr>
        </p:nvSpPr>
        <p:spPr bwMode="auto">
          <a:xfrm>
            <a:off x="20415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197F417-C9A4-4EC2-988B-CD098921D47B}" type="datetime'''''''''''''2''''''''''0''''''''''''''''''33'''''''''''''''">
              <a:rPr lang="en-US" altLang="en-US" sz="800" b="1" smtClean="0"/>
              <a:pPr marL="0" indent="0" algn="r">
                <a:spcBef>
                  <a:spcPct val="0"/>
                </a:spcBef>
                <a:spcAft>
                  <a:spcPct val="0"/>
                </a:spcAft>
                <a:buNone/>
              </a:pPr>
              <a:t>2033</a:t>
            </a:fld>
            <a:endParaRPr lang="en-US" sz="800" b="1" dirty="0"/>
          </a:p>
        </p:txBody>
      </p:sp>
      <p:sp>
        <p:nvSpPr>
          <p:cNvPr id="69" name="Text Placeholder 10">
            <a:extLst>
              <a:ext uri="{FF2B5EF4-FFF2-40B4-BE49-F238E27FC236}">
                <a16:creationId xmlns:a16="http://schemas.microsoft.com/office/drawing/2014/main" id="{84655EF5-3837-84CA-E479-44163591AF14}"/>
              </a:ext>
            </a:extLst>
          </p:cNvPr>
          <p:cNvSpPr txBox="1">
            <a:spLocks/>
          </p:cNvSpPr>
          <p:nvPr>
            <p:custDataLst>
              <p:tags r:id="rId44"/>
            </p:custDataLst>
          </p:nvPr>
        </p:nvSpPr>
        <p:spPr bwMode="auto">
          <a:xfrm>
            <a:off x="22129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DDBFA0-9C34-4E3D-9A67-C4D566058787}" type="datetime'''2''0''''3''''''''''''''''''''''''''''''''''''''4'''">
              <a:rPr lang="en-US" altLang="en-US" sz="800" b="1" smtClean="0"/>
              <a:pPr marL="0" indent="0" algn="r">
                <a:spcBef>
                  <a:spcPct val="0"/>
                </a:spcBef>
                <a:spcAft>
                  <a:spcPct val="0"/>
                </a:spcAft>
                <a:buNone/>
              </a:pPr>
              <a:t>2034</a:t>
            </a:fld>
            <a:endParaRPr lang="en-US" sz="800" b="1" dirty="0"/>
          </a:p>
        </p:txBody>
      </p:sp>
      <p:sp>
        <p:nvSpPr>
          <p:cNvPr id="70" name="Text Placeholder 10">
            <a:extLst>
              <a:ext uri="{FF2B5EF4-FFF2-40B4-BE49-F238E27FC236}">
                <a16:creationId xmlns:a16="http://schemas.microsoft.com/office/drawing/2014/main" id="{B4A0F017-CFC4-6A02-907F-66DF0AB3234C}"/>
              </a:ext>
            </a:extLst>
          </p:cNvPr>
          <p:cNvSpPr txBox="1">
            <a:spLocks/>
          </p:cNvSpPr>
          <p:nvPr>
            <p:custDataLst>
              <p:tags r:id="rId45"/>
            </p:custDataLst>
          </p:nvPr>
        </p:nvSpPr>
        <p:spPr bwMode="auto">
          <a:xfrm>
            <a:off x="23844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D3851E-99A7-4616-B4AB-3D19DFC51189}" type="datetime'''''''''''20''''''''''''''''''''35'">
              <a:rPr lang="en-US" altLang="en-US" sz="800" b="1" smtClean="0"/>
              <a:pPr marL="0" indent="0" algn="r">
                <a:spcBef>
                  <a:spcPct val="0"/>
                </a:spcBef>
                <a:spcAft>
                  <a:spcPct val="0"/>
                </a:spcAft>
                <a:buNone/>
              </a:pPr>
              <a:t>2035</a:t>
            </a:fld>
            <a:endParaRPr lang="en-US" sz="800" b="1" dirty="0"/>
          </a:p>
        </p:txBody>
      </p:sp>
      <p:sp>
        <p:nvSpPr>
          <p:cNvPr id="71" name="Text Placeholder 10">
            <a:extLst>
              <a:ext uri="{FF2B5EF4-FFF2-40B4-BE49-F238E27FC236}">
                <a16:creationId xmlns:a16="http://schemas.microsoft.com/office/drawing/2014/main" id="{23AD8848-9C98-510F-3331-DC22E039CF9A}"/>
              </a:ext>
            </a:extLst>
          </p:cNvPr>
          <p:cNvSpPr txBox="1">
            <a:spLocks/>
          </p:cNvSpPr>
          <p:nvPr>
            <p:custDataLst>
              <p:tags r:id="rId46"/>
            </p:custDataLst>
          </p:nvPr>
        </p:nvSpPr>
        <p:spPr bwMode="auto">
          <a:xfrm>
            <a:off x="255587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6AAA571-4B23-4363-9123-5C698137885F}" type="datetime'''''''''''''''''2''''''''''03''''''''''''''6'''''''''''''''">
              <a:rPr lang="en-US" altLang="en-US" sz="800" b="1" smtClean="0"/>
              <a:pPr marL="0" indent="0" algn="r">
                <a:spcBef>
                  <a:spcPct val="0"/>
                </a:spcBef>
                <a:spcAft>
                  <a:spcPct val="0"/>
                </a:spcAft>
                <a:buNone/>
              </a:pPr>
              <a:t>2036</a:t>
            </a:fld>
            <a:endParaRPr lang="en-US" sz="800" b="1" dirty="0"/>
          </a:p>
        </p:txBody>
      </p:sp>
      <p:sp>
        <p:nvSpPr>
          <p:cNvPr id="72" name="Text Placeholder 10">
            <a:extLst>
              <a:ext uri="{FF2B5EF4-FFF2-40B4-BE49-F238E27FC236}">
                <a16:creationId xmlns:a16="http://schemas.microsoft.com/office/drawing/2014/main" id="{015D3FF8-3808-9B5D-3326-CBE02F0105F6}"/>
              </a:ext>
            </a:extLst>
          </p:cNvPr>
          <p:cNvSpPr txBox="1">
            <a:spLocks/>
          </p:cNvSpPr>
          <p:nvPr>
            <p:custDataLst>
              <p:tags r:id="rId47"/>
            </p:custDataLst>
          </p:nvPr>
        </p:nvSpPr>
        <p:spPr bwMode="auto">
          <a:xfrm>
            <a:off x="2727325"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B3FC73E-2783-4D1E-A716-BFE4621E19B7}" type="datetime'''''''''''2''''0''''''3''''7'''">
              <a:rPr lang="en-US" altLang="en-US" sz="800" b="1" smtClean="0"/>
              <a:pPr marL="0" indent="0" algn="r">
                <a:spcBef>
                  <a:spcPct val="0"/>
                </a:spcBef>
                <a:spcAft>
                  <a:spcPct val="0"/>
                </a:spcAft>
                <a:buNone/>
              </a:pPr>
              <a:t>2037</a:t>
            </a:fld>
            <a:endParaRPr lang="en-US" sz="800" b="1" dirty="0"/>
          </a:p>
        </p:txBody>
      </p:sp>
      <p:sp>
        <p:nvSpPr>
          <p:cNvPr id="73" name="Text Placeholder 10">
            <a:extLst>
              <a:ext uri="{FF2B5EF4-FFF2-40B4-BE49-F238E27FC236}">
                <a16:creationId xmlns:a16="http://schemas.microsoft.com/office/drawing/2014/main" id="{EF757867-004A-66AB-F1AD-BA89E7DA17B1}"/>
              </a:ext>
            </a:extLst>
          </p:cNvPr>
          <p:cNvSpPr txBox="1">
            <a:spLocks/>
          </p:cNvSpPr>
          <p:nvPr>
            <p:custDataLst>
              <p:tags r:id="rId48"/>
            </p:custDataLst>
          </p:nvPr>
        </p:nvSpPr>
        <p:spPr bwMode="auto">
          <a:xfrm>
            <a:off x="83978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37AEFC7-9F50-48A6-B9CE-729ABC85AED8}" type="datetime'2''''''''''''''''''''''''''''''''''''''''02''''''6'''''''''''">
              <a:rPr lang="en-US" altLang="en-US" sz="800" b="1" smtClean="0"/>
              <a:pPr marL="0" indent="0" algn="r">
                <a:spcBef>
                  <a:spcPct val="0"/>
                </a:spcBef>
                <a:spcAft>
                  <a:spcPct val="0"/>
                </a:spcAft>
                <a:buNone/>
              </a:pPr>
              <a:t>2026</a:t>
            </a:fld>
            <a:endParaRPr lang="en-US" sz="800" b="1" dirty="0"/>
          </a:p>
        </p:txBody>
      </p:sp>
      <p:sp>
        <p:nvSpPr>
          <p:cNvPr id="74" name="Text Placeholder 10">
            <a:extLst>
              <a:ext uri="{FF2B5EF4-FFF2-40B4-BE49-F238E27FC236}">
                <a16:creationId xmlns:a16="http://schemas.microsoft.com/office/drawing/2014/main" id="{54647DCC-7797-6D81-FD07-FF84C4C23225}"/>
              </a:ext>
            </a:extLst>
          </p:cNvPr>
          <p:cNvSpPr txBox="1">
            <a:spLocks/>
          </p:cNvSpPr>
          <p:nvPr>
            <p:custDataLst>
              <p:tags r:id="rId49"/>
            </p:custDataLst>
          </p:nvPr>
        </p:nvSpPr>
        <p:spPr bwMode="auto">
          <a:xfrm>
            <a:off x="30718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626F24-24A9-4947-AA71-499690ABD1DB}" type="datetime'''''''''''''''''''''2''0''''''''''''''3''''''''''9'''''">
              <a:rPr lang="en-US" altLang="en-US" sz="800" b="1" smtClean="0"/>
              <a:pPr marL="0" indent="0" algn="r">
                <a:spcBef>
                  <a:spcPct val="0"/>
                </a:spcBef>
                <a:spcAft>
                  <a:spcPct val="0"/>
                </a:spcAft>
                <a:buNone/>
              </a:pPr>
              <a:t>2039</a:t>
            </a:fld>
            <a:endParaRPr lang="en-US" sz="800" b="1" dirty="0"/>
          </a:p>
        </p:txBody>
      </p:sp>
      <p:sp>
        <p:nvSpPr>
          <p:cNvPr id="75" name="Text Placeholder 10">
            <a:extLst>
              <a:ext uri="{FF2B5EF4-FFF2-40B4-BE49-F238E27FC236}">
                <a16:creationId xmlns:a16="http://schemas.microsoft.com/office/drawing/2014/main" id="{47CFD2A7-4340-6145-6493-6CB02F93AFCE}"/>
              </a:ext>
            </a:extLst>
          </p:cNvPr>
          <p:cNvSpPr txBox="1">
            <a:spLocks/>
          </p:cNvSpPr>
          <p:nvPr>
            <p:custDataLst>
              <p:tags r:id="rId50"/>
            </p:custDataLst>
          </p:nvPr>
        </p:nvSpPr>
        <p:spPr bwMode="auto">
          <a:xfrm>
            <a:off x="32432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8D73F0E-9EA8-4823-8B53-C5E670D42DF9}" type="datetime'''''2''''''0''4''''''''''''''''''''''''''''''0'''''''''''">
              <a:rPr lang="en-US" altLang="en-US" sz="800" b="1" smtClean="0"/>
              <a:pPr marL="0" indent="0" algn="r">
                <a:spcBef>
                  <a:spcPct val="0"/>
                </a:spcBef>
                <a:spcAft>
                  <a:spcPct val="0"/>
                </a:spcAft>
                <a:buNone/>
              </a:pPr>
              <a:t>2040</a:t>
            </a:fld>
            <a:endParaRPr lang="en-US" sz="800" b="1" dirty="0"/>
          </a:p>
        </p:txBody>
      </p:sp>
      <p:sp>
        <p:nvSpPr>
          <p:cNvPr id="76" name="Text Placeholder 10">
            <a:extLst>
              <a:ext uri="{FF2B5EF4-FFF2-40B4-BE49-F238E27FC236}">
                <a16:creationId xmlns:a16="http://schemas.microsoft.com/office/drawing/2014/main" id="{93A14AEB-0B99-5237-02BD-7D0EBFE251D5}"/>
              </a:ext>
            </a:extLst>
          </p:cNvPr>
          <p:cNvSpPr txBox="1">
            <a:spLocks/>
          </p:cNvSpPr>
          <p:nvPr>
            <p:custDataLst>
              <p:tags r:id="rId51"/>
            </p:custDataLst>
          </p:nvPr>
        </p:nvSpPr>
        <p:spPr bwMode="auto">
          <a:xfrm>
            <a:off x="34147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4F7045-C976-42DC-9A49-02EC210304AC}" type="datetime'''''''''''''''''''''''''2''''''''0''''4''''''''''''1'''''''''">
              <a:rPr lang="en-US" altLang="en-US" sz="800" b="1" smtClean="0"/>
              <a:pPr marL="0" indent="0" algn="r">
                <a:spcBef>
                  <a:spcPct val="0"/>
                </a:spcBef>
                <a:spcAft>
                  <a:spcPct val="0"/>
                </a:spcAft>
                <a:buNone/>
              </a:pPr>
              <a:t>2041</a:t>
            </a:fld>
            <a:endParaRPr lang="en-US" sz="800" b="1" dirty="0"/>
          </a:p>
        </p:txBody>
      </p:sp>
      <p:sp>
        <p:nvSpPr>
          <p:cNvPr id="77" name="Text Placeholder 10">
            <a:extLst>
              <a:ext uri="{FF2B5EF4-FFF2-40B4-BE49-F238E27FC236}">
                <a16:creationId xmlns:a16="http://schemas.microsoft.com/office/drawing/2014/main" id="{93673B77-B541-E63A-9606-FB97FC4A1EBC}"/>
              </a:ext>
            </a:extLst>
          </p:cNvPr>
          <p:cNvSpPr txBox="1">
            <a:spLocks/>
          </p:cNvSpPr>
          <p:nvPr>
            <p:custDataLst>
              <p:tags r:id="rId52"/>
            </p:custDataLst>
          </p:nvPr>
        </p:nvSpPr>
        <p:spPr bwMode="auto">
          <a:xfrm>
            <a:off x="35861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2019A8-9F3A-454B-827E-DDF9ED41E6D8}" type="datetime'2''''''''0''''''''4''2'''''''''''''''">
              <a:rPr lang="en-US" altLang="en-US" sz="800" b="1" smtClean="0"/>
              <a:pPr marL="0" indent="0" algn="r">
                <a:spcBef>
                  <a:spcPct val="0"/>
                </a:spcBef>
                <a:spcAft>
                  <a:spcPct val="0"/>
                </a:spcAft>
                <a:buNone/>
              </a:pPr>
              <a:t>2042</a:t>
            </a:fld>
            <a:endParaRPr lang="en-US" sz="800" b="1" dirty="0"/>
          </a:p>
        </p:txBody>
      </p:sp>
      <p:sp>
        <p:nvSpPr>
          <p:cNvPr id="78" name="Text Placeholder 10">
            <a:extLst>
              <a:ext uri="{FF2B5EF4-FFF2-40B4-BE49-F238E27FC236}">
                <a16:creationId xmlns:a16="http://schemas.microsoft.com/office/drawing/2014/main" id="{AFEF665C-DA20-F90D-2D21-713DEE3582C1}"/>
              </a:ext>
            </a:extLst>
          </p:cNvPr>
          <p:cNvSpPr txBox="1">
            <a:spLocks/>
          </p:cNvSpPr>
          <p:nvPr>
            <p:custDataLst>
              <p:tags r:id="rId53"/>
            </p:custDataLst>
          </p:nvPr>
        </p:nvSpPr>
        <p:spPr bwMode="auto">
          <a:xfrm>
            <a:off x="37576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B990E0-0F5E-4376-9040-800002E85175}" type="datetime'''''''''''''2''''''''''''''''''''0''''4''''3'''''''''''''''">
              <a:rPr lang="en-US" altLang="en-US" sz="800" b="1" smtClean="0"/>
              <a:pPr marL="0" indent="0" algn="r">
                <a:spcBef>
                  <a:spcPct val="0"/>
                </a:spcBef>
                <a:spcAft>
                  <a:spcPct val="0"/>
                </a:spcAft>
                <a:buNone/>
              </a:pPr>
              <a:t>2043</a:t>
            </a:fld>
            <a:endParaRPr lang="en-US" sz="800" b="1" dirty="0"/>
          </a:p>
        </p:txBody>
      </p:sp>
      <p:sp>
        <p:nvSpPr>
          <p:cNvPr id="79" name="Text Placeholder 10">
            <a:extLst>
              <a:ext uri="{FF2B5EF4-FFF2-40B4-BE49-F238E27FC236}">
                <a16:creationId xmlns:a16="http://schemas.microsoft.com/office/drawing/2014/main" id="{4F2A6D67-B3CA-C1E7-BB37-91C2A14C773A}"/>
              </a:ext>
            </a:extLst>
          </p:cNvPr>
          <p:cNvSpPr txBox="1">
            <a:spLocks/>
          </p:cNvSpPr>
          <p:nvPr>
            <p:custDataLst>
              <p:tags r:id="rId54"/>
            </p:custDataLst>
          </p:nvPr>
        </p:nvSpPr>
        <p:spPr bwMode="auto">
          <a:xfrm>
            <a:off x="392906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D03382E-3605-49A2-A79D-F814DA3C6F25}" type="datetime'''''''''2''04''''''4'''''''''''''''''''''''''">
              <a:rPr lang="en-US" altLang="en-US" sz="800" b="1" smtClean="0"/>
              <a:pPr marL="0" indent="0" algn="r">
                <a:spcBef>
                  <a:spcPct val="0"/>
                </a:spcBef>
                <a:spcAft>
                  <a:spcPct val="0"/>
                </a:spcAft>
                <a:buNone/>
              </a:pPr>
              <a:t>2044</a:t>
            </a:fld>
            <a:endParaRPr lang="en-US" sz="800" b="1" dirty="0"/>
          </a:p>
        </p:txBody>
      </p:sp>
      <p:sp>
        <p:nvSpPr>
          <p:cNvPr id="80" name="Text Placeholder 10">
            <a:extLst>
              <a:ext uri="{FF2B5EF4-FFF2-40B4-BE49-F238E27FC236}">
                <a16:creationId xmlns:a16="http://schemas.microsoft.com/office/drawing/2014/main" id="{862EDED5-AFA1-AACB-71D3-013F1E42BCBE}"/>
              </a:ext>
            </a:extLst>
          </p:cNvPr>
          <p:cNvSpPr txBox="1">
            <a:spLocks/>
          </p:cNvSpPr>
          <p:nvPr>
            <p:custDataLst>
              <p:tags r:id="rId55"/>
            </p:custDataLst>
          </p:nvPr>
        </p:nvSpPr>
        <p:spPr bwMode="auto">
          <a:xfrm>
            <a:off x="4100513"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19C5144-F32B-4846-AB6A-3815A7F45441}" type="datetime'''''''''''''''''''20''''''4''''''''''''''''''''''5'">
              <a:rPr lang="en-US" altLang="en-US" sz="800" b="1" smtClean="0"/>
              <a:pPr marL="0" indent="0" algn="r">
                <a:spcBef>
                  <a:spcPct val="0"/>
                </a:spcBef>
                <a:spcAft>
                  <a:spcPct val="0"/>
                </a:spcAft>
                <a:buNone/>
              </a:pPr>
              <a:t>2045</a:t>
            </a:fld>
            <a:endParaRPr lang="en-US" sz="800" b="1" dirty="0"/>
          </a:p>
        </p:txBody>
      </p:sp>
      <p:sp>
        <p:nvSpPr>
          <p:cNvPr id="81" name="Text Placeholder 10">
            <a:extLst>
              <a:ext uri="{FF2B5EF4-FFF2-40B4-BE49-F238E27FC236}">
                <a16:creationId xmlns:a16="http://schemas.microsoft.com/office/drawing/2014/main" id="{E7C84B66-915F-7386-D8E8-9E02E586040C}"/>
              </a:ext>
            </a:extLst>
          </p:cNvPr>
          <p:cNvSpPr txBox="1">
            <a:spLocks/>
          </p:cNvSpPr>
          <p:nvPr>
            <p:custDataLst>
              <p:tags r:id="rId56"/>
            </p:custDataLst>
          </p:nvPr>
        </p:nvSpPr>
        <p:spPr bwMode="auto">
          <a:xfrm>
            <a:off x="42735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13D64F9-C650-4E1C-A4B7-F08DCE12B3CA}" type="datetime'''''''''2''''''04''''''''''''''''''6'''''''''''''''''''''''">
              <a:rPr lang="en-US" altLang="en-US" sz="800" b="1" smtClean="0"/>
              <a:pPr marL="0" indent="0" algn="r">
                <a:spcBef>
                  <a:spcPct val="0"/>
                </a:spcBef>
                <a:spcAft>
                  <a:spcPct val="0"/>
                </a:spcAft>
                <a:buNone/>
              </a:pPr>
              <a:t>2046</a:t>
            </a:fld>
            <a:endParaRPr lang="en-US" sz="800" b="1" dirty="0"/>
          </a:p>
        </p:txBody>
      </p:sp>
      <p:sp>
        <p:nvSpPr>
          <p:cNvPr id="82" name="Text Placeholder 10">
            <a:extLst>
              <a:ext uri="{FF2B5EF4-FFF2-40B4-BE49-F238E27FC236}">
                <a16:creationId xmlns:a16="http://schemas.microsoft.com/office/drawing/2014/main" id="{4706C80B-41B2-E42E-F94C-A1B3806BC017}"/>
              </a:ext>
            </a:extLst>
          </p:cNvPr>
          <p:cNvSpPr txBox="1">
            <a:spLocks/>
          </p:cNvSpPr>
          <p:nvPr>
            <p:custDataLst>
              <p:tags r:id="rId57"/>
            </p:custDataLst>
          </p:nvPr>
        </p:nvSpPr>
        <p:spPr bwMode="auto">
          <a:xfrm>
            <a:off x="44450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092EB9-52D3-4D6A-9444-E40D46521073}" type="datetime'''''''''''''''''''''2''''''0''4''7'">
              <a:rPr lang="en-US" altLang="en-US" sz="800" b="1" smtClean="0"/>
              <a:pPr marL="0" indent="0" algn="r">
                <a:spcBef>
                  <a:spcPct val="0"/>
                </a:spcBef>
                <a:spcAft>
                  <a:spcPct val="0"/>
                </a:spcAft>
                <a:buNone/>
              </a:pPr>
              <a:t>2047</a:t>
            </a:fld>
            <a:endParaRPr lang="en-US" sz="800" b="1" dirty="0"/>
          </a:p>
        </p:txBody>
      </p:sp>
      <p:sp>
        <p:nvSpPr>
          <p:cNvPr id="83" name="Text Placeholder 10">
            <a:extLst>
              <a:ext uri="{FF2B5EF4-FFF2-40B4-BE49-F238E27FC236}">
                <a16:creationId xmlns:a16="http://schemas.microsoft.com/office/drawing/2014/main" id="{CB2DF3B7-CE8C-2893-57AC-BA7C0F26D9D0}"/>
              </a:ext>
            </a:extLst>
          </p:cNvPr>
          <p:cNvSpPr txBox="1">
            <a:spLocks/>
          </p:cNvSpPr>
          <p:nvPr>
            <p:custDataLst>
              <p:tags r:id="rId58"/>
            </p:custDataLst>
          </p:nvPr>
        </p:nvSpPr>
        <p:spPr bwMode="auto">
          <a:xfrm>
            <a:off x="46164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0DCE33-DE76-464B-B097-80F8CCCD7B3D}" type="datetime'''''2''''''''0''''4''''''''''''8'''">
              <a:rPr lang="en-US" altLang="en-US" sz="800" b="1" smtClean="0"/>
              <a:pPr marL="0" indent="0" algn="r">
                <a:spcBef>
                  <a:spcPct val="0"/>
                </a:spcBef>
                <a:spcAft>
                  <a:spcPct val="0"/>
                </a:spcAft>
                <a:buNone/>
              </a:pPr>
              <a:t>2048</a:t>
            </a:fld>
            <a:endParaRPr lang="en-US" sz="800" b="1" dirty="0"/>
          </a:p>
        </p:txBody>
      </p:sp>
      <p:sp>
        <p:nvSpPr>
          <p:cNvPr id="84" name="Text Placeholder 10">
            <a:extLst>
              <a:ext uri="{FF2B5EF4-FFF2-40B4-BE49-F238E27FC236}">
                <a16:creationId xmlns:a16="http://schemas.microsoft.com/office/drawing/2014/main" id="{2668B071-FE1D-545C-B3DB-55AA0205A65B}"/>
              </a:ext>
            </a:extLst>
          </p:cNvPr>
          <p:cNvSpPr txBox="1">
            <a:spLocks/>
          </p:cNvSpPr>
          <p:nvPr>
            <p:custDataLst>
              <p:tags r:id="rId59"/>
            </p:custDataLst>
          </p:nvPr>
        </p:nvSpPr>
        <p:spPr bwMode="auto">
          <a:xfrm>
            <a:off x="478790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034E11D-ADA0-47ED-B756-2573A0957AB6}" type="datetime'''''2''''0''''''''''''''''''''''''4''''''''9'''''''">
              <a:rPr lang="en-US" altLang="en-US" sz="800" b="1" smtClean="0"/>
              <a:pPr marL="0" indent="0" algn="r">
                <a:spcBef>
                  <a:spcPct val="0"/>
                </a:spcBef>
                <a:spcAft>
                  <a:spcPct val="0"/>
                </a:spcAft>
                <a:buNone/>
              </a:pPr>
              <a:t>2049</a:t>
            </a:fld>
            <a:endParaRPr lang="en-US" sz="800" b="1" dirty="0"/>
          </a:p>
        </p:txBody>
      </p:sp>
      <p:sp>
        <p:nvSpPr>
          <p:cNvPr id="85" name="Text Placeholder 10">
            <a:extLst>
              <a:ext uri="{FF2B5EF4-FFF2-40B4-BE49-F238E27FC236}">
                <a16:creationId xmlns:a16="http://schemas.microsoft.com/office/drawing/2014/main" id="{CFAEA766-C4C2-D321-56FE-ED5EADBB5E24}"/>
              </a:ext>
            </a:extLst>
          </p:cNvPr>
          <p:cNvSpPr txBox="1">
            <a:spLocks/>
          </p:cNvSpPr>
          <p:nvPr>
            <p:custDataLst>
              <p:tags r:id="rId60"/>
            </p:custDataLst>
          </p:nvPr>
        </p:nvSpPr>
        <p:spPr bwMode="auto">
          <a:xfrm>
            <a:off x="4959350"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6D37C66-F733-4CA0-9F91-9E97D58C3A93}" type="datetime'''''''''''''''''''''''2''0''''''5''''''''''''''''''''0'''">
              <a:rPr lang="en-US" altLang="en-US" sz="800" b="1" smtClean="0"/>
              <a:pPr marL="0" indent="0" algn="r">
                <a:spcBef>
                  <a:spcPct val="0"/>
                </a:spcBef>
                <a:spcAft>
                  <a:spcPct val="0"/>
                </a:spcAft>
                <a:buNone/>
              </a:pPr>
              <a:t>2050</a:t>
            </a:fld>
            <a:endParaRPr lang="en-US" sz="800" b="1" dirty="0"/>
          </a:p>
        </p:txBody>
      </p:sp>
      <p:sp>
        <p:nvSpPr>
          <p:cNvPr id="86" name="Text Placeholder 10">
            <a:extLst>
              <a:ext uri="{FF2B5EF4-FFF2-40B4-BE49-F238E27FC236}">
                <a16:creationId xmlns:a16="http://schemas.microsoft.com/office/drawing/2014/main" id="{28E43A7C-164A-5F56-E61A-37B0ABBBCDE4}"/>
              </a:ext>
            </a:extLst>
          </p:cNvPr>
          <p:cNvSpPr txBox="1">
            <a:spLocks/>
          </p:cNvSpPr>
          <p:nvPr>
            <p:custDataLst>
              <p:tags r:id="rId61"/>
            </p:custDataLst>
          </p:nvPr>
        </p:nvSpPr>
        <p:spPr bwMode="auto">
          <a:xfrm>
            <a:off x="1011238" y="3802063"/>
            <a:ext cx="122238" cy="228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FAADB6-1DEB-4882-A6C4-656FA72B68B1}" type="datetime'''''''2''''02''''''''''''''7'''''''''''''''''''''''''">
              <a:rPr lang="en-US" altLang="en-US" sz="800" b="1" smtClean="0"/>
              <a:pPr marL="0" indent="0" algn="r">
                <a:spcBef>
                  <a:spcPct val="0"/>
                </a:spcBef>
                <a:spcAft>
                  <a:spcPct val="0"/>
                </a:spcAft>
                <a:buNone/>
              </a:pPr>
              <a:t>2027</a:t>
            </a:fld>
            <a:endParaRPr lang="en-US" sz="800" b="1" dirty="0"/>
          </a:p>
        </p:txBody>
      </p:sp>
      <p:cxnSp>
        <p:nvCxnSpPr>
          <p:cNvPr id="87" name="Straight Connector 86">
            <a:extLst>
              <a:ext uri="{FF2B5EF4-FFF2-40B4-BE49-F238E27FC236}">
                <a16:creationId xmlns:a16="http://schemas.microsoft.com/office/drawing/2014/main" id="{642E75E6-0E6B-C7BF-9490-2ACD2DD3D628}"/>
              </a:ext>
            </a:extLst>
          </p:cNvPr>
          <p:cNvCxnSpPr>
            <a:cxnSpLocks/>
            <a:endCxn id="88" idx="3"/>
          </p:cNvCxnSpPr>
          <p:nvPr/>
        </p:nvCxnSpPr>
        <p:spPr bwMode="gray">
          <a:xfrm flipV="1">
            <a:off x="3699070" y="2886306"/>
            <a:ext cx="0" cy="75876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B233F677-0C9A-76C1-2145-9F9E74C2C4CA}"/>
              </a:ext>
            </a:extLst>
          </p:cNvPr>
          <p:cNvSpPr/>
          <p:nvPr/>
        </p:nvSpPr>
        <p:spPr bwMode="gray">
          <a:xfrm>
            <a:off x="2963207" y="2789238"/>
            <a:ext cx="735863" cy="1941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tx1"/>
                </a:solidFill>
              </a:rPr>
              <a:t>$1T by 2042</a:t>
            </a:r>
          </a:p>
        </p:txBody>
      </p:sp>
      <p:sp>
        <p:nvSpPr>
          <p:cNvPr id="89" name="Rectangle 88">
            <a:extLst>
              <a:ext uri="{FF2B5EF4-FFF2-40B4-BE49-F238E27FC236}">
                <a16:creationId xmlns:a16="http://schemas.microsoft.com/office/drawing/2014/main" id="{3397F658-B4E8-EBD6-1B49-68EFCB2AB2FE}"/>
              </a:ext>
            </a:extLst>
          </p:cNvPr>
          <p:cNvSpPr/>
          <p:nvPr/>
        </p:nvSpPr>
        <p:spPr bwMode="gray">
          <a:xfrm>
            <a:off x="774542" y="1387475"/>
            <a:ext cx="4699000" cy="463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dirty="0">
                <a:solidFill>
                  <a:schemeClr val="tx1"/>
                </a:solidFill>
              </a:rPr>
              <a:t>Cumulative Investment Estimate of Nuclear Fission Energy by Application (US$B)</a:t>
            </a:r>
          </a:p>
        </p:txBody>
      </p:sp>
      <p:sp>
        <p:nvSpPr>
          <p:cNvPr id="90" name="Rectangle 89">
            <a:extLst>
              <a:ext uri="{FF2B5EF4-FFF2-40B4-BE49-F238E27FC236}">
                <a16:creationId xmlns:a16="http://schemas.microsoft.com/office/drawing/2014/main" id="{8D2382A5-3F74-AE4E-5338-933F0A6E6CA8}"/>
              </a:ext>
            </a:extLst>
          </p:cNvPr>
          <p:cNvSpPr/>
          <p:nvPr>
            <p:custDataLst>
              <p:tags r:id="rId62"/>
            </p:custDataLst>
          </p:nvPr>
        </p:nvSpPr>
        <p:spPr bwMode="auto">
          <a:xfrm>
            <a:off x="852488" y="1685925"/>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7B68BED4-1BCD-8D62-C310-E632B2953DD5}"/>
              </a:ext>
            </a:extLst>
          </p:cNvPr>
          <p:cNvSpPr/>
          <p:nvPr>
            <p:custDataLst>
              <p:tags r:id="rId63"/>
            </p:custDataLst>
          </p:nvPr>
        </p:nvSpPr>
        <p:spPr bwMode="auto">
          <a:xfrm>
            <a:off x="852488" y="1858963"/>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Text Placeholder 10">
            <a:extLst>
              <a:ext uri="{FF2B5EF4-FFF2-40B4-BE49-F238E27FC236}">
                <a16:creationId xmlns:a16="http://schemas.microsoft.com/office/drawing/2014/main" id="{E7887B3B-3CC9-CCBD-37D5-3686C03114F9}"/>
              </a:ext>
            </a:extLst>
          </p:cNvPr>
          <p:cNvSpPr txBox="1">
            <a:spLocks/>
          </p:cNvSpPr>
          <p:nvPr>
            <p:custDataLst>
              <p:tags r:id="rId64"/>
            </p:custDataLst>
          </p:nvPr>
        </p:nvSpPr>
        <p:spPr bwMode="auto">
          <a:xfrm>
            <a:off x="1046163" y="1681163"/>
            <a:ext cx="742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22C0BF-3A98-47BE-A9A5-2125251E6654}" type="datetime'''''L''a''rg''''''''''''''e ''Re''ac''''''''to''rs'''">
              <a:rPr lang="en-US" altLang="en-US" sz="800" b="1" smtClean="0"/>
              <a:pPr/>
              <a:t>Large Reactors</a:t>
            </a:fld>
            <a:endParaRPr lang="en-US" sz="800" b="1" dirty="0"/>
          </a:p>
        </p:txBody>
      </p:sp>
      <p:sp>
        <p:nvSpPr>
          <p:cNvPr id="93" name="Text Placeholder 10">
            <a:extLst>
              <a:ext uri="{FF2B5EF4-FFF2-40B4-BE49-F238E27FC236}">
                <a16:creationId xmlns:a16="http://schemas.microsoft.com/office/drawing/2014/main" id="{F6DEBC7E-13F9-1108-2606-38B43F3FAD00}"/>
              </a:ext>
            </a:extLst>
          </p:cNvPr>
          <p:cNvSpPr txBox="1">
            <a:spLocks/>
          </p:cNvSpPr>
          <p:nvPr>
            <p:custDataLst>
              <p:tags r:id="rId65"/>
            </p:custDataLst>
          </p:nvPr>
        </p:nvSpPr>
        <p:spPr bwMode="auto">
          <a:xfrm>
            <a:off x="1046163" y="1854200"/>
            <a:ext cx="282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B2C7ACB-3F35-45C9-A6B9-EE809DF1698C}" type="datetime'''''''''''''''''''''''''''''S''''''''''''M''''R''''''''s'">
              <a:rPr lang="en-US" altLang="en-US" sz="800" b="1" smtClean="0"/>
              <a:pPr/>
              <a:t>SMRs</a:t>
            </a:fld>
            <a:endParaRPr lang="en-US" sz="800" b="1" dirty="0"/>
          </a:p>
        </p:txBody>
      </p:sp>
      <p:sp>
        <p:nvSpPr>
          <p:cNvPr id="94" name="Rectangle 93">
            <a:extLst>
              <a:ext uri="{FF2B5EF4-FFF2-40B4-BE49-F238E27FC236}">
                <a16:creationId xmlns:a16="http://schemas.microsoft.com/office/drawing/2014/main" id="{CCB940AC-DF51-6043-2C5A-8BB2B3D0298D}"/>
              </a:ext>
            </a:extLst>
          </p:cNvPr>
          <p:cNvSpPr/>
          <p:nvPr/>
        </p:nvSpPr>
        <p:spPr bwMode="gray">
          <a:xfrm>
            <a:off x="673101" y="4051300"/>
            <a:ext cx="4699000" cy="463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b="1" dirty="0">
                <a:solidFill>
                  <a:schemeClr val="tx1"/>
                </a:solidFill>
              </a:rPr>
              <a:t>Nuclear innovations pushing investor growth, but industry still facing setbacks</a:t>
            </a:r>
          </a:p>
        </p:txBody>
      </p:sp>
      <p:sp>
        <p:nvSpPr>
          <p:cNvPr id="95" name="Rectangle 94">
            <a:extLst>
              <a:ext uri="{FF2B5EF4-FFF2-40B4-BE49-F238E27FC236}">
                <a16:creationId xmlns:a16="http://schemas.microsoft.com/office/drawing/2014/main" id="{2A462EAE-C6AC-B78A-2363-6B371BEC12CF}"/>
              </a:ext>
            </a:extLst>
          </p:cNvPr>
          <p:cNvSpPr/>
          <p:nvPr/>
        </p:nvSpPr>
        <p:spPr bwMode="gray">
          <a:xfrm>
            <a:off x="6610350" y="4054475"/>
            <a:ext cx="4699000" cy="463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fontAlgn="base">
              <a:buNone/>
            </a:pPr>
            <a:r>
              <a:rPr lang="en-US" sz="900" b="1" dirty="0">
                <a:solidFill>
                  <a:srgbClr val="061C2C"/>
                </a:solidFill>
              </a:rPr>
              <a:t>Geothermal is emerging and avoids contentious drawbacks of nuclear power</a:t>
            </a:r>
          </a:p>
        </p:txBody>
      </p:sp>
      <p:sp>
        <p:nvSpPr>
          <p:cNvPr id="96" name="Oval 95">
            <a:extLst>
              <a:ext uri="{FF2B5EF4-FFF2-40B4-BE49-F238E27FC236}">
                <a16:creationId xmlns:a16="http://schemas.microsoft.com/office/drawing/2014/main" id="{10530C1C-A3E0-6355-3D0E-D94DCB328675}"/>
              </a:ext>
            </a:extLst>
          </p:cNvPr>
          <p:cNvSpPr/>
          <p:nvPr/>
        </p:nvSpPr>
        <p:spPr bwMode="gray">
          <a:xfrm>
            <a:off x="688729" y="4294188"/>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1</a:t>
            </a:r>
          </a:p>
        </p:txBody>
      </p:sp>
      <p:sp>
        <p:nvSpPr>
          <p:cNvPr id="97" name="Rectangle 96">
            <a:extLst>
              <a:ext uri="{FF2B5EF4-FFF2-40B4-BE49-F238E27FC236}">
                <a16:creationId xmlns:a16="http://schemas.microsoft.com/office/drawing/2014/main" id="{C2A9EEA5-6417-AB15-3231-0447364CF8C7}"/>
              </a:ext>
            </a:extLst>
          </p:cNvPr>
          <p:cNvSpPr/>
          <p:nvPr/>
        </p:nvSpPr>
        <p:spPr bwMode="gray">
          <a:xfrm>
            <a:off x="900693" y="4294188"/>
            <a:ext cx="2705287"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Still facing regulatory and safety concerns from the public</a:t>
            </a:r>
          </a:p>
          <a:p>
            <a:pPr marL="0" indent="0">
              <a:buNone/>
            </a:pPr>
            <a:endParaRPr lang="en-US" sz="800" dirty="0">
              <a:solidFill>
                <a:schemeClr val="tx1"/>
              </a:solidFill>
            </a:endParaRPr>
          </a:p>
        </p:txBody>
      </p:sp>
      <p:sp>
        <p:nvSpPr>
          <p:cNvPr id="98" name="Oval 97">
            <a:extLst>
              <a:ext uri="{FF2B5EF4-FFF2-40B4-BE49-F238E27FC236}">
                <a16:creationId xmlns:a16="http://schemas.microsoft.com/office/drawing/2014/main" id="{C0A09488-D1F1-67F9-B35A-35E1E06A4ABF}"/>
              </a:ext>
            </a:extLst>
          </p:cNvPr>
          <p:cNvSpPr/>
          <p:nvPr/>
        </p:nvSpPr>
        <p:spPr bwMode="gray">
          <a:xfrm>
            <a:off x="688729" y="4548188"/>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2</a:t>
            </a:r>
          </a:p>
        </p:txBody>
      </p:sp>
      <p:sp>
        <p:nvSpPr>
          <p:cNvPr id="99" name="Rectangle 98">
            <a:extLst>
              <a:ext uri="{FF2B5EF4-FFF2-40B4-BE49-F238E27FC236}">
                <a16:creationId xmlns:a16="http://schemas.microsoft.com/office/drawing/2014/main" id="{73F66136-71AB-09C4-2AC9-E13BA3A7FAEA}"/>
              </a:ext>
            </a:extLst>
          </p:cNvPr>
          <p:cNvSpPr/>
          <p:nvPr/>
        </p:nvSpPr>
        <p:spPr bwMode="gray">
          <a:xfrm>
            <a:off x="912468" y="4559300"/>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Low skill transferability from other energy technologies </a:t>
            </a:r>
          </a:p>
          <a:p>
            <a:pPr marL="0" indent="0">
              <a:buNone/>
            </a:pPr>
            <a:endParaRPr lang="en-US" sz="800" dirty="0">
              <a:solidFill>
                <a:schemeClr val="tx1"/>
              </a:solidFill>
            </a:endParaRPr>
          </a:p>
        </p:txBody>
      </p:sp>
      <p:sp>
        <p:nvSpPr>
          <p:cNvPr id="100" name="Rectangle 99">
            <a:extLst>
              <a:ext uri="{FF2B5EF4-FFF2-40B4-BE49-F238E27FC236}">
                <a16:creationId xmlns:a16="http://schemas.microsoft.com/office/drawing/2014/main" id="{C2426410-964E-20AA-77F5-275077671F94}"/>
              </a:ext>
            </a:extLst>
          </p:cNvPr>
          <p:cNvSpPr/>
          <p:nvPr/>
        </p:nvSpPr>
        <p:spPr bwMode="gray">
          <a:xfrm>
            <a:off x="900907" y="4797425"/>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Applications limited to power generation </a:t>
            </a:r>
          </a:p>
          <a:p>
            <a:pPr marL="0" indent="0">
              <a:buNone/>
            </a:pPr>
            <a:endParaRPr lang="en-US" sz="800" dirty="0">
              <a:solidFill>
                <a:schemeClr val="tx1"/>
              </a:solidFill>
            </a:endParaRPr>
          </a:p>
        </p:txBody>
      </p:sp>
      <p:sp>
        <p:nvSpPr>
          <p:cNvPr id="101" name="Oval 100">
            <a:extLst>
              <a:ext uri="{FF2B5EF4-FFF2-40B4-BE49-F238E27FC236}">
                <a16:creationId xmlns:a16="http://schemas.microsoft.com/office/drawing/2014/main" id="{4E5102F2-862E-52C2-D1CC-99ABF1CA238D}"/>
              </a:ext>
            </a:extLst>
          </p:cNvPr>
          <p:cNvSpPr/>
          <p:nvPr/>
        </p:nvSpPr>
        <p:spPr bwMode="gray">
          <a:xfrm>
            <a:off x="688729" y="4799013"/>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3</a:t>
            </a:r>
          </a:p>
        </p:txBody>
      </p:sp>
      <p:sp>
        <p:nvSpPr>
          <p:cNvPr id="102" name="Oval 101">
            <a:extLst>
              <a:ext uri="{FF2B5EF4-FFF2-40B4-BE49-F238E27FC236}">
                <a16:creationId xmlns:a16="http://schemas.microsoft.com/office/drawing/2014/main" id="{8CEF76D5-4BAE-E0CD-801C-4CB1EB2F97B2}"/>
              </a:ext>
            </a:extLst>
          </p:cNvPr>
          <p:cNvSpPr/>
          <p:nvPr/>
        </p:nvSpPr>
        <p:spPr bwMode="gray">
          <a:xfrm>
            <a:off x="688729" y="5051425"/>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4</a:t>
            </a:r>
          </a:p>
        </p:txBody>
      </p:sp>
      <p:sp>
        <p:nvSpPr>
          <p:cNvPr id="103" name="Rectangle 102">
            <a:extLst>
              <a:ext uri="{FF2B5EF4-FFF2-40B4-BE49-F238E27FC236}">
                <a16:creationId xmlns:a16="http://schemas.microsoft.com/office/drawing/2014/main" id="{BC129AE5-5B18-CADF-27D0-FC7310502C0E}"/>
              </a:ext>
            </a:extLst>
          </p:cNvPr>
          <p:cNvSpPr/>
          <p:nvPr/>
        </p:nvSpPr>
        <p:spPr bwMode="gray">
          <a:xfrm>
            <a:off x="912861" y="5043488"/>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Subject to price shocks of mineral fuels like uranium</a:t>
            </a:r>
          </a:p>
          <a:p>
            <a:pPr marL="0" indent="0">
              <a:buNone/>
            </a:pPr>
            <a:endParaRPr lang="en-US" sz="800" dirty="0">
              <a:solidFill>
                <a:schemeClr val="tx1"/>
              </a:solidFill>
            </a:endParaRPr>
          </a:p>
        </p:txBody>
      </p:sp>
      <p:sp>
        <p:nvSpPr>
          <p:cNvPr id="104" name="Oval 103">
            <a:extLst>
              <a:ext uri="{FF2B5EF4-FFF2-40B4-BE49-F238E27FC236}">
                <a16:creationId xmlns:a16="http://schemas.microsoft.com/office/drawing/2014/main" id="{E6ECA51A-A48B-9B89-6BBA-3F3F0C06E37C}"/>
              </a:ext>
            </a:extLst>
          </p:cNvPr>
          <p:cNvSpPr/>
          <p:nvPr/>
        </p:nvSpPr>
        <p:spPr bwMode="gray">
          <a:xfrm>
            <a:off x="688729" y="5313363"/>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5</a:t>
            </a:r>
          </a:p>
        </p:txBody>
      </p:sp>
      <p:sp>
        <p:nvSpPr>
          <p:cNvPr id="105" name="Rectangle 104">
            <a:extLst>
              <a:ext uri="{FF2B5EF4-FFF2-40B4-BE49-F238E27FC236}">
                <a16:creationId xmlns:a16="http://schemas.microsoft.com/office/drawing/2014/main" id="{7BDB4D47-A6B3-F627-BBA3-25C72E05BC02}"/>
              </a:ext>
            </a:extLst>
          </p:cNvPr>
          <p:cNvSpPr/>
          <p:nvPr/>
        </p:nvSpPr>
        <p:spPr bwMode="gray">
          <a:xfrm>
            <a:off x="915420" y="5310188"/>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More expensive to operate </a:t>
            </a:r>
          </a:p>
          <a:p>
            <a:pPr marL="0" indent="0">
              <a:buNone/>
            </a:pPr>
            <a:endParaRPr lang="en-US" sz="800" dirty="0">
              <a:solidFill>
                <a:schemeClr val="tx1"/>
              </a:solidFill>
            </a:endParaRPr>
          </a:p>
        </p:txBody>
      </p:sp>
      <p:sp>
        <p:nvSpPr>
          <p:cNvPr id="106" name="Oval 105">
            <a:extLst>
              <a:ext uri="{FF2B5EF4-FFF2-40B4-BE49-F238E27FC236}">
                <a16:creationId xmlns:a16="http://schemas.microsoft.com/office/drawing/2014/main" id="{4F9DE0ED-3903-381F-7F3C-47C8C98117E3}"/>
              </a:ext>
            </a:extLst>
          </p:cNvPr>
          <p:cNvSpPr/>
          <p:nvPr/>
        </p:nvSpPr>
        <p:spPr bwMode="gray">
          <a:xfrm>
            <a:off x="688729" y="5559425"/>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6</a:t>
            </a:r>
          </a:p>
        </p:txBody>
      </p:sp>
      <p:sp>
        <p:nvSpPr>
          <p:cNvPr id="107" name="Rectangle 106">
            <a:extLst>
              <a:ext uri="{FF2B5EF4-FFF2-40B4-BE49-F238E27FC236}">
                <a16:creationId xmlns:a16="http://schemas.microsoft.com/office/drawing/2014/main" id="{C4BAC3A9-D072-323C-CE2A-DF04B09F2EF2}"/>
              </a:ext>
            </a:extLst>
          </p:cNvPr>
          <p:cNvSpPr/>
          <p:nvPr/>
        </p:nvSpPr>
        <p:spPr bwMode="gray">
          <a:xfrm>
            <a:off x="924236" y="5546725"/>
            <a:ext cx="323739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No known alternative options for revenue generation</a:t>
            </a:r>
          </a:p>
          <a:p>
            <a:pPr marL="0" indent="0">
              <a:buNone/>
            </a:pPr>
            <a:endParaRPr lang="en-US" sz="800" dirty="0">
              <a:solidFill>
                <a:schemeClr val="tx1"/>
              </a:solidFill>
            </a:endParaRPr>
          </a:p>
        </p:txBody>
      </p:sp>
      <p:sp>
        <p:nvSpPr>
          <p:cNvPr id="108" name="Rectangle 107">
            <a:extLst>
              <a:ext uri="{FF2B5EF4-FFF2-40B4-BE49-F238E27FC236}">
                <a16:creationId xmlns:a16="http://schemas.microsoft.com/office/drawing/2014/main" id="{8E468BA9-413B-3C5E-FBDA-7E7280C41E86}"/>
              </a:ext>
            </a:extLst>
          </p:cNvPr>
          <p:cNvSpPr/>
          <p:nvPr/>
        </p:nvSpPr>
        <p:spPr bwMode="gray">
          <a:xfrm>
            <a:off x="922876" y="5826125"/>
            <a:ext cx="323739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SMRs remain early in development </a:t>
            </a:r>
          </a:p>
          <a:p>
            <a:pPr marL="0" indent="0">
              <a:buNone/>
            </a:pPr>
            <a:endParaRPr lang="en-US" sz="800" dirty="0">
              <a:solidFill>
                <a:schemeClr val="tx1"/>
              </a:solidFill>
            </a:endParaRPr>
          </a:p>
        </p:txBody>
      </p:sp>
      <p:sp>
        <p:nvSpPr>
          <p:cNvPr id="109" name="Oval 108">
            <a:extLst>
              <a:ext uri="{FF2B5EF4-FFF2-40B4-BE49-F238E27FC236}">
                <a16:creationId xmlns:a16="http://schemas.microsoft.com/office/drawing/2014/main" id="{7A286A4B-C794-AD67-C301-0F56397AAAB5}"/>
              </a:ext>
            </a:extLst>
          </p:cNvPr>
          <p:cNvSpPr/>
          <p:nvPr/>
        </p:nvSpPr>
        <p:spPr bwMode="gray">
          <a:xfrm>
            <a:off x="688729" y="5826125"/>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7</a:t>
            </a:r>
          </a:p>
        </p:txBody>
      </p:sp>
      <p:sp>
        <p:nvSpPr>
          <p:cNvPr id="110" name="Oval 109">
            <a:extLst>
              <a:ext uri="{FF2B5EF4-FFF2-40B4-BE49-F238E27FC236}">
                <a16:creationId xmlns:a16="http://schemas.microsoft.com/office/drawing/2014/main" id="{7BAA3BA5-865B-BF09-7AD2-5099A816D7A5}"/>
              </a:ext>
            </a:extLst>
          </p:cNvPr>
          <p:cNvSpPr/>
          <p:nvPr/>
        </p:nvSpPr>
        <p:spPr bwMode="gray">
          <a:xfrm>
            <a:off x="688729" y="6072188"/>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8</a:t>
            </a:r>
          </a:p>
        </p:txBody>
      </p:sp>
      <p:sp>
        <p:nvSpPr>
          <p:cNvPr id="111" name="Rectangle 110">
            <a:extLst>
              <a:ext uri="{FF2B5EF4-FFF2-40B4-BE49-F238E27FC236}">
                <a16:creationId xmlns:a16="http://schemas.microsoft.com/office/drawing/2014/main" id="{E6B6853C-4C90-5B8C-398F-87679B26F651}"/>
              </a:ext>
            </a:extLst>
          </p:cNvPr>
          <p:cNvSpPr/>
          <p:nvPr/>
        </p:nvSpPr>
        <p:spPr bwMode="gray">
          <a:xfrm>
            <a:off x="916518" y="6073775"/>
            <a:ext cx="323739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Relatively established technology</a:t>
            </a:r>
          </a:p>
          <a:p>
            <a:pPr marL="0" indent="0">
              <a:buNone/>
            </a:pPr>
            <a:endParaRPr lang="en-US" sz="800" dirty="0">
              <a:solidFill>
                <a:schemeClr val="tx1"/>
              </a:solidFill>
            </a:endParaRPr>
          </a:p>
        </p:txBody>
      </p:sp>
      <p:sp>
        <p:nvSpPr>
          <p:cNvPr id="112" name="Oval 111">
            <a:extLst>
              <a:ext uri="{FF2B5EF4-FFF2-40B4-BE49-F238E27FC236}">
                <a16:creationId xmlns:a16="http://schemas.microsoft.com/office/drawing/2014/main" id="{20E63794-1805-51A3-AF99-7B3B9089455B}"/>
              </a:ext>
            </a:extLst>
          </p:cNvPr>
          <p:cNvSpPr/>
          <p:nvPr/>
        </p:nvSpPr>
        <p:spPr bwMode="gray">
          <a:xfrm>
            <a:off x="6600184" y="4292600"/>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1</a:t>
            </a:r>
          </a:p>
        </p:txBody>
      </p:sp>
      <p:sp>
        <p:nvSpPr>
          <p:cNvPr id="113" name="Rectangle 112">
            <a:extLst>
              <a:ext uri="{FF2B5EF4-FFF2-40B4-BE49-F238E27FC236}">
                <a16:creationId xmlns:a16="http://schemas.microsoft.com/office/drawing/2014/main" id="{E856F2AD-0601-2E95-3FA0-CF3A1E8068A2}"/>
              </a:ext>
            </a:extLst>
          </p:cNvPr>
          <p:cNvSpPr/>
          <p:nvPr/>
        </p:nvSpPr>
        <p:spPr bwMode="gray">
          <a:xfrm>
            <a:off x="6817519" y="4295775"/>
            <a:ext cx="3641146" cy="220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Viewed as a safer baseload power alternative than nuclear</a:t>
            </a:r>
          </a:p>
          <a:p>
            <a:pPr marL="0" indent="0">
              <a:buNone/>
            </a:pPr>
            <a:endParaRPr lang="en-US" sz="800" dirty="0">
              <a:solidFill>
                <a:schemeClr val="tx1"/>
              </a:solidFill>
            </a:endParaRPr>
          </a:p>
        </p:txBody>
      </p:sp>
      <p:sp>
        <p:nvSpPr>
          <p:cNvPr id="114" name="Oval 113">
            <a:extLst>
              <a:ext uri="{FF2B5EF4-FFF2-40B4-BE49-F238E27FC236}">
                <a16:creationId xmlns:a16="http://schemas.microsoft.com/office/drawing/2014/main" id="{B9A2268F-8A60-C8CF-A7FB-0BFB67489DAA}"/>
              </a:ext>
            </a:extLst>
          </p:cNvPr>
          <p:cNvSpPr/>
          <p:nvPr/>
        </p:nvSpPr>
        <p:spPr bwMode="gray">
          <a:xfrm>
            <a:off x="6600184" y="4546600"/>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2</a:t>
            </a:r>
          </a:p>
        </p:txBody>
      </p:sp>
      <p:sp>
        <p:nvSpPr>
          <p:cNvPr id="115" name="Rectangle 114">
            <a:extLst>
              <a:ext uri="{FF2B5EF4-FFF2-40B4-BE49-F238E27FC236}">
                <a16:creationId xmlns:a16="http://schemas.microsoft.com/office/drawing/2014/main" id="{FBD7E3DC-59FB-820E-8CB5-6E9EFCEC7307}"/>
              </a:ext>
            </a:extLst>
          </p:cNvPr>
          <p:cNvSpPr/>
          <p:nvPr/>
        </p:nvSpPr>
        <p:spPr bwMode="gray">
          <a:xfrm>
            <a:off x="6818666" y="4549775"/>
            <a:ext cx="4155496" cy="1779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Oil and gas engagement certifies large reserve of workforce with applicable knowledge</a:t>
            </a:r>
          </a:p>
          <a:p>
            <a:pPr marL="0" indent="0">
              <a:buNone/>
            </a:pPr>
            <a:endParaRPr lang="en-US" sz="800" dirty="0">
              <a:solidFill>
                <a:schemeClr val="tx1"/>
              </a:solidFill>
            </a:endParaRPr>
          </a:p>
        </p:txBody>
      </p:sp>
      <p:sp>
        <p:nvSpPr>
          <p:cNvPr id="116" name="Rectangle 115">
            <a:extLst>
              <a:ext uri="{FF2B5EF4-FFF2-40B4-BE49-F238E27FC236}">
                <a16:creationId xmlns:a16="http://schemas.microsoft.com/office/drawing/2014/main" id="{846E99F9-7FE5-4696-E86A-DBDF0EB67595}"/>
              </a:ext>
            </a:extLst>
          </p:cNvPr>
          <p:cNvSpPr/>
          <p:nvPr/>
        </p:nvSpPr>
        <p:spPr bwMode="gray">
          <a:xfrm>
            <a:off x="6817519" y="4818063"/>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Applicable to heating and cooling plus electricity</a:t>
            </a:r>
          </a:p>
          <a:p>
            <a:pPr marL="0" indent="0">
              <a:buNone/>
            </a:pPr>
            <a:endParaRPr lang="en-US" sz="800" dirty="0">
              <a:solidFill>
                <a:schemeClr val="tx1"/>
              </a:solidFill>
            </a:endParaRPr>
          </a:p>
        </p:txBody>
      </p:sp>
      <p:sp>
        <p:nvSpPr>
          <p:cNvPr id="117" name="Oval 116">
            <a:extLst>
              <a:ext uri="{FF2B5EF4-FFF2-40B4-BE49-F238E27FC236}">
                <a16:creationId xmlns:a16="http://schemas.microsoft.com/office/drawing/2014/main" id="{F115A97B-0E9F-0FEC-3176-0BF9D77E8A94}"/>
              </a:ext>
            </a:extLst>
          </p:cNvPr>
          <p:cNvSpPr/>
          <p:nvPr/>
        </p:nvSpPr>
        <p:spPr bwMode="gray">
          <a:xfrm>
            <a:off x="6600184" y="4802188"/>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3</a:t>
            </a:r>
          </a:p>
        </p:txBody>
      </p:sp>
      <p:sp>
        <p:nvSpPr>
          <p:cNvPr id="118" name="Oval 117">
            <a:extLst>
              <a:ext uri="{FF2B5EF4-FFF2-40B4-BE49-F238E27FC236}">
                <a16:creationId xmlns:a16="http://schemas.microsoft.com/office/drawing/2014/main" id="{2D5102D1-A8BB-D075-C357-FE70A9E1F77A}"/>
              </a:ext>
            </a:extLst>
          </p:cNvPr>
          <p:cNvSpPr/>
          <p:nvPr/>
        </p:nvSpPr>
        <p:spPr bwMode="gray">
          <a:xfrm>
            <a:off x="6600184" y="5053013"/>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4</a:t>
            </a:r>
          </a:p>
        </p:txBody>
      </p:sp>
      <p:sp>
        <p:nvSpPr>
          <p:cNvPr id="119" name="Rectangle 118">
            <a:extLst>
              <a:ext uri="{FF2B5EF4-FFF2-40B4-BE49-F238E27FC236}">
                <a16:creationId xmlns:a16="http://schemas.microsoft.com/office/drawing/2014/main" id="{D50AD551-CA1A-95C0-42FB-59C9562E7916}"/>
              </a:ext>
            </a:extLst>
          </p:cNvPr>
          <p:cNvSpPr/>
          <p:nvPr/>
        </p:nvSpPr>
        <p:spPr bwMode="gray">
          <a:xfrm>
            <a:off x="6813550" y="5065713"/>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Immune to price shocks of commodities like uranium</a:t>
            </a:r>
          </a:p>
        </p:txBody>
      </p:sp>
      <p:sp>
        <p:nvSpPr>
          <p:cNvPr id="120" name="Oval 119">
            <a:extLst>
              <a:ext uri="{FF2B5EF4-FFF2-40B4-BE49-F238E27FC236}">
                <a16:creationId xmlns:a16="http://schemas.microsoft.com/office/drawing/2014/main" id="{D37CB213-7FD1-40DB-4207-140FFC35AE61}"/>
              </a:ext>
            </a:extLst>
          </p:cNvPr>
          <p:cNvSpPr/>
          <p:nvPr/>
        </p:nvSpPr>
        <p:spPr bwMode="gray">
          <a:xfrm>
            <a:off x="6600184" y="5299075"/>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5</a:t>
            </a:r>
          </a:p>
        </p:txBody>
      </p:sp>
      <p:sp>
        <p:nvSpPr>
          <p:cNvPr id="121" name="Rectangle 120">
            <a:extLst>
              <a:ext uri="{FF2B5EF4-FFF2-40B4-BE49-F238E27FC236}">
                <a16:creationId xmlns:a16="http://schemas.microsoft.com/office/drawing/2014/main" id="{1A8B2343-C591-2684-B435-E2A96EBBDD02}"/>
              </a:ext>
            </a:extLst>
          </p:cNvPr>
          <p:cNvSpPr/>
          <p:nvPr/>
        </p:nvSpPr>
        <p:spPr bwMode="gray">
          <a:xfrm>
            <a:off x="6829880" y="5313363"/>
            <a:ext cx="3260725" cy="1447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Less expensive to operate </a:t>
            </a:r>
          </a:p>
          <a:p>
            <a:pPr marL="0" indent="0">
              <a:buNone/>
            </a:pPr>
            <a:endParaRPr lang="en-US" sz="800" dirty="0">
              <a:solidFill>
                <a:schemeClr val="tx1"/>
              </a:solidFill>
            </a:endParaRPr>
          </a:p>
        </p:txBody>
      </p:sp>
      <p:sp>
        <p:nvSpPr>
          <p:cNvPr id="122" name="Oval 121">
            <a:extLst>
              <a:ext uri="{FF2B5EF4-FFF2-40B4-BE49-F238E27FC236}">
                <a16:creationId xmlns:a16="http://schemas.microsoft.com/office/drawing/2014/main" id="{5EB29B5C-3E28-1F55-21F6-3235A54EF0C0}"/>
              </a:ext>
            </a:extLst>
          </p:cNvPr>
          <p:cNvSpPr/>
          <p:nvPr/>
        </p:nvSpPr>
        <p:spPr bwMode="gray">
          <a:xfrm>
            <a:off x="6600184" y="5556250"/>
            <a:ext cx="200666" cy="19754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6</a:t>
            </a:r>
          </a:p>
        </p:txBody>
      </p:sp>
      <p:sp>
        <p:nvSpPr>
          <p:cNvPr id="123" name="Rectangle 122">
            <a:extLst>
              <a:ext uri="{FF2B5EF4-FFF2-40B4-BE49-F238E27FC236}">
                <a16:creationId xmlns:a16="http://schemas.microsoft.com/office/drawing/2014/main" id="{4D8DA6D2-6664-5101-14BE-196E30753002}"/>
              </a:ext>
            </a:extLst>
          </p:cNvPr>
          <p:cNvSpPr/>
          <p:nvPr/>
        </p:nvSpPr>
        <p:spPr bwMode="gray">
          <a:xfrm>
            <a:off x="6838044" y="5554663"/>
            <a:ext cx="370295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Potential for critical mineral extraction, providing alternate revenue stream </a:t>
            </a:r>
          </a:p>
          <a:p>
            <a:pPr marL="0" indent="0">
              <a:buNone/>
            </a:pPr>
            <a:endParaRPr lang="en-US" sz="800" dirty="0">
              <a:solidFill>
                <a:schemeClr val="tx1"/>
              </a:solidFill>
            </a:endParaRPr>
          </a:p>
        </p:txBody>
      </p:sp>
      <p:sp>
        <p:nvSpPr>
          <p:cNvPr id="124" name="Rectangle 123">
            <a:extLst>
              <a:ext uri="{FF2B5EF4-FFF2-40B4-BE49-F238E27FC236}">
                <a16:creationId xmlns:a16="http://schemas.microsoft.com/office/drawing/2014/main" id="{BD0F7768-5958-C494-859D-019A70E11167}"/>
              </a:ext>
            </a:extLst>
          </p:cNvPr>
          <p:cNvSpPr/>
          <p:nvPr/>
        </p:nvSpPr>
        <p:spPr bwMode="gray">
          <a:xfrm>
            <a:off x="6838044" y="5813425"/>
            <a:ext cx="323739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Technology block generally limited to drilling </a:t>
            </a:r>
          </a:p>
          <a:p>
            <a:pPr marL="0" indent="0">
              <a:buNone/>
            </a:pPr>
            <a:endParaRPr lang="en-US" sz="800" dirty="0">
              <a:solidFill>
                <a:schemeClr val="tx1"/>
              </a:solidFill>
            </a:endParaRPr>
          </a:p>
        </p:txBody>
      </p:sp>
      <p:sp>
        <p:nvSpPr>
          <p:cNvPr id="125" name="Oval 124">
            <a:extLst>
              <a:ext uri="{FF2B5EF4-FFF2-40B4-BE49-F238E27FC236}">
                <a16:creationId xmlns:a16="http://schemas.microsoft.com/office/drawing/2014/main" id="{6A9739B8-FE39-DA25-A9BB-A9E38C107630}"/>
              </a:ext>
            </a:extLst>
          </p:cNvPr>
          <p:cNvSpPr/>
          <p:nvPr/>
        </p:nvSpPr>
        <p:spPr bwMode="gray">
          <a:xfrm>
            <a:off x="6600184" y="5816600"/>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7</a:t>
            </a:r>
          </a:p>
        </p:txBody>
      </p:sp>
      <p:sp>
        <p:nvSpPr>
          <p:cNvPr id="126" name="Oval 125">
            <a:extLst>
              <a:ext uri="{FF2B5EF4-FFF2-40B4-BE49-F238E27FC236}">
                <a16:creationId xmlns:a16="http://schemas.microsoft.com/office/drawing/2014/main" id="{77F422BA-38EE-0A62-9A6A-749D46F70E08}"/>
              </a:ext>
            </a:extLst>
          </p:cNvPr>
          <p:cNvSpPr/>
          <p:nvPr/>
        </p:nvSpPr>
        <p:spPr bwMode="gray">
          <a:xfrm>
            <a:off x="6600184" y="6067425"/>
            <a:ext cx="200666" cy="190530"/>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dirty="0">
                <a:solidFill>
                  <a:schemeClr val="bg1"/>
                </a:solidFill>
              </a:rPr>
              <a:t>8</a:t>
            </a:r>
          </a:p>
        </p:txBody>
      </p:sp>
      <p:sp>
        <p:nvSpPr>
          <p:cNvPr id="127" name="Rectangle 126">
            <a:extLst>
              <a:ext uri="{FF2B5EF4-FFF2-40B4-BE49-F238E27FC236}">
                <a16:creationId xmlns:a16="http://schemas.microsoft.com/office/drawing/2014/main" id="{0C8278C6-C0AA-22A8-1557-6298CC7F1271}"/>
              </a:ext>
            </a:extLst>
          </p:cNvPr>
          <p:cNvSpPr/>
          <p:nvPr/>
        </p:nvSpPr>
        <p:spPr bwMode="gray">
          <a:xfrm>
            <a:off x="6850063" y="6070600"/>
            <a:ext cx="3237396" cy="194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800" dirty="0">
                <a:solidFill>
                  <a:schemeClr val="tx1"/>
                </a:solidFill>
              </a:rPr>
              <a:t>Emerging technology</a:t>
            </a:r>
          </a:p>
          <a:p>
            <a:pPr marL="0" indent="0">
              <a:buNone/>
            </a:pPr>
            <a:endParaRPr lang="en-US" sz="800" dirty="0">
              <a:solidFill>
                <a:schemeClr val="tx1"/>
              </a:solidFill>
            </a:endParaRPr>
          </a:p>
        </p:txBody>
      </p:sp>
      <p:sp>
        <p:nvSpPr>
          <p:cNvPr id="128" name="Rectangle 127">
            <a:extLst>
              <a:ext uri="{FF2B5EF4-FFF2-40B4-BE49-F238E27FC236}">
                <a16:creationId xmlns:a16="http://schemas.microsoft.com/office/drawing/2014/main" id="{6B0D8471-7236-88CB-45DA-E00D010F1659}"/>
              </a:ext>
            </a:extLst>
          </p:cNvPr>
          <p:cNvSpPr/>
          <p:nvPr/>
        </p:nvSpPr>
        <p:spPr bwMode="gray">
          <a:xfrm rot="16200000">
            <a:off x="-543866" y="5149850"/>
            <a:ext cx="2043192" cy="258344"/>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Potential reasons stunting projections</a:t>
            </a:r>
          </a:p>
        </p:txBody>
      </p:sp>
      <p:sp>
        <p:nvSpPr>
          <p:cNvPr id="129" name="Rectangle 128">
            <a:extLst>
              <a:ext uri="{FF2B5EF4-FFF2-40B4-BE49-F238E27FC236}">
                <a16:creationId xmlns:a16="http://schemas.microsoft.com/office/drawing/2014/main" id="{58AA96B2-BF08-48CE-D6CD-2AEC2DE7B347}"/>
              </a:ext>
            </a:extLst>
          </p:cNvPr>
          <p:cNvSpPr/>
          <p:nvPr/>
        </p:nvSpPr>
        <p:spPr bwMode="gray">
          <a:xfrm rot="16200000">
            <a:off x="5430373" y="5149850"/>
            <a:ext cx="2043192" cy="258344"/>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Potential reasons favoring growth</a:t>
            </a:r>
          </a:p>
        </p:txBody>
      </p:sp>
      <p:sp>
        <p:nvSpPr>
          <p:cNvPr id="4" name="Footer Placeholder 3">
            <a:extLst>
              <a:ext uri="{FF2B5EF4-FFF2-40B4-BE49-F238E27FC236}">
                <a16:creationId xmlns:a16="http://schemas.microsoft.com/office/drawing/2014/main" id="{0200E563-5CC8-DA97-6CC8-225DFAF8C22D}"/>
              </a:ext>
            </a:extLst>
          </p:cNvPr>
          <p:cNvSpPr>
            <a:spLocks noGrp="1"/>
          </p:cNvSpPr>
          <p:nvPr>
            <p:ph type="ftr" sz="quarter" idx="3"/>
          </p:nvPr>
        </p:nvSpPr>
        <p:spPr/>
        <p:txBody>
          <a:bodyPr/>
          <a:lstStyle/>
          <a:p>
            <a:pPr>
              <a:defRPr/>
            </a:pPr>
            <a:r>
              <a:rPr lang="en-US" dirty="0">
                <a:solidFill>
                  <a:srgbClr val="000000"/>
                </a:solidFill>
              </a:rPr>
              <a:t>Sources: </a:t>
            </a:r>
            <a:r>
              <a:rPr lang="en-US" dirty="0">
                <a:solidFill>
                  <a:srgbClr val="000000"/>
                </a:solidFill>
                <a:hlinkClick r:id="rId71"/>
              </a:rPr>
              <a:t>Cumulative Investment for Next Generation Geothermal 2025-2050</a:t>
            </a:r>
            <a:r>
              <a:rPr lang="en-US" dirty="0">
                <a:solidFill>
                  <a:srgbClr val="000000"/>
                </a:solidFill>
              </a:rPr>
              <a:t> (IEA, 2024); </a:t>
            </a:r>
            <a:r>
              <a:rPr lang="en-US" dirty="0">
                <a:solidFill>
                  <a:srgbClr val="000000"/>
                </a:solidFill>
                <a:hlinkClick r:id="rId72"/>
              </a:rPr>
              <a:t>Global Geothermal Energy Market</a:t>
            </a:r>
            <a:r>
              <a:rPr lang="en-US" dirty="0">
                <a:solidFill>
                  <a:srgbClr val="000000"/>
                </a:solidFill>
              </a:rPr>
              <a:t> (</a:t>
            </a:r>
            <a:r>
              <a:rPr lang="en-US" dirty="0" err="1">
                <a:solidFill>
                  <a:srgbClr val="000000"/>
                </a:solidFill>
              </a:rPr>
              <a:t>Market.us</a:t>
            </a:r>
            <a:r>
              <a:rPr lang="en-US" dirty="0">
                <a:solidFill>
                  <a:srgbClr val="000000"/>
                </a:solidFill>
              </a:rPr>
              <a:t>, 2024); </a:t>
            </a:r>
            <a:r>
              <a:rPr lang="en-US" dirty="0">
                <a:solidFill>
                  <a:srgbClr val="000000"/>
                </a:solidFill>
                <a:hlinkClick r:id="rId73"/>
              </a:rPr>
              <a:t>Outlook for Nuclear Investment</a:t>
            </a:r>
            <a:r>
              <a:rPr lang="en-US" dirty="0">
                <a:solidFill>
                  <a:srgbClr val="000000"/>
                </a:solidFill>
              </a:rPr>
              <a:t> (IEA, n.d.); </a:t>
            </a:r>
            <a:r>
              <a:rPr lang="en-US" dirty="0">
                <a:solidFill>
                  <a:srgbClr val="000000"/>
                </a:solidFill>
                <a:hlinkClick r:id="rId74"/>
              </a:rPr>
              <a:t>Nuclear Renaissance Gains Momentum</a:t>
            </a:r>
            <a:r>
              <a:rPr lang="en-US" dirty="0">
                <a:solidFill>
                  <a:srgbClr val="000000"/>
                </a:solidFill>
              </a:rPr>
              <a:t> (Morgan Stanley, 2025)</a:t>
            </a:r>
          </a:p>
          <a:p>
            <a:pPr>
              <a:defRPr/>
            </a:pPr>
            <a:r>
              <a:rPr lang="en-US" dirty="0">
                <a:solidFill>
                  <a:srgbClr val="000000"/>
                </a:solidFill>
              </a:rPr>
              <a:t>Credit: Zacharia Thurston and </a:t>
            </a:r>
            <a:r>
              <a:rPr lang="en-US" dirty="0">
                <a:hlinkClick r:id="rId75"/>
              </a:rPr>
              <a:t>Gernot Wagner.</a:t>
            </a:r>
            <a:r>
              <a:rPr lang="en-US" dirty="0">
                <a:solidFill>
                  <a:srgbClr val="000000"/>
                </a:solidFill>
              </a:rPr>
              <a:t> </a:t>
            </a:r>
            <a:r>
              <a:rPr lang="en-US" dirty="0">
                <a:hlinkClick r:id="rId76"/>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a:defRPr/>
            </a:pPr>
            <a:endParaRPr lang="en-US" dirty="0">
              <a:solidFill>
                <a:srgbClr val="000000"/>
              </a:solidFill>
            </a:endParaRPr>
          </a:p>
        </p:txBody>
      </p:sp>
    </p:spTree>
    <p:extLst>
      <p:ext uri="{BB962C8B-B14F-4D97-AF65-F5344CB8AC3E}">
        <p14:creationId xmlns:p14="http://schemas.microsoft.com/office/powerpoint/2010/main" val="30705329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4D33D-3888-1058-CF5E-BB23AB847DD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9C8B39-C898-0259-6C72-0FBC951D6281}"/>
              </a:ext>
            </a:extLst>
          </p:cNvPr>
          <p:cNvGraphicFramePr>
            <a:graphicFrameLocks/>
          </p:cNvGraphicFramePr>
          <p:nvPr>
            <p:custDataLst>
              <p:tags r:id="rId1"/>
            </p:custDataLst>
            <p:extLst>
              <p:ext uri="{D42A27DB-BD31-4B8C-83A1-F6EECF244321}">
                <p14:modId xmlns:p14="http://schemas.microsoft.com/office/powerpoint/2010/main" val="3657408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4" imgW="7772400" imgH="10058400" progId="TCLayout.ActiveDocument.1">
                  <p:embed/>
                </p:oleObj>
              </mc:Choice>
              <mc:Fallback>
                <p:oleObj name="think-cell Slide" r:id="rId64" imgW="7772400" imgH="10058400" progId="TCLayout.ActiveDocument.1">
                  <p:embed/>
                  <p:pic>
                    <p:nvPicPr>
                      <p:cNvPr id="8" name="think-cell data - do not delete" hidden="1">
                        <a:extLst>
                          <a:ext uri="{FF2B5EF4-FFF2-40B4-BE49-F238E27FC236}">
                            <a16:creationId xmlns:a16="http://schemas.microsoft.com/office/drawing/2014/main" id="{6CF7C937-989D-06A6-EBAD-334C211AF7DA}"/>
                          </a:ext>
                        </a:extLst>
                      </p:cNvPr>
                      <p:cNvPicPr/>
                      <p:nvPr/>
                    </p:nvPicPr>
                    <p:blipFill>
                      <a:blip r:embed="rId6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516D49C-5A11-93C8-CB02-BC2C38530B91}"/>
              </a:ext>
            </a:extLst>
          </p:cNvPr>
          <p:cNvSpPr>
            <a:spLocks noGrp="1"/>
          </p:cNvSpPr>
          <p:nvPr>
            <p:ph type="body" sz="quarter" idx="14"/>
          </p:nvPr>
        </p:nvSpPr>
        <p:spPr/>
        <p:txBody>
          <a:bodyPr rIns="91440"/>
          <a:lstStyle/>
          <a:p>
            <a:pPr marL="0" indent="0">
              <a:buNone/>
            </a:pPr>
            <a:r>
              <a:rPr lang="en-US" sz="1000" b="1" dirty="0"/>
              <a:t>Observations</a:t>
            </a:r>
          </a:p>
          <a:p>
            <a:pPr marL="0" indent="0">
              <a:buNone/>
            </a:pPr>
            <a:endParaRPr lang="en-US" sz="1000" b="1" dirty="0"/>
          </a:p>
          <a:p>
            <a:r>
              <a:rPr lang="en-US" sz="1000" b="1" dirty="0"/>
              <a:t>Capital Intensity: </a:t>
            </a:r>
            <a:r>
              <a:rPr lang="en-US" sz="1000" dirty="0"/>
              <a:t>Geothermal requires the largest upfront investment, with drilling and resource confirmation consuming 60-70% of total </a:t>
            </a:r>
            <a:r>
              <a:rPr lang="en-US" sz="1000" dirty="0" err="1"/>
              <a:t>CapEx</a:t>
            </a:r>
            <a:r>
              <a:rPr lang="en-US" sz="1000" dirty="0"/>
              <a:t> before revenue. Solar and wind projects front-load only ~30%.</a:t>
            </a:r>
          </a:p>
          <a:p>
            <a:r>
              <a:rPr lang="en-US" sz="1000" b="1" dirty="0"/>
              <a:t>Timeline:</a:t>
            </a:r>
            <a:r>
              <a:rPr lang="en-US" sz="1000" dirty="0"/>
              <a:t> Development and payback extend across 7-10 years before COD, compared with 2-3 years for solar and wind, 5-7 years for SMRs, and 10-15 years for traditional nuclear.</a:t>
            </a:r>
          </a:p>
          <a:p>
            <a:r>
              <a:rPr lang="en-US" sz="1000" b="1" dirty="0"/>
              <a:t>Returns: </a:t>
            </a:r>
            <a:r>
              <a:rPr lang="en-US" sz="1000" dirty="0"/>
              <a:t>Once operational, geothermal delivers steady baseload output for 30-50 years with capacity factors near 85%, far exceeding </a:t>
            </a:r>
            <a:r>
              <a:rPr lang="en-US" sz="1000" dirty="0" err="1"/>
              <a:t>solar’s</a:t>
            </a:r>
            <a:r>
              <a:rPr lang="en-US" sz="1000" dirty="0"/>
              <a:t> and wind’s 20-25 year lifetime and 30-45% capacity factors.</a:t>
            </a:r>
          </a:p>
          <a:p>
            <a:r>
              <a:rPr lang="en-US" sz="1000" b="1" dirty="0"/>
              <a:t>Financing Implications: </a:t>
            </a:r>
            <a:r>
              <a:rPr lang="en-US" sz="1000" dirty="0"/>
              <a:t>Longer horizons demand blended finance and government risk sharing, but </a:t>
            </a:r>
            <a:r>
              <a:rPr lang="en-US" sz="1000" dirty="0" err="1"/>
              <a:t>geothermal’s</a:t>
            </a:r>
            <a:r>
              <a:rPr lang="en-US" sz="1000" dirty="0"/>
              <a:t> stable post-COD cash flows make it attractive to infrastructure and pension investors seeking duration.</a:t>
            </a:r>
          </a:p>
          <a:p>
            <a:endParaRPr lang="en-US" sz="1000" dirty="0"/>
          </a:p>
        </p:txBody>
      </p:sp>
      <p:sp>
        <p:nvSpPr>
          <p:cNvPr id="3" name="Title 2">
            <a:extLst>
              <a:ext uri="{FF2B5EF4-FFF2-40B4-BE49-F238E27FC236}">
                <a16:creationId xmlns:a16="http://schemas.microsoft.com/office/drawing/2014/main" id="{16EB972D-EF9E-4B19-9339-D50BAC3B456F}"/>
              </a:ext>
            </a:extLst>
          </p:cNvPr>
          <p:cNvSpPr>
            <a:spLocks noGrp="1"/>
          </p:cNvSpPr>
          <p:nvPr>
            <p:ph type="title"/>
          </p:nvPr>
        </p:nvSpPr>
        <p:spPr/>
        <p:txBody>
          <a:bodyPr vert="horz" rIns="91440"/>
          <a:lstStyle/>
          <a:p>
            <a:r>
              <a:rPr lang="en-US" dirty="0"/>
              <a:t>Geothermal requires large upfront investment but delivers stable returns and low O&amp;M costs over a 30- to 50-year project life</a:t>
            </a:r>
          </a:p>
        </p:txBody>
      </p:sp>
      <p:sp>
        <p:nvSpPr>
          <p:cNvPr id="5" name="Text Placeholder 4">
            <a:extLst>
              <a:ext uri="{FF2B5EF4-FFF2-40B4-BE49-F238E27FC236}">
                <a16:creationId xmlns:a16="http://schemas.microsoft.com/office/drawing/2014/main" id="{7B085405-6184-4F13-6C9D-43D11F87DC77}"/>
              </a:ext>
            </a:extLst>
          </p:cNvPr>
          <p:cNvSpPr>
            <a:spLocks noGrp="1"/>
          </p:cNvSpPr>
          <p:nvPr>
            <p:ph type="body" sz="quarter" idx="13"/>
          </p:nvPr>
        </p:nvSpPr>
        <p:spPr/>
        <p:txBody>
          <a:bodyPr/>
          <a:lstStyle/>
          <a:p>
            <a:r>
              <a:rPr lang="en-US" dirty="0" err="1"/>
              <a:t>CapEx</a:t>
            </a:r>
            <a:r>
              <a:rPr lang="en-US" dirty="0"/>
              <a:t>, </a:t>
            </a:r>
            <a:r>
              <a:rPr lang="en-US" dirty="0" err="1"/>
              <a:t>OpEx</a:t>
            </a:r>
            <a:r>
              <a:rPr lang="en-US" dirty="0"/>
              <a:t>, and project life ranges for a 100 MW power plant</a:t>
            </a:r>
          </a:p>
        </p:txBody>
      </p:sp>
      <p:sp>
        <p:nvSpPr>
          <p:cNvPr id="7" name="Text Placeholder 1">
            <a:extLst>
              <a:ext uri="{FF2B5EF4-FFF2-40B4-BE49-F238E27FC236}">
                <a16:creationId xmlns:a16="http://schemas.microsoft.com/office/drawing/2014/main" id="{F58E7889-3F78-651D-C10D-FC3A50C509FD}"/>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cxnSp>
        <p:nvCxnSpPr>
          <p:cNvPr id="55" name="Straight Connector 54">
            <a:extLst>
              <a:ext uri="{FF2B5EF4-FFF2-40B4-BE49-F238E27FC236}">
                <a16:creationId xmlns:a16="http://schemas.microsoft.com/office/drawing/2014/main" id="{264653C4-174B-843B-4C4D-33CFE3F2C3F5}"/>
              </a:ext>
            </a:extLst>
          </p:cNvPr>
          <p:cNvCxnSpPr/>
          <p:nvPr>
            <p:custDataLst>
              <p:tags r:id="rId2"/>
            </p:custDataLst>
          </p:nvPr>
        </p:nvCxnSpPr>
        <p:spPr bwMode="auto">
          <a:xfrm>
            <a:off x="1643063" y="2333625"/>
            <a:ext cx="0" cy="3703638"/>
          </a:xfrm>
          <a:prstGeom prst="line">
            <a:avLst/>
          </a:prstGeom>
          <a:ln w="190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28067A9F-6B57-15EF-C0F4-E0FE555EB61F}"/>
              </a:ext>
            </a:extLst>
          </p:cNvPr>
          <p:cNvCxnSpPr/>
          <p:nvPr>
            <p:custDataLst>
              <p:tags r:id="rId3"/>
            </p:custDataLst>
          </p:nvPr>
        </p:nvCxnSpPr>
        <p:spPr bwMode="gray">
          <a:xfrm>
            <a:off x="205898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E332838D-6F66-54F8-92B1-C7D6699B3FE4}"/>
              </a:ext>
            </a:extLst>
          </p:cNvPr>
          <p:cNvCxnSpPr/>
          <p:nvPr>
            <p:custDataLst>
              <p:tags r:id="rId4"/>
            </p:custDataLst>
          </p:nvPr>
        </p:nvCxnSpPr>
        <p:spPr bwMode="gray">
          <a:xfrm>
            <a:off x="2474913"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42208E7-23B7-CAEC-746F-42BD287E4804}"/>
              </a:ext>
            </a:extLst>
          </p:cNvPr>
          <p:cNvCxnSpPr/>
          <p:nvPr>
            <p:custDataLst>
              <p:tags r:id="rId5"/>
            </p:custDataLst>
          </p:nvPr>
        </p:nvCxnSpPr>
        <p:spPr bwMode="gray">
          <a:xfrm>
            <a:off x="289083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6C56A945-73F5-11FF-2434-1D4597F29B4B}"/>
              </a:ext>
            </a:extLst>
          </p:cNvPr>
          <p:cNvCxnSpPr/>
          <p:nvPr>
            <p:custDataLst>
              <p:tags r:id="rId6"/>
            </p:custDataLst>
          </p:nvPr>
        </p:nvCxnSpPr>
        <p:spPr bwMode="gray">
          <a:xfrm>
            <a:off x="3308350"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8B03C872-9C4B-9B97-C951-18A3D1106A22}"/>
              </a:ext>
            </a:extLst>
          </p:cNvPr>
          <p:cNvCxnSpPr/>
          <p:nvPr>
            <p:custDataLst>
              <p:tags r:id="rId7"/>
            </p:custDataLst>
          </p:nvPr>
        </p:nvCxnSpPr>
        <p:spPr bwMode="gray">
          <a:xfrm>
            <a:off x="3724275"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A397612-F245-D1D6-02C9-67E61C2E8070}"/>
              </a:ext>
            </a:extLst>
          </p:cNvPr>
          <p:cNvCxnSpPr/>
          <p:nvPr>
            <p:custDataLst>
              <p:tags r:id="rId8"/>
            </p:custDataLst>
          </p:nvPr>
        </p:nvCxnSpPr>
        <p:spPr bwMode="gray">
          <a:xfrm>
            <a:off x="4140200"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7364B377-2377-6E0E-8F2E-1E6E8820C505}"/>
              </a:ext>
            </a:extLst>
          </p:cNvPr>
          <p:cNvGraphicFramePr/>
          <p:nvPr>
            <p:custDataLst>
              <p:tags r:id="rId9"/>
            </p:custDataLst>
            <p:extLst>
              <p:ext uri="{D42A27DB-BD31-4B8C-83A1-F6EECF244321}">
                <p14:modId xmlns:p14="http://schemas.microsoft.com/office/powerpoint/2010/main" val="3551871580"/>
              </p:ext>
            </p:extLst>
          </p:nvPr>
        </p:nvGraphicFramePr>
        <p:xfrm>
          <a:off x="1560513" y="2108200"/>
          <a:ext cx="2662237" cy="4154488"/>
        </p:xfrm>
        <a:graphic>
          <a:graphicData uri="http://schemas.openxmlformats.org/drawingml/2006/chart">
            <c:chart xmlns:c="http://schemas.openxmlformats.org/drawingml/2006/chart" xmlns:r="http://schemas.openxmlformats.org/officeDocument/2006/relationships" r:id="rId66"/>
          </a:graphicData>
        </a:graphic>
      </p:graphicFrame>
      <p:sp>
        <p:nvSpPr>
          <p:cNvPr id="63" name="Rectangle 62">
            <a:extLst>
              <a:ext uri="{FF2B5EF4-FFF2-40B4-BE49-F238E27FC236}">
                <a16:creationId xmlns:a16="http://schemas.microsoft.com/office/drawing/2014/main" id="{3E5238EC-B1D6-F785-E482-292E0E94E7EA}"/>
              </a:ext>
            </a:extLst>
          </p:cNvPr>
          <p:cNvSpPr/>
          <p:nvPr>
            <p:custDataLst>
              <p:tags r:id="rId10"/>
            </p:custDataLst>
          </p:nvPr>
        </p:nvSpPr>
        <p:spPr bwMode="auto">
          <a:xfrm>
            <a:off x="3516313" y="5459413"/>
            <a:ext cx="623888" cy="412750"/>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Rectangle 63">
            <a:extLst>
              <a:ext uri="{FF2B5EF4-FFF2-40B4-BE49-F238E27FC236}">
                <a16:creationId xmlns:a16="http://schemas.microsoft.com/office/drawing/2014/main" id="{D1E144E9-11A5-F5E3-7708-92E3ABE3D89A}"/>
              </a:ext>
            </a:extLst>
          </p:cNvPr>
          <p:cNvSpPr/>
          <p:nvPr>
            <p:custDataLst>
              <p:tags r:id="rId11"/>
            </p:custDataLst>
          </p:nvPr>
        </p:nvSpPr>
        <p:spPr bwMode="auto">
          <a:xfrm>
            <a:off x="2474913" y="4719638"/>
            <a:ext cx="625475" cy="411163"/>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5" name="Rectangle 64">
            <a:extLst>
              <a:ext uri="{FF2B5EF4-FFF2-40B4-BE49-F238E27FC236}">
                <a16:creationId xmlns:a16="http://schemas.microsoft.com/office/drawing/2014/main" id="{71D8913C-EFA7-8C13-B23B-52F2652FA078}"/>
              </a:ext>
            </a:extLst>
          </p:cNvPr>
          <p:cNvSpPr/>
          <p:nvPr>
            <p:custDataLst>
              <p:tags r:id="rId12"/>
            </p:custDataLst>
          </p:nvPr>
        </p:nvSpPr>
        <p:spPr bwMode="auto">
          <a:xfrm>
            <a:off x="2579688" y="3978275"/>
            <a:ext cx="415925" cy="412750"/>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Rectangle 65">
            <a:extLst>
              <a:ext uri="{FF2B5EF4-FFF2-40B4-BE49-F238E27FC236}">
                <a16:creationId xmlns:a16="http://schemas.microsoft.com/office/drawing/2014/main" id="{5375441F-A326-0150-8192-DB6575AF5982}"/>
              </a:ext>
            </a:extLst>
          </p:cNvPr>
          <p:cNvSpPr/>
          <p:nvPr>
            <p:custDataLst>
              <p:tags r:id="rId13"/>
            </p:custDataLst>
          </p:nvPr>
        </p:nvSpPr>
        <p:spPr bwMode="auto">
          <a:xfrm>
            <a:off x="1912938" y="3238500"/>
            <a:ext cx="84138" cy="411163"/>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Rectangle 66">
            <a:extLst>
              <a:ext uri="{FF2B5EF4-FFF2-40B4-BE49-F238E27FC236}">
                <a16:creationId xmlns:a16="http://schemas.microsoft.com/office/drawing/2014/main" id="{728F4D27-D15F-0BF9-5585-ABA988D666AC}"/>
              </a:ext>
            </a:extLst>
          </p:cNvPr>
          <p:cNvSpPr/>
          <p:nvPr>
            <p:custDataLst>
              <p:tags r:id="rId14"/>
            </p:custDataLst>
          </p:nvPr>
        </p:nvSpPr>
        <p:spPr bwMode="auto">
          <a:xfrm>
            <a:off x="1809750" y="2497138"/>
            <a:ext cx="82550" cy="412750"/>
          </a:xfrm>
          <a:prstGeom prst="rect">
            <a:avLst/>
          </a:prstGeom>
          <a:noFill/>
          <a:ln w="28575" cap="flat" cmpd="sng" algn="ctr">
            <a:solidFill>
              <a:schemeClr val="accent1"/>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8" name="Straight Connector 67">
            <a:extLst>
              <a:ext uri="{FF2B5EF4-FFF2-40B4-BE49-F238E27FC236}">
                <a16:creationId xmlns:a16="http://schemas.microsoft.com/office/drawing/2014/main" id="{822FBBD5-40E5-1C86-2F1D-CF7CA77CF507}"/>
              </a:ext>
            </a:extLst>
          </p:cNvPr>
          <p:cNvCxnSpPr/>
          <p:nvPr>
            <p:custDataLst>
              <p:tags r:id="rId15"/>
            </p:custDataLst>
          </p:nvPr>
        </p:nvCxnSpPr>
        <p:spPr bwMode="auto">
          <a:xfrm flipH="1">
            <a:off x="1955800" y="3443288"/>
            <a:ext cx="6667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 name="Text Placeholder 10">
            <a:extLst>
              <a:ext uri="{FF2B5EF4-FFF2-40B4-BE49-F238E27FC236}">
                <a16:creationId xmlns:a16="http://schemas.microsoft.com/office/drawing/2014/main" id="{DE49291F-1A63-9ED8-F015-4E83FCAFFE8E}"/>
              </a:ext>
            </a:extLst>
          </p:cNvPr>
          <p:cNvSpPr txBox="1">
            <a:spLocks/>
          </p:cNvSpPr>
          <p:nvPr>
            <p:custDataLst>
              <p:tags r:id="rId16"/>
            </p:custDataLst>
          </p:nvPr>
        </p:nvSpPr>
        <p:spPr bwMode="auto">
          <a:xfrm>
            <a:off x="488950" y="2627313"/>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Solar</a:t>
            </a:r>
            <a:endParaRPr lang="en-US" sz="1000" dirty="0"/>
          </a:p>
        </p:txBody>
      </p:sp>
      <p:sp useBgFill="1">
        <p:nvSpPr>
          <p:cNvPr id="70" name="Text Placeholder 10">
            <a:extLst>
              <a:ext uri="{FF2B5EF4-FFF2-40B4-BE49-F238E27FC236}">
                <a16:creationId xmlns:a16="http://schemas.microsoft.com/office/drawing/2014/main" id="{22251F56-3D59-8067-2204-EAEBA060ED7F}"/>
              </a:ext>
            </a:extLst>
          </p:cNvPr>
          <p:cNvSpPr txBox="1">
            <a:spLocks/>
          </p:cNvSpPr>
          <p:nvPr>
            <p:custDataLst>
              <p:tags r:id="rId17"/>
            </p:custDataLst>
          </p:nvPr>
        </p:nvSpPr>
        <p:spPr bwMode="gray">
          <a:xfrm>
            <a:off x="2022475" y="3367088"/>
            <a:ext cx="24447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170</a:t>
            </a:r>
          </a:p>
        </p:txBody>
      </p:sp>
      <p:sp useBgFill="1">
        <p:nvSpPr>
          <p:cNvPr id="71" name="Text Placeholder 10">
            <a:extLst>
              <a:ext uri="{FF2B5EF4-FFF2-40B4-BE49-F238E27FC236}">
                <a16:creationId xmlns:a16="http://schemas.microsoft.com/office/drawing/2014/main" id="{5747F6A0-C64D-D035-2822-E13CEBA17CCC}"/>
              </a:ext>
            </a:extLst>
          </p:cNvPr>
          <p:cNvSpPr txBox="1">
            <a:spLocks/>
          </p:cNvSpPr>
          <p:nvPr>
            <p:custDataLst>
              <p:tags r:id="rId18"/>
            </p:custDataLst>
          </p:nvPr>
        </p:nvSpPr>
        <p:spPr bwMode="gray">
          <a:xfrm>
            <a:off x="2665413" y="4108450"/>
            <a:ext cx="24447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650</a:t>
            </a:r>
            <a:endParaRPr lang="en-US" sz="1000" dirty="0"/>
          </a:p>
        </p:txBody>
      </p:sp>
      <p:sp>
        <p:nvSpPr>
          <p:cNvPr id="72" name="Text Placeholder 10">
            <a:extLst>
              <a:ext uri="{FF2B5EF4-FFF2-40B4-BE49-F238E27FC236}">
                <a16:creationId xmlns:a16="http://schemas.microsoft.com/office/drawing/2014/main" id="{5DDBCCEC-342F-3980-3AB9-9364B69D626E}"/>
              </a:ext>
            </a:extLst>
          </p:cNvPr>
          <p:cNvSpPr txBox="1">
            <a:spLocks/>
          </p:cNvSpPr>
          <p:nvPr>
            <p:custDataLst>
              <p:tags r:id="rId19"/>
            </p:custDataLst>
          </p:nvPr>
        </p:nvSpPr>
        <p:spPr bwMode="auto">
          <a:xfrm>
            <a:off x="488950" y="4108450"/>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C3BC8F0-00D2-40C7-9B67-7758E7713648}" type="datetime'G''''e''''''oth''er''''''''''''''m''''a''l'''''''''''''''">
              <a:rPr lang="en-US" altLang="en-US" sz="1000" smtClean="0"/>
              <a:pPr/>
              <a:t>Geothermal</a:t>
            </a:fld>
            <a:endParaRPr lang="en-US" sz="1000" dirty="0"/>
          </a:p>
        </p:txBody>
      </p:sp>
      <p:sp useBgFill="1">
        <p:nvSpPr>
          <p:cNvPr id="73" name="Text Placeholder 10">
            <a:extLst>
              <a:ext uri="{FF2B5EF4-FFF2-40B4-BE49-F238E27FC236}">
                <a16:creationId xmlns:a16="http://schemas.microsoft.com/office/drawing/2014/main" id="{4D8735EA-8EF5-5BF6-1D6F-E90DD95B18B2}"/>
              </a:ext>
            </a:extLst>
          </p:cNvPr>
          <p:cNvSpPr txBox="1">
            <a:spLocks/>
          </p:cNvSpPr>
          <p:nvPr>
            <p:custDataLst>
              <p:tags r:id="rId20"/>
            </p:custDataLst>
          </p:nvPr>
        </p:nvSpPr>
        <p:spPr bwMode="gray">
          <a:xfrm>
            <a:off x="2665413" y="4848225"/>
            <a:ext cx="24447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700</a:t>
            </a:r>
            <a:endParaRPr lang="en-US" sz="1000" dirty="0"/>
          </a:p>
        </p:txBody>
      </p:sp>
      <p:sp>
        <p:nvSpPr>
          <p:cNvPr id="74" name="Text Placeholder 10">
            <a:extLst>
              <a:ext uri="{FF2B5EF4-FFF2-40B4-BE49-F238E27FC236}">
                <a16:creationId xmlns:a16="http://schemas.microsoft.com/office/drawing/2014/main" id="{F39C8FEB-A95B-B0BF-7533-CD94D47807AF}"/>
              </a:ext>
            </a:extLst>
          </p:cNvPr>
          <p:cNvSpPr txBox="1">
            <a:spLocks/>
          </p:cNvSpPr>
          <p:nvPr>
            <p:custDataLst>
              <p:tags r:id="rId21"/>
            </p:custDataLst>
          </p:nvPr>
        </p:nvSpPr>
        <p:spPr bwMode="auto">
          <a:xfrm>
            <a:off x="488950" y="4848225"/>
            <a:ext cx="754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2A9D377-1B47-4CFF-83E9-6B59577E0D8F}" type="datetime'''''''S''''MR'' N''''u''''''''''c''''l''''''''ear'''''''''''''">
              <a:rPr lang="en-US" altLang="en-US" sz="1000" smtClean="0"/>
              <a:pPr/>
              <a:t>SMR Nuclear</a:t>
            </a:fld>
            <a:endParaRPr lang="en-US" sz="1000" dirty="0"/>
          </a:p>
        </p:txBody>
      </p:sp>
      <p:sp useBgFill="1">
        <p:nvSpPr>
          <p:cNvPr id="75" name="Text Placeholder 10">
            <a:extLst>
              <a:ext uri="{FF2B5EF4-FFF2-40B4-BE49-F238E27FC236}">
                <a16:creationId xmlns:a16="http://schemas.microsoft.com/office/drawing/2014/main" id="{C74DBE44-8224-E97D-5AE9-E9BA4B1A9809}"/>
              </a:ext>
            </a:extLst>
          </p:cNvPr>
          <p:cNvSpPr txBox="1">
            <a:spLocks/>
          </p:cNvSpPr>
          <p:nvPr>
            <p:custDataLst>
              <p:tags r:id="rId22"/>
            </p:custDataLst>
          </p:nvPr>
        </p:nvSpPr>
        <p:spPr bwMode="gray">
          <a:xfrm>
            <a:off x="3670300" y="5589588"/>
            <a:ext cx="3143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1200</a:t>
            </a:r>
          </a:p>
        </p:txBody>
      </p:sp>
      <p:sp>
        <p:nvSpPr>
          <p:cNvPr id="76" name="Text Placeholder 10">
            <a:extLst>
              <a:ext uri="{FF2B5EF4-FFF2-40B4-BE49-F238E27FC236}">
                <a16:creationId xmlns:a16="http://schemas.microsoft.com/office/drawing/2014/main" id="{61FB9BAB-3C34-60D8-76E8-F0C8C3B19837}"/>
              </a:ext>
            </a:extLst>
          </p:cNvPr>
          <p:cNvSpPr txBox="1">
            <a:spLocks/>
          </p:cNvSpPr>
          <p:nvPr>
            <p:custDataLst>
              <p:tags r:id="rId23"/>
            </p:custDataLst>
          </p:nvPr>
        </p:nvSpPr>
        <p:spPr bwMode="auto">
          <a:xfrm>
            <a:off x="488950" y="5589588"/>
            <a:ext cx="1062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3D2D081-1E42-437B-A7B1-1D9F5CFBCD26}" type="datetime'''Tr''a''d''''it''io''''''nal'''' ''N''u''c''l''e''''''''ar'">
              <a:rPr lang="en-US" altLang="en-US" sz="1000" smtClean="0"/>
              <a:pPr/>
              <a:t>Traditional Nuclear</a:t>
            </a:fld>
            <a:endParaRPr lang="en-US" sz="1000" dirty="0"/>
          </a:p>
        </p:txBody>
      </p:sp>
      <p:sp useBgFill="1">
        <p:nvSpPr>
          <p:cNvPr id="77" name="Text Placeholder 10">
            <a:extLst>
              <a:ext uri="{FF2B5EF4-FFF2-40B4-BE49-F238E27FC236}">
                <a16:creationId xmlns:a16="http://schemas.microsoft.com/office/drawing/2014/main" id="{1E2CF950-CACF-FC50-1B5E-4FE3E4D224DF}"/>
              </a:ext>
            </a:extLst>
          </p:cNvPr>
          <p:cNvSpPr txBox="1">
            <a:spLocks/>
          </p:cNvSpPr>
          <p:nvPr>
            <p:custDataLst>
              <p:tags r:id="rId24"/>
            </p:custDataLst>
          </p:nvPr>
        </p:nvSpPr>
        <p:spPr bwMode="gray">
          <a:xfrm>
            <a:off x="1917700" y="2627313"/>
            <a:ext cx="24447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0FD580-C14B-4B8C-8580-77C0BD37E392}" type="datetime'''''1''''''''''2''''''''''''''''0'''''">
              <a:rPr lang="en-US" altLang="en-US" sz="1000" smtClean="0">
                <a:effectLst/>
              </a:rPr>
              <a:pPr/>
              <a:t>120</a:t>
            </a:fld>
            <a:endParaRPr lang="en-US" sz="1000" dirty="0"/>
          </a:p>
        </p:txBody>
      </p:sp>
      <p:sp>
        <p:nvSpPr>
          <p:cNvPr id="78" name="Text Placeholder 10">
            <a:extLst>
              <a:ext uri="{FF2B5EF4-FFF2-40B4-BE49-F238E27FC236}">
                <a16:creationId xmlns:a16="http://schemas.microsoft.com/office/drawing/2014/main" id="{FF929552-77DE-449A-5CF5-D7AAC841C3B0}"/>
              </a:ext>
            </a:extLst>
          </p:cNvPr>
          <p:cNvSpPr txBox="1">
            <a:spLocks/>
          </p:cNvSpPr>
          <p:nvPr>
            <p:custDataLst>
              <p:tags r:id="rId25"/>
            </p:custDataLst>
          </p:nvPr>
        </p:nvSpPr>
        <p:spPr bwMode="auto">
          <a:xfrm>
            <a:off x="488950" y="3367088"/>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DE6A1B3-15FE-4B9C-BC0A-FA90912B8DAE}" type="datetime'''O''''n''s''''ho''r''''''e'''''''''''' ''Win''''''''d'">
              <a:rPr lang="en-US" altLang="en-US" sz="1000" smtClean="0"/>
              <a:pPr/>
              <a:t>Onshore Wind</a:t>
            </a:fld>
            <a:endParaRPr lang="en-US" sz="1000" dirty="0"/>
          </a:p>
        </p:txBody>
      </p:sp>
      <p:sp>
        <p:nvSpPr>
          <p:cNvPr id="79" name="TextBox 78">
            <a:extLst>
              <a:ext uri="{FF2B5EF4-FFF2-40B4-BE49-F238E27FC236}">
                <a16:creationId xmlns:a16="http://schemas.microsoft.com/office/drawing/2014/main" id="{6813CC95-6134-3C47-E82C-F0203EEEBD9C}"/>
              </a:ext>
            </a:extLst>
          </p:cNvPr>
          <p:cNvSpPr txBox="1"/>
          <p:nvPr/>
        </p:nvSpPr>
        <p:spPr bwMode="gray">
          <a:xfrm>
            <a:off x="1820863" y="2246313"/>
            <a:ext cx="911387" cy="257369"/>
          </a:xfrm>
          <a:prstGeom prst="rect">
            <a:avLst/>
          </a:prstGeom>
          <a:noFill/>
        </p:spPr>
        <p:txBody>
          <a:bodyPr wrap="square" lIns="36000" tIns="36000" rIns="36000" bIns="36000" rtlCol="0">
            <a:spAutoFit/>
          </a:bodyPr>
          <a:lstStyle/>
          <a:p>
            <a:pPr marL="0" indent="0">
              <a:buNone/>
            </a:pPr>
            <a:r>
              <a:rPr lang="en-US" sz="1200" dirty="0"/>
              <a:t>CapEx ($M)</a:t>
            </a:r>
            <a:endParaRPr lang="en-US" sz="1600" dirty="0"/>
          </a:p>
        </p:txBody>
      </p:sp>
      <p:sp>
        <p:nvSpPr>
          <p:cNvPr id="80" name="TextBox 79">
            <a:extLst>
              <a:ext uri="{FF2B5EF4-FFF2-40B4-BE49-F238E27FC236}">
                <a16:creationId xmlns:a16="http://schemas.microsoft.com/office/drawing/2014/main" id="{E16E9DCE-5B37-E233-D481-767963DF37B3}"/>
              </a:ext>
            </a:extLst>
          </p:cNvPr>
          <p:cNvSpPr txBox="1"/>
          <p:nvPr/>
        </p:nvSpPr>
        <p:spPr bwMode="gray">
          <a:xfrm>
            <a:off x="4773613" y="2217738"/>
            <a:ext cx="911387" cy="257369"/>
          </a:xfrm>
          <a:prstGeom prst="rect">
            <a:avLst/>
          </a:prstGeom>
          <a:noFill/>
        </p:spPr>
        <p:txBody>
          <a:bodyPr wrap="square" lIns="36000" tIns="36000" rIns="36000" bIns="36000" rtlCol="0">
            <a:spAutoFit/>
          </a:bodyPr>
          <a:lstStyle/>
          <a:p>
            <a:pPr marL="0" indent="0">
              <a:buNone/>
            </a:pPr>
            <a:r>
              <a:rPr lang="en-US" sz="1200" dirty="0"/>
              <a:t>OpEx ($M)</a:t>
            </a:r>
            <a:endParaRPr lang="en-US" sz="1600" dirty="0"/>
          </a:p>
        </p:txBody>
      </p:sp>
      <p:cxnSp>
        <p:nvCxnSpPr>
          <p:cNvPr id="81" name="Straight Connector 80">
            <a:extLst>
              <a:ext uri="{FF2B5EF4-FFF2-40B4-BE49-F238E27FC236}">
                <a16:creationId xmlns:a16="http://schemas.microsoft.com/office/drawing/2014/main" id="{5C44E34C-17FB-56AD-B631-9D96F724DC72}"/>
              </a:ext>
            </a:extLst>
          </p:cNvPr>
          <p:cNvCxnSpPr/>
          <p:nvPr>
            <p:custDataLst>
              <p:tags r:id="rId26"/>
            </p:custDataLst>
          </p:nvPr>
        </p:nvCxnSpPr>
        <p:spPr bwMode="auto">
          <a:xfrm>
            <a:off x="4554538" y="2333625"/>
            <a:ext cx="0" cy="3703638"/>
          </a:xfrm>
          <a:prstGeom prst="line">
            <a:avLst/>
          </a:prstGeom>
          <a:ln w="190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277791EE-C559-5F61-985A-582077939311}"/>
              </a:ext>
            </a:extLst>
          </p:cNvPr>
          <p:cNvCxnSpPr/>
          <p:nvPr>
            <p:custDataLst>
              <p:tags r:id="rId27"/>
            </p:custDataLst>
          </p:nvPr>
        </p:nvCxnSpPr>
        <p:spPr bwMode="gray">
          <a:xfrm>
            <a:off x="4867275"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7EE8A6F-F423-BD7F-1010-4231FCEE0116}"/>
              </a:ext>
            </a:extLst>
          </p:cNvPr>
          <p:cNvCxnSpPr/>
          <p:nvPr>
            <p:custDataLst>
              <p:tags r:id="rId28"/>
            </p:custDataLst>
          </p:nvPr>
        </p:nvCxnSpPr>
        <p:spPr bwMode="gray">
          <a:xfrm>
            <a:off x="5181600"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B327D293-2ED7-DFCB-BEFF-E526D47B3E0B}"/>
              </a:ext>
            </a:extLst>
          </p:cNvPr>
          <p:cNvCxnSpPr/>
          <p:nvPr>
            <p:custDataLst>
              <p:tags r:id="rId29"/>
            </p:custDataLst>
          </p:nvPr>
        </p:nvCxnSpPr>
        <p:spPr bwMode="gray">
          <a:xfrm>
            <a:off x="549433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4DAA918A-946A-506A-10BC-1C4E850FDA45}"/>
              </a:ext>
            </a:extLst>
          </p:cNvPr>
          <p:cNvCxnSpPr/>
          <p:nvPr>
            <p:custDataLst>
              <p:tags r:id="rId30"/>
            </p:custDataLst>
          </p:nvPr>
        </p:nvCxnSpPr>
        <p:spPr bwMode="gray">
          <a:xfrm>
            <a:off x="5808663"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6" name="Chart 85">
            <a:extLst>
              <a:ext uri="{FF2B5EF4-FFF2-40B4-BE49-F238E27FC236}">
                <a16:creationId xmlns:a16="http://schemas.microsoft.com/office/drawing/2014/main" id="{B9F87794-6FE4-241E-5BFF-418E1698DEC0}"/>
              </a:ext>
            </a:extLst>
          </p:cNvPr>
          <p:cNvGraphicFramePr/>
          <p:nvPr>
            <p:custDataLst>
              <p:tags r:id="rId31"/>
            </p:custDataLst>
            <p:extLst>
              <p:ext uri="{D42A27DB-BD31-4B8C-83A1-F6EECF244321}">
                <p14:modId xmlns:p14="http://schemas.microsoft.com/office/powerpoint/2010/main" val="2984934489"/>
              </p:ext>
            </p:extLst>
          </p:nvPr>
        </p:nvGraphicFramePr>
        <p:xfrm>
          <a:off x="4464050" y="2108200"/>
          <a:ext cx="1436688" cy="4154488"/>
        </p:xfrm>
        <a:graphic>
          <a:graphicData uri="http://schemas.openxmlformats.org/drawingml/2006/chart">
            <c:chart xmlns:c="http://schemas.openxmlformats.org/drawingml/2006/chart" xmlns:r="http://schemas.openxmlformats.org/officeDocument/2006/relationships" r:id="rId67"/>
          </a:graphicData>
        </a:graphic>
      </p:graphicFrame>
      <p:sp>
        <p:nvSpPr>
          <p:cNvPr id="87" name="Rectangle 86">
            <a:extLst>
              <a:ext uri="{FF2B5EF4-FFF2-40B4-BE49-F238E27FC236}">
                <a16:creationId xmlns:a16="http://schemas.microsoft.com/office/drawing/2014/main" id="{E005B3B6-9613-6E84-0D2F-7F89B934BA8F}"/>
              </a:ext>
            </a:extLst>
          </p:cNvPr>
          <p:cNvSpPr/>
          <p:nvPr>
            <p:custDataLst>
              <p:tags r:id="rId32"/>
            </p:custDataLst>
          </p:nvPr>
        </p:nvSpPr>
        <p:spPr bwMode="auto">
          <a:xfrm>
            <a:off x="5307013" y="5459413"/>
            <a:ext cx="376238" cy="412750"/>
          </a:xfrm>
          <a:prstGeom prst="rect">
            <a:avLst/>
          </a:prstGeom>
          <a:noFill/>
          <a:ln w="28575" cap="flat" cmpd="sng" algn="ctr">
            <a:solidFill>
              <a:schemeClr val="accent5"/>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Rectangle 87">
            <a:extLst>
              <a:ext uri="{FF2B5EF4-FFF2-40B4-BE49-F238E27FC236}">
                <a16:creationId xmlns:a16="http://schemas.microsoft.com/office/drawing/2014/main" id="{A40180D2-EAC8-9C94-8078-891EF432E278}"/>
              </a:ext>
            </a:extLst>
          </p:cNvPr>
          <p:cNvSpPr/>
          <p:nvPr>
            <p:custDataLst>
              <p:tags r:id="rId33"/>
            </p:custDataLst>
          </p:nvPr>
        </p:nvSpPr>
        <p:spPr bwMode="auto">
          <a:xfrm>
            <a:off x="5181600" y="4719638"/>
            <a:ext cx="312738" cy="411163"/>
          </a:xfrm>
          <a:prstGeom prst="rect">
            <a:avLst/>
          </a:prstGeom>
          <a:noFill/>
          <a:ln w="28575" cap="flat" cmpd="sng" algn="ctr">
            <a:solidFill>
              <a:schemeClr val="accent5"/>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Rectangle 88">
            <a:extLst>
              <a:ext uri="{FF2B5EF4-FFF2-40B4-BE49-F238E27FC236}">
                <a16:creationId xmlns:a16="http://schemas.microsoft.com/office/drawing/2014/main" id="{7CB734EC-0137-6D61-E213-B81D25D71B68}"/>
              </a:ext>
            </a:extLst>
          </p:cNvPr>
          <p:cNvSpPr/>
          <p:nvPr>
            <p:custDataLst>
              <p:tags r:id="rId34"/>
            </p:custDataLst>
          </p:nvPr>
        </p:nvSpPr>
        <p:spPr bwMode="auto">
          <a:xfrm>
            <a:off x="5056188" y="3978275"/>
            <a:ext cx="250825" cy="412750"/>
          </a:xfrm>
          <a:prstGeom prst="rect">
            <a:avLst/>
          </a:prstGeom>
          <a:noFill/>
          <a:ln w="28575" cap="flat" cmpd="sng" algn="ctr">
            <a:solidFill>
              <a:schemeClr val="accent5"/>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Rectangle 89">
            <a:extLst>
              <a:ext uri="{FF2B5EF4-FFF2-40B4-BE49-F238E27FC236}">
                <a16:creationId xmlns:a16="http://schemas.microsoft.com/office/drawing/2014/main" id="{4E929CA0-EE83-C153-DB25-2290F2C65125}"/>
              </a:ext>
            </a:extLst>
          </p:cNvPr>
          <p:cNvSpPr/>
          <p:nvPr>
            <p:custDataLst>
              <p:tags r:id="rId35"/>
            </p:custDataLst>
          </p:nvPr>
        </p:nvSpPr>
        <p:spPr bwMode="auto">
          <a:xfrm>
            <a:off x="4741863" y="3238500"/>
            <a:ext cx="125413" cy="411163"/>
          </a:xfrm>
          <a:prstGeom prst="rect">
            <a:avLst/>
          </a:prstGeom>
          <a:noFill/>
          <a:ln w="28575" cap="flat" cmpd="sng" algn="ctr">
            <a:solidFill>
              <a:schemeClr val="accent5"/>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Rectangle 90">
            <a:extLst>
              <a:ext uri="{FF2B5EF4-FFF2-40B4-BE49-F238E27FC236}">
                <a16:creationId xmlns:a16="http://schemas.microsoft.com/office/drawing/2014/main" id="{2D822133-10E9-D32A-9DF7-E0AA2B754E41}"/>
              </a:ext>
            </a:extLst>
          </p:cNvPr>
          <p:cNvSpPr/>
          <p:nvPr>
            <p:custDataLst>
              <p:tags r:id="rId36"/>
            </p:custDataLst>
          </p:nvPr>
        </p:nvSpPr>
        <p:spPr bwMode="auto">
          <a:xfrm>
            <a:off x="4648200" y="2497138"/>
            <a:ext cx="61913" cy="412750"/>
          </a:xfrm>
          <a:prstGeom prst="rect">
            <a:avLst/>
          </a:prstGeom>
          <a:noFill/>
          <a:ln w="28575" cap="flat" cmpd="sng" algn="ctr">
            <a:solidFill>
              <a:schemeClr val="accent5"/>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2" name="Straight Connector 91">
            <a:extLst>
              <a:ext uri="{FF2B5EF4-FFF2-40B4-BE49-F238E27FC236}">
                <a16:creationId xmlns:a16="http://schemas.microsoft.com/office/drawing/2014/main" id="{6C5E3976-6AA6-AB6B-3F9B-82ED1D93F9F5}"/>
              </a:ext>
            </a:extLst>
          </p:cNvPr>
          <p:cNvCxnSpPr/>
          <p:nvPr>
            <p:custDataLst>
              <p:tags r:id="rId37"/>
            </p:custDataLst>
          </p:nvPr>
        </p:nvCxnSpPr>
        <p:spPr bwMode="auto">
          <a:xfrm flipH="1">
            <a:off x="4805363" y="3443288"/>
            <a:ext cx="8731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3" name="Text Placeholder 10">
            <a:extLst>
              <a:ext uri="{FF2B5EF4-FFF2-40B4-BE49-F238E27FC236}">
                <a16:creationId xmlns:a16="http://schemas.microsoft.com/office/drawing/2014/main" id="{A09B9CA2-8732-8F2A-D969-261DA71E5E8F}"/>
              </a:ext>
            </a:extLst>
          </p:cNvPr>
          <p:cNvSpPr txBox="1">
            <a:spLocks/>
          </p:cNvSpPr>
          <p:nvPr>
            <p:custDataLst>
              <p:tags r:id="rId38"/>
            </p:custDataLst>
          </p:nvPr>
        </p:nvSpPr>
        <p:spPr bwMode="gray">
          <a:xfrm>
            <a:off x="4892675" y="3367088"/>
            <a:ext cx="1047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5</a:t>
            </a:r>
          </a:p>
        </p:txBody>
      </p:sp>
      <p:sp useBgFill="1">
        <p:nvSpPr>
          <p:cNvPr id="94" name="Text Placeholder 10">
            <a:extLst>
              <a:ext uri="{FF2B5EF4-FFF2-40B4-BE49-F238E27FC236}">
                <a16:creationId xmlns:a16="http://schemas.microsoft.com/office/drawing/2014/main" id="{EE204C32-0DAE-27E7-3C07-880A0D9B2DD7}"/>
              </a:ext>
            </a:extLst>
          </p:cNvPr>
          <p:cNvSpPr txBox="1">
            <a:spLocks/>
          </p:cNvSpPr>
          <p:nvPr>
            <p:custDataLst>
              <p:tags r:id="rId39"/>
            </p:custDataLst>
          </p:nvPr>
        </p:nvSpPr>
        <p:spPr bwMode="gray">
          <a:xfrm>
            <a:off x="5094288" y="4108450"/>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dirty="0"/>
              <a:t>12</a:t>
            </a:r>
          </a:p>
        </p:txBody>
      </p:sp>
      <p:sp>
        <p:nvSpPr>
          <p:cNvPr id="95" name="Text Placeholder 10">
            <a:extLst>
              <a:ext uri="{FF2B5EF4-FFF2-40B4-BE49-F238E27FC236}">
                <a16:creationId xmlns:a16="http://schemas.microsoft.com/office/drawing/2014/main" id="{D57DEC15-EED8-5ACA-6568-2FB082E8D550}"/>
              </a:ext>
            </a:extLst>
          </p:cNvPr>
          <p:cNvSpPr txBox="1">
            <a:spLocks/>
          </p:cNvSpPr>
          <p:nvPr>
            <p:custDataLst>
              <p:tags r:id="rId40"/>
            </p:custDataLst>
          </p:nvPr>
        </p:nvSpPr>
        <p:spPr bwMode="gray">
          <a:xfrm>
            <a:off x="5249863" y="484822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15</a:t>
            </a:r>
          </a:p>
        </p:txBody>
      </p:sp>
      <p:sp useBgFill="1">
        <p:nvSpPr>
          <p:cNvPr id="96" name="Text Placeholder 10">
            <a:extLst>
              <a:ext uri="{FF2B5EF4-FFF2-40B4-BE49-F238E27FC236}">
                <a16:creationId xmlns:a16="http://schemas.microsoft.com/office/drawing/2014/main" id="{9260465A-2E73-7BE0-50C4-4D04F1A9DD28}"/>
              </a:ext>
            </a:extLst>
          </p:cNvPr>
          <p:cNvSpPr txBox="1">
            <a:spLocks/>
          </p:cNvSpPr>
          <p:nvPr>
            <p:custDataLst>
              <p:tags r:id="rId41"/>
            </p:custDataLst>
          </p:nvPr>
        </p:nvSpPr>
        <p:spPr bwMode="gray">
          <a:xfrm>
            <a:off x="5407025" y="5589588"/>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18</a:t>
            </a:r>
          </a:p>
        </p:txBody>
      </p:sp>
      <p:sp>
        <p:nvSpPr>
          <p:cNvPr id="97" name="Text Placeholder 10">
            <a:extLst>
              <a:ext uri="{FF2B5EF4-FFF2-40B4-BE49-F238E27FC236}">
                <a16:creationId xmlns:a16="http://schemas.microsoft.com/office/drawing/2014/main" id="{8A731706-09F6-CC36-85DC-0CDD7C4B2CDE}"/>
              </a:ext>
            </a:extLst>
          </p:cNvPr>
          <p:cNvSpPr txBox="1">
            <a:spLocks/>
          </p:cNvSpPr>
          <p:nvPr>
            <p:custDataLst>
              <p:tags r:id="rId42"/>
            </p:custDataLst>
          </p:nvPr>
        </p:nvSpPr>
        <p:spPr bwMode="gray">
          <a:xfrm>
            <a:off x="4735513" y="2627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811C87E-0466-46BA-B2F2-FA64098BF8D0}" type="datetime'''''3'''''''''''''''''''''''''''''''''''''''''''''''''''">
              <a:rPr lang="en-US" altLang="en-US" sz="1000" smtClean="0"/>
              <a:pPr/>
              <a:t>3</a:t>
            </a:fld>
            <a:endParaRPr lang="en-US" sz="1000" dirty="0"/>
          </a:p>
        </p:txBody>
      </p:sp>
      <p:sp>
        <p:nvSpPr>
          <p:cNvPr id="98" name="TextBox 97">
            <a:extLst>
              <a:ext uri="{FF2B5EF4-FFF2-40B4-BE49-F238E27FC236}">
                <a16:creationId xmlns:a16="http://schemas.microsoft.com/office/drawing/2014/main" id="{767FC718-E427-15B3-9550-7B754E07B542}"/>
              </a:ext>
            </a:extLst>
          </p:cNvPr>
          <p:cNvSpPr txBox="1"/>
          <p:nvPr/>
        </p:nvSpPr>
        <p:spPr bwMode="gray">
          <a:xfrm>
            <a:off x="6538913" y="2217738"/>
            <a:ext cx="1280768" cy="257369"/>
          </a:xfrm>
          <a:prstGeom prst="rect">
            <a:avLst/>
          </a:prstGeom>
          <a:noFill/>
        </p:spPr>
        <p:txBody>
          <a:bodyPr wrap="square" lIns="36000" tIns="36000" rIns="36000" bIns="36000" rtlCol="0">
            <a:spAutoFit/>
          </a:bodyPr>
          <a:lstStyle/>
          <a:p>
            <a:pPr marL="0" indent="0">
              <a:buNone/>
            </a:pPr>
            <a:r>
              <a:rPr lang="en-US" sz="1200" dirty="0"/>
              <a:t>Project Lifespan</a:t>
            </a:r>
            <a:endParaRPr lang="en-US" sz="1600" dirty="0"/>
          </a:p>
        </p:txBody>
      </p:sp>
      <p:cxnSp>
        <p:nvCxnSpPr>
          <p:cNvPr id="99" name="Straight Connector 98">
            <a:extLst>
              <a:ext uri="{FF2B5EF4-FFF2-40B4-BE49-F238E27FC236}">
                <a16:creationId xmlns:a16="http://schemas.microsoft.com/office/drawing/2014/main" id="{E98C9034-39AA-537E-0EA6-295EABEA0433}"/>
              </a:ext>
            </a:extLst>
          </p:cNvPr>
          <p:cNvCxnSpPr/>
          <p:nvPr>
            <p:custDataLst>
              <p:tags r:id="rId43"/>
            </p:custDataLst>
          </p:nvPr>
        </p:nvCxnSpPr>
        <p:spPr bwMode="auto">
          <a:xfrm>
            <a:off x="6538913" y="2333625"/>
            <a:ext cx="0" cy="3703638"/>
          </a:xfrm>
          <a:prstGeom prst="line">
            <a:avLst/>
          </a:prstGeom>
          <a:ln w="190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ABBEFA55-0859-AEE4-5789-CA964001EA5D}"/>
              </a:ext>
            </a:extLst>
          </p:cNvPr>
          <p:cNvCxnSpPr/>
          <p:nvPr>
            <p:custDataLst>
              <p:tags r:id="rId44"/>
            </p:custDataLst>
          </p:nvPr>
        </p:nvCxnSpPr>
        <p:spPr bwMode="gray">
          <a:xfrm>
            <a:off x="673258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99016FA-C668-7AAC-9957-49E6F638DDB4}"/>
              </a:ext>
            </a:extLst>
          </p:cNvPr>
          <p:cNvCxnSpPr/>
          <p:nvPr>
            <p:custDataLst>
              <p:tags r:id="rId45"/>
            </p:custDataLst>
          </p:nvPr>
        </p:nvCxnSpPr>
        <p:spPr bwMode="gray">
          <a:xfrm>
            <a:off x="6927850"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46E81E52-6E6F-7BBB-8103-20BF08969BC4}"/>
              </a:ext>
            </a:extLst>
          </p:cNvPr>
          <p:cNvCxnSpPr/>
          <p:nvPr>
            <p:custDataLst>
              <p:tags r:id="rId46"/>
            </p:custDataLst>
          </p:nvPr>
        </p:nvCxnSpPr>
        <p:spPr bwMode="gray">
          <a:xfrm>
            <a:off x="7121525"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4F529F4D-5331-4092-F0FA-3BE15E6FB138}"/>
              </a:ext>
            </a:extLst>
          </p:cNvPr>
          <p:cNvCxnSpPr/>
          <p:nvPr>
            <p:custDataLst>
              <p:tags r:id="rId47"/>
            </p:custDataLst>
          </p:nvPr>
        </p:nvCxnSpPr>
        <p:spPr bwMode="gray">
          <a:xfrm>
            <a:off x="7315200"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C2AFF00B-07A9-8765-7245-5A401BAB83FD}"/>
              </a:ext>
            </a:extLst>
          </p:cNvPr>
          <p:cNvCxnSpPr/>
          <p:nvPr>
            <p:custDataLst>
              <p:tags r:id="rId48"/>
            </p:custDataLst>
          </p:nvPr>
        </p:nvCxnSpPr>
        <p:spPr bwMode="gray">
          <a:xfrm>
            <a:off x="7508875"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9C84297D-DA4D-54D8-230B-C2EDBA9FD443}"/>
              </a:ext>
            </a:extLst>
          </p:cNvPr>
          <p:cNvCxnSpPr/>
          <p:nvPr>
            <p:custDataLst>
              <p:tags r:id="rId49"/>
            </p:custDataLst>
          </p:nvPr>
        </p:nvCxnSpPr>
        <p:spPr bwMode="gray">
          <a:xfrm>
            <a:off x="770413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FC937C57-3730-0EBE-3D35-025C886A9FE5}"/>
              </a:ext>
            </a:extLst>
          </p:cNvPr>
          <p:cNvCxnSpPr/>
          <p:nvPr>
            <p:custDataLst>
              <p:tags r:id="rId50"/>
            </p:custDataLst>
          </p:nvPr>
        </p:nvCxnSpPr>
        <p:spPr bwMode="gray">
          <a:xfrm>
            <a:off x="7897813"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C51B7486-6593-CF9D-F81D-98D587764785}"/>
              </a:ext>
            </a:extLst>
          </p:cNvPr>
          <p:cNvCxnSpPr/>
          <p:nvPr>
            <p:custDataLst>
              <p:tags r:id="rId51"/>
            </p:custDataLst>
          </p:nvPr>
        </p:nvCxnSpPr>
        <p:spPr bwMode="gray">
          <a:xfrm>
            <a:off x="8091488" y="2333625"/>
            <a:ext cx="0" cy="3703638"/>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8" name="Chart 107">
            <a:extLst>
              <a:ext uri="{FF2B5EF4-FFF2-40B4-BE49-F238E27FC236}">
                <a16:creationId xmlns:a16="http://schemas.microsoft.com/office/drawing/2014/main" id="{41D5E289-3EFE-BDD2-1EA9-973266166F21}"/>
              </a:ext>
            </a:extLst>
          </p:cNvPr>
          <p:cNvGraphicFramePr/>
          <p:nvPr>
            <p:custDataLst>
              <p:tags r:id="rId52"/>
            </p:custDataLst>
            <p:extLst>
              <p:ext uri="{D42A27DB-BD31-4B8C-83A1-F6EECF244321}">
                <p14:modId xmlns:p14="http://schemas.microsoft.com/office/powerpoint/2010/main" val="3263435639"/>
              </p:ext>
            </p:extLst>
          </p:nvPr>
        </p:nvGraphicFramePr>
        <p:xfrm>
          <a:off x="6456363" y="2108200"/>
          <a:ext cx="1717675" cy="4154488"/>
        </p:xfrm>
        <a:graphic>
          <a:graphicData uri="http://schemas.openxmlformats.org/drawingml/2006/chart">
            <c:chart xmlns:c="http://schemas.openxmlformats.org/drawingml/2006/chart" xmlns:r="http://schemas.openxmlformats.org/officeDocument/2006/relationships" r:id="rId68"/>
          </a:graphicData>
        </a:graphic>
      </p:graphicFrame>
      <p:sp>
        <p:nvSpPr>
          <p:cNvPr id="109" name="Rectangle 108">
            <a:extLst>
              <a:ext uri="{FF2B5EF4-FFF2-40B4-BE49-F238E27FC236}">
                <a16:creationId xmlns:a16="http://schemas.microsoft.com/office/drawing/2014/main" id="{D170505C-01F8-CBC9-C902-AD4A317FCB5E}"/>
              </a:ext>
            </a:extLst>
          </p:cNvPr>
          <p:cNvSpPr/>
          <p:nvPr>
            <p:custDataLst>
              <p:tags r:id="rId53"/>
            </p:custDataLst>
          </p:nvPr>
        </p:nvSpPr>
        <p:spPr bwMode="auto">
          <a:xfrm>
            <a:off x="7704138" y="5603875"/>
            <a:ext cx="387350" cy="123825"/>
          </a:xfrm>
          <a:prstGeom prst="rect">
            <a:avLst/>
          </a:prstGeom>
          <a:noFill/>
          <a:ln w="28575" cap="flat" cmpd="sng" algn="ctr">
            <a:solidFill>
              <a:schemeClr val="accent6"/>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Rectangle 109">
            <a:extLst>
              <a:ext uri="{FF2B5EF4-FFF2-40B4-BE49-F238E27FC236}">
                <a16:creationId xmlns:a16="http://schemas.microsoft.com/office/drawing/2014/main" id="{D4AB1DDA-1628-A3CF-B005-E067476287CB}"/>
              </a:ext>
            </a:extLst>
          </p:cNvPr>
          <p:cNvSpPr/>
          <p:nvPr>
            <p:custDataLst>
              <p:tags r:id="rId54"/>
            </p:custDataLst>
          </p:nvPr>
        </p:nvSpPr>
        <p:spPr bwMode="auto">
          <a:xfrm>
            <a:off x="7121525" y="4122738"/>
            <a:ext cx="387350" cy="123825"/>
          </a:xfrm>
          <a:prstGeom prst="rect">
            <a:avLst/>
          </a:prstGeom>
          <a:noFill/>
          <a:ln w="28575" cap="flat" cmpd="sng" algn="ctr">
            <a:solidFill>
              <a:schemeClr val="accent6"/>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1" name="Rectangle 110">
            <a:extLst>
              <a:ext uri="{FF2B5EF4-FFF2-40B4-BE49-F238E27FC236}">
                <a16:creationId xmlns:a16="http://schemas.microsoft.com/office/drawing/2014/main" id="{C216FD1E-0AB5-D791-1277-965FE8E2890F}"/>
              </a:ext>
            </a:extLst>
          </p:cNvPr>
          <p:cNvSpPr/>
          <p:nvPr>
            <p:custDataLst>
              <p:tags r:id="rId55"/>
            </p:custDataLst>
          </p:nvPr>
        </p:nvSpPr>
        <p:spPr bwMode="auto">
          <a:xfrm>
            <a:off x="6927850" y="3382963"/>
            <a:ext cx="96838" cy="123825"/>
          </a:xfrm>
          <a:prstGeom prst="rect">
            <a:avLst/>
          </a:prstGeom>
          <a:noFill/>
          <a:ln w="28575" cap="flat" cmpd="sng" algn="ctr">
            <a:solidFill>
              <a:schemeClr val="accent6"/>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2" name="Rectangle 111">
            <a:extLst>
              <a:ext uri="{FF2B5EF4-FFF2-40B4-BE49-F238E27FC236}">
                <a16:creationId xmlns:a16="http://schemas.microsoft.com/office/drawing/2014/main" id="{F73798BF-4A6C-7443-07A7-452D5875DF9B}"/>
              </a:ext>
            </a:extLst>
          </p:cNvPr>
          <p:cNvSpPr/>
          <p:nvPr>
            <p:custDataLst>
              <p:tags r:id="rId56"/>
            </p:custDataLst>
          </p:nvPr>
        </p:nvSpPr>
        <p:spPr bwMode="auto">
          <a:xfrm>
            <a:off x="7024688" y="2641600"/>
            <a:ext cx="96838" cy="123825"/>
          </a:xfrm>
          <a:prstGeom prst="rect">
            <a:avLst/>
          </a:prstGeom>
          <a:noFill/>
          <a:ln w="28575" cap="flat" cmpd="sng" algn="ctr">
            <a:solidFill>
              <a:schemeClr val="accent6"/>
            </a:solidFill>
            <a:prstDash val="sysDot"/>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3" name="Straight Connector 112">
            <a:extLst>
              <a:ext uri="{FF2B5EF4-FFF2-40B4-BE49-F238E27FC236}">
                <a16:creationId xmlns:a16="http://schemas.microsoft.com/office/drawing/2014/main" id="{F47CC986-AE0C-07A4-634C-33404EAA6F4B}"/>
              </a:ext>
            </a:extLst>
          </p:cNvPr>
          <p:cNvCxnSpPr/>
          <p:nvPr>
            <p:custDataLst>
              <p:tags r:id="rId57"/>
            </p:custDataLst>
          </p:nvPr>
        </p:nvCxnSpPr>
        <p:spPr bwMode="auto">
          <a:xfrm flipH="1">
            <a:off x="6977063" y="3444875"/>
            <a:ext cx="730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14" name="Text Placeholder 10">
            <a:extLst>
              <a:ext uri="{FF2B5EF4-FFF2-40B4-BE49-F238E27FC236}">
                <a16:creationId xmlns:a16="http://schemas.microsoft.com/office/drawing/2014/main" id="{BF30FA62-7D95-9237-90A8-3F0F1A87C47C}"/>
              </a:ext>
            </a:extLst>
          </p:cNvPr>
          <p:cNvSpPr txBox="1">
            <a:spLocks/>
          </p:cNvSpPr>
          <p:nvPr>
            <p:custDataLst>
              <p:tags r:id="rId58"/>
            </p:custDataLst>
          </p:nvPr>
        </p:nvSpPr>
        <p:spPr bwMode="gray">
          <a:xfrm>
            <a:off x="7050088" y="3368675"/>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25</a:t>
            </a:r>
            <a:endParaRPr lang="en-US" sz="1000" dirty="0"/>
          </a:p>
        </p:txBody>
      </p:sp>
      <p:sp useBgFill="1">
        <p:nvSpPr>
          <p:cNvPr id="115" name="Text Placeholder 10">
            <a:extLst>
              <a:ext uri="{FF2B5EF4-FFF2-40B4-BE49-F238E27FC236}">
                <a16:creationId xmlns:a16="http://schemas.microsoft.com/office/drawing/2014/main" id="{BE43EA44-56D7-1B1D-A007-126F87018294}"/>
              </a:ext>
            </a:extLst>
          </p:cNvPr>
          <p:cNvSpPr txBox="1">
            <a:spLocks/>
          </p:cNvSpPr>
          <p:nvPr>
            <p:custDataLst>
              <p:tags r:id="rId59"/>
            </p:custDataLst>
          </p:nvPr>
        </p:nvSpPr>
        <p:spPr bwMode="gray">
          <a:xfrm>
            <a:off x="7227888" y="4108450"/>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dirty="0"/>
              <a:t>50</a:t>
            </a:r>
          </a:p>
        </p:txBody>
      </p:sp>
      <p:sp useBgFill="1">
        <p:nvSpPr>
          <p:cNvPr id="116" name="Text Placeholder 10">
            <a:extLst>
              <a:ext uri="{FF2B5EF4-FFF2-40B4-BE49-F238E27FC236}">
                <a16:creationId xmlns:a16="http://schemas.microsoft.com/office/drawing/2014/main" id="{5813D04C-CF06-788C-B756-3E98CC601C01}"/>
              </a:ext>
            </a:extLst>
          </p:cNvPr>
          <p:cNvSpPr txBox="1">
            <a:spLocks/>
          </p:cNvSpPr>
          <p:nvPr>
            <p:custDataLst>
              <p:tags r:id="rId60"/>
            </p:custDataLst>
          </p:nvPr>
        </p:nvSpPr>
        <p:spPr bwMode="gray">
          <a:xfrm>
            <a:off x="7810500" y="5589588"/>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80</a:t>
            </a:r>
          </a:p>
        </p:txBody>
      </p:sp>
      <p:sp>
        <p:nvSpPr>
          <p:cNvPr id="117" name="Text Placeholder 10">
            <a:extLst>
              <a:ext uri="{FF2B5EF4-FFF2-40B4-BE49-F238E27FC236}">
                <a16:creationId xmlns:a16="http://schemas.microsoft.com/office/drawing/2014/main" id="{535BBC13-5695-079C-4C6E-547D3DB94D3F}"/>
              </a:ext>
            </a:extLst>
          </p:cNvPr>
          <p:cNvSpPr txBox="1">
            <a:spLocks/>
          </p:cNvSpPr>
          <p:nvPr>
            <p:custDataLst>
              <p:tags r:id="rId61"/>
            </p:custDataLst>
          </p:nvPr>
        </p:nvSpPr>
        <p:spPr bwMode="gray">
          <a:xfrm>
            <a:off x="7146925" y="2627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DCFC2E-15A6-49A5-ACBB-8DADC9205CCC}" type="datetime'''''''''''''3''''0'''''''''''''''''''''''''''''''''''''">
              <a:rPr lang="en-US" altLang="en-US" sz="1000" smtClean="0"/>
              <a:pPr/>
              <a:t>30</a:t>
            </a:fld>
            <a:endParaRPr lang="en-US" sz="1000" dirty="0"/>
          </a:p>
        </p:txBody>
      </p:sp>
      <p:sp>
        <p:nvSpPr>
          <p:cNvPr id="4" name="Footer Placeholder 3">
            <a:extLst>
              <a:ext uri="{FF2B5EF4-FFF2-40B4-BE49-F238E27FC236}">
                <a16:creationId xmlns:a16="http://schemas.microsoft.com/office/drawing/2014/main" id="{A6F05514-578E-E8DE-BC2A-33B7B3B948DB}"/>
              </a:ext>
            </a:extLst>
          </p:cNvPr>
          <p:cNvSpPr>
            <a:spLocks noGrp="1"/>
          </p:cNvSpPr>
          <p:nvPr>
            <p:ph type="ftr" sz="quarter" idx="3"/>
          </p:nvPr>
        </p:nvSpPr>
        <p:spPr>
          <a:xfrm>
            <a:off x="334962" y="6047550"/>
            <a:ext cx="9147241" cy="216706"/>
          </a:xfrm>
        </p:spPr>
        <p:txBody>
          <a:bodyPr/>
          <a:lstStyle/>
          <a:p>
            <a:pPr lvl="0">
              <a:defRPr/>
            </a:pPr>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69"/>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rPr>
              <a:t>;</a:t>
            </a:r>
            <a:r>
              <a:rPr lang="en-US" dirty="0">
                <a:solidFill>
                  <a:srgbClr val="000000"/>
                </a:solidFill>
              </a:rPr>
              <a:t> </a:t>
            </a:r>
            <a:r>
              <a:rPr lang="en-US" dirty="0">
                <a:solidFill>
                  <a:srgbClr val="000000"/>
                </a:solidFill>
                <a:hlinkClick r:id="rId70"/>
              </a:rPr>
              <a:t>Renewables</a:t>
            </a:r>
            <a:r>
              <a:rPr lang="en-US" dirty="0">
                <a:solidFill>
                  <a:srgbClr val="000000"/>
                </a:solidFill>
              </a:rPr>
              <a:t> (IEA, 2025); </a:t>
            </a:r>
            <a:r>
              <a:rPr lang="en-US" dirty="0">
                <a:solidFill>
                  <a:srgbClr val="000000"/>
                </a:solidFill>
                <a:hlinkClick r:id="rId71"/>
              </a:rPr>
              <a:t>Levelized Cost of Energy+</a:t>
            </a:r>
            <a:r>
              <a:rPr lang="en-US" dirty="0">
                <a:solidFill>
                  <a:srgbClr val="000000"/>
                </a:solidFill>
              </a:rPr>
              <a:t> (Lazard, 2025); </a:t>
            </a:r>
            <a:r>
              <a:rPr lang="en-US" dirty="0">
                <a:solidFill>
                  <a:srgbClr val="000000"/>
                </a:solidFill>
                <a:hlinkClick r:id="rId72"/>
              </a:rPr>
              <a:t>Geothermal</a:t>
            </a:r>
            <a:r>
              <a:rPr lang="en-US" dirty="0">
                <a:solidFill>
                  <a:srgbClr val="000000"/>
                </a:solidFill>
              </a:rPr>
              <a:t> (IRENA, 2024);                     </a:t>
            </a:r>
            <a:r>
              <a:rPr lang="en-US" dirty="0">
                <a:solidFill>
                  <a:srgbClr val="000000"/>
                </a:solidFill>
                <a:hlinkClick r:id="rId73"/>
              </a:rPr>
              <a:t>The Future of Geothermal Energy</a:t>
            </a:r>
            <a:r>
              <a:rPr lang="en-US" dirty="0">
                <a:solidFill>
                  <a:srgbClr val="000000"/>
                </a:solidFill>
              </a:rPr>
              <a:t> (IEA, 2024); </a:t>
            </a:r>
            <a:r>
              <a:rPr lang="en-US" dirty="0">
                <a:solidFill>
                  <a:srgbClr val="000000"/>
                </a:solidFill>
                <a:hlinkClick r:id="rId74"/>
              </a:rPr>
              <a:t>Renewable Power Generation Costs</a:t>
            </a:r>
            <a:r>
              <a:rPr lang="en-US" dirty="0"/>
              <a:t> </a:t>
            </a:r>
            <a:r>
              <a:rPr lang="en-US" dirty="0">
                <a:solidFill>
                  <a:srgbClr val="000000"/>
                </a:solidFill>
              </a:rPr>
              <a:t>(IRENA, 2024); </a:t>
            </a:r>
            <a:r>
              <a:rPr lang="en-US" dirty="0">
                <a:solidFill>
                  <a:srgbClr val="000000"/>
                </a:solidFill>
                <a:hlinkClick r:id="rId75"/>
              </a:rPr>
              <a:t>Annual Technology Baseline</a:t>
            </a:r>
            <a:r>
              <a:rPr lang="en-US" dirty="0">
                <a:solidFill>
                  <a:srgbClr val="000000"/>
                </a:solidFill>
              </a:rPr>
              <a:t> (NREL, 2024); </a:t>
            </a:r>
            <a:r>
              <a:rPr lang="en-US" dirty="0">
                <a:solidFill>
                  <a:srgbClr val="000000"/>
                </a:solidFill>
                <a:hlinkClick r:id="rId76"/>
              </a:rPr>
              <a:t>GeoVision</a:t>
            </a:r>
            <a:r>
              <a:rPr lang="en-US" dirty="0">
                <a:solidFill>
                  <a:srgbClr val="000000"/>
                </a:solidFill>
              </a:rPr>
              <a:t> (DOE, 2019); </a:t>
            </a:r>
            <a:r>
              <a:rPr lang="en-US" dirty="0">
                <a:solidFill>
                  <a:srgbClr val="000000"/>
                </a:solidFill>
                <a:hlinkClick r:id="rId77"/>
              </a:rPr>
              <a:t>Future of Nuclear Power</a:t>
            </a:r>
            <a:r>
              <a:rPr lang="en-US" dirty="0"/>
              <a:t> </a:t>
            </a:r>
            <a:r>
              <a:rPr lang="en-US" dirty="0">
                <a:solidFill>
                  <a:srgbClr val="000000"/>
                </a:solidFill>
              </a:rPr>
              <a:t>(MIT, 2018); </a:t>
            </a:r>
            <a:r>
              <a:rPr lang="en-US" dirty="0">
                <a:solidFill>
                  <a:srgbClr val="000000"/>
                </a:solidFill>
                <a:hlinkClick r:id="rId78"/>
              </a:rPr>
              <a:t>Vogtle</a:t>
            </a:r>
            <a:r>
              <a:rPr lang="en-US" dirty="0">
                <a:solidFill>
                  <a:srgbClr val="000000"/>
                </a:solidFill>
              </a:rPr>
              <a:t> (DOE, 2023) </a:t>
            </a:r>
          </a:p>
          <a:p>
            <a:pPr>
              <a:defRPr/>
            </a:pPr>
            <a:r>
              <a:rPr lang="en-US" dirty="0">
                <a:solidFill>
                  <a:srgbClr val="000000"/>
                </a:solidFill>
              </a:rPr>
              <a:t>Credit: </a:t>
            </a:r>
            <a:r>
              <a:rPr lang="en-US" dirty="0" err="1">
                <a:solidFill>
                  <a:srgbClr val="000000"/>
                </a:solidFill>
              </a:rPr>
              <a:t>Heaher</a:t>
            </a:r>
            <a:r>
              <a:rPr lang="en-US" dirty="0">
                <a:solidFill>
                  <a:srgbClr val="000000"/>
                </a:solidFill>
              </a:rPr>
              <a:t> Hartel, Isabel Hoyos, and </a:t>
            </a:r>
            <a:r>
              <a:rPr lang="en-US" dirty="0">
                <a:hlinkClick r:id="rId79"/>
              </a:rPr>
              <a:t>Gernot Wagner.</a:t>
            </a:r>
            <a:r>
              <a:rPr lang="en-US" dirty="0">
                <a:solidFill>
                  <a:srgbClr val="000000"/>
                </a:solidFill>
              </a:rPr>
              <a:t> </a:t>
            </a:r>
            <a:r>
              <a:rPr lang="en-US" dirty="0">
                <a:hlinkClick r:id="rId8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lvl="0">
              <a:defRPr/>
            </a:pPr>
            <a:endParaRPr lang="en-US" dirty="0">
              <a:solidFill>
                <a:srgbClr val="000000"/>
              </a:solidFill>
            </a:endParaRPr>
          </a:p>
        </p:txBody>
      </p:sp>
    </p:spTree>
    <p:extLst>
      <p:ext uri="{BB962C8B-B14F-4D97-AF65-F5344CB8AC3E}">
        <p14:creationId xmlns:p14="http://schemas.microsoft.com/office/powerpoint/2010/main" val="36291610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blipFill>
          <a:blip r:embed="rId4" cstate="screen">
            <a:extLst>
              <a:ext uri="{28A0092B-C50C-407E-A947-70E740481C1C}">
                <a14:useLocalDpi xmlns:a14="http://schemas.microsoft.com/office/drawing/2010/main"/>
              </a:ext>
            </a:extLst>
          </a:blip>
          <a:stretch>
            <a:fillRect l="-6000" r="-6000"/>
          </a:stretch>
        </a:blipFill>
        <a:effectLst/>
      </p:bgPr>
    </p:bg>
    <p:spTree>
      <p:nvGrpSpPr>
        <p:cNvPr id="1" name="">
          <a:extLst>
            <a:ext uri="{FF2B5EF4-FFF2-40B4-BE49-F238E27FC236}">
              <a16:creationId xmlns:a16="http://schemas.microsoft.com/office/drawing/2014/main" id="{D8F7D70D-9F42-1986-342E-486CF9A86A7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8360F8-D3DB-4352-769E-E3AA9EA91EB5}"/>
              </a:ext>
            </a:extLst>
          </p:cNvPr>
          <p:cNvGraphicFramePr>
            <a:graphicFrameLocks/>
          </p:cNvGraphicFramePr>
          <p:nvPr>
            <p:custDataLst>
              <p:tags r:id="rId1"/>
            </p:custDataLst>
            <p:extLst>
              <p:ext uri="{D42A27DB-BD31-4B8C-83A1-F6EECF244321}">
                <p14:modId xmlns:p14="http://schemas.microsoft.com/office/powerpoint/2010/main" val="192021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think-cell data - do not delete" hidden="1">
                        <a:extLst>
                          <a:ext uri="{FF2B5EF4-FFF2-40B4-BE49-F238E27FC236}">
                            <a16:creationId xmlns:a16="http://schemas.microsoft.com/office/drawing/2014/main" id="{268360F8-D3DB-4352-769E-E3AA9EA91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21889ECC-D3BE-4B32-9A6C-7151889DE0B2}"/>
              </a:ext>
            </a:extLst>
          </p:cNvPr>
          <p:cNvSpPr>
            <a:spLocks noGrp="1"/>
          </p:cNvSpPr>
          <p:nvPr>
            <p:ph type="title"/>
          </p:nvPr>
        </p:nvSpPr>
        <p:spPr/>
        <p:txBody>
          <a:bodyPr vert="horz" rIns="91440">
            <a:normAutofit/>
          </a:bodyPr>
          <a:lstStyle/>
          <a:p>
            <a:r>
              <a:rPr lang="en-US" sz="4800" dirty="0"/>
              <a:t>Geothermal Power Deployment</a:t>
            </a:r>
          </a:p>
        </p:txBody>
      </p:sp>
    </p:spTree>
    <p:extLst>
      <p:ext uri="{BB962C8B-B14F-4D97-AF65-F5344CB8AC3E}">
        <p14:creationId xmlns:p14="http://schemas.microsoft.com/office/powerpoint/2010/main" val="481728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factory with smoke coming out of it&#10;&#10;AI-generated content may be incorrect.">
            <a:extLst>
              <a:ext uri="{FF2B5EF4-FFF2-40B4-BE49-F238E27FC236}">
                <a16:creationId xmlns:a16="http://schemas.microsoft.com/office/drawing/2014/main" id="{C59C0D23-912C-27F0-2E81-E0B776D6CDCE}"/>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t="1366" b="1366"/>
          <a:stretch>
            <a:fillRect/>
          </a:stretch>
        </p:blipFill>
        <p:spPr>
          <a:prstGeom prst="rect">
            <a:avLst/>
          </a:prstGeom>
        </p:spPr>
      </p:pic>
      <p:sp>
        <p:nvSpPr>
          <p:cNvPr id="3" name="Text Placeholder 2">
            <a:extLst>
              <a:ext uri="{FF2B5EF4-FFF2-40B4-BE49-F238E27FC236}">
                <a16:creationId xmlns:a16="http://schemas.microsoft.com/office/drawing/2014/main" id="{6C088810-7E02-6DEE-C941-34A127906A28}"/>
              </a:ext>
            </a:extLst>
          </p:cNvPr>
          <p:cNvSpPr>
            <a:spLocks noGrp="1"/>
          </p:cNvSpPr>
          <p:nvPr>
            <p:ph type="body" sz="quarter" idx="13"/>
          </p:nvPr>
        </p:nvSpPr>
        <p:spPr/>
        <p:txBody>
          <a:bodyPr/>
          <a:lstStyle/>
          <a:p>
            <a:pPr marL="0" indent="0">
              <a:buNone/>
            </a:pPr>
            <a:r>
              <a:rPr lang="en-US" sz="1200" b="1" dirty="0"/>
              <a:t>Geothermal to Meet Growing Energy Demand                                                   		</a:t>
            </a:r>
          </a:p>
          <a:p>
            <a:r>
              <a:rPr lang="en-US" altLang="en-US" sz="1200" dirty="0">
                <a:cs typeface="Arial"/>
              </a:rPr>
              <a:t>U.S. data centers could add </a:t>
            </a:r>
            <a:r>
              <a:rPr lang="en-US" altLang="en-US" sz="1200" b="1" dirty="0">
                <a:cs typeface="Arial"/>
              </a:rPr>
              <a:t>35 to 65 GW</a:t>
            </a:r>
            <a:r>
              <a:rPr lang="en-US" altLang="en-US" sz="1200" dirty="0">
                <a:cs typeface="Arial"/>
              </a:rPr>
              <a:t> by 2030, far exceeding incremental nuclear (~4 GW) and grid-connected geothermal (6 to 8 GW). </a:t>
            </a:r>
            <a:r>
              <a:rPr lang="en-US" altLang="en-US" sz="1200" b="1" dirty="0">
                <a:cs typeface="Arial"/>
              </a:rPr>
              <a:t>Behind-the-meter geothermal (~15 GW)</a:t>
            </a:r>
            <a:r>
              <a:rPr lang="en-US" altLang="en-US" sz="1200" dirty="0">
                <a:cs typeface="Arial"/>
              </a:rPr>
              <a:t> can supply data centers directly, bypassing grid and permitting constraints.</a:t>
            </a:r>
          </a:p>
          <a:p>
            <a:r>
              <a:rPr lang="en-US" altLang="en-US" sz="1200" dirty="0">
                <a:cs typeface="Arial"/>
              </a:rPr>
              <a:t>Deployment depends on </a:t>
            </a:r>
            <a:r>
              <a:rPr lang="en-US" altLang="en-US" sz="1200" b="1" dirty="0">
                <a:cs typeface="Arial"/>
              </a:rPr>
              <a:t>drilling and permitting innovation</a:t>
            </a:r>
            <a:r>
              <a:rPr lang="en-US" altLang="en-US" sz="1200" dirty="0">
                <a:cs typeface="Arial"/>
              </a:rPr>
              <a:t> and applying conventional geothermal, O&amp;G, and geospatial techniques to reduce </a:t>
            </a:r>
            <a:r>
              <a:rPr lang="en-US" altLang="en-US" sz="1200" b="1" dirty="0">
                <a:cs typeface="Arial"/>
              </a:rPr>
              <a:t>LCOE</a:t>
            </a:r>
            <a:r>
              <a:rPr lang="en-US" altLang="en-US" sz="1200" dirty="0">
                <a:cs typeface="Arial"/>
              </a:rPr>
              <a:t>.</a:t>
            </a:r>
          </a:p>
          <a:p>
            <a:pPr marL="0" indent="0">
              <a:buNone/>
            </a:pPr>
            <a:endParaRPr lang="en-US" sz="1200" b="1" dirty="0"/>
          </a:p>
          <a:p>
            <a:pPr marL="0" indent="0">
              <a:buNone/>
            </a:pPr>
            <a:r>
              <a:rPr lang="en-US" sz="1200" b="1" dirty="0"/>
              <a:t>Industrial and Corporate Drivers					</a:t>
            </a:r>
          </a:p>
          <a:p>
            <a:r>
              <a:rPr lang="en-US" altLang="en-US" sz="1200" dirty="0">
                <a:cs typeface="Arial"/>
              </a:rPr>
              <a:t>Tech giants (</a:t>
            </a:r>
            <a:r>
              <a:rPr lang="en-US" altLang="en-US" sz="1200" b="1" dirty="0">
                <a:cs typeface="Arial"/>
              </a:rPr>
              <a:t>Microsoft, Google, Meta, Amazon</a:t>
            </a:r>
            <a:r>
              <a:rPr lang="en-US" altLang="en-US" sz="1200" dirty="0">
                <a:cs typeface="Arial"/>
              </a:rPr>
              <a:t>) are accelerating deployment through PPAs and site development.</a:t>
            </a:r>
          </a:p>
          <a:p>
            <a:r>
              <a:rPr lang="en-US" altLang="en-US" sz="1200" b="1" dirty="0" err="1">
                <a:cs typeface="Arial"/>
              </a:rPr>
              <a:t>Fervo</a:t>
            </a:r>
            <a:r>
              <a:rPr lang="en-US" altLang="en-US" sz="1200" b="1" dirty="0">
                <a:cs typeface="Arial"/>
              </a:rPr>
              <a:t> Energy</a:t>
            </a:r>
            <a:r>
              <a:rPr lang="en-US" altLang="en-US" sz="1200" dirty="0">
                <a:cs typeface="Arial"/>
              </a:rPr>
              <a:t> leverages </a:t>
            </a:r>
            <a:r>
              <a:rPr lang="en-US" altLang="en-US" sz="1200" b="1" dirty="0">
                <a:cs typeface="Arial"/>
              </a:rPr>
              <a:t>horizontal drilling, advanced data analytics, and O&amp;G expertise</a:t>
            </a:r>
            <a:r>
              <a:rPr lang="en-US" altLang="en-US" sz="1200" dirty="0">
                <a:cs typeface="Arial"/>
              </a:rPr>
              <a:t> to speed deployment and increase resource efficiency, with corporate demand and energy security driving growth.</a:t>
            </a:r>
          </a:p>
          <a:p>
            <a:pPr marL="0" indent="0">
              <a:buNone/>
            </a:pPr>
            <a:endParaRPr lang="en-US" sz="1200" b="1" dirty="0"/>
          </a:p>
          <a:p>
            <a:pPr marL="0" indent="0">
              <a:buNone/>
            </a:pPr>
            <a:r>
              <a:rPr lang="en-US" sz="1200" b="1" dirty="0"/>
              <a:t>Workforce and Cross-Sector Capabilities</a:t>
            </a:r>
          </a:p>
          <a:p>
            <a:r>
              <a:rPr lang="en-US" sz="1200" dirty="0"/>
              <a:t>Expanding the geothermal workforce via </a:t>
            </a:r>
            <a:r>
              <a:rPr lang="en-US" sz="1200" b="1" dirty="0"/>
              <a:t>reskilling, O&amp;G talent transfer, and digital automation</a:t>
            </a:r>
            <a:r>
              <a:rPr lang="en-US" sz="1200" dirty="0"/>
              <a:t> is critical.</a:t>
            </a:r>
          </a:p>
          <a:p>
            <a:r>
              <a:rPr lang="en-US" sz="1200" dirty="0"/>
              <a:t>Global geothermal employment grew from </a:t>
            </a:r>
            <a:r>
              <a:rPr lang="en-US" sz="1200" b="1" dirty="0"/>
              <a:t>96,000 to 196,000 (2021)</a:t>
            </a:r>
            <a:r>
              <a:rPr lang="en-US" sz="1200" dirty="0"/>
              <a:t> but remains small compared with </a:t>
            </a:r>
            <a:br>
              <a:rPr lang="en-US" sz="1200" dirty="0"/>
            </a:br>
            <a:r>
              <a:rPr lang="en-US" sz="1200" b="1" dirty="0"/>
              <a:t>12.4 million in O&amp;G (2023)</a:t>
            </a:r>
            <a:r>
              <a:rPr lang="en-US" sz="1200" dirty="0"/>
              <a:t>; the U.S. and EU must expand training to stay competitive with China.</a:t>
            </a:r>
          </a:p>
          <a:p>
            <a:pPr marL="0" indent="0">
              <a:buNone/>
            </a:pPr>
            <a:endParaRPr lang="en-US" sz="1200" b="1" dirty="0"/>
          </a:p>
          <a:p>
            <a:pPr marL="0" indent="0">
              <a:buNone/>
            </a:pPr>
            <a:r>
              <a:rPr lang="en-US" sz="1200" b="1" dirty="0"/>
              <a:t>Industrial Decarbonization Potential</a:t>
            </a:r>
          </a:p>
          <a:p>
            <a:r>
              <a:rPr lang="en-US" sz="1200" dirty="0"/>
              <a:t>Co-locating geothermal with </a:t>
            </a:r>
            <a:r>
              <a:rPr lang="en-US" sz="1200" b="1" dirty="0"/>
              <a:t>Indonesia’s nickel reserves</a:t>
            </a:r>
            <a:r>
              <a:rPr lang="en-US" sz="1200" dirty="0"/>
              <a:t> (40% of global geothermal, 61% of EV nickel) can provide clean heat for refining, cutting upstream emissions and lowering </a:t>
            </a:r>
            <a:r>
              <a:rPr lang="en-US" sz="1200" b="1" dirty="0"/>
              <a:t>EV lifecycle carbon intensity</a:t>
            </a:r>
            <a:r>
              <a:rPr lang="en-US" sz="1200" dirty="0"/>
              <a:t>.</a:t>
            </a:r>
          </a:p>
          <a:p>
            <a:r>
              <a:rPr lang="en-US" sz="1200" dirty="0"/>
              <a:t>Pilot regions like </a:t>
            </a:r>
            <a:r>
              <a:rPr lang="en-US" sz="1200" b="1" dirty="0"/>
              <a:t>Sulawesi, Sumatra, and Java</a:t>
            </a:r>
            <a:r>
              <a:rPr lang="en-US" sz="1200" dirty="0"/>
              <a:t> can combine industrial decarbonization with </a:t>
            </a:r>
            <a:r>
              <a:rPr lang="en-US" sz="1200" b="1" dirty="0"/>
              <a:t>local economic and labor development</a:t>
            </a:r>
            <a:r>
              <a:rPr lang="en-US" sz="1200" dirty="0"/>
              <a:t>.</a:t>
            </a:r>
          </a:p>
          <a:p>
            <a:pPr marL="180975" lvl="1" indent="0">
              <a:buNone/>
            </a:pPr>
            <a:endParaRPr lang="en-US" dirty="0"/>
          </a:p>
          <a:p>
            <a:pPr marL="177800" lvl="1" indent="0" defTabSz="914400" eaLnBrk="0" fontAlgn="base" hangingPunct="0">
              <a:spcBef>
                <a:spcPct val="0"/>
              </a:spcBef>
              <a:spcAft>
                <a:spcPct val="0"/>
              </a:spcAft>
            </a:pPr>
            <a:endParaRPr lang="en-US" altLang="en-US" dirty="0">
              <a:cs typeface="Arial"/>
            </a:endParaRPr>
          </a:p>
          <a:p>
            <a:pPr marL="177800" lvl="1" indent="0" defTabSz="914400" eaLnBrk="0" fontAlgn="base" hangingPunct="0">
              <a:spcBef>
                <a:spcPct val="0"/>
              </a:spcBef>
              <a:spcAft>
                <a:spcPct val="0"/>
              </a:spcAft>
            </a:pPr>
            <a:endParaRPr lang="en-US" dirty="0">
              <a:cs typeface="Arial"/>
            </a:endParaRPr>
          </a:p>
          <a:p>
            <a:endParaRPr lang="en-US" sz="1200" dirty="0"/>
          </a:p>
        </p:txBody>
      </p:sp>
      <p:sp>
        <p:nvSpPr>
          <p:cNvPr id="5" name="Content Placeholder 4">
            <a:extLst>
              <a:ext uri="{FF2B5EF4-FFF2-40B4-BE49-F238E27FC236}">
                <a16:creationId xmlns:a16="http://schemas.microsoft.com/office/drawing/2014/main" id="{DAFD4431-17B7-F105-73EF-4B4855E47DDA}"/>
              </a:ext>
            </a:extLst>
          </p:cNvPr>
          <p:cNvSpPr>
            <a:spLocks noGrp="1"/>
          </p:cNvSpPr>
          <p:nvPr>
            <p:ph sz="quarter" idx="14"/>
          </p:nvPr>
        </p:nvSpPr>
        <p:spPr/>
        <p:txBody>
          <a:bodyPr/>
          <a:lstStyle/>
          <a:p>
            <a:r>
              <a:rPr lang="en-US" dirty="0">
                <a:solidFill>
                  <a:schemeClr val="bg1"/>
                </a:solidFill>
              </a:rPr>
              <a:t>Key messages</a:t>
            </a:r>
          </a:p>
          <a:p>
            <a:r>
              <a:rPr lang="en-US" b="0" dirty="0">
                <a:solidFill>
                  <a:schemeClr val="bg1"/>
                </a:solidFill>
              </a:rPr>
              <a:t>Deployment</a:t>
            </a:r>
          </a:p>
        </p:txBody>
      </p:sp>
      <p:cxnSp>
        <p:nvCxnSpPr>
          <p:cNvPr id="8" name="Straight Connector 7">
            <a:extLst>
              <a:ext uri="{FF2B5EF4-FFF2-40B4-BE49-F238E27FC236}">
                <a16:creationId xmlns:a16="http://schemas.microsoft.com/office/drawing/2014/main" id="{5A7B74B6-0C9C-1252-DE88-F7C27519B3C7}"/>
              </a:ext>
            </a:extLst>
          </p:cNvPr>
          <p:cNvCxnSpPr>
            <a:cxnSpLocks/>
          </p:cNvCxnSpPr>
          <p:nvPr/>
        </p:nvCxnSpPr>
        <p:spPr bwMode="gray">
          <a:xfrm>
            <a:off x="4183267" y="2019376"/>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CF9F6B-2ACA-0C49-353B-F0091DE3B3B6}"/>
              </a:ext>
            </a:extLst>
          </p:cNvPr>
          <p:cNvCxnSpPr>
            <a:cxnSpLocks/>
          </p:cNvCxnSpPr>
          <p:nvPr/>
        </p:nvCxnSpPr>
        <p:spPr bwMode="gray">
          <a:xfrm>
            <a:off x="4183267" y="3109349"/>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774AB8-5E75-F95E-B5CF-15E274521CA5}"/>
              </a:ext>
            </a:extLst>
          </p:cNvPr>
          <p:cNvCxnSpPr>
            <a:cxnSpLocks/>
          </p:cNvCxnSpPr>
          <p:nvPr/>
        </p:nvCxnSpPr>
        <p:spPr bwMode="gray">
          <a:xfrm>
            <a:off x="4183267" y="4200851"/>
            <a:ext cx="7673771"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EE6AE946-CAD5-BEC9-9B46-7AB58F1F5F86}"/>
              </a:ext>
            </a:extLst>
          </p:cNvPr>
          <p:cNvSpPr>
            <a:spLocks noGrp="1"/>
          </p:cNvSpPr>
          <p:nvPr>
            <p:ph type="ftr" sz="quarter" idx="3"/>
          </p:nvPr>
        </p:nvSpPr>
        <p:spPr>
          <a:xfrm>
            <a:off x="334962" y="6435873"/>
            <a:ext cx="9147241" cy="216706"/>
          </a:xfrm>
        </p:spPr>
        <p:txBody>
          <a:bodyPr/>
          <a:lstStyle/>
          <a:p>
            <a:pPr marL="0" indent="0">
              <a:buNone/>
            </a:pPr>
            <a:r>
              <a:rPr lang="en-US" dirty="0">
                <a:hlinkClick r:id="rId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Tree>
    <p:extLst>
      <p:ext uri="{BB962C8B-B14F-4D97-AF65-F5344CB8AC3E}">
        <p14:creationId xmlns:p14="http://schemas.microsoft.com/office/powerpoint/2010/main" val="484531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EC31FD-519B-AFE4-1DAE-F301E96E221A}"/>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0" name="think-cell data - do not delete" hidden="1">
                        <a:extLst>
                          <a:ext uri="{FF2B5EF4-FFF2-40B4-BE49-F238E27FC236}">
                            <a16:creationId xmlns:a16="http://schemas.microsoft.com/office/drawing/2014/main" id="{91EC31FD-519B-AFE4-1DAE-F301E96E221A}"/>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326768B-3EED-D1DF-646D-0E55F1446660}"/>
              </a:ext>
            </a:extLst>
          </p:cNvPr>
          <p:cNvSpPr>
            <a:spLocks noGrp="1"/>
          </p:cNvSpPr>
          <p:nvPr>
            <p:ph type="title"/>
          </p:nvPr>
        </p:nvSpPr>
        <p:spPr/>
        <p:txBody>
          <a:bodyPr vert="horz" rIns="91440"/>
          <a:lstStyle/>
          <a:p>
            <a:r>
              <a:rPr lang="en-US" dirty="0"/>
              <a:t>GSHPs could reach millions of U.S. homes by 2050, enabled by tax incentives, business innovation, and workforce development</a:t>
            </a:r>
          </a:p>
        </p:txBody>
      </p:sp>
      <p:sp>
        <p:nvSpPr>
          <p:cNvPr id="5" name="Footer Placeholder 4">
            <a:extLst>
              <a:ext uri="{FF2B5EF4-FFF2-40B4-BE49-F238E27FC236}">
                <a16:creationId xmlns:a16="http://schemas.microsoft.com/office/drawing/2014/main" id="{07C187D9-7E5B-72F6-004D-F900109F10F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15"/>
              </a:rPr>
              <a:t>Pathways to Commercial Liftoff: Geothermal Heating and Cooling</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E,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The loophole that can give clean heat a boost under Trump</a:t>
            </a:r>
            <a:r>
              <a:rPr kumimoji="0" lang="en-US" sz="800" b="0" i="0" u="none" strike="noStrike" kern="1200" cap="none" spc="0" normalizeH="0" baseline="0" noProof="0" dirty="0">
                <a:ln>
                  <a:noFill/>
                </a:ln>
                <a:solidFill>
                  <a:srgbClr val="000000"/>
                </a:solidFill>
                <a:effectLst/>
                <a:uLnTx/>
                <a:uFillTx/>
                <a:latin typeface="Arial"/>
                <a:ea typeface="+mn-ea"/>
                <a:cs typeface="+mn-cs"/>
              </a:rPr>
              <a:t> (Canary Media, 2025).</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Faradis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Aninty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Zacharia Thurston, Isabel Hoyos, and </a:t>
            </a:r>
            <a:r>
              <a:rPr lang="en-US" dirty="0">
                <a:solidFill>
                  <a:srgbClr val="000000">
                    <a:tint val="82000"/>
                  </a:srgbClr>
                </a:solidFill>
                <a:hlinkClick r:id="rId1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1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6" name="Text Placeholder 5">
            <a:extLst>
              <a:ext uri="{FF2B5EF4-FFF2-40B4-BE49-F238E27FC236}">
                <a16:creationId xmlns:a16="http://schemas.microsoft.com/office/drawing/2014/main" id="{1EB4E477-E626-6B04-4B60-92FA839244F3}"/>
              </a:ext>
            </a:extLst>
          </p:cNvPr>
          <p:cNvSpPr>
            <a:spLocks noGrp="1"/>
          </p:cNvSpPr>
          <p:nvPr>
            <p:ph type="body" sz="quarter" idx="13"/>
          </p:nvPr>
        </p:nvSpPr>
        <p:spPr/>
        <p:txBody>
          <a:bodyPr/>
          <a:lstStyle/>
          <a:p>
            <a:r>
              <a:rPr lang="en-US" dirty="0"/>
              <a:t>Total U.S. residential potential </a:t>
            </a:r>
          </a:p>
          <a:p>
            <a:r>
              <a:rPr lang="en-US" dirty="0"/>
              <a:t>(million homes equivalent)</a:t>
            </a:r>
          </a:p>
        </p:txBody>
      </p:sp>
      <p:sp>
        <p:nvSpPr>
          <p:cNvPr id="7" name="Text Placeholder 6">
            <a:extLst>
              <a:ext uri="{FF2B5EF4-FFF2-40B4-BE49-F238E27FC236}">
                <a16:creationId xmlns:a16="http://schemas.microsoft.com/office/drawing/2014/main" id="{C1D54D79-D025-AF1B-2185-ECDCC2052720}"/>
              </a:ext>
            </a:extLst>
          </p:cNvPr>
          <p:cNvSpPr>
            <a:spLocks noGrp="1"/>
          </p:cNvSpPr>
          <p:nvPr>
            <p:ph type="body" sz="quarter" idx="19"/>
          </p:nvPr>
        </p:nvSpPr>
        <p:spPr/>
        <p:txBody>
          <a:bodyPr/>
          <a:lstStyle/>
          <a:p>
            <a:pPr lvl="0">
              <a:spcBef>
                <a:spcPct val="0"/>
              </a:spcBef>
              <a:spcAft>
                <a:spcPct val="0"/>
              </a:spcAft>
              <a:defRPr/>
            </a:pPr>
            <a:r>
              <a:rPr lang="en-US" altLang="en-US" dirty="0">
                <a:solidFill>
                  <a:srgbClr val="000000"/>
                </a:solidFill>
              </a:rPr>
              <a:t>Total U.S. commercial potential </a:t>
            </a:r>
          </a:p>
          <a:p>
            <a:pPr lvl="0">
              <a:spcBef>
                <a:spcPct val="0"/>
              </a:spcBef>
              <a:spcAft>
                <a:spcPct val="0"/>
              </a:spcAft>
              <a:defRPr/>
            </a:pPr>
            <a:r>
              <a:rPr lang="en-US" altLang="en-US" dirty="0">
                <a:solidFill>
                  <a:srgbClr val="000000"/>
                </a:solidFill>
              </a:rPr>
              <a:t>(million homes equivalent)</a:t>
            </a:r>
            <a:endParaRPr lang="en-US" baseline="-25000" dirty="0">
              <a:solidFill>
                <a:srgbClr val="000000"/>
              </a:solidFill>
            </a:endParaRPr>
          </a:p>
        </p:txBody>
      </p:sp>
      <p:sp>
        <p:nvSpPr>
          <p:cNvPr id="8" name="Text Placeholder 7">
            <a:extLst>
              <a:ext uri="{FF2B5EF4-FFF2-40B4-BE49-F238E27FC236}">
                <a16:creationId xmlns:a16="http://schemas.microsoft.com/office/drawing/2014/main" id="{9BFF4A0F-2AF8-037D-2030-883CF599072F}"/>
              </a:ext>
            </a:extLst>
          </p:cNvPr>
          <p:cNvSpPr>
            <a:spLocks noGrp="1"/>
          </p:cNvSpPr>
          <p:nvPr>
            <p:ph type="body" sz="quarter" idx="14"/>
          </p:nvPr>
        </p:nvSpPr>
        <p:spPr/>
        <p:txBody>
          <a:bodyPr rIns="91440"/>
          <a:lstStyle/>
          <a:p>
            <a:pPr marL="0" indent="0">
              <a:buNone/>
            </a:pPr>
            <a:r>
              <a:rPr lang="en-US" b="1" dirty="0"/>
              <a:t>Observations: Key drivers to successful liftoff</a:t>
            </a:r>
          </a:p>
          <a:p>
            <a:pPr marL="0" indent="0">
              <a:buNone/>
            </a:pPr>
            <a:endParaRPr lang="en-US" b="1" dirty="0"/>
          </a:p>
          <a:p>
            <a:r>
              <a:rPr lang="en-US" sz="950" b="1" dirty="0"/>
              <a:t>Policy and financial support: </a:t>
            </a:r>
            <a:r>
              <a:rPr lang="en-US" sz="950" dirty="0"/>
              <a:t>Tax incentives are often the single most impactful factor making commercial geothermal projects viable. The OBBA spared ground sourced heat pumps (GSHPs).</a:t>
            </a:r>
          </a:p>
          <a:p>
            <a:r>
              <a:rPr lang="en-US" sz="950" b="1" dirty="0"/>
              <a:t>Workforce readiness: </a:t>
            </a:r>
            <a:r>
              <a:rPr lang="en-US" sz="950" dirty="0"/>
              <a:t>Availability of trained drillers and installers is a major bottleneck; national and regional training pipelines and certification programs are needed to expand this workforce.</a:t>
            </a:r>
          </a:p>
          <a:p>
            <a:r>
              <a:rPr lang="en-US" sz="950" b="1" dirty="0"/>
              <a:t>Tech and deployment: </a:t>
            </a:r>
            <a:r>
              <a:rPr lang="en-US" sz="950" dirty="0"/>
              <a:t>Demonstration projects across diverse geographies and use cases (urban, rural, cold and hot climates) help de-risk investment and validate business models. Standardized designs, permitting, and interconnection protocols are needed to streamline and reduce soft costs.</a:t>
            </a:r>
          </a:p>
          <a:p>
            <a:r>
              <a:rPr lang="en-US" sz="950" b="1" dirty="0"/>
              <a:t>Business model innovations: </a:t>
            </a:r>
            <a:r>
              <a:rPr lang="en-US" sz="950" dirty="0"/>
              <a:t>Utility-driven thermal energy networks (TENs utility-ownership) could provide a scalable and replicable model, especially as an alternative to gas infrastructure.</a:t>
            </a:r>
          </a:p>
          <a:p>
            <a:endParaRPr lang="en-US" dirty="0"/>
          </a:p>
        </p:txBody>
      </p:sp>
      <p:sp>
        <p:nvSpPr>
          <p:cNvPr id="9" name="Text Placeholder 1">
            <a:extLst>
              <a:ext uri="{FF2B5EF4-FFF2-40B4-BE49-F238E27FC236}">
                <a16:creationId xmlns:a16="http://schemas.microsoft.com/office/drawing/2014/main" id="{D77F45AB-9E88-E991-11B5-F4A507D5C3D1}"/>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Heating &amp; cooling</a:t>
            </a:r>
          </a:p>
        </p:txBody>
      </p:sp>
      <p:graphicFrame>
        <p:nvGraphicFramePr>
          <p:cNvPr id="52" name="Chart 51">
            <a:extLst>
              <a:ext uri="{FF2B5EF4-FFF2-40B4-BE49-F238E27FC236}">
                <a16:creationId xmlns:a16="http://schemas.microsoft.com/office/drawing/2014/main" id="{75DCDFF8-45F9-AF22-9D3B-ED0B67BFC8FA}"/>
              </a:ext>
            </a:extLst>
          </p:cNvPr>
          <p:cNvGraphicFramePr/>
          <p:nvPr>
            <p:custDataLst>
              <p:tags r:id="rId2"/>
            </p:custDataLst>
          </p:nvPr>
        </p:nvGraphicFramePr>
        <p:xfrm>
          <a:off x="193675" y="2700338"/>
          <a:ext cx="3836988" cy="3405187"/>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7" name="Chart 76">
            <a:extLst>
              <a:ext uri="{FF2B5EF4-FFF2-40B4-BE49-F238E27FC236}">
                <a16:creationId xmlns:a16="http://schemas.microsoft.com/office/drawing/2014/main" id="{C14FA2C1-6F62-38B4-34B4-EEE36E813057}"/>
              </a:ext>
            </a:extLst>
          </p:cNvPr>
          <p:cNvGraphicFramePr/>
          <p:nvPr>
            <p:custDataLst>
              <p:tags r:id="rId3"/>
            </p:custDataLst>
          </p:nvPr>
        </p:nvGraphicFramePr>
        <p:xfrm>
          <a:off x="4705350" y="2700338"/>
          <a:ext cx="3876675" cy="3405187"/>
        </p:xfrm>
        <a:graphic>
          <a:graphicData uri="http://schemas.openxmlformats.org/drawingml/2006/chart">
            <c:chart xmlns:c="http://schemas.openxmlformats.org/drawingml/2006/chart" xmlns:r="http://schemas.openxmlformats.org/officeDocument/2006/relationships" r:id="rId20"/>
          </a:graphicData>
        </a:graphic>
      </p:graphicFrame>
      <p:sp>
        <p:nvSpPr>
          <p:cNvPr id="13" name="Rectangle: Rounded Corners 18">
            <a:extLst>
              <a:ext uri="{FF2B5EF4-FFF2-40B4-BE49-F238E27FC236}">
                <a16:creationId xmlns:a16="http://schemas.microsoft.com/office/drawing/2014/main" id="{0F6AFAB5-E108-FE85-1058-A60554E7B092}"/>
              </a:ext>
            </a:extLst>
          </p:cNvPr>
          <p:cNvSpPr/>
          <p:nvPr/>
        </p:nvSpPr>
        <p:spPr bwMode="gray">
          <a:xfrm>
            <a:off x="2128911" y="4501550"/>
            <a:ext cx="539975" cy="172054"/>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Liftoff</a:t>
            </a:r>
          </a:p>
        </p:txBody>
      </p:sp>
      <p:cxnSp>
        <p:nvCxnSpPr>
          <p:cNvPr id="14" name="Straight Connector 13">
            <a:extLst>
              <a:ext uri="{FF2B5EF4-FFF2-40B4-BE49-F238E27FC236}">
                <a16:creationId xmlns:a16="http://schemas.microsoft.com/office/drawing/2014/main" id="{1732CDE3-07BC-CB5E-8E38-8410A9852A9C}"/>
              </a:ext>
            </a:extLst>
          </p:cNvPr>
          <p:cNvCxnSpPr/>
          <p:nvPr/>
        </p:nvCxnSpPr>
        <p:spPr bwMode="gray">
          <a:xfrm>
            <a:off x="2374824" y="4691557"/>
            <a:ext cx="0" cy="369268"/>
          </a:xfrm>
          <a:prstGeom prst="line">
            <a:avLst/>
          </a:prstGeom>
          <a:ln w="1905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Rectangle: Rounded Corners 20">
            <a:extLst>
              <a:ext uri="{FF2B5EF4-FFF2-40B4-BE49-F238E27FC236}">
                <a16:creationId xmlns:a16="http://schemas.microsoft.com/office/drawing/2014/main" id="{3A726BCA-B99C-AF61-4D8B-D2472334A49E}"/>
              </a:ext>
            </a:extLst>
          </p:cNvPr>
          <p:cNvSpPr/>
          <p:nvPr/>
        </p:nvSpPr>
        <p:spPr bwMode="gray">
          <a:xfrm>
            <a:off x="6126702" y="4637017"/>
            <a:ext cx="539750" cy="172054"/>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Liftoff</a:t>
            </a:r>
          </a:p>
        </p:txBody>
      </p:sp>
      <p:cxnSp>
        <p:nvCxnSpPr>
          <p:cNvPr id="16" name="Straight Connector 15">
            <a:extLst>
              <a:ext uri="{FF2B5EF4-FFF2-40B4-BE49-F238E27FC236}">
                <a16:creationId xmlns:a16="http://schemas.microsoft.com/office/drawing/2014/main" id="{57F6673B-FCFF-FE9F-15EA-E2C904C36DDF}"/>
              </a:ext>
            </a:extLst>
          </p:cNvPr>
          <p:cNvCxnSpPr/>
          <p:nvPr/>
        </p:nvCxnSpPr>
        <p:spPr bwMode="gray">
          <a:xfrm>
            <a:off x="6371177" y="4775485"/>
            <a:ext cx="0" cy="252215"/>
          </a:xfrm>
          <a:prstGeom prst="line">
            <a:avLst/>
          </a:prstGeom>
          <a:ln w="1905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FF30F626-8ECA-58D5-9067-3556BAFC9D74}"/>
              </a:ext>
            </a:extLst>
          </p:cNvPr>
          <p:cNvCxnSpPr/>
          <p:nvPr>
            <p:custDataLst>
              <p:tags r:id="rId4"/>
            </p:custDataLst>
          </p:nvPr>
        </p:nvCxnSpPr>
        <p:spPr bwMode="gray">
          <a:xfrm>
            <a:off x="344488" y="2255838"/>
            <a:ext cx="523875" cy="0"/>
          </a:xfrm>
          <a:prstGeom prst="line">
            <a:avLst/>
          </a:prstGeom>
          <a:ln w="19050" cap="rnd"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86DC330-DED1-4E3C-9F9D-59088A992E2E}"/>
              </a:ext>
            </a:extLst>
          </p:cNvPr>
          <p:cNvCxnSpPr/>
          <p:nvPr>
            <p:custDataLst>
              <p:tags r:id="rId5"/>
            </p:custDataLst>
          </p:nvPr>
        </p:nvCxnSpPr>
        <p:spPr bwMode="gray">
          <a:xfrm>
            <a:off x="2327275" y="2255838"/>
            <a:ext cx="514350"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E7EA206-FCB7-D74D-66D9-D2FAEA3184E1}"/>
              </a:ext>
            </a:extLst>
          </p:cNvPr>
          <p:cNvCxnSpPr/>
          <p:nvPr>
            <p:custDataLst>
              <p:tags r:id="rId6"/>
            </p:custDataLst>
          </p:nvPr>
        </p:nvCxnSpPr>
        <p:spPr bwMode="gray">
          <a:xfrm>
            <a:off x="4103688" y="2255838"/>
            <a:ext cx="514350"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0C552E8-9942-DD37-32E5-7CB2D3915F97}"/>
              </a:ext>
            </a:extLst>
          </p:cNvPr>
          <p:cNvCxnSpPr/>
          <p:nvPr>
            <p:custDataLst>
              <p:tags r:id="rId7"/>
            </p:custDataLst>
          </p:nvPr>
        </p:nvCxnSpPr>
        <p:spPr bwMode="gray">
          <a:xfrm>
            <a:off x="6234113" y="2255838"/>
            <a:ext cx="514350" cy="0"/>
          </a:xfrm>
          <a:prstGeom prst="line">
            <a:avLst/>
          </a:prstGeom>
          <a:ln w="28575" cap="rnd" cmpd="sng" algn="ctr">
            <a:solidFill>
              <a:schemeClr val="bg2"/>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36D739BE-47FE-BB83-F8B7-E8594B3D4F5B}"/>
              </a:ext>
            </a:extLst>
          </p:cNvPr>
          <p:cNvSpPr>
            <a:spLocks/>
          </p:cNvSpPr>
          <p:nvPr>
            <p:custDataLst>
              <p:tags r:id="rId8"/>
            </p:custDataLst>
          </p:nvPr>
        </p:nvSpPr>
        <p:spPr bwMode="auto">
          <a:xfrm>
            <a:off x="928688" y="2171700"/>
            <a:ext cx="1282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DFC2055-B152-4F7C-A123-6556FD1BE70E}" type="datetime'''E''c''on''''''o''''mic'''''' p''o''''''te''''nti''''''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c potential</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05A795D1-6754-DEBB-C1A2-FDE5F4FAAF9A}"/>
              </a:ext>
            </a:extLst>
          </p:cNvPr>
          <p:cNvSpPr>
            <a:spLocks/>
          </p:cNvSpPr>
          <p:nvPr>
            <p:custDataLst>
              <p:tags r:id="rId9"/>
            </p:custDataLst>
          </p:nvPr>
        </p:nvSpPr>
        <p:spPr bwMode="auto">
          <a:xfrm>
            <a:off x="2906713" y="2171700"/>
            <a:ext cx="1081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6E135A-DBAF-4E26-8F4B-36080CA10257}" type="datetime'''''M''''''arke''''''''''t'''' pote''''''nti''''''''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arket potential</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B4FD7E93-B268-2252-1257-CE804DF116C4}"/>
              </a:ext>
            </a:extLst>
          </p:cNvPr>
          <p:cNvSpPr>
            <a:spLocks/>
          </p:cNvSpPr>
          <p:nvPr>
            <p:custDataLst>
              <p:tags r:id="rId10"/>
            </p:custDataLst>
          </p:nvPr>
        </p:nvSpPr>
        <p:spPr bwMode="auto">
          <a:xfrm>
            <a:off x="4683125" y="2171700"/>
            <a:ext cx="14351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E4ECB-8D1C-4806-8481-077096F71EF0}" type="datetime'''E''x''''pected ins''t''allation &#10;(''''b''a''s''''el''''in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xpected installation 
(baseline)</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544D6C1C-4177-0DCD-587C-21BF720B8287}"/>
              </a:ext>
            </a:extLst>
          </p:cNvPr>
          <p:cNvSpPr>
            <a:spLocks/>
          </p:cNvSpPr>
          <p:nvPr>
            <p:custDataLst>
              <p:tags r:id="rId11"/>
            </p:custDataLst>
          </p:nvPr>
        </p:nvSpPr>
        <p:spPr bwMode="auto">
          <a:xfrm>
            <a:off x="6813550" y="2171700"/>
            <a:ext cx="1038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191EBC-E68E-49A5-BC3B-2B6292855381}" type="datetime'L''i''''f''''''''t''''off'' ''''t''''raject''o''''''''''''r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ftoff trajectory</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083489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CFFA2F-2ED9-D52A-8F90-23AAC0D2E300}"/>
              </a:ext>
            </a:extLst>
          </p:cNvPr>
          <p:cNvGraphicFramePr>
            <a:graphicFrameLocks/>
          </p:cNvGraphicFramePr>
          <p:nvPr>
            <p:custDataLst>
              <p:tags r:id="rId1"/>
            </p:custDataLst>
            <p:extLst>
              <p:ext uri="{D42A27DB-BD31-4B8C-83A1-F6EECF244321}">
                <p14:modId xmlns:p14="http://schemas.microsoft.com/office/powerpoint/2010/main" val="4227044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5B1AE55-2A90-8462-AD6A-10C0D8B33C1C}"/>
              </a:ext>
            </a:extLst>
          </p:cNvPr>
          <p:cNvSpPr>
            <a:spLocks noGrp="1"/>
          </p:cNvSpPr>
          <p:nvPr>
            <p:ph type="body" sz="quarter" idx="15"/>
          </p:nvPr>
        </p:nvSpPr>
        <p:spPr/>
        <p:txBody>
          <a:bodyPr/>
          <a:lstStyle/>
          <a:p>
            <a:r>
              <a:rPr lang="en-US" dirty="0">
                <a:solidFill>
                  <a:schemeClr val="bg1"/>
                </a:solidFill>
              </a:rPr>
              <a:t>Deployment: Baseload power</a:t>
            </a:r>
          </a:p>
        </p:txBody>
      </p:sp>
      <p:sp>
        <p:nvSpPr>
          <p:cNvPr id="3" name="Title 2">
            <a:extLst>
              <a:ext uri="{FF2B5EF4-FFF2-40B4-BE49-F238E27FC236}">
                <a16:creationId xmlns:a16="http://schemas.microsoft.com/office/drawing/2014/main" id="{584D012A-F346-CD9D-377E-7166930956C5}"/>
              </a:ext>
            </a:extLst>
          </p:cNvPr>
          <p:cNvSpPr>
            <a:spLocks noGrp="1"/>
          </p:cNvSpPr>
          <p:nvPr>
            <p:ph type="title"/>
          </p:nvPr>
        </p:nvSpPr>
        <p:spPr/>
        <p:txBody>
          <a:bodyPr vert="horz" rIns="91440"/>
          <a:lstStyle/>
          <a:p>
            <a:r>
              <a:rPr lang="en-US" dirty="0"/>
              <a:t>Geothermal offers reliable, low-footprint baseload energy, though costs and longer timelines may constrain scale-up</a:t>
            </a:r>
          </a:p>
        </p:txBody>
      </p:sp>
      <p:sp>
        <p:nvSpPr>
          <p:cNvPr id="5" name="Footer Placeholder 4">
            <a:extLst>
              <a:ext uri="{FF2B5EF4-FFF2-40B4-BE49-F238E27FC236}">
                <a16:creationId xmlns:a16="http://schemas.microsoft.com/office/drawing/2014/main" id="{EA34A9C9-1653-CA51-FA96-E5DF4698E88F}"/>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hlinkClick r:id="rId6"/>
              </a:rPr>
              <a:t>LCOE report</a:t>
            </a:r>
            <a:r>
              <a:rPr lang="en-US" dirty="0">
                <a:solidFill>
                  <a:srgbClr val="000000"/>
                </a:solidFill>
              </a:rPr>
              <a:t> (Lazard, 2025); </a:t>
            </a:r>
            <a:r>
              <a:rPr lang="en-US" dirty="0">
                <a:solidFill>
                  <a:srgbClr val="000000"/>
                </a:solidFill>
                <a:hlinkClick r:id="rId7"/>
              </a:rPr>
              <a:t>U.S. Energy Information Administration Annual Energy Outlook</a:t>
            </a:r>
            <a:r>
              <a:rPr lang="en-US" dirty="0">
                <a:solidFill>
                  <a:srgbClr val="000000"/>
                </a:solidFill>
              </a:rPr>
              <a:t> (DOE, 2022); </a:t>
            </a:r>
            <a:r>
              <a:rPr lang="en-US" dirty="0">
                <a:solidFill>
                  <a:srgbClr val="000000"/>
                </a:solidFill>
                <a:hlinkClick r:id="rId8"/>
              </a:rPr>
              <a:t>Geothermal Basics</a:t>
            </a:r>
            <a:r>
              <a:rPr lang="en-US" dirty="0">
                <a:solidFill>
                  <a:srgbClr val="000000"/>
                </a:solidFill>
              </a:rPr>
              <a:t> (DOE, 2025); </a:t>
            </a:r>
            <a:r>
              <a:rPr lang="en-US" dirty="0">
                <a:solidFill>
                  <a:srgbClr val="000000"/>
                </a:solidFill>
                <a:hlinkClick r:id="rId9"/>
              </a:rPr>
              <a:t>Beyond Levelized Cost</a:t>
            </a:r>
            <a:r>
              <a:rPr lang="en-US" dirty="0">
                <a:solidFill>
                  <a:srgbClr val="000000"/>
                </a:solidFill>
              </a:rPr>
              <a:t> (SLB, 2025).</a:t>
            </a:r>
            <a:br>
              <a:rPr lang="en-US" dirty="0">
                <a:solidFill>
                  <a:srgbClr val="000000"/>
                </a:solidFill>
              </a:rPr>
            </a:b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marL="0" indent="0">
              <a:spcBef>
                <a:spcPts val="0"/>
              </a:spcBef>
              <a:buNone/>
            </a:pPr>
            <a:endParaRPr lang="en-US" dirty="0">
              <a:solidFill>
                <a:srgbClr val="000000"/>
              </a:solidFill>
              <a:cs typeface="Arial"/>
            </a:endParaRPr>
          </a:p>
        </p:txBody>
      </p:sp>
      <p:graphicFrame>
        <p:nvGraphicFramePr>
          <p:cNvPr id="7" name="Table 6">
            <a:extLst>
              <a:ext uri="{FF2B5EF4-FFF2-40B4-BE49-F238E27FC236}">
                <a16:creationId xmlns:a16="http://schemas.microsoft.com/office/drawing/2014/main" id="{C6D85C75-CE86-8887-F7BB-0B487C2E0E2D}"/>
              </a:ext>
            </a:extLst>
          </p:cNvPr>
          <p:cNvGraphicFramePr>
            <a:graphicFrameLocks noGrp="1"/>
          </p:cNvGraphicFramePr>
          <p:nvPr>
            <p:extLst>
              <p:ext uri="{D42A27DB-BD31-4B8C-83A1-F6EECF244321}">
                <p14:modId xmlns:p14="http://schemas.microsoft.com/office/powerpoint/2010/main" val="370249191"/>
              </p:ext>
            </p:extLst>
          </p:nvPr>
        </p:nvGraphicFramePr>
        <p:xfrm>
          <a:off x="446568" y="1543496"/>
          <a:ext cx="10939571" cy="4194542"/>
        </p:xfrm>
        <a:graphic>
          <a:graphicData uri="http://schemas.openxmlformats.org/drawingml/2006/table">
            <a:tbl>
              <a:tblPr firstRow="1" bandRow="1">
                <a:tableStyleId>{5C22544A-7EE6-4342-B048-85BDC9FD1C3A}</a:tableStyleId>
              </a:tblPr>
              <a:tblGrid>
                <a:gridCol w="1736651">
                  <a:extLst>
                    <a:ext uri="{9D8B030D-6E8A-4147-A177-3AD203B41FA5}">
                      <a16:colId xmlns:a16="http://schemas.microsoft.com/office/drawing/2014/main" val="3842874159"/>
                    </a:ext>
                  </a:extLst>
                </a:gridCol>
                <a:gridCol w="1840584">
                  <a:extLst>
                    <a:ext uri="{9D8B030D-6E8A-4147-A177-3AD203B41FA5}">
                      <a16:colId xmlns:a16="http://schemas.microsoft.com/office/drawing/2014/main" val="20001"/>
                    </a:ext>
                  </a:extLst>
                </a:gridCol>
                <a:gridCol w="1840584">
                  <a:extLst>
                    <a:ext uri="{9D8B030D-6E8A-4147-A177-3AD203B41FA5}">
                      <a16:colId xmlns:a16="http://schemas.microsoft.com/office/drawing/2014/main" val="20002"/>
                    </a:ext>
                  </a:extLst>
                </a:gridCol>
                <a:gridCol w="1840584">
                  <a:extLst>
                    <a:ext uri="{9D8B030D-6E8A-4147-A177-3AD203B41FA5}">
                      <a16:colId xmlns:a16="http://schemas.microsoft.com/office/drawing/2014/main" val="3302981372"/>
                    </a:ext>
                  </a:extLst>
                </a:gridCol>
                <a:gridCol w="1840584">
                  <a:extLst>
                    <a:ext uri="{9D8B030D-6E8A-4147-A177-3AD203B41FA5}">
                      <a16:colId xmlns:a16="http://schemas.microsoft.com/office/drawing/2014/main" val="1644200649"/>
                    </a:ext>
                  </a:extLst>
                </a:gridCol>
                <a:gridCol w="1840584">
                  <a:extLst>
                    <a:ext uri="{9D8B030D-6E8A-4147-A177-3AD203B41FA5}">
                      <a16:colId xmlns:a16="http://schemas.microsoft.com/office/drawing/2014/main" val="1390167343"/>
                    </a:ext>
                  </a:extLst>
                </a:gridCol>
              </a:tblGrid>
              <a:tr h="366486">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endParaRPr lang="en-US" sz="1400" b="0" kern="1200" dirty="0">
                        <a:solidFill>
                          <a:schemeClr val="tx2"/>
                        </a:solidFill>
                        <a:latin typeface="+mn-lt"/>
                        <a:ea typeface="+mn-ea"/>
                        <a:cs typeface="+mn-cs"/>
                      </a:endParaRPr>
                    </a:p>
                  </a:txBody>
                  <a:tcPr marL="0"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Geothermal</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Hydro</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Nuclear</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Wind</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Solar</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3449">
                <a:tc>
                  <a:txBody>
                    <a:bodyPr/>
                    <a:lstStyle/>
                    <a:p>
                      <a:pPr marL="0" indent="0" algn="l">
                        <a:buNone/>
                      </a:pPr>
                      <a:r>
                        <a:rPr lang="en-US" sz="1200" b="1" dirty="0">
                          <a:solidFill>
                            <a:srgbClr val="575757"/>
                          </a:solidFill>
                        </a:rPr>
                        <a:t>Resource availability &amp; scalability</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100" b="1" i="0" kern="1200" dirty="0">
                          <a:solidFill>
                            <a:schemeClr val="dk1"/>
                          </a:solidFill>
                          <a:effectLst/>
                          <a:latin typeface="+mn-lt"/>
                          <a:ea typeface="+mn-ea"/>
                          <a:cs typeface="+mn-cs"/>
                        </a:rPr>
                        <a:t>Scalable in select locations,</a:t>
                      </a:r>
                      <a:r>
                        <a:rPr lang="en-US" sz="1100" b="0" i="0" kern="1200" dirty="0">
                          <a:solidFill>
                            <a:schemeClr val="dk1"/>
                          </a:solidFill>
                          <a:effectLst/>
                          <a:latin typeface="+mn-lt"/>
                          <a:ea typeface="+mn-ea"/>
                          <a:cs typeface="+mn-cs"/>
                        </a:rPr>
                        <a:t> high upfront costs, deep drilling needed</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dirty="0">
                          <a:solidFill>
                            <a:schemeClr val="tx1"/>
                          </a:solidFill>
                          <a:latin typeface="+mn-lt"/>
                        </a:rPr>
                        <a:t>Limited</a:t>
                      </a:r>
                      <a:r>
                        <a:rPr lang="en-US" sz="1100" dirty="0">
                          <a:solidFill>
                            <a:schemeClr val="tx1"/>
                          </a:solidFill>
                          <a:latin typeface="+mn-lt"/>
                        </a:rPr>
                        <a:t> scalability due to size </a:t>
                      </a:r>
                      <a:r>
                        <a:rPr lang="en-US" sz="900" i="1" dirty="0">
                          <a:solidFill>
                            <a:schemeClr val="tx1"/>
                          </a:solidFill>
                          <a:latin typeface="+mn-lt"/>
                        </a:rPr>
                        <a:t>(smaller hydro projects more feasible vs. larger dam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dirty="0">
                          <a:solidFill>
                            <a:schemeClr val="tx1"/>
                          </a:solidFill>
                          <a:latin typeface="+mn-lt"/>
                        </a:rPr>
                        <a:t>Limited</a:t>
                      </a:r>
                      <a:r>
                        <a:rPr lang="en-US" sz="1100" dirty="0">
                          <a:solidFill>
                            <a:schemeClr val="tx1"/>
                          </a:solidFill>
                          <a:latin typeface="+mn-lt"/>
                        </a:rPr>
                        <a:t> scalability due to high</a:t>
                      </a:r>
                      <a:r>
                        <a:rPr lang="en-US" sz="1100" i="0" u="none" kern="1200" spc="0" dirty="0">
                          <a:solidFill>
                            <a:schemeClr val="tx1">
                              <a:lumMod val="100000"/>
                            </a:schemeClr>
                          </a:solidFill>
                          <a:latin typeface="+mn-lt"/>
                        </a:rPr>
                        <a:t> investments and long construction times </a:t>
                      </a:r>
                      <a:r>
                        <a:rPr lang="en-US" sz="900" i="1" u="none" kern="1200" spc="0" dirty="0">
                          <a:solidFill>
                            <a:schemeClr val="tx1">
                              <a:lumMod val="100000"/>
                            </a:schemeClr>
                          </a:solidFill>
                          <a:latin typeface="+mn-lt"/>
                        </a:rPr>
                        <a:t>(SMR easier to scale as modular alternative)</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Highly scalable anywhere </a:t>
                      </a:r>
                      <a:r>
                        <a:rPr lang="en-US" sz="1100" b="0" i="0" kern="1200" dirty="0">
                          <a:solidFill>
                            <a:schemeClr val="dk1"/>
                          </a:solidFill>
                          <a:effectLst/>
                          <a:latin typeface="+mn-lt"/>
                          <a:ea typeface="+mn-ea"/>
                          <a:cs typeface="+mn-cs"/>
                        </a:rPr>
                        <a:t>due to modular deploy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Highly scalable anywhere</a:t>
                      </a:r>
                      <a:r>
                        <a:rPr lang="en-US" sz="1100" b="0" i="0" kern="1200" dirty="0">
                          <a:solidFill>
                            <a:schemeClr val="dk1"/>
                          </a:solidFill>
                          <a:effectLst/>
                          <a:latin typeface="+mn-lt"/>
                          <a:ea typeface="+mn-ea"/>
                          <a:cs typeface="+mn-cs"/>
                        </a:rPr>
                        <a:t>,</a:t>
                      </a:r>
                      <a:r>
                        <a:rPr lang="en-US" sz="1100" b="1" i="0" kern="1200" dirty="0">
                          <a:solidFill>
                            <a:schemeClr val="dk1"/>
                          </a:solidFill>
                          <a:effectLst/>
                          <a:latin typeface="+mn-lt"/>
                          <a:ea typeface="+mn-ea"/>
                          <a:cs typeface="+mn-cs"/>
                        </a:rPr>
                        <a:t> </a:t>
                      </a:r>
                      <a:r>
                        <a:rPr lang="en-US" sz="1100" b="0" i="0" kern="1200" dirty="0">
                          <a:solidFill>
                            <a:schemeClr val="dk1"/>
                          </a:solidFill>
                          <a:effectLst/>
                          <a:latin typeface="+mn-lt"/>
                          <a:ea typeface="+mn-ea"/>
                          <a:cs typeface="+mn-cs"/>
                        </a:rPr>
                        <a:t>due to modular deploy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4677">
                <a:tc>
                  <a:txBody>
                    <a:bodyPr/>
                    <a:lstStyle/>
                    <a:p>
                      <a:pPr marL="0" indent="0" algn="l">
                        <a:buNone/>
                      </a:pPr>
                      <a:r>
                        <a:rPr lang="en-US" sz="1200" b="1" dirty="0">
                          <a:solidFill>
                            <a:srgbClr val="575757"/>
                          </a:solidFill>
                        </a:rPr>
                        <a:t>Costs (LCOE)</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0" i="0" kern="1200" dirty="0">
                          <a:solidFill>
                            <a:schemeClr val="dk1"/>
                          </a:solidFill>
                          <a:effectLst/>
                          <a:latin typeface="+mn-lt"/>
                          <a:ea typeface="+mn-ea"/>
                          <a:cs typeface="+mn-cs"/>
                        </a:rPr>
                        <a:t>$66-$109/MWh</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0" i="0" kern="1200" dirty="0">
                          <a:solidFill>
                            <a:schemeClr val="dk1"/>
                          </a:solidFill>
                          <a:effectLst/>
                          <a:latin typeface="+mn-lt"/>
                          <a:ea typeface="+mn-ea"/>
                          <a:cs typeface="+mn-cs"/>
                        </a:rPr>
                        <a:t>$47/MWh</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141-$228/MWh (new plant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37-$86/MWh (onshore), $70-$157/MWh (offshore)</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38-$78/MWh (utility scale)</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955528"/>
                  </a:ext>
                </a:extLst>
              </a:tr>
              <a:tr h="394677">
                <a:tc>
                  <a:txBody>
                    <a:bodyPr/>
                    <a:lstStyle/>
                    <a:p>
                      <a:pPr marL="0" indent="0" algn="l">
                        <a:buNone/>
                      </a:pPr>
                      <a:r>
                        <a:rPr lang="en-US" sz="1200" b="1" baseline="0" dirty="0">
                          <a:solidFill>
                            <a:srgbClr val="575757"/>
                          </a:solidFill>
                        </a:rPr>
                        <a:t>Capacity factor</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dirty="0">
                          <a:solidFill>
                            <a:schemeClr val="tx1"/>
                          </a:solidFill>
                          <a:latin typeface="+mn-lt"/>
                        </a:rPr>
                        <a:t>70-9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dirty="0">
                          <a:solidFill>
                            <a:schemeClr val="tx1"/>
                          </a:solidFill>
                          <a:latin typeface="+mn-lt"/>
                        </a:rPr>
                        <a:t>Variable (global avg. is around 44%)</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solidFill>
                          <a:latin typeface="+mn-lt"/>
                        </a:rPr>
                        <a:t>~9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tx1"/>
                          </a:solidFill>
                          <a:effectLst/>
                          <a:latin typeface="+mn-lt"/>
                          <a:ea typeface="+mn-ea"/>
                          <a:cs typeface="+mn-cs"/>
                        </a:rPr>
                        <a:t>38-47% for onshore, </a:t>
                      </a:r>
                      <a:br>
                        <a:rPr lang="en-US" sz="1100" b="0" i="0" kern="1200" dirty="0">
                          <a:solidFill>
                            <a:schemeClr val="tx1"/>
                          </a:solidFill>
                          <a:effectLst/>
                          <a:latin typeface="+mn-lt"/>
                          <a:ea typeface="+mn-ea"/>
                          <a:cs typeface="+mn-cs"/>
                        </a:rPr>
                      </a:br>
                      <a:r>
                        <a:rPr lang="en-US" sz="1100" b="0" i="0" kern="1200" dirty="0">
                          <a:solidFill>
                            <a:schemeClr val="tx1"/>
                          </a:solidFill>
                          <a:effectLst/>
                          <a:latin typeface="+mn-lt"/>
                          <a:ea typeface="+mn-ea"/>
                          <a:cs typeface="+mn-cs"/>
                        </a:rPr>
                        <a:t>41-50% for offshore</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tx1"/>
                          </a:solidFill>
                          <a:effectLst/>
                          <a:latin typeface="+mn-lt"/>
                          <a:ea typeface="+mn-ea"/>
                          <a:cs typeface="+mn-cs"/>
                        </a:rPr>
                        <a:t>25-33% for standalone system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51309"/>
                  </a:ext>
                </a:extLst>
              </a:tr>
              <a:tr h="394677">
                <a:tc>
                  <a:txBody>
                    <a:bodyPr/>
                    <a:lstStyle/>
                    <a:p>
                      <a:pPr marL="0" indent="0" algn="l">
                        <a:buNone/>
                      </a:pPr>
                      <a:r>
                        <a:rPr lang="en-US" sz="1200" b="1" baseline="0" dirty="0">
                          <a:solidFill>
                            <a:srgbClr val="575757"/>
                          </a:solidFill>
                        </a:rPr>
                        <a:t>Reliability</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Reliable baseload</a:t>
                      </a:r>
                      <a:r>
                        <a:rPr lang="en-US" sz="1100" dirty="0">
                          <a:solidFill>
                            <a:schemeClr val="tx1"/>
                          </a:solidFill>
                          <a:latin typeface="+mn-lt"/>
                        </a:rPr>
                        <a:t> resource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u="none" kern="1200" spc="0" dirty="0">
                          <a:solidFill>
                            <a:schemeClr val="tx1"/>
                          </a:solidFill>
                          <a:latin typeface="+mn-lt"/>
                        </a:rPr>
                        <a:t>Baseload resource only</a:t>
                      </a:r>
                      <a:r>
                        <a:rPr lang="en-US" sz="1100" i="0" u="none" kern="1200" spc="0" dirty="0">
                          <a:solidFill>
                            <a:schemeClr val="tx1"/>
                          </a:solidFill>
                          <a:latin typeface="+mn-lt"/>
                        </a:rPr>
                        <a:t> with reservoir storage</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Reliable baseload</a:t>
                      </a:r>
                      <a:r>
                        <a:rPr lang="en-US" sz="1100" dirty="0">
                          <a:solidFill>
                            <a:schemeClr val="tx1"/>
                          </a:solidFill>
                          <a:latin typeface="+mn-lt"/>
                        </a:rPr>
                        <a:t> resource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u="none" kern="1200" spc="0" dirty="0">
                          <a:solidFill>
                            <a:schemeClr val="tx1"/>
                          </a:solidFill>
                          <a:latin typeface="+mn-lt"/>
                        </a:rPr>
                        <a:t>Intermittent</a:t>
                      </a:r>
                      <a:r>
                        <a:rPr lang="en-US" sz="1100" i="0" u="none" kern="1200" spc="0" dirty="0">
                          <a:solidFill>
                            <a:schemeClr val="tx1"/>
                          </a:solidFill>
                          <a:latin typeface="+mn-lt"/>
                        </a:rPr>
                        <a:t>, variable outpu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u="none" kern="1200" spc="0" dirty="0">
                          <a:solidFill>
                            <a:schemeClr val="tx1"/>
                          </a:solidFill>
                          <a:latin typeface="+mn-lt"/>
                        </a:rPr>
                        <a:t>Intermittent</a:t>
                      </a:r>
                      <a:r>
                        <a:rPr lang="en-US" sz="1100" i="0" u="none" kern="1200" spc="0" dirty="0">
                          <a:solidFill>
                            <a:schemeClr val="tx1"/>
                          </a:solidFill>
                          <a:latin typeface="+mn-lt"/>
                        </a:rPr>
                        <a:t>, energy storage required</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19629"/>
                  </a:ext>
                </a:extLst>
              </a:tr>
              <a:tr h="549728">
                <a:tc>
                  <a:txBody>
                    <a:bodyPr/>
                    <a:lstStyle/>
                    <a:p>
                      <a:pPr marL="0" indent="0" algn="l">
                        <a:buNone/>
                      </a:pPr>
                      <a:r>
                        <a:rPr lang="en-US" sz="1200" b="1" dirty="0">
                          <a:solidFill>
                            <a:srgbClr val="575757"/>
                          </a:solidFill>
                        </a:rPr>
                        <a:t>Setup time</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Moderate timeline</a:t>
                      </a:r>
                      <a:r>
                        <a:rPr lang="en-US" sz="1100" b="0" i="0" kern="1200" dirty="0">
                          <a:solidFill>
                            <a:schemeClr val="dk1"/>
                          </a:solidFill>
                          <a:effectLst/>
                          <a:latin typeface="+mn-lt"/>
                          <a:ea typeface="+mn-ea"/>
                          <a:cs typeface="+mn-cs"/>
                        </a:rPr>
                        <a:t>, typically 3-5 years</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i="0" kern="1200" dirty="0">
                          <a:solidFill>
                            <a:schemeClr val="dk1"/>
                          </a:solidFill>
                          <a:effectLst/>
                          <a:latin typeface="+mn-lt"/>
                          <a:ea typeface="+mn-ea"/>
                          <a:cs typeface="+mn-cs"/>
                        </a:rPr>
                        <a:t>Long timeline</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5-10 years or more</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dk1"/>
                          </a:solidFill>
                          <a:effectLst/>
                          <a:latin typeface="+mn-lt"/>
                          <a:ea typeface="+mn-ea"/>
                          <a:cs typeface="+mn-cs"/>
                        </a:rPr>
                        <a:t>Longest timeline</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10+ years due to regulatory &amp; construction complexitie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dk1"/>
                          </a:solidFill>
                          <a:effectLst/>
                          <a:latin typeface="+mn-lt"/>
                          <a:ea typeface="+mn-ea"/>
                          <a:cs typeface="+mn-cs"/>
                        </a:rPr>
                        <a:t>Relatively quick to deploy</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within 1-2 year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kern="1200" dirty="0">
                          <a:solidFill>
                            <a:schemeClr val="dk1"/>
                          </a:solidFill>
                          <a:effectLst/>
                          <a:latin typeface="+mn-lt"/>
                          <a:ea typeface="+mn-ea"/>
                          <a:cs typeface="+mn-cs"/>
                        </a:rPr>
                        <a:t>Relatively quick to deploy,</a:t>
                      </a:r>
                      <a:r>
                        <a:rPr lang="en-US" sz="1100" b="0" i="0" kern="1200" dirty="0">
                          <a:solidFill>
                            <a:schemeClr val="dk1"/>
                          </a:solidFill>
                          <a:effectLst/>
                          <a:latin typeface="+mn-lt"/>
                          <a:ea typeface="+mn-ea"/>
                          <a:cs typeface="+mn-cs"/>
                        </a:rPr>
                        <a:t> often within 1-2 year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3521841"/>
                  </a:ext>
                </a:extLst>
              </a:tr>
              <a:tr h="549728">
                <a:tc>
                  <a:txBody>
                    <a:bodyPr/>
                    <a:lstStyle/>
                    <a:p>
                      <a:pPr marL="0" indent="0" algn="l">
                        <a:buNone/>
                      </a:pPr>
                      <a:r>
                        <a:rPr lang="en-US" sz="1200" b="1" dirty="0">
                          <a:solidFill>
                            <a:srgbClr val="575757"/>
                          </a:solidFill>
                        </a:rPr>
                        <a:t>Technology readiness</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Established</a:t>
                      </a:r>
                      <a:r>
                        <a:rPr lang="en-US" sz="1100" dirty="0">
                          <a:solidFill>
                            <a:schemeClr val="tx1"/>
                          </a:solidFill>
                          <a:latin typeface="+mn-lt"/>
                        </a:rPr>
                        <a:t> but room for significant advancements (e.g., EG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dirty="0">
                          <a:solidFill>
                            <a:schemeClr val="tx1"/>
                          </a:solidFill>
                          <a:latin typeface="+mn-lt"/>
                        </a:rPr>
                        <a:t>Mature</a:t>
                      </a:r>
                      <a:r>
                        <a:rPr lang="en-US" sz="1100" i="0" u="none" kern="1200" spc="0" dirty="0">
                          <a:solidFill>
                            <a:schemeClr val="tx1"/>
                          </a:solidFill>
                          <a:latin typeface="+mn-lt"/>
                        </a:rPr>
                        <a:t>,</a:t>
                      </a:r>
                      <a:r>
                        <a:rPr lang="en-US" sz="1100" dirty="0">
                          <a:solidFill>
                            <a:schemeClr val="tx1"/>
                          </a:solidFill>
                          <a:latin typeface="+mn-lt"/>
                        </a:rPr>
                        <a:t> limited room for improve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tx1"/>
                          </a:solidFill>
                          <a:effectLst/>
                          <a:latin typeface="+mn-lt"/>
                          <a:ea typeface="+mn-ea"/>
                          <a:cs typeface="+mn-cs"/>
                        </a:rPr>
                        <a:t>Established</a:t>
                      </a:r>
                      <a:r>
                        <a:rPr lang="en-US" sz="1100" b="0" i="0" kern="1200" dirty="0">
                          <a:solidFill>
                            <a:schemeClr val="tx1"/>
                          </a:solidFill>
                          <a:effectLst/>
                          <a:latin typeface="+mn-lt"/>
                          <a:ea typeface="+mn-ea"/>
                          <a:cs typeface="+mn-cs"/>
                        </a:rPr>
                        <a:t> but challenges in cost reduction &amp; public accept.</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tx1"/>
                          </a:solidFill>
                          <a:effectLst/>
                          <a:latin typeface="+mn-lt"/>
                          <a:ea typeface="+mn-ea"/>
                          <a:cs typeface="+mn-cs"/>
                        </a:rPr>
                        <a:t>Mature</a:t>
                      </a:r>
                      <a:r>
                        <a:rPr lang="en-US" sz="1100" i="0" u="none" kern="1200" spc="0" dirty="0">
                          <a:solidFill>
                            <a:schemeClr val="tx1"/>
                          </a:solidFill>
                          <a:latin typeface="+mn-lt"/>
                        </a:rPr>
                        <a:t>,</a:t>
                      </a:r>
                      <a:r>
                        <a:rPr lang="en-US" sz="1100" b="0" i="0" kern="1200" dirty="0">
                          <a:solidFill>
                            <a:schemeClr val="tx1"/>
                          </a:solidFill>
                          <a:effectLst/>
                          <a:latin typeface="+mn-lt"/>
                          <a:ea typeface="+mn-ea"/>
                          <a:cs typeface="+mn-cs"/>
                        </a:rPr>
                        <a:t> ongoing innovations improving efficiency &amp; reducing cost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kern="1200" dirty="0">
                          <a:solidFill>
                            <a:schemeClr val="tx1"/>
                          </a:solidFill>
                          <a:effectLst/>
                          <a:latin typeface="+mn-lt"/>
                          <a:ea typeface="+mn-ea"/>
                          <a:cs typeface="+mn-cs"/>
                        </a:rPr>
                        <a:t>Mature</a:t>
                      </a:r>
                      <a:r>
                        <a:rPr lang="en-US" sz="1100" i="0" u="none" kern="1200" spc="0" dirty="0">
                          <a:solidFill>
                            <a:schemeClr val="tx1"/>
                          </a:solidFill>
                          <a:latin typeface="+mn-lt"/>
                        </a:rPr>
                        <a:t>,</a:t>
                      </a:r>
                      <a:r>
                        <a:rPr lang="en-US" sz="1100" b="0" i="0" kern="1200" dirty="0">
                          <a:solidFill>
                            <a:schemeClr val="tx1"/>
                          </a:solidFill>
                          <a:effectLst/>
                          <a:latin typeface="+mn-lt"/>
                          <a:ea typeface="+mn-ea"/>
                          <a:cs typeface="+mn-cs"/>
                        </a:rPr>
                        <a:t> ongoing innovations improving efficiency &amp; reducing cost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1622"/>
                  </a:ext>
                </a:extLst>
              </a:tr>
              <a:tr h="460742">
                <a:tc>
                  <a:txBody>
                    <a:bodyPr/>
                    <a:lstStyle/>
                    <a:p>
                      <a:pPr marL="0" indent="0" algn="l">
                        <a:buNone/>
                      </a:pPr>
                      <a:r>
                        <a:rPr lang="en-US" sz="1200" b="1" dirty="0">
                          <a:solidFill>
                            <a:srgbClr val="575757"/>
                          </a:solidFill>
                        </a:rPr>
                        <a:t>Land-use footprint efficiency </a:t>
                      </a:r>
                      <a:r>
                        <a:rPr lang="en-US" sz="1000" b="0" dirty="0">
                          <a:solidFill>
                            <a:srgbClr val="575757"/>
                          </a:solidFill>
                        </a:rPr>
                        <a:t>(km</a:t>
                      </a:r>
                      <a:r>
                        <a:rPr lang="en-US" sz="1000" b="0" baseline="30000" dirty="0">
                          <a:solidFill>
                            <a:srgbClr val="575757"/>
                          </a:solidFill>
                        </a:rPr>
                        <a:t>2</a:t>
                      </a:r>
                      <a:r>
                        <a:rPr lang="en-US" sz="1000" b="0" baseline="0" dirty="0">
                          <a:solidFill>
                            <a:srgbClr val="575757"/>
                          </a:solidFill>
                        </a:rPr>
                        <a:t>/TWh/year</a:t>
                      </a:r>
                      <a:r>
                        <a:rPr lang="en-US" sz="1000" b="0" dirty="0">
                          <a:solidFill>
                            <a:srgbClr val="575757"/>
                          </a:solidFill>
                        </a:rPr>
                        <a:t>)</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kern="1200" dirty="0">
                          <a:solidFill>
                            <a:schemeClr val="tx1"/>
                          </a:solidFill>
                          <a:latin typeface="+mn-lt"/>
                          <a:ea typeface="+mn-ea"/>
                          <a:cs typeface="+mn-cs"/>
                        </a:rPr>
                        <a:t>7.5</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kern="1200" dirty="0">
                          <a:solidFill>
                            <a:schemeClr val="tx1"/>
                          </a:solidFill>
                          <a:latin typeface="+mn-lt"/>
                          <a:ea typeface="+mn-ea"/>
                          <a:cs typeface="+mn-cs"/>
                        </a:rPr>
                        <a:t>54.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lumMod val="100000"/>
                            </a:schemeClr>
                          </a:solidFill>
                          <a:latin typeface="+mn-lt"/>
                        </a:rPr>
                        <a:t>2.4</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i="0" u="none" kern="1200" spc="0" dirty="0">
                          <a:solidFill>
                            <a:schemeClr val="tx1">
                              <a:lumMod val="100000"/>
                            </a:schemeClr>
                          </a:solidFill>
                          <a:latin typeface="+mn-lt"/>
                        </a:rPr>
                        <a:t>72.1</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lumMod val="100000"/>
                            </a:schemeClr>
                          </a:solidFill>
                          <a:latin typeface="+mn-lt"/>
                        </a:rPr>
                        <a:t>36.9</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498387"/>
                  </a:ext>
                </a:extLst>
              </a:tr>
            </a:tbl>
          </a:graphicData>
        </a:graphic>
      </p:graphicFrame>
      <p:sp>
        <p:nvSpPr>
          <p:cNvPr id="8" name="TextBox 8">
            <a:extLst>
              <a:ext uri="{FF2B5EF4-FFF2-40B4-BE49-F238E27FC236}">
                <a16:creationId xmlns:a16="http://schemas.microsoft.com/office/drawing/2014/main" id="{7BC8EE0D-45BE-5019-80CB-39A3D11999AC}"/>
              </a:ext>
            </a:extLst>
          </p:cNvPr>
          <p:cNvSpPr txBox="1"/>
          <p:nvPr/>
        </p:nvSpPr>
        <p:spPr bwMode="gray">
          <a:xfrm>
            <a:off x="334962" y="5800425"/>
            <a:ext cx="11522076" cy="457200"/>
          </a:xfrm>
          <a:prstGeom prst="rect">
            <a:avLst/>
          </a:prstGeom>
          <a:solidFill>
            <a:schemeClr val="accent6">
              <a:lumMod val="20000"/>
              <a:lumOff val="80000"/>
            </a:schemeClr>
          </a:solidFill>
        </p:spPr>
        <p:txBody>
          <a:bodyPr wrap="square" lIns="137160" tIns="45720" rIns="137160" bIns="137160" rtlCol="0">
            <a:spAutoFit/>
          </a:bodyPr>
          <a:lstStyle/>
          <a:p>
            <a:pPr marL="0" indent="0">
              <a:spcBef>
                <a:spcPts val="0"/>
              </a:spcBef>
              <a:spcAft>
                <a:spcPts val="400"/>
              </a:spcAft>
              <a:buNone/>
            </a:pPr>
            <a:r>
              <a:rPr lang="en-US" sz="1100" dirty="0"/>
              <a:t>Despite its higher LCOE and longer development timeline — especially compared to wind and solar — </a:t>
            </a:r>
            <a:r>
              <a:rPr lang="en-US" sz="1100" b="1" dirty="0"/>
              <a:t>geothermal remains a highly competitive energy source in regions with significant geological activity,</a:t>
            </a:r>
            <a:r>
              <a:rPr lang="en-US" sz="1100" dirty="0"/>
              <a:t> offering high reliability and efficient land use.</a:t>
            </a:r>
            <a:endParaRPr lang="en-US" sz="1050" dirty="0"/>
          </a:p>
        </p:txBody>
      </p:sp>
      <p:sp>
        <p:nvSpPr>
          <p:cNvPr id="9" name="Rectangle 8">
            <a:extLst>
              <a:ext uri="{FF2B5EF4-FFF2-40B4-BE49-F238E27FC236}">
                <a16:creationId xmlns:a16="http://schemas.microsoft.com/office/drawing/2014/main" id="{088B4573-39D8-C50F-B44F-7E00A4B4290E}"/>
              </a:ext>
            </a:extLst>
          </p:cNvPr>
          <p:cNvSpPr/>
          <p:nvPr/>
        </p:nvSpPr>
        <p:spPr bwMode="gray">
          <a:xfrm>
            <a:off x="7761210" y="2059391"/>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Rectangle 9">
            <a:extLst>
              <a:ext uri="{FF2B5EF4-FFF2-40B4-BE49-F238E27FC236}">
                <a16:creationId xmlns:a16="http://schemas.microsoft.com/office/drawing/2014/main" id="{B00991CE-C8D2-1CA6-E734-95BBB3F60CED}"/>
              </a:ext>
            </a:extLst>
          </p:cNvPr>
          <p:cNvSpPr/>
          <p:nvPr/>
        </p:nvSpPr>
        <p:spPr bwMode="gray">
          <a:xfrm>
            <a:off x="5920392" y="2059391"/>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Rectangle 10">
            <a:extLst>
              <a:ext uri="{FF2B5EF4-FFF2-40B4-BE49-F238E27FC236}">
                <a16:creationId xmlns:a16="http://schemas.microsoft.com/office/drawing/2014/main" id="{555C0ACB-DD74-9538-04C1-F20BDB23E468}"/>
              </a:ext>
            </a:extLst>
          </p:cNvPr>
          <p:cNvSpPr/>
          <p:nvPr/>
        </p:nvSpPr>
        <p:spPr bwMode="gray">
          <a:xfrm>
            <a:off x="2238751" y="2059883"/>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2" name="Group 11">
            <a:extLst>
              <a:ext uri="{FF2B5EF4-FFF2-40B4-BE49-F238E27FC236}">
                <a16:creationId xmlns:a16="http://schemas.microsoft.com/office/drawing/2014/main" id="{D7D543F3-CAEB-CE93-8AF4-BFC998724BC8}"/>
              </a:ext>
            </a:extLst>
          </p:cNvPr>
          <p:cNvGrpSpPr/>
          <p:nvPr/>
        </p:nvGrpSpPr>
        <p:grpSpPr>
          <a:xfrm>
            <a:off x="8515205" y="1400341"/>
            <a:ext cx="3147278" cy="190977"/>
            <a:chOff x="8165583" y="5636171"/>
            <a:chExt cx="3147278" cy="190977"/>
          </a:xfrm>
        </p:grpSpPr>
        <p:sp>
          <p:nvSpPr>
            <p:cNvPr id="13" name="Rectangle 12">
              <a:extLst>
                <a:ext uri="{FF2B5EF4-FFF2-40B4-BE49-F238E27FC236}">
                  <a16:creationId xmlns:a16="http://schemas.microsoft.com/office/drawing/2014/main" id="{84C40288-FB59-90EA-6187-5CBDCB998AF0}"/>
                </a:ext>
              </a:extLst>
            </p:cNvPr>
            <p:cNvSpPr/>
            <p:nvPr/>
          </p:nvSpPr>
          <p:spPr bwMode="gray">
            <a:xfrm>
              <a:off x="8165583" y="5636171"/>
              <a:ext cx="1029233" cy="190977"/>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re desirable</a:t>
              </a:r>
            </a:p>
          </p:txBody>
        </p:sp>
        <p:sp>
          <p:nvSpPr>
            <p:cNvPr id="14" name="Rectangle 13">
              <a:extLst>
                <a:ext uri="{FF2B5EF4-FFF2-40B4-BE49-F238E27FC236}">
                  <a16:creationId xmlns:a16="http://schemas.microsoft.com/office/drawing/2014/main" id="{9339E3EF-102D-DD34-5AA1-D6258DB86D50}"/>
                </a:ext>
              </a:extLst>
            </p:cNvPr>
            <p:cNvSpPr/>
            <p:nvPr/>
          </p:nvSpPr>
          <p:spPr bwMode="gray">
            <a:xfrm>
              <a:off x="9224607" y="5636171"/>
              <a:ext cx="1029233" cy="19097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derate</a:t>
              </a:r>
            </a:p>
          </p:txBody>
        </p:sp>
        <p:sp>
          <p:nvSpPr>
            <p:cNvPr id="15" name="Rectangle 14">
              <a:extLst>
                <a:ext uri="{FF2B5EF4-FFF2-40B4-BE49-F238E27FC236}">
                  <a16:creationId xmlns:a16="http://schemas.microsoft.com/office/drawing/2014/main" id="{6A2AEC7A-4606-717E-A48A-2341CB11DFA2}"/>
                </a:ext>
              </a:extLst>
            </p:cNvPr>
            <p:cNvSpPr/>
            <p:nvPr/>
          </p:nvSpPr>
          <p:spPr bwMode="gray">
            <a:xfrm>
              <a:off x="10283628" y="5636171"/>
              <a:ext cx="1029233" cy="190977"/>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re challenging</a:t>
              </a:r>
            </a:p>
          </p:txBody>
        </p:sp>
      </p:grpSp>
      <p:sp>
        <p:nvSpPr>
          <p:cNvPr id="16" name="Rectangle 15">
            <a:extLst>
              <a:ext uri="{FF2B5EF4-FFF2-40B4-BE49-F238E27FC236}">
                <a16:creationId xmlns:a16="http://schemas.microsoft.com/office/drawing/2014/main" id="{AE23B37C-26FF-7040-E90A-578CB0CF8D8E}"/>
              </a:ext>
            </a:extLst>
          </p:cNvPr>
          <p:cNvSpPr/>
          <p:nvPr/>
        </p:nvSpPr>
        <p:spPr bwMode="gray">
          <a:xfrm>
            <a:off x="4061392" y="2059883"/>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330CACE9-EB3F-D3BB-5A35-AF2B043E61D7}"/>
              </a:ext>
            </a:extLst>
          </p:cNvPr>
          <p:cNvSpPr/>
          <p:nvPr/>
        </p:nvSpPr>
        <p:spPr bwMode="gray">
          <a:xfrm>
            <a:off x="9609116" y="2059391"/>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C5C924FD-47D6-B45E-339C-AC6155351094}"/>
              </a:ext>
            </a:extLst>
          </p:cNvPr>
          <p:cNvSpPr/>
          <p:nvPr/>
        </p:nvSpPr>
        <p:spPr bwMode="gray">
          <a:xfrm>
            <a:off x="7761210" y="28640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8EA98991-820B-80B8-6AEC-31F61B9B0E7F}"/>
              </a:ext>
            </a:extLst>
          </p:cNvPr>
          <p:cNvSpPr/>
          <p:nvPr/>
        </p:nvSpPr>
        <p:spPr bwMode="gray">
          <a:xfrm>
            <a:off x="5920392" y="28640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Rectangle 19">
            <a:extLst>
              <a:ext uri="{FF2B5EF4-FFF2-40B4-BE49-F238E27FC236}">
                <a16:creationId xmlns:a16="http://schemas.microsoft.com/office/drawing/2014/main" id="{CD70A6D9-2B7D-BB06-9805-63016FB4CE57}"/>
              </a:ext>
            </a:extLst>
          </p:cNvPr>
          <p:cNvSpPr/>
          <p:nvPr/>
        </p:nvSpPr>
        <p:spPr bwMode="gray">
          <a:xfrm>
            <a:off x="2238751" y="28645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tangle 20">
            <a:extLst>
              <a:ext uri="{FF2B5EF4-FFF2-40B4-BE49-F238E27FC236}">
                <a16:creationId xmlns:a16="http://schemas.microsoft.com/office/drawing/2014/main" id="{9E1FD516-6C11-C7F3-F48F-A8DAFC8B22D0}"/>
              </a:ext>
            </a:extLst>
          </p:cNvPr>
          <p:cNvSpPr/>
          <p:nvPr/>
        </p:nvSpPr>
        <p:spPr bwMode="gray">
          <a:xfrm>
            <a:off x="4061392" y="28645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Rectangle 21">
            <a:extLst>
              <a:ext uri="{FF2B5EF4-FFF2-40B4-BE49-F238E27FC236}">
                <a16:creationId xmlns:a16="http://schemas.microsoft.com/office/drawing/2014/main" id="{5E8BE374-70C1-38CB-DE1D-DAFF32C7D31A}"/>
              </a:ext>
            </a:extLst>
          </p:cNvPr>
          <p:cNvSpPr/>
          <p:nvPr/>
        </p:nvSpPr>
        <p:spPr bwMode="gray">
          <a:xfrm>
            <a:off x="9609116" y="28640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Rectangle 22">
            <a:extLst>
              <a:ext uri="{FF2B5EF4-FFF2-40B4-BE49-F238E27FC236}">
                <a16:creationId xmlns:a16="http://schemas.microsoft.com/office/drawing/2014/main" id="{7ACE1AA8-03EF-ADF3-5C0A-790916012FE0}"/>
              </a:ext>
            </a:extLst>
          </p:cNvPr>
          <p:cNvSpPr/>
          <p:nvPr/>
        </p:nvSpPr>
        <p:spPr bwMode="gray">
          <a:xfrm>
            <a:off x="7761210" y="3313816"/>
            <a:ext cx="54864" cy="25291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Rectangle 23">
            <a:extLst>
              <a:ext uri="{FF2B5EF4-FFF2-40B4-BE49-F238E27FC236}">
                <a16:creationId xmlns:a16="http://schemas.microsoft.com/office/drawing/2014/main" id="{CC50BF2A-AFB3-3135-767A-67D82C27032C}"/>
              </a:ext>
            </a:extLst>
          </p:cNvPr>
          <p:cNvSpPr/>
          <p:nvPr/>
        </p:nvSpPr>
        <p:spPr bwMode="gray">
          <a:xfrm>
            <a:off x="5920392" y="3313816"/>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Rectangle 24">
            <a:extLst>
              <a:ext uri="{FF2B5EF4-FFF2-40B4-BE49-F238E27FC236}">
                <a16:creationId xmlns:a16="http://schemas.microsoft.com/office/drawing/2014/main" id="{9F36DC21-1C0D-B315-2A78-3043FBFA1263}"/>
              </a:ext>
            </a:extLst>
          </p:cNvPr>
          <p:cNvSpPr/>
          <p:nvPr/>
        </p:nvSpPr>
        <p:spPr bwMode="gray">
          <a:xfrm>
            <a:off x="2238751" y="3314308"/>
            <a:ext cx="53622" cy="254191"/>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Rectangle 25">
            <a:extLst>
              <a:ext uri="{FF2B5EF4-FFF2-40B4-BE49-F238E27FC236}">
                <a16:creationId xmlns:a16="http://schemas.microsoft.com/office/drawing/2014/main" id="{BA009884-DD21-825D-0679-FBF2673278B1}"/>
              </a:ext>
            </a:extLst>
          </p:cNvPr>
          <p:cNvSpPr/>
          <p:nvPr/>
        </p:nvSpPr>
        <p:spPr bwMode="gray">
          <a:xfrm>
            <a:off x="4061392" y="3314308"/>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64EBD195-B6D6-6525-1191-FD17141D4316}"/>
              </a:ext>
            </a:extLst>
          </p:cNvPr>
          <p:cNvSpPr/>
          <p:nvPr/>
        </p:nvSpPr>
        <p:spPr bwMode="gray">
          <a:xfrm>
            <a:off x="9609116" y="3313816"/>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AF2CD6CD-66FD-0D8C-8746-864D8E4BFC31}"/>
              </a:ext>
            </a:extLst>
          </p:cNvPr>
          <p:cNvSpPr/>
          <p:nvPr/>
        </p:nvSpPr>
        <p:spPr bwMode="gray">
          <a:xfrm>
            <a:off x="7761210" y="3759947"/>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Rectangle 28">
            <a:extLst>
              <a:ext uri="{FF2B5EF4-FFF2-40B4-BE49-F238E27FC236}">
                <a16:creationId xmlns:a16="http://schemas.microsoft.com/office/drawing/2014/main" id="{0EF0F80C-1CF6-96E2-5BCF-DED5DA465E7D}"/>
              </a:ext>
            </a:extLst>
          </p:cNvPr>
          <p:cNvSpPr/>
          <p:nvPr/>
        </p:nvSpPr>
        <p:spPr bwMode="gray">
          <a:xfrm>
            <a:off x="5920392" y="3759947"/>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Rectangle 29">
            <a:extLst>
              <a:ext uri="{FF2B5EF4-FFF2-40B4-BE49-F238E27FC236}">
                <a16:creationId xmlns:a16="http://schemas.microsoft.com/office/drawing/2014/main" id="{6252A95C-05DC-9A09-8686-BE3CE22B77B3}"/>
              </a:ext>
            </a:extLst>
          </p:cNvPr>
          <p:cNvSpPr/>
          <p:nvPr/>
        </p:nvSpPr>
        <p:spPr bwMode="gray">
          <a:xfrm>
            <a:off x="2238751" y="3760439"/>
            <a:ext cx="53622" cy="254191"/>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Rectangle 30">
            <a:extLst>
              <a:ext uri="{FF2B5EF4-FFF2-40B4-BE49-F238E27FC236}">
                <a16:creationId xmlns:a16="http://schemas.microsoft.com/office/drawing/2014/main" id="{5D28CFEB-6C60-80E3-9AC5-E55D96F8E622}"/>
              </a:ext>
            </a:extLst>
          </p:cNvPr>
          <p:cNvSpPr/>
          <p:nvPr/>
        </p:nvSpPr>
        <p:spPr bwMode="gray">
          <a:xfrm>
            <a:off x="4061392" y="3760439"/>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Rectangle 31">
            <a:extLst>
              <a:ext uri="{FF2B5EF4-FFF2-40B4-BE49-F238E27FC236}">
                <a16:creationId xmlns:a16="http://schemas.microsoft.com/office/drawing/2014/main" id="{04638D08-C28F-9B97-5FAF-9FF77C3C4F13}"/>
              </a:ext>
            </a:extLst>
          </p:cNvPr>
          <p:cNvSpPr/>
          <p:nvPr/>
        </p:nvSpPr>
        <p:spPr bwMode="gray">
          <a:xfrm>
            <a:off x="9609116" y="3759947"/>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B5C1994A-DF07-619C-E396-DAB57C120ACB}"/>
              </a:ext>
            </a:extLst>
          </p:cNvPr>
          <p:cNvSpPr/>
          <p:nvPr/>
        </p:nvSpPr>
        <p:spPr bwMode="gray">
          <a:xfrm>
            <a:off x="7761210" y="41856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4CF20FF9-91C6-FE66-AA4F-00D50ABD2D0A}"/>
              </a:ext>
            </a:extLst>
          </p:cNvPr>
          <p:cNvSpPr/>
          <p:nvPr/>
        </p:nvSpPr>
        <p:spPr bwMode="gray">
          <a:xfrm>
            <a:off x="5920392" y="41856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4655DE4B-0685-2529-EED1-4764DDCE7082}"/>
              </a:ext>
            </a:extLst>
          </p:cNvPr>
          <p:cNvSpPr/>
          <p:nvPr/>
        </p:nvSpPr>
        <p:spPr bwMode="gray">
          <a:xfrm>
            <a:off x="2238751" y="41861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672AF91F-D677-A729-581F-D969B94C1A61}"/>
              </a:ext>
            </a:extLst>
          </p:cNvPr>
          <p:cNvSpPr/>
          <p:nvPr/>
        </p:nvSpPr>
        <p:spPr bwMode="gray">
          <a:xfrm>
            <a:off x="9609116" y="41856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2ABDF42F-D7AB-283B-4EAD-BFA6B6B21B14}"/>
              </a:ext>
            </a:extLst>
          </p:cNvPr>
          <p:cNvSpPr/>
          <p:nvPr/>
        </p:nvSpPr>
        <p:spPr bwMode="gray">
          <a:xfrm>
            <a:off x="4061392" y="41856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Rectangle 37">
            <a:extLst>
              <a:ext uri="{FF2B5EF4-FFF2-40B4-BE49-F238E27FC236}">
                <a16:creationId xmlns:a16="http://schemas.microsoft.com/office/drawing/2014/main" id="{212083AA-D222-795A-E2C3-D2152D10A067}"/>
              </a:ext>
            </a:extLst>
          </p:cNvPr>
          <p:cNvSpPr/>
          <p:nvPr/>
        </p:nvSpPr>
        <p:spPr bwMode="gray">
          <a:xfrm>
            <a:off x="7761210" y="4932952"/>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Rectangle 38">
            <a:extLst>
              <a:ext uri="{FF2B5EF4-FFF2-40B4-BE49-F238E27FC236}">
                <a16:creationId xmlns:a16="http://schemas.microsoft.com/office/drawing/2014/main" id="{CC84BD8B-9A03-FBC8-12D8-930A62EACAAD}"/>
              </a:ext>
            </a:extLst>
          </p:cNvPr>
          <p:cNvSpPr/>
          <p:nvPr/>
        </p:nvSpPr>
        <p:spPr bwMode="gray">
          <a:xfrm>
            <a:off x="2238751" y="4933444"/>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B609141E-8049-E73A-9FA7-99D0D9E54B20}"/>
              </a:ext>
            </a:extLst>
          </p:cNvPr>
          <p:cNvSpPr/>
          <p:nvPr/>
        </p:nvSpPr>
        <p:spPr bwMode="gray">
          <a:xfrm>
            <a:off x="9609116" y="4942477"/>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Rectangle 40">
            <a:extLst>
              <a:ext uri="{FF2B5EF4-FFF2-40B4-BE49-F238E27FC236}">
                <a16:creationId xmlns:a16="http://schemas.microsoft.com/office/drawing/2014/main" id="{B95E43FA-6725-7A6F-9863-655FEF6DD58C}"/>
              </a:ext>
            </a:extLst>
          </p:cNvPr>
          <p:cNvSpPr/>
          <p:nvPr/>
        </p:nvSpPr>
        <p:spPr bwMode="gray">
          <a:xfrm>
            <a:off x="4064186" y="4932952"/>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6CD1FF88-2E98-370C-42E9-C91F7F223E07}"/>
              </a:ext>
            </a:extLst>
          </p:cNvPr>
          <p:cNvSpPr/>
          <p:nvPr/>
        </p:nvSpPr>
        <p:spPr bwMode="gray">
          <a:xfrm>
            <a:off x="7761210" y="5340315"/>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E2085A02-B1BA-09C6-2FC9-8C9B846021EC}"/>
              </a:ext>
            </a:extLst>
          </p:cNvPr>
          <p:cNvSpPr/>
          <p:nvPr/>
        </p:nvSpPr>
        <p:spPr bwMode="gray">
          <a:xfrm>
            <a:off x="5920392" y="5340315"/>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D5A5192A-5745-D32A-D5F0-7C366A5DA8D0}"/>
              </a:ext>
            </a:extLst>
          </p:cNvPr>
          <p:cNvSpPr/>
          <p:nvPr/>
        </p:nvSpPr>
        <p:spPr bwMode="gray">
          <a:xfrm>
            <a:off x="9609116" y="534984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5889FDEC-30F9-3C8D-62F1-0629EED10868}"/>
              </a:ext>
            </a:extLst>
          </p:cNvPr>
          <p:cNvSpPr/>
          <p:nvPr/>
        </p:nvSpPr>
        <p:spPr bwMode="gray">
          <a:xfrm>
            <a:off x="5917247" y="4933444"/>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CB863167-C8AD-75DD-704B-608D49E84659}"/>
              </a:ext>
            </a:extLst>
          </p:cNvPr>
          <p:cNvSpPr/>
          <p:nvPr/>
        </p:nvSpPr>
        <p:spPr bwMode="gray">
          <a:xfrm>
            <a:off x="2243712" y="5353335"/>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Rectangle 46">
            <a:extLst>
              <a:ext uri="{FF2B5EF4-FFF2-40B4-BE49-F238E27FC236}">
                <a16:creationId xmlns:a16="http://schemas.microsoft.com/office/drawing/2014/main" id="{1C7EC08D-ADE6-D20B-FC05-4A015E40B5E2}"/>
              </a:ext>
            </a:extLst>
          </p:cNvPr>
          <p:cNvSpPr/>
          <p:nvPr/>
        </p:nvSpPr>
        <p:spPr bwMode="gray">
          <a:xfrm>
            <a:off x="4061392" y="534984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8760090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6A95797-EE68-6D8E-7A5D-76127031AA6C}"/>
              </a:ext>
            </a:extLst>
          </p:cNvPr>
          <p:cNvGraphicFramePr>
            <a:graphicFrameLocks/>
          </p:cNvGraphicFramePr>
          <p:nvPr>
            <p:custDataLst>
              <p:tags r:id="rId1"/>
            </p:custDataLst>
            <p:extLst>
              <p:ext uri="{D42A27DB-BD31-4B8C-83A1-F6EECF244321}">
                <p14:modId xmlns:p14="http://schemas.microsoft.com/office/powerpoint/2010/main" val="17193205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A25F420-35AB-9DD7-EFB9-B1612DEF0AE6}"/>
              </a:ext>
            </a:extLst>
          </p:cNvPr>
          <p:cNvSpPr>
            <a:spLocks noGrp="1"/>
          </p:cNvSpPr>
          <p:nvPr>
            <p:ph type="body" sz="quarter" idx="13"/>
          </p:nvPr>
        </p:nvSpPr>
        <p:spPr/>
        <p:txBody>
          <a:bodyPr/>
          <a:lstStyle/>
          <a:p>
            <a:r>
              <a:rPr lang="en-US" dirty="0"/>
              <a:t>Non-exhaustive overview of opportunities and challenges</a:t>
            </a:r>
          </a:p>
        </p:txBody>
      </p:sp>
      <p:sp>
        <p:nvSpPr>
          <p:cNvPr id="3" name="Title 2">
            <a:extLst>
              <a:ext uri="{FF2B5EF4-FFF2-40B4-BE49-F238E27FC236}">
                <a16:creationId xmlns:a16="http://schemas.microsoft.com/office/drawing/2014/main" id="{1ADE8CD5-168F-DDA8-68EB-95F723A861B0}"/>
              </a:ext>
            </a:extLst>
          </p:cNvPr>
          <p:cNvSpPr>
            <a:spLocks noGrp="1"/>
          </p:cNvSpPr>
          <p:nvPr>
            <p:ph type="title"/>
          </p:nvPr>
        </p:nvSpPr>
        <p:spPr/>
        <p:txBody>
          <a:bodyPr vert="horz" rIns="91440"/>
          <a:lstStyle/>
          <a:p>
            <a:r>
              <a:rPr lang="en-US" dirty="0"/>
              <a:t>Nuclear and geothermal both offer firm, low-carbon power but face distinct financing, technical, and deployment challenges</a:t>
            </a:r>
          </a:p>
        </p:txBody>
      </p:sp>
      <p:sp>
        <p:nvSpPr>
          <p:cNvPr id="5" name="Footer Placeholder 4">
            <a:extLst>
              <a:ext uri="{FF2B5EF4-FFF2-40B4-BE49-F238E27FC236}">
                <a16:creationId xmlns:a16="http://schemas.microsoft.com/office/drawing/2014/main" id="{BE6A8C61-36D4-CB70-B80E-20AEE524EE11}"/>
              </a:ext>
            </a:extLst>
          </p:cNvPr>
          <p:cNvSpPr>
            <a:spLocks noGrp="1"/>
          </p:cNvSpPr>
          <p:nvPr>
            <p:ph type="ftr" sz="quarter" idx="3"/>
          </p:nvPr>
        </p:nvSpPr>
        <p:spPr>
          <a:xfrm>
            <a:off x="334962" y="6185041"/>
            <a:ext cx="9147241" cy="216706"/>
          </a:xfrm>
        </p:spPr>
        <p:txBody>
          <a:bodyPr/>
          <a:lstStyle/>
          <a:p>
            <a:pPr marL="0" indent="0">
              <a:spcBef>
                <a:spcPts val="0"/>
              </a:spcBef>
              <a:buNone/>
            </a:pPr>
            <a:r>
              <a:rPr lang="en-US" dirty="0">
                <a:solidFill>
                  <a:schemeClr val="tx1"/>
                </a:solidFill>
              </a:rPr>
              <a:t>Sources: </a:t>
            </a:r>
            <a:r>
              <a:rPr lang="en-US" dirty="0">
                <a:hlinkClick r:id="rId6"/>
              </a:rPr>
              <a:t>Pathways to Commercial Liftoff: Advanced Nuclear</a:t>
            </a:r>
            <a:r>
              <a:rPr lang="en-US" dirty="0"/>
              <a:t> </a:t>
            </a:r>
            <a:r>
              <a:rPr lang="en-US" dirty="0">
                <a:solidFill>
                  <a:schemeClr val="tx1"/>
                </a:solidFill>
              </a:rPr>
              <a:t>(DOE, 2024); </a:t>
            </a:r>
            <a:r>
              <a:rPr lang="en-US" dirty="0">
                <a:solidFill>
                  <a:srgbClr val="000000"/>
                </a:solidFill>
                <a:latin typeface="Arial" panose="020B0604020202020204" pitchFamily="34" charset="0"/>
                <a:cs typeface="Arial" panose="020B0604020202020204" pitchFamily="34" charset="0"/>
                <a:hlinkClick r:id="rId7"/>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rPr>
              <a:t>; </a:t>
            </a:r>
            <a:r>
              <a:rPr lang="en-US" dirty="0">
                <a:hlinkClick r:id="rId8"/>
              </a:rPr>
              <a:t>The Potential for Geothermal Energy to Meet Growing Data Center Electricity Demand</a:t>
            </a:r>
            <a:r>
              <a:rPr lang="en-US" dirty="0"/>
              <a:t> </a:t>
            </a:r>
            <a:r>
              <a:rPr lang="en-US" dirty="0">
                <a:solidFill>
                  <a:schemeClr val="tx1"/>
                </a:solidFill>
              </a:rPr>
              <a:t>(Rhodium Group, 2025); </a:t>
            </a:r>
            <a:r>
              <a:rPr lang="en-US" dirty="0">
                <a:hlinkClick r:id="rId9"/>
              </a:rPr>
              <a:t>The Future of Geothermal Energy</a:t>
            </a:r>
            <a:r>
              <a:rPr lang="en-US" dirty="0"/>
              <a:t> </a:t>
            </a:r>
            <a:r>
              <a:rPr lang="en-US" dirty="0">
                <a:solidFill>
                  <a:schemeClr val="tx1"/>
                </a:solidFill>
              </a:rPr>
              <a:t>(IEA, 2024); </a:t>
            </a:r>
            <a:r>
              <a:rPr lang="en-US" dirty="0">
                <a:hlinkClick r:id="rId10"/>
              </a:rPr>
              <a:t>Net Zero Roadmap</a:t>
            </a:r>
            <a:r>
              <a:rPr lang="en-US" dirty="0"/>
              <a:t> </a:t>
            </a:r>
            <a:r>
              <a:rPr lang="en-US" dirty="0">
                <a:solidFill>
                  <a:schemeClr val="tx1"/>
                </a:solidFill>
              </a:rPr>
              <a:t>(IEA, 2023); </a:t>
            </a:r>
            <a:r>
              <a:rPr lang="en-US" dirty="0">
                <a:hlinkClick r:id="rId11"/>
              </a:rPr>
              <a:t>Nuclear Power in the USA</a:t>
            </a:r>
            <a:r>
              <a:rPr lang="en-US" dirty="0"/>
              <a:t> </a:t>
            </a:r>
            <a:r>
              <a:rPr lang="en-US" dirty="0">
                <a:solidFill>
                  <a:schemeClr val="tx1"/>
                </a:solidFill>
              </a:rPr>
              <a:t>(World Nuclear Association, 2025); </a:t>
            </a:r>
            <a:r>
              <a:rPr lang="en-US" dirty="0">
                <a:hlinkClick r:id="rId12"/>
              </a:rPr>
              <a:t>Geothermal Resources and Technologies</a:t>
            </a:r>
            <a:r>
              <a:rPr lang="en-US" dirty="0"/>
              <a:t> </a:t>
            </a:r>
            <a:r>
              <a:rPr lang="en-US" dirty="0">
                <a:solidFill>
                  <a:schemeClr val="tx1"/>
                </a:solidFill>
              </a:rPr>
              <a:t>(NREL, n.d.).</a:t>
            </a:r>
          </a:p>
          <a:p>
            <a:pPr marL="0" indent="0">
              <a:spcBef>
                <a:spcPts val="0"/>
              </a:spcBef>
              <a:buNone/>
            </a:pPr>
            <a:r>
              <a:rPr lang="en-US" dirty="0">
                <a:solidFill>
                  <a:srgbClr val="000000"/>
                </a:solidFill>
              </a:rPr>
              <a:t>Credit: Heather Hartel, Isabel Hoyos, and </a:t>
            </a:r>
            <a:r>
              <a:rPr lang="en-US" dirty="0">
                <a:hlinkClick r:id="rId13"/>
              </a:rPr>
              <a:t>Gernot Wagner.</a:t>
            </a:r>
            <a:r>
              <a:rPr lang="en-US" dirty="0">
                <a:solidFill>
                  <a:srgbClr val="000000"/>
                </a:solidFill>
              </a:rPr>
              <a:t> </a:t>
            </a:r>
            <a:r>
              <a:rPr lang="en-US" dirty="0">
                <a:hlinkClick r:id="rId1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marL="0" indent="0">
              <a:spcBef>
                <a:spcPts val="0"/>
              </a:spcBef>
              <a:buNone/>
            </a:pPr>
            <a:endParaRPr lang="en-US" dirty="0"/>
          </a:p>
        </p:txBody>
      </p:sp>
      <p:sp>
        <p:nvSpPr>
          <p:cNvPr id="6" name="Text Placeholder 1">
            <a:extLst>
              <a:ext uri="{FF2B5EF4-FFF2-40B4-BE49-F238E27FC236}">
                <a16:creationId xmlns:a16="http://schemas.microsoft.com/office/drawing/2014/main" id="{A7A764CD-8421-24DB-34B9-8EEC910A02BE}"/>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bg1"/>
                </a:solidFill>
              </a:rPr>
              <a:t>Deployment: Baseload power</a:t>
            </a:r>
            <a:endParaRPr lang="en-US" sz="1600" b="1" dirty="0">
              <a:solidFill>
                <a:schemeClr val="bg1"/>
              </a:solidFill>
            </a:endParaRPr>
          </a:p>
        </p:txBody>
      </p:sp>
      <p:sp>
        <p:nvSpPr>
          <p:cNvPr id="8" name="Rectangle 7">
            <a:extLst>
              <a:ext uri="{FF2B5EF4-FFF2-40B4-BE49-F238E27FC236}">
                <a16:creationId xmlns:a16="http://schemas.microsoft.com/office/drawing/2014/main" id="{8E7AA59A-CA24-60E5-7626-B8CC85477EB2}"/>
              </a:ext>
            </a:extLst>
          </p:cNvPr>
          <p:cNvSpPr/>
          <p:nvPr/>
        </p:nvSpPr>
        <p:spPr bwMode="gray">
          <a:xfrm>
            <a:off x="3469180" y="2125103"/>
            <a:ext cx="3640183" cy="3260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Nuclear</a:t>
            </a:r>
          </a:p>
        </p:txBody>
      </p:sp>
      <p:sp>
        <p:nvSpPr>
          <p:cNvPr id="9" name="Rectangle 8">
            <a:extLst>
              <a:ext uri="{FF2B5EF4-FFF2-40B4-BE49-F238E27FC236}">
                <a16:creationId xmlns:a16="http://schemas.microsoft.com/office/drawing/2014/main" id="{48A0C71A-B46D-80FE-8C75-B811151AED13}"/>
              </a:ext>
            </a:extLst>
          </p:cNvPr>
          <p:cNvSpPr/>
          <p:nvPr/>
        </p:nvSpPr>
        <p:spPr bwMode="gray">
          <a:xfrm>
            <a:off x="7257409" y="2125103"/>
            <a:ext cx="3640183" cy="3260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Geothermal</a:t>
            </a:r>
          </a:p>
        </p:txBody>
      </p:sp>
      <p:sp>
        <p:nvSpPr>
          <p:cNvPr id="10" name="Rectangle 9">
            <a:extLst>
              <a:ext uri="{FF2B5EF4-FFF2-40B4-BE49-F238E27FC236}">
                <a16:creationId xmlns:a16="http://schemas.microsoft.com/office/drawing/2014/main" id="{414F5C40-6981-1AA0-FC19-D750143E9E6E}"/>
              </a:ext>
            </a:extLst>
          </p:cNvPr>
          <p:cNvSpPr/>
          <p:nvPr/>
        </p:nvSpPr>
        <p:spPr bwMode="gray">
          <a:xfrm>
            <a:off x="475314" y="2579718"/>
            <a:ext cx="2924198" cy="15272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Opportunities</a:t>
            </a:r>
          </a:p>
        </p:txBody>
      </p:sp>
      <p:sp>
        <p:nvSpPr>
          <p:cNvPr id="11" name="Rectangle 10">
            <a:extLst>
              <a:ext uri="{FF2B5EF4-FFF2-40B4-BE49-F238E27FC236}">
                <a16:creationId xmlns:a16="http://schemas.microsoft.com/office/drawing/2014/main" id="{47234EDF-552E-2314-C069-C8B490C47827}"/>
              </a:ext>
            </a:extLst>
          </p:cNvPr>
          <p:cNvSpPr/>
          <p:nvPr/>
        </p:nvSpPr>
        <p:spPr bwMode="gray">
          <a:xfrm>
            <a:off x="475312" y="4246916"/>
            <a:ext cx="2924199" cy="186512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marL="0" indent="0" algn="ctr">
              <a:buNone/>
            </a:pPr>
            <a:r>
              <a:rPr lang="en-US" b="1" dirty="0">
                <a:solidFill>
                  <a:schemeClr val="bg1"/>
                </a:solidFill>
              </a:rPr>
              <a:t>Challenges</a:t>
            </a:r>
            <a:endParaRPr lang="en-US" sz="1600" b="1" dirty="0">
              <a:solidFill>
                <a:schemeClr val="bg1"/>
              </a:solidFill>
            </a:endParaRPr>
          </a:p>
        </p:txBody>
      </p:sp>
      <p:sp>
        <p:nvSpPr>
          <p:cNvPr id="12" name="Rectangle 11">
            <a:extLst>
              <a:ext uri="{FF2B5EF4-FFF2-40B4-BE49-F238E27FC236}">
                <a16:creationId xmlns:a16="http://schemas.microsoft.com/office/drawing/2014/main" id="{1D2333C8-F5E7-E447-3FE6-6D2F5478F556}"/>
              </a:ext>
            </a:extLst>
          </p:cNvPr>
          <p:cNvSpPr/>
          <p:nvPr/>
        </p:nvSpPr>
        <p:spPr bwMode="gray">
          <a:xfrm>
            <a:off x="3469180" y="2579875"/>
            <a:ext cx="7428412"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Provide </a:t>
            </a:r>
            <a:r>
              <a:rPr lang="en-US" sz="1200" b="1" dirty="0">
                <a:solidFill>
                  <a:schemeClr val="tx1"/>
                </a:solidFill>
              </a:rPr>
              <a:t>firm, dispatchable, low-carbon </a:t>
            </a:r>
            <a:r>
              <a:rPr lang="en-US" sz="1200" dirty="0">
                <a:solidFill>
                  <a:schemeClr val="tx1"/>
                </a:solidFill>
              </a:rPr>
              <a:t>baseload power</a:t>
            </a:r>
          </a:p>
        </p:txBody>
      </p:sp>
      <p:sp>
        <p:nvSpPr>
          <p:cNvPr id="13" name="Rectangle 12">
            <a:extLst>
              <a:ext uri="{FF2B5EF4-FFF2-40B4-BE49-F238E27FC236}">
                <a16:creationId xmlns:a16="http://schemas.microsoft.com/office/drawing/2014/main" id="{0C51BC93-A39A-D264-C159-50E4E417D022}"/>
              </a:ext>
            </a:extLst>
          </p:cNvPr>
          <p:cNvSpPr/>
          <p:nvPr/>
        </p:nvSpPr>
        <p:spPr bwMode="gray">
          <a:xfrm>
            <a:off x="7257409" y="3538165"/>
            <a:ext cx="3640183"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EGSs </a:t>
            </a:r>
            <a:r>
              <a:rPr lang="en-US" sz="1200" b="1" dirty="0">
                <a:solidFill>
                  <a:schemeClr val="tx1"/>
                </a:solidFill>
              </a:rPr>
              <a:t>expand resource base</a:t>
            </a:r>
          </a:p>
        </p:txBody>
      </p:sp>
      <p:sp>
        <p:nvSpPr>
          <p:cNvPr id="14" name="Rectangle 13">
            <a:extLst>
              <a:ext uri="{FF2B5EF4-FFF2-40B4-BE49-F238E27FC236}">
                <a16:creationId xmlns:a16="http://schemas.microsoft.com/office/drawing/2014/main" id="{A3387617-B3F8-A8A2-4DCC-B4F55C52A87E}"/>
              </a:ext>
            </a:extLst>
          </p:cNvPr>
          <p:cNvSpPr/>
          <p:nvPr/>
        </p:nvSpPr>
        <p:spPr bwMode="gray">
          <a:xfrm>
            <a:off x="3469179" y="5205362"/>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Public resistance </a:t>
            </a:r>
            <a:r>
              <a:rPr lang="en-US" sz="1200" dirty="0">
                <a:solidFill>
                  <a:schemeClr val="tx1"/>
                </a:solidFill>
              </a:rPr>
              <a:t>around safety, accidents, waste</a:t>
            </a:r>
          </a:p>
        </p:txBody>
      </p:sp>
      <p:sp>
        <p:nvSpPr>
          <p:cNvPr id="15" name="Rectangle 14">
            <a:extLst>
              <a:ext uri="{FF2B5EF4-FFF2-40B4-BE49-F238E27FC236}">
                <a16:creationId xmlns:a16="http://schemas.microsoft.com/office/drawing/2014/main" id="{0DCFF9B9-9EF5-DFBC-F399-909731412317}"/>
              </a:ext>
            </a:extLst>
          </p:cNvPr>
          <p:cNvSpPr/>
          <p:nvPr/>
        </p:nvSpPr>
        <p:spPr bwMode="gray">
          <a:xfrm>
            <a:off x="7257409" y="3857595"/>
            <a:ext cx="3640183"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Co-benefits: </a:t>
            </a:r>
            <a:r>
              <a:rPr lang="en-US" sz="1200" b="1" dirty="0">
                <a:solidFill>
                  <a:schemeClr val="tx1"/>
                </a:solidFill>
              </a:rPr>
              <a:t>heating, desalination, minerals</a:t>
            </a:r>
          </a:p>
        </p:txBody>
      </p:sp>
      <p:sp>
        <p:nvSpPr>
          <p:cNvPr id="16" name="Rectangle 15">
            <a:extLst>
              <a:ext uri="{FF2B5EF4-FFF2-40B4-BE49-F238E27FC236}">
                <a16:creationId xmlns:a16="http://schemas.microsoft.com/office/drawing/2014/main" id="{5837735B-E7B7-1769-9EE1-9DFCE8E8EEAF}"/>
              </a:ext>
            </a:extLst>
          </p:cNvPr>
          <p:cNvSpPr/>
          <p:nvPr/>
        </p:nvSpPr>
        <p:spPr bwMode="gray">
          <a:xfrm>
            <a:off x="3469180" y="2899305"/>
            <a:ext cx="7428412"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Long asset lifetimes </a:t>
            </a:r>
            <a:r>
              <a:rPr lang="en-US" sz="1200" dirty="0">
                <a:solidFill>
                  <a:schemeClr val="tx1"/>
                </a:solidFill>
              </a:rPr>
              <a:t>(with upgrades) </a:t>
            </a:r>
          </a:p>
        </p:txBody>
      </p:sp>
      <p:sp>
        <p:nvSpPr>
          <p:cNvPr id="17" name="Rectangle 16">
            <a:extLst>
              <a:ext uri="{FF2B5EF4-FFF2-40B4-BE49-F238E27FC236}">
                <a16:creationId xmlns:a16="http://schemas.microsoft.com/office/drawing/2014/main" id="{11D94FD9-4157-5EF2-7AF6-8B68E06F6F1F}"/>
              </a:ext>
            </a:extLst>
          </p:cNvPr>
          <p:cNvSpPr/>
          <p:nvPr/>
        </p:nvSpPr>
        <p:spPr bwMode="gray">
          <a:xfrm>
            <a:off x="3469179" y="4566503"/>
            <a:ext cx="7424928"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Long permitting and siting processes </a:t>
            </a:r>
            <a:r>
              <a:rPr lang="en-US" sz="1200" dirty="0">
                <a:solidFill>
                  <a:schemeClr val="tx1"/>
                </a:solidFill>
              </a:rPr>
              <a:t>compared to solar and wind</a:t>
            </a:r>
          </a:p>
        </p:txBody>
      </p:sp>
      <p:sp>
        <p:nvSpPr>
          <p:cNvPr id="18" name="Rectangle 17">
            <a:extLst>
              <a:ext uri="{FF2B5EF4-FFF2-40B4-BE49-F238E27FC236}">
                <a16:creationId xmlns:a16="http://schemas.microsoft.com/office/drawing/2014/main" id="{4145F303-4A1A-54EA-A613-A8DAC4489908}"/>
              </a:ext>
            </a:extLst>
          </p:cNvPr>
          <p:cNvSpPr/>
          <p:nvPr/>
        </p:nvSpPr>
        <p:spPr bwMode="gray">
          <a:xfrm>
            <a:off x="3469180" y="3218735"/>
            <a:ext cx="7428412"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Potential for </a:t>
            </a:r>
            <a:r>
              <a:rPr lang="en-US" sz="1200" b="1" dirty="0">
                <a:solidFill>
                  <a:schemeClr val="tx1"/>
                </a:solidFill>
              </a:rPr>
              <a:t>distributed/behind-the-meter deployment </a:t>
            </a:r>
            <a:r>
              <a:rPr lang="en-US" sz="1200" dirty="0">
                <a:solidFill>
                  <a:schemeClr val="tx1"/>
                </a:solidFill>
              </a:rPr>
              <a:t>near load centers</a:t>
            </a:r>
          </a:p>
        </p:txBody>
      </p:sp>
      <p:sp>
        <p:nvSpPr>
          <p:cNvPr id="19" name="Rectangle 18">
            <a:extLst>
              <a:ext uri="{FF2B5EF4-FFF2-40B4-BE49-F238E27FC236}">
                <a16:creationId xmlns:a16="http://schemas.microsoft.com/office/drawing/2014/main" id="{5D69F083-2009-8239-EFF8-91C045761EB6}"/>
              </a:ext>
            </a:extLst>
          </p:cNvPr>
          <p:cNvSpPr/>
          <p:nvPr/>
        </p:nvSpPr>
        <p:spPr bwMode="gray">
          <a:xfrm>
            <a:off x="3469179" y="5539284"/>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Limited viable siting options </a:t>
            </a:r>
            <a:r>
              <a:rPr lang="en-US" sz="1200" dirty="0">
                <a:solidFill>
                  <a:schemeClr val="tx1"/>
                </a:solidFill>
              </a:rPr>
              <a:t>(cooling water)</a:t>
            </a:r>
          </a:p>
        </p:txBody>
      </p:sp>
      <p:sp>
        <p:nvSpPr>
          <p:cNvPr id="20" name="Rectangle 19">
            <a:extLst>
              <a:ext uri="{FF2B5EF4-FFF2-40B4-BE49-F238E27FC236}">
                <a16:creationId xmlns:a16="http://schemas.microsoft.com/office/drawing/2014/main" id="{8F4881CD-0AEE-4CD2-FAD0-1790C0AA9346}"/>
              </a:ext>
            </a:extLst>
          </p:cNvPr>
          <p:cNvSpPr/>
          <p:nvPr/>
        </p:nvSpPr>
        <p:spPr bwMode="gray">
          <a:xfrm>
            <a:off x="7253923" y="5524793"/>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Seismicity concerns</a:t>
            </a:r>
            <a:r>
              <a:rPr lang="en-US" sz="1200" dirty="0">
                <a:solidFill>
                  <a:schemeClr val="tx1"/>
                </a:solidFill>
              </a:rPr>
              <a:t> from EGS</a:t>
            </a:r>
          </a:p>
        </p:txBody>
      </p:sp>
      <p:sp>
        <p:nvSpPr>
          <p:cNvPr id="21" name="Rectangle 20">
            <a:extLst>
              <a:ext uri="{FF2B5EF4-FFF2-40B4-BE49-F238E27FC236}">
                <a16:creationId xmlns:a16="http://schemas.microsoft.com/office/drawing/2014/main" id="{9C8BC563-3818-1BAB-2DCF-86DD780AE097}"/>
              </a:ext>
            </a:extLst>
          </p:cNvPr>
          <p:cNvSpPr/>
          <p:nvPr/>
        </p:nvSpPr>
        <p:spPr bwMode="gray">
          <a:xfrm>
            <a:off x="3469179" y="3538165"/>
            <a:ext cx="3640183"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i="0" dirty="0">
                <a:solidFill>
                  <a:srgbClr val="222222"/>
                </a:solidFill>
                <a:effectLst/>
              </a:rPr>
              <a:t>SMRs with </a:t>
            </a:r>
            <a:r>
              <a:rPr lang="en-US" sz="1200" b="1" i="0" dirty="0">
                <a:solidFill>
                  <a:srgbClr val="222222"/>
                </a:solidFill>
                <a:effectLst/>
              </a:rPr>
              <a:t>shorter construction timelines</a:t>
            </a:r>
            <a:endParaRPr lang="en-US" sz="1200" b="1" dirty="0">
              <a:solidFill>
                <a:schemeClr val="tx1"/>
              </a:solidFill>
            </a:endParaRPr>
          </a:p>
        </p:txBody>
      </p:sp>
      <p:sp>
        <p:nvSpPr>
          <p:cNvPr id="22" name="Rectangle 21">
            <a:extLst>
              <a:ext uri="{FF2B5EF4-FFF2-40B4-BE49-F238E27FC236}">
                <a16:creationId xmlns:a16="http://schemas.microsoft.com/office/drawing/2014/main" id="{05D592F7-C5B6-A8AA-98BE-E4FE70A69AE7}"/>
              </a:ext>
            </a:extLst>
          </p:cNvPr>
          <p:cNvSpPr/>
          <p:nvPr/>
        </p:nvSpPr>
        <p:spPr bwMode="gray">
          <a:xfrm>
            <a:off x="3469178" y="4883714"/>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NRC approval cycles drive </a:t>
            </a:r>
            <a:r>
              <a:rPr lang="en-US" sz="1200" b="1" dirty="0">
                <a:solidFill>
                  <a:schemeClr val="tx1"/>
                </a:solidFill>
              </a:rPr>
              <a:t>10- to 15-year timelines</a:t>
            </a:r>
          </a:p>
        </p:txBody>
      </p:sp>
      <p:cxnSp>
        <p:nvCxnSpPr>
          <p:cNvPr id="23" name="btfpColumnHeaderBoxLine912903">
            <a:extLst>
              <a:ext uri="{FF2B5EF4-FFF2-40B4-BE49-F238E27FC236}">
                <a16:creationId xmlns:a16="http://schemas.microsoft.com/office/drawing/2014/main" id="{9FCEAA2B-1E64-1DFB-215B-07A1B95E7B6F}"/>
              </a:ext>
            </a:extLst>
          </p:cNvPr>
          <p:cNvCxnSpPr>
            <a:cxnSpLocks/>
          </p:cNvCxnSpPr>
          <p:nvPr/>
        </p:nvCxnSpPr>
        <p:spPr bwMode="gray">
          <a:xfrm>
            <a:off x="475314" y="4177025"/>
            <a:ext cx="1042489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3D49B9D-1003-DA19-2DC5-0F335C2F7EB7}"/>
              </a:ext>
            </a:extLst>
          </p:cNvPr>
          <p:cNvSpPr/>
          <p:nvPr/>
        </p:nvSpPr>
        <p:spPr bwMode="gray">
          <a:xfrm>
            <a:off x="7253923" y="5844224"/>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Smaller project scale, </a:t>
            </a:r>
            <a:r>
              <a:rPr lang="en-US" sz="1200" b="1" dirty="0">
                <a:solidFill>
                  <a:schemeClr val="tx1"/>
                </a:solidFill>
              </a:rPr>
              <a:t>bankability concerns</a:t>
            </a:r>
          </a:p>
        </p:txBody>
      </p:sp>
      <p:sp>
        <p:nvSpPr>
          <p:cNvPr id="25" name="Rectangle 24">
            <a:extLst>
              <a:ext uri="{FF2B5EF4-FFF2-40B4-BE49-F238E27FC236}">
                <a16:creationId xmlns:a16="http://schemas.microsoft.com/office/drawing/2014/main" id="{858A166E-8184-CF2A-84B2-83EAA7C079BA}"/>
              </a:ext>
            </a:extLst>
          </p:cNvPr>
          <p:cNvSpPr/>
          <p:nvPr/>
        </p:nvSpPr>
        <p:spPr bwMode="gray">
          <a:xfrm>
            <a:off x="3469179" y="4247073"/>
            <a:ext cx="7424928"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High upfront CapEx</a:t>
            </a:r>
            <a:r>
              <a:rPr lang="en-US" sz="1200" dirty="0">
                <a:solidFill>
                  <a:schemeClr val="tx1"/>
                </a:solidFill>
              </a:rPr>
              <a:t>, financing hurdles (risk for investors)</a:t>
            </a:r>
          </a:p>
        </p:txBody>
      </p:sp>
      <p:cxnSp>
        <p:nvCxnSpPr>
          <p:cNvPr id="26" name="btfpColumnHeaderBoxLine912903">
            <a:extLst>
              <a:ext uri="{FF2B5EF4-FFF2-40B4-BE49-F238E27FC236}">
                <a16:creationId xmlns:a16="http://schemas.microsoft.com/office/drawing/2014/main" id="{AFE5EB14-A24A-D750-845D-D99E94AD309A}"/>
              </a:ext>
            </a:extLst>
          </p:cNvPr>
          <p:cNvCxnSpPr>
            <a:cxnSpLocks/>
          </p:cNvCxnSpPr>
          <p:nvPr/>
        </p:nvCxnSpPr>
        <p:spPr bwMode="gray">
          <a:xfrm>
            <a:off x="475314" y="2521961"/>
            <a:ext cx="1044317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7C94F6A-92D9-E75F-1402-AA8CCEDBF6DD}"/>
              </a:ext>
            </a:extLst>
          </p:cNvPr>
          <p:cNvSpPr/>
          <p:nvPr/>
        </p:nvSpPr>
        <p:spPr bwMode="gray">
          <a:xfrm>
            <a:off x="7253922" y="5205362"/>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Resource risk and </a:t>
            </a:r>
            <a:r>
              <a:rPr lang="en-US" sz="1200" b="1" dirty="0">
                <a:solidFill>
                  <a:schemeClr val="tx1"/>
                </a:solidFill>
              </a:rPr>
              <a:t>drilling uncertainty</a:t>
            </a:r>
          </a:p>
        </p:txBody>
      </p:sp>
      <p:sp>
        <p:nvSpPr>
          <p:cNvPr id="28" name="Rectangle 27">
            <a:extLst>
              <a:ext uri="{FF2B5EF4-FFF2-40B4-BE49-F238E27FC236}">
                <a16:creationId xmlns:a16="http://schemas.microsoft.com/office/drawing/2014/main" id="{DE51A4BB-1B55-4549-9984-794F3CD70F61}"/>
              </a:ext>
            </a:extLst>
          </p:cNvPr>
          <p:cNvSpPr/>
          <p:nvPr/>
        </p:nvSpPr>
        <p:spPr bwMode="gray">
          <a:xfrm>
            <a:off x="3469177" y="3864974"/>
            <a:ext cx="3640183" cy="24938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i="0" dirty="0">
                <a:solidFill>
                  <a:srgbClr val="222222"/>
                </a:solidFill>
                <a:effectLst/>
              </a:rPr>
              <a:t>Integration with </a:t>
            </a:r>
            <a:r>
              <a:rPr lang="en-US" sz="1200" b="1" i="0" dirty="0">
                <a:solidFill>
                  <a:srgbClr val="222222"/>
                </a:solidFill>
                <a:effectLst/>
              </a:rPr>
              <a:t>hydrogen/ammonia production</a:t>
            </a:r>
            <a:endParaRPr lang="en-US" sz="1200" b="1" dirty="0">
              <a:solidFill>
                <a:schemeClr val="tx1"/>
              </a:solidFill>
            </a:endParaRPr>
          </a:p>
        </p:txBody>
      </p:sp>
      <p:sp>
        <p:nvSpPr>
          <p:cNvPr id="29" name="Rectangle 28">
            <a:extLst>
              <a:ext uri="{FF2B5EF4-FFF2-40B4-BE49-F238E27FC236}">
                <a16:creationId xmlns:a16="http://schemas.microsoft.com/office/drawing/2014/main" id="{FBB7475D-13D5-E182-4E9C-01DFB7D53D82}"/>
              </a:ext>
            </a:extLst>
          </p:cNvPr>
          <p:cNvSpPr/>
          <p:nvPr/>
        </p:nvSpPr>
        <p:spPr bwMode="gray">
          <a:xfrm>
            <a:off x="7253921" y="4883714"/>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7- to 10-year </a:t>
            </a:r>
            <a:r>
              <a:rPr lang="en-US" sz="1200" dirty="0">
                <a:solidFill>
                  <a:schemeClr val="tx1"/>
                </a:solidFill>
              </a:rPr>
              <a:t>development cycle</a:t>
            </a:r>
          </a:p>
        </p:txBody>
      </p:sp>
      <p:sp>
        <p:nvSpPr>
          <p:cNvPr id="30" name="Rectangle 29">
            <a:extLst>
              <a:ext uri="{FF2B5EF4-FFF2-40B4-BE49-F238E27FC236}">
                <a16:creationId xmlns:a16="http://schemas.microsoft.com/office/drawing/2014/main" id="{5008A452-FD67-ACF6-6498-EAA97521F2F2}"/>
              </a:ext>
            </a:extLst>
          </p:cNvPr>
          <p:cNvSpPr/>
          <p:nvPr/>
        </p:nvSpPr>
        <p:spPr bwMode="gray">
          <a:xfrm>
            <a:off x="3469177" y="5831661"/>
            <a:ext cx="3640183" cy="249382"/>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Waste management and </a:t>
            </a:r>
            <a:r>
              <a:rPr lang="en-US" sz="1200" b="1" dirty="0">
                <a:solidFill>
                  <a:schemeClr val="tx1"/>
                </a:solidFill>
              </a:rPr>
              <a:t>decommissioning costs</a:t>
            </a:r>
          </a:p>
        </p:txBody>
      </p:sp>
    </p:spTree>
    <p:extLst>
      <p:ext uri="{BB962C8B-B14F-4D97-AF65-F5344CB8AC3E}">
        <p14:creationId xmlns:p14="http://schemas.microsoft.com/office/powerpoint/2010/main" val="12032127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F7C937-989D-06A6-EBAD-334C211AF7DA}"/>
              </a:ext>
            </a:extLst>
          </p:cNvPr>
          <p:cNvGraphicFramePr>
            <a:graphicFrameLocks/>
          </p:cNvGraphicFramePr>
          <p:nvPr>
            <p:custDataLst>
              <p:tags r:id="rId1"/>
            </p:custDataLst>
            <p:extLst>
              <p:ext uri="{D42A27DB-BD31-4B8C-83A1-F6EECF244321}">
                <p14:modId xmlns:p14="http://schemas.microsoft.com/office/powerpoint/2010/main" val="9234857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F7174A4-835D-A9C2-8041-DA590EE0526A}"/>
              </a:ext>
            </a:extLst>
          </p:cNvPr>
          <p:cNvSpPr>
            <a:spLocks noGrp="1"/>
          </p:cNvSpPr>
          <p:nvPr>
            <p:ph type="body" sz="quarter" idx="14"/>
          </p:nvPr>
        </p:nvSpPr>
        <p:spPr/>
        <p:txBody>
          <a:bodyPr/>
          <a:lstStyle/>
          <a:p>
            <a:pPr marL="0" indent="0">
              <a:buNone/>
            </a:pPr>
            <a:r>
              <a:rPr lang="en-US" b="1" dirty="0"/>
              <a:t>Observations</a:t>
            </a:r>
          </a:p>
          <a:p>
            <a:pPr marL="0" indent="0">
              <a:buNone/>
            </a:pPr>
            <a:endParaRPr lang="en-US" sz="1050" b="1" dirty="0"/>
          </a:p>
          <a:p>
            <a:pPr marL="0" indent="0">
              <a:buNone/>
            </a:pPr>
            <a:r>
              <a:rPr lang="en-US" sz="1050" b="1" dirty="0"/>
              <a:t>Geothermal</a:t>
            </a:r>
          </a:p>
          <a:p>
            <a:pPr>
              <a:spcBef>
                <a:spcPts val="600"/>
              </a:spcBef>
            </a:pPr>
            <a:r>
              <a:rPr lang="en-US" sz="850" dirty="0"/>
              <a:t>Today’s U.S. geothermal fleet is small (~ 4 MW), but geothermal is </a:t>
            </a:r>
            <a:r>
              <a:rPr lang="en-US" sz="850" b="1" dirty="0"/>
              <a:t>bringing new projects online this decade</a:t>
            </a:r>
            <a:r>
              <a:rPr lang="en-US" sz="850" dirty="0"/>
              <a:t>, which drives faster near-term growth.</a:t>
            </a:r>
          </a:p>
          <a:p>
            <a:pPr>
              <a:spcBef>
                <a:spcPts val="600"/>
              </a:spcBef>
            </a:pPr>
            <a:r>
              <a:rPr lang="en-US" sz="850" dirty="0"/>
              <a:t>Future scale depends on </a:t>
            </a:r>
            <a:r>
              <a:rPr lang="en-US" sz="850" b="1" dirty="0"/>
              <a:t>technology progress, lower drilling costs, and access to project finance</a:t>
            </a:r>
            <a:r>
              <a:rPr lang="en-US" sz="850" dirty="0"/>
              <a:t>.</a:t>
            </a:r>
          </a:p>
          <a:p>
            <a:pPr>
              <a:spcBef>
                <a:spcPts val="600"/>
              </a:spcBef>
            </a:pPr>
            <a:r>
              <a:rPr lang="en-US" sz="850" dirty="0"/>
              <a:t>As next-generation geothermal expands, </a:t>
            </a:r>
            <a:r>
              <a:rPr lang="en-US" sz="850" b="1" dirty="0"/>
              <a:t>the gap with nuclear capacity begins to narrow</a:t>
            </a:r>
            <a:r>
              <a:rPr lang="en-US" sz="850" dirty="0"/>
              <a:t>.</a:t>
            </a:r>
          </a:p>
          <a:p>
            <a:pPr marL="0" indent="0">
              <a:spcBef>
                <a:spcPts val="600"/>
              </a:spcBef>
              <a:buNone/>
            </a:pPr>
            <a:endParaRPr lang="en-US" sz="1050" b="1" dirty="0"/>
          </a:p>
          <a:p>
            <a:pPr marL="0" indent="0">
              <a:spcBef>
                <a:spcPts val="600"/>
              </a:spcBef>
              <a:buNone/>
            </a:pPr>
            <a:r>
              <a:rPr lang="en-US" sz="1050" b="1" dirty="0"/>
              <a:t>Nuclear</a:t>
            </a:r>
          </a:p>
          <a:p>
            <a:pPr lvl="0" fontAlgn="base">
              <a:spcBef>
                <a:spcPts val="600"/>
              </a:spcBef>
              <a:spcAft>
                <a:spcPct val="0"/>
              </a:spcAft>
            </a:pPr>
            <a:r>
              <a:rPr lang="en-US" altLang="en-US" sz="850" dirty="0"/>
              <a:t>Nuclear holds </a:t>
            </a:r>
            <a:r>
              <a:rPr lang="en-US" altLang="en-US" sz="850" b="1" dirty="0"/>
              <a:t>higher total capacity </a:t>
            </a:r>
            <a:r>
              <a:rPr lang="en-US" altLang="en-US" sz="850" dirty="0"/>
              <a:t>because of its large legacy fleet.</a:t>
            </a:r>
          </a:p>
          <a:p>
            <a:pPr lvl="0" fontAlgn="base">
              <a:spcBef>
                <a:spcPts val="600"/>
              </a:spcBef>
              <a:spcAft>
                <a:spcPct val="0"/>
              </a:spcAft>
            </a:pPr>
            <a:r>
              <a:rPr lang="en-US" altLang="en-US" sz="850" dirty="0"/>
              <a:t>Near-term nuclear growth is limited, since </a:t>
            </a:r>
            <a:r>
              <a:rPr lang="en-US" altLang="en-US" sz="850" b="1" dirty="0"/>
              <a:t>only one restart is expected before 2030</a:t>
            </a:r>
            <a:r>
              <a:rPr lang="en-US" altLang="en-US" sz="850" dirty="0"/>
              <a:t>.</a:t>
            </a:r>
          </a:p>
          <a:p>
            <a:pPr lvl="0" fontAlgn="base">
              <a:spcBef>
                <a:spcPts val="600"/>
              </a:spcBef>
              <a:spcAft>
                <a:spcPct val="0"/>
              </a:spcAft>
            </a:pPr>
            <a:r>
              <a:rPr lang="en-US" altLang="en-US" sz="850" dirty="0"/>
              <a:t>New nuclear capacity depends on </a:t>
            </a:r>
            <a:r>
              <a:rPr lang="en-US" altLang="en-US" sz="850" b="1" dirty="0"/>
              <a:t>long development cycles for SMRs and large reactors</a:t>
            </a:r>
            <a:r>
              <a:rPr lang="en-US" altLang="en-US" sz="850" dirty="0"/>
              <a:t>.</a:t>
            </a:r>
          </a:p>
          <a:p>
            <a:pPr lvl="0" fontAlgn="base">
              <a:spcBef>
                <a:spcPts val="600"/>
              </a:spcBef>
              <a:spcAft>
                <a:spcPct val="0"/>
              </a:spcAft>
            </a:pPr>
            <a:r>
              <a:rPr lang="en-US" altLang="en-US" sz="850" dirty="0" err="1"/>
              <a:t>Nuclear’s</a:t>
            </a:r>
            <a:r>
              <a:rPr lang="en-US" altLang="en-US" sz="850" dirty="0"/>
              <a:t> </a:t>
            </a:r>
            <a:r>
              <a:rPr lang="en-US" altLang="en-US" sz="850" b="1" dirty="0"/>
              <a:t>long-term expansion occurs later in the 2030s</a:t>
            </a:r>
            <a:r>
              <a:rPr lang="en-US" altLang="en-US" sz="850" dirty="0"/>
              <a:t>, once early SMR projects move into construction.</a:t>
            </a:r>
            <a:endParaRPr lang="en-US" sz="850" b="1" dirty="0"/>
          </a:p>
          <a:p>
            <a:endParaRPr lang="en-US" sz="850" dirty="0"/>
          </a:p>
        </p:txBody>
      </p:sp>
      <p:sp>
        <p:nvSpPr>
          <p:cNvPr id="3" name="Title 2">
            <a:extLst>
              <a:ext uri="{FF2B5EF4-FFF2-40B4-BE49-F238E27FC236}">
                <a16:creationId xmlns:a16="http://schemas.microsoft.com/office/drawing/2014/main" id="{ED6425C8-4BF3-DDFA-FD74-473109DD0DCF}"/>
              </a:ext>
            </a:extLst>
          </p:cNvPr>
          <p:cNvSpPr>
            <a:spLocks noGrp="1"/>
          </p:cNvSpPr>
          <p:nvPr>
            <p:ph type="title"/>
          </p:nvPr>
        </p:nvSpPr>
        <p:spPr/>
        <p:txBody>
          <a:bodyPr vert="horz" rIns="91440"/>
          <a:lstStyle/>
          <a:p>
            <a:r>
              <a:rPr lang="en-US" dirty="0"/>
              <a:t>Geothermal power is bringing on new U.S. projects this decade while nuclear holds greater capacity, but the gap is narrowing</a:t>
            </a:r>
          </a:p>
        </p:txBody>
      </p:sp>
      <p:sp>
        <p:nvSpPr>
          <p:cNvPr id="4" name="Footer Placeholder 3">
            <a:extLst>
              <a:ext uri="{FF2B5EF4-FFF2-40B4-BE49-F238E27FC236}">
                <a16:creationId xmlns:a16="http://schemas.microsoft.com/office/drawing/2014/main" id="{00758E98-1897-1A15-D412-A4BBC4168A35}"/>
              </a:ext>
            </a:extLst>
          </p:cNvPr>
          <p:cNvSpPr>
            <a:spLocks noGrp="1"/>
          </p:cNvSpPr>
          <p:nvPr>
            <p:ph type="ftr" sz="quarter" idx="3"/>
          </p:nvPr>
        </p:nvSpPr>
        <p:spPr>
          <a:xfrm>
            <a:off x="334962" y="6047550"/>
            <a:ext cx="9147241" cy="216706"/>
          </a:xfrm>
        </p:spPr>
        <p:txBody>
          <a:bodyPr/>
          <a:lstStyle/>
          <a:p>
            <a:pPr marL="0" lvl="0" indent="0">
              <a:spcBef>
                <a:spcPts val="0"/>
              </a:spcBef>
              <a:buNone/>
              <a:defRPr/>
            </a:pPr>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33"/>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a:t>
            </a:r>
            <a:r>
              <a:rPr lang="en-US" dirty="0">
                <a:solidFill>
                  <a:schemeClr val="tx1"/>
                </a:solidFill>
              </a:rPr>
              <a:t>;</a:t>
            </a:r>
            <a:r>
              <a:rPr lang="en-US" dirty="0">
                <a:solidFill>
                  <a:srgbClr val="000000"/>
                </a:solidFill>
              </a:rPr>
              <a:t> </a:t>
            </a:r>
            <a:r>
              <a:rPr lang="en-US" dirty="0">
                <a:solidFill>
                  <a:srgbClr val="000000"/>
                </a:solidFill>
                <a:hlinkClick r:id="rId34"/>
              </a:rPr>
              <a:t>Today in Energy: U.S. nuclear power plants</a:t>
            </a:r>
            <a:r>
              <a:rPr lang="en-US" dirty="0">
                <a:solidFill>
                  <a:srgbClr val="000000"/>
                </a:solidFill>
              </a:rPr>
              <a:t> (EIA, n.d.); </a:t>
            </a:r>
            <a:r>
              <a:rPr lang="en-US" dirty="0">
                <a:solidFill>
                  <a:srgbClr val="000000"/>
                </a:solidFill>
                <a:hlinkClick r:id="rId35"/>
              </a:rPr>
              <a:t>NextEra Energy and Google Announce New Collaboration to Accelerate Nuclear Energy Deployment in the U.S.</a:t>
            </a:r>
            <a:r>
              <a:rPr lang="en-US" dirty="0"/>
              <a:t> </a:t>
            </a:r>
            <a:r>
              <a:rPr lang="en-US" dirty="0">
                <a:solidFill>
                  <a:srgbClr val="000000"/>
                </a:solidFill>
              </a:rPr>
              <a:t>(NextEra Energy, 2025); </a:t>
            </a:r>
            <a:r>
              <a:rPr lang="en-US" dirty="0">
                <a:solidFill>
                  <a:srgbClr val="000000"/>
                </a:solidFill>
                <a:hlinkClick r:id="rId36"/>
              </a:rPr>
              <a:t>Fervo Energy Breaks Ground on the World’s Largest Next-Gen Geothermal Project</a:t>
            </a:r>
            <a:r>
              <a:rPr lang="en-US" dirty="0"/>
              <a:t> </a:t>
            </a:r>
            <a:r>
              <a:rPr lang="en-US" dirty="0">
                <a:solidFill>
                  <a:srgbClr val="000000"/>
                </a:solidFill>
              </a:rPr>
              <a:t>(</a:t>
            </a:r>
            <a:r>
              <a:rPr lang="en-US" dirty="0" err="1">
                <a:solidFill>
                  <a:srgbClr val="000000"/>
                </a:solidFill>
              </a:rPr>
              <a:t>Fervo</a:t>
            </a:r>
            <a:r>
              <a:rPr lang="en-US" dirty="0">
                <a:solidFill>
                  <a:srgbClr val="000000"/>
                </a:solidFill>
              </a:rPr>
              <a:t> Energy, 2023); </a:t>
            </a:r>
            <a:r>
              <a:rPr lang="en-US" dirty="0">
                <a:solidFill>
                  <a:srgbClr val="000000"/>
                </a:solidFill>
                <a:hlinkClick r:id="rId37"/>
              </a:rPr>
              <a:t>Is geothermal energy ready to make its mark in the US power mix?</a:t>
            </a:r>
            <a:r>
              <a:rPr lang="en-US" dirty="0"/>
              <a:t> </a:t>
            </a:r>
            <a:r>
              <a:rPr lang="en-US" dirty="0">
                <a:solidFill>
                  <a:srgbClr val="000000"/>
                </a:solidFill>
              </a:rPr>
              <a:t>(McKinsey, 2025); </a:t>
            </a:r>
            <a:r>
              <a:rPr lang="en-US" dirty="0">
                <a:solidFill>
                  <a:srgbClr val="000000"/>
                </a:solidFill>
                <a:hlinkClick r:id="rId38"/>
              </a:rPr>
              <a:t>Geothermal</a:t>
            </a:r>
            <a:r>
              <a:rPr lang="en-US" dirty="0">
                <a:solidFill>
                  <a:srgbClr val="000000"/>
                </a:solidFill>
              </a:rPr>
              <a:t> (NREL, n.d.); </a:t>
            </a:r>
            <a:r>
              <a:rPr lang="en-US" dirty="0">
                <a:solidFill>
                  <a:srgbClr val="000000"/>
                </a:solidFill>
                <a:hlinkClick r:id="rId39"/>
              </a:rPr>
              <a:t>U.S. Sets Targets to Triple Nuclear Energy Capacity by 2050</a:t>
            </a:r>
            <a:r>
              <a:rPr lang="en-US" dirty="0">
                <a:solidFill>
                  <a:srgbClr val="000000"/>
                </a:solidFill>
              </a:rPr>
              <a:t> (DOE, 2024); </a:t>
            </a:r>
            <a:r>
              <a:rPr lang="en-US" dirty="0">
                <a:solidFill>
                  <a:srgbClr val="000000"/>
                </a:solidFill>
                <a:hlinkClick r:id="rId40"/>
              </a:rPr>
              <a:t>DOE Report Finds More Than 60 Gigawatts of New Nuclear Capacity Could Be Built at Existing Nuclear Power Plants</a:t>
            </a:r>
            <a:r>
              <a:rPr lang="en-US" dirty="0">
                <a:solidFill>
                  <a:srgbClr val="000000"/>
                </a:solidFill>
              </a:rPr>
              <a:t> (DOE, 2024).</a:t>
            </a:r>
          </a:p>
          <a:p>
            <a:pPr marL="0" indent="0">
              <a:spcBef>
                <a:spcPts val="0"/>
              </a:spcBef>
              <a:buNone/>
              <a:defRPr/>
            </a:pPr>
            <a:r>
              <a:rPr lang="en-US" dirty="0">
                <a:solidFill>
                  <a:srgbClr val="000000"/>
                </a:solidFill>
              </a:rPr>
              <a:t>Credit: Heather Hartel, Isabel Hoyos, and </a:t>
            </a:r>
            <a:r>
              <a:rPr lang="en-US" dirty="0">
                <a:solidFill>
                  <a:srgbClr val="000000"/>
                </a:solidFill>
                <a:hlinkClick r:id="rId41"/>
              </a:rPr>
              <a:t>Gernot Wagner.</a:t>
            </a:r>
            <a:r>
              <a:rPr lang="en-US" dirty="0">
                <a:solidFill>
                  <a:srgbClr val="000000"/>
                </a:solidFill>
              </a:rPr>
              <a:t> </a:t>
            </a:r>
            <a:r>
              <a:rPr lang="en-US" dirty="0">
                <a:solidFill>
                  <a:srgbClr val="000000"/>
                </a:solidFill>
                <a:hlinkClick r:id="rId4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4">
            <a:extLst>
              <a:ext uri="{FF2B5EF4-FFF2-40B4-BE49-F238E27FC236}">
                <a16:creationId xmlns:a16="http://schemas.microsoft.com/office/drawing/2014/main" id="{A0833FCD-560E-CD86-1D1B-4EF635B341AF}"/>
              </a:ext>
            </a:extLst>
          </p:cNvPr>
          <p:cNvSpPr>
            <a:spLocks noGrp="1"/>
          </p:cNvSpPr>
          <p:nvPr>
            <p:ph type="body" sz="quarter" idx="13"/>
          </p:nvPr>
        </p:nvSpPr>
        <p:spPr/>
        <p:txBody>
          <a:bodyPr/>
          <a:lstStyle/>
          <a:p>
            <a:r>
              <a:rPr lang="en-US" dirty="0"/>
              <a:t>Installed capacity scenarios for traditional geothermal, next-gen geothermal, existing nuclear, and new nuclear builds in the United States, </a:t>
            </a:r>
            <a:r>
              <a:rPr lang="en-US" i="1" dirty="0"/>
              <a:t>GW</a:t>
            </a:r>
            <a:endParaRPr lang="en-US" dirty="0">
              <a:cs typeface="Arial"/>
            </a:endParaRPr>
          </a:p>
        </p:txBody>
      </p:sp>
      <p:sp>
        <p:nvSpPr>
          <p:cNvPr id="7" name="Text Placeholder 1">
            <a:extLst>
              <a:ext uri="{FF2B5EF4-FFF2-40B4-BE49-F238E27FC236}">
                <a16:creationId xmlns:a16="http://schemas.microsoft.com/office/drawing/2014/main" id="{C0EFDB49-E618-8FF5-977F-2F89E2DAE638}"/>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bg1"/>
                </a:solidFill>
              </a:rPr>
              <a:t>Deployment: Baseload power</a:t>
            </a:r>
            <a:endParaRPr lang="en-US" sz="1600" b="1" dirty="0">
              <a:solidFill>
                <a:schemeClr val="bg1"/>
              </a:solidFill>
            </a:endParaRPr>
          </a:p>
        </p:txBody>
      </p:sp>
      <p:cxnSp>
        <p:nvCxnSpPr>
          <p:cNvPr id="9" name="Straight Connector 8">
            <a:extLst>
              <a:ext uri="{FF2B5EF4-FFF2-40B4-BE49-F238E27FC236}">
                <a16:creationId xmlns:a16="http://schemas.microsoft.com/office/drawing/2014/main" id="{2D44B2EC-5BAA-45B4-05A3-EF7CBDF6B188}"/>
              </a:ext>
            </a:extLst>
          </p:cNvPr>
          <p:cNvCxnSpPr/>
          <p:nvPr>
            <p:custDataLst>
              <p:tags r:id="rId2"/>
            </p:custDataLst>
          </p:nvPr>
        </p:nvCxnSpPr>
        <p:spPr bwMode="gray">
          <a:xfrm>
            <a:off x="746125" y="5370513"/>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22A4CA0A-3B5C-303F-C210-ECDBF44666D2}"/>
              </a:ext>
            </a:extLst>
          </p:cNvPr>
          <p:cNvCxnSpPr/>
          <p:nvPr>
            <p:custDataLst>
              <p:tags r:id="rId3"/>
            </p:custDataLst>
          </p:nvPr>
        </p:nvCxnSpPr>
        <p:spPr bwMode="gray">
          <a:xfrm>
            <a:off x="746125" y="5089525"/>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09ACAD8-3F6A-5EA5-B20F-AADB6551F36B}"/>
              </a:ext>
            </a:extLst>
          </p:cNvPr>
          <p:cNvCxnSpPr/>
          <p:nvPr>
            <p:custDataLst>
              <p:tags r:id="rId4"/>
            </p:custDataLst>
          </p:nvPr>
        </p:nvCxnSpPr>
        <p:spPr bwMode="gray">
          <a:xfrm>
            <a:off x="746125" y="4808538"/>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11A5083-79D2-B03E-345C-0105E627C7C5}"/>
              </a:ext>
            </a:extLst>
          </p:cNvPr>
          <p:cNvCxnSpPr/>
          <p:nvPr>
            <p:custDataLst>
              <p:tags r:id="rId5"/>
            </p:custDataLst>
          </p:nvPr>
        </p:nvCxnSpPr>
        <p:spPr bwMode="gray">
          <a:xfrm>
            <a:off x="746125" y="4527550"/>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0D71EED-615F-C614-CD48-758C55951EFB}"/>
              </a:ext>
            </a:extLst>
          </p:cNvPr>
          <p:cNvCxnSpPr/>
          <p:nvPr>
            <p:custDataLst>
              <p:tags r:id="rId6"/>
            </p:custDataLst>
          </p:nvPr>
        </p:nvCxnSpPr>
        <p:spPr bwMode="gray">
          <a:xfrm>
            <a:off x="746125" y="4246563"/>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AB9BA80-EED4-F5BB-C1ED-715DFBA98DF0}"/>
              </a:ext>
            </a:extLst>
          </p:cNvPr>
          <p:cNvCxnSpPr/>
          <p:nvPr>
            <p:custDataLst>
              <p:tags r:id="rId7"/>
            </p:custDataLst>
          </p:nvPr>
        </p:nvCxnSpPr>
        <p:spPr bwMode="gray">
          <a:xfrm>
            <a:off x="746125" y="3965575"/>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A998C24-ADF3-5C5A-BACC-6280350D6C3F}"/>
              </a:ext>
            </a:extLst>
          </p:cNvPr>
          <p:cNvCxnSpPr/>
          <p:nvPr>
            <p:custDataLst>
              <p:tags r:id="rId8"/>
            </p:custDataLst>
          </p:nvPr>
        </p:nvCxnSpPr>
        <p:spPr bwMode="gray">
          <a:xfrm>
            <a:off x="746125" y="3684588"/>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1B6C378-0840-9828-84C3-50239041D20B}"/>
              </a:ext>
            </a:extLst>
          </p:cNvPr>
          <p:cNvCxnSpPr/>
          <p:nvPr>
            <p:custDataLst>
              <p:tags r:id="rId9"/>
            </p:custDataLst>
          </p:nvPr>
        </p:nvCxnSpPr>
        <p:spPr bwMode="gray">
          <a:xfrm>
            <a:off x="746125" y="3403600"/>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3B9F9F8-E593-E31B-B026-C728641E4EA0}"/>
              </a:ext>
            </a:extLst>
          </p:cNvPr>
          <p:cNvCxnSpPr/>
          <p:nvPr>
            <p:custDataLst>
              <p:tags r:id="rId10"/>
            </p:custDataLst>
          </p:nvPr>
        </p:nvCxnSpPr>
        <p:spPr bwMode="gray">
          <a:xfrm>
            <a:off x="746125" y="3122613"/>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2502F57-2D8F-5FD9-2002-2A99DEBCAB8B}"/>
              </a:ext>
            </a:extLst>
          </p:cNvPr>
          <p:cNvCxnSpPr/>
          <p:nvPr>
            <p:custDataLst>
              <p:tags r:id="rId11"/>
            </p:custDataLst>
          </p:nvPr>
        </p:nvCxnSpPr>
        <p:spPr bwMode="gray">
          <a:xfrm>
            <a:off x="746125" y="2841625"/>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95983D3-FCA8-68E8-4C59-D8E7F0F32570}"/>
              </a:ext>
            </a:extLst>
          </p:cNvPr>
          <p:cNvCxnSpPr/>
          <p:nvPr>
            <p:custDataLst>
              <p:tags r:id="rId12"/>
            </p:custDataLst>
          </p:nvPr>
        </p:nvCxnSpPr>
        <p:spPr bwMode="gray">
          <a:xfrm>
            <a:off x="746125" y="2560638"/>
            <a:ext cx="61785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7" name="Chart 36">
            <a:extLst>
              <a:ext uri="{FF2B5EF4-FFF2-40B4-BE49-F238E27FC236}">
                <a16:creationId xmlns:a16="http://schemas.microsoft.com/office/drawing/2014/main" id="{975DE15D-67F2-3A80-A0BC-EB2AD74978F7}"/>
              </a:ext>
            </a:extLst>
          </p:cNvPr>
          <p:cNvGraphicFramePr/>
          <p:nvPr>
            <p:custDataLst>
              <p:tags r:id="rId13"/>
            </p:custDataLst>
            <p:extLst>
              <p:ext uri="{D42A27DB-BD31-4B8C-83A1-F6EECF244321}">
                <p14:modId xmlns:p14="http://schemas.microsoft.com/office/powerpoint/2010/main" val="1601698080"/>
              </p:ext>
            </p:extLst>
          </p:nvPr>
        </p:nvGraphicFramePr>
        <p:xfrm>
          <a:off x="150813" y="2354263"/>
          <a:ext cx="7172325" cy="3805237"/>
        </p:xfrm>
        <a:graphic>
          <a:graphicData uri="http://schemas.openxmlformats.org/drawingml/2006/chart">
            <c:chart xmlns:c="http://schemas.openxmlformats.org/drawingml/2006/chart" xmlns:r="http://schemas.openxmlformats.org/officeDocument/2006/relationships" r:id="rId43"/>
          </a:graphicData>
        </a:graphic>
      </p:graphicFrame>
      <p:cxnSp>
        <p:nvCxnSpPr>
          <p:cNvPr id="21" name="Straight Connector 20">
            <a:extLst>
              <a:ext uri="{FF2B5EF4-FFF2-40B4-BE49-F238E27FC236}">
                <a16:creationId xmlns:a16="http://schemas.microsoft.com/office/drawing/2014/main" id="{FDCAA079-FD93-72D6-DE7E-250B1F12B0E1}"/>
              </a:ext>
            </a:extLst>
          </p:cNvPr>
          <p:cNvCxnSpPr/>
          <p:nvPr>
            <p:custDataLst>
              <p:tags r:id="rId14"/>
            </p:custDataLst>
          </p:nvPr>
        </p:nvCxnSpPr>
        <p:spPr bwMode="auto">
          <a:xfrm flipV="1">
            <a:off x="746125" y="2625725"/>
            <a:ext cx="0" cy="16256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D8F5340-18CD-A21B-BFE3-5F50C332C5EA}"/>
              </a:ext>
            </a:extLst>
          </p:cNvPr>
          <p:cNvCxnSpPr/>
          <p:nvPr>
            <p:custDataLst>
              <p:tags r:id="rId15"/>
            </p:custDataLst>
          </p:nvPr>
        </p:nvCxnSpPr>
        <p:spPr bwMode="auto">
          <a:xfrm>
            <a:off x="746125" y="2625725"/>
            <a:ext cx="61785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55725224-B102-124D-E0E4-1F461230686C}"/>
              </a:ext>
            </a:extLst>
          </p:cNvPr>
          <p:cNvCxnSpPr/>
          <p:nvPr>
            <p:custDataLst>
              <p:tags r:id="rId16"/>
            </p:custDataLst>
          </p:nvPr>
        </p:nvCxnSpPr>
        <p:spPr bwMode="auto">
          <a:xfrm>
            <a:off x="6924675" y="2625725"/>
            <a:ext cx="0" cy="8810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834C94AC-D811-AF8C-3F40-AE55BA604CCE}"/>
              </a:ext>
            </a:extLst>
          </p:cNvPr>
          <p:cNvCxnSpPr/>
          <p:nvPr>
            <p:custDataLst>
              <p:tags r:id="rId17"/>
            </p:custDataLst>
          </p:nvPr>
        </p:nvCxnSpPr>
        <p:spPr bwMode="auto">
          <a:xfrm flipV="1">
            <a:off x="746125" y="4732338"/>
            <a:ext cx="0" cy="8255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FA7E69D-CCEF-6F4A-C580-748ECA8CFFC0}"/>
              </a:ext>
            </a:extLst>
          </p:cNvPr>
          <p:cNvCxnSpPr/>
          <p:nvPr>
            <p:custDataLst>
              <p:tags r:id="rId18"/>
            </p:custDataLst>
          </p:nvPr>
        </p:nvCxnSpPr>
        <p:spPr bwMode="auto">
          <a:xfrm>
            <a:off x="746124" y="4732338"/>
            <a:ext cx="61785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8BAC528-4DDB-2A71-132A-E68DFA697F47}"/>
              </a:ext>
            </a:extLst>
          </p:cNvPr>
          <p:cNvCxnSpPr/>
          <p:nvPr>
            <p:custDataLst>
              <p:tags r:id="rId19"/>
            </p:custDataLst>
          </p:nvPr>
        </p:nvCxnSpPr>
        <p:spPr bwMode="auto">
          <a:xfrm>
            <a:off x="6924675" y="4732338"/>
            <a:ext cx="0" cy="3190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Text Placeholder 10">
            <a:extLst>
              <a:ext uri="{FF2B5EF4-FFF2-40B4-BE49-F238E27FC236}">
                <a16:creationId xmlns:a16="http://schemas.microsoft.com/office/drawing/2014/main" id="{4F93A409-9BB0-278D-76BF-F13E65598853}"/>
              </a:ext>
            </a:extLst>
          </p:cNvPr>
          <p:cNvSpPr txBox="1">
            <a:spLocks/>
          </p:cNvSpPr>
          <p:nvPr>
            <p:custDataLst>
              <p:tags r:id="rId20"/>
            </p:custDataLst>
          </p:nvPr>
        </p:nvSpPr>
        <p:spPr bwMode="auto">
          <a:xfrm>
            <a:off x="7067551" y="5221288"/>
            <a:ext cx="1457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A1517B5-2EDC-4F61-B94E-16A0DA9D28B4}" type="datetime'''Ge''o''''t''''he''''''''''rmal'''' (''H''i''gh'''''''''''')'">
              <a:rPr lang="en-US" altLang="en-US" sz="1400" smtClean="0"/>
              <a:pPr/>
              <a:t>Geothermal (High)</a:t>
            </a:fld>
            <a:endParaRPr lang="en-US" sz="1400" dirty="0"/>
          </a:p>
        </p:txBody>
      </p:sp>
      <p:sp>
        <p:nvSpPr>
          <p:cNvPr id="33" name="Text Placeholder 10">
            <a:extLst>
              <a:ext uri="{FF2B5EF4-FFF2-40B4-BE49-F238E27FC236}">
                <a16:creationId xmlns:a16="http://schemas.microsoft.com/office/drawing/2014/main" id="{5916F758-E3CA-87D3-9524-0D4C8957A674}"/>
              </a:ext>
            </a:extLst>
          </p:cNvPr>
          <p:cNvSpPr>
            <a:spLocks/>
          </p:cNvSpPr>
          <p:nvPr>
            <p:custDataLst>
              <p:tags r:id="rId21"/>
            </p:custDataLst>
          </p:nvPr>
        </p:nvSpPr>
        <p:spPr bwMode="auto">
          <a:xfrm>
            <a:off x="593725" y="2200275"/>
            <a:ext cx="3063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dirty="0">
                <a:effectLst/>
              </a:rPr>
              <a:t>GW</a:t>
            </a:r>
          </a:p>
        </p:txBody>
      </p:sp>
      <p:sp>
        <p:nvSpPr>
          <p:cNvPr id="29" name="Text Placeholder 10">
            <a:extLst>
              <a:ext uri="{FF2B5EF4-FFF2-40B4-BE49-F238E27FC236}">
                <a16:creationId xmlns:a16="http://schemas.microsoft.com/office/drawing/2014/main" id="{187A6819-B23E-16EA-9645-EC99FD8C867B}"/>
              </a:ext>
            </a:extLst>
          </p:cNvPr>
          <p:cNvSpPr txBox="1">
            <a:spLocks/>
          </p:cNvSpPr>
          <p:nvPr>
            <p:custDataLst>
              <p:tags r:id="rId22"/>
            </p:custDataLst>
          </p:nvPr>
        </p:nvSpPr>
        <p:spPr bwMode="auto">
          <a:xfrm>
            <a:off x="7067551" y="4694238"/>
            <a:ext cx="1457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1C05617-4799-4028-A54B-DCFCC76552F8}" type="datetime'G''''''eo''''''''the''r''''''''ma''''l'''''''' ''(''''''High)'">
              <a:rPr lang="en-US" altLang="en-US" sz="1400" smtClean="0"/>
              <a:pPr/>
              <a:t>Geothermal (High)</a:t>
            </a:fld>
            <a:endParaRPr lang="en-US" sz="1400" dirty="0"/>
          </a:p>
        </p:txBody>
      </p:sp>
      <p:sp>
        <p:nvSpPr>
          <p:cNvPr id="30" name="Text Placeholder 10">
            <a:extLst>
              <a:ext uri="{FF2B5EF4-FFF2-40B4-BE49-F238E27FC236}">
                <a16:creationId xmlns:a16="http://schemas.microsoft.com/office/drawing/2014/main" id="{28552672-EC2A-ADBF-E4AD-D21427EA182D}"/>
              </a:ext>
            </a:extLst>
          </p:cNvPr>
          <p:cNvSpPr txBox="1">
            <a:spLocks/>
          </p:cNvSpPr>
          <p:nvPr>
            <p:custDataLst>
              <p:tags r:id="rId23"/>
            </p:custDataLst>
          </p:nvPr>
        </p:nvSpPr>
        <p:spPr bwMode="auto">
          <a:xfrm>
            <a:off x="7067550" y="4252913"/>
            <a:ext cx="1152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818BA95-7434-4F80-BB4D-0040BC12D122}" type="datetime'''N''''''''uc''l''e''''a''r ''''''''''(''''''Lo''w'')'' '''">
              <a:rPr lang="en-US" altLang="en-US" sz="1400" smtClean="0"/>
              <a:pPr/>
              <a:t>Nuclear (Low) </a:t>
            </a:fld>
            <a:endParaRPr lang="en-US" sz="1400" dirty="0"/>
          </a:p>
        </p:txBody>
      </p:sp>
      <p:sp>
        <p:nvSpPr>
          <p:cNvPr id="31" name="Text Placeholder 10">
            <a:extLst>
              <a:ext uri="{FF2B5EF4-FFF2-40B4-BE49-F238E27FC236}">
                <a16:creationId xmlns:a16="http://schemas.microsoft.com/office/drawing/2014/main" id="{52F4152B-4B9B-9E27-5FEB-5E21D5092657}"/>
              </a:ext>
            </a:extLst>
          </p:cNvPr>
          <p:cNvSpPr txBox="1">
            <a:spLocks/>
          </p:cNvSpPr>
          <p:nvPr>
            <p:custDataLst>
              <p:tags r:id="rId24"/>
            </p:custDataLst>
          </p:nvPr>
        </p:nvSpPr>
        <p:spPr bwMode="auto">
          <a:xfrm>
            <a:off x="7067551" y="3438525"/>
            <a:ext cx="10636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844BD6-EBC9-4DE2-B36B-A8FA5A2135A1}" type="datetime'N''ucl''''''''''''e''''''''''a''r'' ''(M''id'''''''''')'''''''">
              <a:rPr lang="en-US" altLang="en-US" sz="1400" smtClean="0"/>
              <a:pPr/>
              <a:t>Nuclear (Mid)</a:t>
            </a:fld>
            <a:endParaRPr lang="en-US" sz="1400" dirty="0"/>
          </a:p>
        </p:txBody>
      </p:sp>
      <p:sp>
        <p:nvSpPr>
          <p:cNvPr id="32" name="Text Placeholder 10">
            <a:extLst>
              <a:ext uri="{FF2B5EF4-FFF2-40B4-BE49-F238E27FC236}">
                <a16:creationId xmlns:a16="http://schemas.microsoft.com/office/drawing/2014/main" id="{69395501-B755-C12A-6B5B-97FED4C2DFCD}"/>
              </a:ext>
            </a:extLst>
          </p:cNvPr>
          <p:cNvSpPr txBox="1">
            <a:spLocks/>
          </p:cNvSpPr>
          <p:nvPr>
            <p:custDataLst>
              <p:tags r:id="rId25"/>
            </p:custDataLst>
          </p:nvPr>
        </p:nvSpPr>
        <p:spPr bwMode="auto">
          <a:xfrm>
            <a:off x="7067550" y="2595563"/>
            <a:ext cx="1143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87740BA-0B10-40F6-851C-D4BEA2A96F2A}" type="datetime'''N''u''cl''''e''''''''''a''''''''r'''' ''''''(H''igh'''')'">
              <a:rPr lang="en-US" altLang="en-US" sz="1400" smtClean="0"/>
              <a:pPr/>
              <a:t>Nuclear (High)</a:t>
            </a:fld>
            <a:endParaRPr lang="en-US" sz="1400" dirty="0"/>
          </a:p>
        </p:txBody>
      </p:sp>
      <p:sp>
        <p:nvSpPr>
          <p:cNvPr id="28" name="Text Placeholder 10">
            <a:extLst>
              <a:ext uri="{FF2B5EF4-FFF2-40B4-BE49-F238E27FC236}">
                <a16:creationId xmlns:a16="http://schemas.microsoft.com/office/drawing/2014/main" id="{2079D32D-392D-0A72-82D6-5DB9220D3EA4}"/>
              </a:ext>
            </a:extLst>
          </p:cNvPr>
          <p:cNvSpPr txBox="1">
            <a:spLocks/>
          </p:cNvSpPr>
          <p:nvPr>
            <p:custDataLst>
              <p:tags r:id="rId26"/>
            </p:custDataLst>
          </p:nvPr>
        </p:nvSpPr>
        <p:spPr bwMode="auto">
          <a:xfrm>
            <a:off x="7067550" y="4957763"/>
            <a:ext cx="1377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AD83D7F-8654-487A-B97F-CF4020A99870}" type="datetime'''G''''''''''''eoth''er''''m''a''''l'''' (''''Mi''''''''d)'''">
              <a:rPr lang="en-US" altLang="en-US" sz="1400" smtClean="0"/>
              <a:pPr/>
              <a:t>Geothermal (Mid)</a:t>
            </a:fld>
            <a:endParaRPr lang="en-US" sz="1400" dirty="0"/>
          </a:p>
        </p:txBody>
      </p:sp>
      <p:sp>
        <p:nvSpPr>
          <p:cNvPr id="34" name="Text Placeholder 10">
            <a:extLst>
              <a:ext uri="{FF2B5EF4-FFF2-40B4-BE49-F238E27FC236}">
                <a16:creationId xmlns:a16="http://schemas.microsoft.com/office/drawing/2014/main" id="{249ABDDA-F337-9BE7-6119-AC1E1B8BC914}"/>
              </a:ext>
            </a:extLst>
          </p:cNvPr>
          <p:cNvSpPr txBox="1">
            <a:spLocks/>
          </p:cNvSpPr>
          <p:nvPr>
            <p:custDataLst>
              <p:tags r:id="rId27"/>
            </p:custDataLst>
          </p:nvPr>
        </p:nvSpPr>
        <p:spPr bwMode="auto">
          <a:xfrm>
            <a:off x="3511550" y="2474913"/>
            <a:ext cx="6492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76A8B2-B949-4450-BD4F-A5F2739AF44C}" type="datetime'''+''5''5%'''''''''''''''''">
              <a:rPr lang="en-US" altLang="en-US" sz="1400" b="1" smtClean="0">
                <a:effectLst/>
              </a:rPr>
              <a:pPr marL="0" indent="0" algn="ctr">
                <a:spcBef>
                  <a:spcPct val="0"/>
                </a:spcBef>
                <a:spcAft>
                  <a:spcPct val="0"/>
                </a:spcAft>
                <a:buNone/>
              </a:pPr>
              <a:t>+55%</a:t>
            </a:fld>
            <a:endParaRPr lang="en-US" sz="1400" b="1" dirty="0"/>
          </a:p>
        </p:txBody>
      </p:sp>
      <p:sp>
        <p:nvSpPr>
          <p:cNvPr id="35" name="Text Placeholder 10">
            <a:extLst>
              <a:ext uri="{FF2B5EF4-FFF2-40B4-BE49-F238E27FC236}">
                <a16:creationId xmlns:a16="http://schemas.microsoft.com/office/drawing/2014/main" id="{BFAE3C3B-C44F-87CD-3239-8138B7BB357B}"/>
              </a:ext>
            </a:extLst>
          </p:cNvPr>
          <p:cNvSpPr txBox="1">
            <a:spLocks/>
          </p:cNvSpPr>
          <p:nvPr>
            <p:custDataLst>
              <p:tags r:id="rId28"/>
            </p:custDataLst>
          </p:nvPr>
        </p:nvSpPr>
        <p:spPr bwMode="auto">
          <a:xfrm>
            <a:off x="3441700" y="4581525"/>
            <a:ext cx="7889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7F6108-3789-4BF9-9AD7-AB2B9C9B7E8D}" type="datetime'''''''''''''''''''''+''92''6''%'''''''''''''''''">
              <a:rPr lang="en-US" altLang="en-US" sz="1400" b="1" smtClean="0">
                <a:effectLst/>
              </a:rPr>
              <a:pPr marL="0" indent="0" algn="ctr">
                <a:spcBef>
                  <a:spcPct val="0"/>
                </a:spcBef>
                <a:spcAft>
                  <a:spcPct val="0"/>
                </a:spcAft>
                <a:buNone/>
              </a:pPr>
              <a:t>+926%</a:t>
            </a:fld>
            <a:endParaRPr lang="en-US" sz="1400" b="1" dirty="0"/>
          </a:p>
        </p:txBody>
      </p:sp>
      <p:sp>
        <p:nvSpPr>
          <p:cNvPr id="38" name="Rectangular Callout 37">
            <a:extLst>
              <a:ext uri="{FF2B5EF4-FFF2-40B4-BE49-F238E27FC236}">
                <a16:creationId xmlns:a16="http://schemas.microsoft.com/office/drawing/2014/main" id="{378D7482-4580-8670-F613-48D75D4487BC}"/>
              </a:ext>
            </a:extLst>
          </p:cNvPr>
          <p:cNvSpPr/>
          <p:nvPr/>
        </p:nvSpPr>
        <p:spPr bwMode="gray">
          <a:xfrm>
            <a:off x="1376097" y="3407381"/>
            <a:ext cx="1583141" cy="676074"/>
          </a:xfrm>
          <a:prstGeom prst="wedgeRectCallout">
            <a:avLst>
              <a:gd name="adj1" fmla="val 5029"/>
              <a:gd name="adj2" fmla="val 70575"/>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Arial"/>
                <a:ea typeface="+mn-ea"/>
                <a:cs typeface="+mn-cs"/>
              </a:rPr>
              <a:t>Duane Arnold Nuclear Center </a:t>
            </a:r>
            <a:r>
              <a:rPr kumimoji="0" lang="en-US" sz="1050" b="0" i="0" u="none" strike="noStrike" kern="1200" cap="none" spc="0" normalizeH="0" baseline="0" noProof="0" dirty="0">
                <a:ln>
                  <a:noFill/>
                </a:ln>
                <a:solidFill>
                  <a:schemeClr val="tx1"/>
                </a:solidFill>
                <a:effectLst/>
                <a:uLnTx/>
                <a:uFillTx/>
                <a:latin typeface="Arial"/>
                <a:ea typeface="+mn-ea"/>
                <a:cs typeface="+mn-cs"/>
              </a:rPr>
              <a:t>(Iowa, 2028 target) (600 MW)</a:t>
            </a:r>
          </a:p>
        </p:txBody>
      </p:sp>
      <p:sp>
        <p:nvSpPr>
          <p:cNvPr id="39" name="Rectangular Callout 38">
            <a:extLst>
              <a:ext uri="{FF2B5EF4-FFF2-40B4-BE49-F238E27FC236}">
                <a16:creationId xmlns:a16="http://schemas.microsoft.com/office/drawing/2014/main" id="{3A1DFBE4-782A-430A-30DF-E57CD2D39327}"/>
              </a:ext>
            </a:extLst>
          </p:cNvPr>
          <p:cNvSpPr/>
          <p:nvPr/>
        </p:nvSpPr>
        <p:spPr bwMode="gray">
          <a:xfrm>
            <a:off x="3020224" y="2824398"/>
            <a:ext cx="1864539" cy="855599"/>
          </a:xfrm>
          <a:prstGeom prst="wedgeRectCallout">
            <a:avLst>
              <a:gd name="adj1" fmla="val -14607"/>
              <a:gd name="adj2" fmla="val 94714"/>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lvl="0" indent="0" algn="ctr">
              <a:buNone/>
              <a:defRPr/>
            </a:pPr>
            <a:r>
              <a:rPr lang="en-US" sz="1050" dirty="0">
                <a:solidFill>
                  <a:schemeClr val="tx1"/>
                </a:solidFill>
              </a:rPr>
              <a:t>First SMRs expected in the early 2030s: TVA’s planned </a:t>
            </a:r>
            <a:r>
              <a:rPr lang="en-US" sz="1050" b="1" dirty="0">
                <a:solidFill>
                  <a:schemeClr val="tx1"/>
                </a:solidFill>
              </a:rPr>
              <a:t>BWRX-300 (300 MW)</a:t>
            </a:r>
            <a:r>
              <a:rPr lang="en-US" sz="1050" dirty="0">
                <a:solidFill>
                  <a:schemeClr val="tx1"/>
                </a:solidFill>
              </a:rPr>
              <a:t> and </a:t>
            </a:r>
            <a:r>
              <a:rPr lang="en-US" sz="1050" b="1" dirty="0">
                <a:solidFill>
                  <a:schemeClr val="tx1"/>
                </a:solidFill>
              </a:rPr>
              <a:t>Holtec’s 300 MW SMRs</a:t>
            </a:r>
            <a:r>
              <a:rPr lang="en-US" sz="1050" dirty="0">
                <a:solidFill>
                  <a:schemeClr val="tx1"/>
                </a:solidFill>
              </a:rPr>
              <a:t> at the Palisades in Michigan</a:t>
            </a:r>
          </a:p>
        </p:txBody>
      </p:sp>
      <p:sp>
        <p:nvSpPr>
          <p:cNvPr id="40" name="Rectangular Callout 39">
            <a:extLst>
              <a:ext uri="{FF2B5EF4-FFF2-40B4-BE49-F238E27FC236}">
                <a16:creationId xmlns:a16="http://schemas.microsoft.com/office/drawing/2014/main" id="{DEB978CA-5694-8DEA-397E-8608DF2BEBE8}"/>
              </a:ext>
            </a:extLst>
          </p:cNvPr>
          <p:cNvSpPr/>
          <p:nvPr/>
        </p:nvSpPr>
        <p:spPr bwMode="gray">
          <a:xfrm>
            <a:off x="1342314" y="4694893"/>
            <a:ext cx="1583141" cy="623061"/>
          </a:xfrm>
          <a:prstGeom prst="wedgeRectCallout">
            <a:avLst>
              <a:gd name="adj1" fmla="val 5029"/>
              <a:gd name="adj2" fmla="val 70575"/>
            </a:avLst>
          </a:pr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lvl="0" indent="0" algn="ctr">
              <a:buNone/>
              <a:defRPr/>
            </a:pPr>
            <a:r>
              <a:rPr lang="en-US" sz="1050" b="1" dirty="0">
                <a:solidFill>
                  <a:schemeClr val="tx1"/>
                </a:solidFill>
              </a:rPr>
              <a:t>Fervo Cape Station </a:t>
            </a:r>
            <a:r>
              <a:rPr lang="en-US" sz="1050" dirty="0">
                <a:solidFill>
                  <a:schemeClr val="tx1"/>
                </a:solidFill>
              </a:rPr>
              <a:t>(Utah, 2028 target) </a:t>
            </a:r>
            <a:br>
              <a:rPr lang="en-US" sz="1050" dirty="0">
                <a:solidFill>
                  <a:schemeClr val="tx1"/>
                </a:solidFill>
              </a:rPr>
            </a:br>
            <a:r>
              <a:rPr lang="en-US" sz="1050" dirty="0">
                <a:solidFill>
                  <a:schemeClr val="tx1"/>
                </a:solidFill>
              </a:rPr>
              <a:t>(400 MW)</a:t>
            </a:r>
          </a:p>
        </p:txBody>
      </p:sp>
      <p:sp>
        <p:nvSpPr>
          <p:cNvPr id="41" name="Rectangular Callout 40">
            <a:extLst>
              <a:ext uri="{FF2B5EF4-FFF2-40B4-BE49-F238E27FC236}">
                <a16:creationId xmlns:a16="http://schemas.microsoft.com/office/drawing/2014/main" id="{F7E71406-ACFE-6B7E-7EB2-27ECF2AF56BE}"/>
              </a:ext>
            </a:extLst>
          </p:cNvPr>
          <p:cNvSpPr/>
          <p:nvPr/>
        </p:nvSpPr>
        <p:spPr bwMode="gray">
          <a:xfrm>
            <a:off x="5091874" y="2639596"/>
            <a:ext cx="1583141" cy="765539"/>
          </a:xfrm>
          <a:prstGeom prst="wedgeRectCallout">
            <a:avLst>
              <a:gd name="adj1" fmla="val 28305"/>
              <a:gd name="adj2" fmla="val 77677"/>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defRPr/>
            </a:pPr>
            <a:r>
              <a:rPr lang="en-US" sz="1050" dirty="0">
                <a:solidFill>
                  <a:schemeClr val="tx1"/>
                </a:solidFill>
              </a:rPr>
              <a:t>DOE target: 35 GW of new capacity by 2035 and 15 GW per year by 2040 </a:t>
            </a:r>
          </a:p>
        </p:txBody>
      </p:sp>
    </p:spTree>
    <p:extLst>
      <p:ext uri="{BB962C8B-B14F-4D97-AF65-F5344CB8AC3E}">
        <p14:creationId xmlns:p14="http://schemas.microsoft.com/office/powerpoint/2010/main" val="20574211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AF8657B-A239-9478-B55E-82B2EC386D3B}"/>
              </a:ext>
            </a:extLst>
          </p:cNvPr>
          <p:cNvGraphicFramePr>
            <a:graphicFrameLocks/>
          </p:cNvGraphicFramePr>
          <p:nvPr>
            <p:custDataLst>
              <p:tags r:id="rId1"/>
            </p:custDataLst>
            <p:extLst>
              <p:ext uri="{D42A27DB-BD31-4B8C-83A1-F6EECF244321}">
                <p14:modId xmlns:p14="http://schemas.microsoft.com/office/powerpoint/2010/main" val="27274761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0" name=""/>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AB8F788-5D93-3E5F-F826-5BB3FB1A19DE}"/>
              </a:ext>
            </a:extLst>
          </p:cNvPr>
          <p:cNvSpPr>
            <a:spLocks noGrp="1"/>
          </p:cNvSpPr>
          <p:nvPr>
            <p:ph type="title"/>
          </p:nvPr>
        </p:nvSpPr>
        <p:spPr/>
        <p:txBody>
          <a:bodyPr vert="horz" rIns="91440"/>
          <a:lstStyle/>
          <a:p>
            <a:r>
              <a:rPr lang="en-US" dirty="0"/>
              <a:t>Increasing U.S. energy demand, largely driven by data centers, requires increased baseload supply of power</a:t>
            </a:r>
          </a:p>
        </p:txBody>
      </p:sp>
      <p:sp>
        <p:nvSpPr>
          <p:cNvPr id="5" name="Footer Placeholder 4">
            <a:extLst>
              <a:ext uri="{FF2B5EF4-FFF2-40B4-BE49-F238E27FC236}">
                <a16:creationId xmlns:a16="http://schemas.microsoft.com/office/drawing/2014/main" id="{7F8F58E0-6838-EB32-1105-05A7E9DC25C4}"/>
              </a:ext>
            </a:extLst>
          </p:cNvPr>
          <p:cNvSpPr>
            <a:spLocks noGrp="1"/>
          </p:cNvSpPr>
          <p:nvPr>
            <p:ph type="ftr" sz="quarter" idx="3"/>
          </p:nvPr>
        </p:nvSpPr>
        <p:spPr>
          <a:xfrm>
            <a:off x="334962" y="6227469"/>
            <a:ext cx="9147241" cy="216706"/>
          </a:xfrm>
        </p:spPr>
        <p:txBody>
          <a:bodyPr/>
          <a:lstStyle/>
          <a:p>
            <a:pPr marL="0" indent="0">
              <a:buNone/>
            </a:pPr>
            <a:r>
              <a:rPr lang="en-US" dirty="0">
                <a:solidFill>
                  <a:srgbClr val="000000"/>
                </a:solidFill>
              </a:rPr>
              <a:t>Sources: </a:t>
            </a:r>
            <a:r>
              <a:rPr lang="en-US" dirty="0">
                <a:hlinkClick r:id="rId19"/>
              </a:rPr>
              <a:t>The Potential for Geothermal Energy to Meet Growing Data Center Electricity Demand</a:t>
            </a:r>
            <a:r>
              <a:rPr lang="en-US" dirty="0"/>
              <a:t> </a:t>
            </a:r>
            <a:r>
              <a:rPr lang="en-US" dirty="0">
                <a:solidFill>
                  <a:schemeClr val="tx1"/>
                </a:solidFill>
              </a:rPr>
              <a:t>(Rhodium Group, 2025); </a:t>
            </a:r>
            <a:r>
              <a:rPr lang="en-US" dirty="0">
                <a:hlinkClick r:id="rId20"/>
              </a:rPr>
              <a:t>U.S. Data Center Energy Usage Report </a:t>
            </a:r>
            <a:r>
              <a:rPr lang="en-US" dirty="0">
                <a:solidFill>
                  <a:schemeClr val="tx1"/>
                </a:solidFill>
              </a:rPr>
              <a:t>(Lawrence Berkeley Lab, 2024); </a:t>
            </a:r>
            <a:r>
              <a:rPr lang="en-US" dirty="0">
                <a:solidFill>
                  <a:srgbClr val="000000"/>
                </a:solidFill>
                <a:latin typeface="Arial" panose="020B0604020202020204" pitchFamily="34" charset="0"/>
                <a:cs typeface="Arial" panose="020B0604020202020204" pitchFamily="34" charset="0"/>
                <a:hlinkClick r:id="rId21"/>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hlinkClick r:id="rId22"/>
              </a:rPr>
              <a:t>The Future of Geothermal Energy</a:t>
            </a:r>
            <a:r>
              <a:rPr lang="en-US" dirty="0"/>
              <a:t> </a:t>
            </a:r>
            <a:r>
              <a:rPr lang="en-US" dirty="0">
                <a:solidFill>
                  <a:schemeClr val="tx1"/>
                </a:solidFill>
              </a:rPr>
              <a:t>(IEA, 2024); </a:t>
            </a:r>
            <a:r>
              <a:rPr lang="en-US" dirty="0">
                <a:hlinkClick r:id="rId23"/>
              </a:rPr>
              <a:t>Holtec Palisades Nuclear Plant Restart</a:t>
            </a:r>
            <a:r>
              <a:rPr lang="en-US" dirty="0"/>
              <a:t> (</a:t>
            </a:r>
            <a:r>
              <a:rPr lang="en-US" dirty="0">
                <a:solidFill>
                  <a:schemeClr val="tx1"/>
                </a:solidFill>
              </a:rPr>
              <a:t>U.S. Department of Energy Loan Programs Office, 2023); </a:t>
            </a:r>
            <a:r>
              <a:rPr lang="en-US" dirty="0">
                <a:hlinkClick r:id="rId24"/>
              </a:rPr>
              <a:t>Microsoft signs 20-year PPA for Three Mile Island Nuclear Plant restart</a:t>
            </a:r>
            <a:r>
              <a:rPr lang="en-US" dirty="0"/>
              <a:t> </a:t>
            </a:r>
            <a:r>
              <a:rPr lang="en-US" dirty="0">
                <a:solidFill>
                  <a:schemeClr val="tx1"/>
                </a:solidFill>
              </a:rPr>
              <a:t>(Utility Dive, 2024); </a:t>
            </a:r>
            <a:r>
              <a:rPr lang="en-US" dirty="0">
                <a:hlinkClick r:id="rId25"/>
              </a:rPr>
              <a:t>World Energy Outlook</a:t>
            </a:r>
            <a:r>
              <a:rPr lang="en-US" dirty="0"/>
              <a:t> </a:t>
            </a:r>
            <a:r>
              <a:rPr lang="en-US" dirty="0">
                <a:solidFill>
                  <a:schemeClr val="tx1"/>
                </a:solidFill>
              </a:rPr>
              <a:t>(IEA, 2024).</a:t>
            </a:r>
            <a:br>
              <a:rPr lang="en-US" dirty="0"/>
            </a:br>
            <a:r>
              <a:rPr lang="en-US" dirty="0">
                <a:solidFill>
                  <a:srgbClr val="000000"/>
                </a:solidFill>
              </a:rPr>
              <a:t>Credit: Heather Hartel, Isabel Hoyos, and </a:t>
            </a:r>
            <a:r>
              <a:rPr lang="en-US" dirty="0">
                <a:hlinkClick r:id="rId26"/>
              </a:rPr>
              <a:t>Gernot Wagner.</a:t>
            </a:r>
            <a:r>
              <a:rPr lang="en-US" dirty="0">
                <a:solidFill>
                  <a:srgbClr val="000000"/>
                </a:solidFill>
              </a:rPr>
              <a:t> </a:t>
            </a:r>
            <a:r>
              <a:rPr lang="en-US" dirty="0">
                <a:hlinkClick r:id="rId2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5">
            <a:extLst>
              <a:ext uri="{FF2B5EF4-FFF2-40B4-BE49-F238E27FC236}">
                <a16:creationId xmlns:a16="http://schemas.microsoft.com/office/drawing/2014/main" id="{71E82DB2-73CD-085F-D4F8-43327564C341}"/>
              </a:ext>
            </a:extLst>
          </p:cNvPr>
          <p:cNvSpPr>
            <a:spLocks noGrp="1"/>
          </p:cNvSpPr>
          <p:nvPr>
            <p:ph type="body" sz="quarter" idx="13"/>
          </p:nvPr>
        </p:nvSpPr>
        <p:spPr/>
        <p:txBody>
          <a:bodyPr/>
          <a:lstStyle/>
          <a:p>
            <a:r>
              <a:rPr lang="en-US" dirty="0">
                <a:cs typeface="Arial"/>
              </a:rPr>
              <a:t>Projected growth in power demand from U.S. data centers</a:t>
            </a:r>
            <a:endParaRPr lang="en-US" dirty="0"/>
          </a:p>
        </p:txBody>
      </p:sp>
      <p:sp>
        <p:nvSpPr>
          <p:cNvPr id="7" name="Text Placeholder 6">
            <a:extLst>
              <a:ext uri="{FF2B5EF4-FFF2-40B4-BE49-F238E27FC236}">
                <a16:creationId xmlns:a16="http://schemas.microsoft.com/office/drawing/2014/main" id="{4E7527D5-6D74-9A9E-ED7D-06D0F328BC27}"/>
              </a:ext>
            </a:extLst>
          </p:cNvPr>
          <p:cNvSpPr>
            <a:spLocks noGrp="1"/>
          </p:cNvSpPr>
          <p:nvPr>
            <p:ph type="body" sz="quarter" idx="19"/>
          </p:nvPr>
        </p:nvSpPr>
        <p:spPr/>
        <p:txBody>
          <a:bodyPr/>
          <a:lstStyle/>
          <a:p>
            <a:r>
              <a:rPr lang="en-US" dirty="0">
                <a:cs typeface="Arial"/>
              </a:rPr>
              <a:t>Incremental firm capacity by 2030</a:t>
            </a:r>
            <a:endParaRPr lang="en-US" dirty="0"/>
          </a:p>
        </p:txBody>
      </p:sp>
      <p:sp>
        <p:nvSpPr>
          <p:cNvPr id="8" name="Text Placeholder 7">
            <a:extLst>
              <a:ext uri="{FF2B5EF4-FFF2-40B4-BE49-F238E27FC236}">
                <a16:creationId xmlns:a16="http://schemas.microsoft.com/office/drawing/2014/main" id="{2B8FB1D3-1D10-A0F7-9E6E-A11B43CF016A}"/>
              </a:ext>
            </a:extLst>
          </p:cNvPr>
          <p:cNvSpPr>
            <a:spLocks noGrp="1"/>
          </p:cNvSpPr>
          <p:nvPr>
            <p:ph type="body" sz="quarter" idx="14"/>
          </p:nvPr>
        </p:nvSpPr>
        <p:spPr/>
        <p:txBody>
          <a:bodyPr rIns="91440"/>
          <a:lstStyle/>
          <a:p>
            <a:pPr marL="0" indent="0">
              <a:buNone/>
            </a:pPr>
            <a:r>
              <a:rPr lang="en-US" b="1" dirty="0"/>
              <a:t>Observations</a:t>
            </a:r>
          </a:p>
          <a:p>
            <a:pPr>
              <a:spcBef>
                <a:spcPts val="600"/>
              </a:spcBef>
            </a:pPr>
            <a:r>
              <a:rPr lang="en-US" sz="1050" dirty="0"/>
              <a:t>Data centers could add more than </a:t>
            </a:r>
            <a:r>
              <a:rPr lang="en-US" sz="1050" b="1" dirty="0"/>
              <a:t>35 to 65 GW of firm power demand by 2030 in the U.S.</a:t>
            </a:r>
            <a:r>
              <a:rPr lang="en-US" sz="1050" dirty="0"/>
              <a:t>, equivalent to a large fraction of today’s existing nuclear fleet.</a:t>
            </a:r>
          </a:p>
          <a:p>
            <a:pPr>
              <a:spcBef>
                <a:spcPts val="600"/>
              </a:spcBef>
            </a:pPr>
            <a:r>
              <a:rPr lang="en-US" sz="1050" b="1" dirty="0"/>
              <a:t>Nuclear restarts and SMRs provide only ~4 GW incremental capacity, </a:t>
            </a:r>
            <a:r>
              <a:rPr lang="en-US" sz="1050" dirty="0"/>
              <a:t>which is meaningful but insufficient against projected demand growth.</a:t>
            </a:r>
          </a:p>
          <a:p>
            <a:pPr>
              <a:spcBef>
                <a:spcPts val="600"/>
              </a:spcBef>
            </a:pPr>
            <a:r>
              <a:rPr lang="en-US" sz="1050" b="1" dirty="0"/>
              <a:t>Grid-connected geothermal adds 6 to 8 GW</a:t>
            </a:r>
            <a:r>
              <a:rPr lang="en-US" sz="1050" dirty="0"/>
              <a:t>,</a:t>
            </a:r>
            <a:r>
              <a:rPr lang="en-US" sz="1050" b="1" dirty="0"/>
              <a:t> </a:t>
            </a:r>
            <a:r>
              <a:rPr lang="en-US" sz="1050" dirty="0"/>
              <a:t>but that is also insufficient against projected demand. </a:t>
            </a:r>
          </a:p>
          <a:p>
            <a:pPr>
              <a:spcBef>
                <a:spcPts val="600"/>
              </a:spcBef>
            </a:pPr>
            <a:r>
              <a:rPr lang="en-US" sz="1050" b="1" dirty="0"/>
              <a:t>Behind-the-meter geothermal (~15 GW)</a:t>
            </a:r>
            <a:r>
              <a:rPr lang="en-US" sz="1050" dirty="0"/>
              <a:t> could directly supply data centers, bypassing grid constraints and permitting bottlenecks.</a:t>
            </a:r>
          </a:p>
          <a:p>
            <a:pPr>
              <a:spcBef>
                <a:spcPts val="600"/>
              </a:spcBef>
            </a:pPr>
            <a:r>
              <a:rPr lang="en-US" sz="1050" dirty="0"/>
              <a:t>Innovation in drilling and permitting will determine </a:t>
            </a:r>
            <a:r>
              <a:rPr lang="en-US" sz="1050" b="1" dirty="0"/>
              <a:t>whether geothermal can scale fast enough </a:t>
            </a:r>
            <a:r>
              <a:rPr lang="en-US" sz="1050" dirty="0"/>
              <a:t>to complement nuclear in delivering zero-carbon baseload.</a:t>
            </a:r>
          </a:p>
          <a:p>
            <a:endParaRPr lang="en-US" sz="1050" dirty="0"/>
          </a:p>
        </p:txBody>
      </p:sp>
      <p:sp>
        <p:nvSpPr>
          <p:cNvPr id="9" name="Text Placeholder 1">
            <a:extLst>
              <a:ext uri="{FF2B5EF4-FFF2-40B4-BE49-F238E27FC236}">
                <a16:creationId xmlns:a16="http://schemas.microsoft.com/office/drawing/2014/main" id="{D9537B32-37D1-350B-398E-94A867AE4DAA}"/>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ata centers</a:t>
            </a:r>
          </a:p>
        </p:txBody>
      </p:sp>
      <p:graphicFrame>
        <p:nvGraphicFramePr>
          <p:cNvPr id="41" name="Chart 40">
            <a:extLst>
              <a:ext uri="{FF2B5EF4-FFF2-40B4-BE49-F238E27FC236}">
                <a16:creationId xmlns:a16="http://schemas.microsoft.com/office/drawing/2014/main" id="{EEE92060-FD8A-C77C-3EBF-37872CAF3FF3}"/>
              </a:ext>
            </a:extLst>
          </p:cNvPr>
          <p:cNvGraphicFramePr/>
          <p:nvPr>
            <p:custDataLst>
              <p:tags r:id="rId2"/>
            </p:custDataLst>
            <p:extLst>
              <p:ext uri="{D42A27DB-BD31-4B8C-83A1-F6EECF244321}">
                <p14:modId xmlns:p14="http://schemas.microsoft.com/office/powerpoint/2010/main" val="1766622250"/>
              </p:ext>
            </p:extLst>
          </p:nvPr>
        </p:nvGraphicFramePr>
        <p:xfrm>
          <a:off x="166688" y="2009775"/>
          <a:ext cx="4713287" cy="4264025"/>
        </p:xfrm>
        <a:graphic>
          <a:graphicData uri="http://schemas.openxmlformats.org/drawingml/2006/chart">
            <c:chart xmlns:c="http://schemas.openxmlformats.org/drawingml/2006/chart" xmlns:r="http://schemas.openxmlformats.org/officeDocument/2006/relationships" r:id="rId28"/>
          </a:graphicData>
        </a:graphic>
      </p:graphicFrame>
      <p:grpSp>
        <p:nvGrpSpPr>
          <p:cNvPr id="21" name="Group 20">
            <a:extLst>
              <a:ext uri="{FF2B5EF4-FFF2-40B4-BE49-F238E27FC236}">
                <a16:creationId xmlns:a16="http://schemas.microsoft.com/office/drawing/2014/main" id="{F95465E3-C8AE-B6B0-44A3-D8B821A10E8C}"/>
              </a:ext>
            </a:extLst>
          </p:cNvPr>
          <p:cNvGrpSpPr/>
          <p:nvPr/>
        </p:nvGrpSpPr>
        <p:grpSpPr>
          <a:xfrm>
            <a:off x="3006191" y="2466959"/>
            <a:ext cx="1463787" cy="1575071"/>
            <a:chOff x="3399692" y="2110154"/>
            <a:chExt cx="1852247" cy="1263120"/>
          </a:xfrm>
        </p:grpSpPr>
        <p:cxnSp>
          <p:nvCxnSpPr>
            <p:cNvPr id="22" name="Straight Connector 21">
              <a:extLst>
                <a:ext uri="{FF2B5EF4-FFF2-40B4-BE49-F238E27FC236}">
                  <a16:creationId xmlns:a16="http://schemas.microsoft.com/office/drawing/2014/main" id="{1D01B7B2-6355-C84A-CD75-CD79B0A0D270}"/>
                </a:ext>
              </a:extLst>
            </p:cNvPr>
            <p:cNvCxnSpPr/>
            <p:nvPr/>
          </p:nvCxnSpPr>
          <p:spPr bwMode="gray">
            <a:xfrm flipV="1">
              <a:off x="3411416" y="2110154"/>
              <a:ext cx="1840523" cy="1252415"/>
            </a:xfrm>
            <a:prstGeom prst="line">
              <a:avLst/>
            </a:prstGeom>
            <a:ln w="952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8ADBA7B-579E-CD76-C483-06B0D8B4DF26}"/>
                </a:ext>
              </a:extLst>
            </p:cNvPr>
            <p:cNvCxnSpPr>
              <a:cxnSpLocks/>
            </p:cNvCxnSpPr>
            <p:nvPr/>
          </p:nvCxnSpPr>
          <p:spPr bwMode="gray">
            <a:xfrm flipV="1">
              <a:off x="3399692" y="3158514"/>
              <a:ext cx="1840524" cy="21476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Oval 23">
            <a:extLst>
              <a:ext uri="{FF2B5EF4-FFF2-40B4-BE49-F238E27FC236}">
                <a16:creationId xmlns:a16="http://schemas.microsoft.com/office/drawing/2014/main" id="{E3192E57-813B-9FC1-1BF4-0FBB86CFDD7E}"/>
              </a:ext>
            </a:extLst>
          </p:cNvPr>
          <p:cNvSpPr/>
          <p:nvPr/>
        </p:nvSpPr>
        <p:spPr bwMode="gray">
          <a:xfrm>
            <a:off x="2794664" y="2524552"/>
            <a:ext cx="1091536" cy="553125"/>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b="1" dirty="0">
                <a:solidFill>
                  <a:schemeClr val="accent5"/>
                </a:solidFill>
              </a:rPr>
              <a:t>High case: +65 GW</a:t>
            </a:r>
          </a:p>
        </p:txBody>
      </p:sp>
      <p:sp>
        <p:nvSpPr>
          <p:cNvPr id="25" name="Oval 24">
            <a:extLst>
              <a:ext uri="{FF2B5EF4-FFF2-40B4-BE49-F238E27FC236}">
                <a16:creationId xmlns:a16="http://schemas.microsoft.com/office/drawing/2014/main" id="{B384ABFB-5977-16AA-62C8-FDF94C25C41D}"/>
              </a:ext>
            </a:extLst>
          </p:cNvPr>
          <p:cNvSpPr/>
          <p:nvPr/>
        </p:nvSpPr>
        <p:spPr bwMode="gray">
          <a:xfrm>
            <a:off x="3097213" y="4090497"/>
            <a:ext cx="1091536" cy="553125"/>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b="1" dirty="0">
                <a:solidFill>
                  <a:schemeClr val="accent1"/>
                </a:solidFill>
              </a:rPr>
              <a:t>Low case: +35 GW</a:t>
            </a:r>
          </a:p>
        </p:txBody>
      </p:sp>
      <p:cxnSp>
        <p:nvCxnSpPr>
          <p:cNvPr id="37" name="Straight Connector 36">
            <a:extLst>
              <a:ext uri="{FF2B5EF4-FFF2-40B4-BE49-F238E27FC236}">
                <a16:creationId xmlns:a16="http://schemas.microsoft.com/office/drawing/2014/main" id="{ABDB0B5E-FC2B-BBEB-48D0-303EA3563248}"/>
              </a:ext>
            </a:extLst>
          </p:cNvPr>
          <p:cNvCxnSpPr/>
          <p:nvPr>
            <p:custDataLst>
              <p:tags r:id="rId3"/>
            </p:custDataLst>
          </p:nvPr>
        </p:nvCxnSpPr>
        <p:spPr bwMode="gray">
          <a:xfrm>
            <a:off x="727075" y="2713038"/>
            <a:ext cx="168275"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F4AB2A-58F0-0711-33D5-DB4B47D414C2}"/>
              </a:ext>
            </a:extLst>
          </p:cNvPr>
          <p:cNvCxnSpPr/>
          <p:nvPr>
            <p:custDataLst>
              <p:tags r:id="rId4"/>
            </p:custDataLst>
          </p:nvPr>
        </p:nvCxnSpPr>
        <p:spPr bwMode="gray">
          <a:xfrm>
            <a:off x="727075" y="2290763"/>
            <a:ext cx="168275"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9F391ACF-DC0F-B541-4560-72FF58409644}"/>
              </a:ext>
            </a:extLst>
          </p:cNvPr>
          <p:cNvCxnSpPr/>
          <p:nvPr>
            <p:custDataLst>
              <p:tags r:id="rId5"/>
            </p:custDataLst>
          </p:nvPr>
        </p:nvCxnSpPr>
        <p:spPr bwMode="gray">
          <a:xfrm>
            <a:off x="727075" y="2501900"/>
            <a:ext cx="168275"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0" name="Text Placeholder 10">
            <a:extLst>
              <a:ext uri="{FF2B5EF4-FFF2-40B4-BE49-F238E27FC236}">
                <a16:creationId xmlns:a16="http://schemas.microsoft.com/office/drawing/2014/main" id="{BC405402-2ADB-9241-CDF1-F6B06E1C7F7F}"/>
              </a:ext>
            </a:extLst>
          </p:cNvPr>
          <p:cNvSpPr txBox="1">
            <a:spLocks/>
          </p:cNvSpPr>
          <p:nvPr>
            <p:custDataLst>
              <p:tags r:id="rId6"/>
            </p:custDataLst>
          </p:nvPr>
        </p:nvSpPr>
        <p:spPr bwMode="auto">
          <a:xfrm>
            <a:off x="955675" y="2638425"/>
            <a:ext cx="1752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BCE2BD-71A6-4F37-8A77-CD3B99F88832}" type="datetime'''LBL'' L''ow ''Dema''nd'''''' 2''030 ''''''(GW'''')'''''">
              <a:rPr lang="en-US" altLang="en-US" sz="1050" smtClean="0">
                <a:solidFill>
                  <a:schemeClr val="accent1"/>
                </a:solidFill>
              </a:rPr>
              <a:pPr/>
              <a:t>LBL Low Demand 2030 (GW)</a:t>
            </a:fld>
            <a:endParaRPr lang="en-US" sz="1050" dirty="0">
              <a:solidFill>
                <a:schemeClr val="accent1"/>
              </a:solidFill>
            </a:endParaRPr>
          </a:p>
        </p:txBody>
      </p:sp>
      <p:sp>
        <p:nvSpPr>
          <p:cNvPr id="18" name="Text Placeholder 10">
            <a:extLst>
              <a:ext uri="{FF2B5EF4-FFF2-40B4-BE49-F238E27FC236}">
                <a16:creationId xmlns:a16="http://schemas.microsoft.com/office/drawing/2014/main" id="{D2266E45-00CC-9501-C9B7-807D9906FD36}"/>
              </a:ext>
            </a:extLst>
          </p:cNvPr>
          <p:cNvSpPr txBox="1">
            <a:spLocks/>
          </p:cNvSpPr>
          <p:nvPr>
            <p:custDataLst>
              <p:tags r:id="rId7"/>
            </p:custDataLst>
          </p:nvPr>
        </p:nvSpPr>
        <p:spPr bwMode="auto">
          <a:xfrm>
            <a:off x="955675" y="2216150"/>
            <a:ext cx="1343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5276EB-2BBD-4177-ABC4-93296AF10FB5}" type="datetime'''H''''''''''''ist''or''i''c'''''' D''e''mand'' (''GW'''''')'">
              <a:rPr lang="en-US" altLang="en-US" sz="1050" smtClean="0">
                <a:solidFill>
                  <a:schemeClr val="accent3"/>
                </a:solidFill>
              </a:rPr>
              <a:pPr/>
              <a:t>Historic Demand (GW)</a:t>
            </a:fld>
            <a:endParaRPr lang="en-US" sz="1050" dirty="0">
              <a:solidFill>
                <a:schemeClr val="accent3"/>
              </a:solidFill>
            </a:endParaRPr>
          </a:p>
        </p:txBody>
      </p:sp>
      <p:sp>
        <p:nvSpPr>
          <p:cNvPr id="19" name="Text Placeholder 10">
            <a:extLst>
              <a:ext uri="{FF2B5EF4-FFF2-40B4-BE49-F238E27FC236}">
                <a16:creationId xmlns:a16="http://schemas.microsoft.com/office/drawing/2014/main" id="{761DDE28-A425-C508-1195-53CE797B1A25}"/>
              </a:ext>
            </a:extLst>
          </p:cNvPr>
          <p:cNvSpPr txBox="1">
            <a:spLocks/>
          </p:cNvSpPr>
          <p:nvPr>
            <p:custDataLst>
              <p:tags r:id="rId8"/>
            </p:custDataLst>
          </p:nvPr>
        </p:nvSpPr>
        <p:spPr bwMode="auto">
          <a:xfrm>
            <a:off x="955675" y="2427288"/>
            <a:ext cx="17827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A8A19DF-D1AE-4CBE-89F4-B2C7D1084B4C}" type="datetime'LB''''L'''' ''''''Hi''gh ''''D''''ema''nd'' 203''''''0 (GW)'''">
              <a:rPr lang="en-US" altLang="en-US" sz="1050" smtClean="0">
                <a:solidFill>
                  <a:schemeClr val="accent5"/>
                </a:solidFill>
              </a:rPr>
              <a:pPr/>
              <a:t>LBL High Demand 2030 (GW)</a:t>
            </a:fld>
            <a:endParaRPr lang="en-US" sz="1050" dirty="0">
              <a:solidFill>
                <a:schemeClr val="accent5"/>
              </a:solidFill>
            </a:endParaRPr>
          </a:p>
        </p:txBody>
      </p:sp>
      <p:graphicFrame>
        <p:nvGraphicFramePr>
          <p:cNvPr id="55" name="Chart 54">
            <a:extLst>
              <a:ext uri="{FF2B5EF4-FFF2-40B4-BE49-F238E27FC236}">
                <a16:creationId xmlns:a16="http://schemas.microsoft.com/office/drawing/2014/main" id="{50869FA0-9F8D-24B8-D200-0505E03C202F}"/>
              </a:ext>
            </a:extLst>
          </p:cNvPr>
          <p:cNvGraphicFramePr/>
          <p:nvPr>
            <p:custDataLst>
              <p:tags r:id="rId9"/>
            </p:custDataLst>
            <p:extLst>
              <p:ext uri="{D42A27DB-BD31-4B8C-83A1-F6EECF244321}">
                <p14:modId xmlns:p14="http://schemas.microsoft.com/office/powerpoint/2010/main" val="2606264290"/>
              </p:ext>
            </p:extLst>
          </p:nvPr>
        </p:nvGraphicFramePr>
        <p:xfrm>
          <a:off x="5775325" y="1909763"/>
          <a:ext cx="3340100" cy="4008437"/>
        </p:xfrm>
        <a:graphic>
          <a:graphicData uri="http://schemas.openxmlformats.org/drawingml/2006/chart">
            <c:chart xmlns:c="http://schemas.openxmlformats.org/drawingml/2006/chart" xmlns:r="http://schemas.openxmlformats.org/officeDocument/2006/relationships" r:id="rId29"/>
          </a:graphicData>
        </a:graphic>
      </p:graphicFrame>
      <p:sp>
        <p:nvSpPr>
          <p:cNvPr id="43" name="Text Placeholder 10">
            <a:extLst>
              <a:ext uri="{FF2B5EF4-FFF2-40B4-BE49-F238E27FC236}">
                <a16:creationId xmlns:a16="http://schemas.microsoft.com/office/drawing/2014/main" id="{32AEB1CF-553E-33F4-1D78-8921071BA5BE}"/>
              </a:ext>
            </a:extLst>
          </p:cNvPr>
          <p:cNvSpPr txBox="1">
            <a:spLocks/>
          </p:cNvSpPr>
          <p:nvPr>
            <p:custDataLst>
              <p:tags r:id="rId10"/>
            </p:custDataLst>
          </p:nvPr>
        </p:nvSpPr>
        <p:spPr bwMode="auto">
          <a:xfrm>
            <a:off x="6075363" y="5670550"/>
            <a:ext cx="623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7242E0-6489-4822-964C-5EE98F29CB93}" type="datetime'''''''''''''''''''N''''uc''''l''''''e''''''''a''''r'''''''''">
              <a:rPr lang="en-US" altLang="en-US" sz="1400" smtClean="0"/>
              <a:pPr marL="0" indent="0" algn="ctr">
                <a:spcBef>
                  <a:spcPct val="0"/>
                </a:spcBef>
                <a:spcAft>
                  <a:spcPct val="0"/>
                </a:spcAft>
                <a:buNone/>
              </a:pPr>
              <a:t>Nuclear</a:t>
            </a:fld>
            <a:endParaRPr lang="en-US" sz="1400" dirty="0"/>
          </a:p>
        </p:txBody>
      </p:sp>
      <p:sp>
        <p:nvSpPr>
          <p:cNvPr id="44" name="Text Placeholder 10">
            <a:extLst>
              <a:ext uri="{FF2B5EF4-FFF2-40B4-BE49-F238E27FC236}">
                <a16:creationId xmlns:a16="http://schemas.microsoft.com/office/drawing/2014/main" id="{0A2E2E6E-3A19-945A-4C31-9DB6903DEB0F}"/>
              </a:ext>
            </a:extLst>
          </p:cNvPr>
          <p:cNvSpPr txBox="1">
            <a:spLocks/>
          </p:cNvSpPr>
          <p:nvPr>
            <p:custDataLst>
              <p:tags r:id="rId11"/>
            </p:custDataLst>
          </p:nvPr>
        </p:nvSpPr>
        <p:spPr bwMode="auto">
          <a:xfrm>
            <a:off x="6951663" y="5670550"/>
            <a:ext cx="987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4CECA5-E14A-4389-805A-1DA52E821BC0}" type="datetime'''''''''''''''''''G''''e''''''ot''h''''e''r''''m''''''''a''l '">
              <a:rPr lang="en-US" altLang="en-US" sz="1400" smtClean="0"/>
              <a:pPr marL="0" indent="0" algn="ctr">
                <a:spcBef>
                  <a:spcPct val="0"/>
                </a:spcBef>
                <a:spcAft>
                  <a:spcPct val="0"/>
                </a:spcAft>
                <a:buNone/>
              </a:pPr>
              <a:t>Geothermal </a:t>
            </a:fld>
            <a:endParaRPr lang="en-US" sz="1400" dirty="0"/>
          </a:p>
        </p:txBody>
      </p:sp>
      <p:sp>
        <p:nvSpPr>
          <p:cNvPr id="45" name="Text Placeholder 10">
            <a:extLst>
              <a:ext uri="{FF2B5EF4-FFF2-40B4-BE49-F238E27FC236}">
                <a16:creationId xmlns:a16="http://schemas.microsoft.com/office/drawing/2014/main" id="{04AEFBA2-EE1F-815C-8237-D7DC62C6030C}"/>
              </a:ext>
            </a:extLst>
          </p:cNvPr>
          <p:cNvSpPr txBox="1">
            <a:spLocks/>
          </p:cNvSpPr>
          <p:nvPr>
            <p:custDataLst>
              <p:tags r:id="rId12"/>
            </p:custDataLst>
          </p:nvPr>
        </p:nvSpPr>
        <p:spPr bwMode="auto">
          <a:xfrm>
            <a:off x="8034338" y="5670550"/>
            <a:ext cx="9382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Next-Gen Geothermal</a:t>
            </a:r>
            <a:endParaRPr lang="en-US" sz="1400" dirty="0"/>
          </a:p>
        </p:txBody>
      </p:sp>
      <p:sp>
        <p:nvSpPr>
          <p:cNvPr id="46" name="Text Placeholder 10">
            <a:extLst>
              <a:ext uri="{FF2B5EF4-FFF2-40B4-BE49-F238E27FC236}">
                <a16:creationId xmlns:a16="http://schemas.microsoft.com/office/drawing/2014/main" id="{2DEAA449-67DC-EFC1-2166-6EDCE8D0C786}"/>
              </a:ext>
            </a:extLst>
          </p:cNvPr>
          <p:cNvSpPr txBox="1">
            <a:spLocks/>
          </p:cNvSpPr>
          <p:nvPr>
            <p:custDataLst>
              <p:tags r:id="rId13"/>
            </p:custDataLst>
          </p:nvPr>
        </p:nvSpPr>
        <p:spPr bwMode="auto">
          <a:xfrm>
            <a:off x="4481513" y="5070475"/>
            <a:ext cx="1468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3CF53D-0D2A-417D-92C0-52826BCA2367}" type="datetime'New'' ''A''''''''''v''a''''''''i''''''''''''l''''a''''ble GW'">
              <a:rPr lang="en-US" altLang="en-US" sz="1400" smtClean="0"/>
              <a:pPr marL="0" indent="0" algn="r">
                <a:spcBef>
                  <a:spcPct val="0"/>
                </a:spcBef>
                <a:spcAft>
                  <a:spcPct val="0"/>
                </a:spcAft>
                <a:buNone/>
              </a:pPr>
              <a:t>New Available GW</a:t>
            </a:fld>
            <a:endParaRPr lang="en-US" sz="1400" dirty="0"/>
          </a:p>
        </p:txBody>
      </p:sp>
      <p:sp>
        <p:nvSpPr>
          <p:cNvPr id="47" name="Text Placeholder 10">
            <a:extLst>
              <a:ext uri="{FF2B5EF4-FFF2-40B4-BE49-F238E27FC236}">
                <a16:creationId xmlns:a16="http://schemas.microsoft.com/office/drawing/2014/main" id="{071E44B2-D302-8224-CC5E-27D8A2694061}"/>
              </a:ext>
            </a:extLst>
          </p:cNvPr>
          <p:cNvSpPr txBox="1">
            <a:spLocks/>
          </p:cNvSpPr>
          <p:nvPr>
            <p:custDataLst>
              <p:tags r:id="rId14"/>
            </p:custDataLst>
          </p:nvPr>
        </p:nvSpPr>
        <p:spPr bwMode="gray">
          <a:xfrm>
            <a:off x="7370763" y="36322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FE2906-AE6B-4872-9041-FD95C0F3D099}" type="datetime'''''8'">
              <a:rPr lang="en-US" altLang="en-US" sz="1400" smtClean="0"/>
              <a:pPr marL="0" indent="0" algn="ctr">
                <a:spcBef>
                  <a:spcPct val="0"/>
                </a:spcBef>
                <a:spcAft>
                  <a:spcPct val="0"/>
                </a:spcAft>
                <a:buNone/>
              </a:pPr>
              <a:t>8</a:t>
            </a:fld>
            <a:endParaRPr lang="en-US" sz="1400" dirty="0"/>
          </a:p>
        </p:txBody>
      </p:sp>
      <p:sp>
        <p:nvSpPr>
          <p:cNvPr id="48" name="Rectangular Callout 47">
            <a:extLst>
              <a:ext uri="{FF2B5EF4-FFF2-40B4-BE49-F238E27FC236}">
                <a16:creationId xmlns:a16="http://schemas.microsoft.com/office/drawing/2014/main" id="{3C9FAD7A-ED4E-C051-0A90-471319743049}"/>
              </a:ext>
            </a:extLst>
          </p:cNvPr>
          <p:cNvSpPr/>
          <p:nvPr/>
        </p:nvSpPr>
        <p:spPr bwMode="gray">
          <a:xfrm>
            <a:off x="5100638" y="3759200"/>
            <a:ext cx="1112838" cy="576263"/>
          </a:xfrm>
          <a:prstGeom prst="wedgeRectCallout">
            <a:avLst>
              <a:gd name="adj1" fmla="val 48398"/>
              <a:gd name="adj2" fmla="val 121819"/>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Nuclear restarts + early SMRs</a:t>
            </a:r>
            <a:endParaRPr lang="en-US" sz="1600" dirty="0">
              <a:solidFill>
                <a:schemeClr val="bg1"/>
              </a:solidFill>
            </a:endParaRPr>
          </a:p>
        </p:txBody>
      </p:sp>
      <p:sp>
        <p:nvSpPr>
          <p:cNvPr id="49" name="Rectangular Callout 48">
            <a:extLst>
              <a:ext uri="{FF2B5EF4-FFF2-40B4-BE49-F238E27FC236}">
                <a16:creationId xmlns:a16="http://schemas.microsoft.com/office/drawing/2014/main" id="{280DEA8F-5968-AC5D-2C8D-987A5D263E84}"/>
              </a:ext>
            </a:extLst>
          </p:cNvPr>
          <p:cNvSpPr/>
          <p:nvPr/>
        </p:nvSpPr>
        <p:spPr bwMode="gray">
          <a:xfrm>
            <a:off x="6424613" y="2927350"/>
            <a:ext cx="865188" cy="576263"/>
          </a:xfrm>
          <a:prstGeom prst="wedgeRectCallout">
            <a:avLst>
              <a:gd name="adj1" fmla="val 38230"/>
              <a:gd name="adj2" fmla="val 118965"/>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Grid upside</a:t>
            </a:r>
            <a:endParaRPr lang="en-US" sz="1600" dirty="0">
              <a:solidFill>
                <a:schemeClr val="bg1"/>
              </a:solidFill>
            </a:endParaRPr>
          </a:p>
        </p:txBody>
      </p:sp>
      <p:sp>
        <p:nvSpPr>
          <p:cNvPr id="50" name="Rectangular Callout 49">
            <a:extLst>
              <a:ext uri="{FF2B5EF4-FFF2-40B4-BE49-F238E27FC236}">
                <a16:creationId xmlns:a16="http://schemas.microsoft.com/office/drawing/2014/main" id="{D430773F-2A03-D9D6-1FC9-B0E8231B40B3}"/>
              </a:ext>
            </a:extLst>
          </p:cNvPr>
          <p:cNvSpPr/>
          <p:nvPr/>
        </p:nvSpPr>
        <p:spPr bwMode="gray">
          <a:xfrm>
            <a:off x="8616950" y="2768600"/>
            <a:ext cx="865188" cy="577850"/>
          </a:xfrm>
          <a:prstGeom prst="wedgeRectCallout">
            <a:avLst>
              <a:gd name="adj1" fmla="val -43950"/>
              <a:gd name="adj2" fmla="val 118965"/>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Behind the meter</a:t>
            </a:r>
            <a:endParaRPr lang="en-US" sz="1600" dirty="0">
              <a:solidFill>
                <a:schemeClr val="bg1"/>
              </a:solidFill>
            </a:endParaRPr>
          </a:p>
        </p:txBody>
      </p:sp>
    </p:spTree>
    <p:extLst>
      <p:ext uri="{BB962C8B-B14F-4D97-AF65-F5344CB8AC3E}">
        <p14:creationId xmlns:p14="http://schemas.microsoft.com/office/powerpoint/2010/main" val="32758660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8390782E-02C2-EA72-7859-605A80729C99}"/>
              </a:ext>
            </a:extLst>
          </p:cNvPr>
          <p:cNvGraphicFramePr>
            <a:graphicFrameLocks/>
          </p:cNvGraphicFramePr>
          <p:nvPr>
            <p:custDataLst>
              <p:tags r:id="rId1"/>
            </p:custDataLst>
            <p:extLst>
              <p:ext uri="{D42A27DB-BD31-4B8C-83A1-F6EECF244321}">
                <p14:modId xmlns:p14="http://schemas.microsoft.com/office/powerpoint/2010/main" val="23036588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7E2905A-2C31-C9BA-6D84-8341EAC005AC}"/>
              </a:ext>
            </a:extLst>
          </p:cNvPr>
          <p:cNvSpPr>
            <a:spLocks noGrp="1"/>
          </p:cNvSpPr>
          <p:nvPr>
            <p:ph type="body" sz="quarter" idx="14"/>
          </p:nvPr>
        </p:nvSpPr>
        <p:spPr/>
        <p:txBody>
          <a:bodyPr rIns="91440"/>
          <a:lstStyle/>
          <a:p>
            <a:pPr marL="0" indent="0">
              <a:spcBef>
                <a:spcPts val="600"/>
              </a:spcBef>
              <a:buNone/>
            </a:pPr>
            <a:r>
              <a:rPr lang="en-US" b="1" dirty="0"/>
              <a:t>Observations</a:t>
            </a:r>
          </a:p>
          <a:p>
            <a:pPr>
              <a:spcBef>
                <a:spcPts val="600"/>
              </a:spcBef>
            </a:pPr>
            <a:r>
              <a:rPr lang="en-US" dirty="0"/>
              <a:t>Geothermal provides reliable, the clean baseload power required for data centers. </a:t>
            </a:r>
          </a:p>
          <a:p>
            <a:pPr>
              <a:spcBef>
                <a:spcPts val="600"/>
              </a:spcBef>
            </a:pPr>
            <a:r>
              <a:rPr lang="en-US" dirty="0"/>
              <a:t>Existing technologies for conventional geothermal, </a:t>
            </a:r>
            <a:br>
              <a:rPr lang="en-US" dirty="0"/>
            </a:br>
            <a:r>
              <a:rPr lang="en-US" dirty="0"/>
              <a:t>oil and gas drilling, and mineral and geospatial exploration can be modified and improved to optimize geothermal development and decrease LCOE.</a:t>
            </a:r>
          </a:p>
          <a:p>
            <a:pPr>
              <a:spcBef>
                <a:spcPts val="600"/>
              </a:spcBef>
            </a:pPr>
            <a:r>
              <a:rPr lang="en-US" dirty="0"/>
              <a:t>Emerging and frontier geothermal technologies will find innovative, cost-effective ways to continue to reduce LCOE.</a:t>
            </a:r>
          </a:p>
          <a:p>
            <a:pPr>
              <a:spcBef>
                <a:spcPts val="600"/>
              </a:spcBef>
            </a:pPr>
            <a:r>
              <a:rPr lang="en-US" dirty="0"/>
              <a:t>Geothermal has other potential uses for cooling and water management for data centers.</a:t>
            </a:r>
          </a:p>
          <a:p>
            <a:endParaRPr lang="en-US" dirty="0"/>
          </a:p>
        </p:txBody>
      </p:sp>
      <p:sp>
        <p:nvSpPr>
          <p:cNvPr id="4" name="Title 3">
            <a:extLst>
              <a:ext uri="{FF2B5EF4-FFF2-40B4-BE49-F238E27FC236}">
                <a16:creationId xmlns:a16="http://schemas.microsoft.com/office/drawing/2014/main" id="{44549127-0A68-3C9B-D8DB-5ACCCD294FB0}"/>
              </a:ext>
            </a:extLst>
          </p:cNvPr>
          <p:cNvSpPr>
            <a:spLocks noGrp="1"/>
          </p:cNvSpPr>
          <p:nvPr>
            <p:ph type="title"/>
          </p:nvPr>
        </p:nvSpPr>
        <p:spPr/>
        <p:txBody>
          <a:bodyPr vert="horz" rIns="91440"/>
          <a:lstStyle/>
          <a:p>
            <a:r>
              <a:rPr lang="en-US" dirty="0">
                <a:sym typeface="Futura"/>
              </a:rPr>
              <a:t>Untapped geothermal potential is uniquely positioned to meet the growing demand for data center power</a:t>
            </a:r>
            <a:endParaRPr lang="en-US" dirty="0"/>
          </a:p>
        </p:txBody>
      </p:sp>
      <p:sp>
        <p:nvSpPr>
          <p:cNvPr id="5" name="Footer Placeholder 4">
            <a:extLst>
              <a:ext uri="{FF2B5EF4-FFF2-40B4-BE49-F238E27FC236}">
                <a16:creationId xmlns:a16="http://schemas.microsoft.com/office/drawing/2014/main" id="{3BB33636-CEF5-590E-20D8-ECC67B776C42}"/>
              </a:ext>
            </a:extLst>
          </p:cNvPr>
          <p:cNvSpPr>
            <a:spLocks noGrp="1"/>
          </p:cNvSpPr>
          <p:nvPr>
            <p:ph type="ftr" sz="quarter" idx="3"/>
          </p:nvPr>
        </p:nvSpPr>
        <p:spPr>
          <a:xfrm>
            <a:off x="334962" y="6285163"/>
            <a:ext cx="9147241" cy="216706"/>
          </a:xfrm>
        </p:spPr>
        <p:txBody>
          <a:bodyPr/>
          <a:lstStyle/>
          <a:p>
            <a:pPr marL="0" indent="0">
              <a:spcBef>
                <a:spcPts val="0"/>
              </a:spcBef>
              <a:buNone/>
            </a:pPr>
            <a:r>
              <a:rPr lang="en-US" dirty="0">
                <a:solidFill>
                  <a:srgbClr val="000000"/>
                </a:solidFill>
              </a:rPr>
              <a:t>Sources:</a:t>
            </a:r>
            <a:r>
              <a:rPr lang="en-US" dirty="0">
                <a:solidFill>
                  <a:schemeClr val="tx1"/>
                </a:solidFill>
              </a:rPr>
              <a:t> </a:t>
            </a:r>
            <a:r>
              <a:rPr lang="en-US" dirty="0">
                <a:solidFill>
                  <a:schemeClr val="tx1"/>
                </a:solidFill>
                <a:hlinkClick r:id="rId6"/>
              </a:rPr>
              <a:t>Is geothermal energy ready</a:t>
            </a:r>
            <a:r>
              <a:rPr lang="en-US" dirty="0"/>
              <a:t> </a:t>
            </a:r>
            <a:r>
              <a:rPr lang="en-US" dirty="0">
                <a:solidFill>
                  <a:schemeClr val="tx1"/>
                </a:solidFill>
              </a:rPr>
              <a:t>(McKinsey, 2025); </a:t>
            </a:r>
            <a:r>
              <a:rPr lang="en-US" dirty="0">
                <a:solidFill>
                  <a:schemeClr val="tx1"/>
                </a:solidFill>
                <a:hlinkClick r:id="rId7"/>
              </a:rPr>
              <a:t>Reducing Data Center Peak Cooling</a:t>
            </a:r>
            <a:r>
              <a:rPr lang="en-US" dirty="0"/>
              <a:t> </a:t>
            </a:r>
            <a:r>
              <a:rPr lang="en-US" dirty="0">
                <a:solidFill>
                  <a:schemeClr val="tx1"/>
                </a:solidFill>
              </a:rPr>
              <a:t>(NREL, 2025);</a:t>
            </a:r>
            <a:r>
              <a:rPr lang="en-US" dirty="0"/>
              <a:t> </a:t>
            </a:r>
            <a:r>
              <a:rPr lang="en-US" dirty="0">
                <a:hlinkClick r:id="rId8"/>
              </a:rPr>
              <a:t>Harnessing the Heat</a:t>
            </a:r>
            <a:r>
              <a:rPr lang="en-US" dirty="0"/>
              <a:t> </a:t>
            </a:r>
            <a:r>
              <a:rPr lang="en-US" dirty="0">
                <a:solidFill>
                  <a:schemeClr val="tx1"/>
                </a:solidFill>
                <a:hlinkClick r:id="rId8">
                  <a:extLst>
                    <a:ext uri="{A12FA001-AC4F-418D-AE19-62706E023703}">
                      <ahyp:hlinkClr xmlns:ahyp="http://schemas.microsoft.com/office/drawing/2018/hyperlinkcolor" val="tx"/>
                    </a:ext>
                  </a:extLst>
                </a:hlinkClick>
              </a:rPr>
              <a:t>(</a:t>
            </a:r>
            <a:r>
              <a:rPr lang="en-US" dirty="0">
                <a:solidFill>
                  <a:schemeClr val="tx1"/>
                </a:solidFill>
              </a:rPr>
              <a:t>DOE, 2019); </a:t>
            </a:r>
            <a:r>
              <a:rPr lang="en-US" dirty="0">
                <a:hlinkClick r:id="rId9"/>
              </a:rPr>
              <a:t>Geothermal Mythbusting: Water Use and Impacts</a:t>
            </a:r>
            <a:r>
              <a:rPr lang="en-US" dirty="0"/>
              <a:t> (</a:t>
            </a:r>
            <a:r>
              <a:rPr lang="en-US" dirty="0" err="1">
                <a:solidFill>
                  <a:schemeClr val="tx1"/>
                </a:solidFill>
              </a:rPr>
              <a:t>Fervo</a:t>
            </a:r>
            <a:r>
              <a:rPr lang="en-US" dirty="0">
                <a:solidFill>
                  <a:schemeClr val="tx1"/>
                </a:solidFill>
              </a:rPr>
              <a:t> Energy, 2025); </a:t>
            </a:r>
            <a:r>
              <a:rPr lang="en-US" dirty="0">
                <a:hlinkClick r:id="rId10"/>
              </a:rPr>
              <a:t>Global geothermal potential</a:t>
            </a:r>
            <a:r>
              <a:rPr lang="en-US" dirty="0"/>
              <a:t> </a:t>
            </a:r>
            <a:r>
              <a:rPr lang="en-US" dirty="0">
                <a:solidFill>
                  <a:schemeClr val="tx1"/>
                </a:solidFill>
              </a:rPr>
              <a:t>(IEA, 2024).  </a:t>
            </a:r>
          </a:p>
          <a:p>
            <a:pPr marL="0" indent="0">
              <a:spcBef>
                <a:spcPts val="0"/>
              </a:spcBef>
              <a:buNone/>
            </a:pPr>
            <a:r>
              <a:rPr lang="en-US" dirty="0">
                <a:solidFill>
                  <a:srgbClr val="000000"/>
                </a:solidFill>
              </a:rPr>
              <a:t>Credit: Stephanie Chen, Isabel Hoyos, and </a:t>
            </a:r>
            <a:r>
              <a:rPr lang="en-US" dirty="0">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Rounded Rectangle 5">
            <a:extLst>
              <a:ext uri="{FF2B5EF4-FFF2-40B4-BE49-F238E27FC236}">
                <a16:creationId xmlns:a16="http://schemas.microsoft.com/office/drawing/2014/main" id="{AA0D7EC1-F87F-4A8E-1FC6-13D0AB861E9D}"/>
              </a:ext>
            </a:extLst>
          </p:cNvPr>
          <p:cNvSpPr/>
          <p:nvPr/>
        </p:nvSpPr>
        <p:spPr bwMode="gray">
          <a:xfrm>
            <a:off x="827286" y="5227654"/>
            <a:ext cx="8197239" cy="975034"/>
          </a:xfrm>
          <a:prstGeom prst="roundRect">
            <a:avLst/>
          </a:prstGeom>
          <a:solidFill>
            <a:srgbClr val="E0D6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i="1" dirty="0">
              <a:solidFill>
                <a:schemeClr val="tx1"/>
              </a:solidFill>
            </a:endParaRPr>
          </a:p>
        </p:txBody>
      </p:sp>
      <p:sp>
        <p:nvSpPr>
          <p:cNvPr id="7" name="Rechteck 20">
            <a:extLst>
              <a:ext uri="{FF2B5EF4-FFF2-40B4-BE49-F238E27FC236}">
                <a16:creationId xmlns:a16="http://schemas.microsoft.com/office/drawing/2014/main" id="{6261E0D1-8A45-0982-AB35-54643EBE5CEB}"/>
              </a:ext>
            </a:extLst>
          </p:cNvPr>
          <p:cNvSpPr>
            <a:spLocks/>
          </p:cNvSpPr>
          <p:nvPr/>
        </p:nvSpPr>
        <p:spPr>
          <a:xfrm>
            <a:off x="1423261" y="5349228"/>
            <a:ext cx="2366851" cy="714750"/>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marL="0" indent="0">
              <a:spcAft>
                <a:spcPts val="600"/>
              </a:spcAft>
              <a:buClr>
                <a:srgbClr val="000000"/>
              </a:buClr>
              <a:buNone/>
            </a:pPr>
            <a:r>
              <a:rPr lang="en-US" sz="1200" b="1" dirty="0">
                <a:solidFill>
                  <a:schemeClr val="tx1"/>
                </a:solidFill>
                <a:sym typeface="Futura"/>
              </a:rPr>
              <a:t>Potential for Build-to-Suit Data Center Solutions</a:t>
            </a:r>
          </a:p>
        </p:txBody>
      </p:sp>
      <p:sp>
        <p:nvSpPr>
          <p:cNvPr id="8" name="Oval 7">
            <a:extLst>
              <a:ext uri="{FF2B5EF4-FFF2-40B4-BE49-F238E27FC236}">
                <a16:creationId xmlns:a16="http://schemas.microsoft.com/office/drawing/2014/main" id="{482013FF-30F9-EF32-5BB7-682FD989C868}"/>
              </a:ext>
            </a:extLst>
          </p:cNvPr>
          <p:cNvSpPr/>
          <p:nvPr/>
        </p:nvSpPr>
        <p:spPr bwMode="gray">
          <a:xfrm>
            <a:off x="366161" y="5231269"/>
            <a:ext cx="971330" cy="967805"/>
          </a:xfrm>
          <a:prstGeom prst="ellipse">
            <a:avLst/>
          </a:prstGeom>
          <a:solidFill>
            <a:schemeClr val="bg1"/>
          </a:solidFill>
          <a:ln w="28575">
            <a:solidFill>
              <a:srgbClr val="E0D6F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 name="Rounded Rectangle 8">
            <a:extLst>
              <a:ext uri="{FF2B5EF4-FFF2-40B4-BE49-F238E27FC236}">
                <a16:creationId xmlns:a16="http://schemas.microsoft.com/office/drawing/2014/main" id="{D3866B9A-1FE9-2EEA-6061-49B39346E40A}"/>
              </a:ext>
            </a:extLst>
          </p:cNvPr>
          <p:cNvSpPr/>
          <p:nvPr/>
        </p:nvSpPr>
        <p:spPr bwMode="gray">
          <a:xfrm>
            <a:off x="878826" y="3980584"/>
            <a:ext cx="8146343" cy="975034"/>
          </a:xfrm>
          <a:prstGeom prst="roundRect">
            <a:avLst/>
          </a:prstGeom>
          <a:solidFill>
            <a:srgbClr val="C5F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i="1" dirty="0">
              <a:solidFill>
                <a:schemeClr val="tx1"/>
              </a:solidFill>
            </a:endParaRPr>
          </a:p>
        </p:txBody>
      </p:sp>
      <p:sp>
        <p:nvSpPr>
          <p:cNvPr id="10" name="Rounded Rectangle 9">
            <a:extLst>
              <a:ext uri="{FF2B5EF4-FFF2-40B4-BE49-F238E27FC236}">
                <a16:creationId xmlns:a16="http://schemas.microsoft.com/office/drawing/2014/main" id="{29CBB2F2-0AF7-3189-2EDD-78EBAFD10FA9}"/>
              </a:ext>
            </a:extLst>
          </p:cNvPr>
          <p:cNvSpPr/>
          <p:nvPr/>
        </p:nvSpPr>
        <p:spPr bwMode="gray">
          <a:xfrm>
            <a:off x="812149" y="2733514"/>
            <a:ext cx="8213020" cy="975034"/>
          </a:xfrm>
          <a:prstGeom prst="roundRect">
            <a:avLst/>
          </a:prstGeom>
          <a:solidFill>
            <a:srgbClr val="F1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i="1" dirty="0">
              <a:solidFill>
                <a:schemeClr val="tx1"/>
              </a:solidFill>
            </a:endParaRPr>
          </a:p>
        </p:txBody>
      </p:sp>
      <p:sp>
        <p:nvSpPr>
          <p:cNvPr id="11" name="Rechteck 20">
            <a:extLst>
              <a:ext uri="{FF2B5EF4-FFF2-40B4-BE49-F238E27FC236}">
                <a16:creationId xmlns:a16="http://schemas.microsoft.com/office/drawing/2014/main" id="{C92EB553-CF63-7C5E-1E3E-14DE0B09F512}"/>
              </a:ext>
            </a:extLst>
          </p:cNvPr>
          <p:cNvSpPr>
            <a:spLocks/>
          </p:cNvSpPr>
          <p:nvPr/>
        </p:nvSpPr>
        <p:spPr>
          <a:xfrm>
            <a:off x="1394577" y="2874861"/>
            <a:ext cx="1944820" cy="839024"/>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marL="0" lvl="1" indent="0">
              <a:spcAft>
                <a:spcPts val="600"/>
              </a:spcAft>
              <a:buClr>
                <a:srgbClr val="000000"/>
              </a:buClr>
              <a:buNone/>
            </a:pPr>
            <a:r>
              <a:rPr lang="en-US" sz="1200" b="1" dirty="0">
                <a:solidFill>
                  <a:schemeClr val="tx1"/>
                </a:solidFill>
                <a:sym typeface="Futura"/>
              </a:rPr>
              <a:t>Declining LCOE for Next-Gen Geothermal</a:t>
            </a:r>
          </a:p>
        </p:txBody>
      </p:sp>
      <p:sp>
        <p:nvSpPr>
          <p:cNvPr id="12" name="Inhaltsplatzhalter 2">
            <a:extLst>
              <a:ext uri="{FF2B5EF4-FFF2-40B4-BE49-F238E27FC236}">
                <a16:creationId xmlns:a16="http://schemas.microsoft.com/office/drawing/2014/main" id="{4716239E-135D-980D-67D7-64F96489007A}"/>
              </a:ext>
            </a:extLst>
          </p:cNvPr>
          <p:cNvSpPr txBox="1">
            <a:spLocks/>
          </p:cNvSpPr>
          <p:nvPr/>
        </p:nvSpPr>
        <p:spPr>
          <a:xfrm>
            <a:off x="3586196" y="2829300"/>
            <a:ext cx="5288286" cy="855904"/>
          </a:xfrm>
          <a:prstGeom prst="rect">
            <a:avLst/>
          </a:prstGeom>
        </p:spPr>
        <p:txBody>
          <a:bodyPr wrap="square" lIns="0" tIns="144000" rIns="0" bIns="14400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75 per MWh for EGS FOAK (unsubsidized) and $120-$150 MWh for ACL FOAK. </a:t>
            </a:r>
          </a:p>
          <a:p>
            <a:r>
              <a:rPr lang="en-US" sz="1000" dirty="0"/>
              <a:t>McKinsey anticipates a decrease to $45-$75 per MWh for Nth of a kind next-gen geothermal. </a:t>
            </a:r>
          </a:p>
        </p:txBody>
      </p:sp>
      <p:sp>
        <p:nvSpPr>
          <p:cNvPr id="13" name="Inhaltsplatzhalter 2">
            <a:extLst>
              <a:ext uri="{FF2B5EF4-FFF2-40B4-BE49-F238E27FC236}">
                <a16:creationId xmlns:a16="http://schemas.microsoft.com/office/drawing/2014/main" id="{EDBB5F82-61C2-015A-AAAA-8B5E5BC7E099}"/>
              </a:ext>
            </a:extLst>
          </p:cNvPr>
          <p:cNvSpPr txBox="1">
            <a:spLocks/>
          </p:cNvSpPr>
          <p:nvPr/>
        </p:nvSpPr>
        <p:spPr>
          <a:xfrm>
            <a:off x="3552453" y="5231728"/>
            <a:ext cx="5322029" cy="1373593"/>
          </a:xfrm>
          <a:prstGeom prst="rect">
            <a:avLst/>
          </a:prstGeom>
        </p:spPr>
        <p:txBody>
          <a:bodyPr wrap="square" lIns="0" tIns="144000" rIns="0" bIns="14400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Behind the meter solution and decrease energy costs by avoiding transmission and grid interconnection costs.</a:t>
            </a:r>
          </a:p>
          <a:p>
            <a:r>
              <a:rPr lang="en-US" sz="1000" dirty="0"/>
              <a:t>NREL and the DOE are exploring Cold Underground Thermal Energy Storage to support data center cooling. Geothermal can also support cooling water efficiencies..</a:t>
            </a:r>
          </a:p>
        </p:txBody>
      </p:sp>
      <p:sp>
        <p:nvSpPr>
          <p:cNvPr id="14" name="Inhaltsplatzhalter 2">
            <a:extLst>
              <a:ext uri="{FF2B5EF4-FFF2-40B4-BE49-F238E27FC236}">
                <a16:creationId xmlns:a16="http://schemas.microsoft.com/office/drawing/2014/main" id="{5633CE48-3561-142F-10F2-0EC5DBF80F09}"/>
              </a:ext>
            </a:extLst>
          </p:cNvPr>
          <p:cNvSpPr txBox="1">
            <a:spLocks/>
          </p:cNvSpPr>
          <p:nvPr/>
        </p:nvSpPr>
        <p:spPr>
          <a:xfrm>
            <a:off x="3552454" y="3997979"/>
            <a:ext cx="6525373" cy="1156571"/>
          </a:xfrm>
          <a:prstGeom prst="rect">
            <a:avLst/>
          </a:prstGeom>
        </p:spPr>
        <p:txBody>
          <a:bodyPr wrap="square" lIns="0" tIns="144000" rIns="0" bIns="14400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Geothermal provides a </a:t>
            </a:r>
            <a:r>
              <a:rPr lang="en-US" sz="1000" b="1" dirty="0"/>
              <a:t>clean energy baseload resource</a:t>
            </a:r>
            <a:r>
              <a:rPr lang="en-US" sz="1000" dirty="0"/>
              <a:t>.</a:t>
            </a:r>
            <a:r>
              <a:rPr lang="en-US" sz="1000" b="1" dirty="0"/>
              <a:t> </a:t>
            </a:r>
            <a:endParaRPr lang="en-US" sz="1000" dirty="0"/>
          </a:p>
          <a:p>
            <a:r>
              <a:rPr lang="en-US" sz="1000" dirty="0"/>
              <a:t>Nuclear is far more capital-intensive and requires far more development time. </a:t>
            </a:r>
          </a:p>
          <a:p>
            <a:r>
              <a:rPr lang="en-US" sz="1000" dirty="0"/>
              <a:t>Solar and wind are intermittent renewable resources that are not ideal for baseload power. </a:t>
            </a:r>
          </a:p>
        </p:txBody>
      </p:sp>
      <p:sp>
        <p:nvSpPr>
          <p:cNvPr id="15" name="Rounded Rectangle 14">
            <a:extLst>
              <a:ext uri="{FF2B5EF4-FFF2-40B4-BE49-F238E27FC236}">
                <a16:creationId xmlns:a16="http://schemas.microsoft.com/office/drawing/2014/main" id="{D7CE0F25-BAC1-3B2A-F00C-77B0F1E96D16}"/>
              </a:ext>
            </a:extLst>
          </p:cNvPr>
          <p:cNvSpPr/>
          <p:nvPr/>
        </p:nvSpPr>
        <p:spPr bwMode="gray">
          <a:xfrm>
            <a:off x="812156" y="1486443"/>
            <a:ext cx="8214395" cy="985709"/>
          </a:xfrm>
          <a:prstGeom prst="roundRect">
            <a:avLst/>
          </a:prstGeom>
          <a:solidFill>
            <a:srgbClr val="D2F1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i="1" dirty="0">
              <a:solidFill>
                <a:schemeClr val="tx1"/>
              </a:solidFill>
            </a:endParaRPr>
          </a:p>
        </p:txBody>
      </p:sp>
      <p:sp>
        <p:nvSpPr>
          <p:cNvPr id="16" name="Inhaltsplatzhalter 2">
            <a:extLst>
              <a:ext uri="{FF2B5EF4-FFF2-40B4-BE49-F238E27FC236}">
                <a16:creationId xmlns:a16="http://schemas.microsoft.com/office/drawing/2014/main" id="{771A4DAE-3D6A-2AA2-F2B4-DE9ECCD7EA41}"/>
              </a:ext>
            </a:extLst>
          </p:cNvPr>
          <p:cNvSpPr txBox="1">
            <a:spLocks/>
          </p:cNvSpPr>
          <p:nvPr/>
        </p:nvSpPr>
        <p:spPr>
          <a:xfrm>
            <a:off x="3578562" y="1494080"/>
            <a:ext cx="5445963" cy="857180"/>
          </a:xfrm>
          <a:prstGeom prst="rect">
            <a:avLst/>
          </a:prstGeom>
          <a:ln>
            <a:noFill/>
          </a:ln>
        </p:spPr>
        <p:txBody>
          <a:bodyPr wrap="square" lIns="0" tIns="144000" rIns="0" bIns="14400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Geothermal offers 24/7 power that is ideal for baseload power and grid stability.</a:t>
            </a:r>
          </a:p>
          <a:p>
            <a:r>
              <a:rPr lang="en-US" sz="1000" dirty="0"/>
              <a:t>Offers a high-capacity factor between 70 and 90%.</a:t>
            </a:r>
          </a:p>
          <a:p>
            <a:r>
              <a:rPr lang="en-US" sz="1000" dirty="0"/>
              <a:t>Global estimated potential of 4,000 PWh/year if next-gen geothermal can unlock resources.</a:t>
            </a:r>
          </a:p>
        </p:txBody>
      </p:sp>
      <p:sp>
        <p:nvSpPr>
          <p:cNvPr id="17" name="Rechteck 23">
            <a:extLst>
              <a:ext uri="{FF2B5EF4-FFF2-40B4-BE49-F238E27FC236}">
                <a16:creationId xmlns:a16="http://schemas.microsoft.com/office/drawing/2014/main" id="{27C7B75C-D9BA-17E4-21BA-87191D0BBD6A}"/>
              </a:ext>
            </a:extLst>
          </p:cNvPr>
          <p:cNvSpPr>
            <a:spLocks/>
          </p:cNvSpPr>
          <p:nvPr/>
        </p:nvSpPr>
        <p:spPr>
          <a:xfrm>
            <a:off x="1275615" y="1720048"/>
            <a:ext cx="2366850" cy="508338"/>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marL="0" indent="0">
              <a:spcAft>
                <a:spcPts val="600"/>
              </a:spcAft>
              <a:buClr>
                <a:srgbClr val="000000"/>
              </a:buClr>
              <a:buNone/>
            </a:pPr>
            <a:r>
              <a:rPr lang="en-US" sz="1200" b="1" dirty="0">
                <a:solidFill>
                  <a:schemeClr val="tx1"/>
                </a:solidFill>
                <a:sym typeface="Futura"/>
              </a:rPr>
              <a:t>Reliable Baseload Power</a:t>
            </a:r>
          </a:p>
        </p:txBody>
      </p:sp>
      <p:sp>
        <p:nvSpPr>
          <p:cNvPr id="18" name="Oval 17">
            <a:extLst>
              <a:ext uri="{FF2B5EF4-FFF2-40B4-BE49-F238E27FC236}">
                <a16:creationId xmlns:a16="http://schemas.microsoft.com/office/drawing/2014/main" id="{22D9A35A-5631-39D1-6D1D-45F97410EFDD}"/>
              </a:ext>
            </a:extLst>
          </p:cNvPr>
          <p:cNvSpPr/>
          <p:nvPr/>
        </p:nvSpPr>
        <p:spPr bwMode="gray">
          <a:xfrm>
            <a:off x="366160" y="1490059"/>
            <a:ext cx="971331" cy="975034"/>
          </a:xfrm>
          <a:prstGeom prst="ellipse">
            <a:avLst/>
          </a:prstGeom>
          <a:solidFill>
            <a:schemeClr val="bg1"/>
          </a:solidFill>
          <a:ln w="28575">
            <a:solidFill>
              <a:srgbClr val="D2F1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9" name="Graphic 18" descr="Electric Tower outline">
            <a:extLst>
              <a:ext uri="{FF2B5EF4-FFF2-40B4-BE49-F238E27FC236}">
                <a16:creationId xmlns:a16="http://schemas.microsoft.com/office/drawing/2014/main" id="{FFF63104-0277-EAD2-B7A5-0DEC8015D1A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8926" y="1616813"/>
            <a:ext cx="685800" cy="685800"/>
          </a:xfrm>
          <a:prstGeom prst="rect">
            <a:avLst/>
          </a:prstGeom>
        </p:spPr>
      </p:pic>
      <p:sp>
        <p:nvSpPr>
          <p:cNvPr id="20" name="Oval 19">
            <a:extLst>
              <a:ext uri="{FF2B5EF4-FFF2-40B4-BE49-F238E27FC236}">
                <a16:creationId xmlns:a16="http://schemas.microsoft.com/office/drawing/2014/main" id="{64A97CC6-6260-3978-CBA5-35EE156B2C9B}"/>
              </a:ext>
            </a:extLst>
          </p:cNvPr>
          <p:cNvSpPr/>
          <p:nvPr/>
        </p:nvSpPr>
        <p:spPr bwMode="gray">
          <a:xfrm>
            <a:off x="366161" y="2751417"/>
            <a:ext cx="971330" cy="967805"/>
          </a:xfrm>
          <a:prstGeom prst="ellipse">
            <a:avLst/>
          </a:prstGeom>
          <a:solidFill>
            <a:schemeClr val="bg1"/>
          </a:solidFill>
          <a:ln w="28575">
            <a:solidFill>
              <a:srgbClr val="F1D6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hteck 20">
            <a:extLst>
              <a:ext uri="{FF2B5EF4-FFF2-40B4-BE49-F238E27FC236}">
                <a16:creationId xmlns:a16="http://schemas.microsoft.com/office/drawing/2014/main" id="{9CEA90E1-ECB6-EE3B-999F-39CB062833E7}"/>
              </a:ext>
            </a:extLst>
          </p:cNvPr>
          <p:cNvSpPr>
            <a:spLocks/>
          </p:cNvSpPr>
          <p:nvPr/>
        </p:nvSpPr>
        <p:spPr>
          <a:xfrm>
            <a:off x="1423262" y="4263195"/>
            <a:ext cx="2661684" cy="714750"/>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marL="0" lvl="1" indent="0">
              <a:spcAft>
                <a:spcPts val="600"/>
              </a:spcAft>
              <a:buClr>
                <a:srgbClr val="000000"/>
              </a:buClr>
              <a:buNone/>
            </a:pPr>
            <a:r>
              <a:rPr lang="en-US" sz="1200" b="1" dirty="0">
                <a:solidFill>
                  <a:schemeClr val="tx1"/>
                </a:solidFill>
                <a:sym typeface="Futura"/>
              </a:rPr>
              <a:t>Clean Energy</a:t>
            </a:r>
          </a:p>
        </p:txBody>
      </p:sp>
      <p:sp>
        <p:nvSpPr>
          <p:cNvPr id="22" name="Oval 21">
            <a:extLst>
              <a:ext uri="{FF2B5EF4-FFF2-40B4-BE49-F238E27FC236}">
                <a16:creationId xmlns:a16="http://schemas.microsoft.com/office/drawing/2014/main" id="{463E20C4-894E-6086-8C2F-BE59BA2DFF20}"/>
              </a:ext>
            </a:extLst>
          </p:cNvPr>
          <p:cNvSpPr/>
          <p:nvPr/>
        </p:nvSpPr>
        <p:spPr bwMode="gray">
          <a:xfrm>
            <a:off x="366161" y="4003020"/>
            <a:ext cx="971330" cy="967805"/>
          </a:xfrm>
          <a:prstGeom prst="ellipse">
            <a:avLst/>
          </a:prstGeom>
          <a:solidFill>
            <a:schemeClr val="bg1"/>
          </a:solidFill>
          <a:ln w="28575">
            <a:solidFill>
              <a:srgbClr val="C5F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3" name="Graphic 22" descr="Dollar outline">
            <a:extLst>
              <a:ext uri="{FF2B5EF4-FFF2-40B4-BE49-F238E27FC236}">
                <a16:creationId xmlns:a16="http://schemas.microsoft.com/office/drawing/2014/main" id="{589AE2DC-D1E1-73C4-146E-E94D63D885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7544" y="2903618"/>
            <a:ext cx="685800" cy="685800"/>
          </a:xfrm>
          <a:prstGeom prst="rect">
            <a:avLst/>
          </a:prstGeom>
        </p:spPr>
      </p:pic>
      <p:pic>
        <p:nvPicPr>
          <p:cNvPr id="24" name="Graphic 23" descr="Renewable Energy outline">
            <a:extLst>
              <a:ext uri="{FF2B5EF4-FFF2-40B4-BE49-F238E27FC236}">
                <a16:creationId xmlns:a16="http://schemas.microsoft.com/office/drawing/2014/main" id="{E86E7455-C08A-44F7-70D4-1AD20EAFDB6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9718" y="4144022"/>
            <a:ext cx="685800" cy="685800"/>
          </a:xfrm>
          <a:prstGeom prst="rect">
            <a:avLst/>
          </a:prstGeom>
        </p:spPr>
      </p:pic>
      <p:pic>
        <p:nvPicPr>
          <p:cNvPr id="25" name="Graphic 24" descr="Processor outline">
            <a:extLst>
              <a:ext uri="{FF2B5EF4-FFF2-40B4-BE49-F238E27FC236}">
                <a16:creationId xmlns:a16="http://schemas.microsoft.com/office/drawing/2014/main" id="{CC8940BE-03B8-08E1-8CB4-58CF60FE3E5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6900" y="5373631"/>
            <a:ext cx="685800" cy="685800"/>
          </a:xfrm>
          <a:prstGeom prst="rect">
            <a:avLst/>
          </a:prstGeom>
        </p:spPr>
      </p:pic>
      <p:sp>
        <p:nvSpPr>
          <p:cNvPr id="27" name="Text Placeholder 1">
            <a:extLst>
              <a:ext uri="{FF2B5EF4-FFF2-40B4-BE49-F238E27FC236}">
                <a16:creationId xmlns:a16="http://schemas.microsoft.com/office/drawing/2014/main" id="{DCAC07FF-A48C-DB23-CF00-79ED1718E2CC}"/>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ata centers</a:t>
            </a:r>
          </a:p>
        </p:txBody>
      </p:sp>
    </p:spTree>
    <p:extLst>
      <p:ext uri="{BB962C8B-B14F-4D97-AF65-F5344CB8AC3E}">
        <p14:creationId xmlns:p14="http://schemas.microsoft.com/office/powerpoint/2010/main" val="7231213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3D7DD7-B30E-E17D-FEB0-8395FC3C96DB}"/>
              </a:ext>
            </a:extLst>
          </p:cNvPr>
          <p:cNvGraphicFramePr>
            <a:graphicFrameLocks/>
          </p:cNvGraphicFramePr>
          <p:nvPr>
            <p:custDataLst>
              <p:tags r:id="rId1"/>
            </p:custDataLst>
            <p:extLst>
              <p:ext uri="{D42A27DB-BD31-4B8C-83A1-F6EECF244321}">
                <p14:modId xmlns:p14="http://schemas.microsoft.com/office/powerpoint/2010/main" val="30546562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C778B75-D85B-61D0-E641-B15B3C6F4757}"/>
              </a:ext>
            </a:extLst>
          </p:cNvPr>
          <p:cNvSpPr>
            <a:spLocks noGrp="1"/>
          </p:cNvSpPr>
          <p:nvPr>
            <p:ph type="body" sz="quarter" idx="14"/>
          </p:nvPr>
        </p:nvSpPr>
        <p:spPr/>
        <p:txBody>
          <a:bodyPr/>
          <a:lstStyle/>
          <a:p>
            <a:pPr marL="0" indent="0">
              <a:spcBef>
                <a:spcPts val="600"/>
              </a:spcBef>
              <a:buNone/>
            </a:pPr>
            <a:r>
              <a:rPr lang="en-US" b="1" dirty="0"/>
              <a:t>Observations</a:t>
            </a:r>
          </a:p>
          <a:p>
            <a:pPr marL="0" indent="0">
              <a:spcBef>
                <a:spcPts val="600"/>
              </a:spcBef>
              <a:buNone/>
            </a:pPr>
            <a:endParaRPr lang="en-US" b="1" dirty="0"/>
          </a:p>
          <a:p>
            <a:r>
              <a:rPr lang="en-US" b="1" dirty="0"/>
              <a:t>Geothermal strategies vary:</a:t>
            </a:r>
            <a:r>
              <a:rPr lang="en-US" dirty="0"/>
              <a:t> Microsoft and Meta target </a:t>
            </a:r>
            <a:r>
              <a:rPr lang="en-US" b="1" dirty="0"/>
              <a:t>utility-scale, always-on geothermal</a:t>
            </a:r>
            <a:r>
              <a:rPr lang="en-US" dirty="0"/>
              <a:t> for data centers; Google combines PPAs with EGS investments; and Amazon focuses on </a:t>
            </a:r>
            <a:r>
              <a:rPr lang="en-US" b="1" dirty="0"/>
              <a:t>on-site efficiency</a:t>
            </a:r>
            <a:r>
              <a:rPr lang="en-US" dirty="0"/>
              <a:t> rather than baseload generation.</a:t>
            </a:r>
          </a:p>
          <a:p>
            <a:endParaRPr lang="en-US" dirty="0"/>
          </a:p>
          <a:p>
            <a:r>
              <a:rPr lang="en-US" b="1" dirty="0"/>
              <a:t>Location choices reflect resource and technology maturity:</a:t>
            </a:r>
            <a:r>
              <a:rPr lang="en-US" dirty="0"/>
              <a:t> Microsoft and Google invest in </a:t>
            </a:r>
            <a:r>
              <a:rPr lang="en-US" b="1" dirty="0"/>
              <a:t>established geothermal regions</a:t>
            </a:r>
            <a:r>
              <a:rPr lang="en-US" dirty="0"/>
              <a:t>, while Meta uses closed-loop players’ methods to unlock </a:t>
            </a:r>
            <a:r>
              <a:rPr lang="en-US" b="1" dirty="0"/>
              <a:t>non-traditional sites</a:t>
            </a:r>
            <a:r>
              <a:rPr lang="en-US" dirty="0"/>
              <a:t>.</a:t>
            </a:r>
          </a:p>
          <a:p>
            <a:endParaRPr lang="en-US" dirty="0"/>
          </a:p>
        </p:txBody>
      </p:sp>
      <p:sp>
        <p:nvSpPr>
          <p:cNvPr id="4" name="Title 3">
            <a:extLst>
              <a:ext uri="{FF2B5EF4-FFF2-40B4-BE49-F238E27FC236}">
                <a16:creationId xmlns:a16="http://schemas.microsoft.com/office/drawing/2014/main" id="{44EA872B-5863-3F69-25C9-EEEC8D67359C}"/>
              </a:ext>
            </a:extLst>
          </p:cNvPr>
          <p:cNvSpPr>
            <a:spLocks noGrp="1"/>
          </p:cNvSpPr>
          <p:nvPr>
            <p:ph type="title"/>
          </p:nvPr>
        </p:nvSpPr>
        <p:spPr/>
        <p:txBody>
          <a:bodyPr vert="horz" rIns="91440"/>
          <a:lstStyle/>
          <a:p>
            <a:r>
              <a:rPr lang="en-US" dirty="0"/>
              <a:t>Microsoft, Google, and Meta lead geothermal power investment for data centers, while Amazon sticks to geothermal heating &amp; cooling</a:t>
            </a:r>
          </a:p>
        </p:txBody>
      </p:sp>
      <p:sp>
        <p:nvSpPr>
          <p:cNvPr id="5" name="Footer Placeholder 4">
            <a:extLst>
              <a:ext uri="{FF2B5EF4-FFF2-40B4-BE49-F238E27FC236}">
                <a16:creationId xmlns:a16="http://schemas.microsoft.com/office/drawing/2014/main" id="{B75EF820-0FA0-3C9A-D6B7-6A6F3E9ABAF8}"/>
              </a:ext>
            </a:extLst>
          </p:cNvPr>
          <p:cNvSpPr>
            <a:spLocks noGrp="1"/>
          </p:cNvSpPr>
          <p:nvPr>
            <p:ph type="ftr" sz="quarter" idx="3"/>
          </p:nvPr>
        </p:nvSpPr>
        <p:spPr>
          <a:xfrm>
            <a:off x="334962" y="6216844"/>
            <a:ext cx="9147241" cy="216706"/>
          </a:xfrm>
        </p:spPr>
        <p:txBody>
          <a:bodyPr/>
          <a:lstStyle/>
          <a:p>
            <a:pPr marL="0" lvl="0" indent="0">
              <a:spcBef>
                <a:spcPts val="0"/>
              </a:spcBef>
              <a:buNone/>
              <a:defRPr/>
            </a:pPr>
            <a:r>
              <a:rPr lang="en-US" dirty="0">
                <a:solidFill>
                  <a:srgbClr val="000000"/>
                </a:solidFill>
              </a:rPr>
              <a:t>Sources: </a:t>
            </a:r>
            <a:r>
              <a:rPr lang="en-US" dirty="0">
                <a:solidFill>
                  <a:srgbClr val="000000"/>
                </a:solidFill>
                <a:hlinkClick r:id="rId5"/>
              </a:rPr>
              <a:t>Our First Geothermal Energy Deal in Asia</a:t>
            </a:r>
            <a:r>
              <a:rPr lang="en-US" dirty="0">
                <a:solidFill>
                  <a:srgbClr val="000000"/>
                </a:solidFill>
              </a:rPr>
              <a:t> (Google, 2025); </a:t>
            </a:r>
            <a:r>
              <a:rPr lang="en-US" dirty="0">
                <a:solidFill>
                  <a:srgbClr val="000000"/>
                </a:solidFill>
                <a:hlinkClick r:id="rId6"/>
              </a:rPr>
              <a:t>Google partners with Nevada Utility</a:t>
            </a:r>
            <a:r>
              <a:rPr lang="en-US" dirty="0"/>
              <a:t> </a:t>
            </a:r>
            <a:r>
              <a:rPr lang="en-US" dirty="0">
                <a:solidFill>
                  <a:schemeClr val="tx1"/>
                </a:solidFill>
              </a:rPr>
              <a:t>(</a:t>
            </a:r>
            <a:r>
              <a:rPr lang="en-US" dirty="0">
                <a:solidFill>
                  <a:srgbClr val="000000"/>
                </a:solidFill>
              </a:rPr>
              <a:t>Reuters, 2024); </a:t>
            </a:r>
            <a:r>
              <a:rPr lang="en-US" dirty="0">
                <a:solidFill>
                  <a:srgbClr val="000000"/>
                </a:solidFill>
                <a:hlinkClick r:id="rId7"/>
              </a:rPr>
              <a:t>Tim Latimer</a:t>
            </a:r>
            <a:r>
              <a:rPr lang="en-US" dirty="0">
                <a:solidFill>
                  <a:srgbClr val="000000"/>
                </a:solidFill>
              </a:rPr>
              <a:t> (Time, 2024); </a:t>
            </a:r>
            <a:r>
              <a:rPr lang="en-US" dirty="0">
                <a:solidFill>
                  <a:srgbClr val="000000"/>
                </a:solidFill>
                <a:hlinkClick r:id="rId8"/>
              </a:rPr>
              <a:t>Meta Inks geothermal deal</a:t>
            </a:r>
            <a:r>
              <a:rPr lang="en-US" dirty="0"/>
              <a:t> </a:t>
            </a:r>
            <a:r>
              <a:rPr lang="en-US" dirty="0">
                <a:solidFill>
                  <a:srgbClr val="000000"/>
                </a:solidFill>
              </a:rPr>
              <a:t>(ESG Dive, 2024); </a:t>
            </a:r>
            <a:r>
              <a:rPr lang="en-US" dirty="0">
                <a:solidFill>
                  <a:srgbClr val="000000"/>
                </a:solidFill>
                <a:hlinkClick r:id="rId9"/>
              </a:rPr>
              <a:t>Microsoft and G42</a:t>
            </a:r>
            <a:r>
              <a:rPr lang="en-US" dirty="0">
                <a:solidFill>
                  <a:srgbClr val="000000"/>
                </a:solidFill>
              </a:rPr>
              <a:t> (Microsoft, 2024); </a:t>
            </a:r>
            <a:r>
              <a:rPr lang="en-US" dirty="0">
                <a:solidFill>
                  <a:srgbClr val="000000"/>
                </a:solidFill>
                <a:hlinkClick r:id="rId10"/>
              </a:rPr>
              <a:t>Contact signs 10 year agreement</a:t>
            </a:r>
            <a:r>
              <a:rPr lang="en-US" dirty="0"/>
              <a:t> </a:t>
            </a:r>
            <a:r>
              <a:rPr lang="en-US" dirty="0">
                <a:solidFill>
                  <a:srgbClr val="000000"/>
                </a:solidFill>
              </a:rPr>
              <a:t>(Contact Energy, 2023); </a:t>
            </a:r>
            <a:r>
              <a:rPr lang="en-US" dirty="0">
                <a:solidFill>
                  <a:srgbClr val="000000"/>
                </a:solidFill>
                <a:hlinkClick r:id="rId11"/>
              </a:rPr>
              <a:t>Unusual machine in the woods</a:t>
            </a:r>
            <a:r>
              <a:rPr lang="en-US" dirty="0"/>
              <a:t> </a:t>
            </a:r>
            <a:r>
              <a:rPr lang="en-US" dirty="0">
                <a:solidFill>
                  <a:srgbClr val="000000"/>
                </a:solidFill>
              </a:rPr>
              <a:t>(Microsoft, 2021); </a:t>
            </a:r>
            <a:r>
              <a:rPr lang="en-US" dirty="0">
                <a:solidFill>
                  <a:srgbClr val="000000"/>
                </a:solidFill>
                <a:hlinkClick r:id="rId12"/>
              </a:rPr>
              <a:t>Amazon Unveils Geothermal</a:t>
            </a:r>
            <a:r>
              <a:rPr lang="en-US" dirty="0"/>
              <a:t> </a:t>
            </a:r>
            <a:r>
              <a:rPr lang="en-US" dirty="0">
                <a:solidFill>
                  <a:srgbClr val="000000"/>
                </a:solidFill>
              </a:rPr>
              <a:t>(ESG News, 2025).</a:t>
            </a:r>
          </a:p>
          <a:p>
            <a:pPr marL="0" indent="0">
              <a:spcBef>
                <a:spcPts val="0"/>
              </a:spcBef>
              <a:buNone/>
              <a:defRPr/>
            </a:pPr>
            <a:r>
              <a:rPr lang="en-US" dirty="0">
                <a:solidFill>
                  <a:srgbClr val="000000"/>
                </a:solidFill>
              </a:rPr>
              <a:t>Credit: Zacharia Thurston, Thomas Smith, and </a:t>
            </a:r>
            <a:r>
              <a:rPr lang="en-US" dirty="0">
                <a:solidFill>
                  <a:srgbClr val="000000"/>
                </a:solidFill>
                <a:hlinkClick r:id="rId13"/>
              </a:rPr>
              <a:t>Gernot Wagner.</a:t>
            </a:r>
            <a:r>
              <a:rPr lang="en-US" dirty="0">
                <a:solidFill>
                  <a:srgbClr val="000000"/>
                </a:solidFill>
              </a:rPr>
              <a:t> </a:t>
            </a:r>
            <a:r>
              <a:rPr lang="en-US" dirty="0">
                <a:solidFill>
                  <a:srgbClr val="000000"/>
                </a:solidFill>
                <a:hlinkClick r:id="rId1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6" name="Text Placeholder 1">
            <a:extLst>
              <a:ext uri="{FF2B5EF4-FFF2-40B4-BE49-F238E27FC236}">
                <a16:creationId xmlns:a16="http://schemas.microsoft.com/office/drawing/2014/main" id="{46784C15-6E93-DD39-4132-7AE24159D399}"/>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ata centers</a:t>
            </a:r>
          </a:p>
        </p:txBody>
      </p:sp>
      <p:sp>
        <p:nvSpPr>
          <p:cNvPr id="8" name="Rectangle 7">
            <a:extLst>
              <a:ext uri="{FF2B5EF4-FFF2-40B4-BE49-F238E27FC236}">
                <a16:creationId xmlns:a16="http://schemas.microsoft.com/office/drawing/2014/main" id="{EE13D9B9-C639-AF70-6E6C-9299E137B404}"/>
              </a:ext>
            </a:extLst>
          </p:cNvPr>
          <p:cNvSpPr/>
          <p:nvPr/>
        </p:nvSpPr>
        <p:spPr bwMode="gray">
          <a:xfrm>
            <a:off x="661551" y="1539373"/>
            <a:ext cx="4045573" cy="2222500"/>
          </a:xfrm>
          <a:prstGeom prst="rect">
            <a:avLst/>
          </a:prstGeom>
          <a:solidFill>
            <a:schemeClr val="accent6">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a:p>
            <a:pPr marL="0" indent="0">
              <a:buNone/>
            </a:pPr>
            <a:r>
              <a:rPr lang="en-US" sz="1200" b="1" dirty="0">
                <a:solidFill>
                  <a:schemeClr val="tx1"/>
                </a:solidFill>
              </a:rPr>
              <a:t>Microsoft’s </a:t>
            </a:r>
            <a:r>
              <a:rPr lang="en-US" sz="1200" dirty="0">
                <a:solidFill>
                  <a:schemeClr val="tx1"/>
                </a:solidFill>
              </a:rPr>
              <a:t>major capital investments, i.e., </a:t>
            </a:r>
            <a:r>
              <a:rPr lang="en-US" sz="1200" b="1" dirty="0">
                <a:solidFill>
                  <a:schemeClr val="tx1"/>
                </a:solidFill>
              </a:rPr>
              <a:t>$1 billion </a:t>
            </a:r>
            <a:r>
              <a:rPr lang="en-US" sz="1200" dirty="0">
                <a:solidFill>
                  <a:schemeClr val="tx1"/>
                </a:solidFill>
              </a:rPr>
              <a:t>project in Kenya with an initial capacity of 100 MW+, geothermal heating and cooling in its Redmond campus, </a:t>
            </a:r>
            <a:r>
              <a:rPr lang="en-US" sz="1200" b="1" dirty="0">
                <a:solidFill>
                  <a:schemeClr val="tx1"/>
                </a:solidFill>
              </a:rPr>
              <a:t>emphasizing large-scale generation in high-potential regions and operational energy efficiency.</a:t>
            </a:r>
            <a:endParaRPr lang="en-US" sz="1200" b="1" i="1" dirty="0">
              <a:solidFill>
                <a:schemeClr val="tx1"/>
              </a:solidFill>
            </a:endParaRPr>
          </a:p>
          <a:p>
            <a:pPr marL="0" indent="0" algn="ctr">
              <a:buNone/>
            </a:pPr>
            <a:endParaRPr lang="en-US" sz="1600" dirty="0">
              <a:solidFill>
                <a:schemeClr val="tx1"/>
              </a:solidFill>
            </a:endParaRPr>
          </a:p>
        </p:txBody>
      </p:sp>
      <p:sp>
        <p:nvSpPr>
          <p:cNvPr id="9" name="Rectangle 8">
            <a:extLst>
              <a:ext uri="{FF2B5EF4-FFF2-40B4-BE49-F238E27FC236}">
                <a16:creationId xmlns:a16="http://schemas.microsoft.com/office/drawing/2014/main" id="{F7B63EDE-2A02-8525-C0D5-122F9D7391D3}"/>
              </a:ext>
            </a:extLst>
          </p:cNvPr>
          <p:cNvSpPr/>
          <p:nvPr/>
        </p:nvSpPr>
        <p:spPr bwMode="gray">
          <a:xfrm>
            <a:off x="5156662" y="1590173"/>
            <a:ext cx="4114219" cy="2171700"/>
          </a:xfrm>
          <a:prstGeom prst="rect">
            <a:avLst/>
          </a:prstGeom>
          <a:solidFill>
            <a:schemeClr val="accent5">
              <a:lumMod val="20000"/>
              <a:lumOff val="8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US" sz="1200" b="1" dirty="0">
              <a:solidFill>
                <a:schemeClr val="tx1"/>
              </a:solidFill>
            </a:endParaRPr>
          </a:p>
          <a:p>
            <a:pPr marL="0" indent="0">
              <a:buNone/>
            </a:pPr>
            <a:r>
              <a:rPr lang="en-US" sz="1200" b="1" dirty="0">
                <a:solidFill>
                  <a:schemeClr val="tx1"/>
                </a:solidFill>
              </a:rPr>
              <a:t>Google</a:t>
            </a:r>
            <a:r>
              <a:rPr lang="en-US" sz="1200" dirty="0">
                <a:solidFill>
                  <a:schemeClr val="tx1"/>
                </a:solidFill>
              </a:rPr>
              <a:t> leverages geothermal energy through power purchase agreements and investments in enhanced geothermal systems, including 115 MW in Nevada and </a:t>
            </a:r>
            <a:br>
              <a:rPr lang="en-US" sz="1200" dirty="0">
                <a:solidFill>
                  <a:schemeClr val="tx1"/>
                </a:solidFill>
              </a:rPr>
            </a:br>
            <a:r>
              <a:rPr lang="en-US" sz="1200" dirty="0">
                <a:solidFill>
                  <a:schemeClr val="tx1"/>
                </a:solidFill>
              </a:rPr>
              <a:t>10 MW in Taiwan, </a:t>
            </a:r>
            <a:r>
              <a:rPr lang="en-US" sz="1200" b="1" dirty="0">
                <a:solidFill>
                  <a:schemeClr val="tx1"/>
                </a:solidFill>
              </a:rPr>
              <a:t>focusing on baseload clean power, geographic expansion, and reducing regulatory barriers</a:t>
            </a:r>
            <a:r>
              <a:rPr lang="en-US" sz="1200" dirty="0">
                <a:solidFill>
                  <a:schemeClr val="tx1"/>
                </a:solidFill>
              </a:rPr>
              <a:t>.</a:t>
            </a:r>
          </a:p>
        </p:txBody>
      </p:sp>
      <p:sp>
        <p:nvSpPr>
          <p:cNvPr id="10" name="Rectangle 9">
            <a:extLst>
              <a:ext uri="{FF2B5EF4-FFF2-40B4-BE49-F238E27FC236}">
                <a16:creationId xmlns:a16="http://schemas.microsoft.com/office/drawing/2014/main" id="{4F6E96EC-6626-9763-FDFC-D8927FE1BB91}"/>
              </a:ext>
            </a:extLst>
          </p:cNvPr>
          <p:cNvSpPr/>
          <p:nvPr/>
        </p:nvSpPr>
        <p:spPr bwMode="gray">
          <a:xfrm>
            <a:off x="5156662" y="3937054"/>
            <a:ext cx="4114219" cy="2144793"/>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a:p>
            <a:pPr marL="0" indent="0">
              <a:buNone/>
            </a:pPr>
            <a:r>
              <a:rPr lang="en-US" sz="1200" b="1" dirty="0">
                <a:solidFill>
                  <a:schemeClr val="tx1"/>
                </a:solidFill>
              </a:rPr>
              <a:t>Amazon primarily employs geothermal heat pumps for heating and cooling in facilities</a:t>
            </a:r>
            <a:r>
              <a:rPr lang="en-US" sz="1200" dirty="0">
                <a:solidFill>
                  <a:schemeClr val="tx1"/>
                </a:solidFill>
              </a:rPr>
              <a:t>, such as its fulfillment center in Japan, focusing on on-site energy efficiency and renewable energy matching rather than utility-scale power generation.</a:t>
            </a:r>
          </a:p>
        </p:txBody>
      </p:sp>
      <p:sp>
        <p:nvSpPr>
          <p:cNvPr id="11" name="Rectangle 10">
            <a:extLst>
              <a:ext uri="{FF2B5EF4-FFF2-40B4-BE49-F238E27FC236}">
                <a16:creationId xmlns:a16="http://schemas.microsoft.com/office/drawing/2014/main" id="{CC8ED3BE-FFB8-E26F-FC29-35E75E4B5951}"/>
              </a:ext>
            </a:extLst>
          </p:cNvPr>
          <p:cNvSpPr/>
          <p:nvPr/>
        </p:nvSpPr>
        <p:spPr bwMode="gray">
          <a:xfrm>
            <a:off x="643979" y="3910148"/>
            <a:ext cx="4045573" cy="2171700"/>
          </a:xfrm>
          <a:prstGeom prst="rect">
            <a:avLst/>
          </a:prstGeom>
          <a:solidFill>
            <a:schemeClr val="accent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a:p>
            <a:pPr marL="0" indent="0">
              <a:buNone/>
            </a:pPr>
            <a:r>
              <a:rPr lang="en-US" sz="1200" b="1" dirty="0">
                <a:solidFill>
                  <a:schemeClr val="tx1"/>
                </a:solidFill>
              </a:rPr>
              <a:t>Meta</a:t>
            </a:r>
            <a:r>
              <a:rPr lang="en-US" sz="1200" dirty="0">
                <a:solidFill>
                  <a:schemeClr val="tx1"/>
                </a:solidFill>
              </a:rPr>
              <a:t> is developing a 150 MW geothermal plant in New Mexico using advanced geothermal methods to access non-traditional sites, with a </a:t>
            </a:r>
            <a:r>
              <a:rPr lang="en-US" sz="1200" b="1" dirty="0">
                <a:solidFill>
                  <a:schemeClr val="tx1"/>
                </a:solidFill>
              </a:rPr>
              <a:t>focus on scalable, always-on power for data centers and AI workloads</a:t>
            </a:r>
            <a:r>
              <a:rPr lang="en-US" sz="1200" dirty="0">
                <a:solidFill>
                  <a:schemeClr val="tx1"/>
                </a:solidFill>
              </a:rPr>
              <a:t>.</a:t>
            </a:r>
            <a:endParaRPr lang="en-US" sz="1200" i="1" dirty="0">
              <a:solidFill>
                <a:schemeClr val="tx1"/>
              </a:solidFill>
            </a:endParaRPr>
          </a:p>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6E231E04-E72C-B3F0-68CB-8EF8CF67251D}"/>
              </a:ext>
            </a:extLst>
          </p:cNvPr>
          <p:cNvSpPr/>
          <p:nvPr/>
        </p:nvSpPr>
        <p:spPr bwMode="gray">
          <a:xfrm>
            <a:off x="1400759" y="1467086"/>
            <a:ext cx="2451100" cy="2794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Microsoft</a:t>
            </a:r>
          </a:p>
        </p:txBody>
      </p:sp>
      <p:sp>
        <p:nvSpPr>
          <p:cNvPr id="13" name="Rectangle 12">
            <a:extLst>
              <a:ext uri="{FF2B5EF4-FFF2-40B4-BE49-F238E27FC236}">
                <a16:creationId xmlns:a16="http://schemas.microsoft.com/office/drawing/2014/main" id="{EB2454F1-99A8-3DDA-0915-FC299DACBDE5}"/>
              </a:ext>
            </a:extLst>
          </p:cNvPr>
          <p:cNvSpPr/>
          <p:nvPr/>
        </p:nvSpPr>
        <p:spPr bwMode="gray">
          <a:xfrm>
            <a:off x="5998386" y="1465231"/>
            <a:ext cx="2451100" cy="2794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Google</a:t>
            </a:r>
            <a:endParaRPr lang="en-US" sz="1600" b="1" dirty="0">
              <a:solidFill>
                <a:schemeClr val="bg1"/>
              </a:solidFill>
            </a:endParaRPr>
          </a:p>
        </p:txBody>
      </p:sp>
      <p:sp>
        <p:nvSpPr>
          <p:cNvPr id="14" name="Rectangle 13">
            <a:extLst>
              <a:ext uri="{FF2B5EF4-FFF2-40B4-BE49-F238E27FC236}">
                <a16:creationId xmlns:a16="http://schemas.microsoft.com/office/drawing/2014/main" id="{C4847BF4-099D-73FB-5F69-156ADCF98A74}"/>
              </a:ext>
            </a:extLst>
          </p:cNvPr>
          <p:cNvSpPr/>
          <p:nvPr/>
        </p:nvSpPr>
        <p:spPr bwMode="gray">
          <a:xfrm>
            <a:off x="1400759" y="3834166"/>
            <a:ext cx="2451100" cy="2794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Meta</a:t>
            </a:r>
            <a:endParaRPr lang="en-US" sz="1600" b="1" dirty="0">
              <a:solidFill>
                <a:schemeClr val="bg1"/>
              </a:solidFill>
            </a:endParaRPr>
          </a:p>
        </p:txBody>
      </p:sp>
      <p:sp>
        <p:nvSpPr>
          <p:cNvPr id="15" name="Rectangle 14">
            <a:extLst>
              <a:ext uri="{FF2B5EF4-FFF2-40B4-BE49-F238E27FC236}">
                <a16:creationId xmlns:a16="http://schemas.microsoft.com/office/drawing/2014/main" id="{9DA09024-456E-04E1-45E4-CD566697944F}"/>
              </a:ext>
            </a:extLst>
          </p:cNvPr>
          <p:cNvSpPr/>
          <p:nvPr/>
        </p:nvSpPr>
        <p:spPr bwMode="gray">
          <a:xfrm>
            <a:off x="5998386" y="3812673"/>
            <a:ext cx="2451100" cy="2794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Amazon</a:t>
            </a:r>
            <a:endParaRPr lang="en-US" sz="1600" b="1" dirty="0">
              <a:solidFill>
                <a:schemeClr val="bg1"/>
              </a:solidFill>
            </a:endParaRPr>
          </a:p>
        </p:txBody>
      </p:sp>
      <p:pic>
        <p:nvPicPr>
          <p:cNvPr id="16" name="Picture 2" descr="Logo in SVG Vector or PNG File Format ...">
            <a:extLst>
              <a:ext uri="{FF2B5EF4-FFF2-40B4-BE49-F238E27FC236}">
                <a16:creationId xmlns:a16="http://schemas.microsoft.com/office/drawing/2014/main" id="{742A5F04-D039-B8D5-4207-60737B8F070F}"/>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25636" t="13543" r="25273" b="13934"/>
          <a:stretch>
            <a:fillRect/>
          </a:stretch>
        </p:blipFill>
        <p:spPr bwMode="auto">
          <a:xfrm>
            <a:off x="235038" y="1456897"/>
            <a:ext cx="333266" cy="3370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google logo | Figma">
            <a:extLst>
              <a:ext uri="{FF2B5EF4-FFF2-40B4-BE49-F238E27FC236}">
                <a16:creationId xmlns:a16="http://schemas.microsoft.com/office/drawing/2014/main" id="{94CA9979-7AF8-6AC8-2035-CE00A5430679}"/>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l="23741" r="23869" b="1006"/>
          <a:stretch>
            <a:fillRect/>
          </a:stretch>
        </p:blipFill>
        <p:spPr bwMode="auto">
          <a:xfrm>
            <a:off x="4704267" y="1410487"/>
            <a:ext cx="454952" cy="42983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A35D93A7-748B-D5C5-12DD-CE6D4AF1CAF9}"/>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l="9090" t="10676" r="7692" b="12400"/>
          <a:stretch>
            <a:fillRect/>
          </a:stretch>
        </p:blipFill>
        <p:spPr bwMode="auto">
          <a:xfrm>
            <a:off x="4696132" y="3837001"/>
            <a:ext cx="454952" cy="39702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Facebook meta logo Images - Free ...">
            <a:extLst>
              <a:ext uri="{FF2B5EF4-FFF2-40B4-BE49-F238E27FC236}">
                <a16:creationId xmlns:a16="http://schemas.microsoft.com/office/drawing/2014/main" id="{6E2479EF-BE28-1648-DE4B-5590DAA0D1E2}"/>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l="11111" t="19391" r="10444" b="20666"/>
          <a:stretch>
            <a:fillRect/>
          </a:stretch>
        </p:blipFill>
        <p:spPr bwMode="auto">
          <a:xfrm>
            <a:off x="128669" y="3863536"/>
            <a:ext cx="517444" cy="39539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8D078872-D800-C86D-6B26-6B3B31736D52}"/>
              </a:ext>
            </a:extLst>
          </p:cNvPr>
          <p:cNvGrpSpPr/>
          <p:nvPr/>
        </p:nvGrpSpPr>
        <p:grpSpPr>
          <a:xfrm>
            <a:off x="723503" y="3071514"/>
            <a:ext cx="3906158" cy="633194"/>
            <a:chOff x="3607461" y="2816626"/>
            <a:chExt cx="3906158" cy="633194"/>
          </a:xfrm>
        </p:grpSpPr>
        <p:grpSp>
          <p:nvGrpSpPr>
            <p:cNvPr id="21" name="Group 20">
              <a:extLst>
                <a:ext uri="{FF2B5EF4-FFF2-40B4-BE49-F238E27FC236}">
                  <a16:creationId xmlns:a16="http://schemas.microsoft.com/office/drawing/2014/main" id="{AC3C6FB1-B18D-0A1F-7531-B3F6DB1F26F7}"/>
                </a:ext>
              </a:extLst>
            </p:cNvPr>
            <p:cNvGrpSpPr/>
            <p:nvPr/>
          </p:nvGrpSpPr>
          <p:grpSpPr>
            <a:xfrm>
              <a:off x="3607461" y="2816626"/>
              <a:ext cx="3906158" cy="633194"/>
              <a:chOff x="3314276" y="4156577"/>
              <a:chExt cx="3906158" cy="633194"/>
            </a:xfrm>
          </p:grpSpPr>
          <p:sp>
            <p:nvSpPr>
              <p:cNvPr id="28" name="Rectangle 27">
                <a:extLst>
                  <a:ext uri="{FF2B5EF4-FFF2-40B4-BE49-F238E27FC236}">
                    <a16:creationId xmlns:a16="http://schemas.microsoft.com/office/drawing/2014/main" id="{B75E401D-54AE-477F-AC1C-93BEB21F5D3F}"/>
                  </a:ext>
                </a:extLst>
              </p:cNvPr>
              <p:cNvSpPr/>
              <p:nvPr/>
            </p:nvSpPr>
            <p:spPr bwMode="gray">
              <a:xfrm>
                <a:off x="3314276" y="4160486"/>
                <a:ext cx="1263187" cy="628263"/>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dirty="0">
                    <a:solidFill>
                      <a:schemeClr val="tx1"/>
                    </a:solidFill>
                  </a:rPr>
                  <a:t>Microsoft &amp; G42: $1B Digital Initiative in Kenya incl. Geothermal</a:t>
                </a:r>
              </a:p>
              <a:p>
                <a:pPr marL="0" indent="0" algn="ctr">
                  <a:buNone/>
                </a:pPr>
                <a:endParaRPr lang="en-US" sz="900" dirty="0">
                  <a:solidFill>
                    <a:schemeClr val="tx1"/>
                  </a:solidFill>
                </a:endParaRPr>
              </a:p>
            </p:txBody>
          </p:sp>
          <p:sp>
            <p:nvSpPr>
              <p:cNvPr id="29" name="Rectangle 28">
                <a:extLst>
                  <a:ext uri="{FF2B5EF4-FFF2-40B4-BE49-F238E27FC236}">
                    <a16:creationId xmlns:a16="http://schemas.microsoft.com/office/drawing/2014/main" id="{DBF035F6-AADA-B2FA-C6FE-549B148A3BDE}"/>
                  </a:ext>
                </a:extLst>
              </p:cNvPr>
              <p:cNvSpPr/>
              <p:nvPr/>
            </p:nvSpPr>
            <p:spPr bwMode="gray">
              <a:xfrm>
                <a:off x="5970694" y="4156577"/>
                <a:ext cx="1249740" cy="629286"/>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tx1"/>
                    </a:solidFill>
                  </a:rPr>
                  <a:t>Microsoft Opens Thermal Energy Center</a:t>
                </a:r>
                <a:endParaRPr lang="en-US" sz="1000" dirty="0">
                  <a:solidFill>
                    <a:schemeClr val="tx1"/>
                  </a:solidFill>
                </a:endParaRPr>
              </a:p>
            </p:txBody>
          </p:sp>
          <p:sp>
            <p:nvSpPr>
              <p:cNvPr id="30" name="Rectangle 29">
                <a:extLst>
                  <a:ext uri="{FF2B5EF4-FFF2-40B4-BE49-F238E27FC236}">
                    <a16:creationId xmlns:a16="http://schemas.microsoft.com/office/drawing/2014/main" id="{FBDA98D7-87E0-BC09-8E7F-12E89867E285}"/>
                  </a:ext>
                </a:extLst>
              </p:cNvPr>
              <p:cNvSpPr/>
              <p:nvPr/>
            </p:nvSpPr>
            <p:spPr bwMode="gray">
              <a:xfrm>
                <a:off x="4642485" y="4160486"/>
                <a:ext cx="1263187" cy="629285"/>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tx1"/>
                    </a:solidFill>
                  </a:rPr>
                  <a:t>10-Year Agreement for Geothermal Power Station at Te Huka</a:t>
                </a:r>
              </a:p>
            </p:txBody>
          </p:sp>
        </p:grpSp>
        <p:pic>
          <p:nvPicPr>
            <p:cNvPr id="22" name="Picture 21" descr="A close-up of a logo&#10;&#10;AI-generated content may be incorrect.">
              <a:extLst>
                <a:ext uri="{FF2B5EF4-FFF2-40B4-BE49-F238E27FC236}">
                  <a16:creationId xmlns:a16="http://schemas.microsoft.com/office/drawing/2014/main" id="{E8C0121A-0117-4DFC-413C-5DE15505865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97486" y="3280495"/>
              <a:ext cx="456452" cy="144143"/>
            </a:xfrm>
            <a:prstGeom prst="rect">
              <a:avLst/>
            </a:prstGeom>
          </p:spPr>
        </p:pic>
        <p:pic>
          <p:nvPicPr>
            <p:cNvPr id="23" name="Picture 22" descr="A close-up of a logo&#10;&#10;AI-generated content may be incorrect.">
              <a:extLst>
                <a:ext uri="{FF2B5EF4-FFF2-40B4-BE49-F238E27FC236}">
                  <a16:creationId xmlns:a16="http://schemas.microsoft.com/office/drawing/2014/main" id="{7F9B3B07-4870-EAE6-41C8-13716778427D}"/>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992575" y="3276939"/>
              <a:ext cx="513925" cy="162292"/>
            </a:xfrm>
            <a:prstGeom prst="rect">
              <a:avLst/>
            </a:prstGeom>
          </p:spPr>
        </p:pic>
        <p:pic>
          <p:nvPicPr>
            <p:cNvPr id="24" name="Picture 23" descr="A red logo with text&#10;&#10;AI-generated content may be incorrect.">
              <a:extLst>
                <a:ext uri="{FF2B5EF4-FFF2-40B4-BE49-F238E27FC236}">
                  <a16:creationId xmlns:a16="http://schemas.microsoft.com/office/drawing/2014/main" id="{FAB0E16D-082C-DD22-6A55-71EDA261E954}"/>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877376" y="3260022"/>
              <a:ext cx="283627" cy="169670"/>
            </a:xfrm>
            <a:prstGeom prst="rect">
              <a:avLst/>
            </a:prstGeom>
          </p:spPr>
        </p:pic>
        <p:sp>
          <p:nvSpPr>
            <p:cNvPr id="25" name="Rectangle 24">
              <a:extLst>
                <a:ext uri="{FF2B5EF4-FFF2-40B4-BE49-F238E27FC236}">
                  <a16:creationId xmlns:a16="http://schemas.microsoft.com/office/drawing/2014/main" id="{0F25C336-9956-1606-E9A9-822B01D7EE81}"/>
                </a:ext>
              </a:extLst>
            </p:cNvPr>
            <p:cNvSpPr/>
            <p:nvPr/>
          </p:nvSpPr>
          <p:spPr bwMode="gray">
            <a:xfrm>
              <a:off x="4969944" y="3288665"/>
              <a:ext cx="558936" cy="1431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May 2023</a:t>
              </a:r>
            </a:p>
          </p:txBody>
        </p:sp>
        <p:sp>
          <p:nvSpPr>
            <p:cNvPr id="26" name="Rectangle 25">
              <a:extLst>
                <a:ext uri="{FF2B5EF4-FFF2-40B4-BE49-F238E27FC236}">
                  <a16:creationId xmlns:a16="http://schemas.microsoft.com/office/drawing/2014/main" id="{C9F75EA4-2822-7047-9120-827A908C1575}"/>
                </a:ext>
              </a:extLst>
            </p:cNvPr>
            <p:cNvSpPr/>
            <p:nvPr/>
          </p:nvSpPr>
          <p:spPr bwMode="gray">
            <a:xfrm>
              <a:off x="6304319" y="3256196"/>
              <a:ext cx="558936" cy="169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March 2021</a:t>
              </a:r>
            </a:p>
          </p:txBody>
        </p:sp>
        <p:sp>
          <p:nvSpPr>
            <p:cNvPr id="27" name="Rectangle 26">
              <a:extLst>
                <a:ext uri="{FF2B5EF4-FFF2-40B4-BE49-F238E27FC236}">
                  <a16:creationId xmlns:a16="http://schemas.microsoft.com/office/drawing/2014/main" id="{3EC89877-FFA5-4808-0C4E-550D200E4E5C}"/>
                </a:ext>
              </a:extLst>
            </p:cNvPr>
            <p:cNvSpPr/>
            <p:nvPr/>
          </p:nvSpPr>
          <p:spPr bwMode="gray">
            <a:xfrm>
              <a:off x="3620254" y="3269440"/>
              <a:ext cx="558936" cy="1431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May 2024</a:t>
              </a:r>
            </a:p>
          </p:txBody>
        </p:sp>
      </p:grpSp>
      <p:grpSp>
        <p:nvGrpSpPr>
          <p:cNvPr id="31" name="Group 30">
            <a:extLst>
              <a:ext uri="{FF2B5EF4-FFF2-40B4-BE49-F238E27FC236}">
                <a16:creationId xmlns:a16="http://schemas.microsoft.com/office/drawing/2014/main" id="{18F42439-26A3-A5B4-70B1-F65C785F6E0B}"/>
              </a:ext>
            </a:extLst>
          </p:cNvPr>
          <p:cNvGrpSpPr/>
          <p:nvPr/>
        </p:nvGrpSpPr>
        <p:grpSpPr>
          <a:xfrm>
            <a:off x="5275795" y="3064539"/>
            <a:ext cx="3896580" cy="660543"/>
            <a:chOff x="2992178" y="1751748"/>
            <a:chExt cx="3896580" cy="660543"/>
          </a:xfrm>
        </p:grpSpPr>
        <p:sp>
          <p:nvSpPr>
            <p:cNvPr id="32" name="Rectangle 31">
              <a:extLst>
                <a:ext uri="{FF2B5EF4-FFF2-40B4-BE49-F238E27FC236}">
                  <a16:creationId xmlns:a16="http://schemas.microsoft.com/office/drawing/2014/main" id="{21AC7B1E-C185-E925-6B12-1B8414FEAB6B}"/>
                </a:ext>
              </a:extLst>
            </p:cNvPr>
            <p:cNvSpPr/>
            <p:nvPr/>
          </p:nvSpPr>
          <p:spPr bwMode="gray">
            <a:xfrm>
              <a:off x="2992178" y="1751748"/>
              <a:ext cx="1249740" cy="6587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tx1"/>
                  </a:solidFill>
                </a:rPr>
                <a:t>Google Signs 10 MW Geothermal Energy Deal in Taiwan</a:t>
              </a:r>
            </a:p>
          </p:txBody>
        </p:sp>
        <p:sp>
          <p:nvSpPr>
            <p:cNvPr id="33" name="Rectangle 32">
              <a:extLst>
                <a:ext uri="{FF2B5EF4-FFF2-40B4-BE49-F238E27FC236}">
                  <a16:creationId xmlns:a16="http://schemas.microsoft.com/office/drawing/2014/main" id="{B5057CF7-A610-FFCD-F37F-D291E39BB41F}"/>
                </a:ext>
              </a:extLst>
            </p:cNvPr>
            <p:cNvSpPr/>
            <p:nvPr/>
          </p:nvSpPr>
          <p:spPr bwMode="gray">
            <a:xfrm>
              <a:off x="5639018" y="1753530"/>
              <a:ext cx="1249740" cy="6587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tx1"/>
                  </a:solidFill>
                </a:rPr>
                <a:t>Google Secures 115 MW Geothermal plant in Nevada</a:t>
              </a:r>
            </a:p>
          </p:txBody>
        </p:sp>
        <p:sp>
          <p:nvSpPr>
            <p:cNvPr id="34" name="Rectangle 33">
              <a:extLst>
                <a:ext uri="{FF2B5EF4-FFF2-40B4-BE49-F238E27FC236}">
                  <a16:creationId xmlns:a16="http://schemas.microsoft.com/office/drawing/2014/main" id="{A52B1A2C-13F6-6D4F-3064-8FD10B5B56C2}"/>
                </a:ext>
              </a:extLst>
            </p:cNvPr>
            <p:cNvSpPr/>
            <p:nvPr/>
          </p:nvSpPr>
          <p:spPr bwMode="gray">
            <a:xfrm>
              <a:off x="4312235" y="1751748"/>
              <a:ext cx="1260395" cy="655467"/>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tx1"/>
                  </a:solidFill>
                </a:rPr>
                <a:t>Google Unlocks Geothermal with Fervo EGS systems</a:t>
              </a:r>
            </a:p>
          </p:txBody>
        </p:sp>
        <p:sp>
          <p:nvSpPr>
            <p:cNvPr id="35" name="Rectangle 34">
              <a:extLst>
                <a:ext uri="{FF2B5EF4-FFF2-40B4-BE49-F238E27FC236}">
                  <a16:creationId xmlns:a16="http://schemas.microsoft.com/office/drawing/2014/main" id="{378F5ABB-4080-4D61-B68F-1F4C6AE8D177}"/>
                </a:ext>
              </a:extLst>
            </p:cNvPr>
            <p:cNvSpPr/>
            <p:nvPr/>
          </p:nvSpPr>
          <p:spPr bwMode="gray">
            <a:xfrm>
              <a:off x="3029656" y="2238681"/>
              <a:ext cx="531009" cy="793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April 2025</a:t>
              </a:r>
            </a:p>
          </p:txBody>
        </p:sp>
        <p:pic>
          <p:nvPicPr>
            <p:cNvPr id="36" name="Picture 35" descr="A close-up of a logo&#10;&#10;AI-generated content may be incorrect.">
              <a:extLst>
                <a:ext uri="{FF2B5EF4-FFF2-40B4-BE49-F238E27FC236}">
                  <a16:creationId xmlns:a16="http://schemas.microsoft.com/office/drawing/2014/main" id="{10D0E713-38B1-CD20-B613-536AABCB6DC7}"/>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763565" y="2238681"/>
              <a:ext cx="454167" cy="168534"/>
            </a:xfrm>
            <a:prstGeom prst="rect">
              <a:avLst/>
            </a:prstGeom>
          </p:spPr>
        </p:pic>
        <p:pic>
          <p:nvPicPr>
            <p:cNvPr id="37" name="Picture 36" descr="A black text on a white background&#10;&#10;AI-generated content may be incorrect.">
              <a:extLst>
                <a:ext uri="{FF2B5EF4-FFF2-40B4-BE49-F238E27FC236}">
                  <a16:creationId xmlns:a16="http://schemas.microsoft.com/office/drawing/2014/main" id="{7FE575A0-3E94-ACE8-54F5-C017A11E977F}"/>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285331" y="2227971"/>
              <a:ext cx="524532" cy="180182"/>
            </a:xfrm>
            <a:prstGeom prst="rect">
              <a:avLst/>
            </a:prstGeom>
          </p:spPr>
        </p:pic>
        <p:sp>
          <p:nvSpPr>
            <p:cNvPr id="38" name="Rectangle 37">
              <a:extLst>
                <a:ext uri="{FF2B5EF4-FFF2-40B4-BE49-F238E27FC236}">
                  <a16:creationId xmlns:a16="http://schemas.microsoft.com/office/drawing/2014/main" id="{955C219B-37ED-9C86-6B8F-AE376DD64474}"/>
                </a:ext>
              </a:extLst>
            </p:cNvPr>
            <p:cNvSpPr/>
            <p:nvPr/>
          </p:nvSpPr>
          <p:spPr bwMode="gray">
            <a:xfrm>
              <a:off x="5665367" y="2218218"/>
              <a:ext cx="531009" cy="1801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June 2024</a:t>
              </a:r>
            </a:p>
          </p:txBody>
        </p:sp>
        <p:pic>
          <p:nvPicPr>
            <p:cNvPr id="39" name="Picture 38" descr="A red letter on a white background&#10;&#10;AI-generated content may be incorrect.">
              <a:extLst>
                <a:ext uri="{FF2B5EF4-FFF2-40B4-BE49-F238E27FC236}">
                  <a16:creationId xmlns:a16="http://schemas.microsoft.com/office/drawing/2014/main" id="{C7E198CA-E05B-8C5A-2415-49532B0B43D0}"/>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160517" y="2261557"/>
              <a:ext cx="350306" cy="130617"/>
            </a:xfrm>
            <a:prstGeom prst="rect">
              <a:avLst/>
            </a:prstGeom>
          </p:spPr>
        </p:pic>
        <p:sp>
          <p:nvSpPr>
            <p:cNvPr id="40" name="Rectangle 39">
              <a:extLst>
                <a:ext uri="{FF2B5EF4-FFF2-40B4-BE49-F238E27FC236}">
                  <a16:creationId xmlns:a16="http://schemas.microsoft.com/office/drawing/2014/main" id="{94330391-EEF1-91CF-35FE-A334BFCB7164}"/>
                </a:ext>
              </a:extLst>
            </p:cNvPr>
            <p:cNvSpPr/>
            <p:nvPr/>
          </p:nvSpPr>
          <p:spPr bwMode="gray">
            <a:xfrm>
              <a:off x="4348389" y="2218514"/>
              <a:ext cx="753217" cy="1801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700" i="1" dirty="0">
                  <a:solidFill>
                    <a:schemeClr val="tx1"/>
                  </a:solidFill>
                </a:rPr>
                <a:t>October  2024</a:t>
              </a:r>
            </a:p>
          </p:txBody>
        </p:sp>
      </p:grpSp>
      <p:grpSp>
        <p:nvGrpSpPr>
          <p:cNvPr id="41" name="Group 40">
            <a:extLst>
              <a:ext uri="{FF2B5EF4-FFF2-40B4-BE49-F238E27FC236}">
                <a16:creationId xmlns:a16="http://schemas.microsoft.com/office/drawing/2014/main" id="{E5939612-F981-38BC-1086-1D1FD7FC27F2}"/>
              </a:ext>
            </a:extLst>
          </p:cNvPr>
          <p:cNvGrpSpPr/>
          <p:nvPr/>
        </p:nvGrpSpPr>
        <p:grpSpPr>
          <a:xfrm>
            <a:off x="1353963" y="5273472"/>
            <a:ext cx="2605339" cy="668272"/>
            <a:chOff x="4225591" y="1683988"/>
            <a:chExt cx="2605339" cy="668272"/>
          </a:xfrm>
        </p:grpSpPr>
        <p:grpSp>
          <p:nvGrpSpPr>
            <p:cNvPr id="42" name="Group 41">
              <a:extLst>
                <a:ext uri="{FF2B5EF4-FFF2-40B4-BE49-F238E27FC236}">
                  <a16:creationId xmlns:a16="http://schemas.microsoft.com/office/drawing/2014/main" id="{3A0AC576-4BD6-F5EF-DD08-9B1C0B65805E}"/>
                </a:ext>
              </a:extLst>
            </p:cNvPr>
            <p:cNvGrpSpPr/>
            <p:nvPr/>
          </p:nvGrpSpPr>
          <p:grpSpPr>
            <a:xfrm>
              <a:off x="4225591" y="1683988"/>
              <a:ext cx="2605339" cy="668272"/>
              <a:chOff x="3700439" y="1670564"/>
              <a:chExt cx="2605339" cy="668272"/>
            </a:xfrm>
          </p:grpSpPr>
          <p:grpSp>
            <p:nvGrpSpPr>
              <p:cNvPr id="45" name="Group 44">
                <a:extLst>
                  <a:ext uri="{FF2B5EF4-FFF2-40B4-BE49-F238E27FC236}">
                    <a16:creationId xmlns:a16="http://schemas.microsoft.com/office/drawing/2014/main" id="{50542750-44FC-6F28-D802-1622074F715D}"/>
                  </a:ext>
                </a:extLst>
              </p:cNvPr>
              <p:cNvGrpSpPr/>
              <p:nvPr/>
            </p:nvGrpSpPr>
            <p:grpSpPr>
              <a:xfrm>
                <a:off x="3700439" y="1670564"/>
                <a:ext cx="2605339" cy="668272"/>
                <a:chOff x="3716025" y="2901936"/>
                <a:chExt cx="2605339" cy="668272"/>
              </a:xfrm>
            </p:grpSpPr>
            <p:sp>
              <p:nvSpPr>
                <p:cNvPr id="48" name="Rectangle 47">
                  <a:extLst>
                    <a:ext uri="{FF2B5EF4-FFF2-40B4-BE49-F238E27FC236}">
                      <a16:creationId xmlns:a16="http://schemas.microsoft.com/office/drawing/2014/main" id="{CF81BE29-2A41-9389-2A7A-BC80BAFC5EBE}"/>
                    </a:ext>
                  </a:extLst>
                </p:cNvPr>
                <p:cNvSpPr/>
                <p:nvPr/>
              </p:nvSpPr>
              <p:spPr bwMode="gray">
                <a:xfrm>
                  <a:off x="3716025" y="2901936"/>
                  <a:ext cx="1250522" cy="66289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Meta Touts $1B Investment in Geothermal for Data Centers</a:t>
                  </a:r>
                </a:p>
              </p:txBody>
            </p:sp>
            <p:sp>
              <p:nvSpPr>
                <p:cNvPr id="49" name="Rectangle 48">
                  <a:extLst>
                    <a:ext uri="{FF2B5EF4-FFF2-40B4-BE49-F238E27FC236}">
                      <a16:creationId xmlns:a16="http://schemas.microsoft.com/office/drawing/2014/main" id="{0DB8E587-A9C8-D439-7528-D635BF75BA63}"/>
                    </a:ext>
                  </a:extLst>
                </p:cNvPr>
                <p:cNvSpPr/>
                <p:nvPr/>
              </p:nvSpPr>
              <p:spPr bwMode="gray">
                <a:xfrm>
                  <a:off x="5046400" y="2901936"/>
                  <a:ext cx="1274964" cy="66827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dirty="0">
                      <a:solidFill>
                        <a:schemeClr val="tx1"/>
                      </a:solidFill>
                    </a:rPr>
                    <a:t>Meta Signs Agreement with Sage Energy</a:t>
                  </a:r>
                </a:p>
              </p:txBody>
            </p:sp>
          </p:grpSp>
          <p:pic>
            <p:nvPicPr>
              <p:cNvPr id="46" name="Picture 45" descr="A blue and white logo&#10;&#10;AI-generated content may be incorrect.">
                <a:extLst>
                  <a:ext uri="{FF2B5EF4-FFF2-40B4-BE49-F238E27FC236}">
                    <a16:creationId xmlns:a16="http://schemas.microsoft.com/office/drawing/2014/main" id="{92D459F4-1AAE-024D-66B1-F46265E0FD85}"/>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410803" y="2173290"/>
                <a:ext cx="518652" cy="150245"/>
              </a:xfrm>
              <a:prstGeom prst="rect">
                <a:avLst/>
              </a:prstGeom>
            </p:spPr>
          </p:pic>
          <p:sp>
            <p:nvSpPr>
              <p:cNvPr id="47" name="Rectangle 46">
                <a:extLst>
                  <a:ext uri="{FF2B5EF4-FFF2-40B4-BE49-F238E27FC236}">
                    <a16:creationId xmlns:a16="http://schemas.microsoft.com/office/drawing/2014/main" id="{78676332-1407-7761-14A9-0B571C84A287}"/>
                  </a:ext>
                </a:extLst>
              </p:cNvPr>
              <p:cNvSpPr/>
              <p:nvPr/>
            </p:nvSpPr>
            <p:spPr bwMode="gray">
              <a:xfrm>
                <a:off x="3726426" y="2158209"/>
                <a:ext cx="531009" cy="793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600" i="1" dirty="0">
                    <a:solidFill>
                      <a:schemeClr val="tx1"/>
                    </a:solidFill>
                  </a:rPr>
                  <a:t>June 2025</a:t>
                </a:r>
              </a:p>
            </p:txBody>
          </p:sp>
        </p:grpSp>
        <p:sp>
          <p:nvSpPr>
            <p:cNvPr id="43" name="Rectangle 42">
              <a:extLst>
                <a:ext uri="{FF2B5EF4-FFF2-40B4-BE49-F238E27FC236}">
                  <a16:creationId xmlns:a16="http://schemas.microsoft.com/office/drawing/2014/main" id="{68F3A2E0-6841-7863-2DAF-4A29E91F87C3}"/>
                </a:ext>
              </a:extLst>
            </p:cNvPr>
            <p:cNvSpPr/>
            <p:nvPr/>
          </p:nvSpPr>
          <p:spPr bwMode="gray">
            <a:xfrm>
              <a:off x="5564587" y="2189088"/>
              <a:ext cx="531009" cy="1502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600" i="1" dirty="0">
                  <a:solidFill>
                    <a:schemeClr val="tx1"/>
                  </a:solidFill>
                </a:rPr>
                <a:t>April 2024</a:t>
              </a:r>
            </a:p>
          </p:txBody>
        </p:sp>
        <p:pic>
          <p:nvPicPr>
            <p:cNvPr id="44" name="Picture 43" descr="A black and white logo&#10;&#10;AI-generated content may be incorrect.">
              <a:extLst>
                <a:ext uri="{FF2B5EF4-FFF2-40B4-BE49-F238E27FC236}">
                  <a16:creationId xmlns:a16="http://schemas.microsoft.com/office/drawing/2014/main" id="{30B1BFE2-E13E-F446-A201-12576C1EF2B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233351" y="2155451"/>
              <a:ext cx="581303" cy="178141"/>
            </a:xfrm>
            <a:prstGeom prst="rect">
              <a:avLst/>
            </a:prstGeom>
          </p:spPr>
        </p:pic>
      </p:grpSp>
      <p:grpSp>
        <p:nvGrpSpPr>
          <p:cNvPr id="50" name="Group 49">
            <a:extLst>
              <a:ext uri="{FF2B5EF4-FFF2-40B4-BE49-F238E27FC236}">
                <a16:creationId xmlns:a16="http://schemas.microsoft.com/office/drawing/2014/main" id="{95FD87C4-DB89-8DEB-85F6-3569BD7331F7}"/>
              </a:ext>
            </a:extLst>
          </p:cNvPr>
          <p:cNvGrpSpPr/>
          <p:nvPr/>
        </p:nvGrpSpPr>
        <p:grpSpPr>
          <a:xfrm>
            <a:off x="6733403" y="5285340"/>
            <a:ext cx="1243552" cy="692968"/>
            <a:chOff x="5870659" y="4909572"/>
            <a:chExt cx="1312469" cy="918974"/>
          </a:xfrm>
        </p:grpSpPr>
        <p:sp>
          <p:nvSpPr>
            <p:cNvPr id="51" name="Rectangle 50">
              <a:extLst>
                <a:ext uri="{FF2B5EF4-FFF2-40B4-BE49-F238E27FC236}">
                  <a16:creationId xmlns:a16="http://schemas.microsoft.com/office/drawing/2014/main" id="{50AE8F65-97B0-AD60-94F9-5D53BAE3C389}"/>
                </a:ext>
              </a:extLst>
            </p:cNvPr>
            <p:cNvSpPr/>
            <p:nvPr/>
          </p:nvSpPr>
          <p:spPr bwMode="gray">
            <a:xfrm>
              <a:off x="5870659" y="4909572"/>
              <a:ext cx="1312469" cy="91897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i="1" dirty="0">
                  <a:solidFill>
                    <a:schemeClr val="tx1"/>
                  </a:solidFill>
                </a:rPr>
                <a:t>Amazon Unveils Geothermal, Solar- Powered Center in Japan</a:t>
              </a:r>
            </a:p>
          </p:txBody>
        </p:sp>
        <p:sp>
          <p:nvSpPr>
            <p:cNvPr id="52" name="Rectangle 51">
              <a:extLst>
                <a:ext uri="{FF2B5EF4-FFF2-40B4-BE49-F238E27FC236}">
                  <a16:creationId xmlns:a16="http://schemas.microsoft.com/office/drawing/2014/main" id="{0AB48AD4-9A92-F97C-03FE-730166FA2ADA}"/>
                </a:ext>
              </a:extLst>
            </p:cNvPr>
            <p:cNvSpPr/>
            <p:nvPr/>
          </p:nvSpPr>
          <p:spPr bwMode="gray">
            <a:xfrm>
              <a:off x="5908927" y="5657921"/>
              <a:ext cx="558936" cy="1431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00" i="1" dirty="0">
                  <a:solidFill>
                    <a:schemeClr val="tx1"/>
                  </a:solidFill>
                </a:rPr>
                <a:t>June 2025</a:t>
              </a:r>
            </a:p>
          </p:txBody>
        </p:sp>
        <p:pic>
          <p:nvPicPr>
            <p:cNvPr id="53" name="Picture 52">
              <a:extLst>
                <a:ext uri="{FF2B5EF4-FFF2-40B4-BE49-F238E27FC236}">
                  <a16:creationId xmlns:a16="http://schemas.microsoft.com/office/drawing/2014/main" id="{AA4A0AB2-C39E-72C5-6C88-91A02F57C303}"/>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529666" y="5695421"/>
              <a:ext cx="640945" cy="120420"/>
            </a:xfrm>
            <a:prstGeom prst="rect">
              <a:avLst/>
            </a:prstGeom>
          </p:spPr>
        </p:pic>
      </p:grpSp>
      <p:sp>
        <p:nvSpPr>
          <p:cNvPr id="54" name="Rectangle 53">
            <a:extLst>
              <a:ext uri="{FF2B5EF4-FFF2-40B4-BE49-F238E27FC236}">
                <a16:creationId xmlns:a16="http://schemas.microsoft.com/office/drawing/2014/main" id="{F11AE099-C1EB-F468-C1BD-8127895E02E0}"/>
              </a:ext>
            </a:extLst>
          </p:cNvPr>
          <p:cNvSpPr/>
          <p:nvPr/>
        </p:nvSpPr>
        <p:spPr bwMode="gray">
          <a:xfrm rot="16200000">
            <a:off x="-534156" y="2669007"/>
            <a:ext cx="1912529" cy="275854"/>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accent6"/>
                </a:solidFill>
              </a:rPr>
              <a:t>Power</a:t>
            </a:r>
          </a:p>
        </p:txBody>
      </p:sp>
      <p:sp>
        <p:nvSpPr>
          <p:cNvPr id="55" name="Rectangle 54">
            <a:extLst>
              <a:ext uri="{FF2B5EF4-FFF2-40B4-BE49-F238E27FC236}">
                <a16:creationId xmlns:a16="http://schemas.microsoft.com/office/drawing/2014/main" id="{A7708EE6-1999-4AE5-74BB-D1BCEFF70744}"/>
              </a:ext>
            </a:extLst>
          </p:cNvPr>
          <p:cNvSpPr/>
          <p:nvPr/>
        </p:nvSpPr>
        <p:spPr bwMode="gray">
          <a:xfrm rot="16200000">
            <a:off x="-505003" y="5032465"/>
            <a:ext cx="1822913" cy="2758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accent1"/>
                </a:solidFill>
              </a:rPr>
              <a:t>Power</a:t>
            </a:r>
          </a:p>
        </p:txBody>
      </p:sp>
      <p:sp>
        <p:nvSpPr>
          <p:cNvPr id="56" name="Rectangle 55">
            <a:extLst>
              <a:ext uri="{FF2B5EF4-FFF2-40B4-BE49-F238E27FC236}">
                <a16:creationId xmlns:a16="http://schemas.microsoft.com/office/drawing/2014/main" id="{ACF616FE-8914-0927-4F50-1D7BC13F4EED}"/>
              </a:ext>
            </a:extLst>
          </p:cNvPr>
          <p:cNvSpPr/>
          <p:nvPr/>
        </p:nvSpPr>
        <p:spPr bwMode="gray">
          <a:xfrm rot="16200000">
            <a:off x="4022131" y="2699704"/>
            <a:ext cx="1848485" cy="275854"/>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accent5"/>
                </a:solidFill>
              </a:rPr>
              <a:t>Power</a:t>
            </a:r>
          </a:p>
        </p:txBody>
      </p:sp>
      <p:sp>
        <p:nvSpPr>
          <p:cNvPr id="57" name="Rectangle 56">
            <a:extLst>
              <a:ext uri="{FF2B5EF4-FFF2-40B4-BE49-F238E27FC236}">
                <a16:creationId xmlns:a16="http://schemas.microsoft.com/office/drawing/2014/main" id="{314216C3-7179-9985-14C2-CC2DF82C79E0}"/>
              </a:ext>
            </a:extLst>
          </p:cNvPr>
          <p:cNvSpPr/>
          <p:nvPr/>
        </p:nvSpPr>
        <p:spPr bwMode="gray">
          <a:xfrm rot="16200000">
            <a:off x="4019393" y="5032974"/>
            <a:ext cx="1823932" cy="27585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Heating &amp; Cooling</a:t>
            </a:r>
          </a:p>
        </p:txBody>
      </p:sp>
    </p:spTree>
    <p:extLst>
      <p:ext uri="{BB962C8B-B14F-4D97-AF65-F5344CB8AC3E}">
        <p14:creationId xmlns:p14="http://schemas.microsoft.com/office/powerpoint/2010/main" val="16085274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771C618-5913-A1BD-EFF3-7F023BC39AC6}"/>
              </a:ext>
            </a:extLst>
          </p:cNvPr>
          <p:cNvGraphicFramePr>
            <a:graphicFrameLocks/>
          </p:cNvGraphicFramePr>
          <p:nvPr>
            <p:custDataLst>
              <p:tags r:id="rId1"/>
            </p:custDataLst>
            <p:extLst>
              <p:ext uri="{D42A27DB-BD31-4B8C-83A1-F6EECF244321}">
                <p14:modId xmlns:p14="http://schemas.microsoft.com/office/powerpoint/2010/main" val="3498280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D450F40-82FB-665D-85BC-640B446AEE12}"/>
              </a:ext>
            </a:extLst>
          </p:cNvPr>
          <p:cNvSpPr>
            <a:spLocks noGrp="1"/>
          </p:cNvSpPr>
          <p:nvPr>
            <p:ph type="title"/>
          </p:nvPr>
        </p:nvSpPr>
        <p:spPr/>
        <p:txBody>
          <a:bodyPr vert="horz" rIns="91440"/>
          <a:lstStyle/>
          <a:p>
            <a:r>
              <a:rPr lang="en-AU" dirty="0"/>
              <a:t>Google signs first corporate geothermal agreement in Taiwan to power data </a:t>
            </a:r>
            <a:r>
              <a:rPr lang="en-AU" dirty="0" err="1"/>
              <a:t>centers</a:t>
            </a:r>
            <a:r>
              <a:rPr lang="en-AU" dirty="0"/>
              <a:t> and expand across the Asia-Pacific region</a:t>
            </a:r>
            <a:endParaRPr lang="en-US" dirty="0"/>
          </a:p>
        </p:txBody>
      </p:sp>
      <p:sp>
        <p:nvSpPr>
          <p:cNvPr id="6" name="Footer Placeholder 5">
            <a:extLst>
              <a:ext uri="{FF2B5EF4-FFF2-40B4-BE49-F238E27FC236}">
                <a16:creationId xmlns:a16="http://schemas.microsoft.com/office/drawing/2014/main" id="{73ACF6C2-1828-7CCF-6895-3919EF9A3F1D}"/>
              </a:ext>
            </a:extLst>
          </p:cNvPr>
          <p:cNvSpPr>
            <a:spLocks noGrp="1"/>
          </p:cNvSpPr>
          <p:nvPr>
            <p:ph type="ftr" sz="quarter" idx="3"/>
          </p:nvPr>
        </p:nvSpPr>
        <p:spPr>
          <a:xfrm>
            <a:off x="334962" y="6214832"/>
            <a:ext cx="9147241" cy="216706"/>
          </a:xfrm>
        </p:spPr>
        <p:txBody>
          <a:bodyPr/>
          <a:lstStyle/>
          <a:p>
            <a:pPr marL="0" indent="0">
              <a:spcBef>
                <a:spcPts val="0"/>
              </a:spcBef>
              <a:buNone/>
            </a:pPr>
            <a:r>
              <a:rPr lang="en-US" dirty="0">
                <a:solidFill>
                  <a:srgbClr val="000000"/>
                </a:solidFill>
              </a:rPr>
              <a:t>Sources:</a:t>
            </a:r>
            <a:r>
              <a:rPr lang="en-US" dirty="0"/>
              <a:t> </a:t>
            </a:r>
            <a:r>
              <a:rPr lang="en-US" dirty="0">
                <a:hlinkClick r:id="rId5"/>
              </a:rPr>
              <a:t>Our first geothermal energy deal in Asia</a:t>
            </a:r>
            <a:r>
              <a:rPr lang="en-US" dirty="0"/>
              <a:t> </a:t>
            </a:r>
            <a:r>
              <a:rPr lang="en-US" dirty="0">
                <a:solidFill>
                  <a:schemeClr val="tx1"/>
                </a:solidFill>
              </a:rPr>
              <a:t>(Google, 2025), </a:t>
            </a:r>
            <a:r>
              <a:rPr lang="en-US" dirty="0">
                <a:hlinkClick r:id="rId6"/>
              </a:rPr>
              <a:t>Chinese Taipei</a:t>
            </a:r>
            <a:r>
              <a:rPr lang="en-US" dirty="0"/>
              <a:t> </a:t>
            </a:r>
            <a:r>
              <a:rPr lang="en-US" dirty="0">
                <a:solidFill>
                  <a:schemeClr val="tx1"/>
                </a:solidFill>
              </a:rPr>
              <a:t>(IEA, 2023); </a:t>
            </a:r>
            <a:r>
              <a:rPr lang="en-US" dirty="0">
                <a:hlinkClick r:id="rId7"/>
              </a:rPr>
              <a:t>Taiwan’s Pathway to Net-Zero</a:t>
            </a:r>
            <a:r>
              <a:rPr lang="en-US" dirty="0"/>
              <a:t> </a:t>
            </a:r>
            <a:r>
              <a:rPr lang="en-US" dirty="0">
                <a:solidFill>
                  <a:schemeClr val="tx1"/>
                </a:solidFill>
              </a:rPr>
              <a:t>(Climate Change Administration Ministry of Environment, 2022); </a:t>
            </a:r>
            <a:r>
              <a:rPr lang="en-US" dirty="0">
                <a:hlinkClick r:id="rId8"/>
              </a:rPr>
              <a:t>Taiwan plans AI projects</a:t>
            </a:r>
            <a:r>
              <a:rPr lang="en-US" dirty="0"/>
              <a:t> </a:t>
            </a:r>
            <a:r>
              <a:rPr lang="en-US" dirty="0">
                <a:solidFill>
                  <a:schemeClr val="tx1"/>
                </a:solidFill>
              </a:rPr>
              <a:t>(Reuters, 2025); </a:t>
            </a:r>
            <a:r>
              <a:rPr lang="en-US" dirty="0">
                <a:hlinkClick r:id="rId9"/>
              </a:rPr>
              <a:t>The Geothermal Potential</a:t>
            </a:r>
            <a:r>
              <a:rPr lang="en-US" dirty="0"/>
              <a:t> </a:t>
            </a:r>
            <a:r>
              <a:rPr lang="en-US" dirty="0">
                <a:solidFill>
                  <a:schemeClr val="tx1"/>
                </a:solidFill>
                <a:hlinkClick r:id="rId9">
                  <a:extLst>
                    <a:ext uri="{A12FA001-AC4F-418D-AE19-62706E023703}">
                      <ahyp:hlinkClr xmlns:ahyp="http://schemas.microsoft.com/office/drawing/2018/hyperlinkcolor" val="tx"/>
                    </a:ext>
                  </a:extLst>
                </a:hlinkClick>
              </a:rPr>
              <a:t>(</a:t>
            </a:r>
            <a:r>
              <a:rPr lang="en-US" dirty="0">
                <a:solidFill>
                  <a:schemeClr val="tx1"/>
                </a:solidFill>
              </a:rPr>
              <a:t>Astrophysics Data System, 2016); </a:t>
            </a:r>
            <a:r>
              <a:rPr lang="en-US" dirty="0">
                <a:hlinkClick r:id="rId10"/>
              </a:rPr>
              <a:t>Geothermal energy in Taiwan</a:t>
            </a:r>
            <a:r>
              <a:rPr lang="en-US" dirty="0"/>
              <a:t> </a:t>
            </a:r>
            <a:r>
              <a:rPr lang="en-US" dirty="0">
                <a:solidFill>
                  <a:schemeClr val="tx1"/>
                </a:solidFill>
              </a:rPr>
              <a:t>(</a:t>
            </a:r>
            <a:r>
              <a:rPr lang="en-US" dirty="0" err="1">
                <a:solidFill>
                  <a:schemeClr val="tx1"/>
                </a:solidFill>
              </a:rPr>
              <a:t>Euroview</a:t>
            </a:r>
            <a:r>
              <a:rPr lang="en-US" dirty="0">
                <a:solidFill>
                  <a:schemeClr val="tx1"/>
                </a:solidFill>
              </a:rPr>
              <a:t>, 2025); </a:t>
            </a:r>
            <a:r>
              <a:rPr lang="en-US" dirty="0">
                <a:hlinkClick r:id="rId11"/>
              </a:rPr>
              <a:t>Unlocking Australia’s geothermal</a:t>
            </a:r>
            <a:r>
              <a:rPr lang="en-US" dirty="0"/>
              <a:t> </a:t>
            </a:r>
            <a:r>
              <a:rPr lang="en-US" dirty="0">
                <a:solidFill>
                  <a:schemeClr val="tx1"/>
                </a:solidFill>
              </a:rPr>
              <a:t>(Google, 2024).</a:t>
            </a:r>
          </a:p>
          <a:p>
            <a:pPr marL="0" indent="0">
              <a:spcBef>
                <a:spcPts val="0"/>
              </a:spcBef>
              <a:buNone/>
            </a:pPr>
            <a:r>
              <a:rPr lang="en-US" dirty="0">
                <a:solidFill>
                  <a:srgbClr val="000000"/>
                </a:solidFill>
              </a:rPr>
              <a:t>Credit: Stephanie Chen, Isabel Hoyos, and </a:t>
            </a:r>
            <a:r>
              <a:rPr lang="en-US" dirty="0">
                <a:hlinkClick r:id="rId12"/>
              </a:rPr>
              <a:t>Gernot Wagner.</a:t>
            </a:r>
            <a:r>
              <a:rPr lang="en-US" dirty="0">
                <a:solidFill>
                  <a:srgbClr val="000000"/>
                </a:solidFill>
              </a:rPr>
              <a:t> </a:t>
            </a:r>
            <a:r>
              <a:rPr lang="en-US" dirty="0">
                <a:hlinkClick r:id="rId1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AA8D47D5-369D-3866-9414-59B5CC797766}"/>
              </a:ext>
            </a:extLst>
          </p:cNvPr>
          <p:cNvSpPr>
            <a:spLocks noGrp="1"/>
          </p:cNvSpPr>
          <p:nvPr>
            <p:ph type="body" sz="quarter" idx="13"/>
          </p:nvPr>
        </p:nvSpPr>
        <p:spPr/>
        <p:txBody>
          <a:bodyPr/>
          <a:lstStyle/>
          <a:p>
            <a:r>
              <a:rPr lang="en-US" dirty="0"/>
              <a:t>Google and Baseload Capital partner to develop 10 MW of geothermal in Taiwan</a:t>
            </a:r>
          </a:p>
        </p:txBody>
      </p:sp>
      <p:sp>
        <p:nvSpPr>
          <p:cNvPr id="8" name="Text Placeholder 7">
            <a:extLst>
              <a:ext uri="{FF2B5EF4-FFF2-40B4-BE49-F238E27FC236}">
                <a16:creationId xmlns:a16="http://schemas.microsoft.com/office/drawing/2014/main" id="{BD70CAD2-5B8D-7D86-75C5-77753FD5A55E}"/>
              </a:ext>
            </a:extLst>
          </p:cNvPr>
          <p:cNvSpPr>
            <a:spLocks noGrp="1"/>
          </p:cNvSpPr>
          <p:nvPr>
            <p:ph type="body" sz="quarter" idx="16"/>
          </p:nvPr>
        </p:nvSpPr>
        <p:spPr/>
        <p:txBody>
          <a:bodyPr/>
          <a:lstStyle/>
          <a:p>
            <a:r>
              <a:rPr lang="en-US" dirty="0"/>
              <a:t>Several tailwinds make Taiwan the ideal location for geothermal development</a:t>
            </a:r>
          </a:p>
        </p:txBody>
      </p:sp>
      <p:sp>
        <p:nvSpPr>
          <p:cNvPr id="9" name="Text Placeholder 1">
            <a:extLst>
              <a:ext uri="{FF2B5EF4-FFF2-40B4-BE49-F238E27FC236}">
                <a16:creationId xmlns:a16="http://schemas.microsoft.com/office/drawing/2014/main" id="{81921D24-12EA-05FE-9698-9E48D9154CB4}"/>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Taiwan</a:t>
            </a:r>
          </a:p>
        </p:txBody>
      </p:sp>
      <p:sp>
        <p:nvSpPr>
          <p:cNvPr id="11" name="Rectangle 10">
            <a:extLst>
              <a:ext uri="{FF2B5EF4-FFF2-40B4-BE49-F238E27FC236}">
                <a16:creationId xmlns:a16="http://schemas.microsoft.com/office/drawing/2014/main" id="{86E3D663-5080-0ECB-0D4E-8A2577D9C545}"/>
              </a:ext>
            </a:extLst>
          </p:cNvPr>
          <p:cNvSpPr/>
          <p:nvPr/>
        </p:nvSpPr>
        <p:spPr bwMode="gray">
          <a:xfrm>
            <a:off x="1655990" y="4371583"/>
            <a:ext cx="4044884" cy="16587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b="1" dirty="0">
              <a:solidFill>
                <a:schemeClr val="tx1"/>
              </a:solidFill>
            </a:endParaRPr>
          </a:p>
        </p:txBody>
      </p:sp>
      <p:sp>
        <p:nvSpPr>
          <p:cNvPr id="12" name="Rectangle 11">
            <a:extLst>
              <a:ext uri="{FF2B5EF4-FFF2-40B4-BE49-F238E27FC236}">
                <a16:creationId xmlns:a16="http://schemas.microsoft.com/office/drawing/2014/main" id="{64E9E238-684B-4282-D979-23626E6D37B1}"/>
              </a:ext>
            </a:extLst>
          </p:cNvPr>
          <p:cNvSpPr/>
          <p:nvPr/>
        </p:nvSpPr>
        <p:spPr bwMode="gray">
          <a:xfrm>
            <a:off x="1673163" y="2223943"/>
            <a:ext cx="4027712" cy="214763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b="1" dirty="0">
              <a:solidFill>
                <a:schemeClr val="tx1"/>
              </a:solidFill>
            </a:endParaRPr>
          </a:p>
        </p:txBody>
      </p:sp>
      <p:sp>
        <p:nvSpPr>
          <p:cNvPr id="13" name="Rounded Rectangle 12">
            <a:extLst>
              <a:ext uri="{FF2B5EF4-FFF2-40B4-BE49-F238E27FC236}">
                <a16:creationId xmlns:a16="http://schemas.microsoft.com/office/drawing/2014/main" id="{76A77817-6246-19B3-32D1-0CDDB954B46F}"/>
              </a:ext>
            </a:extLst>
          </p:cNvPr>
          <p:cNvSpPr/>
          <p:nvPr/>
        </p:nvSpPr>
        <p:spPr bwMode="gray">
          <a:xfrm>
            <a:off x="1766554" y="4511124"/>
            <a:ext cx="3859740" cy="1519238"/>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tx1"/>
                </a:solidFill>
              </a:rPr>
              <a:t>Google plans to accelerate geothermal across the Asia-Pacific region and utilize its learnings from the Taiwan project. </a:t>
            </a:r>
          </a:p>
          <a:p>
            <a:pPr marL="0" indent="0">
              <a:buNone/>
            </a:pPr>
            <a:r>
              <a:rPr lang="en-US" sz="1000" dirty="0">
                <a:solidFill>
                  <a:schemeClr val="tx1"/>
                </a:solidFill>
              </a:rPr>
              <a:t>It partnered with the University of Newcastle to research geothermal energy potential in Australia.</a:t>
            </a:r>
          </a:p>
          <a:p>
            <a:endParaRPr lang="en-US" sz="1200" dirty="0">
              <a:solidFill>
                <a:schemeClr val="tx1"/>
              </a:solidFill>
            </a:endParaRPr>
          </a:p>
        </p:txBody>
      </p:sp>
      <p:pic>
        <p:nvPicPr>
          <p:cNvPr id="14" name="Picture 2" descr="Google logo new, history png #2593 ...">
            <a:extLst>
              <a:ext uri="{FF2B5EF4-FFF2-40B4-BE49-F238E27FC236}">
                <a16:creationId xmlns:a16="http://schemas.microsoft.com/office/drawing/2014/main" id="{F39AAE2C-D8C3-2111-6A22-7CE2C417859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31010" y="4975497"/>
            <a:ext cx="1016314" cy="3370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9FEAA137-9F40-D362-10AD-99E2EFD66BF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7873" y="2676960"/>
            <a:ext cx="1090708" cy="1090708"/>
          </a:xfrm>
          <a:prstGeom prst="rect">
            <a:avLst/>
          </a:prstGeom>
        </p:spPr>
      </p:pic>
      <p:sp>
        <p:nvSpPr>
          <p:cNvPr id="16" name="TextBox 15">
            <a:extLst>
              <a:ext uri="{FF2B5EF4-FFF2-40B4-BE49-F238E27FC236}">
                <a16:creationId xmlns:a16="http://schemas.microsoft.com/office/drawing/2014/main" id="{4C76E08D-B97F-C55C-4DE6-89F4E7BEF076}"/>
              </a:ext>
            </a:extLst>
          </p:cNvPr>
          <p:cNvSpPr txBox="1"/>
          <p:nvPr/>
        </p:nvSpPr>
        <p:spPr bwMode="gray">
          <a:xfrm>
            <a:off x="1673163" y="2466883"/>
            <a:ext cx="4027712" cy="1631216"/>
          </a:xfrm>
          <a:prstGeom prst="rect">
            <a:avLst/>
          </a:prstGeom>
          <a:noFill/>
        </p:spPr>
        <p:txBody>
          <a:bodyPr wrap="square">
            <a:spAutoFit/>
          </a:bodyPr>
          <a:lstStyle/>
          <a:p>
            <a:pPr marL="0" indent="0">
              <a:buNone/>
            </a:pPr>
            <a:r>
              <a:rPr lang="en-US" sz="1000" dirty="0">
                <a:solidFill>
                  <a:schemeClr val="tx1"/>
                </a:solidFill>
              </a:rPr>
              <a:t>Baseload Capital is a global geothermal developer. Baseload Power Taiwan, a subsidiary, has explored geothermal re</a:t>
            </a:r>
            <a:r>
              <a:rPr lang="en-US" sz="1000" dirty="0"/>
              <a:t>s</a:t>
            </a:r>
            <a:r>
              <a:rPr lang="en-US" sz="1000" dirty="0">
                <a:solidFill>
                  <a:schemeClr val="tx1"/>
                </a:solidFill>
              </a:rPr>
              <a:t>ources since 2019. </a:t>
            </a:r>
          </a:p>
          <a:p>
            <a:pPr marL="0" indent="0">
              <a:buNone/>
            </a:pPr>
            <a:r>
              <a:rPr lang="en-US" sz="1000" dirty="0">
                <a:solidFill>
                  <a:schemeClr val="tx1"/>
                </a:solidFill>
              </a:rPr>
              <a:t>Baseload Power Taiwan is the only geothermal developer in Taiwan. It actively partners with the government to implement regulatory frameworks for geothermal.</a:t>
            </a:r>
          </a:p>
          <a:p>
            <a:pPr marL="0" indent="0">
              <a:buNone/>
            </a:pPr>
            <a:r>
              <a:rPr lang="en-US" sz="1000" dirty="0">
                <a:solidFill>
                  <a:schemeClr val="tx1"/>
                </a:solidFill>
              </a:rPr>
              <a:t>Google demonstrated </a:t>
            </a:r>
            <a:r>
              <a:rPr lang="en-US" sz="1000" dirty="0"/>
              <a:t>its</a:t>
            </a:r>
            <a:r>
              <a:rPr lang="en-US" sz="1000" dirty="0">
                <a:solidFill>
                  <a:schemeClr val="tx1"/>
                </a:solidFill>
              </a:rPr>
              <a:t> commitment to geothermal with an equity investment in Baseload Capital. </a:t>
            </a:r>
          </a:p>
        </p:txBody>
      </p:sp>
      <p:cxnSp>
        <p:nvCxnSpPr>
          <p:cNvPr id="17" name="Straight Connector 16">
            <a:extLst>
              <a:ext uri="{FF2B5EF4-FFF2-40B4-BE49-F238E27FC236}">
                <a16:creationId xmlns:a16="http://schemas.microsoft.com/office/drawing/2014/main" id="{836399D9-AFF5-86E4-FDF9-453C6BBA5A64}"/>
              </a:ext>
            </a:extLst>
          </p:cNvPr>
          <p:cNvCxnSpPr>
            <a:cxnSpLocks/>
          </p:cNvCxnSpPr>
          <p:nvPr/>
        </p:nvCxnSpPr>
        <p:spPr bwMode="gray">
          <a:xfrm>
            <a:off x="422344" y="4371582"/>
            <a:ext cx="529570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90D6931-04FD-2C4B-BCA0-1EE909D8C56E}"/>
              </a:ext>
            </a:extLst>
          </p:cNvPr>
          <p:cNvCxnSpPr>
            <a:cxnSpLocks/>
          </p:cNvCxnSpPr>
          <p:nvPr/>
        </p:nvCxnSpPr>
        <p:spPr bwMode="gray">
          <a:xfrm>
            <a:off x="439517" y="2221488"/>
            <a:ext cx="527853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A34383C0-3FD0-5391-A7BC-49C5B82C92CD}"/>
              </a:ext>
            </a:extLst>
          </p:cNvPr>
          <p:cNvSpPr/>
          <p:nvPr/>
        </p:nvSpPr>
        <p:spPr bwMode="gray">
          <a:xfrm>
            <a:off x="6260689" y="2238659"/>
            <a:ext cx="5278531" cy="813096"/>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50" b="1" dirty="0">
                <a:solidFill>
                  <a:schemeClr val="tx1"/>
                </a:solidFill>
              </a:rPr>
              <a:t>Net-Zero Commitment | Taiwan aims to be net zero by 2050</a:t>
            </a:r>
          </a:p>
          <a:p>
            <a:pPr marL="0" indent="0">
              <a:spcBef>
                <a:spcPts val="300"/>
              </a:spcBef>
              <a:buNone/>
            </a:pPr>
            <a:r>
              <a:rPr lang="en-US" sz="1050" dirty="0">
                <a:solidFill>
                  <a:schemeClr val="tx1"/>
                </a:solidFill>
              </a:rPr>
              <a:t>Taiwan’s 2023 energy mix was 35% coal, 34% oil, 24% natural gas, 4% nuclear, &lt;2% other renewables, &lt;2% other sources.</a:t>
            </a:r>
            <a:endParaRPr lang="en-US" sz="1050" dirty="0"/>
          </a:p>
        </p:txBody>
      </p:sp>
      <p:sp>
        <p:nvSpPr>
          <p:cNvPr id="20" name="Rounded Rectangle 19">
            <a:extLst>
              <a:ext uri="{FF2B5EF4-FFF2-40B4-BE49-F238E27FC236}">
                <a16:creationId xmlns:a16="http://schemas.microsoft.com/office/drawing/2014/main" id="{2785DBA0-5869-72B1-9E8B-B30DA1C4B6E2}"/>
              </a:ext>
            </a:extLst>
          </p:cNvPr>
          <p:cNvSpPr/>
          <p:nvPr/>
        </p:nvSpPr>
        <p:spPr bwMode="gray">
          <a:xfrm>
            <a:off x="6260689" y="3191051"/>
            <a:ext cx="5278531" cy="813096"/>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00" b="1" dirty="0">
                <a:solidFill>
                  <a:schemeClr val="tx1"/>
                </a:solidFill>
              </a:rPr>
              <a:t>Proximity to Pacific Rim | Located near high-potential resources</a:t>
            </a:r>
          </a:p>
          <a:p>
            <a:pPr marL="0" indent="0">
              <a:spcBef>
                <a:spcPts val="300"/>
              </a:spcBef>
              <a:buNone/>
            </a:pPr>
            <a:r>
              <a:rPr lang="en-US" sz="1000" dirty="0">
                <a:solidFill>
                  <a:schemeClr val="tx1"/>
                </a:solidFill>
              </a:rPr>
              <a:t>Taiwan is located along the Pacific Rim, known for its volcanic activity. A 2016 study found that geothermal resources could be up to 160 GWe.</a:t>
            </a:r>
            <a:endParaRPr lang="en-US" sz="1000" dirty="0">
              <a:solidFill>
                <a:schemeClr val="tx1"/>
              </a:solidFill>
              <a:cs typeface="Arial"/>
            </a:endParaRPr>
          </a:p>
        </p:txBody>
      </p:sp>
      <p:sp>
        <p:nvSpPr>
          <p:cNvPr id="21" name="Rounded Rectangle 20">
            <a:extLst>
              <a:ext uri="{FF2B5EF4-FFF2-40B4-BE49-F238E27FC236}">
                <a16:creationId xmlns:a16="http://schemas.microsoft.com/office/drawing/2014/main" id="{CE88EC09-86F6-96DE-44E1-356376430C0A}"/>
              </a:ext>
            </a:extLst>
          </p:cNvPr>
          <p:cNvSpPr/>
          <p:nvPr/>
        </p:nvSpPr>
        <p:spPr bwMode="gray">
          <a:xfrm>
            <a:off x="6294120" y="4143443"/>
            <a:ext cx="5245100" cy="813096"/>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00" b="1" dirty="0">
                <a:solidFill>
                  <a:schemeClr val="tx1"/>
                </a:solidFill>
              </a:rPr>
              <a:t>Geothermal Targets | Taiwan targets 6 GW of geothermal</a:t>
            </a:r>
          </a:p>
          <a:p>
            <a:pPr marL="0" indent="0">
              <a:spcBef>
                <a:spcPts val="300"/>
              </a:spcBef>
              <a:buNone/>
            </a:pPr>
            <a:r>
              <a:rPr lang="en-US" sz="1000" dirty="0">
                <a:solidFill>
                  <a:schemeClr val="tx1"/>
                </a:solidFill>
              </a:rPr>
              <a:t>Taiwan established incremental geothermal targets: 20 MW by 2025, 200 MW by 2030, 2 GW by 2040, and 6 GW of geothermal by 2050</a:t>
            </a:r>
            <a:endParaRPr lang="en-US" sz="1000" dirty="0"/>
          </a:p>
        </p:txBody>
      </p:sp>
      <p:sp>
        <p:nvSpPr>
          <p:cNvPr id="22" name="Rounded Rectangle 21">
            <a:extLst>
              <a:ext uri="{FF2B5EF4-FFF2-40B4-BE49-F238E27FC236}">
                <a16:creationId xmlns:a16="http://schemas.microsoft.com/office/drawing/2014/main" id="{E03CE0AB-A444-864F-26E2-DC2B16DE6AFF}"/>
              </a:ext>
            </a:extLst>
          </p:cNvPr>
          <p:cNvSpPr/>
          <p:nvPr/>
        </p:nvSpPr>
        <p:spPr bwMode="gray">
          <a:xfrm>
            <a:off x="6294120" y="5095834"/>
            <a:ext cx="5245100" cy="813096"/>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00" b="1" dirty="0">
                <a:solidFill>
                  <a:schemeClr val="tx1"/>
                </a:solidFill>
              </a:rPr>
              <a:t>Technology Hub | Taiwan as a center for AI Infrastructure</a:t>
            </a:r>
          </a:p>
          <a:p>
            <a:pPr marL="0" indent="0">
              <a:spcBef>
                <a:spcPts val="300"/>
              </a:spcBef>
              <a:buNone/>
            </a:pPr>
            <a:r>
              <a:rPr lang="en-US" sz="1000" dirty="0">
                <a:solidFill>
                  <a:schemeClr val="tx1"/>
                </a:solidFill>
              </a:rPr>
              <a:t>Taiwan announced its 10 Major AI Infrastructure Projects, which is expected to generate $520 billion-plus in economic value.</a:t>
            </a:r>
            <a:endParaRPr lang="en-US" sz="1000" dirty="0"/>
          </a:p>
        </p:txBody>
      </p:sp>
    </p:spTree>
    <p:extLst>
      <p:ext uri="{BB962C8B-B14F-4D97-AF65-F5344CB8AC3E}">
        <p14:creationId xmlns:p14="http://schemas.microsoft.com/office/powerpoint/2010/main" val="1220763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FD1A6-DFFA-2E5B-5B48-1CEB3D703EA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6EF86C-58DE-F5CB-4DF6-BB69B4218C9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7771C618-5913-A1BD-EFF3-7F023BC39AC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A9EF383-80BA-3503-3DD3-D3EB61108ABF}"/>
              </a:ext>
            </a:extLst>
          </p:cNvPr>
          <p:cNvSpPr>
            <a:spLocks noGrp="1"/>
          </p:cNvSpPr>
          <p:nvPr>
            <p:ph type="title"/>
          </p:nvPr>
        </p:nvSpPr>
        <p:spPr/>
        <p:txBody>
          <a:bodyPr vert="horz" rIns="91440"/>
          <a:lstStyle/>
          <a:p>
            <a:r>
              <a:rPr lang="en-AU" dirty="0"/>
              <a:t>XGS signs its first commercial deal, partnering with Meta to develop 150 MW with zero operating water in New Mexico by 2029</a:t>
            </a:r>
            <a:endParaRPr lang="en-US" dirty="0"/>
          </a:p>
        </p:txBody>
      </p:sp>
      <p:sp>
        <p:nvSpPr>
          <p:cNvPr id="6" name="Footer Placeholder 5">
            <a:extLst>
              <a:ext uri="{FF2B5EF4-FFF2-40B4-BE49-F238E27FC236}">
                <a16:creationId xmlns:a16="http://schemas.microsoft.com/office/drawing/2014/main" id="{26CD2BB1-8C71-50B5-81B7-86E8FB169E15}"/>
              </a:ext>
            </a:extLst>
          </p:cNvPr>
          <p:cNvSpPr>
            <a:spLocks noGrp="1"/>
          </p:cNvSpPr>
          <p:nvPr>
            <p:ph type="ftr" sz="quarter" idx="3"/>
          </p:nvPr>
        </p:nvSpPr>
        <p:spPr>
          <a:xfrm>
            <a:off x="334962" y="6214832"/>
            <a:ext cx="9147241" cy="216706"/>
          </a:xfrm>
        </p:spPr>
        <p:txBody>
          <a:bodyPr/>
          <a:lstStyle/>
          <a:p>
            <a:pPr marL="0" indent="0">
              <a:spcBef>
                <a:spcPts val="0"/>
              </a:spcBef>
              <a:buNone/>
            </a:pPr>
            <a:r>
              <a:rPr lang="en-US" dirty="0">
                <a:solidFill>
                  <a:srgbClr val="000000"/>
                </a:solidFill>
              </a:rPr>
              <a:t>Sources:</a:t>
            </a:r>
            <a:r>
              <a:rPr lang="en-US" dirty="0"/>
              <a:t> </a:t>
            </a:r>
            <a:r>
              <a:rPr lang="en-US" dirty="0">
                <a:solidFill>
                  <a:schemeClr val="tx1"/>
                </a:solidFill>
                <a:hlinkClick r:id="rId6"/>
              </a:rPr>
              <a:t>XGS Energy and Meta to partner</a:t>
            </a:r>
            <a:r>
              <a:rPr lang="en-US" dirty="0">
                <a:solidFill>
                  <a:schemeClr val="tx1"/>
                </a:solidFill>
              </a:rPr>
              <a:t> (Business Wire, 2025); </a:t>
            </a:r>
            <a:r>
              <a:rPr lang="en-US" dirty="0">
                <a:solidFill>
                  <a:schemeClr val="tx1"/>
                </a:solidFill>
                <a:hlinkClick r:id="rId7"/>
              </a:rPr>
              <a:t>XGS Energy</a:t>
            </a:r>
            <a:r>
              <a:rPr lang="en-US" dirty="0"/>
              <a:t> </a:t>
            </a:r>
            <a:r>
              <a:rPr lang="en-US" dirty="0">
                <a:solidFill>
                  <a:schemeClr val="tx1"/>
                </a:solidFill>
              </a:rPr>
              <a:t>(XGS, 2025); </a:t>
            </a:r>
            <a:r>
              <a:rPr lang="en-US" dirty="0">
                <a:solidFill>
                  <a:schemeClr val="tx1"/>
                </a:solidFill>
                <a:hlinkClick r:id="rId8"/>
              </a:rPr>
              <a:t>New geothermal energy project</a:t>
            </a:r>
            <a:r>
              <a:rPr lang="en-US" dirty="0"/>
              <a:t> </a:t>
            </a:r>
            <a:r>
              <a:rPr lang="en-US" dirty="0">
                <a:solidFill>
                  <a:schemeClr val="tx1"/>
                </a:solidFill>
              </a:rPr>
              <a:t>(Meta, 2024); </a:t>
            </a:r>
            <a:r>
              <a:rPr lang="en-US" dirty="0">
                <a:solidFill>
                  <a:schemeClr val="tx1"/>
                </a:solidFill>
                <a:hlinkClick r:id="rId9"/>
              </a:rPr>
              <a:t>XGS Energy says its advanced geothermal tech is ready to scale</a:t>
            </a:r>
            <a:r>
              <a:rPr lang="en-US" dirty="0">
                <a:solidFill>
                  <a:schemeClr val="tx1"/>
                </a:solidFill>
              </a:rPr>
              <a:t> (Canary Media, 2025); </a:t>
            </a:r>
            <a:r>
              <a:rPr lang="en-US" dirty="0">
                <a:hlinkClick r:id="rId10"/>
              </a:rPr>
              <a:t>Geothermal in New Mexico</a:t>
            </a:r>
            <a:r>
              <a:rPr lang="en-US" dirty="0"/>
              <a:t> </a:t>
            </a:r>
            <a:r>
              <a:rPr lang="en-US" dirty="0">
                <a:solidFill>
                  <a:schemeClr val="tx1"/>
                </a:solidFill>
              </a:rPr>
              <a:t>(Project </a:t>
            </a:r>
            <a:r>
              <a:rPr lang="en-US" dirty="0" err="1">
                <a:solidFill>
                  <a:schemeClr val="tx1"/>
                </a:solidFill>
              </a:rPr>
              <a:t>InnerSpace</a:t>
            </a:r>
            <a:r>
              <a:rPr lang="en-US" dirty="0">
                <a:solidFill>
                  <a:schemeClr val="tx1"/>
                </a:solidFill>
              </a:rPr>
              <a:t>, 2025).</a:t>
            </a:r>
          </a:p>
          <a:p>
            <a:pPr marL="0" indent="0">
              <a:spcBef>
                <a:spcPts val="0"/>
              </a:spcBef>
              <a:buNone/>
            </a:pPr>
            <a:r>
              <a:rPr lang="en-US" dirty="0">
                <a:solidFill>
                  <a:srgbClr val="000000"/>
                </a:solidFill>
              </a:rPr>
              <a:t>Credit: Ariela Farchi, Isabel Hoyos, and </a:t>
            </a:r>
            <a:r>
              <a:rPr lang="en-US" dirty="0">
                <a:hlinkClick r:id="rId11"/>
              </a:rPr>
              <a:t>Gernot Wagner.</a:t>
            </a:r>
            <a:r>
              <a:rPr lang="en-US" dirty="0">
                <a:solidFill>
                  <a:srgbClr val="000000"/>
                </a:solidFill>
              </a:rPr>
              <a:t> </a:t>
            </a:r>
            <a:r>
              <a:rPr lang="en-US" dirty="0">
                <a:hlinkClick r:id="rId1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820B068A-FF7D-C3E0-D4B6-6927D4B30766}"/>
              </a:ext>
            </a:extLst>
          </p:cNvPr>
          <p:cNvSpPr>
            <a:spLocks noGrp="1"/>
          </p:cNvSpPr>
          <p:nvPr>
            <p:ph type="body" sz="quarter" idx="13"/>
          </p:nvPr>
        </p:nvSpPr>
        <p:spPr/>
        <p:txBody>
          <a:bodyPr/>
          <a:lstStyle/>
          <a:p>
            <a:r>
              <a:rPr lang="en-US" dirty="0"/>
              <a:t>Meta and XGS partner to develop a 150 MW geothermal plant to power data centers in New Mexico</a:t>
            </a:r>
          </a:p>
        </p:txBody>
      </p:sp>
      <p:sp>
        <p:nvSpPr>
          <p:cNvPr id="8" name="Text Placeholder 7">
            <a:extLst>
              <a:ext uri="{FF2B5EF4-FFF2-40B4-BE49-F238E27FC236}">
                <a16:creationId xmlns:a16="http://schemas.microsoft.com/office/drawing/2014/main" id="{DDE2924C-189F-AC78-2BA4-8CF7F02D99F1}"/>
              </a:ext>
            </a:extLst>
          </p:cNvPr>
          <p:cNvSpPr>
            <a:spLocks noGrp="1"/>
          </p:cNvSpPr>
          <p:nvPr>
            <p:ph type="body" sz="quarter" idx="16"/>
          </p:nvPr>
        </p:nvSpPr>
        <p:spPr/>
        <p:txBody>
          <a:bodyPr/>
          <a:lstStyle/>
          <a:p>
            <a:r>
              <a:rPr lang="en-US" dirty="0"/>
              <a:t>New Mexico sets up to unlock next-generation geothermal potential</a:t>
            </a:r>
          </a:p>
        </p:txBody>
      </p:sp>
      <p:sp>
        <p:nvSpPr>
          <p:cNvPr id="9" name="Text Placeholder 1">
            <a:extLst>
              <a:ext uri="{FF2B5EF4-FFF2-40B4-BE49-F238E27FC236}">
                <a16:creationId xmlns:a16="http://schemas.microsoft.com/office/drawing/2014/main" id="{D0B0B728-2AD8-1C55-0369-208E1B681AE3}"/>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Meta – XGS</a:t>
            </a:r>
          </a:p>
        </p:txBody>
      </p:sp>
      <p:sp>
        <p:nvSpPr>
          <p:cNvPr id="11" name="Rectangle 10">
            <a:extLst>
              <a:ext uri="{FF2B5EF4-FFF2-40B4-BE49-F238E27FC236}">
                <a16:creationId xmlns:a16="http://schemas.microsoft.com/office/drawing/2014/main" id="{A3DF03B0-9E82-E480-14CC-62A9F30366CA}"/>
              </a:ext>
            </a:extLst>
          </p:cNvPr>
          <p:cNvSpPr/>
          <p:nvPr/>
        </p:nvSpPr>
        <p:spPr bwMode="gray">
          <a:xfrm>
            <a:off x="1655990" y="4371583"/>
            <a:ext cx="4044884" cy="16587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b="1" dirty="0">
              <a:solidFill>
                <a:schemeClr val="tx1"/>
              </a:solidFill>
            </a:endParaRPr>
          </a:p>
        </p:txBody>
      </p:sp>
      <p:sp>
        <p:nvSpPr>
          <p:cNvPr id="12" name="Rectangle 11">
            <a:extLst>
              <a:ext uri="{FF2B5EF4-FFF2-40B4-BE49-F238E27FC236}">
                <a16:creationId xmlns:a16="http://schemas.microsoft.com/office/drawing/2014/main" id="{584C9F45-823F-0443-3FA6-36CFF58E1DB2}"/>
              </a:ext>
            </a:extLst>
          </p:cNvPr>
          <p:cNvSpPr/>
          <p:nvPr/>
        </p:nvSpPr>
        <p:spPr bwMode="gray">
          <a:xfrm>
            <a:off x="1673163" y="2223943"/>
            <a:ext cx="4027712" cy="214763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b="1" dirty="0">
              <a:solidFill>
                <a:schemeClr val="tx1"/>
              </a:solidFill>
            </a:endParaRPr>
          </a:p>
        </p:txBody>
      </p:sp>
      <p:sp>
        <p:nvSpPr>
          <p:cNvPr id="13" name="Rounded Rectangle 12">
            <a:extLst>
              <a:ext uri="{FF2B5EF4-FFF2-40B4-BE49-F238E27FC236}">
                <a16:creationId xmlns:a16="http://schemas.microsoft.com/office/drawing/2014/main" id="{0774A25E-9051-31A6-F3FF-9FBE7B29D2F1}"/>
              </a:ext>
            </a:extLst>
          </p:cNvPr>
          <p:cNvSpPr/>
          <p:nvPr/>
        </p:nvSpPr>
        <p:spPr bwMode="gray">
          <a:xfrm>
            <a:off x="1766554" y="4511124"/>
            <a:ext cx="3859740" cy="1519238"/>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dirty="0">
                <a:solidFill>
                  <a:schemeClr val="tx1"/>
                </a:solidFill>
              </a:rPr>
              <a:t>Meta is seeking clean firm power to support the development of domestic data centers as AI technologies continue to scale. </a:t>
            </a:r>
          </a:p>
          <a:p>
            <a:pPr marL="0" indent="0">
              <a:buNone/>
            </a:pPr>
            <a:r>
              <a:rPr lang="en-US" sz="1000" dirty="0">
                <a:solidFill>
                  <a:schemeClr val="tx1"/>
                </a:solidFill>
              </a:rPr>
              <a:t>Partnerships with clean energy innovators like XGS are key to securing energy supply for data center operations in the region. Meta also signed a purchase agreement for a Sage Geosystems planned 150 MW power plant in the Rocky Mountains in 2024.</a:t>
            </a:r>
          </a:p>
        </p:txBody>
      </p:sp>
      <p:sp>
        <p:nvSpPr>
          <p:cNvPr id="16" name="TextBox 15">
            <a:extLst>
              <a:ext uri="{FF2B5EF4-FFF2-40B4-BE49-F238E27FC236}">
                <a16:creationId xmlns:a16="http://schemas.microsoft.com/office/drawing/2014/main" id="{5878F1EA-85F3-09D9-4B4C-60C85EE07FF2}"/>
              </a:ext>
            </a:extLst>
          </p:cNvPr>
          <p:cNvSpPr txBox="1"/>
          <p:nvPr/>
        </p:nvSpPr>
        <p:spPr bwMode="gray">
          <a:xfrm>
            <a:off x="1673163" y="2466883"/>
            <a:ext cx="4027712" cy="1015663"/>
          </a:xfrm>
          <a:prstGeom prst="rect">
            <a:avLst/>
          </a:prstGeom>
          <a:noFill/>
        </p:spPr>
        <p:txBody>
          <a:bodyPr wrap="square">
            <a:spAutoFit/>
          </a:bodyPr>
          <a:lstStyle/>
          <a:p>
            <a:pPr marL="0" indent="0">
              <a:buNone/>
            </a:pPr>
            <a:r>
              <a:rPr lang="en-US" sz="1000" dirty="0"/>
              <a:t>XGS’s proprietary solid-state, closed-loop system enables the production of geothermal energy with zero operating water use, which is significant in water-scarce regions such as New Mexico.</a:t>
            </a:r>
          </a:p>
          <a:p>
            <a:pPr marL="0" indent="0">
              <a:buNone/>
            </a:pPr>
            <a:r>
              <a:rPr lang="en-US" sz="1000" dirty="0"/>
              <a:t>The project’s first 5 MW are projected to be deployed around 2027, with the remaining by 2029.</a:t>
            </a:r>
          </a:p>
        </p:txBody>
      </p:sp>
      <p:cxnSp>
        <p:nvCxnSpPr>
          <p:cNvPr id="17" name="Straight Connector 16">
            <a:extLst>
              <a:ext uri="{FF2B5EF4-FFF2-40B4-BE49-F238E27FC236}">
                <a16:creationId xmlns:a16="http://schemas.microsoft.com/office/drawing/2014/main" id="{973E5109-7638-1416-AD50-9D276264F313}"/>
              </a:ext>
            </a:extLst>
          </p:cNvPr>
          <p:cNvCxnSpPr>
            <a:cxnSpLocks/>
          </p:cNvCxnSpPr>
          <p:nvPr/>
        </p:nvCxnSpPr>
        <p:spPr bwMode="gray">
          <a:xfrm>
            <a:off x="422344" y="4371582"/>
            <a:ext cx="529570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DFAB0D-C2B2-C445-8FA6-EF9D5221128B}"/>
              </a:ext>
            </a:extLst>
          </p:cNvPr>
          <p:cNvCxnSpPr>
            <a:cxnSpLocks/>
          </p:cNvCxnSpPr>
          <p:nvPr/>
        </p:nvCxnSpPr>
        <p:spPr bwMode="gray">
          <a:xfrm>
            <a:off x="439517" y="2221488"/>
            <a:ext cx="527853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8A69BE5E-E419-42CC-5250-5AD65F57EFDD}"/>
              </a:ext>
            </a:extLst>
          </p:cNvPr>
          <p:cNvSpPr/>
          <p:nvPr/>
        </p:nvSpPr>
        <p:spPr bwMode="gray">
          <a:xfrm>
            <a:off x="6260689" y="2238659"/>
            <a:ext cx="5278531" cy="1005840"/>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50" b="1" dirty="0">
                <a:solidFill>
                  <a:schemeClr val="tx1"/>
                </a:solidFill>
              </a:rPr>
              <a:t>Geothermal potential | ~160 MW of potential for next-generation developers</a:t>
            </a:r>
          </a:p>
          <a:p>
            <a:pPr marL="0" indent="0">
              <a:spcBef>
                <a:spcPts val="300"/>
              </a:spcBef>
              <a:buNone/>
            </a:pPr>
            <a:r>
              <a:rPr lang="en-US" sz="1050" dirty="0">
                <a:solidFill>
                  <a:schemeClr val="tx1"/>
                </a:solidFill>
              </a:rPr>
              <a:t>New Mexico has the potential to tap into 160 MW of geothermal energy in the first 4 to 5 km of subsurface.</a:t>
            </a:r>
            <a:endParaRPr lang="en-US" sz="1050" dirty="0"/>
          </a:p>
        </p:txBody>
      </p:sp>
      <p:sp>
        <p:nvSpPr>
          <p:cNvPr id="20" name="Rounded Rectangle 19">
            <a:extLst>
              <a:ext uri="{FF2B5EF4-FFF2-40B4-BE49-F238E27FC236}">
                <a16:creationId xmlns:a16="http://schemas.microsoft.com/office/drawing/2014/main" id="{C10EF122-0B35-96FC-6D19-583E8C12D894}"/>
              </a:ext>
            </a:extLst>
          </p:cNvPr>
          <p:cNvSpPr/>
          <p:nvPr/>
        </p:nvSpPr>
        <p:spPr bwMode="gray">
          <a:xfrm>
            <a:off x="6260689" y="3572846"/>
            <a:ext cx="5278531" cy="1005840"/>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00" b="1" dirty="0">
                <a:solidFill>
                  <a:schemeClr val="tx1"/>
                </a:solidFill>
              </a:rPr>
              <a:t>Skilled workforce | New Mexico has the second-largest U.S. oil and gas industry</a:t>
            </a:r>
          </a:p>
          <a:p>
            <a:pPr marL="0" indent="0">
              <a:spcBef>
                <a:spcPts val="300"/>
              </a:spcBef>
              <a:buNone/>
            </a:pPr>
            <a:r>
              <a:rPr lang="en-US" sz="1000" dirty="0">
                <a:solidFill>
                  <a:schemeClr val="tx1"/>
                </a:solidFill>
              </a:rPr>
              <a:t>The state is equipped with a vast workforce with significant transferrable skills that could help lower costs across all geothermal operations. It currently drills 1,000 wells per year. </a:t>
            </a:r>
            <a:endParaRPr lang="en-US" sz="1000" dirty="0">
              <a:solidFill>
                <a:schemeClr val="tx1"/>
              </a:solidFill>
              <a:cs typeface="Arial"/>
            </a:endParaRPr>
          </a:p>
        </p:txBody>
      </p:sp>
      <p:sp>
        <p:nvSpPr>
          <p:cNvPr id="22" name="Rounded Rectangle 21">
            <a:extLst>
              <a:ext uri="{FF2B5EF4-FFF2-40B4-BE49-F238E27FC236}">
                <a16:creationId xmlns:a16="http://schemas.microsoft.com/office/drawing/2014/main" id="{5F60ACF9-6C10-E377-770A-73152736CF8A}"/>
              </a:ext>
            </a:extLst>
          </p:cNvPr>
          <p:cNvSpPr/>
          <p:nvPr/>
        </p:nvSpPr>
        <p:spPr bwMode="gray">
          <a:xfrm>
            <a:off x="6294120" y="4907032"/>
            <a:ext cx="5245100" cy="1005840"/>
          </a:xfrm>
          <a:prstGeom prst="roundRect">
            <a:avLst>
              <a:gd name="adj" fmla="val 0"/>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300"/>
              </a:spcBef>
              <a:buNone/>
            </a:pPr>
            <a:r>
              <a:rPr lang="en-US" sz="1000" b="1" dirty="0">
                <a:solidFill>
                  <a:schemeClr val="tx1"/>
                </a:solidFill>
              </a:rPr>
              <a:t>Policy support | Financial incentives and 100% clean energy targets</a:t>
            </a:r>
          </a:p>
          <a:p>
            <a:pPr marL="0" indent="0">
              <a:spcBef>
                <a:spcPts val="300"/>
              </a:spcBef>
              <a:buNone/>
            </a:pPr>
            <a:r>
              <a:rPr lang="en-US" sz="1000" dirty="0">
                <a:solidFill>
                  <a:schemeClr val="tx1"/>
                </a:solidFill>
              </a:rPr>
              <a:t>Beyond mentioning geothermal energy in its constitution, New Mexico has a $15 million project development fund, a $0.15 tax credit, and regulations to help govern and grow the industry. The state also has strong renewable portfolio standards, targeting 80% clean energy by 2040 and 100% by 2045.</a:t>
            </a:r>
          </a:p>
        </p:txBody>
      </p:sp>
      <p:pic>
        <p:nvPicPr>
          <p:cNvPr id="2" name="Picture 2">
            <a:extLst>
              <a:ext uri="{FF2B5EF4-FFF2-40B4-BE49-F238E27FC236}">
                <a16:creationId xmlns:a16="http://schemas.microsoft.com/office/drawing/2014/main" id="{7B376305-8D77-C764-B8B2-0760DAB275F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17808" y="4907032"/>
            <a:ext cx="1280773" cy="72043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logo with a black background&#10;&#10;AI-generated content may be incorrect.">
            <a:extLst>
              <a:ext uri="{FF2B5EF4-FFF2-40B4-BE49-F238E27FC236}">
                <a16:creationId xmlns:a16="http://schemas.microsoft.com/office/drawing/2014/main" id="{5FD90DC2-36F0-BD77-7057-C0D116DEA0D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663" y="2882441"/>
            <a:ext cx="1460500" cy="800100"/>
          </a:xfrm>
          <a:prstGeom prst="rect">
            <a:avLst/>
          </a:prstGeom>
        </p:spPr>
      </p:pic>
    </p:spTree>
    <p:extLst>
      <p:ext uri="{BB962C8B-B14F-4D97-AF65-F5344CB8AC3E}">
        <p14:creationId xmlns:p14="http://schemas.microsoft.com/office/powerpoint/2010/main" val="36631471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61E2B3-8A84-E4F4-A394-E73E2B8BAB6F}"/>
              </a:ext>
            </a:extLst>
          </p:cNvPr>
          <p:cNvGraphicFramePr>
            <a:graphicFrameLocks/>
          </p:cNvGraphicFramePr>
          <p:nvPr>
            <p:custDataLst>
              <p:tags r:id="rId1"/>
            </p:custDataLst>
            <p:extLst>
              <p:ext uri="{D42A27DB-BD31-4B8C-83A1-F6EECF244321}">
                <p14:modId xmlns:p14="http://schemas.microsoft.com/office/powerpoint/2010/main" val="39093833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EF7A546-B357-5742-F767-A9BE9C195EB7}"/>
              </a:ext>
            </a:extLst>
          </p:cNvPr>
          <p:cNvSpPr>
            <a:spLocks noGrp="1"/>
          </p:cNvSpPr>
          <p:nvPr>
            <p:ph type="body" sz="quarter" idx="14"/>
          </p:nvPr>
        </p:nvSpPr>
        <p:spPr/>
        <p:txBody>
          <a:bodyPr rIns="182880"/>
          <a:lstStyle/>
          <a:p>
            <a:pPr marL="0" indent="0">
              <a:spcBef>
                <a:spcPts val="600"/>
              </a:spcBef>
              <a:buNone/>
            </a:pPr>
            <a:r>
              <a:rPr lang="en-US" b="1" dirty="0"/>
              <a:t>Observations</a:t>
            </a:r>
          </a:p>
          <a:p>
            <a:pPr>
              <a:spcBef>
                <a:spcPts val="600"/>
              </a:spcBef>
            </a:pPr>
            <a:r>
              <a:rPr lang="en-US" sz="1050" dirty="0" err="1"/>
              <a:t>Fervo’s</a:t>
            </a:r>
            <a:r>
              <a:rPr lang="en-US" sz="1050" dirty="0"/>
              <a:t> advanced data analytics enables faster geothermal deployment, demonstrated by its record-breaking drilling and resource temperatures. </a:t>
            </a:r>
          </a:p>
          <a:p>
            <a:pPr>
              <a:spcBef>
                <a:spcPts val="600"/>
              </a:spcBef>
            </a:pPr>
            <a:endParaRPr lang="en-US" sz="1050" dirty="0"/>
          </a:p>
          <a:p>
            <a:pPr>
              <a:spcBef>
                <a:spcPts val="600"/>
              </a:spcBef>
            </a:pPr>
            <a:r>
              <a:rPr lang="en-US" sz="1050" dirty="0"/>
              <a:t>The company’s success is attributable to its horizontal drilling technology, from the oil and gas industry. It has also attracted oil and gas talent.</a:t>
            </a:r>
          </a:p>
          <a:p>
            <a:pPr>
              <a:spcBef>
                <a:spcPts val="600"/>
              </a:spcBef>
            </a:pPr>
            <a:endParaRPr lang="en-US" sz="1050" dirty="0"/>
          </a:p>
          <a:p>
            <a:pPr>
              <a:spcBef>
                <a:spcPts val="600"/>
              </a:spcBef>
            </a:pPr>
            <a:r>
              <a:rPr lang="en-US" sz="1050" dirty="0" err="1"/>
              <a:t>Fervo</a:t>
            </a:r>
            <a:r>
              <a:rPr lang="en-US" sz="1050" dirty="0"/>
              <a:t> utilizes real-time data and advanced analytics </a:t>
            </a:r>
            <a:br>
              <a:rPr lang="en-US" sz="1050" dirty="0"/>
            </a:br>
            <a:r>
              <a:rPr lang="en-US" sz="1050" dirty="0"/>
              <a:t>to assess subsurface characteristics to identify geothermal resources.</a:t>
            </a:r>
          </a:p>
          <a:p>
            <a:pPr>
              <a:spcBef>
                <a:spcPts val="600"/>
              </a:spcBef>
            </a:pPr>
            <a:endParaRPr lang="en-US" sz="1050" dirty="0"/>
          </a:p>
          <a:p>
            <a:pPr>
              <a:spcBef>
                <a:spcPts val="600"/>
              </a:spcBef>
            </a:pPr>
            <a:r>
              <a:rPr lang="en-US" sz="1050" dirty="0" err="1"/>
              <a:t>Fervo</a:t>
            </a:r>
            <a:r>
              <a:rPr lang="en-US" sz="1050" dirty="0"/>
              <a:t> has attracted significant funding traction. The company has gained community buy-in through economic and labor opportunities.</a:t>
            </a:r>
          </a:p>
          <a:p>
            <a:endParaRPr lang="en-US" dirty="0"/>
          </a:p>
        </p:txBody>
      </p:sp>
      <p:sp>
        <p:nvSpPr>
          <p:cNvPr id="4" name="Title 3">
            <a:extLst>
              <a:ext uri="{FF2B5EF4-FFF2-40B4-BE49-F238E27FC236}">
                <a16:creationId xmlns:a16="http://schemas.microsoft.com/office/drawing/2014/main" id="{8BCC26BA-EB7D-6C39-3255-AA26F445B403}"/>
              </a:ext>
            </a:extLst>
          </p:cNvPr>
          <p:cNvSpPr>
            <a:spLocks noGrp="1"/>
          </p:cNvSpPr>
          <p:nvPr>
            <p:ph type="title"/>
          </p:nvPr>
        </p:nvSpPr>
        <p:spPr/>
        <p:txBody>
          <a:bodyPr vert="horz" rIns="91440"/>
          <a:lstStyle/>
          <a:p>
            <a:r>
              <a:rPr lang="en-AU" dirty="0" err="1"/>
              <a:t>Fervo</a:t>
            </a:r>
            <a:r>
              <a:rPr lang="en-AU" dirty="0"/>
              <a:t> is leading EGS with advanced analytics to improve drilling and development with an emphasis on data </a:t>
            </a:r>
            <a:r>
              <a:rPr lang="en-AU" dirty="0" err="1"/>
              <a:t>center</a:t>
            </a:r>
            <a:r>
              <a:rPr lang="en-AU" dirty="0"/>
              <a:t> demand</a:t>
            </a:r>
            <a:endParaRPr lang="en-US" dirty="0"/>
          </a:p>
        </p:txBody>
      </p:sp>
      <p:sp>
        <p:nvSpPr>
          <p:cNvPr id="5" name="Footer Placeholder 4">
            <a:extLst>
              <a:ext uri="{FF2B5EF4-FFF2-40B4-BE49-F238E27FC236}">
                <a16:creationId xmlns:a16="http://schemas.microsoft.com/office/drawing/2014/main" id="{50700AFD-261E-6600-F57D-981655F01931}"/>
              </a:ext>
            </a:extLst>
          </p:cNvPr>
          <p:cNvSpPr>
            <a:spLocks noGrp="1"/>
          </p:cNvSpPr>
          <p:nvPr>
            <p:ph type="ftr" sz="quarter" idx="3"/>
          </p:nvPr>
        </p:nvSpPr>
        <p:spPr>
          <a:xfrm>
            <a:off x="334962" y="6330032"/>
            <a:ext cx="9147241" cy="216706"/>
          </a:xfrm>
        </p:spPr>
        <p:txBody>
          <a:bodyPr/>
          <a:lstStyle/>
          <a:p>
            <a:pPr marL="0" indent="0">
              <a:spcBef>
                <a:spcPts val="0"/>
              </a:spcBef>
              <a:buNone/>
            </a:pPr>
            <a:r>
              <a:rPr lang="en-US" dirty="0">
                <a:solidFill>
                  <a:srgbClr val="000000"/>
                </a:solidFill>
              </a:rPr>
              <a:t>Sources:</a:t>
            </a:r>
            <a:r>
              <a:rPr lang="en-US" dirty="0"/>
              <a:t> </a:t>
            </a:r>
            <a:r>
              <a:rPr lang="en-US" dirty="0">
                <a:hlinkClick r:id="rId7"/>
              </a:rPr>
              <a:t>Google Taps Fervo</a:t>
            </a:r>
            <a:r>
              <a:rPr lang="en-US" dirty="0"/>
              <a:t> </a:t>
            </a:r>
            <a:r>
              <a:rPr lang="en-US" dirty="0">
                <a:solidFill>
                  <a:schemeClr val="tx1"/>
                </a:solidFill>
              </a:rPr>
              <a:t>(Canary Media, 2021); </a:t>
            </a:r>
            <a:r>
              <a:rPr lang="en-US" dirty="0">
                <a:hlinkClick r:id="rId8"/>
              </a:rPr>
              <a:t>Fervo Energy Announces Technology</a:t>
            </a:r>
            <a:r>
              <a:rPr lang="en-US" dirty="0"/>
              <a:t> </a:t>
            </a:r>
            <a:r>
              <a:rPr lang="en-US" dirty="0">
                <a:solidFill>
                  <a:schemeClr val="tx1"/>
                </a:solidFill>
              </a:rPr>
              <a:t>(</a:t>
            </a:r>
            <a:r>
              <a:rPr lang="en-US" dirty="0" err="1">
                <a:solidFill>
                  <a:schemeClr val="tx1"/>
                </a:solidFill>
              </a:rPr>
              <a:t>Fervo</a:t>
            </a:r>
            <a:r>
              <a:rPr lang="en-US" dirty="0">
                <a:solidFill>
                  <a:schemeClr val="tx1"/>
                </a:solidFill>
              </a:rPr>
              <a:t> Energy, 2023); </a:t>
            </a:r>
            <a:r>
              <a:rPr lang="en-US" dirty="0">
                <a:hlinkClick r:id="rId9"/>
              </a:rPr>
              <a:t>Fervo Energy Breaks Ground</a:t>
            </a:r>
            <a:r>
              <a:rPr lang="en-US" dirty="0"/>
              <a:t> </a:t>
            </a:r>
            <a:r>
              <a:rPr lang="en-US" dirty="0">
                <a:solidFill>
                  <a:schemeClr val="tx1"/>
                </a:solidFill>
                <a:hlinkClick r:id="rId9">
                  <a:extLst>
                    <a:ext uri="{A12FA001-AC4F-418D-AE19-62706E023703}">
                      <ahyp:hlinkClr xmlns:ahyp="http://schemas.microsoft.com/office/drawing/2018/hyperlinkcolor" val="tx"/>
                    </a:ext>
                  </a:extLst>
                </a:hlinkClick>
              </a:rPr>
              <a:t>(</a:t>
            </a:r>
            <a:r>
              <a:rPr lang="en-US" dirty="0" err="1">
                <a:solidFill>
                  <a:schemeClr val="tx1"/>
                </a:solidFill>
              </a:rPr>
              <a:t>Fervo</a:t>
            </a:r>
            <a:r>
              <a:rPr lang="en-US" dirty="0">
                <a:solidFill>
                  <a:schemeClr val="tx1"/>
                </a:solidFill>
              </a:rPr>
              <a:t>, 2023), </a:t>
            </a:r>
            <a:r>
              <a:rPr lang="en-US" dirty="0">
                <a:solidFill>
                  <a:schemeClr val="tx1"/>
                </a:solidFill>
                <a:hlinkClick r:id="rId10"/>
              </a:rPr>
              <a:t>The Enhanced Geothermal Data Center Corridor</a:t>
            </a:r>
            <a:r>
              <a:rPr lang="en-US" dirty="0"/>
              <a:t> </a:t>
            </a:r>
            <a:r>
              <a:rPr lang="en-US" dirty="0">
                <a:solidFill>
                  <a:schemeClr val="tx1"/>
                </a:solidFill>
              </a:rPr>
              <a:t>(</a:t>
            </a:r>
            <a:r>
              <a:rPr lang="en-US" dirty="0" err="1">
                <a:solidFill>
                  <a:schemeClr val="tx1"/>
                </a:solidFill>
              </a:rPr>
              <a:t>Fervo</a:t>
            </a:r>
            <a:r>
              <a:rPr lang="en-US" dirty="0">
                <a:solidFill>
                  <a:schemeClr val="tx1"/>
                </a:solidFill>
              </a:rPr>
              <a:t>, 2025); </a:t>
            </a:r>
            <a:r>
              <a:rPr lang="en-US" dirty="0">
                <a:solidFill>
                  <a:schemeClr val="tx1"/>
                </a:solidFill>
                <a:hlinkClick r:id="rId11"/>
              </a:rPr>
              <a:t>A first of its kind geothermal project</a:t>
            </a:r>
            <a:r>
              <a:rPr lang="en-US" dirty="0"/>
              <a:t> </a:t>
            </a:r>
            <a:r>
              <a:rPr lang="en-US" dirty="0">
                <a:solidFill>
                  <a:schemeClr val="tx1"/>
                </a:solidFill>
              </a:rPr>
              <a:t>(Google, 2023); </a:t>
            </a:r>
            <a:r>
              <a:rPr lang="en-US" dirty="0">
                <a:solidFill>
                  <a:schemeClr val="tx1"/>
                </a:solidFill>
                <a:hlinkClick r:id="rId12"/>
              </a:rPr>
              <a:t>Fervo Energy Drilling results</a:t>
            </a:r>
            <a:r>
              <a:rPr lang="en-US" dirty="0"/>
              <a:t> </a:t>
            </a:r>
            <a:r>
              <a:rPr lang="en-US" dirty="0">
                <a:solidFill>
                  <a:schemeClr val="tx1"/>
                </a:solidFill>
                <a:hlinkClick r:id="rId12">
                  <a:extLst>
                    <a:ext uri="{A12FA001-AC4F-418D-AE19-62706E023703}">
                      <ahyp:hlinkClr xmlns:ahyp="http://schemas.microsoft.com/office/drawing/2018/hyperlinkcolor" val="tx"/>
                    </a:ext>
                  </a:extLst>
                </a:hlinkClick>
              </a:rPr>
              <a:t>(</a:t>
            </a:r>
            <a:r>
              <a:rPr lang="en-US" dirty="0" err="1">
                <a:solidFill>
                  <a:schemeClr val="tx1"/>
                </a:solidFill>
              </a:rPr>
              <a:t>Fervo</a:t>
            </a:r>
            <a:r>
              <a:rPr lang="en-US" dirty="0">
                <a:solidFill>
                  <a:schemeClr val="tx1"/>
                </a:solidFill>
              </a:rPr>
              <a:t>, 2024); </a:t>
            </a:r>
            <a:r>
              <a:rPr lang="en-US" dirty="0">
                <a:solidFill>
                  <a:schemeClr val="tx1"/>
                </a:solidFill>
                <a:hlinkClick r:id="rId13"/>
              </a:rPr>
              <a:t>Fervo Energy Drills</a:t>
            </a:r>
            <a:r>
              <a:rPr lang="en-US" dirty="0"/>
              <a:t> </a:t>
            </a:r>
            <a:r>
              <a:rPr lang="en-US" dirty="0">
                <a:solidFill>
                  <a:schemeClr val="tx1"/>
                </a:solidFill>
                <a:hlinkClick r:id="rId13">
                  <a:extLst>
                    <a:ext uri="{A12FA001-AC4F-418D-AE19-62706E023703}">
                      <ahyp:hlinkClr xmlns:ahyp="http://schemas.microsoft.com/office/drawing/2018/hyperlinkcolor" val="tx"/>
                    </a:ext>
                  </a:extLst>
                </a:hlinkClick>
              </a:rPr>
              <a:t>(</a:t>
            </a:r>
            <a:r>
              <a:rPr lang="en-US" dirty="0" err="1">
                <a:solidFill>
                  <a:schemeClr val="tx1"/>
                </a:solidFill>
              </a:rPr>
              <a:t>Fervo</a:t>
            </a:r>
            <a:r>
              <a:rPr lang="en-US" dirty="0">
                <a:solidFill>
                  <a:schemeClr val="tx1"/>
                </a:solidFill>
              </a:rPr>
              <a:t>, 2025).</a:t>
            </a:r>
          </a:p>
          <a:p>
            <a:pPr marL="0" indent="0">
              <a:spcBef>
                <a:spcPts val="0"/>
              </a:spcBef>
              <a:buNone/>
            </a:pPr>
            <a:r>
              <a:rPr lang="en-US" dirty="0">
                <a:solidFill>
                  <a:srgbClr val="000000"/>
                </a:solidFill>
              </a:rPr>
              <a:t>Credit: Stephanie Chen, Isabel Hoyos, and </a:t>
            </a:r>
            <a:r>
              <a:rPr lang="en-US" dirty="0">
                <a:hlinkClick r:id="rId14"/>
              </a:rPr>
              <a:t>Gernot Wagner.</a:t>
            </a:r>
            <a:r>
              <a:rPr lang="en-US" dirty="0">
                <a:solidFill>
                  <a:srgbClr val="000000"/>
                </a:solidFill>
              </a:rPr>
              <a:t> </a:t>
            </a:r>
            <a:r>
              <a:rPr lang="en-US" dirty="0">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1">
            <a:extLst>
              <a:ext uri="{FF2B5EF4-FFF2-40B4-BE49-F238E27FC236}">
                <a16:creationId xmlns:a16="http://schemas.microsoft.com/office/drawing/2014/main" id="{ED4F4A9C-067C-3847-8075-E8E4EAA5FF0D}"/>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a:t>
            </a:r>
            <a:r>
              <a:rPr lang="en-US" sz="1600" b="1" dirty="0" err="1"/>
              <a:t>Fervo</a:t>
            </a:r>
            <a:r>
              <a:rPr lang="en-US" sz="1600" b="1" dirty="0"/>
              <a:t> Energy</a:t>
            </a:r>
          </a:p>
        </p:txBody>
      </p:sp>
      <p:cxnSp>
        <p:nvCxnSpPr>
          <p:cNvPr id="8" name="Straight Arrow Connector 7">
            <a:extLst>
              <a:ext uri="{FF2B5EF4-FFF2-40B4-BE49-F238E27FC236}">
                <a16:creationId xmlns:a16="http://schemas.microsoft.com/office/drawing/2014/main" id="{7BDA74CE-E434-2EDF-6F5B-788AC5F22EA9}"/>
              </a:ext>
            </a:extLst>
          </p:cNvPr>
          <p:cNvCxnSpPr>
            <a:cxnSpLocks/>
          </p:cNvCxnSpPr>
          <p:nvPr/>
        </p:nvCxnSpPr>
        <p:spPr bwMode="gray">
          <a:xfrm>
            <a:off x="248361" y="3982865"/>
            <a:ext cx="892103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 name="Textplatzhalter 9">
            <a:extLst>
              <a:ext uri="{FF2B5EF4-FFF2-40B4-BE49-F238E27FC236}">
                <a16:creationId xmlns:a16="http://schemas.microsoft.com/office/drawing/2014/main" id="{22FAE9B9-C5B7-50FC-3201-3349C91C8272}"/>
              </a:ext>
            </a:extLst>
          </p:cNvPr>
          <p:cNvSpPr txBox="1">
            <a:spLocks/>
          </p:cNvSpPr>
          <p:nvPr/>
        </p:nvSpPr>
        <p:spPr bwMode="gray">
          <a:xfrm>
            <a:off x="268288" y="4006850"/>
            <a:ext cx="2301875" cy="307975"/>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May 2021</a:t>
            </a:r>
          </a:p>
          <a:p>
            <a:pPr>
              <a:spcBef>
                <a:spcPts val="0"/>
              </a:spcBef>
              <a:buClr>
                <a:srgbClr val="000000"/>
              </a:buClr>
            </a:pPr>
            <a:r>
              <a:rPr lang="en-US" sz="1000" b="1" dirty="0">
                <a:solidFill>
                  <a:schemeClr val="accent1"/>
                </a:solidFill>
              </a:rPr>
              <a:t>Fervo-Google Agreement</a:t>
            </a:r>
          </a:p>
        </p:txBody>
      </p:sp>
      <p:sp>
        <p:nvSpPr>
          <p:cNvPr id="10" name="Inhaltsplatzhalter 2">
            <a:extLst>
              <a:ext uri="{FF2B5EF4-FFF2-40B4-BE49-F238E27FC236}">
                <a16:creationId xmlns:a16="http://schemas.microsoft.com/office/drawing/2014/main" id="{73364D3A-8F27-8635-DE60-B9FE68253E21}"/>
              </a:ext>
            </a:extLst>
          </p:cNvPr>
          <p:cNvSpPr txBox="1">
            <a:spLocks/>
          </p:cNvSpPr>
          <p:nvPr/>
        </p:nvSpPr>
        <p:spPr>
          <a:xfrm>
            <a:off x="214314" y="4371975"/>
            <a:ext cx="1941513" cy="1693863"/>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b="1" dirty="0"/>
              <a:t>Fervo signs a landmark deal with Google</a:t>
            </a:r>
            <a:r>
              <a:rPr lang="en-US" sz="1000" dirty="0"/>
              <a:t> to deliver 5 MW of power through a first-of-a-kind geothermal project.</a:t>
            </a:r>
          </a:p>
          <a:p>
            <a:pPr>
              <a:spcBef>
                <a:spcPts val="600"/>
              </a:spcBef>
            </a:pPr>
            <a:r>
              <a:rPr lang="en-US" sz="1000" dirty="0"/>
              <a:t>Project to deliver power for Google’s Cloud region in Nevada.</a:t>
            </a:r>
          </a:p>
          <a:p>
            <a:pPr>
              <a:spcBef>
                <a:spcPts val="600"/>
              </a:spcBef>
            </a:pPr>
            <a:r>
              <a:rPr lang="en-US" sz="1000" dirty="0"/>
              <a:t>In April 2021, Fervo raised a $28M Series B.</a:t>
            </a:r>
          </a:p>
        </p:txBody>
      </p:sp>
      <p:sp>
        <p:nvSpPr>
          <p:cNvPr id="11" name="Textplatzhalter 9">
            <a:extLst>
              <a:ext uri="{FF2B5EF4-FFF2-40B4-BE49-F238E27FC236}">
                <a16:creationId xmlns:a16="http://schemas.microsoft.com/office/drawing/2014/main" id="{44A2B4FB-34F4-F5E1-CC5A-88A59055AAE3}"/>
              </a:ext>
            </a:extLst>
          </p:cNvPr>
          <p:cNvSpPr txBox="1">
            <a:spLocks/>
          </p:cNvSpPr>
          <p:nvPr/>
        </p:nvSpPr>
        <p:spPr bwMode="gray">
          <a:xfrm>
            <a:off x="1516465" y="1782136"/>
            <a:ext cx="2301631" cy="307777"/>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July 2023</a:t>
            </a:r>
          </a:p>
          <a:p>
            <a:pPr>
              <a:spcBef>
                <a:spcPts val="0"/>
              </a:spcBef>
              <a:buClr>
                <a:srgbClr val="000000"/>
              </a:buClr>
            </a:pPr>
            <a:r>
              <a:rPr lang="en-US" sz="1000" b="1" dirty="0">
                <a:solidFill>
                  <a:schemeClr val="accent1"/>
                </a:solidFill>
              </a:rPr>
              <a:t>Project Red Successful Well Tests</a:t>
            </a:r>
          </a:p>
        </p:txBody>
      </p:sp>
      <p:sp>
        <p:nvSpPr>
          <p:cNvPr id="12" name="Inhaltsplatzhalter 2">
            <a:extLst>
              <a:ext uri="{FF2B5EF4-FFF2-40B4-BE49-F238E27FC236}">
                <a16:creationId xmlns:a16="http://schemas.microsoft.com/office/drawing/2014/main" id="{4AEACD32-0EBA-B296-2F29-27ACAC11DF8C}"/>
              </a:ext>
            </a:extLst>
          </p:cNvPr>
          <p:cNvSpPr txBox="1">
            <a:spLocks/>
          </p:cNvSpPr>
          <p:nvPr/>
        </p:nvSpPr>
        <p:spPr>
          <a:xfrm>
            <a:off x="2328863" y="5372100"/>
            <a:ext cx="2243138" cy="847725"/>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t>Cape Station targets 400 MW of power starting in 2026 and is fully operational by 2028.</a:t>
            </a:r>
          </a:p>
          <a:p>
            <a:pPr>
              <a:spcBef>
                <a:spcPts val="600"/>
              </a:spcBef>
            </a:pPr>
            <a:r>
              <a:rPr lang="en-US" sz="1000" dirty="0"/>
              <a:t>Expected to create 6,600 jobs and generate $437M in wages.</a:t>
            </a:r>
          </a:p>
        </p:txBody>
      </p:sp>
      <p:sp>
        <p:nvSpPr>
          <p:cNvPr id="13" name="Textplatzhalter 9">
            <a:extLst>
              <a:ext uri="{FF2B5EF4-FFF2-40B4-BE49-F238E27FC236}">
                <a16:creationId xmlns:a16="http://schemas.microsoft.com/office/drawing/2014/main" id="{AE4D2362-EA2B-218D-4ACA-AAA796ED6C99}"/>
              </a:ext>
            </a:extLst>
          </p:cNvPr>
          <p:cNvSpPr txBox="1">
            <a:spLocks/>
          </p:cNvSpPr>
          <p:nvPr/>
        </p:nvSpPr>
        <p:spPr bwMode="gray">
          <a:xfrm>
            <a:off x="3844551" y="1823701"/>
            <a:ext cx="2301631" cy="307777"/>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November 2023</a:t>
            </a:r>
          </a:p>
          <a:p>
            <a:pPr>
              <a:spcBef>
                <a:spcPts val="0"/>
              </a:spcBef>
              <a:buClr>
                <a:srgbClr val="000000"/>
              </a:buClr>
            </a:pPr>
            <a:r>
              <a:rPr lang="en-US" sz="1000" b="1" dirty="0">
                <a:solidFill>
                  <a:schemeClr val="accent1"/>
                </a:solidFill>
              </a:rPr>
              <a:t>Project Red Operational</a:t>
            </a:r>
          </a:p>
        </p:txBody>
      </p:sp>
      <p:sp>
        <p:nvSpPr>
          <p:cNvPr id="14" name="Inhaltsplatzhalter 2">
            <a:extLst>
              <a:ext uri="{FF2B5EF4-FFF2-40B4-BE49-F238E27FC236}">
                <a16:creationId xmlns:a16="http://schemas.microsoft.com/office/drawing/2014/main" id="{67AC33CB-DB33-359D-FEFD-BD57E1B8DBE9}"/>
              </a:ext>
            </a:extLst>
          </p:cNvPr>
          <p:cNvSpPr txBox="1">
            <a:spLocks/>
          </p:cNvSpPr>
          <p:nvPr/>
        </p:nvSpPr>
        <p:spPr>
          <a:xfrm>
            <a:off x="3770889" y="3346938"/>
            <a:ext cx="2301626" cy="615553"/>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b="1" dirty="0"/>
              <a:t>Project Red begins delivering geothermal power to Google’s data centers </a:t>
            </a:r>
            <a:r>
              <a:rPr lang="en-US" sz="1000" dirty="0"/>
              <a:t>just two years after their agreement.</a:t>
            </a:r>
          </a:p>
        </p:txBody>
      </p:sp>
      <p:sp>
        <p:nvSpPr>
          <p:cNvPr id="15" name="Textplatzhalter 9">
            <a:extLst>
              <a:ext uri="{FF2B5EF4-FFF2-40B4-BE49-F238E27FC236}">
                <a16:creationId xmlns:a16="http://schemas.microsoft.com/office/drawing/2014/main" id="{5B573BC3-D386-9CF3-D0EB-323A6F69CF78}"/>
              </a:ext>
            </a:extLst>
          </p:cNvPr>
          <p:cNvSpPr txBox="1">
            <a:spLocks/>
          </p:cNvSpPr>
          <p:nvPr/>
        </p:nvSpPr>
        <p:spPr bwMode="gray">
          <a:xfrm>
            <a:off x="4714875" y="4024313"/>
            <a:ext cx="2359025" cy="307975"/>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February 2024</a:t>
            </a:r>
          </a:p>
          <a:p>
            <a:pPr>
              <a:spcBef>
                <a:spcPts val="0"/>
              </a:spcBef>
              <a:buClr>
                <a:srgbClr val="000000"/>
              </a:buClr>
            </a:pPr>
            <a:r>
              <a:rPr lang="en-US" sz="1000" b="1" dirty="0">
                <a:solidFill>
                  <a:schemeClr val="accent1"/>
                </a:solidFill>
              </a:rPr>
              <a:t>Cape Station Drilling Improvements</a:t>
            </a:r>
          </a:p>
        </p:txBody>
      </p:sp>
      <p:sp>
        <p:nvSpPr>
          <p:cNvPr id="16" name="Inhaltsplatzhalter 2">
            <a:extLst>
              <a:ext uri="{FF2B5EF4-FFF2-40B4-BE49-F238E27FC236}">
                <a16:creationId xmlns:a16="http://schemas.microsoft.com/office/drawing/2014/main" id="{FEEAC2D9-D94C-688B-76AE-FE1C6118343D}"/>
              </a:ext>
            </a:extLst>
          </p:cNvPr>
          <p:cNvSpPr txBox="1">
            <a:spLocks/>
          </p:cNvSpPr>
          <p:nvPr/>
        </p:nvSpPr>
        <p:spPr>
          <a:xfrm>
            <a:off x="4748214" y="4406900"/>
            <a:ext cx="2308225" cy="1564531"/>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Cape Station successfully drills 2100 ft. deeper than Project Red.</a:t>
            </a:r>
          </a:p>
          <a:p>
            <a:r>
              <a:rPr lang="en-US" sz="1000" dirty="0"/>
              <a:t>Fervo demonstrates a </a:t>
            </a:r>
            <a:r>
              <a:rPr lang="en-US" sz="1000" b="1" dirty="0"/>
              <a:t>70% reduction in drilling time</a:t>
            </a:r>
            <a:r>
              <a:rPr lang="en-US" sz="1000" dirty="0"/>
              <a:t>.</a:t>
            </a:r>
          </a:p>
          <a:p>
            <a:r>
              <a:rPr lang="en-US" sz="1000" b="1" dirty="0"/>
              <a:t>Drilling costs decline significantly, </a:t>
            </a:r>
            <a:r>
              <a:rPr lang="en-US" sz="1000" dirty="0"/>
              <a:t>from $9.4M to $4.8M per well.</a:t>
            </a:r>
          </a:p>
          <a:p>
            <a:pPr>
              <a:spcBef>
                <a:spcPts val="600"/>
              </a:spcBef>
            </a:pPr>
            <a:endParaRPr lang="en-US" sz="1000" b="1" dirty="0"/>
          </a:p>
        </p:txBody>
      </p:sp>
      <p:sp>
        <p:nvSpPr>
          <p:cNvPr id="17" name="Textplatzhalter 9">
            <a:extLst>
              <a:ext uri="{FF2B5EF4-FFF2-40B4-BE49-F238E27FC236}">
                <a16:creationId xmlns:a16="http://schemas.microsoft.com/office/drawing/2014/main" id="{63D896A7-F204-9D76-C773-30F9B8E94C10}"/>
              </a:ext>
            </a:extLst>
          </p:cNvPr>
          <p:cNvSpPr txBox="1">
            <a:spLocks/>
          </p:cNvSpPr>
          <p:nvPr/>
        </p:nvSpPr>
        <p:spPr bwMode="gray">
          <a:xfrm>
            <a:off x="6019616" y="1782136"/>
            <a:ext cx="3047111" cy="307777"/>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June 2025</a:t>
            </a:r>
          </a:p>
          <a:p>
            <a:pPr>
              <a:spcBef>
                <a:spcPts val="0"/>
              </a:spcBef>
              <a:buClr>
                <a:srgbClr val="000000"/>
              </a:buClr>
            </a:pPr>
            <a:r>
              <a:rPr lang="en-US" sz="1000" b="1" dirty="0">
                <a:solidFill>
                  <a:schemeClr val="accent1"/>
                </a:solidFill>
              </a:rPr>
              <a:t>Sugarloaf Well Drilling at Cape Station</a:t>
            </a:r>
          </a:p>
        </p:txBody>
      </p:sp>
      <p:sp>
        <p:nvSpPr>
          <p:cNvPr id="18" name="Inhaltsplatzhalter 2">
            <a:extLst>
              <a:ext uri="{FF2B5EF4-FFF2-40B4-BE49-F238E27FC236}">
                <a16:creationId xmlns:a16="http://schemas.microsoft.com/office/drawing/2014/main" id="{014FE5C7-D4CB-F5A5-EACF-0F5D4AFA2EAE}"/>
              </a:ext>
            </a:extLst>
          </p:cNvPr>
          <p:cNvSpPr txBox="1">
            <a:spLocks/>
          </p:cNvSpPr>
          <p:nvPr/>
        </p:nvSpPr>
        <p:spPr>
          <a:xfrm>
            <a:off x="6058753" y="2240190"/>
            <a:ext cx="2295598" cy="1487587"/>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000" dirty="0"/>
              <a:t>Fervo drills to 15,765 feet and 520</a:t>
            </a:r>
            <a:r>
              <a:rPr lang="en-US" sz="1000" dirty="0">
                <a:latin typeface="Times New Roman" panose="02020603050405020304" pitchFamily="18" charset="0"/>
                <a:cs typeface="Times New Roman" panose="02020603050405020304" pitchFamily="18" charset="0"/>
              </a:rPr>
              <a:t>℉</a:t>
            </a:r>
            <a:r>
              <a:rPr lang="en-US" sz="1000" dirty="0"/>
              <a:t>. </a:t>
            </a:r>
          </a:p>
          <a:p>
            <a:pPr lvl="0"/>
            <a:r>
              <a:rPr lang="en-US" sz="1000" dirty="0"/>
              <a:t>Completes in 16 days of drilling, for a </a:t>
            </a:r>
            <a:r>
              <a:rPr lang="en-US" sz="1000" b="1" dirty="0"/>
              <a:t>79% reduction in drilling compared to DOE baseline</a:t>
            </a:r>
            <a:r>
              <a:rPr lang="en-US" sz="1000" dirty="0"/>
              <a:t>.</a:t>
            </a:r>
          </a:p>
          <a:p>
            <a:pPr lvl="0"/>
            <a:r>
              <a:rPr lang="en-US" sz="1000" dirty="0"/>
              <a:t>An independent report identifies up to 5 GW of development in the Cape Station area.</a:t>
            </a:r>
          </a:p>
        </p:txBody>
      </p:sp>
      <p:cxnSp>
        <p:nvCxnSpPr>
          <p:cNvPr id="19" name="Gerade Verbindung 12">
            <a:extLst>
              <a:ext uri="{FF2B5EF4-FFF2-40B4-BE49-F238E27FC236}">
                <a16:creationId xmlns:a16="http://schemas.microsoft.com/office/drawing/2014/main" id="{10A7EAB8-FF86-A968-9C22-8D11013E8183}"/>
              </a:ext>
            </a:extLst>
          </p:cNvPr>
          <p:cNvCxnSpPr>
            <a:cxnSpLocks/>
          </p:cNvCxnSpPr>
          <p:nvPr/>
        </p:nvCxnSpPr>
        <p:spPr>
          <a:xfrm>
            <a:off x="1647478" y="2089913"/>
            <a:ext cx="0" cy="187466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Inhaltsplatzhalter 2">
            <a:extLst>
              <a:ext uri="{FF2B5EF4-FFF2-40B4-BE49-F238E27FC236}">
                <a16:creationId xmlns:a16="http://schemas.microsoft.com/office/drawing/2014/main" id="{B3B6D707-24E2-853D-BEB1-68BA1B7149A9}"/>
              </a:ext>
            </a:extLst>
          </p:cNvPr>
          <p:cNvSpPr txBox="1">
            <a:spLocks/>
          </p:cNvSpPr>
          <p:nvPr/>
        </p:nvSpPr>
        <p:spPr>
          <a:xfrm>
            <a:off x="1669632" y="2157060"/>
            <a:ext cx="2087538" cy="1641475"/>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Fervo completes well tests at its first-of-a-kind commercial pilot in Nevada.</a:t>
            </a:r>
          </a:p>
          <a:p>
            <a:r>
              <a:rPr lang="en-US" sz="1000" b="1" dirty="0"/>
              <a:t>Fervo becomes the first company to drill a horizontal well </a:t>
            </a:r>
            <a:r>
              <a:rPr lang="en-US" sz="1000" dirty="0"/>
              <a:t>for commercial geothermal.</a:t>
            </a:r>
          </a:p>
          <a:p>
            <a:r>
              <a:rPr lang="en-US" sz="1000" dirty="0"/>
              <a:t>It achieves lateral length of 3,250 feet and 191</a:t>
            </a:r>
            <a:r>
              <a:rPr lang="en-US" sz="1000" dirty="0">
                <a:latin typeface="Times New Roman" panose="02020603050405020304" pitchFamily="18" charset="0"/>
                <a:cs typeface="Times New Roman" panose="02020603050405020304" pitchFamily="18" charset="0"/>
              </a:rPr>
              <a:t>℃.</a:t>
            </a:r>
            <a:endParaRPr lang="en-US" sz="1000" b="1" dirty="0"/>
          </a:p>
        </p:txBody>
      </p:sp>
      <p:sp>
        <p:nvSpPr>
          <p:cNvPr id="21" name="Textplatzhalter 9">
            <a:extLst>
              <a:ext uri="{FF2B5EF4-FFF2-40B4-BE49-F238E27FC236}">
                <a16:creationId xmlns:a16="http://schemas.microsoft.com/office/drawing/2014/main" id="{F9CB59FB-8A3F-4D86-51B0-62F74C73519A}"/>
              </a:ext>
            </a:extLst>
          </p:cNvPr>
          <p:cNvSpPr txBox="1">
            <a:spLocks/>
          </p:cNvSpPr>
          <p:nvPr/>
        </p:nvSpPr>
        <p:spPr bwMode="gray">
          <a:xfrm>
            <a:off x="2347913" y="4017963"/>
            <a:ext cx="2359025" cy="306388"/>
          </a:xfrm>
          <a:prstGeom prst="rect">
            <a:avLst/>
          </a:prstGeom>
          <a:noFill/>
          <a:ln w="6350">
            <a:noFill/>
          </a:ln>
        </p:spPr>
        <p:txBody>
          <a:bodyPr vert="horz" wrap="square" lIns="180000" tIns="0" rIns="0" bIns="0" rtlCol="0">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000000"/>
              </a:buClr>
            </a:pPr>
            <a:r>
              <a:rPr lang="en-US" sz="1000" b="1" dirty="0"/>
              <a:t>September 2023</a:t>
            </a:r>
          </a:p>
          <a:p>
            <a:pPr>
              <a:spcBef>
                <a:spcPts val="0"/>
              </a:spcBef>
              <a:buClr>
                <a:srgbClr val="000000"/>
              </a:buClr>
            </a:pPr>
            <a:r>
              <a:rPr lang="en-US" sz="1000" b="1" dirty="0">
                <a:solidFill>
                  <a:schemeClr val="accent1"/>
                </a:solidFill>
              </a:rPr>
              <a:t>Cape Station Breaks Ground</a:t>
            </a:r>
          </a:p>
        </p:txBody>
      </p:sp>
      <p:sp>
        <p:nvSpPr>
          <p:cNvPr id="22" name="Inhaltsplatzhalter 2">
            <a:extLst>
              <a:ext uri="{FF2B5EF4-FFF2-40B4-BE49-F238E27FC236}">
                <a16:creationId xmlns:a16="http://schemas.microsoft.com/office/drawing/2014/main" id="{3E6A1080-7A37-C303-F464-69ABC113B3BA}"/>
              </a:ext>
            </a:extLst>
          </p:cNvPr>
          <p:cNvSpPr txBox="1">
            <a:spLocks/>
          </p:cNvSpPr>
          <p:nvPr/>
        </p:nvSpPr>
        <p:spPr>
          <a:xfrm>
            <a:off x="7059614" y="5419725"/>
            <a:ext cx="2231518" cy="897682"/>
          </a:xfrm>
          <a:prstGeom prst="rect">
            <a:avLst/>
          </a:prstGeom>
        </p:spPr>
        <p:txBody>
          <a:bodyPr wrap="square" lIns="18000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t>Cape Station will deliver 100 MW by 2026 and 400 MW by 2028.</a:t>
            </a:r>
          </a:p>
          <a:p>
            <a:r>
              <a:rPr lang="en-US" sz="1000" dirty="0"/>
              <a:t>Fervo targets first data center cluster in Utah.</a:t>
            </a:r>
          </a:p>
        </p:txBody>
      </p:sp>
      <p:cxnSp>
        <p:nvCxnSpPr>
          <p:cNvPr id="23" name="Gerade Verbindung 12">
            <a:extLst>
              <a:ext uri="{FF2B5EF4-FFF2-40B4-BE49-F238E27FC236}">
                <a16:creationId xmlns:a16="http://schemas.microsoft.com/office/drawing/2014/main" id="{72DC3136-B09B-B6D6-C8E3-48A2711F203B}"/>
              </a:ext>
            </a:extLst>
          </p:cNvPr>
          <p:cNvCxnSpPr>
            <a:cxnSpLocks/>
          </p:cNvCxnSpPr>
          <p:nvPr/>
        </p:nvCxnSpPr>
        <p:spPr>
          <a:xfrm>
            <a:off x="247650" y="4010025"/>
            <a:ext cx="0" cy="128111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1C4EC022-7FC8-7EB8-A16E-CA1506842862}"/>
              </a:ext>
            </a:extLst>
          </p:cNvPr>
          <p:cNvCxnSpPr>
            <a:cxnSpLocks/>
          </p:cNvCxnSpPr>
          <p:nvPr/>
        </p:nvCxnSpPr>
        <p:spPr>
          <a:xfrm>
            <a:off x="2328863" y="4010025"/>
            <a:ext cx="0" cy="128111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 Verbindung 12">
            <a:extLst>
              <a:ext uri="{FF2B5EF4-FFF2-40B4-BE49-F238E27FC236}">
                <a16:creationId xmlns:a16="http://schemas.microsoft.com/office/drawing/2014/main" id="{9CCF0642-BF50-E76D-7838-848878F412AE}"/>
              </a:ext>
            </a:extLst>
          </p:cNvPr>
          <p:cNvCxnSpPr>
            <a:cxnSpLocks/>
          </p:cNvCxnSpPr>
          <p:nvPr/>
        </p:nvCxnSpPr>
        <p:spPr>
          <a:xfrm>
            <a:off x="4730750" y="4090988"/>
            <a:ext cx="0" cy="128111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Gerade Verbindung 12">
            <a:extLst>
              <a:ext uri="{FF2B5EF4-FFF2-40B4-BE49-F238E27FC236}">
                <a16:creationId xmlns:a16="http://schemas.microsoft.com/office/drawing/2014/main" id="{AA3C7EFF-71F0-5002-466A-8260168D5074}"/>
              </a:ext>
            </a:extLst>
          </p:cNvPr>
          <p:cNvCxnSpPr>
            <a:cxnSpLocks/>
          </p:cNvCxnSpPr>
          <p:nvPr/>
        </p:nvCxnSpPr>
        <p:spPr>
          <a:xfrm>
            <a:off x="7216775" y="4164013"/>
            <a:ext cx="0" cy="128111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939FF6B6-7D71-9C28-F0B4-E6E85E898D40}"/>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013402" y="2227206"/>
            <a:ext cx="1599770" cy="1067555"/>
          </a:xfrm>
          <a:prstGeom prst="rect">
            <a:avLst/>
          </a:prstGeom>
        </p:spPr>
      </p:pic>
      <p:pic>
        <p:nvPicPr>
          <p:cNvPr id="28" name="Picture 27">
            <a:extLst>
              <a:ext uri="{FF2B5EF4-FFF2-40B4-BE49-F238E27FC236}">
                <a16:creationId xmlns:a16="http://schemas.microsoft.com/office/drawing/2014/main" id="{7FCEA8DE-B785-46D4-723F-AF6B3D48FC3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544763" y="4383088"/>
            <a:ext cx="1673578" cy="941388"/>
          </a:xfrm>
          <a:prstGeom prst="rect">
            <a:avLst/>
          </a:prstGeom>
        </p:spPr>
      </p:pic>
      <p:cxnSp>
        <p:nvCxnSpPr>
          <p:cNvPr id="29" name="Gerade Verbindung 12">
            <a:extLst>
              <a:ext uri="{FF2B5EF4-FFF2-40B4-BE49-F238E27FC236}">
                <a16:creationId xmlns:a16="http://schemas.microsoft.com/office/drawing/2014/main" id="{8C02DBB9-304B-198A-11FA-590589A8FED1}"/>
              </a:ext>
            </a:extLst>
          </p:cNvPr>
          <p:cNvCxnSpPr>
            <a:cxnSpLocks/>
          </p:cNvCxnSpPr>
          <p:nvPr/>
        </p:nvCxnSpPr>
        <p:spPr>
          <a:xfrm>
            <a:off x="3814612" y="2046033"/>
            <a:ext cx="0" cy="187466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Gerade Verbindung 12">
            <a:extLst>
              <a:ext uri="{FF2B5EF4-FFF2-40B4-BE49-F238E27FC236}">
                <a16:creationId xmlns:a16="http://schemas.microsoft.com/office/drawing/2014/main" id="{8DF5E60C-3E5A-2E8C-88C8-F2EC9DAE9496}"/>
              </a:ext>
            </a:extLst>
          </p:cNvPr>
          <p:cNvCxnSpPr>
            <a:cxnSpLocks/>
          </p:cNvCxnSpPr>
          <p:nvPr/>
        </p:nvCxnSpPr>
        <p:spPr>
          <a:xfrm>
            <a:off x="6120864" y="2046033"/>
            <a:ext cx="0" cy="187466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1" name="Pic">
            <a:extLst>
              <a:ext uri="{FF2B5EF4-FFF2-40B4-BE49-F238E27FC236}">
                <a16:creationId xmlns:a16="http://schemas.microsoft.com/office/drawing/2014/main" id="{3A70C0AF-BE8D-C725-A7DE-C02DA1E21A1E}"/>
              </a:ext>
            </a:extLst>
          </p:cNvPr>
          <p:cNvPicPr>
            <a:picLocks/>
          </p:cNvPicPr>
          <p:nvPr>
            <p:custDataLst>
              <p:tags r:id="rId2"/>
            </p:custDataLst>
          </p:nvPr>
        </p:nvPicPr>
        <p:blipFill>
          <a:blip r:embed="rId18" cstate="screen">
            <a:extLst>
              <a:ext uri="{28A0092B-C50C-407E-A947-70E740481C1C}">
                <a14:useLocalDpi xmlns:a14="http://schemas.microsoft.com/office/drawing/2010/main"/>
              </a:ext>
              <a:ext uri="{6F801314-5768-4EAC-8CED-0F2297F94238}"/>
            </a:extLst>
          </a:blip>
          <a:srcRect/>
          <a:stretch>
            <a:fillRect/>
          </a:stretch>
        </p:blipFill>
        <p:spPr bwMode="auto">
          <a:xfrm>
            <a:off x="7442200" y="4360863"/>
            <a:ext cx="1527175" cy="887413"/>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32" name="Picture 31">
            <a:extLst>
              <a:ext uri="{FF2B5EF4-FFF2-40B4-BE49-F238E27FC236}">
                <a16:creationId xmlns:a16="http://schemas.microsoft.com/office/drawing/2014/main" id="{73CA98B8-1ABD-CBB4-D5F5-E29BD120CA6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20997" y="1797730"/>
            <a:ext cx="1469945" cy="317722"/>
          </a:xfrm>
          <a:prstGeom prst="rect">
            <a:avLst/>
          </a:prstGeom>
          <a:solidFill>
            <a:srgbClr val="1A214F"/>
          </a:solidFill>
        </p:spPr>
      </p:pic>
    </p:spTree>
    <p:extLst>
      <p:ext uri="{BB962C8B-B14F-4D97-AF65-F5344CB8AC3E}">
        <p14:creationId xmlns:p14="http://schemas.microsoft.com/office/powerpoint/2010/main" val="55808594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C579EF-6E44-D12C-60AA-2AE4681D8FAB}"/>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0" name="think-cell data - do not delete" hidden="1">
                        <a:extLst>
                          <a:ext uri="{FF2B5EF4-FFF2-40B4-BE49-F238E27FC236}">
                            <a16:creationId xmlns:a16="http://schemas.microsoft.com/office/drawing/2014/main" id="{A0C579EF-6E44-D12C-60AA-2AE4681D8FA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686F56F-A663-6B59-1126-F9C89F438922}"/>
              </a:ext>
            </a:extLst>
          </p:cNvPr>
          <p:cNvSpPr>
            <a:spLocks noGrp="1"/>
          </p:cNvSpPr>
          <p:nvPr>
            <p:ph type="title"/>
          </p:nvPr>
        </p:nvSpPr>
        <p:spPr/>
        <p:txBody>
          <a:bodyPr vert="horz" rIns="91440"/>
          <a:lstStyle/>
          <a:p>
            <a:r>
              <a:rPr lang="en-US" sz="2500" dirty="0"/>
              <a:t>For industrial applications, geothermal energy is viable for temperature applications &lt;200ºC; New Zealand has harnessed this potential since 1957</a:t>
            </a:r>
          </a:p>
        </p:txBody>
      </p:sp>
      <p:sp>
        <p:nvSpPr>
          <p:cNvPr id="6" name="Footer Placeholder 5">
            <a:extLst>
              <a:ext uri="{FF2B5EF4-FFF2-40B4-BE49-F238E27FC236}">
                <a16:creationId xmlns:a16="http://schemas.microsoft.com/office/drawing/2014/main" id="{B42F59F6-7965-AB18-882A-6EC41DF1FF0A}"/>
              </a:ext>
            </a:extLst>
          </p:cNvPr>
          <p:cNvSpPr>
            <a:spLocks noGrp="1"/>
          </p:cNvSpPr>
          <p:nvPr>
            <p:ph type="ftr" sz="quarter" idx="3"/>
          </p:nvPr>
        </p:nvSpPr>
        <p:spPr>
          <a:xfrm>
            <a:off x="334962" y="6230132"/>
            <a:ext cx="9147241" cy="216706"/>
          </a:xfrm>
        </p:spPr>
        <p:txBody>
          <a:bodyPr/>
          <a:lstStyle/>
          <a:p>
            <a:pPr marL="0" indent="0">
              <a:spcBef>
                <a:spcPts val="0"/>
              </a:spcBef>
              <a:buNone/>
            </a:pPr>
            <a:r>
              <a:rPr lang="en-US" dirty="0">
                <a:solidFill>
                  <a:srgbClr val="000000"/>
                </a:solidFill>
              </a:rPr>
              <a:t>Sources: </a:t>
            </a:r>
            <a:r>
              <a:rPr lang="en-US" dirty="0">
                <a:solidFill>
                  <a:srgbClr val="000000"/>
                </a:solidFill>
                <a:hlinkClick r:id="rId8"/>
              </a:rPr>
              <a:t>The Future of Geothermal Energy</a:t>
            </a:r>
            <a:r>
              <a:rPr lang="en-US" dirty="0"/>
              <a:t> </a:t>
            </a:r>
            <a:r>
              <a:rPr lang="en-US" dirty="0">
                <a:solidFill>
                  <a:srgbClr val="000000"/>
                </a:solidFill>
              </a:rPr>
              <a:t>(IEA, 2024); </a:t>
            </a:r>
            <a:r>
              <a:rPr lang="en-US" dirty="0">
                <a:solidFill>
                  <a:srgbClr val="000000"/>
                </a:solidFill>
                <a:hlinkClick r:id="rId9"/>
              </a:rPr>
              <a:t>Global Geothermal Market and Technology Assessment</a:t>
            </a:r>
            <a:r>
              <a:rPr lang="en-US" dirty="0"/>
              <a:t> </a:t>
            </a:r>
            <a:r>
              <a:rPr lang="en-US" dirty="0">
                <a:solidFill>
                  <a:srgbClr val="000000"/>
                </a:solidFill>
              </a:rPr>
              <a:t>(IRENA, 2023); </a:t>
            </a:r>
            <a:r>
              <a:rPr lang="en-US" dirty="0">
                <a:solidFill>
                  <a:srgbClr val="000000"/>
                </a:solidFill>
                <a:hlinkClick r:id="rId10"/>
              </a:rPr>
              <a:t>Kawerau Geothermal Field</a:t>
            </a:r>
            <a:r>
              <a:rPr lang="en-US" dirty="0">
                <a:solidFill>
                  <a:srgbClr val="000000"/>
                </a:solidFill>
              </a:rPr>
              <a:t> (New Zealand Geothermal Association, n.d.); </a:t>
            </a:r>
            <a:r>
              <a:rPr lang="en-US" dirty="0">
                <a:solidFill>
                  <a:srgbClr val="000000"/>
                </a:solidFill>
                <a:hlinkClick r:id="rId11"/>
              </a:rPr>
              <a:t>Geothermal Operations</a:t>
            </a:r>
            <a:r>
              <a:rPr lang="en-US" dirty="0">
                <a:solidFill>
                  <a:srgbClr val="000000"/>
                </a:solidFill>
              </a:rPr>
              <a:t>.(Tūwharetoa Geothermal, n.d.).</a:t>
            </a:r>
          </a:p>
          <a:p>
            <a:pPr marL="0" indent="0">
              <a:spcBef>
                <a:spcPts val="0"/>
              </a:spcBef>
              <a:buNone/>
            </a:pPr>
            <a:r>
              <a:rPr lang="en-US" dirty="0">
                <a:solidFill>
                  <a:srgbClr val="000000"/>
                </a:solidFill>
              </a:rPr>
              <a:t>Credit: Una </a:t>
            </a:r>
            <a:r>
              <a:rPr lang="en-US" dirty="0" err="1">
                <a:solidFill>
                  <a:srgbClr val="000000"/>
                </a:solidFill>
              </a:rPr>
              <a:t>Oljaca</a:t>
            </a:r>
            <a:r>
              <a:rPr lang="en-US" dirty="0">
                <a:solidFill>
                  <a:srgbClr val="000000"/>
                </a:solidFill>
              </a:rPr>
              <a:t>, Isabel Hoyos, and </a:t>
            </a:r>
            <a:r>
              <a:rPr lang="en-US" dirty="0">
                <a:hlinkClick r:id="rId12"/>
              </a:rPr>
              <a:t>Gernot Wagner.</a:t>
            </a:r>
            <a:r>
              <a:rPr lang="en-US" dirty="0">
                <a:solidFill>
                  <a:srgbClr val="000000"/>
                </a:solidFill>
              </a:rPr>
              <a:t> </a:t>
            </a:r>
            <a:r>
              <a:rPr lang="en-US" dirty="0">
                <a:hlinkClick r:id="rId1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79CD1340-93AF-7C96-8081-608876EDD840}"/>
              </a:ext>
            </a:extLst>
          </p:cNvPr>
          <p:cNvSpPr>
            <a:spLocks noGrp="1"/>
          </p:cNvSpPr>
          <p:nvPr>
            <p:ph type="body" sz="quarter" idx="13"/>
          </p:nvPr>
        </p:nvSpPr>
        <p:spPr/>
        <p:txBody>
          <a:bodyPr>
            <a:normAutofit lnSpcReduction="10000"/>
          </a:bodyPr>
          <a:lstStyle/>
          <a:p>
            <a:r>
              <a:rPr lang="en-US" dirty="0">
                <a:solidFill>
                  <a:srgbClr val="000000"/>
                </a:solidFill>
              </a:rPr>
              <a:t>Temperature requirements and potential geothermal applications for key industrial processes</a:t>
            </a:r>
          </a:p>
        </p:txBody>
      </p:sp>
      <p:graphicFrame>
        <p:nvGraphicFramePr>
          <p:cNvPr id="11" name="Table 10">
            <a:extLst>
              <a:ext uri="{FF2B5EF4-FFF2-40B4-BE49-F238E27FC236}">
                <a16:creationId xmlns:a16="http://schemas.microsoft.com/office/drawing/2014/main" id="{0AF56C40-1C24-0DCE-3DCB-AD587A947B66}"/>
              </a:ext>
            </a:extLst>
          </p:cNvPr>
          <p:cNvGraphicFramePr>
            <a:graphicFrameLocks noGrp="1"/>
          </p:cNvGraphicFramePr>
          <p:nvPr/>
        </p:nvGraphicFramePr>
        <p:xfrm>
          <a:off x="388257" y="2124197"/>
          <a:ext cx="5160243" cy="3898234"/>
        </p:xfrm>
        <a:graphic>
          <a:graphicData uri="http://schemas.openxmlformats.org/drawingml/2006/table">
            <a:tbl>
              <a:tblPr/>
              <a:tblGrid>
                <a:gridCol w="1269730">
                  <a:extLst>
                    <a:ext uri="{9D8B030D-6E8A-4147-A177-3AD203B41FA5}">
                      <a16:colId xmlns:a16="http://schemas.microsoft.com/office/drawing/2014/main" val="847480815"/>
                    </a:ext>
                  </a:extLst>
                </a:gridCol>
                <a:gridCol w="2131987">
                  <a:extLst>
                    <a:ext uri="{9D8B030D-6E8A-4147-A177-3AD203B41FA5}">
                      <a16:colId xmlns:a16="http://schemas.microsoft.com/office/drawing/2014/main" val="2885810355"/>
                    </a:ext>
                  </a:extLst>
                </a:gridCol>
                <a:gridCol w="1758526">
                  <a:extLst>
                    <a:ext uri="{9D8B030D-6E8A-4147-A177-3AD203B41FA5}">
                      <a16:colId xmlns:a16="http://schemas.microsoft.com/office/drawing/2014/main" val="1865393617"/>
                    </a:ext>
                  </a:extLst>
                </a:gridCol>
              </a:tblGrid>
              <a:tr h="341971">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Temperature (ºC)</a:t>
                      </a:r>
                    </a:p>
                  </a:txBody>
                  <a:tcPr anchor="b">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Industrial application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Geothermal application</a:t>
                      </a:r>
                    </a:p>
                  </a:txBody>
                  <a:tcPr anchor="b">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8151813"/>
                  </a:ext>
                </a:extLst>
              </a:tr>
              <a:tr h="1208168">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lt;100ºC</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r>
                        <a:rPr lang="en-US" sz="1050" dirty="0"/>
                        <a:t>Food &amp; beverage processing</a:t>
                      </a:r>
                    </a:p>
                    <a:p>
                      <a:pPr marL="177800" indent="-177800"/>
                      <a:r>
                        <a:rPr lang="en-US" sz="1050" dirty="0"/>
                        <a:t>Textile processing</a:t>
                      </a:r>
                    </a:p>
                    <a:p>
                      <a:pPr marL="177800" indent="-177800"/>
                      <a:r>
                        <a:rPr lang="en-US" sz="1050" dirty="0"/>
                        <a:t>Paper process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dirty="0"/>
                        <a:t>GHPs are most competitive for satisfying low-temperature industrial heat demand.</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200697">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100-200ºC</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177800" indent="-177800"/>
                      <a:r>
                        <a:rPr lang="en-US" sz="1050" dirty="0"/>
                        <a:t>Paper &amp; chemicals production</a:t>
                      </a:r>
                    </a:p>
                    <a:p>
                      <a:pPr marL="177800" indent="-177800"/>
                      <a:r>
                        <a:rPr lang="en-US" sz="1050" dirty="0"/>
                        <a:t>Auxiliary processes in cement production &amp; food process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r>
                        <a:rPr lang="en-US" sz="1050" b="0" i="0" u="none" strike="noStrike" dirty="0">
                          <a:solidFill>
                            <a:srgbClr val="000000"/>
                          </a:solidFill>
                          <a:effectLst/>
                          <a:latin typeface="Arial" panose="020B0604020202020204" pitchFamily="34" charset="0"/>
                          <a:cs typeface="Arial" panose="020B0604020202020204" pitchFamily="34" charset="0"/>
                        </a:rPr>
                        <a:t>Next-generation geothermal can provide midrange temperatures across a wide geography.</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147398">
                <a:tc>
                  <a:txBody>
                    <a:bodyPr/>
                    <a:lstStyle/>
                    <a:p>
                      <a:pPr marL="0" indent="0" algn="ctr" fontAlgn="b">
                        <a:buNone/>
                      </a:pPr>
                      <a:r>
                        <a:rPr lang="en-US" sz="1050" b="1" i="0" u="none" strike="noStrike" dirty="0">
                          <a:solidFill>
                            <a:srgbClr val="000000"/>
                          </a:solidFill>
                          <a:effectLst/>
                          <a:latin typeface="Arial" panose="020B0604020202020204" pitchFamily="34" charset="0"/>
                          <a:cs typeface="Arial" panose="020B0604020202020204" pitchFamily="34" charset="0"/>
                        </a:rPr>
                        <a:t>200-400ºC</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Petrochemical cracking</a:t>
                      </a:r>
                    </a:p>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Cement &amp; steel </a:t>
                      </a:r>
                      <a:br>
                        <a:rPr lang="en-US" sz="1050" dirty="0">
                          <a:solidFill>
                            <a:schemeClr val="tx1"/>
                          </a:solidFill>
                        </a:rPr>
                      </a:br>
                      <a:r>
                        <a:rPr lang="en-US" sz="1050" dirty="0">
                          <a:solidFill>
                            <a:schemeClr val="tx1"/>
                          </a:solidFill>
                        </a:rPr>
                        <a:t>pre-processing</a:t>
                      </a:r>
                    </a:p>
                    <a:p>
                      <a:pPr marL="177800" marR="0" lvl="0" indent="-177800" algn="l" defTabSz="711200" rtl="0" eaLnBrk="1" fontAlgn="b" latinLnBrk="0" hangingPunct="1">
                        <a:lnSpc>
                          <a:spcPct val="100000"/>
                        </a:lnSpc>
                        <a:spcBef>
                          <a:spcPts val="1200"/>
                        </a:spcBef>
                        <a:spcAft>
                          <a:spcPts val="0"/>
                        </a:spcAft>
                        <a:buClrTx/>
                        <a:buSzTx/>
                        <a:tabLst/>
                        <a:defRPr/>
                      </a:pPr>
                      <a:r>
                        <a:rPr lang="en-US" sz="1050" dirty="0">
                          <a:solidFill>
                            <a:schemeClr val="tx1"/>
                          </a:solidFill>
                        </a:rPr>
                        <a:t>Aluminum smel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buNone/>
                      </a:pPr>
                      <a:r>
                        <a:rPr lang="en-US" sz="1050" dirty="0"/>
                        <a:t>Fuel combustion or direct electricity use will most likely remain necessary.</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sp>
        <p:nvSpPr>
          <p:cNvPr id="12" name="btfpBulletedList826938">
            <a:extLst>
              <a:ext uri="{FF2B5EF4-FFF2-40B4-BE49-F238E27FC236}">
                <a16:creationId xmlns:a16="http://schemas.microsoft.com/office/drawing/2014/main" id="{1F88E3FC-AFA0-57FF-7895-CAF59F641DC8}"/>
              </a:ext>
            </a:extLst>
          </p:cNvPr>
          <p:cNvSpPr txBox="1"/>
          <p:nvPr>
            <p:custDataLst>
              <p:tags r:id="rId2"/>
            </p:custDataLst>
          </p:nvPr>
        </p:nvSpPr>
        <p:spPr bwMode="gray">
          <a:xfrm>
            <a:off x="6185669" y="5097816"/>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lang="en-US" sz="1200" b="1" dirty="0">
                <a:solidFill>
                  <a:schemeClr val="bg1"/>
                </a:solidFill>
                <a:latin typeface="Arial"/>
                <a:cs typeface="Arial"/>
              </a:rPr>
              <a:t>Geothermal energy suppliers</a:t>
            </a:r>
            <a:endParaRPr kumimoji="0" lang="en-US" sz="1200" b="1" i="0" u="none" strike="noStrike" kern="1200" cap="none" spc="0" normalizeH="0" baseline="0" noProof="0" dirty="0">
              <a:ln>
                <a:noFill/>
              </a:ln>
              <a:solidFill>
                <a:schemeClr val="bg1"/>
              </a:solidFill>
              <a:effectLst/>
              <a:uLnTx/>
              <a:uFillTx/>
              <a:latin typeface="Arial"/>
              <a:ea typeface="+mn-ea"/>
              <a:cs typeface="Arial"/>
            </a:endParaRPr>
          </a:p>
        </p:txBody>
      </p:sp>
      <p:sp>
        <p:nvSpPr>
          <p:cNvPr id="13" name="btfpBulletedList826938">
            <a:extLst>
              <a:ext uri="{FF2B5EF4-FFF2-40B4-BE49-F238E27FC236}">
                <a16:creationId xmlns:a16="http://schemas.microsoft.com/office/drawing/2014/main" id="{79C58E44-A492-BE6D-1545-C1BED2F452E2}"/>
              </a:ext>
            </a:extLst>
          </p:cNvPr>
          <p:cNvSpPr txBox="1"/>
          <p:nvPr>
            <p:custDataLst>
              <p:tags r:id="rId3"/>
            </p:custDataLst>
          </p:nvPr>
        </p:nvSpPr>
        <p:spPr bwMode="gray">
          <a:xfrm>
            <a:off x="6185126" y="2162267"/>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Geological conditions</a:t>
            </a:r>
          </a:p>
        </p:txBody>
      </p:sp>
      <p:pic>
        <p:nvPicPr>
          <p:cNvPr id="14" name="Picture 13" descr="A diagram of a diagram of a production borefield&#10;&#10;AI-generated content may be incorrect.">
            <a:extLst>
              <a:ext uri="{FF2B5EF4-FFF2-40B4-BE49-F238E27FC236}">
                <a16:creationId xmlns:a16="http://schemas.microsoft.com/office/drawing/2014/main" id="{7BC3FC1F-F35A-42D2-BA7D-A743DCB3E8B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318705" y="4457250"/>
            <a:ext cx="2543095" cy="1637689"/>
          </a:xfrm>
          <a:prstGeom prst="rect">
            <a:avLst/>
          </a:prstGeom>
        </p:spPr>
      </p:pic>
      <p:sp>
        <p:nvSpPr>
          <p:cNvPr id="15" name="Rectangle 14">
            <a:extLst>
              <a:ext uri="{FF2B5EF4-FFF2-40B4-BE49-F238E27FC236}">
                <a16:creationId xmlns:a16="http://schemas.microsoft.com/office/drawing/2014/main" id="{ED31B6F2-805C-3132-45B2-E7C39CE7787A}"/>
              </a:ext>
            </a:extLst>
          </p:cNvPr>
          <p:cNvSpPr/>
          <p:nvPr/>
        </p:nvSpPr>
        <p:spPr bwMode="gray">
          <a:xfrm>
            <a:off x="6183568" y="2461203"/>
            <a:ext cx="311855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b="1" dirty="0">
                <a:solidFill>
                  <a:srgbClr val="000000"/>
                </a:solidFill>
                <a:latin typeface="Arial"/>
              </a:rPr>
              <a:t>250-310ºC </a:t>
            </a:r>
            <a:r>
              <a:rPr lang="en-US" sz="1050" dirty="0">
                <a:solidFill>
                  <a:srgbClr val="000000"/>
                </a:solidFill>
                <a:latin typeface="Arial"/>
              </a:rPr>
              <a:t>downhole temperature range</a:t>
            </a:r>
          </a:p>
          <a:p>
            <a:pPr>
              <a:spcBef>
                <a:spcPts val="600"/>
              </a:spcBef>
              <a:spcAft>
                <a:spcPts val="600"/>
              </a:spcAft>
              <a:defRPr/>
            </a:pPr>
            <a:r>
              <a:rPr lang="en-US" sz="1050" b="1" dirty="0">
                <a:solidFill>
                  <a:srgbClr val="000000"/>
                </a:solidFill>
              </a:rPr>
              <a:t>35 km2 </a:t>
            </a:r>
            <a:r>
              <a:rPr lang="en-US" sz="1050" dirty="0">
                <a:solidFill>
                  <a:srgbClr val="000000"/>
                </a:solidFill>
              </a:rPr>
              <a:t>area covered by the geothermal field</a:t>
            </a:r>
          </a:p>
          <a:p>
            <a:pPr>
              <a:spcBef>
                <a:spcPts val="600"/>
              </a:spcBef>
              <a:spcAft>
                <a:spcPts val="600"/>
              </a:spcAft>
              <a:defRPr/>
            </a:pPr>
            <a:r>
              <a:rPr lang="en-US" sz="1050" b="1" dirty="0">
                <a:solidFill>
                  <a:srgbClr val="000000"/>
                </a:solidFill>
              </a:rPr>
              <a:t>350-570 MW </a:t>
            </a:r>
            <a:r>
              <a:rPr lang="en-US" sz="1050" dirty="0">
                <a:solidFill>
                  <a:srgbClr val="000000"/>
                </a:solidFill>
              </a:rPr>
              <a:t>estimated available resources</a:t>
            </a:r>
          </a:p>
        </p:txBody>
      </p:sp>
      <p:sp>
        <p:nvSpPr>
          <p:cNvPr id="16" name="btfpBulletedList826938">
            <a:extLst>
              <a:ext uri="{FF2B5EF4-FFF2-40B4-BE49-F238E27FC236}">
                <a16:creationId xmlns:a16="http://schemas.microsoft.com/office/drawing/2014/main" id="{F4E5BABF-7D30-17DD-9649-E2B211CBC684}"/>
              </a:ext>
            </a:extLst>
          </p:cNvPr>
          <p:cNvSpPr txBox="1"/>
          <p:nvPr>
            <p:custDataLst>
              <p:tags r:id="rId4"/>
            </p:custDataLst>
          </p:nvPr>
        </p:nvSpPr>
        <p:spPr bwMode="gray">
          <a:xfrm>
            <a:off x="6185126" y="3602097"/>
            <a:ext cx="3017520" cy="257369"/>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Key industrial processes</a:t>
            </a:r>
          </a:p>
        </p:txBody>
      </p:sp>
      <p:sp>
        <p:nvSpPr>
          <p:cNvPr id="17" name="Rectangle 16">
            <a:extLst>
              <a:ext uri="{FF2B5EF4-FFF2-40B4-BE49-F238E27FC236}">
                <a16:creationId xmlns:a16="http://schemas.microsoft.com/office/drawing/2014/main" id="{D45D7DC2-2883-221F-9371-77B5A027FA52}"/>
              </a:ext>
            </a:extLst>
          </p:cNvPr>
          <p:cNvSpPr/>
          <p:nvPr/>
        </p:nvSpPr>
        <p:spPr bwMode="gray">
          <a:xfrm>
            <a:off x="6183568" y="3901033"/>
            <a:ext cx="311855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dirty="0">
                <a:solidFill>
                  <a:srgbClr val="000000"/>
                </a:solidFill>
                <a:latin typeface="Arial"/>
              </a:rPr>
              <a:t>Paper &amp; pulp mill</a:t>
            </a:r>
          </a:p>
          <a:p>
            <a:pPr>
              <a:spcBef>
                <a:spcPts val="600"/>
              </a:spcBef>
              <a:spcAft>
                <a:spcPts val="600"/>
              </a:spcAft>
              <a:defRPr/>
            </a:pPr>
            <a:r>
              <a:rPr lang="en-US" sz="1050" dirty="0">
                <a:solidFill>
                  <a:srgbClr val="000000"/>
                </a:solidFill>
                <a:latin typeface="Arial"/>
              </a:rPr>
              <a:t>Wood drying</a:t>
            </a:r>
          </a:p>
          <a:p>
            <a:pPr>
              <a:spcBef>
                <a:spcPts val="600"/>
              </a:spcBef>
              <a:spcAft>
                <a:spcPts val="600"/>
              </a:spcAft>
              <a:defRPr/>
            </a:pPr>
            <a:r>
              <a:rPr lang="en-US" sz="1050" dirty="0">
                <a:solidFill>
                  <a:srgbClr val="000000"/>
                </a:solidFill>
                <a:latin typeface="Arial"/>
              </a:rPr>
              <a:t>Dairy processing</a:t>
            </a:r>
            <a:endParaRPr lang="en-US" sz="1050" dirty="0">
              <a:solidFill>
                <a:srgbClr val="000000"/>
              </a:solidFill>
            </a:endParaRPr>
          </a:p>
        </p:txBody>
      </p:sp>
      <p:pic>
        <p:nvPicPr>
          <p:cNvPr id="18" name="Picture 17" descr="A logo with a hand and text&#10;&#10;AI-generated content may be incorrect.">
            <a:extLst>
              <a:ext uri="{FF2B5EF4-FFF2-40B4-BE49-F238E27FC236}">
                <a16:creationId xmlns:a16="http://schemas.microsoft.com/office/drawing/2014/main" id="{C5A8B9B9-A6EA-A5B1-6249-AF348623036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448147" y="3900680"/>
            <a:ext cx="1060450" cy="476250"/>
          </a:xfrm>
          <a:prstGeom prst="rect">
            <a:avLst/>
          </a:prstGeom>
        </p:spPr>
      </p:pic>
      <p:pic>
        <p:nvPicPr>
          <p:cNvPr id="19" name="Picture 18" descr="A close-up of a logo&#10;&#10;AI-generated content may be incorrect.">
            <a:extLst>
              <a:ext uri="{FF2B5EF4-FFF2-40B4-BE49-F238E27FC236}">
                <a16:creationId xmlns:a16="http://schemas.microsoft.com/office/drawing/2014/main" id="{FE293D7F-B7F1-AED4-670F-869EDAC607E3}"/>
              </a:ext>
            </a:extLst>
          </p:cNvPr>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8281848" y="4316118"/>
            <a:ext cx="887639" cy="298937"/>
          </a:xfrm>
          <a:prstGeom prst="rect">
            <a:avLst/>
          </a:prstGeom>
        </p:spPr>
      </p:pic>
      <p:pic>
        <p:nvPicPr>
          <p:cNvPr id="20" name="Picture 19" descr="A blue text on a white background&#10;&#10;AI-generated content may be incorrect.">
            <a:extLst>
              <a:ext uri="{FF2B5EF4-FFF2-40B4-BE49-F238E27FC236}">
                <a16:creationId xmlns:a16="http://schemas.microsoft.com/office/drawing/2014/main" id="{5A5DB299-7899-C0B9-0CB9-B62793F1E566}"/>
              </a:ext>
            </a:extLst>
          </p:cNvPr>
          <p:cNvPicPr>
            <a:picLocks noChangeAspect="1"/>
          </p:cNvPicPr>
          <p:nvPr/>
        </p:nvPicPr>
        <p:blipFill>
          <a:blip r:embed="rId17" cstate="screen">
            <a:extLst>
              <a:ext uri="{28A0092B-C50C-407E-A947-70E740481C1C}">
                <a14:useLocalDpi xmlns:a14="http://schemas.microsoft.com/office/drawing/2010/main"/>
              </a:ext>
            </a:extLst>
          </a:blip>
          <a:srcRect t="30065" b="26791"/>
          <a:stretch>
            <a:fillRect/>
          </a:stretch>
        </p:blipFill>
        <p:spPr>
          <a:xfrm>
            <a:off x="7448147" y="4557274"/>
            <a:ext cx="928397" cy="400546"/>
          </a:xfrm>
          <a:prstGeom prst="rect">
            <a:avLst/>
          </a:prstGeom>
        </p:spPr>
      </p:pic>
      <p:sp>
        <p:nvSpPr>
          <p:cNvPr id="21" name="TextBox 8">
            <a:extLst>
              <a:ext uri="{FF2B5EF4-FFF2-40B4-BE49-F238E27FC236}">
                <a16:creationId xmlns:a16="http://schemas.microsoft.com/office/drawing/2014/main" id="{C2384241-B9A8-9437-83D8-3A896CD14760}"/>
              </a:ext>
            </a:extLst>
          </p:cNvPr>
          <p:cNvSpPr txBox="1"/>
          <p:nvPr/>
        </p:nvSpPr>
        <p:spPr bwMode="gray">
          <a:xfrm>
            <a:off x="9318705" y="2301442"/>
            <a:ext cx="2543095" cy="2014675"/>
          </a:xfrm>
          <a:prstGeom prst="rect">
            <a:avLst/>
          </a:prstGeom>
          <a:solidFill>
            <a:schemeClr val="accent3">
              <a:lumMod val="20000"/>
              <a:lumOff val="80000"/>
            </a:schemeClr>
          </a:solidFill>
          <a:ln>
            <a:noFill/>
          </a:ln>
        </p:spPr>
        <p:txBody>
          <a:bodyPr wrap="square" lIns="137160" tIns="182880" rIns="274320" bIns="137160" rtlCol="0">
            <a:noAutofit/>
          </a:bodyPr>
          <a:lstStyle/>
          <a:p>
            <a:pPr>
              <a:spcBef>
                <a:spcPts val="0"/>
              </a:spcBef>
              <a:spcAft>
                <a:spcPts val="400"/>
              </a:spcAft>
            </a:pPr>
            <a:r>
              <a:rPr lang="en-US" sz="1050" dirty="0"/>
              <a:t>Supplies various industrial customers in Kawerau</a:t>
            </a:r>
          </a:p>
          <a:p>
            <a:pPr>
              <a:spcBef>
                <a:spcPts val="0"/>
              </a:spcBef>
              <a:spcAft>
                <a:spcPts val="400"/>
              </a:spcAft>
            </a:pPr>
            <a:r>
              <a:rPr lang="en-US" sz="1050" dirty="0"/>
              <a:t>Process steam supplied at pressures of </a:t>
            </a:r>
            <a:r>
              <a:rPr lang="en-US" sz="1050" b="1" dirty="0"/>
              <a:t>7-16 bar </a:t>
            </a:r>
            <a:r>
              <a:rPr lang="en-US" sz="1050" dirty="0"/>
              <a:t>and process water at </a:t>
            </a:r>
            <a:r>
              <a:rPr lang="en-US" sz="1050" b="1" dirty="0"/>
              <a:t>170ºC</a:t>
            </a:r>
            <a:endParaRPr lang="en-US" sz="1050" dirty="0"/>
          </a:p>
          <a:p>
            <a:pPr>
              <a:spcBef>
                <a:spcPts val="0"/>
              </a:spcBef>
              <a:spcAft>
                <a:spcPts val="400"/>
              </a:spcAft>
            </a:pPr>
            <a:r>
              <a:rPr lang="en-US" sz="1050" b="1" dirty="0"/>
              <a:t>~14.8 PJ</a:t>
            </a:r>
            <a:r>
              <a:rPr lang="en-US" sz="1050" dirty="0"/>
              <a:t> geothermal energy produced annually</a:t>
            </a:r>
          </a:p>
          <a:p>
            <a:pPr>
              <a:spcBef>
                <a:spcPts val="0"/>
              </a:spcBef>
              <a:spcAft>
                <a:spcPts val="400"/>
              </a:spcAft>
            </a:pPr>
            <a:r>
              <a:rPr lang="en-US" sz="1050" b="1" dirty="0"/>
              <a:t>90% less carbon</a:t>
            </a:r>
            <a:r>
              <a:rPr lang="en-US" sz="1050" dirty="0"/>
              <a:t>;</a:t>
            </a:r>
            <a:r>
              <a:rPr lang="en-US" sz="1050" b="1" dirty="0"/>
              <a:t> </a:t>
            </a:r>
            <a:r>
              <a:rPr lang="en-US" sz="1050" dirty="0"/>
              <a:t>0.007 tCO2e/GJ compared with </a:t>
            </a:r>
            <a:br>
              <a:rPr lang="en-US" sz="1050" dirty="0"/>
            </a:br>
            <a:r>
              <a:rPr lang="en-US" sz="1050" dirty="0"/>
              <a:t>LNG (0.054 tCO2e/GJ)</a:t>
            </a:r>
            <a:endParaRPr lang="en-US" sz="1050" b="1" dirty="0"/>
          </a:p>
        </p:txBody>
      </p:sp>
      <p:sp>
        <p:nvSpPr>
          <p:cNvPr id="22" name="Rectangle 21">
            <a:extLst>
              <a:ext uri="{FF2B5EF4-FFF2-40B4-BE49-F238E27FC236}">
                <a16:creationId xmlns:a16="http://schemas.microsoft.com/office/drawing/2014/main" id="{FEFB0582-82D5-BA73-525B-A81C97423CF6}"/>
              </a:ext>
            </a:extLst>
          </p:cNvPr>
          <p:cNvSpPr/>
          <p:nvPr/>
        </p:nvSpPr>
        <p:spPr bwMode="gray">
          <a:xfrm>
            <a:off x="9318705" y="2162267"/>
            <a:ext cx="2538334" cy="25603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050" b="1" dirty="0">
                <a:solidFill>
                  <a:schemeClr val="bg1"/>
                </a:solidFill>
              </a:rPr>
              <a:t>Ngāti Tūwharetoa Geothermal</a:t>
            </a:r>
          </a:p>
        </p:txBody>
      </p:sp>
      <p:sp>
        <p:nvSpPr>
          <p:cNvPr id="23" name="Rectangle 22">
            <a:extLst>
              <a:ext uri="{FF2B5EF4-FFF2-40B4-BE49-F238E27FC236}">
                <a16:creationId xmlns:a16="http://schemas.microsoft.com/office/drawing/2014/main" id="{1B139ADD-2C75-2702-4737-387B9378A634}"/>
              </a:ext>
            </a:extLst>
          </p:cNvPr>
          <p:cNvSpPr/>
          <p:nvPr/>
        </p:nvSpPr>
        <p:spPr bwMode="gray">
          <a:xfrm>
            <a:off x="6197598" y="5355185"/>
            <a:ext cx="3104529" cy="10413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a:spcBef>
                <a:spcPts val="600"/>
              </a:spcBef>
              <a:spcAft>
                <a:spcPts val="600"/>
              </a:spcAft>
              <a:defRPr/>
            </a:pPr>
            <a:r>
              <a:rPr lang="en-US" sz="1050" dirty="0">
                <a:solidFill>
                  <a:srgbClr val="000000"/>
                </a:solidFill>
              </a:rPr>
              <a:t>Ngāti Tūwharetoa Geothermal (heating)</a:t>
            </a:r>
          </a:p>
          <a:p>
            <a:pPr>
              <a:spcBef>
                <a:spcPts val="600"/>
              </a:spcBef>
              <a:spcAft>
                <a:spcPts val="600"/>
              </a:spcAft>
              <a:defRPr/>
            </a:pPr>
            <a:r>
              <a:rPr lang="en-US" sz="1050" dirty="0">
                <a:solidFill>
                  <a:srgbClr val="000000"/>
                </a:solidFill>
              </a:rPr>
              <a:t>Eastland Generation, Mercury Energy (power)</a:t>
            </a:r>
          </a:p>
        </p:txBody>
      </p:sp>
      <p:sp>
        <p:nvSpPr>
          <p:cNvPr id="2" name="Text Placeholder 1">
            <a:extLst>
              <a:ext uri="{FF2B5EF4-FFF2-40B4-BE49-F238E27FC236}">
                <a16:creationId xmlns:a16="http://schemas.microsoft.com/office/drawing/2014/main" id="{3B046697-B553-F4FF-7EAF-E67A481918F5}"/>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New Zealand</a:t>
            </a:r>
          </a:p>
        </p:txBody>
      </p:sp>
    </p:spTree>
    <p:extLst>
      <p:ext uri="{BB962C8B-B14F-4D97-AF65-F5344CB8AC3E}">
        <p14:creationId xmlns:p14="http://schemas.microsoft.com/office/powerpoint/2010/main" val="922189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289542-05B9-CDB2-9C87-A682AE9C236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8" imgW="7772400" imgH="10058400" progId="TCLayout.ActiveDocument.1">
                  <p:embed/>
                </p:oleObj>
              </mc:Choice>
              <mc:Fallback>
                <p:oleObj name="think-cell Slide" r:id="rId58" imgW="7772400" imgH="10058400" progId="TCLayout.ActiveDocument.1">
                  <p:embed/>
                  <p:pic>
                    <p:nvPicPr>
                      <p:cNvPr id="10" name="think-cell data - do not delete" hidden="1">
                        <a:extLst>
                          <a:ext uri="{FF2B5EF4-FFF2-40B4-BE49-F238E27FC236}">
                            <a16:creationId xmlns:a16="http://schemas.microsoft.com/office/drawing/2014/main" id="{67289542-05B9-CDB2-9C87-A682AE9C2366}"/>
                          </a:ext>
                        </a:extLst>
                      </p:cNvPr>
                      <p:cNvPicPr/>
                      <p:nvPr/>
                    </p:nvPicPr>
                    <p:blipFill>
                      <a:blip r:embed="rId5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6746BB-9BCD-1861-F532-4CA356992DBA}"/>
              </a:ext>
            </a:extLst>
          </p:cNvPr>
          <p:cNvSpPr>
            <a:spLocks noGrp="1"/>
          </p:cNvSpPr>
          <p:nvPr>
            <p:ph type="title"/>
          </p:nvPr>
        </p:nvSpPr>
        <p:spPr/>
        <p:txBody>
          <a:bodyPr vert="horz" rIns="91440"/>
          <a:lstStyle/>
          <a:p>
            <a:r>
              <a:rPr lang="en-US" dirty="0"/>
              <a:t>Global energy demand expected to grow ~10-20% by 2050, largely driven by emerging economies, electrification, and data centers</a:t>
            </a:r>
          </a:p>
        </p:txBody>
      </p:sp>
      <p:sp>
        <p:nvSpPr>
          <p:cNvPr id="5" name="Footer Placeholder 4">
            <a:extLst>
              <a:ext uri="{FF2B5EF4-FFF2-40B4-BE49-F238E27FC236}">
                <a16:creationId xmlns:a16="http://schemas.microsoft.com/office/drawing/2014/main" id="{AE2389C9-5ADA-A6C6-3983-70793F75CC5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ssociation of Southeast Asian Nations</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Global Energy Perspective</a:t>
            </a:r>
            <a:r>
              <a:rPr kumimoji="0" lang="en-US" sz="800" b="0" i="0" u="none" strike="noStrike" kern="1200" cap="none" spc="0" normalizeH="0" baseline="0" noProof="0" dirty="0">
                <a:ln>
                  <a:noFill/>
                </a:ln>
                <a:solidFill>
                  <a:srgbClr val="000000"/>
                </a:solidFill>
                <a:effectLst/>
                <a:uLnTx/>
                <a:uFillTx/>
                <a:latin typeface="Arial"/>
                <a:ea typeface="+mn-ea"/>
                <a:cs typeface="+mn-cs"/>
              </a:rPr>
              <a:t> (McKinsey, 2024); </a:t>
            </a:r>
            <a:r>
              <a:rPr lang="en-US" dirty="0">
                <a:solidFill>
                  <a:srgbClr val="000000"/>
                </a:solidFill>
                <a:hlinkClick r:id="rId61"/>
              </a:rPr>
              <a:t>Cumulative Investment for Next Generation Geothermal 2025-2050</a:t>
            </a:r>
            <a:r>
              <a:rPr lang="en-US" dirty="0">
                <a:solidFill>
                  <a:srgbClr val="000000"/>
                </a:solidFill>
              </a:rPr>
              <a:t>, (IEA, 2024)</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62"/>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6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5E50D512-2506-5A1A-9C1D-D84513A6C501}"/>
              </a:ext>
            </a:extLst>
          </p:cNvPr>
          <p:cNvSpPr>
            <a:spLocks noGrp="1"/>
          </p:cNvSpPr>
          <p:nvPr>
            <p:ph type="body" sz="quarter" idx="13"/>
          </p:nvPr>
        </p:nvSpPr>
        <p:spPr/>
        <p:txBody>
          <a:bodyPr rIns="0"/>
          <a:lstStyle/>
          <a:p>
            <a:r>
              <a:rPr lang="en-US" sz="1420" dirty="0"/>
              <a:t>India, ASEAN*, Africa, and the Middle East will be responsible for ~65-95% demand growth</a:t>
            </a:r>
          </a:p>
        </p:txBody>
      </p:sp>
      <p:sp>
        <p:nvSpPr>
          <p:cNvPr id="7" name="Text Placeholder 6">
            <a:extLst>
              <a:ext uri="{FF2B5EF4-FFF2-40B4-BE49-F238E27FC236}">
                <a16:creationId xmlns:a16="http://schemas.microsoft.com/office/drawing/2014/main" id="{FF1783B3-8893-BF4D-6C01-03ED963E3D72}"/>
              </a:ext>
            </a:extLst>
          </p:cNvPr>
          <p:cNvSpPr>
            <a:spLocks noGrp="1"/>
          </p:cNvSpPr>
          <p:nvPr>
            <p:ph type="body" sz="quarter" idx="19"/>
          </p:nvPr>
        </p:nvSpPr>
        <p:spPr/>
        <p:txBody>
          <a:bodyPr rIns="0"/>
          <a:lstStyle/>
          <a:p>
            <a:r>
              <a:rPr lang="en-US" sz="1420" dirty="0"/>
              <a:t>New data centers and electrification of industry and buildings will drive ~5-10% demand growth</a:t>
            </a:r>
          </a:p>
        </p:txBody>
      </p:sp>
      <p:sp>
        <p:nvSpPr>
          <p:cNvPr id="8" name="Text Placeholder 7">
            <a:extLst>
              <a:ext uri="{FF2B5EF4-FFF2-40B4-BE49-F238E27FC236}">
                <a16:creationId xmlns:a16="http://schemas.microsoft.com/office/drawing/2014/main" id="{B1323724-2D71-1912-29B4-EDB04818DBE1}"/>
              </a:ext>
            </a:extLst>
          </p:cNvPr>
          <p:cNvSpPr>
            <a:spLocks noGrp="1"/>
          </p:cNvSpPr>
          <p:nvPr>
            <p:ph type="body" sz="quarter" idx="14"/>
          </p:nvPr>
        </p:nvSpPr>
        <p:spPr/>
        <p:txBody>
          <a:bodyPr rIns="182880"/>
          <a:lstStyle/>
          <a:p>
            <a:pPr marL="0" indent="0">
              <a:buNone/>
            </a:pPr>
            <a:r>
              <a:rPr lang="en-US" b="1" dirty="0"/>
              <a:t>Observations</a:t>
            </a:r>
          </a:p>
          <a:p>
            <a:pPr marL="0" indent="0">
              <a:buNone/>
            </a:pPr>
            <a:endParaRPr lang="en-US" b="1" dirty="0"/>
          </a:p>
          <a:p>
            <a:r>
              <a:rPr lang="en-US" sz="1050" dirty="0"/>
              <a:t>By 2050, global energy demand is expected to grow ~</a:t>
            </a:r>
            <a:r>
              <a:rPr lang="en-US" sz="1050" b="1" dirty="0"/>
              <a:t>10 to 20%</a:t>
            </a:r>
            <a:r>
              <a:rPr lang="en-US" sz="1050" dirty="0"/>
              <a:t>, with ~</a:t>
            </a:r>
            <a:r>
              <a:rPr lang="en-US" sz="1050" b="1" dirty="0"/>
              <a:t>65 to 95% </a:t>
            </a:r>
            <a:r>
              <a:rPr lang="en-US" sz="1050" dirty="0"/>
              <a:t>of that growth concentrated in emerging economies such as ASEAN, India, and the Middle East — regions that currently rely heavily on fossil fuels for baseload power.</a:t>
            </a:r>
          </a:p>
          <a:p>
            <a:r>
              <a:rPr lang="en-US" sz="1050" dirty="0"/>
              <a:t>New demand will likely stem from the </a:t>
            </a:r>
            <a:r>
              <a:rPr lang="en-US" sz="1050" b="1" dirty="0"/>
              <a:t>electrification of industry and buildings</a:t>
            </a:r>
            <a:r>
              <a:rPr lang="en-US" sz="1050" dirty="0"/>
              <a:t>, accounting for over half of demand. </a:t>
            </a:r>
            <a:r>
              <a:rPr lang="en-US" sz="1050" b="1" dirty="0"/>
              <a:t>Data centers (2,500 to 4,500 TWh, or </a:t>
            </a:r>
            <a:r>
              <a:rPr lang="en-US" sz="1050" dirty="0"/>
              <a:t>~</a:t>
            </a:r>
            <a:r>
              <a:rPr lang="en-US" sz="1050" b="1" dirty="0"/>
              <a:t>5 to 10% of demand), green hydrogen (179 Mtpa, driving ~20% annual power demand growth), and EVs (~10% annual growth, with BEVs dominating car sales) </a:t>
            </a:r>
            <a:r>
              <a:rPr lang="en-US" sz="1050" dirty="0"/>
              <a:t>will add to this surge. </a:t>
            </a:r>
          </a:p>
          <a:p>
            <a:r>
              <a:rPr lang="en-US" sz="1050" dirty="0"/>
              <a:t>To meet such demand, </a:t>
            </a:r>
            <a:r>
              <a:rPr lang="en-US" sz="1050" b="1" dirty="0"/>
              <a:t>economies will need reliable, non-intermittent baseload solutions for their energy grids. </a:t>
            </a:r>
          </a:p>
          <a:p>
            <a:endParaRPr lang="en-US" dirty="0"/>
          </a:p>
        </p:txBody>
      </p:sp>
      <p:sp>
        <p:nvSpPr>
          <p:cNvPr id="9" name="Text Placeholder 1">
            <a:extLst>
              <a:ext uri="{FF2B5EF4-FFF2-40B4-BE49-F238E27FC236}">
                <a16:creationId xmlns:a16="http://schemas.microsoft.com/office/drawing/2014/main" id="{89F74AF3-66AE-8A6A-4CFB-DCB8D21A5E4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graphicFrame>
        <p:nvGraphicFramePr>
          <p:cNvPr id="72" name="Chart 71">
            <a:extLst>
              <a:ext uri="{FF2B5EF4-FFF2-40B4-BE49-F238E27FC236}">
                <a16:creationId xmlns:a16="http://schemas.microsoft.com/office/drawing/2014/main" id="{33AFF55D-2D0F-8582-F98B-1B6D056CD279}"/>
              </a:ext>
            </a:extLst>
          </p:cNvPr>
          <p:cNvGraphicFramePr/>
          <p:nvPr>
            <p:custDataLst>
              <p:tags r:id="rId2"/>
            </p:custDataLst>
          </p:nvPr>
        </p:nvGraphicFramePr>
        <p:xfrm>
          <a:off x="141288" y="2713038"/>
          <a:ext cx="4333875" cy="3581400"/>
        </p:xfrm>
        <a:graphic>
          <a:graphicData uri="http://schemas.openxmlformats.org/drawingml/2006/chart">
            <c:chart xmlns:c="http://schemas.openxmlformats.org/drawingml/2006/chart" xmlns:r="http://schemas.openxmlformats.org/officeDocument/2006/relationships" r:id="rId64"/>
          </a:graphicData>
        </a:graphic>
      </p:graphicFrame>
      <p:sp>
        <p:nvSpPr>
          <p:cNvPr id="12" name="Text Placeholder 10">
            <a:extLst>
              <a:ext uri="{FF2B5EF4-FFF2-40B4-BE49-F238E27FC236}">
                <a16:creationId xmlns:a16="http://schemas.microsoft.com/office/drawing/2014/main" id="{DF0A99BA-EE6F-C95B-9CC4-2251524B08EA}"/>
              </a:ext>
            </a:extLst>
          </p:cNvPr>
          <p:cNvSpPr txBox="1">
            <a:spLocks/>
          </p:cNvSpPr>
          <p:nvPr>
            <p:custDataLst>
              <p:tags r:id="rId3"/>
            </p:custDataLst>
          </p:nvPr>
        </p:nvSpPr>
        <p:spPr bwMode="auto">
          <a:xfrm>
            <a:off x="43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C064CB-D6F8-4F72-8F83-872EC22DCD25}"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9D73D803-8F22-1AAB-631B-975CA999F4F1}"/>
              </a:ext>
            </a:extLst>
          </p:cNvPr>
          <p:cNvSpPr txBox="1">
            <a:spLocks/>
          </p:cNvSpPr>
          <p:nvPr>
            <p:custDataLst>
              <p:tags r:id="rId4"/>
            </p:custDataLst>
          </p:nvPr>
        </p:nvSpPr>
        <p:spPr bwMode="auto">
          <a:xfrm>
            <a:off x="107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70E3A6-A02C-4F8C-9D05-3C3DA2521CB6}"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0DBD0B74-C6DB-7C4B-C1CF-28B07FD4CDDB}"/>
              </a:ext>
            </a:extLst>
          </p:cNvPr>
          <p:cNvSpPr txBox="1">
            <a:spLocks/>
          </p:cNvSpPr>
          <p:nvPr>
            <p:custDataLst>
              <p:tags r:id="rId5"/>
            </p:custDataLst>
          </p:nvPr>
        </p:nvSpPr>
        <p:spPr bwMode="auto">
          <a:xfrm>
            <a:off x="170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6BC801-9F63-4109-A612-B56C107381BA}"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02305D78-CFE8-0FBB-4B3C-D3DE90371246}"/>
              </a:ext>
            </a:extLst>
          </p:cNvPr>
          <p:cNvSpPr txBox="1">
            <a:spLocks/>
          </p:cNvSpPr>
          <p:nvPr>
            <p:custDataLst>
              <p:tags r:id="rId6"/>
            </p:custDataLst>
          </p:nvPr>
        </p:nvSpPr>
        <p:spPr bwMode="auto">
          <a:xfrm>
            <a:off x="234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890BC8-094B-41F4-B372-BE6A5281F8D7}"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4B490ADE-B4A4-82CC-F7D5-7E71005987B0}"/>
              </a:ext>
            </a:extLst>
          </p:cNvPr>
          <p:cNvSpPr txBox="1">
            <a:spLocks/>
          </p:cNvSpPr>
          <p:nvPr>
            <p:custDataLst>
              <p:tags r:id="rId7"/>
            </p:custDataLst>
          </p:nvPr>
        </p:nvSpPr>
        <p:spPr bwMode="auto">
          <a:xfrm>
            <a:off x="297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E888C0-637E-4EC5-B6F8-7142C4A4948D}"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8ECD87DD-A3FE-A48F-3ED3-B46DE63646F2}"/>
              </a:ext>
            </a:extLst>
          </p:cNvPr>
          <p:cNvSpPr txBox="1">
            <a:spLocks/>
          </p:cNvSpPr>
          <p:nvPr>
            <p:custDataLst>
              <p:tags r:id="rId8"/>
            </p:custDataLst>
          </p:nvPr>
        </p:nvSpPr>
        <p:spPr bwMode="auto">
          <a:xfrm>
            <a:off x="361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3C3F61D-87FC-4189-8C3E-B8776F8E37F3}"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EDD35E0B-6E78-2E79-B25C-EC4CA0EC004B}"/>
              </a:ext>
            </a:extLst>
          </p:cNvPr>
          <p:cNvSpPr txBox="1">
            <a:spLocks/>
          </p:cNvSpPr>
          <p:nvPr>
            <p:custDataLst>
              <p:tags r:id="rId9"/>
            </p:custDataLst>
          </p:nvPr>
        </p:nvSpPr>
        <p:spPr bwMode="auto">
          <a:xfrm>
            <a:off x="424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1B2FA4-DA13-4FB8-BE4D-C65196035E21}"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3" name="Chart 72">
            <a:extLst>
              <a:ext uri="{FF2B5EF4-FFF2-40B4-BE49-F238E27FC236}">
                <a16:creationId xmlns:a16="http://schemas.microsoft.com/office/drawing/2014/main" id="{0A056C32-454D-B874-18AE-C447D25B15AD}"/>
              </a:ext>
            </a:extLst>
          </p:cNvPr>
          <p:cNvGraphicFramePr/>
          <p:nvPr>
            <p:custDataLst>
              <p:tags r:id="rId10"/>
            </p:custDataLst>
          </p:nvPr>
        </p:nvGraphicFramePr>
        <p:xfrm>
          <a:off x="4738688" y="3005138"/>
          <a:ext cx="4279900" cy="3444875"/>
        </p:xfrm>
        <a:graphic>
          <a:graphicData uri="http://schemas.openxmlformats.org/drawingml/2006/chart">
            <c:chart xmlns:c="http://schemas.openxmlformats.org/drawingml/2006/chart" xmlns:r="http://schemas.openxmlformats.org/officeDocument/2006/relationships" r:id="rId65"/>
          </a:graphicData>
        </a:graphic>
      </p:graphicFrame>
      <p:cxnSp>
        <p:nvCxnSpPr>
          <p:cNvPr id="20" name="Straight Connector 19">
            <a:extLst>
              <a:ext uri="{FF2B5EF4-FFF2-40B4-BE49-F238E27FC236}">
                <a16:creationId xmlns:a16="http://schemas.microsoft.com/office/drawing/2014/main" id="{DEC2CF9B-9017-CFC1-C57A-F17269DAF3FA}"/>
              </a:ext>
            </a:extLst>
          </p:cNvPr>
          <p:cNvCxnSpPr/>
          <p:nvPr>
            <p:custDataLst>
              <p:tags r:id="rId11"/>
            </p:custDataLst>
          </p:nvPr>
        </p:nvCxnSpPr>
        <p:spPr bwMode="auto">
          <a:xfrm flipV="1">
            <a:off x="6878638" y="2882900"/>
            <a:ext cx="0" cy="16065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4DE45AD-E1FB-14D9-F768-B1C767A6FFD6}"/>
              </a:ext>
            </a:extLst>
          </p:cNvPr>
          <p:cNvCxnSpPr/>
          <p:nvPr>
            <p:custDataLst>
              <p:tags r:id="rId12"/>
            </p:custDataLst>
          </p:nvPr>
        </p:nvCxnSpPr>
        <p:spPr bwMode="auto">
          <a:xfrm>
            <a:off x="6878637" y="2882900"/>
            <a:ext cx="16462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6CE522A-82D9-8D9D-4CAA-330165C66833}"/>
              </a:ext>
            </a:extLst>
          </p:cNvPr>
          <p:cNvCxnSpPr/>
          <p:nvPr>
            <p:custDataLst>
              <p:tags r:id="rId13"/>
            </p:custDataLst>
          </p:nvPr>
        </p:nvCxnSpPr>
        <p:spPr bwMode="auto">
          <a:xfrm>
            <a:off x="8524875" y="28829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73119A6-6495-798E-3C15-E555AF0E6722}"/>
              </a:ext>
            </a:extLst>
          </p:cNvPr>
          <p:cNvCxnSpPr/>
          <p:nvPr>
            <p:custDataLst>
              <p:tags r:id="rId14"/>
            </p:custDataLst>
          </p:nvPr>
        </p:nvCxnSpPr>
        <p:spPr bwMode="auto">
          <a:xfrm flipH="1">
            <a:off x="6226175" y="5041900"/>
            <a:ext cx="809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4" name="Text Placeholder 10">
            <a:extLst>
              <a:ext uri="{FF2B5EF4-FFF2-40B4-BE49-F238E27FC236}">
                <a16:creationId xmlns:a16="http://schemas.microsoft.com/office/drawing/2014/main" id="{31407F68-D849-8093-FC0E-DACDCF054E68}"/>
              </a:ext>
            </a:extLst>
          </p:cNvPr>
          <p:cNvSpPr txBox="1">
            <a:spLocks/>
          </p:cNvSpPr>
          <p:nvPr>
            <p:custDataLst>
              <p:tags r:id="rId15"/>
            </p:custDataLst>
          </p:nvPr>
        </p:nvSpPr>
        <p:spPr bwMode="gray">
          <a:xfrm>
            <a:off x="5888038" y="5032375"/>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09BF9B0-832A-43CC-A96E-13F0C7175DCF}"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C1737E7F-F44D-F86A-EF24-76E80750F103}"/>
              </a:ext>
            </a:extLst>
          </p:cNvPr>
          <p:cNvSpPr txBox="1">
            <a:spLocks/>
          </p:cNvSpPr>
          <p:nvPr>
            <p:custDataLst>
              <p:tags r:id="rId16"/>
            </p:custDataLst>
          </p:nvPr>
        </p:nvSpPr>
        <p:spPr bwMode="gray">
          <a:xfrm>
            <a:off x="6118225" y="499903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FF33C5-D5D5-4C73-8FCF-360FDD521C44}"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6C52A47F-83BD-0E87-27F8-FB9DD3CE2DDD}"/>
              </a:ext>
            </a:extLst>
          </p:cNvPr>
          <p:cNvSpPr txBox="1">
            <a:spLocks/>
          </p:cNvSpPr>
          <p:nvPr>
            <p:custDataLst>
              <p:tags r:id="rId17"/>
            </p:custDataLst>
          </p:nvPr>
        </p:nvSpPr>
        <p:spPr bwMode="auto">
          <a:xfrm>
            <a:off x="590867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3DD400-FFA9-4F4A-AB64-9E5B7BB5B9EE}"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6ED877E6-2A97-8278-5069-90477585849F}"/>
              </a:ext>
            </a:extLst>
          </p:cNvPr>
          <p:cNvSpPr txBox="1">
            <a:spLocks/>
          </p:cNvSpPr>
          <p:nvPr>
            <p:custDataLst>
              <p:tags r:id="rId18"/>
            </p:custDataLst>
          </p:nvPr>
        </p:nvSpPr>
        <p:spPr bwMode="gray">
          <a:xfrm>
            <a:off x="6711950" y="4894263"/>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04B540-7DCA-4D54-83B1-8EDB1567161A}"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A9148DE1-CD3D-011C-69F2-4E60C32E7EDE}"/>
              </a:ext>
            </a:extLst>
          </p:cNvPr>
          <p:cNvSpPr txBox="1">
            <a:spLocks/>
          </p:cNvSpPr>
          <p:nvPr>
            <p:custDataLst>
              <p:tags r:id="rId19"/>
            </p:custDataLst>
          </p:nvPr>
        </p:nvSpPr>
        <p:spPr bwMode="gray">
          <a:xfrm>
            <a:off x="6940550" y="482758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C6245DE-B50D-4FAB-8EB4-00CFE55F30A9}" type="datetime'''''''''''''''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4DCDA7A3-DEFF-671D-AF02-2F14D032B770}"/>
              </a:ext>
            </a:extLst>
          </p:cNvPr>
          <p:cNvSpPr txBox="1">
            <a:spLocks/>
          </p:cNvSpPr>
          <p:nvPr>
            <p:custDataLst>
              <p:tags r:id="rId20"/>
            </p:custDataLst>
          </p:nvPr>
        </p:nvSpPr>
        <p:spPr bwMode="gray">
          <a:xfrm>
            <a:off x="6711950" y="4740275"/>
            <a:ext cx="104775"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7EF217-0C0E-46DE-A48D-3E2AF0C1A91E}" type="datetime'''''''''''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498CC648-7DED-8708-2184-704AA336B768}"/>
              </a:ext>
            </a:extLst>
          </p:cNvPr>
          <p:cNvSpPr txBox="1">
            <a:spLocks/>
          </p:cNvSpPr>
          <p:nvPr>
            <p:custDataLst>
              <p:tags r:id="rId21"/>
            </p:custDataLst>
          </p:nvPr>
        </p:nvSpPr>
        <p:spPr bwMode="auto">
          <a:xfrm>
            <a:off x="6732588"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A6F8F2-FC83-4E42-A318-FC406C025D49}"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B45AAE03-0BAD-D57E-B0E0-8C480E99B8AC}"/>
              </a:ext>
            </a:extLst>
          </p:cNvPr>
          <p:cNvSpPr txBox="1">
            <a:spLocks/>
          </p:cNvSpPr>
          <p:nvPr>
            <p:custDataLst>
              <p:tags r:id="rId22"/>
            </p:custDataLst>
          </p:nvPr>
        </p:nvSpPr>
        <p:spPr bwMode="auto">
          <a:xfrm>
            <a:off x="837882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2C9B90-EF2F-4F27-9A08-8B6A346E29EE}"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14D16693-0291-93BC-DCAE-354BA72A27C4}"/>
              </a:ext>
            </a:extLst>
          </p:cNvPr>
          <p:cNvSpPr txBox="1">
            <a:spLocks/>
          </p:cNvSpPr>
          <p:nvPr>
            <p:custDataLst>
              <p:tags r:id="rId23"/>
            </p:custDataLst>
          </p:nvPr>
        </p:nvSpPr>
        <p:spPr bwMode="gray">
          <a:xfrm>
            <a:off x="5930900" y="478631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7</a:t>
            </a:r>
          </a:p>
        </p:txBody>
      </p:sp>
      <p:sp>
        <p:nvSpPr>
          <p:cNvPr id="33" name="Text Placeholder 10">
            <a:extLst>
              <a:ext uri="{FF2B5EF4-FFF2-40B4-BE49-F238E27FC236}">
                <a16:creationId xmlns:a16="http://schemas.microsoft.com/office/drawing/2014/main" id="{574A8A46-8C3C-DD0E-15F2-2A5F34586582}"/>
              </a:ext>
            </a:extLst>
          </p:cNvPr>
          <p:cNvSpPr txBox="1">
            <a:spLocks/>
          </p:cNvSpPr>
          <p:nvPr>
            <p:custDataLst>
              <p:tags r:id="rId24"/>
            </p:custDataLst>
          </p:nvPr>
        </p:nvSpPr>
        <p:spPr bwMode="gray">
          <a:xfrm>
            <a:off x="6754813" y="452755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53B5AB-7E8A-4B15-A865-0C06B6B97E17}" type="datetime'''''''''''''''''''''''3''''''''''''''''''''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1</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21F9DBA6-2E37-2137-E8CF-1F7E7441E6DA}"/>
              </a:ext>
            </a:extLst>
          </p:cNvPr>
          <p:cNvSpPr txBox="1">
            <a:spLocks/>
          </p:cNvSpPr>
          <p:nvPr>
            <p:custDataLst>
              <p:tags r:id="rId25"/>
            </p:custDataLst>
          </p:nvPr>
        </p:nvSpPr>
        <p:spPr bwMode="gray">
          <a:xfrm>
            <a:off x="8401050" y="30734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78F643-D837-4CD2-A2E8-E1A27DEB6ABF}" type="datetime'''''''''''6''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4</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8D9E2999-9D83-B962-6E6A-11149E9B00E6}"/>
              </a:ext>
            </a:extLst>
          </p:cNvPr>
          <p:cNvSpPr>
            <a:spLocks/>
          </p:cNvSpPr>
          <p:nvPr>
            <p:custDataLst>
              <p:tags r:id="rId26"/>
            </p:custDataLst>
          </p:nvPr>
        </p:nvSpPr>
        <p:spPr bwMode="auto">
          <a:xfrm>
            <a:off x="7013575" y="2732088"/>
            <a:ext cx="13747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3.5%/ year</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821DB451-C2D1-F9D7-32DB-BBAAA46A2DFF}"/>
              </a:ext>
            </a:extLst>
          </p:cNvPr>
          <p:cNvSpPr/>
          <p:nvPr>
            <p:custDataLst>
              <p:tags r:id="rId27"/>
            </p:custDataLst>
          </p:nvPr>
        </p:nvSpPr>
        <p:spPr bwMode="auto">
          <a:xfrm>
            <a:off x="4814888" y="2322513"/>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60566699-D779-68E4-DC0B-291194E8C7AC}"/>
              </a:ext>
            </a:extLst>
          </p:cNvPr>
          <p:cNvSpPr/>
          <p:nvPr>
            <p:custDataLst>
              <p:tags r:id="rId28"/>
            </p:custDataLst>
          </p:nvPr>
        </p:nvSpPr>
        <p:spPr bwMode="auto">
          <a:xfrm>
            <a:off x="4814888" y="249555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51F69C8-86E1-56A5-4C1F-7B06EB71ED8A}"/>
              </a:ext>
            </a:extLst>
          </p:cNvPr>
          <p:cNvSpPr/>
          <p:nvPr>
            <p:custDataLst>
              <p:tags r:id="rId29"/>
            </p:custDataLst>
          </p:nvPr>
        </p:nvSpPr>
        <p:spPr bwMode="auto">
          <a:xfrm>
            <a:off x="5524500" y="23225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6444FE9F-7E55-4F67-DAE0-6501CF0F5FC5}"/>
              </a:ext>
            </a:extLst>
          </p:cNvPr>
          <p:cNvSpPr/>
          <p:nvPr>
            <p:custDataLst>
              <p:tags r:id="rId30"/>
            </p:custDataLst>
          </p:nvPr>
        </p:nvSpPr>
        <p:spPr bwMode="auto">
          <a:xfrm>
            <a:off x="5524500" y="249555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199F624B-24EE-FE02-0C8A-DB862F9F2C95}"/>
              </a:ext>
            </a:extLst>
          </p:cNvPr>
          <p:cNvSpPr/>
          <p:nvPr>
            <p:custDataLst>
              <p:tags r:id="rId31"/>
            </p:custDataLst>
          </p:nvPr>
        </p:nvSpPr>
        <p:spPr bwMode="auto">
          <a:xfrm>
            <a:off x="6570663" y="2322513"/>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0DB94C63-AFF2-9142-69E1-9316A5EBCE9B}"/>
              </a:ext>
            </a:extLst>
          </p:cNvPr>
          <p:cNvSpPr txBox="1">
            <a:spLocks/>
          </p:cNvSpPr>
          <p:nvPr>
            <p:custDataLst>
              <p:tags r:id="rId32"/>
            </p:custDataLst>
          </p:nvPr>
        </p:nvSpPr>
        <p:spPr bwMode="auto">
          <a:xfrm>
            <a:off x="5008563" y="2317750"/>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E9AA57-33A5-4169-BC96-B8649D7C06FE}" type="datetime'''''''I''''''''''''nd''''''u''''s''''''''''t''''''''''''r''y'">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ustry</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77E5F56F-FA97-ECD6-D389-2F9423A14DE6}"/>
              </a:ext>
            </a:extLst>
          </p:cNvPr>
          <p:cNvSpPr txBox="1">
            <a:spLocks/>
          </p:cNvSpPr>
          <p:nvPr>
            <p:custDataLst>
              <p:tags r:id="rId33"/>
            </p:custDataLst>
          </p:nvPr>
        </p:nvSpPr>
        <p:spPr bwMode="auto">
          <a:xfrm>
            <a:off x="5008563" y="2490788"/>
            <a:ext cx="414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BAB81D-A531-4788-97B1-56352A394824}" type="datetime'''Bu''''''''i''''l''d''i''''''n''''''''''g''''''''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ilding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33A4BAA3-07CB-3ACC-40DF-44D6C39E8F26}"/>
              </a:ext>
            </a:extLst>
          </p:cNvPr>
          <p:cNvSpPr txBox="1">
            <a:spLocks/>
          </p:cNvSpPr>
          <p:nvPr>
            <p:custDataLst>
              <p:tags r:id="rId34"/>
            </p:custDataLst>
          </p:nvPr>
        </p:nvSpPr>
        <p:spPr bwMode="auto">
          <a:xfrm>
            <a:off x="5718175" y="2317750"/>
            <a:ext cx="750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2247A4-CF3F-48E7-A34E-4ADBA0C72BE0}" type="datetime'''H2 ''''''''''a''''''''''''n''d ''''S''y''''''nf''''ue''l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2 and Synfuel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16050FD8-DB05-BB74-2155-F9D2CB2C16F3}"/>
              </a:ext>
            </a:extLst>
          </p:cNvPr>
          <p:cNvSpPr txBox="1">
            <a:spLocks/>
          </p:cNvSpPr>
          <p:nvPr>
            <p:custDataLst>
              <p:tags r:id="rId35"/>
            </p:custDataLst>
          </p:nvPr>
        </p:nvSpPr>
        <p:spPr bwMode="auto">
          <a:xfrm>
            <a:off x="5718175" y="2490788"/>
            <a:ext cx="601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A135EA-583F-4752-8951-B56D75F0A2AA}" type="datetime'''D''at''''''''''a'''''''' ''Ce''''''''n''t''e''''r''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ata Center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548A2CCF-727E-7CAC-852D-907C933BCAD3}"/>
              </a:ext>
            </a:extLst>
          </p:cNvPr>
          <p:cNvSpPr txBox="1">
            <a:spLocks/>
          </p:cNvSpPr>
          <p:nvPr>
            <p:custDataLst>
              <p:tags r:id="rId36"/>
            </p:custDataLst>
          </p:nvPr>
        </p:nvSpPr>
        <p:spPr bwMode="auto">
          <a:xfrm>
            <a:off x="6764338" y="2317750"/>
            <a:ext cx="436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DA11A2-C6D9-4F5F-89FA-CB1A5C5BAC56}" type="datetime'''''T''''''''''r''''''''''''''''a''''''n''s''''''p''o''r''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anspor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835DCF2B-2B0D-F386-F673-EE5D3637FFFA}"/>
              </a:ext>
            </a:extLst>
          </p:cNvPr>
          <p:cNvSpPr txBox="1"/>
          <p:nvPr/>
        </p:nvSpPr>
        <p:spPr bwMode="gray">
          <a:xfrm>
            <a:off x="4797291" y="2081993"/>
            <a:ext cx="3759822"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Global power consumption by sector (thousands of TWh)</a:t>
            </a:r>
          </a:p>
        </p:txBody>
      </p:sp>
      <p:sp>
        <p:nvSpPr>
          <p:cNvPr id="47" name="TextBox 46">
            <a:extLst>
              <a:ext uri="{FF2B5EF4-FFF2-40B4-BE49-F238E27FC236}">
                <a16:creationId xmlns:a16="http://schemas.microsoft.com/office/drawing/2014/main" id="{2D043DDF-311E-01A7-2661-4B58B8120E01}"/>
              </a:ext>
            </a:extLst>
          </p:cNvPr>
          <p:cNvSpPr txBox="1"/>
          <p:nvPr/>
        </p:nvSpPr>
        <p:spPr bwMode="gray">
          <a:xfrm>
            <a:off x="329184" y="2075804"/>
            <a:ext cx="3559167"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Global primary energy demand (million TJ)</a:t>
            </a:r>
          </a:p>
        </p:txBody>
      </p:sp>
      <p:sp>
        <p:nvSpPr>
          <p:cNvPr id="48" name="Rectangle 47">
            <a:extLst>
              <a:ext uri="{FF2B5EF4-FFF2-40B4-BE49-F238E27FC236}">
                <a16:creationId xmlns:a16="http://schemas.microsoft.com/office/drawing/2014/main" id="{446B46F7-9C5D-8342-1A2B-D532D6355148}"/>
              </a:ext>
            </a:extLst>
          </p:cNvPr>
          <p:cNvSpPr/>
          <p:nvPr>
            <p:custDataLst>
              <p:tags r:id="rId37"/>
            </p:custDataLst>
          </p:nvPr>
        </p:nvSpPr>
        <p:spPr bwMode="auto">
          <a:xfrm>
            <a:off x="582613" y="2322513"/>
            <a:ext cx="142875" cy="106363"/>
          </a:xfrm>
          <a:prstGeom prst="rect">
            <a:avLst/>
          </a:prstGeom>
          <a:solidFill>
            <a:srgbClr val="BDE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6520FF32-3F97-E029-E5F7-83DC02C5C919}"/>
              </a:ext>
            </a:extLst>
          </p:cNvPr>
          <p:cNvSpPr/>
          <p:nvPr>
            <p:custDataLst>
              <p:tags r:id="rId38"/>
            </p:custDataLst>
          </p:nvPr>
        </p:nvSpPr>
        <p:spPr bwMode="auto">
          <a:xfrm>
            <a:off x="582613" y="2495550"/>
            <a:ext cx="142875" cy="106363"/>
          </a:xfrm>
          <a:prstGeom prst="rect">
            <a:avLst/>
          </a:prstGeom>
          <a:solidFill>
            <a:srgbClr val="87DBE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69D8D53-EFDD-CE4B-E49A-65C47CDE82F9}"/>
              </a:ext>
            </a:extLst>
          </p:cNvPr>
          <p:cNvSpPr/>
          <p:nvPr>
            <p:custDataLst>
              <p:tags r:id="rId39"/>
            </p:custDataLst>
          </p:nvPr>
        </p:nvSpPr>
        <p:spPr bwMode="auto">
          <a:xfrm>
            <a:off x="582613" y="2668588"/>
            <a:ext cx="142875" cy="106363"/>
          </a:xfrm>
          <a:prstGeom prst="rect">
            <a:avLst/>
          </a:prstGeom>
          <a:solidFill>
            <a:srgbClr val="187B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00B9CDB1-FD5C-DC75-D7BE-585C7DF97E4D}"/>
              </a:ext>
            </a:extLst>
          </p:cNvPr>
          <p:cNvSpPr/>
          <p:nvPr>
            <p:custDataLst>
              <p:tags r:id="rId40"/>
            </p:custDataLst>
          </p:nvPr>
        </p:nvSpPr>
        <p:spPr bwMode="auto">
          <a:xfrm>
            <a:off x="1223963" y="2322513"/>
            <a:ext cx="142875" cy="106363"/>
          </a:xfrm>
          <a:prstGeom prst="rect">
            <a:avLst/>
          </a:prstGeom>
          <a:solidFill>
            <a:srgbClr val="84AD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6B97128E-96D1-46E5-776B-7B2DC4AAA2FF}"/>
              </a:ext>
            </a:extLst>
          </p:cNvPr>
          <p:cNvSpPr/>
          <p:nvPr>
            <p:custDataLst>
              <p:tags r:id="rId41"/>
            </p:custDataLst>
          </p:nvPr>
        </p:nvSpPr>
        <p:spPr bwMode="auto">
          <a:xfrm>
            <a:off x="1223963" y="2495550"/>
            <a:ext cx="142875" cy="106363"/>
          </a:xfrm>
          <a:prstGeom prst="rect">
            <a:avLst/>
          </a:prstGeom>
          <a:solidFill>
            <a:srgbClr val="2FAE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DC263E28-B806-B83F-C1B8-C07C9B6DC805}"/>
              </a:ext>
            </a:extLst>
          </p:cNvPr>
          <p:cNvSpPr/>
          <p:nvPr>
            <p:custDataLst>
              <p:tags r:id="rId42"/>
            </p:custDataLst>
          </p:nvPr>
        </p:nvSpPr>
        <p:spPr bwMode="auto">
          <a:xfrm>
            <a:off x="1223963" y="2668588"/>
            <a:ext cx="142875" cy="106363"/>
          </a:xfrm>
          <a:prstGeom prst="rect">
            <a:avLst/>
          </a:prstGeom>
          <a:solidFill>
            <a:srgbClr val="90C2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1E37246B-66AF-91D3-9F54-D59967ACF5A7}"/>
              </a:ext>
            </a:extLst>
          </p:cNvPr>
          <p:cNvSpPr/>
          <p:nvPr>
            <p:custDataLst>
              <p:tags r:id="rId43"/>
            </p:custDataLst>
          </p:nvPr>
        </p:nvSpPr>
        <p:spPr bwMode="auto">
          <a:xfrm>
            <a:off x="2143125" y="2322513"/>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B2B2D3F-BC33-1F03-04E9-2C99CBA01845}"/>
              </a:ext>
            </a:extLst>
          </p:cNvPr>
          <p:cNvSpPr/>
          <p:nvPr>
            <p:custDataLst>
              <p:tags r:id="rId44"/>
            </p:custDataLst>
          </p:nvPr>
        </p:nvSpPr>
        <p:spPr bwMode="auto">
          <a:xfrm>
            <a:off x="2143125" y="2495550"/>
            <a:ext cx="142875" cy="106363"/>
          </a:xfrm>
          <a:prstGeom prst="rect">
            <a:avLst/>
          </a:prstGeom>
          <a:solidFill>
            <a:srgbClr val="C0C0C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5D2172A-60F2-2023-5CA7-79C119E217F2}"/>
              </a:ext>
            </a:extLst>
          </p:cNvPr>
          <p:cNvSpPr/>
          <p:nvPr>
            <p:custDataLst>
              <p:tags r:id="rId45"/>
            </p:custDataLst>
          </p:nvPr>
        </p:nvSpPr>
        <p:spPr bwMode="auto">
          <a:xfrm>
            <a:off x="2143125" y="2668588"/>
            <a:ext cx="142875" cy="106363"/>
          </a:xfrm>
          <a:prstGeom prst="rect">
            <a:avLst/>
          </a:prstGeom>
          <a:solidFill>
            <a:srgbClr val="96969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7D6B4AA-4F7B-5CB2-7AAE-CFEA2915A1ED}"/>
              </a:ext>
            </a:extLst>
          </p:cNvPr>
          <p:cNvSpPr/>
          <p:nvPr>
            <p:custDataLst>
              <p:tags r:id="rId46"/>
            </p:custDataLst>
          </p:nvPr>
        </p:nvSpPr>
        <p:spPr bwMode="auto">
          <a:xfrm>
            <a:off x="3090863" y="2322513"/>
            <a:ext cx="142875" cy="106363"/>
          </a:xfrm>
          <a:prstGeom prst="rect">
            <a:avLst/>
          </a:prstGeom>
          <a:solidFill>
            <a:schemeClr val="bg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Text Placeholder 10">
            <a:extLst>
              <a:ext uri="{FF2B5EF4-FFF2-40B4-BE49-F238E27FC236}">
                <a16:creationId xmlns:a16="http://schemas.microsoft.com/office/drawing/2014/main" id="{05AAED47-0138-0A4B-EFAD-292DC3579659}"/>
              </a:ext>
            </a:extLst>
          </p:cNvPr>
          <p:cNvSpPr txBox="1">
            <a:spLocks/>
          </p:cNvSpPr>
          <p:nvPr>
            <p:custDataLst>
              <p:tags r:id="rId47"/>
            </p:custDataLst>
          </p:nvPr>
        </p:nvSpPr>
        <p:spPr bwMode="auto">
          <a:xfrm>
            <a:off x="776288" y="2317750"/>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16EF11-D264-458C-A03F-FAB9A114E11F}" type="datetime'''''''''''I''''''''''''n''''d''''''''''''''''''''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 Placeholder 10">
            <a:extLst>
              <a:ext uri="{FF2B5EF4-FFF2-40B4-BE49-F238E27FC236}">
                <a16:creationId xmlns:a16="http://schemas.microsoft.com/office/drawing/2014/main" id="{F02603D5-78D9-A0A3-63F1-7FD959279E8F}"/>
              </a:ext>
            </a:extLst>
          </p:cNvPr>
          <p:cNvSpPr txBox="1">
            <a:spLocks/>
          </p:cNvSpPr>
          <p:nvPr>
            <p:custDataLst>
              <p:tags r:id="rId48"/>
            </p:custDataLst>
          </p:nvPr>
        </p:nvSpPr>
        <p:spPr bwMode="auto">
          <a:xfrm>
            <a:off x="776288" y="2490788"/>
            <a:ext cx="346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7547F9-92EF-437A-960D-00CD9D0C3DBA}" type="datetime'''A''''''''''SE''''''''''''''''''''''''''''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SEAN</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9BEEC258-9B3A-B3A1-E80A-380DA341632F}"/>
              </a:ext>
            </a:extLst>
          </p:cNvPr>
          <p:cNvSpPr txBox="1">
            <a:spLocks/>
          </p:cNvSpPr>
          <p:nvPr>
            <p:custDataLst>
              <p:tags r:id="rId49"/>
            </p:custDataLst>
          </p:nvPr>
        </p:nvSpPr>
        <p:spPr bwMode="auto">
          <a:xfrm>
            <a:off x="776288" y="2663825"/>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AF3315-2569-4578-9C0D-97E9BB91090B}" type="datetime'''''''''''''''''''A''''''f''''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f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69A9C142-1926-8E0A-16E4-12BE8A361158}"/>
              </a:ext>
            </a:extLst>
          </p:cNvPr>
          <p:cNvSpPr txBox="1">
            <a:spLocks/>
          </p:cNvSpPr>
          <p:nvPr>
            <p:custDataLst>
              <p:tags r:id="rId50"/>
            </p:custDataLst>
          </p:nvPr>
        </p:nvSpPr>
        <p:spPr bwMode="auto">
          <a:xfrm>
            <a:off x="1417638" y="2317750"/>
            <a:ext cx="533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967CAB-5764-496F-A7DD-FF4D6ADBFB6F}" type="datetime'''M''''i''''''''d''d''''''''l''e'' ''E''a''''''''''''s''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iddle Eas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 Placeholder 10">
            <a:extLst>
              <a:ext uri="{FF2B5EF4-FFF2-40B4-BE49-F238E27FC236}">
                <a16:creationId xmlns:a16="http://schemas.microsoft.com/office/drawing/2014/main" id="{63C4D456-2B85-B179-AE3D-7E48F2227A51}"/>
              </a:ext>
            </a:extLst>
          </p:cNvPr>
          <p:cNvSpPr txBox="1">
            <a:spLocks/>
          </p:cNvSpPr>
          <p:nvPr>
            <p:custDataLst>
              <p:tags r:id="rId51"/>
            </p:custDataLst>
          </p:nvPr>
        </p:nvSpPr>
        <p:spPr bwMode="auto">
          <a:xfrm>
            <a:off x="1417638" y="2490788"/>
            <a:ext cx="617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3FAEE4-800B-484D-AA6C-3AF7D19BC3AE}" type="datetime'''''R''''es''''t ''''''''''of ''''''''''W''o''''''r''l''d'''">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World</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Text Placeholder 10">
            <a:extLst>
              <a:ext uri="{FF2B5EF4-FFF2-40B4-BE49-F238E27FC236}">
                <a16:creationId xmlns:a16="http://schemas.microsoft.com/office/drawing/2014/main" id="{D95117F4-ECE4-D4B6-D512-048AA760E3FA}"/>
              </a:ext>
            </a:extLst>
          </p:cNvPr>
          <p:cNvSpPr txBox="1">
            <a:spLocks/>
          </p:cNvSpPr>
          <p:nvPr>
            <p:custDataLst>
              <p:tags r:id="rId52"/>
            </p:custDataLst>
          </p:nvPr>
        </p:nvSpPr>
        <p:spPr bwMode="auto">
          <a:xfrm>
            <a:off x="1417638" y="2663825"/>
            <a:ext cx="623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735889-F326-4671-A869-D0C99632581E}" type="datetime'''''''L''''''''atin'' Am''''''''''''e''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atin Ame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211D1605-F374-9273-AC7F-92011284D6AA}"/>
              </a:ext>
            </a:extLst>
          </p:cNvPr>
          <p:cNvSpPr txBox="1">
            <a:spLocks/>
          </p:cNvSpPr>
          <p:nvPr>
            <p:custDataLst>
              <p:tags r:id="rId53"/>
            </p:custDataLst>
          </p:nvPr>
        </p:nvSpPr>
        <p:spPr bwMode="auto">
          <a:xfrm>
            <a:off x="2336800" y="2317750"/>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A56957-44F4-43C4-9959-F4C4A6AF6325}" type="datetime'''''''''''''''''Ch''''''''''''''''''i''n''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47841378-905B-C09C-CC08-0CA4D3F54217}"/>
              </a:ext>
            </a:extLst>
          </p:cNvPr>
          <p:cNvSpPr txBox="1">
            <a:spLocks/>
          </p:cNvSpPr>
          <p:nvPr>
            <p:custDataLst>
              <p:tags r:id="rId54"/>
            </p:custDataLst>
          </p:nvPr>
        </p:nvSpPr>
        <p:spPr bwMode="auto">
          <a:xfrm>
            <a:off x="2336800" y="2490788"/>
            <a:ext cx="650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5D61D2A-DF7C-418C-9CB8-58E7F3872CB7}" type="datetime'No''''''r''''t''''''''''h'' ''''''Ame''''''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orth Ame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35C02E70-6F24-C26A-5CFB-9A533F9739F3}"/>
              </a:ext>
            </a:extLst>
          </p:cNvPr>
          <p:cNvSpPr txBox="1">
            <a:spLocks/>
          </p:cNvSpPr>
          <p:nvPr>
            <p:custDataLst>
              <p:tags r:id="rId55"/>
            </p:custDataLst>
          </p:nvPr>
        </p:nvSpPr>
        <p:spPr bwMode="auto">
          <a:xfrm>
            <a:off x="2336800" y="2663825"/>
            <a:ext cx="652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B0E2D5-9992-402E-BCBA-B7CB08944312}" type="datetime'''O''''''''''''C''''''''''''''''ED Eur''''''''o''''''p''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CED Europe</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7CFCDA0F-2619-0F5B-85C3-E731FC2A3AED}"/>
              </a:ext>
            </a:extLst>
          </p:cNvPr>
          <p:cNvSpPr txBox="1">
            <a:spLocks/>
          </p:cNvSpPr>
          <p:nvPr>
            <p:custDataLst>
              <p:tags r:id="rId56"/>
            </p:custDataLst>
          </p:nvPr>
        </p:nvSpPr>
        <p:spPr bwMode="auto">
          <a:xfrm>
            <a:off x="3284538" y="2317750"/>
            <a:ext cx="849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mn-cs"/>
              </a:rPr>
              <a:t>OECD Asia Pacific</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6207696A-04BA-330D-4718-1188F5852D5F}"/>
              </a:ext>
            </a:extLst>
          </p:cNvPr>
          <p:cNvCxnSpPr>
            <a:cxnSpLocks/>
          </p:cNvCxnSpPr>
          <p:nvPr/>
        </p:nvCxnSpPr>
        <p:spPr bwMode="gray">
          <a:xfrm>
            <a:off x="2693066" y="2847444"/>
            <a:ext cx="0" cy="3291840"/>
          </a:xfrm>
          <a:prstGeom prst="line">
            <a:avLst/>
          </a:prstGeom>
          <a:ln>
            <a:solidFill>
              <a:schemeClr val="tx1"/>
            </a:solidFill>
            <a:prstDash val="dash"/>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69" name="Triangle 68">
            <a:extLst>
              <a:ext uri="{FF2B5EF4-FFF2-40B4-BE49-F238E27FC236}">
                <a16:creationId xmlns:a16="http://schemas.microsoft.com/office/drawing/2014/main" id="{A133E172-F9C1-D1F5-CAF1-8EDF484B74CA}"/>
              </a:ext>
            </a:extLst>
          </p:cNvPr>
          <p:cNvSpPr/>
          <p:nvPr/>
        </p:nvSpPr>
        <p:spPr bwMode="gray">
          <a:xfrm rot="15344332">
            <a:off x="3447680" y="2232131"/>
            <a:ext cx="184201" cy="1741212"/>
          </a:xfrm>
          <a:prstGeom prst="triangle">
            <a:avLst/>
          </a:prstGeom>
          <a:solidFill>
            <a:schemeClr val="tx2">
              <a:alpha val="50000"/>
            </a:schemeClr>
          </a:solidFill>
          <a:ln>
            <a:solidFill>
              <a:schemeClr val="tx2">
                <a:lumMod val="90000"/>
              </a:schemeClr>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AEE57F20-E8C1-5E03-D453-0EACC97A9667}"/>
              </a:ext>
            </a:extLst>
          </p:cNvPr>
          <p:cNvSpPr/>
          <p:nvPr/>
        </p:nvSpPr>
        <p:spPr bwMode="gray">
          <a:xfrm>
            <a:off x="4334455" y="2758481"/>
            <a:ext cx="416193" cy="1441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1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Growth</a:t>
            </a:r>
          </a:p>
        </p:txBody>
      </p:sp>
    </p:spTree>
    <p:extLst>
      <p:ext uri="{BB962C8B-B14F-4D97-AF65-F5344CB8AC3E}">
        <p14:creationId xmlns:p14="http://schemas.microsoft.com/office/powerpoint/2010/main" val="34282898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0FE8BC-A63A-77A8-10F0-E57445A0F28A}"/>
              </a:ext>
            </a:extLst>
          </p:cNvPr>
          <p:cNvGraphicFramePr>
            <a:graphicFrameLocks/>
          </p:cNvGraphicFramePr>
          <p:nvPr>
            <p:custDataLst>
              <p:tags r:id="rId1"/>
            </p:custDataLst>
            <p:extLst>
              <p:ext uri="{D42A27DB-BD31-4B8C-83A1-F6EECF244321}">
                <p14:modId xmlns:p14="http://schemas.microsoft.com/office/powerpoint/2010/main" val="507448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D698EC4-30F0-6D5A-57C7-9E19F9AC319B}"/>
              </a:ext>
            </a:extLst>
          </p:cNvPr>
          <p:cNvSpPr>
            <a:spLocks noGrp="1"/>
          </p:cNvSpPr>
          <p:nvPr>
            <p:ph type="title"/>
          </p:nvPr>
        </p:nvSpPr>
        <p:spPr/>
        <p:txBody>
          <a:bodyPr vert="horz" rIns="91440"/>
          <a:lstStyle/>
          <a:p>
            <a:r>
              <a:rPr lang="en-US" dirty="0"/>
              <a:t>Geothermal power and geothermal heating &amp; cooling show sectorial flexibility but remain rare in global deployment, despite savings potential</a:t>
            </a:r>
          </a:p>
        </p:txBody>
      </p:sp>
      <p:sp>
        <p:nvSpPr>
          <p:cNvPr id="4" name="Footer Placeholder 3">
            <a:extLst>
              <a:ext uri="{FF2B5EF4-FFF2-40B4-BE49-F238E27FC236}">
                <a16:creationId xmlns:a16="http://schemas.microsoft.com/office/drawing/2014/main" id="{1522B5CF-91F2-97D1-226B-2C1E0922A149}"/>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latin typeface="Arial" panose="020B0604020202020204" pitchFamily="34" charset="0"/>
                <a:cs typeface="Arial" panose="020B0604020202020204" pitchFamily="34" charset="0"/>
                <a:hlinkClick r:id="rId5"/>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solidFill>
                  <a:srgbClr val="000000"/>
                </a:solidFill>
                <a:hlinkClick r:id="rId6"/>
              </a:rPr>
              <a:t>IEA</a:t>
            </a:r>
            <a:r>
              <a:rPr lang="en-US" dirty="0">
                <a:solidFill>
                  <a:srgbClr val="000000"/>
                </a:solidFill>
              </a:rPr>
              <a:t> (2023); </a:t>
            </a:r>
            <a:r>
              <a:rPr lang="en-US" dirty="0">
                <a:solidFill>
                  <a:srgbClr val="000000"/>
                </a:solidFill>
                <a:hlinkClick r:id="rId7"/>
              </a:rPr>
              <a:t>GeoVision DOE</a:t>
            </a:r>
            <a:r>
              <a:rPr lang="en-US" dirty="0">
                <a:solidFill>
                  <a:srgbClr val="000000"/>
                </a:solidFill>
              </a:rPr>
              <a:t> (DOE, 2019); </a:t>
            </a:r>
            <a:r>
              <a:rPr lang="en-US" dirty="0">
                <a:solidFill>
                  <a:srgbClr val="000000"/>
                </a:solidFill>
                <a:hlinkClick r:id="rId8"/>
              </a:rPr>
              <a:t>IPCC</a:t>
            </a:r>
            <a:r>
              <a:rPr lang="en-US" dirty="0">
                <a:solidFill>
                  <a:srgbClr val="000000"/>
                </a:solidFill>
              </a:rPr>
              <a:t> (2011); CKI analysis (2025).</a:t>
            </a:r>
          </a:p>
          <a:p>
            <a:pPr marL="0" indent="0">
              <a:spcBef>
                <a:spcPts val="0"/>
              </a:spcBef>
              <a:buNone/>
              <a:defRPr/>
            </a:pPr>
            <a:r>
              <a:rPr lang="en-US" dirty="0">
                <a:solidFill>
                  <a:srgbClr val="000000"/>
                </a:solidFill>
              </a:rPr>
              <a:t>Credit: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9"/>
              </a:rPr>
              <a:t>Gernot Wagner.</a:t>
            </a:r>
            <a:r>
              <a:rPr lang="en-US" dirty="0"/>
              <a:t> </a:t>
            </a:r>
            <a:r>
              <a:rPr lang="en-US" dirty="0">
                <a:hlinkClick r:id="rId10"/>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graphicFrame>
        <p:nvGraphicFramePr>
          <p:cNvPr id="6" name="Table 5">
            <a:extLst>
              <a:ext uri="{FF2B5EF4-FFF2-40B4-BE49-F238E27FC236}">
                <a16:creationId xmlns:a16="http://schemas.microsoft.com/office/drawing/2014/main" id="{AC8DBE48-05F5-D624-3CE2-C4E82ACC1684}"/>
              </a:ext>
            </a:extLst>
          </p:cNvPr>
          <p:cNvGraphicFramePr>
            <a:graphicFrameLocks noGrp="1"/>
          </p:cNvGraphicFramePr>
          <p:nvPr>
            <p:extLst>
              <p:ext uri="{D42A27DB-BD31-4B8C-83A1-F6EECF244321}">
                <p14:modId xmlns:p14="http://schemas.microsoft.com/office/powerpoint/2010/main" val="2921867852"/>
              </p:ext>
            </p:extLst>
          </p:nvPr>
        </p:nvGraphicFramePr>
        <p:xfrm>
          <a:off x="402600" y="1886704"/>
          <a:ext cx="11454438" cy="4317726"/>
        </p:xfrm>
        <a:graphic>
          <a:graphicData uri="http://schemas.openxmlformats.org/drawingml/2006/table">
            <a:tbl>
              <a:tblPr firstRow="1" bandRow="1">
                <a:tableStyleId>{2D5ABB26-0587-4C30-8999-92F81FD0307C}</a:tableStyleId>
              </a:tblPr>
              <a:tblGrid>
                <a:gridCol w="1966670">
                  <a:extLst>
                    <a:ext uri="{9D8B030D-6E8A-4147-A177-3AD203B41FA5}">
                      <a16:colId xmlns:a16="http://schemas.microsoft.com/office/drawing/2014/main" val="3494137714"/>
                    </a:ext>
                  </a:extLst>
                </a:gridCol>
                <a:gridCol w="3269500">
                  <a:extLst>
                    <a:ext uri="{9D8B030D-6E8A-4147-A177-3AD203B41FA5}">
                      <a16:colId xmlns:a16="http://schemas.microsoft.com/office/drawing/2014/main" val="2087873201"/>
                    </a:ext>
                  </a:extLst>
                </a:gridCol>
                <a:gridCol w="3109134">
                  <a:extLst>
                    <a:ext uri="{9D8B030D-6E8A-4147-A177-3AD203B41FA5}">
                      <a16:colId xmlns:a16="http://schemas.microsoft.com/office/drawing/2014/main" val="1809674150"/>
                    </a:ext>
                  </a:extLst>
                </a:gridCol>
                <a:gridCol w="3109134">
                  <a:extLst>
                    <a:ext uri="{9D8B030D-6E8A-4147-A177-3AD203B41FA5}">
                      <a16:colId xmlns:a16="http://schemas.microsoft.com/office/drawing/2014/main" val="947675204"/>
                    </a:ext>
                  </a:extLst>
                </a:gridCol>
              </a:tblGrid>
              <a:tr h="565718">
                <a:tc>
                  <a:txBody>
                    <a:bodyPr/>
                    <a:lstStyle/>
                    <a:p>
                      <a:pPr algn="ctr">
                        <a:spcBef>
                          <a:spcPts val="0"/>
                        </a:spcBef>
                        <a:buNone/>
                      </a:pPr>
                      <a:r>
                        <a:rPr lang="en-US" b="1" dirty="0">
                          <a:effectLst/>
                          <a:latin typeface=".AppleSystemUIFont"/>
                        </a:rPr>
                        <a:t>Opportunity Area</a:t>
                      </a:r>
                      <a:endParaRPr lang="en-US"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0"/>
                        </a:spcBef>
                        <a:buNone/>
                      </a:pPr>
                      <a:r>
                        <a:rPr lang="en-US" b="1" dirty="0">
                          <a:solidFill>
                            <a:schemeClr val="bg1"/>
                          </a:solidFill>
                          <a:effectLst/>
                          <a:latin typeface=".AppleSystemUIFont"/>
                        </a:rPr>
                        <a:t>Integration Concept</a:t>
                      </a:r>
                      <a:endParaRPr lang="en-US" dirty="0">
                        <a:solidFill>
                          <a:schemeClr val="bg1"/>
                        </a:solidFill>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spcBef>
                          <a:spcPts val="0"/>
                        </a:spcBef>
                        <a:buNone/>
                      </a:pPr>
                      <a:r>
                        <a:rPr lang="en-US" b="1" dirty="0">
                          <a:solidFill>
                            <a:schemeClr val="bg1"/>
                          </a:solidFill>
                          <a:effectLst/>
                          <a:latin typeface=".AppleSystemUIFont"/>
                        </a:rPr>
                        <a:t>Value Proposition</a:t>
                      </a:r>
                      <a:endParaRPr lang="en-US" dirty="0">
                        <a:solidFill>
                          <a:schemeClr val="bg1"/>
                        </a:solidFill>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spcBef>
                          <a:spcPts val="0"/>
                        </a:spcBef>
                        <a:buNone/>
                      </a:pPr>
                      <a:r>
                        <a:rPr lang="en-US" b="1" dirty="0">
                          <a:solidFill>
                            <a:schemeClr val="bg1"/>
                          </a:solidFill>
                          <a:effectLst/>
                          <a:latin typeface=".AppleSystemUIFont"/>
                        </a:rPr>
                        <a:t>Locations </a:t>
                      </a: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932390523"/>
                  </a:ext>
                </a:extLst>
              </a:tr>
              <a:tr h="817148">
                <a:tc>
                  <a:txBody>
                    <a:bodyPr/>
                    <a:lstStyle/>
                    <a:p>
                      <a:pPr>
                        <a:spcBef>
                          <a:spcPts val="0"/>
                        </a:spcBef>
                        <a:buNone/>
                      </a:pPr>
                      <a:r>
                        <a:rPr lang="en-US" sz="1200" b="1" dirty="0">
                          <a:effectLst/>
                          <a:latin typeface=".AppleSystemUIFont"/>
                        </a:rPr>
                        <a:t>District Energy Networks</a:t>
                      </a:r>
                      <a:endParaRPr lang="en-US" sz="1200"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spcBef>
                          <a:spcPts val="0"/>
                        </a:spcBef>
                        <a:buNone/>
                      </a:pPr>
                      <a:r>
                        <a:rPr lang="en-US" sz="1200" dirty="0">
                          <a:effectLst/>
                          <a:latin typeface=".AppleSystemUIFont"/>
                        </a:rPr>
                        <a:t>Supplying heating &amp; cooling and power via </a:t>
                      </a:r>
                    </a:p>
                    <a:p>
                      <a:pPr>
                        <a:spcBef>
                          <a:spcPts val="0"/>
                        </a:spcBef>
                        <a:buNone/>
                      </a:pPr>
                      <a:r>
                        <a:rPr lang="en-US" sz="1200" dirty="0">
                          <a:effectLst/>
                          <a:latin typeface=".AppleSystemUIFont"/>
                        </a:rPr>
                        <a:t>geothermal‑driven systems and distribution </a:t>
                      </a:r>
                    </a:p>
                    <a:p>
                      <a:pPr>
                        <a:spcBef>
                          <a:spcPts val="0"/>
                        </a:spcBef>
                        <a:buNone/>
                      </a:pPr>
                      <a:r>
                        <a:rPr lang="en-US" sz="1200" dirty="0">
                          <a:effectLst/>
                          <a:latin typeface=".AppleSystemUIFont"/>
                        </a:rPr>
                        <a:t>network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r>
                        <a:rPr lang="en-US" sz="1200" dirty="0">
                          <a:effectLst/>
                          <a:latin typeface=".AppleSystemUIFont"/>
                        </a:rPr>
                        <a:t>Enables high total‑energy efficiency in cities, </a:t>
                      </a:r>
                    </a:p>
                    <a:p>
                      <a:pPr>
                        <a:spcBef>
                          <a:spcPts val="0"/>
                        </a:spcBef>
                        <a:buNone/>
                      </a:pPr>
                      <a:r>
                        <a:rPr lang="en-US" sz="1200" dirty="0">
                          <a:effectLst/>
                          <a:latin typeface=".AppleSystemUIFont"/>
                        </a:rPr>
                        <a:t>on campuses, in communitie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endParaRPr lang="en-US" sz="1200" dirty="0">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09327113"/>
                  </a:ext>
                </a:extLst>
              </a:tr>
              <a:tr h="733715">
                <a:tc>
                  <a:txBody>
                    <a:bodyPr/>
                    <a:lstStyle/>
                    <a:p>
                      <a:pPr>
                        <a:spcBef>
                          <a:spcPts val="0"/>
                        </a:spcBef>
                        <a:buNone/>
                      </a:pPr>
                      <a:r>
                        <a:rPr lang="en-US" sz="1200" b="1" dirty="0">
                          <a:effectLst/>
                          <a:latin typeface=".AppleSystemUIFont"/>
                        </a:rPr>
                        <a:t>Industrial Clusters/ </a:t>
                      </a:r>
                    </a:p>
                    <a:p>
                      <a:pPr>
                        <a:spcBef>
                          <a:spcPts val="0"/>
                        </a:spcBef>
                        <a:buNone/>
                      </a:pPr>
                      <a:r>
                        <a:rPr lang="en-US" sz="1200" b="1" dirty="0">
                          <a:effectLst/>
                          <a:latin typeface=".AppleSystemUIFont"/>
                        </a:rPr>
                        <a:t>Eco‑Industrial</a:t>
                      </a:r>
                    </a:p>
                    <a:p>
                      <a:pPr>
                        <a:spcBef>
                          <a:spcPts val="0"/>
                        </a:spcBef>
                        <a:buNone/>
                      </a:pPr>
                      <a:r>
                        <a:rPr lang="en-US" sz="1200" b="1" dirty="0">
                          <a:effectLst/>
                          <a:latin typeface=".AppleSystemUIFont"/>
                        </a:rPr>
                        <a:t>Parks</a:t>
                      </a:r>
                      <a:endParaRPr lang="en-US" sz="1200"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spcBef>
                          <a:spcPts val="0"/>
                        </a:spcBef>
                        <a:buNone/>
                      </a:pPr>
                      <a:r>
                        <a:rPr lang="en-US" sz="1200" dirty="0">
                          <a:effectLst/>
                          <a:latin typeface=".AppleSystemUIFont"/>
                        </a:rPr>
                        <a:t>Using geothermal heat/power for process heating, </a:t>
                      </a:r>
                    </a:p>
                    <a:p>
                      <a:pPr>
                        <a:spcBef>
                          <a:spcPts val="0"/>
                        </a:spcBef>
                        <a:buNone/>
                      </a:pPr>
                      <a:r>
                        <a:rPr lang="en-US" sz="1200" dirty="0">
                          <a:effectLst/>
                          <a:latin typeface=".AppleSystemUIFont"/>
                        </a:rPr>
                        <a:t>drying, and cooling in manufacturing or colocated </a:t>
                      </a:r>
                    </a:p>
                    <a:p>
                      <a:pPr>
                        <a:spcBef>
                          <a:spcPts val="0"/>
                        </a:spcBef>
                        <a:buNone/>
                      </a:pPr>
                      <a:r>
                        <a:rPr lang="en-US" sz="1200" dirty="0">
                          <a:effectLst/>
                          <a:latin typeface=".AppleSystemUIFont"/>
                        </a:rPr>
                        <a:t>industrial zone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r>
                        <a:rPr lang="en-US" sz="1200" dirty="0">
                          <a:effectLst/>
                          <a:latin typeface=".AppleSystemUIFont"/>
                        </a:rPr>
                        <a:t>Diversifies revenue, enhances resource </a:t>
                      </a:r>
                    </a:p>
                    <a:p>
                      <a:pPr>
                        <a:spcBef>
                          <a:spcPts val="0"/>
                        </a:spcBef>
                        <a:buNone/>
                      </a:pPr>
                      <a:r>
                        <a:rPr lang="en-US" sz="1200" dirty="0">
                          <a:effectLst/>
                          <a:latin typeface=".AppleSystemUIFont"/>
                        </a:rPr>
                        <a:t>utilization, creates industrial symbiosi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endParaRPr lang="en-US" sz="1200" dirty="0">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6762426"/>
                  </a:ext>
                </a:extLst>
              </a:tr>
              <a:tr h="733715">
                <a:tc>
                  <a:txBody>
                    <a:bodyPr/>
                    <a:lstStyle/>
                    <a:p>
                      <a:pPr>
                        <a:spcBef>
                          <a:spcPts val="0"/>
                        </a:spcBef>
                        <a:buNone/>
                      </a:pPr>
                      <a:r>
                        <a:rPr lang="en-US" sz="1200" b="1" dirty="0">
                          <a:effectLst/>
                          <a:latin typeface=".AppleSystemUIFont"/>
                        </a:rPr>
                        <a:t>Tourism &amp; Wellness</a:t>
                      </a:r>
                      <a:endParaRPr lang="en-US" sz="1200"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spcBef>
                          <a:spcPts val="0"/>
                        </a:spcBef>
                        <a:buNone/>
                      </a:pPr>
                      <a:r>
                        <a:rPr lang="en-US" sz="1200" dirty="0">
                          <a:effectLst/>
                          <a:latin typeface=".AppleSystemUIFont"/>
                        </a:rPr>
                        <a:t>Direct‑use geothermal heat for spas, resorts, pools, </a:t>
                      </a:r>
                    </a:p>
                    <a:p>
                      <a:pPr>
                        <a:spcBef>
                          <a:spcPts val="0"/>
                        </a:spcBef>
                        <a:buNone/>
                      </a:pPr>
                      <a:r>
                        <a:rPr lang="en-US" sz="1200" dirty="0">
                          <a:effectLst/>
                          <a:latin typeface=".AppleSystemUIFont"/>
                        </a:rPr>
                        <a:t>wellness center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r>
                        <a:rPr lang="en-US" sz="1200" dirty="0">
                          <a:effectLst/>
                          <a:latin typeface=".AppleSystemUIFont"/>
                        </a:rPr>
                        <a:t>Monetizes geothermal by‑products,</a:t>
                      </a:r>
                    </a:p>
                    <a:p>
                      <a:pPr>
                        <a:spcBef>
                          <a:spcPts val="0"/>
                        </a:spcBef>
                        <a:buNone/>
                      </a:pPr>
                      <a:r>
                        <a:rPr lang="en-US" sz="1200" dirty="0">
                          <a:effectLst/>
                          <a:latin typeface=".AppleSystemUIFont"/>
                        </a:rPr>
                        <a:t>enhances public acceptance of geothermal </a:t>
                      </a:r>
                    </a:p>
                    <a:p>
                      <a:pPr>
                        <a:spcBef>
                          <a:spcPts val="0"/>
                        </a:spcBef>
                        <a:buNone/>
                      </a:pPr>
                      <a:r>
                        <a:rPr lang="en-US" sz="1200" dirty="0">
                          <a:effectLst/>
                          <a:latin typeface=".AppleSystemUIFont"/>
                        </a:rPr>
                        <a:t>energy</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endParaRPr lang="en-US" sz="1200" dirty="0">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55434067"/>
                  </a:ext>
                </a:extLst>
              </a:tr>
              <a:tr h="733715">
                <a:tc>
                  <a:txBody>
                    <a:bodyPr/>
                    <a:lstStyle/>
                    <a:p>
                      <a:pPr>
                        <a:spcBef>
                          <a:spcPts val="0"/>
                        </a:spcBef>
                        <a:buNone/>
                      </a:pPr>
                      <a:r>
                        <a:rPr lang="en-US" sz="1200" b="1" dirty="0">
                          <a:effectLst/>
                          <a:latin typeface=".AppleSystemUIFont"/>
                        </a:rPr>
                        <a:t>Agriculture &amp; Aquaculture</a:t>
                      </a:r>
                      <a:endParaRPr lang="en-US" sz="1200"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spcBef>
                          <a:spcPts val="0"/>
                        </a:spcBef>
                        <a:buNone/>
                      </a:pPr>
                      <a:r>
                        <a:rPr lang="en-US" sz="1200" dirty="0">
                          <a:effectLst/>
                          <a:latin typeface=".AppleSystemUIFont"/>
                        </a:rPr>
                        <a:t>Geothermal‑heated greenhouses, fish farms, food</a:t>
                      </a:r>
                    </a:p>
                    <a:p>
                      <a:pPr>
                        <a:spcBef>
                          <a:spcPts val="0"/>
                        </a:spcBef>
                        <a:buNone/>
                      </a:pPr>
                      <a:r>
                        <a:rPr lang="en-US" sz="1200" dirty="0">
                          <a:effectLst/>
                          <a:latin typeface=".AppleSystemUIFont"/>
                        </a:rPr>
                        <a:t>dehydration using geothermal heat</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r>
                        <a:rPr lang="en-US" sz="1200" dirty="0">
                          <a:effectLst/>
                          <a:latin typeface=".AppleSystemUIFont"/>
                        </a:rPr>
                        <a:t>Enhances year‑round productivity, reduces fossil </a:t>
                      </a:r>
                    </a:p>
                    <a:p>
                      <a:pPr>
                        <a:spcBef>
                          <a:spcPts val="0"/>
                        </a:spcBef>
                        <a:buNone/>
                      </a:pPr>
                      <a:r>
                        <a:rPr lang="en-US" sz="1200" dirty="0">
                          <a:effectLst/>
                          <a:latin typeface=".AppleSystemUIFont"/>
                        </a:rPr>
                        <a:t>fuel input, supports food system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endParaRPr lang="en-US" sz="1200" dirty="0">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5452294"/>
                  </a:ext>
                </a:extLst>
              </a:tr>
              <a:tr h="733715">
                <a:tc>
                  <a:txBody>
                    <a:bodyPr/>
                    <a:lstStyle/>
                    <a:p>
                      <a:pPr>
                        <a:spcBef>
                          <a:spcPts val="0"/>
                        </a:spcBef>
                        <a:buNone/>
                      </a:pPr>
                      <a:r>
                        <a:rPr lang="en-US" sz="1200" b="1" dirty="0">
                          <a:effectLst/>
                          <a:latin typeface=".AppleSystemUIFont"/>
                        </a:rPr>
                        <a:t>Building Energy Systems Data </a:t>
                      </a:r>
                    </a:p>
                    <a:p>
                      <a:pPr>
                        <a:spcBef>
                          <a:spcPts val="0"/>
                        </a:spcBef>
                        <a:buNone/>
                      </a:pPr>
                      <a:r>
                        <a:rPr lang="en-US" sz="1200" b="1" dirty="0">
                          <a:effectLst/>
                          <a:latin typeface=".AppleSystemUIFont"/>
                        </a:rPr>
                        <a:t>Centers</a:t>
                      </a:r>
                      <a:endParaRPr lang="en-US" sz="1200" dirty="0">
                        <a:effectLst/>
                        <a:latin typeface=".AppleSystemUIFont"/>
                      </a:endParaRPr>
                    </a:p>
                  </a:txBody>
                  <a:tcPr marL="47625" marR="47625" marT="9525" marB="9525"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spcBef>
                          <a:spcPts val="0"/>
                        </a:spcBef>
                        <a:buNone/>
                      </a:pPr>
                      <a:r>
                        <a:rPr lang="en-US" sz="1200" dirty="0">
                          <a:effectLst/>
                          <a:latin typeface=".AppleSystemUIFont"/>
                        </a:rPr>
                        <a:t>Geothermal power supply and cooling (or heat </a:t>
                      </a:r>
                    </a:p>
                    <a:p>
                      <a:pPr>
                        <a:spcBef>
                          <a:spcPts val="0"/>
                        </a:spcBef>
                        <a:buNone/>
                      </a:pPr>
                      <a:r>
                        <a:rPr lang="en-US" sz="1200" dirty="0">
                          <a:effectLst/>
                          <a:latin typeface=".AppleSystemUIFont"/>
                        </a:rPr>
                        <a:t>reuse) for large thermal loads like data centers or </a:t>
                      </a:r>
                    </a:p>
                    <a:p>
                      <a:pPr>
                        <a:spcBef>
                          <a:spcPts val="0"/>
                        </a:spcBef>
                        <a:buNone/>
                      </a:pPr>
                      <a:r>
                        <a:rPr lang="en-US" sz="1200" dirty="0">
                          <a:effectLst/>
                          <a:latin typeface=".AppleSystemUIFont"/>
                        </a:rPr>
                        <a:t>buildings</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r>
                        <a:rPr lang="en-US" sz="1200" dirty="0">
                          <a:effectLst/>
                          <a:latin typeface=".AppleSystemUIFont"/>
                        </a:rPr>
                        <a:t>Enables carbon‑free baseload power, cooling</a:t>
                      </a:r>
                    </a:p>
                    <a:p>
                      <a:pPr>
                        <a:spcBef>
                          <a:spcPts val="0"/>
                        </a:spcBef>
                        <a:buNone/>
                      </a:pPr>
                      <a:r>
                        <a:rPr lang="en-US" sz="1200" dirty="0">
                          <a:effectLst/>
                          <a:latin typeface=".AppleSystemUIFont"/>
                        </a:rPr>
                        <a:t>efficiency, and waste‑heat reuse</a:t>
                      </a:r>
                    </a:p>
                  </a:txBody>
                  <a:tcPr marL="47625" marR="47625" marT="9525" marB="952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Bef>
                          <a:spcPts val="0"/>
                        </a:spcBef>
                        <a:buNone/>
                      </a:pPr>
                      <a:endParaRPr lang="en-US" sz="1200" dirty="0">
                        <a:effectLst/>
                        <a:latin typeface=".AppleSystemUIFont"/>
                      </a:endParaRPr>
                    </a:p>
                  </a:txBody>
                  <a:tcPr marL="47625" marR="47625" marT="9525" marB="9525"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018956"/>
                  </a:ext>
                </a:extLst>
              </a:tr>
            </a:tbl>
          </a:graphicData>
        </a:graphic>
      </p:graphicFrame>
      <p:grpSp>
        <p:nvGrpSpPr>
          <p:cNvPr id="7" name="Group 6">
            <a:extLst>
              <a:ext uri="{FF2B5EF4-FFF2-40B4-BE49-F238E27FC236}">
                <a16:creationId xmlns:a16="http://schemas.microsoft.com/office/drawing/2014/main" id="{6427A930-E11A-AA0D-2CBA-954FF0751E9E}"/>
              </a:ext>
            </a:extLst>
          </p:cNvPr>
          <p:cNvGrpSpPr/>
          <p:nvPr/>
        </p:nvGrpSpPr>
        <p:grpSpPr>
          <a:xfrm>
            <a:off x="9854784" y="1584152"/>
            <a:ext cx="1928863" cy="195814"/>
            <a:chOff x="339724" y="6641456"/>
            <a:chExt cx="1928863" cy="195814"/>
          </a:xfrm>
        </p:grpSpPr>
        <p:grpSp>
          <p:nvGrpSpPr>
            <p:cNvPr id="8" name="Group 7">
              <a:extLst>
                <a:ext uri="{FF2B5EF4-FFF2-40B4-BE49-F238E27FC236}">
                  <a16:creationId xmlns:a16="http://schemas.microsoft.com/office/drawing/2014/main" id="{84625810-E8D1-1617-FCD1-0FD2A0982F9F}"/>
                </a:ext>
              </a:extLst>
            </p:cNvPr>
            <p:cNvGrpSpPr/>
            <p:nvPr/>
          </p:nvGrpSpPr>
          <p:grpSpPr>
            <a:xfrm>
              <a:off x="889323" y="6715487"/>
              <a:ext cx="690880" cy="73152"/>
              <a:chOff x="7552690" y="6599237"/>
              <a:chExt cx="690880" cy="73152"/>
            </a:xfrm>
          </p:grpSpPr>
          <p:sp>
            <p:nvSpPr>
              <p:cNvPr id="11" name="Rectangle 10">
                <a:extLst>
                  <a:ext uri="{FF2B5EF4-FFF2-40B4-BE49-F238E27FC236}">
                    <a16:creationId xmlns:a16="http://schemas.microsoft.com/office/drawing/2014/main" id="{8B27FD06-3967-6531-1E7B-BA279BB64EC7}"/>
                  </a:ext>
                </a:extLst>
              </p:cNvPr>
              <p:cNvSpPr/>
              <p:nvPr/>
            </p:nvSpPr>
            <p:spPr bwMode="gray">
              <a:xfrm>
                <a:off x="7552690" y="6599237"/>
                <a:ext cx="182880" cy="73152"/>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2B569F26-E669-2560-5410-2B169D6E1618}"/>
                  </a:ext>
                </a:extLst>
              </p:cNvPr>
              <p:cNvSpPr/>
              <p:nvPr/>
            </p:nvSpPr>
            <p:spPr bwMode="gray">
              <a:xfrm>
                <a:off x="7806690" y="6599237"/>
                <a:ext cx="182880" cy="7315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ectangle 12">
                <a:extLst>
                  <a:ext uri="{FF2B5EF4-FFF2-40B4-BE49-F238E27FC236}">
                    <a16:creationId xmlns:a16="http://schemas.microsoft.com/office/drawing/2014/main" id="{18EAB72E-9FA8-3320-BF02-C3D57A3CD4C5}"/>
                  </a:ext>
                </a:extLst>
              </p:cNvPr>
              <p:cNvSpPr/>
              <p:nvPr/>
            </p:nvSpPr>
            <p:spPr bwMode="gray">
              <a:xfrm>
                <a:off x="8060690" y="6599237"/>
                <a:ext cx="182880" cy="73152"/>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9" name="TextBox 8">
              <a:extLst>
                <a:ext uri="{FF2B5EF4-FFF2-40B4-BE49-F238E27FC236}">
                  <a16:creationId xmlns:a16="http://schemas.microsoft.com/office/drawing/2014/main" id="{E585D9B2-83A7-61DF-82FA-0BA8E6F4A79C}"/>
                </a:ext>
              </a:extLst>
            </p:cNvPr>
            <p:cNvSpPr txBox="1"/>
            <p:nvPr/>
          </p:nvSpPr>
          <p:spPr bwMode="gray">
            <a:xfrm>
              <a:off x="339724" y="6641456"/>
              <a:ext cx="513529" cy="195814"/>
            </a:xfrm>
            <a:prstGeom prst="rect">
              <a:avLst/>
            </a:prstGeom>
            <a:noFill/>
          </p:spPr>
          <p:txBody>
            <a:bodyPr wrap="none" lIns="36000" tIns="36000" rIns="36000" bIns="36000" rtlCol="0">
              <a:spAutoFit/>
            </a:bodyPr>
            <a:lstStyle/>
            <a:p>
              <a:pPr marL="0" indent="0">
                <a:buNone/>
              </a:pPr>
              <a:r>
                <a:rPr lang="en-US" sz="800" dirty="0"/>
                <a:t>Emerging</a:t>
              </a:r>
            </a:p>
          </p:txBody>
        </p:sp>
        <p:sp>
          <p:nvSpPr>
            <p:cNvPr id="10" name="TextBox 9">
              <a:extLst>
                <a:ext uri="{FF2B5EF4-FFF2-40B4-BE49-F238E27FC236}">
                  <a16:creationId xmlns:a16="http://schemas.microsoft.com/office/drawing/2014/main" id="{C0685178-C7F9-ED29-F772-BEF50CFA9337}"/>
                </a:ext>
              </a:extLst>
            </p:cNvPr>
            <p:cNvSpPr txBox="1"/>
            <p:nvPr/>
          </p:nvSpPr>
          <p:spPr bwMode="gray">
            <a:xfrm>
              <a:off x="1633229" y="6641456"/>
              <a:ext cx="635358" cy="195814"/>
            </a:xfrm>
            <a:prstGeom prst="rect">
              <a:avLst/>
            </a:prstGeom>
            <a:noFill/>
          </p:spPr>
          <p:txBody>
            <a:bodyPr wrap="none" lIns="36000" tIns="36000" rIns="36000" bIns="36000" rtlCol="0">
              <a:spAutoFit/>
            </a:bodyPr>
            <a:lstStyle/>
            <a:p>
              <a:pPr marL="0" indent="0">
                <a:buNone/>
              </a:pPr>
              <a:r>
                <a:rPr lang="en-US" sz="800" dirty="0"/>
                <a:t>Established </a:t>
              </a:r>
            </a:p>
          </p:txBody>
        </p:sp>
      </p:grpSp>
      <p:pic>
        <p:nvPicPr>
          <p:cNvPr id="14" name="Picture 6" descr="Flag of Iceland | Meaning, Colors ...">
            <a:extLst>
              <a:ext uri="{FF2B5EF4-FFF2-40B4-BE49-F238E27FC236}">
                <a16:creationId xmlns:a16="http://schemas.microsoft.com/office/drawing/2014/main" id="{CDD2C52F-1848-1B25-BBEA-B6CED21972D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842374" y="2700349"/>
            <a:ext cx="361360" cy="26380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Flag of Kenya - Wikipedia">
            <a:extLst>
              <a:ext uri="{FF2B5EF4-FFF2-40B4-BE49-F238E27FC236}">
                <a16:creationId xmlns:a16="http://schemas.microsoft.com/office/drawing/2014/main" id="{A82A20EB-ECCF-8F56-FFF3-578322CCDBA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540784" y="3495241"/>
            <a:ext cx="381178" cy="2536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Philippines - Wikipedia">
            <a:extLst>
              <a:ext uri="{FF2B5EF4-FFF2-40B4-BE49-F238E27FC236}">
                <a16:creationId xmlns:a16="http://schemas.microsoft.com/office/drawing/2014/main" id="{94DA8545-51BF-2425-390A-356D5691421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364561" y="3521042"/>
            <a:ext cx="425014" cy="2322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descr="Flag of New Zealand - Wikipedia">
            <a:extLst>
              <a:ext uri="{FF2B5EF4-FFF2-40B4-BE49-F238E27FC236}">
                <a16:creationId xmlns:a16="http://schemas.microsoft.com/office/drawing/2014/main" id="{6C748862-2632-4E9C-A8D2-EFDBE462C7D8}"/>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954943" y="3514311"/>
            <a:ext cx="469174" cy="23458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Flag of Iceland | Meaning, Colors ...">
            <a:extLst>
              <a:ext uri="{FF2B5EF4-FFF2-40B4-BE49-F238E27FC236}">
                <a16:creationId xmlns:a16="http://schemas.microsoft.com/office/drawing/2014/main" id="{6F3229BE-C4E3-5B5E-94D9-FCAA638900F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842374" y="3521042"/>
            <a:ext cx="361360" cy="26380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Flag of the United States of America ...">
            <a:extLst>
              <a:ext uri="{FF2B5EF4-FFF2-40B4-BE49-F238E27FC236}">
                <a16:creationId xmlns:a16="http://schemas.microsoft.com/office/drawing/2014/main" id="{7C4D07E9-6442-E536-7B93-F28253B7F7B6}"/>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1003823" y="3495696"/>
            <a:ext cx="422003" cy="2532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Flag of Iceland | Meaning, Colors ...">
            <a:extLst>
              <a:ext uri="{FF2B5EF4-FFF2-40B4-BE49-F238E27FC236}">
                <a16:creationId xmlns:a16="http://schemas.microsoft.com/office/drawing/2014/main" id="{F226E398-2AE1-3D78-0F4A-EE78F60740B7}"/>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842374" y="4151617"/>
            <a:ext cx="361360" cy="2638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Flag of Kenya - Wikipedia">
            <a:extLst>
              <a:ext uri="{FF2B5EF4-FFF2-40B4-BE49-F238E27FC236}">
                <a16:creationId xmlns:a16="http://schemas.microsoft.com/office/drawing/2014/main" id="{60A91578-1462-9DE3-85F8-9650D28C87E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339587" y="4950905"/>
            <a:ext cx="381178" cy="2536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Philippines - Wikipedia">
            <a:extLst>
              <a:ext uri="{FF2B5EF4-FFF2-40B4-BE49-F238E27FC236}">
                <a16:creationId xmlns:a16="http://schemas.microsoft.com/office/drawing/2014/main" id="{30E3155F-3A00-7918-859E-1A4C3CF30F0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291918" y="4961620"/>
            <a:ext cx="425014" cy="2322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Flag of New Zealand - Wikipedia">
            <a:extLst>
              <a:ext uri="{FF2B5EF4-FFF2-40B4-BE49-F238E27FC236}">
                <a16:creationId xmlns:a16="http://schemas.microsoft.com/office/drawing/2014/main" id="{52A81639-F885-0FD1-33F6-426E70FDC01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805116" y="4968662"/>
            <a:ext cx="469174" cy="23458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Flag of Iceland | Meaning, Colors ...">
            <a:extLst>
              <a:ext uri="{FF2B5EF4-FFF2-40B4-BE49-F238E27FC236}">
                <a16:creationId xmlns:a16="http://schemas.microsoft.com/office/drawing/2014/main" id="{9C449E0D-142A-8999-C4FB-474548353B8D}"/>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842374" y="4939442"/>
            <a:ext cx="361360" cy="2638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Flag of the United States of America ...">
            <a:extLst>
              <a:ext uri="{FF2B5EF4-FFF2-40B4-BE49-F238E27FC236}">
                <a16:creationId xmlns:a16="http://schemas.microsoft.com/office/drawing/2014/main" id="{F794EC36-4871-95E7-F740-EEA0FFE084C0}"/>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1265094" y="4951132"/>
            <a:ext cx="422003" cy="25320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Flag of Italy - Wikipedia">
            <a:extLst>
              <a:ext uri="{FF2B5EF4-FFF2-40B4-BE49-F238E27FC236}">
                <a16:creationId xmlns:a16="http://schemas.microsoft.com/office/drawing/2014/main" id="{187B9D97-7BBA-5703-7AF6-A730784F113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0807185" y="4965260"/>
            <a:ext cx="361360" cy="24138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Flag of the United States of America ...">
            <a:extLst>
              <a:ext uri="{FF2B5EF4-FFF2-40B4-BE49-F238E27FC236}">
                <a16:creationId xmlns:a16="http://schemas.microsoft.com/office/drawing/2014/main" id="{FA96533E-E335-5B30-DE4E-461619AC4334}"/>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812052" y="5727267"/>
            <a:ext cx="422003" cy="25320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Flag of Iceland | Meaning, Colors ...">
            <a:extLst>
              <a:ext uri="{FF2B5EF4-FFF2-40B4-BE49-F238E27FC236}">
                <a16:creationId xmlns:a16="http://schemas.microsoft.com/office/drawing/2014/main" id="{459D6BB8-14E8-FA8D-2A93-CB787F2137B7}"/>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328061" y="5716662"/>
            <a:ext cx="361360" cy="26380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Flag of Kenya - Wikipedia">
            <a:extLst>
              <a:ext uri="{FF2B5EF4-FFF2-40B4-BE49-F238E27FC236}">
                <a16:creationId xmlns:a16="http://schemas.microsoft.com/office/drawing/2014/main" id="{8773E6B5-180C-AEED-EBE1-4E7F5FC7E432}"/>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763650" y="5716662"/>
            <a:ext cx="381178" cy="25365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descr="Flag of the United States of America ...">
            <a:extLst>
              <a:ext uri="{FF2B5EF4-FFF2-40B4-BE49-F238E27FC236}">
                <a16:creationId xmlns:a16="http://schemas.microsoft.com/office/drawing/2014/main" id="{23C9ED34-5E0E-0FE1-B363-387EF05AB40F}"/>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378953" y="4149483"/>
            <a:ext cx="422003" cy="25320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Flag of Kenya - Wikipedia">
            <a:extLst>
              <a:ext uri="{FF2B5EF4-FFF2-40B4-BE49-F238E27FC236}">
                <a16:creationId xmlns:a16="http://schemas.microsoft.com/office/drawing/2014/main" id="{AC4064F4-BAF0-224A-99D1-8AA67A1348E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335754" y="2705423"/>
            <a:ext cx="381178" cy="25365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67CCF60E-B143-6D5A-065B-3D0E6C361DD5}"/>
              </a:ext>
            </a:extLst>
          </p:cNvPr>
          <p:cNvSpPr/>
          <p:nvPr/>
        </p:nvSpPr>
        <p:spPr bwMode="gray">
          <a:xfrm>
            <a:off x="241276" y="3170942"/>
            <a:ext cx="84188" cy="876727"/>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71536D0E-1920-A43A-B8A9-86B36C985731}"/>
              </a:ext>
            </a:extLst>
          </p:cNvPr>
          <p:cNvSpPr/>
          <p:nvPr/>
        </p:nvSpPr>
        <p:spPr bwMode="gray">
          <a:xfrm>
            <a:off x="235886" y="2474055"/>
            <a:ext cx="84188" cy="69688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114B4EE2-6D95-8E1E-05F8-CF19A8453149}"/>
              </a:ext>
            </a:extLst>
          </p:cNvPr>
          <p:cNvSpPr/>
          <p:nvPr/>
        </p:nvSpPr>
        <p:spPr bwMode="gray">
          <a:xfrm>
            <a:off x="241273" y="5600290"/>
            <a:ext cx="78801" cy="617955"/>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2F65523C-B73D-246E-33BA-14B887FCB6BB}"/>
              </a:ext>
            </a:extLst>
          </p:cNvPr>
          <p:cNvSpPr/>
          <p:nvPr/>
        </p:nvSpPr>
        <p:spPr bwMode="gray">
          <a:xfrm>
            <a:off x="237530" y="4054241"/>
            <a:ext cx="87933" cy="849162"/>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E09E313C-BDC4-22EF-BD4B-6C454F065696}"/>
              </a:ext>
            </a:extLst>
          </p:cNvPr>
          <p:cNvSpPr/>
          <p:nvPr/>
        </p:nvSpPr>
        <p:spPr bwMode="gray">
          <a:xfrm>
            <a:off x="235887" y="4903403"/>
            <a:ext cx="84188" cy="696887"/>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0720876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9C09751-D739-2090-8DCA-06D50B14CD1E}"/>
              </a:ext>
            </a:extLst>
          </p:cNvPr>
          <p:cNvGraphicFramePr>
            <a:graphicFrameLocks/>
          </p:cNvGraphicFramePr>
          <p:nvPr>
            <p:custDataLst>
              <p:tags r:id="rId1"/>
            </p:custDataLst>
            <p:extLst>
              <p:ext uri="{D42A27DB-BD31-4B8C-83A1-F6EECF244321}">
                <p14:modId xmlns:p14="http://schemas.microsoft.com/office/powerpoint/2010/main" val="27993803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0D80F43-7C6F-5B61-5692-4C81306E8055}"/>
              </a:ext>
            </a:extLst>
          </p:cNvPr>
          <p:cNvSpPr>
            <a:spLocks noGrp="1"/>
          </p:cNvSpPr>
          <p:nvPr>
            <p:ph type="title"/>
          </p:nvPr>
        </p:nvSpPr>
        <p:spPr/>
        <p:txBody>
          <a:bodyPr vert="horz" rIns="91440"/>
          <a:lstStyle/>
          <a:p>
            <a:r>
              <a:rPr lang="en-US" dirty="0"/>
              <a:t>Iceland shows that leveraging heating and cooling provides greater financial security for geothermal power projects</a:t>
            </a:r>
          </a:p>
        </p:txBody>
      </p:sp>
      <p:sp>
        <p:nvSpPr>
          <p:cNvPr id="6" name="Footer Placeholder 5">
            <a:extLst>
              <a:ext uri="{FF2B5EF4-FFF2-40B4-BE49-F238E27FC236}">
                <a16:creationId xmlns:a16="http://schemas.microsoft.com/office/drawing/2014/main" id="{B03C8608-1644-108B-15DE-A3FA0CE4A5E4}"/>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hlinkClick r:id="rId5"/>
              </a:rPr>
              <a:t>Svartsengi Power Plant</a:t>
            </a:r>
            <a:r>
              <a:rPr lang="en-US" dirty="0"/>
              <a:t> (</a:t>
            </a:r>
            <a:r>
              <a:rPr lang="en-US" dirty="0">
                <a:solidFill>
                  <a:srgbClr val="000000"/>
                </a:solidFill>
              </a:rPr>
              <a:t>HS </a:t>
            </a:r>
            <a:r>
              <a:rPr lang="en-US" dirty="0" err="1">
                <a:solidFill>
                  <a:srgbClr val="000000"/>
                </a:solidFill>
              </a:rPr>
              <a:t>Orka</a:t>
            </a:r>
            <a:r>
              <a:rPr lang="en-US" dirty="0">
                <a:solidFill>
                  <a:srgbClr val="000000"/>
                </a:solidFill>
              </a:rPr>
              <a:t>, n.d.);</a:t>
            </a:r>
            <a:r>
              <a:rPr lang="en-US" dirty="0"/>
              <a:t> </a:t>
            </a:r>
            <a:r>
              <a:rPr lang="en-US" dirty="0">
                <a:hlinkClick r:id="rId6"/>
              </a:rPr>
              <a:t>Blue Lagoon</a:t>
            </a:r>
            <a:r>
              <a:rPr lang="en-US" dirty="0"/>
              <a:t> </a:t>
            </a:r>
            <a:r>
              <a:rPr lang="en-US" dirty="0">
                <a:solidFill>
                  <a:schemeClr val="tx1"/>
                </a:solidFill>
              </a:rPr>
              <a:t>(Blue Lagoon, n.d.); </a:t>
            </a:r>
            <a:r>
              <a:rPr lang="en-US" dirty="0">
                <a:hlinkClick r:id="rId7"/>
              </a:rPr>
              <a:t>Iceland – Blue Lagoon</a:t>
            </a:r>
            <a:r>
              <a:rPr lang="en-US" dirty="0"/>
              <a:t> </a:t>
            </a:r>
            <a:r>
              <a:rPr lang="en-US" dirty="0">
                <a:solidFill>
                  <a:schemeClr val="tx1"/>
                </a:solidFill>
              </a:rPr>
              <a:t>(Business Insider, 2023); </a:t>
            </a:r>
            <a:r>
              <a:rPr lang="en-US" dirty="0">
                <a:hlinkClick r:id="rId8"/>
              </a:rPr>
              <a:t>How spa operations lifts profits for Icelandic geothermal power company</a:t>
            </a:r>
            <a:r>
              <a:rPr lang="en-US" dirty="0"/>
              <a:t> </a:t>
            </a:r>
            <a:r>
              <a:rPr lang="en-US" dirty="0">
                <a:solidFill>
                  <a:schemeClr val="tx1"/>
                </a:solidFill>
              </a:rPr>
              <a:t>(</a:t>
            </a:r>
            <a:r>
              <a:rPr lang="en-US" dirty="0" err="1">
                <a:solidFill>
                  <a:schemeClr val="tx1"/>
                </a:solidFill>
              </a:rPr>
              <a:t>ThinkGeoEnergy</a:t>
            </a:r>
            <a:r>
              <a:rPr lang="en-US" dirty="0">
                <a:solidFill>
                  <a:schemeClr val="tx1"/>
                </a:solidFill>
              </a:rPr>
              <a:t>, 2016). </a:t>
            </a:r>
          </a:p>
          <a:p>
            <a:pPr marL="0" indent="0">
              <a:spcBef>
                <a:spcPts val="0"/>
              </a:spcBef>
              <a:buNone/>
            </a:pPr>
            <a:r>
              <a:rPr lang="en-US" dirty="0">
                <a:solidFill>
                  <a:srgbClr val="000000"/>
                </a:solidFill>
              </a:rPr>
              <a:t>Credit: Zacharia Thurston, and </a:t>
            </a:r>
            <a:r>
              <a:rPr lang="en-US" dirty="0">
                <a:hlinkClick r:id="rId9"/>
              </a:rPr>
              <a:t>Gernot Wagner.</a:t>
            </a:r>
            <a:r>
              <a:rPr lang="en-US" dirty="0"/>
              <a:t> </a:t>
            </a:r>
            <a:r>
              <a:rPr lang="en-US" dirty="0">
                <a:hlinkClick r:id="rId10"/>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7" name="Text Placeholder 6">
            <a:extLst>
              <a:ext uri="{FF2B5EF4-FFF2-40B4-BE49-F238E27FC236}">
                <a16:creationId xmlns:a16="http://schemas.microsoft.com/office/drawing/2014/main" id="{0CC02A4A-FBBE-7EC2-7F1F-7EB418A29467}"/>
              </a:ext>
            </a:extLst>
          </p:cNvPr>
          <p:cNvSpPr>
            <a:spLocks noGrp="1"/>
          </p:cNvSpPr>
          <p:nvPr>
            <p:ph type="body" sz="quarter" idx="13"/>
          </p:nvPr>
        </p:nvSpPr>
        <p:spPr/>
        <p:txBody>
          <a:bodyPr/>
          <a:lstStyle/>
          <a:p>
            <a:r>
              <a:rPr lang="en-US" dirty="0" err="1"/>
              <a:t>Svartsengi</a:t>
            </a:r>
            <a:r>
              <a:rPr lang="en-US" dirty="0"/>
              <a:t> Power Plant x Blue Lagoon enable national power and tourism dollars</a:t>
            </a:r>
          </a:p>
        </p:txBody>
      </p:sp>
      <p:sp>
        <p:nvSpPr>
          <p:cNvPr id="8" name="Text Placeholder 7">
            <a:extLst>
              <a:ext uri="{FF2B5EF4-FFF2-40B4-BE49-F238E27FC236}">
                <a16:creationId xmlns:a16="http://schemas.microsoft.com/office/drawing/2014/main" id="{A5A26C6B-2915-34BF-5DDC-F2860B8B2976}"/>
              </a:ext>
            </a:extLst>
          </p:cNvPr>
          <p:cNvSpPr>
            <a:spLocks noGrp="1"/>
          </p:cNvSpPr>
          <p:nvPr>
            <p:ph type="body" sz="quarter" idx="18"/>
          </p:nvPr>
        </p:nvSpPr>
        <p:spPr/>
        <p:txBody>
          <a:bodyPr/>
          <a:lstStyle/>
          <a:p>
            <a:r>
              <a:rPr lang="en-US" dirty="0"/>
              <a:t>Co-ownership unlocks economic co-benefits</a:t>
            </a:r>
          </a:p>
        </p:txBody>
      </p:sp>
      <p:sp>
        <p:nvSpPr>
          <p:cNvPr id="9" name="Text Placeholder 1">
            <a:extLst>
              <a:ext uri="{FF2B5EF4-FFF2-40B4-BE49-F238E27FC236}">
                <a16:creationId xmlns:a16="http://schemas.microsoft.com/office/drawing/2014/main" id="{147717E9-3BF7-0649-DCE3-38F80FCB65F6}"/>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Iceland</a:t>
            </a:r>
          </a:p>
        </p:txBody>
      </p:sp>
      <p:cxnSp>
        <p:nvCxnSpPr>
          <p:cNvPr id="11" name="Straight Arrow Connector 10">
            <a:extLst>
              <a:ext uri="{FF2B5EF4-FFF2-40B4-BE49-F238E27FC236}">
                <a16:creationId xmlns:a16="http://schemas.microsoft.com/office/drawing/2014/main" id="{779CFED8-F294-9778-FC58-BC586AD6FA1A}"/>
              </a:ext>
            </a:extLst>
          </p:cNvPr>
          <p:cNvCxnSpPr>
            <a:cxnSpLocks/>
          </p:cNvCxnSpPr>
          <p:nvPr/>
        </p:nvCxnSpPr>
        <p:spPr bwMode="gray">
          <a:xfrm>
            <a:off x="2079080" y="2465438"/>
            <a:ext cx="5345569"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EA4A9C79-65DB-4267-3BFE-BC0A7221FFAC}"/>
              </a:ext>
            </a:extLst>
          </p:cNvPr>
          <p:cNvSpPr/>
          <p:nvPr/>
        </p:nvSpPr>
        <p:spPr bwMode="gray">
          <a:xfrm>
            <a:off x="2079080" y="2389238"/>
            <a:ext cx="154449" cy="152400"/>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13" name="Oval 12">
            <a:extLst>
              <a:ext uri="{FF2B5EF4-FFF2-40B4-BE49-F238E27FC236}">
                <a16:creationId xmlns:a16="http://schemas.microsoft.com/office/drawing/2014/main" id="{693DD1A7-DFA0-4361-E066-10E84BD58554}"/>
              </a:ext>
            </a:extLst>
          </p:cNvPr>
          <p:cNvSpPr/>
          <p:nvPr/>
        </p:nvSpPr>
        <p:spPr bwMode="gray">
          <a:xfrm>
            <a:off x="2914830" y="2389238"/>
            <a:ext cx="154449" cy="152400"/>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14" name="Rectangle 13">
            <a:extLst>
              <a:ext uri="{FF2B5EF4-FFF2-40B4-BE49-F238E27FC236}">
                <a16:creationId xmlns:a16="http://schemas.microsoft.com/office/drawing/2014/main" id="{587231D4-B680-4B2B-FA40-F7FF886D7687}"/>
              </a:ext>
            </a:extLst>
          </p:cNvPr>
          <p:cNvSpPr/>
          <p:nvPr/>
        </p:nvSpPr>
        <p:spPr bwMode="gray">
          <a:xfrm>
            <a:off x="1880559" y="2195124"/>
            <a:ext cx="551487" cy="1071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76-78</a:t>
            </a:r>
          </a:p>
        </p:txBody>
      </p:sp>
      <p:sp>
        <p:nvSpPr>
          <p:cNvPr id="15" name="Oval 14">
            <a:extLst>
              <a:ext uri="{FF2B5EF4-FFF2-40B4-BE49-F238E27FC236}">
                <a16:creationId xmlns:a16="http://schemas.microsoft.com/office/drawing/2014/main" id="{EB06BE90-8D38-BB12-3785-C4A9CF12063C}"/>
              </a:ext>
            </a:extLst>
          </p:cNvPr>
          <p:cNvSpPr/>
          <p:nvPr/>
        </p:nvSpPr>
        <p:spPr bwMode="gray">
          <a:xfrm>
            <a:off x="3715685" y="2389239"/>
            <a:ext cx="154449" cy="152399"/>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16" name="Rectangle 15">
            <a:extLst>
              <a:ext uri="{FF2B5EF4-FFF2-40B4-BE49-F238E27FC236}">
                <a16:creationId xmlns:a16="http://schemas.microsoft.com/office/drawing/2014/main" id="{473A45A0-67EF-E0FE-A2C7-B0BAF00D7B19}"/>
              </a:ext>
            </a:extLst>
          </p:cNvPr>
          <p:cNvSpPr/>
          <p:nvPr/>
        </p:nvSpPr>
        <p:spPr bwMode="gray">
          <a:xfrm>
            <a:off x="3364456" y="2175977"/>
            <a:ext cx="803368" cy="14539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89</a:t>
            </a:r>
          </a:p>
        </p:txBody>
      </p:sp>
      <p:sp>
        <p:nvSpPr>
          <p:cNvPr id="17" name="Oval 16">
            <a:extLst>
              <a:ext uri="{FF2B5EF4-FFF2-40B4-BE49-F238E27FC236}">
                <a16:creationId xmlns:a16="http://schemas.microsoft.com/office/drawing/2014/main" id="{A0B7DFA1-8ADE-BC4C-FA05-91E272705726}"/>
              </a:ext>
            </a:extLst>
          </p:cNvPr>
          <p:cNvSpPr/>
          <p:nvPr/>
        </p:nvSpPr>
        <p:spPr bwMode="gray">
          <a:xfrm>
            <a:off x="4448563"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18" name="Rectangle 17">
            <a:extLst>
              <a:ext uri="{FF2B5EF4-FFF2-40B4-BE49-F238E27FC236}">
                <a16:creationId xmlns:a16="http://schemas.microsoft.com/office/drawing/2014/main" id="{E146F6C6-A89E-69D3-9878-DAB9FF8FBE8A}"/>
              </a:ext>
            </a:extLst>
          </p:cNvPr>
          <p:cNvSpPr/>
          <p:nvPr/>
        </p:nvSpPr>
        <p:spPr bwMode="gray">
          <a:xfrm>
            <a:off x="4342483" y="2193447"/>
            <a:ext cx="402035" cy="1104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93</a:t>
            </a:r>
          </a:p>
        </p:txBody>
      </p:sp>
      <p:sp>
        <p:nvSpPr>
          <p:cNvPr id="19" name="Oval 18">
            <a:extLst>
              <a:ext uri="{FF2B5EF4-FFF2-40B4-BE49-F238E27FC236}">
                <a16:creationId xmlns:a16="http://schemas.microsoft.com/office/drawing/2014/main" id="{4E6DBDEA-9002-7681-B731-9072CFE8B31C}"/>
              </a:ext>
            </a:extLst>
          </p:cNvPr>
          <p:cNvSpPr/>
          <p:nvPr/>
        </p:nvSpPr>
        <p:spPr bwMode="gray">
          <a:xfrm>
            <a:off x="5438157"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20" name="Rectangle 19">
            <a:extLst>
              <a:ext uri="{FF2B5EF4-FFF2-40B4-BE49-F238E27FC236}">
                <a16:creationId xmlns:a16="http://schemas.microsoft.com/office/drawing/2014/main" id="{F69A2E3D-854E-7A09-8F48-7DABA93E062E}"/>
              </a:ext>
            </a:extLst>
          </p:cNvPr>
          <p:cNvSpPr/>
          <p:nvPr/>
        </p:nvSpPr>
        <p:spPr bwMode="gray">
          <a:xfrm>
            <a:off x="5070824" y="2190298"/>
            <a:ext cx="815175" cy="1167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99</a:t>
            </a:r>
          </a:p>
        </p:txBody>
      </p:sp>
      <p:sp>
        <p:nvSpPr>
          <p:cNvPr id="21" name="Oval 20">
            <a:extLst>
              <a:ext uri="{FF2B5EF4-FFF2-40B4-BE49-F238E27FC236}">
                <a16:creationId xmlns:a16="http://schemas.microsoft.com/office/drawing/2014/main" id="{8B92F063-D57A-4479-C3AD-612F78298716}"/>
              </a:ext>
            </a:extLst>
          </p:cNvPr>
          <p:cNvSpPr/>
          <p:nvPr/>
        </p:nvSpPr>
        <p:spPr bwMode="gray">
          <a:xfrm>
            <a:off x="6154943"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22" name="Rectangle 21">
            <a:extLst>
              <a:ext uri="{FF2B5EF4-FFF2-40B4-BE49-F238E27FC236}">
                <a16:creationId xmlns:a16="http://schemas.microsoft.com/office/drawing/2014/main" id="{E3C8E228-5FE5-D93D-C328-6D0C90110097}"/>
              </a:ext>
            </a:extLst>
          </p:cNvPr>
          <p:cNvSpPr/>
          <p:nvPr/>
        </p:nvSpPr>
        <p:spPr bwMode="gray">
          <a:xfrm>
            <a:off x="5824579" y="2190298"/>
            <a:ext cx="815175" cy="1167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08</a:t>
            </a:r>
          </a:p>
        </p:txBody>
      </p:sp>
      <p:cxnSp>
        <p:nvCxnSpPr>
          <p:cNvPr id="23" name="Elbow Connector 22">
            <a:extLst>
              <a:ext uri="{FF2B5EF4-FFF2-40B4-BE49-F238E27FC236}">
                <a16:creationId xmlns:a16="http://schemas.microsoft.com/office/drawing/2014/main" id="{C202F89D-3401-65DB-B35E-631301F60F2C}"/>
              </a:ext>
            </a:extLst>
          </p:cNvPr>
          <p:cNvCxnSpPr>
            <a:cxnSpLocks/>
            <a:stCxn id="15" idx="4"/>
          </p:cNvCxnSpPr>
          <p:nvPr/>
        </p:nvCxnSpPr>
        <p:spPr bwMode="gray">
          <a:xfrm rot="5400000">
            <a:off x="3648372" y="2686176"/>
            <a:ext cx="289077" cy="12700"/>
          </a:xfrm>
          <a:prstGeom prst="bentConnector3">
            <a:avLst/>
          </a:prstGeom>
          <a:ln>
            <a:solidFill>
              <a:schemeClr val="accent4">
                <a:lumMod val="20000"/>
                <a:lumOff val="80000"/>
              </a:schemeClr>
            </a:solidFill>
            <a:tailEnd type="none" w="med"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7DE19FD5-C161-A70F-B1F0-977642950AF2}"/>
              </a:ext>
            </a:extLst>
          </p:cNvPr>
          <p:cNvSpPr/>
          <p:nvPr/>
        </p:nvSpPr>
        <p:spPr bwMode="gray">
          <a:xfrm>
            <a:off x="1791594" y="2785379"/>
            <a:ext cx="719181"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Constructed in 1976;1 MW of electricity in 1978</a:t>
            </a:r>
            <a:endParaRPr lang="en-US" sz="700" b="1" dirty="0">
              <a:solidFill>
                <a:schemeClr val="tx1"/>
              </a:solidFill>
            </a:endParaRPr>
          </a:p>
        </p:txBody>
      </p:sp>
      <p:sp>
        <p:nvSpPr>
          <p:cNvPr id="25" name="Rectangle 24">
            <a:extLst>
              <a:ext uri="{FF2B5EF4-FFF2-40B4-BE49-F238E27FC236}">
                <a16:creationId xmlns:a16="http://schemas.microsoft.com/office/drawing/2014/main" id="{127074D0-8E4B-75C7-9C47-DF3A75F5AE66}"/>
              </a:ext>
            </a:extLst>
          </p:cNvPr>
          <p:cNvSpPr/>
          <p:nvPr/>
        </p:nvSpPr>
        <p:spPr bwMode="gray">
          <a:xfrm>
            <a:off x="2692606" y="2195124"/>
            <a:ext cx="551487" cy="1071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80</a:t>
            </a:r>
          </a:p>
        </p:txBody>
      </p:sp>
      <p:sp>
        <p:nvSpPr>
          <p:cNvPr id="26" name="Rectangle 25">
            <a:extLst>
              <a:ext uri="{FF2B5EF4-FFF2-40B4-BE49-F238E27FC236}">
                <a16:creationId xmlns:a16="http://schemas.microsoft.com/office/drawing/2014/main" id="{75C2A569-0DA7-0B5E-1E30-883A92B33B4E}"/>
              </a:ext>
            </a:extLst>
          </p:cNvPr>
          <p:cNvSpPr/>
          <p:nvPr/>
        </p:nvSpPr>
        <p:spPr bwMode="gray">
          <a:xfrm>
            <a:off x="2748032" y="2792539"/>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Second turbine added </a:t>
            </a:r>
          </a:p>
          <a:p>
            <a:pPr marL="0" indent="0" algn="ctr">
              <a:spcBef>
                <a:spcPts val="0"/>
              </a:spcBef>
              <a:buNone/>
            </a:pPr>
            <a:r>
              <a:rPr lang="en-US" sz="700" dirty="0">
                <a:solidFill>
                  <a:schemeClr val="tx1"/>
                </a:solidFill>
              </a:rPr>
              <a:t>(6 MW)</a:t>
            </a:r>
            <a:endParaRPr lang="en-US" sz="700" b="1" dirty="0">
              <a:solidFill>
                <a:schemeClr val="tx1"/>
              </a:solidFill>
            </a:endParaRPr>
          </a:p>
        </p:txBody>
      </p:sp>
      <p:sp>
        <p:nvSpPr>
          <p:cNvPr id="27" name="Rectangle 26">
            <a:extLst>
              <a:ext uri="{FF2B5EF4-FFF2-40B4-BE49-F238E27FC236}">
                <a16:creationId xmlns:a16="http://schemas.microsoft.com/office/drawing/2014/main" id="{DB0EDDE0-CCD9-B325-32EC-A55A94BC0CCE}"/>
              </a:ext>
            </a:extLst>
          </p:cNvPr>
          <p:cNvSpPr/>
          <p:nvPr/>
        </p:nvSpPr>
        <p:spPr bwMode="gray">
          <a:xfrm>
            <a:off x="3535963" y="2785378"/>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Three Ormat turbines added (3.6 MW)</a:t>
            </a:r>
            <a:endParaRPr lang="en-US" sz="700" b="1" dirty="0">
              <a:solidFill>
                <a:schemeClr val="tx1"/>
              </a:solidFill>
            </a:endParaRPr>
          </a:p>
        </p:txBody>
      </p:sp>
      <p:sp>
        <p:nvSpPr>
          <p:cNvPr id="28" name="Rectangle 27">
            <a:extLst>
              <a:ext uri="{FF2B5EF4-FFF2-40B4-BE49-F238E27FC236}">
                <a16:creationId xmlns:a16="http://schemas.microsoft.com/office/drawing/2014/main" id="{AD990E1B-93BF-DACD-1A5F-E5F9609FA8D5}"/>
              </a:ext>
            </a:extLst>
          </p:cNvPr>
          <p:cNvSpPr/>
          <p:nvPr/>
        </p:nvSpPr>
        <p:spPr bwMode="gray">
          <a:xfrm>
            <a:off x="4285910" y="2792538"/>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Four</a:t>
            </a:r>
          </a:p>
          <a:p>
            <a:pPr marL="0" indent="0" algn="ctr">
              <a:spcBef>
                <a:spcPts val="0"/>
              </a:spcBef>
              <a:buNone/>
            </a:pPr>
            <a:r>
              <a:rPr lang="en-US" sz="700" dirty="0">
                <a:solidFill>
                  <a:schemeClr val="tx1"/>
                </a:solidFill>
              </a:rPr>
              <a:t>Ormat turbines added (4.8 MW)</a:t>
            </a:r>
            <a:endParaRPr lang="en-US" sz="700" b="1" dirty="0">
              <a:solidFill>
                <a:schemeClr val="tx1"/>
              </a:solidFill>
            </a:endParaRPr>
          </a:p>
        </p:txBody>
      </p:sp>
      <p:sp>
        <p:nvSpPr>
          <p:cNvPr id="29" name="Rectangle 28">
            <a:extLst>
              <a:ext uri="{FF2B5EF4-FFF2-40B4-BE49-F238E27FC236}">
                <a16:creationId xmlns:a16="http://schemas.microsoft.com/office/drawing/2014/main" id="{57E3D672-8B30-1C79-58A4-CE351D35730A}"/>
              </a:ext>
            </a:extLst>
          </p:cNvPr>
          <p:cNvSpPr/>
          <p:nvPr/>
        </p:nvSpPr>
        <p:spPr bwMode="gray">
          <a:xfrm>
            <a:off x="5262359" y="2776948"/>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30 MW turbine installed to power plant 5 </a:t>
            </a:r>
          </a:p>
        </p:txBody>
      </p:sp>
      <p:sp>
        <p:nvSpPr>
          <p:cNvPr id="30" name="Rectangle 29">
            <a:extLst>
              <a:ext uri="{FF2B5EF4-FFF2-40B4-BE49-F238E27FC236}">
                <a16:creationId xmlns:a16="http://schemas.microsoft.com/office/drawing/2014/main" id="{3CDA9F37-0814-E361-7B8C-515A06AA2AA9}"/>
              </a:ext>
            </a:extLst>
          </p:cNvPr>
          <p:cNvSpPr/>
          <p:nvPr/>
        </p:nvSpPr>
        <p:spPr bwMode="gray">
          <a:xfrm>
            <a:off x="5989495" y="2785378"/>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30 MW expansion planned for power plant 6 </a:t>
            </a:r>
          </a:p>
        </p:txBody>
      </p:sp>
      <p:sp>
        <p:nvSpPr>
          <p:cNvPr id="31" name="Rectangle 30">
            <a:extLst>
              <a:ext uri="{FF2B5EF4-FFF2-40B4-BE49-F238E27FC236}">
                <a16:creationId xmlns:a16="http://schemas.microsoft.com/office/drawing/2014/main" id="{4B03873F-1F8E-107C-27EA-C0885E2A4D8C}"/>
              </a:ext>
            </a:extLst>
          </p:cNvPr>
          <p:cNvSpPr/>
          <p:nvPr/>
        </p:nvSpPr>
        <p:spPr bwMode="gray">
          <a:xfrm>
            <a:off x="6727579" y="2190298"/>
            <a:ext cx="815175" cy="1167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23</a:t>
            </a:r>
          </a:p>
        </p:txBody>
      </p:sp>
      <p:sp>
        <p:nvSpPr>
          <p:cNvPr id="32" name="Rectangle 31">
            <a:extLst>
              <a:ext uri="{FF2B5EF4-FFF2-40B4-BE49-F238E27FC236}">
                <a16:creationId xmlns:a16="http://schemas.microsoft.com/office/drawing/2014/main" id="{336D30BA-5DB4-F8D7-8D55-0746978134D1}"/>
              </a:ext>
            </a:extLst>
          </p:cNvPr>
          <p:cNvSpPr/>
          <p:nvPr/>
        </p:nvSpPr>
        <p:spPr bwMode="gray">
          <a:xfrm>
            <a:off x="6936605" y="2776948"/>
            <a:ext cx="488044" cy="707475"/>
          </a:xfrm>
          <a:prstGeom prst="rect">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33% expansion planned </a:t>
            </a:r>
          </a:p>
        </p:txBody>
      </p:sp>
      <p:sp>
        <p:nvSpPr>
          <p:cNvPr id="33" name="Oval 32">
            <a:extLst>
              <a:ext uri="{FF2B5EF4-FFF2-40B4-BE49-F238E27FC236}">
                <a16:creationId xmlns:a16="http://schemas.microsoft.com/office/drawing/2014/main" id="{9A0F54A4-0DEF-2BA0-C69E-9A5CC48C614F}"/>
              </a:ext>
            </a:extLst>
          </p:cNvPr>
          <p:cNvSpPr/>
          <p:nvPr/>
        </p:nvSpPr>
        <p:spPr bwMode="gray">
          <a:xfrm>
            <a:off x="7054564"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34" name="Rectangle 33">
            <a:extLst>
              <a:ext uri="{FF2B5EF4-FFF2-40B4-BE49-F238E27FC236}">
                <a16:creationId xmlns:a16="http://schemas.microsoft.com/office/drawing/2014/main" id="{D2301453-571C-DC7F-5884-FA52D694536F}"/>
              </a:ext>
            </a:extLst>
          </p:cNvPr>
          <p:cNvSpPr/>
          <p:nvPr/>
        </p:nvSpPr>
        <p:spPr bwMode="gray">
          <a:xfrm>
            <a:off x="1791594" y="2590132"/>
            <a:ext cx="719181" cy="159462"/>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1 MW</a:t>
            </a:r>
          </a:p>
        </p:txBody>
      </p:sp>
      <p:sp>
        <p:nvSpPr>
          <p:cNvPr id="35" name="Rectangle 34">
            <a:extLst>
              <a:ext uri="{FF2B5EF4-FFF2-40B4-BE49-F238E27FC236}">
                <a16:creationId xmlns:a16="http://schemas.microsoft.com/office/drawing/2014/main" id="{F0B1F54D-7C38-F5A6-A455-183DE81B904D}"/>
              </a:ext>
            </a:extLst>
          </p:cNvPr>
          <p:cNvSpPr/>
          <p:nvPr/>
        </p:nvSpPr>
        <p:spPr bwMode="gray">
          <a:xfrm>
            <a:off x="2731736" y="2590326"/>
            <a:ext cx="512358" cy="152381"/>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7 MW</a:t>
            </a:r>
          </a:p>
        </p:txBody>
      </p:sp>
      <p:sp>
        <p:nvSpPr>
          <p:cNvPr id="36" name="Rectangle 35">
            <a:extLst>
              <a:ext uri="{FF2B5EF4-FFF2-40B4-BE49-F238E27FC236}">
                <a16:creationId xmlns:a16="http://schemas.microsoft.com/office/drawing/2014/main" id="{B57FE8FF-F68A-E407-973D-FCAD824790AA}"/>
              </a:ext>
            </a:extLst>
          </p:cNvPr>
          <p:cNvSpPr/>
          <p:nvPr/>
        </p:nvSpPr>
        <p:spPr bwMode="gray">
          <a:xfrm>
            <a:off x="3535827" y="2598423"/>
            <a:ext cx="475745" cy="132835"/>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10.6 MW</a:t>
            </a:r>
          </a:p>
        </p:txBody>
      </p:sp>
      <p:sp>
        <p:nvSpPr>
          <p:cNvPr id="37" name="Rectangle 36">
            <a:extLst>
              <a:ext uri="{FF2B5EF4-FFF2-40B4-BE49-F238E27FC236}">
                <a16:creationId xmlns:a16="http://schemas.microsoft.com/office/drawing/2014/main" id="{A9FC95A6-49F2-B1A3-446F-57A3163EC632}"/>
              </a:ext>
            </a:extLst>
          </p:cNvPr>
          <p:cNvSpPr/>
          <p:nvPr/>
        </p:nvSpPr>
        <p:spPr bwMode="gray">
          <a:xfrm>
            <a:off x="4289014" y="2606676"/>
            <a:ext cx="475745" cy="132835"/>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15.4 MW</a:t>
            </a:r>
          </a:p>
        </p:txBody>
      </p:sp>
      <p:sp>
        <p:nvSpPr>
          <p:cNvPr id="38" name="Rectangle 37">
            <a:extLst>
              <a:ext uri="{FF2B5EF4-FFF2-40B4-BE49-F238E27FC236}">
                <a16:creationId xmlns:a16="http://schemas.microsoft.com/office/drawing/2014/main" id="{11DC3CF7-6EE5-693A-D5D7-00FC74F0C162}"/>
              </a:ext>
            </a:extLst>
          </p:cNvPr>
          <p:cNvSpPr/>
          <p:nvPr/>
        </p:nvSpPr>
        <p:spPr bwMode="gray">
          <a:xfrm>
            <a:off x="5268509" y="2603445"/>
            <a:ext cx="475745" cy="132835"/>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45.4 MW</a:t>
            </a:r>
          </a:p>
        </p:txBody>
      </p:sp>
      <p:sp>
        <p:nvSpPr>
          <p:cNvPr id="39" name="Rectangle 38">
            <a:extLst>
              <a:ext uri="{FF2B5EF4-FFF2-40B4-BE49-F238E27FC236}">
                <a16:creationId xmlns:a16="http://schemas.microsoft.com/office/drawing/2014/main" id="{97A4F611-CED0-1ECE-BA44-7E71D0B1C132}"/>
              </a:ext>
            </a:extLst>
          </p:cNvPr>
          <p:cNvSpPr/>
          <p:nvPr/>
        </p:nvSpPr>
        <p:spPr bwMode="gray">
          <a:xfrm>
            <a:off x="5989495" y="2600098"/>
            <a:ext cx="475745" cy="132835"/>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75.4 MW</a:t>
            </a:r>
          </a:p>
        </p:txBody>
      </p:sp>
      <p:sp>
        <p:nvSpPr>
          <p:cNvPr id="40" name="Rectangle 39">
            <a:extLst>
              <a:ext uri="{FF2B5EF4-FFF2-40B4-BE49-F238E27FC236}">
                <a16:creationId xmlns:a16="http://schemas.microsoft.com/office/drawing/2014/main" id="{04561D87-15E0-BC44-173D-5CC924F02FB1}"/>
              </a:ext>
            </a:extLst>
          </p:cNvPr>
          <p:cNvSpPr/>
          <p:nvPr/>
        </p:nvSpPr>
        <p:spPr bwMode="gray">
          <a:xfrm>
            <a:off x="6936605" y="2632002"/>
            <a:ext cx="487547" cy="104569"/>
          </a:xfrm>
          <a:prstGeom prst="rect">
            <a:avLst/>
          </a:prstGeom>
          <a:solidFill>
            <a:schemeClr val="accent5">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700" dirty="0">
                <a:solidFill>
                  <a:schemeClr val="tx1"/>
                </a:solidFill>
              </a:rPr>
              <a:t>100.2 MW</a:t>
            </a:r>
          </a:p>
        </p:txBody>
      </p:sp>
      <p:sp>
        <p:nvSpPr>
          <p:cNvPr id="41" name="Rectangle 40">
            <a:extLst>
              <a:ext uri="{FF2B5EF4-FFF2-40B4-BE49-F238E27FC236}">
                <a16:creationId xmlns:a16="http://schemas.microsoft.com/office/drawing/2014/main" id="{51CB0F40-4DFA-F6BA-2224-1D119CF3F1C4}"/>
              </a:ext>
            </a:extLst>
          </p:cNvPr>
          <p:cNvSpPr/>
          <p:nvPr/>
        </p:nvSpPr>
        <p:spPr bwMode="gray">
          <a:xfrm>
            <a:off x="1791593" y="3678245"/>
            <a:ext cx="719181" cy="43999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Hot runoff water accumulates in proximity of plant </a:t>
            </a:r>
            <a:endParaRPr lang="en-US" sz="700" b="1" dirty="0">
              <a:solidFill>
                <a:schemeClr val="tx1"/>
              </a:solidFill>
            </a:endParaRPr>
          </a:p>
        </p:txBody>
      </p:sp>
      <p:sp>
        <p:nvSpPr>
          <p:cNvPr id="42" name="Rectangle 41">
            <a:extLst>
              <a:ext uri="{FF2B5EF4-FFF2-40B4-BE49-F238E27FC236}">
                <a16:creationId xmlns:a16="http://schemas.microsoft.com/office/drawing/2014/main" id="{AA429780-C86B-CDF8-8C6A-225B92F90CF5}"/>
              </a:ext>
            </a:extLst>
          </p:cNvPr>
          <p:cNvSpPr/>
          <p:nvPr/>
        </p:nvSpPr>
        <p:spPr bwMode="gray">
          <a:xfrm>
            <a:off x="3138602" y="3681068"/>
            <a:ext cx="512359" cy="43999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Bathing facilities opened </a:t>
            </a:r>
          </a:p>
        </p:txBody>
      </p:sp>
      <p:sp>
        <p:nvSpPr>
          <p:cNvPr id="43" name="Rectangle 42">
            <a:extLst>
              <a:ext uri="{FF2B5EF4-FFF2-40B4-BE49-F238E27FC236}">
                <a16:creationId xmlns:a16="http://schemas.microsoft.com/office/drawing/2014/main" id="{297740E6-095C-9823-BD43-1EC529892DD8}"/>
              </a:ext>
            </a:extLst>
          </p:cNvPr>
          <p:cNvSpPr/>
          <p:nvPr/>
        </p:nvSpPr>
        <p:spPr bwMode="gray">
          <a:xfrm>
            <a:off x="3113459" y="2203200"/>
            <a:ext cx="531924" cy="909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87</a:t>
            </a:r>
          </a:p>
        </p:txBody>
      </p:sp>
      <p:sp>
        <p:nvSpPr>
          <p:cNvPr id="44" name="Oval 43">
            <a:extLst>
              <a:ext uri="{FF2B5EF4-FFF2-40B4-BE49-F238E27FC236}">
                <a16:creationId xmlns:a16="http://schemas.microsoft.com/office/drawing/2014/main" id="{D8E571B5-F384-2089-1438-C43221D42D6B}"/>
              </a:ext>
            </a:extLst>
          </p:cNvPr>
          <p:cNvSpPr/>
          <p:nvPr/>
        </p:nvSpPr>
        <p:spPr bwMode="gray">
          <a:xfrm>
            <a:off x="3309093" y="2389238"/>
            <a:ext cx="154449" cy="152400"/>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45" name="Rectangle 44">
            <a:extLst>
              <a:ext uri="{FF2B5EF4-FFF2-40B4-BE49-F238E27FC236}">
                <a16:creationId xmlns:a16="http://schemas.microsoft.com/office/drawing/2014/main" id="{0BC85958-4F43-C4CC-C391-55E279DC752D}"/>
              </a:ext>
            </a:extLst>
          </p:cNvPr>
          <p:cNvSpPr/>
          <p:nvPr/>
        </p:nvSpPr>
        <p:spPr bwMode="gray">
          <a:xfrm>
            <a:off x="3884690" y="3678251"/>
            <a:ext cx="512359" cy="43999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Blue Lagoon Co. founded </a:t>
            </a:r>
          </a:p>
        </p:txBody>
      </p:sp>
      <p:sp>
        <p:nvSpPr>
          <p:cNvPr id="46" name="Oval 45">
            <a:extLst>
              <a:ext uri="{FF2B5EF4-FFF2-40B4-BE49-F238E27FC236}">
                <a16:creationId xmlns:a16="http://schemas.microsoft.com/office/drawing/2014/main" id="{2CB2C279-8FDE-E391-76A3-C8472177A27B}"/>
              </a:ext>
            </a:extLst>
          </p:cNvPr>
          <p:cNvSpPr/>
          <p:nvPr/>
        </p:nvSpPr>
        <p:spPr bwMode="gray">
          <a:xfrm>
            <a:off x="4084117"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47" name="Rectangle 46">
            <a:extLst>
              <a:ext uri="{FF2B5EF4-FFF2-40B4-BE49-F238E27FC236}">
                <a16:creationId xmlns:a16="http://schemas.microsoft.com/office/drawing/2014/main" id="{D3423D44-D22C-85F4-B341-012222B93A70}"/>
              </a:ext>
            </a:extLst>
          </p:cNvPr>
          <p:cNvSpPr/>
          <p:nvPr/>
        </p:nvSpPr>
        <p:spPr bwMode="gray">
          <a:xfrm>
            <a:off x="3939087" y="2193447"/>
            <a:ext cx="402035" cy="1104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92</a:t>
            </a:r>
          </a:p>
        </p:txBody>
      </p:sp>
      <p:sp>
        <p:nvSpPr>
          <p:cNvPr id="48" name="Rectangle 47">
            <a:extLst>
              <a:ext uri="{FF2B5EF4-FFF2-40B4-BE49-F238E27FC236}">
                <a16:creationId xmlns:a16="http://schemas.microsoft.com/office/drawing/2014/main" id="{A3E63AB8-4FB5-EA96-40F4-4E2657989492}"/>
              </a:ext>
            </a:extLst>
          </p:cNvPr>
          <p:cNvSpPr/>
          <p:nvPr/>
        </p:nvSpPr>
        <p:spPr bwMode="gray">
          <a:xfrm>
            <a:off x="4737923" y="2201753"/>
            <a:ext cx="535796" cy="938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1994-98</a:t>
            </a:r>
          </a:p>
        </p:txBody>
      </p:sp>
      <p:sp>
        <p:nvSpPr>
          <p:cNvPr id="49" name="Oval 48">
            <a:extLst>
              <a:ext uri="{FF2B5EF4-FFF2-40B4-BE49-F238E27FC236}">
                <a16:creationId xmlns:a16="http://schemas.microsoft.com/office/drawing/2014/main" id="{2B52241F-3A4E-DDB4-6C62-10FADA0415E7}"/>
              </a:ext>
            </a:extLst>
          </p:cNvPr>
          <p:cNvSpPr/>
          <p:nvPr/>
        </p:nvSpPr>
        <p:spPr bwMode="gray">
          <a:xfrm>
            <a:off x="4941286"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50" name="Rectangle 49">
            <a:extLst>
              <a:ext uri="{FF2B5EF4-FFF2-40B4-BE49-F238E27FC236}">
                <a16:creationId xmlns:a16="http://schemas.microsoft.com/office/drawing/2014/main" id="{96530DE1-BE8B-1EDA-008C-7FBDEAE9BB33}"/>
              </a:ext>
            </a:extLst>
          </p:cNvPr>
          <p:cNvSpPr/>
          <p:nvPr/>
        </p:nvSpPr>
        <p:spPr bwMode="gray">
          <a:xfrm>
            <a:off x="4617884" y="3662166"/>
            <a:ext cx="580622" cy="45656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Medical clinic established</a:t>
            </a:r>
          </a:p>
        </p:txBody>
      </p:sp>
      <p:sp>
        <p:nvSpPr>
          <p:cNvPr id="51" name="Rectangle 50">
            <a:extLst>
              <a:ext uri="{FF2B5EF4-FFF2-40B4-BE49-F238E27FC236}">
                <a16:creationId xmlns:a16="http://schemas.microsoft.com/office/drawing/2014/main" id="{9BF43B03-A1DD-242F-4814-264C97D6DE24}"/>
              </a:ext>
            </a:extLst>
          </p:cNvPr>
          <p:cNvSpPr/>
          <p:nvPr/>
        </p:nvSpPr>
        <p:spPr bwMode="gray">
          <a:xfrm>
            <a:off x="5262771" y="3665747"/>
            <a:ext cx="502240" cy="45249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Spa opens</a:t>
            </a:r>
          </a:p>
        </p:txBody>
      </p:sp>
      <p:sp>
        <p:nvSpPr>
          <p:cNvPr id="52" name="Rectangle 51">
            <a:extLst>
              <a:ext uri="{FF2B5EF4-FFF2-40B4-BE49-F238E27FC236}">
                <a16:creationId xmlns:a16="http://schemas.microsoft.com/office/drawing/2014/main" id="{4D689118-EA9E-F1E5-FB52-B20021E30583}"/>
              </a:ext>
            </a:extLst>
          </p:cNvPr>
          <p:cNvSpPr/>
          <p:nvPr/>
        </p:nvSpPr>
        <p:spPr bwMode="gray">
          <a:xfrm>
            <a:off x="6009213" y="3670513"/>
            <a:ext cx="1415705" cy="44772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700" dirty="0">
                <a:solidFill>
                  <a:schemeClr val="tx1"/>
                </a:solidFill>
              </a:rPr>
              <a:t>Skin care and anti-aging products established 2011; </a:t>
            </a:r>
            <a:r>
              <a:rPr lang="en-US" sz="700" b="1" dirty="0">
                <a:solidFill>
                  <a:schemeClr val="tx1"/>
                </a:solidFill>
              </a:rPr>
              <a:t>Blue Lagoon reports profits 50% higher than HS Orka 2019 </a:t>
            </a:r>
          </a:p>
        </p:txBody>
      </p:sp>
      <p:sp>
        <p:nvSpPr>
          <p:cNvPr id="53" name="Oval 52">
            <a:extLst>
              <a:ext uri="{FF2B5EF4-FFF2-40B4-BE49-F238E27FC236}">
                <a16:creationId xmlns:a16="http://schemas.microsoft.com/office/drawing/2014/main" id="{3BEA4E20-7522-B3B2-3C5D-CD0E70386B1E}"/>
              </a:ext>
            </a:extLst>
          </p:cNvPr>
          <p:cNvSpPr/>
          <p:nvPr/>
        </p:nvSpPr>
        <p:spPr bwMode="gray">
          <a:xfrm>
            <a:off x="6616534" y="2389239"/>
            <a:ext cx="154449" cy="152398"/>
          </a:xfrm>
          <a:prstGeom prst="ellipse">
            <a:avLst/>
          </a:prstGeom>
          <a:ln>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endParaRPr lang="en-US" sz="1600" dirty="0">
              <a:solidFill>
                <a:schemeClr val="tx1"/>
              </a:solidFill>
            </a:endParaRPr>
          </a:p>
        </p:txBody>
      </p:sp>
      <p:sp>
        <p:nvSpPr>
          <p:cNvPr id="54" name="Rectangle 53">
            <a:extLst>
              <a:ext uri="{FF2B5EF4-FFF2-40B4-BE49-F238E27FC236}">
                <a16:creationId xmlns:a16="http://schemas.microsoft.com/office/drawing/2014/main" id="{880DD879-0637-11A0-4159-A4EBB47B0C97}"/>
              </a:ext>
            </a:extLst>
          </p:cNvPr>
          <p:cNvSpPr/>
          <p:nvPr/>
        </p:nvSpPr>
        <p:spPr bwMode="gray">
          <a:xfrm>
            <a:off x="6413720" y="2197002"/>
            <a:ext cx="560075" cy="1033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dirty="0">
                <a:solidFill>
                  <a:schemeClr val="tx1"/>
                </a:solidFill>
              </a:rPr>
              <a:t>2019</a:t>
            </a:r>
          </a:p>
        </p:txBody>
      </p:sp>
      <p:pic>
        <p:nvPicPr>
          <p:cNvPr id="55" name="Picture 54" descr="A close up of a logo&#10;&#10;AI-generated content may be incorrect.">
            <a:extLst>
              <a:ext uri="{FF2B5EF4-FFF2-40B4-BE49-F238E27FC236}">
                <a16:creationId xmlns:a16="http://schemas.microsoft.com/office/drawing/2014/main" id="{CA775C6B-8D46-CE1A-E220-967301AA244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0245" y="3784577"/>
            <a:ext cx="904975" cy="282444"/>
          </a:xfrm>
          <a:prstGeom prst="rect">
            <a:avLst/>
          </a:prstGeom>
        </p:spPr>
      </p:pic>
      <p:sp>
        <p:nvSpPr>
          <p:cNvPr id="56" name="Rectangle 55">
            <a:extLst>
              <a:ext uri="{FF2B5EF4-FFF2-40B4-BE49-F238E27FC236}">
                <a16:creationId xmlns:a16="http://schemas.microsoft.com/office/drawing/2014/main" id="{5BE6579A-98F0-1F1A-E841-262F8BC3C661}"/>
              </a:ext>
            </a:extLst>
          </p:cNvPr>
          <p:cNvSpPr/>
          <p:nvPr/>
        </p:nvSpPr>
        <p:spPr bwMode="gray">
          <a:xfrm>
            <a:off x="484186" y="2568570"/>
            <a:ext cx="7058567" cy="954487"/>
          </a:xfrm>
          <a:prstGeom prst="rect">
            <a:avLst/>
          </a:prstGeom>
          <a:noFill/>
          <a:ln w="952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endParaRPr lang="en-US" sz="700" b="1" dirty="0">
              <a:solidFill>
                <a:schemeClr val="tx1"/>
              </a:solidFill>
            </a:endParaRPr>
          </a:p>
        </p:txBody>
      </p:sp>
      <p:pic>
        <p:nvPicPr>
          <p:cNvPr id="57" name="Picture 2" descr="Global Geothermal News: Iceland: Sale ...">
            <a:extLst>
              <a:ext uri="{FF2B5EF4-FFF2-40B4-BE49-F238E27FC236}">
                <a16:creationId xmlns:a16="http://schemas.microsoft.com/office/drawing/2014/main" id="{48FDB54C-A86A-99D9-1263-594495D0C5AD}"/>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88544" y="2913345"/>
            <a:ext cx="921136" cy="264936"/>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1B5C10C0-51A8-66D6-95E8-A3061690717A}"/>
              </a:ext>
            </a:extLst>
          </p:cNvPr>
          <p:cNvSpPr/>
          <p:nvPr/>
        </p:nvSpPr>
        <p:spPr bwMode="gray">
          <a:xfrm>
            <a:off x="484186" y="3570230"/>
            <a:ext cx="7058568" cy="668618"/>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endParaRPr lang="en-US" sz="700" b="1" dirty="0">
              <a:solidFill>
                <a:schemeClr val="tx1"/>
              </a:solidFill>
            </a:endParaRPr>
          </a:p>
        </p:txBody>
      </p:sp>
      <p:graphicFrame>
        <p:nvGraphicFramePr>
          <p:cNvPr id="59" name="Diagram 58">
            <a:extLst>
              <a:ext uri="{FF2B5EF4-FFF2-40B4-BE49-F238E27FC236}">
                <a16:creationId xmlns:a16="http://schemas.microsoft.com/office/drawing/2014/main" id="{7A55AF74-A962-276C-F99E-A29CDE1E4CC8}"/>
              </a:ext>
            </a:extLst>
          </p:cNvPr>
          <p:cNvGraphicFramePr/>
          <p:nvPr>
            <p:extLst>
              <p:ext uri="{D42A27DB-BD31-4B8C-83A1-F6EECF244321}">
                <p14:modId xmlns:p14="http://schemas.microsoft.com/office/powerpoint/2010/main" val="71705597"/>
              </p:ext>
            </p:extLst>
          </p:nvPr>
        </p:nvGraphicFramePr>
        <p:xfrm>
          <a:off x="8031158" y="2277426"/>
          <a:ext cx="3856515" cy="204184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60" name="Group 59">
            <a:extLst>
              <a:ext uri="{FF2B5EF4-FFF2-40B4-BE49-F238E27FC236}">
                <a16:creationId xmlns:a16="http://schemas.microsoft.com/office/drawing/2014/main" id="{AB7B8C77-3815-313C-D9AD-003520430342}"/>
              </a:ext>
            </a:extLst>
          </p:cNvPr>
          <p:cNvGrpSpPr/>
          <p:nvPr/>
        </p:nvGrpSpPr>
        <p:grpSpPr>
          <a:xfrm>
            <a:off x="8745996" y="2248674"/>
            <a:ext cx="2407813" cy="1636741"/>
            <a:chOff x="8728955" y="2182999"/>
            <a:chExt cx="2407813" cy="1636741"/>
          </a:xfrm>
        </p:grpSpPr>
        <p:pic>
          <p:nvPicPr>
            <p:cNvPr id="61" name="Picture 2" descr="Global Geothermal News: Iceland: Sale ...">
              <a:extLst>
                <a:ext uri="{FF2B5EF4-FFF2-40B4-BE49-F238E27FC236}">
                  <a16:creationId xmlns:a16="http://schemas.microsoft.com/office/drawing/2014/main" id="{02D6AFA8-5131-5870-D3B4-7133925F0FC2}"/>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542407" y="2182999"/>
              <a:ext cx="648833" cy="1858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2" name="Picture 61" descr="A close up of a logo&#10;&#10;AI-generated content may be incorrect.">
              <a:extLst>
                <a:ext uri="{FF2B5EF4-FFF2-40B4-BE49-F238E27FC236}">
                  <a16:creationId xmlns:a16="http://schemas.microsoft.com/office/drawing/2014/main" id="{553AF498-DF05-F42A-5C87-33052D9A28B9}"/>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566276" y="3584978"/>
              <a:ext cx="752196" cy="234762"/>
            </a:xfrm>
            <a:prstGeom prst="rect">
              <a:avLst/>
            </a:prstGeom>
          </p:spPr>
        </p:pic>
        <p:pic>
          <p:nvPicPr>
            <p:cNvPr id="63" name="Picture 2" descr="Global Geothermal News: Iceland: Sale ...">
              <a:extLst>
                <a:ext uri="{FF2B5EF4-FFF2-40B4-BE49-F238E27FC236}">
                  <a16:creationId xmlns:a16="http://schemas.microsoft.com/office/drawing/2014/main" id="{A4CC02B5-701C-4849-BCC3-5DC86A4126B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487935" y="2913498"/>
              <a:ext cx="648833" cy="1858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4" name="Picture 63" descr="A close up of a logo&#10;&#10;AI-generated content may be incorrect.">
              <a:extLst>
                <a:ext uri="{FF2B5EF4-FFF2-40B4-BE49-F238E27FC236}">
                  <a16:creationId xmlns:a16="http://schemas.microsoft.com/office/drawing/2014/main" id="{34850655-948F-FE23-01EB-E9A49CFB907A}"/>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728955" y="2919100"/>
              <a:ext cx="781535" cy="243919"/>
            </a:xfrm>
            <a:prstGeom prst="rect">
              <a:avLst/>
            </a:prstGeom>
          </p:spPr>
        </p:pic>
      </p:grpSp>
      <p:sp>
        <p:nvSpPr>
          <p:cNvPr id="65" name="Rectangular Callout 64">
            <a:extLst>
              <a:ext uri="{FF2B5EF4-FFF2-40B4-BE49-F238E27FC236}">
                <a16:creationId xmlns:a16="http://schemas.microsoft.com/office/drawing/2014/main" id="{4818363A-A715-8612-4E18-3C7858C33268}"/>
              </a:ext>
            </a:extLst>
          </p:cNvPr>
          <p:cNvSpPr/>
          <p:nvPr/>
        </p:nvSpPr>
        <p:spPr bwMode="gray">
          <a:xfrm>
            <a:off x="7854695" y="2291305"/>
            <a:ext cx="1324360" cy="361347"/>
          </a:xfrm>
          <a:prstGeom prst="wedgeRectCallout">
            <a:avLst>
              <a:gd name="adj1" fmla="val 23402"/>
              <a:gd name="adj2" fmla="val 111159"/>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dirty="0">
                <a:solidFill>
                  <a:schemeClr val="tx1"/>
                </a:solidFill>
              </a:rPr>
              <a:t>In 2015, HS Orka received a $2.7M dividend payment. </a:t>
            </a:r>
          </a:p>
        </p:txBody>
      </p:sp>
      <p:cxnSp>
        <p:nvCxnSpPr>
          <p:cNvPr id="66" name="Straight Connector 65">
            <a:extLst>
              <a:ext uri="{FF2B5EF4-FFF2-40B4-BE49-F238E27FC236}">
                <a16:creationId xmlns:a16="http://schemas.microsoft.com/office/drawing/2014/main" id="{D4EB23CB-3AF5-8EF4-DB46-B366B96C1B95}"/>
              </a:ext>
            </a:extLst>
          </p:cNvPr>
          <p:cNvCxnSpPr>
            <a:cxnSpLocks/>
          </p:cNvCxnSpPr>
          <p:nvPr/>
        </p:nvCxnSpPr>
        <p:spPr bwMode="gray">
          <a:xfrm>
            <a:off x="471488" y="4881753"/>
            <a:ext cx="1109705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8245D98-00CA-D789-5D01-B72BB2041824}"/>
              </a:ext>
            </a:extLst>
          </p:cNvPr>
          <p:cNvSpPr/>
          <p:nvPr/>
        </p:nvSpPr>
        <p:spPr bwMode="gray">
          <a:xfrm>
            <a:off x="513339" y="4528319"/>
            <a:ext cx="11097057" cy="28992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tx1"/>
                </a:solidFill>
              </a:rPr>
              <a:t>Blue Lagoon co-ownership built a resilient, diversified business model</a:t>
            </a:r>
          </a:p>
        </p:txBody>
      </p:sp>
      <p:sp>
        <p:nvSpPr>
          <p:cNvPr id="68" name="Rectangle 67">
            <a:extLst>
              <a:ext uri="{FF2B5EF4-FFF2-40B4-BE49-F238E27FC236}">
                <a16:creationId xmlns:a16="http://schemas.microsoft.com/office/drawing/2014/main" id="{667609AD-2417-6DE2-102F-95BAC7B7CEA0}"/>
              </a:ext>
            </a:extLst>
          </p:cNvPr>
          <p:cNvSpPr/>
          <p:nvPr/>
        </p:nvSpPr>
        <p:spPr bwMode="gray">
          <a:xfrm>
            <a:off x="471488" y="5060250"/>
            <a:ext cx="4727018" cy="26091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Orka Financial Highlights (2015)</a:t>
            </a:r>
          </a:p>
        </p:txBody>
      </p:sp>
      <p:sp>
        <p:nvSpPr>
          <p:cNvPr id="69" name="Rectangle 68">
            <a:extLst>
              <a:ext uri="{FF2B5EF4-FFF2-40B4-BE49-F238E27FC236}">
                <a16:creationId xmlns:a16="http://schemas.microsoft.com/office/drawing/2014/main" id="{7CCA9DC1-AB1F-508E-5F12-6A84CA876A45}"/>
              </a:ext>
            </a:extLst>
          </p:cNvPr>
          <p:cNvSpPr/>
          <p:nvPr/>
        </p:nvSpPr>
        <p:spPr bwMode="gray">
          <a:xfrm>
            <a:off x="5378123" y="5054594"/>
            <a:ext cx="3652836" cy="260911"/>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Blue Lagoon Impact</a:t>
            </a:r>
          </a:p>
        </p:txBody>
      </p:sp>
      <p:sp>
        <p:nvSpPr>
          <p:cNvPr id="70" name="Rectangle 69">
            <a:extLst>
              <a:ext uri="{FF2B5EF4-FFF2-40B4-BE49-F238E27FC236}">
                <a16:creationId xmlns:a16="http://schemas.microsoft.com/office/drawing/2014/main" id="{70C390E9-8303-B532-B8F1-BE22B95F8464}"/>
              </a:ext>
            </a:extLst>
          </p:cNvPr>
          <p:cNvSpPr/>
          <p:nvPr/>
        </p:nvSpPr>
        <p:spPr bwMode="gray">
          <a:xfrm>
            <a:off x="9167585" y="5054594"/>
            <a:ext cx="2385162" cy="260911"/>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dirty="0">
                <a:solidFill>
                  <a:schemeClr val="tx1"/>
                </a:solidFill>
              </a:rPr>
              <a:t>Operational Strength  </a:t>
            </a:r>
          </a:p>
        </p:txBody>
      </p:sp>
      <p:sp>
        <p:nvSpPr>
          <p:cNvPr id="71" name="Rectangle 70">
            <a:extLst>
              <a:ext uri="{FF2B5EF4-FFF2-40B4-BE49-F238E27FC236}">
                <a16:creationId xmlns:a16="http://schemas.microsoft.com/office/drawing/2014/main" id="{0456C3D8-B39B-A0C0-756B-9A1FA4877EC4}"/>
              </a:ext>
            </a:extLst>
          </p:cNvPr>
          <p:cNvSpPr/>
          <p:nvPr/>
        </p:nvSpPr>
        <p:spPr bwMode="gray">
          <a:xfrm>
            <a:off x="471488" y="5384674"/>
            <a:ext cx="4727018" cy="876900"/>
          </a:xfrm>
          <a:prstGeom prst="rect">
            <a:avLst/>
          </a:prstGeom>
          <a:solidFill>
            <a:schemeClr val="bg1"/>
          </a:solidFill>
          <a:ln w="9525">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900" dirty="0">
                <a:solidFill>
                  <a:schemeClr val="tx1"/>
                </a:solidFill>
              </a:rPr>
              <a:t>EBITDA: $21M | Gross profit: $15M; FX-adjusted growth of +1% and +7%</a:t>
            </a:r>
          </a:p>
          <a:p>
            <a:pPr>
              <a:spcBef>
                <a:spcPts val="0"/>
              </a:spcBef>
            </a:pPr>
            <a:r>
              <a:rPr lang="en-US" sz="900" dirty="0">
                <a:solidFill>
                  <a:schemeClr val="tx1"/>
                </a:solidFill>
              </a:rPr>
              <a:t>Revenue: $5.5M from staff transfer; retail sales +13% YoY.</a:t>
            </a:r>
          </a:p>
          <a:p>
            <a:pPr>
              <a:spcBef>
                <a:spcPts val="0"/>
              </a:spcBef>
            </a:pPr>
            <a:r>
              <a:rPr lang="en-US" sz="900" b="1" dirty="0">
                <a:solidFill>
                  <a:schemeClr val="tx1"/>
                </a:solidFill>
              </a:rPr>
              <a:t>Net income loss $1.9M driven by $24.7M non-cash                                         derivative loss tied to aluminum prices</a:t>
            </a:r>
          </a:p>
        </p:txBody>
      </p:sp>
      <p:sp>
        <p:nvSpPr>
          <p:cNvPr id="72" name="Rectangle 71">
            <a:extLst>
              <a:ext uri="{FF2B5EF4-FFF2-40B4-BE49-F238E27FC236}">
                <a16:creationId xmlns:a16="http://schemas.microsoft.com/office/drawing/2014/main" id="{FBA4BCEA-57F0-7E20-F4D6-412D5CD71AE3}"/>
              </a:ext>
            </a:extLst>
          </p:cNvPr>
          <p:cNvSpPr/>
          <p:nvPr/>
        </p:nvSpPr>
        <p:spPr bwMode="gray">
          <a:xfrm>
            <a:off x="5371234" y="5378296"/>
            <a:ext cx="3659725" cy="876900"/>
          </a:xfrm>
          <a:prstGeom prst="rect">
            <a:avLst/>
          </a:prstGeom>
          <a:solidFill>
            <a:schemeClr val="bg1"/>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900" b="1" dirty="0">
                <a:solidFill>
                  <a:schemeClr val="tx1"/>
                </a:solidFill>
              </a:rPr>
              <a:t>Dividend: $2.7M from spa operations</a:t>
            </a:r>
          </a:p>
          <a:p>
            <a:pPr>
              <a:spcBef>
                <a:spcPts val="0"/>
              </a:spcBef>
            </a:pPr>
            <a:r>
              <a:rPr lang="en-US" sz="900" b="1" dirty="0">
                <a:solidFill>
                  <a:schemeClr val="tx1"/>
                </a:solidFill>
              </a:rPr>
              <a:t>Income from associates:</a:t>
            </a:r>
            <a:r>
              <a:rPr lang="en-US" sz="900" dirty="0">
                <a:solidFill>
                  <a:schemeClr val="tx1"/>
                </a:solidFill>
              </a:rPr>
              <a:t> </a:t>
            </a:r>
            <a:r>
              <a:rPr lang="en-US" sz="900" b="1" dirty="0">
                <a:solidFill>
                  <a:schemeClr val="tx1"/>
                </a:solidFill>
              </a:rPr>
              <a:t>+78% to $8.9M</a:t>
            </a:r>
          </a:p>
          <a:p>
            <a:pPr>
              <a:spcBef>
                <a:spcPts val="0"/>
              </a:spcBef>
            </a:pPr>
            <a:r>
              <a:rPr lang="en-US" sz="900" dirty="0">
                <a:solidFill>
                  <a:schemeClr val="tx1"/>
                </a:solidFill>
              </a:rPr>
              <a:t>One-time $2M gain from share issuance</a:t>
            </a:r>
          </a:p>
        </p:txBody>
      </p:sp>
      <p:sp>
        <p:nvSpPr>
          <p:cNvPr id="73" name="Rectangle 72">
            <a:extLst>
              <a:ext uri="{FF2B5EF4-FFF2-40B4-BE49-F238E27FC236}">
                <a16:creationId xmlns:a16="http://schemas.microsoft.com/office/drawing/2014/main" id="{B9234C2B-57F6-6DBD-2B33-62E69C831998}"/>
              </a:ext>
            </a:extLst>
          </p:cNvPr>
          <p:cNvSpPr/>
          <p:nvPr/>
        </p:nvSpPr>
        <p:spPr bwMode="gray">
          <a:xfrm>
            <a:off x="9170413" y="5391053"/>
            <a:ext cx="2385162" cy="864143"/>
          </a:xfrm>
          <a:prstGeom prst="rect">
            <a:avLst/>
          </a:prstGeom>
          <a:solidFill>
            <a:schemeClr val="bg1"/>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900" b="1" dirty="0">
                <a:solidFill>
                  <a:schemeClr val="tx1"/>
                </a:solidFill>
              </a:rPr>
              <a:t>Loan repayments: $17.5M</a:t>
            </a:r>
          </a:p>
          <a:p>
            <a:pPr>
              <a:spcBef>
                <a:spcPts val="0"/>
              </a:spcBef>
            </a:pPr>
            <a:r>
              <a:rPr lang="en-US" sz="900" dirty="0">
                <a:solidFill>
                  <a:schemeClr val="tx1"/>
                </a:solidFill>
              </a:rPr>
              <a:t>Continued dividend payouts to shareholders</a:t>
            </a:r>
          </a:p>
        </p:txBody>
      </p:sp>
      <p:sp>
        <p:nvSpPr>
          <p:cNvPr id="74" name="Oval 73">
            <a:extLst>
              <a:ext uri="{FF2B5EF4-FFF2-40B4-BE49-F238E27FC236}">
                <a16:creationId xmlns:a16="http://schemas.microsoft.com/office/drawing/2014/main" id="{43BAC5F2-8476-2E25-09F0-3BC77B1A09E5}"/>
              </a:ext>
            </a:extLst>
          </p:cNvPr>
          <p:cNvSpPr/>
          <p:nvPr/>
        </p:nvSpPr>
        <p:spPr bwMode="gray">
          <a:xfrm>
            <a:off x="8269604" y="5572724"/>
            <a:ext cx="457200" cy="4572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5" name="Graphic 74" descr="Checkmark with solid fill">
            <a:extLst>
              <a:ext uri="{FF2B5EF4-FFF2-40B4-BE49-F238E27FC236}">
                <a16:creationId xmlns:a16="http://schemas.microsoft.com/office/drawing/2014/main" id="{FD358A19-6DDD-E337-D3AF-F7421CD2AB1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345159" y="5539407"/>
            <a:ext cx="457200" cy="457200"/>
          </a:xfrm>
          <a:prstGeom prst="rect">
            <a:avLst/>
          </a:prstGeom>
        </p:spPr>
      </p:pic>
      <p:sp>
        <p:nvSpPr>
          <p:cNvPr id="76" name="Oval 75">
            <a:extLst>
              <a:ext uri="{FF2B5EF4-FFF2-40B4-BE49-F238E27FC236}">
                <a16:creationId xmlns:a16="http://schemas.microsoft.com/office/drawing/2014/main" id="{98A86D0B-948A-9DDB-4959-07BE38CC0A09}"/>
              </a:ext>
            </a:extLst>
          </p:cNvPr>
          <p:cNvSpPr/>
          <p:nvPr/>
        </p:nvSpPr>
        <p:spPr bwMode="gray">
          <a:xfrm>
            <a:off x="11022820" y="5568334"/>
            <a:ext cx="457200" cy="4572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7" name="Graphic 76" descr="Checkmark with solid fill">
            <a:extLst>
              <a:ext uri="{FF2B5EF4-FFF2-40B4-BE49-F238E27FC236}">
                <a16:creationId xmlns:a16="http://schemas.microsoft.com/office/drawing/2014/main" id="{B8E6FCAC-3F4F-5852-78E1-1E545C4742B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098375" y="5535017"/>
            <a:ext cx="457200" cy="457200"/>
          </a:xfrm>
          <a:prstGeom prst="rect">
            <a:avLst/>
          </a:prstGeom>
        </p:spPr>
      </p:pic>
      <p:sp>
        <p:nvSpPr>
          <p:cNvPr id="78" name="Oval 77">
            <a:extLst>
              <a:ext uri="{FF2B5EF4-FFF2-40B4-BE49-F238E27FC236}">
                <a16:creationId xmlns:a16="http://schemas.microsoft.com/office/drawing/2014/main" id="{7B1BC1B0-BB18-8272-0040-5C961A483D9D}"/>
              </a:ext>
            </a:extLst>
          </p:cNvPr>
          <p:cNvSpPr/>
          <p:nvPr/>
        </p:nvSpPr>
        <p:spPr bwMode="gray">
          <a:xfrm>
            <a:off x="4609879" y="5566731"/>
            <a:ext cx="457200" cy="457200"/>
          </a:xfrm>
          <a:prstGeom prst="ellipse">
            <a:avLst/>
          </a:prstGeom>
          <a:solidFill>
            <a:schemeClr val="bg1"/>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9" name="Graphic 78" descr="Speedometer Low with solid fill">
            <a:extLst>
              <a:ext uri="{FF2B5EF4-FFF2-40B4-BE49-F238E27FC236}">
                <a16:creationId xmlns:a16="http://schemas.microsoft.com/office/drawing/2014/main" id="{84B593C0-AA2C-346B-FD90-F1692DBF27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657474" y="5578992"/>
            <a:ext cx="376362" cy="376362"/>
          </a:xfrm>
          <a:prstGeom prst="rect">
            <a:avLst/>
          </a:prstGeom>
        </p:spPr>
      </p:pic>
      <p:sp>
        <p:nvSpPr>
          <p:cNvPr id="80" name="Rectangle 79">
            <a:extLst>
              <a:ext uri="{FF2B5EF4-FFF2-40B4-BE49-F238E27FC236}">
                <a16:creationId xmlns:a16="http://schemas.microsoft.com/office/drawing/2014/main" id="{4B3FF877-821F-0CB4-CF7E-FBE58D6D8688}"/>
              </a:ext>
            </a:extLst>
          </p:cNvPr>
          <p:cNvSpPr/>
          <p:nvPr/>
        </p:nvSpPr>
        <p:spPr bwMode="gray">
          <a:xfrm>
            <a:off x="457028" y="5055126"/>
            <a:ext cx="1038192" cy="15672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chemeClr val="tx1"/>
                </a:solidFill>
              </a:rPr>
              <a:t>Power</a:t>
            </a:r>
          </a:p>
        </p:txBody>
      </p:sp>
      <p:sp>
        <p:nvSpPr>
          <p:cNvPr id="81" name="Rectangle 80">
            <a:extLst>
              <a:ext uri="{FF2B5EF4-FFF2-40B4-BE49-F238E27FC236}">
                <a16:creationId xmlns:a16="http://schemas.microsoft.com/office/drawing/2014/main" id="{D5E54A8C-1628-A7C1-3637-090278D8CCA8}"/>
              </a:ext>
            </a:extLst>
          </p:cNvPr>
          <p:cNvSpPr/>
          <p:nvPr/>
        </p:nvSpPr>
        <p:spPr bwMode="gray">
          <a:xfrm>
            <a:off x="5375528" y="5053120"/>
            <a:ext cx="1038192" cy="156721"/>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chemeClr val="tx1"/>
                </a:solidFill>
              </a:rPr>
              <a:t>H&amp;C + Power</a:t>
            </a:r>
          </a:p>
        </p:txBody>
      </p:sp>
    </p:spTree>
    <p:extLst>
      <p:ext uri="{BB962C8B-B14F-4D97-AF65-F5344CB8AC3E}">
        <p14:creationId xmlns:p14="http://schemas.microsoft.com/office/powerpoint/2010/main" val="354855075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A473E8-E6BF-40BB-095B-254D5FBF350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FFA473E8-E6BF-40BB-095B-254D5FBF35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176663-9878-A76A-4187-00FD9E83CC44}"/>
              </a:ext>
            </a:extLst>
          </p:cNvPr>
          <p:cNvSpPr>
            <a:spLocks noGrp="1"/>
          </p:cNvSpPr>
          <p:nvPr>
            <p:ph type="title"/>
          </p:nvPr>
        </p:nvSpPr>
        <p:spPr/>
        <p:txBody>
          <a:bodyPr vert="horz" rIns="91440"/>
          <a:lstStyle/>
          <a:p>
            <a:r>
              <a:rPr lang="en-US" dirty="0"/>
              <a:t>Leveraging oil &amp; gas capabilities can drive down geothermal power costs and accelerate deployment</a:t>
            </a:r>
          </a:p>
        </p:txBody>
      </p:sp>
      <p:sp>
        <p:nvSpPr>
          <p:cNvPr id="4" name="Footer Placeholder 3">
            <a:extLst>
              <a:ext uri="{FF2B5EF4-FFF2-40B4-BE49-F238E27FC236}">
                <a16:creationId xmlns:a16="http://schemas.microsoft.com/office/drawing/2014/main" id="{6DE2CB3D-B9F5-728C-B60E-26FF0148817F}"/>
              </a:ext>
            </a:extLst>
          </p:cNvPr>
          <p:cNvSpPr>
            <a:spLocks noGrp="1"/>
          </p:cNvSpPr>
          <p:nvPr>
            <p:ph type="ftr" sz="quarter" idx="3"/>
          </p:nvPr>
        </p:nvSpPr>
        <p:spPr>
          <a:xfrm>
            <a:off x="334962" y="6224686"/>
            <a:ext cx="9147241" cy="216706"/>
          </a:xfrm>
        </p:spPr>
        <p:txBody>
          <a:bodyPr/>
          <a:lstStyle/>
          <a:p>
            <a:pPr marL="0" indent="0">
              <a:spcBef>
                <a:spcPts val="0"/>
              </a:spcBef>
              <a:buNone/>
            </a:pPr>
            <a:r>
              <a:rPr lang="en-US" dirty="0">
                <a:solidFill>
                  <a:srgbClr val="000000"/>
                </a:solidFill>
              </a:rPr>
              <a:t>Sources: </a:t>
            </a:r>
            <a:r>
              <a:rPr lang="en-US" dirty="0">
                <a:solidFill>
                  <a:srgbClr val="000000"/>
                </a:solidFill>
                <a:hlinkClick r:id="rId6"/>
              </a:rPr>
              <a:t>The Future of Geothermal Energy</a:t>
            </a:r>
            <a:r>
              <a:rPr lang="en-US" dirty="0"/>
              <a:t> </a:t>
            </a:r>
            <a:r>
              <a:rPr lang="en-US" dirty="0">
                <a:solidFill>
                  <a:srgbClr val="000000"/>
                </a:solidFill>
              </a:rPr>
              <a:t>(IEA, 2024); </a:t>
            </a:r>
            <a:r>
              <a:rPr lang="en-US" dirty="0">
                <a:solidFill>
                  <a:srgbClr val="000000"/>
                </a:solidFill>
                <a:hlinkClick r:id="rId7"/>
              </a:rPr>
              <a:t>Global Geothermal Market and Technology Assessment</a:t>
            </a:r>
            <a:r>
              <a:rPr lang="en-US" dirty="0"/>
              <a:t> </a:t>
            </a:r>
            <a:r>
              <a:rPr lang="en-US" dirty="0">
                <a:solidFill>
                  <a:srgbClr val="000000"/>
                </a:solidFill>
              </a:rPr>
              <a:t>(IRENA, 2023); </a:t>
            </a:r>
            <a:r>
              <a:rPr lang="en-US" dirty="0">
                <a:solidFill>
                  <a:srgbClr val="000000"/>
                </a:solidFill>
                <a:hlinkClick r:id="rId8"/>
              </a:rPr>
              <a:t>Barriers to Next-Gen Geothermal</a:t>
            </a:r>
            <a:r>
              <a:rPr lang="en-US" dirty="0"/>
              <a:t> </a:t>
            </a:r>
            <a:r>
              <a:rPr lang="en-US" dirty="0">
                <a:solidFill>
                  <a:srgbClr val="000000"/>
                </a:solidFill>
              </a:rPr>
              <a:t>(IFP, 2023); </a:t>
            </a:r>
            <a:r>
              <a:rPr lang="en-US" dirty="0">
                <a:solidFill>
                  <a:srgbClr val="000000"/>
                </a:solidFill>
                <a:hlinkClick r:id="rId9"/>
              </a:rPr>
              <a:t>Can Zanskar use AI to de-risk conventional geothermal?</a:t>
            </a:r>
            <a:r>
              <a:rPr lang="en-US" dirty="0">
                <a:solidFill>
                  <a:srgbClr val="000000"/>
                </a:solidFill>
              </a:rPr>
              <a:t> (Latitude Media, 2025).</a:t>
            </a:r>
          </a:p>
          <a:p>
            <a:pPr marL="0" lvl="0" indent="0">
              <a:spcBef>
                <a:spcPts val="0"/>
              </a:spcBef>
              <a:buNone/>
              <a:defRPr/>
            </a:pPr>
            <a:r>
              <a:rPr lang="en-US" dirty="0">
                <a:solidFill>
                  <a:srgbClr val="000000"/>
                </a:solidFill>
              </a:rPr>
              <a:t>Credit: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Una </a:t>
            </a:r>
            <a:r>
              <a:rPr lang="en-US" dirty="0" err="1">
                <a:solidFill>
                  <a:srgbClr val="000000"/>
                </a:solidFill>
              </a:rPr>
              <a:t>Oljaca</a:t>
            </a:r>
            <a:r>
              <a:rPr lang="en-US" dirty="0">
                <a:solidFill>
                  <a:srgbClr val="000000"/>
                </a:solidFill>
              </a:rPr>
              <a:t>, and </a:t>
            </a:r>
            <a:r>
              <a:rPr lang="en-US" dirty="0">
                <a:hlinkClick r:id="rId10"/>
              </a:rPr>
              <a:t>Gernot Wagner.</a:t>
            </a:r>
            <a:r>
              <a:rPr lang="en-US" dirty="0"/>
              <a:t> </a:t>
            </a:r>
            <a:r>
              <a:rPr lang="en-US" dirty="0">
                <a:hlinkClick r:id="rId11"/>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5" name="Text Placeholder 1">
            <a:extLst>
              <a:ext uri="{FF2B5EF4-FFF2-40B4-BE49-F238E27FC236}">
                <a16:creationId xmlns:a16="http://schemas.microsoft.com/office/drawing/2014/main" id="{AAF62492-EE9E-CC68-EBE0-2F8CC0D7BDDD}"/>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il &amp; gas transfer</a:t>
            </a:r>
          </a:p>
        </p:txBody>
      </p:sp>
      <p:graphicFrame>
        <p:nvGraphicFramePr>
          <p:cNvPr id="7" name="Table 6">
            <a:extLst>
              <a:ext uri="{FF2B5EF4-FFF2-40B4-BE49-F238E27FC236}">
                <a16:creationId xmlns:a16="http://schemas.microsoft.com/office/drawing/2014/main" id="{F94B94F4-88B2-D738-EC87-4FBE612AC817}"/>
              </a:ext>
            </a:extLst>
          </p:cNvPr>
          <p:cNvGraphicFramePr>
            <a:graphicFrameLocks noGrp="1"/>
          </p:cNvGraphicFramePr>
          <p:nvPr>
            <p:extLst>
              <p:ext uri="{D42A27DB-BD31-4B8C-83A1-F6EECF244321}">
                <p14:modId xmlns:p14="http://schemas.microsoft.com/office/powerpoint/2010/main" val="1556063624"/>
              </p:ext>
            </p:extLst>
          </p:nvPr>
        </p:nvGraphicFramePr>
        <p:xfrm>
          <a:off x="330201" y="1620166"/>
          <a:ext cx="11531599" cy="4505050"/>
        </p:xfrm>
        <a:graphic>
          <a:graphicData uri="http://schemas.openxmlformats.org/drawingml/2006/table">
            <a:tbl>
              <a:tblPr/>
              <a:tblGrid>
                <a:gridCol w="1773387">
                  <a:extLst>
                    <a:ext uri="{9D8B030D-6E8A-4147-A177-3AD203B41FA5}">
                      <a16:colId xmlns:a16="http://schemas.microsoft.com/office/drawing/2014/main" val="847480815"/>
                    </a:ext>
                  </a:extLst>
                </a:gridCol>
                <a:gridCol w="2439553">
                  <a:extLst>
                    <a:ext uri="{9D8B030D-6E8A-4147-A177-3AD203B41FA5}">
                      <a16:colId xmlns:a16="http://schemas.microsoft.com/office/drawing/2014/main" val="2885810355"/>
                    </a:ext>
                  </a:extLst>
                </a:gridCol>
                <a:gridCol w="2439553">
                  <a:extLst>
                    <a:ext uri="{9D8B030D-6E8A-4147-A177-3AD203B41FA5}">
                      <a16:colId xmlns:a16="http://schemas.microsoft.com/office/drawing/2014/main" val="1865393617"/>
                    </a:ext>
                  </a:extLst>
                </a:gridCol>
                <a:gridCol w="2439553">
                  <a:extLst>
                    <a:ext uri="{9D8B030D-6E8A-4147-A177-3AD203B41FA5}">
                      <a16:colId xmlns:a16="http://schemas.microsoft.com/office/drawing/2014/main" val="1038205611"/>
                    </a:ext>
                  </a:extLst>
                </a:gridCol>
                <a:gridCol w="2439553">
                  <a:extLst>
                    <a:ext uri="{9D8B030D-6E8A-4147-A177-3AD203B41FA5}">
                      <a16:colId xmlns:a16="http://schemas.microsoft.com/office/drawing/2014/main" val="2835924888"/>
                    </a:ext>
                  </a:extLst>
                </a:gridCol>
              </a:tblGrid>
              <a:tr h="343815">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Problem</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urrent Challenge</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Oil &amp; Gas Synergy</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Limitations</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ase Example</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68151813"/>
                  </a:ext>
                </a:extLst>
              </a:tr>
              <a:tr h="108797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Resource Identification</a:t>
                      </a: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Accurate </a:t>
                      </a:r>
                      <a:r>
                        <a:rPr lang="en-US" sz="1200" b="1" i="0" u="none" strike="noStrike" dirty="0">
                          <a:solidFill>
                            <a:srgbClr val="000000"/>
                          </a:solidFill>
                          <a:effectLst/>
                          <a:latin typeface="Arial" panose="020B0604020202020204" pitchFamily="34" charset="0"/>
                          <a:cs typeface="Arial" panose="020B0604020202020204" pitchFamily="34" charset="0"/>
                        </a:rPr>
                        <a:t>geothermal resource identification and modeling </a:t>
                      </a:r>
                      <a:r>
                        <a:rPr lang="en-US" sz="1200" b="0" i="0" u="none" strike="noStrike" dirty="0">
                          <a:solidFill>
                            <a:srgbClr val="000000"/>
                          </a:solidFill>
                          <a:effectLst/>
                          <a:latin typeface="Arial" panose="020B0604020202020204" pitchFamily="34" charset="0"/>
                          <a:cs typeface="Arial" panose="020B0604020202020204" pitchFamily="34" charset="0"/>
                        </a:rPr>
                        <a:t>require multi-parameter surface data (seismic, geology, heat flow, permeability).</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mp; gas surface imaging and drilling data </a:t>
                      </a:r>
                      <a:r>
                        <a:rPr lang="en-US" sz="1200" b="1" i="0" u="none" strike="noStrike" dirty="0">
                          <a:solidFill>
                            <a:srgbClr val="000000"/>
                          </a:solidFill>
                          <a:effectLst/>
                          <a:latin typeface="Arial" panose="020B0604020202020204" pitchFamily="34" charset="0"/>
                          <a:cs typeface="Arial" panose="020B0604020202020204" pitchFamily="34" charset="0"/>
                        </a:rPr>
                        <a:t>reduce exploration risk and improve reservoir targeting</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Legacy O&amp;G datasets often </a:t>
                      </a:r>
                      <a:r>
                        <a:rPr lang="en-US" sz="1200" b="1" i="0" u="none" strike="noStrike" dirty="0">
                          <a:solidFill>
                            <a:srgbClr val="000000"/>
                          </a:solidFill>
                          <a:effectLst/>
                          <a:latin typeface="Arial" panose="020B0604020202020204" pitchFamily="34" charset="0"/>
                          <a:cs typeface="Arial" panose="020B0604020202020204" pitchFamily="34" charset="0"/>
                        </a:rPr>
                        <a:t>lack thermal gradient resolution or long-term heat recharge data</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ungary</a:t>
                      </a:r>
                      <a:r>
                        <a:rPr lang="en-US" sz="1200" b="0" i="0" u="none" strike="noStrike" dirty="0">
                          <a:solidFill>
                            <a:srgbClr val="000000"/>
                          </a:solidFill>
                          <a:effectLst/>
                          <a:latin typeface="Arial" panose="020B0604020202020204" pitchFamily="34" charset="0"/>
                          <a:cs typeface="Arial" panose="020B0604020202020204" pitchFamily="34" charset="0"/>
                        </a:rPr>
                        <a:t> and </a:t>
                      </a:r>
                      <a:r>
                        <a:rPr lang="en-US" sz="1200" b="1" i="0" u="none" strike="noStrike" dirty="0">
                          <a:solidFill>
                            <a:srgbClr val="000000"/>
                          </a:solidFill>
                          <a:effectLst/>
                          <a:latin typeface="Arial" panose="020B0604020202020204" pitchFamily="34" charset="0"/>
                          <a:cs typeface="Arial" panose="020B0604020202020204" pitchFamily="34" charset="0"/>
                        </a:rPr>
                        <a:t>The Netherlands: </a:t>
                      </a:r>
                      <a:r>
                        <a:rPr lang="en-US" sz="1200" b="0" i="0" u="none" strike="noStrike" dirty="0">
                          <a:solidFill>
                            <a:srgbClr val="000000"/>
                          </a:solidFill>
                          <a:effectLst/>
                          <a:latin typeface="Arial" panose="020B0604020202020204" pitchFamily="34" charset="0"/>
                          <a:cs typeface="Arial" panose="020B0604020202020204" pitchFamily="34" charset="0"/>
                        </a:rPr>
                        <a:t>Open oil &amp; gas subsurface databases reduce geothermal exploration costs and uncertainty.</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533781021"/>
                  </a:ext>
                </a:extLst>
              </a:tr>
              <a:tr h="1045401">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Skilled Workforce Need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Skilled workforce shortages </a:t>
                      </a:r>
                      <a:r>
                        <a:rPr lang="en-US" sz="1200" b="0" i="0" u="none" strike="noStrike" dirty="0">
                          <a:solidFill>
                            <a:srgbClr val="000000"/>
                          </a:solidFill>
                          <a:effectLst/>
                          <a:latin typeface="Arial" panose="020B0604020202020204" pitchFamily="34" charset="0"/>
                          <a:cs typeface="Arial" panose="020B0604020202020204" pitchFamily="34" charset="0"/>
                        </a:rPr>
                        <a:t>in reservoir engineering and well completion delay project scaling.</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mp; gas professionals have skills that can apply to geothermal </a:t>
                      </a:r>
                      <a:r>
                        <a:rPr lang="en-US" sz="1200" b="1" i="0" u="none" strike="noStrike" dirty="0">
                          <a:solidFill>
                            <a:srgbClr val="000000"/>
                          </a:solidFill>
                          <a:effectLst/>
                          <a:latin typeface="Arial" panose="020B0604020202020204" pitchFamily="34" charset="0"/>
                          <a:cs typeface="Arial" panose="020B0604020202020204" pitchFamily="34" charset="0"/>
                        </a:rPr>
                        <a:t>exploration, development, and operation</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Current policy frameworks provide </a:t>
                      </a:r>
                      <a:r>
                        <a:rPr lang="en-US" sz="1200" b="1" i="0" u="none" strike="noStrike" dirty="0">
                          <a:solidFill>
                            <a:srgbClr val="000000"/>
                          </a:solidFill>
                          <a:effectLst/>
                          <a:latin typeface="Arial" panose="020B0604020202020204" pitchFamily="34" charset="0"/>
                          <a:cs typeface="Arial" panose="020B0604020202020204" pitchFamily="34" charset="0"/>
                        </a:rPr>
                        <a:t>limited financial incentives </a:t>
                      </a:r>
                      <a:r>
                        <a:rPr lang="en-US" sz="1200" b="0" i="0" u="none" strike="noStrike" dirty="0">
                          <a:solidFill>
                            <a:srgbClr val="000000"/>
                          </a:solidFill>
                          <a:effectLst/>
                          <a:latin typeface="Arial" panose="020B0604020202020204" pitchFamily="34" charset="0"/>
                          <a:cs typeface="Arial" panose="020B0604020202020204" pitchFamily="34" charset="0"/>
                        </a:rPr>
                        <a:t>for geothermal workforce transfer.</a:t>
                      </a:r>
                    </a:p>
                  </a:txBody>
                  <a:tcPr anchor="ctr">
                    <a:lnL>
                      <a:noFill/>
                    </a:lnL>
                    <a:lnR>
                      <a:noFill/>
                    </a:lnR>
                    <a:lnT>
                      <a:noFill/>
                    </a:lnT>
                    <a:lnB>
                      <a:noFill/>
                    </a:lnB>
                    <a:solidFill>
                      <a:schemeClr val="bg1">
                        <a:lumMod val="95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cs typeface="Arial" panose="020B0604020202020204" pitchFamily="34" charset="0"/>
                        </a:rPr>
                        <a:t>DOE Geothermal from O&amp;G Initiative:</a:t>
                      </a:r>
                      <a:r>
                        <a:rPr lang="en-US" sz="1200" b="0" i="0" u="none" strike="noStrike" dirty="0">
                          <a:solidFill>
                            <a:srgbClr val="000000"/>
                          </a:solidFill>
                          <a:effectLst/>
                          <a:latin typeface="Arial" panose="020B0604020202020204" pitchFamily="34" charset="0"/>
                          <a:cs typeface="Arial" panose="020B0604020202020204" pitchFamily="34" charset="0"/>
                        </a:rPr>
                        <a:t> Demonstrates feasibility of cross-sector workforce and skill transfer. </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580703786"/>
                  </a:ext>
                </a:extLst>
              </a:tr>
              <a:tr h="975050">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Drilling Cost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Subsurface </a:t>
                      </a:r>
                      <a:r>
                        <a:rPr lang="en-US" sz="1200" b="1" i="0" u="none" strike="noStrike" dirty="0">
                          <a:solidFill>
                            <a:srgbClr val="000000"/>
                          </a:solidFill>
                          <a:effectLst/>
                          <a:latin typeface="Arial" panose="020B0604020202020204" pitchFamily="34" charset="0"/>
                          <a:cs typeface="Arial" panose="020B0604020202020204" pitchFamily="34" charset="0"/>
                        </a:rPr>
                        <a:t>drilling represents 60 to 80%</a:t>
                      </a:r>
                      <a:r>
                        <a:rPr lang="en-US" sz="1200" b="0" i="0" u="none" strike="noStrike" dirty="0">
                          <a:solidFill>
                            <a:srgbClr val="000000"/>
                          </a:solidFill>
                          <a:effectLst/>
                          <a:latin typeface="Arial" panose="020B0604020202020204" pitchFamily="34" charset="0"/>
                          <a:cs typeface="Arial" panose="020B0604020202020204" pitchFamily="34" charset="0"/>
                        </a:rPr>
                        <a:t> of total next-generation geothermal CapEx.</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ydrocarbon well technology </a:t>
                      </a:r>
                      <a:r>
                        <a:rPr lang="en-US" sz="1200" b="0" i="0" u="none" strike="noStrike" dirty="0">
                          <a:solidFill>
                            <a:srgbClr val="000000"/>
                          </a:solidFill>
                          <a:effectLst/>
                          <a:latin typeface="Arial" panose="020B0604020202020204" pitchFamily="34" charset="0"/>
                          <a:cs typeface="Arial" panose="020B0604020202020204" pitchFamily="34" charset="0"/>
                        </a:rPr>
                        <a:t>(e.g., horizontal drilling, multi-stage stimulation) can be </a:t>
                      </a:r>
                      <a:r>
                        <a:rPr lang="en-US" sz="1200" b="1" i="0" u="none" strike="noStrike" dirty="0">
                          <a:solidFill>
                            <a:srgbClr val="000000"/>
                          </a:solidFill>
                          <a:effectLst/>
                          <a:latin typeface="Arial" panose="020B0604020202020204" pitchFamily="34" charset="0"/>
                          <a:cs typeface="Arial" panose="020B0604020202020204" pitchFamily="34" charset="0"/>
                        </a:rPr>
                        <a:t>directly transferred to EGS. </a:t>
                      </a: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Geothermal wells require </a:t>
                      </a:r>
                      <a:r>
                        <a:rPr lang="en-US" sz="1200" b="1" i="0" u="none" strike="noStrike" dirty="0">
                          <a:solidFill>
                            <a:srgbClr val="000000"/>
                          </a:solidFill>
                          <a:effectLst/>
                          <a:latin typeface="Arial" panose="020B0604020202020204" pitchFamily="34" charset="0"/>
                          <a:cs typeface="Arial" panose="020B0604020202020204" pitchFamily="34" charset="0"/>
                        </a:rPr>
                        <a:t>sustained reinjection and higher temperature tolerance </a:t>
                      </a:r>
                      <a:r>
                        <a:rPr lang="en-US" sz="1200" b="0" i="0" u="none" strike="noStrike" dirty="0">
                          <a:solidFill>
                            <a:srgbClr val="000000"/>
                          </a:solidFill>
                          <a:effectLst/>
                          <a:latin typeface="Arial" panose="020B0604020202020204" pitchFamily="34" charset="0"/>
                          <a:cs typeface="Arial" panose="020B0604020202020204" pitchFamily="34" charset="0"/>
                        </a:rPr>
                        <a:t>than oil &amp; gas operations.</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Fervo Energy’s Project Red:</a:t>
                      </a:r>
                      <a:r>
                        <a:rPr lang="en-US" sz="1200" b="0" i="0" u="none" strike="noStrike" dirty="0">
                          <a:solidFill>
                            <a:srgbClr val="000000"/>
                          </a:solidFill>
                          <a:effectLst/>
                          <a:latin typeface="Arial" panose="020B0604020202020204" pitchFamily="34" charset="0"/>
                          <a:cs typeface="Arial" panose="020B0604020202020204" pitchFamily="34" charset="0"/>
                        </a:rPr>
                        <a:t> Achieved record flow rates by adapting shale fracking and fiber-optic monitoring.</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r h="105280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Co-production and Well Repurposing</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igh initial exploration, drilling, and completion costs </a:t>
                      </a:r>
                      <a:r>
                        <a:rPr lang="en-US" sz="1200" b="0" i="0" u="none" strike="noStrike" dirty="0">
                          <a:solidFill>
                            <a:srgbClr val="000000"/>
                          </a:solidFill>
                          <a:effectLst/>
                          <a:latin typeface="Arial" panose="020B0604020202020204" pitchFamily="34" charset="0"/>
                          <a:cs typeface="Arial" panose="020B0604020202020204" pitchFamily="34" charset="0"/>
                        </a:rPr>
                        <a:t>can be a limiting factor in geothermal projects.</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dirty="0"/>
                        <a:t>Co-production or heat extraction from abandoned wells </a:t>
                      </a:r>
                      <a:r>
                        <a:rPr lang="en-US" sz="1200" dirty="0"/>
                        <a:t>can de-risk geothermal project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Wells require a large heat gradient and flow rate, flexible permitting, and proximity to demand.</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Zanskar Project (U.S.):</a:t>
                      </a:r>
                      <a:r>
                        <a:rPr lang="en-US" sz="1200" b="0" i="0" u="none" strike="noStrike" dirty="0">
                          <a:solidFill>
                            <a:srgbClr val="000000"/>
                          </a:solidFill>
                          <a:effectLst/>
                          <a:latin typeface="Arial" panose="020B0604020202020204" pitchFamily="34" charset="0"/>
                          <a:cs typeface="Arial" panose="020B0604020202020204" pitchFamily="34" charset="0"/>
                        </a:rPr>
                        <a:t> AI-driven reservoir modeling revitalized legacy wells, cutting exploration risk by &gt;50%.</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21328786"/>
                  </a:ext>
                </a:extLst>
              </a:tr>
            </a:tbl>
          </a:graphicData>
        </a:graphic>
      </p:graphicFrame>
      <p:grpSp>
        <p:nvGrpSpPr>
          <p:cNvPr id="8" name="Group 7">
            <a:extLst>
              <a:ext uri="{FF2B5EF4-FFF2-40B4-BE49-F238E27FC236}">
                <a16:creationId xmlns:a16="http://schemas.microsoft.com/office/drawing/2014/main" id="{22E559A3-7F66-1D62-6515-650B5B63D160}"/>
              </a:ext>
            </a:extLst>
          </p:cNvPr>
          <p:cNvGrpSpPr/>
          <p:nvPr/>
        </p:nvGrpSpPr>
        <p:grpSpPr>
          <a:xfrm>
            <a:off x="424935" y="5889241"/>
            <a:ext cx="784860" cy="137160"/>
            <a:chOff x="400685" y="5550545"/>
            <a:chExt cx="784860" cy="137160"/>
          </a:xfrm>
        </p:grpSpPr>
        <p:sp>
          <p:nvSpPr>
            <p:cNvPr id="9" name="Oval 8">
              <a:extLst>
                <a:ext uri="{FF2B5EF4-FFF2-40B4-BE49-F238E27FC236}">
                  <a16:creationId xmlns:a16="http://schemas.microsoft.com/office/drawing/2014/main" id="{CB4F78AA-1FF1-5370-97CB-624A15F104C4}"/>
                </a:ext>
              </a:extLst>
            </p:cNvPr>
            <p:cNvSpPr/>
            <p:nvPr/>
          </p:nvSpPr>
          <p:spPr bwMode="gray">
            <a:xfrm>
              <a:off x="400685"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Oval 9">
              <a:extLst>
                <a:ext uri="{FF2B5EF4-FFF2-40B4-BE49-F238E27FC236}">
                  <a16:creationId xmlns:a16="http://schemas.microsoft.com/office/drawing/2014/main" id="{1A18159D-421C-56E5-7849-28310C7BC1B1}"/>
                </a:ext>
              </a:extLst>
            </p:cNvPr>
            <p:cNvSpPr/>
            <p:nvPr/>
          </p:nvSpPr>
          <p:spPr bwMode="gray">
            <a:xfrm>
              <a:off x="562610"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Oval 10">
              <a:extLst>
                <a:ext uri="{FF2B5EF4-FFF2-40B4-BE49-F238E27FC236}">
                  <a16:creationId xmlns:a16="http://schemas.microsoft.com/office/drawing/2014/main" id="{02F5539A-EB33-CDD0-E471-584AF94E6B49}"/>
                </a:ext>
              </a:extLst>
            </p:cNvPr>
            <p:cNvSpPr/>
            <p:nvPr/>
          </p:nvSpPr>
          <p:spPr bwMode="gray">
            <a:xfrm>
              <a:off x="72453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Oval 11">
              <a:extLst>
                <a:ext uri="{FF2B5EF4-FFF2-40B4-BE49-F238E27FC236}">
                  <a16:creationId xmlns:a16="http://schemas.microsoft.com/office/drawing/2014/main" id="{A04BBF3A-6E14-05D9-05C8-C8DD975A108E}"/>
                </a:ext>
              </a:extLst>
            </p:cNvPr>
            <p:cNvSpPr/>
            <p:nvPr/>
          </p:nvSpPr>
          <p:spPr bwMode="gray">
            <a:xfrm>
              <a:off x="886460"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BC160C8C-F7A7-ABB6-8F0E-AA8CEC122B49}"/>
                </a:ext>
              </a:extLst>
            </p:cNvPr>
            <p:cNvSpPr/>
            <p:nvPr/>
          </p:nvSpPr>
          <p:spPr bwMode="gray">
            <a:xfrm>
              <a:off x="104838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4" name="Group 13">
            <a:extLst>
              <a:ext uri="{FF2B5EF4-FFF2-40B4-BE49-F238E27FC236}">
                <a16:creationId xmlns:a16="http://schemas.microsoft.com/office/drawing/2014/main" id="{335B0D9E-C1F8-6329-32BB-8B3F5C805411}"/>
              </a:ext>
            </a:extLst>
          </p:cNvPr>
          <p:cNvGrpSpPr/>
          <p:nvPr/>
        </p:nvGrpSpPr>
        <p:grpSpPr>
          <a:xfrm>
            <a:off x="431795" y="4861793"/>
            <a:ext cx="784860" cy="137160"/>
            <a:chOff x="400685" y="4585345"/>
            <a:chExt cx="784860" cy="137160"/>
          </a:xfrm>
        </p:grpSpPr>
        <p:sp>
          <p:nvSpPr>
            <p:cNvPr id="15" name="Oval 14">
              <a:extLst>
                <a:ext uri="{FF2B5EF4-FFF2-40B4-BE49-F238E27FC236}">
                  <a16:creationId xmlns:a16="http://schemas.microsoft.com/office/drawing/2014/main" id="{B888F6CE-F9D6-903D-7381-867BA3592A41}"/>
                </a:ext>
              </a:extLst>
            </p:cNvPr>
            <p:cNvSpPr/>
            <p:nvPr/>
          </p:nvSpPr>
          <p:spPr bwMode="gray">
            <a:xfrm>
              <a:off x="40068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03DBD4C0-AF9D-9E8C-6D33-CFA858A4C945}"/>
                </a:ext>
              </a:extLst>
            </p:cNvPr>
            <p:cNvSpPr/>
            <p:nvPr/>
          </p:nvSpPr>
          <p:spPr bwMode="gray">
            <a:xfrm>
              <a:off x="562610"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Oval 16">
              <a:extLst>
                <a:ext uri="{FF2B5EF4-FFF2-40B4-BE49-F238E27FC236}">
                  <a16:creationId xmlns:a16="http://schemas.microsoft.com/office/drawing/2014/main" id="{0EF8877E-840B-97F5-9B05-E459A5869D75}"/>
                </a:ext>
              </a:extLst>
            </p:cNvPr>
            <p:cNvSpPr/>
            <p:nvPr/>
          </p:nvSpPr>
          <p:spPr bwMode="gray">
            <a:xfrm>
              <a:off x="72453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Oval 17">
              <a:extLst>
                <a:ext uri="{FF2B5EF4-FFF2-40B4-BE49-F238E27FC236}">
                  <a16:creationId xmlns:a16="http://schemas.microsoft.com/office/drawing/2014/main" id="{0165C562-85D3-4381-EA09-600EA0FB79C7}"/>
                </a:ext>
              </a:extLst>
            </p:cNvPr>
            <p:cNvSpPr/>
            <p:nvPr/>
          </p:nvSpPr>
          <p:spPr bwMode="gray">
            <a:xfrm>
              <a:off x="886460"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Oval 18">
              <a:extLst>
                <a:ext uri="{FF2B5EF4-FFF2-40B4-BE49-F238E27FC236}">
                  <a16:creationId xmlns:a16="http://schemas.microsoft.com/office/drawing/2014/main" id="{2B59E585-31A1-A811-4CF5-2111AA1E4D2E}"/>
                </a:ext>
              </a:extLst>
            </p:cNvPr>
            <p:cNvSpPr/>
            <p:nvPr/>
          </p:nvSpPr>
          <p:spPr bwMode="gray">
            <a:xfrm>
              <a:off x="1048385"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0" name="Group 19">
            <a:extLst>
              <a:ext uri="{FF2B5EF4-FFF2-40B4-BE49-F238E27FC236}">
                <a16:creationId xmlns:a16="http://schemas.microsoft.com/office/drawing/2014/main" id="{8DA2046D-FB12-C24C-1F25-D1CDA63E2B7B}"/>
              </a:ext>
            </a:extLst>
          </p:cNvPr>
          <p:cNvGrpSpPr/>
          <p:nvPr/>
        </p:nvGrpSpPr>
        <p:grpSpPr>
          <a:xfrm>
            <a:off x="426780" y="2845243"/>
            <a:ext cx="784860" cy="137160"/>
            <a:chOff x="400685" y="2731781"/>
            <a:chExt cx="784860" cy="137160"/>
          </a:xfrm>
        </p:grpSpPr>
        <p:sp>
          <p:nvSpPr>
            <p:cNvPr id="21" name="Oval 20">
              <a:extLst>
                <a:ext uri="{FF2B5EF4-FFF2-40B4-BE49-F238E27FC236}">
                  <a16:creationId xmlns:a16="http://schemas.microsoft.com/office/drawing/2014/main" id="{A55AC5DE-897A-B286-2F4C-7F0B94552AD8}"/>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Oval 21">
              <a:extLst>
                <a:ext uri="{FF2B5EF4-FFF2-40B4-BE49-F238E27FC236}">
                  <a16:creationId xmlns:a16="http://schemas.microsoft.com/office/drawing/2014/main" id="{96CDBFEC-EC3D-CBE9-E323-BD123D884639}"/>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Oval 22">
              <a:extLst>
                <a:ext uri="{FF2B5EF4-FFF2-40B4-BE49-F238E27FC236}">
                  <a16:creationId xmlns:a16="http://schemas.microsoft.com/office/drawing/2014/main" id="{712A6FC6-55E1-AFE6-EBE1-537E1A90ABA6}"/>
                </a:ext>
              </a:extLst>
            </p:cNvPr>
            <p:cNvSpPr/>
            <p:nvPr/>
          </p:nvSpPr>
          <p:spPr bwMode="gray">
            <a:xfrm>
              <a:off x="72453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Oval 23">
              <a:extLst>
                <a:ext uri="{FF2B5EF4-FFF2-40B4-BE49-F238E27FC236}">
                  <a16:creationId xmlns:a16="http://schemas.microsoft.com/office/drawing/2014/main" id="{618CCD80-88F8-DAB7-32C8-F955D3DB69A9}"/>
                </a:ext>
              </a:extLst>
            </p:cNvPr>
            <p:cNvSpPr/>
            <p:nvPr/>
          </p:nvSpPr>
          <p:spPr bwMode="gray">
            <a:xfrm>
              <a:off x="88646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CA234E32-252E-5EF1-C5FE-4E4EA3064BE4}"/>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6" name="Group 25">
            <a:extLst>
              <a:ext uri="{FF2B5EF4-FFF2-40B4-BE49-F238E27FC236}">
                <a16:creationId xmlns:a16="http://schemas.microsoft.com/office/drawing/2014/main" id="{3B04866E-2832-356E-FAD3-46080E385CFF}"/>
              </a:ext>
            </a:extLst>
          </p:cNvPr>
          <p:cNvGrpSpPr/>
          <p:nvPr/>
        </p:nvGrpSpPr>
        <p:grpSpPr>
          <a:xfrm>
            <a:off x="9073658" y="1428174"/>
            <a:ext cx="2700524" cy="123111"/>
            <a:chOff x="400685" y="6087835"/>
            <a:chExt cx="2700524" cy="123111"/>
          </a:xfrm>
        </p:grpSpPr>
        <p:sp>
          <p:nvSpPr>
            <p:cNvPr id="27" name="btfpNotesBox440432">
              <a:extLst>
                <a:ext uri="{FF2B5EF4-FFF2-40B4-BE49-F238E27FC236}">
                  <a16:creationId xmlns:a16="http://schemas.microsoft.com/office/drawing/2014/main" id="{C4D571A8-48A8-BD94-0616-377A7BAFB426}"/>
                </a:ext>
              </a:extLst>
            </p:cNvPr>
            <p:cNvSpPr txBox="1"/>
            <p:nvPr>
              <p:custDataLst>
                <p:tags r:id="rId2"/>
              </p:custDataLst>
            </p:nvPr>
          </p:nvSpPr>
          <p:spPr bwMode="gray">
            <a:xfrm>
              <a:off x="1063494" y="6087835"/>
              <a:ext cx="1374906"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Level of shared competencies</a:t>
              </a:r>
            </a:p>
          </p:txBody>
        </p:sp>
        <p:grpSp>
          <p:nvGrpSpPr>
            <p:cNvPr id="28" name="Group 27">
              <a:extLst>
                <a:ext uri="{FF2B5EF4-FFF2-40B4-BE49-F238E27FC236}">
                  <a16:creationId xmlns:a16="http://schemas.microsoft.com/office/drawing/2014/main" id="{A704C91D-9C40-9403-720D-490B261E5A01}"/>
                </a:ext>
              </a:extLst>
            </p:cNvPr>
            <p:cNvGrpSpPr/>
            <p:nvPr/>
          </p:nvGrpSpPr>
          <p:grpSpPr>
            <a:xfrm>
              <a:off x="400685" y="6103670"/>
              <a:ext cx="569601" cy="91440"/>
              <a:chOff x="631190" y="7161982"/>
              <a:chExt cx="569601" cy="91440"/>
            </a:xfrm>
          </p:grpSpPr>
          <p:sp>
            <p:nvSpPr>
              <p:cNvPr id="35" name="Oval 34">
                <a:extLst>
                  <a:ext uri="{FF2B5EF4-FFF2-40B4-BE49-F238E27FC236}">
                    <a16:creationId xmlns:a16="http://schemas.microsoft.com/office/drawing/2014/main" id="{874604E6-FF9B-272F-0627-8F0025021F2D}"/>
                  </a:ext>
                </a:extLst>
              </p:cNvPr>
              <p:cNvSpPr/>
              <p:nvPr/>
            </p:nvSpPr>
            <p:spPr bwMode="gray">
              <a:xfrm>
                <a:off x="63119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Oval 35">
                <a:extLst>
                  <a:ext uri="{FF2B5EF4-FFF2-40B4-BE49-F238E27FC236}">
                    <a16:creationId xmlns:a16="http://schemas.microsoft.com/office/drawing/2014/main" id="{920933FC-524C-A239-71BE-0F507014A0A2}"/>
                  </a:ext>
                </a:extLst>
              </p:cNvPr>
              <p:cNvSpPr/>
              <p:nvPr/>
            </p:nvSpPr>
            <p:spPr bwMode="gray">
              <a:xfrm>
                <a:off x="75073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Oval 36">
                <a:extLst>
                  <a:ext uri="{FF2B5EF4-FFF2-40B4-BE49-F238E27FC236}">
                    <a16:creationId xmlns:a16="http://schemas.microsoft.com/office/drawing/2014/main" id="{D235E02B-9E61-3E22-DE12-4146285D646D}"/>
                  </a:ext>
                </a:extLst>
              </p:cNvPr>
              <p:cNvSpPr/>
              <p:nvPr/>
            </p:nvSpPr>
            <p:spPr bwMode="gray">
              <a:xfrm>
                <a:off x="87027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Oval 37">
                <a:extLst>
                  <a:ext uri="{FF2B5EF4-FFF2-40B4-BE49-F238E27FC236}">
                    <a16:creationId xmlns:a16="http://schemas.microsoft.com/office/drawing/2014/main" id="{49388C7F-1BDF-0AC4-FC08-07D05C717E95}"/>
                  </a:ext>
                </a:extLst>
              </p:cNvPr>
              <p:cNvSpPr/>
              <p:nvPr/>
            </p:nvSpPr>
            <p:spPr bwMode="gray">
              <a:xfrm>
                <a:off x="98981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Oval 38">
                <a:extLst>
                  <a:ext uri="{FF2B5EF4-FFF2-40B4-BE49-F238E27FC236}">
                    <a16:creationId xmlns:a16="http://schemas.microsoft.com/office/drawing/2014/main" id="{A51697D3-A2AC-8265-7129-CE222CF67C09}"/>
                  </a:ext>
                </a:extLst>
              </p:cNvPr>
              <p:cNvSpPr/>
              <p:nvPr/>
            </p:nvSpPr>
            <p:spPr bwMode="gray">
              <a:xfrm>
                <a:off x="1109351"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9" name="Group 28">
              <a:extLst>
                <a:ext uri="{FF2B5EF4-FFF2-40B4-BE49-F238E27FC236}">
                  <a16:creationId xmlns:a16="http://schemas.microsoft.com/office/drawing/2014/main" id="{335865C2-807B-FAA7-6803-5025EB5CD707}"/>
                </a:ext>
              </a:extLst>
            </p:cNvPr>
            <p:cNvGrpSpPr/>
            <p:nvPr/>
          </p:nvGrpSpPr>
          <p:grpSpPr>
            <a:xfrm>
              <a:off x="2531608" y="6103670"/>
              <a:ext cx="569601" cy="91440"/>
              <a:chOff x="631190" y="7161982"/>
              <a:chExt cx="569601" cy="91440"/>
            </a:xfrm>
            <a:solidFill>
              <a:schemeClr val="accent1"/>
            </a:solidFill>
          </p:grpSpPr>
          <p:sp>
            <p:nvSpPr>
              <p:cNvPr id="30" name="Oval 29">
                <a:extLst>
                  <a:ext uri="{FF2B5EF4-FFF2-40B4-BE49-F238E27FC236}">
                    <a16:creationId xmlns:a16="http://schemas.microsoft.com/office/drawing/2014/main" id="{A7173F0C-B16E-7D0C-6534-AB2485744290}"/>
                  </a:ext>
                </a:extLst>
              </p:cNvPr>
              <p:cNvSpPr/>
              <p:nvPr/>
            </p:nvSpPr>
            <p:spPr bwMode="gray">
              <a:xfrm>
                <a:off x="63119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BE173861-3B45-092B-9C8D-AFD240F5D391}"/>
                  </a:ext>
                </a:extLst>
              </p:cNvPr>
              <p:cNvSpPr/>
              <p:nvPr/>
            </p:nvSpPr>
            <p:spPr bwMode="gray">
              <a:xfrm>
                <a:off x="75073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B50F4338-EC8C-BE83-1814-13D30DF87E26}"/>
                  </a:ext>
                </a:extLst>
              </p:cNvPr>
              <p:cNvSpPr/>
              <p:nvPr/>
            </p:nvSpPr>
            <p:spPr bwMode="gray">
              <a:xfrm>
                <a:off x="87027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96BB464C-C7DF-6B5C-1769-C56C18612267}"/>
                  </a:ext>
                </a:extLst>
              </p:cNvPr>
              <p:cNvSpPr/>
              <p:nvPr/>
            </p:nvSpPr>
            <p:spPr bwMode="gray">
              <a:xfrm>
                <a:off x="98981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Oval 33">
                <a:extLst>
                  <a:ext uri="{FF2B5EF4-FFF2-40B4-BE49-F238E27FC236}">
                    <a16:creationId xmlns:a16="http://schemas.microsoft.com/office/drawing/2014/main" id="{86C91BD7-3611-B8CA-325B-7F13F7EA61F5}"/>
                  </a:ext>
                </a:extLst>
              </p:cNvPr>
              <p:cNvSpPr/>
              <p:nvPr/>
            </p:nvSpPr>
            <p:spPr bwMode="gray">
              <a:xfrm>
                <a:off x="1109351"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grpSp>
        <p:nvGrpSpPr>
          <p:cNvPr id="40" name="Group 39">
            <a:extLst>
              <a:ext uri="{FF2B5EF4-FFF2-40B4-BE49-F238E27FC236}">
                <a16:creationId xmlns:a16="http://schemas.microsoft.com/office/drawing/2014/main" id="{EFF9894B-0E5B-DA5D-75EE-BE2180CF34DD}"/>
              </a:ext>
            </a:extLst>
          </p:cNvPr>
          <p:cNvGrpSpPr/>
          <p:nvPr/>
        </p:nvGrpSpPr>
        <p:grpSpPr>
          <a:xfrm>
            <a:off x="426780" y="3872691"/>
            <a:ext cx="784860" cy="137160"/>
            <a:chOff x="400685" y="2731781"/>
            <a:chExt cx="784860" cy="137160"/>
          </a:xfrm>
        </p:grpSpPr>
        <p:sp>
          <p:nvSpPr>
            <p:cNvPr id="41" name="Oval 40">
              <a:extLst>
                <a:ext uri="{FF2B5EF4-FFF2-40B4-BE49-F238E27FC236}">
                  <a16:creationId xmlns:a16="http://schemas.microsoft.com/office/drawing/2014/main" id="{37F85F30-A5B6-EB08-8DC5-A1FED290705D}"/>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Oval 41">
              <a:extLst>
                <a:ext uri="{FF2B5EF4-FFF2-40B4-BE49-F238E27FC236}">
                  <a16:creationId xmlns:a16="http://schemas.microsoft.com/office/drawing/2014/main" id="{C3C4F317-8985-F2E4-B7D6-06731D542435}"/>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Oval 42">
              <a:extLst>
                <a:ext uri="{FF2B5EF4-FFF2-40B4-BE49-F238E27FC236}">
                  <a16:creationId xmlns:a16="http://schemas.microsoft.com/office/drawing/2014/main" id="{2198066E-A3BC-6EFB-6984-D5DD12F69AC3}"/>
                </a:ext>
              </a:extLst>
            </p:cNvPr>
            <p:cNvSpPr/>
            <p:nvPr/>
          </p:nvSpPr>
          <p:spPr bwMode="gray">
            <a:xfrm>
              <a:off x="724535"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Oval 43">
              <a:extLst>
                <a:ext uri="{FF2B5EF4-FFF2-40B4-BE49-F238E27FC236}">
                  <a16:creationId xmlns:a16="http://schemas.microsoft.com/office/drawing/2014/main" id="{E6F109DE-C79F-367A-2D29-2C104AB6629C}"/>
                </a:ext>
              </a:extLst>
            </p:cNvPr>
            <p:cNvSpPr/>
            <p:nvPr/>
          </p:nvSpPr>
          <p:spPr bwMode="gray">
            <a:xfrm>
              <a:off x="886460"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Oval 44">
              <a:extLst>
                <a:ext uri="{FF2B5EF4-FFF2-40B4-BE49-F238E27FC236}">
                  <a16:creationId xmlns:a16="http://schemas.microsoft.com/office/drawing/2014/main" id="{85964243-E36E-FDF9-8A7D-AFCA9137B6E8}"/>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46" name="Graphic 45" descr="Magnifying glass with solid fill">
            <a:extLst>
              <a:ext uri="{FF2B5EF4-FFF2-40B4-BE49-F238E27FC236}">
                <a16:creationId xmlns:a16="http://schemas.microsoft.com/office/drawing/2014/main" id="{BE02A08F-633A-FA4C-D59C-2277B90BD22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96623" y="2409746"/>
            <a:ext cx="365760" cy="365760"/>
          </a:xfrm>
          <a:prstGeom prst="rect">
            <a:avLst/>
          </a:prstGeom>
        </p:spPr>
      </p:pic>
      <p:pic>
        <p:nvPicPr>
          <p:cNvPr id="47" name="Graphic 46" descr="Money with solid fill">
            <a:extLst>
              <a:ext uri="{FF2B5EF4-FFF2-40B4-BE49-F238E27FC236}">
                <a16:creationId xmlns:a16="http://schemas.microsoft.com/office/drawing/2014/main" id="{6BBD69C7-16E3-8AE4-31AA-B1D5CCC5772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96623" y="4466764"/>
            <a:ext cx="365760" cy="365760"/>
          </a:xfrm>
          <a:prstGeom prst="rect">
            <a:avLst/>
          </a:prstGeom>
        </p:spPr>
      </p:pic>
      <p:pic>
        <p:nvPicPr>
          <p:cNvPr id="48" name="Graphic 47" descr="Users with solid fill">
            <a:extLst>
              <a:ext uri="{FF2B5EF4-FFF2-40B4-BE49-F238E27FC236}">
                <a16:creationId xmlns:a16="http://schemas.microsoft.com/office/drawing/2014/main" id="{B9315241-2D9E-6D5F-AB92-ECE76479377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22303" y="3666355"/>
            <a:ext cx="365760" cy="365760"/>
          </a:xfrm>
          <a:prstGeom prst="rect">
            <a:avLst/>
          </a:prstGeom>
        </p:spPr>
      </p:pic>
    </p:spTree>
    <p:extLst>
      <p:ext uri="{BB962C8B-B14F-4D97-AF65-F5344CB8AC3E}">
        <p14:creationId xmlns:p14="http://schemas.microsoft.com/office/powerpoint/2010/main" val="412434890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AAF11-07DD-9C02-3578-D2C9D73B8AC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D7855C-AA97-E1DA-CFF8-9030BFB5BC2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0" name="think-cell data - do not delete" hidden="1">
                        <a:extLst>
                          <a:ext uri="{FF2B5EF4-FFF2-40B4-BE49-F238E27FC236}">
                            <a16:creationId xmlns:a16="http://schemas.microsoft.com/office/drawing/2014/main" id="{B0D7855C-AA97-E1DA-CFF8-9030BFB5BC2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C53145-C800-191B-CFF1-C0B47AFC81EF}"/>
              </a:ext>
            </a:extLst>
          </p:cNvPr>
          <p:cNvSpPr>
            <a:spLocks noGrp="1"/>
          </p:cNvSpPr>
          <p:nvPr>
            <p:ph type="title"/>
          </p:nvPr>
        </p:nvSpPr>
        <p:spPr/>
        <p:txBody>
          <a:bodyPr vert="horz" rIns="0"/>
          <a:lstStyle/>
          <a:p>
            <a:r>
              <a:rPr lang="en-US" dirty="0">
                <a:solidFill>
                  <a:srgbClr val="000000"/>
                </a:solidFill>
              </a:rPr>
              <a:t>Expanding the geothermal workforce through education, automation, and oil &amp; gas talent transition is essential to compete</a:t>
            </a:r>
            <a:endParaRPr lang="en-US" dirty="0"/>
          </a:p>
        </p:txBody>
      </p:sp>
      <p:sp>
        <p:nvSpPr>
          <p:cNvPr id="4" name="Footer Placeholder 3">
            <a:extLst>
              <a:ext uri="{FF2B5EF4-FFF2-40B4-BE49-F238E27FC236}">
                <a16:creationId xmlns:a16="http://schemas.microsoft.com/office/drawing/2014/main" id="{52DDBC53-D02C-24DE-6F2B-5DD0D0DFB01F}"/>
              </a:ext>
            </a:extLst>
          </p:cNvPr>
          <p:cNvSpPr>
            <a:spLocks noGrp="1"/>
          </p:cNvSpPr>
          <p:nvPr>
            <p:ph type="ftr" sz="quarter" idx="3"/>
          </p:nvPr>
        </p:nvSpPr>
        <p:spPr>
          <a:xfrm>
            <a:off x="334962" y="6311774"/>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Sources: </a:t>
            </a:r>
            <a:r>
              <a:rPr kumimoji="0" lang="en-US" sz="800" b="0" i="0" u="none" strike="noStrike" kern="1200" cap="none" spc="0" normalizeH="0" baseline="0" noProof="0" dirty="0">
                <a:ln>
                  <a:noFill/>
                </a:ln>
                <a:solidFill>
                  <a:srgbClr val="0F2741"/>
                </a:solidFill>
                <a:effectLst/>
                <a:uLnTx/>
                <a:uFillTx/>
                <a:latin typeface="Arial"/>
                <a:ea typeface="Open Sans"/>
                <a:cs typeface="Open Sans"/>
                <a:hlinkClick r:id="rId19"/>
              </a:rPr>
              <a:t>Number of geothermal energy jobs worldwide in 2023, by region</a:t>
            </a:r>
            <a:r>
              <a:rPr kumimoji="0" lang="en-US" sz="800" b="0" i="0" u="none" strike="noStrike" kern="1200" cap="none" spc="0" normalizeH="0" baseline="0" noProof="0" dirty="0">
                <a:ln>
                  <a:noFill/>
                </a:ln>
                <a:solidFill>
                  <a:srgbClr val="0F2741"/>
                </a:solidFill>
                <a:effectLst/>
                <a:uLnTx/>
                <a:uFillTx/>
                <a:latin typeface="Arial"/>
                <a:ea typeface="Open Sans"/>
                <a:cs typeface="Open San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tatista, </a:t>
            </a:r>
            <a:r>
              <a:rPr kumimoji="0" lang="en-US" sz="800" b="0" i="0" u="none" strike="noStrike" kern="1200" cap="none" spc="0" normalizeH="0" baseline="0" noProof="0" dirty="0">
                <a:ln>
                  <a:noFill/>
                </a:ln>
                <a:solidFill>
                  <a:srgbClr val="0F2741"/>
                </a:solidFill>
                <a:effectLst/>
                <a:uLnTx/>
                <a:uFillTx/>
                <a:latin typeface="Arial"/>
                <a:ea typeface="Open Sans"/>
                <a:cs typeface="Open Sans"/>
              </a:rPr>
              <a:t>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F2741"/>
                </a:solidFill>
                <a:effectLst/>
                <a:uLnTx/>
                <a:uFillTx/>
                <a:latin typeface="Arial"/>
                <a:ea typeface="Open Sans"/>
                <a:cs typeface="Open Sans"/>
                <a:hlinkClick r:id="rId20"/>
              </a:rPr>
              <a:t>Number of geothermal energy jobs worldwide from 2018 to 2023</a:t>
            </a:r>
            <a:r>
              <a:rPr kumimoji="0" lang="en-US" sz="800" b="0" i="0" u="none" strike="noStrike" kern="1200" cap="none" spc="0" normalizeH="0" baseline="0" noProof="0" dirty="0">
                <a:ln>
                  <a:noFill/>
                </a:ln>
                <a:solidFill>
                  <a:srgbClr val="000000"/>
                </a:solidFill>
                <a:effectLst/>
                <a:uLnTx/>
                <a:uFillTx/>
                <a:latin typeface="Arial"/>
                <a:ea typeface="+mn-ea"/>
                <a:cs typeface="+mn-cs"/>
              </a:rPr>
              <a:t> (Statista,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DOE Liftoff Report: Geothermal heating and cooling </a:t>
            </a:r>
            <a:r>
              <a:rPr kumimoji="0" lang="en-US" sz="800" b="0" i="0" u="none" strike="noStrike" kern="1200" cap="none" spc="0" normalizeH="0" baseline="0" noProof="0" dirty="0">
                <a:ln>
                  <a:noFill/>
                </a:ln>
                <a:solidFill>
                  <a:srgbClr val="000000"/>
                </a:solidFill>
                <a:effectLst/>
                <a:uLnTx/>
                <a:uFillTx/>
                <a:latin typeface="Arial"/>
                <a:ea typeface="+mn-ea"/>
                <a:cs typeface="+mn-cs"/>
              </a:rPr>
              <a:t>(DOE,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World Energy Employment 2024</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ia Doris Morrow, and </a:t>
            </a:r>
            <a:r>
              <a:rPr lang="en-US" dirty="0">
                <a:hlinkClick r:id="rId23"/>
              </a:rPr>
              <a:t>Gernot Wagner.</a:t>
            </a:r>
            <a:r>
              <a:rPr lang="en-US" dirty="0"/>
              <a:t> </a:t>
            </a:r>
            <a:r>
              <a:rPr lang="en-US" dirty="0">
                <a:hlinkClick r:id="rId24"/>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5" name="Text Placeholder 4">
            <a:extLst>
              <a:ext uri="{FF2B5EF4-FFF2-40B4-BE49-F238E27FC236}">
                <a16:creationId xmlns:a16="http://schemas.microsoft.com/office/drawing/2014/main" id="{E3A2E7F7-D008-711A-AD1B-F40657B51F43}"/>
              </a:ext>
            </a:extLst>
          </p:cNvPr>
          <p:cNvSpPr>
            <a:spLocks noGrp="1"/>
          </p:cNvSpPr>
          <p:nvPr>
            <p:ph type="body" sz="quarter" idx="13"/>
          </p:nvPr>
        </p:nvSpPr>
        <p:spPr/>
        <p:txBody>
          <a:bodyPr/>
          <a:lstStyle/>
          <a:p>
            <a:r>
              <a:rPr lang="en-US" dirty="0">
                <a:solidFill>
                  <a:srgbClr val="000000"/>
                </a:solidFill>
              </a:rPr>
              <a:t>Global number of geothermal energy jobs (2018-2023)</a:t>
            </a:r>
          </a:p>
        </p:txBody>
      </p:sp>
      <p:sp>
        <p:nvSpPr>
          <p:cNvPr id="9" name="Text Placeholder 1">
            <a:extLst>
              <a:ext uri="{FF2B5EF4-FFF2-40B4-BE49-F238E27FC236}">
                <a16:creationId xmlns:a16="http://schemas.microsoft.com/office/drawing/2014/main" id="{AE792E36-FEFF-3B63-BDF9-A1A0087C38C5}"/>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il</a:t>
            </a:r>
          </a:p>
        </p:txBody>
      </p:sp>
      <p:sp>
        <p:nvSpPr>
          <p:cNvPr id="66" name="Rounded Rectangle 65">
            <a:extLst>
              <a:ext uri="{FF2B5EF4-FFF2-40B4-BE49-F238E27FC236}">
                <a16:creationId xmlns:a16="http://schemas.microsoft.com/office/drawing/2014/main" id="{96BD7691-26A7-0B0B-0303-412D7C06EB41}"/>
              </a:ext>
            </a:extLst>
          </p:cNvPr>
          <p:cNvSpPr/>
          <p:nvPr/>
        </p:nvSpPr>
        <p:spPr bwMode="gray">
          <a:xfrm>
            <a:off x="7476366" y="3235325"/>
            <a:ext cx="4380672" cy="64008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Investments in education and training</a:t>
            </a:r>
          </a:p>
        </p:txBody>
      </p:sp>
      <p:sp>
        <p:nvSpPr>
          <p:cNvPr id="67" name="Oval 66">
            <a:extLst>
              <a:ext uri="{FF2B5EF4-FFF2-40B4-BE49-F238E27FC236}">
                <a16:creationId xmlns:a16="http://schemas.microsoft.com/office/drawing/2014/main" id="{AA156396-3FD4-AD11-3F5C-691AE8D93490}"/>
              </a:ext>
            </a:extLst>
          </p:cNvPr>
          <p:cNvSpPr/>
          <p:nvPr/>
        </p:nvSpPr>
        <p:spPr bwMode="gray">
          <a:xfrm>
            <a:off x="7110606" y="3190875"/>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8" name="Graphic 67" descr="Books with solid fill">
            <a:extLst>
              <a:ext uri="{FF2B5EF4-FFF2-40B4-BE49-F238E27FC236}">
                <a16:creationId xmlns:a16="http://schemas.microsoft.com/office/drawing/2014/main" id="{B279E352-1FA6-A6CA-64C7-214C4F0AEC7D}"/>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7247766" y="3327400"/>
            <a:ext cx="457200" cy="457200"/>
          </a:xfrm>
          <a:prstGeom prst="rect">
            <a:avLst/>
          </a:prstGeom>
        </p:spPr>
      </p:pic>
      <p:sp>
        <p:nvSpPr>
          <p:cNvPr id="69" name="Rounded Rectangle 68">
            <a:extLst>
              <a:ext uri="{FF2B5EF4-FFF2-40B4-BE49-F238E27FC236}">
                <a16:creationId xmlns:a16="http://schemas.microsoft.com/office/drawing/2014/main" id="{B3540CE7-D766-B20D-3BD1-5345A8D7AE05}"/>
              </a:ext>
            </a:extLst>
          </p:cNvPr>
          <p:cNvSpPr/>
          <p:nvPr/>
        </p:nvSpPr>
        <p:spPr bwMode="gray">
          <a:xfrm>
            <a:off x="7476366" y="4016375"/>
            <a:ext cx="4380672" cy="640080"/>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On-the-job training and apprenticeships</a:t>
            </a:r>
          </a:p>
        </p:txBody>
      </p:sp>
      <p:sp>
        <p:nvSpPr>
          <p:cNvPr id="70" name="Oval 69">
            <a:extLst>
              <a:ext uri="{FF2B5EF4-FFF2-40B4-BE49-F238E27FC236}">
                <a16:creationId xmlns:a16="http://schemas.microsoft.com/office/drawing/2014/main" id="{2520F554-770A-0090-5FF9-C0D00DA9657F}"/>
              </a:ext>
            </a:extLst>
          </p:cNvPr>
          <p:cNvSpPr/>
          <p:nvPr/>
        </p:nvSpPr>
        <p:spPr bwMode="gray">
          <a:xfrm>
            <a:off x="7110606" y="3970338"/>
            <a:ext cx="731520" cy="73152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1" name="Graphic 70" descr="Jackhammer with solid fill">
            <a:extLst>
              <a:ext uri="{FF2B5EF4-FFF2-40B4-BE49-F238E27FC236}">
                <a16:creationId xmlns:a16="http://schemas.microsoft.com/office/drawing/2014/main" id="{0F5DDCE0-E1AB-76C8-8E05-07D1DAFA5B22}"/>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239566" y="4156075"/>
            <a:ext cx="457200" cy="457200"/>
          </a:xfrm>
          <a:prstGeom prst="rect">
            <a:avLst/>
          </a:prstGeom>
        </p:spPr>
      </p:pic>
      <p:sp>
        <p:nvSpPr>
          <p:cNvPr id="72" name="Rounded Rectangle 71">
            <a:extLst>
              <a:ext uri="{FF2B5EF4-FFF2-40B4-BE49-F238E27FC236}">
                <a16:creationId xmlns:a16="http://schemas.microsoft.com/office/drawing/2014/main" id="{9BF5EBBA-1C1E-5A8F-4264-D5B84B54716E}"/>
              </a:ext>
            </a:extLst>
          </p:cNvPr>
          <p:cNvSpPr/>
          <p:nvPr/>
        </p:nvSpPr>
        <p:spPr bwMode="gray">
          <a:xfrm>
            <a:off x="7476366" y="5578475"/>
            <a:ext cx="4380672" cy="640080"/>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Diversity and inclusion of underrepresented groups</a:t>
            </a:r>
          </a:p>
        </p:txBody>
      </p:sp>
      <p:sp>
        <p:nvSpPr>
          <p:cNvPr id="73" name="Oval 72">
            <a:extLst>
              <a:ext uri="{FF2B5EF4-FFF2-40B4-BE49-F238E27FC236}">
                <a16:creationId xmlns:a16="http://schemas.microsoft.com/office/drawing/2014/main" id="{17B52B38-2189-FBD7-17AF-788902365AFC}"/>
              </a:ext>
            </a:extLst>
          </p:cNvPr>
          <p:cNvSpPr/>
          <p:nvPr/>
        </p:nvSpPr>
        <p:spPr bwMode="gray">
          <a:xfrm>
            <a:off x="7110606" y="5532438"/>
            <a:ext cx="731520" cy="731520"/>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4" name="Graphic 73" descr="Construction worker female with solid fill">
            <a:extLst>
              <a:ext uri="{FF2B5EF4-FFF2-40B4-BE49-F238E27FC236}">
                <a16:creationId xmlns:a16="http://schemas.microsoft.com/office/drawing/2014/main" id="{0207554D-DE66-797A-25CE-E46B3F07A627}"/>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7247766" y="5665788"/>
            <a:ext cx="457200" cy="457200"/>
          </a:xfrm>
          <a:prstGeom prst="rect">
            <a:avLst/>
          </a:prstGeom>
        </p:spPr>
      </p:pic>
      <p:sp>
        <p:nvSpPr>
          <p:cNvPr id="75" name="Rounded Rectangle 74">
            <a:extLst>
              <a:ext uri="{FF2B5EF4-FFF2-40B4-BE49-F238E27FC236}">
                <a16:creationId xmlns:a16="http://schemas.microsoft.com/office/drawing/2014/main" id="{31E2F744-10F7-6E73-AC3F-BE6870248DD1}"/>
              </a:ext>
            </a:extLst>
          </p:cNvPr>
          <p:cNvSpPr/>
          <p:nvPr/>
        </p:nvSpPr>
        <p:spPr bwMode="gray">
          <a:xfrm>
            <a:off x="7476366" y="4797425"/>
            <a:ext cx="4380672" cy="64008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Technology and automation for complex operations</a:t>
            </a:r>
          </a:p>
        </p:txBody>
      </p:sp>
      <p:sp>
        <p:nvSpPr>
          <p:cNvPr id="76" name="Oval 75">
            <a:extLst>
              <a:ext uri="{FF2B5EF4-FFF2-40B4-BE49-F238E27FC236}">
                <a16:creationId xmlns:a16="http://schemas.microsoft.com/office/drawing/2014/main" id="{17975951-FB51-19F3-F9E0-438EE0948145}"/>
              </a:ext>
            </a:extLst>
          </p:cNvPr>
          <p:cNvSpPr/>
          <p:nvPr/>
        </p:nvSpPr>
        <p:spPr bwMode="gray">
          <a:xfrm>
            <a:off x="7110606" y="4751388"/>
            <a:ext cx="731520" cy="731520"/>
          </a:xfrm>
          <a:prstGeom prst="ellips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7" name="Graphic 76" descr="Robot Hand with solid fill">
            <a:extLst>
              <a:ext uri="{FF2B5EF4-FFF2-40B4-BE49-F238E27FC236}">
                <a16:creationId xmlns:a16="http://schemas.microsoft.com/office/drawing/2014/main" id="{42B4E3D5-38F5-5212-E04B-6709153090C4}"/>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7247766" y="4883150"/>
            <a:ext cx="457200" cy="457200"/>
          </a:xfrm>
          <a:prstGeom prst="rect">
            <a:avLst/>
          </a:prstGeom>
        </p:spPr>
      </p:pic>
      <p:sp>
        <p:nvSpPr>
          <p:cNvPr id="78" name="btfpColumnHeaderBoxText223027">
            <a:extLst>
              <a:ext uri="{FF2B5EF4-FFF2-40B4-BE49-F238E27FC236}">
                <a16:creationId xmlns:a16="http://schemas.microsoft.com/office/drawing/2014/main" id="{4B828B91-0954-44CA-02CE-FB2EE309CB03}"/>
              </a:ext>
            </a:extLst>
          </p:cNvPr>
          <p:cNvSpPr txBox="1"/>
          <p:nvPr/>
        </p:nvSpPr>
        <p:spPr bwMode="gray">
          <a:xfrm>
            <a:off x="7007944" y="2104160"/>
            <a:ext cx="5501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Action implications for geothermal workforce expansion </a:t>
            </a:r>
          </a:p>
        </p:txBody>
      </p:sp>
      <p:graphicFrame>
        <p:nvGraphicFramePr>
          <p:cNvPr id="112" name="Chart 111">
            <a:extLst>
              <a:ext uri="{FF2B5EF4-FFF2-40B4-BE49-F238E27FC236}">
                <a16:creationId xmlns:a16="http://schemas.microsoft.com/office/drawing/2014/main" id="{CF0CAE6E-B0EC-3F31-8116-15D6A17EC868}"/>
              </a:ext>
            </a:extLst>
          </p:cNvPr>
          <p:cNvGraphicFramePr/>
          <p:nvPr>
            <p:custDataLst>
              <p:tags r:id="rId2"/>
            </p:custDataLst>
          </p:nvPr>
        </p:nvGraphicFramePr>
        <p:xfrm>
          <a:off x="504825" y="2343150"/>
          <a:ext cx="5959475" cy="2663825"/>
        </p:xfrm>
        <a:graphic>
          <a:graphicData uri="http://schemas.openxmlformats.org/drawingml/2006/chart">
            <c:chart xmlns:c="http://schemas.openxmlformats.org/drawingml/2006/chart" xmlns:r="http://schemas.openxmlformats.org/officeDocument/2006/relationships" r:id="rId33"/>
          </a:graphicData>
        </a:graphic>
      </p:graphicFrame>
      <p:cxnSp>
        <p:nvCxnSpPr>
          <p:cNvPr id="82" name="Straight Connector 81">
            <a:extLst>
              <a:ext uri="{FF2B5EF4-FFF2-40B4-BE49-F238E27FC236}">
                <a16:creationId xmlns:a16="http://schemas.microsoft.com/office/drawing/2014/main" id="{23F00426-5E05-D449-798E-8246C682ABE3}"/>
              </a:ext>
            </a:extLst>
          </p:cNvPr>
          <p:cNvCxnSpPr/>
          <p:nvPr>
            <p:custDataLst>
              <p:tags r:id="rId3"/>
            </p:custDataLst>
          </p:nvPr>
        </p:nvCxnSpPr>
        <p:spPr bwMode="auto">
          <a:xfrm flipV="1">
            <a:off x="3001963" y="2316163"/>
            <a:ext cx="0" cy="11684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979CE230-E0C3-30D4-2211-F34B56C52D73}"/>
              </a:ext>
            </a:extLst>
          </p:cNvPr>
          <p:cNvCxnSpPr/>
          <p:nvPr>
            <p:custDataLst>
              <p:tags r:id="rId4"/>
            </p:custDataLst>
          </p:nvPr>
        </p:nvCxnSpPr>
        <p:spPr bwMode="auto">
          <a:xfrm>
            <a:off x="3001963" y="2316163"/>
            <a:ext cx="9652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5DD5B3B2-CD84-BC18-9179-734D60E23879}"/>
              </a:ext>
            </a:extLst>
          </p:cNvPr>
          <p:cNvCxnSpPr/>
          <p:nvPr>
            <p:custDataLst>
              <p:tags r:id="rId5"/>
            </p:custDataLst>
          </p:nvPr>
        </p:nvCxnSpPr>
        <p:spPr bwMode="auto">
          <a:xfrm>
            <a:off x="3967163" y="2316163"/>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6" name="Text Placeholder 10">
            <a:extLst>
              <a:ext uri="{FF2B5EF4-FFF2-40B4-BE49-F238E27FC236}">
                <a16:creationId xmlns:a16="http://schemas.microsoft.com/office/drawing/2014/main" id="{16144647-0D6D-E2C0-B876-7581BBDA7094}"/>
              </a:ext>
            </a:extLst>
          </p:cNvPr>
          <p:cNvSpPr txBox="1">
            <a:spLocks/>
          </p:cNvSpPr>
          <p:nvPr>
            <p:custDataLst>
              <p:tags r:id="rId6"/>
            </p:custDataLst>
          </p:nvPr>
        </p:nvSpPr>
        <p:spPr bwMode="auto">
          <a:xfrm>
            <a:off x="866775"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46FA78-714A-4CA7-9184-F6C3197221EF}" type="datetime'''''''''''''''''''''''''2''0''18'''''''''''''''''''''''">
              <a:rPr lang="en-US" altLang="en-US" sz="1400" smtClean="0"/>
              <a:pPr marL="0" indent="0" algn="ctr">
                <a:spcBef>
                  <a:spcPct val="0"/>
                </a:spcBef>
                <a:spcAft>
                  <a:spcPct val="0"/>
                </a:spcAft>
                <a:buNone/>
              </a:pPr>
              <a:t>2018</a:t>
            </a:fld>
            <a:endParaRPr lang="en-US" sz="1400" dirty="0"/>
          </a:p>
        </p:txBody>
      </p:sp>
      <p:sp>
        <p:nvSpPr>
          <p:cNvPr id="90" name="Text Placeholder 10">
            <a:extLst>
              <a:ext uri="{FF2B5EF4-FFF2-40B4-BE49-F238E27FC236}">
                <a16:creationId xmlns:a16="http://schemas.microsoft.com/office/drawing/2014/main" id="{8F819C62-4738-8C2C-2A32-4786095DB2BF}"/>
              </a:ext>
            </a:extLst>
          </p:cNvPr>
          <p:cNvSpPr txBox="1">
            <a:spLocks/>
          </p:cNvSpPr>
          <p:nvPr>
            <p:custDataLst>
              <p:tags r:id="rId7"/>
            </p:custDataLst>
          </p:nvPr>
        </p:nvSpPr>
        <p:spPr bwMode="auto">
          <a:xfrm>
            <a:off x="1831975"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781CCB-3D2D-4C31-9B6E-5393E005E706}" type="datetime'''''2''''''0''''''''''''''''''''1''''''''9'''''''''''''">
              <a:rPr lang="en-US" altLang="en-US" sz="1400" smtClean="0"/>
              <a:pPr marL="0" indent="0" algn="ctr">
                <a:spcBef>
                  <a:spcPct val="0"/>
                </a:spcBef>
                <a:spcAft>
                  <a:spcPct val="0"/>
                </a:spcAft>
                <a:buNone/>
              </a:pPr>
              <a:t>2019</a:t>
            </a:fld>
            <a:endParaRPr lang="en-US" sz="1400" dirty="0"/>
          </a:p>
        </p:txBody>
      </p:sp>
      <p:sp>
        <p:nvSpPr>
          <p:cNvPr id="89" name="Text Placeholder 10">
            <a:extLst>
              <a:ext uri="{FF2B5EF4-FFF2-40B4-BE49-F238E27FC236}">
                <a16:creationId xmlns:a16="http://schemas.microsoft.com/office/drawing/2014/main" id="{05B0D4A1-10B6-9C5A-F272-51CA82F8925A}"/>
              </a:ext>
            </a:extLst>
          </p:cNvPr>
          <p:cNvSpPr txBox="1">
            <a:spLocks/>
          </p:cNvSpPr>
          <p:nvPr>
            <p:custDataLst>
              <p:tags r:id="rId8"/>
            </p:custDataLst>
          </p:nvPr>
        </p:nvSpPr>
        <p:spPr bwMode="auto">
          <a:xfrm>
            <a:off x="27987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5C6B95-A28D-462B-A781-113FE9FF84C3}" type="datetime'''2''''''''''''''''''''0''''''''''''''''2''''''''''''''0'">
              <a:rPr lang="en-US" altLang="en-US" sz="1400" smtClean="0"/>
              <a:pPr marL="0" indent="0" algn="ctr">
                <a:spcBef>
                  <a:spcPct val="0"/>
                </a:spcBef>
                <a:spcAft>
                  <a:spcPct val="0"/>
                </a:spcAft>
                <a:buNone/>
              </a:pPr>
              <a:t>2020</a:t>
            </a:fld>
            <a:endParaRPr lang="en-US" sz="1400" dirty="0"/>
          </a:p>
        </p:txBody>
      </p:sp>
      <p:sp>
        <p:nvSpPr>
          <p:cNvPr id="88" name="Text Placeholder 10">
            <a:extLst>
              <a:ext uri="{FF2B5EF4-FFF2-40B4-BE49-F238E27FC236}">
                <a16:creationId xmlns:a16="http://schemas.microsoft.com/office/drawing/2014/main" id="{E01DF66F-608E-73AF-2D6F-6FDB3E2639C6}"/>
              </a:ext>
            </a:extLst>
          </p:cNvPr>
          <p:cNvSpPr txBox="1">
            <a:spLocks/>
          </p:cNvSpPr>
          <p:nvPr>
            <p:custDataLst>
              <p:tags r:id="rId9"/>
            </p:custDataLst>
          </p:nvPr>
        </p:nvSpPr>
        <p:spPr bwMode="auto">
          <a:xfrm>
            <a:off x="37639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A5C73-9208-4583-B57D-AF9D028C6D28}" type="datetime'''''''2''''''''0''''''''''''21'''''''''''">
              <a:rPr lang="en-US" altLang="en-US" sz="1400" smtClean="0"/>
              <a:pPr marL="0" indent="0" algn="ctr">
                <a:spcBef>
                  <a:spcPct val="0"/>
                </a:spcBef>
                <a:spcAft>
                  <a:spcPct val="0"/>
                </a:spcAft>
                <a:buNone/>
              </a:pPr>
              <a:t>2021</a:t>
            </a:fld>
            <a:endParaRPr lang="en-US" sz="1400" dirty="0"/>
          </a:p>
        </p:txBody>
      </p:sp>
      <p:sp>
        <p:nvSpPr>
          <p:cNvPr id="83" name="Text Placeholder 10">
            <a:extLst>
              <a:ext uri="{FF2B5EF4-FFF2-40B4-BE49-F238E27FC236}">
                <a16:creationId xmlns:a16="http://schemas.microsoft.com/office/drawing/2014/main" id="{A8258068-5286-364B-8C2A-3DB1B06FEA5B}"/>
              </a:ext>
            </a:extLst>
          </p:cNvPr>
          <p:cNvSpPr txBox="1">
            <a:spLocks/>
          </p:cNvSpPr>
          <p:nvPr>
            <p:custDataLst>
              <p:tags r:id="rId10"/>
            </p:custDataLst>
          </p:nvPr>
        </p:nvSpPr>
        <p:spPr bwMode="auto">
          <a:xfrm>
            <a:off x="4729163"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E1AB5B-1F11-4E00-AA14-2359C840310A}" type="datetime'''''''''''''''''''''''''''''''''''2''''''''''0''2''''2'">
              <a:rPr lang="en-US" altLang="en-US" sz="1400" smtClean="0"/>
              <a:pPr marL="0" indent="0" algn="ctr">
                <a:spcBef>
                  <a:spcPct val="0"/>
                </a:spcBef>
                <a:spcAft>
                  <a:spcPct val="0"/>
                </a:spcAft>
                <a:buNone/>
              </a:pPr>
              <a:t>2022</a:t>
            </a:fld>
            <a:endParaRPr lang="en-US" sz="1400" dirty="0"/>
          </a:p>
        </p:txBody>
      </p:sp>
      <p:sp>
        <p:nvSpPr>
          <p:cNvPr id="84" name="Text Placeholder 10">
            <a:extLst>
              <a:ext uri="{FF2B5EF4-FFF2-40B4-BE49-F238E27FC236}">
                <a16:creationId xmlns:a16="http://schemas.microsoft.com/office/drawing/2014/main" id="{FC7A5B3F-5F0D-AC24-DE87-C78E7D4BAB76}"/>
              </a:ext>
            </a:extLst>
          </p:cNvPr>
          <p:cNvSpPr txBox="1">
            <a:spLocks/>
          </p:cNvSpPr>
          <p:nvPr>
            <p:custDataLst>
              <p:tags r:id="rId11"/>
            </p:custDataLst>
          </p:nvPr>
        </p:nvSpPr>
        <p:spPr bwMode="gray">
          <a:xfrm>
            <a:off x="5959475" y="3990975"/>
            <a:ext cx="149225" cy="212725"/>
          </a:xfrm>
          <a:prstGeom prst="rect">
            <a:avLst/>
          </a:prstGeom>
          <a:solidFill>
            <a:srgbClr val="6F8DB9"/>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778021-D1C6-4A2D-B662-87F4A1BD9FB0}" type="datetime'''''''''''''''''''''''''''''''''''''''''''''9'''''''''''''">
              <a:rPr lang="en-US" altLang="en-US" sz="1400" smtClean="0">
                <a:solidFill>
                  <a:schemeClr val="bg1"/>
                </a:solidFill>
                <a:effectLst/>
              </a:rPr>
              <a:pPr marL="0" indent="0" algn="ctr">
                <a:spcBef>
                  <a:spcPct val="0"/>
                </a:spcBef>
                <a:spcAft>
                  <a:spcPct val="0"/>
                </a:spcAft>
                <a:buNone/>
              </a:pPr>
              <a:t>9</a:t>
            </a:fld>
            <a:endParaRPr lang="en-US" sz="1400" dirty="0">
              <a:solidFill>
                <a:schemeClr val="bg1"/>
              </a:solidFill>
            </a:endParaRPr>
          </a:p>
        </p:txBody>
      </p:sp>
      <p:sp>
        <p:nvSpPr>
          <p:cNvPr id="85" name="Text Placeholder 10">
            <a:extLst>
              <a:ext uri="{FF2B5EF4-FFF2-40B4-BE49-F238E27FC236}">
                <a16:creationId xmlns:a16="http://schemas.microsoft.com/office/drawing/2014/main" id="{4F07B4BB-E6D1-B2FD-BE7B-0C543EFF6A0E}"/>
              </a:ext>
            </a:extLst>
          </p:cNvPr>
          <p:cNvSpPr txBox="1">
            <a:spLocks/>
          </p:cNvSpPr>
          <p:nvPr>
            <p:custDataLst>
              <p:tags r:id="rId12"/>
            </p:custDataLst>
          </p:nvPr>
        </p:nvSpPr>
        <p:spPr bwMode="gray">
          <a:xfrm>
            <a:off x="5691188" y="4070350"/>
            <a:ext cx="149225" cy="212725"/>
          </a:xfrm>
          <a:prstGeom prst="rect">
            <a:avLst/>
          </a:prstGeom>
          <a:solidFill>
            <a:srgbClr val="364D6E"/>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FCBFD2-EACE-477C-9245-533F96A73569}" type="datetime'''''''''''''''''''''7'''''''">
              <a:rPr lang="en-US" altLang="en-US" sz="1400" smtClean="0">
                <a:solidFill>
                  <a:schemeClr val="bg1"/>
                </a:solidFill>
                <a:effectLst/>
              </a:rPr>
              <a:pPr marL="0" indent="0" algn="ctr">
                <a:spcBef>
                  <a:spcPct val="0"/>
                </a:spcBef>
                <a:spcAft>
                  <a:spcPct val="0"/>
                </a:spcAft>
                <a:buNone/>
              </a:pPr>
              <a:t>7</a:t>
            </a:fld>
            <a:endParaRPr lang="en-US" sz="1400" dirty="0">
              <a:solidFill>
                <a:schemeClr val="bg1"/>
              </a:solidFill>
            </a:endParaRPr>
          </a:p>
        </p:txBody>
      </p:sp>
      <p:sp>
        <p:nvSpPr>
          <p:cNvPr id="87" name="Text Placeholder 10">
            <a:extLst>
              <a:ext uri="{FF2B5EF4-FFF2-40B4-BE49-F238E27FC236}">
                <a16:creationId xmlns:a16="http://schemas.microsoft.com/office/drawing/2014/main" id="{1D8E9923-3209-AF77-97FA-CADF87048556}"/>
              </a:ext>
            </a:extLst>
          </p:cNvPr>
          <p:cNvSpPr txBox="1">
            <a:spLocks/>
          </p:cNvSpPr>
          <p:nvPr>
            <p:custDataLst>
              <p:tags r:id="rId13"/>
            </p:custDataLst>
          </p:nvPr>
        </p:nvSpPr>
        <p:spPr bwMode="auto">
          <a:xfrm>
            <a:off x="5695950" y="4759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D70E71-B96E-4E25-A994-69362E42D717}" type="datetime'''''''''2''''''''''''''0''''2''''''''''''''''3'''''''''''">
              <a:rPr lang="en-US" altLang="en-US" sz="1400" smtClean="0"/>
              <a:pPr marL="0" indent="0" algn="ctr">
                <a:spcBef>
                  <a:spcPct val="0"/>
                </a:spcBef>
                <a:spcAft>
                  <a:spcPct val="0"/>
                </a:spcAft>
                <a:buNone/>
              </a:pPr>
              <a:t>2023</a:t>
            </a:fld>
            <a:endParaRPr lang="en-US" sz="1400" dirty="0"/>
          </a:p>
        </p:txBody>
      </p:sp>
      <p:sp>
        <p:nvSpPr>
          <p:cNvPr id="91" name="Text Placeholder 10">
            <a:extLst>
              <a:ext uri="{FF2B5EF4-FFF2-40B4-BE49-F238E27FC236}">
                <a16:creationId xmlns:a16="http://schemas.microsoft.com/office/drawing/2014/main" id="{3718DD4A-DBC2-0155-5A8B-FDBF2A65826F}"/>
              </a:ext>
            </a:extLst>
          </p:cNvPr>
          <p:cNvSpPr txBox="1">
            <a:spLocks/>
          </p:cNvSpPr>
          <p:nvPr>
            <p:custDataLst>
              <p:tags r:id="rId14"/>
            </p:custDataLst>
          </p:nvPr>
        </p:nvSpPr>
        <p:spPr bwMode="gray">
          <a:xfrm>
            <a:off x="5726113" y="28956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51D7BA-E88A-4C32-BB1F-C21A801BBC49}" type="datetime'''''''''''''''''''''''''''''''''''''''''''''1''60'''''''">
              <a:rPr lang="en-US" altLang="en-US" sz="1400" smtClean="0"/>
              <a:pPr marL="0" indent="0" algn="ctr">
                <a:spcBef>
                  <a:spcPct val="0"/>
                </a:spcBef>
                <a:spcAft>
                  <a:spcPct val="0"/>
                </a:spcAft>
                <a:buNone/>
              </a:pPr>
              <a:t>160</a:t>
            </a:fld>
            <a:endParaRPr lang="en-US" sz="1400" dirty="0"/>
          </a:p>
        </p:txBody>
      </p:sp>
      <p:sp>
        <p:nvSpPr>
          <p:cNvPr id="92" name="Text Placeholder 10">
            <a:extLst>
              <a:ext uri="{FF2B5EF4-FFF2-40B4-BE49-F238E27FC236}">
                <a16:creationId xmlns:a16="http://schemas.microsoft.com/office/drawing/2014/main" id="{AD05B40C-E300-E498-AB4D-C5A964096AA6}"/>
              </a:ext>
            </a:extLst>
          </p:cNvPr>
          <p:cNvSpPr txBox="1">
            <a:spLocks/>
          </p:cNvSpPr>
          <p:nvPr>
            <p:custDataLst>
              <p:tags r:id="rId15"/>
            </p:custDataLst>
          </p:nvPr>
        </p:nvSpPr>
        <p:spPr bwMode="auto">
          <a:xfrm>
            <a:off x="3090863" y="2165350"/>
            <a:ext cx="7889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44EAD9-793C-402B-B118-0203D11A8E02}" type="datetime'''''''''''''''''''+''''''1''''''0''''''''''4''''%'''''''''''">
              <a:rPr lang="en-US" altLang="en-US" sz="1400" b="1" smtClean="0">
                <a:effectLst/>
              </a:rPr>
              <a:pPr marL="0" indent="0" algn="ctr">
                <a:spcBef>
                  <a:spcPct val="0"/>
                </a:spcBef>
                <a:spcAft>
                  <a:spcPct val="0"/>
                </a:spcAft>
                <a:buNone/>
              </a:pPr>
              <a:t>+104%</a:t>
            </a:fld>
            <a:endParaRPr lang="en-US" sz="1400" b="1" dirty="0"/>
          </a:p>
        </p:txBody>
      </p:sp>
      <p:cxnSp>
        <p:nvCxnSpPr>
          <p:cNvPr id="93" name="btfpColumnHeaderBoxLine223027">
            <a:extLst>
              <a:ext uri="{FF2B5EF4-FFF2-40B4-BE49-F238E27FC236}">
                <a16:creationId xmlns:a16="http://schemas.microsoft.com/office/drawing/2014/main" id="{D1F9E8F1-637E-F61F-7E06-978364A6B748}"/>
              </a:ext>
            </a:extLst>
          </p:cNvPr>
          <p:cNvCxnSpPr>
            <a:cxnSpLocks/>
          </p:cNvCxnSpPr>
          <p:nvPr/>
        </p:nvCxnSpPr>
        <p:spPr bwMode="gray">
          <a:xfrm>
            <a:off x="6920632" y="2165350"/>
            <a:ext cx="0" cy="410163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94" name="Picture 2" descr="950+ China Flag Circle Stock Photos, Pictures &amp; Royalty-Free ...">
            <a:extLst>
              <a:ext uri="{FF2B5EF4-FFF2-40B4-BE49-F238E27FC236}">
                <a16:creationId xmlns:a16="http://schemas.microsoft.com/office/drawing/2014/main" id="{2798164D-6A04-1890-2FE8-4B9F65BB4945}"/>
              </a:ext>
            </a:extLst>
          </p:cNvPr>
          <p:cNvPicPr>
            <a:picLocks noChangeAspect="1" noChangeArrowheads="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64899" y="3052763"/>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Printable Country Flag of the European Union - Circle ...">
            <a:extLst>
              <a:ext uri="{FF2B5EF4-FFF2-40B4-BE49-F238E27FC236}">
                <a16:creationId xmlns:a16="http://schemas.microsoft.com/office/drawing/2014/main" id="{04A33627-6B89-DAFF-5684-12AB6F315570}"/>
              </a:ext>
            </a:extLst>
          </p:cNvPr>
          <p:cNvPicPr>
            <a:picLocks noChangeAspect="1" noChangeArrowheads="1"/>
          </p:cNvPicPr>
          <p:nvPr/>
        </p:nvPicPr>
        <p:blipFill>
          <a:blip r:embed="rId3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51183" y="4005263"/>
            <a:ext cx="393192" cy="39319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descr="Usa Flag In Circle Images – Browse 33,552 Stock Photos ...">
            <a:extLst>
              <a:ext uri="{FF2B5EF4-FFF2-40B4-BE49-F238E27FC236}">
                <a16:creationId xmlns:a16="http://schemas.microsoft.com/office/drawing/2014/main" id="{41CE6543-EBAD-B44C-3A23-16512BA8326A}"/>
              </a:ext>
            </a:extLst>
          </p:cNvPr>
          <p:cNvPicPr>
            <a:picLocks noChangeAspect="1" noChangeArrowheads="1"/>
          </p:cNvPicPr>
          <p:nvPr/>
        </p:nvPicPr>
        <p:blipFill rotWithShape="1">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rcRect b="-581"/>
          <a:stretch/>
        </p:blipFill>
        <p:spPr bwMode="auto">
          <a:xfrm>
            <a:off x="6318404" y="3505200"/>
            <a:ext cx="458750" cy="457200"/>
          </a:xfrm>
          <a:prstGeom prst="rect">
            <a:avLst/>
          </a:prstGeom>
          <a:noFill/>
          <a:extLst>
            <a:ext uri="{909E8E84-426E-40DD-AFC4-6F175D3DCCD1}">
              <a14:hiddenFill xmlns:a14="http://schemas.microsoft.com/office/drawing/2010/main">
                <a:solidFill>
                  <a:srgbClr val="FFFFFF"/>
                </a:solidFill>
              </a14:hiddenFill>
            </a:ext>
          </a:extLst>
        </p:spPr>
      </p:pic>
      <p:sp>
        <p:nvSpPr>
          <p:cNvPr id="97" name="btfpColumnHeaderBoxText223027">
            <a:extLst>
              <a:ext uri="{FF2B5EF4-FFF2-40B4-BE49-F238E27FC236}">
                <a16:creationId xmlns:a16="http://schemas.microsoft.com/office/drawing/2014/main" id="{1EDEF2BA-E8A1-1C80-E899-52C41A6C8B36}"/>
              </a:ext>
            </a:extLst>
          </p:cNvPr>
          <p:cNvSpPr txBox="1"/>
          <p:nvPr/>
        </p:nvSpPr>
        <p:spPr bwMode="gray">
          <a:xfrm>
            <a:off x="6277335" y="4479925"/>
            <a:ext cx="539343"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Other</a:t>
            </a:r>
          </a:p>
        </p:txBody>
      </p:sp>
      <p:cxnSp>
        <p:nvCxnSpPr>
          <p:cNvPr id="98" name="Straight Connector 97">
            <a:extLst>
              <a:ext uri="{FF2B5EF4-FFF2-40B4-BE49-F238E27FC236}">
                <a16:creationId xmlns:a16="http://schemas.microsoft.com/office/drawing/2014/main" id="{3C0DD780-910A-F2AF-ABE6-E94852976009}"/>
              </a:ext>
            </a:extLst>
          </p:cNvPr>
          <p:cNvCxnSpPr>
            <a:cxnSpLocks/>
          </p:cNvCxnSpPr>
          <p:nvPr/>
        </p:nvCxnSpPr>
        <p:spPr bwMode="gray">
          <a:xfrm flipV="1">
            <a:off x="6091379" y="3321050"/>
            <a:ext cx="179974" cy="25742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CC90C6C-9F4D-4BDB-CA51-4031B354F781}"/>
              </a:ext>
            </a:extLst>
          </p:cNvPr>
          <p:cNvCxnSpPr>
            <a:cxnSpLocks/>
          </p:cNvCxnSpPr>
          <p:nvPr/>
        </p:nvCxnSpPr>
        <p:spPr bwMode="gray">
          <a:xfrm flipV="1">
            <a:off x="6125825" y="3740150"/>
            <a:ext cx="192579" cy="35271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AF3850E-F1D7-423C-6095-A1686F4B7F91}"/>
              </a:ext>
            </a:extLst>
          </p:cNvPr>
          <p:cNvCxnSpPr>
            <a:cxnSpLocks/>
          </p:cNvCxnSpPr>
          <p:nvPr/>
        </p:nvCxnSpPr>
        <p:spPr bwMode="gray">
          <a:xfrm>
            <a:off x="6131477" y="4175125"/>
            <a:ext cx="186927" cy="3079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511B98A-CB87-B217-77D9-98F0DB4865BF}"/>
              </a:ext>
            </a:extLst>
          </p:cNvPr>
          <p:cNvCxnSpPr>
            <a:cxnSpLocks/>
            <a:endCxn id="97" idx="1"/>
          </p:cNvCxnSpPr>
          <p:nvPr/>
        </p:nvCxnSpPr>
        <p:spPr bwMode="gray">
          <a:xfrm>
            <a:off x="6071905" y="4467263"/>
            <a:ext cx="205430" cy="14138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2" name="TextBox 8">
            <a:extLst>
              <a:ext uri="{FF2B5EF4-FFF2-40B4-BE49-F238E27FC236}">
                <a16:creationId xmlns:a16="http://schemas.microsoft.com/office/drawing/2014/main" id="{9F2D4918-CCB3-EAF6-10E6-C7F525826684}"/>
              </a:ext>
            </a:extLst>
          </p:cNvPr>
          <p:cNvSpPr txBox="1"/>
          <p:nvPr/>
        </p:nvSpPr>
        <p:spPr bwMode="gray">
          <a:xfrm>
            <a:off x="291391" y="4989513"/>
            <a:ext cx="6401163" cy="1276950"/>
          </a:xfrm>
          <a:prstGeom prst="rect">
            <a:avLst/>
          </a:prstGeom>
          <a:solidFill>
            <a:srgbClr val="E3E8EE"/>
          </a:solidFill>
        </p:spPr>
        <p:txBody>
          <a:bodyPr wrap="square" lIns="137160" tIns="137160" rIns="274320" bIns="137160" rtlCol="0">
            <a:noAutofit/>
          </a:bodyPr>
          <a:lstStyle/>
          <a:p>
            <a:pPr>
              <a:spcBef>
                <a:spcPts val="0"/>
              </a:spcBef>
              <a:spcAft>
                <a:spcPts val="300"/>
              </a:spcAft>
            </a:pPr>
            <a:r>
              <a:rPr lang="en-US" sz="1100" dirty="0"/>
              <a:t>Global geothermal employment more than </a:t>
            </a:r>
            <a:r>
              <a:rPr lang="en-US" sz="1100" b="1" dirty="0"/>
              <a:t>doubled from 96,000 to 196,000 in 2021</a:t>
            </a:r>
            <a:r>
              <a:rPr lang="en-US" sz="1100" dirty="0"/>
              <a:t>. In contrast, oil &amp; gas employed 12.4 million people in 2023 (a 5% annual increase). </a:t>
            </a:r>
          </a:p>
          <a:p>
            <a:pPr>
              <a:spcBef>
                <a:spcPts val="0"/>
              </a:spcBef>
              <a:spcAft>
                <a:spcPts val="300"/>
              </a:spcAft>
            </a:pPr>
            <a:r>
              <a:rPr lang="en-US" sz="1100" b="1" dirty="0"/>
              <a:t>China leads in geothermal jobs, </a:t>
            </a:r>
            <a:r>
              <a:rPr lang="en-US" sz="1100" dirty="0"/>
              <a:t>while the </a:t>
            </a:r>
            <a:r>
              <a:rPr lang="en-US" sz="1100" b="1" dirty="0"/>
              <a:t>U.S. and EU must expand technical training and re-skilling to stay competitive</a:t>
            </a:r>
            <a:r>
              <a:rPr lang="en-US" sz="1100" dirty="0"/>
              <a:t>.</a:t>
            </a:r>
          </a:p>
          <a:p>
            <a:pPr>
              <a:spcBef>
                <a:spcPts val="0"/>
              </a:spcBef>
              <a:spcAft>
                <a:spcPts val="300"/>
              </a:spcAft>
            </a:pPr>
            <a:r>
              <a:rPr lang="en-US" sz="1100" dirty="0"/>
              <a:t>Next-generation geothermal growth will depend on </a:t>
            </a:r>
            <a:r>
              <a:rPr lang="en-US" sz="1100" b="1" dirty="0"/>
              <a:t>cross-sector training pipelines and digital automation</a:t>
            </a:r>
            <a:r>
              <a:rPr lang="en-US" sz="1100" dirty="0"/>
              <a:t>.</a:t>
            </a:r>
            <a:endParaRPr lang="en-US" sz="1100" b="1" dirty="0"/>
          </a:p>
        </p:txBody>
      </p:sp>
      <p:sp>
        <p:nvSpPr>
          <p:cNvPr id="103" name="Rounded Rectangle 102">
            <a:extLst>
              <a:ext uri="{FF2B5EF4-FFF2-40B4-BE49-F238E27FC236}">
                <a16:creationId xmlns:a16="http://schemas.microsoft.com/office/drawing/2014/main" id="{48625BEB-F5B9-7C5C-835E-6EDC67CE1E8A}"/>
              </a:ext>
            </a:extLst>
          </p:cNvPr>
          <p:cNvSpPr/>
          <p:nvPr/>
        </p:nvSpPr>
        <p:spPr bwMode="gray">
          <a:xfrm>
            <a:off x="7476366" y="2455863"/>
            <a:ext cx="4380672" cy="640080"/>
          </a:xfrm>
          <a:prstGeom prst="round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indent="0">
              <a:buNone/>
            </a:pPr>
            <a:r>
              <a:rPr lang="en-US" sz="1400" dirty="0">
                <a:solidFill>
                  <a:schemeClr val="tx1"/>
                </a:solidFill>
              </a:rPr>
              <a:t>Transition of oil and gas talent and workforce to geothermal energy</a:t>
            </a:r>
          </a:p>
        </p:txBody>
      </p:sp>
      <p:sp>
        <p:nvSpPr>
          <p:cNvPr id="104" name="Oval 103">
            <a:extLst>
              <a:ext uri="{FF2B5EF4-FFF2-40B4-BE49-F238E27FC236}">
                <a16:creationId xmlns:a16="http://schemas.microsoft.com/office/drawing/2014/main" id="{C3F47648-3966-9501-9A5A-B84D27D89E17}"/>
              </a:ext>
            </a:extLst>
          </p:cNvPr>
          <p:cNvSpPr/>
          <p:nvPr/>
        </p:nvSpPr>
        <p:spPr bwMode="gray">
          <a:xfrm>
            <a:off x="7110606" y="2409825"/>
            <a:ext cx="731520" cy="731520"/>
          </a:xfrm>
          <a:prstGeom prst="ellipse">
            <a:avLst/>
          </a:prstGeom>
          <a:solidFill>
            <a:srgbClr val="0070C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05" name="Graphic 104" descr="Transfer with solid fill">
            <a:extLst>
              <a:ext uri="{FF2B5EF4-FFF2-40B4-BE49-F238E27FC236}">
                <a16:creationId xmlns:a16="http://schemas.microsoft.com/office/drawing/2014/main" id="{82E2514E-09FB-4A7F-0F89-C64ACCE4183A}"/>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7247766" y="2543175"/>
            <a:ext cx="457200" cy="457200"/>
          </a:xfrm>
          <a:prstGeom prst="rect">
            <a:avLst/>
          </a:prstGeom>
        </p:spPr>
      </p:pic>
      <p:sp>
        <p:nvSpPr>
          <p:cNvPr id="11" name="btfpColumnHeaderBoxText223027">
            <a:extLst>
              <a:ext uri="{FF2B5EF4-FFF2-40B4-BE49-F238E27FC236}">
                <a16:creationId xmlns:a16="http://schemas.microsoft.com/office/drawing/2014/main" id="{B9771848-F06D-DE2B-F54B-8EE0D3590CED}"/>
              </a:ext>
            </a:extLst>
          </p:cNvPr>
          <p:cNvSpPr txBox="1"/>
          <p:nvPr/>
        </p:nvSpPr>
        <p:spPr bwMode="gray">
          <a:xfrm rot="16200000">
            <a:off x="-2272511" y="1467604"/>
            <a:ext cx="5501880"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Number of jobs in thousands</a:t>
            </a:r>
          </a:p>
        </p:txBody>
      </p:sp>
    </p:spTree>
    <p:extLst>
      <p:ext uri="{BB962C8B-B14F-4D97-AF65-F5344CB8AC3E}">
        <p14:creationId xmlns:p14="http://schemas.microsoft.com/office/powerpoint/2010/main" val="274388664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4F5627F-A8DD-5C57-9086-E86586CB98BD}"/>
              </a:ext>
            </a:extLst>
          </p:cNvPr>
          <p:cNvGraphicFramePr>
            <a:graphicFrameLocks/>
          </p:cNvGraphicFramePr>
          <p:nvPr>
            <p:custDataLst>
              <p:tags r:id="rId1"/>
            </p:custDataLst>
            <p:extLst>
              <p:ext uri="{D42A27DB-BD31-4B8C-83A1-F6EECF244321}">
                <p14:modId xmlns:p14="http://schemas.microsoft.com/office/powerpoint/2010/main" val="15862740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0" name=""/>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BC24487-5734-8F0C-072A-FA4A01C4F8DE}"/>
              </a:ext>
            </a:extLst>
          </p:cNvPr>
          <p:cNvSpPr>
            <a:spLocks noGrp="1"/>
          </p:cNvSpPr>
          <p:nvPr>
            <p:ph type="body" sz="quarter" idx="13"/>
          </p:nvPr>
        </p:nvSpPr>
        <p:spPr/>
        <p:txBody>
          <a:bodyPr/>
          <a:lstStyle/>
          <a:p>
            <a:r>
              <a:rPr lang="en-US" dirty="0">
                <a:solidFill>
                  <a:srgbClr val="000000"/>
                </a:solidFill>
              </a:rPr>
              <a:t>Global land rig supply vs. geothermal 2,000+  HP rigs</a:t>
            </a:r>
          </a:p>
        </p:txBody>
      </p:sp>
      <p:sp>
        <p:nvSpPr>
          <p:cNvPr id="3" name="Title 2">
            <a:extLst>
              <a:ext uri="{FF2B5EF4-FFF2-40B4-BE49-F238E27FC236}">
                <a16:creationId xmlns:a16="http://schemas.microsoft.com/office/drawing/2014/main" id="{4999DE1C-19C1-C011-40FD-408481F9F2CB}"/>
              </a:ext>
            </a:extLst>
          </p:cNvPr>
          <p:cNvSpPr>
            <a:spLocks noGrp="1"/>
          </p:cNvSpPr>
          <p:nvPr>
            <p:ph type="title"/>
          </p:nvPr>
        </p:nvSpPr>
        <p:spPr/>
        <p:txBody>
          <a:bodyPr vert="horz" rIns="91440"/>
          <a:lstStyle/>
          <a:p>
            <a:r>
              <a:rPr lang="en-US" dirty="0">
                <a:solidFill>
                  <a:srgbClr val="000000"/>
                </a:solidFill>
              </a:rPr>
              <a:t>While North American land rigs are underutilized, geothermal rigs equipped with over 2,000 horsepower are in short supply</a:t>
            </a:r>
            <a:endParaRPr lang="en-US" dirty="0"/>
          </a:p>
        </p:txBody>
      </p:sp>
      <p:sp>
        <p:nvSpPr>
          <p:cNvPr id="5" name="Footer Placeholder 4">
            <a:extLst>
              <a:ext uri="{FF2B5EF4-FFF2-40B4-BE49-F238E27FC236}">
                <a16:creationId xmlns:a16="http://schemas.microsoft.com/office/drawing/2014/main" id="{57469617-D8CB-8DC4-7AAE-E70361264C00}"/>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chemeClr val="tx1"/>
                </a:solidFill>
                <a:hlinkClick r:id="rId29"/>
              </a:rPr>
              <a:t>Westwood World Land Drilling Rig Market Forecast 2025-2029</a:t>
            </a:r>
            <a:r>
              <a:rPr lang="en-US" dirty="0">
                <a:solidFill>
                  <a:schemeClr val="tx1"/>
                </a:solidFill>
              </a:rPr>
              <a:t> (2025);</a:t>
            </a:r>
            <a:r>
              <a:rPr lang="en-US" dirty="0">
                <a:solidFill>
                  <a:srgbClr val="000000"/>
                </a:solidFill>
              </a:rPr>
              <a:t> </a:t>
            </a:r>
            <a:r>
              <a:rPr lang="en-US" dirty="0">
                <a:hlinkClick r:id="rId30"/>
              </a:rPr>
              <a:t>Supply Chain Challenges</a:t>
            </a:r>
            <a:r>
              <a:rPr lang="en-US" dirty="0"/>
              <a:t> </a:t>
            </a:r>
            <a:r>
              <a:rPr lang="en-US" dirty="0">
                <a:solidFill>
                  <a:srgbClr val="000000"/>
                </a:solidFill>
              </a:rPr>
              <a:t>(GRC Transactions, 2012)</a:t>
            </a:r>
            <a:r>
              <a:rPr lang="en-US" dirty="0"/>
              <a:t>.</a:t>
            </a:r>
            <a:endParaRPr lang="en-US" dirty="0">
              <a:solidFill>
                <a:srgbClr val="000000"/>
              </a:solidFill>
            </a:endParaRPr>
          </a:p>
          <a:p>
            <a:pPr marL="0" indent="0">
              <a:spcBef>
                <a:spcPts val="0"/>
              </a:spcBef>
              <a:buNone/>
            </a:pPr>
            <a:r>
              <a:rPr lang="en-US" dirty="0">
                <a:solidFill>
                  <a:srgbClr val="000000"/>
                </a:solidFill>
              </a:rPr>
              <a:t>Credit: Pia Doris Morrow, Isabel Hoyos, and </a:t>
            </a:r>
            <a:r>
              <a:rPr lang="en-US" dirty="0">
                <a:hlinkClick r:id="rId31"/>
              </a:rPr>
              <a:t>Gernot Wagner.</a:t>
            </a:r>
            <a:r>
              <a:rPr lang="en-US" dirty="0"/>
              <a:t> </a:t>
            </a:r>
            <a:r>
              <a:rPr lang="en-US" dirty="0">
                <a:hlinkClick r:id="rId32"/>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1">
            <a:extLst>
              <a:ext uri="{FF2B5EF4-FFF2-40B4-BE49-F238E27FC236}">
                <a16:creationId xmlns:a16="http://schemas.microsoft.com/office/drawing/2014/main" id="{F317D0A7-63CD-C9E4-122E-27285EF185A8}"/>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il &amp; gas transfer</a:t>
            </a:r>
          </a:p>
        </p:txBody>
      </p:sp>
      <p:graphicFrame>
        <p:nvGraphicFramePr>
          <p:cNvPr id="144" name="Chart 143">
            <a:extLst>
              <a:ext uri="{FF2B5EF4-FFF2-40B4-BE49-F238E27FC236}">
                <a16:creationId xmlns:a16="http://schemas.microsoft.com/office/drawing/2014/main" id="{86DBED98-A908-72A8-CC17-CA2ABFD75083}"/>
              </a:ext>
            </a:extLst>
          </p:cNvPr>
          <p:cNvGraphicFramePr/>
          <p:nvPr>
            <p:custDataLst>
              <p:tags r:id="rId2"/>
            </p:custDataLst>
            <p:extLst>
              <p:ext uri="{D42A27DB-BD31-4B8C-83A1-F6EECF244321}">
                <p14:modId xmlns:p14="http://schemas.microsoft.com/office/powerpoint/2010/main" val="2529806207"/>
              </p:ext>
            </p:extLst>
          </p:nvPr>
        </p:nvGraphicFramePr>
        <p:xfrm>
          <a:off x="471488" y="2640013"/>
          <a:ext cx="4689475" cy="1993900"/>
        </p:xfrm>
        <a:graphic>
          <a:graphicData uri="http://schemas.openxmlformats.org/drawingml/2006/chart">
            <c:chart xmlns:c="http://schemas.openxmlformats.org/drawingml/2006/chart" xmlns:r="http://schemas.openxmlformats.org/officeDocument/2006/relationships" r:id="rId33"/>
          </a:graphicData>
        </a:graphic>
      </p:graphicFrame>
      <p:sp>
        <p:nvSpPr>
          <p:cNvPr id="100" name="Text Placeholder 10">
            <a:extLst>
              <a:ext uri="{FF2B5EF4-FFF2-40B4-BE49-F238E27FC236}">
                <a16:creationId xmlns:a16="http://schemas.microsoft.com/office/drawing/2014/main" id="{C0BB8C0B-0A99-224F-1DC3-8696CD5488BF}"/>
              </a:ext>
            </a:extLst>
          </p:cNvPr>
          <p:cNvSpPr txBox="1">
            <a:spLocks/>
          </p:cNvSpPr>
          <p:nvPr>
            <p:custDataLst>
              <p:tags r:id="rId3"/>
            </p:custDataLst>
          </p:nvPr>
        </p:nvSpPr>
        <p:spPr bwMode="gray">
          <a:xfrm>
            <a:off x="5230813" y="4360863"/>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0%</a:t>
            </a:r>
            <a:endParaRPr lang="en-US" sz="1200" dirty="0"/>
          </a:p>
        </p:txBody>
      </p:sp>
      <p:sp>
        <p:nvSpPr>
          <p:cNvPr id="95" name="Text Placeholder 10">
            <a:extLst>
              <a:ext uri="{FF2B5EF4-FFF2-40B4-BE49-F238E27FC236}">
                <a16:creationId xmlns:a16="http://schemas.microsoft.com/office/drawing/2014/main" id="{9E4EF840-D5A0-4EED-686E-0EB386A6159A}"/>
              </a:ext>
            </a:extLst>
          </p:cNvPr>
          <p:cNvSpPr txBox="1">
            <a:spLocks/>
          </p:cNvSpPr>
          <p:nvPr>
            <p:custDataLst>
              <p:tags r:id="rId4"/>
            </p:custDataLst>
          </p:nvPr>
        </p:nvSpPr>
        <p:spPr bwMode="gray">
          <a:xfrm>
            <a:off x="5230814" y="4035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20%</a:t>
            </a:r>
            <a:endParaRPr lang="en-US" sz="1200" dirty="0"/>
          </a:p>
        </p:txBody>
      </p:sp>
      <p:sp>
        <p:nvSpPr>
          <p:cNvPr id="96" name="Text Placeholder 10">
            <a:extLst>
              <a:ext uri="{FF2B5EF4-FFF2-40B4-BE49-F238E27FC236}">
                <a16:creationId xmlns:a16="http://schemas.microsoft.com/office/drawing/2014/main" id="{48C1C959-024B-A628-C3E5-F324F63E9D33}"/>
              </a:ext>
            </a:extLst>
          </p:cNvPr>
          <p:cNvSpPr txBox="1">
            <a:spLocks/>
          </p:cNvSpPr>
          <p:nvPr>
            <p:custDataLst>
              <p:tags r:id="rId5"/>
            </p:custDataLst>
          </p:nvPr>
        </p:nvSpPr>
        <p:spPr bwMode="gray">
          <a:xfrm>
            <a:off x="5230814" y="37084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40%</a:t>
            </a:r>
            <a:endParaRPr lang="en-US" sz="1200" dirty="0"/>
          </a:p>
        </p:txBody>
      </p:sp>
      <p:sp>
        <p:nvSpPr>
          <p:cNvPr id="97" name="Text Placeholder 10">
            <a:extLst>
              <a:ext uri="{FF2B5EF4-FFF2-40B4-BE49-F238E27FC236}">
                <a16:creationId xmlns:a16="http://schemas.microsoft.com/office/drawing/2014/main" id="{ED710650-5A0C-6622-5E6B-EEE19F0B60A3}"/>
              </a:ext>
            </a:extLst>
          </p:cNvPr>
          <p:cNvSpPr txBox="1">
            <a:spLocks/>
          </p:cNvSpPr>
          <p:nvPr>
            <p:custDataLst>
              <p:tags r:id="rId6"/>
            </p:custDataLst>
          </p:nvPr>
        </p:nvSpPr>
        <p:spPr bwMode="gray">
          <a:xfrm>
            <a:off x="5230814" y="33829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60%</a:t>
            </a:r>
            <a:endParaRPr lang="en-US" sz="1200" dirty="0"/>
          </a:p>
        </p:txBody>
      </p:sp>
      <p:sp>
        <p:nvSpPr>
          <p:cNvPr id="98" name="Text Placeholder 10">
            <a:extLst>
              <a:ext uri="{FF2B5EF4-FFF2-40B4-BE49-F238E27FC236}">
                <a16:creationId xmlns:a16="http://schemas.microsoft.com/office/drawing/2014/main" id="{8B038019-6811-202C-1B69-04C9D879D836}"/>
              </a:ext>
            </a:extLst>
          </p:cNvPr>
          <p:cNvSpPr txBox="1">
            <a:spLocks/>
          </p:cNvSpPr>
          <p:nvPr>
            <p:custDataLst>
              <p:tags r:id="rId7"/>
            </p:custDataLst>
          </p:nvPr>
        </p:nvSpPr>
        <p:spPr bwMode="gray">
          <a:xfrm>
            <a:off x="5230814" y="30559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80%</a:t>
            </a:r>
            <a:endParaRPr lang="en-US" sz="1200" dirty="0"/>
          </a:p>
        </p:txBody>
      </p:sp>
      <p:sp>
        <p:nvSpPr>
          <p:cNvPr id="99" name="Text Placeholder 10">
            <a:extLst>
              <a:ext uri="{FF2B5EF4-FFF2-40B4-BE49-F238E27FC236}">
                <a16:creationId xmlns:a16="http://schemas.microsoft.com/office/drawing/2014/main" id="{7813C46B-7932-7E2E-C449-794F34F3C374}"/>
              </a:ext>
            </a:extLst>
          </p:cNvPr>
          <p:cNvSpPr txBox="1">
            <a:spLocks/>
          </p:cNvSpPr>
          <p:nvPr>
            <p:custDataLst>
              <p:tags r:id="rId8"/>
            </p:custDataLst>
          </p:nvPr>
        </p:nvSpPr>
        <p:spPr bwMode="gray">
          <a:xfrm>
            <a:off x="5230813" y="2730500"/>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100%</a:t>
            </a:r>
            <a:endParaRPr lang="en-US" sz="1200" dirty="0"/>
          </a:p>
        </p:txBody>
      </p:sp>
      <p:sp>
        <p:nvSpPr>
          <p:cNvPr id="101" name="Text Placeholder 10">
            <a:extLst>
              <a:ext uri="{FF2B5EF4-FFF2-40B4-BE49-F238E27FC236}">
                <a16:creationId xmlns:a16="http://schemas.microsoft.com/office/drawing/2014/main" id="{D733EA64-9803-DDDE-29AB-DABD3157E437}"/>
              </a:ext>
            </a:extLst>
          </p:cNvPr>
          <p:cNvSpPr txBox="1">
            <a:spLocks/>
          </p:cNvSpPr>
          <p:nvPr>
            <p:custDataLst>
              <p:tags r:id="rId9"/>
            </p:custDataLst>
          </p:nvPr>
        </p:nvSpPr>
        <p:spPr bwMode="auto">
          <a:xfrm>
            <a:off x="1192213" y="4502150"/>
            <a:ext cx="415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A5B3E2-0FFB-479F-8EA7-88EE5EAA9E73}" type="datetime'''''''''''''''A''''''''P''''A''''''''''''''''C'''''''''''''''">
              <a:rPr lang="en-US" altLang="en-US" sz="1200" smtClean="0"/>
              <a:pPr marL="0" indent="0" algn="ctr">
                <a:spcBef>
                  <a:spcPct val="0"/>
                </a:spcBef>
                <a:spcAft>
                  <a:spcPct val="0"/>
                </a:spcAft>
                <a:buNone/>
              </a:pPr>
              <a:t>APAC</a:t>
            </a:fld>
            <a:endParaRPr lang="en-US" sz="1200" dirty="0"/>
          </a:p>
        </p:txBody>
      </p:sp>
      <p:sp>
        <p:nvSpPr>
          <p:cNvPr id="107" name="Text Placeholder 10">
            <a:extLst>
              <a:ext uri="{FF2B5EF4-FFF2-40B4-BE49-F238E27FC236}">
                <a16:creationId xmlns:a16="http://schemas.microsoft.com/office/drawing/2014/main" id="{C439C58E-1342-B96B-1F62-7C2E77216651}"/>
              </a:ext>
            </a:extLst>
          </p:cNvPr>
          <p:cNvSpPr txBox="1">
            <a:spLocks/>
          </p:cNvSpPr>
          <p:nvPr>
            <p:custDataLst>
              <p:tags r:id="rId10"/>
            </p:custDataLst>
          </p:nvPr>
        </p:nvSpPr>
        <p:spPr bwMode="auto">
          <a:xfrm>
            <a:off x="1806575" y="4502150"/>
            <a:ext cx="3175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568C43B-F7AF-4495-9C32-67E640F965F8}" type="datetime'''''''E''''''''''''''E''''&amp;''&#10;F''''''''''''''S''''''''''U'''">
              <a:rPr lang="en-US" altLang="en-US" sz="1200" smtClean="0"/>
              <a:pPr marL="0" indent="0" algn="ctr">
                <a:spcBef>
                  <a:spcPct val="0"/>
                </a:spcBef>
                <a:spcAft>
                  <a:spcPct val="0"/>
                </a:spcAft>
                <a:buNone/>
              </a:pPr>
              <a:t>EE&amp;
FSU</a:t>
            </a:fld>
            <a:endParaRPr lang="en-US" sz="1200" dirty="0"/>
          </a:p>
        </p:txBody>
      </p:sp>
      <p:sp>
        <p:nvSpPr>
          <p:cNvPr id="102" name="Text Placeholder 10">
            <a:extLst>
              <a:ext uri="{FF2B5EF4-FFF2-40B4-BE49-F238E27FC236}">
                <a16:creationId xmlns:a16="http://schemas.microsoft.com/office/drawing/2014/main" id="{B1B973F5-19A6-234A-0DC1-8967756A1A16}"/>
              </a:ext>
            </a:extLst>
          </p:cNvPr>
          <p:cNvSpPr txBox="1">
            <a:spLocks/>
          </p:cNvSpPr>
          <p:nvPr>
            <p:custDataLst>
              <p:tags r:id="rId11"/>
            </p:custDataLst>
          </p:nvPr>
        </p:nvSpPr>
        <p:spPr bwMode="auto">
          <a:xfrm>
            <a:off x="2420938" y="4502150"/>
            <a:ext cx="223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31BEFD-7406-4D7D-ADC9-CF41C0C00CF9}" type="datetime'''''''''''''''''''''''''''''''''''''''''N''''''''''''A'''''''">
              <a:rPr lang="en-US" altLang="en-US" sz="1200" smtClean="0"/>
              <a:pPr marL="0" indent="0" algn="ctr">
                <a:spcBef>
                  <a:spcPct val="0"/>
                </a:spcBef>
                <a:spcAft>
                  <a:spcPct val="0"/>
                </a:spcAft>
                <a:buNone/>
              </a:pPr>
              <a:t>NA</a:t>
            </a:fld>
            <a:endParaRPr lang="en-US" sz="1200" dirty="0"/>
          </a:p>
        </p:txBody>
      </p:sp>
      <p:sp>
        <p:nvSpPr>
          <p:cNvPr id="103" name="Text Placeholder 10">
            <a:extLst>
              <a:ext uri="{FF2B5EF4-FFF2-40B4-BE49-F238E27FC236}">
                <a16:creationId xmlns:a16="http://schemas.microsoft.com/office/drawing/2014/main" id="{7712AA2D-B4E1-A7C9-B2A0-3A0C9B793262}"/>
              </a:ext>
            </a:extLst>
          </p:cNvPr>
          <p:cNvSpPr txBox="1">
            <a:spLocks/>
          </p:cNvSpPr>
          <p:nvPr>
            <p:custDataLst>
              <p:tags r:id="rId12"/>
            </p:custDataLst>
          </p:nvPr>
        </p:nvSpPr>
        <p:spPr bwMode="auto">
          <a:xfrm>
            <a:off x="2871788" y="4502150"/>
            <a:ext cx="452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74E859-7C98-4E8E-9617-BEF0536762EA}" type="datetime'''M''''''EN''''''''''A'''''''''''''''''''''''''''">
              <a:rPr lang="en-US" altLang="en-US" sz="1200" smtClean="0"/>
              <a:pPr marL="0" indent="0" algn="ctr">
                <a:spcBef>
                  <a:spcPct val="0"/>
                </a:spcBef>
                <a:spcAft>
                  <a:spcPct val="0"/>
                </a:spcAft>
                <a:buNone/>
              </a:pPr>
              <a:t>MENA</a:t>
            </a:fld>
            <a:endParaRPr lang="en-US" sz="1200" dirty="0"/>
          </a:p>
        </p:txBody>
      </p:sp>
      <p:sp>
        <p:nvSpPr>
          <p:cNvPr id="104" name="Text Placeholder 10">
            <a:extLst>
              <a:ext uri="{FF2B5EF4-FFF2-40B4-BE49-F238E27FC236}">
                <a16:creationId xmlns:a16="http://schemas.microsoft.com/office/drawing/2014/main" id="{DD783F2C-40A4-75C5-A023-CBD38AD322C1}"/>
              </a:ext>
            </a:extLst>
          </p:cNvPr>
          <p:cNvSpPr txBox="1">
            <a:spLocks/>
          </p:cNvSpPr>
          <p:nvPr>
            <p:custDataLst>
              <p:tags r:id="rId13"/>
            </p:custDataLst>
          </p:nvPr>
        </p:nvSpPr>
        <p:spPr bwMode="auto">
          <a:xfrm>
            <a:off x="3379788" y="4502150"/>
            <a:ext cx="5699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Latin </a:t>
            </a:r>
            <a:br>
              <a:rPr lang="en-US" altLang="en-US" sz="1200" dirty="0"/>
            </a:br>
            <a:r>
              <a:rPr lang="en-US" altLang="en-US" sz="1200" dirty="0"/>
              <a:t>America</a:t>
            </a:r>
            <a:endParaRPr lang="en-US" sz="1200" dirty="0"/>
          </a:p>
        </p:txBody>
      </p:sp>
      <p:sp>
        <p:nvSpPr>
          <p:cNvPr id="105" name="Text Placeholder 10">
            <a:extLst>
              <a:ext uri="{FF2B5EF4-FFF2-40B4-BE49-F238E27FC236}">
                <a16:creationId xmlns:a16="http://schemas.microsoft.com/office/drawing/2014/main" id="{8409F1C4-7327-4676-746A-5B6EDB0BCD6C}"/>
              </a:ext>
            </a:extLst>
          </p:cNvPr>
          <p:cNvSpPr txBox="1">
            <a:spLocks/>
          </p:cNvSpPr>
          <p:nvPr>
            <p:custDataLst>
              <p:tags r:id="rId14"/>
            </p:custDataLst>
          </p:nvPr>
        </p:nvSpPr>
        <p:spPr bwMode="auto">
          <a:xfrm>
            <a:off x="4029075" y="4502150"/>
            <a:ext cx="4016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A3ECA3-D80A-4A2F-B5CA-B323E9118772}" type="datetime'SS'''' Af''''ri''''''''c''''''''''''a'''''''''''">
              <a:rPr lang="en-US" altLang="en-US" sz="1200" smtClean="0"/>
              <a:pPr marL="0" indent="0" algn="ctr">
                <a:spcBef>
                  <a:spcPct val="0"/>
                </a:spcBef>
                <a:spcAft>
                  <a:spcPct val="0"/>
                </a:spcAft>
                <a:buNone/>
              </a:pPr>
              <a:t>SS Africa</a:t>
            </a:fld>
            <a:endParaRPr lang="en-US" sz="1200" dirty="0"/>
          </a:p>
        </p:txBody>
      </p:sp>
      <p:sp>
        <p:nvSpPr>
          <p:cNvPr id="106" name="Text Placeholder 10">
            <a:extLst>
              <a:ext uri="{FF2B5EF4-FFF2-40B4-BE49-F238E27FC236}">
                <a16:creationId xmlns:a16="http://schemas.microsoft.com/office/drawing/2014/main" id="{04E06BA9-5B15-8D51-9031-5E2EB5C34080}"/>
              </a:ext>
            </a:extLst>
          </p:cNvPr>
          <p:cNvSpPr txBox="1">
            <a:spLocks/>
          </p:cNvSpPr>
          <p:nvPr>
            <p:custDataLst>
              <p:tags r:id="rId15"/>
            </p:custDataLst>
          </p:nvPr>
        </p:nvSpPr>
        <p:spPr bwMode="auto">
          <a:xfrm>
            <a:off x="4667251" y="4502150"/>
            <a:ext cx="258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A57266-C8C9-41CC-8C35-B95CF4A8A31B}" type="datetime'''''''''''''''''''''''W''''''''''E'">
              <a:rPr lang="en-US" altLang="en-US" sz="1200" smtClean="0"/>
              <a:pPr marL="0" indent="0" algn="ctr">
                <a:spcBef>
                  <a:spcPct val="0"/>
                </a:spcBef>
                <a:spcAft>
                  <a:spcPct val="0"/>
                </a:spcAft>
                <a:buNone/>
              </a:pPr>
              <a:t>WE</a:t>
            </a:fld>
            <a:endParaRPr lang="en-US" sz="1200" dirty="0"/>
          </a:p>
        </p:txBody>
      </p:sp>
      <p:sp>
        <p:nvSpPr>
          <p:cNvPr id="108" name="Rectangle 107">
            <a:extLst>
              <a:ext uri="{FF2B5EF4-FFF2-40B4-BE49-F238E27FC236}">
                <a16:creationId xmlns:a16="http://schemas.microsoft.com/office/drawing/2014/main" id="{21C291FB-828D-5FAD-6F7E-4FD22CDDB923}"/>
              </a:ext>
            </a:extLst>
          </p:cNvPr>
          <p:cNvSpPr/>
          <p:nvPr>
            <p:custDataLst>
              <p:tags r:id="rId16"/>
            </p:custDataLst>
          </p:nvPr>
        </p:nvSpPr>
        <p:spPr bwMode="auto">
          <a:xfrm>
            <a:off x="3754438" y="2514600"/>
            <a:ext cx="214313" cy="160338"/>
          </a:xfrm>
          <a:prstGeom prst="rect">
            <a:avLst/>
          </a:prstGeom>
          <a:pattFill prst="ltUpDiag">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Rectangle 108">
            <a:extLst>
              <a:ext uri="{FF2B5EF4-FFF2-40B4-BE49-F238E27FC236}">
                <a16:creationId xmlns:a16="http://schemas.microsoft.com/office/drawing/2014/main" id="{0FA3BEF7-309C-5D16-D18C-DE7F6DE4C9E0}"/>
              </a:ext>
            </a:extLst>
          </p:cNvPr>
          <p:cNvSpPr/>
          <p:nvPr>
            <p:custDataLst>
              <p:tags r:id="rId17"/>
            </p:custDataLst>
          </p:nvPr>
        </p:nvSpPr>
        <p:spPr bwMode="auto">
          <a:xfrm>
            <a:off x="3754438" y="274796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Text Placeholder 10">
            <a:extLst>
              <a:ext uri="{FF2B5EF4-FFF2-40B4-BE49-F238E27FC236}">
                <a16:creationId xmlns:a16="http://schemas.microsoft.com/office/drawing/2014/main" id="{2245CE78-A78D-65C6-B9E0-7A537DB7BEE2}"/>
              </a:ext>
            </a:extLst>
          </p:cNvPr>
          <p:cNvSpPr txBox="1">
            <a:spLocks/>
          </p:cNvSpPr>
          <p:nvPr>
            <p:custDataLst>
              <p:tags r:id="rId18"/>
            </p:custDataLst>
          </p:nvPr>
        </p:nvSpPr>
        <p:spPr bwMode="auto">
          <a:xfrm>
            <a:off x="4019550" y="2509838"/>
            <a:ext cx="768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74BBF67-8D14-4FAD-933D-BAB908F04CD5}" type="datetime'O''''''v''''''''e''''''r''''''sup''p''''l''''''y'''''''">
              <a:rPr lang="en-US" altLang="en-US" sz="1200" smtClean="0"/>
              <a:pPr/>
              <a:t>Oversupply</a:t>
            </a:fld>
            <a:endParaRPr lang="en-US" sz="1200" dirty="0"/>
          </a:p>
        </p:txBody>
      </p:sp>
      <p:sp>
        <p:nvSpPr>
          <p:cNvPr id="111" name="Text Placeholder 10">
            <a:extLst>
              <a:ext uri="{FF2B5EF4-FFF2-40B4-BE49-F238E27FC236}">
                <a16:creationId xmlns:a16="http://schemas.microsoft.com/office/drawing/2014/main" id="{37E1234B-E8E7-5B4E-24C0-D8FD5B963CD4}"/>
              </a:ext>
            </a:extLst>
          </p:cNvPr>
          <p:cNvSpPr txBox="1">
            <a:spLocks/>
          </p:cNvSpPr>
          <p:nvPr>
            <p:custDataLst>
              <p:tags r:id="rId19"/>
            </p:custDataLst>
          </p:nvPr>
        </p:nvSpPr>
        <p:spPr bwMode="auto">
          <a:xfrm>
            <a:off x="4019550" y="2743200"/>
            <a:ext cx="573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428DB13-86A9-46D2-AABF-DFCF67513CFB}" type="datetime'D''''''e''''''m''''a''''n''''''''''''''''''''''''d'''''">
              <a:rPr lang="en-US" altLang="en-US" sz="1200" smtClean="0"/>
              <a:pPr/>
              <a:t>Demand</a:t>
            </a:fld>
            <a:endParaRPr lang="en-US" sz="1200" dirty="0"/>
          </a:p>
        </p:txBody>
      </p:sp>
      <p:sp>
        <p:nvSpPr>
          <p:cNvPr id="112" name="Rectangle 111">
            <a:extLst>
              <a:ext uri="{FF2B5EF4-FFF2-40B4-BE49-F238E27FC236}">
                <a16:creationId xmlns:a16="http://schemas.microsoft.com/office/drawing/2014/main" id="{0D73CE00-8EE2-CA3F-D6D5-BAE643BBEAA4}"/>
              </a:ext>
            </a:extLst>
          </p:cNvPr>
          <p:cNvSpPr/>
          <p:nvPr/>
        </p:nvSpPr>
        <p:spPr bwMode="gray">
          <a:xfrm>
            <a:off x="317497" y="4851402"/>
            <a:ext cx="3816350" cy="2127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800" dirty="0">
                <a:solidFill>
                  <a:schemeClr val="tx1"/>
                </a:solidFill>
              </a:rPr>
              <a:t>Source: </a:t>
            </a:r>
            <a:r>
              <a:rPr lang="en-US" sz="800" dirty="0">
                <a:solidFill>
                  <a:schemeClr val="tx1"/>
                </a:solidFill>
                <a:hlinkClick r:id="rId29"/>
              </a:rPr>
              <a:t>Westwood World Land Drilling Rig Market Forecast 2025-2029</a:t>
            </a:r>
            <a:r>
              <a:rPr lang="en-US" sz="800" dirty="0">
                <a:solidFill>
                  <a:schemeClr val="tx1"/>
                </a:solidFill>
              </a:rPr>
              <a:t> (2025)</a:t>
            </a:r>
          </a:p>
        </p:txBody>
      </p:sp>
      <p:graphicFrame>
        <p:nvGraphicFramePr>
          <p:cNvPr id="145" name="Chart 144">
            <a:extLst>
              <a:ext uri="{FF2B5EF4-FFF2-40B4-BE49-F238E27FC236}">
                <a16:creationId xmlns:a16="http://schemas.microsoft.com/office/drawing/2014/main" id="{ED16AD09-8D91-A702-B278-F0FB27050E1E}"/>
              </a:ext>
            </a:extLst>
          </p:cNvPr>
          <p:cNvGraphicFramePr/>
          <p:nvPr>
            <p:custDataLst>
              <p:tags r:id="rId20"/>
            </p:custDataLst>
            <p:extLst>
              <p:ext uri="{D42A27DB-BD31-4B8C-83A1-F6EECF244321}">
                <p14:modId xmlns:p14="http://schemas.microsoft.com/office/powerpoint/2010/main" val="4216869369"/>
              </p:ext>
            </p:extLst>
          </p:nvPr>
        </p:nvGraphicFramePr>
        <p:xfrm>
          <a:off x="6605588" y="2640013"/>
          <a:ext cx="4689475" cy="2284412"/>
        </p:xfrm>
        <a:graphic>
          <a:graphicData uri="http://schemas.openxmlformats.org/drawingml/2006/chart">
            <c:chart xmlns:c="http://schemas.openxmlformats.org/drawingml/2006/chart" xmlns:r="http://schemas.openxmlformats.org/officeDocument/2006/relationships" r:id="rId34"/>
          </a:graphicData>
        </a:graphic>
      </p:graphicFrame>
      <p:sp>
        <p:nvSpPr>
          <p:cNvPr id="116" name="btfpColumnHeaderBoxText223027">
            <a:extLst>
              <a:ext uri="{FF2B5EF4-FFF2-40B4-BE49-F238E27FC236}">
                <a16:creationId xmlns:a16="http://schemas.microsoft.com/office/drawing/2014/main" id="{40362C06-B459-B2B9-DBDC-3991C986A288}"/>
              </a:ext>
            </a:extLst>
          </p:cNvPr>
          <p:cNvSpPr txBox="1"/>
          <p:nvPr/>
        </p:nvSpPr>
        <p:spPr bwMode="gray">
          <a:xfrm>
            <a:off x="353378" y="2145724"/>
            <a:ext cx="5501880"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Average land rig supply, demand and utilization by region </a:t>
            </a:r>
            <a:br>
              <a:rPr lang="en-US" sz="1400" b="1" dirty="0">
                <a:solidFill>
                  <a:srgbClr val="000000"/>
                </a:solidFill>
              </a:rPr>
            </a:br>
            <a:r>
              <a:rPr lang="en-US" sz="1400" b="1" dirty="0">
                <a:solidFill>
                  <a:srgbClr val="000000"/>
                </a:solidFill>
              </a:rPr>
              <a:t>2025-2029</a:t>
            </a:r>
          </a:p>
        </p:txBody>
      </p:sp>
      <p:sp>
        <p:nvSpPr>
          <p:cNvPr id="117" name="btfpColumnHeaderBoxText223027">
            <a:extLst>
              <a:ext uri="{FF2B5EF4-FFF2-40B4-BE49-F238E27FC236}">
                <a16:creationId xmlns:a16="http://schemas.microsoft.com/office/drawing/2014/main" id="{ED03ACC4-FCAA-4E65-1DBB-BA97B7638571}"/>
              </a:ext>
            </a:extLst>
          </p:cNvPr>
          <p:cNvSpPr txBox="1"/>
          <p:nvPr/>
        </p:nvSpPr>
        <p:spPr bwMode="gray">
          <a:xfrm>
            <a:off x="6641139" y="2145724"/>
            <a:ext cx="5220661"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emand and supply forecast of 2,000+ HP rigs for geothermal to supply 10% of U.S. power in 2030</a:t>
            </a:r>
          </a:p>
        </p:txBody>
      </p:sp>
      <p:cxnSp>
        <p:nvCxnSpPr>
          <p:cNvPr id="118" name="Straight Connector 117">
            <a:extLst>
              <a:ext uri="{FF2B5EF4-FFF2-40B4-BE49-F238E27FC236}">
                <a16:creationId xmlns:a16="http://schemas.microsoft.com/office/drawing/2014/main" id="{E4856BE9-FAEE-D5B1-FAA5-7EEC0FE80B7E}"/>
              </a:ext>
            </a:extLst>
          </p:cNvPr>
          <p:cNvCxnSpPr/>
          <p:nvPr>
            <p:custDataLst>
              <p:tags r:id="rId21"/>
            </p:custDataLst>
          </p:nvPr>
        </p:nvCxnSpPr>
        <p:spPr bwMode="gray">
          <a:xfrm>
            <a:off x="11014075" y="2593975"/>
            <a:ext cx="1952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A89A1A77-54C0-C9F3-432B-481CB0234DC2}"/>
              </a:ext>
            </a:extLst>
          </p:cNvPr>
          <p:cNvCxnSpPr/>
          <p:nvPr>
            <p:custDataLst>
              <p:tags r:id="rId22"/>
            </p:custDataLst>
          </p:nvPr>
        </p:nvCxnSpPr>
        <p:spPr bwMode="gray">
          <a:xfrm>
            <a:off x="11014075" y="2827338"/>
            <a:ext cx="195263"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1" name="Text Placeholder 10">
            <a:extLst>
              <a:ext uri="{FF2B5EF4-FFF2-40B4-BE49-F238E27FC236}">
                <a16:creationId xmlns:a16="http://schemas.microsoft.com/office/drawing/2014/main" id="{4029995B-E026-204C-A4BA-3C3EB68ED6C2}"/>
              </a:ext>
            </a:extLst>
          </p:cNvPr>
          <p:cNvSpPr txBox="1">
            <a:spLocks/>
          </p:cNvSpPr>
          <p:nvPr>
            <p:custDataLst>
              <p:tags r:id="rId23"/>
            </p:custDataLst>
          </p:nvPr>
        </p:nvSpPr>
        <p:spPr bwMode="auto">
          <a:xfrm>
            <a:off x="11269663" y="2509838"/>
            <a:ext cx="573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B0FBA42-64BE-45C5-8C99-0AF5C36584BE}" type="datetime'''''''''D''e''''''''''m''''''''an''''''''d'''''''''''">
              <a:rPr lang="en-US" altLang="en-US" sz="1200" smtClean="0"/>
              <a:pPr/>
              <a:t>Demand</a:t>
            </a:fld>
            <a:endParaRPr lang="en-US" sz="1200" dirty="0"/>
          </a:p>
        </p:txBody>
      </p:sp>
      <p:sp>
        <p:nvSpPr>
          <p:cNvPr id="120" name="Text Placeholder 10">
            <a:extLst>
              <a:ext uri="{FF2B5EF4-FFF2-40B4-BE49-F238E27FC236}">
                <a16:creationId xmlns:a16="http://schemas.microsoft.com/office/drawing/2014/main" id="{90BD82B2-5D50-38AD-CBE6-AD647D69E016}"/>
              </a:ext>
            </a:extLst>
          </p:cNvPr>
          <p:cNvSpPr txBox="1">
            <a:spLocks/>
          </p:cNvSpPr>
          <p:nvPr>
            <p:custDataLst>
              <p:tags r:id="rId24"/>
            </p:custDataLst>
          </p:nvPr>
        </p:nvSpPr>
        <p:spPr bwMode="auto">
          <a:xfrm>
            <a:off x="11269663" y="2743200"/>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9B7C3A1-922A-43C4-BBEB-C8C70E0D64F3}" type="datetime'''''''''''''''''S''''''up''''''''p''''''''''''ly'''''''''">
              <a:rPr lang="en-US" altLang="en-US" sz="1200" smtClean="0"/>
              <a:pPr/>
              <a:t>Supply</a:t>
            </a:fld>
            <a:endParaRPr lang="en-US" sz="1200" dirty="0"/>
          </a:p>
        </p:txBody>
      </p:sp>
      <p:cxnSp>
        <p:nvCxnSpPr>
          <p:cNvPr id="122" name="btfpColumnHeaderBoxLine223027">
            <a:extLst>
              <a:ext uri="{FF2B5EF4-FFF2-40B4-BE49-F238E27FC236}">
                <a16:creationId xmlns:a16="http://schemas.microsoft.com/office/drawing/2014/main" id="{E493E4AD-6B81-1864-8A88-9ECF94591B21}"/>
              </a:ext>
            </a:extLst>
          </p:cNvPr>
          <p:cNvCxnSpPr>
            <a:cxnSpLocks/>
          </p:cNvCxnSpPr>
          <p:nvPr/>
        </p:nvCxnSpPr>
        <p:spPr bwMode="gray">
          <a:xfrm>
            <a:off x="6459185" y="2286000"/>
            <a:ext cx="0" cy="395343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4FFFFA4-C9A0-22B1-4C62-68900238A024}"/>
              </a:ext>
            </a:extLst>
          </p:cNvPr>
          <p:cNvSpPr txBox="1"/>
          <p:nvPr/>
        </p:nvSpPr>
        <p:spPr bwMode="gray">
          <a:xfrm>
            <a:off x="336018" y="5062312"/>
            <a:ext cx="5941212" cy="1191633"/>
          </a:xfrm>
          <a:prstGeom prst="rect">
            <a:avLst/>
          </a:prstGeom>
          <a:solidFill>
            <a:srgbClr val="E3E8EE"/>
          </a:solidFill>
        </p:spPr>
        <p:txBody>
          <a:bodyPr wrap="square" lIns="91440" tIns="91440" rIns="91440" bIns="91440" rtlCol="0" anchor="t">
            <a:noAutofit/>
          </a:bodyPr>
          <a:lstStyle/>
          <a:p>
            <a:pPr>
              <a:spcBef>
                <a:spcPts val="0"/>
              </a:spcBef>
            </a:pPr>
            <a:r>
              <a:rPr lang="en-US" sz="1000" dirty="0"/>
              <a:t>Global rig demand is forecast to average </a:t>
            </a:r>
            <a:r>
              <a:rPr lang="en-US" sz="1000" b="1" dirty="0"/>
              <a:t>4,704 units between 2025 and 2029</a:t>
            </a:r>
            <a:r>
              <a:rPr lang="en-US" sz="1000" dirty="0"/>
              <a:t>, an 18% increase on historical averages, with Asia Pacific leading at 36% (China remains the largest market), followed by Eastern Europe (27%) and North America (17%).</a:t>
            </a:r>
          </a:p>
          <a:p>
            <a:pPr>
              <a:spcBef>
                <a:spcPts val="0"/>
              </a:spcBef>
            </a:pPr>
            <a:r>
              <a:rPr lang="en-US" sz="1000" dirty="0"/>
              <a:t>Although North America has the largest fleet, its rigs are </a:t>
            </a:r>
            <a:r>
              <a:rPr lang="en-US" sz="1000" b="1" dirty="0"/>
              <a:t>underutilized</a:t>
            </a:r>
            <a:r>
              <a:rPr lang="en-US" sz="1000" dirty="0"/>
              <a:t>, averaging only 33% utilization.</a:t>
            </a:r>
          </a:p>
          <a:p>
            <a:pPr>
              <a:spcBef>
                <a:spcPts val="0"/>
              </a:spcBef>
            </a:pPr>
            <a:r>
              <a:rPr lang="en-US" sz="1000" dirty="0"/>
              <a:t>However, these figures apply to all land rigs — geothermal rigs require </a:t>
            </a:r>
            <a:r>
              <a:rPr lang="en-US" sz="1000" b="1" dirty="0"/>
              <a:t>special prerequisites </a:t>
            </a:r>
            <a:r>
              <a:rPr lang="en-US" sz="1000" dirty="0"/>
              <a:t>to meet operational demands, such as horsepower.</a:t>
            </a:r>
          </a:p>
          <a:p>
            <a:pPr>
              <a:spcBef>
                <a:spcPts val="0"/>
              </a:spcBef>
            </a:pPr>
            <a:endParaRPr lang="en-US" sz="1000" dirty="0"/>
          </a:p>
        </p:txBody>
      </p:sp>
      <p:sp>
        <p:nvSpPr>
          <p:cNvPr id="124" name="TextBox 123">
            <a:extLst>
              <a:ext uri="{FF2B5EF4-FFF2-40B4-BE49-F238E27FC236}">
                <a16:creationId xmlns:a16="http://schemas.microsoft.com/office/drawing/2014/main" id="{8CD2998F-89FF-837B-6FD3-26ED44384934}"/>
              </a:ext>
            </a:extLst>
          </p:cNvPr>
          <p:cNvSpPr txBox="1"/>
          <p:nvPr/>
        </p:nvSpPr>
        <p:spPr bwMode="gray">
          <a:xfrm>
            <a:off x="6641139" y="5062312"/>
            <a:ext cx="5227010" cy="1191633"/>
          </a:xfrm>
          <a:prstGeom prst="rect">
            <a:avLst/>
          </a:prstGeom>
          <a:solidFill>
            <a:srgbClr val="E3E8EE"/>
          </a:solidFill>
        </p:spPr>
        <p:txBody>
          <a:bodyPr wrap="square" lIns="91440" tIns="91440" rIns="91440" bIns="91440" rtlCol="0" anchor="t">
            <a:noAutofit/>
          </a:bodyPr>
          <a:lstStyle/>
          <a:p>
            <a:pPr>
              <a:spcBef>
                <a:spcPts val="0"/>
              </a:spcBef>
            </a:pPr>
            <a:r>
              <a:rPr lang="en-US" sz="1000" dirty="0"/>
              <a:t>Rigs for EGS need a minimum </a:t>
            </a:r>
            <a:r>
              <a:rPr lang="en-US" sz="1000" b="1" dirty="0"/>
              <a:t>of 2,000 HP </a:t>
            </a:r>
            <a:r>
              <a:rPr lang="en-US" sz="1000" dirty="0"/>
              <a:t>to reach the required depths of </a:t>
            </a:r>
            <a:r>
              <a:rPr lang="en-US" sz="1000" b="1" dirty="0"/>
              <a:t>2,000-10,000 meters for EGS drilling</a:t>
            </a:r>
            <a:r>
              <a:rPr lang="en-US" sz="1000" dirty="0"/>
              <a:t>.</a:t>
            </a:r>
          </a:p>
          <a:p>
            <a:pPr>
              <a:spcBef>
                <a:spcPts val="0"/>
              </a:spcBef>
            </a:pPr>
            <a:r>
              <a:rPr lang="en-US" sz="1000" dirty="0"/>
              <a:t>Only about </a:t>
            </a:r>
            <a:r>
              <a:rPr lang="en-US" sz="1000" b="1" dirty="0"/>
              <a:t>5% of the current rig supply </a:t>
            </a:r>
            <a:r>
              <a:rPr lang="en-US" sz="1000" dirty="0"/>
              <a:t>meets this horsepower specification.</a:t>
            </a:r>
          </a:p>
          <a:p>
            <a:pPr>
              <a:spcBef>
                <a:spcPts val="0"/>
              </a:spcBef>
            </a:pPr>
            <a:r>
              <a:rPr lang="en-US" sz="1000" b="1" dirty="0"/>
              <a:t>Most rigs</a:t>
            </a:r>
            <a:r>
              <a:rPr lang="en-US" sz="1000" dirty="0"/>
              <a:t> with 2,000+ HP are already </a:t>
            </a:r>
            <a:r>
              <a:rPr lang="en-US" sz="1000" b="1" dirty="0"/>
              <a:t>used for oil &amp; gas drilling</a:t>
            </a:r>
            <a:r>
              <a:rPr lang="en-US" sz="1000" dirty="0"/>
              <a:t>, leading to a constrained supply for EGS drilling that is unlikely to change without a significant shift in demand.</a:t>
            </a:r>
          </a:p>
          <a:p>
            <a:pPr>
              <a:spcBef>
                <a:spcPts val="0"/>
              </a:spcBef>
            </a:pPr>
            <a:endParaRPr lang="en-US" sz="1000" dirty="0"/>
          </a:p>
        </p:txBody>
      </p:sp>
      <p:sp>
        <p:nvSpPr>
          <p:cNvPr id="125" name="btfpNotesBox361175">
            <a:extLst>
              <a:ext uri="{FF2B5EF4-FFF2-40B4-BE49-F238E27FC236}">
                <a16:creationId xmlns:a16="http://schemas.microsoft.com/office/drawing/2014/main" id="{10858EB0-8F70-656D-EE1F-FAE505C22062}"/>
              </a:ext>
            </a:extLst>
          </p:cNvPr>
          <p:cNvSpPr txBox="1"/>
          <p:nvPr>
            <p:custDataLst>
              <p:tags r:id="rId25"/>
            </p:custDataLst>
          </p:nvPr>
        </p:nvSpPr>
        <p:spPr bwMode="gray">
          <a:xfrm>
            <a:off x="6641138" y="4896209"/>
            <a:ext cx="3612333"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GRC Transactions: </a:t>
            </a:r>
            <a:r>
              <a:rPr lang="en-US" sz="800" dirty="0">
                <a:hlinkClick r:id="rId30"/>
              </a:rPr>
              <a:t>Supply Chain Challenges</a:t>
            </a:r>
            <a:r>
              <a:rPr lang="en-US" sz="800" dirty="0"/>
              <a:t> </a:t>
            </a:r>
            <a:r>
              <a:rPr lang="en-US" sz="800" dirty="0">
                <a:solidFill>
                  <a:srgbClr val="000000"/>
                </a:solidFill>
              </a:rPr>
              <a:t>(2012).</a:t>
            </a:r>
          </a:p>
        </p:txBody>
      </p:sp>
      <p:sp>
        <p:nvSpPr>
          <p:cNvPr id="126" name="Oval 125">
            <a:extLst>
              <a:ext uri="{FF2B5EF4-FFF2-40B4-BE49-F238E27FC236}">
                <a16:creationId xmlns:a16="http://schemas.microsoft.com/office/drawing/2014/main" id="{83E8C826-D4D7-13B2-89CF-F1C6A30D80D5}"/>
              </a:ext>
            </a:extLst>
          </p:cNvPr>
          <p:cNvSpPr/>
          <p:nvPr/>
        </p:nvSpPr>
        <p:spPr bwMode="gray">
          <a:xfrm>
            <a:off x="1345311" y="2909888"/>
            <a:ext cx="109728" cy="111125"/>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7" name="Oval 126">
            <a:extLst>
              <a:ext uri="{FF2B5EF4-FFF2-40B4-BE49-F238E27FC236}">
                <a16:creationId xmlns:a16="http://schemas.microsoft.com/office/drawing/2014/main" id="{6B5176B9-B5D3-505A-16F6-ED7AE7A5357B}"/>
              </a:ext>
            </a:extLst>
          </p:cNvPr>
          <p:cNvSpPr/>
          <p:nvPr/>
        </p:nvSpPr>
        <p:spPr bwMode="gray">
          <a:xfrm>
            <a:off x="1898461" y="3238500"/>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8" name="Oval 127">
            <a:extLst>
              <a:ext uri="{FF2B5EF4-FFF2-40B4-BE49-F238E27FC236}">
                <a16:creationId xmlns:a16="http://schemas.microsoft.com/office/drawing/2014/main" id="{484CBB0E-BF53-481C-CE28-6E2BD0827165}"/>
              </a:ext>
            </a:extLst>
          </p:cNvPr>
          <p:cNvSpPr/>
          <p:nvPr/>
        </p:nvSpPr>
        <p:spPr bwMode="gray">
          <a:xfrm>
            <a:off x="2473597" y="3768725"/>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9" name="Oval 128">
            <a:extLst>
              <a:ext uri="{FF2B5EF4-FFF2-40B4-BE49-F238E27FC236}">
                <a16:creationId xmlns:a16="http://schemas.microsoft.com/office/drawing/2014/main" id="{64017835-1124-821C-19C1-2070A8207D0F}"/>
              </a:ext>
            </a:extLst>
          </p:cNvPr>
          <p:cNvSpPr/>
          <p:nvPr/>
        </p:nvSpPr>
        <p:spPr bwMode="gray">
          <a:xfrm>
            <a:off x="3043143" y="3384550"/>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0" name="Oval 129">
            <a:extLst>
              <a:ext uri="{FF2B5EF4-FFF2-40B4-BE49-F238E27FC236}">
                <a16:creationId xmlns:a16="http://schemas.microsoft.com/office/drawing/2014/main" id="{153130E2-F37D-B100-FFC0-13F3B800F523}"/>
              </a:ext>
            </a:extLst>
          </p:cNvPr>
          <p:cNvSpPr/>
          <p:nvPr/>
        </p:nvSpPr>
        <p:spPr bwMode="gray">
          <a:xfrm>
            <a:off x="3610090" y="3854450"/>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1" name="Oval 130">
            <a:extLst>
              <a:ext uri="{FF2B5EF4-FFF2-40B4-BE49-F238E27FC236}">
                <a16:creationId xmlns:a16="http://schemas.microsoft.com/office/drawing/2014/main" id="{A1BD21ED-3983-AC6F-91A9-BA0AF8E80425}"/>
              </a:ext>
            </a:extLst>
          </p:cNvPr>
          <p:cNvSpPr/>
          <p:nvPr/>
        </p:nvSpPr>
        <p:spPr bwMode="gray">
          <a:xfrm>
            <a:off x="4163615" y="3944938"/>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2" name="Oval 131">
            <a:extLst>
              <a:ext uri="{FF2B5EF4-FFF2-40B4-BE49-F238E27FC236}">
                <a16:creationId xmlns:a16="http://schemas.microsoft.com/office/drawing/2014/main" id="{57966B86-AC82-6ED0-0904-00C9496E1424}"/>
              </a:ext>
            </a:extLst>
          </p:cNvPr>
          <p:cNvSpPr/>
          <p:nvPr/>
        </p:nvSpPr>
        <p:spPr bwMode="gray">
          <a:xfrm>
            <a:off x="4736912" y="4267200"/>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3" name="Oval 132">
            <a:extLst>
              <a:ext uri="{FF2B5EF4-FFF2-40B4-BE49-F238E27FC236}">
                <a16:creationId xmlns:a16="http://schemas.microsoft.com/office/drawing/2014/main" id="{0DAA7DF7-4537-43AD-D7E7-F11A171B2BDE}"/>
              </a:ext>
            </a:extLst>
          </p:cNvPr>
          <p:cNvSpPr/>
          <p:nvPr/>
        </p:nvSpPr>
        <p:spPr bwMode="gray">
          <a:xfrm>
            <a:off x="3856736" y="3033713"/>
            <a:ext cx="109728" cy="109538"/>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4" name="Rectangle 133">
            <a:extLst>
              <a:ext uri="{FF2B5EF4-FFF2-40B4-BE49-F238E27FC236}">
                <a16:creationId xmlns:a16="http://schemas.microsoft.com/office/drawing/2014/main" id="{F1CF8D2F-D461-10A1-99B9-0072D225E818}"/>
              </a:ext>
            </a:extLst>
          </p:cNvPr>
          <p:cNvSpPr/>
          <p:nvPr/>
        </p:nvSpPr>
        <p:spPr bwMode="gray">
          <a:xfrm>
            <a:off x="4042498" y="2968625"/>
            <a:ext cx="887414" cy="2127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Utilization</a:t>
            </a:r>
          </a:p>
        </p:txBody>
      </p:sp>
      <p:sp>
        <p:nvSpPr>
          <p:cNvPr id="135" name="Rectangular Callout 134">
            <a:extLst>
              <a:ext uri="{FF2B5EF4-FFF2-40B4-BE49-F238E27FC236}">
                <a16:creationId xmlns:a16="http://schemas.microsoft.com/office/drawing/2014/main" id="{76B1547F-13FF-B14C-6EEA-4D15E149F46A}"/>
              </a:ext>
            </a:extLst>
          </p:cNvPr>
          <p:cNvSpPr/>
          <p:nvPr/>
        </p:nvSpPr>
        <p:spPr bwMode="gray">
          <a:xfrm>
            <a:off x="10429875" y="1177769"/>
            <a:ext cx="1427163" cy="817481"/>
          </a:xfrm>
          <a:prstGeom prst="wedgeRectCallout">
            <a:avLst>
              <a:gd name="adj1" fmla="val -33908"/>
              <a:gd name="adj2" fmla="val 6672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Need for production shift from general land rigs to geothermal 2,000+ HP rigs</a:t>
            </a:r>
          </a:p>
        </p:txBody>
      </p:sp>
    </p:spTree>
    <p:extLst>
      <p:ext uri="{BB962C8B-B14F-4D97-AF65-F5344CB8AC3E}">
        <p14:creationId xmlns:p14="http://schemas.microsoft.com/office/powerpoint/2010/main" val="33437596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862ADE-B3E4-C740-E23B-72AE8DF6040D}"/>
              </a:ext>
            </a:extLst>
          </p:cNvPr>
          <p:cNvGraphicFramePr>
            <a:graphicFrameLocks/>
          </p:cNvGraphicFramePr>
          <p:nvPr>
            <p:custDataLst>
              <p:tags r:id="rId1"/>
            </p:custDataLst>
            <p:extLst>
              <p:ext uri="{D42A27DB-BD31-4B8C-83A1-F6EECF244321}">
                <p14:modId xmlns:p14="http://schemas.microsoft.com/office/powerpoint/2010/main" val="3126428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1537568-9D4B-EFB2-578D-789C06F83BBB}"/>
              </a:ext>
            </a:extLst>
          </p:cNvPr>
          <p:cNvSpPr>
            <a:spLocks noGrp="1"/>
          </p:cNvSpPr>
          <p:nvPr>
            <p:ph type="title"/>
          </p:nvPr>
        </p:nvSpPr>
        <p:spPr/>
        <p:txBody>
          <a:bodyPr vert="horz" rIns="91440"/>
          <a:lstStyle/>
          <a:p>
            <a:r>
              <a:rPr lang="en-US" dirty="0"/>
              <a:t>Traditional oil and gas service companies provide consulting, drilling, and technology to the geothermal industry</a:t>
            </a:r>
          </a:p>
        </p:txBody>
      </p:sp>
      <p:sp>
        <p:nvSpPr>
          <p:cNvPr id="4" name="Footer Placeholder 3">
            <a:extLst>
              <a:ext uri="{FF2B5EF4-FFF2-40B4-BE49-F238E27FC236}">
                <a16:creationId xmlns:a16="http://schemas.microsoft.com/office/drawing/2014/main" id="{D6E8D8EF-4F62-2EED-FBB0-C8CB0D985D6D}"/>
              </a:ext>
            </a:extLst>
          </p:cNvPr>
          <p:cNvSpPr>
            <a:spLocks noGrp="1"/>
          </p:cNvSpPr>
          <p:nvPr>
            <p:ph type="ftr" sz="quarter" idx="3"/>
          </p:nvPr>
        </p:nvSpPr>
        <p:spPr>
          <a:xfrm>
            <a:off x="334962" y="6095049"/>
            <a:ext cx="9147241" cy="216706"/>
          </a:xfrm>
        </p:spPr>
        <p:txBody>
          <a:bodyPr/>
          <a:lstStyle/>
          <a:p>
            <a:pPr marL="0" indent="0">
              <a:buNone/>
            </a:pPr>
            <a:r>
              <a:rPr lang="en-US" dirty="0">
                <a:solidFill>
                  <a:srgbClr val="000000"/>
                </a:solidFill>
              </a:rPr>
              <a:t>Sources: </a:t>
            </a:r>
            <a:r>
              <a:rPr lang="en-US" dirty="0">
                <a:solidFill>
                  <a:srgbClr val="000000"/>
                </a:solidFill>
                <a:hlinkClick r:id="rId5"/>
              </a:rPr>
              <a:t>Schlumberger Geothermal</a:t>
            </a:r>
            <a:r>
              <a:rPr lang="en-US" dirty="0">
                <a:solidFill>
                  <a:srgbClr val="000000"/>
                </a:solidFill>
              </a:rPr>
              <a:t> (Schlumberger, n.d.); </a:t>
            </a:r>
            <a:r>
              <a:rPr lang="en-US" dirty="0">
                <a:solidFill>
                  <a:srgbClr val="000000"/>
                </a:solidFill>
                <a:hlinkClick r:id="rId6"/>
              </a:rPr>
              <a:t>Schlumberger Geothermal</a:t>
            </a:r>
            <a:r>
              <a:rPr lang="en-US" dirty="0">
                <a:solidFill>
                  <a:srgbClr val="000000"/>
                </a:solidFill>
              </a:rPr>
              <a:t> (Star Energy (Indonesia) Partnership SLB, n.d.); </a:t>
            </a:r>
            <a:r>
              <a:rPr lang="en-US" dirty="0">
                <a:solidFill>
                  <a:srgbClr val="000000"/>
                </a:solidFill>
                <a:hlinkClick r:id="rId7"/>
              </a:rPr>
              <a:t>Schlumberger Geothermal</a:t>
            </a:r>
            <a:r>
              <a:rPr lang="en-US" dirty="0">
                <a:solidFill>
                  <a:srgbClr val="000000"/>
                </a:solidFill>
              </a:rPr>
              <a:t> (SLB Ormat Partnership, n.d.); </a:t>
            </a:r>
            <a:r>
              <a:rPr lang="en-US" dirty="0">
                <a:solidFill>
                  <a:srgbClr val="000000"/>
                </a:solidFill>
                <a:hlinkClick r:id="rId8"/>
              </a:rPr>
              <a:t>Schlumberger Geothermal</a:t>
            </a:r>
            <a:r>
              <a:rPr lang="en-US" dirty="0">
                <a:solidFill>
                  <a:srgbClr val="000000"/>
                </a:solidFill>
              </a:rPr>
              <a:t> (SLB Partnership Türkiye, n.d.); </a:t>
            </a:r>
            <a:r>
              <a:rPr lang="en-US" dirty="0">
                <a:solidFill>
                  <a:srgbClr val="000000"/>
                </a:solidFill>
                <a:hlinkClick r:id="rId9"/>
              </a:rPr>
              <a:t>Baker Hughes</a:t>
            </a:r>
            <a:r>
              <a:rPr lang="en-US" dirty="0">
                <a:solidFill>
                  <a:srgbClr val="000000"/>
                </a:solidFill>
              </a:rPr>
              <a:t> (Baker Hughes </a:t>
            </a:r>
            <a:r>
              <a:rPr lang="en-US" dirty="0" err="1">
                <a:solidFill>
                  <a:srgbClr val="000000"/>
                </a:solidFill>
              </a:rPr>
              <a:t>Fervo</a:t>
            </a:r>
            <a:r>
              <a:rPr lang="en-US" dirty="0">
                <a:solidFill>
                  <a:srgbClr val="000000"/>
                </a:solidFill>
              </a:rPr>
              <a:t> Selection, n.d.); </a:t>
            </a:r>
            <a:r>
              <a:rPr lang="en-US" dirty="0">
                <a:solidFill>
                  <a:srgbClr val="000000"/>
                </a:solidFill>
                <a:hlinkClick r:id="rId10"/>
              </a:rPr>
              <a:t>Baker Hughes</a:t>
            </a:r>
            <a:r>
              <a:rPr lang="en-US" dirty="0">
                <a:solidFill>
                  <a:srgbClr val="000000"/>
                </a:solidFill>
              </a:rPr>
              <a:t> (Iceland &amp; Baker Hughes, n.d.); </a:t>
            </a:r>
            <a:r>
              <a:rPr lang="en-US" dirty="0">
                <a:solidFill>
                  <a:srgbClr val="000000"/>
                </a:solidFill>
                <a:hlinkClick r:id="rId11"/>
              </a:rPr>
              <a:t>Baker Hughes</a:t>
            </a:r>
            <a:r>
              <a:rPr lang="en-US" dirty="0">
                <a:solidFill>
                  <a:srgbClr val="000000"/>
                </a:solidFill>
              </a:rPr>
              <a:t> (Baker Hughes Solutions, n.d.); </a:t>
            </a:r>
            <a:r>
              <a:rPr lang="en-US" dirty="0">
                <a:solidFill>
                  <a:srgbClr val="000000"/>
                </a:solidFill>
                <a:hlinkClick r:id="rId12"/>
              </a:rPr>
              <a:t>Baker Hughes</a:t>
            </a:r>
            <a:r>
              <a:rPr lang="en-US" dirty="0">
                <a:solidFill>
                  <a:srgbClr val="000000"/>
                </a:solidFill>
              </a:rPr>
              <a:t> (CTR Baker Hughes, n.d.); </a:t>
            </a:r>
            <a:r>
              <a:rPr lang="en-US" dirty="0">
                <a:solidFill>
                  <a:srgbClr val="000000"/>
                </a:solidFill>
                <a:hlinkClick r:id="rId13"/>
              </a:rPr>
              <a:t>Eavor</a:t>
            </a:r>
            <a:r>
              <a:rPr lang="en-US" dirty="0">
                <a:solidFill>
                  <a:srgbClr val="000000"/>
                </a:solidFill>
              </a:rPr>
              <a:t> (Halliburton </a:t>
            </a:r>
            <a:r>
              <a:rPr lang="en-US" dirty="0" err="1">
                <a:solidFill>
                  <a:srgbClr val="000000"/>
                </a:solidFill>
              </a:rPr>
              <a:t>Eavor</a:t>
            </a:r>
            <a:r>
              <a:rPr lang="en-US" dirty="0">
                <a:solidFill>
                  <a:srgbClr val="000000"/>
                </a:solidFill>
              </a:rPr>
              <a:t>, n.d.); </a:t>
            </a:r>
            <a:r>
              <a:rPr lang="en-US" dirty="0">
                <a:solidFill>
                  <a:srgbClr val="000000"/>
                </a:solidFill>
                <a:hlinkClick r:id="rId14"/>
              </a:rPr>
              <a:t>Halliburton</a:t>
            </a:r>
            <a:r>
              <a:rPr lang="en-US" dirty="0">
                <a:solidFill>
                  <a:srgbClr val="000000"/>
                </a:solidFill>
              </a:rPr>
              <a:t> (Halliburton </a:t>
            </a:r>
            <a:r>
              <a:rPr lang="en-US" dirty="0" err="1">
                <a:solidFill>
                  <a:srgbClr val="000000"/>
                </a:solidFill>
              </a:rPr>
              <a:t>Fervo</a:t>
            </a:r>
            <a:r>
              <a:rPr lang="en-US" dirty="0">
                <a:solidFill>
                  <a:srgbClr val="000000"/>
                </a:solidFill>
              </a:rPr>
              <a:t>, n.d.); </a:t>
            </a:r>
            <a:r>
              <a:rPr lang="en-US" dirty="0">
                <a:solidFill>
                  <a:srgbClr val="000000"/>
                </a:solidFill>
                <a:hlinkClick r:id="rId15"/>
              </a:rPr>
              <a:t>GeoFrame</a:t>
            </a:r>
            <a:r>
              <a:rPr lang="en-US" dirty="0">
                <a:solidFill>
                  <a:srgbClr val="000000"/>
                </a:solidFill>
              </a:rPr>
              <a:t> (Halliburton, n.d.); </a:t>
            </a:r>
            <a:r>
              <a:rPr lang="en-US" dirty="0">
                <a:solidFill>
                  <a:srgbClr val="000000"/>
                </a:solidFill>
                <a:hlinkClick r:id="rId16"/>
              </a:rPr>
              <a:t>Halliburton</a:t>
            </a:r>
            <a:r>
              <a:rPr lang="en-US" dirty="0">
                <a:solidFill>
                  <a:srgbClr val="000000"/>
                </a:solidFill>
              </a:rPr>
              <a:t> (Halliburton, n.d.); </a:t>
            </a:r>
            <a:r>
              <a:rPr lang="en-US" dirty="0">
                <a:solidFill>
                  <a:srgbClr val="000000"/>
                </a:solidFill>
                <a:hlinkClick r:id="rId17"/>
              </a:rPr>
              <a:t>Halliburton</a:t>
            </a:r>
            <a:r>
              <a:rPr lang="en-US" dirty="0">
                <a:solidFill>
                  <a:srgbClr val="000000"/>
                </a:solidFill>
              </a:rPr>
              <a:t> (Halliburton, n.d.).</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homas Smith, Zacharia Thurston, Isabel Hoyos, and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8"/>
              </a:rPr>
              <a:t>Gernot Wagner.</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9"/>
              </a:rPr>
              <a:t> 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sp>
        <p:nvSpPr>
          <p:cNvPr id="6" name="Text Placeholder 1">
            <a:extLst>
              <a:ext uri="{FF2B5EF4-FFF2-40B4-BE49-F238E27FC236}">
                <a16:creationId xmlns:a16="http://schemas.microsoft.com/office/drawing/2014/main" id="{69C6518E-CD7C-C70C-68CB-0CFF5359FE09}"/>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il &amp; gas transfer</a:t>
            </a:r>
          </a:p>
        </p:txBody>
      </p:sp>
      <p:sp>
        <p:nvSpPr>
          <p:cNvPr id="7" name="Rectangle 6">
            <a:extLst>
              <a:ext uri="{FF2B5EF4-FFF2-40B4-BE49-F238E27FC236}">
                <a16:creationId xmlns:a16="http://schemas.microsoft.com/office/drawing/2014/main" id="{21E4AEA8-1129-84C5-D8AD-ED168257F565}"/>
              </a:ext>
            </a:extLst>
          </p:cNvPr>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8" name="Table 7">
            <a:extLst>
              <a:ext uri="{FF2B5EF4-FFF2-40B4-BE49-F238E27FC236}">
                <a16:creationId xmlns:a16="http://schemas.microsoft.com/office/drawing/2014/main" id="{8EB8AD3D-3DF9-C438-7BA0-1A7B37391D72}"/>
              </a:ext>
            </a:extLst>
          </p:cNvPr>
          <p:cNvGraphicFramePr>
            <a:graphicFrameLocks noGrp="1"/>
          </p:cNvGraphicFramePr>
          <p:nvPr>
            <p:extLst>
              <p:ext uri="{D42A27DB-BD31-4B8C-83A1-F6EECF244321}">
                <p14:modId xmlns:p14="http://schemas.microsoft.com/office/powerpoint/2010/main" val="1481343282"/>
              </p:ext>
            </p:extLst>
          </p:nvPr>
        </p:nvGraphicFramePr>
        <p:xfrm>
          <a:off x="286118" y="1376557"/>
          <a:ext cx="11619763" cy="4505577"/>
        </p:xfrm>
        <a:graphic>
          <a:graphicData uri="http://schemas.openxmlformats.org/drawingml/2006/table">
            <a:tbl>
              <a:tblPr/>
              <a:tblGrid>
                <a:gridCol w="1875856">
                  <a:extLst>
                    <a:ext uri="{9D8B030D-6E8A-4147-A177-3AD203B41FA5}">
                      <a16:colId xmlns:a16="http://schemas.microsoft.com/office/drawing/2014/main" val="847480815"/>
                    </a:ext>
                  </a:extLst>
                </a:gridCol>
                <a:gridCol w="3247969">
                  <a:extLst>
                    <a:ext uri="{9D8B030D-6E8A-4147-A177-3AD203B41FA5}">
                      <a16:colId xmlns:a16="http://schemas.microsoft.com/office/drawing/2014/main" val="2885810355"/>
                    </a:ext>
                  </a:extLst>
                </a:gridCol>
                <a:gridCol w="3247969">
                  <a:extLst>
                    <a:ext uri="{9D8B030D-6E8A-4147-A177-3AD203B41FA5}">
                      <a16:colId xmlns:a16="http://schemas.microsoft.com/office/drawing/2014/main" val="1865393617"/>
                    </a:ext>
                  </a:extLst>
                </a:gridCol>
                <a:gridCol w="3247969">
                  <a:extLst>
                    <a:ext uri="{9D8B030D-6E8A-4147-A177-3AD203B41FA5}">
                      <a16:colId xmlns:a16="http://schemas.microsoft.com/office/drawing/2014/main" val="2407545084"/>
                    </a:ext>
                  </a:extLst>
                </a:gridCol>
              </a:tblGrid>
              <a:tr h="299815">
                <a:tc>
                  <a:txBody>
                    <a:bodyPr/>
                    <a:lstStyle/>
                    <a:p>
                      <a:pPr marL="0" indent="0" algn="ctr" fontAlgn="b">
                        <a:spcBef>
                          <a:spcPts val="300"/>
                        </a:spcBef>
                        <a:spcAft>
                          <a:spcPts val="300"/>
                        </a:spcAft>
                        <a:buNone/>
                      </a:pPr>
                      <a:r>
                        <a:rPr lang="en-US" sz="1400" b="1" i="0" u="none" strike="noStrike" dirty="0">
                          <a:solidFill>
                            <a:srgbClr val="000000"/>
                          </a:solidFill>
                          <a:effectLst/>
                          <a:latin typeface="Arial"/>
                          <a:cs typeface="Arial"/>
                        </a:rPr>
                        <a:t>Scale</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spcBef>
                          <a:spcPts val="300"/>
                        </a:spcBef>
                        <a:spcAft>
                          <a:spcPts val="300"/>
                        </a:spcAft>
                        <a:buNone/>
                      </a:pPr>
                      <a:r>
                        <a:rPr lang="en-US" sz="1400" b="1" i="0" u="none" strike="noStrike" dirty="0">
                          <a:solidFill>
                            <a:srgbClr val="000000"/>
                          </a:solidFill>
                          <a:effectLst/>
                          <a:latin typeface="Arial"/>
                          <a:cs typeface="Arial"/>
                        </a:rPr>
                        <a:t>Schlumberger</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spcBef>
                          <a:spcPts val="300"/>
                        </a:spcBef>
                        <a:spcAft>
                          <a:spcPts val="300"/>
                        </a:spcAft>
                        <a:buNone/>
                      </a:pPr>
                      <a:r>
                        <a:rPr lang="en-US" sz="1400" b="1" i="0" u="none" strike="noStrike" dirty="0">
                          <a:solidFill>
                            <a:srgbClr val="000000"/>
                          </a:solidFill>
                          <a:effectLst/>
                          <a:latin typeface="Arial"/>
                          <a:cs typeface="Arial"/>
                        </a:rPr>
                        <a:t>Baker Hughes</a:t>
                      </a:r>
                    </a:p>
                  </a:txBody>
                  <a:tcPr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ctr" fontAlgn="b">
                        <a:spcBef>
                          <a:spcPts val="300"/>
                        </a:spcBef>
                        <a:spcAft>
                          <a:spcPts val="300"/>
                        </a:spcAft>
                        <a:buNone/>
                      </a:pPr>
                      <a:r>
                        <a:rPr lang="en-US" sz="1400" b="1" i="0" u="none" strike="noStrike" dirty="0">
                          <a:solidFill>
                            <a:srgbClr val="000000"/>
                          </a:solidFill>
                          <a:effectLst/>
                          <a:latin typeface="Arial"/>
                          <a:cs typeface="Arial"/>
                        </a:rPr>
                        <a:t>Halliburton</a:t>
                      </a:r>
                    </a:p>
                  </a:txBody>
                  <a:tcPr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8151813"/>
                  </a:ext>
                </a:extLst>
              </a:tr>
              <a:tr h="1593725">
                <a:tc>
                  <a:txBody>
                    <a:bodyPr/>
                    <a:lstStyle/>
                    <a:p>
                      <a:pPr marL="0" indent="0" algn="l" fontAlgn="b">
                        <a:spcBef>
                          <a:spcPts val="300"/>
                        </a:spcBef>
                        <a:spcAft>
                          <a:spcPts val="300"/>
                        </a:spcAft>
                        <a:buNone/>
                      </a:pPr>
                      <a:r>
                        <a:rPr lang="en-US" sz="1400" b="1" i="0" u="none" strike="noStrike" dirty="0">
                          <a:solidFill>
                            <a:srgbClr val="000000"/>
                          </a:solidFill>
                          <a:effectLst/>
                          <a:latin typeface="Arial"/>
                          <a:cs typeface="Arial"/>
                        </a:rPr>
                        <a:t>Geothermal-Specific Capabilities</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GeothermEx, a Schlumberger subsidiary, involved in 80% of geothermal projects worldwide</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Resource exploration, development, design, construction, operations, and technical support</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Equipment: drill bits, fluid control systems, submersible pumps</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Ground source heat pum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Geothermal turbines for both steam flashing applications and lower enthalpy Organic Rankine Cycle applications</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Geothermal drilling solutions (drill bits, mud motors, wellpath controls, etc.)</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Strategic investing partner in next-gen geothermal </a:t>
                      </a:r>
                    </a:p>
                    <a:p>
                      <a:pPr marL="177800" indent="-177800" algn="l" fontAlgn="b">
                        <a:spcBef>
                          <a:spcPts val="300"/>
                        </a:spcBef>
                        <a:spcAft>
                          <a:spcPts val="300"/>
                        </a:spcAft>
                        <a:buFont typeface="Arial"/>
                        <a:buChar char="•"/>
                      </a:pPr>
                      <a:r>
                        <a:rPr lang="en-US" sz="1000" b="0" i="0" u="none" strike="noStrike" dirty="0">
                          <a:solidFill>
                            <a:srgbClr val="000000"/>
                          </a:solidFill>
                          <a:effectLst/>
                          <a:latin typeface="Arial"/>
                          <a:cs typeface="Arial"/>
                        </a:rPr>
                        <a:t>Equipment, products, and services on over 1,800 geothermal wells across 25 countri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defTabSz="711200" rtl="0" eaLnBrk="1" fontAlgn="b" latinLnBrk="0" hangingPunct="1">
                        <a:spcBef>
                          <a:spcPts val="300"/>
                        </a:spcBef>
                        <a:spcAft>
                          <a:spcPts val="300"/>
                        </a:spcAft>
                        <a:buChar char="•"/>
                      </a:pPr>
                      <a:r>
                        <a:rPr lang="en-US" sz="1000" b="0" i="0" u="none" strike="noStrike" kern="1200" dirty="0">
                          <a:solidFill>
                            <a:srgbClr val="000000"/>
                          </a:solidFill>
                          <a:effectLst/>
                          <a:latin typeface="Arial"/>
                          <a:ea typeface="+mn-ea"/>
                          <a:cs typeface="Arial"/>
                        </a:rPr>
                        <a:t>70 years of experience on global geothermal projects</a:t>
                      </a:r>
                    </a:p>
                    <a:p>
                      <a:pPr marL="177800" indent="-177800" algn="l" defTabSz="711200" rtl="0" eaLnBrk="1" fontAlgn="b" latinLnBrk="0" hangingPunct="1">
                        <a:spcBef>
                          <a:spcPts val="300"/>
                        </a:spcBef>
                        <a:spcAft>
                          <a:spcPts val="300"/>
                        </a:spcAft>
                        <a:buChar char="•"/>
                      </a:pPr>
                      <a:r>
                        <a:rPr lang="en-US" sz="1000" b="0" i="0" u="none" strike="noStrike" kern="1200" dirty="0">
                          <a:solidFill>
                            <a:srgbClr val="000000"/>
                          </a:solidFill>
                          <a:effectLst/>
                          <a:latin typeface="Arial"/>
                          <a:ea typeface="+mn-ea"/>
                          <a:cs typeface="Arial"/>
                        </a:rPr>
                        <a:t>Consulting, project management, and equipment</a:t>
                      </a:r>
                    </a:p>
                    <a:p>
                      <a:pPr marL="177800" indent="-177800" algn="l" defTabSz="711200" rtl="0" eaLnBrk="1" fontAlgn="b" latinLnBrk="0" hangingPunct="1">
                        <a:spcBef>
                          <a:spcPts val="300"/>
                        </a:spcBef>
                        <a:spcAft>
                          <a:spcPts val="300"/>
                        </a:spcAft>
                        <a:buChar char="•"/>
                      </a:pPr>
                      <a:r>
                        <a:rPr lang="en-US" sz="1000" b="0" i="0" u="none" strike="noStrike" kern="1200" dirty="0">
                          <a:solidFill>
                            <a:srgbClr val="000000"/>
                          </a:solidFill>
                          <a:effectLst/>
                          <a:latin typeface="Arial"/>
                          <a:ea typeface="+mn-ea"/>
                          <a:cs typeface="Arial"/>
                        </a:rPr>
                        <a:t>Subsurface intelligence, well construction and completion, production systems</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686812">
                <a:tc>
                  <a:txBody>
                    <a:bodyPr/>
                    <a:lstStyle/>
                    <a:p>
                      <a:pPr marL="0" indent="0" algn="l" fontAlgn="b">
                        <a:spcBef>
                          <a:spcPts val="300"/>
                        </a:spcBef>
                        <a:spcAft>
                          <a:spcPts val="300"/>
                        </a:spcAft>
                        <a:buNone/>
                      </a:pPr>
                      <a:r>
                        <a:rPr lang="en-US" sz="1400" b="1" i="0" u="none" strike="noStrike" dirty="0">
                          <a:solidFill>
                            <a:srgbClr val="000000"/>
                          </a:solidFill>
                          <a:effectLst/>
                          <a:latin typeface="Arial"/>
                          <a:cs typeface="Arial"/>
                        </a:rPr>
                        <a:t>Partnerships</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300"/>
                        </a:spcBef>
                        <a:spcAft>
                          <a:spcPts val="300"/>
                        </a:spcAft>
                        <a:buClrTx/>
                        <a:buSzTx/>
                        <a:buFontTx/>
                        <a:buNone/>
                        <a:tabLst/>
                        <a:defRPr/>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l" fontAlgn="b">
                        <a:spcBef>
                          <a:spcPts val="300"/>
                        </a:spcBef>
                        <a:spcAft>
                          <a:spcPts val="300"/>
                        </a:spcAft>
                        <a:buNone/>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177800" indent="-177800" algn="l" defTabSz="711200" rtl="0" eaLnBrk="1" fontAlgn="b" latinLnBrk="0" hangingPunct="1">
                        <a:spcBef>
                          <a:spcPts val="300"/>
                        </a:spcBef>
                        <a:spcAft>
                          <a:spcPts val="300"/>
                        </a:spcAft>
                        <a:buChar char="•"/>
                      </a:pP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814500">
                <a:tc>
                  <a:txBody>
                    <a:bodyPr/>
                    <a:lstStyle/>
                    <a:p>
                      <a:pPr marL="0" indent="0" algn="l" fontAlgn="b">
                        <a:spcBef>
                          <a:spcPts val="300"/>
                        </a:spcBef>
                        <a:spcAft>
                          <a:spcPts val="300"/>
                        </a:spcAft>
                        <a:buNone/>
                      </a:pPr>
                      <a:r>
                        <a:rPr lang="en-US" sz="1400" b="1" i="0" u="none" strike="noStrike" dirty="0">
                          <a:solidFill>
                            <a:srgbClr val="000000"/>
                          </a:solidFill>
                          <a:effectLst/>
                          <a:latin typeface="Arial"/>
                          <a:cs typeface="Arial"/>
                        </a:rPr>
                        <a:t>Achievements and Recent Progress</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300"/>
                        </a:spcBef>
                        <a:spcAft>
                          <a:spcPts val="300"/>
                        </a:spcAft>
                        <a:buClrTx/>
                        <a:buSzTx/>
                        <a:buFont typeface="Arial"/>
                        <a:buChar char="•"/>
                        <a:tabLst/>
                        <a:defRPr/>
                      </a:pPr>
                      <a:r>
                        <a:rPr lang="en-US" sz="1000" kern="1200" dirty="0">
                          <a:solidFill>
                            <a:schemeClr val="tx1"/>
                          </a:solidFill>
                          <a:latin typeface="+mn-lt"/>
                          <a:ea typeface="+mn-ea"/>
                          <a:cs typeface="+mn-cs"/>
                        </a:rPr>
                        <a:t>Selected by U.S. DOD to research geothermal electricity potential of U.S. military sites. Schlumberger will partner with Ormat to provide end-to-end geothermal power solutions.</a:t>
                      </a:r>
                    </a:p>
                    <a:p>
                      <a:pPr marL="177800" marR="0" lvl="0" indent="-177800" algn="l" defTabSz="711200" rtl="0" eaLnBrk="1" fontAlgn="b" latinLnBrk="0" hangingPunct="1">
                        <a:lnSpc>
                          <a:spcPct val="100000"/>
                        </a:lnSpc>
                        <a:spcBef>
                          <a:spcPts val="300"/>
                        </a:spcBef>
                        <a:spcAft>
                          <a:spcPts val="300"/>
                        </a:spcAft>
                        <a:buClrTx/>
                        <a:buSzTx/>
                        <a:buFont typeface="Arial"/>
                        <a:buChar char="•"/>
                        <a:tabLst/>
                        <a:defRPr/>
                      </a:pPr>
                      <a:r>
                        <a:rPr lang="en-US" sz="1000" kern="1200" dirty="0">
                          <a:solidFill>
                            <a:schemeClr val="tx1"/>
                          </a:solidFill>
                          <a:latin typeface="+mn-lt"/>
                          <a:ea typeface="+mn-ea"/>
                          <a:cs typeface="+mn-cs"/>
                        </a:rPr>
                        <a:t>Joint demonstration project in partnership with Ormat to fast-track EGS at existing Ormat site.</a:t>
                      </a:r>
                    </a:p>
                    <a:p>
                      <a:pPr marL="177800" marR="0" lvl="0" indent="-177800" algn="l" defTabSz="711200" rtl="0" eaLnBrk="1" fontAlgn="b" latinLnBrk="0" hangingPunct="1">
                        <a:lnSpc>
                          <a:spcPct val="100000"/>
                        </a:lnSpc>
                        <a:spcBef>
                          <a:spcPts val="300"/>
                        </a:spcBef>
                        <a:spcAft>
                          <a:spcPts val="300"/>
                        </a:spcAft>
                        <a:buClrTx/>
                        <a:buSzTx/>
                        <a:buFontTx/>
                        <a:buChar char="•"/>
                        <a:tabLst/>
                        <a:defRPr/>
                      </a:pPr>
                      <a:r>
                        <a:rPr lang="en-US" sz="1000" dirty="0">
                          <a:solidFill>
                            <a:schemeClr val="tx1"/>
                          </a:solidFill>
                        </a:rPr>
                        <a:t>Mount Ida Geothermal Power Plant (Türkiye): Employed Schlumberger’s electric submersible pump systems, which enabled well stimulation to increase expected output of 10 MW to actual output of 12 M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300"/>
                        </a:spcBef>
                        <a:spcAft>
                          <a:spcPts val="300"/>
                        </a:spcAft>
                        <a:buClrTx/>
                        <a:buSzTx/>
                        <a:buFont typeface="Arial"/>
                        <a:buChar char="•"/>
                        <a:tabLst/>
                        <a:defRPr/>
                      </a:pPr>
                      <a:r>
                        <a:rPr lang="en-US" sz="1000" dirty="0">
                          <a:solidFill>
                            <a:schemeClr val="tx1"/>
                          </a:solidFill>
                        </a:rPr>
                        <a:t>BH’s proprietary geothermal drilling components enabled drilling and operation of the deepest and hottest geothermal well ever drilled in Iceland (15,285 feet, max. temp 426</a:t>
                      </a:r>
                      <a:r>
                        <a:rPr lang="en-US" sz="1000" dirty="0">
                          <a:solidFill>
                            <a:schemeClr val="tx1"/>
                          </a:solidFill>
                          <a:latin typeface="Times New Roman" panose="02020603050405020304" pitchFamily="18" charset="0"/>
                          <a:cs typeface="Times New Roman" panose="02020603050405020304" pitchFamily="18" charset="0"/>
                        </a:rPr>
                        <a:t>℃</a:t>
                      </a:r>
                      <a:r>
                        <a:rPr lang="en-US" sz="1000" dirty="0">
                          <a:solidFill>
                            <a:schemeClr val="tx1"/>
                          </a:solidFill>
                        </a:rPr>
                        <a:t>).</a:t>
                      </a:r>
                    </a:p>
                    <a:p>
                      <a:pPr marL="177800" marR="0" lvl="0" indent="-177800" algn="l" defTabSz="711200" rtl="0" eaLnBrk="1" fontAlgn="b" latinLnBrk="0" hangingPunct="1">
                        <a:lnSpc>
                          <a:spcPct val="100000"/>
                        </a:lnSpc>
                        <a:spcBef>
                          <a:spcPts val="300"/>
                        </a:spcBef>
                        <a:spcAft>
                          <a:spcPts val="300"/>
                        </a:spcAft>
                        <a:buClrTx/>
                        <a:buSzTx/>
                        <a:buFont typeface="Arial"/>
                        <a:buChar char="•"/>
                        <a:tabLst/>
                        <a:defRPr/>
                      </a:pPr>
                      <a:r>
                        <a:rPr lang="en-US" sz="1000" dirty="0">
                          <a:solidFill>
                            <a:schemeClr val="tx1"/>
                          </a:solidFill>
                        </a:rPr>
                        <a:t>Selected by Fervo to design and deliver equipment for five Organic Rankine Cycle power plants at Fervo’s Cape Station power.</a:t>
                      </a:r>
                    </a:p>
                    <a:p>
                      <a:pPr marL="177800" marR="0" lvl="0" indent="-177800" algn="l" defTabSz="711200" rtl="0" eaLnBrk="1" fontAlgn="b" latinLnBrk="0" hangingPunct="1">
                        <a:lnSpc>
                          <a:spcPct val="100000"/>
                        </a:lnSpc>
                        <a:spcBef>
                          <a:spcPts val="300"/>
                        </a:spcBef>
                        <a:spcAft>
                          <a:spcPts val="300"/>
                        </a:spcAft>
                        <a:buClrTx/>
                        <a:buSzTx/>
                        <a:buFont typeface="Arial"/>
                        <a:buChar char="•"/>
                        <a:tabLst/>
                        <a:defRPr/>
                      </a:pPr>
                      <a:r>
                        <a:rPr lang="en-US" sz="1000" dirty="0">
                          <a:solidFill>
                            <a:schemeClr val="tx1"/>
                          </a:solidFill>
                        </a:rPr>
                        <a:t>Collaborating with Controlled Thermal Resources on 500 MW Hell’s Kitchen project in Califor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300"/>
                        </a:spcBef>
                        <a:spcAft>
                          <a:spcPts val="300"/>
                        </a:spcAft>
                        <a:buClrTx/>
                        <a:buSzTx/>
                        <a:buChar char="•"/>
                        <a:tabLst/>
                        <a:defRPr/>
                      </a:pPr>
                      <a:r>
                        <a:rPr lang="en-US" sz="1000" b="0" i="0" u="none" strike="noStrike" kern="1200" dirty="0">
                          <a:solidFill>
                            <a:srgbClr val="000000"/>
                          </a:solidFill>
                          <a:effectLst/>
                          <a:latin typeface="Arial"/>
                          <a:ea typeface="+mn-ea"/>
                          <a:cs typeface="Arial"/>
                        </a:rPr>
                        <a:t>Engineering and project management support to CeraPhi as it builds it’s first UK geothermal power project.</a:t>
                      </a:r>
                    </a:p>
                    <a:p>
                      <a:pPr marL="177800" marR="0" lvl="0" indent="-177800" algn="l" defTabSz="711200" rtl="0" eaLnBrk="1" fontAlgn="b" latinLnBrk="0" hangingPunct="1">
                        <a:lnSpc>
                          <a:spcPct val="100000"/>
                        </a:lnSpc>
                        <a:spcBef>
                          <a:spcPts val="300"/>
                        </a:spcBef>
                        <a:spcAft>
                          <a:spcPts val="300"/>
                        </a:spcAft>
                        <a:buClrTx/>
                        <a:buSzTx/>
                        <a:buChar char="•"/>
                        <a:tabLst/>
                        <a:defRPr/>
                      </a:pPr>
                      <a:r>
                        <a:rPr lang="en-US" sz="1000" b="0" i="0" u="none" strike="noStrike" kern="1200" dirty="0">
                          <a:solidFill>
                            <a:srgbClr val="000000"/>
                          </a:solidFill>
                          <a:effectLst/>
                          <a:latin typeface="Arial"/>
                          <a:ea typeface="+mn-ea"/>
                          <a:cs typeface="Arial"/>
                        </a:rPr>
                        <a:t>Planning and design of geothermal wells in East Texas for GeoFrame Energy. The geothermal electricity will power lithium extraction.</a:t>
                      </a:r>
                    </a:p>
                    <a:p>
                      <a:pPr marL="177800" marR="0" lvl="0" indent="-177800" algn="l" defTabSz="711200" rtl="0" eaLnBrk="1" fontAlgn="b" latinLnBrk="0" hangingPunct="1">
                        <a:lnSpc>
                          <a:spcPct val="100000"/>
                        </a:lnSpc>
                        <a:spcBef>
                          <a:spcPts val="300"/>
                        </a:spcBef>
                        <a:spcAft>
                          <a:spcPts val="300"/>
                        </a:spcAft>
                        <a:buClrTx/>
                        <a:buSzTx/>
                        <a:buChar char="•"/>
                        <a:tabLst/>
                        <a:defRPr/>
                      </a:pPr>
                      <a:r>
                        <a:rPr lang="en-US" sz="1000" b="0" i="0" u="none" strike="noStrike" kern="1200" dirty="0">
                          <a:solidFill>
                            <a:srgbClr val="000000"/>
                          </a:solidFill>
                          <a:effectLst/>
                          <a:latin typeface="Arial"/>
                          <a:ea typeface="+mn-ea"/>
                          <a:cs typeface="Arial"/>
                        </a:rPr>
                        <a:t>Custom drilling fluid solutions and cement at Fervo’s Cape Station project</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pic>
        <p:nvPicPr>
          <p:cNvPr id="9" name="Picture 2" descr="Ormat Technologies Inc. - Geothermal Power | Renewable Energy Expertise">
            <a:extLst>
              <a:ext uri="{FF2B5EF4-FFF2-40B4-BE49-F238E27FC236}">
                <a16:creationId xmlns:a16="http://schemas.microsoft.com/office/drawing/2014/main" id="{09E0B8EC-C9C7-C75A-39A5-3D8D280395A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2285732" y="3352840"/>
            <a:ext cx="420916" cy="5448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BAF1DDA-A65D-F767-3BA6-77C836F7ED84}"/>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2679433" y="3323198"/>
            <a:ext cx="953130" cy="5361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26A6C234-AD61-DFCE-B628-600EF38DF644}"/>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535483" y="3445512"/>
            <a:ext cx="602516" cy="35819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FA02BFD-B115-A160-95D8-A8D31080F15F}"/>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7109" y="3367838"/>
            <a:ext cx="478124" cy="471195"/>
          </a:xfrm>
          <a:prstGeom prst="rect">
            <a:avLst/>
          </a:prstGeom>
        </p:spPr>
      </p:pic>
      <p:pic>
        <p:nvPicPr>
          <p:cNvPr id="13" name="Picture 2">
            <a:extLst>
              <a:ext uri="{FF2B5EF4-FFF2-40B4-BE49-F238E27FC236}">
                <a16:creationId xmlns:a16="http://schemas.microsoft.com/office/drawing/2014/main" id="{C0EC208F-DFB5-4A36-A609-708CB2BB95E8}"/>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5541073" y="3382961"/>
            <a:ext cx="461078" cy="46107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Flag of Iceland | Meaning, Colors &amp; History | Britannica">
            <a:extLst>
              <a:ext uri="{FF2B5EF4-FFF2-40B4-BE49-F238E27FC236}">
                <a16:creationId xmlns:a16="http://schemas.microsoft.com/office/drawing/2014/main" id="{030B7CB8-F02A-3EC0-16C1-3B9E35861C40}"/>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244887" y="3438243"/>
            <a:ext cx="521462" cy="3806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a:extLst>
              <a:ext uri="{FF2B5EF4-FFF2-40B4-BE49-F238E27FC236}">
                <a16:creationId xmlns:a16="http://schemas.microsoft.com/office/drawing/2014/main" id="{D002CF9F-DA12-5D84-3C27-2E7AD0544A9C}"/>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7031714" y="3405047"/>
            <a:ext cx="428948" cy="42894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a:extLst>
              <a:ext uri="{FF2B5EF4-FFF2-40B4-BE49-F238E27FC236}">
                <a16:creationId xmlns:a16="http://schemas.microsoft.com/office/drawing/2014/main" id="{77B1E618-0AE2-CA19-9509-616D61E2DE2D}"/>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691354" y="3500808"/>
            <a:ext cx="646305" cy="2326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9A78BC04-1D93-E81C-B58C-4E1AD43D38A2}"/>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922294" y="3686491"/>
            <a:ext cx="646304" cy="193225"/>
          </a:xfrm>
          <a:prstGeom prst="rect">
            <a:avLst/>
          </a:prstGeom>
        </p:spPr>
      </p:pic>
      <p:pic>
        <p:nvPicPr>
          <p:cNvPr id="18" name="Picture 12">
            <a:extLst>
              <a:ext uri="{FF2B5EF4-FFF2-40B4-BE49-F238E27FC236}">
                <a16:creationId xmlns:a16="http://schemas.microsoft.com/office/drawing/2014/main" id="{BA170C9C-D64A-B0CD-D64E-353B10B33ED4}"/>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10176416" y="3571388"/>
            <a:ext cx="524916" cy="21171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AFEDE1A7-85B8-DBB5-BDBD-85321C519EB5}"/>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1184219" y="3429553"/>
            <a:ext cx="418053" cy="41805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4">
            <a:extLst>
              <a:ext uri="{FF2B5EF4-FFF2-40B4-BE49-F238E27FC236}">
                <a16:creationId xmlns:a16="http://schemas.microsoft.com/office/drawing/2014/main" id="{691A3874-6A7B-5B3A-D026-3A63400D8860}"/>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8855491" y="3362639"/>
            <a:ext cx="779910" cy="211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3443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694AA2-BDAD-3284-2BEF-0FA6534B0EBA}"/>
              </a:ext>
            </a:extLst>
          </p:cNvPr>
          <p:cNvGraphicFramePr>
            <a:graphicFrameLocks/>
          </p:cNvGraphicFramePr>
          <p:nvPr>
            <p:custDataLst>
              <p:tags r:id="rId1"/>
            </p:custDataLst>
            <p:extLst>
              <p:ext uri="{D42A27DB-BD31-4B8C-83A1-F6EECF244321}">
                <p14:modId xmlns:p14="http://schemas.microsoft.com/office/powerpoint/2010/main" val="23059886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D630DB5-7616-28A6-1CBE-B96E113AC8AF}"/>
              </a:ext>
            </a:extLst>
          </p:cNvPr>
          <p:cNvSpPr>
            <a:spLocks noGrp="1"/>
          </p:cNvSpPr>
          <p:nvPr>
            <p:ph type="body" sz="quarter" idx="13"/>
          </p:nvPr>
        </p:nvSpPr>
        <p:spPr/>
        <p:txBody>
          <a:bodyPr/>
          <a:lstStyle/>
          <a:p>
            <a:r>
              <a:rPr lang="en-US" dirty="0"/>
              <a:t>Geothermal brines can be a significant source of critical minerals</a:t>
            </a:r>
          </a:p>
        </p:txBody>
      </p:sp>
      <p:sp>
        <p:nvSpPr>
          <p:cNvPr id="3" name="Title 2">
            <a:extLst>
              <a:ext uri="{FF2B5EF4-FFF2-40B4-BE49-F238E27FC236}">
                <a16:creationId xmlns:a16="http://schemas.microsoft.com/office/drawing/2014/main" id="{B2B07C72-3F5E-1758-57B6-21E715E2B05A}"/>
              </a:ext>
            </a:extLst>
          </p:cNvPr>
          <p:cNvSpPr>
            <a:spLocks noGrp="1"/>
          </p:cNvSpPr>
          <p:nvPr>
            <p:ph type="title"/>
          </p:nvPr>
        </p:nvSpPr>
        <p:spPr/>
        <p:txBody>
          <a:bodyPr vert="horz" rIns="91440"/>
          <a:lstStyle/>
          <a:p>
            <a:r>
              <a:rPr lang="en-US" dirty="0">
                <a:ea typeface="+mj-lt"/>
                <a:cs typeface="+mj-lt"/>
              </a:rPr>
              <a:t>Mineral extraction from geothermal brines before reinjection offers an untapped domestic source for clean energy transition materials</a:t>
            </a:r>
            <a:endParaRPr lang="en-US" dirty="0"/>
          </a:p>
        </p:txBody>
      </p:sp>
      <p:sp>
        <p:nvSpPr>
          <p:cNvPr id="5" name="Footer Placeholder 4">
            <a:extLst>
              <a:ext uri="{FF2B5EF4-FFF2-40B4-BE49-F238E27FC236}">
                <a16:creationId xmlns:a16="http://schemas.microsoft.com/office/drawing/2014/main" id="{7555D56D-E5D2-C05A-C226-4D1C433E8CC0}"/>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hlinkClick r:id="rId21"/>
              </a:rPr>
              <a:t>Geothermal Brine Composition in the Salton Sea </a:t>
            </a:r>
            <a:r>
              <a:rPr lang="en-US" dirty="0">
                <a:solidFill>
                  <a:srgbClr val="000000"/>
                </a:solidFill>
              </a:rPr>
              <a:t>(California Energy Commission, 2024).</a:t>
            </a:r>
            <a:endParaRPr lang="en-US" dirty="0">
              <a:solidFill>
                <a:srgbClr val="000000"/>
              </a:solidFill>
              <a:cs typeface="Arial"/>
            </a:endParaRPr>
          </a:p>
          <a:p>
            <a:pPr marL="0" indent="0">
              <a:spcBef>
                <a:spcPts val="0"/>
              </a:spcBef>
              <a:buNone/>
              <a:defRPr/>
            </a:pPr>
            <a:r>
              <a:rPr lang="en-US" dirty="0">
                <a:solidFill>
                  <a:srgbClr val="000000"/>
                </a:solidFill>
              </a:rPr>
              <a:t>Credit: Thomas Smith, Isabel Hoyos, and </a:t>
            </a:r>
            <a:r>
              <a:rPr lang="en-US" dirty="0">
                <a:solidFill>
                  <a:srgbClr val="000000">
                    <a:tint val="82000"/>
                  </a:srgbClr>
                </a:solidFill>
                <a:hlinkClick r:id="rId22"/>
              </a:rPr>
              <a:t>Gernot Wagner.</a:t>
            </a:r>
            <a:r>
              <a:rPr lang="en-US" dirty="0">
                <a:solidFill>
                  <a:srgbClr val="000000">
                    <a:tint val="82000"/>
                  </a:srgbClr>
                </a:solidFill>
              </a:rPr>
              <a:t> </a:t>
            </a:r>
            <a:r>
              <a:rPr lang="en-US" dirty="0">
                <a:solidFill>
                  <a:srgbClr val="000000">
                    <a:tint val="82000"/>
                  </a:srgbClr>
                </a:solidFill>
                <a:hlinkClick r:id="rId23"/>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1">
            <a:extLst>
              <a:ext uri="{FF2B5EF4-FFF2-40B4-BE49-F238E27FC236}">
                <a16:creationId xmlns:a16="http://schemas.microsoft.com/office/drawing/2014/main" id="{6E4DDD93-210D-7773-EF39-5AB1070E2091}"/>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Critical minerals</a:t>
            </a:r>
          </a:p>
        </p:txBody>
      </p:sp>
      <p:cxnSp>
        <p:nvCxnSpPr>
          <p:cNvPr id="8" name="Straight Arrow Connector 7">
            <a:extLst>
              <a:ext uri="{FF2B5EF4-FFF2-40B4-BE49-F238E27FC236}">
                <a16:creationId xmlns:a16="http://schemas.microsoft.com/office/drawing/2014/main" id="{A5370644-D621-0F22-810C-476B9AA7FC95}"/>
              </a:ext>
            </a:extLst>
          </p:cNvPr>
          <p:cNvCxnSpPr>
            <a:cxnSpLocks/>
          </p:cNvCxnSpPr>
          <p:nvPr>
            <p:custDataLst>
              <p:tags r:id="rId2"/>
            </p:custDataLst>
          </p:nvPr>
        </p:nvCxnSpPr>
        <p:spPr>
          <a:xfrm flipV="1">
            <a:off x="2989775" y="2672999"/>
            <a:ext cx="1722438" cy="1014413"/>
          </a:xfrm>
          <a:prstGeom prst="straightConnector1">
            <a:avLst/>
          </a:prstGeom>
          <a:ln w="28575">
            <a:solidFill>
              <a:schemeClr val="tx1"/>
            </a:solidFill>
            <a:prstDash val="dash"/>
            <a:tailEnd type="triangle"/>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604218C6-5A18-FE76-A314-7A02F95E7BFC}"/>
              </a:ext>
            </a:extLst>
          </p:cNvPr>
          <p:cNvGrpSpPr/>
          <p:nvPr>
            <p:custDataLst>
              <p:tags r:id="rId3"/>
            </p:custDataLst>
          </p:nvPr>
        </p:nvGrpSpPr>
        <p:grpSpPr>
          <a:xfrm>
            <a:off x="1400809" y="3778250"/>
            <a:ext cx="2286000" cy="1697038"/>
            <a:chOff x="2240713" y="2034973"/>
            <a:chExt cx="2852805" cy="2282243"/>
          </a:xfrm>
        </p:grpSpPr>
        <p:sp>
          <p:nvSpPr>
            <p:cNvPr id="10" name="Овал 23">
              <a:extLst>
                <a:ext uri="{FF2B5EF4-FFF2-40B4-BE49-F238E27FC236}">
                  <a16:creationId xmlns:a16="http://schemas.microsoft.com/office/drawing/2014/main" id="{B1A5A3AB-155C-F0E7-E19E-262B98CA9BC9}"/>
                </a:ext>
              </a:extLst>
            </p:cNvPr>
            <p:cNvSpPr>
              <a:spLocks/>
            </p:cNvSpPr>
            <p:nvPr/>
          </p:nvSpPr>
          <p:spPr>
            <a:xfrm>
              <a:off x="2348713" y="2147046"/>
              <a:ext cx="2628656" cy="912897"/>
            </a:xfrm>
            <a:prstGeom prst="ellipse">
              <a:avLst/>
            </a:prstGeom>
            <a:solidFill>
              <a:schemeClr val="accent1">
                <a:lumMod val="40000"/>
                <a:lumOff val="60000"/>
              </a:schemeClr>
            </a:solidFill>
            <a:ln w="6350">
              <a:noFill/>
            </a:ln>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28" b="0" i="0" u="none" strike="noStrike" kern="1200" cap="none" spc="0" normalizeH="0" baseline="0" noProof="0" dirty="0">
                <a:ln>
                  <a:noFill/>
                </a:ln>
                <a:solidFill>
                  <a:prstClr val="white">
                    <a:hueOff val="0"/>
                    <a:satOff val="0"/>
                    <a:lumOff val="0"/>
                    <a:alphaOff val="0"/>
                  </a:prstClr>
                </a:solidFill>
                <a:effectLst/>
                <a:uLnTx/>
                <a:uFillTx/>
                <a:ea typeface="+mn-ea"/>
              </a:endParaRPr>
            </a:p>
          </p:txBody>
        </p:sp>
        <p:sp>
          <p:nvSpPr>
            <p:cNvPr id="11" name="Shape 29">
              <a:extLst>
                <a:ext uri="{FF2B5EF4-FFF2-40B4-BE49-F238E27FC236}">
                  <a16:creationId xmlns:a16="http://schemas.microsoft.com/office/drawing/2014/main" id="{7AAA89BE-6566-009B-D982-DC535349BE02}"/>
                </a:ext>
              </a:extLst>
            </p:cNvPr>
            <p:cNvSpPr>
              <a:spLocks/>
            </p:cNvSpPr>
            <p:nvPr/>
          </p:nvSpPr>
          <p:spPr>
            <a:xfrm>
              <a:off x="2240713" y="2034973"/>
              <a:ext cx="2852805" cy="2282243"/>
            </a:xfrm>
            <a:prstGeom prst="funnel">
              <a:avLst/>
            </a:prstGeom>
            <a:solidFill>
              <a:schemeClr val="tx2">
                <a:alpha val="40000"/>
              </a:schemeClr>
            </a:solidFill>
            <a:ln>
              <a:solidFill>
                <a:schemeClr val="tx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28" b="0" i="0" u="none" strike="noStrike" kern="1200" cap="none" spc="0" normalizeH="0" baseline="0" noProof="0" dirty="0">
                <a:ln>
                  <a:noFill/>
                </a:ln>
                <a:solidFill>
                  <a:prstClr val="black">
                    <a:hueOff val="0"/>
                    <a:satOff val="0"/>
                    <a:lumOff val="0"/>
                    <a:alphaOff val="0"/>
                  </a:prstClr>
                </a:solidFill>
                <a:effectLst/>
                <a:uLnTx/>
                <a:uFillTx/>
                <a:ea typeface="+mn-ea"/>
              </a:endParaRPr>
            </a:p>
          </p:txBody>
        </p:sp>
      </p:grpSp>
      <p:sp>
        <p:nvSpPr>
          <p:cNvPr id="12" name="Полилиния 17">
            <a:extLst>
              <a:ext uri="{FF2B5EF4-FFF2-40B4-BE49-F238E27FC236}">
                <a16:creationId xmlns:a16="http://schemas.microsoft.com/office/drawing/2014/main" id="{94BB0B70-D282-0421-B11A-5236C7F7FD06}"/>
              </a:ext>
            </a:extLst>
          </p:cNvPr>
          <p:cNvSpPr>
            <a:spLocks noChangeAspect="1"/>
          </p:cNvSpPr>
          <p:nvPr>
            <p:custDataLst>
              <p:tags r:id="rId4"/>
            </p:custDataLst>
          </p:nvPr>
        </p:nvSpPr>
        <p:spPr>
          <a:xfrm>
            <a:off x="2262821" y="3457575"/>
            <a:ext cx="588844" cy="588963"/>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shade val="80000"/>
              <a:hueOff val="0"/>
              <a:satOff val="0"/>
              <a:lumOff val="7064"/>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sz="1400" i="0" u="none" strike="noStrike" kern="1200" cap="none" spc="0" normalizeH="0" baseline="0" noProof="0" dirty="0">
                <a:ln>
                  <a:noFill/>
                </a:ln>
                <a:solidFill>
                  <a:schemeClr val="tx1"/>
                </a:solidFill>
                <a:effectLst/>
                <a:uLnTx/>
                <a:uFillTx/>
                <a:ea typeface="+mn-ea"/>
              </a:rPr>
              <a:t>Li</a:t>
            </a:r>
          </a:p>
        </p:txBody>
      </p:sp>
      <p:sp>
        <p:nvSpPr>
          <p:cNvPr id="13" name="Полилиния 18">
            <a:extLst>
              <a:ext uri="{FF2B5EF4-FFF2-40B4-BE49-F238E27FC236}">
                <a16:creationId xmlns:a16="http://schemas.microsoft.com/office/drawing/2014/main" id="{045CFC8F-24C6-FBB8-0F82-D22055162529}"/>
              </a:ext>
            </a:extLst>
          </p:cNvPr>
          <p:cNvSpPr>
            <a:spLocks noChangeAspect="1"/>
          </p:cNvSpPr>
          <p:nvPr>
            <p:custDataLst>
              <p:tags r:id="rId5"/>
            </p:custDataLst>
          </p:nvPr>
        </p:nvSpPr>
        <p:spPr>
          <a:xfrm>
            <a:off x="1900871" y="3844925"/>
            <a:ext cx="588844" cy="588963"/>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shade val="80000"/>
              <a:hueOff val="0"/>
              <a:satOff val="0"/>
              <a:lumOff val="14128"/>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sz="1400" i="0" u="none" strike="noStrike" kern="1200" cap="none" spc="0" normalizeH="0" baseline="0" noProof="0" dirty="0">
                <a:ln>
                  <a:noFill/>
                </a:ln>
                <a:solidFill>
                  <a:schemeClr val="tx1"/>
                </a:solidFill>
                <a:effectLst/>
                <a:uLnTx/>
                <a:uFillTx/>
                <a:ea typeface="+mn-ea"/>
              </a:rPr>
              <a:t>Mn, Cu, </a:t>
            </a:r>
            <a:r>
              <a:rPr lang="en-US" sz="1400" dirty="0">
                <a:solidFill>
                  <a:schemeClr val="tx1"/>
                </a:solidFill>
              </a:rPr>
              <a:t>Ni</a:t>
            </a:r>
            <a:endParaRPr kumimoji="0" lang="en-US" sz="1400" i="0" u="none" strike="noStrike" kern="1200" cap="none" spc="0" normalizeH="0" baseline="0" noProof="0" dirty="0">
              <a:ln>
                <a:noFill/>
              </a:ln>
              <a:solidFill>
                <a:schemeClr val="tx1"/>
              </a:solidFill>
              <a:effectLst/>
              <a:uLnTx/>
              <a:uFillTx/>
              <a:ea typeface="+mn-ea"/>
            </a:endParaRPr>
          </a:p>
        </p:txBody>
      </p:sp>
      <p:sp>
        <p:nvSpPr>
          <p:cNvPr id="14" name="Полилиния 16">
            <a:extLst>
              <a:ext uri="{FF2B5EF4-FFF2-40B4-BE49-F238E27FC236}">
                <a16:creationId xmlns:a16="http://schemas.microsoft.com/office/drawing/2014/main" id="{C19533D5-89D3-7739-C727-074AE4DF15A6}"/>
              </a:ext>
            </a:extLst>
          </p:cNvPr>
          <p:cNvSpPr>
            <a:spLocks noChangeAspect="1"/>
          </p:cNvSpPr>
          <p:nvPr>
            <p:custDataLst>
              <p:tags r:id="rId6"/>
            </p:custDataLst>
          </p:nvPr>
        </p:nvSpPr>
        <p:spPr>
          <a:xfrm>
            <a:off x="2662871" y="3844925"/>
            <a:ext cx="588844" cy="588963"/>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sz="1400" i="0" u="none" strike="noStrike" kern="1200" cap="none" spc="0" normalizeH="0" baseline="0" noProof="0" dirty="0">
                <a:ln>
                  <a:noFill/>
                </a:ln>
                <a:solidFill>
                  <a:schemeClr val="tx1"/>
                </a:solidFill>
                <a:effectLst/>
                <a:uLnTx/>
                <a:uFillTx/>
                <a:ea typeface="+mn-ea"/>
              </a:rPr>
              <a:t>REE’s</a:t>
            </a:r>
          </a:p>
        </p:txBody>
      </p:sp>
      <p:sp>
        <p:nvSpPr>
          <p:cNvPr id="15" name="Текст 26">
            <a:extLst>
              <a:ext uri="{FF2B5EF4-FFF2-40B4-BE49-F238E27FC236}">
                <a16:creationId xmlns:a16="http://schemas.microsoft.com/office/drawing/2014/main" id="{78B57957-BF33-F725-6755-F20863CC56E6}"/>
              </a:ext>
            </a:extLst>
          </p:cNvPr>
          <p:cNvSpPr txBox="1">
            <a:spLocks/>
          </p:cNvSpPr>
          <p:nvPr>
            <p:custDataLst>
              <p:tags r:id="rId7"/>
            </p:custDataLst>
          </p:nvPr>
        </p:nvSpPr>
        <p:spPr>
          <a:xfrm>
            <a:off x="1637346" y="4640263"/>
            <a:ext cx="1811338" cy="388938"/>
          </a:xfrm>
          <a:prstGeom prst="rect">
            <a:avLst/>
          </a:prstGeom>
        </p:spPr>
        <p:txBody>
          <a:bodyPr wrap="square" lIns="0" tIns="0" rIns="0" bIns="0">
            <a:spAutoFit/>
          </a:bodyPr>
          <a:lstStyle>
            <a:defPPr>
              <a:defRPr lang="en-US"/>
            </a:defPPr>
            <a:lvl1pPr marL="144000" indent="-144000" defTabSz="914400">
              <a:lnSpc>
                <a:spcPct val="100000"/>
              </a:lnSpc>
              <a:spcBef>
                <a:spcPts val="0"/>
              </a:spcBef>
              <a:buClr>
                <a:schemeClr val="accent5"/>
              </a:buClr>
              <a:buFont typeface="Wingdings" panose="05000000000000000000" pitchFamily="2" charset="2"/>
              <a:buChar char="§"/>
              <a:defRPr sz="1100"/>
            </a:lvl1pPr>
            <a:lvl2pPr marL="288000" lvl="1" indent="-144000" defTabSz="914400">
              <a:lnSpc>
                <a:spcPct val="100000"/>
              </a:lnSpc>
              <a:spcBef>
                <a:spcPts val="0"/>
              </a:spcBef>
              <a:buClr>
                <a:schemeClr val="accent5"/>
              </a:buClr>
              <a:buFont typeface="Arial" panose="020B0604020202020204" pitchFamily="34" charset="0"/>
              <a:buChar char="−"/>
              <a:defRPr sz="1100"/>
            </a:lvl2pPr>
            <a:lvl3pPr marL="432000" lvl="2" indent="-144000" defTabSz="914400">
              <a:lnSpc>
                <a:spcPct val="100000"/>
              </a:lnSpc>
              <a:spcBef>
                <a:spcPts val="0"/>
              </a:spcBef>
              <a:buClr>
                <a:schemeClr val="accent5"/>
              </a:buClr>
              <a:buFont typeface="Arial" panose="020B0604020202020204" pitchFamily="34" charset="0"/>
              <a:buChar char="▫"/>
              <a:defRPr sz="1100"/>
            </a:lvl3pPr>
            <a:lvl4pPr marL="576000" lvl="3" indent="-144000" defTabSz="914400">
              <a:lnSpc>
                <a:spcPct val="100000"/>
              </a:lnSpc>
              <a:spcBef>
                <a:spcPts val="0"/>
              </a:spcBef>
              <a:buClr>
                <a:schemeClr val="accent5"/>
              </a:buClr>
              <a:buFont typeface="Arial" panose="020B0604020202020204" pitchFamily="34" charset="0"/>
              <a:buChar char="-"/>
              <a:defRPr sz="1100"/>
            </a:lvl4pPr>
            <a:lvl5pPr marL="2057400" indent="-228600" defTabSz="914400">
              <a:lnSpc>
                <a:spcPct val="100000"/>
              </a:lnSpc>
              <a:spcBef>
                <a:spcPts val="0"/>
              </a:spcBef>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ctr" defTabSz="428809" eaLnBrk="1" fontAlgn="auto" latinLnBrk="0" hangingPunct="1">
              <a:lnSpc>
                <a:spcPct val="90000"/>
              </a:lnSpc>
              <a:spcBef>
                <a:spcPct val="0"/>
              </a:spcBef>
              <a:spcAft>
                <a:spcPct val="35000"/>
              </a:spcAft>
              <a:buClr>
                <a:srgbClr val="C0C0C0"/>
              </a:buClr>
              <a:buSzTx/>
              <a:buNone/>
              <a:tabLst/>
              <a:defRPr/>
            </a:pPr>
            <a:r>
              <a:rPr kumimoji="0" lang="en-US" sz="1400" b="0" i="0" u="none" strike="noStrike" kern="1200" cap="none" spc="0" normalizeH="0" baseline="0" noProof="0" dirty="0">
                <a:ln>
                  <a:noFill/>
                </a:ln>
                <a:solidFill>
                  <a:prstClr val="black"/>
                </a:solidFill>
                <a:effectLst/>
                <a:uLnTx/>
                <a:uFillTx/>
                <a:ea typeface="+mn-ea"/>
              </a:rPr>
              <a:t>Geothermal brine </a:t>
            </a:r>
            <a:r>
              <a:rPr lang="en-US" sz="1400" dirty="0">
                <a:solidFill>
                  <a:prstClr val="black"/>
                </a:solidFill>
              </a:rPr>
              <a:t>c</a:t>
            </a:r>
            <a:r>
              <a:rPr kumimoji="0" lang="en-US" sz="1400" b="0" i="0" u="none" strike="noStrike" kern="1200" cap="none" spc="0" normalizeH="0" baseline="0" noProof="0" dirty="0">
                <a:ln>
                  <a:noFill/>
                </a:ln>
                <a:solidFill>
                  <a:prstClr val="black"/>
                </a:solidFill>
                <a:effectLst/>
                <a:uLnTx/>
                <a:uFillTx/>
                <a:ea typeface="+mn-ea"/>
              </a:rPr>
              <a:t>hemistry</a:t>
            </a:r>
          </a:p>
        </p:txBody>
      </p:sp>
      <p:pic>
        <p:nvPicPr>
          <p:cNvPr id="16" name="Graphic 15" descr="Factory outline">
            <a:extLst>
              <a:ext uri="{FF2B5EF4-FFF2-40B4-BE49-F238E27FC236}">
                <a16:creationId xmlns:a16="http://schemas.microsoft.com/office/drawing/2014/main" id="{9EE87410-3638-12A3-982C-B926E0189F1B}"/>
              </a:ext>
            </a:extLst>
          </p:cNvPr>
          <p:cNvPicPr>
            <a:picLocks noChangeAspect="1"/>
          </p:cNvPicPr>
          <p:nvPr>
            <p:custDataLst>
              <p:tags r:id="rId8"/>
            </p:custDataLst>
          </p:nvPr>
        </p:nvPicPr>
        <p:blipFill>
          <a:blip r:embed="rId24">
            <a:extLst>
              <a:ext uri="{96DAC541-7B7A-43D3-8B79-37D633B846F1}">
                <asvg:svgBlip xmlns:asvg="http://schemas.microsoft.com/office/drawing/2016/SVG/main" r:embed="rId25"/>
              </a:ext>
            </a:extLst>
          </a:blip>
          <a:stretch>
            <a:fillRect/>
          </a:stretch>
        </p:blipFill>
        <p:spPr>
          <a:xfrm>
            <a:off x="4891578" y="2959927"/>
            <a:ext cx="769806" cy="842197"/>
          </a:xfrm>
          <a:prstGeom prst="rect">
            <a:avLst/>
          </a:prstGeom>
        </p:spPr>
      </p:pic>
      <p:sp>
        <p:nvSpPr>
          <p:cNvPr id="17" name="Can 426">
            <a:extLst>
              <a:ext uri="{FF2B5EF4-FFF2-40B4-BE49-F238E27FC236}">
                <a16:creationId xmlns:a16="http://schemas.microsoft.com/office/drawing/2014/main" id="{6B43A471-A20B-6FE4-93CF-D5EA532CB87F}"/>
              </a:ext>
            </a:extLst>
          </p:cNvPr>
          <p:cNvSpPr/>
          <p:nvPr>
            <p:custDataLst>
              <p:tags r:id="rId9"/>
            </p:custDataLst>
          </p:nvPr>
        </p:nvSpPr>
        <p:spPr bwMode="gray">
          <a:xfrm>
            <a:off x="1259162" y="3950494"/>
            <a:ext cx="136525" cy="1819275"/>
          </a:xfrm>
          <a:prstGeom prst="can">
            <a:avLst/>
          </a:prstGeom>
          <a:solidFill>
            <a:srgbClr val="C00000"/>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cs typeface="Arial"/>
            </a:endParaRPr>
          </a:p>
        </p:txBody>
      </p:sp>
      <p:sp>
        <p:nvSpPr>
          <p:cNvPr id="18" name="Can 426">
            <a:extLst>
              <a:ext uri="{FF2B5EF4-FFF2-40B4-BE49-F238E27FC236}">
                <a16:creationId xmlns:a16="http://schemas.microsoft.com/office/drawing/2014/main" id="{5B735A32-EBB7-9898-ACE5-32715E6AD51E}"/>
              </a:ext>
            </a:extLst>
          </p:cNvPr>
          <p:cNvSpPr/>
          <p:nvPr>
            <p:custDataLst>
              <p:tags r:id="rId10"/>
            </p:custDataLst>
          </p:nvPr>
        </p:nvSpPr>
        <p:spPr bwMode="gray">
          <a:xfrm rot="10800000">
            <a:off x="3699399" y="3950494"/>
            <a:ext cx="120650" cy="1819656"/>
          </a:xfrm>
          <a:prstGeom prst="can">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cs typeface="Arial"/>
            </a:endParaRPr>
          </a:p>
        </p:txBody>
      </p:sp>
      <p:pic>
        <p:nvPicPr>
          <p:cNvPr id="19" name="Graphic 18" descr="Electric Tower with solid fill">
            <a:extLst>
              <a:ext uri="{FF2B5EF4-FFF2-40B4-BE49-F238E27FC236}">
                <a16:creationId xmlns:a16="http://schemas.microsoft.com/office/drawing/2014/main" id="{2F6AD104-4F9E-1A3C-9B7E-ABAAEB93B9C4}"/>
              </a:ext>
            </a:extLst>
          </p:cNvPr>
          <p:cNvPicPr>
            <a:picLocks noChangeAspect="1"/>
          </p:cNvPicPr>
          <p:nvPr>
            <p:custDataLst>
              <p:tags r:id="rId11"/>
            </p:custDataLst>
          </p:nvPr>
        </p:nvPicPr>
        <p:blipFill>
          <a:blip r:embed="rId26">
            <a:extLst>
              <a:ext uri="{96DAC541-7B7A-43D3-8B79-37D633B846F1}">
                <asvg:svgBlip xmlns:asvg="http://schemas.microsoft.com/office/drawing/2016/SVG/main" r:embed="rId27"/>
              </a:ext>
            </a:extLst>
          </a:blip>
          <a:stretch>
            <a:fillRect/>
          </a:stretch>
        </p:blipFill>
        <p:spPr>
          <a:xfrm>
            <a:off x="5740236" y="2915268"/>
            <a:ext cx="528531" cy="528638"/>
          </a:xfrm>
          <a:prstGeom prst="rect">
            <a:avLst/>
          </a:prstGeom>
        </p:spPr>
      </p:pic>
      <p:pic>
        <p:nvPicPr>
          <p:cNvPr id="20" name="Picture 2" descr="10,972 Battery Storage Icon Stock Vectors and Vector Art | Shutterstock">
            <a:extLst>
              <a:ext uri="{FF2B5EF4-FFF2-40B4-BE49-F238E27FC236}">
                <a16:creationId xmlns:a16="http://schemas.microsoft.com/office/drawing/2014/main" id="{B3F8446E-F3A4-11A4-CD44-58953439F9D6}"/>
              </a:ext>
            </a:extLst>
          </p:cNvPr>
          <p:cNvPicPr>
            <a:picLocks noChangeAspect="1" noChangeArrowheads="1"/>
          </p:cNvPicPr>
          <p:nvPr>
            <p:custDataLst>
              <p:tags r:id="rId12"/>
            </p:custDataLst>
          </p:nvPr>
        </p:nvPicPr>
        <p:blipFill rotWithShape="1">
          <a:blip r:embed="rId28" cstate="screen">
            <a:extLst>
              <a:ext uri="{28A0092B-C50C-407E-A947-70E740481C1C}">
                <a14:useLocalDpi xmlns:a14="http://schemas.microsoft.com/office/drawing/2010/main"/>
              </a:ext>
            </a:extLst>
          </a:blip>
          <a:srcRect/>
          <a:stretch/>
        </p:blipFill>
        <p:spPr bwMode="auto">
          <a:xfrm>
            <a:off x="4870131" y="2276056"/>
            <a:ext cx="1020426" cy="62026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D0D53BA7-11E5-A227-1AA3-946A26DB4732}"/>
              </a:ext>
            </a:extLst>
          </p:cNvPr>
          <p:cNvSpPr txBox="1"/>
          <p:nvPr>
            <p:custDataLst>
              <p:tags r:id="rId13"/>
            </p:custDataLst>
          </p:nvPr>
        </p:nvSpPr>
        <p:spPr bwMode="gray">
          <a:xfrm rot="19747157">
            <a:off x="2466021" y="2657299"/>
            <a:ext cx="2146300" cy="503590"/>
          </a:xfrm>
          <a:prstGeom prst="rect">
            <a:avLst/>
          </a:prstGeom>
          <a:noFill/>
        </p:spPr>
        <p:txBody>
          <a:bodyPr wrap="square" lIns="36000" tIns="36000" rIns="36000" bIns="36000" rtlCol="0" anchor="t">
            <a:spAutoFit/>
          </a:bodyPr>
          <a:lstStyle/>
          <a:p>
            <a:pPr marL="0" indent="0" algn="ctr">
              <a:buNone/>
            </a:pPr>
            <a:r>
              <a:rPr lang="en-US" sz="1400" b="1" dirty="0"/>
              <a:t>Mineral extraction opportunity</a:t>
            </a:r>
            <a:endParaRPr lang="en-US" sz="1400" b="1" dirty="0">
              <a:cs typeface="Arial"/>
            </a:endParaRPr>
          </a:p>
        </p:txBody>
      </p:sp>
      <p:sp>
        <p:nvSpPr>
          <p:cNvPr id="22" name="TextBox 21">
            <a:extLst>
              <a:ext uri="{FF2B5EF4-FFF2-40B4-BE49-F238E27FC236}">
                <a16:creationId xmlns:a16="http://schemas.microsoft.com/office/drawing/2014/main" id="{31743BAF-EFCD-18EB-59FF-C6DA1D1B4BF6}"/>
              </a:ext>
            </a:extLst>
          </p:cNvPr>
          <p:cNvSpPr txBox="1"/>
          <p:nvPr>
            <p:custDataLst>
              <p:tags r:id="rId14"/>
            </p:custDataLst>
          </p:nvPr>
        </p:nvSpPr>
        <p:spPr bwMode="gray">
          <a:xfrm>
            <a:off x="4639748" y="4479188"/>
            <a:ext cx="1266825" cy="719034"/>
          </a:xfrm>
          <a:prstGeom prst="rect">
            <a:avLst/>
          </a:prstGeom>
          <a:noFill/>
        </p:spPr>
        <p:txBody>
          <a:bodyPr wrap="square" lIns="36000" tIns="36000" rIns="36000" bIns="36000" rtlCol="0" anchor="t">
            <a:spAutoFit/>
          </a:bodyPr>
          <a:lstStyle/>
          <a:p>
            <a:pPr marL="0" indent="0" algn="ctr">
              <a:spcBef>
                <a:spcPts val="0"/>
              </a:spcBef>
              <a:buNone/>
            </a:pPr>
            <a:r>
              <a:rPr lang="en-US" sz="1400" b="1" dirty="0"/>
              <a:t>Reinjected minerals</a:t>
            </a:r>
            <a:endParaRPr lang="en-US" sz="1400" b="1" dirty="0">
              <a:cs typeface="Arial"/>
            </a:endParaRPr>
          </a:p>
          <a:p>
            <a:pPr marL="0" indent="0" algn="ctr">
              <a:spcBef>
                <a:spcPts val="0"/>
              </a:spcBef>
              <a:buNone/>
            </a:pPr>
            <a:r>
              <a:rPr lang="en-US" sz="1400" b="1" dirty="0"/>
              <a:t>(status quo)</a:t>
            </a:r>
            <a:endParaRPr lang="en-US" sz="1400" b="1" dirty="0">
              <a:cs typeface="Arial"/>
            </a:endParaRPr>
          </a:p>
        </p:txBody>
      </p:sp>
      <p:sp>
        <p:nvSpPr>
          <p:cNvPr id="23" name="Полилиния 17">
            <a:extLst>
              <a:ext uri="{FF2B5EF4-FFF2-40B4-BE49-F238E27FC236}">
                <a16:creationId xmlns:a16="http://schemas.microsoft.com/office/drawing/2014/main" id="{7D60F208-B7F4-14FE-28E5-FE5503657D04}"/>
              </a:ext>
            </a:extLst>
          </p:cNvPr>
          <p:cNvSpPr>
            <a:spLocks noChangeAspect="1"/>
          </p:cNvSpPr>
          <p:nvPr>
            <p:custDataLst>
              <p:tags r:id="rId15"/>
            </p:custDataLst>
          </p:nvPr>
        </p:nvSpPr>
        <p:spPr>
          <a:xfrm>
            <a:off x="3859763" y="4338637"/>
            <a:ext cx="585216" cy="585216"/>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shade val="80000"/>
              <a:hueOff val="0"/>
              <a:satOff val="0"/>
              <a:lumOff val="7064"/>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i="0" u="none" strike="noStrike" kern="1200" cap="none" spc="0" normalizeH="0" baseline="0" noProof="0" dirty="0">
                <a:ln>
                  <a:noFill/>
                </a:ln>
                <a:solidFill>
                  <a:schemeClr val="tx1"/>
                </a:solidFill>
                <a:effectLst/>
                <a:uLnTx/>
                <a:uFillTx/>
                <a:ea typeface="+mn-ea"/>
              </a:rPr>
              <a:t>Li</a:t>
            </a:r>
          </a:p>
        </p:txBody>
      </p:sp>
      <p:sp>
        <p:nvSpPr>
          <p:cNvPr id="24" name="Полилиния 18">
            <a:extLst>
              <a:ext uri="{FF2B5EF4-FFF2-40B4-BE49-F238E27FC236}">
                <a16:creationId xmlns:a16="http://schemas.microsoft.com/office/drawing/2014/main" id="{99CA6419-DAB9-D06C-E332-1D2FA9F5849F}"/>
              </a:ext>
            </a:extLst>
          </p:cNvPr>
          <p:cNvSpPr>
            <a:spLocks noChangeAspect="1"/>
          </p:cNvSpPr>
          <p:nvPr>
            <p:custDataLst>
              <p:tags r:id="rId16"/>
            </p:custDataLst>
          </p:nvPr>
        </p:nvSpPr>
        <p:spPr>
          <a:xfrm>
            <a:off x="3859764" y="4841875"/>
            <a:ext cx="585216" cy="585216"/>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shade val="80000"/>
              <a:hueOff val="0"/>
              <a:satOff val="0"/>
              <a:lumOff val="14128"/>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sz="1400" i="0" u="none" strike="noStrike" kern="1200" cap="none" spc="0" normalizeH="0" baseline="0" noProof="0" dirty="0">
                <a:ln>
                  <a:noFill/>
                </a:ln>
                <a:solidFill>
                  <a:schemeClr val="tx1"/>
                </a:solidFill>
                <a:effectLst/>
                <a:uLnTx/>
                <a:uFillTx/>
                <a:ea typeface="+mn-ea"/>
              </a:rPr>
              <a:t>Mn, Cu, </a:t>
            </a:r>
            <a:r>
              <a:rPr lang="en-US" sz="1400" dirty="0">
                <a:solidFill>
                  <a:schemeClr val="tx1"/>
                </a:solidFill>
              </a:rPr>
              <a:t>Ni</a:t>
            </a:r>
            <a:endParaRPr kumimoji="0" lang="en-US" sz="1400" i="0" u="none" strike="noStrike" kern="1200" cap="none" spc="0" normalizeH="0" baseline="0" noProof="0" dirty="0">
              <a:ln>
                <a:noFill/>
              </a:ln>
              <a:solidFill>
                <a:schemeClr val="tx1"/>
              </a:solidFill>
              <a:effectLst/>
              <a:uLnTx/>
              <a:uFillTx/>
              <a:ea typeface="+mn-ea"/>
            </a:endParaRPr>
          </a:p>
        </p:txBody>
      </p:sp>
      <p:sp>
        <p:nvSpPr>
          <p:cNvPr id="25" name="Полилиния 16">
            <a:extLst>
              <a:ext uri="{FF2B5EF4-FFF2-40B4-BE49-F238E27FC236}">
                <a16:creationId xmlns:a16="http://schemas.microsoft.com/office/drawing/2014/main" id="{E54E0037-A00F-E233-E532-C997C969A0EC}"/>
              </a:ext>
            </a:extLst>
          </p:cNvPr>
          <p:cNvSpPr>
            <a:spLocks noChangeAspect="1"/>
          </p:cNvSpPr>
          <p:nvPr>
            <p:custDataLst>
              <p:tags r:id="rId17"/>
            </p:custDataLst>
          </p:nvPr>
        </p:nvSpPr>
        <p:spPr>
          <a:xfrm>
            <a:off x="3859764" y="5343525"/>
            <a:ext cx="585216" cy="585216"/>
          </a:xfrm>
          <a:custGeom>
            <a:avLst/>
            <a:gdLst>
              <a:gd name="connsiteX0" fmla="*/ 0 w 849510"/>
              <a:gd name="connsiteY0" fmla="*/ 424755 h 849510"/>
              <a:gd name="connsiteX1" fmla="*/ 424755 w 849510"/>
              <a:gd name="connsiteY1" fmla="*/ 0 h 849510"/>
              <a:gd name="connsiteX2" fmla="*/ 849510 w 849510"/>
              <a:gd name="connsiteY2" fmla="*/ 424755 h 849510"/>
              <a:gd name="connsiteX3" fmla="*/ 424755 w 849510"/>
              <a:gd name="connsiteY3" fmla="*/ 849510 h 849510"/>
              <a:gd name="connsiteX4" fmla="*/ 0 w 849510"/>
              <a:gd name="connsiteY4" fmla="*/ 424755 h 849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10" h="849510">
                <a:moveTo>
                  <a:pt x="0" y="424755"/>
                </a:moveTo>
                <a:cubicBezTo>
                  <a:pt x="0" y="190169"/>
                  <a:pt x="190169" y="0"/>
                  <a:pt x="424755" y="0"/>
                </a:cubicBezTo>
                <a:cubicBezTo>
                  <a:pt x="659341" y="0"/>
                  <a:pt x="849510" y="190169"/>
                  <a:pt x="849510" y="424755"/>
                </a:cubicBezTo>
                <a:cubicBezTo>
                  <a:pt x="849510" y="659341"/>
                  <a:pt x="659341" y="849510"/>
                  <a:pt x="424755" y="849510"/>
                </a:cubicBezTo>
                <a:cubicBezTo>
                  <a:pt x="190169" y="849510"/>
                  <a:pt x="0" y="659341"/>
                  <a:pt x="0" y="424755"/>
                </a:cubicBezTo>
                <a:close/>
              </a:path>
            </a:pathLst>
          </a:custGeom>
          <a:solidFill>
            <a:schemeClr val="accent2">
              <a:lumMod val="10000"/>
              <a:lumOff val="90000"/>
            </a:schemeClr>
          </a:solidFill>
          <a:ln w="63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428809" eaLnBrk="1" fontAlgn="auto" latinLnBrk="0" hangingPunct="1">
              <a:lnSpc>
                <a:spcPct val="90000"/>
              </a:lnSpc>
              <a:spcBef>
                <a:spcPct val="0"/>
              </a:spcBef>
              <a:spcAft>
                <a:spcPct val="35000"/>
              </a:spcAft>
              <a:buClrTx/>
              <a:buSzTx/>
              <a:buFontTx/>
              <a:buNone/>
              <a:tabLst/>
              <a:defRPr/>
            </a:pPr>
            <a:r>
              <a:rPr kumimoji="0" lang="en-US" sz="1200" i="0" u="none" strike="noStrike" kern="1200" cap="none" spc="0" normalizeH="0" baseline="0" noProof="0" dirty="0">
                <a:ln>
                  <a:noFill/>
                </a:ln>
                <a:solidFill>
                  <a:schemeClr val="tx1"/>
                </a:solidFill>
                <a:effectLst/>
                <a:uLnTx/>
                <a:uFillTx/>
                <a:ea typeface="+mn-ea"/>
              </a:rPr>
              <a:t>REEs</a:t>
            </a:r>
            <a:endParaRPr kumimoji="0" lang="en-US" sz="1400" i="0" u="none" strike="noStrike" kern="1200" cap="none" spc="0" normalizeH="0" baseline="0" noProof="0" dirty="0">
              <a:ln>
                <a:noFill/>
              </a:ln>
              <a:solidFill>
                <a:schemeClr val="tx1"/>
              </a:solidFill>
              <a:effectLst/>
              <a:uLnTx/>
              <a:uFillTx/>
              <a:ea typeface="+mn-ea"/>
            </a:endParaRPr>
          </a:p>
        </p:txBody>
      </p:sp>
      <p:sp>
        <p:nvSpPr>
          <p:cNvPr id="27" name="Textplatzhalter 2">
            <a:extLst>
              <a:ext uri="{FF2B5EF4-FFF2-40B4-BE49-F238E27FC236}">
                <a16:creationId xmlns:a16="http://schemas.microsoft.com/office/drawing/2014/main" id="{8942F6B5-E942-96FB-49E4-B4593FDAEBDB}"/>
              </a:ext>
            </a:extLst>
          </p:cNvPr>
          <p:cNvSpPr txBox="1">
            <a:spLocks/>
          </p:cNvSpPr>
          <p:nvPr/>
        </p:nvSpPr>
        <p:spPr>
          <a:xfrm>
            <a:off x="8256192" y="4928247"/>
            <a:ext cx="3489166" cy="1415772"/>
          </a:xfrm>
          <a:prstGeom prst="rect">
            <a:avLst/>
          </a:prstGeom>
        </p:spPr>
        <p:txBody>
          <a:bodyPr wrap="square" lIns="0" tIns="0" rIns="0" bIns="0" anchor="t">
            <a:spAutoFit/>
          </a:bodyPr>
          <a:lstStyle>
            <a:lvl1pPr marL="18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200"/>
              </a:spcAft>
              <a:buClr>
                <a:srgbClr val="454545"/>
              </a:buClr>
              <a:buSzTx/>
              <a:buFont typeface="Wingdings" panose="05000000000000000000" pitchFamily="2" charset="2"/>
              <a:buNone/>
              <a:tabLst/>
              <a:defRPr/>
            </a:pPr>
            <a:r>
              <a:rPr kumimoji="0" lang="en-US" sz="1200" i="0" u="none" strike="noStrike" kern="1200" cap="none" spc="0" normalizeH="0" baseline="0" noProof="0" dirty="0">
                <a:ln>
                  <a:noFill/>
                </a:ln>
                <a:solidFill>
                  <a:schemeClr val="tx1"/>
                </a:solidFill>
                <a:effectLst/>
                <a:uLnTx/>
                <a:uFillTx/>
                <a:latin typeface="+mn-lt"/>
                <a:ea typeface="+mn-ea"/>
                <a:cs typeface="+mn-cs"/>
              </a:rPr>
              <a:t>Technology </a:t>
            </a:r>
            <a:r>
              <a:rPr kumimoji="0" lang="en-US" sz="1200" b="1" i="0" u="none" strike="noStrike" kern="1200" cap="none" spc="0" normalizeH="0" baseline="0" noProof="0" dirty="0">
                <a:ln>
                  <a:noFill/>
                </a:ln>
                <a:solidFill>
                  <a:schemeClr val="tx1"/>
                </a:solidFill>
                <a:effectLst/>
                <a:uLnTx/>
                <a:uFillTx/>
                <a:latin typeface="+mn-lt"/>
                <a:ea typeface="+mn-ea"/>
                <a:cs typeface="+mn-cs"/>
              </a:rPr>
              <a:t>integration and compatibility </a:t>
            </a:r>
            <a:r>
              <a:rPr kumimoji="0" lang="en-US" sz="1200" i="0" u="none" strike="noStrike" kern="1200" cap="none" spc="0" normalizeH="0" baseline="0" noProof="0" dirty="0">
                <a:ln>
                  <a:noFill/>
                </a:ln>
                <a:solidFill>
                  <a:schemeClr val="tx1"/>
                </a:solidFill>
                <a:effectLst/>
                <a:uLnTx/>
                <a:uFillTx/>
                <a:latin typeface="+mn-lt"/>
                <a:ea typeface="+mn-ea"/>
                <a:cs typeface="+mn-cs"/>
              </a:rPr>
              <a:t>of DLE efficiency and brine chemistry vary across sites.</a:t>
            </a:r>
            <a:endParaRPr lang="en-US" sz="1200" dirty="0">
              <a:solidFill>
                <a:schemeClr val="tx1"/>
              </a:solidFill>
              <a:latin typeface="+mn-lt"/>
              <a:cs typeface="+mn-cs"/>
            </a:endParaRPr>
          </a:p>
          <a:p>
            <a:pPr marL="0" marR="0" lvl="0" indent="0" algn="l" defTabSz="914400" eaLnBrk="1" fontAlgn="auto" latinLnBrk="0" hangingPunct="1">
              <a:lnSpc>
                <a:spcPct val="100000"/>
              </a:lnSpc>
              <a:spcBef>
                <a:spcPts val="0"/>
              </a:spcBef>
              <a:spcAft>
                <a:spcPts val="1200"/>
              </a:spcAft>
              <a:buClr>
                <a:srgbClr val="454545"/>
              </a:buClr>
              <a:buSzTx/>
              <a:buFont typeface="Wingdings" panose="05000000000000000000" pitchFamily="2" charset="2"/>
              <a:buNone/>
              <a:tabLst/>
              <a:defRPr/>
            </a:pPr>
            <a:r>
              <a:rPr kumimoji="0" lang="en-US" sz="1200" i="0" u="none" strike="noStrike" kern="1200" cap="none" spc="0" normalizeH="0" baseline="0" noProof="0" dirty="0">
                <a:ln>
                  <a:noFill/>
                </a:ln>
                <a:solidFill>
                  <a:schemeClr val="tx1"/>
                </a:solidFill>
                <a:effectLst/>
                <a:uLnTx/>
                <a:uFillTx/>
                <a:latin typeface="+mn-lt"/>
                <a:ea typeface="+mn-ea"/>
                <a:cs typeface="+mn-cs"/>
              </a:rPr>
              <a:t>Mineral recovery may </a:t>
            </a:r>
            <a:r>
              <a:rPr kumimoji="0" lang="en-US" sz="1200" b="1" i="0" u="none" strike="noStrike" kern="1200" cap="none" spc="0" normalizeH="0" baseline="0" noProof="0" dirty="0">
                <a:ln>
                  <a:noFill/>
                </a:ln>
                <a:solidFill>
                  <a:schemeClr val="tx1"/>
                </a:solidFill>
                <a:effectLst/>
                <a:uLnTx/>
                <a:uFillTx/>
                <a:latin typeface="+mn-lt"/>
                <a:ea typeface="+mn-ea"/>
                <a:cs typeface="+mn-cs"/>
              </a:rPr>
              <a:t>disrupt flow rates, scaling, or reinjection balance</a:t>
            </a:r>
            <a:r>
              <a:rPr kumimoji="0" lang="en-US" sz="1200" i="0" u="none" strike="noStrike" kern="1200" cap="none" spc="0" normalizeH="0" baseline="0" noProof="0" dirty="0">
                <a:ln>
                  <a:noFill/>
                </a:ln>
                <a:solidFill>
                  <a:schemeClr val="tx1"/>
                </a:solidFill>
                <a:effectLst/>
                <a:uLnTx/>
                <a:uFillTx/>
                <a:latin typeface="+mn-lt"/>
                <a:ea typeface="+mn-ea"/>
                <a:cs typeface="+mn-cs"/>
              </a:rPr>
              <a:t>.</a:t>
            </a:r>
            <a:endParaRPr lang="en-US" sz="1200" dirty="0">
              <a:solidFill>
                <a:schemeClr val="tx1"/>
              </a:solidFill>
              <a:latin typeface="+mn-lt"/>
              <a:cs typeface="Arial"/>
            </a:endParaRPr>
          </a:p>
          <a:p>
            <a:pPr marL="0" indent="0">
              <a:spcAft>
                <a:spcPts val="1200"/>
              </a:spcAft>
              <a:buNone/>
              <a:defRPr/>
            </a:pPr>
            <a:r>
              <a:rPr lang="en-US" sz="1200" b="1" dirty="0">
                <a:solidFill>
                  <a:schemeClr val="tx1"/>
                </a:solidFill>
                <a:latin typeface="+mn-lt"/>
                <a:cs typeface="+mn-cs"/>
              </a:rPr>
              <a:t>High </a:t>
            </a:r>
            <a:r>
              <a:rPr kumimoji="0" lang="en-US" sz="1200" b="1" i="0" u="none" strike="noStrike" kern="1200" cap="none" spc="0" normalizeH="0" baseline="0" noProof="0" dirty="0">
                <a:ln>
                  <a:noFill/>
                </a:ln>
                <a:solidFill>
                  <a:schemeClr val="tx1"/>
                </a:solidFill>
                <a:effectLst/>
                <a:uLnTx/>
                <a:uFillTx/>
                <a:latin typeface="+mn-lt"/>
                <a:ea typeface="+mn-ea"/>
                <a:cs typeface="+mn-cs"/>
              </a:rPr>
              <a:t>CapEx and unclear revenue </a:t>
            </a:r>
            <a:r>
              <a:rPr lang="en-US" sz="1200" b="1" dirty="0">
                <a:solidFill>
                  <a:schemeClr val="tx1"/>
                </a:solidFill>
                <a:latin typeface="+mn-lt"/>
                <a:cs typeface="+mn-cs"/>
              </a:rPr>
              <a:t>streams </a:t>
            </a:r>
            <a:r>
              <a:rPr lang="en-US" sz="1200" dirty="0">
                <a:solidFill>
                  <a:schemeClr val="tx1"/>
                </a:solidFill>
                <a:latin typeface="+mn-lt"/>
                <a:cs typeface="+mn-cs"/>
              </a:rPr>
              <a:t>make prioritization difficult.</a:t>
            </a:r>
            <a:endParaRPr lang="en-US" sz="1200" i="0" u="none" strike="noStrike" kern="1200" cap="none" spc="0" normalizeH="0" baseline="0" noProof="0" dirty="0">
              <a:ln>
                <a:noFill/>
              </a:ln>
              <a:solidFill>
                <a:schemeClr val="tx1"/>
              </a:solidFill>
              <a:effectLst/>
              <a:uLnTx/>
              <a:uFillTx/>
              <a:latin typeface="+mn-lt"/>
              <a:cs typeface="Arial"/>
            </a:endParaRPr>
          </a:p>
        </p:txBody>
      </p:sp>
      <p:grpSp>
        <p:nvGrpSpPr>
          <p:cNvPr id="28" name="Group 27">
            <a:extLst>
              <a:ext uri="{FF2B5EF4-FFF2-40B4-BE49-F238E27FC236}">
                <a16:creationId xmlns:a16="http://schemas.microsoft.com/office/drawing/2014/main" id="{5A312D81-B300-AA1E-F533-5840A2CA30ED}"/>
              </a:ext>
            </a:extLst>
          </p:cNvPr>
          <p:cNvGrpSpPr/>
          <p:nvPr/>
        </p:nvGrpSpPr>
        <p:grpSpPr>
          <a:xfrm>
            <a:off x="7658399" y="2142196"/>
            <a:ext cx="4208463" cy="4226973"/>
            <a:chOff x="242947" y="1601624"/>
            <a:chExt cx="4208463" cy="4697174"/>
          </a:xfrm>
        </p:grpSpPr>
        <p:sp>
          <p:nvSpPr>
            <p:cNvPr id="29" name="Rectangle 28">
              <a:extLst>
                <a:ext uri="{FF2B5EF4-FFF2-40B4-BE49-F238E27FC236}">
                  <a16:creationId xmlns:a16="http://schemas.microsoft.com/office/drawing/2014/main" id="{D64E8744-2FA6-DE9D-2C43-820B2401BB27}"/>
                </a:ext>
              </a:extLst>
            </p:cNvPr>
            <p:cNvSpPr/>
            <p:nvPr/>
          </p:nvSpPr>
          <p:spPr bwMode="gray">
            <a:xfrm>
              <a:off x="242947" y="4138384"/>
              <a:ext cx="4208463" cy="30309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200" b="1" dirty="0">
                  <a:solidFill>
                    <a:schemeClr val="tx1"/>
                  </a:solidFill>
                </a:rPr>
                <a:t>Challenges</a:t>
              </a:r>
              <a:endParaRPr lang="en-US" sz="1200" b="1" dirty="0">
                <a:solidFill>
                  <a:srgbClr val="C00000"/>
                </a:solidFill>
              </a:endParaRPr>
            </a:p>
          </p:txBody>
        </p:sp>
        <p:sp>
          <p:nvSpPr>
            <p:cNvPr id="30" name="Ellipse 47">
              <a:extLst>
                <a:ext uri="{FF2B5EF4-FFF2-40B4-BE49-F238E27FC236}">
                  <a16:creationId xmlns:a16="http://schemas.microsoft.com/office/drawing/2014/main" id="{BAFE623E-AB7C-4B4B-99AA-AE032BA5E53D}"/>
                </a:ext>
              </a:extLst>
            </p:cNvPr>
            <p:cNvSpPr>
              <a:spLocks/>
            </p:cNvSpPr>
            <p:nvPr/>
          </p:nvSpPr>
          <p:spPr>
            <a:xfrm>
              <a:off x="295615" y="4735178"/>
              <a:ext cx="365760" cy="406446"/>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1</a:t>
              </a:r>
            </a:p>
          </p:txBody>
        </p:sp>
        <p:cxnSp>
          <p:nvCxnSpPr>
            <p:cNvPr id="31" name="Gerader Verbinder 53">
              <a:extLst>
                <a:ext uri="{FF2B5EF4-FFF2-40B4-BE49-F238E27FC236}">
                  <a16:creationId xmlns:a16="http://schemas.microsoft.com/office/drawing/2014/main" id="{D3F53A27-66B7-37B7-C4D5-04EC53996FDF}"/>
                </a:ext>
              </a:extLst>
            </p:cNvPr>
            <p:cNvCxnSpPr>
              <a:cxnSpLocks/>
            </p:cNvCxnSpPr>
            <p:nvPr/>
          </p:nvCxnSpPr>
          <p:spPr>
            <a:xfrm>
              <a:off x="793936" y="5209990"/>
              <a:ext cx="3489166" cy="0"/>
            </a:xfrm>
            <a:prstGeom prst="line">
              <a:avLst/>
            </a:prstGeom>
            <a:ln w="12700" cap="flat">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32" name="Ellipse 47">
              <a:extLst>
                <a:ext uri="{FF2B5EF4-FFF2-40B4-BE49-F238E27FC236}">
                  <a16:creationId xmlns:a16="http://schemas.microsoft.com/office/drawing/2014/main" id="{AB22EDC2-6071-F5F3-E38D-33A1E9BEEFD8}"/>
                </a:ext>
              </a:extLst>
            </p:cNvPr>
            <p:cNvSpPr>
              <a:spLocks/>
            </p:cNvSpPr>
            <p:nvPr/>
          </p:nvSpPr>
          <p:spPr>
            <a:xfrm>
              <a:off x="295615" y="5313764"/>
              <a:ext cx="365760" cy="406446"/>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2</a:t>
              </a:r>
            </a:p>
          </p:txBody>
        </p:sp>
        <p:cxnSp>
          <p:nvCxnSpPr>
            <p:cNvPr id="33" name="Gerader Verbinder 53">
              <a:extLst>
                <a:ext uri="{FF2B5EF4-FFF2-40B4-BE49-F238E27FC236}">
                  <a16:creationId xmlns:a16="http://schemas.microsoft.com/office/drawing/2014/main" id="{8F204218-99E1-5BB7-BACB-1173CA397AFE}"/>
                </a:ext>
              </a:extLst>
            </p:cNvPr>
            <p:cNvCxnSpPr>
              <a:cxnSpLocks/>
            </p:cNvCxnSpPr>
            <p:nvPr/>
          </p:nvCxnSpPr>
          <p:spPr>
            <a:xfrm>
              <a:off x="793936" y="5798977"/>
              <a:ext cx="3489166" cy="0"/>
            </a:xfrm>
            <a:prstGeom prst="line">
              <a:avLst/>
            </a:prstGeom>
            <a:ln w="12700" cap="flat">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34" name="Ellipse 47">
              <a:extLst>
                <a:ext uri="{FF2B5EF4-FFF2-40B4-BE49-F238E27FC236}">
                  <a16:creationId xmlns:a16="http://schemas.microsoft.com/office/drawing/2014/main" id="{BEB404EF-EA04-0F7D-C1E6-5801608CCE3A}"/>
                </a:ext>
              </a:extLst>
            </p:cNvPr>
            <p:cNvSpPr>
              <a:spLocks/>
            </p:cNvSpPr>
            <p:nvPr/>
          </p:nvSpPr>
          <p:spPr>
            <a:xfrm>
              <a:off x="295615" y="5892352"/>
              <a:ext cx="365760" cy="406446"/>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3</a:t>
              </a:r>
            </a:p>
          </p:txBody>
        </p:sp>
        <p:sp>
          <p:nvSpPr>
            <p:cNvPr id="35" name="Rectangle 34">
              <a:extLst>
                <a:ext uri="{FF2B5EF4-FFF2-40B4-BE49-F238E27FC236}">
                  <a16:creationId xmlns:a16="http://schemas.microsoft.com/office/drawing/2014/main" id="{F2047E7A-E57D-09DE-C303-98E858A8E1E1}"/>
                </a:ext>
              </a:extLst>
            </p:cNvPr>
            <p:cNvSpPr/>
            <p:nvPr/>
          </p:nvSpPr>
          <p:spPr bwMode="gray">
            <a:xfrm>
              <a:off x="242947" y="1601624"/>
              <a:ext cx="4208463" cy="30309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200" b="1" dirty="0">
                  <a:solidFill>
                    <a:schemeClr val="tx1"/>
                  </a:solidFill>
                </a:rPr>
                <a:t>Opportunity</a:t>
              </a:r>
            </a:p>
          </p:txBody>
        </p:sp>
        <p:sp>
          <p:nvSpPr>
            <p:cNvPr id="36" name="Ellipse 47">
              <a:extLst>
                <a:ext uri="{FF2B5EF4-FFF2-40B4-BE49-F238E27FC236}">
                  <a16:creationId xmlns:a16="http://schemas.microsoft.com/office/drawing/2014/main" id="{3BB5F48E-815D-2F16-AAD2-B323368DBE61}"/>
                </a:ext>
              </a:extLst>
            </p:cNvPr>
            <p:cNvSpPr>
              <a:spLocks/>
            </p:cNvSpPr>
            <p:nvPr/>
          </p:nvSpPr>
          <p:spPr>
            <a:xfrm>
              <a:off x="295615" y="2003751"/>
              <a:ext cx="365760" cy="406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1</a:t>
              </a:r>
            </a:p>
          </p:txBody>
        </p:sp>
        <p:sp>
          <p:nvSpPr>
            <p:cNvPr id="37" name="Textplatzhalter 2">
              <a:extLst>
                <a:ext uri="{FF2B5EF4-FFF2-40B4-BE49-F238E27FC236}">
                  <a16:creationId xmlns:a16="http://schemas.microsoft.com/office/drawing/2014/main" id="{E9181642-2841-4C3F-0BCC-435FDD513CD1}"/>
                </a:ext>
              </a:extLst>
            </p:cNvPr>
            <p:cNvSpPr txBox="1">
              <a:spLocks/>
            </p:cNvSpPr>
            <p:nvPr/>
          </p:nvSpPr>
          <p:spPr>
            <a:xfrm>
              <a:off x="840740" y="1982946"/>
              <a:ext cx="3610669" cy="1600438"/>
            </a:xfrm>
            <a:prstGeom prst="rect">
              <a:avLst/>
            </a:prstGeom>
          </p:spPr>
          <p:txBody>
            <a:bodyPr wrap="square" lIns="0" tIns="0" rIns="0" bIns="0">
              <a:spAutoFit/>
            </a:bodyPr>
            <a:lstStyle>
              <a:lvl1pPr marL="18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200"/>
                </a:spcAft>
                <a:buClr>
                  <a:srgbClr val="454545"/>
                </a:buClr>
                <a:buSzTx/>
                <a:buFont typeface="Wingdings" panose="05000000000000000000" pitchFamily="2" charset="2"/>
                <a:buNone/>
                <a:tabLst/>
                <a:defRPr/>
              </a:pPr>
              <a:r>
                <a:rPr kumimoji="0" lang="en-US" sz="1200" i="0" u="none" strike="noStrike" kern="1200" cap="none" spc="0" normalizeH="0" baseline="0" noProof="0" dirty="0">
                  <a:ln>
                    <a:noFill/>
                  </a:ln>
                  <a:solidFill>
                    <a:schemeClr val="tx1"/>
                  </a:solidFill>
                  <a:effectLst/>
                  <a:uLnTx/>
                  <a:uFillTx/>
                  <a:latin typeface="+mn-lt"/>
                  <a:ea typeface="+mn-ea"/>
                  <a:cs typeface="+mn-cs"/>
                </a:rPr>
                <a:t>Diversify project revenue by </a:t>
              </a:r>
              <a:r>
                <a:rPr kumimoji="0" lang="en-US" sz="1200" b="1" i="0" u="none" strike="noStrike" kern="1200" cap="none" spc="0" normalizeH="0" baseline="0" noProof="0" dirty="0">
                  <a:ln>
                    <a:noFill/>
                  </a:ln>
                  <a:solidFill>
                    <a:schemeClr val="tx1"/>
                  </a:solidFill>
                  <a:effectLst/>
                  <a:uLnTx/>
                  <a:uFillTx/>
                  <a:latin typeface="+mn-lt"/>
                  <a:ea typeface="+mn-ea"/>
                  <a:cs typeface="+mn-cs"/>
                </a:rPr>
                <a:t>co-producing lithium and rare earth elements</a:t>
              </a:r>
              <a:r>
                <a:rPr kumimoji="0" lang="en-US" sz="1200" i="0" u="none" strike="noStrike" kern="1200" cap="none" spc="0" normalizeH="0" baseline="0" noProof="0" dirty="0">
                  <a:ln>
                    <a:noFill/>
                  </a:ln>
                  <a:solidFill>
                    <a:schemeClr val="tx1"/>
                  </a:solidFill>
                  <a:effectLst/>
                  <a:uLnTx/>
                  <a:uFillTx/>
                  <a:latin typeface="+mn-lt"/>
                  <a:ea typeface="+mn-ea"/>
                  <a:cs typeface="+mn-cs"/>
                </a:rPr>
                <a:t>.</a:t>
              </a:r>
              <a:endParaRPr lang="en-US" sz="1200" dirty="0">
                <a:solidFill>
                  <a:schemeClr val="tx1"/>
                </a:solidFill>
                <a:latin typeface="+mn-lt"/>
                <a:cs typeface="+mn-cs"/>
              </a:endParaRPr>
            </a:p>
            <a:p>
              <a:pPr marL="0" indent="0">
                <a:spcAft>
                  <a:spcPts val="1200"/>
                </a:spcAft>
                <a:buNone/>
                <a:defRPr/>
              </a:pPr>
              <a:r>
                <a:rPr lang="en-US" sz="1200" b="1" dirty="0">
                  <a:solidFill>
                    <a:schemeClr val="tx1"/>
                  </a:solidFill>
                  <a:latin typeface="+mn-lt"/>
                  <a:cs typeface="+mn-cs"/>
                </a:rPr>
                <a:t>Utilize existing brine reservoirs </a:t>
              </a:r>
              <a:r>
                <a:rPr lang="en-US" sz="1200" b="0" dirty="0">
                  <a:solidFill>
                    <a:schemeClr val="tx1"/>
                  </a:solidFill>
                  <a:latin typeface="+mn-lt"/>
                  <a:cs typeface="+mn-cs"/>
                </a:rPr>
                <a:t>with proven mineral content.</a:t>
              </a:r>
              <a:endParaRPr kumimoji="0" lang="en-US" sz="1200" i="0" u="none" strike="noStrike" kern="1200" cap="none" spc="0" normalizeH="0" baseline="0" noProof="0" dirty="0">
                <a:ln>
                  <a:noFill/>
                </a:ln>
                <a:solidFill>
                  <a:schemeClr val="tx1"/>
                </a:solidFill>
                <a:effectLst/>
                <a:uLnTx/>
                <a:uFillTx/>
                <a:latin typeface="+mn-lt"/>
                <a:ea typeface="+mn-ea"/>
                <a:cs typeface="+mn-cs"/>
              </a:endParaRPr>
            </a:p>
            <a:p>
              <a:pPr marL="0" indent="0">
                <a:spcAft>
                  <a:spcPts val="1200"/>
                </a:spcAft>
                <a:buNone/>
                <a:defRPr/>
              </a:pPr>
              <a:r>
                <a:rPr lang="en-US" sz="1200" dirty="0">
                  <a:solidFill>
                    <a:schemeClr val="tx1"/>
                  </a:solidFill>
                  <a:latin typeface="+mn-lt"/>
                  <a:cs typeface="+mn-cs"/>
                </a:rPr>
                <a:t>Deploy </a:t>
              </a:r>
              <a:r>
                <a:rPr lang="en-US" sz="1200" b="1" dirty="0">
                  <a:solidFill>
                    <a:schemeClr val="tx1"/>
                  </a:solidFill>
                  <a:latin typeface="+mn-lt"/>
                  <a:cs typeface="+mn-cs"/>
                </a:rPr>
                <a:t>emerging direct lithium extraction technologies </a:t>
              </a:r>
              <a:r>
                <a:rPr lang="en-US" sz="1200" dirty="0">
                  <a:solidFill>
                    <a:schemeClr val="tx1"/>
                  </a:solidFill>
                  <a:latin typeface="+mn-lt"/>
                  <a:cs typeface="+mn-cs"/>
                </a:rPr>
                <a:t>to monetize brines without disrupting power generation.</a:t>
              </a:r>
              <a:endParaRPr kumimoji="0" lang="en-US" sz="1200" i="0" u="none" strike="noStrike" kern="1200" cap="none" spc="0" normalizeH="0" baseline="0" noProof="0" dirty="0">
                <a:ln>
                  <a:noFill/>
                </a:ln>
                <a:solidFill>
                  <a:schemeClr val="tx1"/>
                </a:solidFill>
                <a:effectLst/>
                <a:uLnTx/>
                <a:uFillTx/>
                <a:latin typeface="+mn-lt"/>
                <a:ea typeface="+mn-ea"/>
                <a:cs typeface="+mn-cs"/>
              </a:endParaRPr>
            </a:p>
          </p:txBody>
        </p:sp>
        <p:cxnSp>
          <p:nvCxnSpPr>
            <p:cNvPr id="38" name="Gerader Verbinder 53">
              <a:extLst>
                <a:ext uri="{FF2B5EF4-FFF2-40B4-BE49-F238E27FC236}">
                  <a16:creationId xmlns:a16="http://schemas.microsoft.com/office/drawing/2014/main" id="{DA4250B5-BB71-C69B-6D5F-2ED424F25DB5}"/>
                </a:ext>
              </a:extLst>
            </p:cNvPr>
            <p:cNvCxnSpPr>
              <a:cxnSpLocks/>
            </p:cNvCxnSpPr>
            <p:nvPr/>
          </p:nvCxnSpPr>
          <p:spPr>
            <a:xfrm>
              <a:off x="793936" y="2493547"/>
              <a:ext cx="3489166" cy="0"/>
            </a:xfrm>
            <a:prstGeom prst="line">
              <a:avLst/>
            </a:prstGeom>
            <a:ln w="12700" cap="flat">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39" name="Ellipse 47">
              <a:extLst>
                <a:ext uri="{FF2B5EF4-FFF2-40B4-BE49-F238E27FC236}">
                  <a16:creationId xmlns:a16="http://schemas.microsoft.com/office/drawing/2014/main" id="{472D0394-0309-9DE9-558A-1EF01B250703}"/>
                </a:ext>
              </a:extLst>
            </p:cNvPr>
            <p:cNvSpPr>
              <a:spLocks/>
            </p:cNvSpPr>
            <p:nvPr/>
          </p:nvSpPr>
          <p:spPr>
            <a:xfrm>
              <a:off x="295615" y="2621872"/>
              <a:ext cx="365760" cy="406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2</a:t>
              </a:r>
            </a:p>
          </p:txBody>
        </p:sp>
        <p:cxnSp>
          <p:nvCxnSpPr>
            <p:cNvPr id="40" name="Gerader Verbinder 53">
              <a:extLst>
                <a:ext uri="{FF2B5EF4-FFF2-40B4-BE49-F238E27FC236}">
                  <a16:creationId xmlns:a16="http://schemas.microsoft.com/office/drawing/2014/main" id="{07FE9EFF-C597-03B9-E1C7-8A941AE518A7}"/>
                </a:ext>
              </a:extLst>
            </p:cNvPr>
            <p:cNvCxnSpPr>
              <a:cxnSpLocks/>
            </p:cNvCxnSpPr>
            <p:nvPr/>
          </p:nvCxnSpPr>
          <p:spPr>
            <a:xfrm>
              <a:off x="793936" y="3081499"/>
              <a:ext cx="3489166" cy="0"/>
            </a:xfrm>
            <a:prstGeom prst="line">
              <a:avLst/>
            </a:prstGeom>
            <a:ln w="12700" cap="flat">
              <a:solidFill>
                <a:schemeClr val="tx1"/>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41" name="Ellipse 47">
              <a:extLst>
                <a:ext uri="{FF2B5EF4-FFF2-40B4-BE49-F238E27FC236}">
                  <a16:creationId xmlns:a16="http://schemas.microsoft.com/office/drawing/2014/main" id="{3597B9FB-9780-4A3A-8B91-5AE01A58B812}"/>
                </a:ext>
              </a:extLst>
            </p:cNvPr>
            <p:cNvSpPr>
              <a:spLocks/>
            </p:cNvSpPr>
            <p:nvPr/>
          </p:nvSpPr>
          <p:spPr>
            <a:xfrm>
              <a:off x="295615" y="3239993"/>
              <a:ext cx="365760" cy="406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rPr>
                <a:t>03</a:t>
              </a:r>
            </a:p>
          </p:txBody>
        </p:sp>
      </p:grpSp>
      <p:sp>
        <p:nvSpPr>
          <p:cNvPr id="42" name="Arc 41">
            <a:extLst>
              <a:ext uri="{FF2B5EF4-FFF2-40B4-BE49-F238E27FC236}">
                <a16:creationId xmlns:a16="http://schemas.microsoft.com/office/drawing/2014/main" id="{2A847F53-6155-3546-1F78-5833E43EF6FB}"/>
              </a:ext>
            </a:extLst>
          </p:cNvPr>
          <p:cNvSpPr/>
          <p:nvPr/>
        </p:nvSpPr>
        <p:spPr bwMode="gray">
          <a:xfrm>
            <a:off x="2170907" y="3605745"/>
            <a:ext cx="2543808" cy="4305893"/>
          </a:xfrm>
          <a:prstGeom prst="arc">
            <a:avLst>
              <a:gd name="adj1" fmla="val 15483239"/>
              <a:gd name="adj2" fmla="val 330792"/>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53260426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2345B0-6C7E-C0FB-71D0-42BC579546C9}"/>
              </a:ext>
            </a:extLst>
          </p:cNvPr>
          <p:cNvGraphicFramePr>
            <a:graphicFrameLocks/>
          </p:cNvGraphicFramePr>
          <p:nvPr>
            <p:custDataLst>
              <p:tags r:id="rId1"/>
            </p:custDataLst>
            <p:extLst>
              <p:ext uri="{D42A27DB-BD31-4B8C-83A1-F6EECF244321}">
                <p14:modId xmlns:p14="http://schemas.microsoft.com/office/powerpoint/2010/main" val="32815963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670C62-5E06-BB73-84F4-B5B1452156A9}"/>
              </a:ext>
            </a:extLst>
          </p:cNvPr>
          <p:cNvSpPr>
            <a:spLocks noGrp="1"/>
          </p:cNvSpPr>
          <p:nvPr>
            <p:ph type="body" sz="quarter" idx="14"/>
          </p:nvPr>
        </p:nvSpPr>
        <p:spPr/>
        <p:txBody>
          <a:bodyPr/>
          <a:lstStyle/>
          <a:p>
            <a:pPr marL="0" indent="0">
              <a:buNone/>
            </a:pPr>
            <a:r>
              <a:rPr lang="en-US" sz="1050" b="1" dirty="0"/>
              <a:t>Direct lithium extraction (DLE) potential in Salton Sea:</a:t>
            </a:r>
          </a:p>
          <a:p>
            <a:pPr marL="0" indent="0">
              <a:buNone/>
            </a:pPr>
            <a:endParaRPr lang="en-US" sz="1050" dirty="0"/>
          </a:p>
          <a:p>
            <a:r>
              <a:rPr lang="en-US" sz="1050" dirty="0"/>
              <a:t>Over </a:t>
            </a:r>
            <a:r>
              <a:rPr lang="en-US" sz="1050" b="1" dirty="0"/>
              <a:t>4 million tons </a:t>
            </a:r>
            <a:r>
              <a:rPr lang="en-US" sz="1050" dirty="0"/>
              <a:t>of lithium, enough to support </a:t>
            </a:r>
            <a:r>
              <a:rPr lang="en-US" sz="1050" b="1" dirty="0"/>
              <a:t>10,000 GWh </a:t>
            </a:r>
            <a:r>
              <a:rPr lang="en-US" sz="1050" dirty="0"/>
              <a:t>of battery capacity.</a:t>
            </a:r>
          </a:p>
          <a:p>
            <a:r>
              <a:rPr lang="en-US" sz="1050" dirty="0"/>
              <a:t>Existing advantage: </a:t>
            </a:r>
            <a:r>
              <a:rPr lang="en-US" sz="1050" b="1" dirty="0"/>
              <a:t>Extensive geothermal infrastructure enables rapid DLE scale-up. </a:t>
            </a:r>
          </a:p>
          <a:p>
            <a:r>
              <a:rPr lang="en-US" sz="1050" dirty="0"/>
              <a:t>Could supply </a:t>
            </a:r>
            <a:r>
              <a:rPr lang="en-US" sz="1050" b="1" dirty="0"/>
              <a:t>~40% of global lithium demand</a:t>
            </a:r>
            <a:r>
              <a:rPr lang="en-US" sz="1050" dirty="0"/>
              <a:t> if fully developed.</a:t>
            </a:r>
          </a:p>
          <a:p>
            <a:pPr marL="0" indent="0">
              <a:buNone/>
            </a:pPr>
            <a:endParaRPr lang="en-US" sz="1050" dirty="0"/>
          </a:p>
          <a:p>
            <a:pPr marL="0" indent="0">
              <a:buNone/>
            </a:pPr>
            <a:r>
              <a:rPr lang="en-US" sz="1050" b="1" dirty="0"/>
              <a:t>Commercial DLE projects underway:</a:t>
            </a:r>
          </a:p>
          <a:p>
            <a:r>
              <a:rPr lang="en-US" sz="1050" b="1" dirty="0"/>
              <a:t>Hell’s Kitchen: </a:t>
            </a:r>
            <a:r>
              <a:rPr lang="en-US" sz="1050" dirty="0"/>
              <a:t>Controlled Thermal Resources </a:t>
            </a:r>
          </a:p>
          <a:p>
            <a:pPr lvl="1"/>
            <a:r>
              <a:rPr lang="en-US" dirty="0"/>
              <a:t>Potential: 175,000 tons per annum</a:t>
            </a:r>
          </a:p>
          <a:p>
            <a:pPr lvl="1"/>
            <a:r>
              <a:rPr lang="en-US" dirty="0"/>
              <a:t>Technology: Koch proprietary DLE</a:t>
            </a:r>
          </a:p>
          <a:p>
            <a:pPr lvl="1"/>
            <a:r>
              <a:rPr lang="en-US" dirty="0"/>
              <a:t>Funding: $285M invested to date</a:t>
            </a:r>
          </a:p>
          <a:p>
            <a:endParaRPr lang="en-US" sz="1050" b="1" dirty="0"/>
          </a:p>
          <a:p>
            <a:r>
              <a:rPr lang="en-US" sz="1050" b="1" dirty="0"/>
              <a:t>Project ATLiS: </a:t>
            </a:r>
            <a:r>
              <a:rPr lang="en-US" sz="1050" dirty="0" err="1"/>
              <a:t>EnergySource</a:t>
            </a:r>
            <a:r>
              <a:rPr lang="en-US" sz="1050" dirty="0"/>
              <a:t> Minerals (ESM)</a:t>
            </a:r>
          </a:p>
          <a:p>
            <a:pPr lvl="1"/>
            <a:r>
              <a:rPr lang="en-US" dirty="0"/>
              <a:t>Potential: 20,000 tons per annum</a:t>
            </a:r>
          </a:p>
          <a:p>
            <a:pPr lvl="1"/>
            <a:r>
              <a:rPr lang="en-US" dirty="0"/>
              <a:t>Technology: ESM proprietary DLE</a:t>
            </a:r>
          </a:p>
          <a:p>
            <a:pPr lvl="1"/>
            <a:r>
              <a:rPr lang="en-US" dirty="0"/>
              <a:t>Funding: Direct loan up to $1.36B from DOE</a:t>
            </a:r>
          </a:p>
        </p:txBody>
      </p:sp>
      <p:sp>
        <p:nvSpPr>
          <p:cNvPr id="3" name="Title 2">
            <a:extLst>
              <a:ext uri="{FF2B5EF4-FFF2-40B4-BE49-F238E27FC236}">
                <a16:creationId xmlns:a16="http://schemas.microsoft.com/office/drawing/2014/main" id="{04ACEDB6-BAB5-0E59-928F-AFD473D49655}"/>
              </a:ext>
            </a:extLst>
          </p:cNvPr>
          <p:cNvSpPr>
            <a:spLocks noGrp="1"/>
          </p:cNvSpPr>
          <p:nvPr>
            <p:ph type="title"/>
          </p:nvPr>
        </p:nvSpPr>
        <p:spPr/>
        <p:txBody>
          <a:bodyPr vert="horz" rIns="91440"/>
          <a:lstStyle/>
          <a:p>
            <a:r>
              <a:rPr lang="en-US" dirty="0"/>
              <a:t>California’s Salton Sea has one of world's highest lithium brine concentrations, with commercial DLE projects underway</a:t>
            </a:r>
          </a:p>
        </p:txBody>
      </p:sp>
      <p:sp>
        <p:nvSpPr>
          <p:cNvPr id="4" name="Footer Placeholder 3">
            <a:extLst>
              <a:ext uri="{FF2B5EF4-FFF2-40B4-BE49-F238E27FC236}">
                <a16:creationId xmlns:a16="http://schemas.microsoft.com/office/drawing/2014/main" id="{3ADAD0FE-5651-2608-0696-F3A18C6BA171}"/>
              </a:ext>
            </a:extLst>
          </p:cNvPr>
          <p:cNvSpPr>
            <a:spLocks noGrp="1"/>
          </p:cNvSpPr>
          <p:nvPr>
            <p:ph type="ftr" sz="quarter" idx="3"/>
          </p:nvPr>
        </p:nvSpPr>
        <p:spPr/>
        <p:txBody>
          <a:bodyPr/>
          <a:lstStyle/>
          <a:p>
            <a:pPr marL="0" indent="0">
              <a:spcBef>
                <a:spcPts val="0"/>
              </a:spcBef>
              <a:buNone/>
            </a:pPr>
            <a:r>
              <a:rPr lang="en-US" dirty="0">
                <a:solidFill>
                  <a:srgbClr val="000000"/>
                </a:solidFill>
              </a:rPr>
              <a:t>Sources: Salton Sea Reserve Estimate, </a:t>
            </a:r>
            <a:r>
              <a:rPr lang="en-US" dirty="0">
                <a:solidFill>
                  <a:srgbClr val="000000"/>
                </a:solidFill>
                <a:hlinkClick r:id="rId5"/>
              </a:rPr>
              <a:t>Lawrence Berkley National Laboratory</a:t>
            </a:r>
            <a:r>
              <a:rPr lang="en-US" dirty="0">
                <a:solidFill>
                  <a:srgbClr val="000000"/>
                </a:solidFill>
              </a:rPr>
              <a:t> (2023); GIS Data and Map, </a:t>
            </a:r>
            <a:r>
              <a:rPr lang="en-US" dirty="0">
                <a:solidFill>
                  <a:srgbClr val="000000"/>
                </a:solidFill>
                <a:hlinkClick r:id="rId6"/>
              </a:rPr>
              <a:t>California State Geoportal</a:t>
            </a:r>
            <a:r>
              <a:rPr lang="en-US" dirty="0">
                <a:solidFill>
                  <a:srgbClr val="000000"/>
                </a:solidFill>
              </a:rPr>
              <a:t> (2025).</a:t>
            </a:r>
            <a:endParaRPr lang="en-US" dirty="0">
              <a:solidFill>
                <a:srgbClr val="000000"/>
              </a:solidFill>
              <a:cs typeface="Arial"/>
            </a:endParaRPr>
          </a:p>
          <a:p>
            <a:pPr marL="0" indent="0">
              <a:spcBef>
                <a:spcPts val="0"/>
              </a:spcBef>
              <a:buNone/>
              <a:defRPr/>
            </a:pPr>
            <a:r>
              <a:rPr lang="en-US" dirty="0">
                <a:solidFill>
                  <a:srgbClr val="000000"/>
                </a:solidFill>
              </a:rPr>
              <a:t>Credit: Thomas Smith, Isabel Hoyos, and </a:t>
            </a:r>
            <a:r>
              <a:rPr lang="en-US" dirty="0">
                <a:solidFill>
                  <a:srgbClr val="000000">
                    <a:tint val="82000"/>
                  </a:srgbClr>
                </a:solidFill>
                <a:hlinkClick r:id="rId7"/>
              </a:rPr>
              <a:t>Gernot Wagner.</a:t>
            </a:r>
            <a:r>
              <a:rPr lang="en-US" dirty="0">
                <a:solidFill>
                  <a:srgbClr val="000000">
                    <a:tint val="82000"/>
                  </a:srgbClr>
                </a:solidFill>
              </a:rPr>
              <a:t> </a:t>
            </a:r>
            <a:r>
              <a:rPr lang="en-US" dirty="0">
                <a:solidFill>
                  <a:srgbClr val="000000">
                    <a:tint val="82000"/>
                  </a:srgbClr>
                </a:solidFill>
                <a:hlinkClick r:id="rId8"/>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5" name="Text Placeholder 4">
            <a:extLst>
              <a:ext uri="{FF2B5EF4-FFF2-40B4-BE49-F238E27FC236}">
                <a16:creationId xmlns:a16="http://schemas.microsoft.com/office/drawing/2014/main" id="{573BE98D-FDB5-2EA1-10C1-252B74CFB56B}"/>
              </a:ext>
            </a:extLst>
          </p:cNvPr>
          <p:cNvSpPr>
            <a:spLocks noGrp="1"/>
          </p:cNvSpPr>
          <p:nvPr>
            <p:ph type="body" sz="quarter" idx="13"/>
          </p:nvPr>
        </p:nvSpPr>
        <p:spPr/>
        <p:txBody>
          <a:bodyPr/>
          <a:lstStyle/>
          <a:p>
            <a:r>
              <a:rPr lang="en-US" dirty="0"/>
              <a:t>Geothermal-Li co-production at Salton Sea could anchor a domestic battery supply chain</a:t>
            </a:r>
            <a:endParaRPr lang="en-US" dirty="0">
              <a:cs typeface="Arial"/>
            </a:endParaRPr>
          </a:p>
        </p:txBody>
      </p:sp>
      <p:sp>
        <p:nvSpPr>
          <p:cNvPr id="7" name="Text Placeholder 1">
            <a:extLst>
              <a:ext uri="{FF2B5EF4-FFF2-40B4-BE49-F238E27FC236}">
                <a16:creationId xmlns:a16="http://schemas.microsoft.com/office/drawing/2014/main" id="{BBF7B425-57BC-BB31-6522-AA08CF52D351}"/>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Critical minerals</a:t>
            </a:r>
          </a:p>
        </p:txBody>
      </p:sp>
      <p:sp>
        <p:nvSpPr>
          <p:cNvPr id="9" name="Ellipse 47">
            <a:extLst>
              <a:ext uri="{FF2B5EF4-FFF2-40B4-BE49-F238E27FC236}">
                <a16:creationId xmlns:a16="http://schemas.microsoft.com/office/drawing/2014/main" id="{5868F992-D8D6-052F-AC82-38B5C5D74F0D}"/>
              </a:ext>
            </a:extLst>
          </p:cNvPr>
          <p:cNvSpPr>
            <a:spLocks/>
          </p:cNvSpPr>
          <p:nvPr/>
        </p:nvSpPr>
        <p:spPr>
          <a:xfrm>
            <a:off x="9398956" y="4088542"/>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rPr>
              <a:t>1</a:t>
            </a:r>
          </a:p>
        </p:txBody>
      </p:sp>
      <p:sp>
        <p:nvSpPr>
          <p:cNvPr id="10" name="Ellipse 47">
            <a:extLst>
              <a:ext uri="{FF2B5EF4-FFF2-40B4-BE49-F238E27FC236}">
                <a16:creationId xmlns:a16="http://schemas.microsoft.com/office/drawing/2014/main" id="{F033990C-C2E8-6D5D-08BD-D1866544D449}"/>
              </a:ext>
            </a:extLst>
          </p:cNvPr>
          <p:cNvSpPr>
            <a:spLocks/>
          </p:cNvSpPr>
          <p:nvPr/>
        </p:nvSpPr>
        <p:spPr>
          <a:xfrm>
            <a:off x="9398956" y="4959268"/>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dirty="0">
                <a:solidFill>
                  <a:schemeClr val="bg1"/>
                </a:solidFill>
              </a:rPr>
              <a:t>2</a:t>
            </a:r>
            <a:endParaRPr kumimoji="0" lang="en-US" sz="1200" b="1" i="0" u="none" strike="noStrike" kern="1200" cap="none" spc="0" normalizeH="0" baseline="0" noProof="0" dirty="0">
              <a:ln>
                <a:noFill/>
              </a:ln>
              <a:solidFill>
                <a:schemeClr val="bg1"/>
              </a:solidFill>
              <a:effectLst/>
              <a:uLnTx/>
              <a:uFillTx/>
              <a:ea typeface="+mn-ea"/>
            </a:endParaRPr>
          </a:p>
        </p:txBody>
      </p:sp>
      <p:grpSp>
        <p:nvGrpSpPr>
          <p:cNvPr id="11" name="Group 10">
            <a:extLst>
              <a:ext uri="{FF2B5EF4-FFF2-40B4-BE49-F238E27FC236}">
                <a16:creationId xmlns:a16="http://schemas.microsoft.com/office/drawing/2014/main" id="{0A3677E0-FCF5-A483-A10E-3FC7C22C31AF}"/>
              </a:ext>
            </a:extLst>
          </p:cNvPr>
          <p:cNvGrpSpPr/>
          <p:nvPr/>
        </p:nvGrpSpPr>
        <p:grpSpPr>
          <a:xfrm>
            <a:off x="1200750" y="2155505"/>
            <a:ext cx="5122359" cy="4054653"/>
            <a:chOff x="165832" y="1201153"/>
            <a:chExt cx="5747569" cy="4732227"/>
          </a:xfrm>
        </p:grpSpPr>
        <p:pic>
          <p:nvPicPr>
            <p:cNvPr id="12" name="Picture 11">
              <a:extLst>
                <a:ext uri="{FF2B5EF4-FFF2-40B4-BE49-F238E27FC236}">
                  <a16:creationId xmlns:a16="http://schemas.microsoft.com/office/drawing/2014/main" id="{CBF8EBD6-D8FC-16B6-DBEB-1B59377B7FAE}"/>
                </a:ext>
              </a:extLst>
            </p:cNvPr>
            <p:cNvPicPr>
              <a:picLocks noChangeAspect="1"/>
            </p:cNvPicPr>
            <p:nvPr/>
          </p:nvPicPr>
          <p:blipFill>
            <a:blip r:embed="rId9"/>
            <a:stretch>
              <a:fillRect/>
            </a:stretch>
          </p:blipFill>
          <p:spPr>
            <a:xfrm>
              <a:off x="165832" y="1201153"/>
              <a:ext cx="3967568" cy="4732227"/>
            </a:xfrm>
            <a:prstGeom prst="rect">
              <a:avLst/>
            </a:prstGeom>
          </p:spPr>
        </p:pic>
        <p:sp>
          <p:nvSpPr>
            <p:cNvPr id="13" name="Speech Bubble: Rectangle 29">
              <a:extLst>
                <a:ext uri="{FF2B5EF4-FFF2-40B4-BE49-F238E27FC236}">
                  <a16:creationId xmlns:a16="http://schemas.microsoft.com/office/drawing/2014/main" id="{4F2A9C34-5C68-6D74-53AF-9CAED7B73DD5}"/>
                </a:ext>
              </a:extLst>
            </p:cNvPr>
            <p:cNvSpPr>
              <a:spLocks noChangeAspect="1"/>
            </p:cNvSpPr>
            <p:nvPr/>
          </p:nvSpPr>
          <p:spPr bwMode="gray">
            <a:xfrm>
              <a:off x="3627401" y="1248503"/>
              <a:ext cx="2286000" cy="2591953"/>
            </a:xfrm>
            <a:prstGeom prst="wedgeRectCallout">
              <a:avLst>
                <a:gd name="adj1" fmla="val -49897"/>
                <a:gd name="adj2" fmla="val 106118"/>
              </a:avLst>
            </a:prstGeom>
            <a:solidFill>
              <a:schemeClr val="accent6">
                <a:lumMod val="20000"/>
                <a:lumOff val="80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14" name="Picture 13">
              <a:extLst>
                <a:ext uri="{FF2B5EF4-FFF2-40B4-BE49-F238E27FC236}">
                  <a16:creationId xmlns:a16="http://schemas.microsoft.com/office/drawing/2014/main" id="{B0B5C806-8517-6CA7-C1EC-C7D959BEFB7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37132" y="1355980"/>
              <a:ext cx="2066545" cy="2068613"/>
            </a:xfrm>
            <a:prstGeom prst="rect">
              <a:avLst/>
            </a:prstGeom>
            <a:ln>
              <a:solidFill>
                <a:schemeClr val="tx1"/>
              </a:solidFill>
            </a:ln>
          </p:spPr>
        </p:pic>
        <p:sp>
          <p:nvSpPr>
            <p:cNvPr id="15" name="Text Placeholder 15">
              <a:extLst>
                <a:ext uri="{FF2B5EF4-FFF2-40B4-BE49-F238E27FC236}">
                  <a16:creationId xmlns:a16="http://schemas.microsoft.com/office/drawing/2014/main" id="{B8A6BD55-F481-178B-168F-E6785A8948E0}"/>
                </a:ext>
              </a:extLst>
            </p:cNvPr>
            <p:cNvSpPr txBox="1">
              <a:spLocks/>
            </p:cNvSpPr>
            <p:nvPr/>
          </p:nvSpPr>
          <p:spPr>
            <a:xfrm>
              <a:off x="3886292" y="3524019"/>
              <a:ext cx="1768215" cy="16927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110"/>
                </a:spcAft>
                <a:buFont typeface="Arial" panose="020B0604020202020204" pitchFamily="34" charset="0"/>
                <a:buNone/>
                <a:defRPr sz="1000" kern="1200">
                  <a:solidFill>
                    <a:schemeClr val="accent6"/>
                  </a:solidFill>
                  <a:latin typeface="+mn-lt"/>
                  <a:ea typeface="+mn-ea"/>
                  <a:cs typeface="+mn-cs"/>
                </a:defRPr>
              </a:lvl1pPr>
              <a:lvl2pPr marL="466725" indent="-222250" algn="l" defTabSz="914400" rtl="0" eaLnBrk="1" latinLnBrk="0" hangingPunct="1">
                <a:lnSpc>
                  <a:spcPct val="100000"/>
                </a:lnSpc>
                <a:spcBef>
                  <a:spcPts val="0"/>
                </a:spcBef>
                <a:spcAft>
                  <a:spcPts val="110"/>
                </a:spcAft>
                <a:buFont typeface="Symbol" panose="05050102010706020507" pitchFamily="18" charset="2"/>
                <a:buChar char="-"/>
                <a:defRPr sz="1000" kern="1200">
                  <a:solidFill>
                    <a:schemeClr val="accent6"/>
                  </a:solidFill>
                  <a:latin typeface="+mn-lt"/>
                  <a:ea typeface="+mn-ea"/>
                  <a:cs typeface="+mn-cs"/>
                </a:defRPr>
              </a:lvl2pPr>
              <a:lvl3pPr marL="720725" indent="-217488" algn="l" defTabSz="914400" rtl="0" eaLnBrk="1" latinLnBrk="0" hangingPunct="1">
                <a:lnSpc>
                  <a:spcPct val="100000"/>
                </a:lnSpc>
                <a:spcBef>
                  <a:spcPts val="0"/>
                </a:spcBef>
                <a:spcAft>
                  <a:spcPts val="110"/>
                </a:spcAft>
                <a:buFont typeface="Arial" panose="020B0604020202020204" pitchFamily="34" charset="0"/>
                <a:buChar char="•"/>
                <a:defRPr sz="1000" kern="1200">
                  <a:solidFill>
                    <a:schemeClr val="accent6"/>
                  </a:solidFill>
                  <a:latin typeface="+mn-lt"/>
                  <a:ea typeface="+mn-ea"/>
                  <a:cs typeface="+mn-cs"/>
                </a:defRPr>
              </a:lvl3pPr>
              <a:lvl4pPr marL="900113" indent="-193675" algn="l" defTabSz="914400" rtl="0" eaLnBrk="1" latinLnBrk="0" hangingPunct="1">
                <a:lnSpc>
                  <a:spcPct val="100000"/>
                </a:lnSpc>
                <a:spcBef>
                  <a:spcPts val="0"/>
                </a:spcBef>
                <a:spcAft>
                  <a:spcPts val="110"/>
                </a:spcAft>
                <a:buFont typeface="Arial" panose="020B0604020202020204" pitchFamily="34" charset="0"/>
                <a:buChar char="•"/>
                <a:defRPr sz="1000" kern="1200">
                  <a:solidFill>
                    <a:schemeClr val="accent6"/>
                  </a:solidFill>
                  <a:latin typeface="+mn-lt"/>
                  <a:ea typeface="+mn-ea"/>
                  <a:cs typeface="+mn-cs"/>
                </a:defRPr>
              </a:lvl4pPr>
              <a:lvl5pPr marL="1136650" indent="-185738" algn="l" defTabSz="914400" rtl="0" eaLnBrk="1" latinLnBrk="0" hangingPunct="1">
                <a:lnSpc>
                  <a:spcPct val="100000"/>
                </a:lnSpc>
                <a:spcBef>
                  <a:spcPts val="0"/>
                </a:spcBef>
                <a:spcAft>
                  <a:spcPts val="110"/>
                </a:spcAft>
                <a:buFont typeface="Arial" panose="020B0604020202020204" pitchFamily="34" charset="0"/>
                <a:buChar char="•"/>
                <a:defRPr sz="10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lang="en-US" sz="1100" b="1" dirty="0">
                  <a:solidFill>
                    <a:schemeClr val="tx1"/>
                  </a:solidFill>
                </a:rPr>
                <a:t>Salton Sea</a:t>
              </a:r>
            </a:p>
          </p:txBody>
        </p:sp>
      </p:grpSp>
    </p:spTree>
    <p:extLst>
      <p:ext uri="{BB962C8B-B14F-4D97-AF65-F5344CB8AC3E}">
        <p14:creationId xmlns:p14="http://schemas.microsoft.com/office/powerpoint/2010/main" val="38697296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1BF998-29BA-D281-F502-09F696BE933F}"/>
              </a:ext>
            </a:extLst>
          </p:cNvPr>
          <p:cNvGraphicFramePr>
            <a:graphicFrameLocks/>
          </p:cNvGraphicFramePr>
          <p:nvPr>
            <p:custDataLst>
              <p:tags r:id="rId1"/>
            </p:custDataLst>
            <p:extLst>
              <p:ext uri="{D42A27DB-BD31-4B8C-83A1-F6EECF244321}">
                <p14:modId xmlns:p14="http://schemas.microsoft.com/office/powerpoint/2010/main" val="36227188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5" imgW="7772400" imgH="10058400" progId="TCLayout.ActiveDocument.1">
                  <p:embed/>
                </p:oleObj>
              </mc:Choice>
              <mc:Fallback>
                <p:oleObj name="think-cell Slide" r:id="rId35" imgW="7772400" imgH="10058400" progId="TCLayout.ActiveDocument.1">
                  <p:embed/>
                  <p:pic>
                    <p:nvPicPr>
                      <p:cNvPr id="0" name=""/>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7F1C6D-2BE6-8594-1FC5-7534ED6FD4EB}"/>
              </a:ext>
            </a:extLst>
          </p:cNvPr>
          <p:cNvSpPr>
            <a:spLocks noGrp="1"/>
          </p:cNvSpPr>
          <p:nvPr>
            <p:ph type="title"/>
          </p:nvPr>
        </p:nvSpPr>
        <p:spPr/>
        <p:txBody>
          <a:bodyPr vert="horz" rIns="91440"/>
          <a:lstStyle/>
          <a:p>
            <a:r>
              <a:rPr lang="en-US" dirty="0">
                <a:ea typeface="+mj-lt"/>
                <a:cs typeface="+mj-lt"/>
              </a:rPr>
              <a:t>Using geothermal energy to process Indonesia's nickel reserves can significantly reduce</a:t>
            </a:r>
            <a:r>
              <a:rPr lang="en-US" dirty="0">
                <a:cs typeface="Arial"/>
              </a:rPr>
              <a:t> EV battery lifecycle GHG emissions</a:t>
            </a:r>
            <a:endParaRPr lang="en-US" dirty="0"/>
          </a:p>
        </p:txBody>
      </p:sp>
      <p:sp>
        <p:nvSpPr>
          <p:cNvPr id="4" name="Footer Placeholder 3">
            <a:extLst>
              <a:ext uri="{FF2B5EF4-FFF2-40B4-BE49-F238E27FC236}">
                <a16:creationId xmlns:a16="http://schemas.microsoft.com/office/drawing/2014/main" id="{AC7A274C-A537-CF26-8650-108B836D8217}"/>
              </a:ext>
            </a:extLst>
          </p:cNvPr>
          <p:cNvSpPr>
            <a:spLocks noGrp="1"/>
          </p:cNvSpPr>
          <p:nvPr>
            <p:ph type="ftr" sz="quarter" idx="3"/>
          </p:nvPr>
        </p:nvSpPr>
        <p:spPr>
          <a:xfrm>
            <a:off x="334962" y="6118801"/>
            <a:ext cx="9147241" cy="216706"/>
          </a:xfrm>
        </p:spPr>
        <p:txBody>
          <a:bodyPr/>
          <a:lstStyle/>
          <a:p>
            <a:pPr marL="0" indent="0">
              <a:spcBef>
                <a:spcPts val="0"/>
              </a:spcBef>
              <a:buNone/>
            </a:pPr>
            <a:r>
              <a:rPr lang="en-US" dirty="0">
                <a:solidFill>
                  <a:srgbClr val="000000"/>
                </a:solidFill>
              </a:rPr>
              <a:t>Sources: </a:t>
            </a:r>
            <a:r>
              <a:rPr lang="en-US" dirty="0">
                <a:solidFill>
                  <a:srgbClr val="000000"/>
                </a:solidFill>
                <a:hlinkClick r:id="rId37"/>
              </a:rPr>
              <a:t>Indonesian Government Study</a:t>
            </a:r>
            <a:r>
              <a:rPr lang="en-US" dirty="0">
                <a:solidFill>
                  <a:srgbClr val="000000"/>
                </a:solidFill>
              </a:rPr>
              <a:t> (Geothermal Sites, 2024); </a:t>
            </a:r>
            <a:r>
              <a:rPr lang="en-US" dirty="0">
                <a:solidFill>
                  <a:srgbClr val="000000"/>
                </a:solidFill>
                <a:hlinkClick r:id="rId38"/>
              </a:rPr>
              <a:t>International Energy Agency</a:t>
            </a:r>
            <a:r>
              <a:rPr lang="en-US" dirty="0">
                <a:solidFill>
                  <a:srgbClr val="000000"/>
                </a:solidFill>
              </a:rPr>
              <a:t> (IEA, 2022); </a:t>
            </a:r>
            <a:r>
              <a:rPr lang="en-US" dirty="0">
                <a:solidFill>
                  <a:srgbClr val="000000"/>
                </a:solidFill>
                <a:hlinkClick r:id="rId39"/>
              </a:rPr>
              <a:t>International Energy Agency</a:t>
            </a:r>
            <a:r>
              <a:rPr lang="en-US" dirty="0">
                <a:solidFill>
                  <a:srgbClr val="000000"/>
                </a:solidFill>
              </a:rPr>
              <a:t> (IEA, 2021); </a:t>
            </a:r>
            <a:r>
              <a:rPr lang="en-US" dirty="0">
                <a:solidFill>
                  <a:srgbClr val="000000"/>
                </a:solidFill>
                <a:hlinkClick r:id="rId40"/>
              </a:rPr>
              <a:t>Deloitte Study Indonesian Geothermal Reserves</a:t>
            </a:r>
            <a:r>
              <a:rPr lang="en-US" dirty="0">
                <a:solidFill>
                  <a:srgbClr val="000000"/>
                </a:solidFill>
              </a:rPr>
              <a:t> (Deloitte, 2025); </a:t>
            </a:r>
            <a:r>
              <a:rPr lang="en-US" dirty="0">
                <a:solidFill>
                  <a:srgbClr val="000000"/>
                </a:solidFill>
                <a:hlinkClick r:id="rId41"/>
              </a:rPr>
              <a:t>S</a:t>
            </a:r>
            <a:r>
              <a:rPr lang="en-US" dirty="0">
                <a:solidFill>
                  <a:srgbClr val="000000"/>
                </a:solidFill>
                <a:ea typeface="+mn-lt"/>
                <a:cs typeface="+mn-lt"/>
                <a:hlinkClick r:id="rId41"/>
              </a:rPr>
              <a:t>&amp;P Global Indonesia - Mining by the Numbers</a:t>
            </a:r>
            <a:r>
              <a:rPr lang="en-US" dirty="0">
                <a:solidFill>
                  <a:srgbClr val="000000"/>
                </a:solidFill>
                <a:ea typeface="+mn-lt"/>
                <a:cs typeface="+mn-lt"/>
              </a:rPr>
              <a:t> (S&amp;P, 2023); </a:t>
            </a:r>
            <a:r>
              <a:rPr lang="en-US" dirty="0">
                <a:solidFill>
                  <a:srgbClr val="000000"/>
                </a:solidFill>
                <a:ea typeface="+mn-lt"/>
                <a:cs typeface="+mn-lt"/>
                <a:hlinkClick r:id="rId42"/>
              </a:rPr>
              <a:t>Toward security in sustainable battery raw material supply</a:t>
            </a:r>
            <a:r>
              <a:rPr lang="en-US" dirty="0">
                <a:solidFill>
                  <a:srgbClr val="000000"/>
                </a:solidFill>
                <a:ea typeface="+mn-lt"/>
                <a:cs typeface="+mn-lt"/>
              </a:rPr>
              <a:t> (McKinsey, 2024); </a:t>
            </a:r>
            <a:r>
              <a:rPr lang="en-US" dirty="0">
                <a:solidFill>
                  <a:srgbClr val="000000"/>
                </a:solidFill>
                <a:ea typeface="+mn-lt"/>
                <a:cs typeface="+mn-lt"/>
                <a:hlinkClick r:id="rId43"/>
              </a:rPr>
              <a:t>Geographic Distribution of EV Supply Chain</a:t>
            </a:r>
            <a:r>
              <a:rPr lang="en-US" dirty="0">
                <a:solidFill>
                  <a:srgbClr val="000000"/>
                </a:solidFill>
                <a:ea typeface="+mn-lt"/>
                <a:cs typeface="+mn-lt"/>
              </a:rPr>
              <a:t> (IEA, 2025). </a:t>
            </a:r>
          </a:p>
          <a:p>
            <a:pPr marL="0" indent="0">
              <a:spcBef>
                <a:spcPts val="0"/>
              </a:spcBef>
              <a:buNone/>
              <a:defRPr/>
            </a:pPr>
            <a:r>
              <a:rPr lang="en-US" dirty="0">
                <a:solidFill>
                  <a:srgbClr val="000000"/>
                </a:solidFill>
              </a:rPr>
              <a:t>Credit: Thomas Smith, Isabel Hoyos, and </a:t>
            </a:r>
            <a:r>
              <a:rPr lang="en-US" dirty="0">
                <a:solidFill>
                  <a:srgbClr val="000000">
                    <a:tint val="82000"/>
                  </a:srgbClr>
                </a:solidFill>
                <a:hlinkClick r:id="rId44"/>
              </a:rPr>
              <a:t>Gernot Wagner.</a:t>
            </a:r>
            <a:r>
              <a:rPr lang="en-US" dirty="0">
                <a:solidFill>
                  <a:srgbClr val="000000">
                    <a:tint val="82000"/>
                  </a:srgbClr>
                </a:solidFill>
              </a:rPr>
              <a:t> </a:t>
            </a:r>
            <a:r>
              <a:rPr lang="en-US" dirty="0">
                <a:solidFill>
                  <a:srgbClr val="000000">
                    <a:tint val="82000"/>
                  </a:srgbClr>
                </a:solidFill>
                <a:hlinkClick r:id="rId45"/>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5" name="Text Placeholder 1">
            <a:extLst>
              <a:ext uri="{FF2B5EF4-FFF2-40B4-BE49-F238E27FC236}">
                <a16:creationId xmlns:a16="http://schemas.microsoft.com/office/drawing/2014/main" id="{72AE049D-0678-AD17-D29B-C23013C662DC}"/>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Critical minerals</a:t>
            </a:r>
          </a:p>
        </p:txBody>
      </p:sp>
      <p:graphicFrame>
        <p:nvGraphicFramePr>
          <p:cNvPr id="190" name="Chart 189">
            <a:extLst>
              <a:ext uri="{FF2B5EF4-FFF2-40B4-BE49-F238E27FC236}">
                <a16:creationId xmlns:a16="http://schemas.microsoft.com/office/drawing/2014/main" id="{D8B93F79-B875-0F5B-63DD-DB47EFDEB2F7}"/>
              </a:ext>
            </a:extLst>
          </p:cNvPr>
          <p:cNvGraphicFramePr/>
          <p:nvPr>
            <p:custDataLst>
              <p:tags r:id="rId2"/>
            </p:custDataLst>
            <p:extLst>
              <p:ext uri="{D42A27DB-BD31-4B8C-83A1-F6EECF244321}">
                <p14:modId xmlns:p14="http://schemas.microsoft.com/office/powerpoint/2010/main" val="972768842"/>
              </p:ext>
            </p:extLst>
          </p:nvPr>
        </p:nvGraphicFramePr>
        <p:xfrm>
          <a:off x="685800" y="2709863"/>
          <a:ext cx="5522913" cy="727075"/>
        </p:xfrm>
        <a:graphic>
          <a:graphicData uri="http://schemas.openxmlformats.org/drawingml/2006/chart">
            <c:chart xmlns:c="http://schemas.openxmlformats.org/drawingml/2006/chart" xmlns:r="http://schemas.openxmlformats.org/officeDocument/2006/relationships" r:id="rId46"/>
          </a:graphicData>
        </a:graphic>
      </p:graphicFrame>
      <p:sp>
        <p:nvSpPr>
          <p:cNvPr id="8" name="Text Placeholder 2">
            <a:extLst>
              <a:ext uri="{FF2B5EF4-FFF2-40B4-BE49-F238E27FC236}">
                <a16:creationId xmlns:a16="http://schemas.microsoft.com/office/drawing/2014/main" id="{93491712-04D0-E8D8-69E0-E593F9893C71}"/>
              </a:ext>
            </a:extLst>
          </p:cNvPr>
          <p:cNvSpPr>
            <a:spLocks/>
          </p:cNvSpPr>
          <p:nvPr>
            <p:custDataLst>
              <p:tags r:id="rId3"/>
            </p:custDataLst>
          </p:nvPr>
        </p:nvSpPr>
        <p:spPr bwMode="gray">
          <a:xfrm>
            <a:off x="2735263" y="2989263"/>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36CB39-157C-4E67-99D3-C7DC389B5A7B}" type="datetime'''''''''''5''''''''''''''''''''''''''''''''3'">
              <a:rPr lang="en-US" altLang="en-US" sz="1200" smtClean="0">
                <a:solidFill>
                  <a:schemeClr val="bg1"/>
                </a:solidFill>
              </a:rPr>
              <a:pPr marL="0" lvl="0" indent="0" algn="ctr">
                <a:spcBef>
                  <a:spcPct val="0"/>
                </a:spcBef>
                <a:spcAft>
                  <a:spcPct val="0"/>
                </a:spcAft>
                <a:buNone/>
              </a:pPr>
              <a:t>53</a:t>
            </a:fld>
            <a:endParaRPr lang="en-US" sz="1200" dirty="0">
              <a:solidFill>
                <a:schemeClr val="bg1"/>
              </a:solidFill>
            </a:endParaRPr>
          </a:p>
        </p:txBody>
      </p:sp>
      <p:sp>
        <p:nvSpPr>
          <p:cNvPr id="9" name="Text Placeholder 2">
            <a:extLst>
              <a:ext uri="{FF2B5EF4-FFF2-40B4-BE49-F238E27FC236}">
                <a16:creationId xmlns:a16="http://schemas.microsoft.com/office/drawing/2014/main" id="{DEB53668-BFF9-31B5-5078-CA8ED4AC7CB2}"/>
              </a:ext>
            </a:extLst>
          </p:cNvPr>
          <p:cNvSpPr>
            <a:spLocks/>
          </p:cNvSpPr>
          <p:nvPr>
            <p:custDataLst>
              <p:tags r:id="rId4"/>
            </p:custDataLst>
          </p:nvPr>
        </p:nvSpPr>
        <p:spPr bwMode="gray">
          <a:xfrm>
            <a:off x="5875338" y="2989263"/>
            <a:ext cx="128588"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88C57-C8BB-491C-8ABC-33631A776EA3}" type="datetime'''''''''''''''''''''''''''''''''''''''9'''''''''''''''''">
              <a:rPr lang="en-US" altLang="en-US" sz="1200" smtClean="0">
                <a:solidFill>
                  <a:schemeClr val="bg1"/>
                </a:solidFill>
              </a:rPr>
              <a:pPr marL="0" lvl="0" indent="0" algn="ctr">
                <a:spcBef>
                  <a:spcPct val="0"/>
                </a:spcBef>
                <a:spcAft>
                  <a:spcPct val="0"/>
                </a:spcAft>
                <a:buNone/>
              </a:pPr>
              <a:t>9</a:t>
            </a:fld>
            <a:endParaRPr lang="en-US" sz="1200" dirty="0">
              <a:solidFill>
                <a:schemeClr val="bg1"/>
              </a:solidFill>
            </a:endParaRPr>
          </a:p>
        </p:txBody>
      </p:sp>
      <p:sp>
        <p:nvSpPr>
          <p:cNvPr id="10" name="Text Placeholder 2">
            <a:extLst>
              <a:ext uri="{FF2B5EF4-FFF2-40B4-BE49-F238E27FC236}">
                <a16:creationId xmlns:a16="http://schemas.microsoft.com/office/drawing/2014/main" id="{838EE6DD-DE6B-6C3B-CCED-40C33683A643}"/>
              </a:ext>
            </a:extLst>
          </p:cNvPr>
          <p:cNvSpPr>
            <a:spLocks/>
          </p:cNvSpPr>
          <p:nvPr>
            <p:custDataLst>
              <p:tags r:id="rId5"/>
            </p:custDataLst>
          </p:nvPr>
        </p:nvSpPr>
        <p:spPr bwMode="gray">
          <a:xfrm>
            <a:off x="3775075" y="2989263"/>
            <a:ext cx="212725" cy="1651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BAB9C0-4C1D-4AB6-B3C3-4048BC7F4C79}" type="datetime'''''4''''''''''''''''''''''''''''''''''''''''''0'''''''''''">
              <a:rPr lang="en-US" altLang="en-US" sz="1200" smtClean="0">
                <a:solidFill>
                  <a:schemeClr val="bg1"/>
                </a:solidFill>
              </a:rPr>
              <a:pPr marL="0" lvl="0" indent="0" algn="ctr">
                <a:spcBef>
                  <a:spcPct val="0"/>
                </a:spcBef>
                <a:spcAft>
                  <a:spcPct val="0"/>
                </a:spcAft>
                <a:buNone/>
              </a:pPr>
              <a:t>40</a:t>
            </a:fld>
            <a:endParaRPr lang="en-US" sz="1200" dirty="0">
              <a:solidFill>
                <a:schemeClr val="bg1"/>
              </a:solidFill>
            </a:endParaRPr>
          </a:p>
        </p:txBody>
      </p:sp>
      <p:sp>
        <p:nvSpPr>
          <p:cNvPr id="11" name="Text Placeholder 2">
            <a:extLst>
              <a:ext uri="{FF2B5EF4-FFF2-40B4-BE49-F238E27FC236}">
                <a16:creationId xmlns:a16="http://schemas.microsoft.com/office/drawing/2014/main" id="{CBF8E7E6-AE0F-1C68-B7ED-0E490560D6A1}"/>
              </a:ext>
            </a:extLst>
          </p:cNvPr>
          <p:cNvSpPr>
            <a:spLocks/>
          </p:cNvSpPr>
          <p:nvPr>
            <p:custDataLst>
              <p:tags r:id="rId6"/>
            </p:custDataLst>
          </p:nvPr>
        </p:nvSpPr>
        <p:spPr bwMode="gray">
          <a:xfrm>
            <a:off x="5162550" y="2989263"/>
            <a:ext cx="212725" cy="1651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451158-00F6-4170-ABF3-2579BA0F08E5}" type="datetime'''''''2''''''''''''''''''''''''''''''''''''5'''''''">
              <a:rPr lang="en-US" altLang="en-US" sz="1200" smtClean="0">
                <a:solidFill>
                  <a:schemeClr val="bg1"/>
                </a:solidFill>
              </a:rPr>
              <a:pPr marL="0" lvl="0" indent="0" algn="ctr">
                <a:spcBef>
                  <a:spcPct val="0"/>
                </a:spcBef>
                <a:spcAft>
                  <a:spcPct val="0"/>
                </a:spcAft>
                <a:buNone/>
              </a:pPr>
              <a:t>25</a:t>
            </a:fld>
            <a:endParaRPr lang="en-US" sz="1200" dirty="0">
              <a:solidFill>
                <a:schemeClr val="bg1"/>
              </a:solidFill>
            </a:endParaRPr>
          </a:p>
        </p:txBody>
      </p:sp>
      <p:sp>
        <p:nvSpPr>
          <p:cNvPr id="12" name="Text Placeholder 2">
            <a:extLst>
              <a:ext uri="{FF2B5EF4-FFF2-40B4-BE49-F238E27FC236}">
                <a16:creationId xmlns:a16="http://schemas.microsoft.com/office/drawing/2014/main" id="{291D56C1-10F4-16A3-7B8F-8C93A4DBE219}"/>
              </a:ext>
            </a:extLst>
          </p:cNvPr>
          <p:cNvSpPr>
            <a:spLocks/>
          </p:cNvSpPr>
          <p:nvPr>
            <p:custDataLst>
              <p:tags r:id="rId7"/>
            </p:custDataLst>
          </p:nvPr>
        </p:nvSpPr>
        <p:spPr bwMode="gray">
          <a:xfrm>
            <a:off x="5584825" y="2989263"/>
            <a:ext cx="212725" cy="1651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8FB693-B9CE-4597-903A-C39B8E96C9AF}" type="datetime'''''''''''''''''''''''''''''''1''3'">
              <a:rPr lang="en-US" altLang="en-US" sz="1200" smtClean="0">
                <a:solidFill>
                  <a:schemeClr val="bg1"/>
                </a:solidFill>
              </a:rPr>
              <a:pPr marL="0" lvl="0" indent="0" algn="ctr">
                <a:spcBef>
                  <a:spcPct val="0"/>
                </a:spcBef>
                <a:spcAft>
                  <a:spcPct val="0"/>
                </a:spcAft>
                <a:buNone/>
              </a:pPr>
              <a:t>13</a:t>
            </a:fld>
            <a:endParaRPr lang="en-US" sz="1200" dirty="0">
              <a:solidFill>
                <a:schemeClr val="bg1"/>
              </a:solidFill>
            </a:endParaRPr>
          </a:p>
        </p:txBody>
      </p:sp>
      <p:sp>
        <p:nvSpPr>
          <p:cNvPr id="13" name="Text Placeholder 2">
            <a:extLst>
              <a:ext uri="{FF2B5EF4-FFF2-40B4-BE49-F238E27FC236}">
                <a16:creationId xmlns:a16="http://schemas.microsoft.com/office/drawing/2014/main" id="{DCE10044-8078-0D85-38CB-8E3B31AA265D}"/>
              </a:ext>
            </a:extLst>
          </p:cNvPr>
          <p:cNvSpPr>
            <a:spLocks/>
          </p:cNvSpPr>
          <p:nvPr>
            <p:custDataLst>
              <p:tags r:id="rId8"/>
            </p:custDataLst>
          </p:nvPr>
        </p:nvSpPr>
        <p:spPr bwMode="gray">
          <a:xfrm>
            <a:off x="1401763" y="2989263"/>
            <a:ext cx="212725" cy="1651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9A9707-01D1-47EA-AB8C-9C1ECE0C90FB}" type="datetime'''''''''''''''''''''''''''''''''6''''''''''''''''''''6'''''''">
              <a:rPr lang="en-US" altLang="en-US" sz="1200" smtClean="0">
                <a:solidFill>
                  <a:schemeClr val="bg1"/>
                </a:solidFill>
              </a:rPr>
              <a:pPr marL="0" lvl="0" indent="0" algn="ctr">
                <a:spcBef>
                  <a:spcPct val="0"/>
                </a:spcBef>
                <a:spcAft>
                  <a:spcPct val="0"/>
                </a:spcAft>
                <a:buNone/>
              </a:pPr>
              <a:t>66</a:t>
            </a:fld>
            <a:endParaRPr lang="en-US" sz="1200" dirty="0">
              <a:solidFill>
                <a:schemeClr val="bg1"/>
              </a:solidFill>
            </a:endParaRPr>
          </a:p>
        </p:txBody>
      </p:sp>
      <p:sp>
        <p:nvSpPr>
          <p:cNvPr id="14" name="Text Placeholder 10">
            <a:extLst>
              <a:ext uri="{FF2B5EF4-FFF2-40B4-BE49-F238E27FC236}">
                <a16:creationId xmlns:a16="http://schemas.microsoft.com/office/drawing/2014/main" id="{9FEA487B-E284-E0CC-EFD1-4096D5639EA9}"/>
              </a:ext>
            </a:extLst>
          </p:cNvPr>
          <p:cNvSpPr>
            <a:spLocks/>
          </p:cNvSpPr>
          <p:nvPr>
            <p:custDataLst>
              <p:tags r:id="rId9"/>
            </p:custDataLst>
          </p:nvPr>
        </p:nvSpPr>
        <p:spPr bwMode="gray">
          <a:xfrm>
            <a:off x="4554538" y="2989263"/>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90000"/>
              </a:lnSpc>
              <a:spcBef>
                <a:spcPct val="0"/>
              </a:spcBef>
              <a:spcAft>
                <a:spcPct val="0"/>
              </a:spcAft>
              <a:buNone/>
            </a:pPr>
            <a:fld id="{59182A0C-21BE-4AF6-B6D7-ED8E79EE5B4A}" type="datetime'''''''''''''''''''''''''''''''''''''''30'">
              <a:rPr lang="en-US" altLang="en-US" sz="1200" smtClean="0"/>
              <a:pPr marL="0" lvl="0" indent="0" algn="ctr">
                <a:lnSpc>
                  <a:spcPct val="90000"/>
                </a:lnSpc>
                <a:spcBef>
                  <a:spcPct val="0"/>
                </a:spcBef>
                <a:spcAft>
                  <a:spcPct val="0"/>
                </a:spcAft>
                <a:buNone/>
              </a:pPr>
              <a:t>30</a:t>
            </a:fld>
            <a:endParaRPr lang="en-US" sz="1200" dirty="0"/>
          </a:p>
        </p:txBody>
      </p:sp>
      <p:sp>
        <p:nvSpPr>
          <p:cNvPr id="15" name="Rectangle 14">
            <a:extLst>
              <a:ext uri="{FF2B5EF4-FFF2-40B4-BE49-F238E27FC236}">
                <a16:creationId xmlns:a16="http://schemas.microsoft.com/office/drawing/2014/main" id="{2909CD20-7FCC-5DC4-08CA-8F6E5C2FE01F}"/>
              </a:ext>
            </a:extLst>
          </p:cNvPr>
          <p:cNvSpPr/>
          <p:nvPr/>
        </p:nvSpPr>
        <p:spPr bwMode="gray">
          <a:xfrm>
            <a:off x="322983" y="1842634"/>
            <a:ext cx="5402263"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Minerals required for NMC EV battery, kg</a:t>
            </a:r>
          </a:p>
        </p:txBody>
      </p:sp>
      <p:grpSp>
        <p:nvGrpSpPr>
          <p:cNvPr id="16" name="Group 15">
            <a:extLst>
              <a:ext uri="{FF2B5EF4-FFF2-40B4-BE49-F238E27FC236}">
                <a16:creationId xmlns:a16="http://schemas.microsoft.com/office/drawing/2014/main" id="{3CA68E78-3DF9-3B1A-66B9-BBFB58E5C804}"/>
              </a:ext>
            </a:extLst>
          </p:cNvPr>
          <p:cNvGrpSpPr>
            <a:grpSpLocks noChangeAspect="1"/>
          </p:cNvGrpSpPr>
          <p:nvPr/>
        </p:nvGrpSpPr>
        <p:grpSpPr>
          <a:xfrm>
            <a:off x="6654998" y="3740988"/>
            <a:ext cx="5296356" cy="2044866"/>
            <a:chOff x="642938" y="2513013"/>
            <a:chExt cx="10715625" cy="3887787"/>
          </a:xfrm>
          <a:noFill/>
        </p:grpSpPr>
        <p:sp>
          <p:nvSpPr>
            <p:cNvPr id="17" name="Freeform 7">
              <a:extLst>
                <a:ext uri="{FF2B5EF4-FFF2-40B4-BE49-F238E27FC236}">
                  <a16:creationId xmlns:a16="http://schemas.microsoft.com/office/drawing/2014/main" id="{8685F65E-75C1-1314-EFD6-6CA2D854A229}"/>
                </a:ext>
              </a:extLst>
            </p:cNvPr>
            <p:cNvSpPr>
              <a:spLocks noEditPoints="1"/>
            </p:cNvSpPr>
            <p:nvPr/>
          </p:nvSpPr>
          <p:spPr bwMode="auto">
            <a:xfrm>
              <a:off x="7386638" y="5775325"/>
              <a:ext cx="773113" cy="280987"/>
            </a:xfrm>
            <a:custGeom>
              <a:avLst/>
              <a:gdLst>
                <a:gd name="T0" fmla="*/ 3 w 203"/>
                <a:gd name="T1" fmla="*/ 62 h 74"/>
                <a:gd name="T2" fmla="*/ 10 w 203"/>
                <a:gd name="T3" fmla="*/ 58 h 74"/>
                <a:gd name="T4" fmla="*/ 17 w 203"/>
                <a:gd name="T5" fmla="*/ 55 h 74"/>
                <a:gd name="T6" fmla="*/ 24 w 203"/>
                <a:gd name="T7" fmla="*/ 53 h 74"/>
                <a:gd name="T8" fmla="*/ 28 w 203"/>
                <a:gd name="T9" fmla="*/ 54 h 74"/>
                <a:gd name="T10" fmla="*/ 26 w 203"/>
                <a:gd name="T11" fmla="*/ 62 h 74"/>
                <a:gd name="T12" fmla="*/ 22 w 203"/>
                <a:gd name="T13" fmla="*/ 65 h 74"/>
                <a:gd name="T14" fmla="*/ 21 w 203"/>
                <a:gd name="T15" fmla="*/ 72 h 74"/>
                <a:gd name="T16" fmla="*/ 16 w 203"/>
                <a:gd name="T17" fmla="*/ 72 h 74"/>
                <a:gd name="T18" fmla="*/ 13 w 203"/>
                <a:gd name="T19" fmla="*/ 66 h 74"/>
                <a:gd name="T20" fmla="*/ 7 w 203"/>
                <a:gd name="T21" fmla="*/ 69 h 74"/>
                <a:gd name="T22" fmla="*/ 200 w 203"/>
                <a:gd name="T23" fmla="*/ 4 h 74"/>
                <a:gd name="T24" fmla="*/ 195 w 203"/>
                <a:gd name="T25" fmla="*/ 1 h 74"/>
                <a:gd name="T26" fmla="*/ 187 w 203"/>
                <a:gd name="T27" fmla="*/ 1 h 74"/>
                <a:gd name="T28" fmla="*/ 176 w 203"/>
                <a:gd name="T29" fmla="*/ 3 h 74"/>
                <a:gd name="T30" fmla="*/ 164 w 203"/>
                <a:gd name="T31" fmla="*/ 6 h 74"/>
                <a:gd name="T32" fmla="*/ 151 w 203"/>
                <a:gd name="T33" fmla="*/ 7 h 74"/>
                <a:gd name="T34" fmla="*/ 139 w 203"/>
                <a:gd name="T35" fmla="*/ 9 h 74"/>
                <a:gd name="T36" fmla="*/ 132 w 203"/>
                <a:gd name="T37" fmla="*/ 10 h 74"/>
                <a:gd name="T38" fmla="*/ 124 w 203"/>
                <a:gd name="T39" fmla="*/ 11 h 74"/>
                <a:gd name="T40" fmla="*/ 117 w 203"/>
                <a:gd name="T41" fmla="*/ 9 h 74"/>
                <a:gd name="T42" fmla="*/ 107 w 203"/>
                <a:gd name="T43" fmla="*/ 12 h 74"/>
                <a:gd name="T44" fmla="*/ 102 w 203"/>
                <a:gd name="T45" fmla="*/ 12 h 74"/>
                <a:gd name="T46" fmla="*/ 95 w 203"/>
                <a:gd name="T47" fmla="*/ 13 h 74"/>
                <a:gd name="T48" fmla="*/ 89 w 203"/>
                <a:gd name="T49" fmla="*/ 14 h 74"/>
                <a:gd name="T50" fmla="*/ 80 w 203"/>
                <a:gd name="T51" fmla="*/ 16 h 74"/>
                <a:gd name="T52" fmla="*/ 66 w 203"/>
                <a:gd name="T53" fmla="*/ 23 h 74"/>
                <a:gd name="T54" fmla="*/ 64 w 203"/>
                <a:gd name="T55" fmla="*/ 31 h 74"/>
                <a:gd name="T56" fmla="*/ 59 w 203"/>
                <a:gd name="T57" fmla="*/ 38 h 74"/>
                <a:gd name="T58" fmla="*/ 56 w 203"/>
                <a:gd name="T59" fmla="*/ 45 h 74"/>
                <a:gd name="T60" fmla="*/ 64 w 203"/>
                <a:gd name="T61" fmla="*/ 44 h 74"/>
                <a:gd name="T62" fmla="*/ 69 w 203"/>
                <a:gd name="T63" fmla="*/ 42 h 74"/>
                <a:gd name="T64" fmla="*/ 71 w 203"/>
                <a:gd name="T65" fmla="*/ 45 h 74"/>
                <a:gd name="T66" fmla="*/ 71 w 203"/>
                <a:gd name="T67" fmla="*/ 52 h 74"/>
                <a:gd name="T68" fmla="*/ 66 w 203"/>
                <a:gd name="T69" fmla="*/ 54 h 74"/>
                <a:gd name="T70" fmla="*/ 61 w 203"/>
                <a:gd name="T71" fmla="*/ 53 h 74"/>
                <a:gd name="T72" fmla="*/ 60 w 203"/>
                <a:gd name="T73" fmla="*/ 59 h 74"/>
                <a:gd name="T74" fmla="*/ 64 w 203"/>
                <a:gd name="T75" fmla="*/ 64 h 74"/>
                <a:gd name="T76" fmla="*/ 65 w 203"/>
                <a:gd name="T77" fmla="*/ 69 h 74"/>
                <a:gd name="T78" fmla="*/ 72 w 203"/>
                <a:gd name="T79" fmla="*/ 68 h 74"/>
                <a:gd name="T80" fmla="*/ 84 w 203"/>
                <a:gd name="T81" fmla="*/ 60 h 74"/>
                <a:gd name="T82" fmla="*/ 96 w 203"/>
                <a:gd name="T83" fmla="*/ 54 h 74"/>
                <a:gd name="T84" fmla="*/ 106 w 203"/>
                <a:gd name="T85" fmla="*/ 52 h 74"/>
                <a:gd name="T86" fmla="*/ 121 w 203"/>
                <a:gd name="T87" fmla="*/ 48 h 74"/>
                <a:gd name="T88" fmla="*/ 132 w 203"/>
                <a:gd name="T89" fmla="*/ 41 h 74"/>
                <a:gd name="T90" fmla="*/ 149 w 203"/>
                <a:gd name="T91" fmla="*/ 39 h 74"/>
                <a:gd name="T92" fmla="*/ 155 w 203"/>
                <a:gd name="T93" fmla="*/ 33 h 74"/>
                <a:gd name="T94" fmla="*/ 161 w 203"/>
                <a:gd name="T95" fmla="*/ 29 h 74"/>
                <a:gd name="T96" fmla="*/ 172 w 203"/>
                <a:gd name="T97" fmla="*/ 27 h 74"/>
                <a:gd name="T98" fmla="*/ 181 w 203"/>
                <a:gd name="T99" fmla="*/ 23 h 74"/>
                <a:gd name="T100" fmla="*/ 189 w 203"/>
                <a:gd name="T101" fmla="*/ 17 h 74"/>
                <a:gd name="T102" fmla="*/ 199 w 203"/>
                <a:gd name="T103" fmla="*/ 9 h 74"/>
                <a:gd name="T104" fmla="*/ 200 w 203"/>
                <a:gd name="T105"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3" h="74">
                  <a:moveTo>
                    <a:pt x="2" y="65"/>
                  </a:moveTo>
                  <a:cubicBezTo>
                    <a:pt x="2" y="64"/>
                    <a:pt x="1" y="64"/>
                    <a:pt x="0" y="63"/>
                  </a:cubicBezTo>
                  <a:cubicBezTo>
                    <a:pt x="1" y="63"/>
                    <a:pt x="3" y="62"/>
                    <a:pt x="3" y="62"/>
                  </a:cubicBezTo>
                  <a:cubicBezTo>
                    <a:pt x="3" y="63"/>
                    <a:pt x="5" y="62"/>
                    <a:pt x="5" y="62"/>
                  </a:cubicBezTo>
                  <a:cubicBezTo>
                    <a:pt x="10" y="59"/>
                    <a:pt x="10" y="59"/>
                    <a:pt x="10" y="59"/>
                  </a:cubicBezTo>
                  <a:cubicBezTo>
                    <a:pt x="10" y="58"/>
                    <a:pt x="10" y="58"/>
                    <a:pt x="10" y="58"/>
                  </a:cubicBezTo>
                  <a:cubicBezTo>
                    <a:pt x="11" y="58"/>
                    <a:pt x="13" y="57"/>
                    <a:pt x="14" y="57"/>
                  </a:cubicBezTo>
                  <a:cubicBezTo>
                    <a:pt x="14" y="57"/>
                    <a:pt x="16" y="56"/>
                    <a:pt x="16" y="56"/>
                  </a:cubicBezTo>
                  <a:cubicBezTo>
                    <a:pt x="17" y="55"/>
                    <a:pt x="17" y="55"/>
                    <a:pt x="17" y="55"/>
                  </a:cubicBezTo>
                  <a:cubicBezTo>
                    <a:pt x="18" y="54"/>
                    <a:pt x="19" y="55"/>
                    <a:pt x="19" y="55"/>
                  </a:cubicBezTo>
                  <a:cubicBezTo>
                    <a:pt x="20" y="54"/>
                    <a:pt x="21" y="54"/>
                    <a:pt x="21" y="54"/>
                  </a:cubicBezTo>
                  <a:cubicBezTo>
                    <a:pt x="22" y="54"/>
                    <a:pt x="24" y="54"/>
                    <a:pt x="24" y="53"/>
                  </a:cubicBezTo>
                  <a:cubicBezTo>
                    <a:pt x="24" y="53"/>
                    <a:pt x="24" y="52"/>
                    <a:pt x="25" y="52"/>
                  </a:cubicBezTo>
                  <a:cubicBezTo>
                    <a:pt x="26" y="53"/>
                    <a:pt x="28" y="53"/>
                    <a:pt x="28" y="53"/>
                  </a:cubicBezTo>
                  <a:cubicBezTo>
                    <a:pt x="28" y="53"/>
                    <a:pt x="28" y="54"/>
                    <a:pt x="28" y="54"/>
                  </a:cubicBezTo>
                  <a:cubicBezTo>
                    <a:pt x="27" y="56"/>
                    <a:pt x="27" y="57"/>
                    <a:pt x="27" y="59"/>
                  </a:cubicBezTo>
                  <a:cubicBezTo>
                    <a:pt x="27" y="60"/>
                    <a:pt x="27" y="61"/>
                    <a:pt x="27" y="61"/>
                  </a:cubicBezTo>
                  <a:cubicBezTo>
                    <a:pt x="27" y="62"/>
                    <a:pt x="26" y="62"/>
                    <a:pt x="26" y="62"/>
                  </a:cubicBezTo>
                  <a:cubicBezTo>
                    <a:pt x="25" y="63"/>
                    <a:pt x="25" y="63"/>
                    <a:pt x="24" y="63"/>
                  </a:cubicBezTo>
                  <a:cubicBezTo>
                    <a:pt x="23" y="64"/>
                    <a:pt x="23" y="64"/>
                    <a:pt x="22" y="65"/>
                  </a:cubicBezTo>
                  <a:cubicBezTo>
                    <a:pt x="22" y="65"/>
                    <a:pt x="22" y="65"/>
                    <a:pt x="22" y="65"/>
                  </a:cubicBezTo>
                  <a:cubicBezTo>
                    <a:pt x="22" y="66"/>
                    <a:pt x="22" y="66"/>
                    <a:pt x="22" y="67"/>
                  </a:cubicBezTo>
                  <a:cubicBezTo>
                    <a:pt x="21" y="68"/>
                    <a:pt x="20" y="68"/>
                    <a:pt x="20" y="70"/>
                  </a:cubicBezTo>
                  <a:cubicBezTo>
                    <a:pt x="20" y="70"/>
                    <a:pt x="21" y="71"/>
                    <a:pt x="21" y="72"/>
                  </a:cubicBezTo>
                  <a:cubicBezTo>
                    <a:pt x="21" y="73"/>
                    <a:pt x="19" y="73"/>
                    <a:pt x="19" y="73"/>
                  </a:cubicBezTo>
                  <a:cubicBezTo>
                    <a:pt x="18" y="73"/>
                    <a:pt x="17" y="74"/>
                    <a:pt x="16" y="74"/>
                  </a:cubicBezTo>
                  <a:cubicBezTo>
                    <a:pt x="15" y="74"/>
                    <a:pt x="16" y="73"/>
                    <a:pt x="16" y="72"/>
                  </a:cubicBezTo>
                  <a:cubicBezTo>
                    <a:pt x="16" y="71"/>
                    <a:pt x="16" y="70"/>
                    <a:pt x="16" y="69"/>
                  </a:cubicBezTo>
                  <a:cubicBezTo>
                    <a:pt x="15" y="69"/>
                    <a:pt x="15" y="68"/>
                    <a:pt x="14" y="67"/>
                  </a:cubicBezTo>
                  <a:cubicBezTo>
                    <a:pt x="14" y="67"/>
                    <a:pt x="13" y="66"/>
                    <a:pt x="13" y="66"/>
                  </a:cubicBezTo>
                  <a:cubicBezTo>
                    <a:pt x="12" y="65"/>
                    <a:pt x="11" y="65"/>
                    <a:pt x="11" y="66"/>
                  </a:cubicBezTo>
                  <a:cubicBezTo>
                    <a:pt x="10" y="66"/>
                    <a:pt x="9" y="67"/>
                    <a:pt x="9" y="67"/>
                  </a:cubicBezTo>
                  <a:cubicBezTo>
                    <a:pt x="8" y="68"/>
                    <a:pt x="8" y="68"/>
                    <a:pt x="7" y="69"/>
                  </a:cubicBezTo>
                  <a:cubicBezTo>
                    <a:pt x="6" y="69"/>
                    <a:pt x="6" y="68"/>
                    <a:pt x="5" y="68"/>
                  </a:cubicBezTo>
                  <a:cubicBezTo>
                    <a:pt x="4" y="68"/>
                    <a:pt x="3" y="66"/>
                    <a:pt x="2" y="65"/>
                  </a:cubicBezTo>
                  <a:close/>
                  <a:moveTo>
                    <a:pt x="200" y="4"/>
                  </a:moveTo>
                  <a:cubicBezTo>
                    <a:pt x="200" y="4"/>
                    <a:pt x="199" y="4"/>
                    <a:pt x="198" y="3"/>
                  </a:cubicBezTo>
                  <a:cubicBezTo>
                    <a:pt x="197" y="3"/>
                    <a:pt x="197" y="2"/>
                    <a:pt x="197" y="1"/>
                  </a:cubicBezTo>
                  <a:cubicBezTo>
                    <a:pt x="196" y="1"/>
                    <a:pt x="195" y="1"/>
                    <a:pt x="195" y="1"/>
                  </a:cubicBezTo>
                  <a:cubicBezTo>
                    <a:pt x="194" y="1"/>
                    <a:pt x="193" y="2"/>
                    <a:pt x="193" y="3"/>
                  </a:cubicBezTo>
                  <a:cubicBezTo>
                    <a:pt x="192" y="3"/>
                    <a:pt x="190" y="2"/>
                    <a:pt x="189" y="2"/>
                  </a:cubicBezTo>
                  <a:cubicBezTo>
                    <a:pt x="188" y="2"/>
                    <a:pt x="188" y="2"/>
                    <a:pt x="187" y="1"/>
                  </a:cubicBezTo>
                  <a:cubicBezTo>
                    <a:pt x="187" y="1"/>
                    <a:pt x="185" y="0"/>
                    <a:pt x="184" y="0"/>
                  </a:cubicBezTo>
                  <a:cubicBezTo>
                    <a:pt x="183" y="0"/>
                    <a:pt x="181" y="0"/>
                    <a:pt x="180" y="1"/>
                  </a:cubicBezTo>
                  <a:cubicBezTo>
                    <a:pt x="179" y="1"/>
                    <a:pt x="178" y="2"/>
                    <a:pt x="176" y="3"/>
                  </a:cubicBezTo>
                  <a:cubicBezTo>
                    <a:pt x="175" y="3"/>
                    <a:pt x="172" y="5"/>
                    <a:pt x="172" y="5"/>
                  </a:cubicBezTo>
                  <a:cubicBezTo>
                    <a:pt x="172" y="5"/>
                    <a:pt x="169" y="5"/>
                    <a:pt x="168" y="5"/>
                  </a:cubicBezTo>
                  <a:cubicBezTo>
                    <a:pt x="167" y="4"/>
                    <a:pt x="165" y="5"/>
                    <a:pt x="164" y="6"/>
                  </a:cubicBezTo>
                  <a:cubicBezTo>
                    <a:pt x="162" y="7"/>
                    <a:pt x="160" y="9"/>
                    <a:pt x="158" y="9"/>
                  </a:cubicBezTo>
                  <a:cubicBezTo>
                    <a:pt x="156" y="10"/>
                    <a:pt x="155" y="9"/>
                    <a:pt x="155" y="9"/>
                  </a:cubicBezTo>
                  <a:cubicBezTo>
                    <a:pt x="154" y="9"/>
                    <a:pt x="152" y="7"/>
                    <a:pt x="151" y="7"/>
                  </a:cubicBezTo>
                  <a:cubicBezTo>
                    <a:pt x="150" y="7"/>
                    <a:pt x="148" y="6"/>
                    <a:pt x="147" y="6"/>
                  </a:cubicBezTo>
                  <a:cubicBezTo>
                    <a:pt x="147" y="6"/>
                    <a:pt x="143" y="7"/>
                    <a:pt x="143" y="7"/>
                  </a:cubicBezTo>
                  <a:cubicBezTo>
                    <a:pt x="139" y="9"/>
                    <a:pt x="139" y="9"/>
                    <a:pt x="139" y="9"/>
                  </a:cubicBezTo>
                  <a:cubicBezTo>
                    <a:pt x="139" y="9"/>
                    <a:pt x="136" y="11"/>
                    <a:pt x="136" y="11"/>
                  </a:cubicBezTo>
                  <a:cubicBezTo>
                    <a:pt x="135" y="11"/>
                    <a:pt x="134" y="11"/>
                    <a:pt x="134" y="11"/>
                  </a:cubicBezTo>
                  <a:cubicBezTo>
                    <a:pt x="132" y="10"/>
                    <a:pt x="132" y="10"/>
                    <a:pt x="132" y="10"/>
                  </a:cubicBezTo>
                  <a:cubicBezTo>
                    <a:pt x="131" y="10"/>
                    <a:pt x="130" y="11"/>
                    <a:pt x="129" y="11"/>
                  </a:cubicBezTo>
                  <a:cubicBezTo>
                    <a:pt x="129" y="12"/>
                    <a:pt x="127" y="12"/>
                    <a:pt x="126" y="12"/>
                  </a:cubicBezTo>
                  <a:cubicBezTo>
                    <a:pt x="126" y="12"/>
                    <a:pt x="124" y="12"/>
                    <a:pt x="124" y="11"/>
                  </a:cubicBezTo>
                  <a:cubicBezTo>
                    <a:pt x="123" y="11"/>
                    <a:pt x="122" y="11"/>
                    <a:pt x="122" y="11"/>
                  </a:cubicBezTo>
                  <a:cubicBezTo>
                    <a:pt x="122" y="10"/>
                    <a:pt x="120" y="9"/>
                    <a:pt x="120" y="9"/>
                  </a:cubicBezTo>
                  <a:cubicBezTo>
                    <a:pt x="120" y="9"/>
                    <a:pt x="117" y="9"/>
                    <a:pt x="117" y="9"/>
                  </a:cubicBezTo>
                  <a:cubicBezTo>
                    <a:pt x="116" y="9"/>
                    <a:pt x="113" y="9"/>
                    <a:pt x="112" y="10"/>
                  </a:cubicBezTo>
                  <a:cubicBezTo>
                    <a:pt x="112" y="10"/>
                    <a:pt x="110" y="10"/>
                    <a:pt x="109" y="11"/>
                  </a:cubicBezTo>
                  <a:cubicBezTo>
                    <a:pt x="107" y="12"/>
                    <a:pt x="107" y="12"/>
                    <a:pt x="107" y="12"/>
                  </a:cubicBezTo>
                  <a:cubicBezTo>
                    <a:pt x="105" y="12"/>
                    <a:pt x="105" y="12"/>
                    <a:pt x="105" y="12"/>
                  </a:cubicBezTo>
                  <a:cubicBezTo>
                    <a:pt x="102" y="13"/>
                    <a:pt x="102" y="13"/>
                    <a:pt x="102" y="13"/>
                  </a:cubicBezTo>
                  <a:cubicBezTo>
                    <a:pt x="102" y="13"/>
                    <a:pt x="102" y="12"/>
                    <a:pt x="102" y="12"/>
                  </a:cubicBezTo>
                  <a:cubicBezTo>
                    <a:pt x="102" y="11"/>
                    <a:pt x="100" y="12"/>
                    <a:pt x="100" y="12"/>
                  </a:cubicBezTo>
                  <a:cubicBezTo>
                    <a:pt x="97" y="13"/>
                    <a:pt x="97" y="13"/>
                    <a:pt x="97" y="13"/>
                  </a:cubicBezTo>
                  <a:cubicBezTo>
                    <a:pt x="95" y="13"/>
                    <a:pt x="95" y="13"/>
                    <a:pt x="95" y="13"/>
                  </a:cubicBezTo>
                  <a:cubicBezTo>
                    <a:pt x="93" y="13"/>
                    <a:pt x="93" y="13"/>
                    <a:pt x="93" y="13"/>
                  </a:cubicBezTo>
                  <a:cubicBezTo>
                    <a:pt x="92" y="13"/>
                    <a:pt x="92" y="13"/>
                    <a:pt x="92" y="13"/>
                  </a:cubicBezTo>
                  <a:cubicBezTo>
                    <a:pt x="92" y="13"/>
                    <a:pt x="90" y="14"/>
                    <a:pt x="89" y="14"/>
                  </a:cubicBezTo>
                  <a:cubicBezTo>
                    <a:pt x="89" y="14"/>
                    <a:pt x="88" y="14"/>
                    <a:pt x="86" y="14"/>
                  </a:cubicBezTo>
                  <a:cubicBezTo>
                    <a:pt x="84" y="14"/>
                    <a:pt x="84" y="15"/>
                    <a:pt x="83" y="15"/>
                  </a:cubicBezTo>
                  <a:cubicBezTo>
                    <a:pt x="82" y="16"/>
                    <a:pt x="81" y="16"/>
                    <a:pt x="80" y="16"/>
                  </a:cubicBezTo>
                  <a:cubicBezTo>
                    <a:pt x="79" y="17"/>
                    <a:pt x="75" y="17"/>
                    <a:pt x="74" y="17"/>
                  </a:cubicBezTo>
                  <a:cubicBezTo>
                    <a:pt x="73" y="17"/>
                    <a:pt x="70" y="18"/>
                    <a:pt x="69" y="19"/>
                  </a:cubicBezTo>
                  <a:cubicBezTo>
                    <a:pt x="68" y="19"/>
                    <a:pt x="67" y="22"/>
                    <a:pt x="66" y="23"/>
                  </a:cubicBezTo>
                  <a:cubicBezTo>
                    <a:pt x="66" y="24"/>
                    <a:pt x="66" y="26"/>
                    <a:pt x="66" y="26"/>
                  </a:cubicBezTo>
                  <a:cubicBezTo>
                    <a:pt x="67" y="27"/>
                    <a:pt x="66" y="29"/>
                    <a:pt x="66" y="29"/>
                  </a:cubicBezTo>
                  <a:cubicBezTo>
                    <a:pt x="66" y="30"/>
                    <a:pt x="64" y="31"/>
                    <a:pt x="64" y="31"/>
                  </a:cubicBezTo>
                  <a:cubicBezTo>
                    <a:pt x="63" y="32"/>
                    <a:pt x="61" y="33"/>
                    <a:pt x="61" y="33"/>
                  </a:cubicBezTo>
                  <a:cubicBezTo>
                    <a:pt x="60" y="34"/>
                    <a:pt x="60" y="35"/>
                    <a:pt x="60" y="36"/>
                  </a:cubicBezTo>
                  <a:cubicBezTo>
                    <a:pt x="60" y="36"/>
                    <a:pt x="59" y="37"/>
                    <a:pt x="59" y="38"/>
                  </a:cubicBezTo>
                  <a:cubicBezTo>
                    <a:pt x="58" y="39"/>
                    <a:pt x="57" y="39"/>
                    <a:pt x="57" y="40"/>
                  </a:cubicBezTo>
                  <a:cubicBezTo>
                    <a:pt x="57" y="40"/>
                    <a:pt x="57" y="41"/>
                    <a:pt x="56" y="42"/>
                  </a:cubicBezTo>
                  <a:cubicBezTo>
                    <a:pt x="56" y="43"/>
                    <a:pt x="55" y="44"/>
                    <a:pt x="56" y="45"/>
                  </a:cubicBezTo>
                  <a:cubicBezTo>
                    <a:pt x="57" y="45"/>
                    <a:pt x="58" y="45"/>
                    <a:pt x="59" y="46"/>
                  </a:cubicBezTo>
                  <a:cubicBezTo>
                    <a:pt x="60" y="46"/>
                    <a:pt x="60" y="46"/>
                    <a:pt x="61" y="46"/>
                  </a:cubicBezTo>
                  <a:cubicBezTo>
                    <a:pt x="62" y="45"/>
                    <a:pt x="63" y="45"/>
                    <a:pt x="64" y="44"/>
                  </a:cubicBezTo>
                  <a:cubicBezTo>
                    <a:pt x="65" y="44"/>
                    <a:pt x="65" y="43"/>
                    <a:pt x="66" y="43"/>
                  </a:cubicBezTo>
                  <a:cubicBezTo>
                    <a:pt x="66" y="42"/>
                    <a:pt x="66" y="41"/>
                    <a:pt x="67" y="40"/>
                  </a:cubicBezTo>
                  <a:cubicBezTo>
                    <a:pt x="68" y="40"/>
                    <a:pt x="69" y="41"/>
                    <a:pt x="69" y="42"/>
                  </a:cubicBezTo>
                  <a:cubicBezTo>
                    <a:pt x="69" y="42"/>
                    <a:pt x="69" y="43"/>
                    <a:pt x="70" y="43"/>
                  </a:cubicBezTo>
                  <a:cubicBezTo>
                    <a:pt x="70" y="43"/>
                    <a:pt x="71" y="43"/>
                    <a:pt x="71" y="44"/>
                  </a:cubicBezTo>
                  <a:cubicBezTo>
                    <a:pt x="72" y="44"/>
                    <a:pt x="72" y="45"/>
                    <a:pt x="71" y="45"/>
                  </a:cubicBezTo>
                  <a:cubicBezTo>
                    <a:pt x="71" y="46"/>
                    <a:pt x="71" y="47"/>
                    <a:pt x="71" y="47"/>
                  </a:cubicBezTo>
                  <a:cubicBezTo>
                    <a:pt x="71" y="49"/>
                    <a:pt x="70" y="50"/>
                    <a:pt x="71" y="51"/>
                  </a:cubicBezTo>
                  <a:cubicBezTo>
                    <a:pt x="72" y="51"/>
                    <a:pt x="72" y="52"/>
                    <a:pt x="71" y="52"/>
                  </a:cubicBezTo>
                  <a:cubicBezTo>
                    <a:pt x="71" y="53"/>
                    <a:pt x="69" y="53"/>
                    <a:pt x="69" y="53"/>
                  </a:cubicBezTo>
                  <a:cubicBezTo>
                    <a:pt x="68" y="54"/>
                    <a:pt x="68" y="54"/>
                    <a:pt x="67" y="54"/>
                  </a:cubicBezTo>
                  <a:cubicBezTo>
                    <a:pt x="66" y="54"/>
                    <a:pt x="66" y="54"/>
                    <a:pt x="66" y="54"/>
                  </a:cubicBezTo>
                  <a:cubicBezTo>
                    <a:pt x="66" y="54"/>
                    <a:pt x="65" y="54"/>
                    <a:pt x="65" y="54"/>
                  </a:cubicBezTo>
                  <a:cubicBezTo>
                    <a:pt x="64" y="53"/>
                    <a:pt x="64" y="53"/>
                    <a:pt x="63" y="53"/>
                  </a:cubicBezTo>
                  <a:cubicBezTo>
                    <a:pt x="62" y="53"/>
                    <a:pt x="61" y="53"/>
                    <a:pt x="61" y="53"/>
                  </a:cubicBezTo>
                  <a:cubicBezTo>
                    <a:pt x="60" y="54"/>
                    <a:pt x="60" y="54"/>
                    <a:pt x="59" y="54"/>
                  </a:cubicBezTo>
                  <a:cubicBezTo>
                    <a:pt x="59" y="55"/>
                    <a:pt x="59" y="56"/>
                    <a:pt x="59" y="56"/>
                  </a:cubicBezTo>
                  <a:cubicBezTo>
                    <a:pt x="59" y="57"/>
                    <a:pt x="60" y="58"/>
                    <a:pt x="60" y="59"/>
                  </a:cubicBezTo>
                  <a:cubicBezTo>
                    <a:pt x="60" y="60"/>
                    <a:pt x="60" y="60"/>
                    <a:pt x="60" y="61"/>
                  </a:cubicBezTo>
                  <a:cubicBezTo>
                    <a:pt x="61" y="61"/>
                    <a:pt x="62" y="61"/>
                    <a:pt x="63" y="62"/>
                  </a:cubicBezTo>
                  <a:cubicBezTo>
                    <a:pt x="64" y="62"/>
                    <a:pt x="64" y="63"/>
                    <a:pt x="64" y="64"/>
                  </a:cubicBezTo>
                  <a:cubicBezTo>
                    <a:pt x="64" y="65"/>
                    <a:pt x="64" y="65"/>
                    <a:pt x="64" y="65"/>
                  </a:cubicBezTo>
                  <a:cubicBezTo>
                    <a:pt x="64" y="65"/>
                    <a:pt x="64" y="65"/>
                    <a:pt x="64" y="66"/>
                  </a:cubicBezTo>
                  <a:cubicBezTo>
                    <a:pt x="65" y="66"/>
                    <a:pt x="65" y="68"/>
                    <a:pt x="65" y="69"/>
                  </a:cubicBezTo>
                  <a:cubicBezTo>
                    <a:pt x="65" y="69"/>
                    <a:pt x="65" y="70"/>
                    <a:pt x="66" y="71"/>
                  </a:cubicBezTo>
                  <a:cubicBezTo>
                    <a:pt x="66" y="70"/>
                    <a:pt x="67" y="69"/>
                    <a:pt x="68" y="69"/>
                  </a:cubicBezTo>
                  <a:cubicBezTo>
                    <a:pt x="70" y="68"/>
                    <a:pt x="71" y="68"/>
                    <a:pt x="72" y="68"/>
                  </a:cubicBezTo>
                  <a:cubicBezTo>
                    <a:pt x="74" y="69"/>
                    <a:pt x="74" y="68"/>
                    <a:pt x="75" y="66"/>
                  </a:cubicBezTo>
                  <a:cubicBezTo>
                    <a:pt x="76" y="64"/>
                    <a:pt x="77" y="64"/>
                    <a:pt x="79" y="63"/>
                  </a:cubicBezTo>
                  <a:cubicBezTo>
                    <a:pt x="81" y="61"/>
                    <a:pt x="82" y="60"/>
                    <a:pt x="84" y="60"/>
                  </a:cubicBezTo>
                  <a:cubicBezTo>
                    <a:pt x="85" y="59"/>
                    <a:pt x="87" y="58"/>
                    <a:pt x="87" y="57"/>
                  </a:cubicBezTo>
                  <a:cubicBezTo>
                    <a:pt x="88" y="57"/>
                    <a:pt x="92" y="57"/>
                    <a:pt x="93" y="56"/>
                  </a:cubicBezTo>
                  <a:cubicBezTo>
                    <a:pt x="94" y="56"/>
                    <a:pt x="95" y="55"/>
                    <a:pt x="96" y="54"/>
                  </a:cubicBezTo>
                  <a:cubicBezTo>
                    <a:pt x="98" y="54"/>
                    <a:pt x="99" y="54"/>
                    <a:pt x="99" y="54"/>
                  </a:cubicBezTo>
                  <a:cubicBezTo>
                    <a:pt x="100" y="54"/>
                    <a:pt x="103" y="54"/>
                    <a:pt x="103" y="54"/>
                  </a:cubicBezTo>
                  <a:cubicBezTo>
                    <a:pt x="103" y="54"/>
                    <a:pt x="104" y="53"/>
                    <a:pt x="106" y="52"/>
                  </a:cubicBezTo>
                  <a:cubicBezTo>
                    <a:pt x="108" y="52"/>
                    <a:pt x="113" y="50"/>
                    <a:pt x="115" y="50"/>
                  </a:cubicBezTo>
                  <a:cubicBezTo>
                    <a:pt x="116" y="50"/>
                    <a:pt x="118" y="51"/>
                    <a:pt x="119" y="51"/>
                  </a:cubicBezTo>
                  <a:cubicBezTo>
                    <a:pt x="119" y="51"/>
                    <a:pt x="120" y="49"/>
                    <a:pt x="121" y="48"/>
                  </a:cubicBezTo>
                  <a:cubicBezTo>
                    <a:pt x="122" y="48"/>
                    <a:pt x="125" y="47"/>
                    <a:pt x="125" y="46"/>
                  </a:cubicBezTo>
                  <a:cubicBezTo>
                    <a:pt x="126" y="46"/>
                    <a:pt x="128" y="44"/>
                    <a:pt x="128" y="43"/>
                  </a:cubicBezTo>
                  <a:cubicBezTo>
                    <a:pt x="129" y="43"/>
                    <a:pt x="131" y="41"/>
                    <a:pt x="132" y="41"/>
                  </a:cubicBezTo>
                  <a:cubicBezTo>
                    <a:pt x="132" y="41"/>
                    <a:pt x="142" y="40"/>
                    <a:pt x="143" y="40"/>
                  </a:cubicBezTo>
                  <a:cubicBezTo>
                    <a:pt x="143" y="40"/>
                    <a:pt x="144" y="40"/>
                    <a:pt x="145" y="39"/>
                  </a:cubicBezTo>
                  <a:cubicBezTo>
                    <a:pt x="145" y="39"/>
                    <a:pt x="148" y="39"/>
                    <a:pt x="149" y="39"/>
                  </a:cubicBezTo>
                  <a:cubicBezTo>
                    <a:pt x="150" y="39"/>
                    <a:pt x="153" y="39"/>
                    <a:pt x="153" y="39"/>
                  </a:cubicBezTo>
                  <a:cubicBezTo>
                    <a:pt x="153" y="39"/>
                    <a:pt x="154" y="36"/>
                    <a:pt x="154" y="35"/>
                  </a:cubicBezTo>
                  <a:cubicBezTo>
                    <a:pt x="155" y="34"/>
                    <a:pt x="155" y="33"/>
                    <a:pt x="155" y="33"/>
                  </a:cubicBezTo>
                  <a:cubicBezTo>
                    <a:pt x="158" y="31"/>
                    <a:pt x="158" y="31"/>
                    <a:pt x="158" y="31"/>
                  </a:cubicBezTo>
                  <a:cubicBezTo>
                    <a:pt x="161" y="30"/>
                    <a:pt x="161" y="30"/>
                    <a:pt x="161" y="30"/>
                  </a:cubicBezTo>
                  <a:cubicBezTo>
                    <a:pt x="161" y="30"/>
                    <a:pt x="161" y="29"/>
                    <a:pt x="161" y="29"/>
                  </a:cubicBezTo>
                  <a:cubicBezTo>
                    <a:pt x="162" y="28"/>
                    <a:pt x="164" y="27"/>
                    <a:pt x="165" y="27"/>
                  </a:cubicBezTo>
                  <a:cubicBezTo>
                    <a:pt x="166" y="27"/>
                    <a:pt x="169" y="27"/>
                    <a:pt x="169" y="27"/>
                  </a:cubicBezTo>
                  <a:cubicBezTo>
                    <a:pt x="170" y="27"/>
                    <a:pt x="172" y="27"/>
                    <a:pt x="172" y="27"/>
                  </a:cubicBezTo>
                  <a:cubicBezTo>
                    <a:pt x="173" y="27"/>
                    <a:pt x="174" y="27"/>
                    <a:pt x="175" y="27"/>
                  </a:cubicBezTo>
                  <a:cubicBezTo>
                    <a:pt x="176" y="26"/>
                    <a:pt x="177" y="25"/>
                    <a:pt x="178" y="24"/>
                  </a:cubicBezTo>
                  <a:cubicBezTo>
                    <a:pt x="178" y="24"/>
                    <a:pt x="180" y="23"/>
                    <a:pt x="181" y="23"/>
                  </a:cubicBezTo>
                  <a:cubicBezTo>
                    <a:pt x="181" y="22"/>
                    <a:pt x="184" y="22"/>
                    <a:pt x="185" y="22"/>
                  </a:cubicBezTo>
                  <a:cubicBezTo>
                    <a:pt x="186" y="22"/>
                    <a:pt x="186" y="22"/>
                    <a:pt x="186" y="21"/>
                  </a:cubicBezTo>
                  <a:cubicBezTo>
                    <a:pt x="187" y="20"/>
                    <a:pt x="188" y="18"/>
                    <a:pt x="189" y="17"/>
                  </a:cubicBezTo>
                  <a:cubicBezTo>
                    <a:pt x="190" y="16"/>
                    <a:pt x="191" y="15"/>
                    <a:pt x="192" y="15"/>
                  </a:cubicBezTo>
                  <a:cubicBezTo>
                    <a:pt x="193" y="14"/>
                    <a:pt x="195" y="13"/>
                    <a:pt x="196" y="12"/>
                  </a:cubicBezTo>
                  <a:cubicBezTo>
                    <a:pt x="196" y="12"/>
                    <a:pt x="198" y="10"/>
                    <a:pt x="199" y="9"/>
                  </a:cubicBezTo>
                  <a:cubicBezTo>
                    <a:pt x="199" y="9"/>
                    <a:pt x="203" y="6"/>
                    <a:pt x="203" y="6"/>
                  </a:cubicBezTo>
                  <a:cubicBezTo>
                    <a:pt x="202" y="4"/>
                    <a:pt x="202" y="4"/>
                    <a:pt x="202" y="4"/>
                  </a:cubicBezTo>
                  <a:cubicBezTo>
                    <a:pt x="202" y="4"/>
                    <a:pt x="201" y="4"/>
                    <a:pt x="200" y="4"/>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8" name="Freeform 9">
              <a:extLst>
                <a:ext uri="{FF2B5EF4-FFF2-40B4-BE49-F238E27FC236}">
                  <a16:creationId xmlns:a16="http://schemas.microsoft.com/office/drawing/2014/main" id="{C2A1B8D3-F4CD-C04D-17B6-CE25D39EB791}"/>
                </a:ext>
              </a:extLst>
            </p:cNvPr>
            <p:cNvSpPr>
              <a:spLocks noEditPoints="1"/>
            </p:cNvSpPr>
            <p:nvPr/>
          </p:nvSpPr>
          <p:spPr bwMode="auto">
            <a:xfrm>
              <a:off x="8723313" y="3827463"/>
              <a:ext cx="1290638" cy="1001712"/>
            </a:xfrm>
            <a:custGeom>
              <a:avLst/>
              <a:gdLst>
                <a:gd name="T0" fmla="*/ 12 w 339"/>
                <a:gd name="T1" fmla="*/ 108 h 263"/>
                <a:gd name="T2" fmla="*/ 40 w 339"/>
                <a:gd name="T3" fmla="*/ 118 h 263"/>
                <a:gd name="T4" fmla="*/ 54 w 339"/>
                <a:gd name="T5" fmla="*/ 31 h 263"/>
                <a:gd name="T6" fmla="*/ 61 w 339"/>
                <a:gd name="T7" fmla="*/ 25 h 263"/>
                <a:gd name="T8" fmla="*/ 61 w 339"/>
                <a:gd name="T9" fmla="*/ 8 h 263"/>
                <a:gd name="T10" fmla="*/ 96 w 339"/>
                <a:gd name="T11" fmla="*/ 13 h 263"/>
                <a:gd name="T12" fmla="*/ 61 w 339"/>
                <a:gd name="T13" fmla="*/ 1 h 263"/>
                <a:gd name="T14" fmla="*/ 37 w 339"/>
                <a:gd name="T15" fmla="*/ 9 h 263"/>
                <a:gd name="T16" fmla="*/ 36 w 339"/>
                <a:gd name="T17" fmla="*/ 15 h 263"/>
                <a:gd name="T18" fmla="*/ 62 w 339"/>
                <a:gd name="T19" fmla="*/ 53 h 263"/>
                <a:gd name="T20" fmla="*/ 59 w 339"/>
                <a:gd name="T21" fmla="*/ 49 h 263"/>
                <a:gd name="T22" fmla="*/ 45 w 339"/>
                <a:gd name="T23" fmla="*/ 54 h 263"/>
                <a:gd name="T24" fmla="*/ 82 w 339"/>
                <a:gd name="T25" fmla="*/ 63 h 263"/>
                <a:gd name="T26" fmla="*/ 59 w 339"/>
                <a:gd name="T27" fmla="*/ 67 h 263"/>
                <a:gd name="T28" fmla="*/ 247 w 339"/>
                <a:gd name="T29" fmla="*/ 137 h 263"/>
                <a:gd name="T30" fmla="*/ 233 w 339"/>
                <a:gd name="T31" fmla="*/ 260 h 263"/>
                <a:gd name="T32" fmla="*/ 306 w 339"/>
                <a:gd name="T33" fmla="*/ 205 h 263"/>
                <a:gd name="T34" fmla="*/ 284 w 339"/>
                <a:gd name="T35" fmla="*/ 164 h 263"/>
                <a:gd name="T36" fmla="*/ 268 w 339"/>
                <a:gd name="T37" fmla="*/ 114 h 263"/>
                <a:gd name="T38" fmla="*/ 276 w 339"/>
                <a:gd name="T39" fmla="*/ 83 h 263"/>
                <a:gd name="T40" fmla="*/ 268 w 339"/>
                <a:gd name="T41" fmla="*/ 53 h 263"/>
                <a:gd name="T42" fmla="*/ 217 w 339"/>
                <a:gd name="T43" fmla="*/ 40 h 263"/>
                <a:gd name="T44" fmla="*/ 185 w 339"/>
                <a:gd name="T45" fmla="*/ 24 h 263"/>
                <a:gd name="T46" fmla="*/ 126 w 339"/>
                <a:gd name="T47" fmla="*/ 44 h 263"/>
                <a:gd name="T48" fmla="*/ 91 w 339"/>
                <a:gd name="T49" fmla="*/ 69 h 263"/>
                <a:gd name="T50" fmla="*/ 87 w 339"/>
                <a:gd name="T51" fmla="*/ 89 h 263"/>
                <a:gd name="T52" fmla="*/ 108 w 339"/>
                <a:gd name="T53" fmla="*/ 91 h 263"/>
                <a:gd name="T54" fmla="*/ 115 w 339"/>
                <a:gd name="T55" fmla="*/ 90 h 263"/>
                <a:gd name="T56" fmla="*/ 130 w 339"/>
                <a:gd name="T57" fmla="*/ 96 h 263"/>
                <a:gd name="T58" fmla="*/ 133 w 339"/>
                <a:gd name="T59" fmla="*/ 99 h 263"/>
                <a:gd name="T60" fmla="*/ 141 w 339"/>
                <a:gd name="T61" fmla="*/ 105 h 263"/>
                <a:gd name="T62" fmla="*/ 144 w 339"/>
                <a:gd name="T63" fmla="*/ 118 h 263"/>
                <a:gd name="T64" fmla="*/ 164 w 339"/>
                <a:gd name="T65" fmla="*/ 137 h 263"/>
                <a:gd name="T66" fmla="*/ 199 w 339"/>
                <a:gd name="T67" fmla="*/ 139 h 263"/>
                <a:gd name="T68" fmla="*/ 236 w 339"/>
                <a:gd name="T69" fmla="*/ 133 h 263"/>
                <a:gd name="T70" fmla="*/ 251 w 339"/>
                <a:gd name="T71" fmla="*/ 131 h 263"/>
                <a:gd name="T72" fmla="*/ 254 w 339"/>
                <a:gd name="T73" fmla="*/ 142 h 263"/>
                <a:gd name="T74" fmla="*/ 246 w 339"/>
                <a:gd name="T75" fmla="*/ 150 h 263"/>
                <a:gd name="T76" fmla="*/ 251 w 339"/>
                <a:gd name="T77" fmla="*/ 163 h 263"/>
                <a:gd name="T78" fmla="*/ 241 w 339"/>
                <a:gd name="T79" fmla="*/ 156 h 263"/>
                <a:gd name="T80" fmla="*/ 232 w 339"/>
                <a:gd name="T81" fmla="*/ 159 h 263"/>
                <a:gd name="T82" fmla="*/ 228 w 339"/>
                <a:gd name="T83" fmla="*/ 154 h 263"/>
                <a:gd name="T84" fmla="*/ 210 w 339"/>
                <a:gd name="T85" fmla="*/ 148 h 263"/>
                <a:gd name="T86" fmla="*/ 166 w 339"/>
                <a:gd name="T87" fmla="*/ 165 h 263"/>
                <a:gd name="T88" fmla="*/ 139 w 339"/>
                <a:gd name="T89" fmla="*/ 168 h 263"/>
                <a:gd name="T90" fmla="*/ 144 w 339"/>
                <a:gd name="T91" fmla="*/ 179 h 263"/>
                <a:gd name="T92" fmla="*/ 177 w 339"/>
                <a:gd name="T93" fmla="*/ 195 h 263"/>
                <a:gd name="T94" fmla="*/ 189 w 339"/>
                <a:gd name="T95" fmla="*/ 204 h 263"/>
                <a:gd name="T96" fmla="*/ 187 w 339"/>
                <a:gd name="T97" fmla="*/ 222 h 263"/>
                <a:gd name="T98" fmla="*/ 198 w 339"/>
                <a:gd name="T99" fmla="*/ 251 h 263"/>
                <a:gd name="T100" fmla="*/ 222 w 339"/>
                <a:gd name="T101" fmla="*/ 239 h 263"/>
                <a:gd name="T102" fmla="*/ 223 w 339"/>
                <a:gd name="T103" fmla="*/ 220 h 263"/>
                <a:gd name="T104" fmla="*/ 230 w 339"/>
                <a:gd name="T105" fmla="*/ 211 h 263"/>
                <a:gd name="T106" fmla="*/ 239 w 339"/>
                <a:gd name="T107" fmla="*/ 209 h 263"/>
                <a:gd name="T108" fmla="*/ 251 w 339"/>
                <a:gd name="T109" fmla="*/ 180 h 263"/>
                <a:gd name="T110" fmla="*/ 244 w 339"/>
                <a:gd name="T111" fmla="*/ 195 h 263"/>
                <a:gd name="T112" fmla="*/ 246 w 339"/>
                <a:gd name="T113" fmla="*/ 223 h 263"/>
                <a:gd name="T114" fmla="*/ 259 w 339"/>
                <a:gd name="T115" fmla="*/ 236 h 263"/>
                <a:gd name="T116" fmla="*/ 269 w 339"/>
                <a:gd name="T117" fmla="*/ 238 h 263"/>
                <a:gd name="T118" fmla="*/ 283 w 339"/>
                <a:gd name="T119" fmla="*/ 241 h 263"/>
                <a:gd name="T120" fmla="*/ 303 w 339"/>
                <a:gd name="T121" fmla="*/ 241 h 263"/>
                <a:gd name="T122" fmla="*/ 307 w 339"/>
                <a:gd name="T123" fmla="*/ 241 h 263"/>
                <a:gd name="T124" fmla="*/ 305 w 339"/>
                <a:gd name="T125" fmla="*/ 25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9" h="263">
                  <a:moveTo>
                    <a:pt x="37" y="121"/>
                  </a:moveTo>
                  <a:cubicBezTo>
                    <a:pt x="36" y="121"/>
                    <a:pt x="36" y="122"/>
                    <a:pt x="35" y="122"/>
                  </a:cubicBezTo>
                  <a:cubicBezTo>
                    <a:pt x="35" y="123"/>
                    <a:pt x="34" y="123"/>
                    <a:pt x="34" y="123"/>
                  </a:cubicBezTo>
                  <a:cubicBezTo>
                    <a:pt x="33" y="124"/>
                    <a:pt x="32" y="125"/>
                    <a:pt x="31" y="125"/>
                  </a:cubicBezTo>
                  <a:cubicBezTo>
                    <a:pt x="30" y="125"/>
                    <a:pt x="29" y="125"/>
                    <a:pt x="28" y="125"/>
                  </a:cubicBezTo>
                  <a:cubicBezTo>
                    <a:pt x="26" y="125"/>
                    <a:pt x="24" y="125"/>
                    <a:pt x="23" y="124"/>
                  </a:cubicBezTo>
                  <a:cubicBezTo>
                    <a:pt x="22" y="123"/>
                    <a:pt x="21" y="123"/>
                    <a:pt x="20" y="123"/>
                  </a:cubicBezTo>
                  <a:cubicBezTo>
                    <a:pt x="18" y="122"/>
                    <a:pt x="16" y="123"/>
                    <a:pt x="15" y="122"/>
                  </a:cubicBezTo>
                  <a:cubicBezTo>
                    <a:pt x="13" y="121"/>
                    <a:pt x="11" y="121"/>
                    <a:pt x="10" y="120"/>
                  </a:cubicBezTo>
                  <a:cubicBezTo>
                    <a:pt x="9" y="119"/>
                    <a:pt x="8" y="119"/>
                    <a:pt x="7" y="118"/>
                  </a:cubicBezTo>
                  <a:cubicBezTo>
                    <a:pt x="6" y="118"/>
                    <a:pt x="5" y="118"/>
                    <a:pt x="3" y="117"/>
                  </a:cubicBezTo>
                  <a:cubicBezTo>
                    <a:pt x="2" y="116"/>
                    <a:pt x="0" y="115"/>
                    <a:pt x="0" y="114"/>
                  </a:cubicBezTo>
                  <a:cubicBezTo>
                    <a:pt x="1" y="113"/>
                    <a:pt x="2" y="112"/>
                    <a:pt x="3" y="112"/>
                  </a:cubicBezTo>
                  <a:cubicBezTo>
                    <a:pt x="4" y="112"/>
                    <a:pt x="6" y="112"/>
                    <a:pt x="7" y="111"/>
                  </a:cubicBezTo>
                  <a:cubicBezTo>
                    <a:pt x="9" y="110"/>
                    <a:pt x="11" y="109"/>
                    <a:pt x="12" y="108"/>
                  </a:cubicBezTo>
                  <a:cubicBezTo>
                    <a:pt x="13" y="107"/>
                    <a:pt x="14" y="108"/>
                    <a:pt x="15" y="107"/>
                  </a:cubicBezTo>
                  <a:cubicBezTo>
                    <a:pt x="16" y="107"/>
                    <a:pt x="17" y="106"/>
                    <a:pt x="17" y="106"/>
                  </a:cubicBezTo>
                  <a:cubicBezTo>
                    <a:pt x="18" y="106"/>
                    <a:pt x="19" y="105"/>
                    <a:pt x="20" y="105"/>
                  </a:cubicBezTo>
                  <a:cubicBezTo>
                    <a:pt x="21" y="105"/>
                    <a:pt x="22" y="105"/>
                    <a:pt x="23" y="105"/>
                  </a:cubicBezTo>
                  <a:cubicBezTo>
                    <a:pt x="24" y="105"/>
                    <a:pt x="25" y="104"/>
                    <a:pt x="26" y="104"/>
                  </a:cubicBezTo>
                  <a:cubicBezTo>
                    <a:pt x="28" y="104"/>
                    <a:pt x="29" y="104"/>
                    <a:pt x="30" y="104"/>
                  </a:cubicBezTo>
                  <a:cubicBezTo>
                    <a:pt x="33" y="104"/>
                    <a:pt x="35" y="102"/>
                    <a:pt x="37" y="101"/>
                  </a:cubicBezTo>
                  <a:cubicBezTo>
                    <a:pt x="38" y="101"/>
                    <a:pt x="38" y="101"/>
                    <a:pt x="39" y="102"/>
                  </a:cubicBezTo>
                  <a:cubicBezTo>
                    <a:pt x="39" y="102"/>
                    <a:pt x="39" y="103"/>
                    <a:pt x="39" y="104"/>
                  </a:cubicBezTo>
                  <a:cubicBezTo>
                    <a:pt x="38" y="105"/>
                    <a:pt x="38" y="105"/>
                    <a:pt x="38" y="105"/>
                  </a:cubicBezTo>
                  <a:cubicBezTo>
                    <a:pt x="39" y="105"/>
                    <a:pt x="40" y="105"/>
                    <a:pt x="41" y="105"/>
                  </a:cubicBezTo>
                  <a:cubicBezTo>
                    <a:pt x="41" y="106"/>
                    <a:pt x="42" y="107"/>
                    <a:pt x="43" y="107"/>
                  </a:cubicBezTo>
                  <a:cubicBezTo>
                    <a:pt x="45" y="110"/>
                    <a:pt x="44" y="112"/>
                    <a:pt x="42" y="114"/>
                  </a:cubicBezTo>
                  <a:cubicBezTo>
                    <a:pt x="41" y="114"/>
                    <a:pt x="39" y="115"/>
                    <a:pt x="38" y="116"/>
                  </a:cubicBezTo>
                  <a:cubicBezTo>
                    <a:pt x="38" y="117"/>
                    <a:pt x="39" y="117"/>
                    <a:pt x="40" y="118"/>
                  </a:cubicBezTo>
                  <a:cubicBezTo>
                    <a:pt x="40" y="118"/>
                    <a:pt x="41" y="119"/>
                    <a:pt x="41" y="119"/>
                  </a:cubicBezTo>
                  <a:cubicBezTo>
                    <a:pt x="42" y="119"/>
                    <a:pt x="42" y="119"/>
                    <a:pt x="43" y="119"/>
                  </a:cubicBezTo>
                  <a:cubicBezTo>
                    <a:pt x="44" y="119"/>
                    <a:pt x="44" y="120"/>
                    <a:pt x="44" y="121"/>
                  </a:cubicBezTo>
                  <a:cubicBezTo>
                    <a:pt x="44" y="122"/>
                    <a:pt x="44" y="123"/>
                    <a:pt x="43" y="123"/>
                  </a:cubicBezTo>
                  <a:cubicBezTo>
                    <a:pt x="42" y="124"/>
                    <a:pt x="41" y="123"/>
                    <a:pt x="40" y="123"/>
                  </a:cubicBezTo>
                  <a:cubicBezTo>
                    <a:pt x="39" y="122"/>
                    <a:pt x="39" y="122"/>
                    <a:pt x="37" y="121"/>
                  </a:cubicBezTo>
                  <a:close/>
                  <a:moveTo>
                    <a:pt x="45" y="27"/>
                  </a:moveTo>
                  <a:cubicBezTo>
                    <a:pt x="45" y="28"/>
                    <a:pt x="46" y="28"/>
                    <a:pt x="46" y="29"/>
                  </a:cubicBezTo>
                  <a:cubicBezTo>
                    <a:pt x="46" y="30"/>
                    <a:pt x="46" y="30"/>
                    <a:pt x="46" y="31"/>
                  </a:cubicBezTo>
                  <a:cubicBezTo>
                    <a:pt x="46" y="31"/>
                    <a:pt x="48" y="31"/>
                    <a:pt x="49" y="31"/>
                  </a:cubicBezTo>
                  <a:cubicBezTo>
                    <a:pt x="49" y="31"/>
                    <a:pt x="50" y="30"/>
                    <a:pt x="51" y="30"/>
                  </a:cubicBezTo>
                  <a:cubicBezTo>
                    <a:pt x="51" y="29"/>
                    <a:pt x="51" y="28"/>
                    <a:pt x="52" y="28"/>
                  </a:cubicBezTo>
                  <a:cubicBezTo>
                    <a:pt x="53" y="28"/>
                    <a:pt x="54" y="28"/>
                    <a:pt x="54" y="29"/>
                  </a:cubicBezTo>
                  <a:cubicBezTo>
                    <a:pt x="54" y="30"/>
                    <a:pt x="51" y="32"/>
                    <a:pt x="52" y="32"/>
                  </a:cubicBezTo>
                  <a:cubicBezTo>
                    <a:pt x="53" y="32"/>
                    <a:pt x="54" y="31"/>
                    <a:pt x="54" y="31"/>
                  </a:cubicBezTo>
                  <a:cubicBezTo>
                    <a:pt x="55" y="31"/>
                    <a:pt x="56" y="31"/>
                    <a:pt x="56" y="30"/>
                  </a:cubicBezTo>
                  <a:cubicBezTo>
                    <a:pt x="57" y="30"/>
                    <a:pt x="59" y="28"/>
                    <a:pt x="59" y="27"/>
                  </a:cubicBezTo>
                  <a:cubicBezTo>
                    <a:pt x="58" y="26"/>
                    <a:pt x="58" y="26"/>
                    <a:pt x="57" y="26"/>
                  </a:cubicBezTo>
                  <a:cubicBezTo>
                    <a:pt x="57" y="26"/>
                    <a:pt x="57" y="25"/>
                    <a:pt x="56" y="25"/>
                  </a:cubicBezTo>
                  <a:cubicBezTo>
                    <a:pt x="56" y="24"/>
                    <a:pt x="55" y="24"/>
                    <a:pt x="54" y="24"/>
                  </a:cubicBezTo>
                  <a:cubicBezTo>
                    <a:pt x="54" y="25"/>
                    <a:pt x="54" y="25"/>
                    <a:pt x="54" y="25"/>
                  </a:cubicBezTo>
                  <a:cubicBezTo>
                    <a:pt x="53" y="25"/>
                    <a:pt x="52" y="25"/>
                    <a:pt x="52" y="24"/>
                  </a:cubicBezTo>
                  <a:cubicBezTo>
                    <a:pt x="52" y="24"/>
                    <a:pt x="53" y="23"/>
                    <a:pt x="53" y="22"/>
                  </a:cubicBezTo>
                  <a:cubicBezTo>
                    <a:pt x="53" y="22"/>
                    <a:pt x="52" y="21"/>
                    <a:pt x="52" y="20"/>
                  </a:cubicBezTo>
                  <a:cubicBezTo>
                    <a:pt x="52" y="19"/>
                    <a:pt x="53" y="19"/>
                    <a:pt x="54" y="19"/>
                  </a:cubicBezTo>
                  <a:cubicBezTo>
                    <a:pt x="56" y="19"/>
                    <a:pt x="57" y="18"/>
                    <a:pt x="58" y="18"/>
                  </a:cubicBezTo>
                  <a:cubicBezTo>
                    <a:pt x="58" y="19"/>
                    <a:pt x="58" y="20"/>
                    <a:pt x="58" y="20"/>
                  </a:cubicBezTo>
                  <a:cubicBezTo>
                    <a:pt x="58" y="21"/>
                    <a:pt x="59" y="21"/>
                    <a:pt x="59" y="22"/>
                  </a:cubicBezTo>
                  <a:cubicBezTo>
                    <a:pt x="59" y="22"/>
                    <a:pt x="59" y="23"/>
                    <a:pt x="59" y="23"/>
                  </a:cubicBezTo>
                  <a:cubicBezTo>
                    <a:pt x="59" y="24"/>
                    <a:pt x="60" y="25"/>
                    <a:pt x="61" y="25"/>
                  </a:cubicBezTo>
                  <a:cubicBezTo>
                    <a:pt x="62" y="26"/>
                    <a:pt x="63" y="26"/>
                    <a:pt x="64" y="26"/>
                  </a:cubicBezTo>
                  <a:cubicBezTo>
                    <a:pt x="66" y="26"/>
                    <a:pt x="67" y="26"/>
                    <a:pt x="69" y="25"/>
                  </a:cubicBezTo>
                  <a:cubicBezTo>
                    <a:pt x="70" y="25"/>
                    <a:pt x="71" y="24"/>
                    <a:pt x="72" y="23"/>
                  </a:cubicBezTo>
                  <a:cubicBezTo>
                    <a:pt x="72" y="23"/>
                    <a:pt x="74" y="23"/>
                    <a:pt x="74" y="22"/>
                  </a:cubicBezTo>
                  <a:cubicBezTo>
                    <a:pt x="74" y="21"/>
                    <a:pt x="73" y="20"/>
                    <a:pt x="72" y="20"/>
                  </a:cubicBezTo>
                  <a:cubicBezTo>
                    <a:pt x="71" y="19"/>
                    <a:pt x="69" y="17"/>
                    <a:pt x="67" y="18"/>
                  </a:cubicBezTo>
                  <a:cubicBezTo>
                    <a:pt x="66" y="18"/>
                    <a:pt x="66" y="18"/>
                    <a:pt x="65" y="18"/>
                  </a:cubicBezTo>
                  <a:cubicBezTo>
                    <a:pt x="64" y="17"/>
                    <a:pt x="64" y="17"/>
                    <a:pt x="63" y="17"/>
                  </a:cubicBezTo>
                  <a:cubicBezTo>
                    <a:pt x="61" y="17"/>
                    <a:pt x="61" y="16"/>
                    <a:pt x="60" y="14"/>
                  </a:cubicBezTo>
                  <a:cubicBezTo>
                    <a:pt x="60" y="13"/>
                    <a:pt x="59" y="10"/>
                    <a:pt x="58" y="9"/>
                  </a:cubicBezTo>
                  <a:cubicBezTo>
                    <a:pt x="57" y="9"/>
                    <a:pt x="56" y="9"/>
                    <a:pt x="56" y="8"/>
                  </a:cubicBezTo>
                  <a:cubicBezTo>
                    <a:pt x="56" y="7"/>
                    <a:pt x="56" y="7"/>
                    <a:pt x="56" y="7"/>
                  </a:cubicBezTo>
                  <a:cubicBezTo>
                    <a:pt x="56" y="6"/>
                    <a:pt x="56" y="6"/>
                    <a:pt x="56" y="6"/>
                  </a:cubicBezTo>
                  <a:cubicBezTo>
                    <a:pt x="56" y="5"/>
                    <a:pt x="59" y="5"/>
                    <a:pt x="60" y="5"/>
                  </a:cubicBezTo>
                  <a:cubicBezTo>
                    <a:pt x="61" y="6"/>
                    <a:pt x="60" y="7"/>
                    <a:pt x="61" y="8"/>
                  </a:cubicBezTo>
                  <a:cubicBezTo>
                    <a:pt x="61" y="8"/>
                    <a:pt x="62" y="8"/>
                    <a:pt x="63" y="9"/>
                  </a:cubicBezTo>
                  <a:cubicBezTo>
                    <a:pt x="63" y="9"/>
                    <a:pt x="65" y="10"/>
                    <a:pt x="65" y="10"/>
                  </a:cubicBezTo>
                  <a:cubicBezTo>
                    <a:pt x="66" y="11"/>
                    <a:pt x="65" y="12"/>
                    <a:pt x="66" y="13"/>
                  </a:cubicBezTo>
                  <a:cubicBezTo>
                    <a:pt x="66" y="14"/>
                    <a:pt x="67" y="14"/>
                    <a:pt x="68" y="14"/>
                  </a:cubicBezTo>
                  <a:cubicBezTo>
                    <a:pt x="69" y="14"/>
                    <a:pt x="70" y="14"/>
                    <a:pt x="71" y="14"/>
                  </a:cubicBezTo>
                  <a:cubicBezTo>
                    <a:pt x="71" y="15"/>
                    <a:pt x="71" y="16"/>
                    <a:pt x="72" y="17"/>
                  </a:cubicBezTo>
                  <a:cubicBezTo>
                    <a:pt x="72" y="18"/>
                    <a:pt x="72" y="18"/>
                    <a:pt x="73" y="18"/>
                  </a:cubicBezTo>
                  <a:cubicBezTo>
                    <a:pt x="74" y="18"/>
                    <a:pt x="74" y="19"/>
                    <a:pt x="75" y="20"/>
                  </a:cubicBezTo>
                  <a:cubicBezTo>
                    <a:pt x="75" y="20"/>
                    <a:pt x="76" y="21"/>
                    <a:pt x="76" y="21"/>
                  </a:cubicBezTo>
                  <a:cubicBezTo>
                    <a:pt x="79" y="22"/>
                    <a:pt x="81" y="20"/>
                    <a:pt x="83" y="19"/>
                  </a:cubicBezTo>
                  <a:cubicBezTo>
                    <a:pt x="85" y="19"/>
                    <a:pt x="85" y="20"/>
                    <a:pt x="87" y="20"/>
                  </a:cubicBezTo>
                  <a:cubicBezTo>
                    <a:pt x="89" y="20"/>
                    <a:pt x="90" y="20"/>
                    <a:pt x="91" y="22"/>
                  </a:cubicBezTo>
                  <a:cubicBezTo>
                    <a:pt x="93" y="23"/>
                    <a:pt x="93" y="22"/>
                    <a:pt x="94" y="21"/>
                  </a:cubicBezTo>
                  <a:cubicBezTo>
                    <a:pt x="95" y="19"/>
                    <a:pt x="99" y="19"/>
                    <a:pt x="98" y="17"/>
                  </a:cubicBezTo>
                  <a:cubicBezTo>
                    <a:pt x="97" y="17"/>
                    <a:pt x="96" y="15"/>
                    <a:pt x="96" y="13"/>
                  </a:cubicBezTo>
                  <a:cubicBezTo>
                    <a:pt x="96" y="12"/>
                    <a:pt x="97" y="10"/>
                    <a:pt x="96" y="9"/>
                  </a:cubicBezTo>
                  <a:cubicBezTo>
                    <a:pt x="94" y="7"/>
                    <a:pt x="91" y="8"/>
                    <a:pt x="90" y="7"/>
                  </a:cubicBezTo>
                  <a:cubicBezTo>
                    <a:pt x="89" y="6"/>
                    <a:pt x="89" y="5"/>
                    <a:pt x="88" y="5"/>
                  </a:cubicBezTo>
                  <a:cubicBezTo>
                    <a:pt x="87" y="4"/>
                    <a:pt x="86" y="4"/>
                    <a:pt x="86" y="4"/>
                  </a:cubicBezTo>
                  <a:cubicBezTo>
                    <a:pt x="84" y="3"/>
                    <a:pt x="82" y="4"/>
                    <a:pt x="81" y="2"/>
                  </a:cubicBezTo>
                  <a:cubicBezTo>
                    <a:pt x="81" y="2"/>
                    <a:pt x="81" y="1"/>
                    <a:pt x="80" y="1"/>
                  </a:cubicBezTo>
                  <a:cubicBezTo>
                    <a:pt x="80" y="1"/>
                    <a:pt x="79" y="1"/>
                    <a:pt x="78" y="2"/>
                  </a:cubicBezTo>
                  <a:cubicBezTo>
                    <a:pt x="77" y="2"/>
                    <a:pt x="77" y="3"/>
                    <a:pt x="76" y="3"/>
                  </a:cubicBezTo>
                  <a:cubicBezTo>
                    <a:pt x="75" y="2"/>
                    <a:pt x="75" y="2"/>
                    <a:pt x="75" y="2"/>
                  </a:cubicBezTo>
                  <a:cubicBezTo>
                    <a:pt x="75" y="2"/>
                    <a:pt x="75" y="1"/>
                    <a:pt x="74" y="1"/>
                  </a:cubicBezTo>
                  <a:cubicBezTo>
                    <a:pt x="73" y="1"/>
                    <a:pt x="72" y="1"/>
                    <a:pt x="71" y="1"/>
                  </a:cubicBezTo>
                  <a:cubicBezTo>
                    <a:pt x="70" y="0"/>
                    <a:pt x="68" y="0"/>
                    <a:pt x="66" y="0"/>
                  </a:cubicBezTo>
                  <a:cubicBezTo>
                    <a:pt x="66" y="0"/>
                    <a:pt x="63" y="0"/>
                    <a:pt x="63" y="1"/>
                  </a:cubicBezTo>
                  <a:cubicBezTo>
                    <a:pt x="63" y="1"/>
                    <a:pt x="64" y="2"/>
                    <a:pt x="64" y="2"/>
                  </a:cubicBezTo>
                  <a:cubicBezTo>
                    <a:pt x="63" y="2"/>
                    <a:pt x="60" y="2"/>
                    <a:pt x="61" y="1"/>
                  </a:cubicBezTo>
                  <a:cubicBezTo>
                    <a:pt x="60" y="1"/>
                    <a:pt x="58" y="2"/>
                    <a:pt x="57" y="2"/>
                  </a:cubicBezTo>
                  <a:cubicBezTo>
                    <a:pt x="57" y="2"/>
                    <a:pt x="57" y="3"/>
                    <a:pt x="56" y="3"/>
                  </a:cubicBezTo>
                  <a:cubicBezTo>
                    <a:pt x="55" y="3"/>
                    <a:pt x="55" y="2"/>
                    <a:pt x="55" y="2"/>
                  </a:cubicBezTo>
                  <a:cubicBezTo>
                    <a:pt x="54" y="2"/>
                    <a:pt x="53" y="3"/>
                    <a:pt x="52" y="4"/>
                  </a:cubicBezTo>
                  <a:cubicBezTo>
                    <a:pt x="52" y="4"/>
                    <a:pt x="50" y="3"/>
                    <a:pt x="50" y="3"/>
                  </a:cubicBezTo>
                  <a:cubicBezTo>
                    <a:pt x="49" y="2"/>
                    <a:pt x="48" y="3"/>
                    <a:pt x="48" y="4"/>
                  </a:cubicBezTo>
                  <a:cubicBezTo>
                    <a:pt x="47" y="4"/>
                    <a:pt x="46" y="4"/>
                    <a:pt x="45" y="5"/>
                  </a:cubicBezTo>
                  <a:cubicBezTo>
                    <a:pt x="44" y="5"/>
                    <a:pt x="42" y="6"/>
                    <a:pt x="41" y="5"/>
                  </a:cubicBezTo>
                  <a:cubicBezTo>
                    <a:pt x="41" y="4"/>
                    <a:pt x="41" y="4"/>
                    <a:pt x="40" y="4"/>
                  </a:cubicBezTo>
                  <a:cubicBezTo>
                    <a:pt x="40" y="5"/>
                    <a:pt x="40" y="5"/>
                    <a:pt x="39" y="6"/>
                  </a:cubicBezTo>
                  <a:cubicBezTo>
                    <a:pt x="39" y="6"/>
                    <a:pt x="39" y="7"/>
                    <a:pt x="38" y="7"/>
                  </a:cubicBezTo>
                  <a:cubicBezTo>
                    <a:pt x="38" y="7"/>
                    <a:pt x="38" y="6"/>
                    <a:pt x="38" y="6"/>
                  </a:cubicBezTo>
                  <a:cubicBezTo>
                    <a:pt x="36" y="6"/>
                    <a:pt x="35" y="6"/>
                    <a:pt x="35" y="8"/>
                  </a:cubicBezTo>
                  <a:cubicBezTo>
                    <a:pt x="35" y="8"/>
                    <a:pt x="34" y="10"/>
                    <a:pt x="35" y="10"/>
                  </a:cubicBezTo>
                  <a:cubicBezTo>
                    <a:pt x="36" y="11"/>
                    <a:pt x="36" y="10"/>
                    <a:pt x="37" y="9"/>
                  </a:cubicBezTo>
                  <a:cubicBezTo>
                    <a:pt x="37" y="9"/>
                    <a:pt x="37" y="9"/>
                    <a:pt x="38" y="8"/>
                  </a:cubicBezTo>
                  <a:cubicBezTo>
                    <a:pt x="38" y="8"/>
                    <a:pt x="40" y="8"/>
                    <a:pt x="40" y="9"/>
                  </a:cubicBezTo>
                  <a:cubicBezTo>
                    <a:pt x="41" y="9"/>
                    <a:pt x="41" y="9"/>
                    <a:pt x="41" y="9"/>
                  </a:cubicBezTo>
                  <a:cubicBezTo>
                    <a:pt x="42" y="8"/>
                    <a:pt x="42" y="8"/>
                    <a:pt x="42" y="8"/>
                  </a:cubicBezTo>
                  <a:cubicBezTo>
                    <a:pt x="43" y="8"/>
                    <a:pt x="43" y="8"/>
                    <a:pt x="43" y="9"/>
                  </a:cubicBezTo>
                  <a:cubicBezTo>
                    <a:pt x="43" y="10"/>
                    <a:pt x="43" y="10"/>
                    <a:pt x="43" y="10"/>
                  </a:cubicBezTo>
                  <a:cubicBezTo>
                    <a:pt x="44" y="11"/>
                    <a:pt x="44" y="11"/>
                    <a:pt x="44" y="11"/>
                  </a:cubicBezTo>
                  <a:cubicBezTo>
                    <a:pt x="42" y="12"/>
                    <a:pt x="42" y="12"/>
                    <a:pt x="42" y="12"/>
                  </a:cubicBezTo>
                  <a:cubicBezTo>
                    <a:pt x="42" y="13"/>
                    <a:pt x="41" y="13"/>
                    <a:pt x="41" y="13"/>
                  </a:cubicBezTo>
                  <a:cubicBezTo>
                    <a:pt x="39" y="14"/>
                    <a:pt x="39" y="13"/>
                    <a:pt x="39" y="12"/>
                  </a:cubicBezTo>
                  <a:cubicBezTo>
                    <a:pt x="38" y="12"/>
                    <a:pt x="37" y="12"/>
                    <a:pt x="36" y="12"/>
                  </a:cubicBezTo>
                  <a:cubicBezTo>
                    <a:pt x="36" y="13"/>
                    <a:pt x="34" y="12"/>
                    <a:pt x="33" y="12"/>
                  </a:cubicBezTo>
                  <a:cubicBezTo>
                    <a:pt x="33" y="12"/>
                    <a:pt x="31" y="12"/>
                    <a:pt x="32" y="13"/>
                  </a:cubicBezTo>
                  <a:cubicBezTo>
                    <a:pt x="32" y="14"/>
                    <a:pt x="33" y="13"/>
                    <a:pt x="34" y="14"/>
                  </a:cubicBezTo>
                  <a:cubicBezTo>
                    <a:pt x="34" y="14"/>
                    <a:pt x="35" y="15"/>
                    <a:pt x="36" y="15"/>
                  </a:cubicBezTo>
                  <a:cubicBezTo>
                    <a:pt x="37" y="16"/>
                    <a:pt x="38" y="15"/>
                    <a:pt x="39" y="15"/>
                  </a:cubicBezTo>
                  <a:cubicBezTo>
                    <a:pt x="40" y="15"/>
                    <a:pt x="41" y="16"/>
                    <a:pt x="42" y="16"/>
                  </a:cubicBezTo>
                  <a:cubicBezTo>
                    <a:pt x="43" y="16"/>
                    <a:pt x="43" y="16"/>
                    <a:pt x="44" y="17"/>
                  </a:cubicBezTo>
                  <a:cubicBezTo>
                    <a:pt x="45" y="17"/>
                    <a:pt x="45" y="16"/>
                    <a:pt x="45" y="16"/>
                  </a:cubicBezTo>
                  <a:cubicBezTo>
                    <a:pt x="46" y="15"/>
                    <a:pt x="47" y="15"/>
                    <a:pt x="47" y="15"/>
                  </a:cubicBezTo>
                  <a:cubicBezTo>
                    <a:pt x="48" y="15"/>
                    <a:pt x="49" y="15"/>
                    <a:pt x="49" y="15"/>
                  </a:cubicBezTo>
                  <a:cubicBezTo>
                    <a:pt x="49" y="16"/>
                    <a:pt x="49" y="17"/>
                    <a:pt x="49" y="17"/>
                  </a:cubicBezTo>
                  <a:cubicBezTo>
                    <a:pt x="49" y="18"/>
                    <a:pt x="50" y="18"/>
                    <a:pt x="50" y="19"/>
                  </a:cubicBezTo>
                  <a:cubicBezTo>
                    <a:pt x="51" y="19"/>
                    <a:pt x="50" y="20"/>
                    <a:pt x="50" y="21"/>
                  </a:cubicBezTo>
                  <a:cubicBezTo>
                    <a:pt x="50" y="22"/>
                    <a:pt x="50" y="24"/>
                    <a:pt x="50" y="26"/>
                  </a:cubicBezTo>
                  <a:cubicBezTo>
                    <a:pt x="48" y="27"/>
                    <a:pt x="47" y="26"/>
                    <a:pt x="45" y="27"/>
                  </a:cubicBezTo>
                  <a:close/>
                  <a:moveTo>
                    <a:pt x="45" y="54"/>
                  </a:moveTo>
                  <a:cubicBezTo>
                    <a:pt x="46" y="54"/>
                    <a:pt x="47" y="54"/>
                    <a:pt x="48" y="54"/>
                  </a:cubicBezTo>
                  <a:cubicBezTo>
                    <a:pt x="50" y="54"/>
                    <a:pt x="52" y="55"/>
                    <a:pt x="55" y="55"/>
                  </a:cubicBezTo>
                  <a:cubicBezTo>
                    <a:pt x="57" y="55"/>
                    <a:pt x="59" y="54"/>
                    <a:pt x="62" y="53"/>
                  </a:cubicBezTo>
                  <a:cubicBezTo>
                    <a:pt x="63" y="53"/>
                    <a:pt x="64" y="53"/>
                    <a:pt x="65" y="53"/>
                  </a:cubicBezTo>
                  <a:cubicBezTo>
                    <a:pt x="66" y="52"/>
                    <a:pt x="67" y="52"/>
                    <a:pt x="68" y="52"/>
                  </a:cubicBezTo>
                  <a:cubicBezTo>
                    <a:pt x="69" y="52"/>
                    <a:pt x="71" y="51"/>
                    <a:pt x="71" y="50"/>
                  </a:cubicBezTo>
                  <a:cubicBezTo>
                    <a:pt x="70" y="50"/>
                    <a:pt x="69" y="49"/>
                    <a:pt x="70" y="48"/>
                  </a:cubicBezTo>
                  <a:cubicBezTo>
                    <a:pt x="71" y="48"/>
                    <a:pt x="71" y="48"/>
                    <a:pt x="71" y="48"/>
                  </a:cubicBezTo>
                  <a:cubicBezTo>
                    <a:pt x="71" y="47"/>
                    <a:pt x="71" y="47"/>
                    <a:pt x="71" y="47"/>
                  </a:cubicBezTo>
                  <a:cubicBezTo>
                    <a:pt x="70" y="47"/>
                    <a:pt x="68" y="47"/>
                    <a:pt x="67" y="47"/>
                  </a:cubicBezTo>
                  <a:cubicBezTo>
                    <a:pt x="67" y="48"/>
                    <a:pt x="67" y="48"/>
                    <a:pt x="67" y="48"/>
                  </a:cubicBezTo>
                  <a:cubicBezTo>
                    <a:pt x="67" y="49"/>
                    <a:pt x="66" y="49"/>
                    <a:pt x="66" y="49"/>
                  </a:cubicBezTo>
                  <a:cubicBezTo>
                    <a:pt x="64" y="48"/>
                    <a:pt x="64" y="48"/>
                    <a:pt x="64" y="48"/>
                  </a:cubicBezTo>
                  <a:cubicBezTo>
                    <a:pt x="64" y="48"/>
                    <a:pt x="64" y="49"/>
                    <a:pt x="64" y="49"/>
                  </a:cubicBezTo>
                  <a:cubicBezTo>
                    <a:pt x="64" y="49"/>
                    <a:pt x="63" y="50"/>
                    <a:pt x="62" y="49"/>
                  </a:cubicBezTo>
                  <a:cubicBezTo>
                    <a:pt x="62" y="49"/>
                    <a:pt x="62" y="49"/>
                    <a:pt x="62" y="49"/>
                  </a:cubicBezTo>
                  <a:cubicBezTo>
                    <a:pt x="61" y="49"/>
                    <a:pt x="61" y="49"/>
                    <a:pt x="61" y="49"/>
                  </a:cubicBezTo>
                  <a:cubicBezTo>
                    <a:pt x="60" y="49"/>
                    <a:pt x="59" y="49"/>
                    <a:pt x="59" y="49"/>
                  </a:cubicBezTo>
                  <a:cubicBezTo>
                    <a:pt x="58" y="49"/>
                    <a:pt x="58" y="49"/>
                    <a:pt x="57" y="49"/>
                  </a:cubicBezTo>
                  <a:cubicBezTo>
                    <a:pt x="56" y="49"/>
                    <a:pt x="56" y="49"/>
                    <a:pt x="55" y="49"/>
                  </a:cubicBezTo>
                  <a:cubicBezTo>
                    <a:pt x="54" y="49"/>
                    <a:pt x="54" y="49"/>
                    <a:pt x="54" y="49"/>
                  </a:cubicBezTo>
                  <a:cubicBezTo>
                    <a:pt x="54" y="50"/>
                    <a:pt x="53" y="50"/>
                    <a:pt x="52" y="50"/>
                  </a:cubicBezTo>
                  <a:cubicBezTo>
                    <a:pt x="52" y="49"/>
                    <a:pt x="52" y="49"/>
                    <a:pt x="52" y="49"/>
                  </a:cubicBezTo>
                  <a:cubicBezTo>
                    <a:pt x="51" y="49"/>
                    <a:pt x="51" y="49"/>
                    <a:pt x="50" y="49"/>
                  </a:cubicBezTo>
                  <a:cubicBezTo>
                    <a:pt x="50" y="50"/>
                    <a:pt x="50" y="50"/>
                    <a:pt x="50" y="50"/>
                  </a:cubicBezTo>
                  <a:cubicBezTo>
                    <a:pt x="50" y="50"/>
                    <a:pt x="49" y="50"/>
                    <a:pt x="48" y="50"/>
                  </a:cubicBezTo>
                  <a:cubicBezTo>
                    <a:pt x="48" y="50"/>
                    <a:pt x="47" y="50"/>
                    <a:pt x="47" y="49"/>
                  </a:cubicBezTo>
                  <a:cubicBezTo>
                    <a:pt x="47" y="49"/>
                    <a:pt x="47" y="49"/>
                    <a:pt x="47" y="48"/>
                  </a:cubicBezTo>
                  <a:cubicBezTo>
                    <a:pt x="46" y="48"/>
                    <a:pt x="45" y="48"/>
                    <a:pt x="45" y="49"/>
                  </a:cubicBezTo>
                  <a:cubicBezTo>
                    <a:pt x="45" y="49"/>
                    <a:pt x="45" y="50"/>
                    <a:pt x="45" y="50"/>
                  </a:cubicBezTo>
                  <a:cubicBezTo>
                    <a:pt x="45" y="51"/>
                    <a:pt x="45" y="51"/>
                    <a:pt x="45" y="52"/>
                  </a:cubicBezTo>
                  <a:cubicBezTo>
                    <a:pt x="45" y="53"/>
                    <a:pt x="44" y="53"/>
                    <a:pt x="44" y="54"/>
                  </a:cubicBezTo>
                  <a:cubicBezTo>
                    <a:pt x="44" y="55"/>
                    <a:pt x="45" y="55"/>
                    <a:pt x="45" y="54"/>
                  </a:cubicBezTo>
                  <a:close/>
                  <a:moveTo>
                    <a:pt x="60" y="69"/>
                  </a:moveTo>
                  <a:cubicBezTo>
                    <a:pt x="62" y="70"/>
                    <a:pt x="62" y="71"/>
                    <a:pt x="62" y="73"/>
                  </a:cubicBezTo>
                  <a:cubicBezTo>
                    <a:pt x="62" y="74"/>
                    <a:pt x="63" y="76"/>
                    <a:pt x="64" y="76"/>
                  </a:cubicBezTo>
                  <a:cubicBezTo>
                    <a:pt x="65" y="77"/>
                    <a:pt x="66" y="77"/>
                    <a:pt x="67" y="78"/>
                  </a:cubicBezTo>
                  <a:cubicBezTo>
                    <a:pt x="68" y="79"/>
                    <a:pt x="68" y="81"/>
                    <a:pt x="69" y="81"/>
                  </a:cubicBezTo>
                  <a:cubicBezTo>
                    <a:pt x="70" y="81"/>
                    <a:pt x="70" y="81"/>
                    <a:pt x="70" y="81"/>
                  </a:cubicBezTo>
                  <a:cubicBezTo>
                    <a:pt x="71" y="81"/>
                    <a:pt x="72" y="81"/>
                    <a:pt x="73" y="80"/>
                  </a:cubicBezTo>
                  <a:cubicBezTo>
                    <a:pt x="73" y="80"/>
                    <a:pt x="73" y="80"/>
                    <a:pt x="74" y="81"/>
                  </a:cubicBezTo>
                  <a:cubicBezTo>
                    <a:pt x="74" y="81"/>
                    <a:pt x="74" y="81"/>
                    <a:pt x="75" y="81"/>
                  </a:cubicBezTo>
                  <a:cubicBezTo>
                    <a:pt x="76" y="82"/>
                    <a:pt x="77" y="81"/>
                    <a:pt x="77" y="81"/>
                  </a:cubicBezTo>
                  <a:cubicBezTo>
                    <a:pt x="78" y="80"/>
                    <a:pt x="78" y="79"/>
                    <a:pt x="78" y="79"/>
                  </a:cubicBezTo>
                  <a:cubicBezTo>
                    <a:pt x="78" y="78"/>
                    <a:pt x="78" y="77"/>
                    <a:pt x="79" y="76"/>
                  </a:cubicBezTo>
                  <a:cubicBezTo>
                    <a:pt x="80" y="76"/>
                    <a:pt x="80" y="76"/>
                    <a:pt x="80" y="75"/>
                  </a:cubicBezTo>
                  <a:cubicBezTo>
                    <a:pt x="80" y="73"/>
                    <a:pt x="80" y="70"/>
                    <a:pt x="81" y="68"/>
                  </a:cubicBezTo>
                  <a:cubicBezTo>
                    <a:pt x="81" y="66"/>
                    <a:pt x="82" y="64"/>
                    <a:pt x="82" y="63"/>
                  </a:cubicBezTo>
                  <a:cubicBezTo>
                    <a:pt x="82" y="61"/>
                    <a:pt x="83" y="59"/>
                    <a:pt x="81" y="57"/>
                  </a:cubicBezTo>
                  <a:cubicBezTo>
                    <a:pt x="81" y="56"/>
                    <a:pt x="80" y="55"/>
                    <a:pt x="80" y="55"/>
                  </a:cubicBezTo>
                  <a:cubicBezTo>
                    <a:pt x="79" y="55"/>
                    <a:pt x="78" y="55"/>
                    <a:pt x="77" y="56"/>
                  </a:cubicBezTo>
                  <a:cubicBezTo>
                    <a:pt x="76" y="56"/>
                    <a:pt x="74" y="57"/>
                    <a:pt x="74" y="56"/>
                  </a:cubicBezTo>
                  <a:cubicBezTo>
                    <a:pt x="74" y="55"/>
                    <a:pt x="74" y="55"/>
                    <a:pt x="73" y="54"/>
                  </a:cubicBezTo>
                  <a:cubicBezTo>
                    <a:pt x="73" y="54"/>
                    <a:pt x="72" y="54"/>
                    <a:pt x="72" y="54"/>
                  </a:cubicBezTo>
                  <a:cubicBezTo>
                    <a:pt x="70" y="54"/>
                    <a:pt x="69" y="54"/>
                    <a:pt x="68" y="55"/>
                  </a:cubicBezTo>
                  <a:cubicBezTo>
                    <a:pt x="67" y="55"/>
                    <a:pt x="66" y="55"/>
                    <a:pt x="66" y="55"/>
                  </a:cubicBezTo>
                  <a:cubicBezTo>
                    <a:pt x="65" y="56"/>
                    <a:pt x="64" y="56"/>
                    <a:pt x="64" y="56"/>
                  </a:cubicBezTo>
                  <a:cubicBezTo>
                    <a:pt x="63" y="57"/>
                    <a:pt x="61" y="57"/>
                    <a:pt x="60" y="57"/>
                  </a:cubicBezTo>
                  <a:cubicBezTo>
                    <a:pt x="59" y="57"/>
                    <a:pt x="57" y="57"/>
                    <a:pt x="57" y="58"/>
                  </a:cubicBezTo>
                  <a:cubicBezTo>
                    <a:pt x="56" y="59"/>
                    <a:pt x="57" y="60"/>
                    <a:pt x="57" y="60"/>
                  </a:cubicBezTo>
                  <a:cubicBezTo>
                    <a:pt x="58" y="61"/>
                    <a:pt x="59" y="63"/>
                    <a:pt x="60" y="64"/>
                  </a:cubicBezTo>
                  <a:cubicBezTo>
                    <a:pt x="60" y="65"/>
                    <a:pt x="60" y="65"/>
                    <a:pt x="59" y="66"/>
                  </a:cubicBezTo>
                  <a:cubicBezTo>
                    <a:pt x="59" y="66"/>
                    <a:pt x="58" y="66"/>
                    <a:pt x="59" y="67"/>
                  </a:cubicBezTo>
                  <a:cubicBezTo>
                    <a:pt x="59" y="68"/>
                    <a:pt x="60" y="69"/>
                    <a:pt x="60" y="69"/>
                  </a:cubicBezTo>
                  <a:close/>
                  <a:moveTo>
                    <a:pt x="232" y="150"/>
                  </a:moveTo>
                  <a:cubicBezTo>
                    <a:pt x="232" y="151"/>
                    <a:pt x="233" y="151"/>
                    <a:pt x="233" y="152"/>
                  </a:cubicBezTo>
                  <a:cubicBezTo>
                    <a:pt x="234" y="152"/>
                    <a:pt x="234" y="153"/>
                    <a:pt x="235" y="153"/>
                  </a:cubicBezTo>
                  <a:cubicBezTo>
                    <a:pt x="235" y="153"/>
                    <a:pt x="235" y="154"/>
                    <a:pt x="236" y="154"/>
                  </a:cubicBezTo>
                  <a:cubicBezTo>
                    <a:pt x="237" y="154"/>
                    <a:pt x="237" y="154"/>
                    <a:pt x="238" y="153"/>
                  </a:cubicBezTo>
                  <a:cubicBezTo>
                    <a:pt x="238" y="153"/>
                    <a:pt x="238" y="151"/>
                    <a:pt x="237" y="150"/>
                  </a:cubicBezTo>
                  <a:cubicBezTo>
                    <a:pt x="237" y="150"/>
                    <a:pt x="236" y="150"/>
                    <a:pt x="236" y="150"/>
                  </a:cubicBezTo>
                  <a:cubicBezTo>
                    <a:pt x="235" y="150"/>
                    <a:pt x="234" y="150"/>
                    <a:pt x="234" y="149"/>
                  </a:cubicBezTo>
                  <a:cubicBezTo>
                    <a:pt x="233" y="149"/>
                    <a:pt x="233" y="149"/>
                    <a:pt x="232" y="149"/>
                  </a:cubicBezTo>
                  <a:cubicBezTo>
                    <a:pt x="231" y="148"/>
                    <a:pt x="231" y="148"/>
                    <a:pt x="231" y="149"/>
                  </a:cubicBezTo>
                  <a:cubicBezTo>
                    <a:pt x="231" y="149"/>
                    <a:pt x="231" y="150"/>
                    <a:pt x="232" y="150"/>
                  </a:cubicBezTo>
                  <a:close/>
                  <a:moveTo>
                    <a:pt x="251" y="135"/>
                  </a:moveTo>
                  <a:cubicBezTo>
                    <a:pt x="251" y="135"/>
                    <a:pt x="250" y="136"/>
                    <a:pt x="249" y="136"/>
                  </a:cubicBezTo>
                  <a:cubicBezTo>
                    <a:pt x="248" y="136"/>
                    <a:pt x="247" y="136"/>
                    <a:pt x="247" y="137"/>
                  </a:cubicBezTo>
                  <a:cubicBezTo>
                    <a:pt x="247" y="138"/>
                    <a:pt x="248" y="138"/>
                    <a:pt x="249" y="138"/>
                  </a:cubicBezTo>
                  <a:cubicBezTo>
                    <a:pt x="249" y="139"/>
                    <a:pt x="250" y="139"/>
                    <a:pt x="251" y="139"/>
                  </a:cubicBezTo>
                  <a:cubicBezTo>
                    <a:pt x="252" y="139"/>
                    <a:pt x="253" y="138"/>
                    <a:pt x="255" y="138"/>
                  </a:cubicBezTo>
                  <a:cubicBezTo>
                    <a:pt x="256" y="138"/>
                    <a:pt x="256" y="138"/>
                    <a:pt x="257" y="138"/>
                  </a:cubicBezTo>
                  <a:cubicBezTo>
                    <a:pt x="257" y="137"/>
                    <a:pt x="257" y="137"/>
                    <a:pt x="257" y="136"/>
                  </a:cubicBezTo>
                  <a:cubicBezTo>
                    <a:pt x="257" y="135"/>
                    <a:pt x="257" y="135"/>
                    <a:pt x="256" y="135"/>
                  </a:cubicBezTo>
                  <a:cubicBezTo>
                    <a:pt x="255" y="135"/>
                    <a:pt x="254" y="135"/>
                    <a:pt x="253" y="135"/>
                  </a:cubicBezTo>
                  <a:cubicBezTo>
                    <a:pt x="253" y="135"/>
                    <a:pt x="253" y="135"/>
                    <a:pt x="253" y="135"/>
                  </a:cubicBezTo>
                  <a:cubicBezTo>
                    <a:pt x="252" y="135"/>
                    <a:pt x="252" y="135"/>
                    <a:pt x="251" y="135"/>
                  </a:cubicBezTo>
                  <a:close/>
                  <a:moveTo>
                    <a:pt x="220" y="252"/>
                  </a:moveTo>
                  <a:cubicBezTo>
                    <a:pt x="220" y="253"/>
                    <a:pt x="221" y="254"/>
                    <a:pt x="221" y="255"/>
                  </a:cubicBezTo>
                  <a:cubicBezTo>
                    <a:pt x="222" y="256"/>
                    <a:pt x="223" y="257"/>
                    <a:pt x="225" y="258"/>
                  </a:cubicBezTo>
                  <a:cubicBezTo>
                    <a:pt x="227" y="258"/>
                    <a:pt x="227" y="259"/>
                    <a:pt x="228" y="259"/>
                  </a:cubicBezTo>
                  <a:cubicBezTo>
                    <a:pt x="228" y="260"/>
                    <a:pt x="229" y="260"/>
                    <a:pt x="230" y="260"/>
                  </a:cubicBezTo>
                  <a:cubicBezTo>
                    <a:pt x="231" y="260"/>
                    <a:pt x="232" y="260"/>
                    <a:pt x="233" y="260"/>
                  </a:cubicBezTo>
                  <a:cubicBezTo>
                    <a:pt x="234" y="260"/>
                    <a:pt x="234" y="260"/>
                    <a:pt x="234" y="260"/>
                  </a:cubicBezTo>
                  <a:cubicBezTo>
                    <a:pt x="235" y="261"/>
                    <a:pt x="237" y="262"/>
                    <a:pt x="238" y="263"/>
                  </a:cubicBezTo>
                  <a:cubicBezTo>
                    <a:pt x="238" y="261"/>
                    <a:pt x="237" y="261"/>
                    <a:pt x="236" y="260"/>
                  </a:cubicBezTo>
                  <a:cubicBezTo>
                    <a:pt x="235" y="259"/>
                    <a:pt x="234" y="258"/>
                    <a:pt x="232" y="257"/>
                  </a:cubicBezTo>
                  <a:cubicBezTo>
                    <a:pt x="231" y="257"/>
                    <a:pt x="230" y="256"/>
                    <a:pt x="229" y="256"/>
                  </a:cubicBezTo>
                  <a:cubicBezTo>
                    <a:pt x="228" y="255"/>
                    <a:pt x="227" y="255"/>
                    <a:pt x="226" y="255"/>
                  </a:cubicBezTo>
                  <a:cubicBezTo>
                    <a:pt x="226" y="254"/>
                    <a:pt x="225" y="254"/>
                    <a:pt x="225" y="253"/>
                  </a:cubicBezTo>
                  <a:cubicBezTo>
                    <a:pt x="224" y="253"/>
                    <a:pt x="223" y="252"/>
                    <a:pt x="222" y="251"/>
                  </a:cubicBezTo>
                  <a:cubicBezTo>
                    <a:pt x="222" y="251"/>
                    <a:pt x="220" y="251"/>
                    <a:pt x="220" y="252"/>
                  </a:cubicBezTo>
                  <a:close/>
                  <a:moveTo>
                    <a:pt x="339" y="229"/>
                  </a:moveTo>
                  <a:cubicBezTo>
                    <a:pt x="318" y="222"/>
                    <a:pt x="318" y="222"/>
                    <a:pt x="318" y="222"/>
                  </a:cubicBezTo>
                  <a:cubicBezTo>
                    <a:pt x="301" y="217"/>
                    <a:pt x="301" y="217"/>
                    <a:pt x="301" y="217"/>
                  </a:cubicBezTo>
                  <a:cubicBezTo>
                    <a:pt x="301" y="216"/>
                    <a:pt x="301" y="216"/>
                    <a:pt x="301" y="216"/>
                  </a:cubicBezTo>
                  <a:cubicBezTo>
                    <a:pt x="306" y="208"/>
                    <a:pt x="306" y="208"/>
                    <a:pt x="306" y="208"/>
                  </a:cubicBezTo>
                  <a:cubicBezTo>
                    <a:pt x="306" y="205"/>
                    <a:pt x="306" y="205"/>
                    <a:pt x="306" y="205"/>
                  </a:cubicBezTo>
                  <a:cubicBezTo>
                    <a:pt x="305" y="202"/>
                    <a:pt x="305" y="202"/>
                    <a:pt x="305" y="202"/>
                  </a:cubicBezTo>
                  <a:cubicBezTo>
                    <a:pt x="298" y="152"/>
                    <a:pt x="298" y="152"/>
                    <a:pt x="298" y="152"/>
                  </a:cubicBezTo>
                  <a:cubicBezTo>
                    <a:pt x="298" y="152"/>
                    <a:pt x="298" y="152"/>
                    <a:pt x="298" y="152"/>
                  </a:cubicBezTo>
                  <a:cubicBezTo>
                    <a:pt x="297" y="152"/>
                    <a:pt x="296" y="153"/>
                    <a:pt x="296" y="153"/>
                  </a:cubicBezTo>
                  <a:cubicBezTo>
                    <a:pt x="295" y="153"/>
                    <a:pt x="294" y="153"/>
                    <a:pt x="293" y="153"/>
                  </a:cubicBezTo>
                  <a:cubicBezTo>
                    <a:pt x="293" y="154"/>
                    <a:pt x="292" y="154"/>
                    <a:pt x="292" y="155"/>
                  </a:cubicBezTo>
                  <a:cubicBezTo>
                    <a:pt x="291" y="155"/>
                    <a:pt x="290" y="156"/>
                    <a:pt x="290" y="156"/>
                  </a:cubicBezTo>
                  <a:cubicBezTo>
                    <a:pt x="289" y="158"/>
                    <a:pt x="291" y="159"/>
                    <a:pt x="291" y="160"/>
                  </a:cubicBezTo>
                  <a:cubicBezTo>
                    <a:pt x="292" y="161"/>
                    <a:pt x="292" y="163"/>
                    <a:pt x="292" y="164"/>
                  </a:cubicBezTo>
                  <a:cubicBezTo>
                    <a:pt x="293" y="166"/>
                    <a:pt x="294" y="169"/>
                    <a:pt x="294" y="171"/>
                  </a:cubicBezTo>
                  <a:cubicBezTo>
                    <a:pt x="294" y="172"/>
                    <a:pt x="294" y="174"/>
                    <a:pt x="293" y="175"/>
                  </a:cubicBezTo>
                  <a:cubicBezTo>
                    <a:pt x="292" y="175"/>
                    <a:pt x="291" y="175"/>
                    <a:pt x="290" y="174"/>
                  </a:cubicBezTo>
                  <a:cubicBezTo>
                    <a:pt x="289" y="174"/>
                    <a:pt x="289" y="173"/>
                    <a:pt x="289" y="172"/>
                  </a:cubicBezTo>
                  <a:cubicBezTo>
                    <a:pt x="288" y="171"/>
                    <a:pt x="287" y="169"/>
                    <a:pt x="286" y="167"/>
                  </a:cubicBezTo>
                  <a:cubicBezTo>
                    <a:pt x="286" y="165"/>
                    <a:pt x="286" y="164"/>
                    <a:pt x="284" y="164"/>
                  </a:cubicBezTo>
                  <a:cubicBezTo>
                    <a:pt x="283" y="163"/>
                    <a:pt x="283" y="162"/>
                    <a:pt x="283" y="161"/>
                  </a:cubicBezTo>
                  <a:cubicBezTo>
                    <a:pt x="282" y="160"/>
                    <a:pt x="282" y="159"/>
                    <a:pt x="282" y="158"/>
                  </a:cubicBezTo>
                  <a:cubicBezTo>
                    <a:pt x="281" y="158"/>
                    <a:pt x="281" y="158"/>
                    <a:pt x="281" y="157"/>
                  </a:cubicBezTo>
                  <a:cubicBezTo>
                    <a:pt x="279" y="156"/>
                    <a:pt x="280" y="155"/>
                    <a:pt x="279" y="154"/>
                  </a:cubicBezTo>
                  <a:cubicBezTo>
                    <a:pt x="279" y="153"/>
                    <a:pt x="279" y="153"/>
                    <a:pt x="278" y="152"/>
                  </a:cubicBezTo>
                  <a:cubicBezTo>
                    <a:pt x="278" y="152"/>
                    <a:pt x="278" y="151"/>
                    <a:pt x="278" y="151"/>
                  </a:cubicBezTo>
                  <a:cubicBezTo>
                    <a:pt x="277" y="149"/>
                    <a:pt x="276" y="148"/>
                    <a:pt x="275" y="148"/>
                  </a:cubicBezTo>
                  <a:cubicBezTo>
                    <a:pt x="274" y="147"/>
                    <a:pt x="273" y="146"/>
                    <a:pt x="272" y="145"/>
                  </a:cubicBezTo>
                  <a:cubicBezTo>
                    <a:pt x="271" y="144"/>
                    <a:pt x="271" y="143"/>
                    <a:pt x="271" y="142"/>
                  </a:cubicBezTo>
                  <a:cubicBezTo>
                    <a:pt x="270" y="141"/>
                    <a:pt x="270" y="140"/>
                    <a:pt x="270" y="138"/>
                  </a:cubicBezTo>
                  <a:cubicBezTo>
                    <a:pt x="270" y="137"/>
                    <a:pt x="269" y="135"/>
                    <a:pt x="269" y="133"/>
                  </a:cubicBezTo>
                  <a:cubicBezTo>
                    <a:pt x="269" y="132"/>
                    <a:pt x="268" y="131"/>
                    <a:pt x="268" y="130"/>
                  </a:cubicBezTo>
                  <a:cubicBezTo>
                    <a:pt x="267" y="129"/>
                    <a:pt x="267" y="128"/>
                    <a:pt x="267" y="127"/>
                  </a:cubicBezTo>
                  <a:cubicBezTo>
                    <a:pt x="267" y="124"/>
                    <a:pt x="268" y="123"/>
                    <a:pt x="268" y="121"/>
                  </a:cubicBezTo>
                  <a:cubicBezTo>
                    <a:pt x="268" y="119"/>
                    <a:pt x="269" y="116"/>
                    <a:pt x="268" y="114"/>
                  </a:cubicBezTo>
                  <a:cubicBezTo>
                    <a:pt x="267" y="113"/>
                    <a:pt x="267" y="113"/>
                    <a:pt x="267" y="112"/>
                  </a:cubicBezTo>
                  <a:cubicBezTo>
                    <a:pt x="267" y="110"/>
                    <a:pt x="267" y="109"/>
                    <a:pt x="267" y="108"/>
                  </a:cubicBezTo>
                  <a:cubicBezTo>
                    <a:pt x="267" y="107"/>
                    <a:pt x="266" y="107"/>
                    <a:pt x="266" y="106"/>
                  </a:cubicBezTo>
                  <a:cubicBezTo>
                    <a:pt x="266" y="105"/>
                    <a:pt x="265" y="103"/>
                    <a:pt x="265" y="102"/>
                  </a:cubicBezTo>
                  <a:cubicBezTo>
                    <a:pt x="265" y="101"/>
                    <a:pt x="265" y="101"/>
                    <a:pt x="266" y="101"/>
                  </a:cubicBezTo>
                  <a:cubicBezTo>
                    <a:pt x="266" y="100"/>
                    <a:pt x="266" y="100"/>
                    <a:pt x="267" y="100"/>
                  </a:cubicBezTo>
                  <a:cubicBezTo>
                    <a:pt x="267" y="100"/>
                    <a:pt x="268" y="100"/>
                    <a:pt x="268" y="99"/>
                  </a:cubicBezTo>
                  <a:cubicBezTo>
                    <a:pt x="268" y="99"/>
                    <a:pt x="269" y="99"/>
                    <a:pt x="269" y="98"/>
                  </a:cubicBezTo>
                  <a:cubicBezTo>
                    <a:pt x="269" y="98"/>
                    <a:pt x="270" y="97"/>
                    <a:pt x="270" y="97"/>
                  </a:cubicBezTo>
                  <a:cubicBezTo>
                    <a:pt x="270" y="96"/>
                    <a:pt x="271" y="96"/>
                    <a:pt x="271" y="96"/>
                  </a:cubicBezTo>
                  <a:cubicBezTo>
                    <a:pt x="272" y="95"/>
                    <a:pt x="272" y="94"/>
                    <a:pt x="273" y="93"/>
                  </a:cubicBezTo>
                  <a:cubicBezTo>
                    <a:pt x="273" y="92"/>
                    <a:pt x="274" y="92"/>
                    <a:pt x="274" y="91"/>
                  </a:cubicBezTo>
                  <a:cubicBezTo>
                    <a:pt x="273" y="90"/>
                    <a:pt x="273" y="89"/>
                    <a:pt x="273" y="88"/>
                  </a:cubicBezTo>
                  <a:cubicBezTo>
                    <a:pt x="273" y="87"/>
                    <a:pt x="273" y="86"/>
                    <a:pt x="274" y="85"/>
                  </a:cubicBezTo>
                  <a:cubicBezTo>
                    <a:pt x="274" y="84"/>
                    <a:pt x="275" y="84"/>
                    <a:pt x="276" y="83"/>
                  </a:cubicBezTo>
                  <a:cubicBezTo>
                    <a:pt x="276" y="82"/>
                    <a:pt x="277" y="82"/>
                    <a:pt x="276" y="81"/>
                  </a:cubicBezTo>
                  <a:cubicBezTo>
                    <a:pt x="276" y="81"/>
                    <a:pt x="276" y="80"/>
                    <a:pt x="276" y="79"/>
                  </a:cubicBezTo>
                  <a:cubicBezTo>
                    <a:pt x="275" y="79"/>
                    <a:pt x="275" y="78"/>
                    <a:pt x="274" y="77"/>
                  </a:cubicBezTo>
                  <a:cubicBezTo>
                    <a:pt x="274" y="77"/>
                    <a:pt x="274" y="76"/>
                    <a:pt x="273" y="75"/>
                  </a:cubicBezTo>
                  <a:cubicBezTo>
                    <a:pt x="272" y="74"/>
                    <a:pt x="271" y="73"/>
                    <a:pt x="270" y="71"/>
                  </a:cubicBezTo>
                  <a:cubicBezTo>
                    <a:pt x="269" y="71"/>
                    <a:pt x="269" y="70"/>
                    <a:pt x="268" y="69"/>
                  </a:cubicBezTo>
                  <a:cubicBezTo>
                    <a:pt x="268" y="69"/>
                    <a:pt x="267" y="69"/>
                    <a:pt x="267" y="68"/>
                  </a:cubicBezTo>
                  <a:cubicBezTo>
                    <a:pt x="266" y="67"/>
                    <a:pt x="265" y="66"/>
                    <a:pt x="265" y="64"/>
                  </a:cubicBezTo>
                  <a:cubicBezTo>
                    <a:pt x="265" y="63"/>
                    <a:pt x="265" y="62"/>
                    <a:pt x="264" y="62"/>
                  </a:cubicBezTo>
                  <a:cubicBezTo>
                    <a:pt x="264" y="61"/>
                    <a:pt x="263" y="60"/>
                    <a:pt x="262" y="59"/>
                  </a:cubicBezTo>
                  <a:cubicBezTo>
                    <a:pt x="262" y="58"/>
                    <a:pt x="262" y="57"/>
                    <a:pt x="262" y="56"/>
                  </a:cubicBezTo>
                  <a:cubicBezTo>
                    <a:pt x="263" y="56"/>
                    <a:pt x="263" y="56"/>
                    <a:pt x="264" y="55"/>
                  </a:cubicBezTo>
                  <a:cubicBezTo>
                    <a:pt x="264" y="55"/>
                    <a:pt x="264" y="53"/>
                    <a:pt x="264" y="52"/>
                  </a:cubicBezTo>
                  <a:cubicBezTo>
                    <a:pt x="265" y="52"/>
                    <a:pt x="266" y="53"/>
                    <a:pt x="266" y="53"/>
                  </a:cubicBezTo>
                  <a:cubicBezTo>
                    <a:pt x="267" y="53"/>
                    <a:pt x="267" y="53"/>
                    <a:pt x="268" y="53"/>
                  </a:cubicBezTo>
                  <a:cubicBezTo>
                    <a:pt x="269" y="51"/>
                    <a:pt x="267" y="50"/>
                    <a:pt x="265" y="50"/>
                  </a:cubicBezTo>
                  <a:cubicBezTo>
                    <a:pt x="264" y="48"/>
                    <a:pt x="261" y="48"/>
                    <a:pt x="260" y="46"/>
                  </a:cubicBezTo>
                  <a:cubicBezTo>
                    <a:pt x="260" y="45"/>
                    <a:pt x="260" y="45"/>
                    <a:pt x="259" y="45"/>
                  </a:cubicBezTo>
                  <a:cubicBezTo>
                    <a:pt x="259" y="44"/>
                    <a:pt x="259" y="44"/>
                    <a:pt x="258" y="43"/>
                  </a:cubicBezTo>
                  <a:cubicBezTo>
                    <a:pt x="257" y="43"/>
                    <a:pt x="255" y="43"/>
                    <a:pt x="254" y="43"/>
                  </a:cubicBezTo>
                  <a:cubicBezTo>
                    <a:pt x="253" y="43"/>
                    <a:pt x="251" y="44"/>
                    <a:pt x="249" y="44"/>
                  </a:cubicBezTo>
                  <a:cubicBezTo>
                    <a:pt x="249" y="44"/>
                    <a:pt x="248" y="44"/>
                    <a:pt x="248" y="44"/>
                  </a:cubicBezTo>
                  <a:cubicBezTo>
                    <a:pt x="247" y="44"/>
                    <a:pt x="246" y="44"/>
                    <a:pt x="246" y="44"/>
                  </a:cubicBezTo>
                  <a:cubicBezTo>
                    <a:pt x="243" y="45"/>
                    <a:pt x="241" y="44"/>
                    <a:pt x="238" y="44"/>
                  </a:cubicBezTo>
                  <a:cubicBezTo>
                    <a:pt x="237" y="44"/>
                    <a:pt x="237" y="44"/>
                    <a:pt x="236" y="44"/>
                  </a:cubicBezTo>
                  <a:cubicBezTo>
                    <a:pt x="236" y="44"/>
                    <a:pt x="235" y="44"/>
                    <a:pt x="235" y="44"/>
                  </a:cubicBezTo>
                  <a:cubicBezTo>
                    <a:pt x="234" y="44"/>
                    <a:pt x="234" y="44"/>
                    <a:pt x="233" y="44"/>
                  </a:cubicBezTo>
                  <a:cubicBezTo>
                    <a:pt x="233" y="44"/>
                    <a:pt x="232" y="44"/>
                    <a:pt x="231" y="44"/>
                  </a:cubicBezTo>
                  <a:cubicBezTo>
                    <a:pt x="228" y="45"/>
                    <a:pt x="225" y="45"/>
                    <a:pt x="222" y="44"/>
                  </a:cubicBezTo>
                  <a:cubicBezTo>
                    <a:pt x="221" y="43"/>
                    <a:pt x="219" y="41"/>
                    <a:pt x="217" y="40"/>
                  </a:cubicBezTo>
                  <a:cubicBezTo>
                    <a:pt x="216" y="39"/>
                    <a:pt x="216" y="38"/>
                    <a:pt x="215" y="37"/>
                  </a:cubicBezTo>
                  <a:cubicBezTo>
                    <a:pt x="214" y="37"/>
                    <a:pt x="214" y="37"/>
                    <a:pt x="213" y="36"/>
                  </a:cubicBezTo>
                  <a:cubicBezTo>
                    <a:pt x="212" y="36"/>
                    <a:pt x="211" y="35"/>
                    <a:pt x="211" y="35"/>
                  </a:cubicBezTo>
                  <a:cubicBezTo>
                    <a:pt x="210" y="34"/>
                    <a:pt x="209" y="33"/>
                    <a:pt x="209" y="33"/>
                  </a:cubicBezTo>
                  <a:cubicBezTo>
                    <a:pt x="208" y="33"/>
                    <a:pt x="208" y="33"/>
                    <a:pt x="207" y="32"/>
                  </a:cubicBezTo>
                  <a:cubicBezTo>
                    <a:pt x="207" y="32"/>
                    <a:pt x="207" y="33"/>
                    <a:pt x="206" y="32"/>
                  </a:cubicBezTo>
                  <a:cubicBezTo>
                    <a:pt x="206" y="32"/>
                    <a:pt x="205" y="32"/>
                    <a:pt x="205" y="32"/>
                  </a:cubicBezTo>
                  <a:cubicBezTo>
                    <a:pt x="205" y="31"/>
                    <a:pt x="204" y="32"/>
                    <a:pt x="204" y="31"/>
                  </a:cubicBezTo>
                  <a:cubicBezTo>
                    <a:pt x="203" y="31"/>
                    <a:pt x="202" y="31"/>
                    <a:pt x="202" y="31"/>
                  </a:cubicBezTo>
                  <a:cubicBezTo>
                    <a:pt x="201" y="30"/>
                    <a:pt x="201" y="30"/>
                    <a:pt x="200" y="30"/>
                  </a:cubicBezTo>
                  <a:cubicBezTo>
                    <a:pt x="200" y="29"/>
                    <a:pt x="199" y="29"/>
                    <a:pt x="198" y="29"/>
                  </a:cubicBezTo>
                  <a:cubicBezTo>
                    <a:pt x="197" y="29"/>
                    <a:pt x="197" y="28"/>
                    <a:pt x="197" y="28"/>
                  </a:cubicBezTo>
                  <a:cubicBezTo>
                    <a:pt x="196" y="27"/>
                    <a:pt x="196" y="27"/>
                    <a:pt x="195" y="27"/>
                  </a:cubicBezTo>
                  <a:cubicBezTo>
                    <a:pt x="193" y="27"/>
                    <a:pt x="191" y="27"/>
                    <a:pt x="190" y="27"/>
                  </a:cubicBezTo>
                  <a:cubicBezTo>
                    <a:pt x="188" y="26"/>
                    <a:pt x="187" y="25"/>
                    <a:pt x="185" y="24"/>
                  </a:cubicBezTo>
                  <a:cubicBezTo>
                    <a:pt x="184" y="23"/>
                    <a:pt x="183" y="22"/>
                    <a:pt x="181" y="22"/>
                  </a:cubicBezTo>
                  <a:cubicBezTo>
                    <a:pt x="180" y="22"/>
                    <a:pt x="179" y="22"/>
                    <a:pt x="178" y="22"/>
                  </a:cubicBezTo>
                  <a:cubicBezTo>
                    <a:pt x="176" y="21"/>
                    <a:pt x="175" y="21"/>
                    <a:pt x="174" y="21"/>
                  </a:cubicBezTo>
                  <a:cubicBezTo>
                    <a:pt x="173" y="22"/>
                    <a:pt x="171" y="22"/>
                    <a:pt x="170" y="22"/>
                  </a:cubicBezTo>
                  <a:cubicBezTo>
                    <a:pt x="169" y="22"/>
                    <a:pt x="168" y="21"/>
                    <a:pt x="167" y="21"/>
                  </a:cubicBezTo>
                  <a:cubicBezTo>
                    <a:pt x="165" y="20"/>
                    <a:pt x="163" y="21"/>
                    <a:pt x="161" y="22"/>
                  </a:cubicBezTo>
                  <a:cubicBezTo>
                    <a:pt x="159" y="22"/>
                    <a:pt x="157" y="22"/>
                    <a:pt x="155" y="23"/>
                  </a:cubicBezTo>
                  <a:cubicBezTo>
                    <a:pt x="155" y="23"/>
                    <a:pt x="154" y="23"/>
                    <a:pt x="153" y="24"/>
                  </a:cubicBezTo>
                  <a:cubicBezTo>
                    <a:pt x="153" y="24"/>
                    <a:pt x="152" y="24"/>
                    <a:pt x="151" y="25"/>
                  </a:cubicBezTo>
                  <a:cubicBezTo>
                    <a:pt x="149" y="25"/>
                    <a:pt x="148" y="27"/>
                    <a:pt x="147" y="27"/>
                  </a:cubicBezTo>
                  <a:cubicBezTo>
                    <a:pt x="145" y="28"/>
                    <a:pt x="144" y="29"/>
                    <a:pt x="144" y="31"/>
                  </a:cubicBezTo>
                  <a:cubicBezTo>
                    <a:pt x="144" y="32"/>
                    <a:pt x="143" y="32"/>
                    <a:pt x="142" y="33"/>
                  </a:cubicBezTo>
                  <a:cubicBezTo>
                    <a:pt x="140" y="33"/>
                    <a:pt x="138" y="33"/>
                    <a:pt x="137" y="35"/>
                  </a:cubicBezTo>
                  <a:cubicBezTo>
                    <a:pt x="135" y="37"/>
                    <a:pt x="134" y="40"/>
                    <a:pt x="131" y="42"/>
                  </a:cubicBezTo>
                  <a:cubicBezTo>
                    <a:pt x="130" y="43"/>
                    <a:pt x="127" y="43"/>
                    <a:pt x="126" y="44"/>
                  </a:cubicBezTo>
                  <a:cubicBezTo>
                    <a:pt x="124" y="44"/>
                    <a:pt x="122" y="45"/>
                    <a:pt x="121" y="45"/>
                  </a:cubicBezTo>
                  <a:cubicBezTo>
                    <a:pt x="119" y="45"/>
                    <a:pt x="117" y="45"/>
                    <a:pt x="115" y="45"/>
                  </a:cubicBezTo>
                  <a:cubicBezTo>
                    <a:pt x="114" y="45"/>
                    <a:pt x="114" y="46"/>
                    <a:pt x="113" y="46"/>
                  </a:cubicBezTo>
                  <a:cubicBezTo>
                    <a:pt x="112" y="47"/>
                    <a:pt x="110" y="47"/>
                    <a:pt x="110" y="46"/>
                  </a:cubicBezTo>
                  <a:cubicBezTo>
                    <a:pt x="110" y="45"/>
                    <a:pt x="111" y="45"/>
                    <a:pt x="111" y="44"/>
                  </a:cubicBezTo>
                  <a:cubicBezTo>
                    <a:pt x="110" y="43"/>
                    <a:pt x="108" y="44"/>
                    <a:pt x="106" y="45"/>
                  </a:cubicBezTo>
                  <a:cubicBezTo>
                    <a:pt x="105" y="46"/>
                    <a:pt x="103" y="46"/>
                    <a:pt x="102" y="47"/>
                  </a:cubicBezTo>
                  <a:cubicBezTo>
                    <a:pt x="100" y="48"/>
                    <a:pt x="98" y="48"/>
                    <a:pt x="96" y="48"/>
                  </a:cubicBezTo>
                  <a:cubicBezTo>
                    <a:pt x="95" y="49"/>
                    <a:pt x="93" y="49"/>
                    <a:pt x="92" y="50"/>
                  </a:cubicBezTo>
                  <a:cubicBezTo>
                    <a:pt x="92" y="50"/>
                    <a:pt x="92" y="52"/>
                    <a:pt x="93" y="53"/>
                  </a:cubicBezTo>
                  <a:cubicBezTo>
                    <a:pt x="93" y="54"/>
                    <a:pt x="95" y="54"/>
                    <a:pt x="95" y="55"/>
                  </a:cubicBezTo>
                  <a:cubicBezTo>
                    <a:pt x="93" y="56"/>
                    <a:pt x="94" y="57"/>
                    <a:pt x="94" y="58"/>
                  </a:cubicBezTo>
                  <a:cubicBezTo>
                    <a:pt x="95" y="60"/>
                    <a:pt x="93" y="60"/>
                    <a:pt x="93" y="61"/>
                  </a:cubicBezTo>
                  <a:cubicBezTo>
                    <a:pt x="92" y="62"/>
                    <a:pt x="93" y="64"/>
                    <a:pt x="93" y="65"/>
                  </a:cubicBezTo>
                  <a:cubicBezTo>
                    <a:pt x="93" y="66"/>
                    <a:pt x="92" y="68"/>
                    <a:pt x="91" y="69"/>
                  </a:cubicBezTo>
                  <a:cubicBezTo>
                    <a:pt x="90" y="70"/>
                    <a:pt x="89" y="71"/>
                    <a:pt x="89" y="72"/>
                  </a:cubicBezTo>
                  <a:cubicBezTo>
                    <a:pt x="89" y="73"/>
                    <a:pt x="89" y="73"/>
                    <a:pt x="89" y="73"/>
                  </a:cubicBezTo>
                  <a:cubicBezTo>
                    <a:pt x="89" y="74"/>
                    <a:pt x="89" y="74"/>
                    <a:pt x="89" y="74"/>
                  </a:cubicBezTo>
                  <a:cubicBezTo>
                    <a:pt x="88" y="75"/>
                    <a:pt x="87" y="75"/>
                    <a:pt x="86" y="76"/>
                  </a:cubicBezTo>
                  <a:cubicBezTo>
                    <a:pt x="85" y="76"/>
                    <a:pt x="83" y="76"/>
                    <a:pt x="82" y="76"/>
                  </a:cubicBezTo>
                  <a:cubicBezTo>
                    <a:pt x="81" y="77"/>
                    <a:pt x="81" y="77"/>
                    <a:pt x="80" y="78"/>
                  </a:cubicBezTo>
                  <a:cubicBezTo>
                    <a:pt x="80" y="79"/>
                    <a:pt x="79" y="80"/>
                    <a:pt x="79" y="80"/>
                  </a:cubicBezTo>
                  <a:cubicBezTo>
                    <a:pt x="78" y="81"/>
                    <a:pt x="78" y="82"/>
                    <a:pt x="78" y="83"/>
                  </a:cubicBezTo>
                  <a:cubicBezTo>
                    <a:pt x="77" y="84"/>
                    <a:pt x="77" y="85"/>
                    <a:pt x="76" y="85"/>
                  </a:cubicBezTo>
                  <a:cubicBezTo>
                    <a:pt x="76" y="85"/>
                    <a:pt x="75" y="86"/>
                    <a:pt x="74" y="86"/>
                  </a:cubicBezTo>
                  <a:cubicBezTo>
                    <a:pt x="74" y="86"/>
                    <a:pt x="73" y="87"/>
                    <a:pt x="74" y="88"/>
                  </a:cubicBezTo>
                  <a:cubicBezTo>
                    <a:pt x="74" y="88"/>
                    <a:pt x="75" y="88"/>
                    <a:pt x="75" y="88"/>
                  </a:cubicBezTo>
                  <a:cubicBezTo>
                    <a:pt x="76" y="88"/>
                    <a:pt x="76" y="89"/>
                    <a:pt x="77" y="89"/>
                  </a:cubicBezTo>
                  <a:cubicBezTo>
                    <a:pt x="79" y="89"/>
                    <a:pt x="81" y="88"/>
                    <a:pt x="82" y="89"/>
                  </a:cubicBezTo>
                  <a:cubicBezTo>
                    <a:pt x="84" y="89"/>
                    <a:pt x="86" y="89"/>
                    <a:pt x="87" y="89"/>
                  </a:cubicBezTo>
                  <a:cubicBezTo>
                    <a:pt x="88" y="90"/>
                    <a:pt x="89" y="91"/>
                    <a:pt x="89" y="92"/>
                  </a:cubicBezTo>
                  <a:cubicBezTo>
                    <a:pt x="90" y="93"/>
                    <a:pt x="92" y="93"/>
                    <a:pt x="93" y="92"/>
                  </a:cubicBezTo>
                  <a:cubicBezTo>
                    <a:pt x="94" y="92"/>
                    <a:pt x="96" y="92"/>
                    <a:pt x="96" y="91"/>
                  </a:cubicBezTo>
                  <a:cubicBezTo>
                    <a:pt x="98" y="90"/>
                    <a:pt x="99" y="90"/>
                    <a:pt x="98" y="88"/>
                  </a:cubicBezTo>
                  <a:cubicBezTo>
                    <a:pt x="98" y="88"/>
                    <a:pt x="97" y="87"/>
                    <a:pt x="98" y="86"/>
                  </a:cubicBezTo>
                  <a:cubicBezTo>
                    <a:pt x="98" y="86"/>
                    <a:pt x="99" y="86"/>
                    <a:pt x="99" y="85"/>
                  </a:cubicBezTo>
                  <a:cubicBezTo>
                    <a:pt x="100" y="85"/>
                    <a:pt x="100" y="84"/>
                    <a:pt x="100" y="84"/>
                  </a:cubicBezTo>
                  <a:cubicBezTo>
                    <a:pt x="101" y="85"/>
                    <a:pt x="101" y="85"/>
                    <a:pt x="101" y="85"/>
                  </a:cubicBezTo>
                  <a:cubicBezTo>
                    <a:pt x="101" y="85"/>
                    <a:pt x="101" y="85"/>
                    <a:pt x="101" y="86"/>
                  </a:cubicBezTo>
                  <a:cubicBezTo>
                    <a:pt x="102" y="86"/>
                    <a:pt x="102" y="87"/>
                    <a:pt x="102" y="87"/>
                  </a:cubicBezTo>
                  <a:cubicBezTo>
                    <a:pt x="103" y="88"/>
                    <a:pt x="102" y="88"/>
                    <a:pt x="102" y="88"/>
                  </a:cubicBezTo>
                  <a:cubicBezTo>
                    <a:pt x="102" y="89"/>
                    <a:pt x="102" y="89"/>
                    <a:pt x="102" y="89"/>
                  </a:cubicBezTo>
                  <a:cubicBezTo>
                    <a:pt x="103" y="90"/>
                    <a:pt x="104" y="90"/>
                    <a:pt x="104" y="90"/>
                  </a:cubicBezTo>
                  <a:cubicBezTo>
                    <a:pt x="105" y="91"/>
                    <a:pt x="106" y="92"/>
                    <a:pt x="106" y="92"/>
                  </a:cubicBezTo>
                  <a:cubicBezTo>
                    <a:pt x="107" y="92"/>
                    <a:pt x="107" y="91"/>
                    <a:pt x="108" y="91"/>
                  </a:cubicBezTo>
                  <a:cubicBezTo>
                    <a:pt x="109" y="90"/>
                    <a:pt x="110" y="90"/>
                    <a:pt x="110" y="89"/>
                  </a:cubicBezTo>
                  <a:cubicBezTo>
                    <a:pt x="110" y="88"/>
                    <a:pt x="110" y="86"/>
                    <a:pt x="110" y="85"/>
                  </a:cubicBezTo>
                  <a:cubicBezTo>
                    <a:pt x="111" y="85"/>
                    <a:pt x="111" y="84"/>
                    <a:pt x="112" y="84"/>
                  </a:cubicBezTo>
                  <a:cubicBezTo>
                    <a:pt x="111" y="86"/>
                    <a:pt x="111" y="86"/>
                    <a:pt x="111" y="86"/>
                  </a:cubicBezTo>
                  <a:cubicBezTo>
                    <a:pt x="111" y="86"/>
                    <a:pt x="111" y="87"/>
                    <a:pt x="111" y="87"/>
                  </a:cubicBezTo>
                  <a:cubicBezTo>
                    <a:pt x="110" y="88"/>
                    <a:pt x="110" y="88"/>
                    <a:pt x="110" y="88"/>
                  </a:cubicBezTo>
                  <a:cubicBezTo>
                    <a:pt x="110" y="89"/>
                    <a:pt x="110" y="90"/>
                    <a:pt x="111" y="90"/>
                  </a:cubicBezTo>
                  <a:cubicBezTo>
                    <a:pt x="111" y="91"/>
                    <a:pt x="111" y="91"/>
                    <a:pt x="112" y="91"/>
                  </a:cubicBezTo>
                  <a:cubicBezTo>
                    <a:pt x="113" y="91"/>
                    <a:pt x="113" y="89"/>
                    <a:pt x="114" y="89"/>
                  </a:cubicBezTo>
                  <a:cubicBezTo>
                    <a:pt x="115" y="88"/>
                    <a:pt x="116" y="89"/>
                    <a:pt x="116" y="88"/>
                  </a:cubicBezTo>
                  <a:cubicBezTo>
                    <a:pt x="116" y="87"/>
                    <a:pt x="116" y="86"/>
                    <a:pt x="117" y="87"/>
                  </a:cubicBezTo>
                  <a:cubicBezTo>
                    <a:pt x="117" y="88"/>
                    <a:pt x="117" y="88"/>
                    <a:pt x="117" y="88"/>
                  </a:cubicBezTo>
                  <a:cubicBezTo>
                    <a:pt x="118" y="88"/>
                    <a:pt x="118" y="88"/>
                    <a:pt x="118" y="88"/>
                  </a:cubicBezTo>
                  <a:cubicBezTo>
                    <a:pt x="118" y="89"/>
                    <a:pt x="118" y="89"/>
                    <a:pt x="118" y="89"/>
                  </a:cubicBezTo>
                  <a:cubicBezTo>
                    <a:pt x="117" y="89"/>
                    <a:pt x="116" y="89"/>
                    <a:pt x="115" y="90"/>
                  </a:cubicBezTo>
                  <a:cubicBezTo>
                    <a:pt x="114" y="90"/>
                    <a:pt x="114" y="91"/>
                    <a:pt x="115" y="92"/>
                  </a:cubicBezTo>
                  <a:cubicBezTo>
                    <a:pt x="115" y="93"/>
                    <a:pt x="118" y="94"/>
                    <a:pt x="119" y="94"/>
                  </a:cubicBezTo>
                  <a:cubicBezTo>
                    <a:pt x="120" y="93"/>
                    <a:pt x="120" y="93"/>
                    <a:pt x="120" y="93"/>
                  </a:cubicBezTo>
                  <a:cubicBezTo>
                    <a:pt x="121" y="93"/>
                    <a:pt x="121" y="93"/>
                    <a:pt x="122" y="93"/>
                  </a:cubicBezTo>
                  <a:cubicBezTo>
                    <a:pt x="122" y="92"/>
                    <a:pt x="123" y="92"/>
                    <a:pt x="123" y="91"/>
                  </a:cubicBezTo>
                  <a:cubicBezTo>
                    <a:pt x="123" y="91"/>
                    <a:pt x="123" y="90"/>
                    <a:pt x="123" y="89"/>
                  </a:cubicBezTo>
                  <a:cubicBezTo>
                    <a:pt x="124" y="89"/>
                    <a:pt x="124" y="89"/>
                    <a:pt x="124" y="90"/>
                  </a:cubicBezTo>
                  <a:cubicBezTo>
                    <a:pt x="124" y="90"/>
                    <a:pt x="124" y="91"/>
                    <a:pt x="123" y="92"/>
                  </a:cubicBezTo>
                  <a:cubicBezTo>
                    <a:pt x="123" y="93"/>
                    <a:pt x="123" y="93"/>
                    <a:pt x="122" y="93"/>
                  </a:cubicBezTo>
                  <a:cubicBezTo>
                    <a:pt x="121" y="94"/>
                    <a:pt x="121" y="94"/>
                    <a:pt x="121" y="95"/>
                  </a:cubicBezTo>
                  <a:cubicBezTo>
                    <a:pt x="121" y="96"/>
                    <a:pt x="121" y="96"/>
                    <a:pt x="122" y="96"/>
                  </a:cubicBezTo>
                  <a:cubicBezTo>
                    <a:pt x="123" y="96"/>
                    <a:pt x="124" y="96"/>
                    <a:pt x="125" y="96"/>
                  </a:cubicBezTo>
                  <a:cubicBezTo>
                    <a:pt x="125" y="96"/>
                    <a:pt x="126" y="95"/>
                    <a:pt x="127" y="95"/>
                  </a:cubicBezTo>
                  <a:cubicBezTo>
                    <a:pt x="127" y="96"/>
                    <a:pt x="125" y="97"/>
                    <a:pt x="127" y="98"/>
                  </a:cubicBezTo>
                  <a:cubicBezTo>
                    <a:pt x="128" y="99"/>
                    <a:pt x="129" y="97"/>
                    <a:pt x="130" y="96"/>
                  </a:cubicBezTo>
                  <a:cubicBezTo>
                    <a:pt x="130" y="96"/>
                    <a:pt x="130" y="96"/>
                    <a:pt x="131" y="96"/>
                  </a:cubicBezTo>
                  <a:cubicBezTo>
                    <a:pt x="131" y="96"/>
                    <a:pt x="131" y="96"/>
                    <a:pt x="131" y="96"/>
                  </a:cubicBezTo>
                  <a:cubicBezTo>
                    <a:pt x="132" y="96"/>
                    <a:pt x="132" y="96"/>
                    <a:pt x="132" y="96"/>
                  </a:cubicBezTo>
                  <a:cubicBezTo>
                    <a:pt x="133" y="96"/>
                    <a:pt x="134" y="96"/>
                    <a:pt x="134" y="95"/>
                  </a:cubicBezTo>
                  <a:cubicBezTo>
                    <a:pt x="135" y="95"/>
                    <a:pt x="135" y="95"/>
                    <a:pt x="136" y="95"/>
                  </a:cubicBezTo>
                  <a:cubicBezTo>
                    <a:pt x="137" y="95"/>
                    <a:pt x="137" y="94"/>
                    <a:pt x="137" y="93"/>
                  </a:cubicBezTo>
                  <a:cubicBezTo>
                    <a:pt x="137" y="93"/>
                    <a:pt x="137" y="92"/>
                    <a:pt x="137" y="91"/>
                  </a:cubicBezTo>
                  <a:cubicBezTo>
                    <a:pt x="137" y="91"/>
                    <a:pt x="136" y="91"/>
                    <a:pt x="137" y="90"/>
                  </a:cubicBezTo>
                  <a:cubicBezTo>
                    <a:pt x="137" y="89"/>
                    <a:pt x="138" y="89"/>
                    <a:pt x="138" y="89"/>
                  </a:cubicBezTo>
                  <a:cubicBezTo>
                    <a:pt x="139" y="90"/>
                    <a:pt x="138" y="90"/>
                    <a:pt x="138" y="90"/>
                  </a:cubicBezTo>
                  <a:cubicBezTo>
                    <a:pt x="138" y="91"/>
                    <a:pt x="138" y="91"/>
                    <a:pt x="138" y="91"/>
                  </a:cubicBezTo>
                  <a:cubicBezTo>
                    <a:pt x="138" y="92"/>
                    <a:pt x="139" y="92"/>
                    <a:pt x="139" y="93"/>
                  </a:cubicBezTo>
                  <a:cubicBezTo>
                    <a:pt x="138" y="94"/>
                    <a:pt x="138" y="94"/>
                    <a:pt x="138" y="95"/>
                  </a:cubicBezTo>
                  <a:cubicBezTo>
                    <a:pt x="137" y="96"/>
                    <a:pt x="135" y="96"/>
                    <a:pt x="135" y="97"/>
                  </a:cubicBezTo>
                  <a:cubicBezTo>
                    <a:pt x="134" y="98"/>
                    <a:pt x="134" y="98"/>
                    <a:pt x="133" y="99"/>
                  </a:cubicBezTo>
                  <a:cubicBezTo>
                    <a:pt x="132" y="100"/>
                    <a:pt x="132" y="100"/>
                    <a:pt x="132" y="101"/>
                  </a:cubicBezTo>
                  <a:cubicBezTo>
                    <a:pt x="133" y="102"/>
                    <a:pt x="133" y="102"/>
                    <a:pt x="133" y="103"/>
                  </a:cubicBezTo>
                  <a:cubicBezTo>
                    <a:pt x="134" y="104"/>
                    <a:pt x="134" y="105"/>
                    <a:pt x="135" y="105"/>
                  </a:cubicBezTo>
                  <a:cubicBezTo>
                    <a:pt x="136" y="105"/>
                    <a:pt x="137" y="104"/>
                    <a:pt x="138" y="104"/>
                  </a:cubicBezTo>
                  <a:cubicBezTo>
                    <a:pt x="138" y="103"/>
                    <a:pt x="138" y="103"/>
                    <a:pt x="139" y="102"/>
                  </a:cubicBezTo>
                  <a:cubicBezTo>
                    <a:pt x="139" y="102"/>
                    <a:pt x="140" y="102"/>
                    <a:pt x="141" y="102"/>
                  </a:cubicBezTo>
                  <a:cubicBezTo>
                    <a:pt x="141" y="102"/>
                    <a:pt x="142" y="102"/>
                    <a:pt x="142" y="101"/>
                  </a:cubicBezTo>
                  <a:cubicBezTo>
                    <a:pt x="142" y="100"/>
                    <a:pt x="142" y="100"/>
                    <a:pt x="142" y="100"/>
                  </a:cubicBezTo>
                  <a:cubicBezTo>
                    <a:pt x="141" y="100"/>
                    <a:pt x="142" y="98"/>
                    <a:pt x="143" y="98"/>
                  </a:cubicBezTo>
                  <a:cubicBezTo>
                    <a:pt x="144" y="97"/>
                    <a:pt x="144" y="98"/>
                    <a:pt x="143" y="99"/>
                  </a:cubicBezTo>
                  <a:cubicBezTo>
                    <a:pt x="143" y="100"/>
                    <a:pt x="142" y="100"/>
                    <a:pt x="143" y="101"/>
                  </a:cubicBezTo>
                  <a:cubicBezTo>
                    <a:pt x="143" y="101"/>
                    <a:pt x="143" y="102"/>
                    <a:pt x="143" y="102"/>
                  </a:cubicBezTo>
                  <a:cubicBezTo>
                    <a:pt x="143" y="102"/>
                    <a:pt x="142" y="102"/>
                    <a:pt x="142" y="103"/>
                  </a:cubicBezTo>
                  <a:cubicBezTo>
                    <a:pt x="141" y="103"/>
                    <a:pt x="140" y="103"/>
                    <a:pt x="141" y="104"/>
                  </a:cubicBezTo>
                  <a:cubicBezTo>
                    <a:pt x="141" y="104"/>
                    <a:pt x="141" y="104"/>
                    <a:pt x="141" y="105"/>
                  </a:cubicBezTo>
                  <a:cubicBezTo>
                    <a:pt x="141" y="105"/>
                    <a:pt x="141" y="105"/>
                    <a:pt x="141" y="105"/>
                  </a:cubicBezTo>
                  <a:cubicBezTo>
                    <a:pt x="140" y="106"/>
                    <a:pt x="139" y="107"/>
                    <a:pt x="139" y="107"/>
                  </a:cubicBezTo>
                  <a:cubicBezTo>
                    <a:pt x="138" y="108"/>
                    <a:pt x="137" y="109"/>
                    <a:pt x="136" y="110"/>
                  </a:cubicBezTo>
                  <a:cubicBezTo>
                    <a:pt x="136" y="110"/>
                    <a:pt x="135" y="110"/>
                    <a:pt x="135" y="111"/>
                  </a:cubicBezTo>
                  <a:cubicBezTo>
                    <a:pt x="135" y="112"/>
                    <a:pt x="135" y="112"/>
                    <a:pt x="135" y="112"/>
                  </a:cubicBezTo>
                  <a:cubicBezTo>
                    <a:pt x="136" y="112"/>
                    <a:pt x="136" y="112"/>
                    <a:pt x="136" y="113"/>
                  </a:cubicBezTo>
                  <a:cubicBezTo>
                    <a:pt x="136" y="113"/>
                    <a:pt x="135" y="113"/>
                    <a:pt x="135" y="114"/>
                  </a:cubicBezTo>
                  <a:cubicBezTo>
                    <a:pt x="134" y="115"/>
                    <a:pt x="136" y="117"/>
                    <a:pt x="137" y="118"/>
                  </a:cubicBezTo>
                  <a:cubicBezTo>
                    <a:pt x="138" y="118"/>
                    <a:pt x="138" y="118"/>
                    <a:pt x="138" y="119"/>
                  </a:cubicBezTo>
                  <a:cubicBezTo>
                    <a:pt x="137" y="120"/>
                    <a:pt x="137" y="120"/>
                    <a:pt x="138" y="120"/>
                  </a:cubicBezTo>
                  <a:cubicBezTo>
                    <a:pt x="138" y="121"/>
                    <a:pt x="139" y="122"/>
                    <a:pt x="140" y="122"/>
                  </a:cubicBezTo>
                  <a:cubicBezTo>
                    <a:pt x="140" y="122"/>
                    <a:pt x="141" y="123"/>
                    <a:pt x="142" y="123"/>
                  </a:cubicBezTo>
                  <a:cubicBezTo>
                    <a:pt x="142" y="122"/>
                    <a:pt x="142" y="122"/>
                    <a:pt x="142" y="121"/>
                  </a:cubicBezTo>
                  <a:cubicBezTo>
                    <a:pt x="142" y="120"/>
                    <a:pt x="142" y="120"/>
                    <a:pt x="142" y="119"/>
                  </a:cubicBezTo>
                  <a:cubicBezTo>
                    <a:pt x="143" y="118"/>
                    <a:pt x="143" y="118"/>
                    <a:pt x="144" y="118"/>
                  </a:cubicBezTo>
                  <a:cubicBezTo>
                    <a:pt x="144" y="118"/>
                    <a:pt x="144" y="119"/>
                    <a:pt x="144" y="119"/>
                  </a:cubicBezTo>
                  <a:cubicBezTo>
                    <a:pt x="143" y="120"/>
                    <a:pt x="143" y="121"/>
                    <a:pt x="143" y="122"/>
                  </a:cubicBezTo>
                  <a:cubicBezTo>
                    <a:pt x="143" y="123"/>
                    <a:pt x="144" y="123"/>
                    <a:pt x="144" y="123"/>
                  </a:cubicBezTo>
                  <a:cubicBezTo>
                    <a:pt x="145" y="124"/>
                    <a:pt x="145" y="124"/>
                    <a:pt x="144" y="124"/>
                  </a:cubicBezTo>
                  <a:cubicBezTo>
                    <a:pt x="143" y="125"/>
                    <a:pt x="142" y="125"/>
                    <a:pt x="142" y="127"/>
                  </a:cubicBezTo>
                  <a:cubicBezTo>
                    <a:pt x="142" y="127"/>
                    <a:pt x="143" y="128"/>
                    <a:pt x="143" y="128"/>
                  </a:cubicBezTo>
                  <a:cubicBezTo>
                    <a:pt x="144" y="129"/>
                    <a:pt x="145" y="130"/>
                    <a:pt x="146" y="130"/>
                  </a:cubicBezTo>
                  <a:cubicBezTo>
                    <a:pt x="147" y="130"/>
                    <a:pt x="148" y="131"/>
                    <a:pt x="149" y="131"/>
                  </a:cubicBezTo>
                  <a:cubicBezTo>
                    <a:pt x="150" y="132"/>
                    <a:pt x="150" y="132"/>
                    <a:pt x="151" y="133"/>
                  </a:cubicBezTo>
                  <a:cubicBezTo>
                    <a:pt x="152" y="133"/>
                    <a:pt x="153" y="134"/>
                    <a:pt x="153" y="134"/>
                  </a:cubicBezTo>
                  <a:cubicBezTo>
                    <a:pt x="154" y="135"/>
                    <a:pt x="155" y="135"/>
                    <a:pt x="156" y="136"/>
                  </a:cubicBezTo>
                  <a:cubicBezTo>
                    <a:pt x="156" y="137"/>
                    <a:pt x="157" y="139"/>
                    <a:pt x="158" y="139"/>
                  </a:cubicBezTo>
                  <a:cubicBezTo>
                    <a:pt x="158" y="139"/>
                    <a:pt x="159" y="139"/>
                    <a:pt x="160" y="139"/>
                  </a:cubicBezTo>
                  <a:cubicBezTo>
                    <a:pt x="161" y="139"/>
                    <a:pt x="162" y="139"/>
                    <a:pt x="163" y="138"/>
                  </a:cubicBezTo>
                  <a:cubicBezTo>
                    <a:pt x="163" y="138"/>
                    <a:pt x="164" y="138"/>
                    <a:pt x="164" y="137"/>
                  </a:cubicBezTo>
                  <a:cubicBezTo>
                    <a:pt x="166" y="136"/>
                    <a:pt x="168" y="135"/>
                    <a:pt x="170" y="135"/>
                  </a:cubicBezTo>
                  <a:cubicBezTo>
                    <a:pt x="171" y="134"/>
                    <a:pt x="172" y="134"/>
                    <a:pt x="174" y="134"/>
                  </a:cubicBezTo>
                  <a:cubicBezTo>
                    <a:pt x="174" y="135"/>
                    <a:pt x="175" y="135"/>
                    <a:pt x="176" y="135"/>
                  </a:cubicBezTo>
                  <a:cubicBezTo>
                    <a:pt x="176" y="135"/>
                    <a:pt x="176" y="136"/>
                    <a:pt x="177" y="136"/>
                  </a:cubicBezTo>
                  <a:cubicBezTo>
                    <a:pt x="177" y="137"/>
                    <a:pt x="177" y="139"/>
                    <a:pt x="179" y="139"/>
                  </a:cubicBezTo>
                  <a:cubicBezTo>
                    <a:pt x="179" y="140"/>
                    <a:pt x="180" y="140"/>
                    <a:pt x="180" y="140"/>
                  </a:cubicBezTo>
                  <a:cubicBezTo>
                    <a:pt x="181" y="140"/>
                    <a:pt x="181" y="140"/>
                    <a:pt x="182" y="141"/>
                  </a:cubicBezTo>
                  <a:cubicBezTo>
                    <a:pt x="182" y="141"/>
                    <a:pt x="183" y="140"/>
                    <a:pt x="183" y="140"/>
                  </a:cubicBezTo>
                  <a:cubicBezTo>
                    <a:pt x="183" y="140"/>
                    <a:pt x="184" y="139"/>
                    <a:pt x="184" y="139"/>
                  </a:cubicBezTo>
                  <a:cubicBezTo>
                    <a:pt x="185" y="138"/>
                    <a:pt x="187" y="138"/>
                    <a:pt x="188" y="137"/>
                  </a:cubicBezTo>
                  <a:cubicBezTo>
                    <a:pt x="190" y="137"/>
                    <a:pt x="192" y="138"/>
                    <a:pt x="194" y="139"/>
                  </a:cubicBezTo>
                  <a:cubicBezTo>
                    <a:pt x="194" y="139"/>
                    <a:pt x="194" y="140"/>
                    <a:pt x="195" y="139"/>
                  </a:cubicBezTo>
                  <a:cubicBezTo>
                    <a:pt x="196" y="139"/>
                    <a:pt x="196" y="139"/>
                    <a:pt x="197" y="139"/>
                  </a:cubicBezTo>
                  <a:cubicBezTo>
                    <a:pt x="197" y="140"/>
                    <a:pt x="197" y="140"/>
                    <a:pt x="197" y="140"/>
                  </a:cubicBezTo>
                  <a:cubicBezTo>
                    <a:pt x="198" y="140"/>
                    <a:pt x="198" y="139"/>
                    <a:pt x="199" y="139"/>
                  </a:cubicBezTo>
                  <a:cubicBezTo>
                    <a:pt x="200" y="139"/>
                    <a:pt x="201" y="138"/>
                    <a:pt x="202" y="138"/>
                  </a:cubicBezTo>
                  <a:cubicBezTo>
                    <a:pt x="203" y="137"/>
                    <a:pt x="204" y="137"/>
                    <a:pt x="206" y="137"/>
                  </a:cubicBezTo>
                  <a:cubicBezTo>
                    <a:pt x="207" y="137"/>
                    <a:pt x="207" y="136"/>
                    <a:pt x="207" y="135"/>
                  </a:cubicBezTo>
                  <a:cubicBezTo>
                    <a:pt x="208" y="135"/>
                    <a:pt x="209" y="134"/>
                    <a:pt x="210" y="134"/>
                  </a:cubicBezTo>
                  <a:cubicBezTo>
                    <a:pt x="211" y="134"/>
                    <a:pt x="212" y="134"/>
                    <a:pt x="212" y="135"/>
                  </a:cubicBezTo>
                  <a:cubicBezTo>
                    <a:pt x="213" y="135"/>
                    <a:pt x="213" y="135"/>
                    <a:pt x="213" y="135"/>
                  </a:cubicBezTo>
                  <a:cubicBezTo>
                    <a:pt x="214" y="135"/>
                    <a:pt x="214" y="135"/>
                    <a:pt x="215" y="135"/>
                  </a:cubicBezTo>
                  <a:cubicBezTo>
                    <a:pt x="216" y="134"/>
                    <a:pt x="217" y="134"/>
                    <a:pt x="218" y="135"/>
                  </a:cubicBezTo>
                  <a:cubicBezTo>
                    <a:pt x="219" y="136"/>
                    <a:pt x="219" y="135"/>
                    <a:pt x="220" y="135"/>
                  </a:cubicBezTo>
                  <a:cubicBezTo>
                    <a:pt x="221" y="135"/>
                    <a:pt x="222" y="135"/>
                    <a:pt x="223" y="135"/>
                  </a:cubicBezTo>
                  <a:cubicBezTo>
                    <a:pt x="224" y="135"/>
                    <a:pt x="225" y="135"/>
                    <a:pt x="226" y="135"/>
                  </a:cubicBezTo>
                  <a:cubicBezTo>
                    <a:pt x="226" y="136"/>
                    <a:pt x="226" y="136"/>
                    <a:pt x="227" y="137"/>
                  </a:cubicBezTo>
                  <a:cubicBezTo>
                    <a:pt x="228" y="137"/>
                    <a:pt x="229" y="137"/>
                    <a:pt x="230" y="136"/>
                  </a:cubicBezTo>
                  <a:cubicBezTo>
                    <a:pt x="232" y="136"/>
                    <a:pt x="234" y="137"/>
                    <a:pt x="235" y="135"/>
                  </a:cubicBezTo>
                  <a:cubicBezTo>
                    <a:pt x="235" y="134"/>
                    <a:pt x="235" y="134"/>
                    <a:pt x="236" y="133"/>
                  </a:cubicBezTo>
                  <a:cubicBezTo>
                    <a:pt x="236" y="133"/>
                    <a:pt x="238" y="133"/>
                    <a:pt x="239" y="133"/>
                  </a:cubicBezTo>
                  <a:cubicBezTo>
                    <a:pt x="238" y="133"/>
                    <a:pt x="237" y="133"/>
                    <a:pt x="237" y="133"/>
                  </a:cubicBezTo>
                  <a:cubicBezTo>
                    <a:pt x="237" y="134"/>
                    <a:pt x="237" y="134"/>
                    <a:pt x="237" y="135"/>
                  </a:cubicBezTo>
                  <a:cubicBezTo>
                    <a:pt x="236" y="136"/>
                    <a:pt x="237" y="136"/>
                    <a:pt x="238" y="136"/>
                  </a:cubicBezTo>
                  <a:cubicBezTo>
                    <a:pt x="239" y="136"/>
                    <a:pt x="240" y="135"/>
                    <a:pt x="240" y="135"/>
                  </a:cubicBezTo>
                  <a:cubicBezTo>
                    <a:pt x="241" y="134"/>
                    <a:pt x="242" y="135"/>
                    <a:pt x="243" y="134"/>
                  </a:cubicBezTo>
                  <a:cubicBezTo>
                    <a:pt x="244" y="134"/>
                    <a:pt x="243" y="133"/>
                    <a:pt x="244" y="132"/>
                  </a:cubicBezTo>
                  <a:cubicBezTo>
                    <a:pt x="244" y="132"/>
                    <a:pt x="244" y="132"/>
                    <a:pt x="244" y="132"/>
                  </a:cubicBezTo>
                  <a:cubicBezTo>
                    <a:pt x="245" y="132"/>
                    <a:pt x="245" y="132"/>
                    <a:pt x="245" y="132"/>
                  </a:cubicBezTo>
                  <a:cubicBezTo>
                    <a:pt x="246" y="132"/>
                    <a:pt x="246" y="132"/>
                    <a:pt x="246" y="132"/>
                  </a:cubicBezTo>
                  <a:cubicBezTo>
                    <a:pt x="246" y="132"/>
                    <a:pt x="247" y="133"/>
                    <a:pt x="247" y="132"/>
                  </a:cubicBezTo>
                  <a:cubicBezTo>
                    <a:pt x="248" y="132"/>
                    <a:pt x="247" y="131"/>
                    <a:pt x="248" y="131"/>
                  </a:cubicBezTo>
                  <a:cubicBezTo>
                    <a:pt x="248" y="131"/>
                    <a:pt x="249" y="131"/>
                    <a:pt x="249" y="131"/>
                  </a:cubicBezTo>
                  <a:cubicBezTo>
                    <a:pt x="250" y="131"/>
                    <a:pt x="250" y="131"/>
                    <a:pt x="250" y="131"/>
                  </a:cubicBezTo>
                  <a:cubicBezTo>
                    <a:pt x="250" y="131"/>
                    <a:pt x="251" y="131"/>
                    <a:pt x="251" y="131"/>
                  </a:cubicBezTo>
                  <a:cubicBezTo>
                    <a:pt x="252" y="130"/>
                    <a:pt x="253" y="130"/>
                    <a:pt x="253" y="130"/>
                  </a:cubicBezTo>
                  <a:cubicBezTo>
                    <a:pt x="254" y="130"/>
                    <a:pt x="255" y="130"/>
                    <a:pt x="256" y="131"/>
                  </a:cubicBezTo>
                  <a:cubicBezTo>
                    <a:pt x="256" y="131"/>
                    <a:pt x="255" y="131"/>
                    <a:pt x="254" y="131"/>
                  </a:cubicBezTo>
                  <a:cubicBezTo>
                    <a:pt x="254" y="132"/>
                    <a:pt x="254" y="132"/>
                    <a:pt x="254" y="132"/>
                  </a:cubicBezTo>
                  <a:cubicBezTo>
                    <a:pt x="255" y="133"/>
                    <a:pt x="256" y="133"/>
                    <a:pt x="257" y="132"/>
                  </a:cubicBezTo>
                  <a:cubicBezTo>
                    <a:pt x="257" y="132"/>
                    <a:pt x="258" y="132"/>
                    <a:pt x="259" y="132"/>
                  </a:cubicBezTo>
                  <a:cubicBezTo>
                    <a:pt x="259" y="132"/>
                    <a:pt x="258" y="132"/>
                    <a:pt x="258" y="133"/>
                  </a:cubicBezTo>
                  <a:cubicBezTo>
                    <a:pt x="259" y="133"/>
                    <a:pt x="259" y="133"/>
                    <a:pt x="259" y="133"/>
                  </a:cubicBezTo>
                  <a:cubicBezTo>
                    <a:pt x="259" y="134"/>
                    <a:pt x="259" y="135"/>
                    <a:pt x="258" y="136"/>
                  </a:cubicBezTo>
                  <a:cubicBezTo>
                    <a:pt x="258" y="136"/>
                    <a:pt x="258" y="137"/>
                    <a:pt x="258" y="137"/>
                  </a:cubicBezTo>
                  <a:cubicBezTo>
                    <a:pt x="258" y="138"/>
                    <a:pt x="258" y="138"/>
                    <a:pt x="258" y="139"/>
                  </a:cubicBezTo>
                  <a:cubicBezTo>
                    <a:pt x="258" y="140"/>
                    <a:pt x="257" y="140"/>
                    <a:pt x="257" y="140"/>
                  </a:cubicBezTo>
                  <a:cubicBezTo>
                    <a:pt x="256" y="141"/>
                    <a:pt x="254" y="141"/>
                    <a:pt x="253" y="141"/>
                  </a:cubicBezTo>
                  <a:cubicBezTo>
                    <a:pt x="253" y="141"/>
                    <a:pt x="251" y="142"/>
                    <a:pt x="252" y="142"/>
                  </a:cubicBezTo>
                  <a:cubicBezTo>
                    <a:pt x="252" y="143"/>
                    <a:pt x="253" y="142"/>
                    <a:pt x="254" y="142"/>
                  </a:cubicBezTo>
                  <a:cubicBezTo>
                    <a:pt x="254" y="142"/>
                    <a:pt x="255" y="142"/>
                    <a:pt x="256" y="142"/>
                  </a:cubicBezTo>
                  <a:cubicBezTo>
                    <a:pt x="256" y="142"/>
                    <a:pt x="257" y="142"/>
                    <a:pt x="257" y="142"/>
                  </a:cubicBezTo>
                  <a:cubicBezTo>
                    <a:pt x="258" y="142"/>
                    <a:pt x="259" y="141"/>
                    <a:pt x="260" y="142"/>
                  </a:cubicBezTo>
                  <a:cubicBezTo>
                    <a:pt x="260" y="142"/>
                    <a:pt x="259" y="143"/>
                    <a:pt x="259" y="143"/>
                  </a:cubicBezTo>
                  <a:cubicBezTo>
                    <a:pt x="258" y="143"/>
                    <a:pt x="257" y="142"/>
                    <a:pt x="257" y="142"/>
                  </a:cubicBezTo>
                  <a:cubicBezTo>
                    <a:pt x="256" y="142"/>
                    <a:pt x="253" y="143"/>
                    <a:pt x="253" y="144"/>
                  </a:cubicBezTo>
                  <a:cubicBezTo>
                    <a:pt x="253" y="145"/>
                    <a:pt x="256" y="146"/>
                    <a:pt x="257" y="146"/>
                  </a:cubicBezTo>
                  <a:cubicBezTo>
                    <a:pt x="258" y="146"/>
                    <a:pt x="261" y="145"/>
                    <a:pt x="260" y="146"/>
                  </a:cubicBezTo>
                  <a:cubicBezTo>
                    <a:pt x="259" y="147"/>
                    <a:pt x="259" y="146"/>
                    <a:pt x="259" y="147"/>
                  </a:cubicBezTo>
                  <a:cubicBezTo>
                    <a:pt x="259" y="149"/>
                    <a:pt x="260" y="148"/>
                    <a:pt x="260" y="149"/>
                  </a:cubicBezTo>
                  <a:cubicBezTo>
                    <a:pt x="262" y="151"/>
                    <a:pt x="257" y="152"/>
                    <a:pt x="256" y="151"/>
                  </a:cubicBezTo>
                  <a:cubicBezTo>
                    <a:pt x="255" y="151"/>
                    <a:pt x="253" y="150"/>
                    <a:pt x="253" y="149"/>
                  </a:cubicBezTo>
                  <a:cubicBezTo>
                    <a:pt x="252" y="148"/>
                    <a:pt x="251" y="147"/>
                    <a:pt x="250" y="148"/>
                  </a:cubicBezTo>
                  <a:cubicBezTo>
                    <a:pt x="249" y="148"/>
                    <a:pt x="248" y="148"/>
                    <a:pt x="248" y="148"/>
                  </a:cubicBezTo>
                  <a:cubicBezTo>
                    <a:pt x="247" y="149"/>
                    <a:pt x="245" y="149"/>
                    <a:pt x="246" y="150"/>
                  </a:cubicBezTo>
                  <a:cubicBezTo>
                    <a:pt x="247" y="150"/>
                    <a:pt x="247" y="150"/>
                    <a:pt x="247" y="150"/>
                  </a:cubicBezTo>
                  <a:cubicBezTo>
                    <a:pt x="247" y="151"/>
                    <a:pt x="247" y="151"/>
                    <a:pt x="248" y="151"/>
                  </a:cubicBezTo>
                  <a:cubicBezTo>
                    <a:pt x="249" y="152"/>
                    <a:pt x="248" y="151"/>
                    <a:pt x="249" y="151"/>
                  </a:cubicBezTo>
                  <a:cubicBezTo>
                    <a:pt x="250" y="151"/>
                    <a:pt x="250" y="151"/>
                    <a:pt x="250" y="151"/>
                  </a:cubicBezTo>
                  <a:cubicBezTo>
                    <a:pt x="250" y="152"/>
                    <a:pt x="249" y="152"/>
                    <a:pt x="249" y="152"/>
                  </a:cubicBezTo>
                  <a:cubicBezTo>
                    <a:pt x="249" y="153"/>
                    <a:pt x="250" y="154"/>
                    <a:pt x="250" y="154"/>
                  </a:cubicBezTo>
                  <a:cubicBezTo>
                    <a:pt x="250" y="155"/>
                    <a:pt x="251" y="158"/>
                    <a:pt x="250" y="159"/>
                  </a:cubicBezTo>
                  <a:cubicBezTo>
                    <a:pt x="249" y="158"/>
                    <a:pt x="249" y="157"/>
                    <a:pt x="249" y="157"/>
                  </a:cubicBezTo>
                  <a:cubicBezTo>
                    <a:pt x="249" y="156"/>
                    <a:pt x="249" y="154"/>
                    <a:pt x="248" y="154"/>
                  </a:cubicBezTo>
                  <a:cubicBezTo>
                    <a:pt x="247" y="154"/>
                    <a:pt x="248" y="155"/>
                    <a:pt x="248" y="156"/>
                  </a:cubicBezTo>
                  <a:cubicBezTo>
                    <a:pt x="248" y="157"/>
                    <a:pt x="249" y="158"/>
                    <a:pt x="249" y="159"/>
                  </a:cubicBezTo>
                  <a:cubicBezTo>
                    <a:pt x="249" y="160"/>
                    <a:pt x="250" y="161"/>
                    <a:pt x="251" y="162"/>
                  </a:cubicBezTo>
                  <a:cubicBezTo>
                    <a:pt x="251" y="162"/>
                    <a:pt x="251" y="162"/>
                    <a:pt x="252" y="163"/>
                  </a:cubicBezTo>
                  <a:cubicBezTo>
                    <a:pt x="252" y="163"/>
                    <a:pt x="253" y="163"/>
                    <a:pt x="253" y="163"/>
                  </a:cubicBezTo>
                  <a:cubicBezTo>
                    <a:pt x="252" y="163"/>
                    <a:pt x="251" y="163"/>
                    <a:pt x="251" y="163"/>
                  </a:cubicBezTo>
                  <a:cubicBezTo>
                    <a:pt x="250" y="163"/>
                    <a:pt x="250" y="162"/>
                    <a:pt x="249" y="162"/>
                  </a:cubicBezTo>
                  <a:cubicBezTo>
                    <a:pt x="249" y="161"/>
                    <a:pt x="249" y="160"/>
                    <a:pt x="248" y="159"/>
                  </a:cubicBezTo>
                  <a:cubicBezTo>
                    <a:pt x="247" y="158"/>
                    <a:pt x="246" y="157"/>
                    <a:pt x="246" y="156"/>
                  </a:cubicBezTo>
                  <a:cubicBezTo>
                    <a:pt x="246" y="155"/>
                    <a:pt x="246" y="154"/>
                    <a:pt x="245" y="153"/>
                  </a:cubicBezTo>
                  <a:cubicBezTo>
                    <a:pt x="244" y="154"/>
                    <a:pt x="244" y="154"/>
                    <a:pt x="244" y="154"/>
                  </a:cubicBezTo>
                  <a:cubicBezTo>
                    <a:pt x="244" y="155"/>
                    <a:pt x="244" y="155"/>
                    <a:pt x="244" y="155"/>
                  </a:cubicBezTo>
                  <a:cubicBezTo>
                    <a:pt x="244" y="156"/>
                    <a:pt x="243" y="156"/>
                    <a:pt x="243" y="157"/>
                  </a:cubicBezTo>
                  <a:cubicBezTo>
                    <a:pt x="243" y="159"/>
                    <a:pt x="243" y="159"/>
                    <a:pt x="243" y="160"/>
                  </a:cubicBezTo>
                  <a:cubicBezTo>
                    <a:pt x="243" y="161"/>
                    <a:pt x="243" y="162"/>
                    <a:pt x="243" y="163"/>
                  </a:cubicBezTo>
                  <a:cubicBezTo>
                    <a:pt x="243" y="164"/>
                    <a:pt x="242" y="165"/>
                    <a:pt x="242" y="165"/>
                  </a:cubicBezTo>
                  <a:cubicBezTo>
                    <a:pt x="242" y="166"/>
                    <a:pt x="241" y="166"/>
                    <a:pt x="241" y="167"/>
                  </a:cubicBezTo>
                  <a:cubicBezTo>
                    <a:pt x="241" y="166"/>
                    <a:pt x="241" y="166"/>
                    <a:pt x="241" y="166"/>
                  </a:cubicBezTo>
                  <a:cubicBezTo>
                    <a:pt x="241" y="165"/>
                    <a:pt x="241" y="165"/>
                    <a:pt x="241" y="164"/>
                  </a:cubicBezTo>
                  <a:cubicBezTo>
                    <a:pt x="242" y="163"/>
                    <a:pt x="241" y="162"/>
                    <a:pt x="241" y="160"/>
                  </a:cubicBezTo>
                  <a:cubicBezTo>
                    <a:pt x="241" y="159"/>
                    <a:pt x="242" y="158"/>
                    <a:pt x="241" y="156"/>
                  </a:cubicBezTo>
                  <a:cubicBezTo>
                    <a:pt x="240" y="156"/>
                    <a:pt x="240" y="156"/>
                    <a:pt x="239" y="155"/>
                  </a:cubicBezTo>
                  <a:cubicBezTo>
                    <a:pt x="238" y="155"/>
                    <a:pt x="238" y="155"/>
                    <a:pt x="237" y="156"/>
                  </a:cubicBezTo>
                  <a:cubicBezTo>
                    <a:pt x="237" y="156"/>
                    <a:pt x="237" y="156"/>
                    <a:pt x="237" y="156"/>
                  </a:cubicBezTo>
                  <a:cubicBezTo>
                    <a:pt x="236" y="157"/>
                    <a:pt x="236" y="157"/>
                    <a:pt x="236" y="157"/>
                  </a:cubicBezTo>
                  <a:cubicBezTo>
                    <a:pt x="236" y="158"/>
                    <a:pt x="236" y="158"/>
                    <a:pt x="236" y="159"/>
                  </a:cubicBezTo>
                  <a:cubicBezTo>
                    <a:pt x="235" y="159"/>
                    <a:pt x="235" y="159"/>
                    <a:pt x="235" y="158"/>
                  </a:cubicBezTo>
                  <a:cubicBezTo>
                    <a:pt x="235" y="157"/>
                    <a:pt x="235" y="157"/>
                    <a:pt x="235" y="157"/>
                  </a:cubicBezTo>
                  <a:cubicBezTo>
                    <a:pt x="235" y="157"/>
                    <a:pt x="235" y="157"/>
                    <a:pt x="235" y="157"/>
                  </a:cubicBezTo>
                  <a:cubicBezTo>
                    <a:pt x="235" y="157"/>
                    <a:pt x="234" y="156"/>
                    <a:pt x="234" y="156"/>
                  </a:cubicBezTo>
                  <a:cubicBezTo>
                    <a:pt x="233" y="156"/>
                    <a:pt x="233" y="156"/>
                    <a:pt x="233" y="156"/>
                  </a:cubicBezTo>
                  <a:cubicBezTo>
                    <a:pt x="233" y="157"/>
                    <a:pt x="233" y="157"/>
                    <a:pt x="233" y="157"/>
                  </a:cubicBezTo>
                  <a:cubicBezTo>
                    <a:pt x="233" y="158"/>
                    <a:pt x="233" y="158"/>
                    <a:pt x="233" y="158"/>
                  </a:cubicBezTo>
                  <a:cubicBezTo>
                    <a:pt x="233" y="159"/>
                    <a:pt x="234" y="159"/>
                    <a:pt x="234" y="159"/>
                  </a:cubicBezTo>
                  <a:cubicBezTo>
                    <a:pt x="234" y="159"/>
                    <a:pt x="233" y="160"/>
                    <a:pt x="233" y="160"/>
                  </a:cubicBezTo>
                  <a:cubicBezTo>
                    <a:pt x="232" y="160"/>
                    <a:pt x="233" y="160"/>
                    <a:pt x="232" y="159"/>
                  </a:cubicBezTo>
                  <a:cubicBezTo>
                    <a:pt x="232" y="159"/>
                    <a:pt x="231" y="160"/>
                    <a:pt x="230" y="159"/>
                  </a:cubicBezTo>
                  <a:cubicBezTo>
                    <a:pt x="231" y="159"/>
                    <a:pt x="232" y="159"/>
                    <a:pt x="232" y="158"/>
                  </a:cubicBezTo>
                  <a:cubicBezTo>
                    <a:pt x="232" y="158"/>
                    <a:pt x="231" y="158"/>
                    <a:pt x="231" y="157"/>
                  </a:cubicBezTo>
                  <a:cubicBezTo>
                    <a:pt x="231" y="157"/>
                    <a:pt x="231" y="156"/>
                    <a:pt x="230" y="156"/>
                  </a:cubicBezTo>
                  <a:cubicBezTo>
                    <a:pt x="230" y="155"/>
                    <a:pt x="230" y="154"/>
                    <a:pt x="230" y="154"/>
                  </a:cubicBezTo>
                  <a:cubicBezTo>
                    <a:pt x="229" y="153"/>
                    <a:pt x="229" y="155"/>
                    <a:pt x="229" y="156"/>
                  </a:cubicBezTo>
                  <a:cubicBezTo>
                    <a:pt x="229" y="157"/>
                    <a:pt x="229" y="158"/>
                    <a:pt x="229" y="159"/>
                  </a:cubicBezTo>
                  <a:cubicBezTo>
                    <a:pt x="230" y="160"/>
                    <a:pt x="230" y="160"/>
                    <a:pt x="230" y="160"/>
                  </a:cubicBezTo>
                  <a:cubicBezTo>
                    <a:pt x="230" y="161"/>
                    <a:pt x="230" y="161"/>
                    <a:pt x="230" y="161"/>
                  </a:cubicBezTo>
                  <a:cubicBezTo>
                    <a:pt x="231" y="161"/>
                    <a:pt x="230" y="163"/>
                    <a:pt x="230" y="163"/>
                  </a:cubicBezTo>
                  <a:cubicBezTo>
                    <a:pt x="229" y="162"/>
                    <a:pt x="229" y="162"/>
                    <a:pt x="229" y="162"/>
                  </a:cubicBezTo>
                  <a:cubicBezTo>
                    <a:pt x="229" y="161"/>
                    <a:pt x="229" y="161"/>
                    <a:pt x="229" y="161"/>
                  </a:cubicBezTo>
                  <a:cubicBezTo>
                    <a:pt x="228" y="161"/>
                    <a:pt x="228" y="160"/>
                    <a:pt x="228" y="159"/>
                  </a:cubicBezTo>
                  <a:cubicBezTo>
                    <a:pt x="228" y="158"/>
                    <a:pt x="228" y="157"/>
                    <a:pt x="228" y="155"/>
                  </a:cubicBezTo>
                  <a:cubicBezTo>
                    <a:pt x="228" y="155"/>
                    <a:pt x="228" y="154"/>
                    <a:pt x="228" y="154"/>
                  </a:cubicBezTo>
                  <a:cubicBezTo>
                    <a:pt x="227" y="153"/>
                    <a:pt x="227" y="153"/>
                    <a:pt x="227" y="153"/>
                  </a:cubicBezTo>
                  <a:cubicBezTo>
                    <a:pt x="226" y="153"/>
                    <a:pt x="225" y="155"/>
                    <a:pt x="225" y="156"/>
                  </a:cubicBezTo>
                  <a:cubicBezTo>
                    <a:pt x="225" y="156"/>
                    <a:pt x="226" y="156"/>
                    <a:pt x="226" y="157"/>
                  </a:cubicBezTo>
                  <a:cubicBezTo>
                    <a:pt x="225" y="157"/>
                    <a:pt x="225" y="158"/>
                    <a:pt x="225" y="158"/>
                  </a:cubicBezTo>
                  <a:cubicBezTo>
                    <a:pt x="224" y="159"/>
                    <a:pt x="225" y="161"/>
                    <a:pt x="225" y="162"/>
                  </a:cubicBezTo>
                  <a:cubicBezTo>
                    <a:pt x="225" y="163"/>
                    <a:pt x="225" y="164"/>
                    <a:pt x="223" y="164"/>
                  </a:cubicBezTo>
                  <a:cubicBezTo>
                    <a:pt x="223" y="164"/>
                    <a:pt x="223" y="163"/>
                    <a:pt x="223" y="162"/>
                  </a:cubicBezTo>
                  <a:cubicBezTo>
                    <a:pt x="223" y="162"/>
                    <a:pt x="223" y="161"/>
                    <a:pt x="223" y="160"/>
                  </a:cubicBezTo>
                  <a:cubicBezTo>
                    <a:pt x="223" y="158"/>
                    <a:pt x="224" y="156"/>
                    <a:pt x="223" y="154"/>
                  </a:cubicBezTo>
                  <a:cubicBezTo>
                    <a:pt x="223" y="153"/>
                    <a:pt x="222" y="152"/>
                    <a:pt x="221" y="152"/>
                  </a:cubicBezTo>
                  <a:cubicBezTo>
                    <a:pt x="221" y="152"/>
                    <a:pt x="220" y="153"/>
                    <a:pt x="219" y="153"/>
                  </a:cubicBezTo>
                  <a:cubicBezTo>
                    <a:pt x="219" y="152"/>
                    <a:pt x="219" y="151"/>
                    <a:pt x="219" y="150"/>
                  </a:cubicBezTo>
                  <a:cubicBezTo>
                    <a:pt x="219" y="149"/>
                    <a:pt x="218" y="149"/>
                    <a:pt x="217" y="148"/>
                  </a:cubicBezTo>
                  <a:cubicBezTo>
                    <a:pt x="216" y="148"/>
                    <a:pt x="215" y="148"/>
                    <a:pt x="214" y="148"/>
                  </a:cubicBezTo>
                  <a:cubicBezTo>
                    <a:pt x="213" y="148"/>
                    <a:pt x="212" y="148"/>
                    <a:pt x="210" y="148"/>
                  </a:cubicBezTo>
                  <a:cubicBezTo>
                    <a:pt x="208" y="149"/>
                    <a:pt x="206" y="150"/>
                    <a:pt x="205" y="152"/>
                  </a:cubicBezTo>
                  <a:cubicBezTo>
                    <a:pt x="204" y="153"/>
                    <a:pt x="203" y="154"/>
                    <a:pt x="202" y="155"/>
                  </a:cubicBezTo>
                  <a:cubicBezTo>
                    <a:pt x="201" y="156"/>
                    <a:pt x="200" y="158"/>
                    <a:pt x="199" y="159"/>
                  </a:cubicBezTo>
                  <a:cubicBezTo>
                    <a:pt x="198" y="161"/>
                    <a:pt x="197" y="162"/>
                    <a:pt x="195" y="163"/>
                  </a:cubicBezTo>
                  <a:cubicBezTo>
                    <a:pt x="194" y="164"/>
                    <a:pt x="194" y="165"/>
                    <a:pt x="192" y="166"/>
                  </a:cubicBezTo>
                  <a:cubicBezTo>
                    <a:pt x="191" y="167"/>
                    <a:pt x="190" y="168"/>
                    <a:pt x="189" y="169"/>
                  </a:cubicBezTo>
                  <a:cubicBezTo>
                    <a:pt x="188" y="169"/>
                    <a:pt x="187" y="170"/>
                    <a:pt x="186" y="170"/>
                  </a:cubicBezTo>
                  <a:cubicBezTo>
                    <a:pt x="186" y="170"/>
                    <a:pt x="185" y="171"/>
                    <a:pt x="184" y="171"/>
                  </a:cubicBezTo>
                  <a:cubicBezTo>
                    <a:pt x="183" y="171"/>
                    <a:pt x="182" y="169"/>
                    <a:pt x="181" y="169"/>
                  </a:cubicBezTo>
                  <a:cubicBezTo>
                    <a:pt x="180" y="168"/>
                    <a:pt x="178" y="166"/>
                    <a:pt x="176" y="165"/>
                  </a:cubicBezTo>
                  <a:cubicBezTo>
                    <a:pt x="175" y="165"/>
                    <a:pt x="173" y="164"/>
                    <a:pt x="172" y="164"/>
                  </a:cubicBezTo>
                  <a:cubicBezTo>
                    <a:pt x="171" y="164"/>
                    <a:pt x="169" y="164"/>
                    <a:pt x="169" y="164"/>
                  </a:cubicBezTo>
                  <a:cubicBezTo>
                    <a:pt x="168" y="165"/>
                    <a:pt x="168" y="165"/>
                    <a:pt x="168" y="166"/>
                  </a:cubicBezTo>
                  <a:cubicBezTo>
                    <a:pt x="168" y="166"/>
                    <a:pt x="166" y="167"/>
                    <a:pt x="166" y="167"/>
                  </a:cubicBezTo>
                  <a:cubicBezTo>
                    <a:pt x="166" y="165"/>
                    <a:pt x="166" y="165"/>
                    <a:pt x="166" y="165"/>
                  </a:cubicBezTo>
                  <a:cubicBezTo>
                    <a:pt x="166" y="165"/>
                    <a:pt x="166" y="164"/>
                    <a:pt x="166" y="164"/>
                  </a:cubicBezTo>
                  <a:cubicBezTo>
                    <a:pt x="165" y="164"/>
                    <a:pt x="165" y="164"/>
                    <a:pt x="164" y="164"/>
                  </a:cubicBezTo>
                  <a:cubicBezTo>
                    <a:pt x="164" y="164"/>
                    <a:pt x="164" y="164"/>
                    <a:pt x="164" y="164"/>
                  </a:cubicBezTo>
                  <a:cubicBezTo>
                    <a:pt x="163" y="163"/>
                    <a:pt x="162" y="164"/>
                    <a:pt x="161" y="163"/>
                  </a:cubicBezTo>
                  <a:cubicBezTo>
                    <a:pt x="159" y="163"/>
                    <a:pt x="157" y="163"/>
                    <a:pt x="156" y="163"/>
                  </a:cubicBezTo>
                  <a:cubicBezTo>
                    <a:pt x="154" y="162"/>
                    <a:pt x="152" y="162"/>
                    <a:pt x="150" y="163"/>
                  </a:cubicBezTo>
                  <a:cubicBezTo>
                    <a:pt x="149" y="163"/>
                    <a:pt x="147" y="163"/>
                    <a:pt x="147" y="164"/>
                  </a:cubicBezTo>
                  <a:cubicBezTo>
                    <a:pt x="147" y="164"/>
                    <a:pt x="148" y="165"/>
                    <a:pt x="148" y="165"/>
                  </a:cubicBezTo>
                  <a:cubicBezTo>
                    <a:pt x="149" y="165"/>
                    <a:pt x="150" y="165"/>
                    <a:pt x="151" y="165"/>
                  </a:cubicBezTo>
                  <a:cubicBezTo>
                    <a:pt x="150" y="165"/>
                    <a:pt x="150" y="165"/>
                    <a:pt x="150" y="165"/>
                  </a:cubicBezTo>
                  <a:cubicBezTo>
                    <a:pt x="149" y="166"/>
                    <a:pt x="149" y="166"/>
                    <a:pt x="148" y="166"/>
                  </a:cubicBezTo>
                  <a:cubicBezTo>
                    <a:pt x="148" y="166"/>
                    <a:pt x="147" y="167"/>
                    <a:pt x="146" y="167"/>
                  </a:cubicBezTo>
                  <a:cubicBezTo>
                    <a:pt x="146" y="167"/>
                    <a:pt x="146" y="167"/>
                    <a:pt x="145" y="167"/>
                  </a:cubicBezTo>
                  <a:cubicBezTo>
                    <a:pt x="145" y="166"/>
                    <a:pt x="144" y="167"/>
                    <a:pt x="144" y="167"/>
                  </a:cubicBezTo>
                  <a:cubicBezTo>
                    <a:pt x="142" y="167"/>
                    <a:pt x="141" y="168"/>
                    <a:pt x="139" y="168"/>
                  </a:cubicBezTo>
                  <a:cubicBezTo>
                    <a:pt x="139" y="168"/>
                    <a:pt x="137" y="168"/>
                    <a:pt x="137" y="169"/>
                  </a:cubicBezTo>
                  <a:cubicBezTo>
                    <a:pt x="137" y="169"/>
                    <a:pt x="137" y="170"/>
                    <a:pt x="137" y="170"/>
                  </a:cubicBezTo>
                  <a:cubicBezTo>
                    <a:pt x="139" y="170"/>
                    <a:pt x="141" y="169"/>
                    <a:pt x="143" y="170"/>
                  </a:cubicBezTo>
                  <a:cubicBezTo>
                    <a:pt x="143" y="171"/>
                    <a:pt x="142" y="172"/>
                    <a:pt x="141" y="172"/>
                  </a:cubicBezTo>
                  <a:cubicBezTo>
                    <a:pt x="140" y="172"/>
                    <a:pt x="139" y="172"/>
                    <a:pt x="139" y="173"/>
                  </a:cubicBezTo>
                  <a:cubicBezTo>
                    <a:pt x="140" y="173"/>
                    <a:pt x="140" y="173"/>
                    <a:pt x="141" y="173"/>
                  </a:cubicBezTo>
                  <a:cubicBezTo>
                    <a:pt x="142" y="174"/>
                    <a:pt x="141" y="174"/>
                    <a:pt x="141" y="175"/>
                  </a:cubicBezTo>
                  <a:cubicBezTo>
                    <a:pt x="141" y="175"/>
                    <a:pt x="141" y="176"/>
                    <a:pt x="140" y="176"/>
                  </a:cubicBezTo>
                  <a:cubicBezTo>
                    <a:pt x="139" y="176"/>
                    <a:pt x="138" y="176"/>
                    <a:pt x="138" y="176"/>
                  </a:cubicBezTo>
                  <a:cubicBezTo>
                    <a:pt x="138" y="176"/>
                    <a:pt x="138" y="177"/>
                    <a:pt x="138" y="177"/>
                  </a:cubicBezTo>
                  <a:cubicBezTo>
                    <a:pt x="139" y="177"/>
                    <a:pt x="139" y="177"/>
                    <a:pt x="140" y="177"/>
                  </a:cubicBezTo>
                  <a:cubicBezTo>
                    <a:pt x="141" y="177"/>
                    <a:pt x="141" y="177"/>
                    <a:pt x="141" y="178"/>
                  </a:cubicBezTo>
                  <a:cubicBezTo>
                    <a:pt x="141" y="178"/>
                    <a:pt x="141" y="178"/>
                    <a:pt x="141" y="178"/>
                  </a:cubicBezTo>
                  <a:cubicBezTo>
                    <a:pt x="142" y="179"/>
                    <a:pt x="142" y="178"/>
                    <a:pt x="143" y="178"/>
                  </a:cubicBezTo>
                  <a:cubicBezTo>
                    <a:pt x="144" y="178"/>
                    <a:pt x="144" y="179"/>
                    <a:pt x="144" y="179"/>
                  </a:cubicBezTo>
                  <a:cubicBezTo>
                    <a:pt x="144" y="180"/>
                    <a:pt x="144" y="180"/>
                    <a:pt x="144" y="181"/>
                  </a:cubicBezTo>
                  <a:cubicBezTo>
                    <a:pt x="145" y="181"/>
                    <a:pt x="145" y="180"/>
                    <a:pt x="145" y="180"/>
                  </a:cubicBezTo>
                  <a:cubicBezTo>
                    <a:pt x="146" y="179"/>
                    <a:pt x="146" y="180"/>
                    <a:pt x="147" y="180"/>
                  </a:cubicBezTo>
                  <a:cubicBezTo>
                    <a:pt x="147" y="180"/>
                    <a:pt x="149" y="179"/>
                    <a:pt x="149" y="179"/>
                  </a:cubicBezTo>
                  <a:cubicBezTo>
                    <a:pt x="150" y="179"/>
                    <a:pt x="151" y="178"/>
                    <a:pt x="152" y="179"/>
                  </a:cubicBezTo>
                  <a:cubicBezTo>
                    <a:pt x="154" y="179"/>
                    <a:pt x="156" y="179"/>
                    <a:pt x="158" y="179"/>
                  </a:cubicBezTo>
                  <a:cubicBezTo>
                    <a:pt x="159" y="179"/>
                    <a:pt x="159" y="179"/>
                    <a:pt x="159" y="179"/>
                  </a:cubicBezTo>
                  <a:cubicBezTo>
                    <a:pt x="160" y="180"/>
                    <a:pt x="160" y="180"/>
                    <a:pt x="160" y="180"/>
                  </a:cubicBezTo>
                  <a:cubicBezTo>
                    <a:pt x="161" y="181"/>
                    <a:pt x="161" y="181"/>
                    <a:pt x="161" y="181"/>
                  </a:cubicBezTo>
                  <a:cubicBezTo>
                    <a:pt x="162" y="181"/>
                    <a:pt x="162" y="181"/>
                    <a:pt x="162" y="181"/>
                  </a:cubicBezTo>
                  <a:cubicBezTo>
                    <a:pt x="162" y="182"/>
                    <a:pt x="163" y="182"/>
                    <a:pt x="163" y="182"/>
                  </a:cubicBezTo>
                  <a:cubicBezTo>
                    <a:pt x="165" y="183"/>
                    <a:pt x="166" y="183"/>
                    <a:pt x="167" y="184"/>
                  </a:cubicBezTo>
                  <a:cubicBezTo>
                    <a:pt x="169" y="185"/>
                    <a:pt x="170" y="187"/>
                    <a:pt x="172" y="188"/>
                  </a:cubicBezTo>
                  <a:cubicBezTo>
                    <a:pt x="173" y="190"/>
                    <a:pt x="174" y="192"/>
                    <a:pt x="175" y="193"/>
                  </a:cubicBezTo>
                  <a:cubicBezTo>
                    <a:pt x="176" y="194"/>
                    <a:pt x="177" y="194"/>
                    <a:pt x="177" y="195"/>
                  </a:cubicBezTo>
                  <a:cubicBezTo>
                    <a:pt x="178" y="195"/>
                    <a:pt x="178" y="195"/>
                    <a:pt x="179" y="196"/>
                  </a:cubicBezTo>
                  <a:cubicBezTo>
                    <a:pt x="179" y="196"/>
                    <a:pt x="178" y="197"/>
                    <a:pt x="177" y="197"/>
                  </a:cubicBezTo>
                  <a:cubicBezTo>
                    <a:pt x="177" y="197"/>
                    <a:pt x="176" y="197"/>
                    <a:pt x="176" y="197"/>
                  </a:cubicBezTo>
                  <a:cubicBezTo>
                    <a:pt x="175" y="198"/>
                    <a:pt x="176" y="199"/>
                    <a:pt x="177" y="199"/>
                  </a:cubicBezTo>
                  <a:cubicBezTo>
                    <a:pt x="177" y="200"/>
                    <a:pt x="178" y="200"/>
                    <a:pt x="179" y="200"/>
                  </a:cubicBezTo>
                  <a:cubicBezTo>
                    <a:pt x="179" y="201"/>
                    <a:pt x="179" y="202"/>
                    <a:pt x="179" y="203"/>
                  </a:cubicBezTo>
                  <a:cubicBezTo>
                    <a:pt x="180" y="203"/>
                    <a:pt x="181" y="203"/>
                    <a:pt x="181" y="203"/>
                  </a:cubicBezTo>
                  <a:cubicBezTo>
                    <a:pt x="182" y="204"/>
                    <a:pt x="183" y="204"/>
                    <a:pt x="183" y="204"/>
                  </a:cubicBezTo>
                  <a:cubicBezTo>
                    <a:pt x="184" y="204"/>
                    <a:pt x="184" y="204"/>
                    <a:pt x="184" y="203"/>
                  </a:cubicBezTo>
                  <a:cubicBezTo>
                    <a:pt x="184" y="202"/>
                    <a:pt x="183" y="201"/>
                    <a:pt x="184" y="201"/>
                  </a:cubicBezTo>
                  <a:cubicBezTo>
                    <a:pt x="185" y="200"/>
                    <a:pt x="186" y="200"/>
                    <a:pt x="186" y="200"/>
                  </a:cubicBezTo>
                  <a:cubicBezTo>
                    <a:pt x="187" y="200"/>
                    <a:pt x="187" y="199"/>
                    <a:pt x="188" y="200"/>
                  </a:cubicBezTo>
                  <a:cubicBezTo>
                    <a:pt x="189" y="200"/>
                    <a:pt x="188" y="201"/>
                    <a:pt x="189" y="202"/>
                  </a:cubicBezTo>
                  <a:cubicBezTo>
                    <a:pt x="189" y="202"/>
                    <a:pt x="190" y="203"/>
                    <a:pt x="190" y="203"/>
                  </a:cubicBezTo>
                  <a:cubicBezTo>
                    <a:pt x="190" y="204"/>
                    <a:pt x="190" y="204"/>
                    <a:pt x="189" y="204"/>
                  </a:cubicBezTo>
                  <a:cubicBezTo>
                    <a:pt x="189" y="204"/>
                    <a:pt x="188" y="205"/>
                    <a:pt x="188" y="206"/>
                  </a:cubicBezTo>
                  <a:cubicBezTo>
                    <a:pt x="188" y="207"/>
                    <a:pt x="189" y="207"/>
                    <a:pt x="189" y="207"/>
                  </a:cubicBezTo>
                  <a:cubicBezTo>
                    <a:pt x="189" y="208"/>
                    <a:pt x="189" y="208"/>
                    <a:pt x="189" y="208"/>
                  </a:cubicBezTo>
                  <a:cubicBezTo>
                    <a:pt x="189" y="209"/>
                    <a:pt x="189" y="210"/>
                    <a:pt x="189" y="210"/>
                  </a:cubicBezTo>
                  <a:cubicBezTo>
                    <a:pt x="190" y="211"/>
                    <a:pt x="190" y="211"/>
                    <a:pt x="190" y="211"/>
                  </a:cubicBezTo>
                  <a:cubicBezTo>
                    <a:pt x="190" y="212"/>
                    <a:pt x="190" y="212"/>
                    <a:pt x="191" y="212"/>
                  </a:cubicBezTo>
                  <a:cubicBezTo>
                    <a:pt x="191" y="213"/>
                    <a:pt x="192" y="212"/>
                    <a:pt x="193" y="213"/>
                  </a:cubicBezTo>
                  <a:cubicBezTo>
                    <a:pt x="194" y="214"/>
                    <a:pt x="194" y="215"/>
                    <a:pt x="195" y="216"/>
                  </a:cubicBezTo>
                  <a:cubicBezTo>
                    <a:pt x="195" y="217"/>
                    <a:pt x="196" y="217"/>
                    <a:pt x="196" y="218"/>
                  </a:cubicBezTo>
                  <a:cubicBezTo>
                    <a:pt x="196" y="219"/>
                    <a:pt x="195" y="219"/>
                    <a:pt x="195" y="220"/>
                  </a:cubicBezTo>
                  <a:cubicBezTo>
                    <a:pt x="194" y="220"/>
                    <a:pt x="194" y="220"/>
                    <a:pt x="194" y="221"/>
                  </a:cubicBezTo>
                  <a:cubicBezTo>
                    <a:pt x="195" y="222"/>
                    <a:pt x="195" y="222"/>
                    <a:pt x="194" y="223"/>
                  </a:cubicBezTo>
                  <a:cubicBezTo>
                    <a:pt x="193" y="223"/>
                    <a:pt x="192" y="223"/>
                    <a:pt x="191" y="223"/>
                  </a:cubicBezTo>
                  <a:cubicBezTo>
                    <a:pt x="190" y="223"/>
                    <a:pt x="190" y="223"/>
                    <a:pt x="189" y="223"/>
                  </a:cubicBezTo>
                  <a:cubicBezTo>
                    <a:pt x="188" y="223"/>
                    <a:pt x="187" y="222"/>
                    <a:pt x="187" y="222"/>
                  </a:cubicBezTo>
                  <a:cubicBezTo>
                    <a:pt x="186" y="222"/>
                    <a:pt x="185" y="222"/>
                    <a:pt x="185" y="222"/>
                  </a:cubicBezTo>
                  <a:cubicBezTo>
                    <a:pt x="184" y="223"/>
                    <a:pt x="185" y="225"/>
                    <a:pt x="185" y="226"/>
                  </a:cubicBezTo>
                  <a:cubicBezTo>
                    <a:pt x="185" y="228"/>
                    <a:pt x="186" y="229"/>
                    <a:pt x="187" y="231"/>
                  </a:cubicBezTo>
                  <a:cubicBezTo>
                    <a:pt x="187" y="232"/>
                    <a:pt x="187" y="233"/>
                    <a:pt x="188" y="233"/>
                  </a:cubicBezTo>
                  <a:cubicBezTo>
                    <a:pt x="188" y="234"/>
                    <a:pt x="188" y="235"/>
                    <a:pt x="188" y="235"/>
                  </a:cubicBezTo>
                  <a:cubicBezTo>
                    <a:pt x="189" y="236"/>
                    <a:pt x="189" y="237"/>
                    <a:pt x="189" y="238"/>
                  </a:cubicBezTo>
                  <a:cubicBezTo>
                    <a:pt x="190" y="239"/>
                    <a:pt x="191" y="239"/>
                    <a:pt x="190" y="240"/>
                  </a:cubicBezTo>
                  <a:cubicBezTo>
                    <a:pt x="189" y="240"/>
                    <a:pt x="189" y="240"/>
                    <a:pt x="189" y="240"/>
                  </a:cubicBezTo>
                  <a:cubicBezTo>
                    <a:pt x="189" y="241"/>
                    <a:pt x="189" y="241"/>
                    <a:pt x="189" y="241"/>
                  </a:cubicBezTo>
                  <a:cubicBezTo>
                    <a:pt x="189" y="242"/>
                    <a:pt x="189" y="242"/>
                    <a:pt x="190" y="243"/>
                  </a:cubicBezTo>
                  <a:cubicBezTo>
                    <a:pt x="190" y="243"/>
                    <a:pt x="190" y="243"/>
                    <a:pt x="190" y="244"/>
                  </a:cubicBezTo>
                  <a:cubicBezTo>
                    <a:pt x="191" y="244"/>
                    <a:pt x="191" y="245"/>
                    <a:pt x="192" y="245"/>
                  </a:cubicBezTo>
                  <a:cubicBezTo>
                    <a:pt x="192" y="246"/>
                    <a:pt x="194" y="246"/>
                    <a:pt x="194" y="247"/>
                  </a:cubicBezTo>
                  <a:cubicBezTo>
                    <a:pt x="195" y="249"/>
                    <a:pt x="195" y="249"/>
                    <a:pt x="195" y="250"/>
                  </a:cubicBezTo>
                  <a:cubicBezTo>
                    <a:pt x="196" y="251"/>
                    <a:pt x="197" y="251"/>
                    <a:pt x="198" y="251"/>
                  </a:cubicBezTo>
                  <a:cubicBezTo>
                    <a:pt x="199" y="252"/>
                    <a:pt x="199" y="252"/>
                    <a:pt x="200" y="252"/>
                  </a:cubicBezTo>
                  <a:cubicBezTo>
                    <a:pt x="200" y="252"/>
                    <a:pt x="201" y="251"/>
                    <a:pt x="201" y="251"/>
                  </a:cubicBezTo>
                  <a:cubicBezTo>
                    <a:pt x="202" y="250"/>
                    <a:pt x="203" y="249"/>
                    <a:pt x="204" y="249"/>
                  </a:cubicBezTo>
                  <a:cubicBezTo>
                    <a:pt x="205" y="248"/>
                    <a:pt x="206" y="249"/>
                    <a:pt x="207" y="249"/>
                  </a:cubicBezTo>
                  <a:cubicBezTo>
                    <a:pt x="208" y="249"/>
                    <a:pt x="209" y="249"/>
                    <a:pt x="210" y="250"/>
                  </a:cubicBezTo>
                  <a:cubicBezTo>
                    <a:pt x="211" y="250"/>
                    <a:pt x="212" y="249"/>
                    <a:pt x="212" y="249"/>
                  </a:cubicBezTo>
                  <a:cubicBezTo>
                    <a:pt x="213" y="249"/>
                    <a:pt x="214" y="250"/>
                    <a:pt x="215" y="249"/>
                  </a:cubicBezTo>
                  <a:cubicBezTo>
                    <a:pt x="216" y="249"/>
                    <a:pt x="216" y="248"/>
                    <a:pt x="217" y="247"/>
                  </a:cubicBezTo>
                  <a:cubicBezTo>
                    <a:pt x="218" y="246"/>
                    <a:pt x="219" y="246"/>
                    <a:pt x="220" y="245"/>
                  </a:cubicBezTo>
                  <a:cubicBezTo>
                    <a:pt x="220" y="244"/>
                    <a:pt x="220" y="244"/>
                    <a:pt x="221" y="244"/>
                  </a:cubicBezTo>
                  <a:cubicBezTo>
                    <a:pt x="221" y="243"/>
                    <a:pt x="221" y="243"/>
                    <a:pt x="222" y="242"/>
                  </a:cubicBezTo>
                  <a:cubicBezTo>
                    <a:pt x="222" y="242"/>
                    <a:pt x="223" y="240"/>
                    <a:pt x="223" y="240"/>
                  </a:cubicBezTo>
                  <a:cubicBezTo>
                    <a:pt x="224" y="240"/>
                    <a:pt x="224" y="240"/>
                    <a:pt x="224" y="240"/>
                  </a:cubicBezTo>
                  <a:cubicBezTo>
                    <a:pt x="224" y="239"/>
                    <a:pt x="224" y="239"/>
                    <a:pt x="224" y="239"/>
                  </a:cubicBezTo>
                  <a:cubicBezTo>
                    <a:pt x="223" y="238"/>
                    <a:pt x="223" y="239"/>
                    <a:pt x="222" y="239"/>
                  </a:cubicBezTo>
                  <a:cubicBezTo>
                    <a:pt x="222" y="239"/>
                    <a:pt x="221" y="238"/>
                    <a:pt x="220" y="238"/>
                  </a:cubicBezTo>
                  <a:cubicBezTo>
                    <a:pt x="220" y="238"/>
                    <a:pt x="220" y="237"/>
                    <a:pt x="220" y="236"/>
                  </a:cubicBezTo>
                  <a:cubicBezTo>
                    <a:pt x="221" y="237"/>
                    <a:pt x="221" y="238"/>
                    <a:pt x="222" y="238"/>
                  </a:cubicBezTo>
                  <a:cubicBezTo>
                    <a:pt x="223" y="238"/>
                    <a:pt x="223" y="238"/>
                    <a:pt x="223" y="238"/>
                  </a:cubicBezTo>
                  <a:cubicBezTo>
                    <a:pt x="224" y="237"/>
                    <a:pt x="224" y="237"/>
                    <a:pt x="224" y="237"/>
                  </a:cubicBezTo>
                  <a:cubicBezTo>
                    <a:pt x="224" y="237"/>
                    <a:pt x="224" y="237"/>
                    <a:pt x="224" y="237"/>
                  </a:cubicBezTo>
                  <a:cubicBezTo>
                    <a:pt x="225" y="237"/>
                    <a:pt x="226" y="237"/>
                    <a:pt x="227" y="237"/>
                  </a:cubicBezTo>
                  <a:cubicBezTo>
                    <a:pt x="227" y="237"/>
                    <a:pt x="228" y="236"/>
                    <a:pt x="228" y="235"/>
                  </a:cubicBezTo>
                  <a:cubicBezTo>
                    <a:pt x="228" y="234"/>
                    <a:pt x="228" y="234"/>
                    <a:pt x="227" y="233"/>
                  </a:cubicBezTo>
                  <a:cubicBezTo>
                    <a:pt x="227" y="233"/>
                    <a:pt x="226" y="233"/>
                    <a:pt x="226" y="232"/>
                  </a:cubicBezTo>
                  <a:cubicBezTo>
                    <a:pt x="225" y="232"/>
                    <a:pt x="225" y="232"/>
                    <a:pt x="225" y="231"/>
                  </a:cubicBezTo>
                  <a:cubicBezTo>
                    <a:pt x="225" y="230"/>
                    <a:pt x="225" y="230"/>
                    <a:pt x="225" y="229"/>
                  </a:cubicBezTo>
                  <a:cubicBezTo>
                    <a:pt x="225" y="228"/>
                    <a:pt x="224" y="227"/>
                    <a:pt x="224" y="226"/>
                  </a:cubicBezTo>
                  <a:cubicBezTo>
                    <a:pt x="224" y="225"/>
                    <a:pt x="225" y="223"/>
                    <a:pt x="225" y="222"/>
                  </a:cubicBezTo>
                  <a:cubicBezTo>
                    <a:pt x="224" y="221"/>
                    <a:pt x="224" y="221"/>
                    <a:pt x="223" y="220"/>
                  </a:cubicBezTo>
                  <a:cubicBezTo>
                    <a:pt x="222" y="220"/>
                    <a:pt x="221" y="220"/>
                    <a:pt x="221" y="219"/>
                  </a:cubicBezTo>
                  <a:cubicBezTo>
                    <a:pt x="221" y="219"/>
                    <a:pt x="221" y="219"/>
                    <a:pt x="222" y="219"/>
                  </a:cubicBezTo>
                  <a:cubicBezTo>
                    <a:pt x="223" y="219"/>
                    <a:pt x="224" y="220"/>
                    <a:pt x="225" y="220"/>
                  </a:cubicBezTo>
                  <a:cubicBezTo>
                    <a:pt x="226" y="220"/>
                    <a:pt x="226" y="220"/>
                    <a:pt x="227" y="219"/>
                  </a:cubicBezTo>
                  <a:cubicBezTo>
                    <a:pt x="227" y="219"/>
                    <a:pt x="227" y="218"/>
                    <a:pt x="228" y="218"/>
                  </a:cubicBezTo>
                  <a:cubicBezTo>
                    <a:pt x="228" y="219"/>
                    <a:pt x="227" y="220"/>
                    <a:pt x="226" y="221"/>
                  </a:cubicBezTo>
                  <a:cubicBezTo>
                    <a:pt x="226" y="222"/>
                    <a:pt x="226" y="222"/>
                    <a:pt x="226" y="223"/>
                  </a:cubicBezTo>
                  <a:cubicBezTo>
                    <a:pt x="226" y="223"/>
                    <a:pt x="226" y="224"/>
                    <a:pt x="226" y="224"/>
                  </a:cubicBezTo>
                  <a:cubicBezTo>
                    <a:pt x="225" y="226"/>
                    <a:pt x="226" y="225"/>
                    <a:pt x="227" y="225"/>
                  </a:cubicBezTo>
                  <a:cubicBezTo>
                    <a:pt x="229" y="224"/>
                    <a:pt x="230" y="222"/>
                    <a:pt x="232" y="221"/>
                  </a:cubicBezTo>
                  <a:cubicBezTo>
                    <a:pt x="233" y="220"/>
                    <a:pt x="234" y="220"/>
                    <a:pt x="235" y="219"/>
                  </a:cubicBezTo>
                  <a:cubicBezTo>
                    <a:pt x="235" y="219"/>
                    <a:pt x="236" y="218"/>
                    <a:pt x="236" y="218"/>
                  </a:cubicBezTo>
                  <a:cubicBezTo>
                    <a:pt x="237" y="217"/>
                    <a:pt x="237" y="216"/>
                    <a:pt x="236" y="215"/>
                  </a:cubicBezTo>
                  <a:cubicBezTo>
                    <a:pt x="236" y="214"/>
                    <a:pt x="235" y="213"/>
                    <a:pt x="234" y="212"/>
                  </a:cubicBezTo>
                  <a:cubicBezTo>
                    <a:pt x="233" y="211"/>
                    <a:pt x="231" y="211"/>
                    <a:pt x="230" y="211"/>
                  </a:cubicBezTo>
                  <a:cubicBezTo>
                    <a:pt x="229" y="211"/>
                    <a:pt x="229" y="210"/>
                    <a:pt x="228" y="210"/>
                  </a:cubicBezTo>
                  <a:cubicBezTo>
                    <a:pt x="227" y="210"/>
                    <a:pt x="226" y="209"/>
                    <a:pt x="226" y="208"/>
                  </a:cubicBezTo>
                  <a:cubicBezTo>
                    <a:pt x="225" y="208"/>
                    <a:pt x="226" y="207"/>
                    <a:pt x="225" y="206"/>
                  </a:cubicBezTo>
                  <a:cubicBezTo>
                    <a:pt x="225" y="206"/>
                    <a:pt x="225" y="206"/>
                    <a:pt x="225" y="205"/>
                  </a:cubicBezTo>
                  <a:cubicBezTo>
                    <a:pt x="225" y="205"/>
                    <a:pt x="225" y="205"/>
                    <a:pt x="225" y="205"/>
                  </a:cubicBezTo>
                  <a:cubicBezTo>
                    <a:pt x="227" y="205"/>
                    <a:pt x="226" y="206"/>
                    <a:pt x="226" y="207"/>
                  </a:cubicBezTo>
                  <a:cubicBezTo>
                    <a:pt x="227" y="208"/>
                    <a:pt x="229" y="210"/>
                    <a:pt x="230" y="210"/>
                  </a:cubicBezTo>
                  <a:cubicBezTo>
                    <a:pt x="231" y="210"/>
                    <a:pt x="232" y="210"/>
                    <a:pt x="232" y="209"/>
                  </a:cubicBezTo>
                  <a:cubicBezTo>
                    <a:pt x="232" y="208"/>
                    <a:pt x="231" y="208"/>
                    <a:pt x="231" y="207"/>
                  </a:cubicBezTo>
                  <a:cubicBezTo>
                    <a:pt x="231" y="206"/>
                    <a:pt x="231" y="206"/>
                    <a:pt x="231" y="205"/>
                  </a:cubicBezTo>
                  <a:cubicBezTo>
                    <a:pt x="232" y="204"/>
                    <a:pt x="232" y="205"/>
                    <a:pt x="232" y="206"/>
                  </a:cubicBezTo>
                  <a:cubicBezTo>
                    <a:pt x="233" y="206"/>
                    <a:pt x="233" y="206"/>
                    <a:pt x="233" y="207"/>
                  </a:cubicBezTo>
                  <a:cubicBezTo>
                    <a:pt x="233" y="207"/>
                    <a:pt x="233" y="209"/>
                    <a:pt x="234" y="209"/>
                  </a:cubicBezTo>
                  <a:cubicBezTo>
                    <a:pt x="234" y="210"/>
                    <a:pt x="236" y="209"/>
                    <a:pt x="236" y="209"/>
                  </a:cubicBezTo>
                  <a:cubicBezTo>
                    <a:pt x="237" y="209"/>
                    <a:pt x="238" y="209"/>
                    <a:pt x="239" y="209"/>
                  </a:cubicBezTo>
                  <a:cubicBezTo>
                    <a:pt x="240" y="208"/>
                    <a:pt x="240" y="208"/>
                    <a:pt x="241" y="207"/>
                  </a:cubicBezTo>
                  <a:cubicBezTo>
                    <a:pt x="241" y="206"/>
                    <a:pt x="241" y="205"/>
                    <a:pt x="241" y="204"/>
                  </a:cubicBezTo>
                  <a:cubicBezTo>
                    <a:pt x="241" y="203"/>
                    <a:pt x="241" y="202"/>
                    <a:pt x="241" y="201"/>
                  </a:cubicBezTo>
                  <a:cubicBezTo>
                    <a:pt x="241" y="200"/>
                    <a:pt x="240" y="199"/>
                    <a:pt x="240" y="198"/>
                  </a:cubicBezTo>
                  <a:cubicBezTo>
                    <a:pt x="240" y="197"/>
                    <a:pt x="241" y="197"/>
                    <a:pt x="242" y="196"/>
                  </a:cubicBezTo>
                  <a:cubicBezTo>
                    <a:pt x="242" y="195"/>
                    <a:pt x="242" y="195"/>
                    <a:pt x="241" y="194"/>
                  </a:cubicBezTo>
                  <a:cubicBezTo>
                    <a:pt x="241" y="194"/>
                    <a:pt x="240" y="192"/>
                    <a:pt x="240" y="192"/>
                  </a:cubicBezTo>
                  <a:cubicBezTo>
                    <a:pt x="240" y="191"/>
                    <a:pt x="241" y="190"/>
                    <a:pt x="242" y="190"/>
                  </a:cubicBezTo>
                  <a:cubicBezTo>
                    <a:pt x="243" y="189"/>
                    <a:pt x="243" y="188"/>
                    <a:pt x="244" y="187"/>
                  </a:cubicBezTo>
                  <a:cubicBezTo>
                    <a:pt x="244" y="187"/>
                    <a:pt x="245" y="186"/>
                    <a:pt x="245" y="185"/>
                  </a:cubicBezTo>
                  <a:cubicBezTo>
                    <a:pt x="246" y="185"/>
                    <a:pt x="247" y="185"/>
                    <a:pt x="248" y="185"/>
                  </a:cubicBezTo>
                  <a:cubicBezTo>
                    <a:pt x="249" y="185"/>
                    <a:pt x="249" y="185"/>
                    <a:pt x="249" y="185"/>
                  </a:cubicBezTo>
                  <a:cubicBezTo>
                    <a:pt x="249" y="184"/>
                    <a:pt x="249" y="184"/>
                    <a:pt x="249" y="184"/>
                  </a:cubicBezTo>
                  <a:cubicBezTo>
                    <a:pt x="249" y="183"/>
                    <a:pt x="250" y="183"/>
                    <a:pt x="250" y="183"/>
                  </a:cubicBezTo>
                  <a:cubicBezTo>
                    <a:pt x="250" y="182"/>
                    <a:pt x="250" y="180"/>
                    <a:pt x="251" y="180"/>
                  </a:cubicBezTo>
                  <a:cubicBezTo>
                    <a:pt x="252" y="180"/>
                    <a:pt x="252" y="180"/>
                    <a:pt x="252" y="181"/>
                  </a:cubicBezTo>
                  <a:cubicBezTo>
                    <a:pt x="252" y="182"/>
                    <a:pt x="253" y="182"/>
                    <a:pt x="253" y="183"/>
                  </a:cubicBezTo>
                  <a:cubicBezTo>
                    <a:pt x="253" y="184"/>
                    <a:pt x="253" y="185"/>
                    <a:pt x="254" y="186"/>
                  </a:cubicBezTo>
                  <a:cubicBezTo>
                    <a:pt x="254" y="187"/>
                    <a:pt x="255" y="188"/>
                    <a:pt x="255" y="189"/>
                  </a:cubicBezTo>
                  <a:cubicBezTo>
                    <a:pt x="254" y="189"/>
                    <a:pt x="254" y="189"/>
                    <a:pt x="254" y="189"/>
                  </a:cubicBezTo>
                  <a:cubicBezTo>
                    <a:pt x="254" y="188"/>
                    <a:pt x="254" y="188"/>
                    <a:pt x="254" y="188"/>
                  </a:cubicBezTo>
                  <a:cubicBezTo>
                    <a:pt x="254" y="187"/>
                    <a:pt x="254" y="187"/>
                    <a:pt x="254" y="187"/>
                  </a:cubicBezTo>
                  <a:cubicBezTo>
                    <a:pt x="253" y="187"/>
                    <a:pt x="253" y="187"/>
                    <a:pt x="252" y="186"/>
                  </a:cubicBezTo>
                  <a:cubicBezTo>
                    <a:pt x="252" y="185"/>
                    <a:pt x="251" y="185"/>
                    <a:pt x="251" y="186"/>
                  </a:cubicBezTo>
                  <a:cubicBezTo>
                    <a:pt x="251" y="187"/>
                    <a:pt x="251" y="188"/>
                    <a:pt x="251" y="189"/>
                  </a:cubicBezTo>
                  <a:cubicBezTo>
                    <a:pt x="251" y="189"/>
                    <a:pt x="250" y="190"/>
                    <a:pt x="250" y="190"/>
                  </a:cubicBezTo>
                  <a:cubicBezTo>
                    <a:pt x="249" y="191"/>
                    <a:pt x="248" y="190"/>
                    <a:pt x="248" y="190"/>
                  </a:cubicBezTo>
                  <a:cubicBezTo>
                    <a:pt x="247" y="191"/>
                    <a:pt x="249" y="194"/>
                    <a:pt x="247" y="194"/>
                  </a:cubicBezTo>
                  <a:cubicBezTo>
                    <a:pt x="247" y="195"/>
                    <a:pt x="245" y="193"/>
                    <a:pt x="244" y="195"/>
                  </a:cubicBezTo>
                  <a:cubicBezTo>
                    <a:pt x="244" y="195"/>
                    <a:pt x="244" y="195"/>
                    <a:pt x="244" y="195"/>
                  </a:cubicBezTo>
                  <a:cubicBezTo>
                    <a:pt x="244" y="197"/>
                    <a:pt x="244" y="197"/>
                    <a:pt x="244" y="197"/>
                  </a:cubicBezTo>
                  <a:cubicBezTo>
                    <a:pt x="244" y="197"/>
                    <a:pt x="243" y="197"/>
                    <a:pt x="242" y="198"/>
                  </a:cubicBezTo>
                  <a:cubicBezTo>
                    <a:pt x="242" y="198"/>
                    <a:pt x="242" y="199"/>
                    <a:pt x="242" y="199"/>
                  </a:cubicBezTo>
                  <a:cubicBezTo>
                    <a:pt x="242" y="200"/>
                    <a:pt x="242" y="201"/>
                    <a:pt x="242" y="201"/>
                  </a:cubicBezTo>
                  <a:cubicBezTo>
                    <a:pt x="242" y="203"/>
                    <a:pt x="242" y="204"/>
                    <a:pt x="242" y="205"/>
                  </a:cubicBezTo>
                  <a:cubicBezTo>
                    <a:pt x="243" y="206"/>
                    <a:pt x="243" y="207"/>
                    <a:pt x="243" y="208"/>
                  </a:cubicBezTo>
                  <a:cubicBezTo>
                    <a:pt x="243" y="209"/>
                    <a:pt x="243" y="210"/>
                    <a:pt x="242" y="210"/>
                  </a:cubicBezTo>
                  <a:cubicBezTo>
                    <a:pt x="242" y="210"/>
                    <a:pt x="241" y="210"/>
                    <a:pt x="240" y="211"/>
                  </a:cubicBezTo>
                  <a:cubicBezTo>
                    <a:pt x="240" y="211"/>
                    <a:pt x="240" y="212"/>
                    <a:pt x="239" y="212"/>
                  </a:cubicBezTo>
                  <a:cubicBezTo>
                    <a:pt x="239" y="213"/>
                    <a:pt x="239" y="213"/>
                    <a:pt x="239" y="213"/>
                  </a:cubicBezTo>
                  <a:cubicBezTo>
                    <a:pt x="239" y="214"/>
                    <a:pt x="240" y="214"/>
                    <a:pt x="240" y="215"/>
                  </a:cubicBezTo>
                  <a:cubicBezTo>
                    <a:pt x="241" y="217"/>
                    <a:pt x="243" y="218"/>
                    <a:pt x="244" y="220"/>
                  </a:cubicBezTo>
                  <a:cubicBezTo>
                    <a:pt x="244" y="221"/>
                    <a:pt x="243" y="222"/>
                    <a:pt x="243" y="223"/>
                  </a:cubicBezTo>
                  <a:cubicBezTo>
                    <a:pt x="243" y="223"/>
                    <a:pt x="243" y="225"/>
                    <a:pt x="243" y="225"/>
                  </a:cubicBezTo>
                  <a:cubicBezTo>
                    <a:pt x="244" y="225"/>
                    <a:pt x="245" y="224"/>
                    <a:pt x="246" y="223"/>
                  </a:cubicBezTo>
                  <a:cubicBezTo>
                    <a:pt x="246" y="223"/>
                    <a:pt x="247" y="223"/>
                    <a:pt x="247" y="224"/>
                  </a:cubicBezTo>
                  <a:cubicBezTo>
                    <a:pt x="248" y="225"/>
                    <a:pt x="248" y="226"/>
                    <a:pt x="249" y="226"/>
                  </a:cubicBezTo>
                  <a:cubicBezTo>
                    <a:pt x="249" y="227"/>
                    <a:pt x="250" y="227"/>
                    <a:pt x="251" y="227"/>
                  </a:cubicBezTo>
                  <a:cubicBezTo>
                    <a:pt x="250" y="226"/>
                    <a:pt x="250" y="225"/>
                    <a:pt x="250" y="225"/>
                  </a:cubicBezTo>
                  <a:cubicBezTo>
                    <a:pt x="249" y="224"/>
                    <a:pt x="248" y="223"/>
                    <a:pt x="249" y="222"/>
                  </a:cubicBezTo>
                  <a:cubicBezTo>
                    <a:pt x="249" y="220"/>
                    <a:pt x="250" y="219"/>
                    <a:pt x="251" y="217"/>
                  </a:cubicBezTo>
                  <a:cubicBezTo>
                    <a:pt x="252" y="218"/>
                    <a:pt x="252" y="220"/>
                    <a:pt x="252" y="221"/>
                  </a:cubicBezTo>
                  <a:cubicBezTo>
                    <a:pt x="252" y="222"/>
                    <a:pt x="252" y="222"/>
                    <a:pt x="253" y="223"/>
                  </a:cubicBezTo>
                  <a:cubicBezTo>
                    <a:pt x="253" y="224"/>
                    <a:pt x="254" y="225"/>
                    <a:pt x="255" y="225"/>
                  </a:cubicBezTo>
                  <a:cubicBezTo>
                    <a:pt x="255" y="226"/>
                    <a:pt x="256" y="227"/>
                    <a:pt x="256" y="227"/>
                  </a:cubicBezTo>
                  <a:cubicBezTo>
                    <a:pt x="257" y="228"/>
                    <a:pt x="257" y="229"/>
                    <a:pt x="257" y="230"/>
                  </a:cubicBezTo>
                  <a:cubicBezTo>
                    <a:pt x="258" y="230"/>
                    <a:pt x="257" y="231"/>
                    <a:pt x="257" y="231"/>
                  </a:cubicBezTo>
                  <a:cubicBezTo>
                    <a:pt x="257" y="231"/>
                    <a:pt x="257" y="232"/>
                    <a:pt x="257" y="232"/>
                  </a:cubicBezTo>
                  <a:cubicBezTo>
                    <a:pt x="257" y="233"/>
                    <a:pt x="258" y="234"/>
                    <a:pt x="258" y="235"/>
                  </a:cubicBezTo>
                  <a:cubicBezTo>
                    <a:pt x="259" y="236"/>
                    <a:pt x="259" y="236"/>
                    <a:pt x="259" y="236"/>
                  </a:cubicBezTo>
                  <a:cubicBezTo>
                    <a:pt x="260" y="235"/>
                    <a:pt x="260" y="235"/>
                    <a:pt x="260" y="235"/>
                  </a:cubicBezTo>
                  <a:cubicBezTo>
                    <a:pt x="260" y="235"/>
                    <a:pt x="261" y="235"/>
                    <a:pt x="261" y="235"/>
                  </a:cubicBezTo>
                  <a:cubicBezTo>
                    <a:pt x="262" y="235"/>
                    <a:pt x="262" y="235"/>
                    <a:pt x="262" y="235"/>
                  </a:cubicBezTo>
                  <a:cubicBezTo>
                    <a:pt x="263" y="236"/>
                    <a:pt x="263" y="235"/>
                    <a:pt x="264" y="234"/>
                  </a:cubicBezTo>
                  <a:cubicBezTo>
                    <a:pt x="264" y="233"/>
                    <a:pt x="263" y="234"/>
                    <a:pt x="262" y="234"/>
                  </a:cubicBezTo>
                  <a:cubicBezTo>
                    <a:pt x="261" y="233"/>
                    <a:pt x="264" y="232"/>
                    <a:pt x="264" y="232"/>
                  </a:cubicBezTo>
                  <a:cubicBezTo>
                    <a:pt x="264" y="232"/>
                    <a:pt x="264" y="233"/>
                    <a:pt x="265" y="233"/>
                  </a:cubicBezTo>
                  <a:cubicBezTo>
                    <a:pt x="265" y="234"/>
                    <a:pt x="266" y="234"/>
                    <a:pt x="266" y="234"/>
                  </a:cubicBezTo>
                  <a:cubicBezTo>
                    <a:pt x="267" y="234"/>
                    <a:pt x="268" y="233"/>
                    <a:pt x="268" y="232"/>
                  </a:cubicBezTo>
                  <a:cubicBezTo>
                    <a:pt x="268" y="231"/>
                    <a:pt x="268" y="230"/>
                    <a:pt x="268" y="230"/>
                  </a:cubicBezTo>
                  <a:cubicBezTo>
                    <a:pt x="269" y="230"/>
                    <a:pt x="270" y="229"/>
                    <a:pt x="271" y="230"/>
                  </a:cubicBezTo>
                  <a:cubicBezTo>
                    <a:pt x="271" y="230"/>
                    <a:pt x="272" y="231"/>
                    <a:pt x="272" y="232"/>
                  </a:cubicBezTo>
                  <a:cubicBezTo>
                    <a:pt x="273" y="233"/>
                    <a:pt x="273" y="233"/>
                    <a:pt x="273" y="234"/>
                  </a:cubicBezTo>
                  <a:cubicBezTo>
                    <a:pt x="272" y="235"/>
                    <a:pt x="271" y="236"/>
                    <a:pt x="271" y="236"/>
                  </a:cubicBezTo>
                  <a:cubicBezTo>
                    <a:pt x="270" y="237"/>
                    <a:pt x="269" y="237"/>
                    <a:pt x="269" y="238"/>
                  </a:cubicBezTo>
                  <a:cubicBezTo>
                    <a:pt x="268" y="239"/>
                    <a:pt x="269" y="239"/>
                    <a:pt x="270" y="239"/>
                  </a:cubicBezTo>
                  <a:cubicBezTo>
                    <a:pt x="271" y="239"/>
                    <a:pt x="271" y="239"/>
                    <a:pt x="271" y="239"/>
                  </a:cubicBezTo>
                  <a:cubicBezTo>
                    <a:pt x="272" y="240"/>
                    <a:pt x="272" y="240"/>
                    <a:pt x="273" y="241"/>
                  </a:cubicBezTo>
                  <a:cubicBezTo>
                    <a:pt x="273" y="242"/>
                    <a:pt x="274" y="242"/>
                    <a:pt x="274" y="242"/>
                  </a:cubicBezTo>
                  <a:cubicBezTo>
                    <a:pt x="275" y="243"/>
                    <a:pt x="276" y="243"/>
                    <a:pt x="277" y="244"/>
                  </a:cubicBezTo>
                  <a:cubicBezTo>
                    <a:pt x="277" y="244"/>
                    <a:pt x="278" y="245"/>
                    <a:pt x="279" y="246"/>
                  </a:cubicBezTo>
                  <a:cubicBezTo>
                    <a:pt x="279" y="246"/>
                    <a:pt x="279" y="247"/>
                    <a:pt x="280" y="248"/>
                  </a:cubicBezTo>
                  <a:cubicBezTo>
                    <a:pt x="281" y="248"/>
                    <a:pt x="282" y="247"/>
                    <a:pt x="282" y="246"/>
                  </a:cubicBezTo>
                  <a:cubicBezTo>
                    <a:pt x="282" y="246"/>
                    <a:pt x="282" y="245"/>
                    <a:pt x="282" y="245"/>
                  </a:cubicBezTo>
                  <a:cubicBezTo>
                    <a:pt x="281" y="244"/>
                    <a:pt x="281" y="244"/>
                    <a:pt x="281" y="243"/>
                  </a:cubicBezTo>
                  <a:cubicBezTo>
                    <a:pt x="280" y="243"/>
                    <a:pt x="280" y="243"/>
                    <a:pt x="280" y="243"/>
                  </a:cubicBezTo>
                  <a:cubicBezTo>
                    <a:pt x="280" y="242"/>
                    <a:pt x="280" y="242"/>
                    <a:pt x="281" y="242"/>
                  </a:cubicBezTo>
                  <a:cubicBezTo>
                    <a:pt x="281" y="242"/>
                    <a:pt x="281" y="243"/>
                    <a:pt x="282" y="243"/>
                  </a:cubicBezTo>
                  <a:cubicBezTo>
                    <a:pt x="283" y="243"/>
                    <a:pt x="284" y="243"/>
                    <a:pt x="284" y="242"/>
                  </a:cubicBezTo>
                  <a:cubicBezTo>
                    <a:pt x="283" y="241"/>
                    <a:pt x="283" y="241"/>
                    <a:pt x="283" y="241"/>
                  </a:cubicBezTo>
                  <a:cubicBezTo>
                    <a:pt x="283" y="240"/>
                    <a:pt x="283" y="240"/>
                    <a:pt x="283" y="240"/>
                  </a:cubicBezTo>
                  <a:cubicBezTo>
                    <a:pt x="283" y="240"/>
                    <a:pt x="282" y="239"/>
                    <a:pt x="282" y="238"/>
                  </a:cubicBezTo>
                  <a:cubicBezTo>
                    <a:pt x="283" y="238"/>
                    <a:pt x="283" y="239"/>
                    <a:pt x="284" y="239"/>
                  </a:cubicBezTo>
                  <a:cubicBezTo>
                    <a:pt x="285" y="239"/>
                    <a:pt x="286" y="240"/>
                    <a:pt x="286" y="240"/>
                  </a:cubicBezTo>
                  <a:cubicBezTo>
                    <a:pt x="288" y="240"/>
                    <a:pt x="288" y="240"/>
                    <a:pt x="289" y="241"/>
                  </a:cubicBezTo>
                  <a:cubicBezTo>
                    <a:pt x="289" y="241"/>
                    <a:pt x="291" y="242"/>
                    <a:pt x="291" y="243"/>
                  </a:cubicBezTo>
                  <a:cubicBezTo>
                    <a:pt x="290" y="243"/>
                    <a:pt x="289" y="243"/>
                    <a:pt x="289" y="244"/>
                  </a:cubicBezTo>
                  <a:cubicBezTo>
                    <a:pt x="289" y="245"/>
                    <a:pt x="290" y="245"/>
                    <a:pt x="290" y="245"/>
                  </a:cubicBezTo>
                  <a:cubicBezTo>
                    <a:pt x="291" y="246"/>
                    <a:pt x="292" y="246"/>
                    <a:pt x="293" y="247"/>
                  </a:cubicBezTo>
                  <a:cubicBezTo>
                    <a:pt x="293" y="247"/>
                    <a:pt x="293" y="247"/>
                    <a:pt x="294" y="247"/>
                  </a:cubicBezTo>
                  <a:cubicBezTo>
                    <a:pt x="295" y="247"/>
                    <a:pt x="295" y="246"/>
                    <a:pt x="296" y="245"/>
                  </a:cubicBezTo>
                  <a:cubicBezTo>
                    <a:pt x="297" y="245"/>
                    <a:pt x="298" y="245"/>
                    <a:pt x="299" y="244"/>
                  </a:cubicBezTo>
                  <a:cubicBezTo>
                    <a:pt x="299" y="244"/>
                    <a:pt x="299" y="244"/>
                    <a:pt x="299" y="243"/>
                  </a:cubicBezTo>
                  <a:cubicBezTo>
                    <a:pt x="300" y="243"/>
                    <a:pt x="300" y="243"/>
                    <a:pt x="300" y="243"/>
                  </a:cubicBezTo>
                  <a:cubicBezTo>
                    <a:pt x="302" y="242"/>
                    <a:pt x="302" y="241"/>
                    <a:pt x="303" y="241"/>
                  </a:cubicBezTo>
                  <a:cubicBezTo>
                    <a:pt x="304" y="240"/>
                    <a:pt x="305" y="240"/>
                    <a:pt x="306" y="241"/>
                  </a:cubicBezTo>
                  <a:cubicBezTo>
                    <a:pt x="306" y="241"/>
                    <a:pt x="307" y="240"/>
                    <a:pt x="307" y="240"/>
                  </a:cubicBezTo>
                  <a:cubicBezTo>
                    <a:pt x="308" y="240"/>
                    <a:pt x="308" y="241"/>
                    <a:pt x="308" y="241"/>
                  </a:cubicBezTo>
                  <a:cubicBezTo>
                    <a:pt x="310" y="241"/>
                    <a:pt x="312" y="241"/>
                    <a:pt x="314" y="241"/>
                  </a:cubicBezTo>
                  <a:cubicBezTo>
                    <a:pt x="315" y="241"/>
                    <a:pt x="316" y="241"/>
                    <a:pt x="316" y="241"/>
                  </a:cubicBezTo>
                  <a:cubicBezTo>
                    <a:pt x="317" y="241"/>
                    <a:pt x="318" y="241"/>
                    <a:pt x="318" y="241"/>
                  </a:cubicBezTo>
                  <a:cubicBezTo>
                    <a:pt x="318" y="242"/>
                    <a:pt x="318" y="242"/>
                    <a:pt x="318" y="242"/>
                  </a:cubicBezTo>
                  <a:cubicBezTo>
                    <a:pt x="318" y="242"/>
                    <a:pt x="318" y="242"/>
                    <a:pt x="318" y="242"/>
                  </a:cubicBezTo>
                  <a:cubicBezTo>
                    <a:pt x="319" y="242"/>
                    <a:pt x="320" y="242"/>
                    <a:pt x="321" y="243"/>
                  </a:cubicBezTo>
                  <a:cubicBezTo>
                    <a:pt x="319" y="244"/>
                    <a:pt x="317" y="244"/>
                    <a:pt x="315" y="243"/>
                  </a:cubicBezTo>
                  <a:cubicBezTo>
                    <a:pt x="315" y="243"/>
                    <a:pt x="314" y="243"/>
                    <a:pt x="314" y="243"/>
                  </a:cubicBezTo>
                  <a:cubicBezTo>
                    <a:pt x="313" y="243"/>
                    <a:pt x="313" y="243"/>
                    <a:pt x="313" y="243"/>
                  </a:cubicBezTo>
                  <a:cubicBezTo>
                    <a:pt x="313" y="242"/>
                    <a:pt x="312" y="242"/>
                    <a:pt x="312" y="242"/>
                  </a:cubicBezTo>
                  <a:cubicBezTo>
                    <a:pt x="311" y="242"/>
                    <a:pt x="311" y="242"/>
                    <a:pt x="311" y="242"/>
                  </a:cubicBezTo>
                  <a:cubicBezTo>
                    <a:pt x="310" y="241"/>
                    <a:pt x="308" y="241"/>
                    <a:pt x="307" y="241"/>
                  </a:cubicBezTo>
                  <a:cubicBezTo>
                    <a:pt x="306" y="241"/>
                    <a:pt x="304" y="241"/>
                    <a:pt x="304" y="242"/>
                  </a:cubicBezTo>
                  <a:cubicBezTo>
                    <a:pt x="304" y="243"/>
                    <a:pt x="304" y="243"/>
                    <a:pt x="304" y="243"/>
                  </a:cubicBezTo>
                  <a:cubicBezTo>
                    <a:pt x="304" y="243"/>
                    <a:pt x="304" y="243"/>
                    <a:pt x="304" y="243"/>
                  </a:cubicBezTo>
                  <a:cubicBezTo>
                    <a:pt x="303" y="244"/>
                    <a:pt x="303" y="244"/>
                    <a:pt x="302" y="244"/>
                  </a:cubicBezTo>
                  <a:cubicBezTo>
                    <a:pt x="302" y="245"/>
                    <a:pt x="303" y="245"/>
                    <a:pt x="303" y="245"/>
                  </a:cubicBezTo>
                  <a:cubicBezTo>
                    <a:pt x="303" y="246"/>
                    <a:pt x="302" y="246"/>
                    <a:pt x="303" y="247"/>
                  </a:cubicBezTo>
                  <a:cubicBezTo>
                    <a:pt x="303" y="247"/>
                    <a:pt x="303" y="247"/>
                    <a:pt x="304" y="248"/>
                  </a:cubicBezTo>
                  <a:cubicBezTo>
                    <a:pt x="304" y="248"/>
                    <a:pt x="305" y="248"/>
                    <a:pt x="305" y="248"/>
                  </a:cubicBezTo>
                  <a:cubicBezTo>
                    <a:pt x="305" y="249"/>
                    <a:pt x="304" y="249"/>
                    <a:pt x="304" y="250"/>
                  </a:cubicBezTo>
                  <a:cubicBezTo>
                    <a:pt x="303" y="250"/>
                    <a:pt x="302" y="250"/>
                    <a:pt x="302" y="250"/>
                  </a:cubicBezTo>
                  <a:cubicBezTo>
                    <a:pt x="301" y="251"/>
                    <a:pt x="301" y="251"/>
                    <a:pt x="301" y="251"/>
                  </a:cubicBezTo>
                  <a:cubicBezTo>
                    <a:pt x="301" y="251"/>
                    <a:pt x="301" y="252"/>
                    <a:pt x="301" y="252"/>
                  </a:cubicBezTo>
                  <a:cubicBezTo>
                    <a:pt x="301" y="253"/>
                    <a:pt x="302" y="253"/>
                    <a:pt x="302" y="253"/>
                  </a:cubicBezTo>
                  <a:cubicBezTo>
                    <a:pt x="303" y="252"/>
                    <a:pt x="303" y="252"/>
                    <a:pt x="303" y="252"/>
                  </a:cubicBezTo>
                  <a:cubicBezTo>
                    <a:pt x="304" y="252"/>
                    <a:pt x="305" y="253"/>
                    <a:pt x="305" y="253"/>
                  </a:cubicBezTo>
                  <a:cubicBezTo>
                    <a:pt x="306" y="254"/>
                    <a:pt x="306" y="255"/>
                    <a:pt x="306" y="256"/>
                  </a:cubicBezTo>
                  <a:cubicBezTo>
                    <a:pt x="305" y="257"/>
                    <a:pt x="306" y="257"/>
                    <a:pt x="307" y="257"/>
                  </a:cubicBezTo>
                  <a:cubicBezTo>
                    <a:pt x="308" y="258"/>
                    <a:pt x="308" y="258"/>
                    <a:pt x="309" y="259"/>
                  </a:cubicBezTo>
                  <a:cubicBezTo>
                    <a:pt x="310" y="260"/>
                    <a:pt x="312" y="259"/>
                    <a:pt x="314" y="260"/>
                  </a:cubicBezTo>
                  <a:cubicBezTo>
                    <a:pt x="314" y="260"/>
                    <a:pt x="315" y="260"/>
                    <a:pt x="315" y="261"/>
                  </a:cubicBezTo>
                  <a:cubicBezTo>
                    <a:pt x="320" y="255"/>
                    <a:pt x="320" y="255"/>
                    <a:pt x="320" y="255"/>
                  </a:cubicBezTo>
                  <a:lnTo>
                    <a:pt x="339" y="229"/>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9" name="Freeform 11">
              <a:extLst>
                <a:ext uri="{FF2B5EF4-FFF2-40B4-BE49-F238E27FC236}">
                  <a16:creationId xmlns:a16="http://schemas.microsoft.com/office/drawing/2014/main" id="{C74E675F-15B3-092C-C1A8-3216C6987F4C}"/>
                </a:ext>
              </a:extLst>
            </p:cNvPr>
            <p:cNvSpPr>
              <a:spLocks noEditPoints="1"/>
            </p:cNvSpPr>
            <p:nvPr/>
          </p:nvSpPr>
          <p:spPr bwMode="auto">
            <a:xfrm>
              <a:off x="5451475" y="5718175"/>
              <a:ext cx="796925" cy="239712"/>
            </a:xfrm>
            <a:custGeom>
              <a:avLst/>
              <a:gdLst>
                <a:gd name="T0" fmla="*/ 51 w 209"/>
                <a:gd name="T1" fmla="*/ 32 h 63"/>
                <a:gd name="T2" fmla="*/ 42 w 209"/>
                <a:gd name="T3" fmla="*/ 48 h 63"/>
                <a:gd name="T4" fmla="*/ 42 w 209"/>
                <a:gd name="T5" fmla="*/ 51 h 63"/>
                <a:gd name="T6" fmla="*/ 36 w 209"/>
                <a:gd name="T7" fmla="*/ 49 h 63"/>
                <a:gd name="T8" fmla="*/ 30 w 209"/>
                <a:gd name="T9" fmla="*/ 51 h 63"/>
                <a:gd name="T10" fmla="*/ 21 w 209"/>
                <a:gd name="T11" fmla="*/ 49 h 63"/>
                <a:gd name="T12" fmla="*/ 13 w 209"/>
                <a:gd name="T13" fmla="*/ 49 h 63"/>
                <a:gd name="T14" fmla="*/ 1 w 209"/>
                <a:gd name="T15" fmla="*/ 44 h 63"/>
                <a:gd name="T16" fmla="*/ 11 w 209"/>
                <a:gd name="T17" fmla="*/ 41 h 63"/>
                <a:gd name="T18" fmla="*/ 16 w 209"/>
                <a:gd name="T19" fmla="*/ 28 h 63"/>
                <a:gd name="T20" fmla="*/ 19 w 209"/>
                <a:gd name="T21" fmla="*/ 17 h 63"/>
                <a:gd name="T22" fmla="*/ 43 w 209"/>
                <a:gd name="T23" fmla="*/ 10 h 63"/>
                <a:gd name="T24" fmla="*/ 57 w 209"/>
                <a:gd name="T25" fmla="*/ 18 h 63"/>
                <a:gd name="T26" fmla="*/ 181 w 209"/>
                <a:gd name="T27" fmla="*/ 43 h 63"/>
                <a:gd name="T28" fmla="*/ 182 w 209"/>
                <a:gd name="T29" fmla="*/ 38 h 63"/>
                <a:gd name="T30" fmla="*/ 192 w 209"/>
                <a:gd name="T31" fmla="*/ 37 h 63"/>
                <a:gd name="T32" fmla="*/ 203 w 209"/>
                <a:gd name="T33" fmla="*/ 41 h 63"/>
                <a:gd name="T34" fmla="*/ 207 w 209"/>
                <a:gd name="T35" fmla="*/ 34 h 63"/>
                <a:gd name="T36" fmla="*/ 203 w 209"/>
                <a:gd name="T37" fmla="*/ 35 h 63"/>
                <a:gd name="T38" fmla="*/ 199 w 209"/>
                <a:gd name="T39" fmla="*/ 26 h 63"/>
                <a:gd name="T40" fmla="*/ 196 w 209"/>
                <a:gd name="T41" fmla="*/ 14 h 63"/>
                <a:gd name="T42" fmla="*/ 181 w 209"/>
                <a:gd name="T43" fmla="*/ 16 h 63"/>
                <a:gd name="T44" fmla="*/ 176 w 209"/>
                <a:gd name="T45" fmla="*/ 27 h 63"/>
                <a:gd name="T46" fmla="*/ 174 w 209"/>
                <a:gd name="T47" fmla="*/ 12 h 63"/>
                <a:gd name="T48" fmla="*/ 162 w 209"/>
                <a:gd name="T49" fmla="*/ 12 h 63"/>
                <a:gd name="T50" fmla="*/ 146 w 209"/>
                <a:gd name="T51" fmla="*/ 10 h 63"/>
                <a:gd name="T52" fmla="*/ 139 w 209"/>
                <a:gd name="T53" fmla="*/ 1 h 63"/>
                <a:gd name="T54" fmla="*/ 125 w 209"/>
                <a:gd name="T55" fmla="*/ 2 h 63"/>
                <a:gd name="T56" fmla="*/ 122 w 209"/>
                <a:gd name="T57" fmla="*/ 14 h 63"/>
                <a:gd name="T58" fmla="*/ 147 w 209"/>
                <a:gd name="T59" fmla="*/ 28 h 63"/>
                <a:gd name="T60" fmla="*/ 141 w 209"/>
                <a:gd name="T61" fmla="*/ 36 h 63"/>
                <a:gd name="T62" fmla="*/ 130 w 209"/>
                <a:gd name="T63" fmla="*/ 40 h 63"/>
                <a:gd name="T64" fmla="*/ 120 w 209"/>
                <a:gd name="T65" fmla="*/ 35 h 63"/>
                <a:gd name="T66" fmla="*/ 112 w 209"/>
                <a:gd name="T67" fmla="*/ 26 h 63"/>
                <a:gd name="T68" fmla="*/ 108 w 209"/>
                <a:gd name="T69" fmla="*/ 22 h 63"/>
                <a:gd name="T70" fmla="*/ 93 w 209"/>
                <a:gd name="T71" fmla="*/ 22 h 63"/>
                <a:gd name="T72" fmla="*/ 75 w 209"/>
                <a:gd name="T73" fmla="*/ 23 h 63"/>
                <a:gd name="T74" fmla="*/ 63 w 209"/>
                <a:gd name="T75" fmla="*/ 29 h 63"/>
                <a:gd name="T76" fmla="*/ 60 w 209"/>
                <a:gd name="T77" fmla="*/ 39 h 63"/>
                <a:gd name="T78" fmla="*/ 58 w 209"/>
                <a:gd name="T79" fmla="*/ 48 h 63"/>
                <a:gd name="T80" fmla="*/ 57 w 209"/>
                <a:gd name="T81" fmla="*/ 57 h 63"/>
                <a:gd name="T82" fmla="*/ 74 w 209"/>
                <a:gd name="T83" fmla="*/ 63 h 63"/>
                <a:gd name="T84" fmla="*/ 93 w 209"/>
                <a:gd name="T85" fmla="*/ 60 h 63"/>
                <a:gd name="T86" fmla="*/ 117 w 209"/>
                <a:gd name="T87" fmla="*/ 52 h 63"/>
                <a:gd name="T88" fmla="*/ 128 w 209"/>
                <a:gd name="T89" fmla="*/ 53 h 63"/>
                <a:gd name="T90" fmla="*/ 139 w 209"/>
                <a:gd name="T91" fmla="*/ 47 h 63"/>
                <a:gd name="T92" fmla="*/ 151 w 209"/>
                <a:gd name="T93" fmla="*/ 43 h 63"/>
                <a:gd name="T94" fmla="*/ 160 w 209"/>
                <a:gd name="T95" fmla="*/ 32 h 63"/>
                <a:gd name="T96" fmla="*/ 159 w 209"/>
                <a:gd name="T97" fmla="*/ 43 h 63"/>
                <a:gd name="T98" fmla="*/ 172 w 209"/>
                <a:gd name="T99" fmla="*/ 46 h 63"/>
                <a:gd name="T100" fmla="*/ 190 w 209"/>
                <a:gd name="T101" fmla="*/ 47 h 63"/>
                <a:gd name="T102" fmla="*/ 104 w 209"/>
                <a:gd name="T103" fmla="*/ 12 h 63"/>
                <a:gd name="T104" fmla="*/ 109 w 209"/>
                <a:gd name="T105" fmla="*/ 13 h 63"/>
                <a:gd name="T106" fmla="*/ 113 w 209"/>
                <a:gd name="T107" fmla="*/ 4 h 63"/>
                <a:gd name="T108" fmla="*/ 103 w 209"/>
                <a:gd name="T109" fmla="*/ 8 h 63"/>
                <a:gd name="T110" fmla="*/ 204 w 209"/>
                <a:gd name="T111" fmla="*/ 8 h 63"/>
                <a:gd name="T112" fmla="*/ 199 w 209"/>
                <a:gd name="T113" fmla="*/ 3 h 63"/>
                <a:gd name="T114" fmla="*/ 198 w 209"/>
                <a:gd name="T11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63">
                  <a:moveTo>
                    <a:pt x="57" y="18"/>
                  </a:moveTo>
                  <a:cubicBezTo>
                    <a:pt x="56" y="19"/>
                    <a:pt x="56" y="20"/>
                    <a:pt x="55" y="22"/>
                  </a:cubicBezTo>
                  <a:cubicBezTo>
                    <a:pt x="54" y="25"/>
                    <a:pt x="53" y="26"/>
                    <a:pt x="52" y="27"/>
                  </a:cubicBezTo>
                  <a:cubicBezTo>
                    <a:pt x="52" y="28"/>
                    <a:pt x="52" y="30"/>
                    <a:pt x="52" y="31"/>
                  </a:cubicBezTo>
                  <a:cubicBezTo>
                    <a:pt x="52" y="31"/>
                    <a:pt x="52" y="30"/>
                    <a:pt x="51" y="32"/>
                  </a:cubicBezTo>
                  <a:cubicBezTo>
                    <a:pt x="50" y="33"/>
                    <a:pt x="49" y="34"/>
                    <a:pt x="48" y="36"/>
                  </a:cubicBezTo>
                  <a:cubicBezTo>
                    <a:pt x="47" y="37"/>
                    <a:pt x="47" y="37"/>
                    <a:pt x="46" y="39"/>
                  </a:cubicBezTo>
                  <a:cubicBezTo>
                    <a:pt x="46" y="41"/>
                    <a:pt x="45" y="43"/>
                    <a:pt x="44" y="43"/>
                  </a:cubicBezTo>
                  <a:cubicBezTo>
                    <a:pt x="42" y="44"/>
                    <a:pt x="42" y="45"/>
                    <a:pt x="42" y="46"/>
                  </a:cubicBezTo>
                  <a:cubicBezTo>
                    <a:pt x="42" y="47"/>
                    <a:pt x="41" y="48"/>
                    <a:pt x="42" y="48"/>
                  </a:cubicBezTo>
                  <a:cubicBezTo>
                    <a:pt x="44" y="48"/>
                    <a:pt x="43" y="47"/>
                    <a:pt x="44" y="47"/>
                  </a:cubicBezTo>
                  <a:cubicBezTo>
                    <a:pt x="46" y="48"/>
                    <a:pt x="47" y="48"/>
                    <a:pt x="47" y="49"/>
                  </a:cubicBezTo>
                  <a:cubicBezTo>
                    <a:pt x="47" y="50"/>
                    <a:pt x="45" y="51"/>
                    <a:pt x="45" y="51"/>
                  </a:cubicBezTo>
                  <a:cubicBezTo>
                    <a:pt x="44" y="51"/>
                    <a:pt x="44" y="50"/>
                    <a:pt x="44" y="50"/>
                  </a:cubicBezTo>
                  <a:cubicBezTo>
                    <a:pt x="44" y="50"/>
                    <a:pt x="43" y="51"/>
                    <a:pt x="42" y="51"/>
                  </a:cubicBezTo>
                  <a:cubicBezTo>
                    <a:pt x="41" y="52"/>
                    <a:pt x="40" y="52"/>
                    <a:pt x="39" y="52"/>
                  </a:cubicBezTo>
                  <a:cubicBezTo>
                    <a:pt x="39" y="51"/>
                    <a:pt x="40" y="50"/>
                    <a:pt x="40" y="49"/>
                  </a:cubicBezTo>
                  <a:cubicBezTo>
                    <a:pt x="40" y="49"/>
                    <a:pt x="40" y="47"/>
                    <a:pt x="40" y="47"/>
                  </a:cubicBezTo>
                  <a:cubicBezTo>
                    <a:pt x="39" y="47"/>
                    <a:pt x="38" y="47"/>
                    <a:pt x="37" y="47"/>
                  </a:cubicBezTo>
                  <a:cubicBezTo>
                    <a:pt x="37" y="48"/>
                    <a:pt x="36" y="48"/>
                    <a:pt x="36" y="49"/>
                  </a:cubicBezTo>
                  <a:cubicBezTo>
                    <a:pt x="36" y="49"/>
                    <a:pt x="36" y="50"/>
                    <a:pt x="36" y="51"/>
                  </a:cubicBezTo>
                  <a:cubicBezTo>
                    <a:pt x="36" y="52"/>
                    <a:pt x="35" y="53"/>
                    <a:pt x="35" y="53"/>
                  </a:cubicBezTo>
                  <a:cubicBezTo>
                    <a:pt x="34" y="52"/>
                    <a:pt x="34" y="52"/>
                    <a:pt x="34" y="52"/>
                  </a:cubicBezTo>
                  <a:cubicBezTo>
                    <a:pt x="34" y="52"/>
                    <a:pt x="34" y="51"/>
                    <a:pt x="33" y="51"/>
                  </a:cubicBezTo>
                  <a:cubicBezTo>
                    <a:pt x="32" y="51"/>
                    <a:pt x="30" y="51"/>
                    <a:pt x="30" y="51"/>
                  </a:cubicBezTo>
                  <a:cubicBezTo>
                    <a:pt x="29" y="51"/>
                    <a:pt x="28" y="50"/>
                    <a:pt x="28" y="51"/>
                  </a:cubicBezTo>
                  <a:cubicBezTo>
                    <a:pt x="27" y="51"/>
                    <a:pt x="27" y="51"/>
                    <a:pt x="26" y="51"/>
                  </a:cubicBezTo>
                  <a:cubicBezTo>
                    <a:pt x="25" y="51"/>
                    <a:pt x="23" y="50"/>
                    <a:pt x="23" y="51"/>
                  </a:cubicBezTo>
                  <a:cubicBezTo>
                    <a:pt x="22" y="51"/>
                    <a:pt x="22" y="51"/>
                    <a:pt x="22" y="51"/>
                  </a:cubicBezTo>
                  <a:cubicBezTo>
                    <a:pt x="21" y="51"/>
                    <a:pt x="21" y="49"/>
                    <a:pt x="21" y="49"/>
                  </a:cubicBezTo>
                  <a:cubicBezTo>
                    <a:pt x="18" y="49"/>
                    <a:pt x="18" y="49"/>
                    <a:pt x="18" y="49"/>
                  </a:cubicBezTo>
                  <a:cubicBezTo>
                    <a:pt x="18" y="49"/>
                    <a:pt x="17" y="50"/>
                    <a:pt x="16" y="50"/>
                  </a:cubicBezTo>
                  <a:cubicBezTo>
                    <a:pt x="16" y="50"/>
                    <a:pt x="15" y="50"/>
                    <a:pt x="15" y="49"/>
                  </a:cubicBezTo>
                  <a:cubicBezTo>
                    <a:pt x="15" y="48"/>
                    <a:pt x="16" y="48"/>
                    <a:pt x="15" y="48"/>
                  </a:cubicBezTo>
                  <a:cubicBezTo>
                    <a:pt x="13" y="48"/>
                    <a:pt x="13" y="48"/>
                    <a:pt x="13" y="49"/>
                  </a:cubicBezTo>
                  <a:cubicBezTo>
                    <a:pt x="12" y="49"/>
                    <a:pt x="14" y="50"/>
                    <a:pt x="13" y="51"/>
                  </a:cubicBezTo>
                  <a:cubicBezTo>
                    <a:pt x="12" y="51"/>
                    <a:pt x="12" y="51"/>
                    <a:pt x="11" y="50"/>
                  </a:cubicBezTo>
                  <a:cubicBezTo>
                    <a:pt x="10" y="49"/>
                    <a:pt x="9" y="47"/>
                    <a:pt x="8" y="47"/>
                  </a:cubicBezTo>
                  <a:cubicBezTo>
                    <a:pt x="6" y="47"/>
                    <a:pt x="6" y="47"/>
                    <a:pt x="5" y="47"/>
                  </a:cubicBezTo>
                  <a:cubicBezTo>
                    <a:pt x="4" y="46"/>
                    <a:pt x="2" y="46"/>
                    <a:pt x="1" y="44"/>
                  </a:cubicBezTo>
                  <a:cubicBezTo>
                    <a:pt x="0" y="42"/>
                    <a:pt x="0" y="42"/>
                    <a:pt x="1" y="41"/>
                  </a:cubicBezTo>
                  <a:cubicBezTo>
                    <a:pt x="2" y="40"/>
                    <a:pt x="2" y="39"/>
                    <a:pt x="3" y="40"/>
                  </a:cubicBezTo>
                  <a:cubicBezTo>
                    <a:pt x="3" y="41"/>
                    <a:pt x="5" y="43"/>
                    <a:pt x="6" y="43"/>
                  </a:cubicBezTo>
                  <a:cubicBezTo>
                    <a:pt x="6" y="42"/>
                    <a:pt x="10" y="40"/>
                    <a:pt x="10" y="40"/>
                  </a:cubicBezTo>
                  <a:cubicBezTo>
                    <a:pt x="10" y="40"/>
                    <a:pt x="11" y="40"/>
                    <a:pt x="11" y="41"/>
                  </a:cubicBezTo>
                  <a:cubicBezTo>
                    <a:pt x="12" y="41"/>
                    <a:pt x="13" y="42"/>
                    <a:pt x="13" y="41"/>
                  </a:cubicBezTo>
                  <a:cubicBezTo>
                    <a:pt x="13" y="41"/>
                    <a:pt x="14" y="42"/>
                    <a:pt x="14" y="42"/>
                  </a:cubicBezTo>
                  <a:cubicBezTo>
                    <a:pt x="15" y="42"/>
                    <a:pt x="15" y="42"/>
                    <a:pt x="15" y="42"/>
                  </a:cubicBezTo>
                  <a:cubicBezTo>
                    <a:pt x="15" y="42"/>
                    <a:pt x="16" y="40"/>
                    <a:pt x="16" y="38"/>
                  </a:cubicBezTo>
                  <a:cubicBezTo>
                    <a:pt x="16" y="37"/>
                    <a:pt x="16" y="30"/>
                    <a:pt x="16" y="28"/>
                  </a:cubicBezTo>
                  <a:cubicBezTo>
                    <a:pt x="16" y="27"/>
                    <a:pt x="14" y="26"/>
                    <a:pt x="14" y="25"/>
                  </a:cubicBezTo>
                  <a:cubicBezTo>
                    <a:pt x="14" y="23"/>
                    <a:pt x="14" y="21"/>
                    <a:pt x="15" y="21"/>
                  </a:cubicBezTo>
                  <a:cubicBezTo>
                    <a:pt x="15" y="20"/>
                    <a:pt x="16" y="20"/>
                    <a:pt x="17" y="20"/>
                  </a:cubicBezTo>
                  <a:cubicBezTo>
                    <a:pt x="17" y="19"/>
                    <a:pt x="18" y="18"/>
                    <a:pt x="18" y="18"/>
                  </a:cubicBezTo>
                  <a:cubicBezTo>
                    <a:pt x="18" y="17"/>
                    <a:pt x="19" y="17"/>
                    <a:pt x="19" y="17"/>
                  </a:cubicBezTo>
                  <a:cubicBezTo>
                    <a:pt x="20" y="17"/>
                    <a:pt x="20" y="17"/>
                    <a:pt x="22" y="15"/>
                  </a:cubicBezTo>
                  <a:cubicBezTo>
                    <a:pt x="24" y="13"/>
                    <a:pt x="26" y="11"/>
                    <a:pt x="29" y="10"/>
                  </a:cubicBezTo>
                  <a:cubicBezTo>
                    <a:pt x="32" y="8"/>
                    <a:pt x="33" y="7"/>
                    <a:pt x="35" y="8"/>
                  </a:cubicBezTo>
                  <a:cubicBezTo>
                    <a:pt x="38" y="8"/>
                    <a:pt x="39" y="8"/>
                    <a:pt x="40" y="9"/>
                  </a:cubicBezTo>
                  <a:cubicBezTo>
                    <a:pt x="42" y="9"/>
                    <a:pt x="41" y="10"/>
                    <a:pt x="43" y="10"/>
                  </a:cubicBezTo>
                  <a:cubicBezTo>
                    <a:pt x="44" y="10"/>
                    <a:pt x="45" y="10"/>
                    <a:pt x="45" y="11"/>
                  </a:cubicBezTo>
                  <a:cubicBezTo>
                    <a:pt x="46" y="11"/>
                    <a:pt x="47" y="12"/>
                    <a:pt x="48" y="12"/>
                  </a:cubicBezTo>
                  <a:cubicBezTo>
                    <a:pt x="50" y="12"/>
                    <a:pt x="50" y="11"/>
                    <a:pt x="52" y="12"/>
                  </a:cubicBezTo>
                  <a:cubicBezTo>
                    <a:pt x="53" y="13"/>
                    <a:pt x="54" y="14"/>
                    <a:pt x="55" y="15"/>
                  </a:cubicBezTo>
                  <a:cubicBezTo>
                    <a:pt x="56" y="16"/>
                    <a:pt x="57" y="17"/>
                    <a:pt x="57" y="18"/>
                  </a:cubicBezTo>
                  <a:close/>
                  <a:moveTo>
                    <a:pt x="193" y="43"/>
                  </a:moveTo>
                  <a:cubicBezTo>
                    <a:pt x="192" y="43"/>
                    <a:pt x="191" y="43"/>
                    <a:pt x="191" y="43"/>
                  </a:cubicBezTo>
                  <a:cubicBezTo>
                    <a:pt x="190" y="43"/>
                    <a:pt x="188" y="43"/>
                    <a:pt x="187" y="43"/>
                  </a:cubicBezTo>
                  <a:cubicBezTo>
                    <a:pt x="185" y="42"/>
                    <a:pt x="183" y="42"/>
                    <a:pt x="182" y="42"/>
                  </a:cubicBezTo>
                  <a:cubicBezTo>
                    <a:pt x="181" y="42"/>
                    <a:pt x="182" y="43"/>
                    <a:pt x="181" y="43"/>
                  </a:cubicBezTo>
                  <a:cubicBezTo>
                    <a:pt x="180" y="44"/>
                    <a:pt x="179" y="43"/>
                    <a:pt x="179" y="42"/>
                  </a:cubicBezTo>
                  <a:cubicBezTo>
                    <a:pt x="179" y="42"/>
                    <a:pt x="178" y="42"/>
                    <a:pt x="178" y="41"/>
                  </a:cubicBezTo>
                  <a:cubicBezTo>
                    <a:pt x="178" y="41"/>
                    <a:pt x="179" y="41"/>
                    <a:pt x="179" y="41"/>
                  </a:cubicBezTo>
                  <a:cubicBezTo>
                    <a:pt x="180" y="40"/>
                    <a:pt x="180" y="40"/>
                    <a:pt x="181" y="39"/>
                  </a:cubicBezTo>
                  <a:cubicBezTo>
                    <a:pt x="182" y="39"/>
                    <a:pt x="182" y="38"/>
                    <a:pt x="182" y="38"/>
                  </a:cubicBezTo>
                  <a:cubicBezTo>
                    <a:pt x="182" y="38"/>
                    <a:pt x="183" y="38"/>
                    <a:pt x="184" y="38"/>
                  </a:cubicBezTo>
                  <a:cubicBezTo>
                    <a:pt x="184" y="39"/>
                    <a:pt x="186" y="39"/>
                    <a:pt x="187" y="40"/>
                  </a:cubicBezTo>
                  <a:cubicBezTo>
                    <a:pt x="188" y="40"/>
                    <a:pt x="188" y="40"/>
                    <a:pt x="189" y="39"/>
                  </a:cubicBezTo>
                  <a:cubicBezTo>
                    <a:pt x="189" y="39"/>
                    <a:pt x="189" y="38"/>
                    <a:pt x="190" y="38"/>
                  </a:cubicBezTo>
                  <a:cubicBezTo>
                    <a:pt x="191" y="38"/>
                    <a:pt x="191" y="37"/>
                    <a:pt x="192" y="37"/>
                  </a:cubicBezTo>
                  <a:cubicBezTo>
                    <a:pt x="192" y="37"/>
                    <a:pt x="193" y="39"/>
                    <a:pt x="193" y="39"/>
                  </a:cubicBezTo>
                  <a:cubicBezTo>
                    <a:pt x="193" y="39"/>
                    <a:pt x="194" y="40"/>
                    <a:pt x="195" y="41"/>
                  </a:cubicBezTo>
                  <a:cubicBezTo>
                    <a:pt x="195" y="41"/>
                    <a:pt x="197" y="41"/>
                    <a:pt x="198" y="41"/>
                  </a:cubicBezTo>
                  <a:cubicBezTo>
                    <a:pt x="200" y="41"/>
                    <a:pt x="200" y="41"/>
                    <a:pt x="201" y="40"/>
                  </a:cubicBezTo>
                  <a:cubicBezTo>
                    <a:pt x="202" y="40"/>
                    <a:pt x="202" y="41"/>
                    <a:pt x="203" y="41"/>
                  </a:cubicBezTo>
                  <a:cubicBezTo>
                    <a:pt x="203" y="42"/>
                    <a:pt x="204" y="41"/>
                    <a:pt x="204" y="40"/>
                  </a:cubicBezTo>
                  <a:cubicBezTo>
                    <a:pt x="204" y="40"/>
                    <a:pt x="204" y="41"/>
                    <a:pt x="205" y="41"/>
                  </a:cubicBezTo>
                  <a:cubicBezTo>
                    <a:pt x="205" y="42"/>
                    <a:pt x="207" y="40"/>
                    <a:pt x="207" y="40"/>
                  </a:cubicBezTo>
                  <a:cubicBezTo>
                    <a:pt x="208" y="39"/>
                    <a:pt x="208" y="37"/>
                    <a:pt x="208" y="37"/>
                  </a:cubicBezTo>
                  <a:cubicBezTo>
                    <a:pt x="207" y="36"/>
                    <a:pt x="207" y="35"/>
                    <a:pt x="207" y="34"/>
                  </a:cubicBezTo>
                  <a:cubicBezTo>
                    <a:pt x="207" y="33"/>
                    <a:pt x="208" y="33"/>
                    <a:pt x="208" y="32"/>
                  </a:cubicBezTo>
                  <a:cubicBezTo>
                    <a:pt x="209" y="32"/>
                    <a:pt x="208" y="31"/>
                    <a:pt x="208" y="31"/>
                  </a:cubicBezTo>
                  <a:cubicBezTo>
                    <a:pt x="207" y="31"/>
                    <a:pt x="206" y="31"/>
                    <a:pt x="205" y="31"/>
                  </a:cubicBezTo>
                  <a:cubicBezTo>
                    <a:pt x="204" y="32"/>
                    <a:pt x="204" y="32"/>
                    <a:pt x="204" y="33"/>
                  </a:cubicBezTo>
                  <a:cubicBezTo>
                    <a:pt x="204" y="34"/>
                    <a:pt x="204" y="34"/>
                    <a:pt x="203" y="35"/>
                  </a:cubicBezTo>
                  <a:cubicBezTo>
                    <a:pt x="202" y="35"/>
                    <a:pt x="201" y="35"/>
                    <a:pt x="200" y="35"/>
                  </a:cubicBezTo>
                  <a:cubicBezTo>
                    <a:pt x="200" y="34"/>
                    <a:pt x="199" y="33"/>
                    <a:pt x="199" y="32"/>
                  </a:cubicBezTo>
                  <a:cubicBezTo>
                    <a:pt x="199" y="31"/>
                    <a:pt x="199" y="31"/>
                    <a:pt x="198" y="31"/>
                  </a:cubicBezTo>
                  <a:cubicBezTo>
                    <a:pt x="198" y="30"/>
                    <a:pt x="198" y="29"/>
                    <a:pt x="198" y="28"/>
                  </a:cubicBezTo>
                  <a:cubicBezTo>
                    <a:pt x="198" y="27"/>
                    <a:pt x="199" y="27"/>
                    <a:pt x="199" y="26"/>
                  </a:cubicBezTo>
                  <a:cubicBezTo>
                    <a:pt x="200" y="26"/>
                    <a:pt x="200" y="24"/>
                    <a:pt x="200" y="24"/>
                  </a:cubicBezTo>
                  <a:cubicBezTo>
                    <a:pt x="200" y="24"/>
                    <a:pt x="199" y="23"/>
                    <a:pt x="199" y="22"/>
                  </a:cubicBezTo>
                  <a:cubicBezTo>
                    <a:pt x="198" y="21"/>
                    <a:pt x="197" y="20"/>
                    <a:pt x="197" y="19"/>
                  </a:cubicBezTo>
                  <a:cubicBezTo>
                    <a:pt x="196" y="18"/>
                    <a:pt x="197" y="17"/>
                    <a:pt x="196" y="16"/>
                  </a:cubicBezTo>
                  <a:cubicBezTo>
                    <a:pt x="196" y="15"/>
                    <a:pt x="197" y="14"/>
                    <a:pt x="196" y="14"/>
                  </a:cubicBezTo>
                  <a:cubicBezTo>
                    <a:pt x="196" y="13"/>
                    <a:pt x="195" y="13"/>
                    <a:pt x="194" y="13"/>
                  </a:cubicBezTo>
                  <a:cubicBezTo>
                    <a:pt x="193" y="13"/>
                    <a:pt x="191" y="13"/>
                    <a:pt x="189" y="13"/>
                  </a:cubicBezTo>
                  <a:cubicBezTo>
                    <a:pt x="186" y="13"/>
                    <a:pt x="187" y="12"/>
                    <a:pt x="186" y="12"/>
                  </a:cubicBezTo>
                  <a:cubicBezTo>
                    <a:pt x="186" y="12"/>
                    <a:pt x="185" y="13"/>
                    <a:pt x="184" y="13"/>
                  </a:cubicBezTo>
                  <a:cubicBezTo>
                    <a:pt x="183" y="14"/>
                    <a:pt x="182" y="15"/>
                    <a:pt x="181" y="16"/>
                  </a:cubicBezTo>
                  <a:cubicBezTo>
                    <a:pt x="181" y="16"/>
                    <a:pt x="180" y="18"/>
                    <a:pt x="180" y="19"/>
                  </a:cubicBezTo>
                  <a:cubicBezTo>
                    <a:pt x="179" y="19"/>
                    <a:pt x="180" y="21"/>
                    <a:pt x="180" y="22"/>
                  </a:cubicBezTo>
                  <a:cubicBezTo>
                    <a:pt x="180" y="22"/>
                    <a:pt x="179" y="24"/>
                    <a:pt x="179" y="25"/>
                  </a:cubicBezTo>
                  <a:cubicBezTo>
                    <a:pt x="179" y="26"/>
                    <a:pt x="178" y="27"/>
                    <a:pt x="178" y="28"/>
                  </a:cubicBezTo>
                  <a:cubicBezTo>
                    <a:pt x="177" y="29"/>
                    <a:pt x="177" y="28"/>
                    <a:pt x="176" y="27"/>
                  </a:cubicBezTo>
                  <a:cubicBezTo>
                    <a:pt x="176" y="27"/>
                    <a:pt x="176" y="26"/>
                    <a:pt x="177" y="25"/>
                  </a:cubicBezTo>
                  <a:cubicBezTo>
                    <a:pt x="177" y="23"/>
                    <a:pt x="177" y="23"/>
                    <a:pt x="178" y="21"/>
                  </a:cubicBezTo>
                  <a:cubicBezTo>
                    <a:pt x="178" y="18"/>
                    <a:pt x="178" y="17"/>
                    <a:pt x="178" y="16"/>
                  </a:cubicBezTo>
                  <a:cubicBezTo>
                    <a:pt x="177" y="15"/>
                    <a:pt x="177" y="14"/>
                    <a:pt x="176" y="13"/>
                  </a:cubicBezTo>
                  <a:cubicBezTo>
                    <a:pt x="175" y="12"/>
                    <a:pt x="176" y="13"/>
                    <a:pt x="174" y="12"/>
                  </a:cubicBezTo>
                  <a:cubicBezTo>
                    <a:pt x="172" y="11"/>
                    <a:pt x="173" y="12"/>
                    <a:pt x="170" y="11"/>
                  </a:cubicBezTo>
                  <a:cubicBezTo>
                    <a:pt x="168" y="11"/>
                    <a:pt x="167" y="11"/>
                    <a:pt x="167" y="11"/>
                  </a:cubicBezTo>
                  <a:cubicBezTo>
                    <a:pt x="167" y="11"/>
                    <a:pt x="167" y="10"/>
                    <a:pt x="166" y="10"/>
                  </a:cubicBezTo>
                  <a:cubicBezTo>
                    <a:pt x="165" y="10"/>
                    <a:pt x="164" y="10"/>
                    <a:pt x="164" y="10"/>
                  </a:cubicBezTo>
                  <a:cubicBezTo>
                    <a:pt x="163" y="11"/>
                    <a:pt x="162" y="12"/>
                    <a:pt x="162" y="12"/>
                  </a:cubicBezTo>
                  <a:cubicBezTo>
                    <a:pt x="161" y="13"/>
                    <a:pt x="159" y="15"/>
                    <a:pt x="158" y="16"/>
                  </a:cubicBezTo>
                  <a:cubicBezTo>
                    <a:pt x="157" y="17"/>
                    <a:pt x="156" y="17"/>
                    <a:pt x="153" y="17"/>
                  </a:cubicBezTo>
                  <a:cubicBezTo>
                    <a:pt x="151" y="17"/>
                    <a:pt x="151" y="16"/>
                    <a:pt x="150" y="16"/>
                  </a:cubicBezTo>
                  <a:cubicBezTo>
                    <a:pt x="149" y="15"/>
                    <a:pt x="149" y="13"/>
                    <a:pt x="148" y="12"/>
                  </a:cubicBezTo>
                  <a:cubicBezTo>
                    <a:pt x="148" y="11"/>
                    <a:pt x="147" y="11"/>
                    <a:pt x="146" y="10"/>
                  </a:cubicBezTo>
                  <a:cubicBezTo>
                    <a:pt x="145" y="9"/>
                    <a:pt x="146" y="9"/>
                    <a:pt x="145" y="8"/>
                  </a:cubicBezTo>
                  <a:cubicBezTo>
                    <a:pt x="145" y="8"/>
                    <a:pt x="145" y="8"/>
                    <a:pt x="144" y="7"/>
                  </a:cubicBezTo>
                  <a:cubicBezTo>
                    <a:pt x="144" y="6"/>
                    <a:pt x="144" y="4"/>
                    <a:pt x="144" y="3"/>
                  </a:cubicBezTo>
                  <a:cubicBezTo>
                    <a:pt x="143" y="2"/>
                    <a:pt x="143" y="2"/>
                    <a:pt x="142" y="2"/>
                  </a:cubicBezTo>
                  <a:cubicBezTo>
                    <a:pt x="141" y="1"/>
                    <a:pt x="140" y="1"/>
                    <a:pt x="139" y="1"/>
                  </a:cubicBezTo>
                  <a:cubicBezTo>
                    <a:pt x="139" y="1"/>
                    <a:pt x="138" y="1"/>
                    <a:pt x="137" y="1"/>
                  </a:cubicBezTo>
                  <a:cubicBezTo>
                    <a:pt x="136" y="0"/>
                    <a:pt x="136" y="1"/>
                    <a:pt x="134" y="1"/>
                  </a:cubicBezTo>
                  <a:cubicBezTo>
                    <a:pt x="133" y="1"/>
                    <a:pt x="133" y="1"/>
                    <a:pt x="133" y="0"/>
                  </a:cubicBezTo>
                  <a:cubicBezTo>
                    <a:pt x="133" y="0"/>
                    <a:pt x="132" y="0"/>
                    <a:pt x="131" y="0"/>
                  </a:cubicBezTo>
                  <a:cubicBezTo>
                    <a:pt x="130" y="1"/>
                    <a:pt x="127" y="2"/>
                    <a:pt x="125" y="2"/>
                  </a:cubicBezTo>
                  <a:cubicBezTo>
                    <a:pt x="123" y="2"/>
                    <a:pt x="121" y="3"/>
                    <a:pt x="120" y="3"/>
                  </a:cubicBezTo>
                  <a:cubicBezTo>
                    <a:pt x="118" y="4"/>
                    <a:pt x="118" y="5"/>
                    <a:pt x="118" y="5"/>
                  </a:cubicBezTo>
                  <a:cubicBezTo>
                    <a:pt x="118" y="6"/>
                    <a:pt x="118" y="8"/>
                    <a:pt x="117" y="9"/>
                  </a:cubicBezTo>
                  <a:cubicBezTo>
                    <a:pt x="116" y="10"/>
                    <a:pt x="117" y="10"/>
                    <a:pt x="118" y="11"/>
                  </a:cubicBezTo>
                  <a:cubicBezTo>
                    <a:pt x="119" y="11"/>
                    <a:pt x="121" y="13"/>
                    <a:pt x="122" y="14"/>
                  </a:cubicBezTo>
                  <a:cubicBezTo>
                    <a:pt x="122" y="15"/>
                    <a:pt x="124" y="17"/>
                    <a:pt x="125" y="17"/>
                  </a:cubicBezTo>
                  <a:cubicBezTo>
                    <a:pt x="127" y="18"/>
                    <a:pt x="130" y="21"/>
                    <a:pt x="132" y="22"/>
                  </a:cubicBezTo>
                  <a:cubicBezTo>
                    <a:pt x="133" y="23"/>
                    <a:pt x="136" y="23"/>
                    <a:pt x="139" y="23"/>
                  </a:cubicBezTo>
                  <a:cubicBezTo>
                    <a:pt x="142" y="22"/>
                    <a:pt x="141" y="23"/>
                    <a:pt x="142" y="24"/>
                  </a:cubicBezTo>
                  <a:cubicBezTo>
                    <a:pt x="142" y="25"/>
                    <a:pt x="145" y="27"/>
                    <a:pt x="147" y="28"/>
                  </a:cubicBezTo>
                  <a:cubicBezTo>
                    <a:pt x="149" y="30"/>
                    <a:pt x="150" y="29"/>
                    <a:pt x="151" y="30"/>
                  </a:cubicBezTo>
                  <a:cubicBezTo>
                    <a:pt x="152" y="31"/>
                    <a:pt x="152" y="32"/>
                    <a:pt x="152" y="33"/>
                  </a:cubicBezTo>
                  <a:cubicBezTo>
                    <a:pt x="153" y="34"/>
                    <a:pt x="152" y="36"/>
                    <a:pt x="150" y="36"/>
                  </a:cubicBezTo>
                  <a:cubicBezTo>
                    <a:pt x="149" y="37"/>
                    <a:pt x="148" y="36"/>
                    <a:pt x="147" y="36"/>
                  </a:cubicBezTo>
                  <a:cubicBezTo>
                    <a:pt x="146" y="36"/>
                    <a:pt x="144" y="36"/>
                    <a:pt x="141" y="36"/>
                  </a:cubicBezTo>
                  <a:cubicBezTo>
                    <a:pt x="138" y="36"/>
                    <a:pt x="139" y="37"/>
                    <a:pt x="136" y="38"/>
                  </a:cubicBezTo>
                  <a:cubicBezTo>
                    <a:pt x="133" y="39"/>
                    <a:pt x="134" y="40"/>
                    <a:pt x="134" y="40"/>
                  </a:cubicBezTo>
                  <a:cubicBezTo>
                    <a:pt x="133" y="41"/>
                    <a:pt x="132" y="41"/>
                    <a:pt x="132" y="41"/>
                  </a:cubicBezTo>
                  <a:cubicBezTo>
                    <a:pt x="131" y="40"/>
                    <a:pt x="131" y="40"/>
                    <a:pt x="131" y="40"/>
                  </a:cubicBezTo>
                  <a:cubicBezTo>
                    <a:pt x="131" y="40"/>
                    <a:pt x="131" y="40"/>
                    <a:pt x="130" y="40"/>
                  </a:cubicBezTo>
                  <a:cubicBezTo>
                    <a:pt x="129" y="40"/>
                    <a:pt x="129" y="39"/>
                    <a:pt x="129" y="39"/>
                  </a:cubicBezTo>
                  <a:cubicBezTo>
                    <a:pt x="129" y="38"/>
                    <a:pt x="127" y="39"/>
                    <a:pt x="126" y="40"/>
                  </a:cubicBezTo>
                  <a:cubicBezTo>
                    <a:pt x="124" y="40"/>
                    <a:pt x="123" y="40"/>
                    <a:pt x="122" y="39"/>
                  </a:cubicBezTo>
                  <a:cubicBezTo>
                    <a:pt x="120" y="39"/>
                    <a:pt x="121" y="37"/>
                    <a:pt x="121" y="36"/>
                  </a:cubicBezTo>
                  <a:cubicBezTo>
                    <a:pt x="121" y="36"/>
                    <a:pt x="121" y="36"/>
                    <a:pt x="120" y="35"/>
                  </a:cubicBezTo>
                  <a:cubicBezTo>
                    <a:pt x="120" y="34"/>
                    <a:pt x="120" y="33"/>
                    <a:pt x="120" y="32"/>
                  </a:cubicBezTo>
                  <a:cubicBezTo>
                    <a:pt x="120" y="31"/>
                    <a:pt x="119" y="30"/>
                    <a:pt x="118" y="30"/>
                  </a:cubicBezTo>
                  <a:cubicBezTo>
                    <a:pt x="118" y="30"/>
                    <a:pt x="116" y="30"/>
                    <a:pt x="116" y="30"/>
                  </a:cubicBezTo>
                  <a:cubicBezTo>
                    <a:pt x="116" y="30"/>
                    <a:pt x="113" y="29"/>
                    <a:pt x="112" y="29"/>
                  </a:cubicBezTo>
                  <a:cubicBezTo>
                    <a:pt x="112" y="28"/>
                    <a:pt x="112" y="27"/>
                    <a:pt x="112" y="26"/>
                  </a:cubicBezTo>
                  <a:cubicBezTo>
                    <a:pt x="112" y="25"/>
                    <a:pt x="112" y="24"/>
                    <a:pt x="112" y="23"/>
                  </a:cubicBezTo>
                  <a:cubicBezTo>
                    <a:pt x="112" y="22"/>
                    <a:pt x="110" y="22"/>
                    <a:pt x="110" y="22"/>
                  </a:cubicBezTo>
                  <a:cubicBezTo>
                    <a:pt x="110" y="26"/>
                    <a:pt x="110" y="26"/>
                    <a:pt x="110" y="26"/>
                  </a:cubicBezTo>
                  <a:cubicBezTo>
                    <a:pt x="109" y="26"/>
                    <a:pt x="109" y="26"/>
                    <a:pt x="109" y="26"/>
                  </a:cubicBezTo>
                  <a:cubicBezTo>
                    <a:pt x="109" y="26"/>
                    <a:pt x="108" y="23"/>
                    <a:pt x="108" y="22"/>
                  </a:cubicBezTo>
                  <a:cubicBezTo>
                    <a:pt x="108" y="20"/>
                    <a:pt x="108" y="20"/>
                    <a:pt x="107" y="20"/>
                  </a:cubicBezTo>
                  <a:cubicBezTo>
                    <a:pt x="106" y="20"/>
                    <a:pt x="104" y="20"/>
                    <a:pt x="102" y="20"/>
                  </a:cubicBezTo>
                  <a:cubicBezTo>
                    <a:pt x="99" y="20"/>
                    <a:pt x="100" y="20"/>
                    <a:pt x="99" y="21"/>
                  </a:cubicBezTo>
                  <a:cubicBezTo>
                    <a:pt x="98" y="22"/>
                    <a:pt x="98" y="23"/>
                    <a:pt x="97" y="24"/>
                  </a:cubicBezTo>
                  <a:cubicBezTo>
                    <a:pt x="96" y="24"/>
                    <a:pt x="95" y="23"/>
                    <a:pt x="93" y="22"/>
                  </a:cubicBezTo>
                  <a:cubicBezTo>
                    <a:pt x="92" y="22"/>
                    <a:pt x="89" y="21"/>
                    <a:pt x="87" y="20"/>
                  </a:cubicBezTo>
                  <a:cubicBezTo>
                    <a:pt x="86" y="20"/>
                    <a:pt x="85" y="20"/>
                    <a:pt x="84" y="18"/>
                  </a:cubicBezTo>
                  <a:cubicBezTo>
                    <a:pt x="84" y="17"/>
                    <a:pt x="83" y="18"/>
                    <a:pt x="81" y="19"/>
                  </a:cubicBezTo>
                  <a:cubicBezTo>
                    <a:pt x="78" y="20"/>
                    <a:pt x="79" y="20"/>
                    <a:pt x="79" y="21"/>
                  </a:cubicBezTo>
                  <a:cubicBezTo>
                    <a:pt x="78" y="21"/>
                    <a:pt x="76" y="23"/>
                    <a:pt x="75" y="23"/>
                  </a:cubicBezTo>
                  <a:cubicBezTo>
                    <a:pt x="75" y="24"/>
                    <a:pt x="75" y="25"/>
                    <a:pt x="74" y="25"/>
                  </a:cubicBezTo>
                  <a:cubicBezTo>
                    <a:pt x="73" y="26"/>
                    <a:pt x="73" y="26"/>
                    <a:pt x="72" y="25"/>
                  </a:cubicBezTo>
                  <a:cubicBezTo>
                    <a:pt x="72" y="25"/>
                    <a:pt x="71" y="26"/>
                    <a:pt x="70" y="26"/>
                  </a:cubicBezTo>
                  <a:cubicBezTo>
                    <a:pt x="69" y="27"/>
                    <a:pt x="67" y="27"/>
                    <a:pt x="66" y="28"/>
                  </a:cubicBezTo>
                  <a:cubicBezTo>
                    <a:pt x="65" y="28"/>
                    <a:pt x="64" y="28"/>
                    <a:pt x="63" y="29"/>
                  </a:cubicBezTo>
                  <a:cubicBezTo>
                    <a:pt x="63" y="30"/>
                    <a:pt x="62" y="30"/>
                    <a:pt x="61" y="31"/>
                  </a:cubicBezTo>
                  <a:cubicBezTo>
                    <a:pt x="60" y="32"/>
                    <a:pt x="60" y="31"/>
                    <a:pt x="60" y="32"/>
                  </a:cubicBezTo>
                  <a:cubicBezTo>
                    <a:pt x="60" y="33"/>
                    <a:pt x="59" y="35"/>
                    <a:pt x="59" y="35"/>
                  </a:cubicBezTo>
                  <a:cubicBezTo>
                    <a:pt x="59" y="35"/>
                    <a:pt x="58" y="36"/>
                    <a:pt x="58" y="36"/>
                  </a:cubicBezTo>
                  <a:cubicBezTo>
                    <a:pt x="58" y="37"/>
                    <a:pt x="60" y="38"/>
                    <a:pt x="60" y="39"/>
                  </a:cubicBezTo>
                  <a:cubicBezTo>
                    <a:pt x="61" y="39"/>
                    <a:pt x="60" y="40"/>
                    <a:pt x="60" y="40"/>
                  </a:cubicBezTo>
                  <a:cubicBezTo>
                    <a:pt x="59" y="40"/>
                    <a:pt x="60" y="41"/>
                    <a:pt x="60" y="41"/>
                  </a:cubicBezTo>
                  <a:cubicBezTo>
                    <a:pt x="60" y="41"/>
                    <a:pt x="61" y="43"/>
                    <a:pt x="61" y="43"/>
                  </a:cubicBezTo>
                  <a:cubicBezTo>
                    <a:pt x="62" y="44"/>
                    <a:pt x="61" y="45"/>
                    <a:pt x="61" y="46"/>
                  </a:cubicBezTo>
                  <a:cubicBezTo>
                    <a:pt x="61" y="46"/>
                    <a:pt x="58" y="48"/>
                    <a:pt x="58" y="48"/>
                  </a:cubicBezTo>
                  <a:cubicBezTo>
                    <a:pt x="58" y="48"/>
                    <a:pt x="57" y="49"/>
                    <a:pt x="58" y="50"/>
                  </a:cubicBezTo>
                  <a:cubicBezTo>
                    <a:pt x="58" y="50"/>
                    <a:pt x="57" y="50"/>
                    <a:pt x="57" y="51"/>
                  </a:cubicBezTo>
                  <a:cubicBezTo>
                    <a:pt x="56" y="52"/>
                    <a:pt x="57" y="52"/>
                    <a:pt x="58" y="53"/>
                  </a:cubicBezTo>
                  <a:cubicBezTo>
                    <a:pt x="58" y="54"/>
                    <a:pt x="57" y="54"/>
                    <a:pt x="57" y="55"/>
                  </a:cubicBezTo>
                  <a:cubicBezTo>
                    <a:pt x="56" y="56"/>
                    <a:pt x="57" y="56"/>
                    <a:pt x="57" y="57"/>
                  </a:cubicBezTo>
                  <a:cubicBezTo>
                    <a:pt x="57" y="57"/>
                    <a:pt x="58" y="58"/>
                    <a:pt x="59" y="58"/>
                  </a:cubicBezTo>
                  <a:cubicBezTo>
                    <a:pt x="60" y="59"/>
                    <a:pt x="62" y="59"/>
                    <a:pt x="64" y="60"/>
                  </a:cubicBezTo>
                  <a:cubicBezTo>
                    <a:pt x="66" y="60"/>
                    <a:pt x="66" y="61"/>
                    <a:pt x="67" y="61"/>
                  </a:cubicBezTo>
                  <a:cubicBezTo>
                    <a:pt x="68" y="61"/>
                    <a:pt x="69" y="61"/>
                    <a:pt x="71" y="61"/>
                  </a:cubicBezTo>
                  <a:cubicBezTo>
                    <a:pt x="72" y="61"/>
                    <a:pt x="73" y="63"/>
                    <a:pt x="74" y="63"/>
                  </a:cubicBezTo>
                  <a:cubicBezTo>
                    <a:pt x="74" y="63"/>
                    <a:pt x="76" y="63"/>
                    <a:pt x="79" y="63"/>
                  </a:cubicBezTo>
                  <a:cubicBezTo>
                    <a:pt x="81" y="63"/>
                    <a:pt x="81" y="61"/>
                    <a:pt x="82" y="61"/>
                  </a:cubicBezTo>
                  <a:cubicBezTo>
                    <a:pt x="83" y="60"/>
                    <a:pt x="84" y="59"/>
                    <a:pt x="85" y="58"/>
                  </a:cubicBezTo>
                  <a:cubicBezTo>
                    <a:pt x="87" y="58"/>
                    <a:pt x="87" y="59"/>
                    <a:pt x="89" y="59"/>
                  </a:cubicBezTo>
                  <a:cubicBezTo>
                    <a:pt x="90" y="60"/>
                    <a:pt x="92" y="60"/>
                    <a:pt x="93" y="60"/>
                  </a:cubicBezTo>
                  <a:cubicBezTo>
                    <a:pt x="94" y="60"/>
                    <a:pt x="97" y="60"/>
                    <a:pt x="98" y="60"/>
                  </a:cubicBezTo>
                  <a:cubicBezTo>
                    <a:pt x="98" y="60"/>
                    <a:pt x="100" y="59"/>
                    <a:pt x="102" y="58"/>
                  </a:cubicBezTo>
                  <a:cubicBezTo>
                    <a:pt x="103" y="58"/>
                    <a:pt x="105" y="57"/>
                    <a:pt x="107" y="57"/>
                  </a:cubicBezTo>
                  <a:cubicBezTo>
                    <a:pt x="108" y="57"/>
                    <a:pt x="109" y="56"/>
                    <a:pt x="110" y="56"/>
                  </a:cubicBezTo>
                  <a:cubicBezTo>
                    <a:pt x="111" y="55"/>
                    <a:pt x="115" y="53"/>
                    <a:pt x="117" y="52"/>
                  </a:cubicBezTo>
                  <a:cubicBezTo>
                    <a:pt x="118" y="52"/>
                    <a:pt x="119" y="52"/>
                    <a:pt x="120" y="53"/>
                  </a:cubicBezTo>
                  <a:cubicBezTo>
                    <a:pt x="120" y="53"/>
                    <a:pt x="122" y="53"/>
                    <a:pt x="122" y="52"/>
                  </a:cubicBezTo>
                  <a:cubicBezTo>
                    <a:pt x="123" y="52"/>
                    <a:pt x="123" y="52"/>
                    <a:pt x="123" y="51"/>
                  </a:cubicBezTo>
                  <a:cubicBezTo>
                    <a:pt x="124" y="51"/>
                    <a:pt x="125" y="52"/>
                    <a:pt x="126" y="52"/>
                  </a:cubicBezTo>
                  <a:cubicBezTo>
                    <a:pt x="126" y="53"/>
                    <a:pt x="127" y="53"/>
                    <a:pt x="128" y="53"/>
                  </a:cubicBezTo>
                  <a:cubicBezTo>
                    <a:pt x="129" y="53"/>
                    <a:pt x="129" y="53"/>
                    <a:pt x="129" y="52"/>
                  </a:cubicBezTo>
                  <a:cubicBezTo>
                    <a:pt x="130" y="52"/>
                    <a:pt x="132" y="51"/>
                    <a:pt x="133" y="51"/>
                  </a:cubicBezTo>
                  <a:cubicBezTo>
                    <a:pt x="134" y="50"/>
                    <a:pt x="134" y="49"/>
                    <a:pt x="135" y="49"/>
                  </a:cubicBezTo>
                  <a:cubicBezTo>
                    <a:pt x="135" y="48"/>
                    <a:pt x="136" y="48"/>
                    <a:pt x="136" y="48"/>
                  </a:cubicBezTo>
                  <a:cubicBezTo>
                    <a:pt x="137" y="48"/>
                    <a:pt x="138" y="48"/>
                    <a:pt x="139" y="47"/>
                  </a:cubicBezTo>
                  <a:cubicBezTo>
                    <a:pt x="141" y="47"/>
                    <a:pt x="141" y="48"/>
                    <a:pt x="142" y="49"/>
                  </a:cubicBezTo>
                  <a:cubicBezTo>
                    <a:pt x="143" y="49"/>
                    <a:pt x="143" y="49"/>
                    <a:pt x="144" y="49"/>
                  </a:cubicBezTo>
                  <a:cubicBezTo>
                    <a:pt x="144" y="49"/>
                    <a:pt x="145" y="48"/>
                    <a:pt x="146" y="48"/>
                  </a:cubicBezTo>
                  <a:cubicBezTo>
                    <a:pt x="146" y="48"/>
                    <a:pt x="148" y="47"/>
                    <a:pt x="149" y="46"/>
                  </a:cubicBezTo>
                  <a:cubicBezTo>
                    <a:pt x="149" y="45"/>
                    <a:pt x="150" y="44"/>
                    <a:pt x="151" y="43"/>
                  </a:cubicBezTo>
                  <a:cubicBezTo>
                    <a:pt x="152" y="42"/>
                    <a:pt x="155" y="39"/>
                    <a:pt x="156" y="39"/>
                  </a:cubicBezTo>
                  <a:cubicBezTo>
                    <a:pt x="157" y="38"/>
                    <a:pt x="158" y="38"/>
                    <a:pt x="159" y="38"/>
                  </a:cubicBezTo>
                  <a:cubicBezTo>
                    <a:pt x="160" y="37"/>
                    <a:pt x="160" y="37"/>
                    <a:pt x="160" y="36"/>
                  </a:cubicBezTo>
                  <a:cubicBezTo>
                    <a:pt x="160" y="35"/>
                    <a:pt x="159" y="35"/>
                    <a:pt x="159" y="34"/>
                  </a:cubicBezTo>
                  <a:cubicBezTo>
                    <a:pt x="158" y="33"/>
                    <a:pt x="159" y="33"/>
                    <a:pt x="160" y="32"/>
                  </a:cubicBezTo>
                  <a:cubicBezTo>
                    <a:pt x="160" y="32"/>
                    <a:pt x="161" y="33"/>
                    <a:pt x="161" y="34"/>
                  </a:cubicBezTo>
                  <a:cubicBezTo>
                    <a:pt x="162" y="34"/>
                    <a:pt x="162" y="36"/>
                    <a:pt x="162" y="38"/>
                  </a:cubicBezTo>
                  <a:cubicBezTo>
                    <a:pt x="162" y="39"/>
                    <a:pt x="162" y="39"/>
                    <a:pt x="162" y="40"/>
                  </a:cubicBezTo>
                  <a:cubicBezTo>
                    <a:pt x="161" y="40"/>
                    <a:pt x="160" y="42"/>
                    <a:pt x="160" y="42"/>
                  </a:cubicBezTo>
                  <a:cubicBezTo>
                    <a:pt x="159" y="42"/>
                    <a:pt x="159" y="43"/>
                    <a:pt x="159" y="43"/>
                  </a:cubicBezTo>
                  <a:cubicBezTo>
                    <a:pt x="159" y="43"/>
                    <a:pt x="159" y="45"/>
                    <a:pt x="159" y="46"/>
                  </a:cubicBezTo>
                  <a:cubicBezTo>
                    <a:pt x="159" y="47"/>
                    <a:pt x="160" y="48"/>
                    <a:pt x="161" y="48"/>
                  </a:cubicBezTo>
                  <a:cubicBezTo>
                    <a:pt x="162" y="49"/>
                    <a:pt x="163" y="50"/>
                    <a:pt x="165" y="50"/>
                  </a:cubicBezTo>
                  <a:cubicBezTo>
                    <a:pt x="166" y="50"/>
                    <a:pt x="167" y="48"/>
                    <a:pt x="169" y="48"/>
                  </a:cubicBezTo>
                  <a:cubicBezTo>
                    <a:pt x="170" y="48"/>
                    <a:pt x="171" y="47"/>
                    <a:pt x="172" y="46"/>
                  </a:cubicBezTo>
                  <a:cubicBezTo>
                    <a:pt x="173" y="46"/>
                    <a:pt x="174" y="46"/>
                    <a:pt x="176" y="45"/>
                  </a:cubicBezTo>
                  <a:cubicBezTo>
                    <a:pt x="177" y="45"/>
                    <a:pt x="179" y="45"/>
                    <a:pt x="180" y="45"/>
                  </a:cubicBezTo>
                  <a:cubicBezTo>
                    <a:pt x="181" y="45"/>
                    <a:pt x="182" y="45"/>
                    <a:pt x="183" y="46"/>
                  </a:cubicBezTo>
                  <a:cubicBezTo>
                    <a:pt x="184" y="46"/>
                    <a:pt x="185" y="47"/>
                    <a:pt x="186" y="47"/>
                  </a:cubicBezTo>
                  <a:cubicBezTo>
                    <a:pt x="187" y="47"/>
                    <a:pt x="189" y="47"/>
                    <a:pt x="190" y="47"/>
                  </a:cubicBezTo>
                  <a:cubicBezTo>
                    <a:pt x="192" y="48"/>
                    <a:pt x="192" y="47"/>
                    <a:pt x="193" y="47"/>
                  </a:cubicBezTo>
                  <a:cubicBezTo>
                    <a:pt x="193" y="46"/>
                    <a:pt x="194" y="45"/>
                    <a:pt x="194" y="44"/>
                  </a:cubicBezTo>
                  <a:cubicBezTo>
                    <a:pt x="194" y="43"/>
                    <a:pt x="193" y="43"/>
                    <a:pt x="193" y="43"/>
                  </a:cubicBezTo>
                  <a:close/>
                  <a:moveTo>
                    <a:pt x="104" y="10"/>
                  </a:moveTo>
                  <a:cubicBezTo>
                    <a:pt x="105" y="11"/>
                    <a:pt x="104" y="12"/>
                    <a:pt x="104" y="12"/>
                  </a:cubicBezTo>
                  <a:cubicBezTo>
                    <a:pt x="104" y="13"/>
                    <a:pt x="104" y="14"/>
                    <a:pt x="103" y="15"/>
                  </a:cubicBezTo>
                  <a:cubicBezTo>
                    <a:pt x="103" y="15"/>
                    <a:pt x="103" y="17"/>
                    <a:pt x="104" y="17"/>
                  </a:cubicBezTo>
                  <a:cubicBezTo>
                    <a:pt x="105" y="18"/>
                    <a:pt x="105" y="18"/>
                    <a:pt x="106" y="19"/>
                  </a:cubicBezTo>
                  <a:cubicBezTo>
                    <a:pt x="106" y="19"/>
                    <a:pt x="108" y="17"/>
                    <a:pt x="109" y="17"/>
                  </a:cubicBezTo>
                  <a:cubicBezTo>
                    <a:pt x="109" y="16"/>
                    <a:pt x="109" y="15"/>
                    <a:pt x="109" y="13"/>
                  </a:cubicBezTo>
                  <a:cubicBezTo>
                    <a:pt x="109" y="12"/>
                    <a:pt x="110" y="12"/>
                    <a:pt x="110" y="11"/>
                  </a:cubicBezTo>
                  <a:cubicBezTo>
                    <a:pt x="111" y="10"/>
                    <a:pt x="111" y="9"/>
                    <a:pt x="113" y="8"/>
                  </a:cubicBezTo>
                  <a:cubicBezTo>
                    <a:pt x="114" y="8"/>
                    <a:pt x="115" y="8"/>
                    <a:pt x="115" y="7"/>
                  </a:cubicBezTo>
                  <a:cubicBezTo>
                    <a:pt x="115" y="6"/>
                    <a:pt x="115" y="5"/>
                    <a:pt x="115" y="4"/>
                  </a:cubicBezTo>
                  <a:cubicBezTo>
                    <a:pt x="115" y="4"/>
                    <a:pt x="114" y="4"/>
                    <a:pt x="113" y="4"/>
                  </a:cubicBezTo>
                  <a:cubicBezTo>
                    <a:pt x="113" y="4"/>
                    <a:pt x="111" y="4"/>
                    <a:pt x="110" y="4"/>
                  </a:cubicBezTo>
                  <a:cubicBezTo>
                    <a:pt x="109" y="3"/>
                    <a:pt x="109" y="4"/>
                    <a:pt x="108" y="4"/>
                  </a:cubicBezTo>
                  <a:cubicBezTo>
                    <a:pt x="107" y="4"/>
                    <a:pt x="106" y="5"/>
                    <a:pt x="105" y="5"/>
                  </a:cubicBezTo>
                  <a:cubicBezTo>
                    <a:pt x="105" y="6"/>
                    <a:pt x="104" y="6"/>
                    <a:pt x="103" y="7"/>
                  </a:cubicBezTo>
                  <a:cubicBezTo>
                    <a:pt x="103" y="7"/>
                    <a:pt x="103" y="8"/>
                    <a:pt x="103" y="8"/>
                  </a:cubicBezTo>
                  <a:cubicBezTo>
                    <a:pt x="103" y="9"/>
                    <a:pt x="103" y="10"/>
                    <a:pt x="104" y="10"/>
                  </a:cubicBezTo>
                  <a:close/>
                  <a:moveTo>
                    <a:pt x="198" y="11"/>
                  </a:moveTo>
                  <a:cubicBezTo>
                    <a:pt x="199" y="11"/>
                    <a:pt x="200" y="11"/>
                    <a:pt x="201" y="11"/>
                  </a:cubicBezTo>
                  <a:cubicBezTo>
                    <a:pt x="202" y="11"/>
                    <a:pt x="203" y="10"/>
                    <a:pt x="203" y="10"/>
                  </a:cubicBezTo>
                  <a:cubicBezTo>
                    <a:pt x="204" y="8"/>
                    <a:pt x="204" y="8"/>
                    <a:pt x="204" y="8"/>
                  </a:cubicBezTo>
                  <a:cubicBezTo>
                    <a:pt x="205" y="8"/>
                    <a:pt x="205" y="7"/>
                    <a:pt x="204" y="6"/>
                  </a:cubicBezTo>
                  <a:cubicBezTo>
                    <a:pt x="204" y="6"/>
                    <a:pt x="204" y="5"/>
                    <a:pt x="204" y="5"/>
                  </a:cubicBezTo>
                  <a:cubicBezTo>
                    <a:pt x="203" y="5"/>
                    <a:pt x="203" y="4"/>
                    <a:pt x="202" y="3"/>
                  </a:cubicBezTo>
                  <a:cubicBezTo>
                    <a:pt x="202" y="3"/>
                    <a:pt x="202" y="3"/>
                    <a:pt x="202" y="3"/>
                  </a:cubicBezTo>
                  <a:cubicBezTo>
                    <a:pt x="202" y="3"/>
                    <a:pt x="200" y="3"/>
                    <a:pt x="199" y="3"/>
                  </a:cubicBezTo>
                  <a:cubicBezTo>
                    <a:pt x="199" y="3"/>
                    <a:pt x="199" y="3"/>
                    <a:pt x="199" y="3"/>
                  </a:cubicBezTo>
                  <a:cubicBezTo>
                    <a:pt x="198" y="5"/>
                    <a:pt x="198" y="5"/>
                    <a:pt x="198" y="5"/>
                  </a:cubicBezTo>
                  <a:cubicBezTo>
                    <a:pt x="198" y="5"/>
                    <a:pt x="197" y="5"/>
                    <a:pt x="197" y="6"/>
                  </a:cubicBezTo>
                  <a:cubicBezTo>
                    <a:pt x="197" y="6"/>
                    <a:pt x="197" y="8"/>
                    <a:pt x="197" y="8"/>
                  </a:cubicBezTo>
                  <a:lnTo>
                    <a:pt x="198" y="11"/>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0" name="Freeform 13">
              <a:extLst>
                <a:ext uri="{FF2B5EF4-FFF2-40B4-BE49-F238E27FC236}">
                  <a16:creationId xmlns:a16="http://schemas.microsoft.com/office/drawing/2014/main" id="{EB49D530-2AD9-D4FF-C7FF-F6CB3A215765}"/>
                </a:ext>
              </a:extLst>
            </p:cNvPr>
            <p:cNvSpPr>
              <a:spLocks/>
            </p:cNvSpPr>
            <p:nvPr/>
          </p:nvSpPr>
          <p:spPr bwMode="auto">
            <a:xfrm>
              <a:off x="3879850" y="3351213"/>
              <a:ext cx="1244600" cy="1181100"/>
            </a:xfrm>
            <a:custGeom>
              <a:avLst/>
              <a:gdLst>
                <a:gd name="T0" fmla="*/ 133 w 327"/>
                <a:gd name="T1" fmla="*/ 261 h 310"/>
                <a:gd name="T2" fmla="*/ 130 w 327"/>
                <a:gd name="T3" fmla="*/ 238 h 310"/>
                <a:gd name="T4" fmla="*/ 123 w 327"/>
                <a:gd name="T5" fmla="*/ 223 h 310"/>
                <a:gd name="T6" fmla="*/ 139 w 327"/>
                <a:gd name="T7" fmla="*/ 212 h 310"/>
                <a:gd name="T8" fmla="*/ 165 w 327"/>
                <a:gd name="T9" fmla="*/ 191 h 310"/>
                <a:gd name="T10" fmla="*/ 187 w 327"/>
                <a:gd name="T11" fmla="*/ 176 h 310"/>
                <a:gd name="T12" fmla="*/ 201 w 327"/>
                <a:gd name="T13" fmla="*/ 168 h 310"/>
                <a:gd name="T14" fmla="*/ 219 w 327"/>
                <a:gd name="T15" fmla="*/ 165 h 310"/>
                <a:gd name="T16" fmla="*/ 237 w 327"/>
                <a:gd name="T17" fmla="*/ 161 h 310"/>
                <a:gd name="T18" fmla="*/ 262 w 327"/>
                <a:gd name="T19" fmla="*/ 151 h 310"/>
                <a:gd name="T20" fmla="*/ 275 w 327"/>
                <a:gd name="T21" fmla="*/ 137 h 310"/>
                <a:gd name="T22" fmla="*/ 270 w 327"/>
                <a:gd name="T23" fmla="*/ 110 h 310"/>
                <a:gd name="T24" fmla="*/ 298 w 327"/>
                <a:gd name="T25" fmla="*/ 91 h 310"/>
                <a:gd name="T26" fmla="*/ 308 w 327"/>
                <a:gd name="T27" fmla="*/ 70 h 310"/>
                <a:gd name="T28" fmla="*/ 323 w 327"/>
                <a:gd name="T29" fmla="*/ 45 h 310"/>
                <a:gd name="T30" fmla="*/ 312 w 327"/>
                <a:gd name="T31" fmla="*/ 36 h 310"/>
                <a:gd name="T32" fmla="*/ 298 w 327"/>
                <a:gd name="T33" fmla="*/ 47 h 310"/>
                <a:gd name="T34" fmla="*/ 289 w 327"/>
                <a:gd name="T35" fmla="*/ 47 h 310"/>
                <a:gd name="T36" fmla="*/ 273 w 327"/>
                <a:gd name="T37" fmla="*/ 40 h 310"/>
                <a:gd name="T38" fmla="*/ 253 w 327"/>
                <a:gd name="T39" fmla="*/ 39 h 310"/>
                <a:gd name="T40" fmla="*/ 257 w 327"/>
                <a:gd name="T41" fmla="*/ 30 h 310"/>
                <a:gd name="T42" fmla="*/ 239 w 327"/>
                <a:gd name="T43" fmla="*/ 29 h 310"/>
                <a:gd name="T44" fmla="*/ 225 w 327"/>
                <a:gd name="T45" fmla="*/ 28 h 310"/>
                <a:gd name="T46" fmla="*/ 205 w 327"/>
                <a:gd name="T47" fmla="*/ 39 h 310"/>
                <a:gd name="T48" fmla="*/ 202 w 327"/>
                <a:gd name="T49" fmla="*/ 50 h 310"/>
                <a:gd name="T50" fmla="*/ 185 w 327"/>
                <a:gd name="T51" fmla="*/ 60 h 310"/>
                <a:gd name="T52" fmla="*/ 170 w 327"/>
                <a:gd name="T53" fmla="*/ 62 h 310"/>
                <a:gd name="T54" fmla="*/ 163 w 327"/>
                <a:gd name="T55" fmla="*/ 64 h 310"/>
                <a:gd name="T56" fmla="*/ 141 w 327"/>
                <a:gd name="T57" fmla="*/ 60 h 310"/>
                <a:gd name="T58" fmla="*/ 118 w 327"/>
                <a:gd name="T59" fmla="*/ 68 h 310"/>
                <a:gd name="T60" fmla="*/ 98 w 327"/>
                <a:gd name="T61" fmla="*/ 70 h 310"/>
                <a:gd name="T62" fmla="*/ 88 w 327"/>
                <a:gd name="T63" fmla="*/ 62 h 310"/>
                <a:gd name="T64" fmla="*/ 75 w 327"/>
                <a:gd name="T65" fmla="*/ 51 h 310"/>
                <a:gd name="T66" fmla="*/ 60 w 327"/>
                <a:gd name="T67" fmla="*/ 34 h 310"/>
                <a:gd name="T68" fmla="*/ 45 w 327"/>
                <a:gd name="T69" fmla="*/ 15 h 310"/>
                <a:gd name="T70" fmla="*/ 43 w 327"/>
                <a:gd name="T71" fmla="*/ 6 h 310"/>
                <a:gd name="T72" fmla="*/ 41 w 327"/>
                <a:gd name="T73" fmla="*/ 4 h 310"/>
                <a:gd name="T74" fmla="*/ 29 w 327"/>
                <a:gd name="T75" fmla="*/ 13 h 310"/>
                <a:gd name="T76" fmla="*/ 14 w 327"/>
                <a:gd name="T77" fmla="*/ 29 h 310"/>
                <a:gd name="T78" fmla="*/ 9 w 327"/>
                <a:gd name="T79" fmla="*/ 51 h 310"/>
                <a:gd name="T80" fmla="*/ 5 w 327"/>
                <a:gd name="T81" fmla="*/ 70 h 310"/>
                <a:gd name="T82" fmla="*/ 3 w 327"/>
                <a:gd name="T83" fmla="*/ 93 h 310"/>
                <a:gd name="T84" fmla="*/ 17 w 327"/>
                <a:gd name="T85" fmla="*/ 115 h 310"/>
                <a:gd name="T86" fmla="*/ 19 w 327"/>
                <a:gd name="T87" fmla="*/ 125 h 310"/>
                <a:gd name="T88" fmla="*/ 17 w 327"/>
                <a:gd name="T89" fmla="*/ 143 h 310"/>
                <a:gd name="T90" fmla="*/ 24 w 327"/>
                <a:gd name="T91" fmla="*/ 161 h 310"/>
                <a:gd name="T92" fmla="*/ 29 w 327"/>
                <a:gd name="T93" fmla="*/ 168 h 310"/>
                <a:gd name="T94" fmla="*/ 34 w 327"/>
                <a:gd name="T95" fmla="*/ 181 h 310"/>
                <a:gd name="T96" fmla="*/ 46 w 327"/>
                <a:gd name="T97" fmla="*/ 185 h 310"/>
                <a:gd name="T98" fmla="*/ 34 w 327"/>
                <a:gd name="T99" fmla="*/ 202 h 310"/>
                <a:gd name="T100" fmla="*/ 56 w 327"/>
                <a:gd name="T101" fmla="*/ 194 h 310"/>
                <a:gd name="T102" fmla="*/ 66 w 327"/>
                <a:gd name="T103" fmla="*/ 194 h 310"/>
                <a:gd name="T104" fmla="*/ 74 w 327"/>
                <a:gd name="T105" fmla="*/ 208 h 310"/>
                <a:gd name="T106" fmla="*/ 64 w 327"/>
                <a:gd name="T107" fmla="*/ 233 h 310"/>
                <a:gd name="T108" fmla="*/ 77 w 327"/>
                <a:gd name="T109" fmla="*/ 263 h 310"/>
                <a:gd name="T110" fmla="*/ 82 w 327"/>
                <a:gd name="T111" fmla="*/ 280 h 310"/>
                <a:gd name="T112" fmla="*/ 85 w 327"/>
                <a:gd name="T113" fmla="*/ 299 h 310"/>
                <a:gd name="T114" fmla="*/ 94 w 327"/>
                <a:gd name="T115" fmla="*/ 303 h 310"/>
                <a:gd name="T116" fmla="*/ 111 w 327"/>
                <a:gd name="T1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10">
                  <a:moveTo>
                    <a:pt x="139" y="292"/>
                  </a:moveTo>
                  <a:cubicBezTo>
                    <a:pt x="141" y="290"/>
                    <a:pt x="141" y="290"/>
                    <a:pt x="141" y="290"/>
                  </a:cubicBezTo>
                  <a:cubicBezTo>
                    <a:pt x="139" y="286"/>
                    <a:pt x="139" y="286"/>
                    <a:pt x="139" y="286"/>
                  </a:cubicBezTo>
                  <a:cubicBezTo>
                    <a:pt x="139" y="283"/>
                    <a:pt x="139" y="283"/>
                    <a:pt x="139" y="283"/>
                  </a:cubicBezTo>
                  <a:cubicBezTo>
                    <a:pt x="136" y="264"/>
                    <a:pt x="136" y="264"/>
                    <a:pt x="136" y="264"/>
                  </a:cubicBezTo>
                  <a:cubicBezTo>
                    <a:pt x="133" y="261"/>
                    <a:pt x="133" y="261"/>
                    <a:pt x="133" y="261"/>
                  </a:cubicBezTo>
                  <a:cubicBezTo>
                    <a:pt x="135" y="258"/>
                    <a:pt x="135" y="258"/>
                    <a:pt x="135" y="258"/>
                  </a:cubicBezTo>
                  <a:cubicBezTo>
                    <a:pt x="135" y="251"/>
                    <a:pt x="135" y="251"/>
                    <a:pt x="135" y="251"/>
                  </a:cubicBezTo>
                  <a:cubicBezTo>
                    <a:pt x="136" y="247"/>
                    <a:pt x="136" y="247"/>
                    <a:pt x="136" y="247"/>
                  </a:cubicBezTo>
                  <a:cubicBezTo>
                    <a:pt x="133" y="244"/>
                    <a:pt x="133" y="244"/>
                    <a:pt x="133" y="244"/>
                  </a:cubicBezTo>
                  <a:cubicBezTo>
                    <a:pt x="130" y="242"/>
                    <a:pt x="130" y="242"/>
                    <a:pt x="130" y="242"/>
                  </a:cubicBezTo>
                  <a:cubicBezTo>
                    <a:pt x="130" y="238"/>
                    <a:pt x="130" y="238"/>
                    <a:pt x="130" y="238"/>
                  </a:cubicBezTo>
                  <a:cubicBezTo>
                    <a:pt x="131" y="234"/>
                    <a:pt x="131" y="234"/>
                    <a:pt x="131" y="234"/>
                  </a:cubicBezTo>
                  <a:cubicBezTo>
                    <a:pt x="131" y="234"/>
                    <a:pt x="132" y="232"/>
                    <a:pt x="132" y="232"/>
                  </a:cubicBezTo>
                  <a:cubicBezTo>
                    <a:pt x="132" y="231"/>
                    <a:pt x="131" y="227"/>
                    <a:pt x="131" y="227"/>
                  </a:cubicBezTo>
                  <a:cubicBezTo>
                    <a:pt x="125" y="229"/>
                    <a:pt x="125" y="229"/>
                    <a:pt x="125" y="229"/>
                  </a:cubicBezTo>
                  <a:cubicBezTo>
                    <a:pt x="123" y="227"/>
                    <a:pt x="123" y="227"/>
                    <a:pt x="123" y="227"/>
                  </a:cubicBezTo>
                  <a:cubicBezTo>
                    <a:pt x="123" y="223"/>
                    <a:pt x="123" y="223"/>
                    <a:pt x="123" y="223"/>
                  </a:cubicBezTo>
                  <a:cubicBezTo>
                    <a:pt x="130" y="219"/>
                    <a:pt x="130" y="219"/>
                    <a:pt x="130" y="219"/>
                  </a:cubicBezTo>
                  <a:cubicBezTo>
                    <a:pt x="133" y="220"/>
                    <a:pt x="133" y="220"/>
                    <a:pt x="133" y="220"/>
                  </a:cubicBezTo>
                  <a:cubicBezTo>
                    <a:pt x="135" y="218"/>
                    <a:pt x="135" y="218"/>
                    <a:pt x="135" y="218"/>
                  </a:cubicBezTo>
                  <a:cubicBezTo>
                    <a:pt x="137" y="219"/>
                    <a:pt x="137" y="219"/>
                    <a:pt x="137" y="219"/>
                  </a:cubicBezTo>
                  <a:cubicBezTo>
                    <a:pt x="138" y="219"/>
                    <a:pt x="138" y="219"/>
                    <a:pt x="138" y="219"/>
                  </a:cubicBezTo>
                  <a:cubicBezTo>
                    <a:pt x="139" y="212"/>
                    <a:pt x="139" y="212"/>
                    <a:pt x="139" y="212"/>
                  </a:cubicBezTo>
                  <a:cubicBezTo>
                    <a:pt x="142" y="212"/>
                    <a:pt x="142" y="212"/>
                    <a:pt x="142" y="212"/>
                  </a:cubicBezTo>
                  <a:cubicBezTo>
                    <a:pt x="146" y="211"/>
                    <a:pt x="146" y="211"/>
                    <a:pt x="146" y="211"/>
                  </a:cubicBezTo>
                  <a:cubicBezTo>
                    <a:pt x="150" y="209"/>
                    <a:pt x="150" y="209"/>
                    <a:pt x="150" y="209"/>
                  </a:cubicBezTo>
                  <a:cubicBezTo>
                    <a:pt x="156" y="200"/>
                    <a:pt x="156" y="200"/>
                    <a:pt x="156" y="200"/>
                  </a:cubicBezTo>
                  <a:cubicBezTo>
                    <a:pt x="164" y="198"/>
                    <a:pt x="164" y="198"/>
                    <a:pt x="164" y="198"/>
                  </a:cubicBezTo>
                  <a:cubicBezTo>
                    <a:pt x="165" y="191"/>
                    <a:pt x="165" y="191"/>
                    <a:pt x="165" y="191"/>
                  </a:cubicBezTo>
                  <a:cubicBezTo>
                    <a:pt x="169" y="187"/>
                    <a:pt x="169" y="187"/>
                    <a:pt x="169" y="187"/>
                  </a:cubicBezTo>
                  <a:cubicBezTo>
                    <a:pt x="169" y="184"/>
                    <a:pt x="169" y="184"/>
                    <a:pt x="169" y="184"/>
                  </a:cubicBezTo>
                  <a:cubicBezTo>
                    <a:pt x="178" y="180"/>
                    <a:pt x="178" y="180"/>
                    <a:pt x="178" y="180"/>
                  </a:cubicBezTo>
                  <a:cubicBezTo>
                    <a:pt x="182" y="180"/>
                    <a:pt x="182" y="180"/>
                    <a:pt x="182" y="180"/>
                  </a:cubicBezTo>
                  <a:cubicBezTo>
                    <a:pt x="184" y="177"/>
                    <a:pt x="184" y="177"/>
                    <a:pt x="184" y="177"/>
                  </a:cubicBezTo>
                  <a:cubicBezTo>
                    <a:pt x="187" y="176"/>
                    <a:pt x="187" y="176"/>
                    <a:pt x="187" y="176"/>
                  </a:cubicBezTo>
                  <a:cubicBezTo>
                    <a:pt x="187" y="172"/>
                    <a:pt x="187" y="172"/>
                    <a:pt x="187" y="172"/>
                  </a:cubicBezTo>
                  <a:cubicBezTo>
                    <a:pt x="191" y="174"/>
                    <a:pt x="191" y="174"/>
                    <a:pt x="191" y="174"/>
                  </a:cubicBezTo>
                  <a:cubicBezTo>
                    <a:pt x="193" y="173"/>
                    <a:pt x="193" y="173"/>
                    <a:pt x="193" y="173"/>
                  </a:cubicBezTo>
                  <a:cubicBezTo>
                    <a:pt x="194" y="168"/>
                    <a:pt x="194" y="168"/>
                    <a:pt x="194" y="168"/>
                  </a:cubicBezTo>
                  <a:cubicBezTo>
                    <a:pt x="195" y="167"/>
                    <a:pt x="195" y="167"/>
                    <a:pt x="195" y="167"/>
                  </a:cubicBezTo>
                  <a:cubicBezTo>
                    <a:pt x="201" y="168"/>
                    <a:pt x="201" y="168"/>
                    <a:pt x="201" y="168"/>
                  </a:cubicBezTo>
                  <a:cubicBezTo>
                    <a:pt x="202" y="164"/>
                    <a:pt x="202" y="164"/>
                    <a:pt x="202" y="164"/>
                  </a:cubicBezTo>
                  <a:cubicBezTo>
                    <a:pt x="204" y="161"/>
                    <a:pt x="204" y="161"/>
                    <a:pt x="204" y="161"/>
                  </a:cubicBezTo>
                  <a:cubicBezTo>
                    <a:pt x="208" y="164"/>
                    <a:pt x="208" y="164"/>
                    <a:pt x="208" y="164"/>
                  </a:cubicBezTo>
                  <a:cubicBezTo>
                    <a:pt x="210" y="169"/>
                    <a:pt x="210" y="169"/>
                    <a:pt x="210" y="169"/>
                  </a:cubicBezTo>
                  <a:cubicBezTo>
                    <a:pt x="216" y="167"/>
                    <a:pt x="216" y="167"/>
                    <a:pt x="216" y="167"/>
                  </a:cubicBezTo>
                  <a:cubicBezTo>
                    <a:pt x="219" y="165"/>
                    <a:pt x="219" y="165"/>
                    <a:pt x="219" y="165"/>
                  </a:cubicBezTo>
                  <a:cubicBezTo>
                    <a:pt x="222" y="169"/>
                    <a:pt x="222" y="169"/>
                    <a:pt x="222" y="169"/>
                  </a:cubicBezTo>
                  <a:cubicBezTo>
                    <a:pt x="223" y="166"/>
                    <a:pt x="223" y="166"/>
                    <a:pt x="223" y="166"/>
                  </a:cubicBezTo>
                  <a:cubicBezTo>
                    <a:pt x="227" y="167"/>
                    <a:pt x="227" y="167"/>
                    <a:pt x="227" y="167"/>
                  </a:cubicBezTo>
                  <a:cubicBezTo>
                    <a:pt x="230" y="164"/>
                    <a:pt x="230" y="164"/>
                    <a:pt x="230" y="164"/>
                  </a:cubicBezTo>
                  <a:cubicBezTo>
                    <a:pt x="235" y="164"/>
                    <a:pt x="235" y="164"/>
                    <a:pt x="235" y="164"/>
                  </a:cubicBezTo>
                  <a:cubicBezTo>
                    <a:pt x="237" y="161"/>
                    <a:pt x="237" y="161"/>
                    <a:pt x="237" y="161"/>
                  </a:cubicBezTo>
                  <a:cubicBezTo>
                    <a:pt x="238" y="158"/>
                    <a:pt x="238" y="158"/>
                    <a:pt x="238" y="158"/>
                  </a:cubicBezTo>
                  <a:cubicBezTo>
                    <a:pt x="243" y="159"/>
                    <a:pt x="243" y="159"/>
                    <a:pt x="243" y="159"/>
                  </a:cubicBezTo>
                  <a:cubicBezTo>
                    <a:pt x="247" y="156"/>
                    <a:pt x="247" y="156"/>
                    <a:pt x="247" y="156"/>
                  </a:cubicBezTo>
                  <a:cubicBezTo>
                    <a:pt x="251" y="155"/>
                    <a:pt x="251" y="155"/>
                    <a:pt x="251" y="155"/>
                  </a:cubicBezTo>
                  <a:cubicBezTo>
                    <a:pt x="257" y="154"/>
                    <a:pt x="257" y="154"/>
                    <a:pt x="257" y="154"/>
                  </a:cubicBezTo>
                  <a:cubicBezTo>
                    <a:pt x="262" y="151"/>
                    <a:pt x="262" y="151"/>
                    <a:pt x="262" y="151"/>
                  </a:cubicBezTo>
                  <a:cubicBezTo>
                    <a:pt x="266" y="155"/>
                    <a:pt x="266" y="155"/>
                    <a:pt x="266" y="155"/>
                  </a:cubicBezTo>
                  <a:cubicBezTo>
                    <a:pt x="269" y="149"/>
                    <a:pt x="269" y="149"/>
                    <a:pt x="269" y="149"/>
                  </a:cubicBezTo>
                  <a:cubicBezTo>
                    <a:pt x="267" y="146"/>
                    <a:pt x="267" y="146"/>
                    <a:pt x="267" y="146"/>
                  </a:cubicBezTo>
                  <a:cubicBezTo>
                    <a:pt x="268" y="142"/>
                    <a:pt x="268" y="142"/>
                    <a:pt x="268" y="142"/>
                  </a:cubicBezTo>
                  <a:cubicBezTo>
                    <a:pt x="271" y="138"/>
                    <a:pt x="271" y="138"/>
                    <a:pt x="271" y="138"/>
                  </a:cubicBezTo>
                  <a:cubicBezTo>
                    <a:pt x="275" y="137"/>
                    <a:pt x="275" y="137"/>
                    <a:pt x="275" y="137"/>
                  </a:cubicBezTo>
                  <a:cubicBezTo>
                    <a:pt x="278" y="133"/>
                    <a:pt x="278" y="133"/>
                    <a:pt x="278" y="133"/>
                  </a:cubicBezTo>
                  <a:cubicBezTo>
                    <a:pt x="279" y="125"/>
                    <a:pt x="279" y="125"/>
                    <a:pt x="279" y="125"/>
                  </a:cubicBezTo>
                  <a:cubicBezTo>
                    <a:pt x="279" y="125"/>
                    <a:pt x="278" y="121"/>
                    <a:pt x="278" y="120"/>
                  </a:cubicBezTo>
                  <a:cubicBezTo>
                    <a:pt x="278" y="120"/>
                    <a:pt x="278" y="116"/>
                    <a:pt x="278" y="116"/>
                  </a:cubicBezTo>
                  <a:cubicBezTo>
                    <a:pt x="272" y="112"/>
                    <a:pt x="272" y="112"/>
                    <a:pt x="272" y="112"/>
                  </a:cubicBezTo>
                  <a:cubicBezTo>
                    <a:pt x="270" y="110"/>
                    <a:pt x="270" y="110"/>
                    <a:pt x="270" y="110"/>
                  </a:cubicBezTo>
                  <a:cubicBezTo>
                    <a:pt x="273" y="108"/>
                    <a:pt x="273" y="108"/>
                    <a:pt x="273" y="108"/>
                  </a:cubicBezTo>
                  <a:cubicBezTo>
                    <a:pt x="280" y="108"/>
                    <a:pt x="280" y="108"/>
                    <a:pt x="280" y="108"/>
                  </a:cubicBezTo>
                  <a:cubicBezTo>
                    <a:pt x="292" y="98"/>
                    <a:pt x="292" y="98"/>
                    <a:pt x="292" y="98"/>
                  </a:cubicBezTo>
                  <a:cubicBezTo>
                    <a:pt x="294" y="94"/>
                    <a:pt x="294" y="94"/>
                    <a:pt x="294" y="94"/>
                  </a:cubicBezTo>
                  <a:cubicBezTo>
                    <a:pt x="296" y="92"/>
                    <a:pt x="296" y="92"/>
                    <a:pt x="296" y="92"/>
                  </a:cubicBezTo>
                  <a:cubicBezTo>
                    <a:pt x="298" y="91"/>
                    <a:pt x="298" y="91"/>
                    <a:pt x="298" y="91"/>
                  </a:cubicBezTo>
                  <a:cubicBezTo>
                    <a:pt x="302" y="86"/>
                    <a:pt x="302" y="86"/>
                    <a:pt x="302" y="86"/>
                  </a:cubicBezTo>
                  <a:cubicBezTo>
                    <a:pt x="304" y="84"/>
                    <a:pt x="304" y="84"/>
                    <a:pt x="304" y="84"/>
                  </a:cubicBezTo>
                  <a:cubicBezTo>
                    <a:pt x="305" y="81"/>
                    <a:pt x="305" y="81"/>
                    <a:pt x="305" y="81"/>
                  </a:cubicBezTo>
                  <a:cubicBezTo>
                    <a:pt x="308" y="78"/>
                    <a:pt x="308" y="78"/>
                    <a:pt x="308" y="78"/>
                  </a:cubicBezTo>
                  <a:cubicBezTo>
                    <a:pt x="307" y="74"/>
                    <a:pt x="307" y="74"/>
                    <a:pt x="307" y="74"/>
                  </a:cubicBezTo>
                  <a:cubicBezTo>
                    <a:pt x="308" y="70"/>
                    <a:pt x="308" y="70"/>
                    <a:pt x="308" y="70"/>
                  </a:cubicBezTo>
                  <a:cubicBezTo>
                    <a:pt x="308" y="62"/>
                    <a:pt x="308" y="62"/>
                    <a:pt x="308" y="62"/>
                  </a:cubicBezTo>
                  <a:cubicBezTo>
                    <a:pt x="311" y="57"/>
                    <a:pt x="311" y="57"/>
                    <a:pt x="311" y="57"/>
                  </a:cubicBezTo>
                  <a:cubicBezTo>
                    <a:pt x="316" y="54"/>
                    <a:pt x="316" y="54"/>
                    <a:pt x="316" y="54"/>
                  </a:cubicBezTo>
                  <a:cubicBezTo>
                    <a:pt x="319" y="54"/>
                    <a:pt x="319" y="54"/>
                    <a:pt x="319" y="54"/>
                  </a:cubicBezTo>
                  <a:cubicBezTo>
                    <a:pt x="323" y="51"/>
                    <a:pt x="323" y="51"/>
                    <a:pt x="323" y="51"/>
                  </a:cubicBezTo>
                  <a:cubicBezTo>
                    <a:pt x="323" y="51"/>
                    <a:pt x="323" y="45"/>
                    <a:pt x="323" y="45"/>
                  </a:cubicBezTo>
                  <a:cubicBezTo>
                    <a:pt x="323" y="44"/>
                    <a:pt x="323" y="42"/>
                    <a:pt x="323" y="42"/>
                  </a:cubicBezTo>
                  <a:cubicBezTo>
                    <a:pt x="327" y="38"/>
                    <a:pt x="327" y="38"/>
                    <a:pt x="327" y="38"/>
                  </a:cubicBezTo>
                  <a:cubicBezTo>
                    <a:pt x="326" y="38"/>
                    <a:pt x="325" y="37"/>
                    <a:pt x="324" y="37"/>
                  </a:cubicBezTo>
                  <a:cubicBezTo>
                    <a:pt x="324" y="36"/>
                    <a:pt x="323" y="35"/>
                    <a:pt x="323" y="35"/>
                  </a:cubicBezTo>
                  <a:cubicBezTo>
                    <a:pt x="321" y="35"/>
                    <a:pt x="320" y="35"/>
                    <a:pt x="318" y="35"/>
                  </a:cubicBezTo>
                  <a:cubicBezTo>
                    <a:pt x="316" y="35"/>
                    <a:pt x="314" y="35"/>
                    <a:pt x="312" y="36"/>
                  </a:cubicBezTo>
                  <a:cubicBezTo>
                    <a:pt x="311" y="36"/>
                    <a:pt x="310" y="38"/>
                    <a:pt x="309" y="38"/>
                  </a:cubicBezTo>
                  <a:cubicBezTo>
                    <a:pt x="308" y="39"/>
                    <a:pt x="307" y="39"/>
                    <a:pt x="305" y="39"/>
                  </a:cubicBezTo>
                  <a:cubicBezTo>
                    <a:pt x="304" y="40"/>
                    <a:pt x="303" y="40"/>
                    <a:pt x="303" y="41"/>
                  </a:cubicBezTo>
                  <a:cubicBezTo>
                    <a:pt x="303" y="42"/>
                    <a:pt x="304" y="43"/>
                    <a:pt x="303" y="44"/>
                  </a:cubicBezTo>
                  <a:cubicBezTo>
                    <a:pt x="303" y="45"/>
                    <a:pt x="302" y="45"/>
                    <a:pt x="301" y="46"/>
                  </a:cubicBezTo>
                  <a:cubicBezTo>
                    <a:pt x="300" y="46"/>
                    <a:pt x="299" y="46"/>
                    <a:pt x="298" y="47"/>
                  </a:cubicBezTo>
                  <a:cubicBezTo>
                    <a:pt x="297" y="47"/>
                    <a:pt x="297" y="48"/>
                    <a:pt x="296" y="48"/>
                  </a:cubicBezTo>
                  <a:cubicBezTo>
                    <a:pt x="295" y="49"/>
                    <a:pt x="295" y="49"/>
                    <a:pt x="294" y="50"/>
                  </a:cubicBezTo>
                  <a:cubicBezTo>
                    <a:pt x="293" y="50"/>
                    <a:pt x="294" y="50"/>
                    <a:pt x="293" y="50"/>
                  </a:cubicBezTo>
                  <a:cubicBezTo>
                    <a:pt x="292" y="50"/>
                    <a:pt x="291" y="49"/>
                    <a:pt x="291" y="49"/>
                  </a:cubicBezTo>
                  <a:cubicBezTo>
                    <a:pt x="291" y="48"/>
                    <a:pt x="291" y="48"/>
                    <a:pt x="290" y="48"/>
                  </a:cubicBezTo>
                  <a:cubicBezTo>
                    <a:pt x="290" y="47"/>
                    <a:pt x="289" y="48"/>
                    <a:pt x="289" y="47"/>
                  </a:cubicBezTo>
                  <a:cubicBezTo>
                    <a:pt x="289" y="46"/>
                    <a:pt x="289" y="45"/>
                    <a:pt x="288" y="45"/>
                  </a:cubicBezTo>
                  <a:cubicBezTo>
                    <a:pt x="288" y="44"/>
                    <a:pt x="286" y="44"/>
                    <a:pt x="285" y="44"/>
                  </a:cubicBezTo>
                  <a:cubicBezTo>
                    <a:pt x="284" y="45"/>
                    <a:pt x="283" y="45"/>
                    <a:pt x="282" y="45"/>
                  </a:cubicBezTo>
                  <a:cubicBezTo>
                    <a:pt x="281" y="45"/>
                    <a:pt x="280" y="46"/>
                    <a:pt x="279" y="46"/>
                  </a:cubicBezTo>
                  <a:cubicBezTo>
                    <a:pt x="278" y="45"/>
                    <a:pt x="278" y="45"/>
                    <a:pt x="277" y="44"/>
                  </a:cubicBezTo>
                  <a:cubicBezTo>
                    <a:pt x="276" y="43"/>
                    <a:pt x="274" y="41"/>
                    <a:pt x="273" y="40"/>
                  </a:cubicBezTo>
                  <a:cubicBezTo>
                    <a:pt x="271" y="39"/>
                    <a:pt x="269" y="39"/>
                    <a:pt x="268" y="40"/>
                  </a:cubicBezTo>
                  <a:cubicBezTo>
                    <a:pt x="266" y="40"/>
                    <a:pt x="264" y="41"/>
                    <a:pt x="262" y="40"/>
                  </a:cubicBezTo>
                  <a:cubicBezTo>
                    <a:pt x="262" y="39"/>
                    <a:pt x="261" y="39"/>
                    <a:pt x="260" y="38"/>
                  </a:cubicBezTo>
                  <a:cubicBezTo>
                    <a:pt x="260" y="38"/>
                    <a:pt x="260" y="38"/>
                    <a:pt x="260" y="37"/>
                  </a:cubicBezTo>
                  <a:cubicBezTo>
                    <a:pt x="259" y="36"/>
                    <a:pt x="257" y="37"/>
                    <a:pt x="256" y="38"/>
                  </a:cubicBezTo>
                  <a:cubicBezTo>
                    <a:pt x="255" y="38"/>
                    <a:pt x="254" y="38"/>
                    <a:pt x="253" y="39"/>
                  </a:cubicBezTo>
                  <a:cubicBezTo>
                    <a:pt x="252" y="39"/>
                    <a:pt x="251" y="39"/>
                    <a:pt x="251" y="38"/>
                  </a:cubicBezTo>
                  <a:cubicBezTo>
                    <a:pt x="251" y="37"/>
                    <a:pt x="252" y="37"/>
                    <a:pt x="252" y="36"/>
                  </a:cubicBezTo>
                  <a:cubicBezTo>
                    <a:pt x="253" y="36"/>
                    <a:pt x="254" y="36"/>
                    <a:pt x="254" y="35"/>
                  </a:cubicBezTo>
                  <a:cubicBezTo>
                    <a:pt x="255" y="35"/>
                    <a:pt x="255" y="34"/>
                    <a:pt x="255" y="34"/>
                  </a:cubicBezTo>
                  <a:cubicBezTo>
                    <a:pt x="255" y="33"/>
                    <a:pt x="256" y="33"/>
                    <a:pt x="256" y="32"/>
                  </a:cubicBezTo>
                  <a:cubicBezTo>
                    <a:pt x="257" y="32"/>
                    <a:pt x="257" y="31"/>
                    <a:pt x="257" y="30"/>
                  </a:cubicBezTo>
                  <a:cubicBezTo>
                    <a:pt x="256" y="29"/>
                    <a:pt x="255" y="29"/>
                    <a:pt x="254" y="29"/>
                  </a:cubicBezTo>
                  <a:cubicBezTo>
                    <a:pt x="253" y="28"/>
                    <a:pt x="252" y="28"/>
                    <a:pt x="252" y="29"/>
                  </a:cubicBezTo>
                  <a:cubicBezTo>
                    <a:pt x="251" y="29"/>
                    <a:pt x="250" y="29"/>
                    <a:pt x="249" y="28"/>
                  </a:cubicBezTo>
                  <a:cubicBezTo>
                    <a:pt x="248" y="28"/>
                    <a:pt x="248" y="27"/>
                    <a:pt x="247" y="28"/>
                  </a:cubicBezTo>
                  <a:cubicBezTo>
                    <a:pt x="246" y="29"/>
                    <a:pt x="245" y="31"/>
                    <a:pt x="242" y="30"/>
                  </a:cubicBezTo>
                  <a:cubicBezTo>
                    <a:pt x="241" y="30"/>
                    <a:pt x="240" y="29"/>
                    <a:pt x="239" y="29"/>
                  </a:cubicBezTo>
                  <a:cubicBezTo>
                    <a:pt x="238" y="29"/>
                    <a:pt x="238" y="29"/>
                    <a:pt x="237" y="29"/>
                  </a:cubicBezTo>
                  <a:cubicBezTo>
                    <a:pt x="236" y="29"/>
                    <a:pt x="234" y="30"/>
                    <a:pt x="233" y="29"/>
                  </a:cubicBezTo>
                  <a:cubicBezTo>
                    <a:pt x="232" y="29"/>
                    <a:pt x="232" y="29"/>
                    <a:pt x="232" y="29"/>
                  </a:cubicBezTo>
                  <a:cubicBezTo>
                    <a:pt x="232" y="28"/>
                    <a:pt x="232" y="28"/>
                    <a:pt x="232" y="28"/>
                  </a:cubicBezTo>
                  <a:cubicBezTo>
                    <a:pt x="231" y="28"/>
                    <a:pt x="229" y="28"/>
                    <a:pt x="228" y="28"/>
                  </a:cubicBezTo>
                  <a:cubicBezTo>
                    <a:pt x="227" y="28"/>
                    <a:pt x="226" y="28"/>
                    <a:pt x="225" y="28"/>
                  </a:cubicBezTo>
                  <a:cubicBezTo>
                    <a:pt x="224" y="28"/>
                    <a:pt x="221" y="28"/>
                    <a:pt x="220" y="29"/>
                  </a:cubicBezTo>
                  <a:cubicBezTo>
                    <a:pt x="219" y="31"/>
                    <a:pt x="218" y="31"/>
                    <a:pt x="216" y="31"/>
                  </a:cubicBezTo>
                  <a:cubicBezTo>
                    <a:pt x="214" y="31"/>
                    <a:pt x="212" y="32"/>
                    <a:pt x="210" y="33"/>
                  </a:cubicBezTo>
                  <a:cubicBezTo>
                    <a:pt x="210" y="34"/>
                    <a:pt x="209" y="35"/>
                    <a:pt x="207" y="35"/>
                  </a:cubicBezTo>
                  <a:cubicBezTo>
                    <a:pt x="207" y="36"/>
                    <a:pt x="206" y="35"/>
                    <a:pt x="205" y="36"/>
                  </a:cubicBezTo>
                  <a:cubicBezTo>
                    <a:pt x="204" y="37"/>
                    <a:pt x="205" y="38"/>
                    <a:pt x="205" y="39"/>
                  </a:cubicBezTo>
                  <a:cubicBezTo>
                    <a:pt x="205" y="39"/>
                    <a:pt x="206" y="39"/>
                    <a:pt x="206" y="39"/>
                  </a:cubicBezTo>
                  <a:cubicBezTo>
                    <a:pt x="207" y="41"/>
                    <a:pt x="206" y="42"/>
                    <a:pt x="205" y="43"/>
                  </a:cubicBezTo>
                  <a:cubicBezTo>
                    <a:pt x="205" y="43"/>
                    <a:pt x="204" y="44"/>
                    <a:pt x="203" y="45"/>
                  </a:cubicBezTo>
                  <a:cubicBezTo>
                    <a:pt x="203" y="45"/>
                    <a:pt x="203" y="46"/>
                    <a:pt x="203" y="47"/>
                  </a:cubicBezTo>
                  <a:cubicBezTo>
                    <a:pt x="202" y="47"/>
                    <a:pt x="202" y="48"/>
                    <a:pt x="202" y="48"/>
                  </a:cubicBezTo>
                  <a:cubicBezTo>
                    <a:pt x="202" y="49"/>
                    <a:pt x="202" y="49"/>
                    <a:pt x="202" y="50"/>
                  </a:cubicBezTo>
                  <a:cubicBezTo>
                    <a:pt x="202" y="51"/>
                    <a:pt x="201" y="51"/>
                    <a:pt x="201" y="52"/>
                  </a:cubicBezTo>
                  <a:cubicBezTo>
                    <a:pt x="200" y="53"/>
                    <a:pt x="201" y="54"/>
                    <a:pt x="200" y="55"/>
                  </a:cubicBezTo>
                  <a:cubicBezTo>
                    <a:pt x="199" y="55"/>
                    <a:pt x="197" y="55"/>
                    <a:pt x="196" y="55"/>
                  </a:cubicBezTo>
                  <a:cubicBezTo>
                    <a:pt x="195" y="55"/>
                    <a:pt x="193" y="55"/>
                    <a:pt x="191" y="55"/>
                  </a:cubicBezTo>
                  <a:cubicBezTo>
                    <a:pt x="189" y="55"/>
                    <a:pt x="189" y="56"/>
                    <a:pt x="188" y="57"/>
                  </a:cubicBezTo>
                  <a:cubicBezTo>
                    <a:pt x="187" y="58"/>
                    <a:pt x="185" y="58"/>
                    <a:pt x="185" y="60"/>
                  </a:cubicBezTo>
                  <a:cubicBezTo>
                    <a:pt x="184" y="61"/>
                    <a:pt x="185" y="62"/>
                    <a:pt x="184" y="63"/>
                  </a:cubicBezTo>
                  <a:cubicBezTo>
                    <a:pt x="184" y="63"/>
                    <a:pt x="182" y="64"/>
                    <a:pt x="182" y="64"/>
                  </a:cubicBezTo>
                  <a:cubicBezTo>
                    <a:pt x="180" y="65"/>
                    <a:pt x="179" y="63"/>
                    <a:pt x="178" y="63"/>
                  </a:cubicBezTo>
                  <a:cubicBezTo>
                    <a:pt x="177" y="62"/>
                    <a:pt x="176" y="62"/>
                    <a:pt x="175" y="62"/>
                  </a:cubicBezTo>
                  <a:cubicBezTo>
                    <a:pt x="174" y="62"/>
                    <a:pt x="174" y="62"/>
                    <a:pt x="172" y="61"/>
                  </a:cubicBezTo>
                  <a:cubicBezTo>
                    <a:pt x="171" y="61"/>
                    <a:pt x="171" y="61"/>
                    <a:pt x="170" y="62"/>
                  </a:cubicBezTo>
                  <a:cubicBezTo>
                    <a:pt x="169" y="62"/>
                    <a:pt x="169" y="62"/>
                    <a:pt x="169" y="63"/>
                  </a:cubicBezTo>
                  <a:cubicBezTo>
                    <a:pt x="168" y="64"/>
                    <a:pt x="168" y="64"/>
                    <a:pt x="168" y="64"/>
                  </a:cubicBezTo>
                  <a:cubicBezTo>
                    <a:pt x="167" y="65"/>
                    <a:pt x="166" y="65"/>
                    <a:pt x="166" y="66"/>
                  </a:cubicBezTo>
                  <a:cubicBezTo>
                    <a:pt x="165" y="66"/>
                    <a:pt x="165" y="66"/>
                    <a:pt x="165" y="66"/>
                  </a:cubicBezTo>
                  <a:cubicBezTo>
                    <a:pt x="164" y="66"/>
                    <a:pt x="164" y="66"/>
                    <a:pt x="164" y="66"/>
                  </a:cubicBezTo>
                  <a:cubicBezTo>
                    <a:pt x="163" y="65"/>
                    <a:pt x="163" y="64"/>
                    <a:pt x="163" y="64"/>
                  </a:cubicBezTo>
                  <a:cubicBezTo>
                    <a:pt x="162" y="63"/>
                    <a:pt x="162" y="62"/>
                    <a:pt x="161" y="62"/>
                  </a:cubicBezTo>
                  <a:cubicBezTo>
                    <a:pt x="159" y="63"/>
                    <a:pt x="157" y="63"/>
                    <a:pt x="155" y="63"/>
                  </a:cubicBezTo>
                  <a:cubicBezTo>
                    <a:pt x="154" y="62"/>
                    <a:pt x="153" y="61"/>
                    <a:pt x="152" y="61"/>
                  </a:cubicBezTo>
                  <a:cubicBezTo>
                    <a:pt x="150" y="60"/>
                    <a:pt x="149" y="60"/>
                    <a:pt x="148" y="59"/>
                  </a:cubicBezTo>
                  <a:cubicBezTo>
                    <a:pt x="147" y="59"/>
                    <a:pt x="146" y="58"/>
                    <a:pt x="145" y="58"/>
                  </a:cubicBezTo>
                  <a:cubicBezTo>
                    <a:pt x="144" y="59"/>
                    <a:pt x="142" y="60"/>
                    <a:pt x="141" y="60"/>
                  </a:cubicBezTo>
                  <a:cubicBezTo>
                    <a:pt x="138" y="60"/>
                    <a:pt x="136" y="60"/>
                    <a:pt x="133" y="61"/>
                  </a:cubicBezTo>
                  <a:cubicBezTo>
                    <a:pt x="131" y="61"/>
                    <a:pt x="127" y="60"/>
                    <a:pt x="126" y="62"/>
                  </a:cubicBezTo>
                  <a:cubicBezTo>
                    <a:pt x="125" y="64"/>
                    <a:pt x="124" y="65"/>
                    <a:pt x="122" y="66"/>
                  </a:cubicBezTo>
                  <a:cubicBezTo>
                    <a:pt x="122" y="66"/>
                    <a:pt x="120" y="66"/>
                    <a:pt x="120" y="67"/>
                  </a:cubicBezTo>
                  <a:cubicBezTo>
                    <a:pt x="119" y="67"/>
                    <a:pt x="120" y="68"/>
                    <a:pt x="119" y="69"/>
                  </a:cubicBezTo>
                  <a:cubicBezTo>
                    <a:pt x="119" y="69"/>
                    <a:pt x="118" y="68"/>
                    <a:pt x="118" y="68"/>
                  </a:cubicBezTo>
                  <a:cubicBezTo>
                    <a:pt x="117" y="69"/>
                    <a:pt x="117" y="69"/>
                    <a:pt x="116" y="69"/>
                  </a:cubicBezTo>
                  <a:cubicBezTo>
                    <a:pt x="115" y="69"/>
                    <a:pt x="115" y="69"/>
                    <a:pt x="114" y="70"/>
                  </a:cubicBezTo>
                  <a:cubicBezTo>
                    <a:pt x="113" y="72"/>
                    <a:pt x="111" y="70"/>
                    <a:pt x="110" y="70"/>
                  </a:cubicBezTo>
                  <a:cubicBezTo>
                    <a:pt x="110" y="70"/>
                    <a:pt x="110" y="72"/>
                    <a:pt x="109" y="72"/>
                  </a:cubicBezTo>
                  <a:cubicBezTo>
                    <a:pt x="108" y="73"/>
                    <a:pt x="105" y="72"/>
                    <a:pt x="104" y="72"/>
                  </a:cubicBezTo>
                  <a:cubicBezTo>
                    <a:pt x="102" y="73"/>
                    <a:pt x="100" y="71"/>
                    <a:pt x="98" y="70"/>
                  </a:cubicBezTo>
                  <a:cubicBezTo>
                    <a:pt x="97" y="69"/>
                    <a:pt x="98" y="68"/>
                    <a:pt x="97" y="67"/>
                  </a:cubicBezTo>
                  <a:cubicBezTo>
                    <a:pt x="97" y="66"/>
                    <a:pt x="97" y="67"/>
                    <a:pt x="96" y="66"/>
                  </a:cubicBezTo>
                  <a:cubicBezTo>
                    <a:pt x="95" y="66"/>
                    <a:pt x="95" y="66"/>
                    <a:pt x="95" y="65"/>
                  </a:cubicBezTo>
                  <a:cubicBezTo>
                    <a:pt x="94" y="64"/>
                    <a:pt x="94" y="63"/>
                    <a:pt x="93" y="64"/>
                  </a:cubicBezTo>
                  <a:cubicBezTo>
                    <a:pt x="92" y="62"/>
                    <a:pt x="91" y="64"/>
                    <a:pt x="89" y="64"/>
                  </a:cubicBezTo>
                  <a:cubicBezTo>
                    <a:pt x="87" y="65"/>
                    <a:pt x="88" y="63"/>
                    <a:pt x="88" y="62"/>
                  </a:cubicBezTo>
                  <a:cubicBezTo>
                    <a:pt x="88" y="61"/>
                    <a:pt x="87" y="61"/>
                    <a:pt x="86" y="60"/>
                  </a:cubicBezTo>
                  <a:cubicBezTo>
                    <a:pt x="86" y="59"/>
                    <a:pt x="86" y="58"/>
                    <a:pt x="85" y="57"/>
                  </a:cubicBezTo>
                  <a:cubicBezTo>
                    <a:pt x="82" y="59"/>
                    <a:pt x="82" y="54"/>
                    <a:pt x="82" y="53"/>
                  </a:cubicBezTo>
                  <a:cubicBezTo>
                    <a:pt x="82" y="51"/>
                    <a:pt x="80" y="53"/>
                    <a:pt x="78" y="52"/>
                  </a:cubicBezTo>
                  <a:cubicBezTo>
                    <a:pt x="77" y="52"/>
                    <a:pt x="77" y="52"/>
                    <a:pt x="77" y="51"/>
                  </a:cubicBezTo>
                  <a:cubicBezTo>
                    <a:pt x="76" y="51"/>
                    <a:pt x="75" y="52"/>
                    <a:pt x="75" y="51"/>
                  </a:cubicBezTo>
                  <a:cubicBezTo>
                    <a:pt x="74" y="50"/>
                    <a:pt x="75" y="48"/>
                    <a:pt x="74" y="48"/>
                  </a:cubicBezTo>
                  <a:cubicBezTo>
                    <a:pt x="73" y="47"/>
                    <a:pt x="71" y="47"/>
                    <a:pt x="70" y="47"/>
                  </a:cubicBezTo>
                  <a:cubicBezTo>
                    <a:pt x="68" y="46"/>
                    <a:pt x="69" y="44"/>
                    <a:pt x="69" y="43"/>
                  </a:cubicBezTo>
                  <a:cubicBezTo>
                    <a:pt x="69" y="41"/>
                    <a:pt x="67" y="38"/>
                    <a:pt x="65" y="38"/>
                  </a:cubicBezTo>
                  <a:cubicBezTo>
                    <a:pt x="64" y="38"/>
                    <a:pt x="61" y="38"/>
                    <a:pt x="61" y="37"/>
                  </a:cubicBezTo>
                  <a:cubicBezTo>
                    <a:pt x="60" y="36"/>
                    <a:pt x="61" y="35"/>
                    <a:pt x="60" y="34"/>
                  </a:cubicBezTo>
                  <a:cubicBezTo>
                    <a:pt x="59" y="34"/>
                    <a:pt x="58" y="35"/>
                    <a:pt x="57" y="34"/>
                  </a:cubicBezTo>
                  <a:cubicBezTo>
                    <a:pt x="56" y="32"/>
                    <a:pt x="55" y="31"/>
                    <a:pt x="53" y="29"/>
                  </a:cubicBezTo>
                  <a:cubicBezTo>
                    <a:pt x="52" y="28"/>
                    <a:pt x="51" y="27"/>
                    <a:pt x="50" y="25"/>
                  </a:cubicBezTo>
                  <a:cubicBezTo>
                    <a:pt x="50" y="24"/>
                    <a:pt x="50" y="23"/>
                    <a:pt x="50" y="22"/>
                  </a:cubicBezTo>
                  <a:cubicBezTo>
                    <a:pt x="50" y="20"/>
                    <a:pt x="50" y="19"/>
                    <a:pt x="51" y="18"/>
                  </a:cubicBezTo>
                  <a:cubicBezTo>
                    <a:pt x="51" y="14"/>
                    <a:pt x="47" y="16"/>
                    <a:pt x="45" y="15"/>
                  </a:cubicBezTo>
                  <a:cubicBezTo>
                    <a:pt x="45" y="14"/>
                    <a:pt x="45" y="13"/>
                    <a:pt x="45" y="13"/>
                  </a:cubicBezTo>
                  <a:cubicBezTo>
                    <a:pt x="44" y="12"/>
                    <a:pt x="44" y="12"/>
                    <a:pt x="44" y="12"/>
                  </a:cubicBezTo>
                  <a:cubicBezTo>
                    <a:pt x="44" y="11"/>
                    <a:pt x="44" y="11"/>
                    <a:pt x="44" y="11"/>
                  </a:cubicBezTo>
                  <a:cubicBezTo>
                    <a:pt x="43" y="10"/>
                    <a:pt x="43" y="11"/>
                    <a:pt x="42" y="10"/>
                  </a:cubicBezTo>
                  <a:cubicBezTo>
                    <a:pt x="42" y="9"/>
                    <a:pt x="42" y="8"/>
                    <a:pt x="42" y="7"/>
                  </a:cubicBezTo>
                  <a:cubicBezTo>
                    <a:pt x="42" y="7"/>
                    <a:pt x="43" y="7"/>
                    <a:pt x="43" y="6"/>
                  </a:cubicBezTo>
                  <a:cubicBezTo>
                    <a:pt x="44" y="6"/>
                    <a:pt x="43" y="5"/>
                    <a:pt x="44" y="5"/>
                  </a:cubicBezTo>
                  <a:cubicBezTo>
                    <a:pt x="45" y="4"/>
                    <a:pt x="46" y="4"/>
                    <a:pt x="48" y="4"/>
                  </a:cubicBezTo>
                  <a:cubicBezTo>
                    <a:pt x="48" y="3"/>
                    <a:pt x="48" y="2"/>
                    <a:pt x="48" y="1"/>
                  </a:cubicBezTo>
                  <a:cubicBezTo>
                    <a:pt x="48" y="0"/>
                    <a:pt x="48" y="0"/>
                    <a:pt x="48" y="0"/>
                  </a:cubicBezTo>
                  <a:cubicBezTo>
                    <a:pt x="47" y="1"/>
                    <a:pt x="45" y="2"/>
                    <a:pt x="44" y="3"/>
                  </a:cubicBezTo>
                  <a:cubicBezTo>
                    <a:pt x="43" y="3"/>
                    <a:pt x="42" y="3"/>
                    <a:pt x="41" y="4"/>
                  </a:cubicBezTo>
                  <a:cubicBezTo>
                    <a:pt x="39" y="4"/>
                    <a:pt x="38" y="5"/>
                    <a:pt x="37" y="5"/>
                  </a:cubicBezTo>
                  <a:cubicBezTo>
                    <a:pt x="35" y="5"/>
                    <a:pt x="34" y="5"/>
                    <a:pt x="32" y="5"/>
                  </a:cubicBezTo>
                  <a:cubicBezTo>
                    <a:pt x="31" y="5"/>
                    <a:pt x="29" y="5"/>
                    <a:pt x="30" y="7"/>
                  </a:cubicBezTo>
                  <a:cubicBezTo>
                    <a:pt x="30" y="8"/>
                    <a:pt x="30" y="8"/>
                    <a:pt x="30" y="9"/>
                  </a:cubicBezTo>
                  <a:cubicBezTo>
                    <a:pt x="30" y="10"/>
                    <a:pt x="29" y="10"/>
                    <a:pt x="29" y="11"/>
                  </a:cubicBezTo>
                  <a:cubicBezTo>
                    <a:pt x="29" y="12"/>
                    <a:pt x="29" y="12"/>
                    <a:pt x="29" y="13"/>
                  </a:cubicBezTo>
                  <a:cubicBezTo>
                    <a:pt x="29" y="13"/>
                    <a:pt x="30" y="13"/>
                    <a:pt x="30" y="14"/>
                  </a:cubicBezTo>
                  <a:cubicBezTo>
                    <a:pt x="30" y="15"/>
                    <a:pt x="29" y="16"/>
                    <a:pt x="28" y="16"/>
                  </a:cubicBezTo>
                  <a:cubicBezTo>
                    <a:pt x="27" y="18"/>
                    <a:pt x="26" y="20"/>
                    <a:pt x="25" y="22"/>
                  </a:cubicBezTo>
                  <a:cubicBezTo>
                    <a:pt x="24" y="23"/>
                    <a:pt x="23" y="24"/>
                    <a:pt x="22" y="25"/>
                  </a:cubicBezTo>
                  <a:cubicBezTo>
                    <a:pt x="21" y="26"/>
                    <a:pt x="20" y="26"/>
                    <a:pt x="19" y="27"/>
                  </a:cubicBezTo>
                  <a:cubicBezTo>
                    <a:pt x="18" y="27"/>
                    <a:pt x="16" y="28"/>
                    <a:pt x="14" y="29"/>
                  </a:cubicBezTo>
                  <a:cubicBezTo>
                    <a:pt x="12" y="31"/>
                    <a:pt x="12" y="32"/>
                    <a:pt x="12" y="35"/>
                  </a:cubicBezTo>
                  <a:cubicBezTo>
                    <a:pt x="12" y="37"/>
                    <a:pt x="12" y="39"/>
                    <a:pt x="12" y="41"/>
                  </a:cubicBezTo>
                  <a:cubicBezTo>
                    <a:pt x="11" y="42"/>
                    <a:pt x="11" y="43"/>
                    <a:pt x="11" y="44"/>
                  </a:cubicBezTo>
                  <a:cubicBezTo>
                    <a:pt x="11" y="44"/>
                    <a:pt x="10" y="46"/>
                    <a:pt x="10" y="47"/>
                  </a:cubicBezTo>
                  <a:cubicBezTo>
                    <a:pt x="10" y="48"/>
                    <a:pt x="7" y="48"/>
                    <a:pt x="7" y="50"/>
                  </a:cubicBezTo>
                  <a:cubicBezTo>
                    <a:pt x="7" y="51"/>
                    <a:pt x="9" y="51"/>
                    <a:pt x="9" y="51"/>
                  </a:cubicBezTo>
                  <a:cubicBezTo>
                    <a:pt x="10" y="52"/>
                    <a:pt x="8" y="53"/>
                    <a:pt x="8" y="53"/>
                  </a:cubicBezTo>
                  <a:cubicBezTo>
                    <a:pt x="6" y="54"/>
                    <a:pt x="5" y="51"/>
                    <a:pt x="4" y="53"/>
                  </a:cubicBezTo>
                  <a:cubicBezTo>
                    <a:pt x="3" y="54"/>
                    <a:pt x="5" y="58"/>
                    <a:pt x="5" y="59"/>
                  </a:cubicBezTo>
                  <a:cubicBezTo>
                    <a:pt x="6" y="60"/>
                    <a:pt x="7" y="61"/>
                    <a:pt x="8" y="63"/>
                  </a:cubicBezTo>
                  <a:cubicBezTo>
                    <a:pt x="8" y="64"/>
                    <a:pt x="8" y="66"/>
                    <a:pt x="7" y="66"/>
                  </a:cubicBezTo>
                  <a:cubicBezTo>
                    <a:pt x="7" y="68"/>
                    <a:pt x="6" y="69"/>
                    <a:pt x="5" y="70"/>
                  </a:cubicBezTo>
                  <a:cubicBezTo>
                    <a:pt x="5" y="71"/>
                    <a:pt x="5" y="71"/>
                    <a:pt x="4" y="72"/>
                  </a:cubicBezTo>
                  <a:cubicBezTo>
                    <a:pt x="2" y="73"/>
                    <a:pt x="0" y="73"/>
                    <a:pt x="1" y="76"/>
                  </a:cubicBezTo>
                  <a:cubicBezTo>
                    <a:pt x="1" y="77"/>
                    <a:pt x="2" y="78"/>
                    <a:pt x="2" y="79"/>
                  </a:cubicBezTo>
                  <a:cubicBezTo>
                    <a:pt x="2" y="80"/>
                    <a:pt x="2" y="80"/>
                    <a:pt x="2" y="81"/>
                  </a:cubicBezTo>
                  <a:cubicBezTo>
                    <a:pt x="3" y="83"/>
                    <a:pt x="5" y="84"/>
                    <a:pt x="5" y="86"/>
                  </a:cubicBezTo>
                  <a:cubicBezTo>
                    <a:pt x="6" y="88"/>
                    <a:pt x="3" y="90"/>
                    <a:pt x="3" y="93"/>
                  </a:cubicBezTo>
                  <a:cubicBezTo>
                    <a:pt x="3" y="94"/>
                    <a:pt x="3" y="95"/>
                    <a:pt x="4" y="96"/>
                  </a:cubicBezTo>
                  <a:cubicBezTo>
                    <a:pt x="5" y="97"/>
                    <a:pt x="6" y="98"/>
                    <a:pt x="6" y="99"/>
                  </a:cubicBezTo>
                  <a:cubicBezTo>
                    <a:pt x="6" y="101"/>
                    <a:pt x="4" y="102"/>
                    <a:pt x="5" y="104"/>
                  </a:cubicBezTo>
                  <a:cubicBezTo>
                    <a:pt x="5" y="106"/>
                    <a:pt x="9" y="105"/>
                    <a:pt x="11" y="106"/>
                  </a:cubicBezTo>
                  <a:cubicBezTo>
                    <a:pt x="12" y="107"/>
                    <a:pt x="14" y="109"/>
                    <a:pt x="15" y="110"/>
                  </a:cubicBezTo>
                  <a:cubicBezTo>
                    <a:pt x="16" y="111"/>
                    <a:pt x="17" y="113"/>
                    <a:pt x="17" y="115"/>
                  </a:cubicBezTo>
                  <a:cubicBezTo>
                    <a:pt x="18" y="117"/>
                    <a:pt x="18" y="119"/>
                    <a:pt x="19" y="120"/>
                  </a:cubicBezTo>
                  <a:cubicBezTo>
                    <a:pt x="20" y="121"/>
                    <a:pt x="23" y="121"/>
                    <a:pt x="24" y="122"/>
                  </a:cubicBezTo>
                  <a:cubicBezTo>
                    <a:pt x="25" y="122"/>
                    <a:pt x="26" y="122"/>
                    <a:pt x="25" y="123"/>
                  </a:cubicBezTo>
                  <a:cubicBezTo>
                    <a:pt x="25" y="124"/>
                    <a:pt x="24" y="124"/>
                    <a:pt x="24" y="123"/>
                  </a:cubicBezTo>
                  <a:cubicBezTo>
                    <a:pt x="23" y="123"/>
                    <a:pt x="22" y="122"/>
                    <a:pt x="21" y="122"/>
                  </a:cubicBezTo>
                  <a:cubicBezTo>
                    <a:pt x="19" y="122"/>
                    <a:pt x="19" y="124"/>
                    <a:pt x="19" y="125"/>
                  </a:cubicBezTo>
                  <a:cubicBezTo>
                    <a:pt x="19" y="125"/>
                    <a:pt x="19" y="126"/>
                    <a:pt x="19" y="127"/>
                  </a:cubicBezTo>
                  <a:cubicBezTo>
                    <a:pt x="19" y="128"/>
                    <a:pt x="20" y="130"/>
                    <a:pt x="20" y="131"/>
                  </a:cubicBezTo>
                  <a:cubicBezTo>
                    <a:pt x="19" y="132"/>
                    <a:pt x="19" y="135"/>
                    <a:pt x="19" y="136"/>
                  </a:cubicBezTo>
                  <a:cubicBezTo>
                    <a:pt x="17" y="137"/>
                    <a:pt x="12" y="136"/>
                    <a:pt x="12" y="139"/>
                  </a:cubicBezTo>
                  <a:cubicBezTo>
                    <a:pt x="12" y="139"/>
                    <a:pt x="14" y="140"/>
                    <a:pt x="15" y="141"/>
                  </a:cubicBezTo>
                  <a:cubicBezTo>
                    <a:pt x="15" y="141"/>
                    <a:pt x="16" y="143"/>
                    <a:pt x="17" y="143"/>
                  </a:cubicBezTo>
                  <a:cubicBezTo>
                    <a:pt x="17" y="144"/>
                    <a:pt x="18" y="145"/>
                    <a:pt x="18" y="146"/>
                  </a:cubicBezTo>
                  <a:cubicBezTo>
                    <a:pt x="18" y="147"/>
                    <a:pt x="17" y="147"/>
                    <a:pt x="16" y="146"/>
                  </a:cubicBezTo>
                  <a:cubicBezTo>
                    <a:pt x="16" y="147"/>
                    <a:pt x="17" y="151"/>
                    <a:pt x="17" y="153"/>
                  </a:cubicBezTo>
                  <a:cubicBezTo>
                    <a:pt x="17" y="154"/>
                    <a:pt x="17" y="157"/>
                    <a:pt x="19" y="158"/>
                  </a:cubicBezTo>
                  <a:cubicBezTo>
                    <a:pt x="20" y="160"/>
                    <a:pt x="19" y="159"/>
                    <a:pt x="20" y="158"/>
                  </a:cubicBezTo>
                  <a:cubicBezTo>
                    <a:pt x="24" y="158"/>
                    <a:pt x="23" y="160"/>
                    <a:pt x="24" y="161"/>
                  </a:cubicBezTo>
                  <a:cubicBezTo>
                    <a:pt x="27" y="163"/>
                    <a:pt x="29" y="161"/>
                    <a:pt x="31" y="160"/>
                  </a:cubicBezTo>
                  <a:cubicBezTo>
                    <a:pt x="33" y="160"/>
                    <a:pt x="35" y="162"/>
                    <a:pt x="36" y="162"/>
                  </a:cubicBezTo>
                  <a:cubicBezTo>
                    <a:pt x="38" y="164"/>
                    <a:pt x="40" y="165"/>
                    <a:pt x="42" y="167"/>
                  </a:cubicBezTo>
                  <a:cubicBezTo>
                    <a:pt x="45" y="170"/>
                    <a:pt x="40" y="170"/>
                    <a:pt x="37" y="170"/>
                  </a:cubicBezTo>
                  <a:cubicBezTo>
                    <a:pt x="36" y="170"/>
                    <a:pt x="34" y="169"/>
                    <a:pt x="32" y="169"/>
                  </a:cubicBezTo>
                  <a:cubicBezTo>
                    <a:pt x="31" y="169"/>
                    <a:pt x="29" y="169"/>
                    <a:pt x="29" y="168"/>
                  </a:cubicBezTo>
                  <a:cubicBezTo>
                    <a:pt x="28" y="168"/>
                    <a:pt x="27" y="167"/>
                    <a:pt x="27" y="166"/>
                  </a:cubicBezTo>
                  <a:cubicBezTo>
                    <a:pt x="26" y="165"/>
                    <a:pt x="26" y="165"/>
                    <a:pt x="25" y="165"/>
                  </a:cubicBezTo>
                  <a:cubicBezTo>
                    <a:pt x="23" y="166"/>
                    <a:pt x="24" y="169"/>
                    <a:pt x="24" y="170"/>
                  </a:cubicBezTo>
                  <a:cubicBezTo>
                    <a:pt x="24" y="172"/>
                    <a:pt x="24" y="176"/>
                    <a:pt x="26" y="177"/>
                  </a:cubicBezTo>
                  <a:cubicBezTo>
                    <a:pt x="27" y="179"/>
                    <a:pt x="29" y="179"/>
                    <a:pt x="30" y="179"/>
                  </a:cubicBezTo>
                  <a:cubicBezTo>
                    <a:pt x="32" y="180"/>
                    <a:pt x="33" y="183"/>
                    <a:pt x="34" y="181"/>
                  </a:cubicBezTo>
                  <a:cubicBezTo>
                    <a:pt x="35" y="180"/>
                    <a:pt x="35" y="178"/>
                    <a:pt x="36" y="177"/>
                  </a:cubicBezTo>
                  <a:cubicBezTo>
                    <a:pt x="37" y="177"/>
                    <a:pt x="40" y="178"/>
                    <a:pt x="41" y="179"/>
                  </a:cubicBezTo>
                  <a:cubicBezTo>
                    <a:pt x="42" y="179"/>
                    <a:pt x="45" y="179"/>
                    <a:pt x="46" y="180"/>
                  </a:cubicBezTo>
                  <a:cubicBezTo>
                    <a:pt x="46" y="180"/>
                    <a:pt x="46" y="182"/>
                    <a:pt x="47" y="183"/>
                  </a:cubicBezTo>
                  <a:cubicBezTo>
                    <a:pt x="48" y="183"/>
                    <a:pt x="51" y="185"/>
                    <a:pt x="50" y="186"/>
                  </a:cubicBezTo>
                  <a:cubicBezTo>
                    <a:pt x="49" y="186"/>
                    <a:pt x="47" y="186"/>
                    <a:pt x="46" y="185"/>
                  </a:cubicBezTo>
                  <a:cubicBezTo>
                    <a:pt x="45" y="184"/>
                    <a:pt x="45" y="184"/>
                    <a:pt x="44" y="185"/>
                  </a:cubicBezTo>
                  <a:cubicBezTo>
                    <a:pt x="42" y="186"/>
                    <a:pt x="42" y="186"/>
                    <a:pt x="40" y="185"/>
                  </a:cubicBezTo>
                  <a:cubicBezTo>
                    <a:pt x="39" y="185"/>
                    <a:pt x="38" y="184"/>
                    <a:pt x="37" y="185"/>
                  </a:cubicBezTo>
                  <a:cubicBezTo>
                    <a:pt x="36" y="186"/>
                    <a:pt x="36" y="190"/>
                    <a:pt x="36" y="192"/>
                  </a:cubicBezTo>
                  <a:cubicBezTo>
                    <a:pt x="36" y="194"/>
                    <a:pt x="36" y="197"/>
                    <a:pt x="35" y="199"/>
                  </a:cubicBezTo>
                  <a:cubicBezTo>
                    <a:pt x="34" y="200"/>
                    <a:pt x="33" y="201"/>
                    <a:pt x="34" y="202"/>
                  </a:cubicBezTo>
                  <a:cubicBezTo>
                    <a:pt x="34" y="203"/>
                    <a:pt x="36" y="203"/>
                    <a:pt x="36" y="204"/>
                  </a:cubicBezTo>
                  <a:cubicBezTo>
                    <a:pt x="38" y="205"/>
                    <a:pt x="40" y="204"/>
                    <a:pt x="42" y="203"/>
                  </a:cubicBezTo>
                  <a:cubicBezTo>
                    <a:pt x="44" y="202"/>
                    <a:pt x="46" y="200"/>
                    <a:pt x="48" y="200"/>
                  </a:cubicBezTo>
                  <a:cubicBezTo>
                    <a:pt x="49" y="199"/>
                    <a:pt x="50" y="199"/>
                    <a:pt x="51" y="199"/>
                  </a:cubicBezTo>
                  <a:cubicBezTo>
                    <a:pt x="51" y="199"/>
                    <a:pt x="52" y="198"/>
                    <a:pt x="53" y="197"/>
                  </a:cubicBezTo>
                  <a:cubicBezTo>
                    <a:pt x="54" y="196"/>
                    <a:pt x="55" y="196"/>
                    <a:pt x="56" y="194"/>
                  </a:cubicBezTo>
                  <a:cubicBezTo>
                    <a:pt x="56" y="193"/>
                    <a:pt x="56" y="190"/>
                    <a:pt x="56" y="189"/>
                  </a:cubicBezTo>
                  <a:cubicBezTo>
                    <a:pt x="56" y="188"/>
                    <a:pt x="56" y="188"/>
                    <a:pt x="56" y="188"/>
                  </a:cubicBezTo>
                  <a:cubicBezTo>
                    <a:pt x="57" y="187"/>
                    <a:pt x="59" y="189"/>
                    <a:pt x="59" y="190"/>
                  </a:cubicBezTo>
                  <a:cubicBezTo>
                    <a:pt x="59" y="190"/>
                    <a:pt x="59" y="190"/>
                    <a:pt x="59" y="191"/>
                  </a:cubicBezTo>
                  <a:cubicBezTo>
                    <a:pt x="60" y="191"/>
                    <a:pt x="61" y="191"/>
                    <a:pt x="62" y="191"/>
                  </a:cubicBezTo>
                  <a:cubicBezTo>
                    <a:pt x="63" y="192"/>
                    <a:pt x="66" y="192"/>
                    <a:pt x="66" y="194"/>
                  </a:cubicBezTo>
                  <a:cubicBezTo>
                    <a:pt x="67" y="195"/>
                    <a:pt x="66" y="196"/>
                    <a:pt x="65" y="197"/>
                  </a:cubicBezTo>
                  <a:cubicBezTo>
                    <a:pt x="65" y="197"/>
                    <a:pt x="64" y="198"/>
                    <a:pt x="64" y="198"/>
                  </a:cubicBezTo>
                  <a:cubicBezTo>
                    <a:pt x="65" y="199"/>
                    <a:pt x="65" y="199"/>
                    <a:pt x="66" y="199"/>
                  </a:cubicBezTo>
                  <a:cubicBezTo>
                    <a:pt x="67" y="200"/>
                    <a:pt x="67" y="201"/>
                    <a:pt x="68" y="201"/>
                  </a:cubicBezTo>
                  <a:cubicBezTo>
                    <a:pt x="69" y="202"/>
                    <a:pt x="70" y="202"/>
                    <a:pt x="72" y="203"/>
                  </a:cubicBezTo>
                  <a:cubicBezTo>
                    <a:pt x="73" y="205"/>
                    <a:pt x="74" y="206"/>
                    <a:pt x="74" y="208"/>
                  </a:cubicBezTo>
                  <a:cubicBezTo>
                    <a:pt x="74" y="210"/>
                    <a:pt x="74" y="213"/>
                    <a:pt x="73" y="215"/>
                  </a:cubicBezTo>
                  <a:cubicBezTo>
                    <a:pt x="73" y="216"/>
                    <a:pt x="72" y="217"/>
                    <a:pt x="72" y="218"/>
                  </a:cubicBezTo>
                  <a:cubicBezTo>
                    <a:pt x="72" y="219"/>
                    <a:pt x="72" y="220"/>
                    <a:pt x="72" y="221"/>
                  </a:cubicBezTo>
                  <a:cubicBezTo>
                    <a:pt x="72" y="223"/>
                    <a:pt x="72" y="225"/>
                    <a:pt x="71" y="227"/>
                  </a:cubicBezTo>
                  <a:cubicBezTo>
                    <a:pt x="71" y="229"/>
                    <a:pt x="70" y="230"/>
                    <a:pt x="68" y="231"/>
                  </a:cubicBezTo>
                  <a:cubicBezTo>
                    <a:pt x="67" y="232"/>
                    <a:pt x="65" y="232"/>
                    <a:pt x="64" y="233"/>
                  </a:cubicBezTo>
                  <a:cubicBezTo>
                    <a:pt x="64" y="235"/>
                    <a:pt x="64" y="237"/>
                    <a:pt x="65" y="238"/>
                  </a:cubicBezTo>
                  <a:cubicBezTo>
                    <a:pt x="69" y="240"/>
                    <a:pt x="72" y="241"/>
                    <a:pt x="75" y="244"/>
                  </a:cubicBezTo>
                  <a:cubicBezTo>
                    <a:pt x="77" y="246"/>
                    <a:pt x="77" y="249"/>
                    <a:pt x="77" y="252"/>
                  </a:cubicBezTo>
                  <a:cubicBezTo>
                    <a:pt x="76" y="254"/>
                    <a:pt x="76" y="257"/>
                    <a:pt x="75" y="259"/>
                  </a:cubicBezTo>
                  <a:cubicBezTo>
                    <a:pt x="75" y="260"/>
                    <a:pt x="74" y="261"/>
                    <a:pt x="74" y="261"/>
                  </a:cubicBezTo>
                  <a:cubicBezTo>
                    <a:pt x="75" y="262"/>
                    <a:pt x="77" y="262"/>
                    <a:pt x="77" y="263"/>
                  </a:cubicBezTo>
                  <a:cubicBezTo>
                    <a:pt x="79" y="264"/>
                    <a:pt x="79" y="266"/>
                    <a:pt x="79" y="267"/>
                  </a:cubicBezTo>
                  <a:cubicBezTo>
                    <a:pt x="80" y="269"/>
                    <a:pt x="80" y="270"/>
                    <a:pt x="79" y="271"/>
                  </a:cubicBezTo>
                  <a:cubicBezTo>
                    <a:pt x="79" y="272"/>
                    <a:pt x="79" y="272"/>
                    <a:pt x="80" y="273"/>
                  </a:cubicBezTo>
                  <a:cubicBezTo>
                    <a:pt x="80" y="274"/>
                    <a:pt x="81" y="274"/>
                    <a:pt x="81" y="274"/>
                  </a:cubicBezTo>
                  <a:cubicBezTo>
                    <a:pt x="82" y="275"/>
                    <a:pt x="82" y="276"/>
                    <a:pt x="82" y="276"/>
                  </a:cubicBezTo>
                  <a:cubicBezTo>
                    <a:pt x="82" y="277"/>
                    <a:pt x="82" y="279"/>
                    <a:pt x="82" y="280"/>
                  </a:cubicBezTo>
                  <a:cubicBezTo>
                    <a:pt x="82" y="281"/>
                    <a:pt x="81" y="282"/>
                    <a:pt x="80" y="284"/>
                  </a:cubicBezTo>
                  <a:cubicBezTo>
                    <a:pt x="80" y="285"/>
                    <a:pt x="82" y="285"/>
                    <a:pt x="83" y="286"/>
                  </a:cubicBezTo>
                  <a:cubicBezTo>
                    <a:pt x="84" y="288"/>
                    <a:pt x="83" y="289"/>
                    <a:pt x="83" y="291"/>
                  </a:cubicBezTo>
                  <a:cubicBezTo>
                    <a:pt x="84" y="292"/>
                    <a:pt x="85" y="293"/>
                    <a:pt x="85" y="294"/>
                  </a:cubicBezTo>
                  <a:cubicBezTo>
                    <a:pt x="85" y="295"/>
                    <a:pt x="85" y="296"/>
                    <a:pt x="85" y="297"/>
                  </a:cubicBezTo>
                  <a:cubicBezTo>
                    <a:pt x="85" y="297"/>
                    <a:pt x="85" y="298"/>
                    <a:pt x="85" y="299"/>
                  </a:cubicBezTo>
                  <a:cubicBezTo>
                    <a:pt x="84" y="299"/>
                    <a:pt x="84" y="300"/>
                    <a:pt x="84" y="301"/>
                  </a:cubicBezTo>
                  <a:cubicBezTo>
                    <a:pt x="84" y="301"/>
                    <a:pt x="84" y="301"/>
                    <a:pt x="85" y="302"/>
                  </a:cubicBezTo>
                  <a:cubicBezTo>
                    <a:pt x="85" y="302"/>
                    <a:pt x="85" y="303"/>
                    <a:pt x="86" y="304"/>
                  </a:cubicBezTo>
                  <a:cubicBezTo>
                    <a:pt x="86" y="304"/>
                    <a:pt x="86" y="305"/>
                    <a:pt x="86" y="305"/>
                  </a:cubicBezTo>
                  <a:cubicBezTo>
                    <a:pt x="87" y="306"/>
                    <a:pt x="87" y="306"/>
                    <a:pt x="87" y="307"/>
                  </a:cubicBezTo>
                  <a:cubicBezTo>
                    <a:pt x="88" y="309"/>
                    <a:pt x="93" y="304"/>
                    <a:pt x="94" y="303"/>
                  </a:cubicBezTo>
                  <a:cubicBezTo>
                    <a:pt x="96" y="301"/>
                    <a:pt x="99" y="299"/>
                    <a:pt x="102" y="299"/>
                  </a:cubicBezTo>
                  <a:cubicBezTo>
                    <a:pt x="103" y="299"/>
                    <a:pt x="104" y="299"/>
                    <a:pt x="105" y="299"/>
                  </a:cubicBezTo>
                  <a:cubicBezTo>
                    <a:pt x="105" y="300"/>
                    <a:pt x="106" y="300"/>
                    <a:pt x="106" y="301"/>
                  </a:cubicBezTo>
                  <a:cubicBezTo>
                    <a:pt x="108" y="303"/>
                    <a:pt x="109" y="304"/>
                    <a:pt x="109" y="306"/>
                  </a:cubicBezTo>
                  <a:cubicBezTo>
                    <a:pt x="108" y="307"/>
                    <a:pt x="108" y="308"/>
                    <a:pt x="108" y="309"/>
                  </a:cubicBezTo>
                  <a:cubicBezTo>
                    <a:pt x="109" y="309"/>
                    <a:pt x="110" y="310"/>
                    <a:pt x="111" y="310"/>
                  </a:cubicBezTo>
                  <a:cubicBezTo>
                    <a:pt x="112" y="309"/>
                    <a:pt x="114" y="308"/>
                    <a:pt x="115" y="307"/>
                  </a:cubicBezTo>
                  <a:cubicBezTo>
                    <a:pt x="116" y="304"/>
                    <a:pt x="116" y="304"/>
                    <a:pt x="116" y="304"/>
                  </a:cubicBezTo>
                  <a:lnTo>
                    <a:pt x="139" y="292"/>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1" name="Freeform 15">
              <a:extLst>
                <a:ext uri="{FF2B5EF4-FFF2-40B4-BE49-F238E27FC236}">
                  <a16:creationId xmlns:a16="http://schemas.microsoft.com/office/drawing/2014/main" id="{68F3F77C-BE93-E152-16AD-1C50CA56E671}"/>
                </a:ext>
              </a:extLst>
            </p:cNvPr>
            <p:cNvSpPr>
              <a:spLocks/>
            </p:cNvSpPr>
            <p:nvPr/>
          </p:nvSpPr>
          <p:spPr bwMode="auto">
            <a:xfrm>
              <a:off x="4084638" y="5588000"/>
              <a:ext cx="195263" cy="157162"/>
            </a:xfrm>
            <a:custGeom>
              <a:avLst/>
              <a:gdLst>
                <a:gd name="T0" fmla="*/ 49 w 51"/>
                <a:gd name="T1" fmla="*/ 38 h 41"/>
                <a:gd name="T2" fmla="*/ 48 w 51"/>
                <a:gd name="T3" fmla="*/ 36 h 41"/>
                <a:gd name="T4" fmla="*/ 46 w 51"/>
                <a:gd name="T5" fmla="*/ 31 h 41"/>
                <a:gd name="T6" fmla="*/ 46 w 51"/>
                <a:gd name="T7" fmla="*/ 28 h 41"/>
                <a:gd name="T8" fmla="*/ 47 w 51"/>
                <a:gd name="T9" fmla="*/ 24 h 41"/>
                <a:gd name="T10" fmla="*/ 47 w 51"/>
                <a:gd name="T11" fmla="*/ 21 h 41"/>
                <a:gd name="T12" fmla="*/ 48 w 51"/>
                <a:gd name="T13" fmla="*/ 17 h 41"/>
                <a:gd name="T14" fmla="*/ 40 w 51"/>
                <a:gd name="T15" fmla="*/ 16 h 41"/>
                <a:gd name="T16" fmla="*/ 37 w 51"/>
                <a:gd name="T17" fmla="*/ 16 h 41"/>
                <a:gd name="T18" fmla="*/ 34 w 51"/>
                <a:gd name="T19" fmla="*/ 15 h 41"/>
                <a:gd name="T20" fmla="*/ 31 w 51"/>
                <a:gd name="T21" fmla="*/ 15 h 41"/>
                <a:gd name="T22" fmla="*/ 30 w 51"/>
                <a:gd name="T23" fmla="*/ 13 h 41"/>
                <a:gd name="T24" fmla="*/ 30 w 51"/>
                <a:gd name="T25" fmla="*/ 11 h 41"/>
                <a:gd name="T26" fmla="*/ 29 w 51"/>
                <a:gd name="T27" fmla="*/ 6 h 41"/>
                <a:gd name="T28" fmla="*/ 27 w 51"/>
                <a:gd name="T29" fmla="*/ 0 h 41"/>
                <a:gd name="T30" fmla="*/ 24 w 51"/>
                <a:gd name="T31" fmla="*/ 3 h 41"/>
                <a:gd name="T32" fmla="*/ 20 w 51"/>
                <a:gd name="T33" fmla="*/ 5 h 41"/>
                <a:gd name="T34" fmla="*/ 16 w 51"/>
                <a:gd name="T35" fmla="*/ 11 h 41"/>
                <a:gd name="T36" fmla="*/ 16 w 51"/>
                <a:gd name="T37" fmla="*/ 9 h 41"/>
                <a:gd name="T38" fmla="*/ 15 w 51"/>
                <a:gd name="T39" fmla="*/ 7 h 41"/>
                <a:gd name="T40" fmla="*/ 13 w 51"/>
                <a:gd name="T41" fmla="*/ 7 h 41"/>
                <a:gd name="T42" fmla="*/ 10 w 51"/>
                <a:gd name="T43" fmla="*/ 7 h 41"/>
                <a:gd name="T44" fmla="*/ 8 w 51"/>
                <a:gd name="T45" fmla="*/ 7 h 41"/>
                <a:gd name="T46" fmla="*/ 8 w 51"/>
                <a:gd name="T47" fmla="*/ 9 h 41"/>
                <a:gd name="T48" fmla="*/ 6 w 51"/>
                <a:gd name="T49" fmla="*/ 14 h 41"/>
                <a:gd name="T50" fmla="*/ 2 w 51"/>
                <a:gd name="T51" fmla="*/ 19 h 41"/>
                <a:gd name="T52" fmla="*/ 0 w 51"/>
                <a:gd name="T53" fmla="*/ 22 h 41"/>
                <a:gd name="T54" fmla="*/ 1 w 51"/>
                <a:gd name="T55" fmla="*/ 22 h 41"/>
                <a:gd name="T56" fmla="*/ 9 w 51"/>
                <a:gd name="T57" fmla="*/ 26 h 41"/>
                <a:gd name="T58" fmla="*/ 15 w 51"/>
                <a:gd name="T59" fmla="*/ 29 h 41"/>
                <a:gd name="T60" fmla="*/ 21 w 51"/>
                <a:gd name="T61" fmla="*/ 31 h 41"/>
                <a:gd name="T62" fmla="*/ 28 w 51"/>
                <a:gd name="T63" fmla="*/ 35 h 41"/>
                <a:gd name="T64" fmla="*/ 41 w 51"/>
                <a:gd name="T65" fmla="*/ 40 h 41"/>
                <a:gd name="T66" fmla="*/ 46 w 51"/>
                <a:gd name="T67" fmla="*/ 41 h 41"/>
                <a:gd name="T68" fmla="*/ 51 w 51"/>
                <a:gd name="T69" fmla="*/ 41 h 41"/>
                <a:gd name="T70" fmla="*/ 50 w 51"/>
                <a:gd name="T71" fmla="*/ 39 h 41"/>
                <a:gd name="T72" fmla="*/ 49 w 51"/>
                <a:gd name="T73"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41">
                  <a:moveTo>
                    <a:pt x="49" y="38"/>
                  </a:moveTo>
                  <a:cubicBezTo>
                    <a:pt x="48" y="37"/>
                    <a:pt x="48" y="36"/>
                    <a:pt x="48" y="36"/>
                  </a:cubicBezTo>
                  <a:cubicBezTo>
                    <a:pt x="48" y="34"/>
                    <a:pt x="47" y="32"/>
                    <a:pt x="46" y="31"/>
                  </a:cubicBezTo>
                  <a:cubicBezTo>
                    <a:pt x="46" y="30"/>
                    <a:pt x="46" y="29"/>
                    <a:pt x="46" y="28"/>
                  </a:cubicBezTo>
                  <a:cubicBezTo>
                    <a:pt x="46" y="27"/>
                    <a:pt x="46" y="25"/>
                    <a:pt x="47" y="24"/>
                  </a:cubicBezTo>
                  <a:cubicBezTo>
                    <a:pt x="47" y="23"/>
                    <a:pt x="47" y="22"/>
                    <a:pt x="47" y="21"/>
                  </a:cubicBezTo>
                  <a:cubicBezTo>
                    <a:pt x="47" y="19"/>
                    <a:pt x="48" y="18"/>
                    <a:pt x="48" y="17"/>
                  </a:cubicBezTo>
                  <a:cubicBezTo>
                    <a:pt x="45" y="17"/>
                    <a:pt x="43" y="17"/>
                    <a:pt x="40" y="16"/>
                  </a:cubicBezTo>
                  <a:cubicBezTo>
                    <a:pt x="39" y="16"/>
                    <a:pt x="38" y="16"/>
                    <a:pt x="37" y="16"/>
                  </a:cubicBezTo>
                  <a:cubicBezTo>
                    <a:pt x="36" y="15"/>
                    <a:pt x="35" y="15"/>
                    <a:pt x="34" y="15"/>
                  </a:cubicBezTo>
                  <a:cubicBezTo>
                    <a:pt x="33" y="15"/>
                    <a:pt x="32" y="15"/>
                    <a:pt x="31" y="15"/>
                  </a:cubicBezTo>
                  <a:cubicBezTo>
                    <a:pt x="31" y="14"/>
                    <a:pt x="30" y="14"/>
                    <a:pt x="30" y="13"/>
                  </a:cubicBezTo>
                  <a:cubicBezTo>
                    <a:pt x="30" y="13"/>
                    <a:pt x="30" y="12"/>
                    <a:pt x="30" y="11"/>
                  </a:cubicBezTo>
                  <a:cubicBezTo>
                    <a:pt x="29" y="10"/>
                    <a:pt x="29" y="8"/>
                    <a:pt x="29" y="6"/>
                  </a:cubicBezTo>
                  <a:cubicBezTo>
                    <a:pt x="28" y="4"/>
                    <a:pt x="28" y="2"/>
                    <a:pt x="27" y="0"/>
                  </a:cubicBezTo>
                  <a:cubicBezTo>
                    <a:pt x="26" y="1"/>
                    <a:pt x="25" y="2"/>
                    <a:pt x="24" y="3"/>
                  </a:cubicBezTo>
                  <a:cubicBezTo>
                    <a:pt x="22" y="3"/>
                    <a:pt x="21" y="4"/>
                    <a:pt x="20" y="5"/>
                  </a:cubicBezTo>
                  <a:cubicBezTo>
                    <a:pt x="18" y="6"/>
                    <a:pt x="17" y="9"/>
                    <a:pt x="16" y="11"/>
                  </a:cubicBezTo>
                  <a:cubicBezTo>
                    <a:pt x="16" y="10"/>
                    <a:pt x="16" y="9"/>
                    <a:pt x="16" y="9"/>
                  </a:cubicBezTo>
                  <a:cubicBezTo>
                    <a:pt x="15" y="8"/>
                    <a:pt x="16" y="7"/>
                    <a:pt x="15" y="7"/>
                  </a:cubicBezTo>
                  <a:cubicBezTo>
                    <a:pt x="15" y="6"/>
                    <a:pt x="13" y="7"/>
                    <a:pt x="13" y="7"/>
                  </a:cubicBezTo>
                  <a:cubicBezTo>
                    <a:pt x="12" y="7"/>
                    <a:pt x="11" y="7"/>
                    <a:pt x="10" y="7"/>
                  </a:cubicBezTo>
                  <a:cubicBezTo>
                    <a:pt x="9" y="7"/>
                    <a:pt x="8" y="7"/>
                    <a:pt x="8" y="7"/>
                  </a:cubicBezTo>
                  <a:cubicBezTo>
                    <a:pt x="7" y="7"/>
                    <a:pt x="8" y="9"/>
                    <a:pt x="8" y="9"/>
                  </a:cubicBezTo>
                  <a:cubicBezTo>
                    <a:pt x="8" y="11"/>
                    <a:pt x="8" y="12"/>
                    <a:pt x="6" y="14"/>
                  </a:cubicBezTo>
                  <a:cubicBezTo>
                    <a:pt x="5" y="15"/>
                    <a:pt x="3" y="17"/>
                    <a:pt x="2" y="19"/>
                  </a:cubicBezTo>
                  <a:cubicBezTo>
                    <a:pt x="1" y="20"/>
                    <a:pt x="1" y="21"/>
                    <a:pt x="0" y="22"/>
                  </a:cubicBezTo>
                  <a:cubicBezTo>
                    <a:pt x="1" y="22"/>
                    <a:pt x="1" y="22"/>
                    <a:pt x="1" y="22"/>
                  </a:cubicBezTo>
                  <a:cubicBezTo>
                    <a:pt x="4" y="23"/>
                    <a:pt x="8" y="25"/>
                    <a:pt x="9" y="26"/>
                  </a:cubicBezTo>
                  <a:cubicBezTo>
                    <a:pt x="10" y="26"/>
                    <a:pt x="14" y="28"/>
                    <a:pt x="15" y="29"/>
                  </a:cubicBezTo>
                  <a:cubicBezTo>
                    <a:pt x="16" y="29"/>
                    <a:pt x="18" y="29"/>
                    <a:pt x="21" y="31"/>
                  </a:cubicBezTo>
                  <a:cubicBezTo>
                    <a:pt x="23" y="32"/>
                    <a:pt x="26" y="34"/>
                    <a:pt x="28" y="35"/>
                  </a:cubicBezTo>
                  <a:cubicBezTo>
                    <a:pt x="31" y="36"/>
                    <a:pt x="39" y="39"/>
                    <a:pt x="41" y="40"/>
                  </a:cubicBezTo>
                  <a:cubicBezTo>
                    <a:pt x="44" y="41"/>
                    <a:pt x="42" y="41"/>
                    <a:pt x="46" y="41"/>
                  </a:cubicBezTo>
                  <a:cubicBezTo>
                    <a:pt x="50" y="41"/>
                    <a:pt x="49" y="41"/>
                    <a:pt x="51" y="41"/>
                  </a:cubicBezTo>
                  <a:cubicBezTo>
                    <a:pt x="51" y="40"/>
                    <a:pt x="51" y="39"/>
                    <a:pt x="50" y="39"/>
                  </a:cubicBezTo>
                  <a:cubicBezTo>
                    <a:pt x="50" y="38"/>
                    <a:pt x="49" y="38"/>
                    <a:pt x="49" y="38"/>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2" name="Freeform 17">
              <a:extLst>
                <a:ext uri="{FF2B5EF4-FFF2-40B4-BE49-F238E27FC236}">
                  <a16:creationId xmlns:a16="http://schemas.microsoft.com/office/drawing/2014/main" id="{DEF53CFF-44AF-F37A-EC80-ED524E93B6BB}"/>
                </a:ext>
              </a:extLst>
            </p:cNvPr>
            <p:cNvSpPr>
              <a:spLocks/>
            </p:cNvSpPr>
            <p:nvPr/>
          </p:nvSpPr>
          <p:spPr bwMode="auto">
            <a:xfrm>
              <a:off x="6175375" y="4022725"/>
              <a:ext cx="263525" cy="631825"/>
            </a:xfrm>
            <a:custGeom>
              <a:avLst/>
              <a:gdLst>
                <a:gd name="T0" fmla="*/ 43 w 69"/>
                <a:gd name="T1" fmla="*/ 150 h 166"/>
                <a:gd name="T2" fmla="*/ 39 w 69"/>
                <a:gd name="T3" fmla="*/ 145 h 166"/>
                <a:gd name="T4" fmla="*/ 45 w 69"/>
                <a:gd name="T5" fmla="*/ 144 h 166"/>
                <a:gd name="T6" fmla="*/ 54 w 69"/>
                <a:gd name="T7" fmla="*/ 139 h 166"/>
                <a:gd name="T8" fmla="*/ 51 w 69"/>
                <a:gd name="T9" fmla="*/ 133 h 166"/>
                <a:gd name="T10" fmla="*/ 49 w 69"/>
                <a:gd name="T11" fmla="*/ 124 h 166"/>
                <a:gd name="T12" fmla="*/ 50 w 69"/>
                <a:gd name="T13" fmla="*/ 117 h 166"/>
                <a:gd name="T14" fmla="*/ 56 w 69"/>
                <a:gd name="T15" fmla="*/ 116 h 166"/>
                <a:gd name="T16" fmla="*/ 62 w 69"/>
                <a:gd name="T17" fmla="*/ 112 h 166"/>
                <a:gd name="T18" fmla="*/ 61 w 69"/>
                <a:gd name="T19" fmla="*/ 107 h 166"/>
                <a:gd name="T20" fmla="*/ 60 w 69"/>
                <a:gd name="T21" fmla="*/ 100 h 166"/>
                <a:gd name="T22" fmla="*/ 60 w 69"/>
                <a:gd name="T23" fmla="*/ 95 h 166"/>
                <a:gd name="T24" fmla="*/ 59 w 69"/>
                <a:gd name="T25" fmla="*/ 90 h 166"/>
                <a:gd name="T26" fmla="*/ 54 w 69"/>
                <a:gd name="T27" fmla="*/ 87 h 166"/>
                <a:gd name="T28" fmla="*/ 58 w 69"/>
                <a:gd name="T29" fmla="*/ 83 h 166"/>
                <a:gd name="T30" fmla="*/ 64 w 69"/>
                <a:gd name="T31" fmla="*/ 78 h 166"/>
                <a:gd name="T32" fmla="*/ 66 w 69"/>
                <a:gd name="T33" fmla="*/ 73 h 166"/>
                <a:gd name="T34" fmla="*/ 68 w 69"/>
                <a:gd name="T35" fmla="*/ 57 h 166"/>
                <a:gd name="T36" fmla="*/ 60 w 69"/>
                <a:gd name="T37" fmla="*/ 46 h 166"/>
                <a:gd name="T38" fmla="*/ 56 w 69"/>
                <a:gd name="T39" fmla="*/ 40 h 166"/>
                <a:gd name="T40" fmla="*/ 55 w 69"/>
                <a:gd name="T41" fmla="*/ 34 h 166"/>
                <a:gd name="T42" fmla="*/ 48 w 69"/>
                <a:gd name="T43" fmla="*/ 35 h 166"/>
                <a:gd name="T44" fmla="*/ 43 w 69"/>
                <a:gd name="T45" fmla="*/ 31 h 166"/>
                <a:gd name="T46" fmla="*/ 46 w 69"/>
                <a:gd name="T47" fmla="*/ 26 h 166"/>
                <a:gd name="T48" fmla="*/ 51 w 69"/>
                <a:gd name="T49" fmla="*/ 21 h 166"/>
                <a:gd name="T50" fmla="*/ 52 w 69"/>
                <a:gd name="T51" fmla="*/ 17 h 166"/>
                <a:gd name="T52" fmla="*/ 50 w 69"/>
                <a:gd name="T53" fmla="*/ 10 h 166"/>
                <a:gd name="T54" fmla="*/ 48 w 69"/>
                <a:gd name="T55" fmla="*/ 1 h 166"/>
                <a:gd name="T56" fmla="*/ 45 w 69"/>
                <a:gd name="T57" fmla="*/ 10 h 166"/>
                <a:gd name="T58" fmla="*/ 41 w 69"/>
                <a:gd name="T59" fmla="*/ 18 h 166"/>
                <a:gd name="T60" fmla="*/ 36 w 69"/>
                <a:gd name="T61" fmla="*/ 23 h 166"/>
                <a:gd name="T62" fmla="*/ 35 w 69"/>
                <a:gd name="T63" fmla="*/ 32 h 166"/>
                <a:gd name="T64" fmla="*/ 35 w 69"/>
                <a:gd name="T65" fmla="*/ 39 h 166"/>
                <a:gd name="T66" fmla="*/ 34 w 69"/>
                <a:gd name="T67" fmla="*/ 54 h 166"/>
                <a:gd name="T68" fmla="*/ 36 w 69"/>
                <a:gd name="T69" fmla="*/ 69 h 166"/>
                <a:gd name="T70" fmla="*/ 25 w 69"/>
                <a:gd name="T71" fmla="*/ 81 h 166"/>
                <a:gd name="T72" fmla="*/ 22 w 69"/>
                <a:gd name="T73" fmla="*/ 90 h 166"/>
                <a:gd name="T74" fmla="*/ 21 w 69"/>
                <a:gd name="T75" fmla="*/ 100 h 166"/>
                <a:gd name="T76" fmla="*/ 14 w 69"/>
                <a:gd name="T77" fmla="*/ 109 h 166"/>
                <a:gd name="T78" fmla="*/ 4 w 69"/>
                <a:gd name="T79" fmla="*/ 110 h 166"/>
                <a:gd name="T80" fmla="*/ 1 w 69"/>
                <a:gd name="T81" fmla="*/ 120 h 166"/>
                <a:gd name="T82" fmla="*/ 7 w 69"/>
                <a:gd name="T83" fmla="*/ 126 h 166"/>
                <a:gd name="T84" fmla="*/ 3 w 69"/>
                <a:gd name="T85" fmla="*/ 137 h 166"/>
                <a:gd name="T86" fmla="*/ 4 w 69"/>
                <a:gd name="T87" fmla="*/ 150 h 166"/>
                <a:gd name="T88" fmla="*/ 14 w 69"/>
                <a:gd name="T89" fmla="*/ 164 h 166"/>
                <a:gd name="T90" fmla="*/ 24 w 69"/>
                <a:gd name="T91" fmla="*/ 162 h 166"/>
                <a:gd name="T92" fmla="*/ 31 w 69"/>
                <a:gd name="T93" fmla="*/ 160 h 166"/>
                <a:gd name="T94" fmla="*/ 40 w 69"/>
                <a:gd name="T95" fmla="*/ 159 h 166"/>
                <a:gd name="T96" fmla="*/ 45 w 69"/>
                <a:gd name="T97"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166">
                  <a:moveTo>
                    <a:pt x="44" y="154"/>
                  </a:moveTo>
                  <a:cubicBezTo>
                    <a:pt x="43" y="150"/>
                    <a:pt x="43" y="150"/>
                    <a:pt x="43" y="150"/>
                  </a:cubicBezTo>
                  <a:cubicBezTo>
                    <a:pt x="42" y="147"/>
                    <a:pt x="42" y="147"/>
                    <a:pt x="42" y="147"/>
                  </a:cubicBezTo>
                  <a:cubicBezTo>
                    <a:pt x="39" y="145"/>
                    <a:pt x="39" y="145"/>
                    <a:pt x="39" y="145"/>
                  </a:cubicBezTo>
                  <a:cubicBezTo>
                    <a:pt x="40" y="143"/>
                    <a:pt x="40" y="143"/>
                    <a:pt x="40" y="143"/>
                  </a:cubicBezTo>
                  <a:cubicBezTo>
                    <a:pt x="45" y="144"/>
                    <a:pt x="45" y="144"/>
                    <a:pt x="45" y="144"/>
                  </a:cubicBezTo>
                  <a:cubicBezTo>
                    <a:pt x="48" y="141"/>
                    <a:pt x="48" y="141"/>
                    <a:pt x="48" y="141"/>
                  </a:cubicBezTo>
                  <a:cubicBezTo>
                    <a:pt x="54" y="139"/>
                    <a:pt x="54" y="139"/>
                    <a:pt x="54" y="139"/>
                  </a:cubicBezTo>
                  <a:cubicBezTo>
                    <a:pt x="54" y="137"/>
                    <a:pt x="54" y="137"/>
                    <a:pt x="54" y="137"/>
                  </a:cubicBezTo>
                  <a:cubicBezTo>
                    <a:pt x="51" y="133"/>
                    <a:pt x="51" y="133"/>
                    <a:pt x="51" y="133"/>
                  </a:cubicBezTo>
                  <a:cubicBezTo>
                    <a:pt x="50" y="128"/>
                    <a:pt x="50" y="128"/>
                    <a:pt x="50" y="128"/>
                  </a:cubicBezTo>
                  <a:cubicBezTo>
                    <a:pt x="49" y="124"/>
                    <a:pt x="49" y="124"/>
                    <a:pt x="49" y="124"/>
                  </a:cubicBezTo>
                  <a:cubicBezTo>
                    <a:pt x="50" y="123"/>
                    <a:pt x="50" y="123"/>
                    <a:pt x="50" y="123"/>
                  </a:cubicBezTo>
                  <a:cubicBezTo>
                    <a:pt x="50" y="117"/>
                    <a:pt x="50" y="117"/>
                    <a:pt x="50" y="117"/>
                  </a:cubicBezTo>
                  <a:cubicBezTo>
                    <a:pt x="52" y="116"/>
                    <a:pt x="52" y="116"/>
                    <a:pt x="52" y="116"/>
                  </a:cubicBezTo>
                  <a:cubicBezTo>
                    <a:pt x="56" y="116"/>
                    <a:pt x="56" y="116"/>
                    <a:pt x="56" y="116"/>
                  </a:cubicBezTo>
                  <a:cubicBezTo>
                    <a:pt x="61" y="115"/>
                    <a:pt x="61" y="115"/>
                    <a:pt x="61" y="115"/>
                  </a:cubicBezTo>
                  <a:cubicBezTo>
                    <a:pt x="62" y="112"/>
                    <a:pt x="62" y="112"/>
                    <a:pt x="62" y="112"/>
                  </a:cubicBezTo>
                  <a:cubicBezTo>
                    <a:pt x="64" y="110"/>
                    <a:pt x="64" y="110"/>
                    <a:pt x="64" y="110"/>
                  </a:cubicBezTo>
                  <a:cubicBezTo>
                    <a:pt x="61" y="107"/>
                    <a:pt x="61" y="107"/>
                    <a:pt x="61" y="107"/>
                  </a:cubicBezTo>
                  <a:cubicBezTo>
                    <a:pt x="58" y="103"/>
                    <a:pt x="58" y="103"/>
                    <a:pt x="58" y="103"/>
                  </a:cubicBezTo>
                  <a:cubicBezTo>
                    <a:pt x="60" y="100"/>
                    <a:pt x="60" y="100"/>
                    <a:pt x="60" y="100"/>
                  </a:cubicBezTo>
                  <a:cubicBezTo>
                    <a:pt x="58" y="97"/>
                    <a:pt x="58" y="97"/>
                    <a:pt x="58" y="97"/>
                  </a:cubicBezTo>
                  <a:cubicBezTo>
                    <a:pt x="60" y="95"/>
                    <a:pt x="60" y="95"/>
                    <a:pt x="60" y="95"/>
                  </a:cubicBezTo>
                  <a:cubicBezTo>
                    <a:pt x="59" y="92"/>
                    <a:pt x="59" y="92"/>
                    <a:pt x="59" y="92"/>
                  </a:cubicBezTo>
                  <a:cubicBezTo>
                    <a:pt x="59" y="90"/>
                    <a:pt x="59" y="90"/>
                    <a:pt x="59" y="90"/>
                  </a:cubicBezTo>
                  <a:cubicBezTo>
                    <a:pt x="56" y="89"/>
                    <a:pt x="56" y="89"/>
                    <a:pt x="56" y="89"/>
                  </a:cubicBezTo>
                  <a:cubicBezTo>
                    <a:pt x="54" y="87"/>
                    <a:pt x="54" y="87"/>
                    <a:pt x="54" y="87"/>
                  </a:cubicBezTo>
                  <a:cubicBezTo>
                    <a:pt x="55" y="85"/>
                    <a:pt x="55" y="85"/>
                    <a:pt x="55" y="85"/>
                  </a:cubicBezTo>
                  <a:cubicBezTo>
                    <a:pt x="58" y="83"/>
                    <a:pt x="58" y="83"/>
                    <a:pt x="58" y="83"/>
                  </a:cubicBezTo>
                  <a:cubicBezTo>
                    <a:pt x="60" y="81"/>
                    <a:pt x="60" y="81"/>
                    <a:pt x="60" y="81"/>
                  </a:cubicBezTo>
                  <a:cubicBezTo>
                    <a:pt x="64" y="78"/>
                    <a:pt x="64" y="78"/>
                    <a:pt x="64" y="78"/>
                  </a:cubicBezTo>
                  <a:cubicBezTo>
                    <a:pt x="66" y="75"/>
                    <a:pt x="66" y="75"/>
                    <a:pt x="66" y="75"/>
                  </a:cubicBezTo>
                  <a:cubicBezTo>
                    <a:pt x="66" y="73"/>
                    <a:pt x="66" y="73"/>
                    <a:pt x="66" y="73"/>
                  </a:cubicBezTo>
                  <a:cubicBezTo>
                    <a:pt x="69" y="72"/>
                    <a:pt x="69" y="72"/>
                    <a:pt x="69" y="72"/>
                  </a:cubicBezTo>
                  <a:cubicBezTo>
                    <a:pt x="68" y="57"/>
                    <a:pt x="68" y="57"/>
                    <a:pt x="68" y="57"/>
                  </a:cubicBezTo>
                  <a:cubicBezTo>
                    <a:pt x="66" y="56"/>
                    <a:pt x="66" y="56"/>
                    <a:pt x="66" y="56"/>
                  </a:cubicBezTo>
                  <a:cubicBezTo>
                    <a:pt x="60" y="46"/>
                    <a:pt x="60" y="46"/>
                    <a:pt x="60" y="46"/>
                  </a:cubicBezTo>
                  <a:cubicBezTo>
                    <a:pt x="57" y="43"/>
                    <a:pt x="57" y="43"/>
                    <a:pt x="57" y="43"/>
                  </a:cubicBezTo>
                  <a:cubicBezTo>
                    <a:pt x="56" y="40"/>
                    <a:pt x="56" y="40"/>
                    <a:pt x="56" y="40"/>
                  </a:cubicBezTo>
                  <a:cubicBezTo>
                    <a:pt x="58" y="38"/>
                    <a:pt x="58" y="38"/>
                    <a:pt x="58" y="38"/>
                  </a:cubicBezTo>
                  <a:cubicBezTo>
                    <a:pt x="55" y="34"/>
                    <a:pt x="55" y="34"/>
                    <a:pt x="55" y="34"/>
                  </a:cubicBezTo>
                  <a:cubicBezTo>
                    <a:pt x="52" y="35"/>
                    <a:pt x="52" y="35"/>
                    <a:pt x="52" y="35"/>
                  </a:cubicBezTo>
                  <a:cubicBezTo>
                    <a:pt x="48" y="35"/>
                    <a:pt x="48" y="35"/>
                    <a:pt x="48" y="35"/>
                  </a:cubicBezTo>
                  <a:cubicBezTo>
                    <a:pt x="45" y="33"/>
                    <a:pt x="45" y="33"/>
                    <a:pt x="45" y="33"/>
                  </a:cubicBezTo>
                  <a:cubicBezTo>
                    <a:pt x="43" y="31"/>
                    <a:pt x="43" y="31"/>
                    <a:pt x="43" y="31"/>
                  </a:cubicBezTo>
                  <a:cubicBezTo>
                    <a:pt x="46" y="28"/>
                    <a:pt x="46" y="28"/>
                    <a:pt x="46" y="28"/>
                  </a:cubicBezTo>
                  <a:cubicBezTo>
                    <a:pt x="46" y="26"/>
                    <a:pt x="46" y="26"/>
                    <a:pt x="46" y="26"/>
                  </a:cubicBezTo>
                  <a:cubicBezTo>
                    <a:pt x="49" y="22"/>
                    <a:pt x="49" y="22"/>
                    <a:pt x="49" y="22"/>
                  </a:cubicBezTo>
                  <a:cubicBezTo>
                    <a:pt x="51" y="21"/>
                    <a:pt x="51" y="21"/>
                    <a:pt x="51" y="21"/>
                  </a:cubicBezTo>
                  <a:cubicBezTo>
                    <a:pt x="51" y="18"/>
                    <a:pt x="51" y="18"/>
                    <a:pt x="51" y="18"/>
                  </a:cubicBezTo>
                  <a:cubicBezTo>
                    <a:pt x="52" y="17"/>
                    <a:pt x="52" y="17"/>
                    <a:pt x="52" y="17"/>
                  </a:cubicBezTo>
                  <a:cubicBezTo>
                    <a:pt x="51" y="12"/>
                    <a:pt x="51" y="12"/>
                    <a:pt x="51" y="12"/>
                  </a:cubicBezTo>
                  <a:cubicBezTo>
                    <a:pt x="50" y="10"/>
                    <a:pt x="50" y="10"/>
                    <a:pt x="50" y="10"/>
                  </a:cubicBezTo>
                  <a:cubicBezTo>
                    <a:pt x="50" y="0"/>
                    <a:pt x="50" y="0"/>
                    <a:pt x="50" y="0"/>
                  </a:cubicBezTo>
                  <a:cubicBezTo>
                    <a:pt x="50" y="0"/>
                    <a:pt x="49" y="0"/>
                    <a:pt x="48" y="1"/>
                  </a:cubicBezTo>
                  <a:cubicBezTo>
                    <a:pt x="47" y="2"/>
                    <a:pt x="47" y="4"/>
                    <a:pt x="47" y="6"/>
                  </a:cubicBezTo>
                  <a:cubicBezTo>
                    <a:pt x="46" y="7"/>
                    <a:pt x="45" y="8"/>
                    <a:pt x="45" y="10"/>
                  </a:cubicBezTo>
                  <a:cubicBezTo>
                    <a:pt x="44" y="12"/>
                    <a:pt x="42" y="15"/>
                    <a:pt x="41" y="17"/>
                  </a:cubicBezTo>
                  <a:cubicBezTo>
                    <a:pt x="41" y="18"/>
                    <a:pt x="41" y="18"/>
                    <a:pt x="41" y="18"/>
                  </a:cubicBezTo>
                  <a:cubicBezTo>
                    <a:pt x="40" y="18"/>
                    <a:pt x="40" y="19"/>
                    <a:pt x="39" y="19"/>
                  </a:cubicBezTo>
                  <a:cubicBezTo>
                    <a:pt x="38" y="20"/>
                    <a:pt x="36" y="22"/>
                    <a:pt x="36" y="23"/>
                  </a:cubicBezTo>
                  <a:cubicBezTo>
                    <a:pt x="35" y="26"/>
                    <a:pt x="37" y="28"/>
                    <a:pt x="36" y="30"/>
                  </a:cubicBezTo>
                  <a:cubicBezTo>
                    <a:pt x="36" y="31"/>
                    <a:pt x="35" y="31"/>
                    <a:pt x="35" y="32"/>
                  </a:cubicBezTo>
                  <a:cubicBezTo>
                    <a:pt x="34" y="32"/>
                    <a:pt x="34" y="33"/>
                    <a:pt x="34" y="34"/>
                  </a:cubicBezTo>
                  <a:cubicBezTo>
                    <a:pt x="34" y="36"/>
                    <a:pt x="35" y="37"/>
                    <a:pt x="35" y="39"/>
                  </a:cubicBezTo>
                  <a:cubicBezTo>
                    <a:pt x="35" y="41"/>
                    <a:pt x="35" y="44"/>
                    <a:pt x="34" y="47"/>
                  </a:cubicBezTo>
                  <a:cubicBezTo>
                    <a:pt x="34" y="49"/>
                    <a:pt x="33" y="51"/>
                    <a:pt x="34" y="54"/>
                  </a:cubicBezTo>
                  <a:cubicBezTo>
                    <a:pt x="34" y="56"/>
                    <a:pt x="35" y="59"/>
                    <a:pt x="36" y="61"/>
                  </a:cubicBezTo>
                  <a:cubicBezTo>
                    <a:pt x="38" y="64"/>
                    <a:pt x="39" y="67"/>
                    <a:pt x="36" y="69"/>
                  </a:cubicBezTo>
                  <a:cubicBezTo>
                    <a:pt x="32" y="70"/>
                    <a:pt x="29" y="71"/>
                    <a:pt x="27" y="75"/>
                  </a:cubicBezTo>
                  <a:cubicBezTo>
                    <a:pt x="26" y="77"/>
                    <a:pt x="27" y="79"/>
                    <a:pt x="25" y="81"/>
                  </a:cubicBezTo>
                  <a:cubicBezTo>
                    <a:pt x="23" y="83"/>
                    <a:pt x="24" y="85"/>
                    <a:pt x="23" y="87"/>
                  </a:cubicBezTo>
                  <a:cubicBezTo>
                    <a:pt x="23" y="88"/>
                    <a:pt x="22" y="89"/>
                    <a:pt x="22" y="90"/>
                  </a:cubicBezTo>
                  <a:cubicBezTo>
                    <a:pt x="22" y="91"/>
                    <a:pt x="22" y="92"/>
                    <a:pt x="22" y="93"/>
                  </a:cubicBezTo>
                  <a:cubicBezTo>
                    <a:pt x="23" y="95"/>
                    <a:pt x="23" y="98"/>
                    <a:pt x="21" y="100"/>
                  </a:cubicBezTo>
                  <a:cubicBezTo>
                    <a:pt x="19" y="101"/>
                    <a:pt x="17" y="101"/>
                    <a:pt x="17" y="103"/>
                  </a:cubicBezTo>
                  <a:cubicBezTo>
                    <a:pt x="16" y="106"/>
                    <a:pt x="16" y="108"/>
                    <a:pt x="14" y="109"/>
                  </a:cubicBezTo>
                  <a:cubicBezTo>
                    <a:pt x="12" y="110"/>
                    <a:pt x="9" y="112"/>
                    <a:pt x="8" y="111"/>
                  </a:cubicBezTo>
                  <a:cubicBezTo>
                    <a:pt x="6" y="111"/>
                    <a:pt x="6" y="108"/>
                    <a:pt x="4" y="110"/>
                  </a:cubicBezTo>
                  <a:cubicBezTo>
                    <a:pt x="2" y="110"/>
                    <a:pt x="2" y="113"/>
                    <a:pt x="1" y="114"/>
                  </a:cubicBezTo>
                  <a:cubicBezTo>
                    <a:pt x="1" y="116"/>
                    <a:pt x="1" y="118"/>
                    <a:pt x="1" y="120"/>
                  </a:cubicBezTo>
                  <a:cubicBezTo>
                    <a:pt x="1" y="122"/>
                    <a:pt x="3" y="121"/>
                    <a:pt x="5" y="122"/>
                  </a:cubicBezTo>
                  <a:cubicBezTo>
                    <a:pt x="7" y="123"/>
                    <a:pt x="8" y="123"/>
                    <a:pt x="7" y="126"/>
                  </a:cubicBezTo>
                  <a:cubicBezTo>
                    <a:pt x="7" y="128"/>
                    <a:pt x="6" y="131"/>
                    <a:pt x="6" y="134"/>
                  </a:cubicBezTo>
                  <a:cubicBezTo>
                    <a:pt x="7" y="137"/>
                    <a:pt x="5" y="136"/>
                    <a:pt x="3" y="137"/>
                  </a:cubicBezTo>
                  <a:cubicBezTo>
                    <a:pt x="0" y="138"/>
                    <a:pt x="4" y="140"/>
                    <a:pt x="5" y="141"/>
                  </a:cubicBezTo>
                  <a:cubicBezTo>
                    <a:pt x="7" y="144"/>
                    <a:pt x="4" y="147"/>
                    <a:pt x="4" y="150"/>
                  </a:cubicBezTo>
                  <a:cubicBezTo>
                    <a:pt x="4" y="156"/>
                    <a:pt x="10" y="158"/>
                    <a:pt x="11" y="163"/>
                  </a:cubicBezTo>
                  <a:cubicBezTo>
                    <a:pt x="11" y="166"/>
                    <a:pt x="11" y="166"/>
                    <a:pt x="14" y="164"/>
                  </a:cubicBezTo>
                  <a:cubicBezTo>
                    <a:pt x="16" y="163"/>
                    <a:pt x="18" y="163"/>
                    <a:pt x="21" y="163"/>
                  </a:cubicBezTo>
                  <a:cubicBezTo>
                    <a:pt x="22" y="163"/>
                    <a:pt x="23" y="163"/>
                    <a:pt x="24" y="162"/>
                  </a:cubicBezTo>
                  <a:cubicBezTo>
                    <a:pt x="24" y="162"/>
                    <a:pt x="24" y="162"/>
                    <a:pt x="25" y="161"/>
                  </a:cubicBezTo>
                  <a:cubicBezTo>
                    <a:pt x="26" y="160"/>
                    <a:pt x="29" y="161"/>
                    <a:pt x="31" y="160"/>
                  </a:cubicBezTo>
                  <a:cubicBezTo>
                    <a:pt x="33" y="159"/>
                    <a:pt x="32" y="158"/>
                    <a:pt x="35" y="158"/>
                  </a:cubicBezTo>
                  <a:cubicBezTo>
                    <a:pt x="37" y="158"/>
                    <a:pt x="38" y="159"/>
                    <a:pt x="40" y="159"/>
                  </a:cubicBezTo>
                  <a:cubicBezTo>
                    <a:pt x="41" y="160"/>
                    <a:pt x="43" y="161"/>
                    <a:pt x="44" y="163"/>
                  </a:cubicBezTo>
                  <a:cubicBezTo>
                    <a:pt x="45" y="162"/>
                    <a:pt x="45" y="162"/>
                    <a:pt x="45" y="162"/>
                  </a:cubicBezTo>
                  <a:lnTo>
                    <a:pt x="44" y="154"/>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3" name="Freeform 19">
              <a:extLst>
                <a:ext uri="{FF2B5EF4-FFF2-40B4-BE49-F238E27FC236}">
                  <a16:creationId xmlns:a16="http://schemas.microsoft.com/office/drawing/2014/main" id="{6DC0BBFC-B92B-9957-877C-AB9253C3D9F8}"/>
                </a:ext>
              </a:extLst>
            </p:cNvPr>
            <p:cNvSpPr>
              <a:spLocks noEditPoints="1"/>
            </p:cNvSpPr>
            <p:nvPr/>
          </p:nvSpPr>
          <p:spPr bwMode="auto">
            <a:xfrm>
              <a:off x="1430338" y="3614738"/>
              <a:ext cx="762000" cy="993775"/>
            </a:xfrm>
            <a:custGeom>
              <a:avLst/>
              <a:gdLst>
                <a:gd name="T0" fmla="*/ 40 w 200"/>
                <a:gd name="T1" fmla="*/ 159 h 261"/>
                <a:gd name="T2" fmla="*/ 37 w 200"/>
                <a:gd name="T3" fmla="*/ 164 h 261"/>
                <a:gd name="T4" fmla="*/ 17 w 200"/>
                <a:gd name="T5" fmla="*/ 158 h 261"/>
                <a:gd name="T6" fmla="*/ 11 w 200"/>
                <a:gd name="T7" fmla="*/ 146 h 261"/>
                <a:gd name="T8" fmla="*/ 0 w 200"/>
                <a:gd name="T9" fmla="*/ 129 h 261"/>
                <a:gd name="T10" fmla="*/ 4 w 200"/>
                <a:gd name="T11" fmla="*/ 116 h 261"/>
                <a:gd name="T12" fmla="*/ 18 w 200"/>
                <a:gd name="T13" fmla="*/ 112 h 261"/>
                <a:gd name="T14" fmla="*/ 21 w 200"/>
                <a:gd name="T15" fmla="*/ 118 h 261"/>
                <a:gd name="T16" fmla="*/ 26 w 200"/>
                <a:gd name="T17" fmla="*/ 128 h 261"/>
                <a:gd name="T18" fmla="*/ 30 w 200"/>
                <a:gd name="T19" fmla="*/ 137 h 261"/>
                <a:gd name="T20" fmla="*/ 35 w 200"/>
                <a:gd name="T21" fmla="*/ 145 h 261"/>
                <a:gd name="T22" fmla="*/ 36 w 200"/>
                <a:gd name="T23" fmla="*/ 151 h 261"/>
                <a:gd name="T24" fmla="*/ 39 w 200"/>
                <a:gd name="T25" fmla="*/ 153 h 261"/>
                <a:gd name="T26" fmla="*/ 75 w 200"/>
                <a:gd name="T27" fmla="*/ 197 h 261"/>
                <a:gd name="T28" fmla="*/ 64 w 200"/>
                <a:gd name="T29" fmla="*/ 182 h 261"/>
                <a:gd name="T30" fmla="*/ 58 w 200"/>
                <a:gd name="T31" fmla="*/ 191 h 261"/>
                <a:gd name="T32" fmla="*/ 63 w 200"/>
                <a:gd name="T33" fmla="*/ 195 h 261"/>
                <a:gd name="T34" fmla="*/ 74 w 200"/>
                <a:gd name="T35" fmla="*/ 200 h 261"/>
                <a:gd name="T36" fmla="*/ 98 w 200"/>
                <a:gd name="T37" fmla="*/ 223 h 261"/>
                <a:gd name="T38" fmla="*/ 88 w 200"/>
                <a:gd name="T39" fmla="*/ 211 h 261"/>
                <a:gd name="T40" fmla="*/ 83 w 200"/>
                <a:gd name="T41" fmla="*/ 210 h 261"/>
                <a:gd name="T42" fmla="*/ 85 w 200"/>
                <a:gd name="T43" fmla="*/ 219 h 261"/>
                <a:gd name="T44" fmla="*/ 87 w 200"/>
                <a:gd name="T45" fmla="*/ 230 h 261"/>
                <a:gd name="T46" fmla="*/ 98 w 200"/>
                <a:gd name="T47" fmla="*/ 225 h 261"/>
                <a:gd name="T48" fmla="*/ 106 w 200"/>
                <a:gd name="T49" fmla="*/ 233 h 261"/>
                <a:gd name="T50" fmla="*/ 96 w 200"/>
                <a:gd name="T51" fmla="*/ 227 h 261"/>
                <a:gd name="T52" fmla="*/ 97 w 200"/>
                <a:gd name="T53" fmla="*/ 239 h 261"/>
                <a:gd name="T54" fmla="*/ 103 w 200"/>
                <a:gd name="T55" fmla="*/ 244 h 261"/>
                <a:gd name="T56" fmla="*/ 106 w 200"/>
                <a:gd name="T57" fmla="*/ 253 h 261"/>
                <a:gd name="T58" fmla="*/ 112 w 200"/>
                <a:gd name="T59" fmla="*/ 255 h 261"/>
                <a:gd name="T60" fmla="*/ 110 w 200"/>
                <a:gd name="T61" fmla="*/ 248 h 261"/>
                <a:gd name="T62" fmla="*/ 112 w 200"/>
                <a:gd name="T63" fmla="*/ 239 h 261"/>
                <a:gd name="T64" fmla="*/ 163 w 200"/>
                <a:gd name="T65" fmla="*/ 187 h 261"/>
                <a:gd name="T66" fmla="*/ 155 w 200"/>
                <a:gd name="T67" fmla="*/ 160 h 261"/>
                <a:gd name="T68" fmla="*/ 173 w 200"/>
                <a:gd name="T69" fmla="*/ 159 h 261"/>
                <a:gd name="T70" fmla="*/ 189 w 200"/>
                <a:gd name="T71" fmla="*/ 142 h 261"/>
                <a:gd name="T72" fmla="*/ 200 w 200"/>
                <a:gd name="T73" fmla="*/ 126 h 261"/>
                <a:gd name="T74" fmla="*/ 188 w 200"/>
                <a:gd name="T75" fmla="*/ 110 h 261"/>
                <a:gd name="T76" fmla="*/ 165 w 200"/>
                <a:gd name="T77" fmla="*/ 95 h 261"/>
                <a:gd name="T78" fmla="*/ 142 w 200"/>
                <a:gd name="T79" fmla="*/ 76 h 261"/>
                <a:gd name="T80" fmla="*/ 132 w 200"/>
                <a:gd name="T81" fmla="*/ 58 h 261"/>
                <a:gd name="T82" fmla="*/ 135 w 200"/>
                <a:gd name="T83" fmla="*/ 47 h 261"/>
                <a:gd name="T84" fmla="*/ 126 w 200"/>
                <a:gd name="T85" fmla="*/ 44 h 261"/>
                <a:gd name="T86" fmla="*/ 101 w 200"/>
                <a:gd name="T87" fmla="*/ 29 h 261"/>
                <a:gd name="T88" fmla="*/ 100 w 200"/>
                <a:gd name="T89" fmla="*/ 11 h 261"/>
                <a:gd name="T90" fmla="*/ 75 w 200"/>
                <a:gd name="T91" fmla="*/ 3 h 261"/>
                <a:gd name="T92" fmla="*/ 81 w 200"/>
                <a:gd name="T93" fmla="*/ 22 h 261"/>
                <a:gd name="T94" fmla="*/ 63 w 200"/>
                <a:gd name="T95" fmla="*/ 24 h 261"/>
                <a:gd name="T96" fmla="*/ 51 w 200"/>
                <a:gd name="T97" fmla="*/ 26 h 261"/>
                <a:gd name="T98" fmla="*/ 42 w 200"/>
                <a:gd name="T99" fmla="*/ 36 h 261"/>
                <a:gd name="T100" fmla="*/ 41 w 200"/>
                <a:gd name="T101" fmla="*/ 42 h 261"/>
                <a:gd name="T102" fmla="*/ 60 w 200"/>
                <a:gd name="T103" fmla="*/ 51 h 261"/>
                <a:gd name="T104" fmla="*/ 73 w 200"/>
                <a:gd name="T105" fmla="*/ 70 h 261"/>
                <a:gd name="T106" fmla="*/ 90 w 200"/>
                <a:gd name="T107" fmla="*/ 89 h 261"/>
                <a:gd name="T108" fmla="*/ 106 w 200"/>
                <a:gd name="T109" fmla="*/ 115 h 261"/>
                <a:gd name="T110" fmla="*/ 108 w 200"/>
                <a:gd name="T111" fmla="*/ 122 h 261"/>
                <a:gd name="T112" fmla="*/ 110 w 200"/>
                <a:gd name="T113" fmla="*/ 132 h 261"/>
                <a:gd name="T114" fmla="*/ 120 w 200"/>
                <a:gd name="T115" fmla="*/ 144 h 261"/>
                <a:gd name="T116" fmla="*/ 136 w 200"/>
                <a:gd name="T117" fmla="*/ 171 h 261"/>
                <a:gd name="T118" fmla="*/ 136 w 200"/>
                <a:gd name="T119" fmla="*/ 185 h 261"/>
                <a:gd name="T120" fmla="*/ 140 w 200"/>
                <a:gd name="T121" fmla="*/ 199 h 261"/>
                <a:gd name="T122" fmla="*/ 153 w 200"/>
                <a:gd name="T123" fmla="*/ 20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 h="261">
                  <a:moveTo>
                    <a:pt x="42" y="161"/>
                  </a:moveTo>
                  <a:cubicBezTo>
                    <a:pt x="42" y="161"/>
                    <a:pt x="42" y="162"/>
                    <a:pt x="42" y="162"/>
                  </a:cubicBezTo>
                  <a:cubicBezTo>
                    <a:pt x="41" y="163"/>
                    <a:pt x="41" y="162"/>
                    <a:pt x="40" y="162"/>
                  </a:cubicBezTo>
                  <a:cubicBezTo>
                    <a:pt x="40" y="161"/>
                    <a:pt x="40" y="160"/>
                    <a:pt x="40" y="159"/>
                  </a:cubicBezTo>
                  <a:cubicBezTo>
                    <a:pt x="40" y="159"/>
                    <a:pt x="39" y="158"/>
                    <a:pt x="39" y="158"/>
                  </a:cubicBezTo>
                  <a:cubicBezTo>
                    <a:pt x="38" y="159"/>
                    <a:pt x="39" y="161"/>
                    <a:pt x="39" y="162"/>
                  </a:cubicBezTo>
                  <a:cubicBezTo>
                    <a:pt x="39" y="163"/>
                    <a:pt x="41" y="165"/>
                    <a:pt x="39" y="165"/>
                  </a:cubicBezTo>
                  <a:cubicBezTo>
                    <a:pt x="38" y="165"/>
                    <a:pt x="38" y="165"/>
                    <a:pt x="37" y="164"/>
                  </a:cubicBezTo>
                  <a:cubicBezTo>
                    <a:pt x="36" y="164"/>
                    <a:pt x="34" y="164"/>
                    <a:pt x="33" y="165"/>
                  </a:cubicBezTo>
                  <a:cubicBezTo>
                    <a:pt x="33" y="165"/>
                    <a:pt x="32" y="166"/>
                    <a:pt x="31" y="166"/>
                  </a:cubicBezTo>
                  <a:cubicBezTo>
                    <a:pt x="30" y="166"/>
                    <a:pt x="29" y="165"/>
                    <a:pt x="28" y="164"/>
                  </a:cubicBezTo>
                  <a:cubicBezTo>
                    <a:pt x="24" y="162"/>
                    <a:pt x="19" y="162"/>
                    <a:pt x="17" y="158"/>
                  </a:cubicBezTo>
                  <a:cubicBezTo>
                    <a:pt x="16" y="157"/>
                    <a:pt x="16" y="156"/>
                    <a:pt x="15" y="155"/>
                  </a:cubicBezTo>
                  <a:cubicBezTo>
                    <a:pt x="14" y="155"/>
                    <a:pt x="14" y="154"/>
                    <a:pt x="14" y="154"/>
                  </a:cubicBezTo>
                  <a:cubicBezTo>
                    <a:pt x="14" y="153"/>
                    <a:pt x="14" y="152"/>
                    <a:pt x="14" y="151"/>
                  </a:cubicBezTo>
                  <a:cubicBezTo>
                    <a:pt x="13" y="149"/>
                    <a:pt x="12" y="148"/>
                    <a:pt x="11" y="146"/>
                  </a:cubicBezTo>
                  <a:cubicBezTo>
                    <a:pt x="10" y="145"/>
                    <a:pt x="8" y="143"/>
                    <a:pt x="7" y="141"/>
                  </a:cubicBezTo>
                  <a:cubicBezTo>
                    <a:pt x="6" y="139"/>
                    <a:pt x="4" y="138"/>
                    <a:pt x="3" y="136"/>
                  </a:cubicBezTo>
                  <a:cubicBezTo>
                    <a:pt x="2" y="135"/>
                    <a:pt x="2" y="133"/>
                    <a:pt x="1" y="132"/>
                  </a:cubicBezTo>
                  <a:cubicBezTo>
                    <a:pt x="1" y="131"/>
                    <a:pt x="0" y="130"/>
                    <a:pt x="0" y="129"/>
                  </a:cubicBezTo>
                  <a:cubicBezTo>
                    <a:pt x="0" y="128"/>
                    <a:pt x="0" y="127"/>
                    <a:pt x="1" y="127"/>
                  </a:cubicBezTo>
                  <a:cubicBezTo>
                    <a:pt x="2" y="125"/>
                    <a:pt x="3" y="124"/>
                    <a:pt x="4" y="122"/>
                  </a:cubicBezTo>
                  <a:cubicBezTo>
                    <a:pt x="4" y="121"/>
                    <a:pt x="4" y="120"/>
                    <a:pt x="4" y="119"/>
                  </a:cubicBezTo>
                  <a:cubicBezTo>
                    <a:pt x="4" y="118"/>
                    <a:pt x="4" y="116"/>
                    <a:pt x="4" y="116"/>
                  </a:cubicBezTo>
                  <a:cubicBezTo>
                    <a:pt x="4" y="115"/>
                    <a:pt x="5" y="114"/>
                    <a:pt x="6" y="114"/>
                  </a:cubicBezTo>
                  <a:cubicBezTo>
                    <a:pt x="7" y="114"/>
                    <a:pt x="9" y="114"/>
                    <a:pt x="10" y="114"/>
                  </a:cubicBezTo>
                  <a:cubicBezTo>
                    <a:pt x="12" y="114"/>
                    <a:pt x="14" y="114"/>
                    <a:pt x="15" y="113"/>
                  </a:cubicBezTo>
                  <a:cubicBezTo>
                    <a:pt x="16" y="113"/>
                    <a:pt x="18" y="111"/>
                    <a:pt x="18" y="112"/>
                  </a:cubicBezTo>
                  <a:cubicBezTo>
                    <a:pt x="18" y="113"/>
                    <a:pt x="18" y="113"/>
                    <a:pt x="19" y="114"/>
                  </a:cubicBezTo>
                  <a:cubicBezTo>
                    <a:pt x="19" y="114"/>
                    <a:pt x="19" y="114"/>
                    <a:pt x="20" y="114"/>
                  </a:cubicBezTo>
                  <a:cubicBezTo>
                    <a:pt x="21" y="115"/>
                    <a:pt x="21" y="115"/>
                    <a:pt x="21" y="116"/>
                  </a:cubicBezTo>
                  <a:cubicBezTo>
                    <a:pt x="21" y="116"/>
                    <a:pt x="21" y="117"/>
                    <a:pt x="21" y="118"/>
                  </a:cubicBezTo>
                  <a:cubicBezTo>
                    <a:pt x="20" y="119"/>
                    <a:pt x="20" y="120"/>
                    <a:pt x="21" y="121"/>
                  </a:cubicBezTo>
                  <a:cubicBezTo>
                    <a:pt x="21" y="122"/>
                    <a:pt x="22" y="122"/>
                    <a:pt x="22" y="123"/>
                  </a:cubicBezTo>
                  <a:cubicBezTo>
                    <a:pt x="23" y="123"/>
                    <a:pt x="24" y="124"/>
                    <a:pt x="24" y="125"/>
                  </a:cubicBezTo>
                  <a:cubicBezTo>
                    <a:pt x="25" y="126"/>
                    <a:pt x="26" y="127"/>
                    <a:pt x="26" y="128"/>
                  </a:cubicBezTo>
                  <a:cubicBezTo>
                    <a:pt x="26" y="129"/>
                    <a:pt x="26" y="130"/>
                    <a:pt x="26" y="130"/>
                  </a:cubicBezTo>
                  <a:cubicBezTo>
                    <a:pt x="26" y="131"/>
                    <a:pt x="27" y="131"/>
                    <a:pt x="27" y="131"/>
                  </a:cubicBezTo>
                  <a:cubicBezTo>
                    <a:pt x="28" y="133"/>
                    <a:pt x="27" y="134"/>
                    <a:pt x="28" y="135"/>
                  </a:cubicBezTo>
                  <a:cubicBezTo>
                    <a:pt x="29" y="136"/>
                    <a:pt x="29" y="136"/>
                    <a:pt x="30" y="137"/>
                  </a:cubicBezTo>
                  <a:cubicBezTo>
                    <a:pt x="30" y="138"/>
                    <a:pt x="30" y="138"/>
                    <a:pt x="30" y="139"/>
                  </a:cubicBezTo>
                  <a:cubicBezTo>
                    <a:pt x="30" y="140"/>
                    <a:pt x="31" y="141"/>
                    <a:pt x="31" y="141"/>
                  </a:cubicBezTo>
                  <a:cubicBezTo>
                    <a:pt x="33" y="141"/>
                    <a:pt x="33" y="141"/>
                    <a:pt x="34" y="142"/>
                  </a:cubicBezTo>
                  <a:cubicBezTo>
                    <a:pt x="34" y="143"/>
                    <a:pt x="35" y="144"/>
                    <a:pt x="35" y="145"/>
                  </a:cubicBezTo>
                  <a:cubicBezTo>
                    <a:pt x="34" y="146"/>
                    <a:pt x="33" y="144"/>
                    <a:pt x="32" y="144"/>
                  </a:cubicBezTo>
                  <a:cubicBezTo>
                    <a:pt x="31" y="145"/>
                    <a:pt x="34" y="147"/>
                    <a:pt x="35" y="147"/>
                  </a:cubicBezTo>
                  <a:cubicBezTo>
                    <a:pt x="35" y="148"/>
                    <a:pt x="36" y="148"/>
                    <a:pt x="36" y="149"/>
                  </a:cubicBezTo>
                  <a:cubicBezTo>
                    <a:pt x="37" y="150"/>
                    <a:pt x="35" y="150"/>
                    <a:pt x="36" y="151"/>
                  </a:cubicBezTo>
                  <a:cubicBezTo>
                    <a:pt x="37" y="152"/>
                    <a:pt x="37" y="152"/>
                    <a:pt x="37" y="152"/>
                  </a:cubicBezTo>
                  <a:cubicBezTo>
                    <a:pt x="37" y="152"/>
                    <a:pt x="37" y="152"/>
                    <a:pt x="37" y="152"/>
                  </a:cubicBezTo>
                  <a:cubicBezTo>
                    <a:pt x="38" y="153"/>
                    <a:pt x="37" y="153"/>
                    <a:pt x="38" y="154"/>
                  </a:cubicBezTo>
                  <a:cubicBezTo>
                    <a:pt x="38" y="154"/>
                    <a:pt x="39" y="153"/>
                    <a:pt x="39" y="153"/>
                  </a:cubicBezTo>
                  <a:cubicBezTo>
                    <a:pt x="40" y="153"/>
                    <a:pt x="41" y="155"/>
                    <a:pt x="41" y="156"/>
                  </a:cubicBezTo>
                  <a:cubicBezTo>
                    <a:pt x="42" y="157"/>
                    <a:pt x="42" y="159"/>
                    <a:pt x="42" y="161"/>
                  </a:cubicBezTo>
                  <a:close/>
                  <a:moveTo>
                    <a:pt x="76" y="198"/>
                  </a:moveTo>
                  <a:cubicBezTo>
                    <a:pt x="75" y="198"/>
                    <a:pt x="75" y="197"/>
                    <a:pt x="75" y="197"/>
                  </a:cubicBezTo>
                  <a:cubicBezTo>
                    <a:pt x="73" y="196"/>
                    <a:pt x="72" y="195"/>
                    <a:pt x="71" y="194"/>
                  </a:cubicBezTo>
                  <a:cubicBezTo>
                    <a:pt x="70" y="193"/>
                    <a:pt x="69" y="192"/>
                    <a:pt x="69" y="190"/>
                  </a:cubicBezTo>
                  <a:cubicBezTo>
                    <a:pt x="67" y="188"/>
                    <a:pt x="67" y="186"/>
                    <a:pt x="67" y="183"/>
                  </a:cubicBezTo>
                  <a:cubicBezTo>
                    <a:pt x="66" y="183"/>
                    <a:pt x="65" y="182"/>
                    <a:pt x="64" y="182"/>
                  </a:cubicBezTo>
                  <a:cubicBezTo>
                    <a:pt x="63" y="181"/>
                    <a:pt x="61" y="180"/>
                    <a:pt x="59" y="180"/>
                  </a:cubicBezTo>
                  <a:cubicBezTo>
                    <a:pt x="58" y="181"/>
                    <a:pt x="58" y="183"/>
                    <a:pt x="58" y="184"/>
                  </a:cubicBezTo>
                  <a:cubicBezTo>
                    <a:pt x="58" y="186"/>
                    <a:pt x="59" y="188"/>
                    <a:pt x="57" y="187"/>
                  </a:cubicBezTo>
                  <a:cubicBezTo>
                    <a:pt x="57" y="188"/>
                    <a:pt x="57" y="190"/>
                    <a:pt x="58" y="191"/>
                  </a:cubicBezTo>
                  <a:cubicBezTo>
                    <a:pt x="59" y="191"/>
                    <a:pt x="60" y="191"/>
                    <a:pt x="61" y="192"/>
                  </a:cubicBezTo>
                  <a:cubicBezTo>
                    <a:pt x="60" y="193"/>
                    <a:pt x="60" y="193"/>
                    <a:pt x="60" y="193"/>
                  </a:cubicBezTo>
                  <a:cubicBezTo>
                    <a:pt x="60" y="194"/>
                    <a:pt x="60" y="196"/>
                    <a:pt x="62" y="195"/>
                  </a:cubicBezTo>
                  <a:cubicBezTo>
                    <a:pt x="62" y="195"/>
                    <a:pt x="62" y="195"/>
                    <a:pt x="63" y="195"/>
                  </a:cubicBezTo>
                  <a:cubicBezTo>
                    <a:pt x="63" y="195"/>
                    <a:pt x="64" y="195"/>
                    <a:pt x="64" y="195"/>
                  </a:cubicBezTo>
                  <a:cubicBezTo>
                    <a:pt x="66" y="196"/>
                    <a:pt x="67" y="197"/>
                    <a:pt x="69" y="198"/>
                  </a:cubicBezTo>
                  <a:cubicBezTo>
                    <a:pt x="70" y="199"/>
                    <a:pt x="71" y="198"/>
                    <a:pt x="72" y="199"/>
                  </a:cubicBezTo>
                  <a:cubicBezTo>
                    <a:pt x="72" y="199"/>
                    <a:pt x="73" y="200"/>
                    <a:pt x="74" y="200"/>
                  </a:cubicBezTo>
                  <a:cubicBezTo>
                    <a:pt x="74" y="201"/>
                    <a:pt x="74" y="201"/>
                    <a:pt x="75" y="202"/>
                  </a:cubicBezTo>
                  <a:cubicBezTo>
                    <a:pt x="77" y="202"/>
                    <a:pt x="76" y="201"/>
                    <a:pt x="76" y="200"/>
                  </a:cubicBezTo>
                  <a:cubicBezTo>
                    <a:pt x="76" y="200"/>
                    <a:pt x="76" y="199"/>
                    <a:pt x="76" y="198"/>
                  </a:cubicBezTo>
                  <a:close/>
                  <a:moveTo>
                    <a:pt x="98" y="223"/>
                  </a:moveTo>
                  <a:cubicBezTo>
                    <a:pt x="98" y="222"/>
                    <a:pt x="98" y="221"/>
                    <a:pt x="98" y="221"/>
                  </a:cubicBezTo>
                  <a:cubicBezTo>
                    <a:pt x="97" y="219"/>
                    <a:pt x="96" y="218"/>
                    <a:pt x="95" y="216"/>
                  </a:cubicBezTo>
                  <a:cubicBezTo>
                    <a:pt x="94" y="215"/>
                    <a:pt x="93" y="215"/>
                    <a:pt x="91" y="214"/>
                  </a:cubicBezTo>
                  <a:cubicBezTo>
                    <a:pt x="90" y="214"/>
                    <a:pt x="89" y="212"/>
                    <a:pt x="88" y="211"/>
                  </a:cubicBezTo>
                  <a:cubicBezTo>
                    <a:pt x="87" y="211"/>
                    <a:pt x="87" y="210"/>
                    <a:pt x="87" y="209"/>
                  </a:cubicBezTo>
                  <a:cubicBezTo>
                    <a:pt x="86" y="209"/>
                    <a:pt x="86" y="209"/>
                    <a:pt x="85" y="208"/>
                  </a:cubicBezTo>
                  <a:cubicBezTo>
                    <a:pt x="84" y="209"/>
                    <a:pt x="84" y="208"/>
                    <a:pt x="83" y="209"/>
                  </a:cubicBezTo>
                  <a:cubicBezTo>
                    <a:pt x="83" y="210"/>
                    <a:pt x="83" y="210"/>
                    <a:pt x="83" y="210"/>
                  </a:cubicBezTo>
                  <a:cubicBezTo>
                    <a:pt x="83" y="211"/>
                    <a:pt x="83" y="211"/>
                    <a:pt x="83" y="212"/>
                  </a:cubicBezTo>
                  <a:cubicBezTo>
                    <a:pt x="82" y="213"/>
                    <a:pt x="83" y="213"/>
                    <a:pt x="83" y="213"/>
                  </a:cubicBezTo>
                  <a:cubicBezTo>
                    <a:pt x="84" y="214"/>
                    <a:pt x="84" y="215"/>
                    <a:pt x="84" y="216"/>
                  </a:cubicBezTo>
                  <a:cubicBezTo>
                    <a:pt x="83" y="217"/>
                    <a:pt x="84" y="218"/>
                    <a:pt x="85" y="219"/>
                  </a:cubicBezTo>
                  <a:cubicBezTo>
                    <a:pt x="86" y="220"/>
                    <a:pt x="86" y="222"/>
                    <a:pt x="85" y="223"/>
                  </a:cubicBezTo>
                  <a:cubicBezTo>
                    <a:pt x="85" y="224"/>
                    <a:pt x="84" y="225"/>
                    <a:pt x="84" y="225"/>
                  </a:cubicBezTo>
                  <a:cubicBezTo>
                    <a:pt x="84" y="226"/>
                    <a:pt x="85" y="226"/>
                    <a:pt x="85" y="227"/>
                  </a:cubicBezTo>
                  <a:cubicBezTo>
                    <a:pt x="85" y="228"/>
                    <a:pt x="85" y="230"/>
                    <a:pt x="87" y="230"/>
                  </a:cubicBezTo>
                  <a:cubicBezTo>
                    <a:pt x="88" y="230"/>
                    <a:pt x="87" y="228"/>
                    <a:pt x="89" y="228"/>
                  </a:cubicBezTo>
                  <a:cubicBezTo>
                    <a:pt x="90" y="228"/>
                    <a:pt x="92" y="228"/>
                    <a:pt x="93" y="228"/>
                  </a:cubicBezTo>
                  <a:cubicBezTo>
                    <a:pt x="94" y="228"/>
                    <a:pt x="94" y="227"/>
                    <a:pt x="95" y="226"/>
                  </a:cubicBezTo>
                  <a:cubicBezTo>
                    <a:pt x="95" y="226"/>
                    <a:pt x="97" y="226"/>
                    <a:pt x="98" y="225"/>
                  </a:cubicBezTo>
                  <a:cubicBezTo>
                    <a:pt x="98" y="225"/>
                    <a:pt x="99" y="224"/>
                    <a:pt x="98" y="223"/>
                  </a:cubicBezTo>
                  <a:close/>
                  <a:moveTo>
                    <a:pt x="112" y="239"/>
                  </a:moveTo>
                  <a:cubicBezTo>
                    <a:pt x="111" y="239"/>
                    <a:pt x="111" y="238"/>
                    <a:pt x="110" y="237"/>
                  </a:cubicBezTo>
                  <a:cubicBezTo>
                    <a:pt x="109" y="236"/>
                    <a:pt x="108" y="234"/>
                    <a:pt x="106" y="233"/>
                  </a:cubicBezTo>
                  <a:cubicBezTo>
                    <a:pt x="105" y="232"/>
                    <a:pt x="105" y="232"/>
                    <a:pt x="104" y="231"/>
                  </a:cubicBezTo>
                  <a:cubicBezTo>
                    <a:pt x="104" y="231"/>
                    <a:pt x="103" y="230"/>
                    <a:pt x="103" y="230"/>
                  </a:cubicBezTo>
                  <a:cubicBezTo>
                    <a:pt x="101" y="229"/>
                    <a:pt x="102" y="227"/>
                    <a:pt x="100" y="226"/>
                  </a:cubicBezTo>
                  <a:cubicBezTo>
                    <a:pt x="99" y="226"/>
                    <a:pt x="97" y="226"/>
                    <a:pt x="96" y="227"/>
                  </a:cubicBezTo>
                  <a:cubicBezTo>
                    <a:pt x="96" y="228"/>
                    <a:pt x="96" y="230"/>
                    <a:pt x="97" y="231"/>
                  </a:cubicBezTo>
                  <a:cubicBezTo>
                    <a:pt x="97" y="232"/>
                    <a:pt x="98" y="234"/>
                    <a:pt x="98" y="235"/>
                  </a:cubicBezTo>
                  <a:cubicBezTo>
                    <a:pt x="97" y="236"/>
                    <a:pt x="97" y="236"/>
                    <a:pt x="97" y="237"/>
                  </a:cubicBezTo>
                  <a:cubicBezTo>
                    <a:pt x="97" y="238"/>
                    <a:pt x="97" y="238"/>
                    <a:pt x="97" y="239"/>
                  </a:cubicBezTo>
                  <a:cubicBezTo>
                    <a:pt x="98" y="240"/>
                    <a:pt x="98" y="240"/>
                    <a:pt x="98" y="241"/>
                  </a:cubicBezTo>
                  <a:cubicBezTo>
                    <a:pt x="98" y="241"/>
                    <a:pt x="99" y="242"/>
                    <a:pt x="99" y="242"/>
                  </a:cubicBezTo>
                  <a:cubicBezTo>
                    <a:pt x="100" y="243"/>
                    <a:pt x="100" y="244"/>
                    <a:pt x="101" y="244"/>
                  </a:cubicBezTo>
                  <a:cubicBezTo>
                    <a:pt x="102" y="245"/>
                    <a:pt x="102" y="244"/>
                    <a:pt x="103" y="244"/>
                  </a:cubicBezTo>
                  <a:cubicBezTo>
                    <a:pt x="103" y="244"/>
                    <a:pt x="104" y="245"/>
                    <a:pt x="105" y="246"/>
                  </a:cubicBezTo>
                  <a:cubicBezTo>
                    <a:pt x="105" y="246"/>
                    <a:pt x="105" y="247"/>
                    <a:pt x="106" y="248"/>
                  </a:cubicBezTo>
                  <a:cubicBezTo>
                    <a:pt x="106" y="249"/>
                    <a:pt x="106" y="251"/>
                    <a:pt x="106" y="252"/>
                  </a:cubicBezTo>
                  <a:cubicBezTo>
                    <a:pt x="106" y="252"/>
                    <a:pt x="105" y="253"/>
                    <a:pt x="106" y="253"/>
                  </a:cubicBezTo>
                  <a:cubicBezTo>
                    <a:pt x="106" y="254"/>
                    <a:pt x="107" y="254"/>
                    <a:pt x="107" y="254"/>
                  </a:cubicBezTo>
                  <a:cubicBezTo>
                    <a:pt x="109" y="255"/>
                    <a:pt x="109" y="256"/>
                    <a:pt x="110" y="257"/>
                  </a:cubicBezTo>
                  <a:cubicBezTo>
                    <a:pt x="110" y="258"/>
                    <a:pt x="112" y="261"/>
                    <a:pt x="113" y="259"/>
                  </a:cubicBezTo>
                  <a:cubicBezTo>
                    <a:pt x="113" y="259"/>
                    <a:pt x="113" y="256"/>
                    <a:pt x="112" y="255"/>
                  </a:cubicBezTo>
                  <a:cubicBezTo>
                    <a:pt x="111" y="254"/>
                    <a:pt x="110" y="254"/>
                    <a:pt x="109" y="253"/>
                  </a:cubicBezTo>
                  <a:cubicBezTo>
                    <a:pt x="109" y="252"/>
                    <a:pt x="110" y="251"/>
                    <a:pt x="110" y="250"/>
                  </a:cubicBezTo>
                  <a:cubicBezTo>
                    <a:pt x="109" y="249"/>
                    <a:pt x="109" y="249"/>
                    <a:pt x="109" y="249"/>
                  </a:cubicBezTo>
                  <a:cubicBezTo>
                    <a:pt x="108" y="248"/>
                    <a:pt x="110" y="248"/>
                    <a:pt x="110" y="248"/>
                  </a:cubicBezTo>
                  <a:cubicBezTo>
                    <a:pt x="112" y="248"/>
                    <a:pt x="113" y="248"/>
                    <a:pt x="113" y="247"/>
                  </a:cubicBezTo>
                  <a:cubicBezTo>
                    <a:pt x="113" y="245"/>
                    <a:pt x="113" y="244"/>
                    <a:pt x="113" y="243"/>
                  </a:cubicBezTo>
                  <a:cubicBezTo>
                    <a:pt x="113" y="242"/>
                    <a:pt x="113" y="241"/>
                    <a:pt x="113" y="241"/>
                  </a:cubicBezTo>
                  <a:cubicBezTo>
                    <a:pt x="113" y="240"/>
                    <a:pt x="113" y="240"/>
                    <a:pt x="112" y="239"/>
                  </a:cubicBezTo>
                  <a:close/>
                  <a:moveTo>
                    <a:pt x="153" y="204"/>
                  </a:moveTo>
                  <a:cubicBezTo>
                    <a:pt x="155" y="203"/>
                    <a:pt x="156" y="202"/>
                    <a:pt x="157" y="201"/>
                  </a:cubicBezTo>
                  <a:cubicBezTo>
                    <a:pt x="158" y="200"/>
                    <a:pt x="160" y="199"/>
                    <a:pt x="161" y="198"/>
                  </a:cubicBezTo>
                  <a:cubicBezTo>
                    <a:pt x="163" y="195"/>
                    <a:pt x="163" y="190"/>
                    <a:pt x="163" y="187"/>
                  </a:cubicBezTo>
                  <a:cubicBezTo>
                    <a:pt x="162" y="182"/>
                    <a:pt x="158" y="180"/>
                    <a:pt x="156" y="175"/>
                  </a:cubicBezTo>
                  <a:cubicBezTo>
                    <a:pt x="155" y="174"/>
                    <a:pt x="155" y="173"/>
                    <a:pt x="156" y="172"/>
                  </a:cubicBezTo>
                  <a:cubicBezTo>
                    <a:pt x="156" y="170"/>
                    <a:pt x="156" y="169"/>
                    <a:pt x="155" y="168"/>
                  </a:cubicBezTo>
                  <a:cubicBezTo>
                    <a:pt x="155" y="165"/>
                    <a:pt x="153" y="162"/>
                    <a:pt x="155" y="160"/>
                  </a:cubicBezTo>
                  <a:cubicBezTo>
                    <a:pt x="157" y="161"/>
                    <a:pt x="157" y="159"/>
                    <a:pt x="158" y="159"/>
                  </a:cubicBezTo>
                  <a:cubicBezTo>
                    <a:pt x="159" y="159"/>
                    <a:pt x="160" y="159"/>
                    <a:pt x="161" y="160"/>
                  </a:cubicBezTo>
                  <a:cubicBezTo>
                    <a:pt x="163" y="161"/>
                    <a:pt x="164" y="160"/>
                    <a:pt x="166" y="159"/>
                  </a:cubicBezTo>
                  <a:cubicBezTo>
                    <a:pt x="168" y="159"/>
                    <a:pt x="170" y="159"/>
                    <a:pt x="173" y="159"/>
                  </a:cubicBezTo>
                  <a:cubicBezTo>
                    <a:pt x="177" y="160"/>
                    <a:pt x="178" y="156"/>
                    <a:pt x="181" y="152"/>
                  </a:cubicBezTo>
                  <a:cubicBezTo>
                    <a:pt x="182" y="151"/>
                    <a:pt x="183" y="149"/>
                    <a:pt x="185" y="148"/>
                  </a:cubicBezTo>
                  <a:cubicBezTo>
                    <a:pt x="186" y="147"/>
                    <a:pt x="189" y="146"/>
                    <a:pt x="189" y="145"/>
                  </a:cubicBezTo>
                  <a:cubicBezTo>
                    <a:pt x="190" y="144"/>
                    <a:pt x="189" y="143"/>
                    <a:pt x="189" y="142"/>
                  </a:cubicBezTo>
                  <a:cubicBezTo>
                    <a:pt x="189" y="141"/>
                    <a:pt x="190" y="140"/>
                    <a:pt x="190" y="139"/>
                  </a:cubicBezTo>
                  <a:cubicBezTo>
                    <a:pt x="190" y="137"/>
                    <a:pt x="188" y="136"/>
                    <a:pt x="189" y="134"/>
                  </a:cubicBezTo>
                  <a:cubicBezTo>
                    <a:pt x="190" y="130"/>
                    <a:pt x="193" y="131"/>
                    <a:pt x="196" y="130"/>
                  </a:cubicBezTo>
                  <a:cubicBezTo>
                    <a:pt x="197" y="129"/>
                    <a:pt x="200" y="127"/>
                    <a:pt x="200" y="126"/>
                  </a:cubicBezTo>
                  <a:cubicBezTo>
                    <a:pt x="199" y="124"/>
                    <a:pt x="197" y="124"/>
                    <a:pt x="197" y="122"/>
                  </a:cubicBezTo>
                  <a:cubicBezTo>
                    <a:pt x="196" y="120"/>
                    <a:pt x="197" y="118"/>
                    <a:pt x="197" y="116"/>
                  </a:cubicBezTo>
                  <a:cubicBezTo>
                    <a:pt x="194" y="116"/>
                    <a:pt x="191" y="116"/>
                    <a:pt x="189" y="114"/>
                  </a:cubicBezTo>
                  <a:cubicBezTo>
                    <a:pt x="188" y="112"/>
                    <a:pt x="189" y="111"/>
                    <a:pt x="188" y="110"/>
                  </a:cubicBezTo>
                  <a:cubicBezTo>
                    <a:pt x="188" y="109"/>
                    <a:pt x="186" y="108"/>
                    <a:pt x="186" y="108"/>
                  </a:cubicBezTo>
                  <a:cubicBezTo>
                    <a:pt x="183" y="106"/>
                    <a:pt x="180" y="107"/>
                    <a:pt x="177" y="106"/>
                  </a:cubicBezTo>
                  <a:cubicBezTo>
                    <a:pt x="174" y="105"/>
                    <a:pt x="173" y="102"/>
                    <a:pt x="171" y="100"/>
                  </a:cubicBezTo>
                  <a:cubicBezTo>
                    <a:pt x="169" y="98"/>
                    <a:pt x="167" y="96"/>
                    <a:pt x="165" y="95"/>
                  </a:cubicBezTo>
                  <a:cubicBezTo>
                    <a:pt x="161" y="94"/>
                    <a:pt x="157" y="91"/>
                    <a:pt x="154" y="88"/>
                  </a:cubicBezTo>
                  <a:cubicBezTo>
                    <a:pt x="152" y="87"/>
                    <a:pt x="150" y="85"/>
                    <a:pt x="149" y="83"/>
                  </a:cubicBezTo>
                  <a:cubicBezTo>
                    <a:pt x="148" y="81"/>
                    <a:pt x="149" y="79"/>
                    <a:pt x="147" y="77"/>
                  </a:cubicBezTo>
                  <a:cubicBezTo>
                    <a:pt x="146" y="74"/>
                    <a:pt x="144" y="75"/>
                    <a:pt x="142" y="76"/>
                  </a:cubicBezTo>
                  <a:cubicBezTo>
                    <a:pt x="140" y="77"/>
                    <a:pt x="138" y="78"/>
                    <a:pt x="137" y="76"/>
                  </a:cubicBezTo>
                  <a:cubicBezTo>
                    <a:pt x="136" y="73"/>
                    <a:pt x="134" y="72"/>
                    <a:pt x="133" y="70"/>
                  </a:cubicBezTo>
                  <a:cubicBezTo>
                    <a:pt x="132" y="68"/>
                    <a:pt x="132" y="66"/>
                    <a:pt x="131" y="64"/>
                  </a:cubicBezTo>
                  <a:cubicBezTo>
                    <a:pt x="132" y="62"/>
                    <a:pt x="130" y="60"/>
                    <a:pt x="132" y="58"/>
                  </a:cubicBezTo>
                  <a:cubicBezTo>
                    <a:pt x="133" y="57"/>
                    <a:pt x="135" y="58"/>
                    <a:pt x="136" y="56"/>
                  </a:cubicBezTo>
                  <a:cubicBezTo>
                    <a:pt x="137" y="55"/>
                    <a:pt x="136" y="53"/>
                    <a:pt x="134" y="53"/>
                  </a:cubicBezTo>
                  <a:cubicBezTo>
                    <a:pt x="133" y="52"/>
                    <a:pt x="132" y="52"/>
                    <a:pt x="132" y="50"/>
                  </a:cubicBezTo>
                  <a:cubicBezTo>
                    <a:pt x="132" y="48"/>
                    <a:pt x="134" y="48"/>
                    <a:pt x="135" y="47"/>
                  </a:cubicBezTo>
                  <a:cubicBezTo>
                    <a:pt x="136" y="46"/>
                    <a:pt x="136" y="45"/>
                    <a:pt x="136" y="43"/>
                  </a:cubicBezTo>
                  <a:cubicBezTo>
                    <a:pt x="135" y="41"/>
                    <a:pt x="135" y="41"/>
                    <a:pt x="132" y="41"/>
                  </a:cubicBezTo>
                  <a:cubicBezTo>
                    <a:pt x="131" y="41"/>
                    <a:pt x="129" y="41"/>
                    <a:pt x="128" y="42"/>
                  </a:cubicBezTo>
                  <a:cubicBezTo>
                    <a:pt x="127" y="42"/>
                    <a:pt x="127" y="43"/>
                    <a:pt x="126" y="44"/>
                  </a:cubicBezTo>
                  <a:cubicBezTo>
                    <a:pt x="124" y="44"/>
                    <a:pt x="122" y="41"/>
                    <a:pt x="121" y="40"/>
                  </a:cubicBezTo>
                  <a:cubicBezTo>
                    <a:pt x="120" y="38"/>
                    <a:pt x="118" y="36"/>
                    <a:pt x="116" y="34"/>
                  </a:cubicBezTo>
                  <a:cubicBezTo>
                    <a:pt x="115" y="33"/>
                    <a:pt x="115" y="31"/>
                    <a:pt x="113" y="31"/>
                  </a:cubicBezTo>
                  <a:cubicBezTo>
                    <a:pt x="110" y="30"/>
                    <a:pt x="102" y="34"/>
                    <a:pt x="101" y="29"/>
                  </a:cubicBezTo>
                  <a:cubicBezTo>
                    <a:pt x="100" y="28"/>
                    <a:pt x="101" y="26"/>
                    <a:pt x="101" y="25"/>
                  </a:cubicBezTo>
                  <a:cubicBezTo>
                    <a:pt x="100" y="22"/>
                    <a:pt x="97" y="24"/>
                    <a:pt x="96" y="22"/>
                  </a:cubicBezTo>
                  <a:cubicBezTo>
                    <a:pt x="95" y="19"/>
                    <a:pt x="97" y="16"/>
                    <a:pt x="99" y="14"/>
                  </a:cubicBezTo>
                  <a:cubicBezTo>
                    <a:pt x="100" y="13"/>
                    <a:pt x="101" y="13"/>
                    <a:pt x="100" y="11"/>
                  </a:cubicBezTo>
                  <a:cubicBezTo>
                    <a:pt x="99" y="10"/>
                    <a:pt x="97" y="10"/>
                    <a:pt x="96" y="9"/>
                  </a:cubicBezTo>
                  <a:cubicBezTo>
                    <a:pt x="93" y="8"/>
                    <a:pt x="91" y="7"/>
                    <a:pt x="88" y="7"/>
                  </a:cubicBezTo>
                  <a:cubicBezTo>
                    <a:pt x="87" y="6"/>
                    <a:pt x="84" y="5"/>
                    <a:pt x="83" y="4"/>
                  </a:cubicBezTo>
                  <a:cubicBezTo>
                    <a:pt x="81" y="3"/>
                    <a:pt x="78" y="0"/>
                    <a:pt x="75" y="3"/>
                  </a:cubicBezTo>
                  <a:cubicBezTo>
                    <a:pt x="75" y="4"/>
                    <a:pt x="75" y="6"/>
                    <a:pt x="75" y="7"/>
                  </a:cubicBezTo>
                  <a:cubicBezTo>
                    <a:pt x="75" y="9"/>
                    <a:pt x="74" y="10"/>
                    <a:pt x="74" y="11"/>
                  </a:cubicBezTo>
                  <a:cubicBezTo>
                    <a:pt x="74" y="14"/>
                    <a:pt x="77" y="15"/>
                    <a:pt x="79" y="16"/>
                  </a:cubicBezTo>
                  <a:cubicBezTo>
                    <a:pt x="81" y="17"/>
                    <a:pt x="80" y="19"/>
                    <a:pt x="81" y="22"/>
                  </a:cubicBezTo>
                  <a:cubicBezTo>
                    <a:pt x="82" y="23"/>
                    <a:pt x="82" y="25"/>
                    <a:pt x="80" y="27"/>
                  </a:cubicBezTo>
                  <a:cubicBezTo>
                    <a:pt x="78" y="28"/>
                    <a:pt x="76" y="27"/>
                    <a:pt x="74" y="27"/>
                  </a:cubicBezTo>
                  <a:cubicBezTo>
                    <a:pt x="71" y="27"/>
                    <a:pt x="69" y="30"/>
                    <a:pt x="67" y="28"/>
                  </a:cubicBezTo>
                  <a:cubicBezTo>
                    <a:pt x="65" y="26"/>
                    <a:pt x="65" y="24"/>
                    <a:pt x="63" y="24"/>
                  </a:cubicBezTo>
                  <a:cubicBezTo>
                    <a:pt x="61" y="23"/>
                    <a:pt x="60" y="25"/>
                    <a:pt x="58" y="25"/>
                  </a:cubicBezTo>
                  <a:cubicBezTo>
                    <a:pt x="58" y="24"/>
                    <a:pt x="58" y="24"/>
                    <a:pt x="58" y="24"/>
                  </a:cubicBezTo>
                  <a:cubicBezTo>
                    <a:pt x="56" y="24"/>
                    <a:pt x="56" y="22"/>
                    <a:pt x="54" y="23"/>
                  </a:cubicBezTo>
                  <a:cubicBezTo>
                    <a:pt x="53" y="24"/>
                    <a:pt x="53" y="25"/>
                    <a:pt x="51" y="26"/>
                  </a:cubicBezTo>
                  <a:cubicBezTo>
                    <a:pt x="50" y="27"/>
                    <a:pt x="49" y="26"/>
                    <a:pt x="48" y="28"/>
                  </a:cubicBezTo>
                  <a:cubicBezTo>
                    <a:pt x="47" y="29"/>
                    <a:pt x="47" y="30"/>
                    <a:pt x="46" y="31"/>
                  </a:cubicBezTo>
                  <a:cubicBezTo>
                    <a:pt x="45" y="32"/>
                    <a:pt x="45" y="33"/>
                    <a:pt x="45" y="34"/>
                  </a:cubicBezTo>
                  <a:cubicBezTo>
                    <a:pt x="44" y="36"/>
                    <a:pt x="44" y="36"/>
                    <a:pt x="42" y="36"/>
                  </a:cubicBezTo>
                  <a:cubicBezTo>
                    <a:pt x="38" y="36"/>
                    <a:pt x="38" y="38"/>
                    <a:pt x="36" y="40"/>
                  </a:cubicBezTo>
                  <a:cubicBezTo>
                    <a:pt x="35" y="40"/>
                    <a:pt x="35" y="41"/>
                    <a:pt x="34" y="41"/>
                  </a:cubicBezTo>
                  <a:cubicBezTo>
                    <a:pt x="35" y="42"/>
                    <a:pt x="35" y="42"/>
                    <a:pt x="36" y="42"/>
                  </a:cubicBezTo>
                  <a:cubicBezTo>
                    <a:pt x="38" y="43"/>
                    <a:pt x="40" y="43"/>
                    <a:pt x="41" y="42"/>
                  </a:cubicBezTo>
                  <a:cubicBezTo>
                    <a:pt x="42" y="41"/>
                    <a:pt x="44" y="41"/>
                    <a:pt x="45" y="41"/>
                  </a:cubicBezTo>
                  <a:cubicBezTo>
                    <a:pt x="46" y="41"/>
                    <a:pt x="48" y="45"/>
                    <a:pt x="49" y="46"/>
                  </a:cubicBezTo>
                  <a:cubicBezTo>
                    <a:pt x="49" y="47"/>
                    <a:pt x="50" y="47"/>
                    <a:pt x="54" y="48"/>
                  </a:cubicBezTo>
                  <a:cubicBezTo>
                    <a:pt x="57" y="49"/>
                    <a:pt x="59" y="50"/>
                    <a:pt x="60" y="51"/>
                  </a:cubicBezTo>
                  <a:cubicBezTo>
                    <a:pt x="62" y="51"/>
                    <a:pt x="65" y="55"/>
                    <a:pt x="67" y="57"/>
                  </a:cubicBezTo>
                  <a:cubicBezTo>
                    <a:pt x="69" y="58"/>
                    <a:pt x="70" y="60"/>
                    <a:pt x="70" y="62"/>
                  </a:cubicBezTo>
                  <a:cubicBezTo>
                    <a:pt x="71" y="64"/>
                    <a:pt x="70" y="64"/>
                    <a:pt x="70" y="66"/>
                  </a:cubicBezTo>
                  <a:cubicBezTo>
                    <a:pt x="70" y="68"/>
                    <a:pt x="71" y="68"/>
                    <a:pt x="73" y="70"/>
                  </a:cubicBezTo>
                  <a:cubicBezTo>
                    <a:pt x="74" y="72"/>
                    <a:pt x="73" y="74"/>
                    <a:pt x="74" y="75"/>
                  </a:cubicBezTo>
                  <a:cubicBezTo>
                    <a:pt x="75" y="76"/>
                    <a:pt x="77" y="77"/>
                    <a:pt x="78" y="78"/>
                  </a:cubicBezTo>
                  <a:cubicBezTo>
                    <a:pt x="80" y="80"/>
                    <a:pt x="81" y="81"/>
                    <a:pt x="83" y="83"/>
                  </a:cubicBezTo>
                  <a:cubicBezTo>
                    <a:pt x="85" y="84"/>
                    <a:pt x="89" y="87"/>
                    <a:pt x="90" y="89"/>
                  </a:cubicBezTo>
                  <a:cubicBezTo>
                    <a:pt x="92" y="91"/>
                    <a:pt x="91" y="92"/>
                    <a:pt x="92" y="94"/>
                  </a:cubicBezTo>
                  <a:cubicBezTo>
                    <a:pt x="93" y="96"/>
                    <a:pt x="100" y="102"/>
                    <a:pt x="101" y="103"/>
                  </a:cubicBezTo>
                  <a:cubicBezTo>
                    <a:pt x="102" y="103"/>
                    <a:pt x="104" y="107"/>
                    <a:pt x="105" y="108"/>
                  </a:cubicBezTo>
                  <a:cubicBezTo>
                    <a:pt x="106" y="110"/>
                    <a:pt x="106" y="113"/>
                    <a:pt x="106" y="115"/>
                  </a:cubicBezTo>
                  <a:cubicBezTo>
                    <a:pt x="106" y="117"/>
                    <a:pt x="107" y="117"/>
                    <a:pt x="108" y="117"/>
                  </a:cubicBezTo>
                  <a:cubicBezTo>
                    <a:pt x="108" y="118"/>
                    <a:pt x="108" y="118"/>
                    <a:pt x="109" y="119"/>
                  </a:cubicBezTo>
                  <a:cubicBezTo>
                    <a:pt x="110" y="120"/>
                    <a:pt x="109" y="121"/>
                    <a:pt x="109" y="121"/>
                  </a:cubicBezTo>
                  <a:cubicBezTo>
                    <a:pt x="109" y="121"/>
                    <a:pt x="108" y="122"/>
                    <a:pt x="108" y="122"/>
                  </a:cubicBezTo>
                  <a:cubicBezTo>
                    <a:pt x="108" y="122"/>
                    <a:pt x="108" y="124"/>
                    <a:pt x="108" y="124"/>
                  </a:cubicBezTo>
                  <a:cubicBezTo>
                    <a:pt x="108" y="125"/>
                    <a:pt x="108" y="126"/>
                    <a:pt x="108" y="127"/>
                  </a:cubicBezTo>
                  <a:cubicBezTo>
                    <a:pt x="108" y="127"/>
                    <a:pt x="109" y="128"/>
                    <a:pt x="110" y="129"/>
                  </a:cubicBezTo>
                  <a:cubicBezTo>
                    <a:pt x="111" y="130"/>
                    <a:pt x="111" y="131"/>
                    <a:pt x="110" y="132"/>
                  </a:cubicBezTo>
                  <a:cubicBezTo>
                    <a:pt x="110" y="133"/>
                    <a:pt x="111" y="133"/>
                    <a:pt x="112" y="133"/>
                  </a:cubicBezTo>
                  <a:cubicBezTo>
                    <a:pt x="114" y="133"/>
                    <a:pt x="114" y="134"/>
                    <a:pt x="117" y="135"/>
                  </a:cubicBezTo>
                  <a:cubicBezTo>
                    <a:pt x="120" y="137"/>
                    <a:pt x="120" y="137"/>
                    <a:pt x="120" y="139"/>
                  </a:cubicBezTo>
                  <a:cubicBezTo>
                    <a:pt x="121" y="141"/>
                    <a:pt x="119" y="143"/>
                    <a:pt x="120" y="144"/>
                  </a:cubicBezTo>
                  <a:cubicBezTo>
                    <a:pt x="120" y="145"/>
                    <a:pt x="122" y="148"/>
                    <a:pt x="122" y="150"/>
                  </a:cubicBezTo>
                  <a:cubicBezTo>
                    <a:pt x="122" y="151"/>
                    <a:pt x="123" y="153"/>
                    <a:pt x="124" y="155"/>
                  </a:cubicBezTo>
                  <a:cubicBezTo>
                    <a:pt x="126" y="156"/>
                    <a:pt x="130" y="162"/>
                    <a:pt x="131" y="164"/>
                  </a:cubicBezTo>
                  <a:cubicBezTo>
                    <a:pt x="133" y="166"/>
                    <a:pt x="135" y="169"/>
                    <a:pt x="136" y="171"/>
                  </a:cubicBezTo>
                  <a:cubicBezTo>
                    <a:pt x="137" y="172"/>
                    <a:pt x="138" y="175"/>
                    <a:pt x="138" y="175"/>
                  </a:cubicBezTo>
                  <a:cubicBezTo>
                    <a:pt x="138" y="176"/>
                    <a:pt x="138" y="179"/>
                    <a:pt x="138" y="180"/>
                  </a:cubicBezTo>
                  <a:cubicBezTo>
                    <a:pt x="138" y="181"/>
                    <a:pt x="138" y="182"/>
                    <a:pt x="138" y="183"/>
                  </a:cubicBezTo>
                  <a:cubicBezTo>
                    <a:pt x="138" y="183"/>
                    <a:pt x="137" y="185"/>
                    <a:pt x="136" y="185"/>
                  </a:cubicBezTo>
                  <a:cubicBezTo>
                    <a:pt x="136" y="186"/>
                    <a:pt x="135" y="188"/>
                    <a:pt x="135" y="188"/>
                  </a:cubicBezTo>
                  <a:cubicBezTo>
                    <a:pt x="135" y="189"/>
                    <a:pt x="137" y="190"/>
                    <a:pt x="137" y="191"/>
                  </a:cubicBezTo>
                  <a:cubicBezTo>
                    <a:pt x="138" y="191"/>
                    <a:pt x="139" y="195"/>
                    <a:pt x="139" y="196"/>
                  </a:cubicBezTo>
                  <a:cubicBezTo>
                    <a:pt x="139" y="196"/>
                    <a:pt x="140" y="198"/>
                    <a:pt x="140" y="199"/>
                  </a:cubicBezTo>
                  <a:cubicBezTo>
                    <a:pt x="141" y="199"/>
                    <a:pt x="143" y="202"/>
                    <a:pt x="144" y="203"/>
                  </a:cubicBezTo>
                  <a:cubicBezTo>
                    <a:pt x="144" y="203"/>
                    <a:pt x="146" y="205"/>
                    <a:pt x="147" y="207"/>
                  </a:cubicBezTo>
                  <a:cubicBezTo>
                    <a:pt x="148" y="207"/>
                    <a:pt x="148" y="207"/>
                    <a:pt x="149" y="207"/>
                  </a:cubicBezTo>
                  <a:cubicBezTo>
                    <a:pt x="150" y="206"/>
                    <a:pt x="152" y="205"/>
                    <a:pt x="153" y="204"/>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4" name="Freeform 21">
              <a:extLst>
                <a:ext uri="{FF2B5EF4-FFF2-40B4-BE49-F238E27FC236}">
                  <a16:creationId xmlns:a16="http://schemas.microsoft.com/office/drawing/2014/main" id="{9977A8E1-BFAB-4169-890A-E4A3435688D7}"/>
                </a:ext>
              </a:extLst>
            </p:cNvPr>
            <p:cNvSpPr>
              <a:spLocks/>
            </p:cNvSpPr>
            <p:nvPr/>
          </p:nvSpPr>
          <p:spPr bwMode="auto">
            <a:xfrm>
              <a:off x="3228975" y="5203825"/>
              <a:ext cx="582613" cy="449262"/>
            </a:xfrm>
            <a:custGeom>
              <a:avLst/>
              <a:gdLst>
                <a:gd name="T0" fmla="*/ 148 w 153"/>
                <a:gd name="T1" fmla="*/ 108 h 118"/>
                <a:gd name="T2" fmla="*/ 145 w 153"/>
                <a:gd name="T3" fmla="*/ 98 h 118"/>
                <a:gd name="T4" fmla="*/ 144 w 153"/>
                <a:gd name="T5" fmla="*/ 93 h 118"/>
                <a:gd name="T6" fmla="*/ 138 w 153"/>
                <a:gd name="T7" fmla="*/ 89 h 118"/>
                <a:gd name="T8" fmla="*/ 135 w 153"/>
                <a:gd name="T9" fmla="*/ 87 h 118"/>
                <a:gd name="T10" fmla="*/ 137 w 153"/>
                <a:gd name="T11" fmla="*/ 81 h 118"/>
                <a:gd name="T12" fmla="*/ 140 w 153"/>
                <a:gd name="T13" fmla="*/ 76 h 118"/>
                <a:gd name="T14" fmla="*/ 146 w 153"/>
                <a:gd name="T15" fmla="*/ 74 h 118"/>
                <a:gd name="T16" fmla="*/ 148 w 153"/>
                <a:gd name="T17" fmla="*/ 67 h 118"/>
                <a:gd name="T18" fmla="*/ 152 w 153"/>
                <a:gd name="T19" fmla="*/ 55 h 118"/>
                <a:gd name="T20" fmla="*/ 150 w 153"/>
                <a:gd name="T21" fmla="*/ 54 h 118"/>
                <a:gd name="T22" fmla="*/ 140 w 153"/>
                <a:gd name="T23" fmla="*/ 53 h 118"/>
                <a:gd name="T24" fmla="*/ 135 w 153"/>
                <a:gd name="T25" fmla="*/ 35 h 118"/>
                <a:gd name="T26" fmla="*/ 123 w 153"/>
                <a:gd name="T27" fmla="*/ 23 h 118"/>
                <a:gd name="T28" fmla="*/ 118 w 153"/>
                <a:gd name="T29" fmla="*/ 24 h 118"/>
                <a:gd name="T30" fmla="*/ 113 w 153"/>
                <a:gd name="T31" fmla="*/ 20 h 118"/>
                <a:gd name="T32" fmla="*/ 96 w 153"/>
                <a:gd name="T33" fmla="*/ 20 h 118"/>
                <a:gd name="T34" fmla="*/ 92 w 153"/>
                <a:gd name="T35" fmla="*/ 18 h 118"/>
                <a:gd name="T36" fmla="*/ 80 w 153"/>
                <a:gd name="T37" fmla="*/ 19 h 118"/>
                <a:gd name="T38" fmla="*/ 65 w 153"/>
                <a:gd name="T39" fmla="*/ 9 h 118"/>
                <a:gd name="T40" fmla="*/ 51 w 153"/>
                <a:gd name="T41" fmla="*/ 4 h 118"/>
                <a:gd name="T42" fmla="*/ 41 w 153"/>
                <a:gd name="T43" fmla="*/ 0 h 118"/>
                <a:gd name="T44" fmla="*/ 39 w 153"/>
                <a:gd name="T45" fmla="*/ 5 h 118"/>
                <a:gd name="T46" fmla="*/ 37 w 153"/>
                <a:gd name="T47" fmla="*/ 10 h 118"/>
                <a:gd name="T48" fmla="*/ 36 w 153"/>
                <a:gd name="T49" fmla="*/ 19 h 118"/>
                <a:gd name="T50" fmla="*/ 31 w 153"/>
                <a:gd name="T51" fmla="*/ 26 h 118"/>
                <a:gd name="T52" fmla="*/ 17 w 153"/>
                <a:gd name="T53" fmla="*/ 27 h 118"/>
                <a:gd name="T54" fmla="*/ 10 w 153"/>
                <a:gd name="T55" fmla="*/ 26 h 118"/>
                <a:gd name="T56" fmla="*/ 6 w 153"/>
                <a:gd name="T57" fmla="*/ 24 h 118"/>
                <a:gd name="T58" fmla="*/ 4 w 153"/>
                <a:gd name="T59" fmla="*/ 33 h 118"/>
                <a:gd name="T60" fmla="*/ 7 w 153"/>
                <a:gd name="T61" fmla="*/ 51 h 118"/>
                <a:gd name="T62" fmla="*/ 3 w 153"/>
                <a:gd name="T63" fmla="*/ 59 h 118"/>
                <a:gd name="T64" fmla="*/ 2 w 153"/>
                <a:gd name="T65" fmla="*/ 66 h 118"/>
                <a:gd name="T66" fmla="*/ 11 w 153"/>
                <a:gd name="T67" fmla="*/ 67 h 118"/>
                <a:gd name="T68" fmla="*/ 5 w 153"/>
                <a:gd name="T69" fmla="*/ 77 h 118"/>
                <a:gd name="T70" fmla="*/ 0 w 153"/>
                <a:gd name="T71" fmla="*/ 84 h 118"/>
                <a:gd name="T72" fmla="*/ 6 w 153"/>
                <a:gd name="T73" fmla="*/ 90 h 118"/>
                <a:gd name="T74" fmla="*/ 27 w 153"/>
                <a:gd name="T75" fmla="*/ 94 h 118"/>
                <a:gd name="T76" fmla="*/ 54 w 153"/>
                <a:gd name="T77" fmla="*/ 98 h 118"/>
                <a:gd name="T78" fmla="*/ 70 w 153"/>
                <a:gd name="T79" fmla="*/ 101 h 118"/>
                <a:gd name="T80" fmla="*/ 81 w 153"/>
                <a:gd name="T81" fmla="*/ 107 h 118"/>
                <a:gd name="T82" fmla="*/ 91 w 153"/>
                <a:gd name="T83" fmla="*/ 113 h 118"/>
                <a:gd name="T84" fmla="*/ 105 w 153"/>
                <a:gd name="T85" fmla="*/ 115 h 118"/>
                <a:gd name="T86" fmla="*/ 132 w 153"/>
                <a:gd name="T87" fmla="*/ 116 h 118"/>
                <a:gd name="T88" fmla="*/ 140 w 153"/>
                <a:gd name="T89" fmla="*/ 110 h 118"/>
                <a:gd name="T90" fmla="*/ 150 w 153"/>
                <a:gd name="T91" fmla="*/ 112 h 118"/>
                <a:gd name="T92" fmla="*/ 150 w 153"/>
                <a:gd name="T93"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18">
                  <a:moveTo>
                    <a:pt x="150" y="110"/>
                  </a:moveTo>
                  <a:cubicBezTo>
                    <a:pt x="150" y="110"/>
                    <a:pt x="150" y="109"/>
                    <a:pt x="150" y="109"/>
                  </a:cubicBezTo>
                  <a:cubicBezTo>
                    <a:pt x="149" y="109"/>
                    <a:pt x="149" y="108"/>
                    <a:pt x="148" y="108"/>
                  </a:cubicBezTo>
                  <a:cubicBezTo>
                    <a:pt x="148" y="107"/>
                    <a:pt x="147" y="106"/>
                    <a:pt x="147" y="105"/>
                  </a:cubicBezTo>
                  <a:cubicBezTo>
                    <a:pt x="147" y="103"/>
                    <a:pt x="147" y="102"/>
                    <a:pt x="147" y="101"/>
                  </a:cubicBezTo>
                  <a:cubicBezTo>
                    <a:pt x="146" y="100"/>
                    <a:pt x="145" y="99"/>
                    <a:pt x="145" y="98"/>
                  </a:cubicBezTo>
                  <a:cubicBezTo>
                    <a:pt x="145" y="97"/>
                    <a:pt x="146" y="96"/>
                    <a:pt x="145" y="95"/>
                  </a:cubicBezTo>
                  <a:cubicBezTo>
                    <a:pt x="145" y="95"/>
                    <a:pt x="145" y="94"/>
                    <a:pt x="145" y="94"/>
                  </a:cubicBezTo>
                  <a:cubicBezTo>
                    <a:pt x="144" y="93"/>
                    <a:pt x="144" y="93"/>
                    <a:pt x="144" y="93"/>
                  </a:cubicBezTo>
                  <a:cubicBezTo>
                    <a:pt x="143" y="92"/>
                    <a:pt x="143" y="92"/>
                    <a:pt x="143" y="91"/>
                  </a:cubicBezTo>
                  <a:cubicBezTo>
                    <a:pt x="142" y="90"/>
                    <a:pt x="142" y="90"/>
                    <a:pt x="141" y="90"/>
                  </a:cubicBezTo>
                  <a:cubicBezTo>
                    <a:pt x="140" y="90"/>
                    <a:pt x="139" y="90"/>
                    <a:pt x="138" y="89"/>
                  </a:cubicBezTo>
                  <a:cubicBezTo>
                    <a:pt x="137" y="89"/>
                    <a:pt x="137" y="88"/>
                    <a:pt x="137" y="88"/>
                  </a:cubicBezTo>
                  <a:cubicBezTo>
                    <a:pt x="136" y="88"/>
                    <a:pt x="136" y="88"/>
                    <a:pt x="136" y="88"/>
                  </a:cubicBezTo>
                  <a:cubicBezTo>
                    <a:pt x="135" y="88"/>
                    <a:pt x="135" y="88"/>
                    <a:pt x="135" y="87"/>
                  </a:cubicBezTo>
                  <a:cubicBezTo>
                    <a:pt x="135" y="86"/>
                    <a:pt x="135" y="86"/>
                    <a:pt x="135" y="85"/>
                  </a:cubicBezTo>
                  <a:cubicBezTo>
                    <a:pt x="135" y="84"/>
                    <a:pt x="136" y="84"/>
                    <a:pt x="136" y="83"/>
                  </a:cubicBezTo>
                  <a:cubicBezTo>
                    <a:pt x="137" y="82"/>
                    <a:pt x="137" y="81"/>
                    <a:pt x="137" y="81"/>
                  </a:cubicBezTo>
                  <a:cubicBezTo>
                    <a:pt x="136" y="80"/>
                    <a:pt x="136" y="79"/>
                    <a:pt x="136" y="78"/>
                  </a:cubicBezTo>
                  <a:cubicBezTo>
                    <a:pt x="137" y="77"/>
                    <a:pt x="137" y="77"/>
                    <a:pt x="138" y="77"/>
                  </a:cubicBezTo>
                  <a:cubicBezTo>
                    <a:pt x="138" y="77"/>
                    <a:pt x="139" y="76"/>
                    <a:pt x="140" y="76"/>
                  </a:cubicBezTo>
                  <a:cubicBezTo>
                    <a:pt x="141" y="76"/>
                    <a:pt x="141" y="77"/>
                    <a:pt x="142" y="77"/>
                  </a:cubicBezTo>
                  <a:cubicBezTo>
                    <a:pt x="142" y="77"/>
                    <a:pt x="143" y="77"/>
                    <a:pt x="144" y="76"/>
                  </a:cubicBezTo>
                  <a:cubicBezTo>
                    <a:pt x="145" y="76"/>
                    <a:pt x="146" y="75"/>
                    <a:pt x="146" y="74"/>
                  </a:cubicBezTo>
                  <a:cubicBezTo>
                    <a:pt x="147" y="74"/>
                    <a:pt x="148" y="74"/>
                    <a:pt x="149" y="73"/>
                  </a:cubicBezTo>
                  <a:cubicBezTo>
                    <a:pt x="149" y="72"/>
                    <a:pt x="149" y="71"/>
                    <a:pt x="149" y="70"/>
                  </a:cubicBezTo>
                  <a:cubicBezTo>
                    <a:pt x="149" y="69"/>
                    <a:pt x="149" y="68"/>
                    <a:pt x="148" y="67"/>
                  </a:cubicBezTo>
                  <a:cubicBezTo>
                    <a:pt x="148" y="67"/>
                    <a:pt x="147" y="66"/>
                    <a:pt x="147" y="65"/>
                  </a:cubicBezTo>
                  <a:cubicBezTo>
                    <a:pt x="148" y="63"/>
                    <a:pt x="148" y="62"/>
                    <a:pt x="149" y="60"/>
                  </a:cubicBezTo>
                  <a:cubicBezTo>
                    <a:pt x="150" y="59"/>
                    <a:pt x="151" y="57"/>
                    <a:pt x="152" y="55"/>
                  </a:cubicBezTo>
                  <a:cubicBezTo>
                    <a:pt x="152" y="54"/>
                    <a:pt x="153" y="53"/>
                    <a:pt x="153" y="52"/>
                  </a:cubicBezTo>
                  <a:cubicBezTo>
                    <a:pt x="152" y="52"/>
                    <a:pt x="152" y="52"/>
                    <a:pt x="151" y="52"/>
                  </a:cubicBezTo>
                  <a:cubicBezTo>
                    <a:pt x="150" y="52"/>
                    <a:pt x="151" y="53"/>
                    <a:pt x="150" y="54"/>
                  </a:cubicBezTo>
                  <a:cubicBezTo>
                    <a:pt x="149" y="56"/>
                    <a:pt x="147" y="55"/>
                    <a:pt x="144" y="55"/>
                  </a:cubicBezTo>
                  <a:cubicBezTo>
                    <a:pt x="141" y="54"/>
                    <a:pt x="143" y="53"/>
                    <a:pt x="142" y="52"/>
                  </a:cubicBezTo>
                  <a:cubicBezTo>
                    <a:pt x="141" y="50"/>
                    <a:pt x="142" y="52"/>
                    <a:pt x="140" y="53"/>
                  </a:cubicBezTo>
                  <a:cubicBezTo>
                    <a:pt x="138" y="53"/>
                    <a:pt x="139" y="52"/>
                    <a:pt x="137" y="51"/>
                  </a:cubicBezTo>
                  <a:cubicBezTo>
                    <a:pt x="136" y="50"/>
                    <a:pt x="136" y="49"/>
                    <a:pt x="135" y="45"/>
                  </a:cubicBezTo>
                  <a:cubicBezTo>
                    <a:pt x="134" y="42"/>
                    <a:pt x="135" y="35"/>
                    <a:pt x="135" y="35"/>
                  </a:cubicBezTo>
                  <a:cubicBezTo>
                    <a:pt x="135" y="35"/>
                    <a:pt x="135" y="35"/>
                    <a:pt x="133" y="35"/>
                  </a:cubicBezTo>
                  <a:cubicBezTo>
                    <a:pt x="131" y="34"/>
                    <a:pt x="131" y="34"/>
                    <a:pt x="129" y="32"/>
                  </a:cubicBezTo>
                  <a:cubicBezTo>
                    <a:pt x="126" y="31"/>
                    <a:pt x="124" y="25"/>
                    <a:pt x="123" y="23"/>
                  </a:cubicBezTo>
                  <a:cubicBezTo>
                    <a:pt x="122" y="21"/>
                    <a:pt x="121" y="21"/>
                    <a:pt x="120" y="20"/>
                  </a:cubicBezTo>
                  <a:cubicBezTo>
                    <a:pt x="119" y="20"/>
                    <a:pt x="119" y="20"/>
                    <a:pt x="120" y="23"/>
                  </a:cubicBezTo>
                  <a:cubicBezTo>
                    <a:pt x="121" y="25"/>
                    <a:pt x="119" y="24"/>
                    <a:pt x="118" y="24"/>
                  </a:cubicBezTo>
                  <a:cubicBezTo>
                    <a:pt x="116" y="24"/>
                    <a:pt x="116" y="23"/>
                    <a:pt x="116" y="21"/>
                  </a:cubicBezTo>
                  <a:cubicBezTo>
                    <a:pt x="116" y="19"/>
                    <a:pt x="116" y="20"/>
                    <a:pt x="115" y="20"/>
                  </a:cubicBezTo>
                  <a:cubicBezTo>
                    <a:pt x="114" y="20"/>
                    <a:pt x="114" y="19"/>
                    <a:pt x="113" y="20"/>
                  </a:cubicBezTo>
                  <a:cubicBezTo>
                    <a:pt x="113" y="21"/>
                    <a:pt x="114" y="22"/>
                    <a:pt x="113" y="24"/>
                  </a:cubicBezTo>
                  <a:cubicBezTo>
                    <a:pt x="111" y="26"/>
                    <a:pt x="109" y="25"/>
                    <a:pt x="106" y="25"/>
                  </a:cubicBezTo>
                  <a:cubicBezTo>
                    <a:pt x="102" y="25"/>
                    <a:pt x="97" y="21"/>
                    <a:pt x="96" y="20"/>
                  </a:cubicBezTo>
                  <a:cubicBezTo>
                    <a:pt x="94" y="19"/>
                    <a:pt x="95" y="19"/>
                    <a:pt x="95" y="18"/>
                  </a:cubicBezTo>
                  <a:cubicBezTo>
                    <a:pt x="95" y="17"/>
                    <a:pt x="95" y="16"/>
                    <a:pt x="94" y="16"/>
                  </a:cubicBezTo>
                  <a:cubicBezTo>
                    <a:pt x="94" y="16"/>
                    <a:pt x="93" y="17"/>
                    <a:pt x="92" y="18"/>
                  </a:cubicBezTo>
                  <a:cubicBezTo>
                    <a:pt x="91" y="18"/>
                    <a:pt x="91" y="16"/>
                    <a:pt x="90" y="17"/>
                  </a:cubicBezTo>
                  <a:cubicBezTo>
                    <a:pt x="88" y="17"/>
                    <a:pt x="87" y="18"/>
                    <a:pt x="85" y="19"/>
                  </a:cubicBezTo>
                  <a:cubicBezTo>
                    <a:pt x="82" y="20"/>
                    <a:pt x="80" y="20"/>
                    <a:pt x="80" y="19"/>
                  </a:cubicBezTo>
                  <a:cubicBezTo>
                    <a:pt x="80" y="19"/>
                    <a:pt x="77" y="17"/>
                    <a:pt x="76" y="16"/>
                  </a:cubicBezTo>
                  <a:cubicBezTo>
                    <a:pt x="76" y="16"/>
                    <a:pt x="70" y="15"/>
                    <a:pt x="68" y="14"/>
                  </a:cubicBezTo>
                  <a:cubicBezTo>
                    <a:pt x="66" y="12"/>
                    <a:pt x="65" y="10"/>
                    <a:pt x="65" y="9"/>
                  </a:cubicBezTo>
                  <a:cubicBezTo>
                    <a:pt x="64" y="7"/>
                    <a:pt x="63" y="5"/>
                    <a:pt x="62" y="4"/>
                  </a:cubicBezTo>
                  <a:cubicBezTo>
                    <a:pt x="60" y="3"/>
                    <a:pt x="59" y="3"/>
                    <a:pt x="55" y="3"/>
                  </a:cubicBezTo>
                  <a:cubicBezTo>
                    <a:pt x="51" y="2"/>
                    <a:pt x="54" y="3"/>
                    <a:pt x="51" y="4"/>
                  </a:cubicBezTo>
                  <a:cubicBezTo>
                    <a:pt x="48" y="5"/>
                    <a:pt x="49" y="4"/>
                    <a:pt x="48" y="3"/>
                  </a:cubicBezTo>
                  <a:cubicBezTo>
                    <a:pt x="47" y="3"/>
                    <a:pt x="46" y="1"/>
                    <a:pt x="45" y="1"/>
                  </a:cubicBezTo>
                  <a:cubicBezTo>
                    <a:pt x="44" y="0"/>
                    <a:pt x="42" y="0"/>
                    <a:pt x="41" y="0"/>
                  </a:cubicBezTo>
                  <a:cubicBezTo>
                    <a:pt x="41" y="0"/>
                    <a:pt x="39" y="0"/>
                    <a:pt x="38" y="1"/>
                  </a:cubicBezTo>
                  <a:cubicBezTo>
                    <a:pt x="38" y="2"/>
                    <a:pt x="39" y="3"/>
                    <a:pt x="40" y="4"/>
                  </a:cubicBezTo>
                  <a:cubicBezTo>
                    <a:pt x="40" y="5"/>
                    <a:pt x="39" y="5"/>
                    <a:pt x="39" y="5"/>
                  </a:cubicBezTo>
                  <a:cubicBezTo>
                    <a:pt x="39" y="7"/>
                    <a:pt x="39" y="7"/>
                    <a:pt x="39" y="7"/>
                  </a:cubicBezTo>
                  <a:cubicBezTo>
                    <a:pt x="37" y="8"/>
                    <a:pt x="37" y="8"/>
                    <a:pt x="37" y="8"/>
                  </a:cubicBezTo>
                  <a:cubicBezTo>
                    <a:pt x="37" y="10"/>
                    <a:pt x="37" y="10"/>
                    <a:pt x="37" y="10"/>
                  </a:cubicBezTo>
                  <a:cubicBezTo>
                    <a:pt x="37" y="10"/>
                    <a:pt x="37" y="10"/>
                    <a:pt x="37" y="10"/>
                  </a:cubicBezTo>
                  <a:cubicBezTo>
                    <a:pt x="37" y="11"/>
                    <a:pt x="37" y="12"/>
                    <a:pt x="37" y="13"/>
                  </a:cubicBezTo>
                  <a:cubicBezTo>
                    <a:pt x="37" y="15"/>
                    <a:pt x="37" y="17"/>
                    <a:pt x="36" y="19"/>
                  </a:cubicBezTo>
                  <a:cubicBezTo>
                    <a:pt x="35" y="20"/>
                    <a:pt x="35" y="21"/>
                    <a:pt x="35" y="22"/>
                  </a:cubicBezTo>
                  <a:cubicBezTo>
                    <a:pt x="34" y="23"/>
                    <a:pt x="35" y="23"/>
                    <a:pt x="34" y="24"/>
                  </a:cubicBezTo>
                  <a:cubicBezTo>
                    <a:pt x="34" y="26"/>
                    <a:pt x="33" y="26"/>
                    <a:pt x="31" y="26"/>
                  </a:cubicBezTo>
                  <a:cubicBezTo>
                    <a:pt x="30" y="27"/>
                    <a:pt x="28" y="26"/>
                    <a:pt x="27" y="26"/>
                  </a:cubicBezTo>
                  <a:cubicBezTo>
                    <a:pt x="26" y="27"/>
                    <a:pt x="25" y="27"/>
                    <a:pt x="23" y="27"/>
                  </a:cubicBezTo>
                  <a:cubicBezTo>
                    <a:pt x="21" y="27"/>
                    <a:pt x="19" y="27"/>
                    <a:pt x="17" y="27"/>
                  </a:cubicBezTo>
                  <a:cubicBezTo>
                    <a:pt x="16" y="28"/>
                    <a:pt x="15" y="28"/>
                    <a:pt x="14" y="28"/>
                  </a:cubicBezTo>
                  <a:cubicBezTo>
                    <a:pt x="14" y="27"/>
                    <a:pt x="14" y="27"/>
                    <a:pt x="13" y="27"/>
                  </a:cubicBezTo>
                  <a:cubicBezTo>
                    <a:pt x="12" y="26"/>
                    <a:pt x="11" y="26"/>
                    <a:pt x="10" y="26"/>
                  </a:cubicBezTo>
                  <a:cubicBezTo>
                    <a:pt x="9" y="26"/>
                    <a:pt x="9" y="26"/>
                    <a:pt x="9" y="27"/>
                  </a:cubicBezTo>
                  <a:cubicBezTo>
                    <a:pt x="8" y="27"/>
                    <a:pt x="8" y="28"/>
                    <a:pt x="7" y="28"/>
                  </a:cubicBezTo>
                  <a:cubicBezTo>
                    <a:pt x="7" y="27"/>
                    <a:pt x="7" y="25"/>
                    <a:pt x="6" y="24"/>
                  </a:cubicBezTo>
                  <a:cubicBezTo>
                    <a:pt x="6" y="24"/>
                    <a:pt x="5" y="25"/>
                    <a:pt x="5" y="26"/>
                  </a:cubicBezTo>
                  <a:cubicBezTo>
                    <a:pt x="4" y="26"/>
                    <a:pt x="4" y="27"/>
                    <a:pt x="4" y="28"/>
                  </a:cubicBezTo>
                  <a:cubicBezTo>
                    <a:pt x="4" y="30"/>
                    <a:pt x="5" y="31"/>
                    <a:pt x="4" y="33"/>
                  </a:cubicBezTo>
                  <a:cubicBezTo>
                    <a:pt x="2" y="33"/>
                    <a:pt x="3" y="35"/>
                    <a:pt x="3" y="36"/>
                  </a:cubicBezTo>
                  <a:cubicBezTo>
                    <a:pt x="3" y="38"/>
                    <a:pt x="4" y="39"/>
                    <a:pt x="4" y="41"/>
                  </a:cubicBezTo>
                  <a:cubicBezTo>
                    <a:pt x="4" y="44"/>
                    <a:pt x="4" y="48"/>
                    <a:pt x="7" y="51"/>
                  </a:cubicBezTo>
                  <a:cubicBezTo>
                    <a:pt x="7" y="52"/>
                    <a:pt x="9" y="53"/>
                    <a:pt x="9" y="54"/>
                  </a:cubicBezTo>
                  <a:cubicBezTo>
                    <a:pt x="8" y="55"/>
                    <a:pt x="7" y="56"/>
                    <a:pt x="7" y="56"/>
                  </a:cubicBezTo>
                  <a:cubicBezTo>
                    <a:pt x="5" y="57"/>
                    <a:pt x="4" y="58"/>
                    <a:pt x="3" y="59"/>
                  </a:cubicBezTo>
                  <a:cubicBezTo>
                    <a:pt x="2" y="60"/>
                    <a:pt x="2" y="60"/>
                    <a:pt x="2" y="62"/>
                  </a:cubicBezTo>
                  <a:cubicBezTo>
                    <a:pt x="2" y="62"/>
                    <a:pt x="2" y="63"/>
                    <a:pt x="2" y="64"/>
                  </a:cubicBezTo>
                  <a:cubicBezTo>
                    <a:pt x="2" y="65"/>
                    <a:pt x="2" y="65"/>
                    <a:pt x="2" y="66"/>
                  </a:cubicBezTo>
                  <a:cubicBezTo>
                    <a:pt x="3" y="65"/>
                    <a:pt x="3" y="65"/>
                    <a:pt x="3" y="65"/>
                  </a:cubicBezTo>
                  <a:cubicBezTo>
                    <a:pt x="4" y="65"/>
                    <a:pt x="4" y="65"/>
                    <a:pt x="5" y="65"/>
                  </a:cubicBezTo>
                  <a:cubicBezTo>
                    <a:pt x="6" y="65"/>
                    <a:pt x="10" y="67"/>
                    <a:pt x="11" y="67"/>
                  </a:cubicBezTo>
                  <a:cubicBezTo>
                    <a:pt x="12" y="68"/>
                    <a:pt x="11" y="70"/>
                    <a:pt x="11" y="71"/>
                  </a:cubicBezTo>
                  <a:cubicBezTo>
                    <a:pt x="10" y="71"/>
                    <a:pt x="7" y="74"/>
                    <a:pt x="6" y="75"/>
                  </a:cubicBezTo>
                  <a:cubicBezTo>
                    <a:pt x="5" y="75"/>
                    <a:pt x="5" y="76"/>
                    <a:pt x="5" y="77"/>
                  </a:cubicBezTo>
                  <a:cubicBezTo>
                    <a:pt x="5" y="77"/>
                    <a:pt x="5" y="78"/>
                    <a:pt x="3" y="79"/>
                  </a:cubicBezTo>
                  <a:cubicBezTo>
                    <a:pt x="2" y="79"/>
                    <a:pt x="2" y="80"/>
                    <a:pt x="1" y="81"/>
                  </a:cubicBezTo>
                  <a:cubicBezTo>
                    <a:pt x="0" y="82"/>
                    <a:pt x="0" y="83"/>
                    <a:pt x="0" y="84"/>
                  </a:cubicBezTo>
                  <a:cubicBezTo>
                    <a:pt x="1" y="86"/>
                    <a:pt x="0" y="88"/>
                    <a:pt x="0" y="88"/>
                  </a:cubicBezTo>
                  <a:cubicBezTo>
                    <a:pt x="1" y="89"/>
                    <a:pt x="1" y="90"/>
                    <a:pt x="3" y="90"/>
                  </a:cubicBezTo>
                  <a:cubicBezTo>
                    <a:pt x="4" y="90"/>
                    <a:pt x="3" y="90"/>
                    <a:pt x="6" y="90"/>
                  </a:cubicBezTo>
                  <a:cubicBezTo>
                    <a:pt x="9" y="90"/>
                    <a:pt x="8" y="92"/>
                    <a:pt x="10" y="93"/>
                  </a:cubicBezTo>
                  <a:cubicBezTo>
                    <a:pt x="11" y="94"/>
                    <a:pt x="13" y="93"/>
                    <a:pt x="16" y="93"/>
                  </a:cubicBezTo>
                  <a:cubicBezTo>
                    <a:pt x="19" y="94"/>
                    <a:pt x="23" y="93"/>
                    <a:pt x="27" y="94"/>
                  </a:cubicBezTo>
                  <a:cubicBezTo>
                    <a:pt x="31" y="94"/>
                    <a:pt x="38" y="95"/>
                    <a:pt x="42" y="95"/>
                  </a:cubicBezTo>
                  <a:cubicBezTo>
                    <a:pt x="46" y="96"/>
                    <a:pt x="46" y="95"/>
                    <a:pt x="48" y="96"/>
                  </a:cubicBezTo>
                  <a:cubicBezTo>
                    <a:pt x="49" y="96"/>
                    <a:pt x="51" y="97"/>
                    <a:pt x="54" y="98"/>
                  </a:cubicBezTo>
                  <a:cubicBezTo>
                    <a:pt x="57" y="98"/>
                    <a:pt x="57" y="98"/>
                    <a:pt x="61" y="98"/>
                  </a:cubicBezTo>
                  <a:cubicBezTo>
                    <a:pt x="65" y="98"/>
                    <a:pt x="65" y="98"/>
                    <a:pt x="68" y="100"/>
                  </a:cubicBezTo>
                  <a:cubicBezTo>
                    <a:pt x="70" y="100"/>
                    <a:pt x="70" y="101"/>
                    <a:pt x="70" y="101"/>
                  </a:cubicBezTo>
                  <a:cubicBezTo>
                    <a:pt x="70" y="101"/>
                    <a:pt x="70" y="101"/>
                    <a:pt x="70" y="101"/>
                  </a:cubicBezTo>
                  <a:cubicBezTo>
                    <a:pt x="71" y="101"/>
                    <a:pt x="74" y="102"/>
                    <a:pt x="74" y="102"/>
                  </a:cubicBezTo>
                  <a:cubicBezTo>
                    <a:pt x="75" y="102"/>
                    <a:pt x="79" y="106"/>
                    <a:pt x="81" y="107"/>
                  </a:cubicBezTo>
                  <a:cubicBezTo>
                    <a:pt x="82" y="108"/>
                    <a:pt x="82" y="108"/>
                    <a:pt x="83" y="109"/>
                  </a:cubicBezTo>
                  <a:cubicBezTo>
                    <a:pt x="85" y="110"/>
                    <a:pt x="87" y="110"/>
                    <a:pt x="89" y="110"/>
                  </a:cubicBezTo>
                  <a:cubicBezTo>
                    <a:pt x="90" y="111"/>
                    <a:pt x="91" y="112"/>
                    <a:pt x="91" y="113"/>
                  </a:cubicBezTo>
                  <a:cubicBezTo>
                    <a:pt x="91" y="114"/>
                    <a:pt x="94" y="113"/>
                    <a:pt x="96" y="113"/>
                  </a:cubicBezTo>
                  <a:cubicBezTo>
                    <a:pt x="97" y="113"/>
                    <a:pt x="101" y="114"/>
                    <a:pt x="103" y="115"/>
                  </a:cubicBezTo>
                  <a:cubicBezTo>
                    <a:pt x="104" y="115"/>
                    <a:pt x="103" y="115"/>
                    <a:pt x="105" y="115"/>
                  </a:cubicBezTo>
                  <a:cubicBezTo>
                    <a:pt x="107" y="116"/>
                    <a:pt x="113" y="117"/>
                    <a:pt x="116" y="117"/>
                  </a:cubicBezTo>
                  <a:cubicBezTo>
                    <a:pt x="119" y="118"/>
                    <a:pt x="123" y="118"/>
                    <a:pt x="127" y="118"/>
                  </a:cubicBezTo>
                  <a:cubicBezTo>
                    <a:pt x="132" y="118"/>
                    <a:pt x="131" y="117"/>
                    <a:pt x="132" y="116"/>
                  </a:cubicBezTo>
                  <a:cubicBezTo>
                    <a:pt x="132" y="116"/>
                    <a:pt x="132" y="114"/>
                    <a:pt x="132" y="112"/>
                  </a:cubicBezTo>
                  <a:cubicBezTo>
                    <a:pt x="131" y="110"/>
                    <a:pt x="134" y="110"/>
                    <a:pt x="135" y="110"/>
                  </a:cubicBezTo>
                  <a:cubicBezTo>
                    <a:pt x="136" y="109"/>
                    <a:pt x="140" y="110"/>
                    <a:pt x="140" y="110"/>
                  </a:cubicBezTo>
                  <a:cubicBezTo>
                    <a:pt x="143" y="110"/>
                    <a:pt x="143" y="110"/>
                    <a:pt x="143" y="110"/>
                  </a:cubicBezTo>
                  <a:cubicBezTo>
                    <a:pt x="143" y="110"/>
                    <a:pt x="145" y="110"/>
                    <a:pt x="147" y="110"/>
                  </a:cubicBezTo>
                  <a:cubicBezTo>
                    <a:pt x="148" y="110"/>
                    <a:pt x="149" y="111"/>
                    <a:pt x="150" y="112"/>
                  </a:cubicBezTo>
                  <a:cubicBezTo>
                    <a:pt x="150" y="112"/>
                    <a:pt x="149" y="113"/>
                    <a:pt x="150" y="113"/>
                  </a:cubicBezTo>
                  <a:cubicBezTo>
                    <a:pt x="150" y="113"/>
                    <a:pt x="150" y="113"/>
                    <a:pt x="150" y="113"/>
                  </a:cubicBezTo>
                  <a:cubicBezTo>
                    <a:pt x="150" y="113"/>
                    <a:pt x="150" y="113"/>
                    <a:pt x="150" y="113"/>
                  </a:cubicBezTo>
                  <a:cubicBezTo>
                    <a:pt x="150" y="112"/>
                    <a:pt x="150" y="111"/>
                    <a:pt x="150" y="110"/>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5" name="Freeform 23">
              <a:extLst>
                <a:ext uri="{FF2B5EF4-FFF2-40B4-BE49-F238E27FC236}">
                  <a16:creationId xmlns:a16="http://schemas.microsoft.com/office/drawing/2014/main" id="{71AC4334-936C-B6CB-4674-A04F8C3F804D}"/>
                </a:ext>
              </a:extLst>
            </p:cNvPr>
            <p:cNvSpPr>
              <a:spLocks/>
            </p:cNvSpPr>
            <p:nvPr/>
          </p:nvSpPr>
          <p:spPr bwMode="auto">
            <a:xfrm>
              <a:off x="2238375" y="4205288"/>
              <a:ext cx="928688" cy="769937"/>
            </a:xfrm>
            <a:custGeom>
              <a:avLst/>
              <a:gdLst>
                <a:gd name="T0" fmla="*/ 242 w 244"/>
                <a:gd name="T1" fmla="*/ 84 h 202"/>
                <a:gd name="T2" fmla="*/ 232 w 244"/>
                <a:gd name="T3" fmla="*/ 81 h 202"/>
                <a:gd name="T4" fmla="*/ 226 w 244"/>
                <a:gd name="T5" fmla="*/ 65 h 202"/>
                <a:gd name="T6" fmla="*/ 216 w 244"/>
                <a:gd name="T7" fmla="*/ 51 h 202"/>
                <a:gd name="T8" fmla="*/ 209 w 244"/>
                <a:gd name="T9" fmla="*/ 47 h 202"/>
                <a:gd name="T10" fmla="*/ 191 w 244"/>
                <a:gd name="T11" fmla="*/ 43 h 202"/>
                <a:gd name="T12" fmla="*/ 183 w 244"/>
                <a:gd name="T13" fmla="*/ 45 h 202"/>
                <a:gd name="T14" fmla="*/ 177 w 244"/>
                <a:gd name="T15" fmla="*/ 43 h 202"/>
                <a:gd name="T16" fmla="*/ 172 w 244"/>
                <a:gd name="T17" fmla="*/ 42 h 202"/>
                <a:gd name="T18" fmla="*/ 168 w 244"/>
                <a:gd name="T19" fmla="*/ 44 h 202"/>
                <a:gd name="T20" fmla="*/ 159 w 244"/>
                <a:gd name="T21" fmla="*/ 45 h 202"/>
                <a:gd name="T22" fmla="*/ 160 w 244"/>
                <a:gd name="T23" fmla="*/ 44 h 202"/>
                <a:gd name="T24" fmla="*/ 171 w 244"/>
                <a:gd name="T25" fmla="*/ 34 h 202"/>
                <a:gd name="T26" fmla="*/ 162 w 244"/>
                <a:gd name="T27" fmla="*/ 23 h 202"/>
                <a:gd name="T28" fmla="*/ 154 w 244"/>
                <a:gd name="T29" fmla="*/ 22 h 202"/>
                <a:gd name="T30" fmla="*/ 150 w 244"/>
                <a:gd name="T31" fmla="*/ 17 h 202"/>
                <a:gd name="T32" fmla="*/ 149 w 244"/>
                <a:gd name="T33" fmla="*/ 10 h 202"/>
                <a:gd name="T34" fmla="*/ 141 w 244"/>
                <a:gd name="T35" fmla="*/ 1 h 202"/>
                <a:gd name="T36" fmla="*/ 132 w 244"/>
                <a:gd name="T37" fmla="*/ 5 h 202"/>
                <a:gd name="T38" fmla="*/ 89 w 244"/>
                <a:gd name="T39" fmla="*/ 24 h 202"/>
                <a:gd name="T40" fmla="*/ 84 w 244"/>
                <a:gd name="T41" fmla="*/ 34 h 202"/>
                <a:gd name="T42" fmla="*/ 66 w 244"/>
                <a:gd name="T43" fmla="*/ 36 h 202"/>
                <a:gd name="T44" fmla="*/ 57 w 244"/>
                <a:gd name="T45" fmla="*/ 44 h 202"/>
                <a:gd name="T46" fmla="*/ 47 w 244"/>
                <a:gd name="T47" fmla="*/ 50 h 202"/>
                <a:gd name="T48" fmla="*/ 33 w 244"/>
                <a:gd name="T49" fmla="*/ 61 h 202"/>
                <a:gd name="T50" fmla="*/ 18 w 244"/>
                <a:gd name="T51" fmla="*/ 64 h 202"/>
                <a:gd name="T52" fmla="*/ 7 w 244"/>
                <a:gd name="T53" fmla="*/ 65 h 202"/>
                <a:gd name="T54" fmla="*/ 3 w 244"/>
                <a:gd name="T55" fmla="*/ 77 h 202"/>
                <a:gd name="T56" fmla="*/ 15 w 244"/>
                <a:gd name="T57" fmla="*/ 88 h 202"/>
                <a:gd name="T58" fmla="*/ 34 w 244"/>
                <a:gd name="T59" fmla="*/ 105 h 202"/>
                <a:gd name="T60" fmla="*/ 41 w 244"/>
                <a:gd name="T61" fmla="*/ 102 h 202"/>
                <a:gd name="T62" fmla="*/ 53 w 244"/>
                <a:gd name="T63" fmla="*/ 117 h 202"/>
                <a:gd name="T64" fmla="*/ 40 w 244"/>
                <a:gd name="T65" fmla="*/ 127 h 202"/>
                <a:gd name="T66" fmla="*/ 56 w 244"/>
                <a:gd name="T67" fmla="*/ 147 h 202"/>
                <a:gd name="T68" fmla="*/ 62 w 244"/>
                <a:gd name="T69" fmla="*/ 161 h 202"/>
                <a:gd name="T70" fmla="*/ 81 w 244"/>
                <a:gd name="T71" fmla="*/ 170 h 202"/>
                <a:gd name="T72" fmla="*/ 93 w 244"/>
                <a:gd name="T73" fmla="*/ 182 h 202"/>
                <a:gd name="T74" fmla="*/ 108 w 244"/>
                <a:gd name="T75" fmla="*/ 200 h 202"/>
                <a:gd name="T76" fmla="*/ 125 w 244"/>
                <a:gd name="T77" fmla="*/ 201 h 202"/>
                <a:gd name="T78" fmla="*/ 136 w 244"/>
                <a:gd name="T79" fmla="*/ 193 h 202"/>
                <a:gd name="T80" fmla="*/ 139 w 244"/>
                <a:gd name="T81" fmla="*/ 172 h 202"/>
                <a:gd name="T82" fmla="*/ 157 w 244"/>
                <a:gd name="T83" fmla="*/ 159 h 202"/>
                <a:gd name="T84" fmla="*/ 178 w 244"/>
                <a:gd name="T85" fmla="*/ 152 h 202"/>
                <a:gd name="T86" fmla="*/ 189 w 244"/>
                <a:gd name="T87" fmla="*/ 136 h 202"/>
                <a:gd name="T88" fmla="*/ 198 w 244"/>
                <a:gd name="T89" fmla="*/ 130 h 202"/>
                <a:gd name="T90" fmla="*/ 207 w 244"/>
                <a:gd name="T91" fmla="*/ 134 h 202"/>
                <a:gd name="T92" fmla="*/ 216 w 244"/>
                <a:gd name="T93" fmla="*/ 148 h 202"/>
                <a:gd name="T94" fmla="*/ 229 w 244"/>
                <a:gd name="T95" fmla="*/ 154 h 202"/>
                <a:gd name="T96" fmla="*/ 235 w 244"/>
                <a:gd name="T97" fmla="*/ 138 h 202"/>
                <a:gd name="T98" fmla="*/ 228 w 244"/>
                <a:gd name="T99" fmla="*/ 122 h 202"/>
                <a:gd name="T100" fmla="*/ 244 w 244"/>
                <a:gd name="T101" fmla="*/ 9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244" y="97"/>
                  </a:moveTo>
                  <a:cubicBezTo>
                    <a:pt x="244" y="96"/>
                    <a:pt x="244" y="95"/>
                    <a:pt x="243" y="94"/>
                  </a:cubicBezTo>
                  <a:cubicBezTo>
                    <a:pt x="242" y="93"/>
                    <a:pt x="242" y="90"/>
                    <a:pt x="242" y="88"/>
                  </a:cubicBezTo>
                  <a:cubicBezTo>
                    <a:pt x="242" y="87"/>
                    <a:pt x="242" y="85"/>
                    <a:pt x="242" y="84"/>
                  </a:cubicBezTo>
                  <a:cubicBezTo>
                    <a:pt x="242" y="82"/>
                    <a:pt x="240" y="82"/>
                    <a:pt x="240" y="82"/>
                  </a:cubicBezTo>
                  <a:cubicBezTo>
                    <a:pt x="239" y="81"/>
                    <a:pt x="238" y="82"/>
                    <a:pt x="237" y="81"/>
                  </a:cubicBezTo>
                  <a:cubicBezTo>
                    <a:pt x="237" y="80"/>
                    <a:pt x="236" y="80"/>
                    <a:pt x="235" y="81"/>
                  </a:cubicBezTo>
                  <a:cubicBezTo>
                    <a:pt x="235" y="82"/>
                    <a:pt x="233" y="81"/>
                    <a:pt x="232" y="81"/>
                  </a:cubicBezTo>
                  <a:cubicBezTo>
                    <a:pt x="232" y="81"/>
                    <a:pt x="230" y="81"/>
                    <a:pt x="229" y="80"/>
                  </a:cubicBezTo>
                  <a:cubicBezTo>
                    <a:pt x="228" y="79"/>
                    <a:pt x="226" y="76"/>
                    <a:pt x="226" y="75"/>
                  </a:cubicBezTo>
                  <a:cubicBezTo>
                    <a:pt x="226" y="74"/>
                    <a:pt x="225" y="71"/>
                    <a:pt x="226" y="70"/>
                  </a:cubicBezTo>
                  <a:cubicBezTo>
                    <a:pt x="227" y="68"/>
                    <a:pt x="226" y="66"/>
                    <a:pt x="226" y="65"/>
                  </a:cubicBezTo>
                  <a:cubicBezTo>
                    <a:pt x="226" y="64"/>
                    <a:pt x="225" y="64"/>
                    <a:pt x="225" y="64"/>
                  </a:cubicBezTo>
                  <a:cubicBezTo>
                    <a:pt x="225" y="64"/>
                    <a:pt x="224" y="64"/>
                    <a:pt x="221" y="65"/>
                  </a:cubicBezTo>
                  <a:cubicBezTo>
                    <a:pt x="213" y="63"/>
                    <a:pt x="215" y="55"/>
                    <a:pt x="215" y="53"/>
                  </a:cubicBezTo>
                  <a:cubicBezTo>
                    <a:pt x="215" y="52"/>
                    <a:pt x="215" y="52"/>
                    <a:pt x="216" y="51"/>
                  </a:cubicBezTo>
                  <a:cubicBezTo>
                    <a:pt x="216" y="51"/>
                    <a:pt x="216" y="48"/>
                    <a:pt x="216" y="48"/>
                  </a:cubicBezTo>
                  <a:cubicBezTo>
                    <a:pt x="216" y="47"/>
                    <a:pt x="215" y="46"/>
                    <a:pt x="215" y="46"/>
                  </a:cubicBezTo>
                  <a:cubicBezTo>
                    <a:pt x="213" y="48"/>
                    <a:pt x="213" y="48"/>
                    <a:pt x="213" y="48"/>
                  </a:cubicBezTo>
                  <a:cubicBezTo>
                    <a:pt x="213" y="48"/>
                    <a:pt x="210" y="47"/>
                    <a:pt x="209" y="47"/>
                  </a:cubicBezTo>
                  <a:cubicBezTo>
                    <a:pt x="209" y="48"/>
                    <a:pt x="204" y="47"/>
                    <a:pt x="204" y="47"/>
                  </a:cubicBezTo>
                  <a:cubicBezTo>
                    <a:pt x="197" y="45"/>
                    <a:pt x="197" y="45"/>
                    <a:pt x="197" y="45"/>
                  </a:cubicBezTo>
                  <a:cubicBezTo>
                    <a:pt x="193" y="44"/>
                    <a:pt x="193" y="44"/>
                    <a:pt x="193" y="44"/>
                  </a:cubicBezTo>
                  <a:cubicBezTo>
                    <a:pt x="191" y="43"/>
                    <a:pt x="191" y="43"/>
                    <a:pt x="191" y="43"/>
                  </a:cubicBezTo>
                  <a:cubicBezTo>
                    <a:pt x="189" y="43"/>
                    <a:pt x="189" y="43"/>
                    <a:pt x="189" y="43"/>
                  </a:cubicBezTo>
                  <a:cubicBezTo>
                    <a:pt x="189" y="43"/>
                    <a:pt x="187" y="45"/>
                    <a:pt x="186" y="45"/>
                  </a:cubicBezTo>
                  <a:cubicBezTo>
                    <a:pt x="186" y="46"/>
                    <a:pt x="185" y="46"/>
                    <a:pt x="185" y="46"/>
                  </a:cubicBezTo>
                  <a:cubicBezTo>
                    <a:pt x="184" y="46"/>
                    <a:pt x="184" y="45"/>
                    <a:pt x="183" y="45"/>
                  </a:cubicBezTo>
                  <a:cubicBezTo>
                    <a:pt x="182" y="44"/>
                    <a:pt x="181" y="46"/>
                    <a:pt x="181" y="46"/>
                  </a:cubicBezTo>
                  <a:cubicBezTo>
                    <a:pt x="180" y="46"/>
                    <a:pt x="180" y="46"/>
                    <a:pt x="180" y="46"/>
                  </a:cubicBezTo>
                  <a:cubicBezTo>
                    <a:pt x="179" y="44"/>
                    <a:pt x="179" y="44"/>
                    <a:pt x="179" y="44"/>
                  </a:cubicBezTo>
                  <a:cubicBezTo>
                    <a:pt x="177" y="43"/>
                    <a:pt x="177" y="43"/>
                    <a:pt x="177" y="43"/>
                  </a:cubicBezTo>
                  <a:cubicBezTo>
                    <a:pt x="177" y="43"/>
                    <a:pt x="175" y="44"/>
                    <a:pt x="175" y="44"/>
                  </a:cubicBezTo>
                  <a:cubicBezTo>
                    <a:pt x="175" y="45"/>
                    <a:pt x="173" y="46"/>
                    <a:pt x="173" y="46"/>
                  </a:cubicBezTo>
                  <a:cubicBezTo>
                    <a:pt x="172" y="45"/>
                    <a:pt x="172" y="45"/>
                    <a:pt x="172" y="45"/>
                  </a:cubicBezTo>
                  <a:cubicBezTo>
                    <a:pt x="172" y="45"/>
                    <a:pt x="172" y="43"/>
                    <a:pt x="172" y="42"/>
                  </a:cubicBezTo>
                  <a:cubicBezTo>
                    <a:pt x="172" y="42"/>
                    <a:pt x="172" y="40"/>
                    <a:pt x="172" y="40"/>
                  </a:cubicBezTo>
                  <a:cubicBezTo>
                    <a:pt x="172" y="40"/>
                    <a:pt x="170" y="40"/>
                    <a:pt x="169" y="40"/>
                  </a:cubicBezTo>
                  <a:cubicBezTo>
                    <a:pt x="169" y="40"/>
                    <a:pt x="168" y="40"/>
                    <a:pt x="168" y="40"/>
                  </a:cubicBezTo>
                  <a:cubicBezTo>
                    <a:pt x="168" y="44"/>
                    <a:pt x="168" y="44"/>
                    <a:pt x="168" y="44"/>
                  </a:cubicBezTo>
                  <a:cubicBezTo>
                    <a:pt x="168" y="44"/>
                    <a:pt x="165" y="46"/>
                    <a:pt x="164" y="46"/>
                  </a:cubicBezTo>
                  <a:cubicBezTo>
                    <a:pt x="163" y="47"/>
                    <a:pt x="162" y="47"/>
                    <a:pt x="162" y="47"/>
                  </a:cubicBezTo>
                  <a:cubicBezTo>
                    <a:pt x="160" y="45"/>
                    <a:pt x="160" y="45"/>
                    <a:pt x="160" y="45"/>
                  </a:cubicBezTo>
                  <a:cubicBezTo>
                    <a:pt x="159" y="45"/>
                    <a:pt x="159" y="45"/>
                    <a:pt x="159" y="45"/>
                  </a:cubicBezTo>
                  <a:cubicBezTo>
                    <a:pt x="154" y="47"/>
                    <a:pt x="154" y="47"/>
                    <a:pt x="154" y="47"/>
                  </a:cubicBezTo>
                  <a:cubicBezTo>
                    <a:pt x="154" y="47"/>
                    <a:pt x="155" y="46"/>
                    <a:pt x="155" y="46"/>
                  </a:cubicBezTo>
                  <a:cubicBezTo>
                    <a:pt x="156" y="45"/>
                    <a:pt x="156" y="44"/>
                    <a:pt x="156" y="44"/>
                  </a:cubicBezTo>
                  <a:cubicBezTo>
                    <a:pt x="156" y="44"/>
                    <a:pt x="159" y="44"/>
                    <a:pt x="160" y="44"/>
                  </a:cubicBezTo>
                  <a:cubicBezTo>
                    <a:pt x="161" y="44"/>
                    <a:pt x="162" y="44"/>
                    <a:pt x="162" y="44"/>
                  </a:cubicBezTo>
                  <a:cubicBezTo>
                    <a:pt x="162" y="43"/>
                    <a:pt x="164" y="41"/>
                    <a:pt x="164" y="40"/>
                  </a:cubicBezTo>
                  <a:cubicBezTo>
                    <a:pt x="165" y="40"/>
                    <a:pt x="166" y="38"/>
                    <a:pt x="167" y="37"/>
                  </a:cubicBezTo>
                  <a:cubicBezTo>
                    <a:pt x="169" y="37"/>
                    <a:pt x="171" y="34"/>
                    <a:pt x="171" y="34"/>
                  </a:cubicBezTo>
                  <a:cubicBezTo>
                    <a:pt x="172" y="34"/>
                    <a:pt x="171" y="31"/>
                    <a:pt x="171" y="29"/>
                  </a:cubicBezTo>
                  <a:cubicBezTo>
                    <a:pt x="171" y="28"/>
                    <a:pt x="170" y="26"/>
                    <a:pt x="168" y="24"/>
                  </a:cubicBezTo>
                  <a:cubicBezTo>
                    <a:pt x="167" y="22"/>
                    <a:pt x="167" y="24"/>
                    <a:pt x="166" y="23"/>
                  </a:cubicBezTo>
                  <a:cubicBezTo>
                    <a:pt x="164" y="23"/>
                    <a:pt x="164" y="23"/>
                    <a:pt x="162" y="23"/>
                  </a:cubicBezTo>
                  <a:cubicBezTo>
                    <a:pt x="159" y="22"/>
                    <a:pt x="160" y="23"/>
                    <a:pt x="160" y="23"/>
                  </a:cubicBezTo>
                  <a:cubicBezTo>
                    <a:pt x="160" y="23"/>
                    <a:pt x="159" y="23"/>
                    <a:pt x="158" y="22"/>
                  </a:cubicBezTo>
                  <a:cubicBezTo>
                    <a:pt x="158" y="21"/>
                    <a:pt x="156" y="21"/>
                    <a:pt x="156" y="21"/>
                  </a:cubicBezTo>
                  <a:cubicBezTo>
                    <a:pt x="156" y="21"/>
                    <a:pt x="155" y="22"/>
                    <a:pt x="154" y="22"/>
                  </a:cubicBezTo>
                  <a:cubicBezTo>
                    <a:pt x="154" y="21"/>
                    <a:pt x="155" y="20"/>
                    <a:pt x="156" y="18"/>
                  </a:cubicBezTo>
                  <a:cubicBezTo>
                    <a:pt x="157" y="17"/>
                    <a:pt x="154" y="17"/>
                    <a:pt x="153" y="16"/>
                  </a:cubicBezTo>
                  <a:cubicBezTo>
                    <a:pt x="152" y="15"/>
                    <a:pt x="151" y="14"/>
                    <a:pt x="151" y="14"/>
                  </a:cubicBezTo>
                  <a:cubicBezTo>
                    <a:pt x="151" y="14"/>
                    <a:pt x="150" y="16"/>
                    <a:pt x="150" y="17"/>
                  </a:cubicBezTo>
                  <a:cubicBezTo>
                    <a:pt x="149" y="19"/>
                    <a:pt x="148" y="19"/>
                    <a:pt x="147" y="19"/>
                  </a:cubicBezTo>
                  <a:cubicBezTo>
                    <a:pt x="146" y="19"/>
                    <a:pt x="146" y="17"/>
                    <a:pt x="146" y="16"/>
                  </a:cubicBezTo>
                  <a:cubicBezTo>
                    <a:pt x="145" y="15"/>
                    <a:pt x="146" y="14"/>
                    <a:pt x="146" y="13"/>
                  </a:cubicBezTo>
                  <a:cubicBezTo>
                    <a:pt x="147" y="12"/>
                    <a:pt x="148" y="11"/>
                    <a:pt x="149" y="10"/>
                  </a:cubicBezTo>
                  <a:cubicBezTo>
                    <a:pt x="150" y="10"/>
                    <a:pt x="149" y="8"/>
                    <a:pt x="149" y="7"/>
                  </a:cubicBezTo>
                  <a:cubicBezTo>
                    <a:pt x="149" y="7"/>
                    <a:pt x="147" y="4"/>
                    <a:pt x="147" y="3"/>
                  </a:cubicBezTo>
                  <a:cubicBezTo>
                    <a:pt x="146" y="3"/>
                    <a:pt x="144" y="1"/>
                    <a:pt x="144" y="1"/>
                  </a:cubicBezTo>
                  <a:cubicBezTo>
                    <a:pt x="143" y="0"/>
                    <a:pt x="141" y="1"/>
                    <a:pt x="141" y="1"/>
                  </a:cubicBezTo>
                  <a:cubicBezTo>
                    <a:pt x="141" y="1"/>
                    <a:pt x="140" y="0"/>
                    <a:pt x="140" y="0"/>
                  </a:cubicBezTo>
                  <a:cubicBezTo>
                    <a:pt x="139" y="0"/>
                    <a:pt x="139" y="0"/>
                    <a:pt x="139" y="1"/>
                  </a:cubicBezTo>
                  <a:cubicBezTo>
                    <a:pt x="138" y="1"/>
                    <a:pt x="137" y="2"/>
                    <a:pt x="137" y="3"/>
                  </a:cubicBezTo>
                  <a:cubicBezTo>
                    <a:pt x="135" y="4"/>
                    <a:pt x="133" y="4"/>
                    <a:pt x="132" y="5"/>
                  </a:cubicBezTo>
                  <a:cubicBezTo>
                    <a:pt x="126" y="6"/>
                    <a:pt x="120" y="8"/>
                    <a:pt x="115" y="9"/>
                  </a:cubicBezTo>
                  <a:cubicBezTo>
                    <a:pt x="109" y="11"/>
                    <a:pt x="103" y="11"/>
                    <a:pt x="98" y="13"/>
                  </a:cubicBezTo>
                  <a:cubicBezTo>
                    <a:pt x="94" y="14"/>
                    <a:pt x="88" y="14"/>
                    <a:pt x="87" y="18"/>
                  </a:cubicBezTo>
                  <a:cubicBezTo>
                    <a:pt x="86" y="21"/>
                    <a:pt x="89" y="21"/>
                    <a:pt x="89" y="24"/>
                  </a:cubicBezTo>
                  <a:cubicBezTo>
                    <a:pt x="89" y="27"/>
                    <a:pt x="87" y="28"/>
                    <a:pt x="86" y="30"/>
                  </a:cubicBezTo>
                  <a:cubicBezTo>
                    <a:pt x="86" y="31"/>
                    <a:pt x="86" y="31"/>
                    <a:pt x="86" y="31"/>
                  </a:cubicBezTo>
                  <a:cubicBezTo>
                    <a:pt x="88" y="31"/>
                    <a:pt x="90" y="31"/>
                    <a:pt x="88" y="33"/>
                  </a:cubicBezTo>
                  <a:cubicBezTo>
                    <a:pt x="87" y="34"/>
                    <a:pt x="85" y="33"/>
                    <a:pt x="84" y="34"/>
                  </a:cubicBezTo>
                  <a:cubicBezTo>
                    <a:pt x="82" y="36"/>
                    <a:pt x="86" y="43"/>
                    <a:pt x="83" y="44"/>
                  </a:cubicBezTo>
                  <a:cubicBezTo>
                    <a:pt x="80" y="44"/>
                    <a:pt x="77" y="38"/>
                    <a:pt x="75" y="37"/>
                  </a:cubicBezTo>
                  <a:cubicBezTo>
                    <a:pt x="74" y="35"/>
                    <a:pt x="72" y="33"/>
                    <a:pt x="70" y="32"/>
                  </a:cubicBezTo>
                  <a:cubicBezTo>
                    <a:pt x="68" y="31"/>
                    <a:pt x="66" y="33"/>
                    <a:pt x="66" y="36"/>
                  </a:cubicBezTo>
                  <a:cubicBezTo>
                    <a:pt x="66" y="38"/>
                    <a:pt x="68" y="40"/>
                    <a:pt x="68" y="42"/>
                  </a:cubicBezTo>
                  <a:cubicBezTo>
                    <a:pt x="69" y="44"/>
                    <a:pt x="66" y="45"/>
                    <a:pt x="63" y="45"/>
                  </a:cubicBezTo>
                  <a:cubicBezTo>
                    <a:pt x="62" y="45"/>
                    <a:pt x="61" y="43"/>
                    <a:pt x="60" y="43"/>
                  </a:cubicBezTo>
                  <a:cubicBezTo>
                    <a:pt x="59" y="42"/>
                    <a:pt x="58" y="43"/>
                    <a:pt x="57" y="44"/>
                  </a:cubicBezTo>
                  <a:cubicBezTo>
                    <a:pt x="54" y="44"/>
                    <a:pt x="53" y="43"/>
                    <a:pt x="50" y="42"/>
                  </a:cubicBezTo>
                  <a:cubicBezTo>
                    <a:pt x="48" y="41"/>
                    <a:pt x="46" y="42"/>
                    <a:pt x="46" y="44"/>
                  </a:cubicBezTo>
                  <a:cubicBezTo>
                    <a:pt x="46" y="46"/>
                    <a:pt x="47" y="45"/>
                    <a:pt x="48" y="46"/>
                  </a:cubicBezTo>
                  <a:cubicBezTo>
                    <a:pt x="48" y="47"/>
                    <a:pt x="47" y="49"/>
                    <a:pt x="47" y="50"/>
                  </a:cubicBezTo>
                  <a:cubicBezTo>
                    <a:pt x="46" y="51"/>
                    <a:pt x="44" y="51"/>
                    <a:pt x="44" y="52"/>
                  </a:cubicBezTo>
                  <a:cubicBezTo>
                    <a:pt x="43" y="53"/>
                    <a:pt x="44" y="54"/>
                    <a:pt x="44" y="55"/>
                  </a:cubicBezTo>
                  <a:cubicBezTo>
                    <a:pt x="43" y="57"/>
                    <a:pt x="38" y="58"/>
                    <a:pt x="35" y="59"/>
                  </a:cubicBezTo>
                  <a:cubicBezTo>
                    <a:pt x="34" y="60"/>
                    <a:pt x="34" y="60"/>
                    <a:pt x="33" y="61"/>
                  </a:cubicBezTo>
                  <a:cubicBezTo>
                    <a:pt x="32" y="62"/>
                    <a:pt x="32" y="63"/>
                    <a:pt x="31" y="64"/>
                  </a:cubicBezTo>
                  <a:cubicBezTo>
                    <a:pt x="30" y="65"/>
                    <a:pt x="27" y="65"/>
                    <a:pt x="26" y="65"/>
                  </a:cubicBezTo>
                  <a:cubicBezTo>
                    <a:pt x="24" y="66"/>
                    <a:pt x="22" y="67"/>
                    <a:pt x="20" y="65"/>
                  </a:cubicBezTo>
                  <a:cubicBezTo>
                    <a:pt x="19" y="65"/>
                    <a:pt x="19" y="65"/>
                    <a:pt x="18" y="64"/>
                  </a:cubicBezTo>
                  <a:cubicBezTo>
                    <a:pt x="18" y="63"/>
                    <a:pt x="18" y="63"/>
                    <a:pt x="18" y="62"/>
                  </a:cubicBezTo>
                  <a:cubicBezTo>
                    <a:pt x="17" y="62"/>
                    <a:pt x="15" y="64"/>
                    <a:pt x="13" y="63"/>
                  </a:cubicBezTo>
                  <a:cubicBezTo>
                    <a:pt x="12" y="62"/>
                    <a:pt x="13" y="59"/>
                    <a:pt x="11" y="61"/>
                  </a:cubicBezTo>
                  <a:cubicBezTo>
                    <a:pt x="9" y="63"/>
                    <a:pt x="9" y="64"/>
                    <a:pt x="7" y="65"/>
                  </a:cubicBezTo>
                  <a:cubicBezTo>
                    <a:pt x="4" y="66"/>
                    <a:pt x="2" y="67"/>
                    <a:pt x="1" y="69"/>
                  </a:cubicBezTo>
                  <a:cubicBezTo>
                    <a:pt x="0" y="70"/>
                    <a:pt x="0" y="70"/>
                    <a:pt x="0" y="70"/>
                  </a:cubicBezTo>
                  <a:cubicBezTo>
                    <a:pt x="0" y="71"/>
                    <a:pt x="1" y="71"/>
                    <a:pt x="1" y="72"/>
                  </a:cubicBezTo>
                  <a:cubicBezTo>
                    <a:pt x="2" y="73"/>
                    <a:pt x="3" y="75"/>
                    <a:pt x="3" y="77"/>
                  </a:cubicBezTo>
                  <a:cubicBezTo>
                    <a:pt x="4" y="79"/>
                    <a:pt x="5" y="78"/>
                    <a:pt x="7" y="80"/>
                  </a:cubicBezTo>
                  <a:cubicBezTo>
                    <a:pt x="9" y="81"/>
                    <a:pt x="9" y="82"/>
                    <a:pt x="9" y="84"/>
                  </a:cubicBezTo>
                  <a:cubicBezTo>
                    <a:pt x="10" y="86"/>
                    <a:pt x="11" y="86"/>
                    <a:pt x="13" y="87"/>
                  </a:cubicBezTo>
                  <a:cubicBezTo>
                    <a:pt x="14" y="87"/>
                    <a:pt x="14" y="88"/>
                    <a:pt x="15" y="88"/>
                  </a:cubicBezTo>
                  <a:cubicBezTo>
                    <a:pt x="16" y="88"/>
                    <a:pt x="16" y="87"/>
                    <a:pt x="17" y="87"/>
                  </a:cubicBezTo>
                  <a:cubicBezTo>
                    <a:pt x="19" y="87"/>
                    <a:pt x="20" y="87"/>
                    <a:pt x="22" y="89"/>
                  </a:cubicBezTo>
                  <a:cubicBezTo>
                    <a:pt x="25" y="92"/>
                    <a:pt x="24" y="95"/>
                    <a:pt x="25" y="99"/>
                  </a:cubicBezTo>
                  <a:cubicBezTo>
                    <a:pt x="26" y="102"/>
                    <a:pt x="31" y="105"/>
                    <a:pt x="34" y="105"/>
                  </a:cubicBezTo>
                  <a:cubicBezTo>
                    <a:pt x="34" y="105"/>
                    <a:pt x="34" y="104"/>
                    <a:pt x="35" y="104"/>
                  </a:cubicBezTo>
                  <a:cubicBezTo>
                    <a:pt x="36" y="103"/>
                    <a:pt x="36" y="103"/>
                    <a:pt x="37" y="103"/>
                  </a:cubicBezTo>
                  <a:cubicBezTo>
                    <a:pt x="38" y="103"/>
                    <a:pt x="39" y="103"/>
                    <a:pt x="40" y="103"/>
                  </a:cubicBezTo>
                  <a:cubicBezTo>
                    <a:pt x="40" y="103"/>
                    <a:pt x="41" y="102"/>
                    <a:pt x="41" y="102"/>
                  </a:cubicBezTo>
                  <a:cubicBezTo>
                    <a:pt x="43" y="101"/>
                    <a:pt x="44" y="104"/>
                    <a:pt x="44" y="104"/>
                  </a:cubicBezTo>
                  <a:cubicBezTo>
                    <a:pt x="46" y="105"/>
                    <a:pt x="48" y="104"/>
                    <a:pt x="50" y="105"/>
                  </a:cubicBezTo>
                  <a:cubicBezTo>
                    <a:pt x="50" y="108"/>
                    <a:pt x="54" y="107"/>
                    <a:pt x="55" y="109"/>
                  </a:cubicBezTo>
                  <a:cubicBezTo>
                    <a:pt x="57" y="112"/>
                    <a:pt x="55" y="115"/>
                    <a:pt x="53" y="117"/>
                  </a:cubicBezTo>
                  <a:cubicBezTo>
                    <a:pt x="52" y="119"/>
                    <a:pt x="52" y="119"/>
                    <a:pt x="50" y="119"/>
                  </a:cubicBezTo>
                  <a:cubicBezTo>
                    <a:pt x="49" y="118"/>
                    <a:pt x="48" y="117"/>
                    <a:pt x="48" y="117"/>
                  </a:cubicBezTo>
                  <a:cubicBezTo>
                    <a:pt x="45" y="116"/>
                    <a:pt x="44" y="118"/>
                    <a:pt x="43" y="120"/>
                  </a:cubicBezTo>
                  <a:cubicBezTo>
                    <a:pt x="42" y="122"/>
                    <a:pt x="41" y="125"/>
                    <a:pt x="40" y="127"/>
                  </a:cubicBezTo>
                  <a:cubicBezTo>
                    <a:pt x="39" y="130"/>
                    <a:pt x="37" y="129"/>
                    <a:pt x="35" y="131"/>
                  </a:cubicBezTo>
                  <a:cubicBezTo>
                    <a:pt x="30" y="134"/>
                    <a:pt x="40" y="141"/>
                    <a:pt x="42" y="142"/>
                  </a:cubicBezTo>
                  <a:cubicBezTo>
                    <a:pt x="45" y="143"/>
                    <a:pt x="48" y="142"/>
                    <a:pt x="51" y="144"/>
                  </a:cubicBezTo>
                  <a:cubicBezTo>
                    <a:pt x="52" y="145"/>
                    <a:pt x="55" y="146"/>
                    <a:pt x="56" y="147"/>
                  </a:cubicBezTo>
                  <a:cubicBezTo>
                    <a:pt x="54" y="148"/>
                    <a:pt x="52" y="147"/>
                    <a:pt x="51" y="148"/>
                  </a:cubicBezTo>
                  <a:cubicBezTo>
                    <a:pt x="49" y="150"/>
                    <a:pt x="51" y="150"/>
                    <a:pt x="52" y="152"/>
                  </a:cubicBezTo>
                  <a:cubicBezTo>
                    <a:pt x="54" y="155"/>
                    <a:pt x="56" y="157"/>
                    <a:pt x="59" y="159"/>
                  </a:cubicBezTo>
                  <a:cubicBezTo>
                    <a:pt x="60" y="159"/>
                    <a:pt x="61" y="161"/>
                    <a:pt x="62" y="161"/>
                  </a:cubicBezTo>
                  <a:cubicBezTo>
                    <a:pt x="63" y="161"/>
                    <a:pt x="65" y="160"/>
                    <a:pt x="66" y="159"/>
                  </a:cubicBezTo>
                  <a:cubicBezTo>
                    <a:pt x="68" y="159"/>
                    <a:pt x="71" y="160"/>
                    <a:pt x="73" y="161"/>
                  </a:cubicBezTo>
                  <a:cubicBezTo>
                    <a:pt x="76" y="162"/>
                    <a:pt x="77" y="164"/>
                    <a:pt x="79" y="165"/>
                  </a:cubicBezTo>
                  <a:cubicBezTo>
                    <a:pt x="82" y="167"/>
                    <a:pt x="83" y="167"/>
                    <a:pt x="81" y="170"/>
                  </a:cubicBezTo>
                  <a:cubicBezTo>
                    <a:pt x="80" y="172"/>
                    <a:pt x="78" y="174"/>
                    <a:pt x="79" y="176"/>
                  </a:cubicBezTo>
                  <a:cubicBezTo>
                    <a:pt x="80" y="177"/>
                    <a:pt x="84" y="178"/>
                    <a:pt x="85" y="179"/>
                  </a:cubicBezTo>
                  <a:cubicBezTo>
                    <a:pt x="88" y="180"/>
                    <a:pt x="88" y="179"/>
                    <a:pt x="90" y="178"/>
                  </a:cubicBezTo>
                  <a:cubicBezTo>
                    <a:pt x="94" y="176"/>
                    <a:pt x="92" y="180"/>
                    <a:pt x="93" y="182"/>
                  </a:cubicBezTo>
                  <a:cubicBezTo>
                    <a:pt x="97" y="183"/>
                    <a:pt x="98" y="185"/>
                    <a:pt x="98" y="189"/>
                  </a:cubicBezTo>
                  <a:cubicBezTo>
                    <a:pt x="101" y="189"/>
                    <a:pt x="102" y="191"/>
                    <a:pt x="101" y="192"/>
                  </a:cubicBezTo>
                  <a:cubicBezTo>
                    <a:pt x="103" y="193"/>
                    <a:pt x="105" y="193"/>
                    <a:pt x="106" y="194"/>
                  </a:cubicBezTo>
                  <a:cubicBezTo>
                    <a:pt x="107" y="196"/>
                    <a:pt x="107" y="198"/>
                    <a:pt x="108" y="200"/>
                  </a:cubicBezTo>
                  <a:cubicBezTo>
                    <a:pt x="110" y="200"/>
                    <a:pt x="110" y="199"/>
                    <a:pt x="112" y="199"/>
                  </a:cubicBezTo>
                  <a:cubicBezTo>
                    <a:pt x="114" y="200"/>
                    <a:pt x="114" y="201"/>
                    <a:pt x="116" y="200"/>
                  </a:cubicBezTo>
                  <a:cubicBezTo>
                    <a:pt x="118" y="198"/>
                    <a:pt x="119" y="199"/>
                    <a:pt x="121" y="200"/>
                  </a:cubicBezTo>
                  <a:cubicBezTo>
                    <a:pt x="122" y="201"/>
                    <a:pt x="124" y="202"/>
                    <a:pt x="125" y="201"/>
                  </a:cubicBezTo>
                  <a:cubicBezTo>
                    <a:pt x="125" y="200"/>
                    <a:pt x="126" y="199"/>
                    <a:pt x="126" y="198"/>
                  </a:cubicBezTo>
                  <a:cubicBezTo>
                    <a:pt x="127" y="196"/>
                    <a:pt x="128" y="198"/>
                    <a:pt x="130" y="198"/>
                  </a:cubicBezTo>
                  <a:cubicBezTo>
                    <a:pt x="132" y="198"/>
                    <a:pt x="139" y="199"/>
                    <a:pt x="139" y="196"/>
                  </a:cubicBezTo>
                  <a:cubicBezTo>
                    <a:pt x="138" y="194"/>
                    <a:pt x="137" y="193"/>
                    <a:pt x="136" y="193"/>
                  </a:cubicBezTo>
                  <a:cubicBezTo>
                    <a:pt x="135" y="192"/>
                    <a:pt x="135" y="190"/>
                    <a:pt x="135" y="189"/>
                  </a:cubicBezTo>
                  <a:cubicBezTo>
                    <a:pt x="135" y="187"/>
                    <a:pt x="136" y="186"/>
                    <a:pt x="136" y="185"/>
                  </a:cubicBezTo>
                  <a:cubicBezTo>
                    <a:pt x="136" y="183"/>
                    <a:pt x="136" y="181"/>
                    <a:pt x="137" y="180"/>
                  </a:cubicBezTo>
                  <a:cubicBezTo>
                    <a:pt x="137" y="177"/>
                    <a:pt x="138" y="174"/>
                    <a:pt x="139" y="172"/>
                  </a:cubicBezTo>
                  <a:cubicBezTo>
                    <a:pt x="140" y="169"/>
                    <a:pt x="141" y="165"/>
                    <a:pt x="144" y="163"/>
                  </a:cubicBezTo>
                  <a:cubicBezTo>
                    <a:pt x="145" y="162"/>
                    <a:pt x="148" y="163"/>
                    <a:pt x="150" y="162"/>
                  </a:cubicBezTo>
                  <a:cubicBezTo>
                    <a:pt x="152" y="160"/>
                    <a:pt x="152" y="159"/>
                    <a:pt x="155" y="160"/>
                  </a:cubicBezTo>
                  <a:cubicBezTo>
                    <a:pt x="156" y="160"/>
                    <a:pt x="156" y="160"/>
                    <a:pt x="157" y="159"/>
                  </a:cubicBezTo>
                  <a:cubicBezTo>
                    <a:pt x="159" y="159"/>
                    <a:pt x="159" y="159"/>
                    <a:pt x="160" y="159"/>
                  </a:cubicBezTo>
                  <a:cubicBezTo>
                    <a:pt x="163" y="159"/>
                    <a:pt x="164" y="158"/>
                    <a:pt x="167" y="157"/>
                  </a:cubicBezTo>
                  <a:cubicBezTo>
                    <a:pt x="169" y="156"/>
                    <a:pt x="170" y="155"/>
                    <a:pt x="172" y="154"/>
                  </a:cubicBezTo>
                  <a:cubicBezTo>
                    <a:pt x="174" y="153"/>
                    <a:pt x="176" y="153"/>
                    <a:pt x="178" y="152"/>
                  </a:cubicBezTo>
                  <a:cubicBezTo>
                    <a:pt x="180" y="151"/>
                    <a:pt x="179" y="149"/>
                    <a:pt x="181" y="147"/>
                  </a:cubicBezTo>
                  <a:cubicBezTo>
                    <a:pt x="182" y="146"/>
                    <a:pt x="182" y="146"/>
                    <a:pt x="183" y="144"/>
                  </a:cubicBezTo>
                  <a:cubicBezTo>
                    <a:pt x="184" y="142"/>
                    <a:pt x="185" y="141"/>
                    <a:pt x="186" y="139"/>
                  </a:cubicBezTo>
                  <a:cubicBezTo>
                    <a:pt x="187" y="137"/>
                    <a:pt x="187" y="136"/>
                    <a:pt x="189" y="136"/>
                  </a:cubicBezTo>
                  <a:cubicBezTo>
                    <a:pt x="191" y="136"/>
                    <a:pt x="193" y="137"/>
                    <a:pt x="193" y="135"/>
                  </a:cubicBezTo>
                  <a:cubicBezTo>
                    <a:pt x="193" y="133"/>
                    <a:pt x="193" y="132"/>
                    <a:pt x="193" y="130"/>
                  </a:cubicBezTo>
                  <a:cubicBezTo>
                    <a:pt x="193" y="129"/>
                    <a:pt x="194" y="127"/>
                    <a:pt x="195" y="127"/>
                  </a:cubicBezTo>
                  <a:cubicBezTo>
                    <a:pt x="197" y="127"/>
                    <a:pt x="198" y="129"/>
                    <a:pt x="198" y="130"/>
                  </a:cubicBezTo>
                  <a:cubicBezTo>
                    <a:pt x="199" y="130"/>
                    <a:pt x="201" y="130"/>
                    <a:pt x="201" y="130"/>
                  </a:cubicBezTo>
                  <a:cubicBezTo>
                    <a:pt x="202" y="131"/>
                    <a:pt x="202" y="131"/>
                    <a:pt x="203" y="132"/>
                  </a:cubicBezTo>
                  <a:cubicBezTo>
                    <a:pt x="203" y="133"/>
                    <a:pt x="204" y="132"/>
                    <a:pt x="205" y="132"/>
                  </a:cubicBezTo>
                  <a:cubicBezTo>
                    <a:pt x="207" y="133"/>
                    <a:pt x="207" y="134"/>
                    <a:pt x="207" y="134"/>
                  </a:cubicBezTo>
                  <a:cubicBezTo>
                    <a:pt x="208" y="136"/>
                    <a:pt x="210" y="135"/>
                    <a:pt x="210" y="137"/>
                  </a:cubicBezTo>
                  <a:cubicBezTo>
                    <a:pt x="210" y="139"/>
                    <a:pt x="211" y="140"/>
                    <a:pt x="212" y="141"/>
                  </a:cubicBezTo>
                  <a:cubicBezTo>
                    <a:pt x="213" y="143"/>
                    <a:pt x="213" y="143"/>
                    <a:pt x="213" y="145"/>
                  </a:cubicBezTo>
                  <a:cubicBezTo>
                    <a:pt x="214" y="147"/>
                    <a:pt x="215" y="147"/>
                    <a:pt x="216" y="148"/>
                  </a:cubicBezTo>
                  <a:cubicBezTo>
                    <a:pt x="217" y="149"/>
                    <a:pt x="219" y="150"/>
                    <a:pt x="220" y="151"/>
                  </a:cubicBezTo>
                  <a:cubicBezTo>
                    <a:pt x="221" y="151"/>
                    <a:pt x="223" y="151"/>
                    <a:pt x="224" y="151"/>
                  </a:cubicBezTo>
                  <a:cubicBezTo>
                    <a:pt x="225" y="152"/>
                    <a:pt x="227" y="153"/>
                    <a:pt x="228" y="153"/>
                  </a:cubicBezTo>
                  <a:cubicBezTo>
                    <a:pt x="228" y="153"/>
                    <a:pt x="229" y="154"/>
                    <a:pt x="229" y="154"/>
                  </a:cubicBezTo>
                  <a:cubicBezTo>
                    <a:pt x="230" y="153"/>
                    <a:pt x="230" y="153"/>
                    <a:pt x="230" y="153"/>
                  </a:cubicBezTo>
                  <a:cubicBezTo>
                    <a:pt x="230" y="152"/>
                    <a:pt x="230" y="150"/>
                    <a:pt x="230" y="148"/>
                  </a:cubicBezTo>
                  <a:cubicBezTo>
                    <a:pt x="231" y="146"/>
                    <a:pt x="231" y="145"/>
                    <a:pt x="231" y="144"/>
                  </a:cubicBezTo>
                  <a:cubicBezTo>
                    <a:pt x="232" y="143"/>
                    <a:pt x="234" y="139"/>
                    <a:pt x="235" y="138"/>
                  </a:cubicBezTo>
                  <a:cubicBezTo>
                    <a:pt x="235" y="137"/>
                    <a:pt x="236" y="134"/>
                    <a:pt x="236" y="133"/>
                  </a:cubicBezTo>
                  <a:cubicBezTo>
                    <a:pt x="236" y="133"/>
                    <a:pt x="234" y="131"/>
                    <a:pt x="233" y="130"/>
                  </a:cubicBezTo>
                  <a:cubicBezTo>
                    <a:pt x="232" y="129"/>
                    <a:pt x="230" y="129"/>
                    <a:pt x="229" y="127"/>
                  </a:cubicBezTo>
                  <a:cubicBezTo>
                    <a:pt x="228" y="125"/>
                    <a:pt x="228" y="123"/>
                    <a:pt x="228" y="122"/>
                  </a:cubicBezTo>
                  <a:cubicBezTo>
                    <a:pt x="228" y="121"/>
                    <a:pt x="228" y="119"/>
                    <a:pt x="228" y="119"/>
                  </a:cubicBezTo>
                  <a:cubicBezTo>
                    <a:pt x="228" y="119"/>
                    <a:pt x="230" y="114"/>
                    <a:pt x="231" y="111"/>
                  </a:cubicBezTo>
                  <a:cubicBezTo>
                    <a:pt x="233" y="104"/>
                    <a:pt x="244" y="100"/>
                    <a:pt x="244" y="100"/>
                  </a:cubicBezTo>
                  <a:cubicBezTo>
                    <a:pt x="244" y="99"/>
                    <a:pt x="244" y="98"/>
                    <a:pt x="244" y="97"/>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6" name="Freeform 25">
              <a:extLst>
                <a:ext uri="{FF2B5EF4-FFF2-40B4-BE49-F238E27FC236}">
                  <a16:creationId xmlns:a16="http://schemas.microsoft.com/office/drawing/2014/main" id="{25AAF09F-B2F9-C20A-C648-6ED80BB87824}"/>
                </a:ext>
              </a:extLst>
            </p:cNvPr>
            <p:cNvSpPr>
              <a:spLocks noEditPoints="1"/>
            </p:cNvSpPr>
            <p:nvPr/>
          </p:nvSpPr>
          <p:spPr bwMode="auto">
            <a:xfrm>
              <a:off x="6667500" y="4471988"/>
              <a:ext cx="558800" cy="677862"/>
            </a:xfrm>
            <a:custGeom>
              <a:avLst/>
              <a:gdLst>
                <a:gd name="T0" fmla="*/ 58 w 147"/>
                <a:gd name="T1" fmla="*/ 150 h 178"/>
                <a:gd name="T2" fmla="*/ 62 w 147"/>
                <a:gd name="T3" fmla="*/ 140 h 178"/>
                <a:gd name="T4" fmla="*/ 72 w 147"/>
                <a:gd name="T5" fmla="*/ 149 h 178"/>
                <a:gd name="T6" fmla="*/ 85 w 147"/>
                <a:gd name="T7" fmla="*/ 155 h 178"/>
                <a:gd name="T8" fmla="*/ 98 w 147"/>
                <a:gd name="T9" fmla="*/ 159 h 178"/>
                <a:gd name="T10" fmla="*/ 101 w 147"/>
                <a:gd name="T11" fmla="*/ 161 h 178"/>
                <a:gd name="T12" fmla="*/ 108 w 147"/>
                <a:gd name="T13" fmla="*/ 156 h 178"/>
                <a:gd name="T14" fmla="*/ 107 w 147"/>
                <a:gd name="T15" fmla="*/ 142 h 178"/>
                <a:gd name="T16" fmla="*/ 115 w 147"/>
                <a:gd name="T17" fmla="*/ 126 h 178"/>
                <a:gd name="T18" fmla="*/ 103 w 147"/>
                <a:gd name="T19" fmla="*/ 116 h 178"/>
                <a:gd name="T20" fmla="*/ 90 w 147"/>
                <a:gd name="T21" fmla="*/ 130 h 178"/>
                <a:gd name="T22" fmla="*/ 89 w 147"/>
                <a:gd name="T23" fmla="*/ 145 h 178"/>
                <a:gd name="T24" fmla="*/ 109 w 147"/>
                <a:gd name="T25" fmla="*/ 161 h 178"/>
                <a:gd name="T26" fmla="*/ 114 w 147"/>
                <a:gd name="T27" fmla="*/ 177 h 178"/>
                <a:gd name="T28" fmla="*/ 124 w 147"/>
                <a:gd name="T29" fmla="*/ 167 h 178"/>
                <a:gd name="T30" fmla="*/ 132 w 147"/>
                <a:gd name="T31" fmla="*/ 163 h 178"/>
                <a:gd name="T32" fmla="*/ 140 w 147"/>
                <a:gd name="T33" fmla="*/ 151 h 178"/>
                <a:gd name="T34" fmla="*/ 127 w 147"/>
                <a:gd name="T35" fmla="*/ 145 h 178"/>
                <a:gd name="T36" fmla="*/ 131 w 147"/>
                <a:gd name="T37" fmla="*/ 129 h 178"/>
                <a:gd name="T38" fmla="*/ 133 w 147"/>
                <a:gd name="T39" fmla="*/ 124 h 178"/>
                <a:gd name="T40" fmla="*/ 143 w 147"/>
                <a:gd name="T41" fmla="*/ 121 h 178"/>
                <a:gd name="T42" fmla="*/ 139 w 147"/>
                <a:gd name="T43" fmla="*/ 105 h 178"/>
                <a:gd name="T44" fmla="*/ 134 w 147"/>
                <a:gd name="T45" fmla="*/ 101 h 178"/>
                <a:gd name="T46" fmla="*/ 120 w 147"/>
                <a:gd name="T47" fmla="*/ 114 h 178"/>
                <a:gd name="T48" fmla="*/ 119 w 147"/>
                <a:gd name="T49" fmla="*/ 132 h 178"/>
                <a:gd name="T50" fmla="*/ 117 w 147"/>
                <a:gd name="T51" fmla="*/ 141 h 178"/>
                <a:gd name="T52" fmla="*/ 117 w 147"/>
                <a:gd name="T53" fmla="*/ 150 h 178"/>
                <a:gd name="T54" fmla="*/ 146 w 147"/>
                <a:gd name="T55" fmla="*/ 78 h 178"/>
                <a:gd name="T56" fmla="*/ 127 w 147"/>
                <a:gd name="T57" fmla="*/ 79 h 178"/>
                <a:gd name="T58" fmla="*/ 88 w 147"/>
                <a:gd name="T59" fmla="*/ 22 h 178"/>
                <a:gd name="T60" fmla="*/ 74 w 147"/>
                <a:gd name="T61" fmla="*/ 11 h 178"/>
                <a:gd name="T62" fmla="*/ 54 w 147"/>
                <a:gd name="T63" fmla="*/ 9 h 178"/>
                <a:gd name="T64" fmla="*/ 32 w 147"/>
                <a:gd name="T65" fmla="*/ 13 h 178"/>
                <a:gd name="T66" fmla="*/ 21 w 147"/>
                <a:gd name="T67" fmla="*/ 4 h 178"/>
                <a:gd name="T68" fmla="*/ 10 w 147"/>
                <a:gd name="T69" fmla="*/ 4 h 178"/>
                <a:gd name="T70" fmla="*/ 12 w 147"/>
                <a:gd name="T71" fmla="*/ 15 h 178"/>
                <a:gd name="T72" fmla="*/ 9 w 147"/>
                <a:gd name="T73" fmla="*/ 28 h 178"/>
                <a:gd name="T74" fmla="*/ 5 w 147"/>
                <a:gd name="T75" fmla="*/ 52 h 178"/>
                <a:gd name="T76" fmla="*/ 19 w 147"/>
                <a:gd name="T77" fmla="*/ 64 h 178"/>
                <a:gd name="T78" fmla="*/ 26 w 147"/>
                <a:gd name="T79" fmla="*/ 67 h 178"/>
                <a:gd name="T80" fmla="*/ 45 w 147"/>
                <a:gd name="T81" fmla="*/ 80 h 178"/>
                <a:gd name="T82" fmla="*/ 40 w 147"/>
                <a:gd name="T83" fmla="*/ 92 h 178"/>
                <a:gd name="T84" fmla="*/ 39 w 147"/>
                <a:gd name="T85" fmla="*/ 118 h 178"/>
                <a:gd name="T86" fmla="*/ 50 w 147"/>
                <a:gd name="T87" fmla="*/ 126 h 178"/>
                <a:gd name="T88" fmla="*/ 69 w 147"/>
                <a:gd name="T89" fmla="*/ 128 h 178"/>
                <a:gd name="T90" fmla="*/ 74 w 147"/>
                <a:gd name="T91" fmla="*/ 122 h 178"/>
                <a:gd name="T92" fmla="*/ 82 w 147"/>
                <a:gd name="T93" fmla="*/ 105 h 178"/>
                <a:gd name="T94" fmla="*/ 95 w 147"/>
                <a:gd name="T95" fmla="*/ 102 h 178"/>
                <a:gd name="T96" fmla="*/ 108 w 147"/>
                <a:gd name="T97" fmla="*/ 101 h 178"/>
                <a:gd name="T98" fmla="*/ 114 w 147"/>
                <a:gd name="T99" fmla="*/ 105 h 178"/>
                <a:gd name="T100" fmla="*/ 114 w 147"/>
                <a:gd name="T101" fmla="*/ 96 h 178"/>
                <a:gd name="T102" fmla="*/ 124 w 147"/>
                <a:gd name="T103" fmla="*/ 92 h 178"/>
                <a:gd name="T104" fmla="*/ 116 w 147"/>
                <a:gd name="T105" fmla="*/ 78 h 178"/>
                <a:gd name="T106" fmla="*/ 110 w 147"/>
                <a:gd name="T107" fmla="*/ 77 h 178"/>
                <a:gd name="T108" fmla="*/ 110 w 147"/>
                <a:gd name="T109" fmla="*/ 69 h 178"/>
                <a:gd name="T110" fmla="*/ 98 w 147"/>
                <a:gd name="T111" fmla="*/ 63 h 178"/>
                <a:gd name="T112" fmla="*/ 87 w 147"/>
                <a:gd name="T113" fmla="*/ 55 h 178"/>
                <a:gd name="T114" fmla="*/ 86 w 147"/>
                <a:gd name="T115" fmla="*/ 46 h 178"/>
                <a:gd name="T116" fmla="*/ 88 w 147"/>
                <a:gd name="T117" fmla="*/ 36 h 178"/>
                <a:gd name="T118" fmla="*/ 88 w 147"/>
                <a:gd name="T119" fmla="*/ 2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7" h="178">
                  <a:moveTo>
                    <a:pt x="67" y="165"/>
                  </a:moveTo>
                  <a:cubicBezTo>
                    <a:pt x="66" y="164"/>
                    <a:pt x="65" y="163"/>
                    <a:pt x="65" y="162"/>
                  </a:cubicBezTo>
                  <a:cubicBezTo>
                    <a:pt x="64" y="161"/>
                    <a:pt x="63" y="160"/>
                    <a:pt x="63" y="159"/>
                  </a:cubicBezTo>
                  <a:cubicBezTo>
                    <a:pt x="61" y="157"/>
                    <a:pt x="56" y="155"/>
                    <a:pt x="57" y="152"/>
                  </a:cubicBezTo>
                  <a:cubicBezTo>
                    <a:pt x="58" y="151"/>
                    <a:pt x="58" y="150"/>
                    <a:pt x="58" y="150"/>
                  </a:cubicBezTo>
                  <a:cubicBezTo>
                    <a:pt x="58" y="149"/>
                    <a:pt x="58" y="148"/>
                    <a:pt x="58" y="147"/>
                  </a:cubicBezTo>
                  <a:cubicBezTo>
                    <a:pt x="59" y="147"/>
                    <a:pt x="59" y="146"/>
                    <a:pt x="60" y="145"/>
                  </a:cubicBezTo>
                  <a:cubicBezTo>
                    <a:pt x="61" y="144"/>
                    <a:pt x="62" y="144"/>
                    <a:pt x="61" y="143"/>
                  </a:cubicBezTo>
                  <a:cubicBezTo>
                    <a:pt x="61" y="142"/>
                    <a:pt x="60" y="142"/>
                    <a:pt x="60" y="141"/>
                  </a:cubicBezTo>
                  <a:cubicBezTo>
                    <a:pt x="62" y="140"/>
                    <a:pt x="62" y="140"/>
                    <a:pt x="62" y="140"/>
                  </a:cubicBezTo>
                  <a:cubicBezTo>
                    <a:pt x="63" y="139"/>
                    <a:pt x="64" y="141"/>
                    <a:pt x="65" y="141"/>
                  </a:cubicBezTo>
                  <a:cubicBezTo>
                    <a:pt x="66" y="142"/>
                    <a:pt x="66" y="141"/>
                    <a:pt x="68" y="140"/>
                  </a:cubicBezTo>
                  <a:cubicBezTo>
                    <a:pt x="68" y="142"/>
                    <a:pt x="68" y="144"/>
                    <a:pt x="69" y="145"/>
                  </a:cubicBezTo>
                  <a:cubicBezTo>
                    <a:pt x="70" y="146"/>
                    <a:pt x="72" y="145"/>
                    <a:pt x="72" y="146"/>
                  </a:cubicBezTo>
                  <a:cubicBezTo>
                    <a:pt x="72" y="147"/>
                    <a:pt x="72" y="149"/>
                    <a:pt x="72" y="149"/>
                  </a:cubicBezTo>
                  <a:cubicBezTo>
                    <a:pt x="71" y="151"/>
                    <a:pt x="73" y="153"/>
                    <a:pt x="73" y="155"/>
                  </a:cubicBezTo>
                  <a:cubicBezTo>
                    <a:pt x="72" y="157"/>
                    <a:pt x="72" y="159"/>
                    <a:pt x="72" y="161"/>
                  </a:cubicBezTo>
                  <a:cubicBezTo>
                    <a:pt x="72" y="162"/>
                    <a:pt x="72" y="164"/>
                    <a:pt x="71" y="164"/>
                  </a:cubicBezTo>
                  <a:cubicBezTo>
                    <a:pt x="70" y="165"/>
                    <a:pt x="68" y="165"/>
                    <a:pt x="67" y="165"/>
                  </a:cubicBezTo>
                  <a:close/>
                  <a:moveTo>
                    <a:pt x="85" y="155"/>
                  </a:moveTo>
                  <a:cubicBezTo>
                    <a:pt x="85" y="156"/>
                    <a:pt x="85" y="159"/>
                    <a:pt x="86" y="159"/>
                  </a:cubicBezTo>
                  <a:cubicBezTo>
                    <a:pt x="86" y="160"/>
                    <a:pt x="90" y="159"/>
                    <a:pt x="91" y="158"/>
                  </a:cubicBezTo>
                  <a:cubicBezTo>
                    <a:pt x="92" y="158"/>
                    <a:pt x="92" y="157"/>
                    <a:pt x="93" y="156"/>
                  </a:cubicBezTo>
                  <a:cubicBezTo>
                    <a:pt x="94" y="156"/>
                    <a:pt x="94" y="158"/>
                    <a:pt x="94" y="159"/>
                  </a:cubicBezTo>
                  <a:cubicBezTo>
                    <a:pt x="95" y="161"/>
                    <a:pt x="97" y="161"/>
                    <a:pt x="98" y="159"/>
                  </a:cubicBezTo>
                  <a:cubicBezTo>
                    <a:pt x="99" y="159"/>
                    <a:pt x="99" y="157"/>
                    <a:pt x="99" y="156"/>
                  </a:cubicBezTo>
                  <a:cubicBezTo>
                    <a:pt x="99" y="156"/>
                    <a:pt x="98" y="155"/>
                    <a:pt x="98" y="155"/>
                  </a:cubicBezTo>
                  <a:cubicBezTo>
                    <a:pt x="99" y="154"/>
                    <a:pt x="101" y="153"/>
                    <a:pt x="102" y="152"/>
                  </a:cubicBezTo>
                  <a:cubicBezTo>
                    <a:pt x="102" y="153"/>
                    <a:pt x="102" y="154"/>
                    <a:pt x="102" y="155"/>
                  </a:cubicBezTo>
                  <a:cubicBezTo>
                    <a:pt x="102" y="157"/>
                    <a:pt x="101" y="159"/>
                    <a:pt x="101" y="161"/>
                  </a:cubicBezTo>
                  <a:cubicBezTo>
                    <a:pt x="101" y="163"/>
                    <a:pt x="102" y="163"/>
                    <a:pt x="103" y="162"/>
                  </a:cubicBezTo>
                  <a:cubicBezTo>
                    <a:pt x="104" y="161"/>
                    <a:pt x="104" y="161"/>
                    <a:pt x="104" y="161"/>
                  </a:cubicBezTo>
                  <a:cubicBezTo>
                    <a:pt x="105" y="161"/>
                    <a:pt x="105" y="161"/>
                    <a:pt x="106" y="160"/>
                  </a:cubicBezTo>
                  <a:cubicBezTo>
                    <a:pt x="106" y="160"/>
                    <a:pt x="106" y="159"/>
                    <a:pt x="107" y="158"/>
                  </a:cubicBezTo>
                  <a:cubicBezTo>
                    <a:pt x="107" y="157"/>
                    <a:pt x="108" y="157"/>
                    <a:pt x="108" y="156"/>
                  </a:cubicBezTo>
                  <a:cubicBezTo>
                    <a:pt x="108" y="155"/>
                    <a:pt x="109" y="154"/>
                    <a:pt x="108" y="153"/>
                  </a:cubicBezTo>
                  <a:cubicBezTo>
                    <a:pt x="108" y="151"/>
                    <a:pt x="108" y="152"/>
                    <a:pt x="107" y="151"/>
                  </a:cubicBezTo>
                  <a:cubicBezTo>
                    <a:pt x="105" y="150"/>
                    <a:pt x="109" y="148"/>
                    <a:pt x="105" y="148"/>
                  </a:cubicBezTo>
                  <a:cubicBezTo>
                    <a:pt x="105" y="147"/>
                    <a:pt x="106" y="146"/>
                    <a:pt x="106" y="146"/>
                  </a:cubicBezTo>
                  <a:cubicBezTo>
                    <a:pt x="107" y="145"/>
                    <a:pt x="107" y="143"/>
                    <a:pt x="107" y="142"/>
                  </a:cubicBezTo>
                  <a:cubicBezTo>
                    <a:pt x="108" y="140"/>
                    <a:pt x="110" y="139"/>
                    <a:pt x="111" y="137"/>
                  </a:cubicBezTo>
                  <a:cubicBezTo>
                    <a:pt x="112" y="136"/>
                    <a:pt x="114" y="135"/>
                    <a:pt x="115" y="134"/>
                  </a:cubicBezTo>
                  <a:cubicBezTo>
                    <a:pt x="116" y="133"/>
                    <a:pt x="117" y="130"/>
                    <a:pt x="116" y="129"/>
                  </a:cubicBezTo>
                  <a:cubicBezTo>
                    <a:pt x="115" y="129"/>
                    <a:pt x="114" y="129"/>
                    <a:pt x="114" y="128"/>
                  </a:cubicBezTo>
                  <a:cubicBezTo>
                    <a:pt x="114" y="127"/>
                    <a:pt x="114" y="126"/>
                    <a:pt x="115" y="126"/>
                  </a:cubicBezTo>
                  <a:cubicBezTo>
                    <a:pt x="115" y="124"/>
                    <a:pt x="114" y="122"/>
                    <a:pt x="114" y="120"/>
                  </a:cubicBezTo>
                  <a:cubicBezTo>
                    <a:pt x="113" y="118"/>
                    <a:pt x="114" y="117"/>
                    <a:pt x="114" y="115"/>
                  </a:cubicBezTo>
                  <a:cubicBezTo>
                    <a:pt x="114" y="113"/>
                    <a:pt x="113" y="113"/>
                    <a:pt x="111" y="112"/>
                  </a:cubicBezTo>
                  <a:cubicBezTo>
                    <a:pt x="110" y="112"/>
                    <a:pt x="108" y="112"/>
                    <a:pt x="107" y="114"/>
                  </a:cubicBezTo>
                  <a:cubicBezTo>
                    <a:pt x="106" y="115"/>
                    <a:pt x="104" y="115"/>
                    <a:pt x="103" y="116"/>
                  </a:cubicBezTo>
                  <a:cubicBezTo>
                    <a:pt x="102" y="117"/>
                    <a:pt x="100" y="119"/>
                    <a:pt x="99" y="119"/>
                  </a:cubicBezTo>
                  <a:cubicBezTo>
                    <a:pt x="97" y="120"/>
                    <a:pt x="96" y="120"/>
                    <a:pt x="94" y="120"/>
                  </a:cubicBezTo>
                  <a:cubicBezTo>
                    <a:pt x="93" y="120"/>
                    <a:pt x="92" y="120"/>
                    <a:pt x="91" y="121"/>
                  </a:cubicBezTo>
                  <a:cubicBezTo>
                    <a:pt x="91" y="122"/>
                    <a:pt x="90" y="123"/>
                    <a:pt x="90" y="123"/>
                  </a:cubicBezTo>
                  <a:cubicBezTo>
                    <a:pt x="89" y="125"/>
                    <a:pt x="89" y="128"/>
                    <a:pt x="90" y="130"/>
                  </a:cubicBezTo>
                  <a:cubicBezTo>
                    <a:pt x="91" y="132"/>
                    <a:pt x="94" y="133"/>
                    <a:pt x="93" y="136"/>
                  </a:cubicBezTo>
                  <a:cubicBezTo>
                    <a:pt x="92" y="137"/>
                    <a:pt x="92" y="137"/>
                    <a:pt x="92" y="138"/>
                  </a:cubicBezTo>
                  <a:cubicBezTo>
                    <a:pt x="92" y="139"/>
                    <a:pt x="93" y="140"/>
                    <a:pt x="92" y="141"/>
                  </a:cubicBezTo>
                  <a:cubicBezTo>
                    <a:pt x="91" y="141"/>
                    <a:pt x="90" y="141"/>
                    <a:pt x="89" y="142"/>
                  </a:cubicBezTo>
                  <a:cubicBezTo>
                    <a:pt x="89" y="143"/>
                    <a:pt x="89" y="144"/>
                    <a:pt x="89" y="145"/>
                  </a:cubicBezTo>
                  <a:cubicBezTo>
                    <a:pt x="88" y="146"/>
                    <a:pt x="89" y="147"/>
                    <a:pt x="89" y="148"/>
                  </a:cubicBezTo>
                  <a:cubicBezTo>
                    <a:pt x="88" y="149"/>
                    <a:pt x="88" y="151"/>
                    <a:pt x="87" y="152"/>
                  </a:cubicBezTo>
                  <a:cubicBezTo>
                    <a:pt x="86" y="153"/>
                    <a:pt x="86" y="154"/>
                    <a:pt x="85" y="155"/>
                  </a:cubicBezTo>
                  <a:close/>
                  <a:moveTo>
                    <a:pt x="110" y="158"/>
                  </a:moveTo>
                  <a:cubicBezTo>
                    <a:pt x="109" y="159"/>
                    <a:pt x="109" y="160"/>
                    <a:pt x="109" y="161"/>
                  </a:cubicBezTo>
                  <a:cubicBezTo>
                    <a:pt x="109" y="163"/>
                    <a:pt x="106" y="163"/>
                    <a:pt x="105" y="164"/>
                  </a:cubicBezTo>
                  <a:cubicBezTo>
                    <a:pt x="103" y="167"/>
                    <a:pt x="106" y="169"/>
                    <a:pt x="107" y="172"/>
                  </a:cubicBezTo>
                  <a:cubicBezTo>
                    <a:pt x="107" y="173"/>
                    <a:pt x="106" y="178"/>
                    <a:pt x="109" y="177"/>
                  </a:cubicBezTo>
                  <a:cubicBezTo>
                    <a:pt x="111" y="177"/>
                    <a:pt x="111" y="174"/>
                    <a:pt x="113" y="175"/>
                  </a:cubicBezTo>
                  <a:cubicBezTo>
                    <a:pt x="114" y="175"/>
                    <a:pt x="113" y="176"/>
                    <a:pt x="114" y="177"/>
                  </a:cubicBezTo>
                  <a:cubicBezTo>
                    <a:pt x="115" y="177"/>
                    <a:pt x="116" y="176"/>
                    <a:pt x="116" y="177"/>
                  </a:cubicBezTo>
                  <a:cubicBezTo>
                    <a:pt x="117" y="177"/>
                    <a:pt x="117" y="178"/>
                    <a:pt x="117" y="178"/>
                  </a:cubicBezTo>
                  <a:cubicBezTo>
                    <a:pt x="118" y="178"/>
                    <a:pt x="120" y="176"/>
                    <a:pt x="120" y="175"/>
                  </a:cubicBezTo>
                  <a:cubicBezTo>
                    <a:pt x="121" y="173"/>
                    <a:pt x="122" y="172"/>
                    <a:pt x="123" y="171"/>
                  </a:cubicBezTo>
                  <a:cubicBezTo>
                    <a:pt x="124" y="170"/>
                    <a:pt x="125" y="168"/>
                    <a:pt x="124" y="167"/>
                  </a:cubicBezTo>
                  <a:cubicBezTo>
                    <a:pt x="123" y="166"/>
                    <a:pt x="121" y="167"/>
                    <a:pt x="120" y="166"/>
                  </a:cubicBezTo>
                  <a:cubicBezTo>
                    <a:pt x="121" y="165"/>
                    <a:pt x="122" y="163"/>
                    <a:pt x="124" y="163"/>
                  </a:cubicBezTo>
                  <a:cubicBezTo>
                    <a:pt x="125" y="162"/>
                    <a:pt x="126" y="163"/>
                    <a:pt x="128" y="162"/>
                  </a:cubicBezTo>
                  <a:cubicBezTo>
                    <a:pt x="128" y="162"/>
                    <a:pt x="128" y="161"/>
                    <a:pt x="129" y="161"/>
                  </a:cubicBezTo>
                  <a:cubicBezTo>
                    <a:pt x="131" y="160"/>
                    <a:pt x="131" y="162"/>
                    <a:pt x="132" y="163"/>
                  </a:cubicBezTo>
                  <a:cubicBezTo>
                    <a:pt x="134" y="163"/>
                    <a:pt x="137" y="160"/>
                    <a:pt x="139" y="160"/>
                  </a:cubicBezTo>
                  <a:cubicBezTo>
                    <a:pt x="140" y="159"/>
                    <a:pt x="142" y="158"/>
                    <a:pt x="142" y="156"/>
                  </a:cubicBezTo>
                  <a:cubicBezTo>
                    <a:pt x="143" y="155"/>
                    <a:pt x="143" y="153"/>
                    <a:pt x="143" y="153"/>
                  </a:cubicBezTo>
                  <a:cubicBezTo>
                    <a:pt x="142" y="152"/>
                    <a:pt x="142" y="152"/>
                    <a:pt x="142" y="152"/>
                  </a:cubicBezTo>
                  <a:cubicBezTo>
                    <a:pt x="141" y="152"/>
                    <a:pt x="141" y="152"/>
                    <a:pt x="140" y="151"/>
                  </a:cubicBezTo>
                  <a:cubicBezTo>
                    <a:pt x="138" y="150"/>
                    <a:pt x="137" y="149"/>
                    <a:pt x="136" y="147"/>
                  </a:cubicBezTo>
                  <a:cubicBezTo>
                    <a:pt x="136" y="146"/>
                    <a:pt x="133" y="144"/>
                    <a:pt x="131" y="144"/>
                  </a:cubicBezTo>
                  <a:cubicBezTo>
                    <a:pt x="131" y="144"/>
                    <a:pt x="131" y="145"/>
                    <a:pt x="130" y="145"/>
                  </a:cubicBezTo>
                  <a:cubicBezTo>
                    <a:pt x="130" y="146"/>
                    <a:pt x="129" y="147"/>
                    <a:pt x="128" y="147"/>
                  </a:cubicBezTo>
                  <a:cubicBezTo>
                    <a:pt x="126" y="147"/>
                    <a:pt x="126" y="147"/>
                    <a:pt x="127" y="145"/>
                  </a:cubicBezTo>
                  <a:cubicBezTo>
                    <a:pt x="128" y="144"/>
                    <a:pt x="129" y="143"/>
                    <a:pt x="129" y="141"/>
                  </a:cubicBezTo>
                  <a:cubicBezTo>
                    <a:pt x="129" y="139"/>
                    <a:pt x="128" y="139"/>
                    <a:pt x="128" y="138"/>
                  </a:cubicBezTo>
                  <a:cubicBezTo>
                    <a:pt x="127" y="137"/>
                    <a:pt x="127" y="136"/>
                    <a:pt x="128" y="135"/>
                  </a:cubicBezTo>
                  <a:cubicBezTo>
                    <a:pt x="128" y="134"/>
                    <a:pt x="129" y="133"/>
                    <a:pt x="130" y="132"/>
                  </a:cubicBezTo>
                  <a:cubicBezTo>
                    <a:pt x="131" y="131"/>
                    <a:pt x="131" y="130"/>
                    <a:pt x="131" y="129"/>
                  </a:cubicBezTo>
                  <a:cubicBezTo>
                    <a:pt x="131" y="128"/>
                    <a:pt x="130" y="127"/>
                    <a:pt x="130" y="126"/>
                  </a:cubicBezTo>
                  <a:cubicBezTo>
                    <a:pt x="131" y="125"/>
                    <a:pt x="131" y="125"/>
                    <a:pt x="132" y="124"/>
                  </a:cubicBezTo>
                  <a:cubicBezTo>
                    <a:pt x="134" y="122"/>
                    <a:pt x="132" y="120"/>
                    <a:pt x="133" y="118"/>
                  </a:cubicBezTo>
                  <a:cubicBezTo>
                    <a:pt x="135" y="117"/>
                    <a:pt x="133" y="122"/>
                    <a:pt x="135" y="121"/>
                  </a:cubicBezTo>
                  <a:cubicBezTo>
                    <a:pt x="135" y="122"/>
                    <a:pt x="135" y="124"/>
                    <a:pt x="133" y="124"/>
                  </a:cubicBezTo>
                  <a:cubicBezTo>
                    <a:pt x="132" y="126"/>
                    <a:pt x="135" y="126"/>
                    <a:pt x="136" y="126"/>
                  </a:cubicBezTo>
                  <a:cubicBezTo>
                    <a:pt x="138" y="126"/>
                    <a:pt x="137" y="122"/>
                    <a:pt x="138" y="120"/>
                  </a:cubicBezTo>
                  <a:cubicBezTo>
                    <a:pt x="138" y="118"/>
                    <a:pt x="140" y="120"/>
                    <a:pt x="141" y="121"/>
                  </a:cubicBezTo>
                  <a:cubicBezTo>
                    <a:pt x="141" y="123"/>
                    <a:pt x="141" y="126"/>
                    <a:pt x="143" y="126"/>
                  </a:cubicBezTo>
                  <a:cubicBezTo>
                    <a:pt x="143" y="125"/>
                    <a:pt x="143" y="123"/>
                    <a:pt x="143" y="121"/>
                  </a:cubicBezTo>
                  <a:cubicBezTo>
                    <a:pt x="143" y="120"/>
                    <a:pt x="143" y="118"/>
                    <a:pt x="143" y="116"/>
                  </a:cubicBezTo>
                  <a:cubicBezTo>
                    <a:pt x="142" y="115"/>
                    <a:pt x="142" y="115"/>
                    <a:pt x="142" y="114"/>
                  </a:cubicBezTo>
                  <a:cubicBezTo>
                    <a:pt x="142" y="113"/>
                    <a:pt x="143" y="113"/>
                    <a:pt x="143" y="111"/>
                  </a:cubicBezTo>
                  <a:cubicBezTo>
                    <a:pt x="142" y="110"/>
                    <a:pt x="140" y="109"/>
                    <a:pt x="140" y="108"/>
                  </a:cubicBezTo>
                  <a:cubicBezTo>
                    <a:pt x="139" y="107"/>
                    <a:pt x="139" y="106"/>
                    <a:pt x="139" y="105"/>
                  </a:cubicBezTo>
                  <a:cubicBezTo>
                    <a:pt x="139" y="103"/>
                    <a:pt x="139" y="103"/>
                    <a:pt x="137" y="103"/>
                  </a:cubicBezTo>
                  <a:cubicBezTo>
                    <a:pt x="137" y="103"/>
                    <a:pt x="136" y="103"/>
                    <a:pt x="136" y="103"/>
                  </a:cubicBezTo>
                  <a:cubicBezTo>
                    <a:pt x="135" y="102"/>
                    <a:pt x="135" y="103"/>
                    <a:pt x="135" y="102"/>
                  </a:cubicBezTo>
                  <a:cubicBezTo>
                    <a:pt x="135" y="102"/>
                    <a:pt x="135" y="101"/>
                    <a:pt x="135" y="101"/>
                  </a:cubicBezTo>
                  <a:cubicBezTo>
                    <a:pt x="134" y="101"/>
                    <a:pt x="134" y="100"/>
                    <a:pt x="134" y="101"/>
                  </a:cubicBezTo>
                  <a:cubicBezTo>
                    <a:pt x="134" y="100"/>
                    <a:pt x="135" y="99"/>
                    <a:pt x="135" y="98"/>
                  </a:cubicBezTo>
                  <a:cubicBezTo>
                    <a:pt x="134" y="97"/>
                    <a:pt x="134" y="97"/>
                    <a:pt x="133" y="98"/>
                  </a:cubicBezTo>
                  <a:cubicBezTo>
                    <a:pt x="132" y="98"/>
                    <a:pt x="131" y="99"/>
                    <a:pt x="130" y="99"/>
                  </a:cubicBezTo>
                  <a:cubicBezTo>
                    <a:pt x="129" y="100"/>
                    <a:pt x="128" y="100"/>
                    <a:pt x="127" y="101"/>
                  </a:cubicBezTo>
                  <a:cubicBezTo>
                    <a:pt x="123" y="103"/>
                    <a:pt x="121" y="109"/>
                    <a:pt x="120" y="114"/>
                  </a:cubicBezTo>
                  <a:cubicBezTo>
                    <a:pt x="120" y="116"/>
                    <a:pt x="120" y="118"/>
                    <a:pt x="121" y="120"/>
                  </a:cubicBezTo>
                  <a:cubicBezTo>
                    <a:pt x="121" y="121"/>
                    <a:pt x="122" y="124"/>
                    <a:pt x="121" y="125"/>
                  </a:cubicBezTo>
                  <a:cubicBezTo>
                    <a:pt x="120" y="125"/>
                    <a:pt x="119" y="125"/>
                    <a:pt x="119" y="126"/>
                  </a:cubicBezTo>
                  <a:cubicBezTo>
                    <a:pt x="119" y="126"/>
                    <a:pt x="119" y="127"/>
                    <a:pt x="119" y="128"/>
                  </a:cubicBezTo>
                  <a:cubicBezTo>
                    <a:pt x="119" y="129"/>
                    <a:pt x="119" y="130"/>
                    <a:pt x="119" y="132"/>
                  </a:cubicBezTo>
                  <a:cubicBezTo>
                    <a:pt x="119" y="133"/>
                    <a:pt x="119" y="135"/>
                    <a:pt x="117" y="136"/>
                  </a:cubicBezTo>
                  <a:cubicBezTo>
                    <a:pt x="116" y="137"/>
                    <a:pt x="114" y="137"/>
                    <a:pt x="115" y="138"/>
                  </a:cubicBezTo>
                  <a:cubicBezTo>
                    <a:pt x="116" y="139"/>
                    <a:pt x="117" y="137"/>
                    <a:pt x="117" y="138"/>
                  </a:cubicBezTo>
                  <a:cubicBezTo>
                    <a:pt x="117" y="138"/>
                    <a:pt x="117" y="139"/>
                    <a:pt x="117" y="139"/>
                  </a:cubicBezTo>
                  <a:cubicBezTo>
                    <a:pt x="117" y="140"/>
                    <a:pt x="117" y="141"/>
                    <a:pt x="117" y="141"/>
                  </a:cubicBezTo>
                  <a:cubicBezTo>
                    <a:pt x="117" y="142"/>
                    <a:pt x="117" y="142"/>
                    <a:pt x="117" y="142"/>
                  </a:cubicBezTo>
                  <a:cubicBezTo>
                    <a:pt x="117" y="142"/>
                    <a:pt x="116" y="143"/>
                    <a:pt x="116" y="143"/>
                  </a:cubicBezTo>
                  <a:cubicBezTo>
                    <a:pt x="115" y="144"/>
                    <a:pt x="114" y="148"/>
                    <a:pt x="115" y="149"/>
                  </a:cubicBezTo>
                  <a:cubicBezTo>
                    <a:pt x="116" y="148"/>
                    <a:pt x="116" y="147"/>
                    <a:pt x="118" y="148"/>
                  </a:cubicBezTo>
                  <a:cubicBezTo>
                    <a:pt x="119" y="149"/>
                    <a:pt x="118" y="150"/>
                    <a:pt x="117" y="150"/>
                  </a:cubicBezTo>
                  <a:cubicBezTo>
                    <a:pt x="113" y="153"/>
                    <a:pt x="111" y="155"/>
                    <a:pt x="110" y="158"/>
                  </a:cubicBezTo>
                  <a:close/>
                  <a:moveTo>
                    <a:pt x="139" y="90"/>
                  </a:moveTo>
                  <a:cubicBezTo>
                    <a:pt x="139" y="89"/>
                    <a:pt x="140" y="88"/>
                    <a:pt x="140" y="87"/>
                  </a:cubicBezTo>
                  <a:cubicBezTo>
                    <a:pt x="141" y="86"/>
                    <a:pt x="142" y="85"/>
                    <a:pt x="143" y="85"/>
                  </a:cubicBezTo>
                  <a:cubicBezTo>
                    <a:pt x="146" y="83"/>
                    <a:pt x="147" y="81"/>
                    <a:pt x="146" y="78"/>
                  </a:cubicBezTo>
                  <a:cubicBezTo>
                    <a:pt x="144" y="75"/>
                    <a:pt x="141" y="75"/>
                    <a:pt x="138" y="76"/>
                  </a:cubicBezTo>
                  <a:cubicBezTo>
                    <a:pt x="137" y="76"/>
                    <a:pt x="136" y="76"/>
                    <a:pt x="135" y="75"/>
                  </a:cubicBezTo>
                  <a:cubicBezTo>
                    <a:pt x="134" y="74"/>
                    <a:pt x="132" y="73"/>
                    <a:pt x="131" y="73"/>
                  </a:cubicBezTo>
                  <a:cubicBezTo>
                    <a:pt x="130" y="73"/>
                    <a:pt x="130" y="75"/>
                    <a:pt x="129" y="76"/>
                  </a:cubicBezTo>
                  <a:cubicBezTo>
                    <a:pt x="129" y="77"/>
                    <a:pt x="128" y="78"/>
                    <a:pt x="127" y="79"/>
                  </a:cubicBezTo>
                  <a:cubicBezTo>
                    <a:pt x="126" y="80"/>
                    <a:pt x="127" y="81"/>
                    <a:pt x="128" y="82"/>
                  </a:cubicBezTo>
                  <a:cubicBezTo>
                    <a:pt x="128" y="84"/>
                    <a:pt x="129" y="86"/>
                    <a:pt x="130" y="87"/>
                  </a:cubicBezTo>
                  <a:cubicBezTo>
                    <a:pt x="132" y="88"/>
                    <a:pt x="133" y="89"/>
                    <a:pt x="135" y="90"/>
                  </a:cubicBezTo>
                  <a:cubicBezTo>
                    <a:pt x="136" y="91"/>
                    <a:pt x="137" y="91"/>
                    <a:pt x="139" y="90"/>
                  </a:cubicBezTo>
                  <a:close/>
                  <a:moveTo>
                    <a:pt x="88" y="22"/>
                  </a:moveTo>
                  <a:cubicBezTo>
                    <a:pt x="84" y="22"/>
                    <a:pt x="84" y="22"/>
                    <a:pt x="84" y="22"/>
                  </a:cubicBezTo>
                  <a:cubicBezTo>
                    <a:pt x="80" y="19"/>
                    <a:pt x="80" y="19"/>
                    <a:pt x="80" y="19"/>
                  </a:cubicBezTo>
                  <a:cubicBezTo>
                    <a:pt x="80" y="15"/>
                    <a:pt x="80" y="15"/>
                    <a:pt x="80" y="15"/>
                  </a:cubicBezTo>
                  <a:cubicBezTo>
                    <a:pt x="76" y="14"/>
                    <a:pt x="76" y="14"/>
                    <a:pt x="76" y="14"/>
                  </a:cubicBezTo>
                  <a:cubicBezTo>
                    <a:pt x="74" y="11"/>
                    <a:pt x="74" y="11"/>
                    <a:pt x="74" y="11"/>
                  </a:cubicBezTo>
                  <a:cubicBezTo>
                    <a:pt x="69" y="11"/>
                    <a:pt x="69" y="11"/>
                    <a:pt x="69" y="11"/>
                  </a:cubicBezTo>
                  <a:cubicBezTo>
                    <a:pt x="67" y="12"/>
                    <a:pt x="67" y="12"/>
                    <a:pt x="67" y="12"/>
                  </a:cubicBezTo>
                  <a:cubicBezTo>
                    <a:pt x="63" y="13"/>
                    <a:pt x="63" y="13"/>
                    <a:pt x="63" y="13"/>
                  </a:cubicBezTo>
                  <a:cubicBezTo>
                    <a:pt x="59" y="11"/>
                    <a:pt x="59" y="11"/>
                    <a:pt x="59" y="11"/>
                  </a:cubicBezTo>
                  <a:cubicBezTo>
                    <a:pt x="54" y="9"/>
                    <a:pt x="54" y="9"/>
                    <a:pt x="54" y="9"/>
                  </a:cubicBezTo>
                  <a:cubicBezTo>
                    <a:pt x="49" y="7"/>
                    <a:pt x="49" y="7"/>
                    <a:pt x="49" y="7"/>
                  </a:cubicBezTo>
                  <a:cubicBezTo>
                    <a:pt x="44" y="7"/>
                    <a:pt x="44" y="7"/>
                    <a:pt x="44" y="7"/>
                  </a:cubicBezTo>
                  <a:cubicBezTo>
                    <a:pt x="41" y="11"/>
                    <a:pt x="41" y="11"/>
                    <a:pt x="41" y="11"/>
                  </a:cubicBezTo>
                  <a:cubicBezTo>
                    <a:pt x="37" y="14"/>
                    <a:pt x="37" y="14"/>
                    <a:pt x="37" y="14"/>
                  </a:cubicBezTo>
                  <a:cubicBezTo>
                    <a:pt x="32" y="13"/>
                    <a:pt x="32" y="13"/>
                    <a:pt x="32" y="13"/>
                  </a:cubicBezTo>
                  <a:cubicBezTo>
                    <a:pt x="28" y="10"/>
                    <a:pt x="28" y="10"/>
                    <a:pt x="28" y="10"/>
                  </a:cubicBezTo>
                  <a:cubicBezTo>
                    <a:pt x="31" y="6"/>
                    <a:pt x="31" y="6"/>
                    <a:pt x="31" y="6"/>
                  </a:cubicBezTo>
                  <a:cubicBezTo>
                    <a:pt x="28" y="1"/>
                    <a:pt x="28" y="1"/>
                    <a:pt x="28" y="1"/>
                  </a:cubicBezTo>
                  <a:cubicBezTo>
                    <a:pt x="24" y="2"/>
                    <a:pt x="24" y="2"/>
                    <a:pt x="24" y="2"/>
                  </a:cubicBezTo>
                  <a:cubicBezTo>
                    <a:pt x="21" y="4"/>
                    <a:pt x="21" y="4"/>
                    <a:pt x="21" y="4"/>
                  </a:cubicBezTo>
                  <a:cubicBezTo>
                    <a:pt x="18" y="2"/>
                    <a:pt x="18" y="2"/>
                    <a:pt x="18" y="2"/>
                  </a:cubicBezTo>
                  <a:cubicBezTo>
                    <a:pt x="14" y="0"/>
                    <a:pt x="14" y="0"/>
                    <a:pt x="14" y="0"/>
                  </a:cubicBezTo>
                  <a:cubicBezTo>
                    <a:pt x="7" y="3"/>
                    <a:pt x="7" y="3"/>
                    <a:pt x="7" y="3"/>
                  </a:cubicBezTo>
                  <a:cubicBezTo>
                    <a:pt x="7" y="4"/>
                    <a:pt x="7" y="4"/>
                    <a:pt x="7" y="4"/>
                  </a:cubicBezTo>
                  <a:cubicBezTo>
                    <a:pt x="8" y="4"/>
                    <a:pt x="9" y="3"/>
                    <a:pt x="10" y="4"/>
                  </a:cubicBezTo>
                  <a:cubicBezTo>
                    <a:pt x="10" y="4"/>
                    <a:pt x="11" y="5"/>
                    <a:pt x="11" y="6"/>
                  </a:cubicBezTo>
                  <a:cubicBezTo>
                    <a:pt x="12" y="7"/>
                    <a:pt x="13" y="7"/>
                    <a:pt x="13" y="8"/>
                  </a:cubicBezTo>
                  <a:cubicBezTo>
                    <a:pt x="14" y="9"/>
                    <a:pt x="12" y="10"/>
                    <a:pt x="12" y="11"/>
                  </a:cubicBezTo>
                  <a:cubicBezTo>
                    <a:pt x="11" y="13"/>
                    <a:pt x="14" y="12"/>
                    <a:pt x="13" y="14"/>
                  </a:cubicBezTo>
                  <a:cubicBezTo>
                    <a:pt x="13" y="15"/>
                    <a:pt x="13" y="15"/>
                    <a:pt x="12" y="15"/>
                  </a:cubicBezTo>
                  <a:cubicBezTo>
                    <a:pt x="12" y="16"/>
                    <a:pt x="12" y="16"/>
                    <a:pt x="12" y="16"/>
                  </a:cubicBezTo>
                  <a:cubicBezTo>
                    <a:pt x="11" y="18"/>
                    <a:pt x="11" y="19"/>
                    <a:pt x="11" y="20"/>
                  </a:cubicBezTo>
                  <a:cubicBezTo>
                    <a:pt x="11" y="21"/>
                    <a:pt x="12" y="23"/>
                    <a:pt x="12" y="24"/>
                  </a:cubicBezTo>
                  <a:cubicBezTo>
                    <a:pt x="12" y="24"/>
                    <a:pt x="12" y="25"/>
                    <a:pt x="11" y="26"/>
                  </a:cubicBezTo>
                  <a:cubicBezTo>
                    <a:pt x="10" y="27"/>
                    <a:pt x="9" y="28"/>
                    <a:pt x="9" y="28"/>
                  </a:cubicBezTo>
                  <a:cubicBezTo>
                    <a:pt x="7" y="30"/>
                    <a:pt x="6" y="30"/>
                    <a:pt x="5" y="32"/>
                  </a:cubicBezTo>
                  <a:cubicBezTo>
                    <a:pt x="5" y="33"/>
                    <a:pt x="4" y="34"/>
                    <a:pt x="3" y="35"/>
                  </a:cubicBezTo>
                  <a:cubicBezTo>
                    <a:pt x="2" y="37"/>
                    <a:pt x="1" y="39"/>
                    <a:pt x="0" y="41"/>
                  </a:cubicBezTo>
                  <a:cubicBezTo>
                    <a:pt x="0" y="43"/>
                    <a:pt x="1" y="47"/>
                    <a:pt x="2" y="49"/>
                  </a:cubicBezTo>
                  <a:cubicBezTo>
                    <a:pt x="3" y="50"/>
                    <a:pt x="4" y="51"/>
                    <a:pt x="5" y="52"/>
                  </a:cubicBezTo>
                  <a:cubicBezTo>
                    <a:pt x="7" y="53"/>
                    <a:pt x="8" y="54"/>
                    <a:pt x="9" y="55"/>
                  </a:cubicBezTo>
                  <a:cubicBezTo>
                    <a:pt x="11" y="56"/>
                    <a:pt x="12" y="56"/>
                    <a:pt x="13" y="57"/>
                  </a:cubicBezTo>
                  <a:cubicBezTo>
                    <a:pt x="14" y="58"/>
                    <a:pt x="15" y="58"/>
                    <a:pt x="16" y="59"/>
                  </a:cubicBezTo>
                  <a:cubicBezTo>
                    <a:pt x="16" y="60"/>
                    <a:pt x="17" y="60"/>
                    <a:pt x="17" y="61"/>
                  </a:cubicBezTo>
                  <a:cubicBezTo>
                    <a:pt x="18" y="62"/>
                    <a:pt x="18" y="63"/>
                    <a:pt x="19" y="64"/>
                  </a:cubicBezTo>
                  <a:cubicBezTo>
                    <a:pt x="20" y="64"/>
                    <a:pt x="23" y="63"/>
                    <a:pt x="23" y="64"/>
                  </a:cubicBezTo>
                  <a:cubicBezTo>
                    <a:pt x="24" y="65"/>
                    <a:pt x="22" y="67"/>
                    <a:pt x="23" y="68"/>
                  </a:cubicBezTo>
                  <a:cubicBezTo>
                    <a:pt x="24" y="69"/>
                    <a:pt x="24" y="69"/>
                    <a:pt x="24" y="69"/>
                  </a:cubicBezTo>
                  <a:cubicBezTo>
                    <a:pt x="24" y="68"/>
                    <a:pt x="24" y="68"/>
                    <a:pt x="24" y="68"/>
                  </a:cubicBezTo>
                  <a:cubicBezTo>
                    <a:pt x="25" y="68"/>
                    <a:pt x="25" y="67"/>
                    <a:pt x="26" y="67"/>
                  </a:cubicBezTo>
                  <a:cubicBezTo>
                    <a:pt x="27" y="67"/>
                    <a:pt x="27" y="69"/>
                    <a:pt x="28" y="70"/>
                  </a:cubicBezTo>
                  <a:cubicBezTo>
                    <a:pt x="29" y="73"/>
                    <a:pt x="31" y="74"/>
                    <a:pt x="33" y="75"/>
                  </a:cubicBezTo>
                  <a:cubicBezTo>
                    <a:pt x="36" y="76"/>
                    <a:pt x="38" y="75"/>
                    <a:pt x="41" y="76"/>
                  </a:cubicBezTo>
                  <a:cubicBezTo>
                    <a:pt x="42" y="77"/>
                    <a:pt x="43" y="77"/>
                    <a:pt x="44" y="77"/>
                  </a:cubicBezTo>
                  <a:cubicBezTo>
                    <a:pt x="45" y="78"/>
                    <a:pt x="45" y="79"/>
                    <a:pt x="45" y="80"/>
                  </a:cubicBezTo>
                  <a:cubicBezTo>
                    <a:pt x="45" y="81"/>
                    <a:pt x="45" y="82"/>
                    <a:pt x="45" y="83"/>
                  </a:cubicBezTo>
                  <a:cubicBezTo>
                    <a:pt x="45" y="84"/>
                    <a:pt x="45" y="85"/>
                    <a:pt x="44" y="86"/>
                  </a:cubicBezTo>
                  <a:cubicBezTo>
                    <a:pt x="44" y="87"/>
                    <a:pt x="44" y="88"/>
                    <a:pt x="43" y="89"/>
                  </a:cubicBezTo>
                  <a:cubicBezTo>
                    <a:pt x="43" y="90"/>
                    <a:pt x="42" y="90"/>
                    <a:pt x="42" y="90"/>
                  </a:cubicBezTo>
                  <a:cubicBezTo>
                    <a:pt x="41" y="91"/>
                    <a:pt x="41" y="91"/>
                    <a:pt x="40" y="92"/>
                  </a:cubicBezTo>
                  <a:cubicBezTo>
                    <a:pt x="40" y="94"/>
                    <a:pt x="40" y="96"/>
                    <a:pt x="40" y="98"/>
                  </a:cubicBezTo>
                  <a:cubicBezTo>
                    <a:pt x="40" y="100"/>
                    <a:pt x="40" y="102"/>
                    <a:pt x="39" y="104"/>
                  </a:cubicBezTo>
                  <a:cubicBezTo>
                    <a:pt x="38" y="107"/>
                    <a:pt x="37" y="110"/>
                    <a:pt x="37" y="113"/>
                  </a:cubicBezTo>
                  <a:cubicBezTo>
                    <a:pt x="37" y="114"/>
                    <a:pt x="37" y="115"/>
                    <a:pt x="37" y="116"/>
                  </a:cubicBezTo>
                  <a:cubicBezTo>
                    <a:pt x="37" y="116"/>
                    <a:pt x="38" y="117"/>
                    <a:pt x="39" y="118"/>
                  </a:cubicBezTo>
                  <a:cubicBezTo>
                    <a:pt x="39" y="118"/>
                    <a:pt x="40" y="119"/>
                    <a:pt x="40" y="119"/>
                  </a:cubicBezTo>
                  <a:cubicBezTo>
                    <a:pt x="41" y="120"/>
                    <a:pt x="41" y="121"/>
                    <a:pt x="41" y="121"/>
                  </a:cubicBezTo>
                  <a:cubicBezTo>
                    <a:pt x="42" y="122"/>
                    <a:pt x="44" y="122"/>
                    <a:pt x="45" y="123"/>
                  </a:cubicBezTo>
                  <a:cubicBezTo>
                    <a:pt x="45" y="123"/>
                    <a:pt x="49" y="124"/>
                    <a:pt x="49" y="125"/>
                  </a:cubicBezTo>
                  <a:cubicBezTo>
                    <a:pt x="50" y="125"/>
                    <a:pt x="50" y="126"/>
                    <a:pt x="50" y="126"/>
                  </a:cubicBezTo>
                  <a:cubicBezTo>
                    <a:pt x="51" y="126"/>
                    <a:pt x="52" y="127"/>
                    <a:pt x="52" y="127"/>
                  </a:cubicBezTo>
                  <a:cubicBezTo>
                    <a:pt x="55" y="127"/>
                    <a:pt x="58" y="126"/>
                    <a:pt x="61" y="127"/>
                  </a:cubicBezTo>
                  <a:cubicBezTo>
                    <a:pt x="62" y="127"/>
                    <a:pt x="63" y="128"/>
                    <a:pt x="64" y="128"/>
                  </a:cubicBezTo>
                  <a:cubicBezTo>
                    <a:pt x="64" y="129"/>
                    <a:pt x="66" y="128"/>
                    <a:pt x="67" y="128"/>
                  </a:cubicBezTo>
                  <a:cubicBezTo>
                    <a:pt x="67" y="128"/>
                    <a:pt x="68" y="128"/>
                    <a:pt x="69" y="128"/>
                  </a:cubicBezTo>
                  <a:cubicBezTo>
                    <a:pt x="70" y="128"/>
                    <a:pt x="71" y="128"/>
                    <a:pt x="71" y="128"/>
                  </a:cubicBezTo>
                  <a:cubicBezTo>
                    <a:pt x="72" y="128"/>
                    <a:pt x="72" y="127"/>
                    <a:pt x="72" y="127"/>
                  </a:cubicBezTo>
                  <a:cubicBezTo>
                    <a:pt x="73" y="127"/>
                    <a:pt x="74" y="126"/>
                    <a:pt x="74" y="126"/>
                  </a:cubicBezTo>
                  <a:cubicBezTo>
                    <a:pt x="75" y="125"/>
                    <a:pt x="76" y="124"/>
                    <a:pt x="76" y="123"/>
                  </a:cubicBezTo>
                  <a:cubicBezTo>
                    <a:pt x="75" y="123"/>
                    <a:pt x="74" y="122"/>
                    <a:pt x="74" y="122"/>
                  </a:cubicBezTo>
                  <a:cubicBezTo>
                    <a:pt x="72" y="121"/>
                    <a:pt x="70" y="120"/>
                    <a:pt x="71" y="118"/>
                  </a:cubicBezTo>
                  <a:cubicBezTo>
                    <a:pt x="71" y="117"/>
                    <a:pt x="72" y="115"/>
                    <a:pt x="72" y="113"/>
                  </a:cubicBezTo>
                  <a:cubicBezTo>
                    <a:pt x="73" y="112"/>
                    <a:pt x="74" y="110"/>
                    <a:pt x="75" y="109"/>
                  </a:cubicBezTo>
                  <a:cubicBezTo>
                    <a:pt x="76" y="108"/>
                    <a:pt x="77" y="107"/>
                    <a:pt x="78" y="107"/>
                  </a:cubicBezTo>
                  <a:cubicBezTo>
                    <a:pt x="80" y="107"/>
                    <a:pt x="81" y="105"/>
                    <a:pt x="82" y="105"/>
                  </a:cubicBezTo>
                  <a:cubicBezTo>
                    <a:pt x="83" y="104"/>
                    <a:pt x="83" y="104"/>
                    <a:pt x="84" y="104"/>
                  </a:cubicBezTo>
                  <a:cubicBezTo>
                    <a:pt x="84" y="104"/>
                    <a:pt x="85" y="104"/>
                    <a:pt x="85" y="104"/>
                  </a:cubicBezTo>
                  <a:cubicBezTo>
                    <a:pt x="87" y="105"/>
                    <a:pt x="87" y="104"/>
                    <a:pt x="88" y="103"/>
                  </a:cubicBezTo>
                  <a:cubicBezTo>
                    <a:pt x="90" y="103"/>
                    <a:pt x="92" y="103"/>
                    <a:pt x="93" y="103"/>
                  </a:cubicBezTo>
                  <a:cubicBezTo>
                    <a:pt x="94" y="102"/>
                    <a:pt x="95" y="102"/>
                    <a:pt x="95" y="102"/>
                  </a:cubicBezTo>
                  <a:cubicBezTo>
                    <a:pt x="95" y="102"/>
                    <a:pt x="95" y="101"/>
                    <a:pt x="96" y="101"/>
                  </a:cubicBezTo>
                  <a:cubicBezTo>
                    <a:pt x="97" y="101"/>
                    <a:pt x="99" y="102"/>
                    <a:pt x="99" y="102"/>
                  </a:cubicBezTo>
                  <a:cubicBezTo>
                    <a:pt x="101" y="102"/>
                    <a:pt x="102" y="102"/>
                    <a:pt x="103" y="101"/>
                  </a:cubicBezTo>
                  <a:cubicBezTo>
                    <a:pt x="104" y="100"/>
                    <a:pt x="105" y="99"/>
                    <a:pt x="106" y="99"/>
                  </a:cubicBezTo>
                  <a:cubicBezTo>
                    <a:pt x="107" y="99"/>
                    <a:pt x="108" y="100"/>
                    <a:pt x="108" y="101"/>
                  </a:cubicBezTo>
                  <a:cubicBezTo>
                    <a:pt x="109" y="102"/>
                    <a:pt x="109" y="102"/>
                    <a:pt x="109" y="102"/>
                  </a:cubicBezTo>
                  <a:cubicBezTo>
                    <a:pt x="110" y="103"/>
                    <a:pt x="110" y="103"/>
                    <a:pt x="110" y="104"/>
                  </a:cubicBezTo>
                  <a:cubicBezTo>
                    <a:pt x="110" y="104"/>
                    <a:pt x="110" y="105"/>
                    <a:pt x="111" y="106"/>
                  </a:cubicBezTo>
                  <a:cubicBezTo>
                    <a:pt x="111" y="105"/>
                    <a:pt x="111" y="103"/>
                    <a:pt x="112" y="104"/>
                  </a:cubicBezTo>
                  <a:cubicBezTo>
                    <a:pt x="113" y="104"/>
                    <a:pt x="113" y="105"/>
                    <a:pt x="114" y="105"/>
                  </a:cubicBezTo>
                  <a:cubicBezTo>
                    <a:pt x="115" y="105"/>
                    <a:pt x="116" y="103"/>
                    <a:pt x="115" y="102"/>
                  </a:cubicBezTo>
                  <a:cubicBezTo>
                    <a:pt x="115" y="101"/>
                    <a:pt x="114" y="100"/>
                    <a:pt x="114" y="100"/>
                  </a:cubicBezTo>
                  <a:cubicBezTo>
                    <a:pt x="112" y="99"/>
                    <a:pt x="110" y="98"/>
                    <a:pt x="111" y="96"/>
                  </a:cubicBezTo>
                  <a:cubicBezTo>
                    <a:pt x="111" y="95"/>
                    <a:pt x="111" y="95"/>
                    <a:pt x="112" y="95"/>
                  </a:cubicBezTo>
                  <a:cubicBezTo>
                    <a:pt x="113" y="95"/>
                    <a:pt x="113" y="96"/>
                    <a:pt x="114" y="96"/>
                  </a:cubicBezTo>
                  <a:cubicBezTo>
                    <a:pt x="115" y="97"/>
                    <a:pt x="116" y="98"/>
                    <a:pt x="117" y="99"/>
                  </a:cubicBezTo>
                  <a:cubicBezTo>
                    <a:pt x="118" y="99"/>
                    <a:pt x="118" y="100"/>
                    <a:pt x="119" y="100"/>
                  </a:cubicBezTo>
                  <a:cubicBezTo>
                    <a:pt x="121" y="100"/>
                    <a:pt x="123" y="101"/>
                    <a:pt x="124" y="100"/>
                  </a:cubicBezTo>
                  <a:cubicBezTo>
                    <a:pt x="125" y="99"/>
                    <a:pt x="125" y="97"/>
                    <a:pt x="125" y="96"/>
                  </a:cubicBezTo>
                  <a:cubicBezTo>
                    <a:pt x="125" y="94"/>
                    <a:pt x="124" y="93"/>
                    <a:pt x="124" y="92"/>
                  </a:cubicBezTo>
                  <a:cubicBezTo>
                    <a:pt x="124" y="91"/>
                    <a:pt x="124" y="89"/>
                    <a:pt x="124" y="88"/>
                  </a:cubicBezTo>
                  <a:cubicBezTo>
                    <a:pt x="124" y="86"/>
                    <a:pt x="124" y="85"/>
                    <a:pt x="124" y="84"/>
                  </a:cubicBezTo>
                  <a:cubicBezTo>
                    <a:pt x="123" y="83"/>
                    <a:pt x="123" y="82"/>
                    <a:pt x="123" y="81"/>
                  </a:cubicBezTo>
                  <a:cubicBezTo>
                    <a:pt x="122" y="79"/>
                    <a:pt x="121" y="78"/>
                    <a:pt x="120" y="78"/>
                  </a:cubicBezTo>
                  <a:cubicBezTo>
                    <a:pt x="119" y="78"/>
                    <a:pt x="117" y="78"/>
                    <a:pt x="116" y="78"/>
                  </a:cubicBezTo>
                  <a:cubicBezTo>
                    <a:pt x="115" y="80"/>
                    <a:pt x="119" y="82"/>
                    <a:pt x="119" y="82"/>
                  </a:cubicBezTo>
                  <a:cubicBezTo>
                    <a:pt x="118" y="85"/>
                    <a:pt x="115" y="82"/>
                    <a:pt x="113" y="82"/>
                  </a:cubicBezTo>
                  <a:cubicBezTo>
                    <a:pt x="113" y="83"/>
                    <a:pt x="113" y="84"/>
                    <a:pt x="112" y="84"/>
                  </a:cubicBezTo>
                  <a:cubicBezTo>
                    <a:pt x="111" y="84"/>
                    <a:pt x="110" y="83"/>
                    <a:pt x="110" y="82"/>
                  </a:cubicBezTo>
                  <a:cubicBezTo>
                    <a:pt x="110" y="80"/>
                    <a:pt x="110" y="79"/>
                    <a:pt x="110" y="77"/>
                  </a:cubicBezTo>
                  <a:cubicBezTo>
                    <a:pt x="110" y="75"/>
                    <a:pt x="109" y="75"/>
                    <a:pt x="107" y="74"/>
                  </a:cubicBezTo>
                  <a:cubicBezTo>
                    <a:pt x="107" y="74"/>
                    <a:pt x="102" y="74"/>
                    <a:pt x="104" y="72"/>
                  </a:cubicBezTo>
                  <a:cubicBezTo>
                    <a:pt x="104" y="72"/>
                    <a:pt x="105" y="72"/>
                    <a:pt x="106" y="72"/>
                  </a:cubicBezTo>
                  <a:cubicBezTo>
                    <a:pt x="107" y="71"/>
                    <a:pt x="107" y="71"/>
                    <a:pt x="108" y="70"/>
                  </a:cubicBezTo>
                  <a:cubicBezTo>
                    <a:pt x="109" y="70"/>
                    <a:pt x="110" y="70"/>
                    <a:pt x="110" y="69"/>
                  </a:cubicBezTo>
                  <a:cubicBezTo>
                    <a:pt x="110" y="68"/>
                    <a:pt x="109" y="68"/>
                    <a:pt x="109" y="68"/>
                  </a:cubicBezTo>
                  <a:cubicBezTo>
                    <a:pt x="108" y="68"/>
                    <a:pt x="107" y="68"/>
                    <a:pt x="106" y="68"/>
                  </a:cubicBezTo>
                  <a:cubicBezTo>
                    <a:pt x="105" y="68"/>
                    <a:pt x="104" y="68"/>
                    <a:pt x="103" y="68"/>
                  </a:cubicBezTo>
                  <a:cubicBezTo>
                    <a:pt x="102" y="68"/>
                    <a:pt x="102" y="68"/>
                    <a:pt x="101" y="67"/>
                  </a:cubicBezTo>
                  <a:cubicBezTo>
                    <a:pt x="100" y="66"/>
                    <a:pt x="99" y="65"/>
                    <a:pt x="98" y="63"/>
                  </a:cubicBezTo>
                  <a:cubicBezTo>
                    <a:pt x="98" y="62"/>
                    <a:pt x="97" y="61"/>
                    <a:pt x="97" y="60"/>
                  </a:cubicBezTo>
                  <a:cubicBezTo>
                    <a:pt x="97" y="60"/>
                    <a:pt x="96" y="59"/>
                    <a:pt x="96" y="59"/>
                  </a:cubicBezTo>
                  <a:cubicBezTo>
                    <a:pt x="94" y="58"/>
                    <a:pt x="92" y="60"/>
                    <a:pt x="90" y="59"/>
                  </a:cubicBezTo>
                  <a:cubicBezTo>
                    <a:pt x="90" y="59"/>
                    <a:pt x="89" y="58"/>
                    <a:pt x="89" y="57"/>
                  </a:cubicBezTo>
                  <a:cubicBezTo>
                    <a:pt x="88" y="57"/>
                    <a:pt x="87" y="56"/>
                    <a:pt x="87" y="55"/>
                  </a:cubicBezTo>
                  <a:cubicBezTo>
                    <a:pt x="86" y="55"/>
                    <a:pt x="86" y="54"/>
                    <a:pt x="85" y="54"/>
                  </a:cubicBezTo>
                  <a:cubicBezTo>
                    <a:pt x="85" y="53"/>
                    <a:pt x="84" y="53"/>
                    <a:pt x="83" y="53"/>
                  </a:cubicBezTo>
                  <a:cubicBezTo>
                    <a:pt x="82" y="52"/>
                    <a:pt x="81" y="51"/>
                    <a:pt x="81" y="50"/>
                  </a:cubicBezTo>
                  <a:cubicBezTo>
                    <a:pt x="81" y="49"/>
                    <a:pt x="82" y="49"/>
                    <a:pt x="83" y="48"/>
                  </a:cubicBezTo>
                  <a:cubicBezTo>
                    <a:pt x="84" y="47"/>
                    <a:pt x="86" y="47"/>
                    <a:pt x="86" y="46"/>
                  </a:cubicBezTo>
                  <a:cubicBezTo>
                    <a:pt x="86" y="45"/>
                    <a:pt x="86" y="44"/>
                    <a:pt x="87" y="44"/>
                  </a:cubicBezTo>
                  <a:cubicBezTo>
                    <a:pt x="87" y="43"/>
                    <a:pt x="87" y="42"/>
                    <a:pt x="87" y="41"/>
                  </a:cubicBezTo>
                  <a:cubicBezTo>
                    <a:pt x="86" y="40"/>
                    <a:pt x="85" y="39"/>
                    <a:pt x="85" y="38"/>
                  </a:cubicBezTo>
                  <a:cubicBezTo>
                    <a:pt x="85" y="38"/>
                    <a:pt x="86" y="37"/>
                    <a:pt x="86" y="37"/>
                  </a:cubicBezTo>
                  <a:cubicBezTo>
                    <a:pt x="87" y="36"/>
                    <a:pt x="87" y="37"/>
                    <a:pt x="88" y="36"/>
                  </a:cubicBezTo>
                  <a:cubicBezTo>
                    <a:pt x="88" y="35"/>
                    <a:pt x="87" y="34"/>
                    <a:pt x="87" y="33"/>
                  </a:cubicBezTo>
                  <a:cubicBezTo>
                    <a:pt x="87" y="32"/>
                    <a:pt x="87" y="32"/>
                    <a:pt x="88" y="31"/>
                  </a:cubicBezTo>
                  <a:cubicBezTo>
                    <a:pt x="88" y="30"/>
                    <a:pt x="88" y="30"/>
                    <a:pt x="88" y="30"/>
                  </a:cubicBezTo>
                  <a:cubicBezTo>
                    <a:pt x="88" y="29"/>
                    <a:pt x="88" y="29"/>
                    <a:pt x="88" y="29"/>
                  </a:cubicBezTo>
                  <a:lnTo>
                    <a:pt x="88" y="22"/>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7" name="Freeform 27">
              <a:extLst>
                <a:ext uri="{FF2B5EF4-FFF2-40B4-BE49-F238E27FC236}">
                  <a16:creationId xmlns:a16="http://schemas.microsoft.com/office/drawing/2014/main" id="{92431C69-35BF-1923-A8F6-5875A35ED549}"/>
                </a:ext>
              </a:extLst>
            </p:cNvPr>
            <p:cNvSpPr>
              <a:spLocks noEditPoints="1"/>
            </p:cNvSpPr>
            <p:nvPr/>
          </p:nvSpPr>
          <p:spPr bwMode="auto">
            <a:xfrm>
              <a:off x="6316663" y="4265613"/>
              <a:ext cx="566738" cy="1071562"/>
            </a:xfrm>
            <a:custGeom>
              <a:avLst/>
              <a:gdLst>
                <a:gd name="T0" fmla="*/ 67 w 149"/>
                <a:gd name="T1" fmla="*/ 244 h 281"/>
                <a:gd name="T2" fmla="*/ 72 w 149"/>
                <a:gd name="T3" fmla="*/ 261 h 281"/>
                <a:gd name="T4" fmla="*/ 68 w 149"/>
                <a:gd name="T5" fmla="*/ 279 h 281"/>
                <a:gd name="T6" fmla="*/ 149 w 149"/>
                <a:gd name="T7" fmla="*/ 46 h 281"/>
                <a:gd name="T8" fmla="*/ 137 w 149"/>
                <a:gd name="T9" fmla="*/ 35 h 281"/>
                <a:gd name="T10" fmla="*/ 107 w 149"/>
                <a:gd name="T11" fmla="*/ 24 h 281"/>
                <a:gd name="T12" fmla="*/ 85 w 149"/>
                <a:gd name="T13" fmla="*/ 21 h 281"/>
                <a:gd name="T14" fmla="*/ 59 w 149"/>
                <a:gd name="T15" fmla="*/ 10 h 281"/>
                <a:gd name="T16" fmla="*/ 40 w 149"/>
                <a:gd name="T17" fmla="*/ 3 h 281"/>
                <a:gd name="T18" fmla="*/ 29 w 149"/>
                <a:gd name="T19" fmla="*/ 9 h 281"/>
                <a:gd name="T20" fmla="*/ 21 w 149"/>
                <a:gd name="T21" fmla="*/ 19 h 281"/>
                <a:gd name="T22" fmla="*/ 22 w 149"/>
                <a:gd name="T23" fmla="*/ 26 h 281"/>
                <a:gd name="T24" fmla="*/ 23 w 149"/>
                <a:gd name="T25" fmla="*/ 36 h 281"/>
                <a:gd name="T26" fmla="*/ 25 w 149"/>
                <a:gd name="T27" fmla="*/ 48 h 281"/>
                <a:gd name="T28" fmla="*/ 13 w 149"/>
                <a:gd name="T29" fmla="*/ 53 h 281"/>
                <a:gd name="T30" fmla="*/ 14 w 149"/>
                <a:gd name="T31" fmla="*/ 69 h 281"/>
                <a:gd name="T32" fmla="*/ 8 w 149"/>
                <a:gd name="T33" fmla="*/ 80 h 281"/>
                <a:gd name="T34" fmla="*/ 6 w 149"/>
                <a:gd name="T35" fmla="*/ 86 h 281"/>
                <a:gd name="T36" fmla="*/ 9 w 149"/>
                <a:gd name="T37" fmla="*/ 104 h 281"/>
                <a:gd name="T38" fmla="*/ 15 w 149"/>
                <a:gd name="T39" fmla="*/ 130 h 281"/>
                <a:gd name="T40" fmla="*/ 17 w 149"/>
                <a:gd name="T41" fmla="*/ 141 h 281"/>
                <a:gd name="T42" fmla="*/ 15 w 149"/>
                <a:gd name="T43" fmla="*/ 158 h 281"/>
                <a:gd name="T44" fmla="*/ 9 w 149"/>
                <a:gd name="T45" fmla="*/ 180 h 281"/>
                <a:gd name="T46" fmla="*/ 8 w 149"/>
                <a:gd name="T47" fmla="*/ 190 h 281"/>
                <a:gd name="T48" fmla="*/ 1 w 149"/>
                <a:gd name="T49" fmla="*/ 206 h 281"/>
                <a:gd name="T50" fmla="*/ 9 w 149"/>
                <a:gd name="T51" fmla="*/ 223 h 281"/>
                <a:gd name="T52" fmla="*/ 15 w 149"/>
                <a:gd name="T53" fmla="*/ 227 h 281"/>
                <a:gd name="T54" fmla="*/ 28 w 149"/>
                <a:gd name="T55" fmla="*/ 232 h 281"/>
                <a:gd name="T56" fmla="*/ 33 w 149"/>
                <a:gd name="T57" fmla="*/ 226 h 281"/>
                <a:gd name="T58" fmla="*/ 55 w 149"/>
                <a:gd name="T59" fmla="*/ 222 h 281"/>
                <a:gd name="T60" fmla="*/ 65 w 149"/>
                <a:gd name="T61" fmla="*/ 216 h 281"/>
                <a:gd name="T62" fmla="*/ 59 w 149"/>
                <a:gd name="T63" fmla="*/ 206 h 281"/>
                <a:gd name="T64" fmla="*/ 58 w 149"/>
                <a:gd name="T65" fmla="*/ 192 h 281"/>
                <a:gd name="T66" fmla="*/ 63 w 149"/>
                <a:gd name="T67" fmla="*/ 176 h 281"/>
                <a:gd name="T68" fmla="*/ 65 w 149"/>
                <a:gd name="T69" fmla="*/ 166 h 281"/>
                <a:gd name="T70" fmla="*/ 62 w 149"/>
                <a:gd name="T71" fmla="*/ 156 h 281"/>
                <a:gd name="T72" fmla="*/ 63 w 149"/>
                <a:gd name="T73" fmla="*/ 139 h 281"/>
                <a:gd name="T74" fmla="*/ 61 w 149"/>
                <a:gd name="T75" fmla="*/ 126 h 281"/>
                <a:gd name="T76" fmla="*/ 65 w 149"/>
                <a:gd name="T77" fmla="*/ 116 h 281"/>
                <a:gd name="T78" fmla="*/ 64 w 149"/>
                <a:gd name="T79" fmla="*/ 102 h 281"/>
                <a:gd name="T80" fmla="*/ 64 w 149"/>
                <a:gd name="T81" fmla="*/ 88 h 281"/>
                <a:gd name="T82" fmla="*/ 61 w 149"/>
                <a:gd name="T83" fmla="*/ 79 h 281"/>
                <a:gd name="T84" fmla="*/ 56 w 149"/>
                <a:gd name="T85" fmla="*/ 72 h 281"/>
                <a:gd name="T86" fmla="*/ 59 w 149"/>
                <a:gd name="T87" fmla="*/ 61 h 281"/>
                <a:gd name="T88" fmla="*/ 74 w 149"/>
                <a:gd name="T89" fmla="*/ 49 h 281"/>
                <a:gd name="T90" fmla="*/ 86 w 149"/>
                <a:gd name="T91" fmla="*/ 45 h 281"/>
                <a:gd name="T92" fmla="*/ 95 w 149"/>
                <a:gd name="T93" fmla="*/ 46 h 281"/>
                <a:gd name="T94" fmla="*/ 103 w 149"/>
                <a:gd name="T95" fmla="*/ 47 h 281"/>
                <a:gd name="T96" fmla="*/ 102 w 149"/>
                <a:gd name="T97" fmla="*/ 55 h 281"/>
                <a:gd name="T98" fmla="*/ 110 w 149"/>
                <a:gd name="T99" fmla="*/ 56 h 281"/>
                <a:gd name="T100" fmla="*/ 123 w 149"/>
                <a:gd name="T101" fmla="*/ 60 h 281"/>
                <a:gd name="T102" fmla="*/ 133 w 149"/>
                <a:gd name="T103" fmla="*/ 65 h 281"/>
                <a:gd name="T104" fmla="*/ 142 w 149"/>
                <a:gd name="T105" fmla="*/ 5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281">
                  <a:moveTo>
                    <a:pt x="68" y="279"/>
                  </a:moveTo>
                  <a:cubicBezTo>
                    <a:pt x="68" y="275"/>
                    <a:pt x="68" y="270"/>
                    <a:pt x="67" y="267"/>
                  </a:cubicBezTo>
                  <a:cubicBezTo>
                    <a:pt x="66" y="265"/>
                    <a:pt x="66" y="263"/>
                    <a:pt x="67" y="260"/>
                  </a:cubicBezTo>
                  <a:cubicBezTo>
                    <a:pt x="68" y="255"/>
                    <a:pt x="66" y="250"/>
                    <a:pt x="67" y="244"/>
                  </a:cubicBezTo>
                  <a:cubicBezTo>
                    <a:pt x="67" y="243"/>
                    <a:pt x="68" y="242"/>
                    <a:pt x="68" y="241"/>
                  </a:cubicBezTo>
                  <a:cubicBezTo>
                    <a:pt x="68" y="240"/>
                    <a:pt x="68" y="238"/>
                    <a:pt x="68" y="238"/>
                  </a:cubicBezTo>
                  <a:cubicBezTo>
                    <a:pt x="71" y="235"/>
                    <a:pt x="71" y="242"/>
                    <a:pt x="71" y="243"/>
                  </a:cubicBezTo>
                  <a:cubicBezTo>
                    <a:pt x="74" y="249"/>
                    <a:pt x="74" y="255"/>
                    <a:pt x="72" y="261"/>
                  </a:cubicBezTo>
                  <a:cubicBezTo>
                    <a:pt x="71" y="265"/>
                    <a:pt x="73" y="269"/>
                    <a:pt x="71" y="272"/>
                  </a:cubicBezTo>
                  <a:cubicBezTo>
                    <a:pt x="71" y="274"/>
                    <a:pt x="70" y="275"/>
                    <a:pt x="70" y="276"/>
                  </a:cubicBezTo>
                  <a:cubicBezTo>
                    <a:pt x="69" y="277"/>
                    <a:pt x="70" y="281"/>
                    <a:pt x="68" y="280"/>
                  </a:cubicBezTo>
                  <a:cubicBezTo>
                    <a:pt x="68" y="280"/>
                    <a:pt x="68" y="279"/>
                    <a:pt x="68" y="279"/>
                  </a:cubicBezTo>
                  <a:close/>
                  <a:moveTo>
                    <a:pt x="144" y="56"/>
                  </a:moveTo>
                  <a:cubicBezTo>
                    <a:pt x="144" y="53"/>
                    <a:pt x="144" y="53"/>
                    <a:pt x="144" y="53"/>
                  </a:cubicBezTo>
                  <a:cubicBezTo>
                    <a:pt x="146" y="50"/>
                    <a:pt x="146" y="50"/>
                    <a:pt x="146" y="50"/>
                  </a:cubicBezTo>
                  <a:cubicBezTo>
                    <a:pt x="149" y="46"/>
                    <a:pt x="149" y="46"/>
                    <a:pt x="149" y="46"/>
                  </a:cubicBezTo>
                  <a:cubicBezTo>
                    <a:pt x="146" y="41"/>
                    <a:pt x="146" y="41"/>
                    <a:pt x="146" y="41"/>
                  </a:cubicBezTo>
                  <a:cubicBezTo>
                    <a:pt x="143" y="38"/>
                    <a:pt x="143" y="38"/>
                    <a:pt x="143" y="38"/>
                  </a:cubicBezTo>
                  <a:cubicBezTo>
                    <a:pt x="140" y="39"/>
                    <a:pt x="140" y="39"/>
                    <a:pt x="140" y="39"/>
                  </a:cubicBezTo>
                  <a:cubicBezTo>
                    <a:pt x="137" y="35"/>
                    <a:pt x="137" y="35"/>
                    <a:pt x="137" y="35"/>
                  </a:cubicBezTo>
                  <a:cubicBezTo>
                    <a:pt x="132" y="33"/>
                    <a:pt x="132" y="33"/>
                    <a:pt x="132" y="33"/>
                  </a:cubicBezTo>
                  <a:cubicBezTo>
                    <a:pt x="126" y="31"/>
                    <a:pt x="126" y="31"/>
                    <a:pt x="126" y="31"/>
                  </a:cubicBezTo>
                  <a:cubicBezTo>
                    <a:pt x="113" y="29"/>
                    <a:pt x="113" y="29"/>
                    <a:pt x="113" y="29"/>
                  </a:cubicBezTo>
                  <a:cubicBezTo>
                    <a:pt x="107" y="24"/>
                    <a:pt x="107" y="24"/>
                    <a:pt x="107" y="24"/>
                  </a:cubicBezTo>
                  <a:cubicBezTo>
                    <a:pt x="103" y="23"/>
                    <a:pt x="103" y="23"/>
                    <a:pt x="103" y="23"/>
                  </a:cubicBezTo>
                  <a:cubicBezTo>
                    <a:pt x="100" y="22"/>
                    <a:pt x="100" y="22"/>
                    <a:pt x="100" y="22"/>
                  </a:cubicBezTo>
                  <a:cubicBezTo>
                    <a:pt x="89" y="20"/>
                    <a:pt x="89" y="20"/>
                    <a:pt x="89" y="20"/>
                  </a:cubicBezTo>
                  <a:cubicBezTo>
                    <a:pt x="85" y="21"/>
                    <a:pt x="85" y="21"/>
                    <a:pt x="85" y="21"/>
                  </a:cubicBezTo>
                  <a:cubicBezTo>
                    <a:pt x="78" y="17"/>
                    <a:pt x="78" y="17"/>
                    <a:pt x="78" y="17"/>
                  </a:cubicBezTo>
                  <a:cubicBezTo>
                    <a:pt x="64" y="0"/>
                    <a:pt x="64" y="0"/>
                    <a:pt x="64" y="0"/>
                  </a:cubicBezTo>
                  <a:cubicBezTo>
                    <a:pt x="61" y="7"/>
                    <a:pt x="61" y="7"/>
                    <a:pt x="61" y="7"/>
                  </a:cubicBezTo>
                  <a:cubicBezTo>
                    <a:pt x="59" y="10"/>
                    <a:pt x="59" y="10"/>
                    <a:pt x="59" y="10"/>
                  </a:cubicBezTo>
                  <a:cubicBezTo>
                    <a:pt x="57" y="8"/>
                    <a:pt x="57" y="8"/>
                    <a:pt x="57" y="8"/>
                  </a:cubicBezTo>
                  <a:cubicBezTo>
                    <a:pt x="50" y="8"/>
                    <a:pt x="50" y="8"/>
                    <a:pt x="50" y="8"/>
                  </a:cubicBezTo>
                  <a:cubicBezTo>
                    <a:pt x="44" y="6"/>
                    <a:pt x="44" y="6"/>
                    <a:pt x="44" y="6"/>
                  </a:cubicBezTo>
                  <a:cubicBezTo>
                    <a:pt x="40" y="3"/>
                    <a:pt x="40" y="3"/>
                    <a:pt x="40" y="3"/>
                  </a:cubicBezTo>
                  <a:cubicBezTo>
                    <a:pt x="35" y="8"/>
                    <a:pt x="35" y="8"/>
                    <a:pt x="35" y="8"/>
                  </a:cubicBezTo>
                  <a:cubicBezTo>
                    <a:pt x="33" y="10"/>
                    <a:pt x="33" y="10"/>
                    <a:pt x="33" y="10"/>
                  </a:cubicBezTo>
                  <a:cubicBezTo>
                    <a:pt x="31" y="8"/>
                    <a:pt x="31" y="8"/>
                    <a:pt x="31" y="8"/>
                  </a:cubicBezTo>
                  <a:cubicBezTo>
                    <a:pt x="29" y="9"/>
                    <a:pt x="29" y="9"/>
                    <a:pt x="29" y="9"/>
                  </a:cubicBezTo>
                  <a:cubicBezTo>
                    <a:pt x="29" y="11"/>
                    <a:pt x="29" y="11"/>
                    <a:pt x="29" y="11"/>
                  </a:cubicBezTo>
                  <a:cubicBezTo>
                    <a:pt x="27" y="14"/>
                    <a:pt x="27" y="14"/>
                    <a:pt x="27" y="14"/>
                  </a:cubicBezTo>
                  <a:cubicBezTo>
                    <a:pt x="23" y="17"/>
                    <a:pt x="23" y="17"/>
                    <a:pt x="23" y="17"/>
                  </a:cubicBezTo>
                  <a:cubicBezTo>
                    <a:pt x="21" y="19"/>
                    <a:pt x="21" y="19"/>
                    <a:pt x="21" y="19"/>
                  </a:cubicBezTo>
                  <a:cubicBezTo>
                    <a:pt x="18" y="21"/>
                    <a:pt x="18" y="21"/>
                    <a:pt x="18" y="21"/>
                  </a:cubicBezTo>
                  <a:cubicBezTo>
                    <a:pt x="17" y="23"/>
                    <a:pt x="17" y="23"/>
                    <a:pt x="17" y="23"/>
                  </a:cubicBezTo>
                  <a:cubicBezTo>
                    <a:pt x="19" y="25"/>
                    <a:pt x="19" y="25"/>
                    <a:pt x="19" y="25"/>
                  </a:cubicBezTo>
                  <a:cubicBezTo>
                    <a:pt x="22" y="26"/>
                    <a:pt x="22" y="26"/>
                    <a:pt x="22" y="26"/>
                  </a:cubicBezTo>
                  <a:cubicBezTo>
                    <a:pt x="22" y="28"/>
                    <a:pt x="22" y="28"/>
                    <a:pt x="22" y="28"/>
                  </a:cubicBezTo>
                  <a:cubicBezTo>
                    <a:pt x="23" y="31"/>
                    <a:pt x="23" y="31"/>
                    <a:pt x="23" y="31"/>
                  </a:cubicBezTo>
                  <a:cubicBezTo>
                    <a:pt x="21" y="33"/>
                    <a:pt x="21" y="33"/>
                    <a:pt x="21" y="33"/>
                  </a:cubicBezTo>
                  <a:cubicBezTo>
                    <a:pt x="23" y="36"/>
                    <a:pt x="23" y="36"/>
                    <a:pt x="23" y="36"/>
                  </a:cubicBezTo>
                  <a:cubicBezTo>
                    <a:pt x="21" y="39"/>
                    <a:pt x="21" y="39"/>
                    <a:pt x="21" y="39"/>
                  </a:cubicBezTo>
                  <a:cubicBezTo>
                    <a:pt x="24" y="43"/>
                    <a:pt x="24" y="43"/>
                    <a:pt x="24" y="43"/>
                  </a:cubicBezTo>
                  <a:cubicBezTo>
                    <a:pt x="27" y="46"/>
                    <a:pt x="27" y="46"/>
                    <a:pt x="27" y="46"/>
                  </a:cubicBezTo>
                  <a:cubicBezTo>
                    <a:pt x="25" y="48"/>
                    <a:pt x="25" y="48"/>
                    <a:pt x="25" y="48"/>
                  </a:cubicBezTo>
                  <a:cubicBezTo>
                    <a:pt x="24" y="51"/>
                    <a:pt x="24" y="51"/>
                    <a:pt x="24" y="51"/>
                  </a:cubicBezTo>
                  <a:cubicBezTo>
                    <a:pt x="19" y="52"/>
                    <a:pt x="19" y="52"/>
                    <a:pt x="19" y="52"/>
                  </a:cubicBezTo>
                  <a:cubicBezTo>
                    <a:pt x="15" y="52"/>
                    <a:pt x="15" y="52"/>
                    <a:pt x="15" y="52"/>
                  </a:cubicBezTo>
                  <a:cubicBezTo>
                    <a:pt x="13" y="53"/>
                    <a:pt x="13" y="53"/>
                    <a:pt x="13" y="53"/>
                  </a:cubicBezTo>
                  <a:cubicBezTo>
                    <a:pt x="13" y="59"/>
                    <a:pt x="13" y="59"/>
                    <a:pt x="13" y="59"/>
                  </a:cubicBezTo>
                  <a:cubicBezTo>
                    <a:pt x="12" y="60"/>
                    <a:pt x="12" y="60"/>
                    <a:pt x="12" y="60"/>
                  </a:cubicBezTo>
                  <a:cubicBezTo>
                    <a:pt x="13" y="64"/>
                    <a:pt x="13" y="64"/>
                    <a:pt x="13" y="64"/>
                  </a:cubicBezTo>
                  <a:cubicBezTo>
                    <a:pt x="14" y="69"/>
                    <a:pt x="14" y="69"/>
                    <a:pt x="14" y="69"/>
                  </a:cubicBezTo>
                  <a:cubicBezTo>
                    <a:pt x="17" y="73"/>
                    <a:pt x="17" y="73"/>
                    <a:pt x="17" y="73"/>
                  </a:cubicBezTo>
                  <a:cubicBezTo>
                    <a:pt x="17" y="75"/>
                    <a:pt x="17" y="75"/>
                    <a:pt x="17" y="75"/>
                  </a:cubicBezTo>
                  <a:cubicBezTo>
                    <a:pt x="11" y="77"/>
                    <a:pt x="11" y="77"/>
                    <a:pt x="11" y="77"/>
                  </a:cubicBezTo>
                  <a:cubicBezTo>
                    <a:pt x="8" y="80"/>
                    <a:pt x="8" y="80"/>
                    <a:pt x="8" y="80"/>
                  </a:cubicBezTo>
                  <a:cubicBezTo>
                    <a:pt x="3" y="79"/>
                    <a:pt x="3" y="79"/>
                    <a:pt x="3" y="79"/>
                  </a:cubicBezTo>
                  <a:cubicBezTo>
                    <a:pt x="2" y="81"/>
                    <a:pt x="2" y="81"/>
                    <a:pt x="2" y="81"/>
                  </a:cubicBezTo>
                  <a:cubicBezTo>
                    <a:pt x="5" y="83"/>
                    <a:pt x="5" y="83"/>
                    <a:pt x="5" y="83"/>
                  </a:cubicBezTo>
                  <a:cubicBezTo>
                    <a:pt x="6" y="86"/>
                    <a:pt x="6" y="86"/>
                    <a:pt x="6" y="86"/>
                  </a:cubicBezTo>
                  <a:cubicBezTo>
                    <a:pt x="7" y="90"/>
                    <a:pt x="7" y="90"/>
                    <a:pt x="7" y="90"/>
                  </a:cubicBezTo>
                  <a:cubicBezTo>
                    <a:pt x="8" y="98"/>
                    <a:pt x="8" y="98"/>
                    <a:pt x="8" y="98"/>
                  </a:cubicBezTo>
                  <a:cubicBezTo>
                    <a:pt x="7" y="99"/>
                    <a:pt x="7" y="99"/>
                    <a:pt x="7" y="99"/>
                  </a:cubicBezTo>
                  <a:cubicBezTo>
                    <a:pt x="9" y="100"/>
                    <a:pt x="9" y="102"/>
                    <a:pt x="9" y="104"/>
                  </a:cubicBezTo>
                  <a:cubicBezTo>
                    <a:pt x="9" y="107"/>
                    <a:pt x="6" y="109"/>
                    <a:pt x="7" y="112"/>
                  </a:cubicBezTo>
                  <a:cubicBezTo>
                    <a:pt x="7" y="113"/>
                    <a:pt x="8" y="114"/>
                    <a:pt x="9" y="116"/>
                  </a:cubicBezTo>
                  <a:cubicBezTo>
                    <a:pt x="9" y="117"/>
                    <a:pt x="10" y="119"/>
                    <a:pt x="10" y="121"/>
                  </a:cubicBezTo>
                  <a:cubicBezTo>
                    <a:pt x="12" y="124"/>
                    <a:pt x="15" y="126"/>
                    <a:pt x="15" y="130"/>
                  </a:cubicBezTo>
                  <a:cubicBezTo>
                    <a:pt x="15" y="130"/>
                    <a:pt x="15" y="128"/>
                    <a:pt x="16" y="128"/>
                  </a:cubicBezTo>
                  <a:cubicBezTo>
                    <a:pt x="17" y="127"/>
                    <a:pt x="17" y="130"/>
                    <a:pt x="17" y="130"/>
                  </a:cubicBezTo>
                  <a:cubicBezTo>
                    <a:pt x="17" y="133"/>
                    <a:pt x="16" y="135"/>
                    <a:pt x="17" y="138"/>
                  </a:cubicBezTo>
                  <a:cubicBezTo>
                    <a:pt x="17" y="139"/>
                    <a:pt x="18" y="139"/>
                    <a:pt x="17" y="141"/>
                  </a:cubicBezTo>
                  <a:cubicBezTo>
                    <a:pt x="17" y="142"/>
                    <a:pt x="16" y="142"/>
                    <a:pt x="16" y="143"/>
                  </a:cubicBezTo>
                  <a:cubicBezTo>
                    <a:pt x="16" y="145"/>
                    <a:pt x="17" y="145"/>
                    <a:pt x="17" y="147"/>
                  </a:cubicBezTo>
                  <a:cubicBezTo>
                    <a:pt x="18" y="148"/>
                    <a:pt x="17" y="150"/>
                    <a:pt x="17" y="151"/>
                  </a:cubicBezTo>
                  <a:cubicBezTo>
                    <a:pt x="16" y="154"/>
                    <a:pt x="15" y="156"/>
                    <a:pt x="15" y="158"/>
                  </a:cubicBezTo>
                  <a:cubicBezTo>
                    <a:pt x="15" y="161"/>
                    <a:pt x="14" y="163"/>
                    <a:pt x="14" y="166"/>
                  </a:cubicBezTo>
                  <a:cubicBezTo>
                    <a:pt x="13" y="169"/>
                    <a:pt x="11" y="170"/>
                    <a:pt x="10" y="172"/>
                  </a:cubicBezTo>
                  <a:cubicBezTo>
                    <a:pt x="9" y="174"/>
                    <a:pt x="9" y="175"/>
                    <a:pt x="9" y="177"/>
                  </a:cubicBezTo>
                  <a:cubicBezTo>
                    <a:pt x="9" y="178"/>
                    <a:pt x="9" y="179"/>
                    <a:pt x="9" y="180"/>
                  </a:cubicBezTo>
                  <a:cubicBezTo>
                    <a:pt x="10" y="181"/>
                    <a:pt x="10" y="182"/>
                    <a:pt x="10" y="182"/>
                  </a:cubicBezTo>
                  <a:cubicBezTo>
                    <a:pt x="11" y="184"/>
                    <a:pt x="10" y="186"/>
                    <a:pt x="10" y="187"/>
                  </a:cubicBezTo>
                  <a:cubicBezTo>
                    <a:pt x="9" y="188"/>
                    <a:pt x="8" y="188"/>
                    <a:pt x="8" y="188"/>
                  </a:cubicBezTo>
                  <a:cubicBezTo>
                    <a:pt x="8" y="189"/>
                    <a:pt x="8" y="190"/>
                    <a:pt x="8" y="190"/>
                  </a:cubicBezTo>
                  <a:cubicBezTo>
                    <a:pt x="8" y="192"/>
                    <a:pt x="8" y="194"/>
                    <a:pt x="7" y="195"/>
                  </a:cubicBezTo>
                  <a:cubicBezTo>
                    <a:pt x="6" y="196"/>
                    <a:pt x="4" y="195"/>
                    <a:pt x="3" y="197"/>
                  </a:cubicBezTo>
                  <a:cubicBezTo>
                    <a:pt x="2" y="198"/>
                    <a:pt x="3" y="200"/>
                    <a:pt x="2" y="201"/>
                  </a:cubicBezTo>
                  <a:cubicBezTo>
                    <a:pt x="2" y="203"/>
                    <a:pt x="1" y="205"/>
                    <a:pt x="1" y="206"/>
                  </a:cubicBezTo>
                  <a:cubicBezTo>
                    <a:pt x="0" y="208"/>
                    <a:pt x="0" y="210"/>
                    <a:pt x="0" y="213"/>
                  </a:cubicBezTo>
                  <a:cubicBezTo>
                    <a:pt x="1" y="216"/>
                    <a:pt x="3" y="217"/>
                    <a:pt x="5" y="220"/>
                  </a:cubicBezTo>
                  <a:cubicBezTo>
                    <a:pt x="6" y="223"/>
                    <a:pt x="5" y="226"/>
                    <a:pt x="8" y="227"/>
                  </a:cubicBezTo>
                  <a:cubicBezTo>
                    <a:pt x="8" y="225"/>
                    <a:pt x="8" y="224"/>
                    <a:pt x="9" y="223"/>
                  </a:cubicBezTo>
                  <a:cubicBezTo>
                    <a:pt x="11" y="223"/>
                    <a:pt x="12" y="229"/>
                    <a:pt x="12" y="229"/>
                  </a:cubicBezTo>
                  <a:cubicBezTo>
                    <a:pt x="12" y="229"/>
                    <a:pt x="13" y="229"/>
                    <a:pt x="13" y="229"/>
                  </a:cubicBezTo>
                  <a:cubicBezTo>
                    <a:pt x="14" y="229"/>
                    <a:pt x="14" y="229"/>
                    <a:pt x="14" y="228"/>
                  </a:cubicBezTo>
                  <a:cubicBezTo>
                    <a:pt x="14" y="227"/>
                    <a:pt x="14" y="227"/>
                    <a:pt x="15" y="227"/>
                  </a:cubicBezTo>
                  <a:cubicBezTo>
                    <a:pt x="16" y="227"/>
                    <a:pt x="16" y="227"/>
                    <a:pt x="17" y="227"/>
                  </a:cubicBezTo>
                  <a:cubicBezTo>
                    <a:pt x="18" y="228"/>
                    <a:pt x="18" y="230"/>
                    <a:pt x="19" y="231"/>
                  </a:cubicBezTo>
                  <a:cubicBezTo>
                    <a:pt x="20" y="233"/>
                    <a:pt x="21" y="232"/>
                    <a:pt x="23" y="232"/>
                  </a:cubicBezTo>
                  <a:cubicBezTo>
                    <a:pt x="25" y="232"/>
                    <a:pt x="26" y="233"/>
                    <a:pt x="28" y="232"/>
                  </a:cubicBezTo>
                  <a:cubicBezTo>
                    <a:pt x="28" y="231"/>
                    <a:pt x="29" y="231"/>
                    <a:pt x="29" y="231"/>
                  </a:cubicBezTo>
                  <a:cubicBezTo>
                    <a:pt x="30" y="231"/>
                    <a:pt x="30" y="231"/>
                    <a:pt x="30" y="230"/>
                  </a:cubicBezTo>
                  <a:cubicBezTo>
                    <a:pt x="31" y="229"/>
                    <a:pt x="29" y="229"/>
                    <a:pt x="30" y="228"/>
                  </a:cubicBezTo>
                  <a:cubicBezTo>
                    <a:pt x="30" y="227"/>
                    <a:pt x="32" y="226"/>
                    <a:pt x="33" y="226"/>
                  </a:cubicBezTo>
                  <a:cubicBezTo>
                    <a:pt x="33" y="225"/>
                    <a:pt x="34" y="223"/>
                    <a:pt x="36" y="223"/>
                  </a:cubicBezTo>
                  <a:cubicBezTo>
                    <a:pt x="37" y="222"/>
                    <a:pt x="39" y="224"/>
                    <a:pt x="40" y="224"/>
                  </a:cubicBezTo>
                  <a:cubicBezTo>
                    <a:pt x="42" y="225"/>
                    <a:pt x="44" y="225"/>
                    <a:pt x="45" y="225"/>
                  </a:cubicBezTo>
                  <a:cubicBezTo>
                    <a:pt x="49" y="225"/>
                    <a:pt x="52" y="224"/>
                    <a:pt x="55" y="222"/>
                  </a:cubicBezTo>
                  <a:cubicBezTo>
                    <a:pt x="58" y="221"/>
                    <a:pt x="60" y="220"/>
                    <a:pt x="63" y="222"/>
                  </a:cubicBezTo>
                  <a:cubicBezTo>
                    <a:pt x="64" y="224"/>
                    <a:pt x="65" y="226"/>
                    <a:pt x="66" y="227"/>
                  </a:cubicBezTo>
                  <a:cubicBezTo>
                    <a:pt x="68" y="227"/>
                    <a:pt x="67" y="222"/>
                    <a:pt x="67" y="221"/>
                  </a:cubicBezTo>
                  <a:cubicBezTo>
                    <a:pt x="67" y="219"/>
                    <a:pt x="66" y="217"/>
                    <a:pt x="65" y="216"/>
                  </a:cubicBezTo>
                  <a:cubicBezTo>
                    <a:pt x="65" y="214"/>
                    <a:pt x="65" y="212"/>
                    <a:pt x="64" y="211"/>
                  </a:cubicBezTo>
                  <a:cubicBezTo>
                    <a:pt x="63" y="210"/>
                    <a:pt x="62" y="210"/>
                    <a:pt x="62" y="209"/>
                  </a:cubicBezTo>
                  <a:cubicBezTo>
                    <a:pt x="61" y="208"/>
                    <a:pt x="61" y="208"/>
                    <a:pt x="61" y="207"/>
                  </a:cubicBezTo>
                  <a:cubicBezTo>
                    <a:pt x="60" y="207"/>
                    <a:pt x="60" y="206"/>
                    <a:pt x="59" y="206"/>
                  </a:cubicBezTo>
                  <a:cubicBezTo>
                    <a:pt x="59" y="205"/>
                    <a:pt x="58" y="204"/>
                    <a:pt x="58" y="203"/>
                  </a:cubicBezTo>
                  <a:cubicBezTo>
                    <a:pt x="57" y="202"/>
                    <a:pt x="56" y="200"/>
                    <a:pt x="56" y="199"/>
                  </a:cubicBezTo>
                  <a:cubicBezTo>
                    <a:pt x="56" y="198"/>
                    <a:pt x="57" y="197"/>
                    <a:pt x="57" y="196"/>
                  </a:cubicBezTo>
                  <a:cubicBezTo>
                    <a:pt x="57" y="194"/>
                    <a:pt x="58" y="193"/>
                    <a:pt x="58" y="192"/>
                  </a:cubicBezTo>
                  <a:cubicBezTo>
                    <a:pt x="58" y="189"/>
                    <a:pt x="57" y="186"/>
                    <a:pt x="58" y="183"/>
                  </a:cubicBezTo>
                  <a:cubicBezTo>
                    <a:pt x="58" y="182"/>
                    <a:pt x="59" y="181"/>
                    <a:pt x="60" y="181"/>
                  </a:cubicBezTo>
                  <a:cubicBezTo>
                    <a:pt x="61" y="180"/>
                    <a:pt x="62" y="180"/>
                    <a:pt x="63" y="180"/>
                  </a:cubicBezTo>
                  <a:cubicBezTo>
                    <a:pt x="63" y="179"/>
                    <a:pt x="63" y="177"/>
                    <a:pt x="63" y="176"/>
                  </a:cubicBezTo>
                  <a:cubicBezTo>
                    <a:pt x="63" y="175"/>
                    <a:pt x="62" y="174"/>
                    <a:pt x="63" y="174"/>
                  </a:cubicBezTo>
                  <a:cubicBezTo>
                    <a:pt x="64" y="173"/>
                    <a:pt x="64" y="172"/>
                    <a:pt x="64" y="172"/>
                  </a:cubicBezTo>
                  <a:cubicBezTo>
                    <a:pt x="66" y="170"/>
                    <a:pt x="66" y="169"/>
                    <a:pt x="66" y="167"/>
                  </a:cubicBezTo>
                  <a:cubicBezTo>
                    <a:pt x="66" y="167"/>
                    <a:pt x="66" y="167"/>
                    <a:pt x="65" y="166"/>
                  </a:cubicBezTo>
                  <a:cubicBezTo>
                    <a:pt x="64" y="165"/>
                    <a:pt x="64" y="166"/>
                    <a:pt x="64" y="165"/>
                  </a:cubicBezTo>
                  <a:cubicBezTo>
                    <a:pt x="63" y="163"/>
                    <a:pt x="64" y="161"/>
                    <a:pt x="64" y="159"/>
                  </a:cubicBezTo>
                  <a:cubicBezTo>
                    <a:pt x="63" y="158"/>
                    <a:pt x="63" y="157"/>
                    <a:pt x="63" y="157"/>
                  </a:cubicBezTo>
                  <a:cubicBezTo>
                    <a:pt x="63" y="156"/>
                    <a:pt x="62" y="156"/>
                    <a:pt x="62" y="156"/>
                  </a:cubicBezTo>
                  <a:cubicBezTo>
                    <a:pt x="60" y="154"/>
                    <a:pt x="63" y="151"/>
                    <a:pt x="63" y="149"/>
                  </a:cubicBezTo>
                  <a:cubicBezTo>
                    <a:pt x="62" y="148"/>
                    <a:pt x="62" y="147"/>
                    <a:pt x="62" y="146"/>
                  </a:cubicBezTo>
                  <a:cubicBezTo>
                    <a:pt x="62" y="145"/>
                    <a:pt x="62" y="144"/>
                    <a:pt x="62" y="143"/>
                  </a:cubicBezTo>
                  <a:cubicBezTo>
                    <a:pt x="63" y="142"/>
                    <a:pt x="63" y="140"/>
                    <a:pt x="63" y="139"/>
                  </a:cubicBezTo>
                  <a:cubicBezTo>
                    <a:pt x="63" y="138"/>
                    <a:pt x="61" y="138"/>
                    <a:pt x="60" y="137"/>
                  </a:cubicBezTo>
                  <a:cubicBezTo>
                    <a:pt x="58" y="136"/>
                    <a:pt x="61" y="134"/>
                    <a:pt x="61" y="132"/>
                  </a:cubicBezTo>
                  <a:cubicBezTo>
                    <a:pt x="61" y="131"/>
                    <a:pt x="61" y="130"/>
                    <a:pt x="61" y="129"/>
                  </a:cubicBezTo>
                  <a:cubicBezTo>
                    <a:pt x="61" y="128"/>
                    <a:pt x="61" y="127"/>
                    <a:pt x="61" y="126"/>
                  </a:cubicBezTo>
                  <a:cubicBezTo>
                    <a:pt x="60" y="125"/>
                    <a:pt x="60" y="124"/>
                    <a:pt x="60" y="123"/>
                  </a:cubicBezTo>
                  <a:cubicBezTo>
                    <a:pt x="61" y="122"/>
                    <a:pt x="61" y="121"/>
                    <a:pt x="61" y="121"/>
                  </a:cubicBezTo>
                  <a:cubicBezTo>
                    <a:pt x="62" y="120"/>
                    <a:pt x="62" y="119"/>
                    <a:pt x="63" y="118"/>
                  </a:cubicBezTo>
                  <a:cubicBezTo>
                    <a:pt x="64" y="117"/>
                    <a:pt x="64" y="116"/>
                    <a:pt x="65" y="116"/>
                  </a:cubicBezTo>
                  <a:cubicBezTo>
                    <a:pt x="66" y="114"/>
                    <a:pt x="66" y="113"/>
                    <a:pt x="66" y="111"/>
                  </a:cubicBezTo>
                  <a:cubicBezTo>
                    <a:pt x="66" y="110"/>
                    <a:pt x="65" y="109"/>
                    <a:pt x="65" y="108"/>
                  </a:cubicBezTo>
                  <a:cubicBezTo>
                    <a:pt x="65" y="107"/>
                    <a:pt x="65" y="106"/>
                    <a:pt x="65" y="105"/>
                  </a:cubicBezTo>
                  <a:cubicBezTo>
                    <a:pt x="65" y="104"/>
                    <a:pt x="64" y="103"/>
                    <a:pt x="64" y="102"/>
                  </a:cubicBezTo>
                  <a:cubicBezTo>
                    <a:pt x="64" y="101"/>
                    <a:pt x="64" y="101"/>
                    <a:pt x="64" y="100"/>
                  </a:cubicBezTo>
                  <a:cubicBezTo>
                    <a:pt x="64" y="99"/>
                    <a:pt x="63" y="98"/>
                    <a:pt x="63" y="97"/>
                  </a:cubicBezTo>
                  <a:cubicBezTo>
                    <a:pt x="64" y="97"/>
                    <a:pt x="64" y="96"/>
                    <a:pt x="64" y="95"/>
                  </a:cubicBezTo>
                  <a:cubicBezTo>
                    <a:pt x="65" y="93"/>
                    <a:pt x="64" y="90"/>
                    <a:pt x="64" y="88"/>
                  </a:cubicBezTo>
                  <a:cubicBezTo>
                    <a:pt x="64" y="87"/>
                    <a:pt x="64" y="86"/>
                    <a:pt x="64" y="85"/>
                  </a:cubicBezTo>
                  <a:cubicBezTo>
                    <a:pt x="64" y="84"/>
                    <a:pt x="65" y="84"/>
                    <a:pt x="65" y="83"/>
                  </a:cubicBezTo>
                  <a:cubicBezTo>
                    <a:pt x="64" y="83"/>
                    <a:pt x="64" y="83"/>
                    <a:pt x="63" y="82"/>
                  </a:cubicBezTo>
                  <a:cubicBezTo>
                    <a:pt x="63" y="81"/>
                    <a:pt x="62" y="80"/>
                    <a:pt x="61" y="79"/>
                  </a:cubicBezTo>
                  <a:cubicBezTo>
                    <a:pt x="60" y="79"/>
                    <a:pt x="59" y="78"/>
                    <a:pt x="58" y="78"/>
                  </a:cubicBezTo>
                  <a:cubicBezTo>
                    <a:pt x="57" y="77"/>
                    <a:pt x="56" y="77"/>
                    <a:pt x="56" y="77"/>
                  </a:cubicBezTo>
                  <a:cubicBezTo>
                    <a:pt x="55" y="76"/>
                    <a:pt x="56" y="75"/>
                    <a:pt x="56" y="74"/>
                  </a:cubicBezTo>
                  <a:cubicBezTo>
                    <a:pt x="56" y="74"/>
                    <a:pt x="56" y="73"/>
                    <a:pt x="56" y="72"/>
                  </a:cubicBezTo>
                  <a:cubicBezTo>
                    <a:pt x="55" y="70"/>
                    <a:pt x="54" y="70"/>
                    <a:pt x="53" y="69"/>
                  </a:cubicBezTo>
                  <a:cubicBezTo>
                    <a:pt x="52" y="68"/>
                    <a:pt x="52" y="67"/>
                    <a:pt x="52" y="66"/>
                  </a:cubicBezTo>
                  <a:cubicBezTo>
                    <a:pt x="51" y="65"/>
                    <a:pt x="51" y="65"/>
                    <a:pt x="51" y="65"/>
                  </a:cubicBezTo>
                  <a:cubicBezTo>
                    <a:pt x="54" y="64"/>
                    <a:pt x="57" y="63"/>
                    <a:pt x="59" y="61"/>
                  </a:cubicBezTo>
                  <a:cubicBezTo>
                    <a:pt x="60" y="60"/>
                    <a:pt x="61" y="59"/>
                    <a:pt x="62" y="59"/>
                  </a:cubicBezTo>
                  <a:cubicBezTo>
                    <a:pt x="64" y="58"/>
                    <a:pt x="66" y="58"/>
                    <a:pt x="67" y="57"/>
                  </a:cubicBezTo>
                  <a:cubicBezTo>
                    <a:pt x="69" y="56"/>
                    <a:pt x="71" y="53"/>
                    <a:pt x="72" y="52"/>
                  </a:cubicBezTo>
                  <a:cubicBezTo>
                    <a:pt x="73" y="51"/>
                    <a:pt x="73" y="50"/>
                    <a:pt x="74" y="49"/>
                  </a:cubicBezTo>
                  <a:cubicBezTo>
                    <a:pt x="75" y="48"/>
                    <a:pt x="75" y="48"/>
                    <a:pt x="76" y="48"/>
                  </a:cubicBezTo>
                  <a:cubicBezTo>
                    <a:pt x="78" y="48"/>
                    <a:pt x="80" y="46"/>
                    <a:pt x="82" y="46"/>
                  </a:cubicBezTo>
                  <a:cubicBezTo>
                    <a:pt x="83" y="46"/>
                    <a:pt x="83" y="46"/>
                    <a:pt x="84" y="45"/>
                  </a:cubicBezTo>
                  <a:cubicBezTo>
                    <a:pt x="85" y="45"/>
                    <a:pt x="85" y="45"/>
                    <a:pt x="86" y="45"/>
                  </a:cubicBezTo>
                  <a:cubicBezTo>
                    <a:pt x="87" y="45"/>
                    <a:pt x="88" y="45"/>
                    <a:pt x="89" y="44"/>
                  </a:cubicBezTo>
                  <a:cubicBezTo>
                    <a:pt x="89" y="44"/>
                    <a:pt x="90" y="45"/>
                    <a:pt x="90" y="45"/>
                  </a:cubicBezTo>
                  <a:cubicBezTo>
                    <a:pt x="91" y="45"/>
                    <a:pt x="92" y="46"/>
                    <a:pt x="92" y="46"/>
                  </a:cubicBezTo>
                  <a:cubicBezTo>
                    <a:pt x="93" y="46"/>
                    <a:pt x="94" y="46"/>
                    <a:pt x="95" y="46"/>
                  </a:cubicBezTo>
                  <a:cubicBezTo>
                    <a:pt x="95" y="46"/>
                    <a:pt x="96" y="46"/>
                    <a:pt x="96" y="47"/>
                  </a:cubicBezTo>
                  <a:cubicBezTo>
                    <a:pt x="97" y="47"/>
                    <a:pt x="97" y="47"/>
                    <a:pt x="98" y="47"/>
                  </a:cubicBezTo>
                  <a:cubicBezTo>
                    <a:pt x="99" y="48"/>
                    <a:pt x="99" y="48"/>
                    <a:pt x="100" y="47"/>
                  </a:cubicBezTo>
                  <a:cubicBezTo>
                    <a:pt x="101" y="47"/>
                    <a:pt x="103" y="45"/>
                    <a:pt x="103" y="47"/>
                  </a:cubicBezTo>
                  <a:cubicBezTo>
                    <a:pt x="103" y="47"/>
                    <a:pt x="102" y="48"/>
                    <a:pt x="103" y="49"/>
                  </a:cubicBezTo>
                  <a:cubicBezTo>
                    <a:pt x="104" y="49"/>
                    <a:pt x="106" y="50"/>
                    <a:pt x="105" y="51"/>
                  </a:cubicBezTo>
                  <a:cubicBezTo>
                    <a:pt x="105" y="52"/>
                    <a:pt x="104" y="53"/>
                    <a:pt x="103" y="53"/>
                  </a:cubicBezTo>
                  <a:cubicBezTo>
                    <a:pt x="103" y="54"/>
                    <a:pt x="102" y="55"/>
                    <a:pt x="102" y="55"/>
                  </a:cubicBezTo>
                  <a:cubicBezTo>
                    <a:pt x="101" y="55"/>
                    <a:pt x="100" y="55"/>
                    <a:pt x="99" y="56"/>
                  </a:cubicBezTo>
                  <a:cubicBezTo>
                    <a:pt x="99" y="56"/>
                    <a:pt x="99" y="57"/>
                    <a:pt x="99" y="57"/>
                  </a:cubicBezTo>
                  <a:cubicBezTo>
                    <a:pt x="106" y="54"/>
                    <a:pt x="106" y="54"/>
                    <a:pt x="106" y="54"/>
                  </a:cubicBezTo>
                  <a:cubicBezTo>
                    <a:pt x="110" y="56"/>
                    <a:pt x="110" y="56"/>
                    <a:pt x="110" y="56"/>
                  </a:cubicBezTo>
                  <a:cubicBezTo>
                    <a:pt x="113" y="58"/>
                    <a:pt x="113" y="58"/>
                    <a:pt x="113" y="58"/>
                  </a:cubicBezTo>
                  <a:cubicBezTo>
                    <a:pt x="116" y="56"/>
                    <a:pt x="116" y="56"/>
                    <a:pt x="116" y="56"/>
                  </a:cubicBezTo>
                  <a:cubicBezTo>
                    <a:pt x="120" y="55"/>
                    <a:pt x="120" y="55"/>
                    <a:pt x="120" y="55"/>
                  </a:cubicBezTo>
                  <a:cubicBezTo>
                    <a:pt x="123" y="60"/>
                    <a:pt x="123" y="60"/>
                    <a:pt x="123" y="60"/>
                  </a:cubicBezTo>
                  <a:cubicBezTo>
                    <a:pt x="120" y="64"/>
                    <a:pt x="120" y="64"/>
                    <a:pt x="120" y="64"/>
                  </a:cubicBezTo>
                  <a:cubicBezTo>
                    <a:pt x="124" y="67"/>
                    <a:pt x="124" y="67"/>
                    <a:pt x="124" y="67"/>
                  </a:cubicBezTo>
                  <a:cubicBezTo>
                    <a:pt x="129" y="68"/>
                    <a:pt x="129" y="68"/>
                    <a:pt x="129" y="68"/>
                  </a:cubicBezTo>
                  <a:cubicBezTo>
                    <a:pt x="133" y="65"/>
                    <a:pt x="133" y="65"/>
                    <a:pt x="133" y="65"/>
                  </a:cubicBezTo>
                  <a:cubicBezTo>
                    <a:pt x="136" y="61"/>
                    <a:pt x="136" y="61"/>
                    <a:pt x="136" y="61"/>
                  </a:cubicBezTo>
                  <a:cubicBezTo>
                    <a:pt x="141" y="61"/>
                    <a:pt x="141" y="61"/>
                    <a:pt x="141" y="61"/>
                  </a:cubicBezTo>
                  <a:cubicBezTo>
                    <a:pt x="141" y="61"/>
                    <a:pt x="141" y="61"/>
                    <a:pt x="141" y="61"/>
                  </a:cubicBezTo>
                  <a:cubicBezTo>
                    <a:pt x="142" y="58"/>
                    <a:pt x="142" y="58"/>
                    <a:pt x="142" y="58"/>
                  </a:cubicBezTo>
                  <a:lnTo>
                    <a:pt x="144" y="56"/>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8" name="Freeform 29">
              <a:extLst>
                <a:ext uri="{FF2B5EF4-FFF2-40B4-BE49-F238E27FC236}">
                  <a16:creationId xmlns:a16="http://schemas.microsoft.com/office/drawing/2014/main" id="{C0267EC4-B72C-E973-9127-83E600EC8355}"/>
                </a:ext>
              </a:extLst>
            </p:cNvPr>
            <p:cNvSpPr>
              <a:spLocks noEditPoints="1"/>
            </p:cNvSpPr>
            <p:nvPr/>
          </p:nvSpPr>
          <p:spPr bwMode="auto">
            <a:xfrm>
              <a:off x="5154613" y="4132263"/>
              <a:ext cx="514350" cy="666750"/>
            </a:xfrm>
            <a:custGeom>
              <a:avLst/>
              <a:gdLst>
                <a:gd name="T0" fmla="*/ 102 w 135"/>
                <a:gd name="T1" fmla="*/ 143 h 175"/>
                <a:gd name="T2" fmla="*/ 106 w 135"/>
                <a:gd name="T3" fmla="*/ 129 h 175"/>
                <a:gd name="T4" fmla="*/ 114 w 135"/>
                <a:gd name="T5" fmla="*/ 118 h 175"/>
                <a:gd name="T6" fmla="*/ 116 w 135"/>
                <a:gd name="T7" fmla="*/ 126 h 175"/>
                <a:gd name="T8" fmla="*/ 118 w 135"/>
                <a:gd name="T9" fmla="*/ 138 h 175"/>
                <a:gd name="T10" fmla="*/ 119 w 135"/>
                <a:gd name="T11" fmla="*/ 150 h 175"/>
                <a:gd name="T12" fmla="*/ 120 w 135"/>
                <a:gd name="T13" fmla="*/ 156 h 175"/>
                <a:gd name="T14" fmla="*/ 116 w 135"/>
                <a:gd name="T15" fmla="*/ 160 h 175"/>
                <a:gd name="T16" fmla="*/ 108 w 135"/>
                <a:gd name="T17" fmla="*/ 166 h 175"/>
                <a:gd name="T18" fmla="*/ 104 w 135"/>
                <a:gd name="T19" fmla="*/ 163 h 175"/>
                <a:gd name="T20" fmla="*/ 123 w 135"/>
                <a:gd name="T21" fmla="*/ 141 h 175"/>
                <a:gd name="T22" fmla="*/ 127 w 135"/>
                <a:gd name="T23" fmla="*/ 126 h 175"/>
                <a:gd name="T24" fmla="*/ 121 w 135"/>
                <a:gd name="T25" fmla="*/ 135 h 175"/>
                <a:gd name="T26" fmla="*/ 115 w 135"/>
                <a:gd name="T27" fmla="*/ 61 h 175"/>
                <a:gd name="T28" fmla="*/ 92 w 135"/>
                <a:gd name="T29" fmla="*/ 65 h 175"/>
                <a:gd name="T30" fmla="*/ 89 w 135"/>
                <a:gd name="T31" fmla="*/ 49 h 175"/>
                <a:gd name="T32" fmla="*/ 85 w 135"/>
                <a:gd name="T33" fmla="*/ 40 h 175"/>
                <a:gd name="T34" fmla="*/ 84 w 135"/>
                <a:gd name="T35" fmla="*/ 29 h 175"/>
                <a:gd name="T36" fmla="*/ 81 w 135"/>
                <a:gd name="T37" fmla="*/ 21 h 175"/>
                <a:gd name="T38" fmla="*/ 85 w 135"/>
                <a:gd name="T39" fmla="*/ 2 h 175"/>
                <a:gd name="T40" fmla="*/ 65 w 135"/>
                <a:gd name="T41" fmla="*/ 7 h 175"/>
                <a:gd name="T42" fmla="*/ 65 w 135"/>
                <a:gd name="T43" fmla="*/ 37 h 175"/>
                <a:gd name="T44" fmla="*/ 60 w 135"/>
                <a:gd name="T45" fmla="*/ 46 h 175"/>
                <a:gd name="T46" fmla="*/ 39 w 135"/>
                <a:gd name="T47" fmla="*/ 67 h 175"/>
                <a:gd name="T48" fmla="*/ 25 w 135"/>
                <a:gd name="T49" fmla="*/ 85 h 175"/>
                <a:gd name="T50" fmla="*/ 16 w 135"/>
                <a:gd name="T51" fmla="*/ 95 h 175"/>
                <a:gd name="T52" fmla="*/ 10 w 135"/>
                <a:gd name="T53" fmla="*/ 104 h 175"/>
                <a:gd name="T54" fmla="*/ 2 w 135"/>
                <a:gd name="T55" fmla="*/ 118 h 175"/>
                <a:gd name="T56" fmla="*/ 8 w 135"/>
                <a:gd name="T57" fmla="*/ 133 h 175"/>
                <a:gd name="T58" fmla="*/ 10 w 135"/>
                <a:gd name="T59" fmla="*/ 120 h 175"/>
                <a:gd name="T60" fmla="*/ 11 w 135"/>
                <a:gd name="T61" fmla="*/ 133 h 175"/>
                <a:gd name="T62" fmla="*/ 16 w 135"/>
                <a:gd name="T63" fmla="*/ 153 h 175"/>
                <a:gd name="T64" fmla="*/ 18 w 135"/>
                <a:gd name="T65" fmla="*/ 175 h 175"/>
                <a:gd name="T66" fmla="*/ 36 w 135"/>
                <a:gd name="T67" fmla="*/ 166 h 175"/>
                <a:gd name="T68" fmla="*/ 63 w 135"/>
                <a:gd name="T69" fmla="*/ 155 h 175"/>
                <a:gd name="T70" fmla="*/ 98 w 135"/>
                <a:gd name="T71" fmla="*/ 140 h 175"/>
                <a:gd name="T72" fmla="*/ 105 w 135"/>
                <a:gd name="T73" fmla="*/ 122 h 175"/>
                <a:gd name="T74" fmla="*/ 110 w 135"/>
                <a:gd name="T75" fmla="*/ 113 h 175"/>
                <a:gd name="T76" fmla="*/ 114 w 135"/>
                <a:gd name="T77" fmla="*/ 111 h 175"/>
                <a:gd name="T78" fmla="*/ 112 w 135"/>
                <a:gd name="T79" fmla="*/ 105 h 175"/>
                <a:gd name="T80" fmla="*/ 107 w 135"/>
                <a:gd name="T81" fmla="*/ 102 h 175"/>
                <a:gd name="T82" fmla="*/ 110 w 135"/>
                <a:gd name="T83" fmla="*/ 96 h 175"/>
                <a:gd name="T84" fmla="*/ 114 w 135"/>
                <a:gd name="T85" fmla="*/ 102 h 175"/>
                <a:gd name="T86" fmla="*/ 123 w 135"/>
                <a:gd name="T87" fmla="*/ 89 h 175"/>
                <a:gd name="T88" fmla="*/ 123 w 135"/>
                <a:gd name="T89" fmla="*/ 76 h 175"/>
                <a:gd name="T90" fmla="*/ 119 w 135"/>
                <a:gd name="T91" fmla="*/ 78 h 175"/>
                <a:gd name="T92" fmla="*/ 121 w 135"/>
                <a:gd name="T93" fmla="*/ 75 h 175"/>
                <a:gd name="T94" fmla="*/ 125 w 135"/>
                <a:gd name="T95" fmla="*/ 73 h 175"/>
                <a:gd name="T96" fmla="*/ 129 w 135"/>
                <a:gd name="T97" fmla="*/ 72 h 175"/>
                <a:gd name="T98" fmla="*/ 133 w 135"/>
                <a:gd name="T99" fmla="*/ 75 h 175"/>
                <a:gd name="T100" fmla="*/ 135 w 135"/>
                <a:gd name="T101" fmla="*/ 6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 h="175">
                  <a:moveTo>
                    <a:pt x="105" y="153"/>
                  </a:moveTo>
                  <a:cubicBezTo>
                    <a:pt x="105" y="152"/>
                    <a:pt x="105" y="151"/>
                    <a:pt x="105" y="150"/>
                  </a:cubicBezTo>
                  <a:cubicBezTo>
                    <a:pt x="104" y="149"/>
                    <a:pt x="103" y="148"/>
                    <a:pt x="103" y="147"/>
                  </a:cubicBezTo>
                  <a:cubicBezTo>
                    <a:pt x="102" y="145"/>
                    <a:pt x="102" y="144"/>
                    <a:pt x="102" y="143"/>
                  </a:cubicBezTo>
                  <a:cubicBezTo>
                    <a:pt x="101" y="142"/>
                    <a:pt x="101" y="142"/>
                    <a:pt x="101" y="141"/>
                  </a:cubicBezTo>
                  <a:cubicBezTo>
                    <a:pt x="102" y="141"/>
                    <a:pt x="102" y="140"/>
                    <a:pt x="103" y="140"/>
                  </a:cubicBezTo>
                  <a:cubicBezTo>
                    <a:pt x="104" y="138"/>
                    <a:pt x="103" y="135"/>
                    <a:pt x="104" y="133"/>
                  </a:cubicBezTo>
                  <a:cubicBezTo>
                    <a:pt x="104" y="131"/>
                    <a:pt x="105" y="130"/>
                    <a:pt x="106" y="129"/>
                  </a:cubicBezTo>
                  <a:cubicBezTo>
                    <a:pt x="107" y="127"/>
                    <a:pt x="108" y="125"/>
                    <a:pt x="108" y="123"/>
                  </a:cubicBezTo>
                  <a:cubicBezTo>
                    <a:pt x="109" y="122"/>
                    <a:pt x="108" y="122"/>
                    <a:pt x="109" y="121"/>
                  </a:cubicBezTo>
                  <a:cubicBezTo>
                    <a:pt x="110" y="120"/>
                    <a:pt x="111" y="120"/>
                    <a:pt x="112" y="120"/>
                  </a:cubicBezTo>
                  <a:cubicBezTo>
                    <a:pt x="113" y="119"/>
                    <a:pt x="113" y="118"/>
                    <a:pt x="114" y="118"/>
                  </a:cubicBezTo>
                  <a:cubicBezTo>
                    <a:pt x="115" y="117"/>
                    <a:pt x="116" y="116"/>
                    <a:pt x="117" y="116"/>
                  </a:cubicBezTo>
                  <a:cubicBezTo>
                    <a:pt x="117" y="117"/>
                    <a:pt x="117" y="118"/>
                    <a:pt x="117" y="119"/>
                  </a:cubicBezTo>
                  <a:cubicBezTo>
                    <a:pt x="117" y="120"/>
                    <a:pt x="117" y="122"/>
                    <a:pt x="116" y="123"/>
                  </a:cubicBezTo>
                  <a:cubicBezTo>
                    <a:pt x="116" y="124"/>
                    <a:pt x="116" y="125"/>
                    <a:pt x="116" y="126"/>
                  </a:cubicBezTo>
                  <a:cubicBezTo>
                    <a:pt x="116" y="128"/>
                    <a:pt x="118" y="128"/>
                    <a:pt x="119" y="129"/>
                  </a:cubicBezTo>
                  <a:cubicBezTo>
                    <a:pt x="120" y="130"/>
                    <a:pt x="121" y="130"/>
                    <a:pt x="121" y="132"/>
                  </a:cubicBezTo>
                  <a:cubicBezTo>
                    <a:pt x="120" y="133"/>
                    <a:pt x="119" y="133"/>
                    <a:pt x="118" y="134"/>
                  </a:cubicBezTo>
                  <a:cubicBezTo>
                    <a:pt x="116" y="135"/>
                    <a:pt x="118" y="136"/>
                    <a:pt x="118" y="138"/>
                  </a:cubicBezTo>
                  <a:cubicBezTo>
                    <a:pt x="119" y="140"/>
                    <a:pt x="118" y="143"/>
                    <a:pt x="119" y="146"/>
                  </a:cubicBezTo>
                  <a:cubicBezTo>
                    <a:pt x="119" y="146"/>
                    <a:pt x="119" y="147"/>
                    <a:pt x="120" y="147"/>
                  </a:cubicBezTo>
                  <a:cubicBezTo>
                    <a:pt x="120" y="147"/>
                    <a:pt x="121" y="147"/>
                    <a:pt x="121" y="147"/>
                  </a:cubicBezTo>
                  <a:cubicBezTo>
                    <a:pt x="122" y="148"/>
                    <a:pt x="120" y="150"/>
                    <a:pt x="119" y="150"/>
                  </a:cubicBezTo>
                  <a:cubicBezTo>
                    <a:pt x="118" y="151"/>
                    <a:pt x="117" y="152"/>
                    <a:pt x="117" y="153"/>
                  </a:cubicBezTo>
                  <a:cubicBezTo>
                    <a:pt x="118" y="154"/>
                    <a:pt x="119" y="152"/>
                    <a:pt x="119" y="153"/>
                  </a:cubicBezTo>
                  <a:cubicBezTo>
                    <a:pt x="120" y="154"/>
                    <a:pt x="119" y="154"/>
                    <a:pt x="119" y="155"/>
                  </a:cubicBezTo>
                  <a:cubicBezTo>
                    <a:pt x="119" y="155"/>
                    <a:pt x="120" y="156"/>
                    <a:pt x="120" y="156"/>
                  </a:cubicBezTo>
                  <a:cubicBezTo>
                    <a:pt x="120" y="157"/>
                    <a:pt x="120" y="158"/>
                    <a:pt x="120" y="158"/>
                  </a:cubicBezTo>
                  <a:cubicBezTo>
                    <a:pt x="119" y="159"/>
                    <a:pt x="119" y="159"/>
                    <a:pt x="118" y="159"/>
                  </a:cubicBezTo>
                  <a:cubicBezTo>
                    <a:pt x="117" y="159"/>
                    <a:pt x="117" y="159"/>
                    <a:pt x="116" y="160"/>
                  </a:cubicBezTo>
                  <a:cubicBezTo>
                    <a:pt x="116" y="160"/>
                    <a:pt x="116" y="160"/>
                    <a:pt x="116" y="160"/>
                  </a:cubicBezTo>
                  <a:cubicBezTo>
                    <a:pt x="114" y="160"/>
                    <a:pt x="114" y="160"/>
                    <a:pt x="114" y="160"/>
                  </a:cubicBezTo>
                  <a:cubicBezTo>
                    <a:pt x="113" y="161"/>
                    <a:pt x="113" y="163"/>
                    <a:pt x="112" y="164"/>
                  </a:cubicBezTo>
                  <a:cubicBezTo>
                    <a:pt x="112" y="165"/>
                    <a:pt x="110" y="165"/>
                    <a:pt x="110" y="166"/>
                  </a:cubicBezTo>
                  <a:cubicBezTo>
                    <a:pt x="109" y="166"/>
                    <a:pt x="108" y="166"/>
                    <a:pt x="108" y="166"/>
                  </a:cubicBezTo>
                  <a:cubicBezTo>
                    <a:pt x="107" y="167"/>
                    <a:pt x="107" y="167"/>
                    <a:pt x="106" y="167"/>
                  </a:cubicBezTo>
                  <a:cubicBezTo>
                    <a:pt x="105" y="167"/>
                    <a:pt x="105" y="166"/>
                    <a:pt x="105" y="166"/>
                  </a:cubicBezTo>
                  <a:cubicBezTo>
                    <a:pt x="104" y="166"/>
                    <a:pt x="103" y="166"/>
                    <a:pt x="103" y="166"/>
                  </a:cubicBezTo>
                  <a:cubicBezTo>
                    <a:pt x="102" y="165"/>
                    <a:pt x="104" y="164"/>
                    <a:pt x="104" y="163"/>
                  </a:cubicBezTo>
                  <a:cubicBezTo>
                    <a:pt x="105" y="162"/>
                    <a:pt x="105" y="161"/>
                    <a:pt x="105" y="159"/>
                  </a:cubicBezTo>
                  <a:cubicBezTo>
                    <a:pt x="105" y="158"/>
                    <a:pt x="104" y="157"/>
                    <a:pt x="104" y="156"/>
                  </a:cubicBezTo>
                  <a:cubicBezTo>
                    <a:pt x="104" y="155"/>
                    <a:pt x="105" y="155"/>
                    <a:pt x="105" y="153"/>
                  </a:cubicBezTo>
                  <a:close/>
                  <a:moveTo>
                    <a:pt x="123" y="141"/>
                  </a:moveTo>
                  <a:cubicBezTo>
                    <a:pt x="125" y="141"/>
                    <a:pt x="125" y="139"/>
                    <a:pt x="125" y="138"/>
                  </a:cubicBezTo>
                  <a:cubicBezTo>
                    <a:pt x="125" y="136"/>
                    <a:pt x="126" y="135"/>
                    <a:pt x="126" y="133"/>
                  </a:cubicBezTo>
                  <a:cubicBezTo>
                    <a:pt x="126" y="132"/>
                    <a:pt x="126" y="130"/>
                    <a:pt x="127" y="129"/>
                  </a:cubicBezTo>
                  <a:cubicBezTo>
                    <a:pt x="127" y="128"/>
                    <a:pt x="127" y="127"/>
                    <a:pt x="127" y="126"/>
                  </a:cubicBezTo>
                  <a:cubicBezTo>
                    <a:pt x="126" y="124"/>
                    <a:pt x="125" y="126"/>
                    <a:pt x="125" y="127"/>
                  </a:cubicBezTo>
                  <a:cubicBezTo>
                    <a:pt x="125" y="128"/>
                    <a:pt x="124" y="128"/>
                    <a:pt x="123" y="129"/>
                  </a:cubicBezTo>
                  <a:cubicBezTo>
                    <a:pt x="122" y="130"/>
                    <a:pt x="122" y="131"/>
                    <a:pt x="122" y="132"/>
                  </a:cubicBezTo>
                  <a:cubicBezTo>
                    <a:pt x="122" y="133"/>
                    <a:pt x="121" y="134"/>
                    <a:pt x="121" y="135"/>
                  </a:cubicBezTo>
                  <a:cubicBezTo>
                    <a:pt x="120" y="136"/>
                    <a:pt x="121" y="136"/>
                    <a:pt x="121" y="137"/>
                  </a:cubicBezTo>
                  <a:cubicBezTo>
                    <a:pt x="122" y="138"/>
                    <a:pt x="122" y="141"/>
                    <a:pt x="123" y="141"/>
                  </a:cubicBezTo>
                  <a:close/>
                  <a:moveTo>
                    <a:pt x="120" y="63"/>
                  </a:moveTo>
                  <a:cubicBezTo>
                    <a:pt x="115" y="61"/>
                    <a:pt x="115" y="61"/>
                    <a:pt x="115" y="61"/>
                  </a:cubicBezTo>
                  <a:cubicBezTo>
                    <a:pt x="108" y="61"/>
                    <a:pt x="108" y="61"/>
                    <a:pt x="108" y="61"/>
                  </a:cubicBezTo>
                  <a:cubicBezTo>
                    <a:pt x="99" y="60"/>
                    <a:pt x="99" y="60"/>
                    <a:pt x="99" y="60"/>
                  </a:cubicBezTo>
                  <a:cubicBezTo>
                    <a:pt x="96" y="61"/>
                    <a:pt x="96" y="61"/>
                    <a:pt x="96" y="61"/>
                  </a:cubicBezTo>
                  <a:cubicBezTo>
                    <a:pt x="92" y="65"/>
                    <a:pt x="92" y="65"/>
                    <a:pt x="92" y="65"/>
                  </a:cubicBezTo>
                  <a:cubicBezTo>
                    <a:pt x="90" y="60"/>
                    <a:pt x="90" y="60"/>
                    <a:pt x="90" y="60"/>
                  </a:cubicBezTo>
                  <a:cubicBezTo>
                    <a:pt x="91" y="58"/>
                    <a:pt x="91" y="58"/>
                    <a:pt x="91" y="58"/>
                  </a:cubicBezTo>
                  <a:cubicBezTo>
                    <a:pt x="89" y="54"/>
                    <a:pt x="89" y="54"/>
                    <a:pt x="89" y="54"/>
                  </a:cubicBezTo>
                  <a:cubicBezTo>
                    <a:pt x="89" y="49"/>
                    <a:pt x="89" y="49"/>
                    <a:pt x="89" y="49"/>
                  </a:cubicBezTo>
                  <a:cubicBezTo>
                    <a:pt x="91" y="46"/>
                    <a:pt x="91" y="46"/>
                    <a:pt x="91" y="46"/>
                  </a:cubicBezTo>
                  <a:cubicBezTo>
                    <a:pt x="88" y="44"/>
                    <a:pt x="88" y="44"/>
                    <a:pt x="88" y="44"/>
                  </a:cubicBezTo>
                  <a:cubicBezTo>
                    <a:pt x="84" y="43"/>
                    <a:pt x="84" y="43"/>
                    <a:pt x="84" y="43"/>
                  </a:cubicBezTo>
                  <a:cubicBezTo>
                    <a:pt x="85" y="40"/>
                    <a:pt x="85" y="40"/>
                    <a:pt x="85" y="40"/>
                  </a:cubicBezTo>
                  <a:cubicBezTo>
                    <a:pt x="82" y="39"/>
                    <a:pt x="82" y="39"/>
                    <a:pt x="82" y="39"/>
                  </a:cubicBezTo>
                  <a:cubicBezTo>
                    <a:pt x="85" y="36"/>
                    <a:pt x="85" y="36"/>
                    <a:pt x="85" y="36"/>
                  </a:cubicBezTo>
                  <a:cubicBezTo>
                    <a:pt x="84" y="31"/>
                    <a:pt x="84" y="31"/>
                    <a:pt x="84" y="31"/>
                  </a:cubicBezTo>
                  <a:cubicBezTo>
                    <a:pt x="84" y="29"/>
                    <a:pt x="84" y="29"/>
                    <a:pt x="84" y="29"/>
                  </a:cubicBezTo>
                  <a:cubicBezTo>
                    <a:pt x="81" y="28"/>
                    <a:pt x="81" y="28"/>
                    <a:pt x="81" y="28"/>
                  </a:cubicBezTo>
                  <a:cubicBezTo>
                    <a:pt x="81" y="25"/>
                    <a:pt x="81" y="25"/>
                    <a:pt x="81" y="25"/>
                  </a:cubicBezTo>
                  <a:cubicBezTo>
                    <a:pt x="81" y="23"/>
                    <a:pt x="81" y="23"/>
                    <a:pt x="81" y="23"/>
                  </a:cubicBezTo>
                  <a:cubicBezTo>
                    <a:pt x="81" y="21"/>
                    <a:pt x="81" y="21"/>
                    <a:pt x="81" y="21"/>
                  </a:cubicBezTo>
                  <a:cubicBezTo>
                    <a:pt x="78" y="16"/>
                    <a:pt x="78" y="16"/>
                    <a:pt x="78" y="16"/>
                  </a:cubicBezTo>
                  <a:cubicBezTo>
                    <a:pt x="79" y="13"/>
                    <a:pt x="79" y="13"/>
                    <a:pt x="79" y="13"/>
                  </a:cubicBezTo>
                  <a:cubicBezTo>
                    <a:pt x="80" y="8"/>
                    <a:pt x="80" y="8"/>
                    <a:pt x="80" y="8"/>
                  </a:cubicBezTo>
                  <a:cubicBezTo>
                    <a:pt x="85" y="2"/>
                    <a:pt x="85" y="2"/>
                    <a:pt x="85" y="2"/>
                  </a:cubicBezTo>
                  <a:cubicBezTo>
                    <a:pt x="86" y="0"/>
                    <a:pt x="86" y="0"/>
                    <a:pt x="86" y="0"/>
                  </a:cubicBezTo>
                  <a:cubicBezTo>
                    <a:pt x="80" y="1"/>
                    <a:pt x="80" y="1"/>
                    <a:pt x="80" y="1"/>
                  </a:cubicBezTo>
                  <a:cubicBezTo>
                    <a:pt x="73" y="4"/>
                    <a:pt x="73" y="4"/>
                    <a:pt x="73" y="4"/>
                  </a:cubicBezTo>
                  <a:cubicBezTo>
                    <a:pt x="65" y="7"/>
                    <a:pt x="65" y="7"/>
                    <a:pt x="65" y="7"/>
                  </a:cubicBezTo>
                  <a:cubicBezTo>
                    <a:pt x="59" y="30"/>
                    <a:pt x="59" y="30"/>
                    <a:pt x="59" y="30"/>
                  </a:cubicBezTo>
                  <a:cubicBezTo>
                    <a:pt x="59" y="35"/>
                    <a:pt x="59" y="35"/>
                    <a:pt x="59" y="35"/>
                  </a:cubicBezTo>
                  <a:cubicBezTo>
                    <a:pt x="65" y="35"/>
                    <a:pt x="65" y="35"/>
                    <a:pt x="65" y="35"/>
                  </a:cubicBezTo>
                  <a:cubicBezTo>
                    <a:pt x="65" y="37"/>
                    <a:pt x="65" y="37"/>
                    <a:pt x="65" y="37"/>
                  </a:cubicBezTo>
                  <a:cubicBezTo>
                    <a:pt x="65" y="39"/>
                    <a:pt x="65" y="39"/>
                    <a:pt x="65" y="39"/>
                  </a:cubicBezTo>
                  <a:cubicBezTo>
                    <a:pt x="63" y="42"/>
                    <a:pt x="63" y="42"/>
                    <a:pt x="63" y="42"/>
                  </a:cubicBezTo>
                  <a:cubicBezTo>
                    <a:pt x="64" y="44"/>
                    <a:pt x="64" y="44"/>
                    <a:pt x="64" y="44"/>
                  </a:cubicBezTo>
                  <a:cubicBezTo>
                    <a:pt x="60" y="46"/>
                    <a:pt x="60" y="46"/>
                    <a:pt x="60" y="46"/>
                  </a:cubicBezTo>
                  <a:cubicBezTo>
                    <a:pt x="58" y="50"/>
                    <a:pt x="58" y="50"/>
                    <a:pt x="58" y="50"/>
                  </a:cubicBezTo>
                  <a:cubicBezTo>
                    <a:pt x="57" y="55"/>
                    <a:pt x="57" y="55"/>
                    <a:pt x="57" y="55"/>
                  </a:cubicBezTo>
                  <a:cubicBezTo>
                    <a:pt x="54" y="55"/>
                    <a:pt x="54" y="55"/>
                    <a:pt x="54" y="55"/>
                  </a:cubicBezTo>
                  <a:cubicBezTo>
                    <a:pt x="39" y="67"/>
                    <a:pt x="39" y="67"/>
                    <a:pt x="39" y="67"/>
                  </a:cubicBezTo>
                  <a:cubicBezTo>
                    <a:pt x="36" y="68"/>
                    <a:pt x="36" y="68"/>
                    <a:pt x="36" y="68"/>
                  </a:cubicBezTo>
                  <a:cubicBezTo>
                    <a:pt x="27" y="78"/>
                    <a:pt x="27" y="78"/>
                    <a:pt x="27" y="78"/>
                  </a:cubicBezTo>
                  <a:cubicBezTo>
                    <a:pt x="27" y="83"/>
                    <a:pt x="27" y="83"/>
                    <a:pt x="27" y="83"/>
                  </a:cubicBezTo>
                  <a:cubicBezTo>
                    <a:pt x="25" y="85"/>
                    <a:pt x="25" y="85"/>
                    <a:pt x="25" y="85"/>
                  </a:cubicBezTo>
                  <a:cubicBezTo>
                    <a:pt x="21" y="87"/>
                    <a:pt x="21" y="87"/>
                    <a:pt x="21" y="87"/>
                  </a:cubicBezTo>
                  <a:cubicBezTo>
                    <a:pt x="20" y="89"/>
                    <a:pt x="20" y="89"/>
                    <a:pt x="20" y="89"/>
                  </a:cubicBezTo>
                  <a:cubicBezTo>
                    <a:pt x="15" y="91"/>
                    <a:pt x="15" y="91"/>
                    <a:pt x="15" y="91"/>
                  </a:cubicBezTo>
                  <a:cubicBezTo>
                    <a:pt x="16" y="95"/>
                    <a:pt x="16" y="95"/>
                    <a:pt x="16" y="95"/>
                  </a:cubicBezTo>
                  <a:cubicBezTo>
                    <a:pt x="13" y="95"/>
                    <a:pt x="13" y="95"/>
                    <a:pt x="13" y="95"/>
                  </a:cubicBezTo>
                  <a:cubicBezTo>
                    <a:pt x="11" y="97"/>
                    <a:pt x="11" y="97"/>
                    <a:pt x="11" y="97"/>
                  </a:cubicBezTo>
                  <a:cubicBezTo>
                    <a:pt x="11" y="101"/>
                    <a:pt x="11" y="101"/>
                    <a:pt x="11" y="101"/>
                  </a:cubicBezTo>
                  <a:cubicBezTo>
                    <a:pt x="10" y="104"/>
                    <a:pt x="10" y="104"/>
                    <a:pt x="10" y="104"/>
                  </a:cubicBezTo>
                  <a:cubicBezTo>
                    <a:pt x="11" y="108"/>
                    <a:pt x="11" y="108"/>
                    <a:pt x="11" y="108"/>
                  </a:cubicBezTo>
                  <a:cubicBezTo>
                    <a:pt x="5" y="113"/>
                    <a:pt x="5" y="113"/>
                    <a:pt x="5" y="113"/>
                  </a:cubicBezTo>
                  <a:cubicBezTo>
                    <a:pt x="5" y="117"/>
                    <a:pt x="5" y="117"/>
                    <a:pt x="5" y="117"/>
                  </a:cubicBezTo>
                  <a:cubicBezTo>
                    <a:pt x="2" y="118"/>
                    <a:pt x="2" y="118"/>
                    <a:pt x="2" y="118"/>
                  </a:cubicBezTo>
                  <a:cubicBezTo>
                    <a:pt x="1" y="123"/>
                    <a:pt x="1" y="123"/>
                    <a:pt x="1" y="123"/>
                  </a:cubicBezTo>
                  <a:cubicBezTo>
                    <a:pt x="0" y="129"/>
                    <a:pt x="0" y="129"/>
                    <a:pt x="0" y="129"/>
                  </a:cubicBezTo>
                  <a:cubicBezTo>
                    <a:pt x="1" y="130"/>
                    <a:pt x="2" y="131"/>
                    <a:pt x="3" y="132"/>
                  </a:cubicBezTo>
                  <a:cubicBezTo>
                    <a:pt x="4" y="133"/>
                    <a:pt x="7" y="135"/>
                    <a:pt x="8" y="133"/>
                  </a:cubicBezTo>
                  <a:cubicBezTo>
                    <a:pt x="8" y="133"/>
                    <a:pt x="8" y="131"/>
                    <a:pt x="8" y="131"/>
                  </a:cubicBezTo>
                  <a:cubicBezTo>
                    <a:pt x="8" y="130"/>
                    <a:pt x="8" y="129"/>
                    <a:pt x="8" y="128"/>
                  </a:cubicBezTo>
                  <a:cubicBezTo>
                    <a:pt x="8" y="127"/>
                    <a:pt x="9" y="126"/>
                    <a:pt x="9" y="124"/>
                  </a:cubicBezTo>
                  <a:cubicBezTo>
                    <a:pt x="10" y="123"/>
                    <a:pt x="10" y="122"/>
                    <a:pt x="10" y="120"/>
                  </a:cubicBezTo>
                  <a:cubicBezTo>
                    <a:pt x="11" y="120"/>
                    <a:pt x="12" y="118"/>
                    <a:pt x="13" y="118"/>
                  </a:cubicBezTo>
                  <a:cubicBezTo>
                    <a:pt x="14" y="119"/>
                    <a:pt x="12" y="121"/>
                    <a:pt x="12" y="122"/>
                  </a:cubicBezTo>
                  <a:cubicBezTo>
                    <a:pt x="12" y="123"/>
                    <a:pt x="11" y="124"/>
                    <a:pt x="11" y="126"/>
                  </a:cubicBezTo>
                  <a:cubicBezTo>
                    <a:pt x="10" y="128"/>
                    <a:pt x="11" y="131"/>
                    <a:pt x="11" y="133"/>
                  </a:cubicBezTo>
                  <a:cubicBezTo>
                    <a:pt x="11" y="135"/>
                    <a:pt x="11" y="136"/>
                    <a:pt x="12" y="137"/>
                  </a:cubicBezTo>
                  <a:cubicBezTo>
                    <a:pt x="13" y="137"/>
                    <a:pt x="14" y="138"/>
                    <a:pt x="15" y="139"/>
                  </a:cubicBezTo>
                  <a:cubicBezTo>
                    <a:pt x="17" y="141"/>
                    <a:pt x="17" y="144"/>
                    <a:pt x="17" y="147"/>
                  </a:cubicBezTo>
                  <a:cubicBezTo>
                    <a:pt x="16" y="149"/>
                    <a:pt x="16" y="151"/>
                    <a:pt x="16" y="153"/>
                  </a:cubicBezTo>
                  <a:cubicBezTo>
                    <a:pt x="15" y="155"/>
                    <a:pt x="16" y="158"/>
                    <a:pt x="17" y="161"/>
                  </a:cubicBezTo>
                  <a:cubicBezTo>
                    <a:pt x="17" y="163"/>
                    <a:pt x="17" y="165"/>
                    <a:pt x="17" y="167"/>
                  </a:cubicBezTo>
                  <a:cubicBezTo>
                    <a:pt x="18" y="169"/>
                    <a:pt x="18" y="170"/>
                    <a:pt x="18" y="172"/>
                  </a:cubicBezTo>
                  <a:cubicBezTo>
                    <a:pt x="18" y="173"/>
                    <a:pt x="17" y="174"/>
                    <a:pt x="18" y="175"/>
                  </a:cubicBezTo>
                  <a:cubicBezTo>
                    <a:pt x="18" y="175"/>
                    <a:pt x="19" y="175"/>
                    <a:pt x="19" y="175"/>
                  </a:cubicBezTo>
                  <a:cubicBezTo>
                    <a:pt x="21" y="175"/>
                    <a:pt x="22" y="174"/>
                    <a:pt x="23" y="173"/>
                  </a:cubicBezTo>
                  <a:cubicBezTo>
                    <a:pt x="25" y="172"/>
                    <a:pt x="27" y="171"/>
                    <a:pt x="29" y="169"/>
                  </a:cubicBezTo>
                  <a:cubicBezTo>
                    <a:pt x="31" y="168"/>
                    <a:pt x="33" y="167"/>
                    <a:pt x="36" y="166"/>
                  </a:cubicBezTo>
                  <a:cubicBezTo>
                    <a:pt x="37" y="166"/>
                    <a:pt x="39" y="165"/>
                    <a:pt x="41" y="164"/>
                  </a:cubicBezTo>
                  <a:cubicBezTo>
                    <a:pt x="44" y="163"/>
                    <a:pt x="47" y="161"/>
                    <a:pt x="51" y="160"/>
                  </a:cubicBezTo>
                  <a:cubicBezTo>
                    <a:pt x="53" y="159"/>
                    <a:pt x="56" y="159"/>
                    <a:pt x="58" y="157"/>
                  </a:cubicBezTo>
                  <a:cubicBezTo>
                    <a:pt x="59" y="156"/>
                    <a:pt x="62" y="155"/>
                    <a:pt x="63" y="155"/>
                  </a:cubicBezTo>
                  <a:cubicBezTo>
                    <a:pt x="65" y="153"/>
                    <a:pt x="67" y="152"/>
                    <a:pt x="70" y="151"/>
                  </a:cubicBezTo>
                  <a:cubicBezTo>
                    <a:pt x="75" y="150"/>
                    <a:pt x="80" y="149"/>
                    <a:pt x="84" y="146"/>
                  </a:cubicBezTo>
                  <a:cubicBezTo>
                    <a:pt x="87" y="144"/>
                    <a:pt x="90" y="141"/>
                    <a:pt x="94" y="140"/>
                  </a:cubicBezTo>
                  <a:cubicBezTo>
                    <a:pt x="95" y="140"/>
                    <a:pt x="97" y="140"/>
                    <a:pt x="98" y="140"/>
                  </a:cubicBezTo>
                  <a:cubicBezTo>
                    <a:pt x="99" y="140"/>
                    <a:pt x="100" y="139"/>
                    <a:pt x="100" y="138"/>
                  </a:cubicBezTo>
                  <a:cubicBezTo>
                    <a:pt x="100" y="137"/>
                    <a:pt x="100" y="136"/>
                    <a:pt x="100" y="134"/>
                  </a:cubicBezTo>
                  <a:cubicBezTo>
                    <a:pt x="101" y="133"/>
                    <a:pt x="101" y="131"/>
                    <a:pt x="101" y="130"/>
                  </a:cubicBezTo>
                  <a:cubicBezTo>
                    <a:pt x="102" y="127"/>
                    <a:pt x="103" y="125"/>
                    <a:pt x="105" y="122"/>
                  </a:cubicBezTo>
                  <a:cubicBezTo>
                    <a:pt x="106" y="120"/>
                    <a:pt x="108" y="119"/>
                    <a:pt x="110" y="118"/>
                  </a:cubicBezTo>
                  <a:cubicBezTo>
                    <a:pt x="111" y="118"/>
                    <a:pt x="111" y="118"/>
                    <a:pt x="112" y="117"/>
                  </a:cubicBezTo>
                  <a:cubicBezTo>
                    <a:pt x="112" y="116"/>
                    <a:pt x="112" y="116"/>
                    <a:pt x="111" y="115"/>
                  </a:cubicBezTo>
                  <a:cubicBezTo>
                    <a:pt x="111" y="114"/>
                    <a:pt x="111" y="113"/>
                    <a:pt x="110" y="113"/>
                  </a:cubicBezTo>
                  <a:cubicBezTo>
                    <a:pt x="109" y="112"/>
                    <a:pt x="109" y="112"/>
                    <a:pt x="108" y="112"/>
                  </a:cubicBezTo>
                  <a:cubicBezTo>
                    <a:pt x="107" y="112"/>
                    <a:pt x="107" y="112"/>
                    <a:pt x="106" y="112"/>
                  </a:cubicBezTo>
                  <a:cubicBezTo>
                    <a:pt x="107" y="110"/>
                    <a:pt x="110" y="111"/>
                    <a:pt x="112" y="111"/>
                  </a:cubicBezTo>
                  <a:cubicBezTo>
                    <a:pt x="113" y="112"/>
                    <a:pt x="113" y="111"/>
                    <a:pt x="114" y="111"/>
                  </a:cubicBezTo>
                  <a:cubicBezTo>
                    <a:pt x="115" y="110"/>
                    <a:pt x="116" y="111"/>
                    <a:pt x="117" y="110"/>
                  </a:cubicBezTo>
                  <a:cubicBezTo>
                    <a:pt x="117" y="109"/>
                    <a:pt x="116" y="109"/>
                    <a:pt x="116" y="109"/>
                  </a:cubicBezTo>
                  <a:cubicBezTo>
                    <a:pt x="115" y="109"/>
                    <a:pt x="114" y="108"/>
                    <a:pt x="113" y="107"/>
                  </a:cubicBezTo>
                  <a:cubicBezTo>
                    <a:pt x="112" y="107"/>
                    <a:pt x="112" y="106"/>
                    <a:pt x="112" y="105"/>
                  </a:cubicBezTo>
                  <a:cubicBezTo>
                    <a:pt x="111" y="105"/>
                    <a:pt x="112" y="104"/>
                    <a:pt x="111" y="103"/>
                  </a:cubicBezTo>
                  <a:cubicBezTo>
                    <a:pt x="111" y="103"/>
                    <a:pt x="111" y="103"/>
                    <a:pt x="111" y="103"/>
                  </a:cubicBezTo>
                  <a:cubicBezTo>
                    <a:pt x="110" y="102"/>
                    <a:pt x="110" y="101"/>
                    <a:pt x="109" y="101"/>
                  </a:cubicBezTo>
                  <a:cubicBezTo>
                    <a:pt x="108" y="101"/>
                    <a:pt x="107" y="103"/>
                    <a:pt x="107" y="102"/>
                  </a:cubicBezTo>
                  <a:cubicBezTo>
                    <a:pt x="107" y="100"/>
                    <a:pt x="108" y="101"/>
                    <a:pt x="107" y="100"/>
                  </a:cubicBezTo>
                  <a:cubicBezTo>
                    <a:pt x="106" y="98"/>
                    <a:pt x="108" y="98"/>
                    <a:pt x="108" y="97"/>
                  </a:cubicBezTo>
                  <a:cubicBezTo>
                    <a:pt x="109" y="95"/>
                    <a:pt x="106" y="91"/>
                    <a:pt x="109" y="91"/>
                  </a:cubicBezTo>
                  <a:cubicBezTo>
                    <a:pt x="110" y="92"/>
                    <a:pt x="110" y="95"/>
                    <a:pt x="110" y="96"/>
                  </a:cubicBezTo>
                  <a:cubicBezTo>
                    <a:pt x="110" y="97"/>
                    <a:pt x="110" y="98"/>
                    <a:pt x="111" y="98"/>
                  </a:cubicBezTo>
                  <a:cubicBezTo>
                    <a:pt x="111" y="99"/>
                    <a:pt x="111" y="99"/>
                    <a:pt x="112" y="99"/>
                  </a:cubicBezTo>
                  <a:cubicBezTo>
                    <a:pt x="112" y="99"/>
                    <a:pt x="112" y="99"/>
                    <a:pt x="112" y="98"/>
                  </a:cubicBezTo>
                  <a:cubicBezTo>
                    <a:pt x="114" y="98"/>
                    <a:pt x="114" y="101"/>
                    <a:pt x="114" y="102"/>
                  </a:cubicBezTo>
                  <a:cubicBezTo>
                    <a:pt x="114" y="103"/>
                    <a:pt x="116" y="103"/>
                    <a:pt x="117" y="102"/>
                  </a:cubicBezTo>
                  <a:cubicBezTo>
                    <a:pt x="119" y="101"/>
                    <a:pt x="121" y="98"/>
                    <a:pt x="122" y="96"/>
                  </a:cubicBezTo>
                  <a:cubicBezTo>
                    <a:pt x="122" y="95"/>
                    <a:pt x="123" y="94"/>
                    <a:pt x="123" y="93"/>
                  </a:cubicBezTo>
                  <a:cubicBezTo>
                    <a:pt x="123" y="91"/>
                    <a:pt x="123" y="90"/>
                    <a:pt x="123" y="89"/>
                  </a:cubicBezTo>
                  <a:cubicBezTo>
                    <a:pt x="122" y="86"/>
                    <a:pt x="123" y="84"/>
                    <a:pt x="124" y="81"/>
                  </a:cubicBezTo>
                  <a:cubicBezTo>
                    <a:pt x="125" y="80"/>
                    <a:pt x="126" y="79"/>
                    <a:pt x="125" y="77"/>
                  </a:cubicBezTo>
                  <a:cubicBezTo>
                    <a:pt x="125" y="76"/>
                    <a:pt x="124" y="77"/>
                    <a:pt x="124" y="76"/>
                  </a:cubicBezTo>
                  <a:cubicBezTo>
                    <a:pt x="123" y="76"/>
                    <a:pt x="123" y="76"/>
                    <a:pt x="123" y="76"/>
                  </a:cubicBezTo>
                  <a:cubicBezTo>
                    <a:pt x="122" y="76"/>
                    <a:pt x="122" y="76"/>
                    <a:pt x="122" y="76"/>
                  </a:cubicBezTo>
                  <a:cubicBezTo>
                    <a:pt x="121" y="76"/>
                    <a:pt x="121" y="76"/>
                    <a:pt x="121" y="77"/>
                  </a:cubicBezTo>
                  <a:cubicBezTo>
                    <a:pt x="121" y="78"/>
                    <a:pt x="120" y="78"/>
                    <a:pt x="120" y="78"/>
                  </a:cubicBezTo>
                  <a:cubicBezTo>
                    <a:pt x="119" y="78"/>
                    <a:pt x="119" y="78"/>
                    <a:pt x="119" y="78"/>
                  </a:cubicBezTo>
                  <a:cubicBezTo>
                    <a:pt x="120" y="78"/>
                    <a:pt x="120" y="78"/>
                    <a:pt x="120" y="78"/>
                  </a:cubicBezTo>
                  <a:cubicBezTo>
                    <a:pt x="120" y="77"/>
                    <a:pt x="120" y="77"/>
                    <a:pt x="120" y="77"/>
                  </a:cubicBezTo>
                  <a:cubicBezTo>
                    <a:pt x="120" y="77"/>
                    <a:pt x="120" y="76"/>
                    <a:pt x="120" y="76"/>
                  </a:cubicBezTo>
                  <a:cubicBezTo>
                    <a:pt x="120" y="76"/>
                    <a:pt x="120" y="75"/>
                    <a:pt x="121" y="75"/>
                  </a:cubicBezTo>
                  <a:cubicBezTo>
                    <a:pt x="121" y="74"/>
                    <a:pt x="121" y="74"/>
                    <a:pt x="121" y="74"/>
                  </a:cubicBezTo>
                  <a:cubicBezTo>
                    <a:pt x="122" y="73"/>
                    <a:pt x="122" y="73"/>
                    <a:pt x="122" y="73"/>
                  </a:cubicBezTo>
                  <a:cubicBezTo>
                    <a:pt x="122" y="73"/>
                    <a:pt x="123" y="73"/>
                    <a:pt x="123" y="73"/>
                  </a:cubicBezTo>
                  <a:cubicBezTo>
                    <a:pt x="124" y="73"/>
                    <a:pt x="124" y="73"/>
                    <a:pt x="125" y="73"/>
                  </a:cubicBezTo>
                  <a:cubicBezTo>
                    <a:pt x="126" y="73"/>
                    <a:pt x="126" y="73"/>
                    <a:pt x="126" y="73"/>
                  </a:cubicBezTo>
                  <a:cubicBezTo>
                    <a:pt x="126" y="73"/>
                    <a:pt x="126" y="72"/>
                    <a:pt x="127" y="72"/>
                  </a:cubicBezTo>
                  <a:cubicBezTo>
                    <a:pt x="128" y="72"/>
                    <a:pt x="128" y="72"/>
                    <a:pt x="128" y="72"/>
                  </a:cubicBezTo>
                  <a:cubicBezTo>
                    <a:pt x="129" y="72"/>
                    <a:pt x="129" y="72"/>
                    <a:pt x="129" y="72"/>
                  </a:cubicBezTo>
                  <a:cubicBezTo>
                    <a:pt x="130" y="73"/>
                    <a:pt x="130" y="74"/>
                    <a:pt x="130" y="74"/>
                  </a:cubicBezTo>
                  <a:cubicBezTo>
                    <a:pt x="130" y="75"/>
                    <a:pt x="130" y="76"/>
                    <a:pt x="130" y="76"/>
                  </a:cubicBezTo>
                  <a:cubicBezTo>
                    <a:pt x="132" y="76"/>
                    <a:pt x="132" y="76"/>
                    <a:pt x="132" y="76"/>
                  </a:cubicBezTo>
                  <a:cubicBezTo>
                    <a:pt x="132" y="76"/>
                    <a:pt x="132" y="75"/>
                    <a:pt x="133" y="75"/>
                  </a:cubicBezTo>
                  <a:cubicBezTo>
                    <a:pt x="133" y="74"/>
                    <a:pt x="133" y="74"/>
                    <a:pt x="133" y="74"/>
                  </a:cubicBezTo>
                  <a:cubicBezTo>
                    <a:pt x="133" y="73"/>
                    <a:pt x="133" y="72"/>
                    <a:pt x="133" y="71"/>
                  </a:cubicBezTo>
                  <a:cubicBezTo>
                    <a:pt x="134" y="70"/>
                    <a:pt x="134" y="69"/>
                    <a:pt x="134" y="68"/>
                  </a:cubicBezTo>
                  <a:cubicBezTo>
                    <a:pt x="135" y="67"/>
                    <a:pt x="135" y="67"/>
                    <a:pt x="135" y="66"/>
                  </a:cubicBezTo>
                  <a:cubicBezTo>
                    <a:pt x="127" y="64"/>
                    <a:pt x="127" y="64"/>
                    <a:pt x="127" y="64"/>
                  </a:cubicBezTo>
                  <a:lnTo>
                    <a:pt x="120" y="63"/>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29" name="Freeform 31">
              <a:extLst>
                <a:ext uri="{FF2B5EF4-FFF2-40B4-BE49-F238E27FC236}">
                  <a16:creationId xmlns:a16="http://schemas.microsoft.com/office/drawing/2014/main" id="{6677D9A8-A7F2-659E-D5A4-C5A5500972EB}"/>
                </a:ext>
              </a:extLst>
            </p:cNvPr>
            <p:cNvSpPr>
              <a:spLocks noEditPoints="1"/>
            </p:cNvSpPr>
            <p:nvPr/>
          </p:nvSpPr>
          <p:spPr bwMode="auto">
            <a:xfrm>
              <a:off x="2619375" y="2844800"/>
              <a:ext cx="1249363" cy="1139825"/>
            </a:xfrm>
            <a:custGeom>
              <a:avLst/>
              <a:gdLst>
                <a:gd name="T0" fmla="*/ 37 w 328"/>
                <a:gd name="T1" fmla="*/ 281 h 299"/>
                <a:gd name="T2" fmla="*/ 46 w 328"/>
                <a:gd name="T3" fmla="*/ 279 h 299"/>
                <a:gd name="T4" fmla="*/ 45 w 328"/>
                <a:gd name="T5" fmla="*/ 296 h 299"/>
                <a:gd name="T6" fmla="*/ 40 w 328"/>
                <a:gd name="T7" fmla="*/ 276 h 299"/>
                <a:gd name="T8" fmla="*/ 60 w 328"/>
                <a:gd name="T9" fmla="*/ 265 h 299"/>
                <a:gd name="T10" fmla="*/ 54 w 328"/>
                <a:gd name="T11" fmla="*/ 259 h 299"/>
                <a:gd name="T12" fmla="*/ 47 w 328"/>
                <a:gd name="T13" fmla="*/ 266 h 299"/>
                <a:gd name="T14" fmla="*/ 48 w 328"/>
                <a:gd name="T15" fmla="*/ 275 h 299"/>
                <a:gd name="T16" fmla="*/ 61 w 328"/>
                <a:gd name="T17" fmla="*/ 271 h 299"/>
                <a:gd name="T18" fmla="*/ 70 w 328"/>
                <a:gd name="T19" fmla="*/ 277 h 299"/>
                <a:gd name="T20" fmla="*/ 72 w 328"/>
                <a:gd name="T21" fmla="*/ 271 h 299"/>
                <a:gd name="T22" fmla="*/ 47 w 328"/>
                <a:gd name="T23" fmla="*/ 243 h 299"/>
                <a:gd name="T24" fmla="*/ 59 w 328"/>
                <a:gd name="T25" fmla="*/ 256 h 299"/>
                <a:gd name="T26" fmla="*/ 48 w 328"/>
                <a:gd name="T27" fmla="*/ 243 h 299"/>
                <a:gd name="T28" fmla="*/ 40 w 328"/>
                <a:gd name="T29" fmla="*/ 248 h 299"/>
                <a:gd name="T30" fmla="*/ 45 w 328"/>
                <a:gd name="T31" fmla="*/ 256 h 299"/>
                <a:gd name="T32" fmla="*/ 37 w 328"/>
                <a:gd name="T33" fmla="*/ 236 h 299"/>
                <a:gd name="T34" fmla="*/ 49 w 328"/>
                <a:gd name="T35" fmla="*/ 235 h 299"/>
                <a:gd name="T36" fmla="*/ 5 w 328"/>
                <a:gd name="T37" fmla="*/ 212 h 299"/>
                <a:gd name="T38" fmla="*/ 1 w 328"/>
                <a:gd name="T39" fmla="*/ 207 h 299"/>
                <a:gd name="T40" fmla="*/ 7 w 328"/>
                <a:gd name="T41" fmla="*/ 204 h 299"/>
                <a:gd name="T42" fmla="*/ 3 w 328"/>
                <a:gd name="T43" fmla="*/ 196 h 299"/>
                <a:gd name="T44" fmla="*/ 14 w 328"/>
                <a:gd name="T45" fmla="*/ 198 h 299"/>
                <a:gd name="T46" fmla="*/ 7 w 328"/>
                <a:gd name="T47" fmla="*/ 197 h 299"/>
                <a:gd name="T48" fmla="*/ 22 w 328"/>
                <a:gd name="T49" fmla="*/ 196 h 299"/>
                <a:gd name="T50" fmla="*/ 24 w 328"/>
                <a:gd name="T51" fmla="*/ 186 h 299"/>
                <a:gd name="T52" fmla="*/ 17 w 328"/>
                <a:gd name="T53" fmla="*/ 188 h 299"/>
                <a:gd name="T54" fmla="*/ 26 w 328"/>
                <a:gd name="T55" fmla="*/ 207 h 299"/>
                <a:gd name="T56" fmla="*/ 33 w 328"/>
                <a:gd name="T57" fmla="*/ 215 h 299"/>
                <a:gd name="T58" fmla="*/ 29 w 328"/>
                <a:gd name="T59" fmla="*/ 209 h 299"/>
                <a:gd name="T60" fmla="*/ 27 w 328"/>
                <a:gd name="T61" fmla="*/ 203 h 299"/>
                <a:gd name="T62" fmla="*/ 26 w 328"/>
                <a:gd name="T63" fmla="*/ 201 h 299"/>
                <a:gd name="T64" fmla="*/ 23 w 328"/>
                <a:gd name="T65" fmla="*/ 204 h 299"/>
                <a:gd name="T66" fmla="*/ 38 w 328"/>
                <a:gd name="T67" fmla="*/ 197 h 299"/>
                <a:gd name="T68" fmla="*/ 45 w 328"/>
                <a:gd name="T69" fmla="*/ 196 h 299"/>
                <a:gd name="T70" fmla="*/ 44 w 328"/>
                <a:gd name="T71" fmla="*/ 202 h 299"/>
                <a:gd name="T72" fmla="*/ 55 w 328"/>
                <a:gd name="T73" fmla="*/ 207 h 299"/>
                <a:gd name="T74" fmla="*/ 59 w 328"/>
                <a:gd name="T75" fmla="*/ 203 h 299"/>
                <a:gd name="T76" fmla="*/ 57 w 328"/>
                <a:gd name="T77" fmla="*/ 202 h 299"/>
                <a:gd name="T78" fmla="*/ 55 w 328"/>
                <a:gd name="T79" fmla="*/ 190 h 299"/>
                <a:gd name="T80" fmla="*/ 50 w 328"/>
                <a:gd name="T81" fmla="*/ 185 h 299"/>
                <a:gd name="T82" fmla="*/ 43 w 328"/>
                <a:gd name="T83" fmla="*/ 185 h 299"/>
                <a:gd name="T84" fmla="*/ 36 w 328"/>
                <a:gd name="T85" fmla="*/ 189 h 299"/>
                <a:gd name="T86" fmla="*/ 67 w 328"/>
                <a:gd name="T87" fmla="*/ 197 h 299"/>
                <a:gd name="T88" fmla="*/ 67 w 328"/>
                <a:gd name="T89" fmla="*/ 197 h 299"/>
                <a:gd name="T90" fmla="*/ 60 w 328"/>
                <a:gd name="T91" fmla="*/ 210 h 299"/>
                <a:gd name="T92" fmla="*/ 54 w 328"/>
                <a:gd name="T93" fmla="*/ 214 h 299"/>
                <a:gd name="T94" fmla="*/ 28 w 328"/>
                <a:gd name="T95" fmla="*/ 92 h 299"/>
                <a:gd name="T96" fmla="*/ 123 w 328"/>
                <a:gd name="T97" fmla="*/ 86 h 299"/>
                <a:gd name="T98" fmla="*/ 127 w 328"/>
                <a:gd name="T99" fmla="*/ 76 h 299"/>
                <a:gd name="T100" fmla="*/ 123 w 328"/>
                <a:gd name="T101" fmla="*/ 86 h 299"/>
                <a:gd name="T102" fmla="*/ 152 w 328"/>
                <a:gd name="T103" fmla="*/ 56 h 299"/>
                <a:gd name="T104" fmla="*/ 156 w 328"/>
                <a:gd name="T105" fmla="*/ 56 h 299"/>
                <a:gd name="T106" fmla="*/ 260 w 328"/>
                <a:gd name="T107" fmla="*/ 18 h 299"/>
                <a:gd name="T108" fmla="*/ 276 w 328"/>
                <a:gd name="T109" fmla="*/ 28 h 299"/>
                <a:gd name="T110" fmla="*/ 271 w 328"/>
                <a:gd name="T111" fmla="*/ 37 h 299"/>
                <a:gd name="T112" fmla="*/ 284 w 328"/>
                <a:gd name="T113" fmla="*/ 22 h 299"/>
                <a:gd name="T114" fmla="*/ 275 w 328"/>
                <a:gd name="T115" fmla="*/ 4 h 299"/>
                <a:gd name="T116" fmla="*/ 259 w 328"/>
                <a:gd name="T117" fmla="*/ 14 h 299"/>
                <a:gd name="T118" fmla="*/ 312 w 328"/>
                <a:gd name="T119" fmla="*/ 75 h 299"/>
                <a:gd name="T120" fmla="*/ 327 w 328"/>
                <a:gd name="T121" fmla="*/ 10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299">
                  <a:moveTo>
                    <a:pt x="34" y="289"/>
                  </a:moveTo>
                  <a:cubicBezTo>
                    <a:pt x="33" y="288"/>
                    <a:pt x="32" y="287"/>
                    <a:pt x="32" y="286"/>
                  </a:cubicBezTo>
                  <a:cubicBezTo>
                    <a:pt x="33" y="286"/>
                    <a:pt x="33" y="285"/>
                    <a:pt x="33" y="285"/>
                  </a:cubicBezTo>
                  <a:cubicBezTo>
                    <a:pt x="33" y="284"/>
                    <a:pt x="33" y="283"/>
                    <a:pt x="34" y="283"/>
                  </a:cubicBezTo>
                  <a:cubicBezTo>
                    <a:pt x="34" y="282"/>
                    <a:pt x="34" y="282"/>
                    <a:pt x="35" y="282"/>
                  </a:cubicBezTo>
                  <a:cubicBezTo>
                    <a:pt x="36" y="281"/>
                    <a:pt x="36" y="281"/>
                    <a:pt x="36" y="281"/>
                  </a:cubicBezTo>
                  <a:cubicBezTo>
                    <a:pt x="36" y="280"/>
                    <a:pt x="36" y="280"/>
                    <a:pt x="36" y="280"/>
                  </a:cubicBezTo>
                  <a:cubicBezTo>
                    <a:pt x="37" y="280"/>
                    <a:pt x="37" y="281"/>
                    <a:pt x="37" y="281"/>
                  </a:cubicBezTo>
                  <a:cubicBezTo>
                    <a:pt x="37" y="282"/>
                    <a:pt x="36" y="282"/>
                    <a:pt x="36" y="283"/>
                  </a:cubicBezTo>
                  <a:cubicBezTo>
                    <a:pt x="36" y="284"/>
                    <a:pt x="36" y="284"/>
                    <a:pt x="37" y="284"/>
                  </a:cubicBezTo>
                  <a:cubicBezTo>
                    <a:pt x="38" y="285"/>
                    <a:pt x="38" y="285"/>
                    <a:pt x="38" y="284"/>
                  </a:cubicBezTo>
                  <a:cubicBezTo>
                    <a:pt x="38" y="283"/>
                    <a:pt x="38" y="282"/>
                    <a:pt x="39" y="283"/>
                  </a:cubicBezTo>
                  <a:cubicBezTo>
                    <a:pt x="40" y="283"/>
                    <a:pt x="40" y="283"/>
                    <a:pt x="41" y="283"/>
                  </a:cubicBezTo>
                  <a:cubicBezTo>
                    <a:pt x="42" y="283"/>
                    <a:pt x="43" y="282"/>
                    <a:pt x="43" y="280"/>
                  </a:cubicBezTo>
                  <a:cubicBezTo>
                    <a:pt x="43" y="280"/>
                    <a:pt x="43" y="279"/>
                    <a:pt x="44" y="279"/>
                  </a:cubicBezTo>
                  <a:cubicBezTo>
                    <a:pt x="44" y="279"/>
                    <a:pt x="45" y="278"/>
                    <a:pt x="46" y="279"/>
                  </a:cubicBezTo>
                  <a:cubicBezTo>
                    <a:pt x="46" y="279"/>
                    <a:pt x="47" y="280"/>
                    <a:pt x="47" y="280"/>
                  </a:cubicBezTo>
                  <a:cubicBezTo>
                    <a:pt x="48" y="280"/>
                    <a:pt x="49" y="281"/>
                    <a:pt x="49" y="281"/>
                  </a:cubicBezTo>
                  <a:cubicBezTo>
                    <a:pt x="50" y="282"/>
                    <a:pt x="51" y="283"/>
                    <a:pt x="51" y="284"/>
                  </a:cubicBezTo>
                  <a:cubicBezTo>
                    <a:pt x="52" y="285"/>
                    <a:pt x="53" y="285"/>
                    <a:pt x="53" y="286"/>
                  </a:cubicBezTo>
                  <a:cubicBezTo>
                    <a:pt x="54" y="287"/>
                    <a:pt x="53" y="287"/>
                    <a:pt x="52" y="288"/>
                  </a:cubicBezTo>
                  <a:cubicBezTo>
                    <a:pt x="51" y="289"/>
                    <a:pt x="50" y="290"/>
                    <a:pt x="49" y="291"/>
                  </a:cubicBezTo>
                  <a:cubicBezTo>
                    <a:pt x="48" y="293"/>
                    <a:pt x="48" y="295"/>
                    <a:pt x="48" y="297"/>
                  </a:cubicBezTo>
                  <a:cubicBezTo>
                    <a:pt x="47" y="297"/>
                    <a:pt x="46" y="297"/>
                    <a:pt x="45" y="296"/>
                  </a:cubicBezTo>
                  <a:cubicBezTo>
                    <a:pt x="44" y="295"/>
                    <a:pt x="43" y="294"/>
                    <a:pt x="42" y="295"/>
                  </a:cubicBezTo>
                  <a:cubicBezTo>
                    <a:pt x="40" y="296"/>
                    <a:pt x="41" y="297"/>
                    <a:pt x="40" y="298"/>
                  </a:cubicBezTo>
                  <a:cubicBezTo>
                    <a:pt x="40" y="299"/>
                    <a:pt x="39" y="299"/>
                    <a:pt x="39" y="299"/>
                  </a:cubicBezTo>
                  <a:cubicBezTo>
                    <a:pt x="38" y="299"/>
                    <a:pt x="38" y="299"/>
                    <a:pt x="38" y="298"/>
                  </a:cubicBezTo>
                  <a:cubicBezTo>
                    <a:pt x="38" y="297"/>
                    <a:pt x="37" y="296"/>
                    <a:pt x="37" y="295"/>
                  </a:cubicBezTo>
                  <a:cubicBezTo>
                    <a:pt x="36" y="294"/>
                    <a:pt x="36" y="292"/>
                    <a:pt x="36" y="291"/>
                  </a:cubicBezTo>
                  <a:cubicBezTo>
                    <a:pt x="36" y="290"/>
                    <a:pt x="34" y="290"/>
                    <a:pt x="34" y="289"/>
                  </a:cubicBezTo>
                  <a:close/>
                  <a:moveTo>
                    <a:pt x="40" y="276"/>
                  </a:moveTo>
                  <a:cubicBezTo>
                    <a:pt x="40" y="277"/>
                    <a:pt x="41" y="277"/>
                    <a:pt x="42" y="277"/>
                  </a:cubicBezTo>
                  <a:cubicBezTo>
                    <a:pt x="43" y="277"/>
                    <a:pt x="43" y="278"/>
                    <a:pt x="44" y="278"/>
                  </a:cubicBezTo>
                  <a:cubicBezTo>
                    <a:pt x="45" y="278"/>
                    <a:pt x="46" y="277"/>
                    <a:pt x="46" y="276"/>
                  </a:cubicBezTo>
                  <a:cubicBezTo>
                    <a:pt x="46" y="275"/>
                    <a:pt x="45" y="276"/>
                    <a:pt x="45" y="276"/>
                  </a:cubicBezTo>
                  <a:cubicBezTo>
                    <a:pt x="44" y="276"/>
                    <a:pt x="43" y="276"/>
                    <a:pt x="42" y="275"/>
                  </a:cubicBezTo>
                  <a:cubicBezTo>
                    <a:pt x="41" y="275"/>
                    <a:pt x="41" y="276"/>
                    <a:pt x="40" y="276"/>
                  </a:cubicBezTo>
                  <a:close/>
                  <a:moveTo>
                    <a:pt x="62" y="267"/>
                  </a:moveTo>
                  <a:cubicBezTo>
                    <a:pt x="61" y="266"/>
                    <a:pt x="61" y="266"/>
                    <a:pt x="60" y="265"/>
                  </a:cubicBezTo>
                  <a:cubicBezTo>
                    <a:pt x="60" y="264"/>
                    <a:pt x="59" y="264"/>
                    <a:pt x="59" y="263"/>
                  </a:cubicBezTo>
                  <a:cubicBezTo>
                    <a:pt x="58" y="263"/>
                    <a:pt x="58" y="263"/>
                    <a:pt x="58" y="263"/>
                  </a:cubicBezTo>
                  <a:cubicBezTo>
                    <a:pt x="57" y="263"/>
                    <a:pt x="57" y="263"/>
                    <a:pt x="57" y="263"/>
                  </a:cubicBezTo>
                  <a:cubicBezTo>
                    <a:pt x="57" y="264"/>
                    <a:pt x="57" y="264"/>
                    <a:pt x="56" y="264"/>
                  </a:cubicBezTo>
                  <a:cubicBezTo>
                    <a:pt x="56" y="263"/>
                    <a:pt x="56" y="263"/>
                    <a:pt x="56" y="263"/>
                  </a:cubicBezTo>
                  <a:cubicBezTo>
                    <a:pt x="55" y="263"/>
                    <a:pt x="56" y="263"/>
                    <a:pt x="56" y="263"/>
                  </a:cubicBezTo>
                  <a:cubicBezTo>
                    <a:pt x="57" y="263"/>
                    <a:pt x="58" y="262"/>
                    <a:pt x="57" y="261"/>
                  </a:cubicBezTo>
                  <a:cubicBezTo>
                    <a:pt x="56" y="260"/>
                    <a:pt x="55" y="259"/>
                    <a:pt x="54" y="259"/>
                  </a:cubicBezTo>
                  <a:cubicBezTo>
                    <a:pt x="53" y="258"/>
                    <a:pt x="52" y="257"/>
                    <a:pt x="52" y="257"/>
                  </a:cubicBezTo>
                  <a:cubicBezTo>
                    <a:pt x="50" y="257"/>
                    <a:pt x="50" y="257"/>
                    <a:pt x="50" y="257"/>
                  </a:cubicBezTo>
                  <a:cubicBezTo>
                    <a:pt x="50" y="258"/>
                    <a:pt x="50" y="258"/>
                    <a:pt x="50" y="258"/>
                  </a:cubicBezTo>
                  <a:cubicBezTo>
                    <a:pt x="50" y="258"/>
                    <a:pt x="48" y="258"/>
                    <a:pt x="48" y="258"/>
                  </a:cubicBezTo>
                  <a:cubicBezTo>
                    <a:pt x="47" y="259"/>
                    <a:pt x="47" y="260"/>
                    <a:pt x="48" y="261"/>
                  </a:cubicBezTo>
                  <a:cubicBezTo>
                    <a:pt x="48" y="261"/>
                    <a:pt x="48" y="262"/>
                    <a:pt x="48" y="263"/>
                  </a:cubicBezTo>
                  <a:cubicBezTo>
                    <a:pt x="48" y="263"/>
                    <a:pt x="48" y="264"/>
                    <a:pt x="48" y="265"/>
                  </a:cubicBezTo>
                  <a:cubicBezTo>
                    <a:pt x="48" y="265"/>
                    <a:pt x="48" y="266"/>
                    <a:pt x="47" y="266"/>
                  </a:cubicBezTo>
                  <a:cubicBezTo>
                    <a:pt x="46" y="266"/>
                    <a:pt x="45" y="267"/>
                    <a:pt x="45" y="268"/>
                  </a:cubicBezTo>
                  <a:cubicBezTo>
                    <a:pt x="45" y="269"/>
                    <a:pt x="45" y="269"/>
                    <a:pt x="44" y="270"/>
                  </a:cubicBezTo>
                  <a:cubicBezTo>
                    <a:pt x="44" y="270"/>
                    <a:pt x="43" y="271"/>
                    <a:pt x="43" y="272"/>
                  </a:cubicBezTo>
                  <a:cubicBezTo>
                    <a:pt x="42" y="273"/>
                    <a:pt x="43" y="273"/>
                    <a:pt x="44" y="273"/>
                  </a:cubicBezTo>
                  <a:cubicBezTo>
                    <a:pt x="45" y="273"/>
                    <a:pt x="46" y="273"/>
                    <a:pt x="46" y="273"/>
                  </a:cubicBezTo>
                  <a:cubicBezTo>
                    <a:pt x="47" y="273"/>
                    <a:pt x="47" y="273"/>
                    <a:pt x="47" y="274"/>
                  </a:cubicBezTo>
                  <a:cubicBezTo>
                    <a:pt x="47" y="274"/>
                    <a:pt x="47" y="274"/>
                    <a:pt x="47" y="274"/>
                  </a:cubicBezTo>
                  <a:cubicBezTo>
                    <a:pt x="47" y="275"/>
                    <a:pt x="47" y="275"/>
                    <a:pt x="48" y="275"/>
                  </a:cubicBezTo>
                  <a:cubicBezTo>
                    <a:pt x="49" y="275"/>
                    <a:pt x="49" y="275"/>
                    <a:pt x="50" y="274"/>
                  </a:cubicBezTo>
                  <a:cubicBezTo>
                    <a:pt x="50" y="274"/>
                    <a:pt x="51" y="273"/>
                    <a:pt x="51" y="273"/>
                  </a:cubicBezTo>
                  <a:cubicBezTo>
                    <a:pt x="52" y="273"/>
                    <a:pt x="53" y="273"/>
                    <a:pt x="53" y="273"/>
                  </a:cubicBezTo>
                  <a:cubicBezTo>
                    <a:pt x="54" y="273"/>
                    <a:pt x="54" y="273"/>
                    <a:pt x="54" y="272"/>
                  </a:cubicBezTo>
                  <a:cubicBezTo>
                    <a:pt x="55" y="272"/>
                    <a:pt x="55" y="272"/>
                    <a:pt x="55" y="271"/>
                  </a:cubicBezTo>
                  <a:cubicBezTo>
                    <a:pt x="56" y="271"/>
                    <a:pt x="57" y="271"/>
                    <a:pt x="57" y="271"/>
                  </a:cubicBezTo>
                  <a:cubicBezTo>
                    <a:pt x="58" y="270"/>
                    <a:pt x="59" y="270"/>
                    <a:pt x="59" y="270"/>
                  </a:cubicBezTo>
                  <a:cubicBezTo>
                    <a:pt x="60" y="271"/>
                    <a:pt x="60" y="271"/>
                    <a:pt x="61" y="271"/>
                  </a:cubicBezTo>
                  <a:cubicBezTo>
                    <a:pt x="61" y="272"/>
                    <a:pt x="62" y="272"/>
                    <a:pt x="62" y="272"/>
                  </a:cubicBezTo>
                  <a:cubicBezTo>
                    <a:pt x="62" y="272"/>
                    <a:pt x="63" y="273"/>
                    <a:pt x="63" y="273"/>
                  </a:cubicBezTo>
                  <a:cubicBezTo>
                    <a:pt x="63" y="274"/>
                    <a:pt x="64" y="273"/>
                    <a:pt x="65" y="274"/>
                  </a:cubicBezTo>
                  <a:cubicBezTo>
                    <a:pt x="65" y="275"/>
                    <a:pt x="65" y="275"/>
                    <a:pt x="65" y="275"/>
                  </a:cubicBezTo>
                  <a:cubicBezTo>
                    <a:pt x="66" y="275"/>
                    <a:pt x="66" y="275"/>
                    <a:pt x="66" y="275"/>
                  </a:cubicBezTo>
                  <a:cubicBezTo>
                    <a:pt x="66" y="275"/>
                    <a:pt x="67" y="276"/>
                    <a:pt x="67" y="276"/>
                  </a:cubicBezTo>
                  <a:cubicBezTo>
                    <a:pt x="68" y="277"/>
                    <a:pt x="68" y="277"/>
                    <a:pt x="68" y="277"/>
                  </a:cubicBezTo>
                  <a:cubicBezTo>
                    <a:pt x="69" y="277"/>
                    <a:pt x="69" y="277"/>
                    <a:pt x="70" y="277"/>
                  </a:cubicBezTo>
                  <a:cubicBezTo>
                    <a:pt x="71" y="278"/>
                    <a:pt x="72" y="278"/>
                    <a:pt x="73" y="278"/>
                  </a:cubicBezTo>
                  <a:cubicBezTo>
                    <a:pt x="72" y="277"/>
                    <a:pt x="72" y="277"/>
                    <a:pt x="72" y="277"/>
                  </a:cubicBezTo>
                  <a:cubicBezTo>
                    <a:pt x="72" y="276"/>
                    <a:pt x="72" y="276"/>
                    <a:pt x="72" y="276"/>
                  </a:cubicBezTo>
                  <a:cubicBezTo>
                    <a:pt x="72" y="275"/>
                    <a:pt x="72" y="275"/>
                    <a:pt x="73" y="275"/>
                  </a:cubicBezTo>
                  <a:cubicBezTo>
                    <a:pt x="75" y="275"/>
                    <a:pt x="76" y="277"/>
                    <a:pt x="78" y="276"/>
                  </a:cubicBezTo>
                  <a:cubicBezTo>
                    <a:pt x="78" y="276"/>
                    <a:pt x="78" y="275"/>
                    <a:pt x="77" y="275"/>
                  </a:cubicBezTo>
                  <a:cubicBezTo>
                    <a:pt x="76" y="275"/>
                    <a:pt x="75" y="275"/>
                    <a:pt x="74" y="274"/>
                  </a:cubicBezTo>
                  <a:cubicBezTo>
                    <a:pt x="73" y="273"/>
                    <a:pt x="72" y="272"/>
                    <a:pt x="72" y="271"/>
                  </a:cubicBezTo>
                  <a:cubicBezTo>
                    <a:pt x="71" y="270"/>
                    <a:pt x="70" y="269"/>
                    <a:pt x="69" y="269"/>
                  </a:cubicBezTo>
                  <a:cubicBezTo>
                    <a:pt x="69" y="268"/>
                    <a:pt x="68" y="267"/>
                    <a:pt x="67" y="267"/>
                  </a:cubicBezTo>
                  <a:cubicBezTo>
                    <a:pt x="67" y="266"/>
                    <a:pt x="67" y="267"/>
                    <a:pt x="67" y="268"/>
                  </a:cubicBezTo>
                  <a:cubicBezTo>
                    <a:pt x="67" y="268"/>
                    <a:pt x="67" y="269"/>
                    <a:pt x="67" y="270"/>
                  </a:cubicBezTo>
                  <a:cubicBezTo>
                    <a:pt x="66" y="270"/>
                    <a:pt x="65" y="270"/>
                    <a:pt x="64" y="270"/>
                  </a:cubicBezTo>
                  <a:cubicBezTo>
                    <a:pt x="64" y="270"/>
                    <a:pt x="63" y="269"/>
                    <a:pt x="62" y="268"/>
                  </a:cubicBezTo>
                  <a:cubicBezTo>
                    <a:pt x="62" y="268"/>
                    <a:pt x="62" y="267"/>
                    <a:pt x="62" y="267"/>
                  </a:cubicBezTo>
                  <a:close/>
                  <a:moveTo>
                    <a:pt x="47" y="243"/>
                  </a:moveTo>
                  <a:cubicBezTo>
                    <a:pt x="47" y="244"/>
                    <a:pt x="47" y="244"/>
                    <a:pt x="47" y="244"/>
                  </a:cubicBezTo>
                  <a:cubicBezTo>
                    <a:pt x="47" y="245"/>
                    <a:pt x="48" y="247"/>
                    <a:pt x="48" y="247"/>
                  </a:cubicBezTo>
                  <a:cubicBezTo>
                    <a:pt x="49" y="248"/>
                    <a:pt x="50" y="249"/>
                    <a:pt x="51" y="250"/>
                  </a:cubicBezTo>
                  <a:cubicBezTo>
                    <a:pt x="52" y="251"/>
                    <a:pt x="53" y="252"/>
                    <a:pt x="54" y="253"/>
                  </a:cubicBezTo>
                  <a:cubicBezTo>
                    <a:pt x="55" y="254"/>
                    <a:pt x="55" y="254"/>
                    <a:pt x="56" y="254"/>
                  </a:cubicBezTo>
                  <a:cubicBezTo>
                    <a:pt x="57" y="255"/>
                    <a:pt x="57" y="255"/>
                    <a:pt x="57" y="255"/>
                  </a:cubicBezTo>
                  <a:cubicBezTo>
                    <a:pt x="57" y="256"/>
                    <a:pt x="58" y="256"/>
                    <a:pt x="58" y="256"/>
                  </a:cubicBezTo>
                  <a:cubicBezTo>
                    <a:pt x="58" y="257"/>
                    <a:pt x="59" y="256"/>
                    <a:pt x="59" y="256"/>
                  </a:cubicBezTo>
                  <a:cubicBezTo>
                    <a:pt x="59" y="256"/>
                    <a:pt x="60" y="255"/>
                    <a:pt x="60" y="255"/>
                  </a:cubicBezTo>
                  <a:cubicBezTo>
                    <a:pt x="59" y="254"/>
                    <a:pt x="59" y="254"/>
                    <a:pt x="58" y="254"/>
                  </a:cubicBezTo>
                  <a:cubicBezTo>
                    <a:pt x="58" y="254"/>
                    <a:pt x="58" y="254"/>
                    <a:pt x="58" y="254"/>
                  </a:cubicBezTo>
                  <a:cubicBezTo>
                    <a:pt x="57" y="253"/>
                    <a:pt x="57" y="253"/>
                    <a:pt x="57" y="253"/>
                  </a:cubicBezTo>
                  <a:cubicBezTo>
                    <a:pt x="57" y="253"/>
                    <a:pt x="56" y="252"/>
                    <a:pt x="56" y="252"/>
                  </a:cubicBezTo>
                  <a:cubicBezTo>
                    <a:pt x="56" y="251"/>
                    <a:pt x="55" y="251"/>
                    <a:pt x="55" y="250"/>
                  </a:cubicBezTo>
                  <a:cubicBezTo>
                    <a:pt x="53" y="248"/>
                    <a:pt x="52" y="247"/>
                    <a:pt x="50" y="245"/>
                  </a:cubicBezTo>
                  <a:cubicBezTo>
                    <a:pt x="50" y="244"/>
                    <a:pt x="49" y="244"/>
                    <a:pt x="48" y="243"/>
                  </a:cubicBezTo>
                  <a:cubicBezTo>
                    <a:pt x="48" y="243"/>
                    <a:pt x="47" y="243"/>
                    <a:pt x="47" y="243"/>
                  </a:cubicBezTo>
                  <a:close/>
                  <a:moveTo>
                    <a:pt x="45" y="251"/>
                  </a:moveTo>
                  <a:cubicBezTo>
                    <a:pt x="44" y="250"/>
                    <a:pt x="44" y="250"/>
                    <a:pt x="43" y="249"/>
                  </a:cubicBezTo>
                  <a:cubicBezTo>
                    <a:pt x="43" y="249"/>
                    <a:pt x="42" y="249"/>
                    <a:pt x="42" y="249"/>
                  </a:cubicBezTo>
                  <a:cubicBezTo>
                    <a:pt x="42" y="250"/>
                    <a:pt x="43" y="251"/>
                    <a:pt x="42" y="251"/>
                  </a:cubicBezTo>
                  <a:cubicBezTo>
                    <a:pt x="41" y="252"/>
                    <a:pt x="41" y="250"/>
                    <a:pt x="41" y="250"/>
                  </a:cubicBezTo>
                  <a:cubicBezTo>
                    <a:pt x="40" y="249"/>
                    <a:pt x="40" y="249"/>
                    <a:pt x="40" y="249"/>
                  </a:cubicBezTo>
                  <a:cubicBezTo>
                    <a:pt x="40" y="249"/>
                    <a:pt x="40" y="248"/>
                    <a:pt x="40" y="248"/>
                  </a:cubicBezTo>
                  <a:cubicBezTo>
                    <a:pt x="39" y="248"/>
                    <a:pt x="39" y="248"/>
                    <a:pt x="39" y="248"/>
                  </a:cubicBezTo>
                  <a:cubicBezTo>
                    <a:pt x="38" y="248"/>
                    <a:pt x="39" y="248"/>
                    <a:pt x="39" y="248"/>
                  </a:cubicBezTo>
                  <a:cubicBezTo>
                    <a:pt x="39" y="249"/>
                    <a:pt x="40" y="250"/>
                    <a:pt x="40" y="251"/>
                  </a:cubicBezTo>
                  <a:cubicBezTo>
                    <a:pt x="41" y="251"/>
                    <a:pt x="41" y="252"/>
                    <a:pt x="41" y="252"/>
                  </a:cubicBezTo>
                  <a:cubicBezTo>
                    <a:pt x="42" y="253"/>
                    <a:pt x="42" y="253"/>
                    <a:pt x="43" y="254"/>
                  </a:cubicBezTo>
                  <a:cubicBezTo>
                    <a:pt x="44" y="255"/>
                    <a:pt x="44" y="255"/>
                    <a:pt x="44" y="255"/>
                  </a:cubicBezTo>
                  <a:cubicBezTo>
                    <a:pt x="44" y="255"/>
                    <a:pt x="45" y="255"/>
                    <a:pt x="45" y="256"/>
                  </a:cubicBezTo>
                  <a:cubicBezTo>
                    <a:pt x="45" y="256"/>
                    <a:pt x="45" y="256"/>
                    <a:pt x="45" y="256"/>
                  </a:cubicBezTo>
                  <a:cubicBezTo>
                    <a:pt x="46" y="256"/>
                    <a:pt x="46" y="256"/>
                    <a:pt x="46" y="256"/>
                  </a:cubicBezTo>
                  <a:cubicBezTo>
                    <a:pt x="46" y="255"/>
                    <a:pt x="46" y="255"/>
                    <a:pt x="47" y="254"/>
                  </a:cubicBezTo>
                  <a:cubicBezTo>
                    <a:pt x="47" y="254"/>
                    <a:pt x="46" y="253"/>
                    <a:pt x="46" y="252"/>
                  </a:cubicBezTo>
                  <a:cubicBezTo>
                    <a:pt x="45" y="252"/>
                    <a:pt x="45" y="251"/>
                    <a:pt x="45" y="251"/>
                  </a:cubicBezTo>
                  <a:close/>
                  <a:moveTo>
                    <a:pt x="41" y="237"/>
                  </a:moveTo>
                  <a:cubicBezTo>
                    <a:pt x="40" y="237"/>
                    <a:pt x="40" y="237"/>
                    <a:pt x="39" y="236"/>
                  </a:cubicBezTo>
                  <a:cubicBezTo>
                    <a:pt x="38" y="235"/>
                    <a:pt x="38" y="235"/>
                    <a:pt x="38" y="235"/>
                  </a:cubicBezTo>
                  <a:cubicBezTo>
                    <a:pt x="38" y="235"/>
                    <a:pt x="38" y="235"/>
                    <a:pt x="37" y="236"/>
                  </a:cubicBezTo>
                  <a:cubicBezTo>
                    <a:pt x="37" y="236"/>
                    <a:pt x="38" y="236"/>
                    <a:pt x="38" y="237"/>
                  </a:cubicBezTo>
                  <a:cubicBezTo>
                    <a:pt x="38" y="238"/>
                    <a:pt x="38" y="238"/>
                    <a:pt x="38" y="238"/>
                  </a:cubicBezTo>
                  <a:cubicBezTo>
                    <a:pt x="39" y="239"/>
                    <a:pt x="39" y="239"/>
                    <a:pt x="39" y="239"/>
                  </a:cubicBezTo>
                  <a:cubicBezTo>
                    <a:pt x="40" y="239"/>
                    <a:pt x="41" y="240"/>
                    <a:pt x="42" y="240"/>
                  </a:cubicBezTo>
                  <a:cubicBezTo>
                    <a:pt x="42" y="239"/>
                    <a:pt x="42" y="239"/>
                    <a:pt x="42" y="239"/>
                  </a:cubicBezTo>
                  <a:cubicBezTo>
                    <a:pt x="42" y="239"/>
                    <a:pt x="42" y="239"/>
                    <a:pt x="42" y="238"/>
                  </a:cubicBezTo>
                  <a:cubicBezTo>
                    <a:pt x="42" y="238"/>
                    <a:pt x="41" y="238"/>
                    <a:pt x="41" y="237"/>
                  </a:cubicBezTo>
                  <a:close/>
                  <a:moveTo>
                    <a:pt x="49" y="235"/>
                  </a:moveTo>
                  <a:cubicBezTo>
                    <a:pt x="50" y="234"/>
                    <a:pt x="50" y="234"/>
                    <a:pt x="50" y="234"/>
                  </a:cubicBezTo>
                  <a:cubicBezTo>
                    <a:pt x="50" y="233"/>
                    <a:pt x="50" y="233"/>
                    <a:pt x="50" y="233"/>
                  </a:cubicBezTo>
                  <a:cubicBezTo>
                    <a:pt x="50" y="233"/>
                    <a:pt x="48" y="232"/>
                    <a:pt x="48" y="233"/>
                  </a:cubicBezTo>
                  <a:cubicBezTo>
                    <a:pt x="48" y="233"/>
                    <a:pt x="48" y="233"/>
                    <a:pt x="48" y="233"/>
                  </a:cubicBezTo>
                  <a:cubicBezTo>
                    <a:pt x="49" y="233"/>
                    <a:pt x="49" y="234"/>
                    <a:pt x="49" y="234"/>
                  </a:cubicBezTo>
                  <a:lnTo>
                    <a:pt x="49" y="235"/>
                  </a:lnTo>
                  <a:close/>
                  <a:moveTo>
                    <a:pt x="2" y="209"/>
                  </a:moveTo>
                  <a:cubicBezTo>
                    <a:pt x="3" y="210"/>
                    <a:pt x="4" y="211"/>
                    <a:pt x="5" y="212"/>
                  </a:cubicBezTo>
                  <a:cubicBezTo>
                    <a:pt x="6" y="212"/>
                    <a:pt x="6" y="212"/>
                    <a:pt x="7" y="211"/>
                  </a:cubicBezTo>
                  <a:cubicBezTo>
                    <a:pt x="7" y="211"/>
                    <a:pt x="7" y="210"/>
                    <a:pt x="7" y="210"/>
                  </a:cubicBezTo>
                  <a:cubicBezTo>
                    <a:pt x="7" y="209"/>
                    <a:pt x="7" y="208"/>
                    <a:pt x="6" y="208"/>
                  </a:cubicBezTo>
                  <a:cubicBezTo>
                    <a:pt x="6" y="207"/>
                    <a:pt x="5" y="206"/>
                    <a:pt x="4" y="205"/>
                  </a:cubicBezTo>
                  <a:cubicBezTo>
                    <a:pt x="4" y="204"/>
                    <a:pt x="4" y="204"/>
                    <a:pt x="4" y="204"/>
                  </a:cubicBezTo>
                  <a:cubicBezTo>
                    <a:pt x="3" y="204"/>
                    <a:pt x="2" y="204"/>
                    <a:pt x="1" y="204"/>
                  </a:cubicBezTo>
                  <a:cubicBezTo>
                    <a:pt x="1" y="204"/>
                    <a:pt x="1" y="205"/>
                    <a:pt x="0" y="205"/>
                  </a:cubicBezTo>
                  <a:cubicBezTo>
                    <a:pt x="0" y="206"/>
                    <a:pt x="0" y="207"/>
                    <a:pt x="1" y="207"/>
                  </a:cubicBezTo>
                  <a:cubicBezTo>
                    <a:pt x="1" y="208"/>
                    <a:pt x="2" y="208"/>
                    <a:pt x="2" y="209"/>
                  </a:cubicBezTo>
                  <a:close/>
                  <a:moveTo>
                    <a:pt x="7" y="206"/>
                  </a:moveTo>
                  <a:cubicBezTo>
                    <a:pt x="8" y="207"/>
                    <a:pt x="8" y="207"/>
                    <a:pt x="9" y="208"/>
                  </a:cubicBezTo>
                  <a:cubicBezTo>
                    <a:pt x="9" y="209"/>
                    <a:pt x="11" y="210"/>
                    <a:pt x="12" y="211"/>
                  </a:cubicBezTo>
                  <a:cubicBezTo>
                    <a:pt x="12" y="211"/>
                    <a:pt x="13" y="211"/>
                    <a:pt x="13" y="211"/>
                  </a:cubicBezTo>
                  <a:cubicBezTo>
                    <a:pt x="14" y="210"/>
                    <a:pt x="13" y="210"/>
                    <a:pt x="13" y="209"/>
                  </a:cubicBezTo>
                  <a:cubicBezTo>
                    <a:pt x="12" y="207"/>
                    <a:pt x="10" y="206"/>
                    <a:pt x="9" y="205"/>
                  </a:cubicBezTo>
                  <a:cubicBezTo>
                    <a:pt x="8" y="204"/>
                    <a:pt x="8" y="204"/>
                    <a:pt x="7" y="204"/>
                  </a:cubicBezTo>
                  <a:cubicBezTo>
                    <a:pt x="6" y="204"/>
                    <a:pt x="6" y="204"/>
                    <a:pt x="6" y="204"/>
                  </a:cubicBezTo>
                  <a:cubicBezTo>
                    <a:pt x="6" y="205"/>
                    <a:pt x="6" y="205"/>
                    <a:pt x="6" y="205"/>
                  </a:cubicBezTo>
                  <a:cubicBezTo>
                    <a:pt x="6" y="205"/>
                    <a:pt x="7" y="206"/>
                    <a:pt x="7" y="206"/>
                  </a:cubicBezTo>
                  <a:close/>
                  <a:moveTo>
                    <a:pt x="5" y="198"/>
                  </a:moveTo>
                  <a:cubicBezTo>
                    <a:pt x="5" y="197"/>
                    <a:pt x="5" y="197"/>
                    <a:pt x="4" y="196"/>
                  </a:cubicBezTo>
                  <a:cubicBezTo>
                    <a:pt x="4" y="196"/>
                    <a:pt x="4" y="195"/>
                    <a:pt x="4" y="195"/>
                  </a:cubicBezTo>
                  <a:cubicBezTo>
                    <a:pt x="4" y="194"/>
                    <a:pt x="3" y="194"/>
                    <a:pt x="3" y="195"/>
                  </a:cubicBezTo>
                  <a:cubicBezTo>
                    <a:pt x="2" y="195"/>
                    <a:pt x="2" y="196"/>
                    <a:pt x="3" y="196"/>
                  </a:cubicBezTo>
                  <a:cubicBezTo>
                    <a:pt x="3" y="197"/>
                    <a:pt x="4" y="198"/>
                    <a:pt x="5" y="198"/>
                  </a:cubicBezTo>
                  <a:close/>
                  <a:moveTo>
                    <a:pt x="7" y="198"/>
                  </a:moveTo>
                  <a:cubicBezTo>
                    <a:pt x="8" y="199"/>
                    <a:pt x="8" y="199"/>
                    <a:pt x="9" y="200"/>
                  </a:cubicBezTo>
                  <a:cubicBezTo>
                    <a:pt x="10" y="200"/>
                    <a:pt x="11" y="201"/>
                    <a:pt x="12" y="201"/>
                  </a:cubicBezTo>
                  <a:cubicBezTo>
                    <a:pt x="12" y="202"/>
                    <a:pt x="13" y="203"/>
                    <a:pt x="14" y="202"/>
                  </a:cubicBezTo>
                  <a:cubicBezTo>
                    <a:pt x="14" y="202"/>
                    <a:pt x="14" y="201"/>
                    <a:pt x="14" y="201"/>
                  </a:cubicBezTo>
                  <a:cubicBezTo>
                    <a:pt x="15" y="200"/>
                    <a:pt x="15" y="200"/>
                    <a:pt x="15" y="200"/>
                  </a:cubicBezTo>
                  <a:cubicBezTo>
                    <a:pt x="15" y="199"/>
                    <a:pt x="14" y="198"/>
                    <a:pt x="14" y="198"/>
                  </a:cubicBezTo>
                  <a:cubicBezTo>
                    <a:pt x="13" y="197"/>
                    <a:pt x="12" y="197"/>
                    <a:pt x="11" y="196"/>
                  </a:cubicBezTo>
                  <a:cubicBezTo>
                    <a:pt x="11" y="196"/>
                    <a:pt x="10" y="195"/>
                    <a:pt x="10" y="195"/>
                  </a:cubicBezTo>
                  <a:cubicBezTo>
                    <a:pt x="9" y="194"/>
                    <a:pt x="9" y="194"/>
                    <a:pt x="9" y="194"/>
                  </a:cubicBezTo>
                  <a:cubicBezTo>
                    <a:pt x="9" y="194"/>
                    <a:pt x="8" y="193"/>
                    <a:pt x="8" y="194"/>
                  </a:cubicBezTo>
                  <a:cubicBezTo>
                    <a:pt x="7" y="194"/>
                    <a:pt x="7" y="194"/>
                    <a:pt x="7" y="194"/>
                  </a:cubicBezTo>
                  <a:cubicBezTo>
                    <a:pt x="7" y="195"/>
                    <a:pt x="8" y="195"/>
                    <a:pt x="8" y="196"/>
                  </a:cubicBezTo>
                  <a:cubicBezTo>
                    <a:pt x="8" y="196"/>
                    <a:pt x="7" y="196"/>
                    <a:pt x="7" y="197"/>
                  </a:cubicBezTo>
                  <a:cubicBezTo>
                    <a:pt x="7" y="197"/>
                    <a:pt x="7" y="197"/>
                    <a:pt x="7" y="197"/>
                  </a:cubicBezTo>
                  <a:lnTo>
                    <a:pt x="7" y="198"/>
                  </a:lnTo>
                  <a:close/>
                  <a:moveTo>
                    <a:pt x="13" y="193"/>
                  </a:moveTo>
                  <a:cubicBezTo>
                    <a:pt x="13" y="194"/>
                    <a:pt x="13" y="194"/>
                    <a:pt x="13" y="195"/>
                  </a:cubicBezTo>
                  <a:cubicBezTo>
                    <a:pt x="14" y="195"/>
                    <a:pt x="15" y="195"/>
                    <a:pt x="16" y="196"/>
                  </a:cubicBezTo>
                  <a:cubicBezTo>
                    <a:pt x="16" y="196"/>
                    <a:pt x="17" y="196"/>
                    <a:pt x="17" y="197"/>
                  </a:cubicBezTo>
                  <a:cubicBezTo>
                    <a:pt x="18" y="197"/>
                    <a:pt x="18" y="197"/>
                    <a:pt x="18" y="197"/>
                  </a:cubicBezTo>
                  <a:cubicBezTo>
                    <a:pt x="19" y="197"/>
                    <a:pt x="19" y="197"/>
                    <a:pt x="20" y="197"/>
                  </a:cubicBezTo>
                  <a:cubicBezTo>
                    <a:pt x="21" y="198"/>
                    <a:pt x="22" y="197"/>
                    <a:pt x="22" y="196"/>
                  </a:cubicBezTo>
                  <a:cubicBezTo>
                    <a:pt x="22" y="195"/>
                    <a:pt x="21" y="195"/>
                    <a:pt x="21" y="195"/>
                  </a:cubicBezTo>
                  <a:cubicBezTo>
                    <a:pt x="21" y="194"/>
                    <a:pt x="20" y="194"/>
                    <a:pt x="20" y="193"/>
                  </a:cubicBezTo>
                  <a:cubicBezTo>
                    <a:pt x="20" y="193"/>
                    <a:pt x="21" y="192"/>
                    <a:pt x="21" y="192"/>
                  </a:cubicBezTo>
                  <a:cubicBezTo>
                    <a:pt x="22" y="193"/>
                    <a:pt x="23" y="193"/>
                    <a:pt x="23" y="194"/>
                  </a:cubicBezTo>
                  <a:cubicBezTo>
                    <a:pt x="24" y="194"/>
                    <a:pt x="25" y="194"/>
                    <a:pt x="25" y="194"/>
                  </a:cubicBezTo>
                  <a:cubicBezTo>
                    <a:pt x="25" y="193"/>
                    <a:pt x="25" y="193"/>
                    <a:pt x="25" y="192"/>
                  </a:cubicBezTo>
                  <a:cubicBezTo>
                    <a:pt x="25" y="191"/>
                    <a:pt x="26" y="190"/>
                    <a:pt x="25" y="189"/>
                  </a:cubicBezTo>
                  <a:cubicBezTo>
                    <a:pt x="25" y="188"/>
                    <a:pt x="24" y="187"/>
                    <a:pt x="24" y="186"/>
                  </a:cubicBezTo>
                  <a:cubicBezTo>
                    <a:pt x="23" y="186"/>
                    <a:pt x="23" y="186"/>
                    <a:pt x="22" y="186"/>
                  </a:cubicBezTo>
                  <a:cubicBezTo>
                    <a:pt x="21" y="186"/>
                    <a:pt x="21" y="186"/>
                    <a:pt x="22" y="186"/>
                  </a:cubicBezTo>
                  <a:cubicBezTo>
                    <a:pt x="22" y="187"/>
                    <a:pt x="22" y="188"/>
                    <a:pt x="22" y="188"/>
                  </a:cubicBezTo>
                  <a:cubicBezTo>
                    <a:pt x="21" y="189"/>
                    <a:pt x="21" y="188"/>
                    <a:pt x="20" y="188"/>
                  </a:cubicBezTo>
                  <a:cubicBezTo>
                    <a:pt x="20" y="188"/>
                    <a:pt x="20" y="187"/>
                    <a:pt x="19" y="187"/>
                  </a:cubicBezTo>
                  <a:cubicBezTo>
                    <a:pt x="19" y="186"/>
                    <a:pt x="19" y="186"/>
                    <a:pt x="19" y="186"/>
                  </a:cubicBezTo>
                  <a:cubicBezTo>
                    <a:pt x="17" y="186"/>
                    <a:pt x="17" y="186"/>
                    <a:pt x="17" y="186"/>
                  </a:cubicBezTo>
                  <a:cubicBezTo>
                    <a:pt x="17" y="186"/>
                    <a:pt x="17" y="187"/>
                    <a:pt x="17" y="188"/>
                  </a:cubicBezTo>
                  <a:cubicBezTo>
                    <a:pt x="17" y="189"/>
                    <a:pt x="16" y="189"/>
                    <a:pt x="16" y="189"/>
                  </a:cubicBezTo>
                  <a:cubicBezTo>
                    <a:pt x="15" y="189"/>
                    <a:pt x="15" y="189"/>
                    <a:pt x="14" y="189"/>
                  </a:cubicBezTo>
                  <a:cubicBezTo>
                    <a:pt x="13" y="189"/>
                    <a:pt x="13" y="189"/>
                    <a:pt x="13" y="190"/>
                  </a:cubicBezTo>
                  <a:cubicBezTo>
                    <a:pt x="13" y="190"/>
                    <a:pt x="13" y="191"/>
                    <a:pt x="13" y="191"/>
                  </a:cubicBezTo>
                  <a:cubicBezTo>
                    <a:pt x="13" y="192"/>
                    <a:pt x="12" y="192"/>
                    <a:pt x="13" y="193"/>
                  </a:cubicBezTo>
                  <a:close/>
                  <a:moveTo>
                    <a:pt x="23" y="204"/>
                  </a:moveTo>
                  <a:cubicBezTo>
                    <a:pt x="23" y="205"/>
                    <a:pt x="24" y="205"/>
                    <a:pt x="25" y="206"/>
                  </a:cubicBezTo>
                  <a:cubicBezTo>
                    <a:pt x="25" y="206"/>
                    <a:pt x="26" y="207"/>
                    <a:pt x="26" y="207"/>
                  </a:cubicBezTo>
                  <a:cubicBezTo>
                    <a:pt x="27" y="207"/>
                    <a:pt x="27" y="208"/>
                    <a:pt x="27" y="209"/>
                  </a:cubicBezTo>
                  <a:cubicBezTo>
                    <a:pt x="27" y="210"/>
                    <a:pt x="28" y="210"/>
                    <a:pt x="28" y="211"/>
                  </a:cubicBezTo>
                  <a:cubicBezTo>
                    <a:pt x="28" y="213"/>
                    <a:pt x="29" y="214"/>
                    <a:pt x="30" y="216"/>
                  </a:cubicBezTo>
                  <a:cubicBezTo>
                    <a:pt x="30" y="217"/>
                    <a:pt x="31" y="217"/>
                    <a:pt x="32" y="218"/>
                  </a:cubicBezTo>
                  <a:cubicBezTo>
                    <a:pt x="32" y="219"/>
                    <a:pt x="33" y="220"/>
                    <a:pt x="34" y="220"/>
                  </a:cubicBezTo>
                  <a:cubicBezTo>
                    <a:pt x="35" y="220"/>
                    <a:pt x="33" y="217"/>
                    <a:pt x="33" y="217"/>
                  </a:cubicBezTo>
                  <a:cubicBezTo>
                    <a:pt x="32" y="216"/>
                    <a:pt x="30" y="215"/>
                    <a:pt x="31" y="214"/>
                  </a:cubicBezTo>
                  <a:cubicBezTo>
                    <a:pt x="32" y="214"/>
                    <a:pt x="32" y="215"/>
                    <a:pt x="33" y="215"/>
                  </a:cubicBezTo>
                  <a:cubicBezTo>
                    <a:pt x="33" y="215"/>
                    <a:pt x="34" y="215"/>
                    <a:pt x="35" y="215"/>
                  </a:cubicBezTo>
                  <a:cubicBezTo>
                    <a:pt x="35" y="215"/>
                    <a:pt x="35" y="215"/>
                    <a:pt x="35" y="214"/>
                  </a:cubicBezTo>
                  <a:cubicBezTo>
                    <a:pt x="34" y="213"/>
                    <a:pt x="33" y="213"/>
                    <a:pt x="33" y="212"/>
                  </a:cubicBezTo>
                  <a:cubicBezTo>
                    <a:pt x="33" y="211"/>
                    <a:pt x="32" y="211"/>
                    <a:pt x="32" y="210"/>
                  </a:cubicBezTo>
                  <a:cubicBezTo>
                    <a:pt x="32" y="210"/>
                    <a:pt x="32" y="209"/>
                    <a:pt x="32" y="209"/>
                  </a:cubicBezTo>
                  <a:cubicBezTo>
                    <a:pt x="31" y="209"/>
                    <a:pt x="31" y="209"/>
                    <a:pt x="31" y="209"/>
                  </a:cubicBezTo>
                  <a:cubicBezTo>
                    <a:pt x="30" y="210"/>
                    <a:pt x="30" y="210"/>
                    <a:pt x="30" y="210"/>
                  </a:cubicBezTo>
                  <a:cubicBezTo>
                    <a:pt x="29" y="209"/>
                    <a:pt x="29" y="209"/>
                    <a:pt x="29" y="209"/>
                  </a:cubicBezTo>
                  <a:cubicBezTo>
                    <a:pt x="29" y="209"/>
                    <a:pt x="29" y="209"/>
                    <a:pt x="29" y="209"/>
                  </a:cubicBezTo>
                  <a:cubicBezTo>
                    <a:pt x="29" y="208"/>
                    <a:pt x="30" y="208"/>
                    <a:pt x="31" y="208"/>
                  </a:cubicBezTo>
                  <a:cubicBezTo>
                    <a:pt x="31" y="207"/>
                    <a:pt x="31" y="207"/>
                    <a:pt x="31" y="207"/>
                  </a:cubicBezTo>
                  <a:cubicBezTo>
                    <a:pt x="32" y="207"/>
                    <a:pt x="32" y="207"/>
                    <a:pt x="32" y="207"/>
                  </a:cubicBezTo>
                  <a:cubicBezTo>
                    <a:pt x="33" y="207"/>
                    <a:pt x="32" y="206"/>
                    <a:pt x="32" y="206"/>
                  </a:cubicBezTo>
                  <a:cubicBezTo>
                    <a:pt x="31" y="205"/>
                    <a:pt x="31" y="204"/>
                    <a:pt x="30" y="204"/>
                  </a:cubicBezTo>
                  <a:cubicBezTo>
                    <a:pt x="29" y="204"/>
                    <a:pt x="28" y="205"/>
                    <a:pt x="28" y="204"/>
                  </a:cubicBezTo>
                  <a:cubicBezTo>
                    <a:pt x="27" y="203"/>
                    <a:pt x="27" y="203"/>
                    <a:pt x="27" y="203"/>
                  </a:cubicBezTo>
                  <a:cubicBezTo>
                    <a:pt x="27" y="203"/>
                    <a:pt x="26" y="202"/>
                    <a:pt x="26" y="202"/>
                  </a:cubicBezTo>
                  <a:cubicBezTo>
                    <a:pt x="25" y="201"/>
                    <a:pt x="27" y="201"/>
                    <a:pt x="27" y="201"/>
                  </a:cubicBezTo>
                  <a:cubicBezTo>
                    <a:pt x="28" y="201"/>
                    <a:pt x="29" y="201"/>
                    <a:pt x="29" y="200"/>
                  </a:cubicBezTo>
                  <a:cubicBezTo>
                    <a:pt x="29" y="199"/>
                    <a:pt x="27" y="200"/>
                    <a:pt x="27" y="199"/>
                  </a:cubicBezTo>
                  <a:cubicBezTo>
                    <a:pt x="27" y="198"/>
                    <a:pt x="27" y="198"/>
                    <a:pt x="27" y="198"/>
                  </a:cubicBezTo>
                  <a:cubicBezTo>
                    <a:pt x="26" y="198"/>
                    <a:pt x="26" y="198"/>
                    <a:pt x="26" y="198"/>
                  </a:cubicBezTo>
                  <a:cubicBezTo>
                    <a:pt x="26" y="199"/>
                    <a:pt x="25" y="199"/>
                    <a:pt x="26" y="200"/>
                  </a:cubicBezTo>
                  <a:cubicBezTo>
                    <a:pt x="26" y="200"/>
                    <a:pt x="26" y="201"/>
                    <a:pt x="26" y="201"/>
                  </a:cubicBezTo>
                  <a:cubicBezTo>
                    <a:pt x="25" y="201"/>
                    <a:pt x="24" y="200"/>
                    <a:pt x="24" y="200"/>
                  </a:cubicBezTo>
                  <a:cubicBezTo>
                    <a:pt x="23" y="200"/>
                    <a:pt x="23" y="199"/>
                    <a:pt x="23" y="199"/>
                  </a:cubicBezTo>
                  <a:cubicBezTo>
                    <a:pt x="22" y="199"/>
                    <a:pt x="22" y="200"/>
                    <a:pt x="21" y="200"/>
                  </a:cubicBezTo>
                  <a:cubicBezTo>
                    <a:pt x="20" y="199"/>
                    <a:pt x="20" y="199"/>
                    <a:pt x="20" y="199"/>
                  </a:cubicBezTo>
                  <a:cubicBezTo>
                    <a:pt x="21" y="201"/>
                    <a:pt x="21" y="201"/>
                    <a:pt x="21" y="201"/>
                  </a:cubicBezTo>
                  <a:cubicBezTo>
                    <a:pt x="21" y="202"/>
                    <a:pt x="22" y="201"/>
                    <a:pt x="23" y="202"/>
                  </a:cubicBezTo>
                  <a:cubicBezTo>
                    <a:pt x="23" y="202"/>
                    <a:pt x="23" y="202"/>
                    <a:pt x="23" y="203"/>
                  </a:cubicBezTo>
                  <a:cubicBezTo>
                    <a:pt x="23" y="203"/>
                    <a:pt x="23" y="204"/>
                    <a:pt x="23" y="204"/>
                  </a:cubicBezTo>
                  <a:close/>
                  <a:moveTo>
                    <a:pt x="30" y="195"/>
                  </a:moveTo>
                  <a:cubicBezTo>
                    <a:pt x="31" y="196"/>
                    <a:pt x="32" y="196"/>
                    <a:pt x="33" y="197"/>
                  </a:cubicBezTo>
                  <a:cubicBezTo>
                    <a:pt x="34" y="197"/>
                    <a:pt x="34" y="196"/>
                    <a:pt x="35" y="197"/>
                  </a:cubicBezTo>
                  <a:cubicBezTo>
                    <a:pt x="36" y="197"/>
                    <a:pt x="36" y="197"/>
                    <a:pt x="36" y="197"/>
                  </a:cubicBezTo>
                  <a:cubicBezTo>
                    <a:pt x="36" y="198"/>
                    <a:pt x="36" y="198"/>
                    <a:pt x="36" y="198"/>
                  </a:cubicBezTo>
                  <a:cubicBezTo>
                    <a:pt x="37" y="197"/>
                    <a:pt x="37" y="197"/>
                    <a:pt x="37" y="197"/>
                  </a:cubicBezTo>
                  <a:cubicBezTo>
                    <a:pt x="37" y="196"/>
                    <a:pt x="38" y="196"/>
                    <a:pt x="38" y="196"/>
                  </a:cubicBezTo>
                  <a:cubicBezTo>
                    <a:pt x="38" y="196"/>
                    <a:pt x="38" y="197"/>
                    <a:pt x="38" y="197"/>
                  </a:cubicBezTo>
                  <a:cubicBezTo>
                    <a:pt x="39" y="198"/>
                    <a:pt x="39" y="198"/>
                    <a:pt x="40" y="198"/>
                  </a:cubicBezTo>
                  <a:cubicBezTo>
                    <a:pt x="40" y="198"/>
                    <a:pt x="41" y="198"/>
                    <a:pt x="41" y="198"/>
                  </a:cubicBezTo>
                  <a:cubicBezTo>
                    <a:pt x="41" y="196"/>
                    <a:pt x="41" y="196"/>
                    <a:pt x="41" y="196"/>
                  </a:cubicBezTo>
                  <a:cubicBezTo>
                    <a:pt x="41" y="196"/>
                    <a:pt x="41" y="194"/>
                    <a:pt x="42" y="194"/>
                  </a:cubicBezTo>
                  <a:cubicBezTo>
                    <a:pt x="42" y="194"/>
                    <a:pt x="43" y="194"/>
                    <a:pt x="44" y="194"/>
                  </a:cubicBezTo>
                  <a:cubicBezTo>
                    <a:pt x="44" y="194"/>
                    <a:pt x="44" y="194"/>
                    <a:pt x="45" y="194"/>
                  </a:cubicBezTo>
                  <a:cubicBezTo>
                    <a:pt x="46" y="195"/>
                    <a:pt x="46" y="195"/>
                    <a:pt x="46" y="195"/>
                  </a:cubicBezTo>
                  <a:cubicBezTo>
                    <a:pt x="46" y="196"/>
                    <a:pt x="45" y="196"/>
                    <a:pt x="45" y="196"/>
                  </a:cubicBezTo>
                  <a:cubicBezTo>
                    <a:pt x="44" y="196"/>
                    <a:pt x="44" y="196"/>
                    <a:pt x="44" y="197"/>
                  </a:cubicBezTo>
                  <a:cubicBezTo>
                    <a:pt x="44" y="197"/>
                    <a:pt x="45" y="198"/>
                    <a:pt x="44" y="198"/>
                  </a:cubicBezTo>
                  <a:cubicBezTo>
                    <a:pt x="44" y="198"/>
                    <a:pt x="44" y="198"/>
                    <a:pt x="44" y="198"/>
                  </a:cubicBezTo>
                  <a:cubicBezTo>
                    <a:pt x="43" y="198"/>
                    <a:pt x="43" y="198"/>
                    <a:pt x="43" y="198"/>
                  </a:cubicBezTo>
                  <a:cubicBezTo>
                    <a:pt x="43" y="199"/>
                    <a:pt x="42" y="199"/>
                    <a:pt x="42" y="199"/>
                  </a:cubicBezTo>
                  <a:cubicBezTo>
                    <a:pt x="42" y="200"/>
                    <a:pt x="43" y="200"/>
                    <a:pt x="44" y="200"/>
                  </a:cubicBezTo>
                  <a:cubicBezTo>
                    <a:pt x="44" y="200"/>
                    <a:pt x="45" y="201"/>
                    <a:pt x="45" y="202"/>
                  </a:cubicBezTo>
                  <a:cubicBezTo>
                    <a:pt x="45" y="202"/>
                    <a:pt x="44" y="202"/>
                    <a:pt x="44" y="202"/>
                  </a:cubicBezTo>
                  <a:cubicBezTo>
                    <a:pt x="44" y="203"/>
                    <a:pt x="45" y="203"/>
                    <a:pt x="46" y="204"/>
                  </a:cubicBezTo>
                  <a:cubicBezTo>
                    <a:pt x="46" y="204"/>
                    <a:pt x="46" y="205"/>
                    <a:pt x="46" y="205"/>
                  </a:cubicBezTo>
                  <a:cubicBezTo>
                    <a:pt x="46" y="206"/>
                    <a:pt x="46" y="206"/>
                    <a:pt x="46" y="207"/>
                  </a:cubicBezTo>
                  <a:cubicBezTo>
                    <a:pt x="47" y="207"/>
                    <a:pt x="48" y="207"/>
                    <a:pt x="49" y="207"/>
                  </a:cubicBezTo>
                  <a:cubicBezTo>
                    <a:pt x="50" y="207"/>
                    <a:pt x="50" y="208"/>
                    <a:pt x="51" y="208"/>
                  </a:cubicBezTo>
                  <a:cubicBezTo>
                    <a:pt x="52" y="208"/>
                    <a:pt x="52" y="208"/>
                    <a:pt x="53" y="208"/>
                  </a:cubicBezTo>
                  <a:cubicBezTo>
                    <a:pt x="54" y="208"/>
                    <a:pt x="54" y="208"/>
                    <a:pt x="55" y="208"/>
                  </a:cubicBezTo>
                  <a:cubicBezTo>
                    <a:pt x="55" y="207"/>
                    <a:pt x="55" y="207"/>
                    <a:pt x="55" y="207"/>
                  </a:cubicBezTo>
                  <a:cubicBezTo>
                    <a:pt x="55" y="207"/>
                    <a:pt x="55" y="206"/>
                    <a:pt x="55" y="206"/>
                  </a:cubicBezTo>
                  <a:cubicBezTo>
                    <a:pt x="56" y="206"/>
                    <a:pt x="55" y="208"/>
                    <a:pt x="56" y="208"/>
                  </a:cubicBezTo>
                  <a:cubicBezTo>
                    <a:pt x="57" y="208"/>
                    <a:pt x="57" y="208"/>
                    <a:pt x="57" y="208"/>
                  </a:cubicBezTo>
                  <a:cubicBezTo>
                    <a:pt x="57" y="207"/>
                    <a:pt x="57" y="207"/>
                    <a:pt x="57" y="207"/>
                  </a:cubicBezTo>
                  <a:cubicBezTo>
                    <a:pt x="57" y="207"/>
                    <a:pt x="57" y="205"/>
                    <a:pt x="58" y="205"/>
                  </a:cubicBezTo>
                  <a:cubicBezTo>
                    <a:pt x="58" y="205"/>
                    <a:pt x="59" y="207"/>
                    <a:pt x="59" y="206"/>
                  </a:cubicBezTo>
                  <a:cubicBezTo>
                    <a:pt x="59" y="204"/>
                    <a:pt x="59" y="204"/>
                    <a:pt x="59" y="204"/>
                  </a:cubicBezTo>
                  <a:cubicBezTo>
                    <a:pt x="59" y="204"/>
                    <a:pt x="59" y="204"/>
                    <a:pt x="59" y="203"/>
                  </a:cubicBezTo>
                  <a:cubicBezTo>
                    <a:pt x="59" y="203"/>
                    <a:pt x="59" y="203"/>
                    <a:pt x="59" y="203"/>
                  </a:cubicBezTo>
                  <a:cubicBezTo>
                    <a:pt x="58" y="204"/>
                    <a:pt x="58" y="204"/>
                    <a:pt x="58" y="204"/>
                  </a:cubicBezTo>
                  <a:cubicBezTo>
                    <a:pt x="58" y="204"/>
                    <a:pt x="58" y="204"/>
                    <a:pt x="58" y="204"/>
                  </a:cubicBezTo>
                  <a:cubicBezTo>
                    <a:pt x="57" y="205"/>
                    <a:pt x="57" y="204"/>
                    <a:pt x="57" y="204"/>
                  </a:cubicBezTo>
                  <a:cubicBezTo>
                    <a:pt x="57" y="203"/>
                    <a:pt x="57" y="203"/>
                    <a:pt x="57" y="203"/>
                  </a:cubicBezTo>
                  <a:cubicBezTo>
                    <a:pt x="56" y="203"/>
                    <a:pt x="56" y="203"/>
                    <a:pt x="56" y="203"/>
                  </a:cubicBezTo>
                  <a:cubicBezTo>
                    <a:pt x="57" y="203"/>
                    <a:pt x="57" y="203"/>
                    <a:pt x="57" y="203"/>
                  </a:cubicBezTo>
                  <a:cubicBezTo>
                    <a:pt x="57" y="202"/>
                    <a:pt x="57" y="202"/>
                    <a:pt x="57" y="202"/>
                  </a:cubicBezTo>
                  <a:cubicBezTo>
                    <a:pt x="57" y="201"/>
                    <a:pt x="56" y="201"/>
                    <a:pt x="56" y="200"/>
                  </a:cubicBezTo>
                  <a:cubicBezTo>
                    <a:pt x="56" y="200"/>
                    <a:pt x="55" y="199"/>
                    <a:pt x="56" y="199"/>
                  </a:cubicBezTo>
                  <a:cubicBezTo>
                    <a:pt x="56" y="198"/>
                    <a:pt x="56" y="198"/>
                    <a:pt x="56" y="198"/>
                  </a:cubicBezTo>
                  <a:cubicBezTo>
                    <a:pt x="56" y="198"/>
                    <a:pt x="56" y="197"/>
                    <a:pt x="56" y="197"/>
                  </a:cubicBezTo>
                  <a:cubicBezTo>
                    <a:pt x="56" y="197"/>
                    <a:pt x="57" y="197"/>
                    <a:pt x="57" y="196"/>
                  </a:cubicBezTo>
                  <a:cubicBezTo>
                    <a:pt x="57" y="195"/>
                    <a:pt x="57" y="195"/>
                    <a:pt x="57" y="195"/>
                  </a:cubicBezTo>
                  <a:cubicBezTo>
                    <a:pt x="56" y="194"/>
                    <a:pt x="57" y="193"/>
                    <a:pt x="56" y="193"/>
                  </a:cubicBezTo>
                  <a:cubicBezTo>
                    <a:pt x="56" y="192"/>
                    <a:pt x="56" y="191"/>
                    <a:pt x="55" y="190"/>
                  </a:cubicBezTo>
                  <a:cubicBezTo>
                    <a:pt x="55" y="190"/>
                    <a:pt x="54" y="189"/>
                    <a:pt x="53" y="189"/>
                  </a:cubicBezTo>
                  <a:cubicBezTo>
                    <a:pt x="53" y="188"/>
                    <a:pt x="52" y="188"/>
                    <a:pt x="52" y="187"/>
                  </a:cubicBezTo>
                  <a:cubicBezTo>
                    <a:pt x="52" y="186"/>
                    <a:pt x="52" y="186"/>
                    <a:pt x="52" y="186"/>
                  </a:cubicBezTo>
                  <a:cubicBezTo>
                    <a:pt x="52" y="186"/>
                    <a:pt x="52" y="186"/>
                    <a:pt x="52" y="186"/>
                  </a:cubicBezTo>
                  <a:cubicBezTo>
                    <a:pt x="52" y="185"/>
                    <a:pt x="52" y="185"/>
                    <a:pt x="52" y="184"/>
                  </a:cubicBezTo>
                  <a:cubicBezTo>
                    <a:pt x="52" y="184"/>
                    <a:pt x="52" y="184"/>
                    <a:pt x="52" y="183"/>
                  </a:cubicBezTo>
                  <a:cubicBezTo>
                    <a:pt x="51" y="183"/>
                    <a:pt x="51" y="183"/>
                    <a:pt x="50" y="183"/>
                  </a:cubicBezTo>
                  <a:cubicBezTo>
                    <a:pt x="50" y="184"/>
                    <a:pt x="51" y="184"/>
                    <a:pt x="50" y="185"/>
                  </a:cubicBezTo>
                  <a:cubicBezTo>
                    <a:pt x="50" y="185"/>
                    <a:pt x="49" y="185"/>
                    <a:pt x="49" y="186"/>
                  </a:cubicBezTo>
                  <a:cubicBezTo>
                    <a:pt x="49" y="186"/>
                    <a:pt x="49" y="186"/>
                    <a:pt x="49" y="186"/>
                  </a:cubicBezTo>
                  <a:cubicBezTo>
                    <a:pt x="48" y="187"/>
                    <a:pt x="48" y="187"/>
                    <a:pt x="48" y="187"/>
                  </a:cubicBezTo>
                  <a:cubicBezTo>
                    <a:pt x="48" y="187"/>
                    <a:pt x="47" y="187"/>
                    <a:pt x="46" y="186"/>
                  </a:cubicBezTo>
                  <a:cubicBezTo>
                    <a:pt x="46" y="186"/>
                    <a:pt x="46" y="186"/>
                    <a:pt x="45" y="186"/>
                  </a:cubicBezTo>
                  <a:cubicBezTo>
                    <a:pt x="45" y="186"/>
                    <a:pt x="44" y="186"/>
                    <a:pt x="44" y="185"/>
                  </a:cubicBezTo>
                  <a:cubicBezTo>
                    <a:pt x="44" y="185"/>
                    <a:pt x="44" y="185"/>
                    <a:pt x="44" y="185"/>
                  </a:cubicBezTo>
                  <a:cubicBezTo>
                    <a:pt x="43" y="185"/>
                    <a:pt x="43" y="185"/>
                    <a:pt x="43" y="185"/>
                  </a:cubicBezTo>
                  <a:cubicBezTo>
                    <a:pt x="42" y="185"/>
                    <a:pt x="42" y="184"/>
                    <a:pt x="41" y="184"/>
                  </a:cubicBezTo>
                  <a:cubicBezTo>
                    <a:pt x="41" y="185"/>
                    <a:pt x="41" y="185"/>
                    <a:pt x="41" y="185"/>
                  </a:cubicBezTo>
                  <a:cubicBezTo>
                    <a:pt x="40" y="186"/>
                    <a:pt x="40" y="186"/>
                    <a:pt x="40" y="186"/>
                  </a:cubicBezTo>
                  <a:cubicBezTo>
                    <a:pt x="39" y="186"/>
                    <a:pt x="38" y="186"/>
                    <a:pt x="38" y="186"/>
                  </a:cubicBezTo>
                  <a:cubicBezTo>
                    <a:pt x="37" y="186"/>
                    <a:pt x="37" y="186"/>
                    <a:pt x="37" y="186"/>
                  </a:cubicBezTo>
                  <a:cubicBezTo>
                    <a:pt x="37" y="187"/>
                    <a:pt x="37" y="187"/>
                    <a:pt x="37" y="188"/>
                  </a:cubicBezTo>
                  <a:cubicBezTo>
                    <a:pt x="37" y="188"/>
                    <a:pt x="37" y="188"/>
                    <a:pt x="37" y="188"/>
                  </a:cubicBezTo>
                  <a:cubicBezTo>
                    <a:pt x="36" y="189"/>
                    <a:pt x="36" y="189"/>
                    <a:pt x="36" y="189"/>
                  </a:cubicBezTo>
                  <a:cubicBezTo>
                    <a:pt x="35" y="189"/>
                    <a:pt x="35" y="189"/>
                    <a:pt x="35" y="189"/>
                  </a:cubicBezTo>
                  <a:cubicBezTo>
                    <a:pt x="34" y="189"/>
                    <a:pt x="34" y="189"/>
                    <a:pt x="34" y="189"/>
                  </a:cubicBezTo>
                  <a:cubicBezTo>
                    <a:pt x="33" y="190"/>
                    <a:pt x="33" y="189"/>
                    <a:pt x="32" y="190"/>
                  </a:cubicBezTo>
                  <a:cubicBezTo>
                    <a:pt x="31" y="190"/>
                    <a:pt x="31" y="190"/>
                    <a:pt x="31" y="191"/>
                  </a:cubicBezTo>
                  <a:cubicBezTo>
                    <a:pt x="31" y="192"/>
                    <a:pt x="30" y="192"/>
                    <a:pt x="30" y="192"/>
                  </a:cubicBezTo>
                  <a:cubicBezTo>
                    <a:pt x="30" y="193"/>
                    <a:pt x="30" y="194"/>
                    <a:pt x="30" y="194"/>
                  </a:cubicBezTo>
                  <a:cubicBezTo>
                    <a:pt x="30" y="194"/>
                    <a:pt x="30" y="195"/>
                    <a:pt x="30" y="195"/>
                  </a:cubicBezTo>
                  <a:close/>
                  <a:moveTo>
                    <a:pt x="67" y="197"/>
                  </a:moveTo>
                  <a:cubicBezTo>
                    <a:pt x="67" y="198"/>
                    <a:pt x="67" y="199"/>
                    <a:pt x="68" y="199"/>
                  </a:cubicBezTo>
                  <a:cubicBezTo>
                    <a:pt x="69" y="199"/>
                    <a:pt x="69" y="198"/>
                    <a:pt x="69" y="198"/>
                  </a:cubicBezTo>
                  <a:cubicBezTo>
                    <a:pt x="68" y="196"/>
                    <a:pt x="68" y="196"/>
                    <a:pt x="68" y="196"/>
                  </a:cubicBezTo>
                  <a:cubicBezTo>
                    <a:pt x="67" y="196"/>
                    <a:pt x="67" y="196"/>
                    <a:pt x="67" y="196"/>
                  </a:cubicBezTo>
                  <a:cubicBezTo>
                    <a:pt x="67" y="196"/>
                    <a:pt x="67" y="196"/>
                    <a:pt x="67" y="196"/>
                  </a:cubicBezTo>
                  <a:cubicBezTo>
                    <a:pt x="66" y="196"/>
                    <a:pt x="65" y="196"/>
                    <a:pt x="65" y="196"/>
                  </a:cubicBezTo>
                  <a:cubicBezTo>
                    <a:pt x="65" y="196"/>
                    <a:pt x="65" y="196"/>
                    <a:pt x="66" y="197"/>
                  </a:cubicBezTo>
                  <a:cubicBezTo>
                    <a:pt x="66" y="197"/>
                    <a:pt x="66" y="197"/>
                    <a:pt x="67" y="197"/>
                  </a:cubicBezTo>
                  <a:close/>
                  <a:moveTo>
                    <a:pt x="60" y="214"/>
                  </a:moveTo>
                  <a:cubicBezTo>
                    <a:pt x="61" y="214"/>
                    <a:pt x="61" y="214"/>
                    <a:pt x="61" y="214"/>
                  </a:cubicBezTo>
                  <a:cubicBezTo>
                    <a:pt x="62" y="214"/>
                    <a:pt x="63" y="214"/>
                    <a:pt x="63" y="214"/>
                  </a:cubicBezTo>
                  <a:cubicBezTo>
                    <a:pt x="63" y="213"/>
                    <a:pt x="61" y="213"/>
                    <a:pt x="61" y="212"/>
                  </a:cubicBezTo>
                  <a:cubicBezTo>
                    <a:pt x="62" y="212"/>
                    <a:pt x="62" y="212"/>
                    <a:pt x="63" y="212"/>
                  </a:cubicBezTo>
                  <a:cubicBezTo>
                    <a:pt x="63" y="211"/>
                    <a:pt x="63" y="211"/>
                    <a:pt x="62" y="211"/>
                  </a:cubicBezTo>
                  <a:cubicBezTo>
                    <a:pt x="61" y="210"/>
                    <a:pt x="61" y="210"/>
                    <a:pt x="61" y="210"/>
                  </a:cubicBezTo>
                  <a:cubicBezTo>
                    <a:pt x="61" y="210"/>
                    <a:pt x="60" y="210"/>
                    <a:pt x="60" y="210"/>
                  </a:cubicBezTo>
                  <a:cubicBezTo>
                    <a:pt x="60" y="210"/>
                    <a:pt x="60" y="211"/>
                    <a:pt x="59" y="211"/>
                  </a:cubicBezTo>
                  <a:cubicBezTo>
                    <a:pt x="59" y="212"/>
                    <a:pt x="59" y="212"/>
                    <a:pt x="60" y="213"/>
                  </a:cubicBezTo>
                  <a:lnTo>
                    <a:pt x="60" y="214"/>
                  </a:lnTo>
                  <a:close/>
                  <a:moveTo>
                    <a:pt x="55" y="215"/>
                  </a:moveTo>
                  <a:cubicBezTo>
                    <a:pt x="55" y="215"/>
                    <a:pt x="56" y="214"/>
                    <a:pt x="56" y="214"/>
                  </a:cubicBezTo>
                  <a:cubicBezTo>
                    <a:pt x="56" y="213"/>
                    <a:pt x="57" y="213"/>
                    <a:pt x="56" y="212"/>
                  </a:cubicBezTo>
                  <a:cubicBezTo>
                    <a:pt x="56" y="212"/>
                    <a:pt x="55" y="213"/>
                    <a:pt x="55" y="213"/>
                  </a:cubicBezTo>
                  <a:cubicBezTo>
                    <a:pt x="54" y="213"/>
                    <a:pt x="54" y="214"/>
                    <a:pt x="54" y="214"/>
                  </a:cubicBezTo>
                  <a:cubicBezTo>
                    <a:pt x="54" y="215"/>
                    <a:pt x="54" y="216"/>
                    <a:pt x="55" y="215"/>
                  </a:cubicBezTo>
                  <a:close/>
                  <a:moveTo>
                    <a:pt x="53" y="210"/>
                  </a:moveTo>
                  <a:cubicBezTo>
                    <a:pt x="52" y="211"/>
                    <a:pt x="52" y="211"/>
                    <a:pt x="52" y="211"/>
                  </a:cubicBezTo>
                  <a:cubicBezTo>
                    <a:pt x="52" y="211"/>
                    <a:pt x="53" y="212"/>
                    <a:pt x="53" y="212"/>
                  </a:cubicBezTo>
                  <a:cubicBezTo>
                    <a:pt x="54" y="212"/>
                    <a:pt x="54" y="211"/>
                    <a:pt x="54" y="211"/>
                  </a:cubicBezTo>
                  <a:cubicBezTo>
                    <a:pt x="54" y="210"/>
                    <a:pt x="54" y="210"/>
                    <a:pt x="53" y="210"/>
                  </a:cubicBezTo>
                  <a:close/>
                  <a:moveTo>
                    <a:pt x="25" y="90"/>
                  </a:moveTo>
                  <a:cubicBezTo>
                    <a:pt x="26" y="91"/>
                    <a:pt x="27" y="91"/>
                    <a:pt x="28" y="92"/>
                  </a:cubicBezTo>
                  <a:cubicBezTo>
                    <a:pt x="30" y="92"/>
                    <a:pt x="30" y="91"/>
                    <a:pt x="30" y="90"/>
                  </a:cubicBezTo>
                  <a:cubicBezTo>
                    <a:pt x="29" y="88"/>
                    <a:pt x="28" y="87"/>
                    <a:pt x="28" y="85"/>
                  </a:cubicBezTo>
                  <a:cubicBezTo>
                    <a:pt x="28" y="84"/>
                    <a:pt x="29" y="83"/>
                    <a:pt x="28" y="82"/>
                  </a:cubicBezTo>
                  <a:cubicBezTo>
                    <a:pt x="28" y="82"/>
                    <a:pt x="27" y="81"/>
                    <a:pt x="26" y="82"/>
                  </a:cubicBezTo>
                  <a:cubicBezTo>
                    <a:pt x="26" y="83"/>
                    <a:pt x="26" y="84"/>
                    <a:pt x="26" y="84"/>
                  </a:cubicBezTo>
                  <a:cubicBezTo>
                    <a:pt x="26" y="85"/>
                    <a:pt x="26" y="86"/>
                    <a:pt x="25" y="86"/>
                  </a:cubicBezTo>
                  <a:cubicBezTo>
                    <a:pt x="25" y="87"/>
                    <a:pt x="24" y="90"/>
                    <a:pt x="25" y="90"/>
                  </a:cubicBezTo>
                  <a:close/>
                  <a:moveTo>
                    <a:pt x="123" y="86"/>
                  </a:moveTo>
                  <a:cubicBezTo>
                    <a:pt x="123" y="86"/>
                    <a:pt x="124" y="85"/>
                    <a:pt x="123" y="84"/>
                  </a:cubicBezTo>
                  <a:cubicBezTo>
                    <a:pt x="123" y="84"/>
                    <a:pt x="122" y="84"/>
                    <a:pt x="123" y="83"/>
                  </a:cubicBezTo>
                  <a:cubicBezTo>
                    <a:pt x="124" y="83"/>
                    <a:pt x="124" y="83"/>
                    <a:pt x="124" y="82"/>
                  </a:cubicBezTo>
                  <a:cubicBezTo>
                    <a:pt x="125" y="81"/>
                    <a:pt x="125" y="81"/>
                    <a:pt x="125" y="81"/>
                  </a:cubicBezTo>
                  <a:cubicBezTo>
                    <a:pt x="126" y="81"/>
                    <a:pt x="127" y="81"/>
                    <a:pt x="128" y="80"/>
                  </a:cubicBezTo>
                  <a:cubicBezTo>
                    <a:pt x="128" y="79"/>
                    <a:pt x="127" y="79"/>
                    <a:pt x="127" y="79"/>
                  </a:cubicBezTo>
                  <a:cubicBezTo>
                    <a:pt x="128" y="78"/>
                    <a:pt x="128" y="78"/>
                    <a:pt x="128" y="78"/>
                  </a:cubicBezTo>
                  <a:cubicBezTo>
                    <a:pt x="129" y="77"/>
                    <a:pt x="129" y="76"/>
                    <a:pt x="127" y="76"/>
                  </a:cubicBezTo>
                  <a:cubicBezTo>
                    <a:pt x="126" y="77"/>
                    <a:pt x="126" y="77"/>
                    <a:pt x="124" y="77"/>
                  </a:cubicBezTo>
                  <a:cubicBezTo>
                    <a:pt x="123" y="77"/>
                    <a:pt x="123" y="75"/>
                    <a:pt x="123" y="74"/>
                  </a:cubicBezTo>
                  <a:cubicBezTo>
                    <a:pt x="122" y="73"/>
                    <a:pt x="121" y="72"/>
                    <a:pt x="120" y="74"/>
                  </a:cubicBezTo>
                  <a:cubicBezTo>
                    <a:pt x="120" y="75"/>
                    <a:pt x="121" y="75"/>
                    <a:pt x="121" y="76"/>
                  </a:cubicBezTo>
                  <a:cubicBezTo>
                    <a:pt x="121" y="76"/>
                    <a:pt x="121" y="77"/>
                    <a:pt x="121" y="78"/>
                  </a:cubicBezTo>
                  <a:cubicBezTo>
                    <a:pt x="121" y="79"/>
                    <a:pt x="120" y="79"/>
                    <a:pt x="120" y="80"/>
                  </a:cubicBezTo>
                  <a:cubicBezTo>
                    <a:pt x="120" y="81"/>
                    <a:pt x="120" y="82"/>
                    <a:pt x="120" y="83"/>
                  </a:cubicBezTo>
                  <a:cubicBezTo>
                    <a:pt x="120" y="84"/>
                    <a:pt x="121" y="87"/>
                    <a:pt x="123" y="86"/>
                  </a:cubicBezTo>
                  <a:close/>
                  <a:moveTo>
                    <a:pt x="152" y="61"/>
                  </a:moveTo>
                  <a:cubicBezTo>
                    <a:pt x="152" y="62"/>
                    <a:pt x="152" y="62"/>
                    <a:pt x="151" y="63"/>
                  </a:cubicBezTo>
                  <a:cubicBezTo>
                    <a:pt x="152" y="65"/>
                    <a:pt x="151" y="68"/>
                    <a:pt x="154" y="69"/>
                  </a:cubicBezTo>
                  <a:cubicBezTo>
                    <a:pt x="156" y="70"/>
                    <a:pt x="156" y="65"/>
                    <a:pt x="155" y="64"/>
                  </a:cubicBezTo>
                  <a:cubicBezTo>
                    <a:pt x="154" y="62"/>
                    <a:pt x="153" y="61"/>
                    <a:pt x="152" y="61"/>
                  </a:cubicBezTo>
                  <a:close/>
                  <a:moveTo>
                    <a:pt x="151" y="56"/>
                  </a:moveTo>
                  <a:cubicBezTo>
                    <a:pt x="151" y="56"/>
                    <a:pt x="151" y="56"/>
                    <a:pt x="151" y="56"/>
                  </a:cubicBezTo>
                  <a:cubicBezTo>
                    <a:pt x="152" y="56"/>
                    <a:pt x="152" y="56"/>
                    <a:pt x="152" y="56"/>
                  </a:cubicBezTo>
                  <a:cubicBezTo>
                    <a:pt x="152" y="56"/>
                    <a:pt x="153" y="52"/>
                    <a:pt x="152" y="52"/>
                  </a:cubicBezTo>
                  <a:cubicBezTo>
                    <a:pt x="150" y="54"/>
                    <a:pt x="150" y="54"/>
                    <a:pt x="150" y="54"/>
                  </a:cubicBezTo>
                  <a:cubicBezTo>
                    <a:pt x="150" y="54"/>
                    <a:pt x="150" y="55"/>
                    <a:pt x="150" y="56"/>
                  </a:cubicBezTo>
                  <a:cubicBezTo>
                    <a:pt x="150" y="56"/>
                    <a:pt x="151" y="56"/>
                    <a:pt x="151" y="56"/>
                  </a:cubicBezTo>
                  <a:close/>
                  <a:moveTo>
                    <a:pt x="155" y="60"/>
                  </a:moveTo>
                  <a:cubicBezTo>
                    <a:pt x="155" y="60"/>
                    <a:pt x="155" y="59"/>
                    <a:pt x="155" y="58"/>
                  </a:cubicBezTo>
                  <a:cubicBezTo>
                    <a:pt x="155" y="59"/>
                    <a:pt x="156" y="60"/>
                    <a:pt x="156" y="60"/>
                  </a:cubicBezTo>
                  <a:cubicBezTo>
                    <a:pt x="157" y="59"/>
                    <a:pt x="156" y="57"/>
                    <a:pt x="156" y="56"/>
                  </a:cubicBezTo>
                  <a:cubicBezTo>
                    <a:pt x="156" y="55"/>
                    <a:pt x="156" y="55"/>
                    <a:pt x="156" y="54"/>
                  </a:cubicBezTo>
                  <a:cubicBezTo>
                    <a:pt x="156" y="53"/>
                    <a:pt x="156" y="53"/>
                    <a:pt x="156" y="52"/>
                  </a:cubicBezTo>
                  <a:cubicBezTo>
                    <a:pt x="155" y="52"/>
                    <a:pt x="155" y="52"/>
                    <a:pt x="155" y="53"/>
                  </a:cubicBezTo>
                  <a:cubicBezTo>
                    <a:pt x="155" y="54"/>
                    <a:pt x="154" y="54"/>
                    <a:pt x="154" y="55"/>
                  </a:cubicBezTo>
                  <a:cubicBezTo>
                    <a:pt x="154" y="56"/>
                    <a:pt x="154" y="57"/>
                    <a:pt x="153" y="59"/>
                  </a:cubicBezTo>
                  <a:cubicBezTo>
                    <a:pt x="153" y="60"/>
                    <a:pt x="154" y="61"/>
                    <a:pt x="155" y="60"/>
                  </a:cubicBezTo>
                  <a:close/>
                  <a:moveTo>
                    <a:pt x="260" y="16"/>
                  </a:moveTo>
                  <a:cubicBezTo>
                    <a:pt x="260" y="16"/>
                    <a:pt x="260" y="17"/>
                    <a:pt x="260" y="18"/>
                  </a:cubicBezTo>
                  <a:cubicBezTo>
                    <a:pt x="261" y="19"/>
                    <a:pt x="261" y="19"/>
                    <a:pt x="261" y="19"/>
                  </a:cubicBezTo>
                  <a:cubicBezTo>
                    <a:pt x="262" y="20"/>
                    <a:pt x="262" y="20"/>
                    <a:pt x="262" y="20"/>
                  </a:cubicBezTo>
                  <a:cubicBezTo>
                    <a:pt x="262" y="21"/>
                    <a:pt x="262" y="21"/>
                    <a:pt x="262" y="21"/>
                  </a:cubicBezTo>
                  <a:cubicBezTo>
                    <a:pt x="262" y="22"/>
                    <a:pt x="263" y="22"/>
                    <a:pt x="264" y="22"/>
                  </a:cubicBezTo>
                  <a:cubicBezTo>
                    <a:pt x="264" y="23"/>
                    <a:pt x="264" y="24"/>
                    <a:pt x="265" y="24"/>
                  </a:cubicBezTo>
                  <a:cubicBezTo>
                    <a:pt x="266" y="25"/>
                    <a:pt x="267" y="25"/>
                    <a:pt x="269" y="25"/>
                  </a:cubicBezTo>
                  <a:cubicBezTo>
                    <a:pt x="270" y="26"/>
                    <a:pt x="271" y="26"/>
                    <a:pt x="273" y="26"/>
                  </a:cubicBezTo>
                  <a:cubicBezTo>
                    <a:pt x="274" y="26"/>
                    <a:pt x="276" y="27"/>
                    <a:pt x="276" y="28"/>
                  </a:cubicBezTo>
                  <a:cubicBezTo>
                    <a:pt x="276" y="29"/>
                    <a:pt x="277" y="30"/>
                    <a:pt x="277" y="30"/>
                  </a:cubicBezTo>
                  <a:cubicBezTo>
                    <a:pt x="277" y="32"/>
                    <a:pt x="276" y="31"/>
                    <a:pt x="275" y="30"/>
                  </a:cubicBezTo>
                  <a:cubicBezTo>
                    <a:pt x="274" y="30"/>
                    <a:pt x="273" y="28"/>
                    <a:pt x="272" y="28"/>
                  </a:cubicBezTo>
                  <a:cubicBezTo>
                    <a:pt x="271" y="28"/>
                    <a:pt x="271" y="29"/>
                    <a:pt x="270" y="29"/>
                  </a:cubicBezTo>
                  <a:cubicBezTo>
                    <a:pt x="269" y="29"/>
                    <a:pt x="268" y="29"/>
                    <a:pt x="268" y="30"/>
                  </a:cubicBezTo>
                  <a:cubicBezTo>
                    <a:pt x="267" y="30"/>
                    <a:pt x="267" y="32"/>
                    <a:pt x="267" y="33"/>
                  </a:cubicBezTo>
                  <a:cubicBezTo>
                    <a:pt x="267" y="34"/>
                    <a:pt x="269" y="34"/>
                    <a:pt x="269" y="35"/>
                  </a:cubicBezTo>
                  <a:cubicBezTo>
                    <a:pt x="270" y="36"/>
                    <a:pt x="270" y="37"/>
                    <a:pt x="271" y="37"/>
                  </a:cubicBezTo>
                  <a:cubicBezTo>
                    <a:pt x="273" y="36"/>
                    <a:pt x="274" y="35"/>
                    <a:pt x="276" y="35"/>
                  </a:cubicBezTo>
                  <a:cubicBezTo>
                    <a:pt x="278" y="35"/>
                    <a:pt x="279" y="36"/>
                    <a:pt x="279" y="34"/>
                  </a:cubicBezTo>
                  <a:cubicBezTo>
                    <a:pt x="280" y="32"/>
                    <a:pt x="280" y="30"/>
                    <a:pt x="281" y="29"/>
                  </a:cubicBezTo>
                  <a:cubicBezTo>
                    <a:pt x="282" y="29"/>
                    <a:pt x="282" y="29"/>
                    <a:pt x="283" y="28"/>
                  </a:cubicBezTo>
                  <a:cubicBezTo>
                    <a:pt x="284" y="28"/>
                    <a:pt x="284" y="27"/>
                    <a:pt x="284" y="27"/>
                  </a:cubicBezTo>
                  <a:cubicBezTo>
                    <a:pt x="284" y="25"/>
                    <a:pt x="286" y="24"/>
                    <a:pt x="286" y="23"/>
                  </a:cubicBezTo>
                  <a:cubicBezTo>
                    <a:pt x="285" y="21"/>
                    <a:pt x="285" y="21"/>
                    <a:pt x="285" y="21"/>
                  </a:cubicBezTo>
                  <a:cubicBezTo>
                    <a:pt x="285" y="21"/>
                    <a:pt x="285" y="22"/>
                    <a:pt x="284" y="22"/>
                  </a:cubicBezTo>
                  <a:cubicBezTo>
                    <a:pt x="283" y="22"/>
                    <a:pt x="282" y="21"/>
                    <a:pt x="282" y="20"/>
                  </a:cubicBezTo>
                  <a:cubicBezTo>
                    <a:pt x="283" y="19"/>
                    <a:pt x="284" y="20"/>
                    <a:pt x="285" y="20"/>
                  </a:cubicBezTo>
                  <a:cubicBezTo>
                    <a:pt x="285" y="19"/>
                    <a:pt x="285" y="17"/>
                    <a:pt x="284" y="16"/>
                  </a:cubicBezTo>
                  <a:cubicBezTo>
                    <a:pt x="284" y="15"/>
                    <a:pt x="283" y="15"/>
                    <a:pt x="282" y="14"/>
                  </a:cubicBezTo>
                  <a:cubicBezTo>
                    <a:pt x="281" y="13"/>
                    <a:pt x="280" y="12"/>
                    <a:pt x="279" y="12"/>
                  </a:cubicBezTo>
                  <a:cubicBezTo>
                    <a:pt x="279" y="11"/>
                    <a:pt x="279" y="10"/>
                    <a:pt x="278" y="9"/>
                  </a:cubicBezTo>
                  <a:cubicBezTo>
                    <a:pt x="277" y="9"/>
                    <a:pt x="277" y="8"/>
                    <a:pt x="276" y="8"/>
                  </a:cubicBezTo>
                  <a:cubicBezTo>
                    <a:pt x="275" y="7"/>
                    <a:pt x="275" y="6"/>
                    <a:pt x="275" y="4"/>
                  </a:cubicBezTo>
                  <a:cubicBezTo>
                    <a:pt x="275" y="4"/>
                    <a:pt x="275" y="2"/>
                    <a:pt x="275" y="1"/>
                  </a:cubicBezTo>
                  <a:cubicBezTo>
                    <a:pt x="275" y="0"/>
                    <a:pt x="273" y="1"/>
                    <a:pt x="273" y="1"/>
                  </a:cubicBezTo>
                  <a:cubicBezTo>
                    <a:pt x="272" y="2"/>
                    <a:pt x="272" y="3"/>
                    <a:pt x="271" y="4"/>
                  </a:cubicBezTo>
                  <a:cubicBezTo>
                    <a:pt x="270" y="6"/>
                    <a:pt x="268" y="7"/>
                    <a:pt x="267" y="8"/>
                  </a:cubicBezTo>
                  <a:cubicBezTo>
                    <a:pt x="266" y="8"/>
                    <a:pt x="265" y="9"/>
                    <a:pt x="265" y="10"/>
                  </a:cubicBezTo>
                  <a:cubicBezTo>
                    <a:pt x="264" y="11"/>
                    <a:pt x="264" y="11"/>
                    <a:pt x="263" y="11"/>
                  </a:cubicBezTo>
                  <a:cubicBezTo>
                    <a:pt x="262" y="11"/>
                    <a:pt x="261" y="12"/>
                    <a:pt x="261" y="12"/>
                  </a:cubicBezTo>
                  <a:cubicBezTo>
                    <a:pt x="260" y="13"/>
                    <a:pt x="259" y="13"/>
                    <a:pt x="259" y="14"/>
                  </a:cubicBezTo>
                  <a:cubicBezTo>
                    <a:pt x="259" y="14"/>
                    <a:pt x="260" y="15"/>
                    <a:pt x="260" y="15"/>
                  </a:cubicBezTo>
                  <a:cubicBezTo>
                    <a:pt x="260" y="15"/>
                    <a:pt x="260" y="15"/>
                    <a:pt x="260" y="16"/>
                  </a:cubicBezTo>
                  <a:close/>
                  <a:moveTo>
                    <a:pt x="311" y="85"/>
                  </a:moveTo>
                  <a:cubicBezTo>
                    <a:pt x="312" y="85"/>
                    <a:pt x="313" y="84"/>
                    <a:pt x="314" y="83"/>
                  </a:cubicBezTo>
                  <a:cubicBezTo>
                    <a:pt x="314" y="82"/>
                    <a:pt x="315" y="79"/>
                    <a:pt x="314" y="77"/>
                  </a:cubicBezTo>
                  <a:cubicBezTo>
                    <a:pt x="314" y="76"/>
                    <a:pt x="313" y="76"/>
                    <a:pt x="313" y="75"/>
                  </a:cubicBezTo>
                  <a:cubicBezTo>
                    <a:pt x="313" y="74"/>
                    <a:pt x="314" y="72"/>
                    <a:pt x="313" y="72"/>
                  </a:cubicBezTo>
                  <a:cubicBezTo>
                    <a:pt x="312" y="73"/>
                    <a:pt x="312" y="74"/>
                    <a:pt x="312" y="75"/>
                  </a:cubicBezTo>
                  <a:cubicBezTo>
                    <a:pt x="312" y="76"/>
                    <a:pt x="312" y="77"/>
                    <a:pt x="311" y="77"/>
                  </a:cubicBezTo>
                  <a:cubicBezTo>
                    <a:pt x="311" y="79"/>
                    <a:pt x="309" y="80"/>
                    <a:pt x="309" y="82"/>
                  </a:cubicBezTo>
                  <a:cubicBezTo>
                    <a:pt x="309" y="83"/>
                    <a:pt x="310" y="85"/>
                    <a:pt x="311" y="85"/>
                  </a:cubicBezTo>
                  <a:close/>
                  <a:moveTo>
                    <a:pt x="322" y="105"/>
                  </a:moveTo>
                  <a:cubicBezTo>
                    <a:pt x="323" y="106"/>
                    <a:pt x="322" y="107"/>
                    <a:pt x="323" y="107"/>
                  </a:cubicBezTo>
                  <a:cubicBezTo>
                    <a:pt x="324" y="107"/>
                    <a:pt x="325" y="106"/>
                    <a:pt x="325" y="106"/>
                  </a:cubicBezTo>
                  <a:cubicBezTo>
                    <a:pt x="325" y="106"/>
                    <a:pt x="326" y="106"/>
                    <a:pt x="327" y="106"/>
                  </a:cubicBezTo>
                  <a:cubicBezTo>
                    <a:pt x="328" y="106"/>
                    <a:pt x="328" y="104"/>
                    <a:pt x="327" y="104"/>
                  </a:cubicBezTo>
                  <a:cubicBezTo>
                    <a:pt x="327" y="103"/>
                    <a:pt x="326" y="104"/>
                    <a:pt x="326" y="104"/>
                  </a:cubicBezTo>
                  <a:cubicBezTo>
                    <a:pt x="325" y="104"/>
                    <a:pt x="325" y="103"/>
                    <a:pt x="324" y="103"/>
                  </a:cubicBezTo>
                  <a:cubicBezTo>
                    <a:pt x="323" y="102"/>
                    <a:pt x="321" y="102"/>
                    <a:pt x="321" y="103"/>
                  </a:cubicBezTo>
                  <a:cubicBezTo>
                    <a:pt x="319" y="104"/>
                    <a:pt x="322" y="105"/>
                    <a:pt x="322" y="105"/>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0" name="Freeform 32">
              <a:extLst>
                <a:ext uri="{FF2B5EF4-FFF2-40B4-BE49-F238E27FC236}">
                  <a16:creationId xmlns:a16="http://schemas.microsoft.com/office/drawing/2014/main" id="{309B6509-A9C2-9AF5-A0DA-F1EAEBCF1CF1}"/>
                </a:ext>
              </a:extLst>
            </p:cNvPr>
            <p:cNvSpPr>
              <a:spLocks noEditPoints="1"/>
            </p:cNvSpPr>
            <p:nvPr/>
          </p:nvSpPr>
          <p:spPr bwMode="auto">
            <a:xfrm>
              <a:off x="1762125" y="3240088"/>
              <a:ext cx="879475" cy="846137"/>
            </a:xfrm>
            <a:custGeom>
              <a:avLst/>
              <a:gdLst>
                <a:gd name="T0" fmla="*/ 98 w 231"/>
                <a:gd name="T1" fmla="*/ 25 h 222"/>
                <a:gd name="T2" fmla="*/ 103 w 231"/>
                <a:gd name="T3" fmla="*/ 47 h 222"/>
                <a:gd name="T4" fmla="*/ 84 w 231"/>
                <a:gd name="T5" fmla="*/ 41 h 222"/>
                <a:gd name="T6" fmla="*/ 147 w 231"/>
                <a:gd name="T7" fmla="*/ 61 h 222"/>
                <a:gd name="T8" fmla="*/ 139 w 231"/>
                <a:gd name="T9" fmla="*/ 94 h 222"/>
                <a:gd name="T10" fmla="*/ 148 w 231"/>
                <a:gd name="T11" fmla="*/ 83 h 222"/>
                <a:gd name="T12" fmla="*/ 133 w 231"/>
                <a:gd name="T13" fmla="*/ 74 h 222"/>
                <a:gd name="T14" fmla="*/ 172 w 231"/>
                <a:gd name="T15" fmla="*/ 95 h 222"/>
                <a:gd name="T16" fmla="*/ 187 w 231"/>
                <a:gd name="T17" fmla="*/ 95 h 222"/>
                <a:gd name="T18" fmla="*/ 161 w 231"/>
                <a:gd name="T19" fmla="*/ 88 h 222"/>
                <a:gd name="T20" fmla="*/ 145 w 231"/>
                <a:gd name="T21" fmla="*/ 101 h 222"/>
                <a:gd name="T22" fmla="*/ 181 w 231"/>
                <a:gd name="T23" fmla="*/ 102 h 222"/>
                <a:gd name="T24" fmla="*/ 155 w 231"/>
                <a:gd name="T25" fmla="*/ 86 h 222"/>
                <a:gd name="T26" fmla="*/ 199 w 231"/>
                <a:gd name="T27" fmla="*/ 120 h 222"/>
                <a:gd name="T28" fmla="*/ 207 w 231"/>
                <a:gd name="T29" fmla="*/ 98 h 222"/>
                <a:gd name="T30" fmla="*/ 204 w 231"/>
                <a:gd name="T31" fmla="*/ 112 h 222"/>
                <a:gd name="T32" fmla="*/ 210 w 231"/>
                <a:gd name="T33" fmla="*/ 105 h 222"/>
                <a:gd name="T34" fmla="*/ 201 w 231"/>
                <a:gd name="T35" fmla="*/ 92 h 222"/>
                <a:gd name="T36" fmla="*/ 200 w 231"/>
                <a:gd name="T37" fmla="*/ 87 h 222"/>
                <a:gd name="T38" fmla="*/ 212 w 231"/>
                <a:gd name="T39" fmla="*/ 168 h 222"/>
                <a:gd name="T40" fmla="*/ 198 w 231"/>
                <a:gd name="T41" fmla="*/ 172 h 222"/>
                <a:gd name="T42" fmla="*/ 227 w 231"/>
                <a:gd name="T43" fmla="*/ 172 h 222"/>
                <a:gd name="T44" fmla="*/ 210 w 231"/>
                <a:gd name="T45" fmla="*/ 173 h 222"/>
                <a:gd name="T46" fmla="*/ 205 w 231"/>
                <a:gd name="T47" fmla="*/ 182 h 222"/>
                <a:gd name="T48" fmla="*/ 215 w 231"/>
                <a:gd name="T49" fmla="*/ 183 h 222"/>
                <a:gd name="T50" fmla="*/ 202 w 231"/>
                <a:gd name="T51" fmla="*/ 178 h 222"/>
                <a:gd name="T52" fmla="*/ 183 w 231"/>
                <a:gd name="T53" fmla="*/ 116 h 222"/>
                <a:gd name="T54" fmla="*/ 228 w 231"/>
                <a:gd name="T55" fmla="*/ 147 h 222"/>
                <a:gd name="T56" fmla="*/ 207 w 231"/>
                <a:gd name="T57" fmla="*/ 123 h 222"/>
                <a:gd name="T58" fmla="*/ 173 w 231"/>
                <a:gd name="T59" fmla="*/ 138 h 222"/>
                <a:gd name="T60" fmla="*/ 158 w 231"/>
                <a:gd name="T61" fmla="*/ 140 h 222"/>
                <a:gd name="T62" fmla="*/ 181 w 231"/>
                <a:gd name="T63" fmla="*/ 115 h 222"/>
                <a:gd name="T64" fmla="*/ 142 w 231"/>
                <a:gd name="T65" fmla="*/ 101 h 222"/>
                <a:gd name="T66" fmla="*/ 130 w 231"/>
                <a:gd name="T67" fmla="*/ 82 h 222"/>
                <a:gd name="T68" fmla="*/ 122 w 231"/>
                <a:gd name="T69" fmla="*/ 67 h 222"/>
                <a:gd name="T70" fmla="*/ 85 w 231"/>
                <a:gd name="T71" fmla="*/ 51 h 222"/>
                <a:gd name="T72" fmla="*/ 64 w 231"/>
                <a:gd name="T73" fmla="*/ 18 h 222"/>
                <a:gd name="T74" fmla="*/ 42 w 231"/>
                <a:gd name="T75" fmla="*/ 17 h 222"/>
                <a:gd name="T76" fmla="*/ 56 w 231"/>
                <a:gd name="T77" fmla="*/ 44 h 222"/>
                <a:gd name="T78" fmla="*/ 45 w 231"/>
                <a:gd name="T79" fmla="*/ 28 h 222"/>
                <a:gd name="T80" fmla="*/ 18 w 231"/>
                <a:gd name="T81" fmla="*/ 0 h 222"/>
                <a:gd name="T82" fmla="*/ 20 w 231"/>
                <a:gd name="T83" fmla="*/ 45 h 222"/>
                <a:gd name="T84" fmla="*/ 17 w 231"/>
                <a:gd name="T85" fmla="*/ 66 h 222"/>
                <a:gd name="T86" fmla="*/ 6 w 231"/>
                <a:gd name="T87" fmla="*/ 87 h 222"/>
                <a:gd name="T88" fmla="*/ 13 w 231"/>
                <a:gd name="T89" fmla="*/ 109 h 222"/>
                <a:gd name="T90" fmla="*/ 34 w 231"/>
                <a:gd name="T91" fmla="*/ 138 h 222"/>
                <a:gd name="T92" fmla="*/ 47 w 231"/>
                <a:gd name="T93" fmla="*/ 151 h 222"/>
                <a:gd name="T94" fmla="*/ 60 w 231"/>
                <a:gd name="T95" fmla="*/ 175 h 222"/>
                <a:gd name="T96" fmla="*/ 101 w 231"/>
                <a:gd name="T97" fmla="*/ 208 h 222"/>
                <a:gd name="T98" fmla="*/ 138 w 231"/>
                <a:gd name="T99" fmla="*/ 211 h 222"/>
                <a:gd name="T100" fmla="*/ 166 w 231"/>
                <a:gd name="T101" fmla="*/ 218 h 222"/>
                <a:gd name="T102" fmla="*/ 209 w 231"/>
                <a:gd name="T103" fmla="*/ 199 h 222"/>
                <a:gd name="T104" fmla="*/ 206 w 231"/>
                <a:gd name="T105" fmla="*/ 185 h 222"/>
                <a:gd name="T106" fmla="*/ 195 w 231"/>
                <a:gd name="T107" fmla="*/ 171 h 222"/>
                <a:gd name="T108" fmla="*/ 211 w 231"/>
                <a:gd name="T109" fmla="*/ 161 h 222"/>
                <a:gd name="T110" fmla="*/ 223 w 231"/>
                <a:gd name="T111" fmla="*/ 15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222">
                  <a:moveTo>
                    <a:pt x="84" y="41"/>
                  </a:moveTo>
                  <a:cubicBezTo>
                    <a:pt x="83" y="39"/>
                    <a:pt x="83" y="37"/>
                    <a:pt x="83" y="35"/>
                  </a:cubicBezTo>
                  <a:cubicBezTo>
                    <a:pt x="84" y="34"/>
                    <a:pt x="84" y="32"/>
                    <a:pt x="85" y="31"/>
                  </a:cubicBezTo>
                  <a:cubicBezTo>
                    <a:pt x="85" y="30"/>
                    <a:pt x="85" y="29"/>
                    <a:pt x="86" y="28"/>
                  </a:cubicBezTo>
                  <a:cubicBezTo>
                    <a:pt x="88" y="28"/>
                    <a:pt x="89" y="28"/>
                    <a:pt x="90" y="29"/>
                  </a:cubicBezTo>
                  <a:cubicBezTo>
                    <a:pt x="91" y="30"/>
                    <a:pt x="92" y="30"/>
                    <a:pt x="93" y="29"/>
                  </a:cubicBezTo>
                  <a:cubicBezTo>
                    <a:pt x="95" y="28"/>
                    <a:pt x="95" y="25"/>
                    <a:pt x="98" y="25"/>
                  </a:cubicBezTo>
                  <a:cubicBezTo>
                    <a:pt x="101" y="24"/>
                    <a:pt x="102" y="27"/>
                    <a:pt x="103" y="29"/>
                  </a:cubicBezTo>
                  <a:cubicBezTo>
                    <a:pt x="103" y="30"/>
                    <a:pt x="103" y="30"/>
                    <a:pt x="104" y="30"/>
                  </a:cubicBezTo>
                  <a:cubicBezTo>
                    <a:pt x="105" y="30"/>
                    <a:pt x="105" y="30"/>
                    <a:pt x="106" y="31"/>
                  </a:cubicBezTo>
                  <a:cubicBezTo>
                    <a:pt x="106" y="32"/>
                    <a:pt x="107" y="34"/>
                    <a:pt x="107" y="35"/>
                  </a:cubicBezTo>
                  <a:cubicBezTo>
                    <a:pt x="107" y="36"/>
                    <a:pt x="106" y="37"/>
                    <a:pt x="105" y="39"/>
                  </a:cubicBezTo>
                  <a:cubicBezTo>
                    <a:pt x="105" y="40"/>
                    <a:pt x="105" y="42"/>
                    <a:pt x="105" y="44"/>
                  </a:cubicBezTo>
                  <a:cubicBezTo>
                    <a:pt x="104" y="45"/>
                    <a:pt x="104" y="46"/>
                    <a:pt x="103" y="47"/>
                  </a:cubicBezTo>
                  <a:cubicBezTo>
                    <a:pt x="101" y="48"/>
                    <a:pt x="100" y="48"/>
                    <a:pt x="99" y="49"/>
                  </a:cubicBezTo>
                  <a:cubicBezTo>
                    <a:pt x="99" y="50"/>
                    <a:pt x="98" y="50"/>
                    <a:pt x="97" y="51"/>
                  </a:cubicBezTo>
                  <a:cubicBezTo>
                    <a:pt x="96" y="51"/>
                    <a:pt x="94" y="51"/>
                    <a:pt x="92" y="50"/>
                  </a:cubicBezTo>
                  <a:cubicBezTo>
                    <a:pt x="90" y="50"/>
                    <a:pt x="89" y="50"/>
                    <a:pt x="87" y="49"/>
                  </a:cubicBezTo>
                  <a:cubicBezTo>
                    <a:pt x="87" y="48"/>
                    <a:pt x="87" y="48"/>
                    <a:pt x="86" y="47"/>
                  </a:cubicBezTo>
                  <a:cubicBezTo>
                    <a:pt x="85" y="46"/>
                    <a:pt x="86" y="45"/>
                    <a:pt x="85" y="44"/>
                  </a:cubicBezTo>
                  <a:cubicBezTo>
                    <a:pt x="85" y="43"/>
                    <a:pt x="85" y="42"/>
                    <a:pt x="84" y="41"/>
                  </a:cubicBezTo>
                  <a:close/>
                  <a:moveTo>
                    <a:pt x="126" y="64"/>
                  </a:moveTo>
                  <a:cubicBezTo>
                    <a:pt x="129" y="66"/>
                    <a:pt x="132" y="67"/>
                    <a:pt x="136" y="67"/>
                  </a:cubicBezTo>
                  <a:cubicBezTo>
                    <a:pt x="138" y="67"/>
                    <a:pt x="140" y="68"/>
                    <a:pt x="141" y="70"/>
                  </a:cubicBezTo>
                  <a:cubicBezTo>
                    <a:pt x="143" y="71"/>
                    <a:pt x="144" y="73"/>
                    <a:pt x="145" y="74"/>
                  </a:cubicBezTo>
                  <a:cubicBezTo>
                    <a:pt x="147" y="75"/>
                    <a:pt x="149" y="76"/>
                    <a:pt x="150" y="77"/>
                  </a:cubicBezTo>
                  <a:cubicBezTo>
                    <a:pt x="150" y="74"/>
                    <a:pt x="150" y="71"/>
                    <a:pt x="150" y="68"/>
                  </a:cubicBezTo>
                  <a:cubicBezTo>
                    <a:pt x="149" y="66"/>
                    <a:pt x="149" y="63"/>
                    <a:pt x="147" y="61"/>
                  </a:cubicBezTo>
                  <a:cubicBezTo>
                    <a:pt x="145" y="59"/>
                    <a:pt x="142" y="60"/>
                    <a:pt x="139" y="60"/>
                  </a:cubicBezTo>
                  <a:cubicBezTo>
                    <a:pt x="135" y="60"/>
                    <a:pt x="132" y="58"/>
                    <a:pt x="128" y="58"/>
                  </a:cubicBezTo>
                  <a:cubicBezTo>
                    <a:pt x="126" y="57"/>
                    <a:pt x="123" y="56"/>
                    <a:pt x="121" y="56"/>
                  </a:cubicBezTo>
                  <a:cubicBezTo>
                    <a:pt x="120" y="58"/>
                    <a:pt x="122" y="59"/>
                    <a:pt x="123" y="60"/>
                  </a:cubicBezTo>
                  <a:cubicBezTo>
                    <a:pt x="124" y="62"/>
                    <a:pt x="125" y="63"/>
                    <a:pt x="126" y="64"/>
                  </a:cubicBezTo>
                  <a:close/>
                  <a:moveTo>
                    <a:pt x="137" y="92"/>
                  </a:moveTo>
                  <a:cubicBezTo>
                    <a:pt x="137" y="93"/>
                    <a:pt x="138" y="94"/>
                    <a:pt x="139" y="94"/>
                  </a:cubicBezTo>
                  <a:cubicBezTo>
                    <a:pt x="139" y="95"/>
                    <a:pt x="140" y="95"/>
                    <a:pt x="141" y="96"/>
                  </a:cubicBezTo>
                  <a:cubicBezTo>
                    <a:pt x="142" y="97"/>
                    <a:pt x="143" y="98"/>
                    <a:pt x="145" y="98"/>
                  </a:cubicBezTo>
                  <a:cubicBezTo>
                    <a:pt x="145" y="97"/>
                    <a:pt x="146" y="97"/>
                    <a:pt x="146" y="96"/>
                  </a:cubicBezTo>
                  <a:cubicBezTo>
                    <a:pt x="147" y="96"/>
                    <a:pt x="148" y="96"/>
                    <a:pt x="149" y="96"/>
                  </a:cubicBezTo>
                  <a:cubicBezTo>
                    <a:pt x="149" y="95"/>
                    <a:pt x="149" y="93"/>
                    <a:pt x="148" y="93"/>
                  </a:cubicBezTo>
                  <a:cubicBezTo>
                    <a:pt x="148" y="91"/>
                    <a:pt x="146" y="90"/>
                    <a:pt x="147" y="88"/>
                  </a:cubicBezTo>
                  <a:cubicBezTo>
                    <a:pt x="147" y="87"/>
                    <a:pt x="148" y="84"/>
                    <a:pt x="148" y="83"/>
                  </a:cubicBezTo>
                  <a:cubicBezTo>
                    <a:pt x="148" y="83"/>
                    <a:pt x="148" y="82"/>
                    <a:pt x="148" y="82"/>
                  </a:cubicBezTo>
                  <a:cubicBezTo>
                    <a:pt x="148" y="81"/>
                    <a:pt x="148" y="80"/>
                    <a:pt x="148" y="80"/>
                  </a:cubicBezTo>
                  <a:cubicBezTo>
                    <a:pt x="148" y="78"/>
                    <a:pt x="147" y="78"/>
                    <a:pt x="146" y="77"/>
                  </a:cubicBezTo>
                  <a:cubicBezTo>
                    <a:pt x="143" y="76"/>
                    <a:pt x="141" y="73"/>
                    <a:pt x="139" y="71"/>
                  </a:cubicBezTo>
                  <a:cubicBezTo>
                    <a:pt x="138" y="70"/>
                    <a:pt x="135" y="67"/>
                    <a:pt x="133" y="68"/>
                  </a:cubicBezTo>
                  <a:cubicBezTo>
                    <a:pt x="132" y="69"/>
                    <a:pt x="133" y="70"/>
                    <a:pt x="133" y="71"/>
                  </a:cubicBezTo>
                  <a:cubicBezTo>
                    <a:pt x="134" y="72"/>
                    <a:pt x="134" y="73"/>
                    <a:pt x="133" y="74"/>
                  </a:cubicBezTo>
                  <a:cubicBezTo>
                    <a:pt x="132" y="75"/>
                    <a:pt x="132" y="76"/>
                    <a:pt x="133" y="77"/>
                  </a:cubicBezTo>
                  <a:cubicBezTo>
                    <a:pt x="133" y="78"/>
                    <a:pt x="134" y="78"/>
                    <a:pt x="135" y="79"/>
                  </a:cubicBezTo>
                  <a:cubicBezTo>
                    <a:pt x="136" y="81"/>
                    <a:pt x="135" y="84"/>
                    <a:pt x="135" y="86"/>
                  </a:cubicBezTo>
                  <a:cubicBezTo>
                    <a:pt x="135" y="88"/>
                    <a:pt x="135" y="90"/>
                    <a:pt x="137" y="92"/>
                  </a:cubicBezTo>
                  <a:close/>
                  <a:moveTo>
                    <a:pt x="162" y="92"/>
                  </a:moveTo>
                  <a:cubicBezTo>
                    <a:pt x="164" y="92"/>
                    <a:pt x="166" y="91"/>
                    <a:pt x="168" y="92"/>
                  </a:cubicBezTo>
                  <a:cubicBezTo>
                    <a:pt x="170" y="93"/>
                    <a:pt x="171" y="94"/>
                    <a:pt x="172" y="95"/>
                  </a:cubicBezTo>
                  <a:cubicBezTo>
                    <a:pt x="174" y="95"/>
                    <a:pt x="175" y="96"/>
                    <a:pt x="177" y="97"/>
                  </a:cubicBezTo>
                  <a:cubicBezTo>
                    <a:pt x="178" y="98"/>
                    <a:pt x="178" y="99"/>
                    <a:pt x="180" y="100"/>
                  </a:cubicBezTo>
                  <a:cubicBezTo>
                    <a:pt x="181" y="101"/>
                    <a:pt x="183" y="101"/>
                    <a:pt x="184" y="102"/>
                  </a:cubicBezTo>
                  <a:cubicBezTo>
                    <a:pt x="184" y="103"/>
                    <a:pt x="185" y="105"/>
                    <a:pt x="186" y="105"/>
                  </a:cubicBezTo>
                  <a:cubicBezTo>
                    <a:pt x="187" y="106"/>
                    <a:pt x="188" y="104"/>
                    <a:pt x="189" y="103"/>
                  </a:cubicBezTo>
                  <a:cubicBezTo>
                    <a:pt x="190" y="103"/>
                    <a:pt x="191" y="102"/>
                    <a:pt x="191" y="101"/>
                  </a:cubicBezTo>
                  <a:cubicBezTo>
                    <a:pt x="191" y="98"/>
                    <a:pt x="188" y="97"/>
                    <a:pt x="187" y="95"/>
                  </a:cubicBezTo>
                  <a:cubicBezTo>
                    <a:pt x="185" y="94"/>
                    <a:pt x="183" y="91"/>
                    <a:pt x="181" y="89"/>
                  </a:cubicBezTo>
                  <a:cubicBezTo>
                    <a:pt x="180" y="87"/>
                    <a:pt x="177" y="86"/>
                    <a:pt x="175" y="85"/>
                  </a:cubicBezTo>
                  <a:cubicBezTo>
                    <a:pt x="174" y="85"/>
                    <a:pt x="173" y="85"/>
                    <a:pt x="171" y="84"/>
                  </a:cubicBezTo>
                  <a:cubicBezTo>
                    <a:pt x="170" y="84"/>
                    <a:pt x="169" y="83"/>
                    <a:pt x="168" y="83"/>
                  </a:cubicBezTo>
                  <a:cubicBezTo>
                    <a:pt x="167" y="83"/>
                    <a:pt x="166" y="84"/>
                    <a:pt x="165" y="84"/>
                  </a:cubicBezTo>
                  <a:cubicBezTo>
                    <a:pt x="164" y="85"/>
                    <a:pt x="163" y="85"/>
                    <a:pt x="162" y="86"/>
                  </a:cubicBezTo>
                  <a:cubicBezTo>
                    <a:pt x="161" y="86"/>
                    <a:pt x="161" y="87"/>
                    <a:pt x="161" y="88"/>
                  </a:cubicBezTo>
                  <a:cubicBezTo>
                    <a:pt x="160" y="89"/>
                    <a:pt x="160" y="90"/>
                    <a:pt x="159" y="91"/>
                  </a:cubicBezTo>
                  <a:cubicBezTo>
                    <a:pt x="160" y="92"/>
                    <a:pt x="161" y="92"/>
                    <a:pt x="162" y="92"/>
                  </a:cubicBezTo>
                  <a:close/>
                  <a:moveTo>
                    <a:pt x="149" y="87"/>
                  </a:moveTo>
                  <a:cubicBezTo>
                    <a:pt x="148" y="89"/>
                    <a:pt x="150" y="91"/>
                    <a:pt x="150" y="93"/>
                  </a:cubicBezTo>
                  <a:cubicBezTo>
                    <a:pt x="151" y="94"/>
                    <a:pt x="150" y="97"/>
                    <a:pt x="148" y="98"/>
                  </a:cubicBezTo>
                  <a:cubicBezTo>
                    <a:pt x="147" y="98"/>
                    <a:pt x="146" y="98"/>
                    <a:pt x="146" y="99"/>
                  </a:cubicBezTo>
                  <a:cubicBezTo>
                    <a:pt x="146" y="100"/>
                    <a:pt x="145" y="101"/>
                    <a:pt x="145" y="101"/>
                  </a:cubicBezTo>
                  <a:cubicBezTo>
                    <a:pt x="145" y="103"/>
                    <a:pt x="149" y="105"/>
                    <a:pt x="150" y="105"/>
                  </a:cubicBezTo>
                  <a:cubicBezTo>
                    <a:pt x="153" y="107"/>
                    <a:pt x="155" y="107"/>
                    <a:pt x="158" y="107"/>
                  </a:cubicBezTo>
                  <a:cubicBezTo>
                    <a:pt x="162" y="106"/>
                    <a:pt x="165" y="106"/>
                    <a:pt x="169" y="106"/>
                  </a:cubicBezTo>
                  <a:cubicBezTo>
                    <a:pt x="171" y="106"/>
                    <a:pt x="172" y="106"/>
                    <a:pt x="173" y="107"/>
                  </a:cubicBezTo>
                  <a:cubicBezTo>
                    <a:pt x="174" y="107"/>
                    <a:pt x="176" y="107"/>
                    <a:pt x="177" y="108"/>
                  </a:cubicBezTo>
                  <a:cubicBezTo>
                    <a:pt x="178" y="109"/>
                    <a:pt x="182" y="116"/>
                    <a:pt x="183" y="110"/>
                  </a:cubicBezTo>
                  <a:cubicBezTo>
                    <a:pt x="184" y="107"/>
                    <a:pt x="185" y="103"/>
                    <a:pt x="181" y="102"/>
                  </a:cubicBezTo>
                  <a:cubicBezTo>
                    <a:pt x="179" y="102"/>
                    <a:pt x="178" y="101"/>
                    <a:pt x="177" y="100"/>
                  </a:cubicBezTo>
                  <a:cubicBezTo>
                    <a:pt x="176" y="99"/>
                    <a:pt x="176" y="98"/>
                    <a:pt x="174" y="98"/>
                  </a:cubicBezTo>
                  <a:cubicBezTo>
                    <a:pt x="172" y="96"/>
                    <a:pt x="170" y="95"/>
                    <a:pt x="168" y="94"/>
                  </a:cubicBezTo>
                  <a:cubicBezTo>
                    <a:pt x="167" y="94"/>
                    <a:pt x="165" y="94"/>
                    <a:pt x="164" y="93"/>
                  </a:cubicBezTo>
                  <a:cubicBezTo>
                    <a:pt x="162" y="93"/>
                    <a:pt x="161" y="94"/>
                    <a:pt x="160" y="94"/>
                  </a:cubicBezTo>
                  <a:cubicBezTo>
                    <a:pt x="158" y="94"/>
                    <a:pt x="158" y="94"/>
                    <a:pt x="157" y="92"/>
                  </a:cubicBezTo>
                  <a:cubicBezTo>
                    <a:pt x="157" y="91"/>
                    <a:pt x="155" y="87"/>
                    <a:pt x="155" y="86"/>
                  </a:cubicBezTo>
                  <a:cubicBezTo>
                    <a:pt x="153" y="84"/>
                    <a:pt x="150" y="85"/>
                    <a:pt x="149" y="87"/>
                  </a:cubicBezTo>
                  <a:close/>
                  <a:moveTo>
                    <a:pt x="190" y="115"/>
                  </a:moveTo>
                  <a:cubicBezTo>
                    <a:pt x="190" y="116"/>
                    <a:pt x="190" y="117"/>
                    <a:pt x="189" y="118"/>
                  </a:cubicBezTo>
                  <a:cubicBezTo>
                    <a:pt x="189" y="119"/>
                    <a:pt x="190" y="120"/>
                    <a:pt x="190" y="121"/>
                  </a:cubicBezTo>
                  <a:cubicBezTo>
                    <a:pt x="190" y="124"/>
                    <a:pt x="193" y="123"/>
                    <a:pt x="194" y="122"/>
                  </a:cubicBezTo>
                  <a:cubicBezTo>
                    <a:pt x="195" y="122"/>
                    <a:pt x="196" y="122"/>
                    <a:pt x="197" y="122"/>
                  </a:cubicBezTo>
                  <a:cubicBezTo>
                    <a:pt x="198" y="121"/>
                    <a:pt x="198" y="121"/>
                    <a:pt x="199" y="120"/>
                  </a:cubicBezTo>
                  <a:cubicBezTo>
                    <a:pt x="200" y="118"/>
                    <a:pt x="199" y="116"/>
                    <a:pt x="198" y="114"/>
                  </a:cubicBezTo>
                  <a:cubicBezTo>
                    <a:pt x="197" y="113"/>
                    <a:pt x="196" y="113"/>
                    <a:pt x="195" y="112"/>
                  </a:cubicBezTo>
                  <a:cubicBezTo>
                    <a:pt x="194" y="111"/>
                    <a:pt x="194" y="111"/>
                    <a:pt x="193" y="111"/>
                  </a:cubicBezTo>
                  <a:cubicBezTo>
                    <a:pt x="192" y="112"/>
                    <a:pt x="191" y="112"/>
                    <a:pt x="191" y="113"/>
                  </a:cubicBezTo>
                  <a:cubicBezTo>
                    <a:pt x="190" y="114"/>
                    <a:pt x="190" y="114"/>
                    <a:pt x="190" y="115"/>
                  </a:cubicBezTo>
                  <a:close/>
                  <a:moveTo>
                    <a:pt x="207" y="96"/>
                  </a:moveTo>
                  <a:cubicBezTo>
                    <a:pt x="206" y="97"/>
                    <a:pt x="206" y="97"/>
                    <a:pt x="207" y="98"/>
                  </a:cubicBezTo>
                  <a:cubicBezTo>
                    <a:pt x="207" y="99"/>
                    <a:pt x="208" y="100"/>
                    <a:pt x="207" y="100"/>
                  </a:cubicBezTo>
                  <a:cubicBezTo>
                    <a:pt x="206" y="100"/>
                    <a:pt x="205" y="99"/>
                    <a:pt x="204" y="100"/>
                  </a:cubicBezTo>
                  <a:cubicBezTo>
                    <a:pt x="204" y="100"/>
                    <a:pt x="203" y="101"/>
                    <a:pt x="203" y="101"/>
                  </a:cubicBezTo>
                  <a:cubicBezTo>
                    <a:pt x="203" y="102"/>
                    <a:pt x="202" y="103"/>
                    <a:pt x="202" y="103"/>
                  </a:cubicBezTo>
                  <a:cubicBezTo>
                    <a:pt x="202" y="104"/>
                    <a:pt x="202" y="105"/>
                    <a:pt x="202" y="106"/>
                  </a:cubicBezTo>
                  <a:cubicBezTo>
                    <a:pt x="202" y="107"/>
                    <a:pt x="202" y="108"/>
                    <a:pt x="202" y="109"/>
                  </a:cubicBezTo>
                  <a:cubicBezTo>
                    <a:pt x="203" y="110"/>
                    <a:pt x="203" y="111"/>
                    <a:pt x="204" y="112"/>
                  </a:cubicBezTo>
                  <a:cubicBezTo>
                    <a:pt x="205" y="113"/>
                    <a:pt x="205" y="114"/>
                    <a:pt x="206" y="114"/>
                  </a:cubicBezTo>
                  <a:cubicBezTo>
                    <a:pt x="206" y="115"/>
                    <a:pt x="207" y="115"/>
                    <a:pt x="208" y="115"/>
                  </a:cubicBezTo>
                  <a:cubicBezTo>
                    <a:pt x="210" y="116"/>
                    <a:pt x="209" y="114"/>
                    <a:pt x="210" y="113"/>
                  </a:cubicBezTo>
                  <a:cubicBezTo>
                    <a:pt x="210" y="112"/>
                    <a:pt x="210" y="112"/>
                    <a:pt x="211" y="111"/>
                  </a:cubicBezTo>
                  <a:cubicBezTo>
                    <a:pt x="211" y="111"/>
                    <a:pt x="211" y="110"/>
                    <a:pt x="212" y="110"/>
                  </a:cubicBezTo>
                  <a:cubicBezTo>
                    <a:pt x="212" y="109"/>
                    <a:pt x="212" y="109"/>
                    <a:pt x="212" y="109"/>
                  </a:cubicBezTo>
                  <a:cubicBezTo>
                    <a:pt x="211" y="107"/>
                    <a:pt x="209" y="107"/>
                    <a:pt x="210" y="105"/>
                  </a:cubicBezTo>
                  <a:cubicBezTo>
                    <a:pt x="210" y="104"/>
                    <a:pt x="211" y="105"/>
                    <a:pt x="212" y="106"/>
                  </a:cubicBezTo>
                  <a:cubicBezTo>
                    <a:pt x="212" y="106"/>
                    <a:pt x="213" y="107"/>
                    <a:pt x="214" y="107"/>
                  </a:cubicBezTo>
                  <a:cubicBezTo>
                    <a:pt x="215" y="107"/>
                    <a:pt x="213" y="105"/>
                    <a:pt x="212" y="104"/>
                  </a:cubicBezTo>
                  <a:cubicBezTo>
                    <a:pt x="211" y="103"/>
                    <a:pt x="210" y="102"/>
                    <a:pt x="210" y="100"/>
                  </a:cubicBezTo>
                  <a:cubicBezTo>
                    <a:pt x="210" y="98"/>
                    <a:pt x="210" y="97"/>
                    <a:pt x="209" y="96"/>
                  </a:cubicBezTo>
                  <a:cubicBezTo>
                    <a:pt x="209" y="95"/>
                    <a:pt x="208" y="95"/>
                    <a:pt x="207" y="96"/>
                  </a:cubicBezTo>
                  <a:close/>
                  <a:moveTo>
                    <a:pt x="201" y="92"/>
                  </a:moveTo>
                  <a:cubicBezTo>
                    <a:pt x="202" y="92"/>
                    <a:pt x="203" y="93"/>
                    <a:pt x="204" y="93"/>
                  </a:cubicBezTo>
                  <a:cubicBezTo>
                    <a:pt x="205" y="93"/>
                    <a:pt x="206" y="94"/>
                    <a:pt x="207" y="93"/>
                  </a:cubicBezTo>
                  <a:cubicBezTo>
                    <a:pt x="208" y="92"/>
                    <a:pt x="207" y="91"/>
                    <a:pt x="206" y="90"/>
                  </a:cubicBezTo>
                  <a:cubicBezTo>
                    <a:pt x="205" y="89"/>
                    <a:pt x="204" y="89"/>
                    <a:pt x="204" y="87"/>
                  </a:cubicBezTo>
                  <a:cubicBezTo>
                    <a:pt x="204" y="86"/>
                    <a:pt x="204" y="85"/>
                    <a:pt x="203" y="85"/>
                  </a:cubicBezTo>
                  <a:cubicBezTo>
                    <a:pt x="202" y="85"/>
                    <a:pt x="202" y="86"/>
                    <a:pt x="202" y="86"/>
                  </a:cubicBezTo>
                  <a:cubicBezTo>
                    <a:pt x="201" y="87"/>
                    <a:pt x="201" y="87"/>
                    <a:pt x="200" y="87"/>
                  </a:cubicBezTo>
                  <a:cubicBezTo>
                    <a:pt x="200" y="88"/>
                    <a:pt x="200" y="88"/>
                    <a:pt x="200" y="89"/>
                  </a:cubicBezTo>
                  <a:cubicBezTo>
                    <a:pt x="200" y="90"/>
                    <a:pt x="201" y="91"/>
                    <a:pt x="201" y="92"/>
                  </a:cubicBezTo>
                  <a:close/>
                  <a:moveTo>
                    <a:pt x="205" y="175"/>
                  </a:moveTo>
                  <a:cubicBezTo>
                    <a:pt x="206" y="175"/>
                    <a:pt x="207" y="175"/>
                    <a:pt x="208" y="174"/>
                  </a:cubicBezTo>
                  <a:cubicBezTo>
                    <a:pt x="208" y="173"/>
                    <a:pt x="209" y="172"/>
                    <a:pt x="210" y="171"/>
                  </a:cubicBezTo>
                  <a:cubicBezTo>
                    <a:pt x="210" y="171"/>
                    <a:pt x="210" y="170"/>
                    <a:pt x="210" y="169"/>
                  </a:cubicBezTo>
                  <a:cubicBezTo>
                    <a:pt x="211" y="169"/>
                    <a:pt x="211" y="169"/>
                    <a:pt x="212" y="168"/>
                  </a:cubicBezTo>
                  <a:cubicBezTo>
                    <a:pt x="212" y="167"/>
                    <a:pt x="213" y="166"/>
                    <a:pt x="213" y="166"/>
                  </a:cubicBezTo>
                  <a:cubicBezTo>
                    <a:pt x="214" y="165"/>
                    <a:pt x="212" y="165"/>
                    <a:pt x="212" y="165"/>
                  </a:cubicBezTo>
                  <a:cubicBezTo>
                    <a:pt x="211" y="165"/>
                    <a:pt x="210" y="166"/>
                    <a:pt x="210" y="167"/>
                  </a:cubicBezTo>
                  <a:cubicBezTo>
                    <a:pt x="209" y="167"/>
                    <a:pt x="208" y="168"/>
                    <a:pt x="207" y="168"/>
                  </a:cubicBezTo>
                  <a:cubicBezTo>
                    <a:pt x="205" y="169"/>
                    <a:pt x="204" y="170"/>
                    <a:pt x="202" y="170"/>
                  </a:cubicBezTo>
                  <a:cubicBezTo>
                    <a:pt x="201" y="170"/>
                    <a:pt x="199" y="170"/>
                    <a:pt x="198" y="171"/>
                  </a:cubicBezTo>
                  <a:cubicBezTo>
                    <a:pt x="197" y="171"/>
                    <a:pt x="198" y="171"/>
                    <a:pt x="198" y="172"/>
                  </a:cubicBezTo>
                  <a:cubicBezTo>
                    <a:pt x="199" y="173"/>
                    <a:pt x="200" y="174"/>
                    <a:pt x="202" y="175"/>
                  </a:cubicBezTo>
                  <a:cubicBezTo>
                    <a:pt x="203" y="176"/>
                    <a:pt x="204" y="176"/>
                    <a:pt x="205" y="175"/>
                  </a:cubicBezTo>
                  <a:close/>
                  <a:moveTo>
                    <a:pt x="221" y="176"/>
                  </a:moveTo>
                  <a:cubicBezTo>
                    <a:pt x="222" y="176"/>
                    <a:pt x="224" y="176"/>
                    <a:pt x="225" y="176"/>
                  </a:cubicBezTo>
                  <a:cubicBezTo>
                    <a:pt x="226" y="175"/>
                    <a:pt x="227" y="175"/>
                    <a:pt x="228" y="175"/>
                  </a:cubicBezTo>
                  <a:cubicBezTo>
                    <a:pt x="228" y="174"/>
                    <a:pt x="228" y="173"/>
                    <a:pt x="228" y="173"/>
                  </a:cubicBezTo>
                  <a:cubicBezTo>
                    <a:pt x="228" y="172"/>
                    <a:pt x="227" y="172"/>
                    <a:pt x="227" y="172"/>
                  </a:cubicBezTo>
                  <a:cubicBezTo>
                    <a:pt x="226" y="171"/>
                    <a:pt x="226" y="171"/>
                    <a:pt x="225" y="170"/>
                  </a:cubicBezTo>
                  <a:cubicBezTo>
                    <a:pt x="224" y="170"/>
                    <a:pt x="223" y="170"/>
                    <a:pt x="222" y="169"/>
                  </a:cubicBezTo>
                  <a:cubicBezTo>
                    <a:pt x="222" y="169"/>
                    <a:pt x="221" y="169"/>
                    <a:pt x="220" y="169"/>
                  </a:cubicBezTo>
                  <a:cubicBezTo>
                    <a:pt x="219" y="168"/>
                    <a:pt x="217" y="168"/>
                    <a:pt x="216" y="168"/>
                  </a:cubicBezTo>
                  <a:cubicBezTo>
                    <a:pt x="215" y="167"/>
                    <a:pt x="214" y="168"/>
                    <a:pt x="213" y="169"/>
                  </a:cubicBezTo>
                  <a:cubicBezTo>
                    <a:pt x="212" y="170"/>
                    <a:pt x="212" y="171"/>
                    <a:pt x="211" y="172"/>
                  </a:cubicBezTo>
                  <a:cubicBezTo>
                    <a:pt x="211" y="172"/>
                    <a:pt x="210" y="172"/>
                    <a:pt x="210" y="173"/>
                  </a:cubicBezTo>
                  <a:cubicBezTo>
                    <a:pt x="209" y="174"/>
                    <a:pt x="209" y="175"/>
                    <a:pt x="210" y="176"/>
                  </a:cubicBezTo>
                  <a:cubicBezTo>
                    <a:pt x="211" y="176"/>
                    <a:pt x="212" y="176"/>
                    <a:pt x="213" y="176"/>
                  </a:cubicBezTo>
                  <a:cubicBezTo>
                    <a:pt x="214" y="176"/>
                    <a:pt x="215" y="177"/>
                    <a:pt x="216" y="177"/>
                  </a:cubicBezTo>
                  <a:cubicBezTo>
                    <a:pt x="216" y="177"/>
                    <a:pt x="217" y="177"/>
                    <a:pt x="218" y="177"/>
                  </a:cubicBezTo>
                  <a:cubicBezTo>
                    <a:pt x="219" y="177"/>
                    <a:pt x="220" y="177"/>
                    <a:pt x="221" y="176"/>
                  </a:cubicBezTo>
                  <a:close/>
                  <a:moveTo>
                    <a:pt x="203" y="180"/>
                  </a:moveTo>
                  <a:cubicBezTo>
                    <a:pt x="204" y="181"/>
                    <a:pt x="204" y="181"/>
                    <a:pt x="205" y="182"/>
                  </a:cubicBezTo>
                  <a:cubicBezTo>
                    <a:pt x="205" y="182"/>
                    <a:pt x="205" y="182"/>
                    <a:pt x="205" y="183"/>
                  </a:cubicBezTo>
                  <a:cubicBezTo>
                    <a:pt x="205" y="184"/>
                    <a:pt x="206" y="184"/>
                    <a:pt x="207" y="184"/>
                  </a:cubicBezTo>
                  <a:cubicBezTo>
                    <a:pt x="207" y="185"/>
                    <a:pt x="208" y="185"/>
                    <a:pt x="208" y="185"/>
                  </a:cubicBezTo>
                  <a:cubicBezTo>
                    <a:pt x="209" y="185"/>
                    <a:pt x="209" y="185"/>
                    <a:pt x="210" y="185"/>
                  </a:cubicBezTo>
                  <a:cubicBezTo>
                    <a:pt x="211" y="185"/>
                    <a:pt x="212" y="185"/>
                    <a:pt x="213" y="185"/>
                  </a:cubicBezTo>
                  <a:cubicBezTo>
                    <a:pt x="213" y="185"/>
                    <a:pt x="214" y="185"/>
                    <a:pt x="214" y="184"/>
                  </a:cubicBezTo>
                  <a:cubicBezTo>
                    <a:pt x="215" y="184"/>
                    <a:pt x="215" y="183"/>
                    <a:pt x="215" y="183"/>
                  </a:cubicBezTo>
                  <a:cubicBezTo>
                    <a:pt x="216" y="183"/>
                    <a:pt x="217" y="182"/>
                    <a:pt x="217" y="182"/>
                  </a:cubicBezTo>
                  <a:cubicBezTo>
                    <a:pt x="217" y="182"/>
                    <a:pt x="217" y="181"/>
                    <a:pt x="217" y="181"/>
                  </a:cubicBezTo>
                  <a:cubicBezTo>
                    <a:pt x="217" y="180"/>
                    <a:pt x="216" y="179"/>
                    <a:pt x="216" y="179"/>
                  </a:cubicBezTo>
                  <a:cubicBezTo>
                    <a:pt x="214" y="179"/>
                    <a:pt x="213" y="179"/>
                    <a:pt x="212" y="178"/>
                  </a:cubicBezTo>
                  <a:cubicBezTo>
                    <a:pt x="211" y="177"/>
                    <a:pt x="211" y="177"/>
                    <a:pt x="210" y="177"/>
                  </a:cubicBezTo>
                  <a:cubicBezTo>
                    <a:pt x="208" y="177"/>
                    <a:pt x="207" y="177"/>
                    <a:pt x="206" y="177"/>
                  </a:cubicBezTo>
                  <a:cubicBezTo>
                    <a:pt x="205" y="177"/>
                    <a:pt x="202" y="176"/>
                    <a:pt x="202" y="178"/>
                  </a:cubicBezTo>
                  <a:cubicBezTo>
                    <a:pt x="202" y="178"/>
                    <a:pt x="202" y="179"/>
                    <a:pt x="202" y="180"/>
                  </a:cubicBezTo>
                  <a:cubicBezTo>
                    <a:pt x="203" y="180"/>
                    <a:pt x="203" y="180"/>
                    <a:pt x="203" y="180"/>
                  </a:cubicBezTo>
                  <a:close/>
                  <a:moveTo>
                    <a:pt x="185" y="116"/>
                  </a:moveTo>
                  <a:cubicBezTo>
                    <a:pt x="185" y="116"/>
                    <a:pt x="185" y="115"/>
                    <a:pt x="185" y="115"/>
                  </a:cubicBezTo>
                  <a:cubicBezTo>
                    <a:pt x="185" y="114"/>
                    <a:pt x="184" y="114"/>
                    <a:pt x="183" y="114"/>
                  </a:cubicBezTo>
                  <a:cubicBezTo>
                    <a:pt x="183" y="114"/>
                    <a:pt x="182" y="115"/>
                    <a:pt x="183" y="115"/>
                  </a:cubicBezTo>
                  <a:cubicBezTo>
                    <a:pt x="183" y="115"/>
                    <a:pt x="183" y="116"/>
                    <a:pt x="183" y="116"/>
                  </a:cubicBezTo>
                  <a:cubicBezTo>
                    <a:pt x="184" y="117"/>
                    <a:pt x="184" y="117"/>
                    <a:pt x="184" y="117"/>
                  </a:cubicBezTo>
                  <a:cubicBezTo>
                    <a:pt x="184" y="118"/>
                    <a:pt x="185" y="119"/>
                    <a:pt x="185" y="119"/>
                  </a:cubicBezTo>
                  <a:cubicBezTo>
                    <a:pt x="186" y="118"/>
                    <a:pt x="186" y="118"/>
                    <a:pt x="186" y="118"/>
                  </a:cubicBezTo>
                  <a:cubicBezTo>
                    <a:pt x="186" y="118"/>
                    <a:pt x="186" y="118"/>
                    <a:pt x="186" y="117"/>
                  </a:cubicBezTo>
                  <a:cubicBezTo>
                    <a:pt x="186" y="117"/>
                    <a:pt x="185" y="116"/>
                    <a:pt x="185" y="116"/>
                  </a:cubicBezTo>
                  <a:close/>
                  <a:moveTo>
                    <a:pt x="229" y="152"/>
                  </a:moveTo>
                  <a:cubicBezTo>
                    <a:pt x="229" y="151"/>
                    <a:pt x="228" y="149"/>
                    <a:pt x="228" y="147"/>
                  </a:cubicBezTo>
                  <a:cubicBezTo>
                    <a:pt x="228" y="145"/>
                    <a:pt x="227" y="143"/>
                    <a:pt x="227" y="143"/>
                  </a:cubicBezTo>
                  <a:cubicBezTo>
                    <a:pt x="227" y="143"/>
                    <a:pt x="225" y="138"/>
                    <a:pt x="224" y="136"/>
                  </a:cubicBezTo>
                  <a:cubicBezTo>
                    <a:pt x="224" y="134"/>
                    <a:pt x="222" y="134"/>
                    <a:pt x="222" y="134"/>
                  </a:cubicBezTo>
                  <a:cubicBezTo>
                    <a:pt x="221" y="134"/>
                    <a:pt x="219" y="133"/>
                    <a:pt x="218" y="132"/>
                  </a:cubicBezTo>
                  <a:cubicBezTo>
                    <a:pt x="217" y="131"/>
                    <a:pt x="216" y="129"/>
                    <a:pt x="215" y="128"/>
                  </a:cubicBezTo>
                  <a:cubicBezTo>
                    <a:pt x="213" y="127"/>
                    <a:pt x="212" y="126"/>
                    <a:pt x="211" y="126"/>
                  </a:cubicBezTo>
                  <a:cubicBezTo>
                    <a:pt x="210" y="126"/>
                    <a:pt x="208" y="124"/>
                    <a:pt x="207" y="123"/>
                  </a:cubicBezTo>
                  <a:cubicBezTo>
                    <a:pt x="206" y="123"/>
                    <a:pt x="202" y="121"/>
                    <a:pt x="200" y="122"/>
                  </a:cubicBezTo>
                  <a:cubicBezTo>
                    <a:pt x="199" y="123"/>
                    <a:pt x="198" y="123"/>
                    <a:pt x="196" y="124"/>
                  </a:cubicBezTo>
                  <a:cubicBezTo>
                    <a:pt x="195" y="124"/>
                    <a:pt x="194" y="125"/>
                    <a:pt x="193" y="126"/>
                  </a:cubicBezTo>
                  <a:cubicBezTo>
                    <a:pt x="192" y="127"/>
                    <a:pt x="191" y="129"/>
                    <a:pt x="190" y="129"/>
                  </a:cubicBezTo>
                  <a:cubicBezTo>
                    <a:pt x="188" y="130"/>
                    <a:pt x="187" y="130"/>
                    <a:pt x="187" y="130"/>
                  </a:cubicBezTo>
                  <a:cubicBezTo>
                    <a:pt x="187" y="130"/>
                    <a:pt x="182" y="134"/>
                    <a:pt x="179" y="136"/>
                  </a:cubicBezTo>
                  <a:cubicBezTo>
                    <a:pt x="176" y="137"/>
                    <a:pt x="174" y="138"/>
                    <a:pt x="173" y="138"/>
                  </a:cubicBezTo>
                  <a:cubicBezTo>
                    <a:pt x="172" y="138"/>
                    <a:pt x="168" y="139"/>
                    <a:pt x="167" y="139"/>
                  </a:cubicBezTo>
                  <a:cubicBezTo>
                    <a:pt x="167" y="139"/>
                    <a:pt x="161" y="141"/>
                    <a:pt x="160" y="141"/>
                  </a:cubicBezTo>
                  <a:cubicBezTo>
                    <a:pt x="159" y="142"/>
                    <a:pt x="157" y="143"/>
                    <a:pt x="157" y="144"/>
                  </a:cubicBezTo>
                  <a:cubicBezTo>
                    <a:pt x="157" y="144"/>
                    <a:pt x="152" y="144"/>
                    <a:pt x="152" y="143"/>
                  </a:cubicBezTo>
                  <a:cubicBezTo>
                    <a:pt x="152" y="142"/>
                    <a:pt x="154" y="142"/>
                    <a:pt x="154" y="142"/>
                  </a:cubicBezTo>
                  <a:cubicBezTo>
                    <a:pt x="155" y="142"/>
                    <a:pt x="156" y="142"/>
                    <a:pt x="156" y="141"/>
                  </a:cubicBezTo>
                  <a:cubicBezTo>
                    <a:pt x="156" y="141"/>
                    <a:pt x="158" y="140"/>
                    <a:pt x="158" y="140"/>
                  </a:cubicBezTo>
                  <a:cubicBezTo>
                    <a:pt x="159" y="140"/>
                    <a:pt x="162" y="138"/>
                    <a:pt x="163" y="138"/>
                  </a:cubicBezTo>
                  <a:cubicBezTo>
                    <a:pt x="164" y="138"/>
                    <a:pt x="167" y="137"/>
                    <a:pt x="167" y="136"/>
                  </a:cubicBezTo>
                  <a:cubicBezTo>
                    <a:pt x="167" y="136"/>
                    <a:pt x="175" y="134"/>
                    <a:pt x="176" y="133"/>
                  </a:cubicBezTo>
                  <a:cubicBezTo>
                    <a:pt x="177" y="132"/>
                    <a:pt x="187" y="127"/>
                    <a:pt x="187" y="127"/>
                  </a:cubicBezTo>
                  <a:cubicBezTo>
                    <a:pt x="188" y="126"/>
                    <a:pt x="187" y="125"/>
                    <a:pt x="187" y="124"/>
                  </a:cubicBezTo>
                  <a:cubicBezTo>
                    <a:pt x="187" y="123"/>
                    <a:pt x="185" y="122"/>
                    <a:pt x="184" y="122"/>
                  </a:cubicBezTo>
                  <a:cubicBezTo>
                    <a:pt x="184" y="121"/>
                    <a:pt x="181" y="116"/>
                    <a:pt x="181" y="115"/>
                  </a:cubicBezTo>
                  <a:cubicBezTo>
                    <a:pt x="180" y="115"/>
                    <a:pt x="175" y="111"/>
                    <a:pt x="173" y="109"/>
                  </a:cubicBezTo>
                  <a:cubicBezTo>
                    <a:pt x="171" y="108"/>
                    <a:pt x="172" y="109"/>
                    <a:pt x="170" y="109"/>
                  </a:cubicBezTo>
                  <a:cubicBezTo>
                    <a:pt x="169" y="110"/>
                    <a:pt x="165" y="109"/>
                    <a:pt x="165" y="109"/>
                  </a:cubicBezTo>
                  <a:cubicBezTo>
                    <a:pt x="164" y="108"/>
                    <a:pt x="163" y="108"/>
                    <a:pt x="162" y="108"/>
                  </a:cubicBezTo>
                  <a:cubicBezTo>
                    <a:pt x="162" y="108"/>
                    <a:pt x="156" y="109"/>
                    <a:pt x="155" y="109"/>
                  </a:cubicBezTo>
                  <a:cubicBezTo>
                    <a:pt x="154" y="109"/>
                    <a:pt x="149" y="108"/>
                    <a:pt x="148" y="107"/>
                  </a:cubicBezTo>
                  <a:cubicBezTo>
                    <a:pt x="146" y="106"/>
                    <a:pt x="142" y="102"/>
                    <a:pt x="142" y="101"/>
                  </a:cubicBezTo>
                  <a:cubicBezTo>
                    <a:pt x="141" y="100"/>
                    <a:pt x="140" y="98"/>
                    <a:pt x="140" y="98"/>
                  </a:cubicBezTo>
                  <a:cubicBezTo>
                    <a:pt x="140" y="98"/>
                    <a:pt x="137" y="96"/>
                    <a:pt x="135" y="94"/>
                  </a:cubicBezTo>
                  <a:cubicBezTo>
                    <a:pt x="133" y="92"/>
                    <a:pt x="133" y="90"/>
                    <a:pt x="133" y="89"/>
                  </a:cubicBezTo>
                  <a:cubicBezTo>
                    <a:pt x="132" y="88"/>
                    <a:pt x="132" y="85"/>
                    <a:pt x="132" y="84"/>
                  </a:cubicBezTo>
                  <a:cubicBezTo>
                    <a:pt x="132" y="84"/>
                    <a:pt x="132" y="82"/>
                    <a:pt x="132" y="81"/>
                  </a:cubicBezTo>
                  <a:cubicBezTo>
                    <a:pt x="132" y="80"/>
                    <a:pt x="131" y="79"/>
                    <a:pt x="131" y="79"/>
                  </a:cubicBezTo>
                  <a:cubicBezTo>
                    <a:pt x="130" y="82"/>
                    <a:pt x="130" y="82"/>
                    <a:pt x="130" y="82"/>
                  </a:cubicBezTo>
                  <a:cubicBezTo>
                    <a:pt x="130" y="85"/>
                    <a:pt x="130" y="85"/>
                    <a:pt x="130" y="85"/>
                  </a:cubicBezTo>
                  <a:cubicBezTo>
                    <a:pt x="130" y="85"/>
                    <a:pt x="128" y="86"/>
                    <a:pt x="128" y="85"/>
                  </a:cubicBezTo>
                  <a:cubicBezTo>
                    <a:pt x="129" y="85"/>
                    <a:pt x="130" y="83"/>
                    <a:pt x="129" y="82"/>
                  </a:cubicBezTo>
                  <a:cubicBezTo>
                    <a:pt x="129" y="81"/>
                    <a:pt x="129" y="77"/>
                    <a:pt x="129" y="77"/>
                  </a:cubicBezTo>
                  <a:cubicBezTo>
                    <a:pt x="129" y="76"/>
                    <a:pt x="129" y="71"/>
                    <a:pt x="129" y="71"/>
                  </a:cubicBezTo>
                  <a:cubicBezTo>
                    <a:pt x="129" y="71"/>
                    <a:pt x="129" y="70"/>
                    <a:pt x="129" y="70"/>
                  </a:cubicBezTo>
                  <a:cubicBezTo>
                    <a:pt x="128" y="70"/>
                    <a:pt x="123" y="67"/>
                    <a:pt x="122" y="67"/>
                  </a:cubicBezTo>
                  <a:cubicBezTo>
                    <a:pt x="121" y="66"/>
                    <a:pt x="115" y="62"/>
                    <a:pt x="114" y="61"/>
                  </a:cubicBezTo>
                  <a:cubicBezTo>
                    <a:pt x="114" y="61"/>
                    <a:pt x="106" y="54"/>
                    <a:pt x="105" y="53"/>
                  </a:cubicBezTo>
                  <a:cubicBezTo>
                    <a:pt x="104" y="53"/>
                    <a:pt x="102" y="53"/>
                    <a:pt x="101" y="53"/>
                  </a:cubicBezTo>
                  <a:cubicBezTo>
                    <a:pt x="99" y="53"/>
                    <a:pt x="97" y="54"/>
                    <a:pt x="96" y="54"/>
                  </a:cubicBezTo>
                  <a:cubicBezTo>
                    <a:pt x="95" y="54"/>
                    <a:pt x="93" y="54"/>
                    <a:pt x="93" y="54"/>
                  </a:cubicBezTo>
                  <a:cubicBezTo>
                    <a:pt x="92" y="54"/>
                    <a:pt x="89" y="52"/>
                    <a:pt x="89" y="52"/>
                  </a:cubicBezTo>
                  <a:cubicBezTo>
                    <a:pt x="88" y="52"/>
                    <a:pt x="88" y="53"/>
                    <a:pt x="85" y="51"/>
                  </a:cubicBezTo>
                  <a:cubicBezTo>
                    <a:pt x="81" y="49"/>
                    <a:pt x="81" y="45"/>
                    <a:pt x="81" y="44"/>
                  </a:cubicBezTo>
                  <a:cubicBezTo>
                    <a:pt x="81" y="43"/>
                    <a:pt x="81" y="42"/>
                    <a:pt x="80" y="41"/>
                  </a:cubicBezTo>
                  <a:cubicBezTo>
                    <a:pt x="80" y="40"/>
                    <a:pt x="79" y="38"/>
                    <a:pt x="79" y="36"/>
                  </a:cubicBezTo>
                  <a:cubicBezTo>
                    <a:pt x="78" y="34"/>
                    <a:pt x="78" y="33"/>
                    <a:pt x="78" y="30"/>
                  </a:cubicBezTo>
                  <a:cubicBezTo>
                    <a:pt x="77" y="28"/>
                    <a:pt x="76" y="28"/>
                    <a:pt x="75" y="27"/>
                  </a:cubicBezTo>
                  <a:cubicBezTo>
                    <a:pt x="74" y="26"/>
                    <a:pt x="70" y="24"/>
                    <a:pt x="68" y="23"/>
                  </a:cubicBezTo>
                  <a:cubicBezTo>
                    <a:pt x="66" y="22"/>
                    <a:pt x="65" y="20"/>
                    <a:pt x="64" y="18"/>
                  </a:cubicBezTo>
                  <a:cubicBezTo>
                    <a:pt x="64" y="16"/>
                    <a:pt x="62" y="15"/>
                    <a:pt x="61" y="15"/>
                  </a:cubicBezTo>
                  <a:cubicBezTo>
                    <a:pt x="61" y="15"/>
                    <a:pt x="59" y="15"/>
                    <a:pt x="58" y="14"/>
                  </a:cubicBezTo>
                  <a:cubicBezTo>
                    <a:pt x="56" y="14"/>
                    <a:pt x="53" y="14"/>
                    <a:pt x="52" y="14"/>
                  </a:cubicBezTo>
                  <a:cubicBezTo>
                    <a:pt x="52" y="14"/>
                    <a:pt x="50" y="14"/>
                    <a:pt x="49" y="15"/>
                  </a:cubicBezTo>
                  <a:cubicBezTo>
                    <a:pt x="49" y="15"/>
                    <a:pt x="47" y="17"/>
                    <a:pt x="47" y="17"/>
                  </a:cubicBezTo>
                  <a:cubicBezTo>
                    <a:pt x="47" y="17"/>
                    <a:pt x="45" y="18"/>
                    <a:pt x="44" y="17"/>
                  </a:cubicBezTo>
                  <a:cubicBezTo>
                    <a:pt x="44" y="16"/>
                    <a:pt x="42" y="17"/>
                    <a:pt x="42" y="17"/>
                  </a:cubicBezTo>
                  <a:cubicBezTo>
                    <a:pt x="41" y="17"/>
                    <a:pt x="41" y="20"/>
                    <a:pt x="41" y="20"/>
                  </a:cubicBezTo>
                  <a:cubicBezTo>
                    <a:pt x="42" y="20"/>
                    <a:pt x="43" y="22"/>
                    <a:pt x="45" y="24"/>
                  </a:cubicBezTo>
                  <a:cubicBezTo>
                    <a:pt x="47" y="25"/>
                    <a:pt x="49" y="27"/>
                    <a:pt x="50" y="27"/>
                  </a:cubicBezTo>
                  <a:cubicBezTo>
                    <a:pt x="52" y="28"/>
                    <a:pt x="53" y="31"/>
                    <a:pt x="54" y="32"/>
                  </a:cubicBezTo>
                  <a:cubicBezTo>
                    <a:pt x="54" y="33"/>
                    <a:pt x="55" y="37"/>
                    <a:pt x="55" y="38"/>
                  </a:cubicBezTo>
                  <a:cubicBezTo>
                    <a:pt x="55" y="39"/>
                    <a:pt x="55" y="40"/>
                    <a:pt x="56" y="41"/>
                  </a:cubicBezTo>
                  <a:cubicBezTo>
                    <a:pt x="56" y="41"/>
                    <a:pt x="56" y="43"/>
                    <a:pt x="56" y="44"/>
                  </a:cubicBezTo>
                  <a:cubicBezTo>
                    <a:pt x="56" y="44"/>
                    <a:pt x="55" y="44"/>
                    <a:pt x="55" y="44"/>
                  </a:cubicBezTo>
                  <a:cubicBezTo>
                    <a:pt x="54" y="43"/>
                    <a:pt x="54" y="43"/>
                    <a:pt x="54" y="43"/>
                  </a:cubicBezTo>
                  <a:cubicBezTo>
                    <a:pt x="53" y="41"/>
                    <a:pt x="53" y="41"/>
                    <a:pt x="53" y="41"/>
                  </a:cubicBezTo>
                  <a:cubicBezTo>
                    <a:pt x="53" y="41"/>
                    <a:pt x="54" y="40"/>
                    <a:pt x="54" y="39"/>
                  </a:cubicBezTo>
                  <a:cubicBezTo>
                    <a:pt x="54" y="38"/>
                    <a:pt x="53" y="36"/>
                    <a:pt x="52" y="35"/>
                  </a:cubicBezTo>
                  <a:cubicBezTo>
                    <a:pt x="52" y="34"/>
                    <a:pt x="50" y="32"/>
                    <a:pt x="49" y="31"/>
                  </a:cubicBezTo>
                  <a:cubicBezTo>
                    <a:pt x="49" y="30"/>
                    <a:pt x="45" y="28"/>
                    <a:pt x="45" y="28"/>
                  </a:cubicBezTo>
                  <a:cubicBezTo>
                    <a:pt x="44" y="28"/>
                    <a:pt x="39" y="26"/>
                    <a:pt x="38" y="25"/>
                  </a:cubicBezTo>
                  <a:cubicBezTo>
                    <a:pt x="38" y="25"/>
                    <a:pt x="33" y="22"/>
                    <a:pt x="32" y="22"/>
                  </a:cubicBezTo>
                  <a:cubicBezTo>
                    <a:pt x="31" y="22"/>
                    <a:pt x="27" y="18"/>
                    <a:pt x="27" y="18"/>
                  </a:cubicBezTo>
                  <a:cubicBezTo>
                    <a:pt x="26" y="17"/>
                    <a:pt x="23" y="13"/>
                    <a:pt x="22" y="12"/>
                  </a:cubicBezTo>
                  <a:cubicBezTo>
                    <a:pt x="21" y="10"/>
                    <a:pt x="20" y="7"/>
                    <a:pt x="20" y="5"/>
                  </a:cubicBezTo>
                  <a:cubicBezTo>
                    <a:pt x="19" y="3"/>
                    <a:pt x="19" y="1"/>
                    <a:pt x="18" y="0"/>
                  </a:cubicBezTo>
                  <a:cubicBezTo>
                    <a:pt x="18" y="0"/>
                    <a:pt x="18" y="0"/>
                    <a:pt x="18" y="0"/>
                  </a:cubicBezTo>
                  <a:cubicBezTo>
                    <a:pt x="18" y="2"/>
                    <a:pt x="16" y="5"/>
                    <a:pt x="16" y="7"/>
                  </a:cubicBezTo>
                  <a:cubicBezTo>
                    <a:pt x="16" y="11"/>
                    <a:pt x="17" y="13"/>
                    <a:pt x="18" y="16"/>
                  </a:cubicBezTo>
                  <a:cubicBezTo>
                    <a:pt x="19" y="20"/>
                    <a:pt x="20" y="22"/>
                    <a:pt x="19" y="26"/>
                  </a:cubicBezTo>
                  <a:cubicBezTo>
                    <a:pt x="18" y="29"/>
                    <a:pt x="17" y="32"/>
                    <a:pt x="17" y="36"/>
                  </a:cubicBezTo>
                  <a:cubicBezTo>
                    <a:pt x="16" y="38"/>
                    <a:pt x="15" y="40"/>
                    <a:pt x="15" y="42"/>
                  </a:cubicBezTo>
                  <a:cubicBezTo>
                    <a:pt x="15" y="43"/>
                    <a:pt x="16" y="44"/>
                    <a:pt x="17" y="45"/>
                  </a:cubicBezTo>
                  <a:cubicBezTo>
                    <a:pt x="17" y="46"/>
                    <a:pt x="19" y="45"/>
                    <a:pt x="20" y="45"/>
                  </a:cubicBezTo>
                  <a:cubicBezTo>
                    <a:pt x="20" y="47"/>
                    <a:pt x="19" y="48"/>
                    <a:pt x="19" y="49"/>
                  </a:cubicBezTo>
                  <a:cubicBezTo>
                    <a:pt x="20" y="51"/>
                    <a:pt x="21" y="50"/>
                    <a:pt x="22" y="52"/>
                  </a:cubicBezTo>
                  <a:cubicBezTo>
                    <a:pt x="23" y="53"/>
                    <a:pt x="22" y="55"/>
                    <a:pt x="22" y="56"/>
                  </a:cubicBezTo>
                  <a:cubicBezTo>
                    <a:pt x="22" y="58"/>
                    <a:pt x="23" y="59"/>
                    <a:pt x="23" y="60"/>
                  </a:cubicBezTo>
                  <a:cubicBezTo>
                    <a:pt x="23" y="62"/>
                    <a:pt x="23" y="63"/>
                    <a:pt x="22" y="64"/>
                  </a:cubicBezTo>
                  <a:cubicBezTo>
                    <a:pt x="21" y="66"/>
                    <a:pt x="21" y="64"/>
                    <a:pt x="19" y="64"/>
                  </a:cubicBezTo>
                  <a:cubicBezTo>
                    <a:pt x="17" y="64"/>
                    <a:pt x="18" y="65"/>
                    <a:pt x="17" y="66"/>
                  </a:cubicBezTo>
                  <a:cubicBezTo>
                    <a:pt x="16" y="68"/>
                    <a:pt x="15" y="68"/>
                    <a:pt x="14" y="69"/>
                  </a:cubicBezTo>
                  <a:cubicBezTo>
                    <a:pt x="11" y="69"/>
                    <a:pt x="8" y="69"/>
                    <a:pt x="5" y="69"/>
                  </a:cubicBezTo>
                  <a:cubicBezTo>
                    <a:pt x="2" y="69"/>
                    <a:pt x="0" y="69"/>
                    <a:pt x="0" y="73"/>
                  </a:cubicBezTo>
                  <a:cubicBezTo>
                    <a:pt x="0" y="75"/>
                    <a:pt x="1" y="75"/>
                    <a:pt x="3" y="76"/>
                  </a:cubicBezTo>
                  <a:cubicBezTo>
                    <a:pt x="4" y="77"/>
                    <a:pt x="4" y="78"/>
                    <a:pt x="5" y="79"/>
                  </a:cubicBezTo>
                  <a:cubicBezTo>
                    <a:pt x="5" y="81"/>
                    <a:pt x="6" y="82"/>
                    <a:pt x="7" y="83"/>
                  </a:cubicBezTo>
                  <a:cubicBezTo>
                    <a:pt x="9" y="85"/>
                    <a:pt x="8" y="85"/>
                    <a:pt x="6" y="87"/>
                  </a:cubicBezTo>
                  <a:cubicBezTo>
                    <a:pt x="6" y="88"/>
                    <a:pt x="5" y="89"/>
                    <a:pt x="5" y="91"/>
                  </a:cubicBezTo>
                  <a:cubicBezTo>
                    <a:pt x="6" y="91"/>
                    <a:pt x="7" y="92"/>
                    <a:pt x="7" y="93"/>
                  </a:cubicBezTo>
                  <a:cubicBezTo>
                    <a:pt x="7" y="93"/>
                    <a:pt x="7" y="94"/>
                    <a:pt x="7" y="95"/>
                  </a:cubicBezTo>
                  <a:cubicBezTo>
                    <a:pt x="6" y="97"/>
                    <a:pt x="6" y="100"/>
                    <a:pt x="5" y="102"/>
                  </a:cubicBezTo>
                  <a:cubicBezTo>
                    <a:pt x="5" y="103"/>
                    <a:pt x="5" y="104"/>
                    <a:pt x="5" y="106"/>
                  </a:cubicBezTo>
                  <a:cubicBezTo>
                    <a:pt x="7" y="106"/>
                    <a:pt x="8" y="106"/>
                    <a:pt x="9" y="107"/>
                  </a:cubicBezTo>
                  <a:cubicBezTo>
                    <a:pt x="10" y="108"/>
                    <a:pt x="12" y="108"/>
                    <a:pt x="13" y="109"/>
                  </a:cubicBezTo>
                  <a:cubicBezTo>
                    <a:pt x="14" y="111"/>
                    <a:pt x="13" y="111"/>
                    <a:pt x="12" y="112"/>
                  </a:cubicBezTo>
                  <a:cubicBezTo>
                    <a:pt x="10" y="114"/>
                    <a:pt x="8" y="117"/>
                    <a:pt x="9" y="120"/>
                  </a:cubicBezTo>
                  <a:cubicBezTo>
                    <a:pt x="10" y="122"/>
                    <a:pt x="13" y="120"/>
                    <a:pt x="14" y="123"/>
                  </a:cubicBezTo>
                  <a:cubicBezTo>
                    <a:pt x="14" y="124"/>
                    <a:pt x="13" y="126"/>
                    <a:pt x="14" y="127"/>
                  </a:cubicBezTo>
                  <a:cubicBezTo>
                    <a:pt x="15" y="132"/>
                    <a:pt x="23" y="128"/>
                    <a:pt x="26" y="129"/>
                  </a:cubicBezTo>
                  <a:cubicBezTo>
                    <a:pt x="28" y="129"/>
                    <a:pt x="28" y="131"/>
                    <a:pt x="29" y="132"/>
                  </a:cubicBezTo>
                  <a:cubicBezTo>
                    <a:pt x="31" y="134"/>
                    <a:pt x="33" y="136"/>
                    <a:pt x="34" y="138"/>
                  </a:cubicBezTo>
                  <a:cubicBezTo>
                    <a:pt x="35" y="139"/>
                    <a:pt x="37" y="142"/>
                    <a:pt x="39" y="142"/>
                  </a:cubicBezTo>
                  <a:cubicBezTo>
                    <a:pt x="40" y="141"/>
                    <a:pt x="40" y="140"/>
                    <a:pt x="41" y="140"/>
                  </a:cubicBezTo>
                  <a:cubicBezTo>
                    <a:pt x="42" y="139"/>
                    <a:pt x="44" y="139"/>
                    <a:pt x="45" y="139"/>
                  </a:cubicBezTo>
                  <a:cubicBezTo>
                    <a:pt x="48" y="139"/>
                    <a:pt x="48" y="139"/>
                    <a:pt x="49" y="141"/>
                  </a:cubicBezTo>
                  <a:cubicBezTo>
                    <a:pt x="49" y="143"/>
                    <a:pt x="49" y="144"/>
                    <a:pt x="48" y="145"/>
                  </a:cubicBezTo>
                  <a:cubicBezTo>
                    <a:pt x="47" y="146"/>
                    <a:pt x="45" y="146"/>
                    <a:pt x="45" y="148"/>
                  </a:cubicBezTo>
                  <a:cubicBezTo>
                    <a:pt x="45" y="150"/>
                    <a:pt x="46" y="150"/>
                    <a:pt x="47" y="151"/>
                  </a:cubicBezTo>
                  <a:cubicBezTo>
                    <a:pt x="49" y="151"/>
                    <a:pt x="50" y="153"/>
                    <a:pt x="49" y="154"/>
                  </a:cubicBezTo>
                  <a:cubicBezTo>
                    <a:pt x="48" y="156"/>
                    <a:pt x="46" y="155"/>
                    <a:pt x="45" y="156"/>
                  </a:cubicBezTo>
                  <a:cubicBezTo>
                    <a:pt x="43" y="158"/>
                    <a:pt x="45" y="160"/>
                    <a:pt x="44" y="162"/>
                  </a:cubicBezTo>
                  <a:cubicBezTo>
                    <a:pt x="45" y="164"/>
                    <a:pt x="45" y="166"/>
                    <a:pt x="46" y="168"/>
                  </a:cubicBezTo>
                  <a:cubicBezTo>
                    <a:pt x="47" y="170"/>
                    <a:pt x="49" y="171"/>
                    <a:pt x="50" y="174"/>
                  </a:cubicBezTo>
                  <a:cubicBezTo>
                    <a:pt x="51" y="176"/>
                    <a:pt x="53" y="175"/>
                    <a:pt x="55" y="174"/>
                  </a:cubicBezTo>
                  <a:cubicBezTo>
                    <a:pt x="57" y="173"/>
                    <a:pt x="59" y="172"/>
                    <a:pt x="60" y="175"/>
                  </a:cubicBezTo>
                  <a:cubicBezTo>
                    <a:pt x="62" y="177"/>
                    <a:pt x="61" y="179"/>
                    <a:pt x="62" y="181"/>
                  </a:cubicBezTo>
                  <a:cubicBezTo>
                    <a:pt x="63" y="183"/>
                    <a:pt x="65" y="185"/>
                    <a:pt x="67" y="186"/>
                  </a:cubicBezTo>
                  <a:cubicBezTo>
                    <a:pt x="70" y="189"/>
                    <a:pt x="74" y="192"/>
                    <a:pt x="78" y="193"/>
                  </a:cubicBezTo>
                  <a:cubicBezTo>
                    <a:pt x="80" y="194"/>
                    <a:pt x="82" y="196"/>
                    <a:pt x="84" y="198"/>
                  </a:cubicBezTo>
                  <a:cubicBezTo>
                    <a:pt x="86" y="200"/>
                    <a:pt x="87" y="203"/>
                    <a:pt x="90" y="204"/>
                  </a:cubicBezTo>
                  <a:cubicBezTo>
                    <a:pt x="93" y="205"/>
                    <a:pt x="96" y="204"/>
                    <a:pt x="99" y="206"/>
                  </a:cubicBezTo>
                  <a:cubicBezTo>
                    <a:pt x="99" y="206"/>
                    <a:pt x="101" y="207"/>
                    <a:pt x="101" y="208"/>
                  </a:cubicBezTo>
                  <a:cubicBezTo>
                    <a:pt x="102" y="209"/>
                    <a:pt x="101" y="210"/>
                    <a:pt x="102" y="212"/>
                  </a:cubicBezTo>
                  <a:cubicBezTo>
                    <a:pt x="104" y="214"/>
                    <a:pt x="108" y="214"/>
                    <a:pt x="111" y="213"/>
                  </a:cubicBezTo>
                  <a:cubicBezTo>
                    <a:pt x="115" y="213"/>
                    <a:pt x="116" y="209"/>
                    <a:pt x="120" y="209"/>
                  </a:cubicBezTo>
                  <a:cubicBezTo>
                    <a:pt x="123" y="208"/>
                    <a:pt x="126" y="211"/>
                    <a:pt x="129" y="210"/>
                  </a:cubicBezTo>
                  <a:cubicBezTo>
                    <a:pt x="130" y="210"/>
                    <a:pt x="130" y="210"/>
                    <a:pt x="131" y="210"/>
                  </a:cubicBezTo>
                  <a:cubicBezTo>
                    <a:pt x="132" y="210"/>
                    <a:pt x="132" y="211"/>
                    <a:pt x="133" y="211"/>
                  </a:cubicBezTo>
                  <a:cubicBezTo>
                    <a:pt x="135" y="212"/>
                    <a:pt x="136" y="210"/>
                    <a:pt x="138" y="211"/>
                  </a:cubicBezTo>
                  <a:cubicBezTo>
                    <a:pt x="140" y="212"/>
                    <a:pt x="142" y="213"/>
                    <a:pt x="143" y="214"/>
                  </a:cubicBezTo>
                  <a:cubicBezTo>
                    <a:pt x="144" y="215"/>
                    <a:pt x="144" y="216"/>
                    <a:pt x="144" y="216"/>
                  </a:cubicBezTo>
                  <a:cubicBezTo>
                    <a:pt x="145" y="218"/>
                    <a:pt x="145" y="217"/>
                    <a:pt x="147" y="217"/>
                  </a:cubicBezTo>
                  <a:cubicBezTo>
                    <a:pt x="148" y="217"/>
                    <a:pt x="148" y="218"/>
                    <a:pt x="149" y="219"/>
                  </a:cubicBezTo>
                  <a:cubicBezTo>
                    <a:pt x="150" y="220"/>
                    <a:pt x="151" y="220"/>
                    <a:pt x="153" y="220"/>
                  </a:cubicBezTo>
                  <a:cubicBezTo>
                    <a:pt x="155" y="221"/>
                    <a:pt x="158" y="222"/>
                    <a:pt x="160" y="221"/>
                  </a:cubicBezTo>
                  <a:cubicBezTo>
                    <a:pt x="162" y="221"/>
                    <a:pt x="165" y="219"/>
                    <a:pt x="166" y="218"/>
                  </a:cubicBezTo>
                  <a:cubicBezTo>
                    <a:pt x="167" y="217"/>
                    <a:pt x="167" y="216"/>
                    <a:pt x="167" y="216"/>
                  </a:cubicBezTo>
                  <a:cubicBezTo>
                    <a:pt x="168" y="214"/>
                    <a:pt x="169" y="214"/>
                    <a:pt x="170" y="214"/>
                  </a:cubicBezTo>
                  <a:cubicBezTo>
                    <a:pt x="174" y="212"/>
                    <a:pt x="177" y="209"/>
                    <a:pt x="179" y="206"/>
                  </a:cubicBezTo>
                  <a:cubicBezTo>
                    <a:pt x="180" y="203"/>
                    <a:pt x="182" y="200"/>
                    <a:pt x="186" y="200"/>
                  </a:cubicBezTo>
                  <a:cubicBezTo>
                    <a:pt x="189" y="200"/>
                    <a:pt x="192" y="200"/>
                    <a:pt x="195" y="201"/>
                  </a:cubicBezTo>
                  <a:cubicBezTo>
                    <a:pt x="198" y="201"/>
                    <a:pt x="201" y="202"/>
                    <a:pt x="204" y="202"/>
                  </a:cubicBezTo>
                  <a:cubicBezTo>
                    <a:pt x="206" y="201"/>
                    <a:pt x="208" y="201"/>
                    <a:pt x="209" y="199"/>
                  </a:cubicBezTo>
                  <a:cubicBezTo>
                    <a:pt x="209" y="199"/>
                    <a:pt x="208" y="198"/>
                    <a:pt x="208" y="198"/>
                  </a:cubicBezTo>
                  <a:cubicBezTo>
                    <a:pt x="207" y="197"/>
                    <a:pt x="204" y="195"/>
                    <a:pt x="204" y="195"/>
                  </a:cubicBezTo>
                  <a:cubicBezTo>
                    <a:pt x="206" y="195"/>
                    <a:pt x="206" y="195"/>
                    <a:pt x="206" y="195"/>
                  </a:cubicBezTo>
                  <a:cubicBezTo>
                    <a:pt x="206" y="193"/>
                    <a:pt x="206" y="193"/>
                    <a:pt x="206" y="193"/>
                  </a:cubicBezTo>
                  <a:cubicBezTo>
                    <a:pt x="205" y="193"/>
                    <a:pt x="206" y="192"/>
                    <a:pt x="206" y="191"/>
                  </a:cubicBezTo>
                  <a:cubicBezTo>
                    <a:pt x="207" y="190"/>
                    <a:pt x="207" y="188"/>
                    <a:pt x="207" y="188"/>
                  </a:cubicBezTo>
                  <a:cubicBezTo>
                    <a:pt x="207" y="187"/>
                    <a:pt x="206" y="185"/>
                    <a:pt x="206" y="185"/>
                  </a:cubicBezTo>
                  <a:cubicBezTo>
                    <a:pt x="206" y="185"/>
                    <a:pt x="204" y="184"/>
                    <a:pt x="203" y="184"/>
                  </a:cubicBezTo>
                  <a:cubicBezTo>
                    <a:pt x="203" y="184"/>
                    <a:pt x="203" y="183"/>
                    <a:pt x="203" y="182"/>
                  </a:cubicBezTo>
                  <a:cubicBezTo>
                    <a:pt x="203" y="182"/>
                    <a:pt x="201" y="180"/>
                    <a:pt x="201" y="180"/>
                  </a:cubicBezTo>
                  <a:cubicBezTo>
                    <a:pt x="200" y="180"/>
                    <a:pt x="200" y="179"/>
                    <a:pt x="200" y="179"/>
                  </a:cubicBezTo>
                  <a:cubicBezTo>
                    <a:pt x="200" y="179"/>
                    <a:pt x="202" y="177"/>
                    <a:pt x="201" y="177"/>
                  </a:cubicBezTo>
                  <a:cubicBezTo>
                    <a:pt x="200" y="176"/>
                    <a:pt x="197" y="174"/>
                    <a:pt x="196" y="173"/>
                  </a:cubicBezTo>
                  <a:cubicBezTo>
                    <a:pt x="195" y="172"/>
                    <a:pt x="195" y="171"/>
                    <a:pt x="195" y="171"/>
                  </a:cubicBezTo>
                  <a:cubicBezTo>
                    <a:pt x="195" y="170"/>
                    <a:pt x="197" y="169"/>
                    <a:pt x="197" y="169"/>
                  </a:cubicBezTo>
                  <a:cubicBezTo>
                    <a:pt x="197" y="169"/>
                    <a:pt x="200" y="168"/>
                    <a:pt x="201" y="168"/>
                  </a:cubicBezTo>
                  <a:cubicBezTo>
                    <a:pt x="202" y="168"/>
                    <a:pt x="204" y="167"/>
                    <a:pt x="207" y="166"/>
                  </a:cubicBezTo>
                  <a:cubicBezTo>
                    <a:pt x="211" y="165"/>
                    <a:pt x="209" y="164"/>
                    <a:pt x="210" y="164"/>
                  </a:cubicBezTo>
                  <a:cubicBezTo>
                    <a:pt x="212" y="164"/>
                    <a:pt x="211" y="163"/>
                    <a:pt x="211" y="163"/>
                  </a:cubicBezTo>
                  <a:cubicBezTo>
                    <a:pt x="210" y="160"/>
                    <a:pt x="210" y="160"/>
                    <a:pt x="210" y="160"/>
                  </a:cubicBezTo>
                  <a:cubicBezTo>
                    <a:pt x="211" y="161"/>
                    <a:pt x="211" y="161"/>
                    <a:pt x="211" y="161"/>
                  </a:cubicBezTo>
                  <a:cubicBezTo>
                    <a:pt x="211" y="161"/>
                    <a:pt x="217" y="160"/>
                    <a:pt x="217" y="160"/>
                  </a:cubicBezTo>
                  <a:cubicBezTo>
                    <a:pt x="218" y="159"/>
                    <a:pt x="216" y="159"/>
                    <a:pt x="215" y="158"/>
                  </a:cubicBezTo>
                  <a:cubicBezTo>
                    <a:pt x="214" y="157"/>
                    <a:pt x="216" y="158"/>
                    <a:pt x="217" y="157"/>
                  </a:cubicBezTo>
                  <a:cubicBezTo>
                    <a:pt x="218" y="157"/>
                    <a:pt x="217" y="156"/>
                    <a:pt x="216" y="155"/>
                  </a:cubicBezTo>
                  <a:cubicBezTo>
                    <a:pt x="216" y="155"/>
                    <a:pt x="218" y="155"/>
                    <a:pt x="218" y="155"/>
                  </a:cubicBezTo>
                  <a:cubicBezTo>
                    <a:pt x="218" y="155"/>
                    <a:pt x="221" y="157"/>
                    <a:pt x="221" y="156"/>
                  </a:cubicBezTo>
                  <a:cubicBezTo>
                    <a:pt x="222" y="156"/>
                    <a:pt x="222" y="156"/>
                    <a:pt x="223" y="156"/>
                  </a:cubicBezTo>
                  <a:cubicBezTo>
                    <a:pt x="223" y="156"/>
                    <a:pt x="227" y="155"/>
                    <a:pt x="228" y="155"/>
                  </a:cubicBezTo>
                  <a:cubicBezTo>
                    <a:pt x="228" y="155"/>
                    <a:pt x="231" y="155"/>
                    <a:pt x="231" y="155"/>
                  </a:cubicBezTo>
                  <a:cubicBezTo>
                    <a:pt x="231" y="155"/>
                    <a:pt x="230" y="153"/>
                    <a:pt x="229" y="152"/>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1" name="Freeform 34">
              <a:extLst>
                <a:ext uri="{FF2B5EF4-FFF2-40B4-BE49-F238E27FC236}">
                  <a16:creationId xmlns:a16="http://schemas.microsoft.com/office/drawing/2014/main" id="{2F3B1DEC-1BBC-A0C4-1483-3B5004534EA9}"/>
                </a:ext>
              </a:extLst>
            </p:cNvPr>
            <p:cNvSpPr>
              <a:spLocks noEditPoints="1"/>
            </p:cNvSpPr>
            <p:nvPr/>
          </p:nvSpPr>
          <p:spPr bwMode="auto">
            <a:xfrm>
              <a:off x="9858375" y="3968750"/>
              <a:ext cx="1500188" cy="1997075"/>
            </a:xfrm>
            <a:custGeom>
              <a:avLst/>
              <a:gdLst>
                <a:gd name="T0" fmla="*/ 263 w 394"/>
                <a:gd name="T1" fmla="*/ 456 h 524"/>
                <a:gd name="T2" fmla="*/ 247 w 394"/>
                <a:gd name="T3" fmla="*/ 416 h 524"/>
                <a:gd name="T4" fmla="*/ 222 w 394"/>
                <a:gd name="T5" fmla="*/ 478 h 524"/>
                <a:gd name="T6" fmla="*/ 76 w 394"/>
                <a:gd name="T7" fmla="*/ 33 h 524"/>
                <a:gd name="T8" fmla="*/ 90 w 394"/>
                <a:gd name="T9" fmla="*/ 18 h 524"/>
                <a:gd name="T10" fmla="*/ 61 w 394"/>
                <a:gd name="T11" fmla="*/ 4 h 524"/>
                <a:gd name="T12" fmla="*/ 69 w 394"/>
                <a:gd name="T13" fmla="*/ 12 h 524"/>
                <a:gd name="T14" fmla="*/ 94 w 394"/>
                <a:gd name="T15" fmla="*/ 64 h 524"/>
                <a:gd name="T16" fmla="*/ 68 w 394"/>
                <a:gd name="T17" fmla="*/ 66 h 524"/>
                <a:gd name="T18" fmla="*/ 113 w 394"/>
                <a:gd name="T19" fmla="*/ 78 h 524"/>
                <a:gd name="T20" fmla="*/ 17 w 394"/>
                <a:gd name="T21" fmla="*/ 32 h 524"/>
                <a:gd name="T22" fmla="*/ 265 w 394"/>
                <a:gd name="T23" fmla="*/ 402 h 524"/>
                <a:gd name="T24" fmla="*/ 277 w 394"/>
                <a:gd name="T25" fmla="*/ 390 h 524"/>
                <a:gd name="T26" fmla="*/ 250 w 394"/>
                <a:gd name="T27" fmla="*/ 382 h 524"/>
                <a:gd name="T28" fmla="*/ 258 w 394"/>
                <a:gd name="T29" fmla="*/ 375 h 524"/>
                <a:gd name="T30" fmla="*/ 183 w 394"/>
                <a:gd name="T31" fmla="*/ 59 h 524"/>
                <a:gd name="T32" fmla="*/ 383 w 394"/>
                <a:gd name="T33" fmla="*/ 373 h 524"/>
                <a:gd name="T34" fmla="*/ 388 w 394"/>
                <a:gd name="T35" fmla="*/ 359 h 524"/>
                <a:gd name="T36" fmla="*/ 393 w 394"/>
                <a:gd name="T37" fmla="*/ 122 h 524"/>
                <a:gd name="T38" fmla="*/ 359 w 394"/>
                <a:gd name="T39" fmla="*/ 111 h 524"/>
                <a:gd name="T40" fmla="*/ 313 w 394"/>
                <a:gd name="T41" fmla="*/ 106 h 524"/>
                <a:gd name="T42" fmla="*/ 254 w 394"/>
                <a:gd name="T43" fmla="*/ 76 h 524"/>
                <a:gd name="T44" fmla="*/ 202 w 394"/>
                <a:gd name="T45" fmla="*/ 54 h 524"/>
                <a:gd name="T46" fmla="*/ 157 w 394"/>
                <a:gd name="T47" fmla="*/ 76 h 524"/>
                <a:gd name="T48" fmla="*/ 135 w 394"/>
                <a:gd name="T49" fmla="*/ 99 h 524"/>
                <a:gd name="T50" fmla="*/ 83 w 394"/>
                <a:gd name="T51" fmla="*/ 134 h 524"/>
                <a:gd name="T52" fmla="*/ 43 w 394"/>
                <a:gd name="T53" fmla="*/ 170 h 524"/>
                <a:gd name="T54" fmla="*/ 16 w 394"/>
                <a:gd name="T55" fmla="*/ 156 h 524"/>
                <a:gd name="T56" fmla="*/ 6 w 394"/>
                <a:gd name="T57" fmla="*/ 140 h 524"/>
                <a:gd name="T58" fmla="*/ 22 w 394"/>
                <a:gd name="T59" fmla="*/ 218 h 524"/>
                <a:gd name="T60" fmla="*/ 69 w 394"/>
                <a:gd name="T61" fmla="*/ 238 h 524"/>
                <a:gd name="T62" fmla="*/ 95 w 394"/>
                <a:gd name="T63" fmla="*/ 246 h 524"/>
                <a:gd name="T64" fmla="*/ 131 w 394"/>
                <a:gd name="T65" fmla="*/ 261 h 524"/>
                <a:gd name="T66" fmla="*/ 137 w 394"/>
                <a:gd name="T67" fmla="*/ 264 h 524"/>
                <a:gd name="T68" fmla="*/ 151 w 394"/>
                <a:gd name="T69" fmla="*/ 265 h 524"/>
                <a:gd name="T70" fmla="*/ 156 w 394"/>
                <a:gd name="T71" fmla="*/ 267 h 524"/>
                <a:gd name="T72" fmla="*/ 162 w 394"/>
                <a:gd name="T73" fmla="*/ 269 h 524"/>
                <a:gd name="T74" fmla="*/ 169 w 394"/>
                <a:gd name="T75" fmla="*/ 273 h 524"/>
                <a:gd name="T76" fmla="*/ 181 w 394"/>
                <a:gd name="T77" fmla="*/ 275 h 524"/>
                <a:gd name="T78" fmla="*/ 187 w 394"/>
                <a:gd name="T79" fmla="*/ 273 h 524"/>
                <a:gd name="T80" fmla="*/ 194 w 394"/>
                <a:gd name="T81" fmla="*/ 288 h 524"/>
                <a:gd name="T82" fmla="*/ 211 w 394"/>
                <a:gd name="T83" fmla="*/ 284 h 524"/>
                <a:gd name="T84" fmla="*/ 209 w 394"/>
                <a:gd name="T85" fmla="*/ 294 h 524"/>
                <a:gd name="T86" fmla="*/ 212 w 394"/>
                <a:gd name="T87" fmla="*/ 299 h 524"/>
                <a:gd name="T88" fmla="*/ 226 w 394"/>
                <a:gd name="T89" fmla="*/ 295 h 524"/>
                <a:gd name="T90" fmla="*/ 212 w 394"/>
                <a:gd name="T91" fmla="*/ 306 h 524"/>
                <a:gd name="T92" fmla="*/ 240 w 394"/>
                <a:gd name="T93" fmla="*/ 305 h 524"/>
                <a:gd name="T94" fmla="*/ 233 w 394"/>
                <a:gd name="T95" fmla="*/ 317 h 524"/>
                <a:gd name="T96" fmla="*/ 231 w 394"/>
                <a:gd name="T97" fmla="*/ 322 h 524"/>
                <a:gd name="T98" fmla="*/ 243 w 394"/>
                <a:gd name="T99" fmla="*/ 360 h 524"/>
                <a:gd name="T100" fmla="*/ 284 w 394"/>
                <a:gd name="T101" fmla="*/ 393 h 524"/>
                <a:gd name="T102" fmla="*/ 318 w 394"/>
                <a:gd name="T103" fmla="*/ 400 h 524"/>
                <a:gd name="T104" fmla="*/ 299 w 394"/>
                <a:gd name="T105" fmla="*/ 408 h 524"/>
                <a:gd name="T106" fmla="*/ 272 w 394"/>
                <a:gd name="T107" fmla="*/ 408 h 524"/>
                <a:gd name="T108" fmla="*/ 263 w 394"/>
                <a:gd name="T109" fmla="*/ 415 h 524"/>
                <a:gd name="T110" fmla="*/ 265 w 394"/>
                <a:gd name="T111" fmla="*/ 454 h 524"/>
                <a:gd name="T112" fmla="*/ 272 w 394"/>
                <a:gd name="T113" fmla="*/ 465 h 524"/>
                <a:gd name="T114" fmla="*/ 291 w 394"/>
                <a:gd name="T115" fmla="*/ 467 h 524"/>
                <a:gd name="T116" fmla="*/ 335 w 394"/>
                <a:gd name="T117" fmla="*/ 451 h 524"/>
                <a:gd name="T118" fmla="*/ 339 w 394"/>
                <a:gd name="T119" fmla="*/ 473 h 524"/>
                <a:gd name="T120" fmla="*/ 354 w 394"/>
                <a:gd name="T121" fmla="*/ 48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524">
                  <a:moveTo>
                    <a:pt x="261" y="470"/>
                  </a:moveTo>
                  <a:cubicBezTo>
                    <a:pt x="261" y="471"/>
                    <a:pt x="262" y="472"/>
                    <a:pt x="263" y="472"/>
                  </a:cubicBezTo>
                  <a:cubicBezTo>
                    <a:pt x="265" y="473"/>
                    <a:pt x="265" y="475"/>
                    <a:pt x="265" y="476"/>
                  </a:cubicBezTo>
                  <a:cubicBezTo>
                    <a:pt x="264" y="480"/>
                    <a:pt x="258" y="478"/>
                    <a:pt x="255" y="477"/>
                  </a:cubicBezTo>
                  <a:cubicBezTo>
                    <a:pt x="253" y="477"/>
                    <a:pt x="249" y="477"/>
                    <a:pt x="246" y="477"/>
                  </a:cubicBezTo>
                  <a:cubicBezTo>
                    <a:pt x="244" y="477"/>
                    <a:pt x="241" y="476"/>
                    <a:pt x="243" y="474"/>
                  </a:cubicBezTo>
                  <a:cubicBezTo>
                    <a:pt x="244" y="473"/>
                    <a:pt x="245" y="472"/>
                    <a:pt x="246" y="472"/>
                  </a:cubicBezTo>
                  <a:cubicBezTo>
                    <a:pt x="246" y="471"/>
                    <a:pt x="248" y="471"/>
                    <a:pt x="248" y="470"/>
                  </a:cubicBezTo>
                  <a:cubicBezTo>
                    <a:pt x="250" y="469"/>
                    <a:pt x="249" y="466"/>
                    <a:pt x="251" y="465"/>
                  </a:cubicBezTo>
                  <a:cubicBezTo>
                    <a:pt x="253" y="464"/>
                    <a:pt x="253" y="465"/>
                    <a:pt x="255" y="465"/>
                  </a:cubicBezTo>
                  <a:cubicBezTo>
                    <a:pt x="256" y="465"/>
                    <a:pt x="256" y="464"/>
                    <a:pt x="257" y="464"/>
                  </a:cubicBezTo>
                  <a:cubicBezTo>
                    <a:pt x="259" y="466"/>
                    <a:pt x="259" y="469"/>
                    <a:pt x="261" y="470"/>
                  </a:cubicBezTo>
                  <a:close/>
                  <a:moveTo>
                    <a:pt x="263" y="458"/>
                  </a:moveTo>
                  <a:cubicBezTo>
                    <a:pt x="263" y="458"/>
                    <a:pt x="263" y="457"/>
                    <a:pt x="263" y="456"/>
                  </a:cubicBezTo>
                  <a:cubicBezTo>
                    <a:pt x="262" y="455"/>
                    <a:pt x="263" y="453"/>
                    <a:pt x="263" y="451"/>
                  </a:cubicBezTo>
                  <a:cubicBezTo>
                    <a:pt x="263" y="448"/>
                    <a:pt x="265" y="448"/>
                    <a:pt x="267" y="447"/>
                  </a:cubicBezTo>
                  <a:cubicBezTo>
                    <a:pt x="268" y="446"/>
                    <a:pt x="269" y="446"/>
                    <a:pt x="270" y="445"/>
                  </a:cubicBezTo>
                  <a:cubicBezTo>
                    <a:pt x="270" y="444"/>
                    <a:pt x="270" y="443"/>
                    <a:pt x="269" y="442"/>
                  </a:cubicBezTo>
                  <a:cubicBezTo>
                    <a:pt x="269" y="440"/>
                    <a:pt x="270" y="438"/>
                    <a:pt x="271" y="436"/>
                  </a:cubicBezTo>
                  <a:cubicBezTo>
                    <a:pt x="271" y="435"/>
                    <a:pt x="272" y="435"/>
                    <a:pt x="272" y="434"/>
                  </a:cubicBezTo>
                  <a:cubicBezTo>
                    <a:pt x="273" y="433"/>
                    <a:pt x="272" y="432"/>
                    <a:pt x="273" y="431"/>
                  </a:cubicBezTo>
                  <a:cubicBezTo>
                    <a:pt x="273" y="430"/>
                    <a:pt x="275" y="429"/>
                    <a:pt x="274" y="428"/>
                  </a:cubicBezTo>
                  <a:cubicBezTo>
                    <a:pt x="274" y="427"/>
                    <a:pt x="272" y="427"/>
                    <a:pt x="271" y="427"/>
                  </a:cubicBezTo>
                  <a:cubicBezTo>
                    <a:pt x="270" y="427"/>
                    <a:pt x="269" y="427"/>
                    <a:pt x="268" y="427"/>
                  </a:cubicBezTo>
                  <a:cubicBezTo>
                    <a:pt x="267" y="426"/>
                    <a:pt x="267" y="426"/>
                    <a:pt x="266" y="425"/>
                  </a:cubicBezTo>
                  <a:cubicBezTo>
                    <a:pt x="265" y="424"/>
                    <a:pt x="264" y="423"/>
                    <a:pt x="263" y="422"/>
                  </a:cubicBezTo>
                  <a:cubicBezTo>
                    <a:pt x="261" y="420"/>
                    <a:pt x="260" y="418"/>
                    <a:pt x="257" y="417"/>
                  </a:cubicBezTo>
                  <a:cubicBezTo>
                    <a:pt x="254" y="415"/>
                    <a:pt x="251" y="416"/>
                    <a:pt x="247" y="416"/>
                  </a:cubicBezTo>
                  <a:cubicBezTo>
                    <a:pt x="242" y="416"/>
                    <a:pt x="237" y="418"/>
                    <a:pt x="232" y="418"/>
                  </a:cubicBezTo>
                  <a:cubicBezTo>
                    <a:pt x="227" y="419"/>
                    <a:pt x="224" y="421"/>
                    <a:pt x="220" y="424"/>
                  </a:cubicBezTo>
                  <a:cubicBezTo>
                    <a:pt x="217" y="426"/>
                    <a:pt x="214" y="428"/>
                    <a:pt x="212" y="431"/>
                  </a:cubicBezTo>
                  <a:cubicBezTo>
                    <a:pt x="210" y="433"/>
                    <a:pt x="208" y="435"/>
                    <a:pt x="206" y="437"/>
                  </a:cubicBezTo>
                  <a:cubicBezTo>
                    <a:pt x="203" y="442"/>
                    <a:pt x="200" y="447"/>
                    <a:pt x="198" y="452"/>
                  </a:cubicBezTo>
                  <a:cubicBezTo>
                    <a:pt x="197" y="454"/>
                    <a:pt x="197" y="456"/>
                    <a:pt x="196" y="458"/>
                  </a:cubicBezTo>
                  <a:cubicBezTo>
                    <a:pt x="195" y="460"/>
                    <a:pt x="193" y="461"/>
                    <a:pt x="192" y="462"/>
                  </a:cubicBezTo>
                  <a:cubicBezTo>
                    <a:pt x="191" y="464"/>
                    <a:pt x="190" y="467"/>
                    <a:pt x="189" y="469"/>
                  </a:cubicBezTo>
                  <a:cubicBezTo>
                    <a:pt x="189" y="471"/>
                    <a:pt x="188" y="472"/>
                    <a:pt x="188" y="474"/>
                  </a:cubicBezTo>
                  <a:cubicBezTo>
                    <a:pt x="188" y="476"/>
                    <a:pt x="186" y="479"/>
                    <a:pt x="187" y="481"/>
                  </a:cubicBezTo>
                  <a:cubicBezTo>
                    <a:pt x="188" y="482"/>
                    <a:pt x="190" y="481"/>
                    <a:pt x="191" y="480"/>
                  </a:cubicBezTo>
                  <a:cubicBezTo>
                    <a:pt x="193" y="479"/>
                    <a:pt x="196" y="479"/>
                    <a:pt x="198" y="478"/>
                  </a:cubicBezTo>
                  <a:cubicBezTo>
                    <a:pt x="201" y="478"/>
                    <a:pt x="203" y="478"/>
                    <a:pt x="206" y="478"/>
                  </a:cubicBezTo>
                  <a:cubicBezTo>
                    <a:pt x="211" y="478"/>
                    <a:pt x="216" y="478"/>
                    <a:pt x="222" y="478"/>
                  </a:cubicBezTo>
                  <a:cubicBezTo>
                    <a:pt x="225" y="479"/>
                    <a:pt x="229" y="478"/>
                    <a:pt x="232" y="477"/>
                  </a:cubicBezTo>
                  <a:cubicBezTo>
                    <a:pt x="234" y="477"/>
                    <a:pt x="237" y="475"/>
                    <a:pt x="239" y="474"/>
                  </a:cubicBezTo>
                  <a:cubicBezTo>
                    <a:pt x="241" y="472"/>
                    <a:pt x="243" y="471"/>
                    <a:pt x="245" y="470"/>
                  </a:cubicBezTo>
                  <a:cubicBezTo>
                    <a:pt x="247" y="469"/>
                    <a:pt x="247" y="468"/>
                    <a:pt x="248" y="466"/>
                  </a:cubicBezTo>
                  <a:cubicBezTo>
                    <a:pt x="249" y="464"/>
                    <a:pt x="250" y="463"/>
                    <a:pt x="252" y="463"/>
                  </a:cubicBezTo>
                  <a:cubicBezTo>
                    <a:pt x="254" y="463"/>
                    <a:pt x="256" y="463"/>
                    <a:pt x="257" y="461"/>
                  </a:cubicBezTo>
                  <a:cubicBezTo>
                    <a:pt x="258" y="460"/>
                    <a:pt x="259" y="458"/>
                    <a:pt x="261" y="459"/>
                  </a:cubicBezTo>
                  <a:cubicBezTo>
                    <a:pt x="262" y="459"/>
                    <a:pt x="263" y="459"/>
                    <a:pt x="263" y="458"/>
                  </a:cubicBezTo>
                  <a:close/>
                  <a:moveTo>
                    <a:pt x="69" y="12"/>
                  </a:moveTo>
                  <a:cubicBezTo>
                    <a:pt x="70" y="12"/>
                    <a:pt x="70" y="12"/>
                    <a:pt x="70" y="12"/>
                  </a:cubicBezTo>
                  <a:cubicBezTo>
                    <a:pt x="70" y="14"/>
                    <a:pt x="72" y="16"/>
                    <a:pt x="72" y="18"/>
                  </a:cubicBezTo>
                  <a:cubicBezTo>
                    <a:pt x="73" y="20"/>
                    <a:pt x="73" y="21"/>
                    <a:pt x="74" y="23"/>
                  </a:cubicBezTo>
                  <a:cubicBezTo>
                    <a:pt x="74" y="25"/>
                    <a:pt x="75" y="27"/>
                    <a:pt x="75" y="28"/>
                  </a:cubicBezTo>
                  <a:cubicBezTo>
                    <a:pt x="75" y="30"/>
                    <a:pt x="74" y="32"/>
                    <a:pt x="76" y="33"/>
                  </a:cubicBezTo>
                  <a:cubicBezTo>
                    <a:pt x="77" y="35"/>
                    <a:pt x="80" y="35"/>
                    <a:pt x="82" y="34"/>
                  </a:cubicBezTo>
                  <a:cubicBezTo>
                    <a:pt x="83" y="33"/>
                    <a:pt x="87" y="33"/>
                    <a:pt x="89" y="33"/>
                  </a:cubicBezTo>
                  <a:cubicBezTo>
                    <a:pt x="91" y="34"/>
                    <a:pt x="92" y="36"/>
                    <a:pt x="94" y="36"/>
                  </a:cubicBezTo>
                  <a:cubicBezTo>
                    <a:pt x="95" y="36"/>
                    <a:pt x="97" y="36"/>
                    <a:pt x="98" y="35"/>
                  </a:cubicBezTo>
                  <a:cubicBezTo>
                    <a:pt x="99" y="35"/>
                    <a:pt x="101" y="35"/>
                    <a:pt x="102" y="35"/>
                  </a:cubicBezTo>
                  <a:cubicBezTo>
                    <a:pt x="103" y="34"/>
                    <a:pt x="104" y="34"/>
                    <a:pt x="105" y="33"/>
                  </a:cubicBezTo>
                  <a:cubicBezTo>
                    <a:pt x="106" y="32"/>
                    <a:pt x="108" y="32"/>
                    <a:pt x="109" y="31"/>
                  </a:cubicBezTo>
                  <a:cubicBezTo>
                    <a:pt x="112" y="28"/>
                    <a:pt x="105" y="28"/>
                    <a:pt x="104" y="27"/>
                  </a:cubicBezTo>
                  <a:cubicBezTo>
                    <a:pt x="104" y="26"/>
                    <a:pt x="105" y="25"/>
                    <a:pt x="103" y="24"/>
                  </a:cubicBezTo>
                  <a:cubicBezTo>
                    <a:pt x="102" y="24"/>
                    <a:pt x="100" y="25"/>
                    <a:pt x="99" y="26"/>
                  </a:cubicBezTo>
                  <a:cubicBezTo>
                    <a:pt x="97" y="26"/>
                    <a:pt x="96" y="26"/>
                    <a:pt x="95" y="24"/>
                  </a:cubicBezTo>
                  <a:cubicBezTo>
                    <a:pt x="94" y="24"/>
                    <a:pt x="94" y="23"/>
                    <a:pt x="94" y="22"/>
                  </a:cubicBezTo>
                  <a:cubicBezTo>
                    <a:pt x="93" y="22"/>
                    <a:pt x="92" y="22"/>
                    <a:pt x="92" y="21"/>
                  </a:cubicBezTo>
                  <a:cubicBezTo>
                    <a:pt x="91" y="20"/>
                    <a:pt x="91" y="19"/>
                    <a:pt x="90" y="18"/>
                  </a:cubicBezTo>
                  <a:cubicBezTo>
                    <a:pt x="90" y="17"/>
                    <a:pt x="89" y="17"/>
                    <a:pt x="89" y="17"/>
                  </a:cubicBezTo>
                  <a:cubicBezTo>
                    <a:pt x="88" y="16"/>
                    <a:pt x="89" y="16"/>
                    <a:pt x="88" y="15"/>
                  </a:cubicBezTo>
                  <a:cubicBezTo>
                    <a:pt x="88" y="14"/>
                    <a:pt x="86" y="13"/>
                    <a:pt x="84" y="12"/>
                  </a:cubicBezTo>
                  <a:cubicBezTo>
                    <a:pt x="83" y="11"/>
                    <a:pt x="82" y="11"/>
                    <a:pt x="81" y="10"/>
                  </a:cubicBezTo>
                  <a:cubicBezTo>
                    <a:pt x="81" y="10"/>
                    <a:pt x="81" y="9"/>
                    <a:pt x="80" y="8"/>
                  </a:cubicBezTo>
                  <a:cubicBezTo>
                    <a:pt x="79" y="7"/>
                    <a:pt x="78" y="7"/>
                    <a:pt x="78" y="6"/>
                  </a:cubicBezTo>
                  <a:cubicBezTo>
                    <a:pt x="76" y="5"/>
                    <a:pt x="75" y="5"/>
                    <a:pt x="74" y="6"/>
                  </a:cubicBezTo>
                  <a:cubicBezTo>
                    <a:pt x="73" y="6"/>
                    <a:pt x="72" y="7"/>
                    <a:pt x="71" y="7"/>
                  </a:cubicBezTo>
                  <a:cubicBezTo>
                    <a:pt x="70" y="7"/>
                    <a:pt x="70" y="7"/>
                    <a:pt x="69" y="7"/>
                  </a:cubicBezTo>
                  <a:cubicBezTo>
                    <a:pt x="69" y="6"/>
                    <a:pt x="68" y="7"/>
                    <a:pt x="67" y="6"/>
                  </a:cubicBezTo>
                  <a:cubicBezTo>
                    <a:pt x="66" y="6"/>
                    <a:pt x="66" y="5"/>
                    <a:pt x="65" y="5"/>
                  </a:cubicBezTo>
                  <a:cubicBezTo>
                    <a:pt x="65" y="4"/>
                    <a:pt x="65" y="4"/>
                    <a:pt x="64" y="4"/>
                  </a:cubicBezTo>
                  <a:cubicBezTo>
                    <a:pt x="63" y="3"/>
                    <a:pt x="63" y="4"/>
                    <a:pt x="62" y="4"/>
                  </a:cubicBezTo>
                  <a:cubicBezTo>
                    <a:pt x="61" y="4"/>
                    <a:pt x="61" y="4"/>
                    <a:pt x="61" y="4"/>
                  </a:cubicBezTo>
                  <a:cubicBezTo>
                    <a:pt x="60" y="4"/>
                    <a:pt x="59" y="4"/>
                    <a:pt x="59" y="4"/>
                  </a:cubicBezTo>
                  <a:cubicBezTo>
                    <a:pt x="57" y="4"/>
                    <a:pt x="55" y="3"/>
                    <a:pt x="53" y="3"/>
                  </a:cubicBezTo>
                  <a:cubicBezTo>
                    <a:pt x="51" y="3"/>
                    <a:pt x="50" y="2"/>
                    <a:pt x="49" y="1"/>
                  </a:cubicBezTo>
                  <a:cubicBezTo>
                    <a:pt x="48" y="1"/>
                    <a:pt x="46" y="0"/>
                    <a:pt x="46" y="2"/>
                  </a:cubicBezTo>
                  <a:cubicBezTo>
                    <a:pt x="46" y="2"/>
                    <a:pt x="47" y="2"/>
                    <a:pt x="47" y="3"/>
                  </a:cubicBezTo>
                  <a:cubicBezTo>
                    <a:pt x="48" y="4"/>
                    <a:pt x="48" y="5"/>
                    <a:pt x="48" y="6"/>
                  </a:cubicBezTo>
                  <a:cubicBezTo>
                    <a:pt x="49" y="8"/>
                    <a:pt x="52" y="9"/>
                    <a:pt x="53" y="10"/>
                  </a:cubicBezTo>
                  <a:cubicBezTo>
                    <a:pt x="54" y="11"/>
                    <a:pt x="55" y="13"/>
                    <a:pt x="55" y="14"/>
                  </a:cubicBezTo>
                  <a:cubicBezTo>
                    <a:pt x="56" y="15"/>
                    <a:pt x="57" y="15"/>
                    <a:pt x="57" y="16"/>
                  </a:cubicBezTo>
                  <a:cubicBezTo>
                    <a:pt x="59" y="15"/>
                    <a:pt x="58" y="14"/>
                    <a:pt x="57" y="13"/>
                  </a:cubicBezTo>
                  <a:cubicBezTo>
                    <a:pt x="57" y="12"/>
                    <a:pt x="56" y="10"/>
                    <a:pt x="55" y="9"/>
                  </a:cubicBezTo>
                  <a:cubicBezTo>
                    <a:pt x="58" y="11"/>
                    <a:pt x="59" y="13"/>
                    <a:pt x="62" y="14"/>
                  </a:cubicBezTo>
                  <a:cubicBezTo>
                    <a:pt x="63" y="15"/>
                    <a:pt x="64" y="16"/>
                    <a:pt x="66" y="15"/>
                  </a:cubicBezTo>
                  <a:cubicBezTo>
                    <a:pt x="67" y="15"/>
                    <a:pt x="68" y="13"/>
                    <a:pt x="69" y="12"/>
                  </a:cubicBezTo>
                  <a:close/>
                  <a:moveTo>
                    <a:pt x="134" y="74"/>
                  </a:moveTo>
                  <a:cubicBezTo>
                    <a:pt x="135" y="74"/>
                    <a:pt x="140" y="75"/>
                    <a:pt x="140" y="73"/>
                  </a:cubicBezTo>
                  <a:cubicBezTo>
                    <a:pt x="141" y="72"/>
                    <a:pt x="138" y="71"/>
                    <a:pt x="138" y="71"/>
                  </a:cubicBezTo>
                  <a:cubicBezTo>
                    <a:pt x="137" y="70"/>
                    <a:pt x="136" y="70"/>
                    <a:pt x="136" y="70"/>
                  </a:cubicBezTo>
                  <a:cubicBezTo>
                    <a:pt x="134" y="69"/>
                    <a:pt x="133" y="70"/>
                    <a:pt x="132" y="69"/>
                  </a:cubicBezTo>
                  <a:cubicBezTo>
                    <a:pt x="130" y="69"/>
                    <a:pt x="128" y="69"/>
                    <a:pt x="127" y="69"/>
                  </a:cubicBezTo>
                  <a:cubicBezTo>
                    <a:pt x="124" y="69"/>
                    <a:pt x="122" y="68"/>
                    <a:pt x="119" y="68"/>
                  </a:cubicBezTo>
                  <a:cubicBezTo>
                    <a:pt x="118" y="68"/>
                    <a:pt x="117" y="67"/>
                    <a:pt x="116" y="67"/>
                  </a:cubicBezTo>
                  <a:cubicBezTo>
                    <a:pt x="116" y="67"/>
                    <a:pt x="115" y="66"/>
                    <a:pt x="114" y="66"/>
                  </a:cubicBezTo>
                  <a:cubicBezTo>
                    <a:pt x="113" y="67"/>
                    <a:pt x="112" y="67"/>
                    <a:pt x="110" y="67"/>
                  </a:cubicBezTo>
                  <a:cubicBezTo>
                    <a:pt x="109" y="67"/>
                    <a:pt x="107" y="67"/>
                    <a:pt x="106" y="67"/>
                  </a:cubicBezTo>
                  <a:cubicBezTo>
                    <a:pt x="104" y="66"/>
                    <a:pt x="104" y="65"/>
                    <a:pt x="102" y="65"/>
                  </a:cubicBezTo>
                  <a:cubicBezTo>
                    <a:pt x="101" y="65"/>
                    <a:pt x="99" y="64"/>
                    <a:pt x="98" y="64"/>
                  </a:cubicBezTo>
                  <a:cubicBezTo>
                    <a:pt x="96" y="64"/>
                    <a:pt x="95" y="64"/>
                    <a:pt x="94" y="64"/>
                  </a:cubicBezTo>
                  <a:cubicBezTo>
                    <a:pt x="92" y="64"/>
                    <a:pt x="91" y="64"/>
                    <a:pt x="90" y="64"/>
                  </a:cubicBezTo>
                  <a:cubicBezTo>
                    <a:pt x="85" y="64"/>
                    <a:pt x="81" y="64"/>
                    <a:pt x="76" y="63"/>
                  </a:cubicBezTo>
                  <a:cubicBezTo>
                    <a:pt x="75" y="63"/>
                    <a:pt x="73" y="63"/>
                    <a:pt x="71" y="63"/>
                  </a:cubicBezTo>
                  <a:cubicBezTo>
                    <a:pt x="70" y="63"/>
                    <a:pt x="69" y="62"/>
                    <a:pt x="67" y="62"/>
                  </a:cubicBezTo>
                  <a:cubicBezTo>
                    <a:pt x="65" y="62"/>
                    <a:pt x="64" y="62"/>
                    <a:pt x="62" y="62"/>
                  </a:cubicBezTo>
                  <a:cubicBezTo>
                    <a:pt x="61" y="62"/>
                    <a:pt x="60" y="62"/>
                    <a:pt x="58" y="62"/>
                  </a:cubicBezTo>
                  <a:cubicBezTo>
                    <a:pt x="57" y="62"/>
                    <a:pt x="56" y="62"/>
                    <a:pt x="55" y="61"/>
                  </a:cubicBezTo>
                  <a:cubicBezTo>
                    <a:pt x="54" y="61"/>
                    <a:pt x="52" y="60"/>
                    <a:pt x="52" y="61"/>
                  </a:cubicBezTo>
                  <a:cubicBezTo>
                    <a:pt x="53" y="62"/>
                    <a:pt x="53" y="64"/>
                    <a:pt x="54" y="65"/>
                  </a:cubicBezTo>
                  <a:cubicBezTo>
                    <a:pt x="55" y="66"/>
                    <a:pt x="56" y="66"/>
                    <a:pt x="57" y="66"/>
                  </a:cubicBezTo>
                  <a:cubicBezTo>
                    <a:pt x="58" y="66"/>
                    <a:pt x="58" y="65"/>
                    <a:pt x="59" y="65"/>
                  </a:cubicBezTo>
                  <a:cubicBezTo>
                    <a:pt x="61" y="64"/>
                    <a:pt x="63" y="65"/>
                    <a:pt x="64" y="66"/>
                  </a:cubicBezTo>
                  <a:cubicBezTo>
                    <a:pt x="65" y="66"/>
                    <a:pt x="65" y="67"/>
                    <a:pt x="67" y="67"/>
                  </a:cubicBezTo>
                  <a:cubicBezTo>
                    <a:pt x="67" y="67"/>
                    <a:pt x="67" y="66"/>
                    <a:pt x="68" y="66"/>
                  </a:cubicBezTo>
                  <a:cubicBezTo>
                    <a:pt x="69" y="66"/>
                    <a:pt x="70" y="67"/>
                    <a:pt x="72" y="68"/>
                  </a:cubicBezTo>
                  <a:cubicBezTo>
                    <a:pt x="73" y="68"/>
                    <a:pt x="73" y="68"/>
                    <a:pt x="74" y="69"/>
                  </a:cubicBezTo>
                  <a:cubicBezTo>
                    <a:pt x="76" y="70"/>
                    <a:pt x="76" y="69"/>
                    <a:pt x="78" y="70"/>
                  </a:cubicBezTo>
                  <a:cubicBezTo>
                    <a:pt x="78" y="70"/>
                    <a:pt x="79" y="71"/>
                    <a:pt x="79" y="71"/>
                  </a:cubicBezTo>
                  <a:cubicBezTo>
                    <a:pt x="80" y="72"/>
                    <a:pt x="80" y="71"/>
                    <a:pt x="81" y="71"/>
                  </a:cubicBezTo>
                  <a:cubicBezTo>
                    <a:pt x="82" y="71"/>
                    <a:pt x="83" y="71"/>
                    <a:pt x="84" y="72"/>
                  </a:cubicBezTo>
                  <a:cubicBezTo>
                    <a:pt x="85" y="73"/>
                    <a:pt x="85" y="74"/>
                    <a:pt x="87" y="74"/>
                  </a:cubicBezTo>
                  <a:cubicBezTo>
                    <a:pt x="90" y="75"/>
                    <a:pt x="92" y="76"/>
                    <a:pt x="95" y="77"/>
                  </a:cubicBezTo>
                  <a:cubicBezTo>
                    <a:pt x="96" y="77"/>
                    <a:pt x="97" y="77"/>
                    <a:pt x="98" y="77"/>
                  </a:cubicBezTo>
                  <a:cubicBezTo>
                    <a:pt x="99" y="77"/>
                    <a:pt x="100" y="78"/>
                    <a:pt x="101" y="78"/>
                  </a:cubicBezTo>
                  <a:cubicBezTo>
                    <a:pt x="102" y="79"/>
                    <a:pt x="103" y="78"/>
                    <a:pt x="104" y="77"/>
                  </a:cubicBezTo>
                  <a:cubicBezTo>
                    <a:pt x="105" y="77"/>
                    <a:pt x="106" y="77"/>
                    <a:pt x="107" y="77"/>
                  </a:cubicBezTo>
                  <a:cubicBezTo>
                    <a:pt x="108" y="77"/>
                    <a:pt x="109" y="77"/>
                    <a:pt x="110" y="77"/>
                  </a:cubicBezTo>
                  <a:cubicBezTo>
                    <a:pt x="111" y="77"/>
                    <a:pt x="112" y="78"/>
                    <a:pt x="113" y="78"/>
                  </a:cubicBezTo>
                  <a:cubicBezTo>
                    <a:pt x="115" y="78"/>
                    <a:pt x="118" y="79"/>
                    <a:pt x="119" y="79"/>
                  </a:cubicBezTo>
                  <a:cubicBezTo>
                    <a:pt x="119" y="78"/>
                    <a:pt x="118" y="77"/>
                    <a:pt x="118" y="77"/>
                  </a:cubicBezTo>
                  <a:cubicBezTo>
                    <a:pt x="119" y="76"/>
                    <a:pt x="120" y="77"/>
                    <a:pt x="121" y="77"/>
                  </a:cubicBezTo>
                  <a:cubicBezTo>
                    <a:pt x="122" y="77"/>
                    <a:pt x="123" y="77"/>
                    <a:pt x="123" y="77"/>
                  </a:cubicBezTo>
                  <a:cubicBezTo>
                    <a:pt x="124" y="77"/>
                    <a:pt x="125" y="77"/>
                    <a:pt x="125" y="77"/>
                  </a:cubicBezTo>
                  <a:cubicBezTo>
                    <a:pt x="127" y="77"/>
                    <a:pt x="128" y="74"/>
                    <a:pt x="130" y="74"/>
                  </a:cubicBezTo>
                  <a:cubicBezTo>
                    <a:pt x="132" y="74"/>
                    <a:pt x="133" y="74"/>
                    <a:pt x="134" y="74"/>
                  </a:cubicBezTo>
                  <a:close/>
                  <a:moveTo>
                    <a:pt x="19" y="21"/>
                  </a:moveTo>
                  <a:cubicBezTo>
                    <a:pt x="19" y="21"/>
                    <a:pt x="18" y="20"/>
                    <a:pt x="17" y="20"/>
                  </a:cubicBezTo>
                  <a:cubicBezTo>
                    <a:pt x="17" y="20"/>
                    <a:pt x="16" y="20"/>
                    <a:pt x="15" y="20"/>
                  </a:cubicBezTo>
                  <a:cubicBezTo>
                    <a:pt x="14" y="21"/>
                    <a:pt x="13" y="21"/>
                    <a:pt x="13" y="22"/>
                  </a:cubicBezTo>
                  <a:cubicBezTo>
                    <a:pt x="13" y="23"/>
                    <a:pt x="13" y="23"/>
                    <a:pt x="13" y="24"/>
                  </a:cubicBezTo>
                  <a:cubicBezTo>
                    <a:pt x="13" y="26"/>
                    <a:pt x="14" y="27"/>
                    <a:pt x="15" y="28"/>
                  </a:cubicBezTo>
                  <a:cubicBezTo>
                    <a:pt x="16" y="29"/>
                    <a:pt x="16" y="31"/>
                    <a:pt x="17" y="32"/>
                  </a:cubicBezTo>
                  <a:cubicBezTo>
                    <a:pt x="18" y="33"/>
                    <a:pt x="19" y="32"/>
                    <a:pt x="20" y="32"/>
                  </a:cubicBezTo>
                  <a:cubicBezTo>
                    <a:pt x="22" y="31"/>
                    <a:pt x="23" y="30"/>
                    <a:pt x="23" y="29"/>
                  </a:cubicBezTo>
                  <a:cubicBezTo>
                    <a:pt x="23" y="28"/>
                    <a:pt x="24" y="26"/>
                    <a:pt x="23" y="25"/>
                  </a:cubicBezTo>
                  <a:cubicBezTo>
                    <a:pt x="22" y="25"/>
                    <a:pt x="20" y="31"/>
                    <a:pt x="21" y="26"/>
                  </a:cubicBezTo>
                  <a:cubicBezTo>
                    <a:pt x="21" y="23"/>
                    <a:pt x="20" y="22"/>
                    <a:pt x="19" y="21"/>
                  </a:cubicBezTo>
                  <a:close/>
                  <a:moveTo>
                    <a:pt x="253" y="386"/>
                  </a:moveTo>
                  <a:cubicBezTo>
                    <a:pt x="252" y="387"/>
                    <a:pt x="252" y="386"/>
                    <a:pt x="251" y="386"/>
                  </a:cubicBezTo>
                  <a:cubicBezTo>
                    <a:pt x="250" y="386"/>
                    <a:pt x="249" y="386"/>
                    <a:pt x="249" y="386"/>
                  </a:cubicBezTo>
                  <a:cubicBezTo>
                    <a:pt x="247" y="386"/>
                    <a:pt x="246" y="385"/>
                    <a:pt x="245" y="386"/>
                  </a:cubicBezTo>
                  <a:cubicBezTo>
                    <a:pt x="244" y="387"/>
                    <a:pt x="243" y="388"/>
                    <a:pt x="244" y="389"/>
                  </a:cubicBezTo>
                  <a:cubicBezTo>
                    <a:pt x="244" y="390"/>
                    <a:pt x="245" y="391"/>
                    <a:pt x="246" y="392"/>
                  </a:cubicBezTo>
                  <a:cubicBezTo>
                    <a:pt x="247" y="394"/>
                    <a:pt x="248" y="394"/>
                    <a:pt x="250" y="395"/>
                  </a:cubicBezTo>
                  <a:cubicBezTo>
                    <a:pt x="253" y="397"/>
                    <a:pt x="256" y="400"/>
                    <a:pt x="259" y="402"/>
                  </a:cubicBezTo>
                  <a:cubicBezTo>
                    <a:pt x="261" y="403"/>
                    <a:pt x="263" y="402"/>
                    <a:pt x="265" y="402"/>
                  </a:cubicBezTo>
                  <a:cubicBezTo>
                    <a:pt x="267" y="402"/>
                    <a:pt x="269" y="403"/>
                    <a:pt x="270" y="403"/>
                  </a:cubicBezTo>
                  <a:cubicBezTo>
                    <a:pt x="273" y="404"/>
                    <a:pt x="278" y="407"/>
                    <a:pt x="280" y="405"/>
                  </a:cubicBezTo>
                  <a:cubicBezTo>
                    <a:pt x="281" y="403"/>
                    <a:pt x="283" y="402"/>
                    <a:pt x="285" y="402"/>
                  </a:cubicBezTo>
                  <a:cubicBezTo>
                    <a:pt x="286" y="402"/>
                    <a:pt x="287" y="403"/>
                    <a:pt x="287" y="404"/>
                  </a:cubicBezTo>
                  <a:cubicBezTo>
                    <a:pt x="288" y="404"/>
                    <a:pt x="288" y="405"/>
                    <a:pt x="289" y="405"/>
                  </a:cubicBezTo>
                  <a:cubicBezTo>
                    <a:pt x="289" y="405"/>
                    <a:pt x="290" y="406"/>
                    <a:pt x="291" y="406"/>
                  </a:cubicBezTo>
                  <a:cubicBezTo>
                    <a:pt x="292" y="406"/>
                    <a:pt x="292" y="405"/>
                    <a:pt x="291" y="404"/>
                  </a:cubicBezTo>
                  <a:cubicBezTo>
                    <a:pt x="291" y="403"/>
                    <a:pt x="290" y="403"/>
                    <a:pt x="291" y="402"/>
                  </a:cubicBezTo>
                  <a:cubicBezTo>
                    <a:pt x="291" y="401"/>
                    <a:pt x="292" y="400"/>
                    <a:pt x="292" y="399"/>
                  </a:cubicBezTo>
                  <a:cubicBezTo>
                    <a:pt x="291" y="398"/>
                    <a:pt x="290" y="397"/>
                    <a:pt x="289" y="397"/>
                  </a:cubicBezTo>
                  <a:cubicBezTo>
                    <a:pt x="288" y="396"/>
                    <a:pt x="287" y="395"/>
                    <a:pt x="286" y="395"/>
                  </a:cubicBezTo>
                  <a:cubicBezTo>
                    <a:pt x="284" y="394"/>
                    <a:pt x="282" y="393"/>
                    <a:pt x="281" y="393"/>
                  </a:cubicBezTo>
                  <a:cubicBezTo>
                    <a:pt x="280" y="392"/>
                    <a:pt x="280" y="392"/>
                    <a:pt x="279" y="391"/>
                  </a:cubicBezTo>
                  <a:cubicBezTo>
                    <a:pt x="278" y="391"/>
                    <a:pt x="277" y="390"/>
                    <a:pt x="277" y="390"/>
                  </a:cubicBezTo>
                  <a:cubicBezTo>
                    <a:pt x="275" y="389"/>
                    <a:pt x="273" y="388"/>
                    <a:pt x="272" y="386"/>
                  </a:cubicBezTo>
                  <a:cubicBezTo>
                    <a:pt x="270" y="385"/>
                    <a:pt x="268" y="383"/>
                    <a:pt x="266" y="383"/>
                  </a:cubicBezTo>
                  <a:cubicBezTo>
                    <a:pt x="263" y="382"/>
                    <a:pt x="260" y="383"/>
                    <a:pt x="258" y="383"/>
                  </a:cubicBezTo>
                  <a:cubicBezTo>
                    <a:pt x="256" y="384"/>
                    <a:pt x="254" y="386"/>
                    <a:pt x="253" y="386"/>
                  </a:cubicBezTo>
                  <a:close/>
                  <a:moveTo>
                    <a:pt x="257" y="381"/>
                  </a:moveTo>
                  <a:cubicBezTo>
                    <a:pt x="257" y="381"/>
                    <a:pt x="256" y="380"/>
                    <a:pt x="256" y="380"/>
                  </a:cubicBezTo>
                  <a:cubicBezTo>
                    <a:pt x="255" y="379"/>
                    <a:pt x="255" y="379"/>
                    <a:pt x="255" y="379"/>
                  </a:cubicBezTo>
                  <a:cubicBezTo>
                    <a:pt x="254" y="378"/>
                    <a:pt x="254" y="378"/>
                    <a:pt x="253" y="377"/>
                  </a:cubicBezTo>
                  <a:cubicBezTo>
                    <a:pt x="253" y="377"/>
                    <a:pt x="252" y="377"/>
                    <a:pt x="251" y="377"/>
                  </a:cubicBezTo>
                  <a:cubicBezTo>
                    <a:pt x="251" y="377"/>
                    <a:pt x="250" y="377"/>
                    <a:pt x="249" y="377"/>
                  </a:cubicBezTo>
                  <a:cubicBezTo>
                    <a:pt x="249" y="377"/>
                    <a:pt x="248" y="376"/>
                    <a:pt x="248" y="376"/>
                  </a:cubicBezTo>
                  <a:cubicBezTo>
                    <a:pt x="246" y="376"/>
                    <a:pt x="246" y="378"/>
                    <a:pt x="247" y="379"/>
                  </a:cubicBezTo>
                  <a:cubicBezTo>
                    <a:pt x="247" y="380"/>
                    <a:pt x="248" y="380"/>
                    <a:pt x="248" y="380"/>
                  </a:cubicBezTo>
                  <a:cubicBezTo>
                    <a:pt x="249" y="381"/>
                    <a:pt x="249" y="381"/>
                    <a:pt x="250" y="382"/>
                  </a:cubicBezTo>
                  <a:cubicBezTo>
                    <a:pt x="250" y="382"/>
                    <a:pt x="250" y="383"/>
                    <a:pt x="250" y="383"/>
                  </a:cubicBezTo>
                  <a:cubicBezTo>
                    <a:pt x="250" y="384"/>
                    <a:pt x="250" y="384"/>
                    <a:pt x="250" y="384"/>
                  </a:cubicBezTo>
                  <a:cubicBezTo>
                    <a:pt x="251" y="385"/>
                    <a:pt x="252" y="385"/>
                    <a:pt x="253" y="385"/>
                  </a:cubicBezTo>
                  <a:cubicBezTo>
                    <a:pt x="253" y="385"/>
                    <a:pt x="254" y="385"/>
                    <a:pt x="254" y="384"/>
                  </a:cubicBezTo>
                  <a:cubicBezTo>
                    <a:pt x="255" y="384"/>
                    <a:pt x="255" y="384"/>
                    <a:pt x="255" y="383"/>
                  </a:cubicBezTo>
                  <a:cubicBezTo>
                    <a:pt x="256" y="383"/>
                    <a:pt x="256" y="383"/>
                    <a:pt x="257" y="382"/>
                  </a:cubicBezTo>
                  <a:lnTo>
                    <a:pt x="257" y="381"/>
                  </a:lnTo>
                  <a:close/>
                  <a:moveTo>
                    <a:pt x="261" y="382"/>
                  </a:moveTo>
                  <a:cubicBezTo>
                    <a:pt x="261" y="382"/>
                    <a:pt x="262" y="382"/>
                    <a:pt x="263" y="382"/>
                  </a:cubicBezTo>
                  <a:cubicBezTo>
                    <a:pt x="263" y="382"/>
                    <a:pt x="264" y="381"/>
                    <a:pt x="264" y="381"/>
                  </a:cubicBezTo>
                  <a:cubicBezTo>
                    <a:pt x="264" y="380"/>
                    <a:pt x="262" y="380"/>
                    <a:pt x="261" y="380"/>
                  </a:cubicBezTo>
                  <a:cubicBezTo>
                    <a:pt x="260" y="380"/>
                    <a:pt x="259" y="380"/>
                    <a:pt x="259" y="379"/>
                  </a:cubicBezTo>
                  <a:cubicBezTo>
                    <a:pt x="259" y="378"/>
                    <a:pt x="259" y="377"/>
                    <a:pt x="259" y="377"/>
                  </a:cubicBezTo>
                  <a:cubicBezTo>
                    <a:pt x="258" y="376"/>
                    <a:pt x="258" y="375"/>
                    <a:pt x="258" y="375"/>
                  </a:cubicBezTo>
                  <a:cubicBezTo>
                    <a:pt x="258" y="374"/>
                    <a:pt x="258" y="374"/>
                    <a:pt x="257" y="373"/>
                  </a:cubicBezTo>
                  <a:cubicBezTo>
                    <a:pt x="256" y="372"/>
                    <a:pt x="255" y="372"/>
                    <a:pt x="254" y="371"/>
                  </a:cubicBezTo>
                  <a:cubicBezTo>
                    <a:pt x="253" y="371"/>
                    <a:pt x="252" y="371"/>
                    <a:pt x="252" y="371"/>
                  </a:cubicBezTo>
                  <a:cubicBezTo>
                    <a:pt x="251" y="370"/>
                    <a:pt x="251" y="370"/>
                    <a:pt x="250" y="371"/>
                  </a:cubicBezTo>
                  <a:cubicBezTo>
                    <a:pt x="250" y="371"/>
                    <a:pt x="250" y="372"/>
                    <a:pt x="250" y="373"/>
                  </a:cubicBezTo>
                  <a:cubicBezTo>
                    <a:pt x="250" y="374"/>
                    <a:pt x="250" y="374"/>
                    <a:pt x="250" y="375"/>
                  </a:cubicBezTo>
                  <a:cubicBezTo>
                    <a:pt x="250" y="376"/>
                    <a:pt x="251" y="376"/>
                    <a:pt x="251" y="376"/>
                  </a:cubicBezTo>
                  <a:cubicBezTo>
                    <a:pt x="253" y="376"/>
                    <a:pt x="254" y="376"/>
                    <a:pt x="255" y="377"/>
                  </a:cubicBezTo>
                  <a:cubicBezTo>
                    <a:pt x="256" y="378"/>
                    <a:pt x="257" y="378"/>
                    <a:pt x="257" y="379"/>
                  </a:cubicBezTo>
                  <a:cubicBezTo>
                    <a:pt x="258" y="380"/>
                    <a:pt x="258" y="380"/>
                    <a:pt x="258" y="380"/>
                  </a:cubicBezTo>
                  <a:cubicBezTo>
                    <a:pt x="259" y="381"/>
                    <a:pt x="259" y="381"/>
                    <a:pt x="260" y="381"/>
                  </a:cubicBezTo>
                  <a:cubicBezTo>
                    <a:pt x="260" y="381"/>
                    <a:pt x="260" y="382"/>
                    <a:pt x="261" y="382"/>
                  </a:cubicBezTo>
                  <a:close/>
                  <a:moveTo>
                    <a:pt x="183" y="59"/>
                  </a:moveTo>
                  <a:cubicBezTo>
                    <a:pt x="183" y="59"/>
                    <a:pt x="183" y="59"/>
                    <a:pt x="183" y="59"/>
                  </a:cubicBezTo>
                  <a:cubicBezTo>
                    <a:pt x="183" y="59"/>
                    <a:pt x="183" y="59"/>
                    <a:pt x="183" y="59"/>
                  </a:cubicBezTo>
                  <a:cubicBezTo>
                    <a:pt x="183" y="59"/>
                    <a:pt x="183" y="59"/>
                    <a:pt x="183" y="59"/>
                  </a:cubicBezTo>
                  <a:close/>
                  <a:moveTo>
                    <a:pt x="393" y="387"/>
                  </a:moveTo>
                  <a:cubicBezTo>
                    <a:pt x="393" y="388"/>
                    <a:pt x="391" y="386"/>
                    <a:pt x="391" y="386"/>
                  </a:cubicBezTo>
                  <a:cubicBezTo>
                    <a:pt x="391" y="386"/>
                    <a:pt x="390" y="387"/>
                    <a:pt x="390" y="386"/>
                  </a:cubicBezTo>
                  <a:cubicBezTo>
                    <a:pt x="390" y="385"/>
                    <a:pt x="390" y="384"/>
                    <a:pt x="390" y="384"/>
                  </a:cubicBezTo>
                  <a:cubicBezTo>
                    <a:pt x="388" y="385"/>
                    <a:pt x="388" y="385"/>
                    <a:pt x="388" y="385"/>
                  </a:cubicBezTo>
                  <a:cubicBezTo>
                    <a:pt x="386" y="383"/>
                    <a:pt x="386" y="383"/>
                    <a:pt x="386" y="383"/>
                  </a:cubicBezTo>
                  <a:cubicBezTo>
                    <a:pt x="387" y="381"/>
                    <a:pt x="387" y="381"/>
                    <a:pt x="387" y="381"/>
                  </a:cubicBezTo>
                  <a:cubicBezTo>
                    <a:pt x="386" y="380"/>
                    <a:pt x="386" y="380"/>
                    <a:pt x="386" y="380"/>
                  </a:cubicBezTo>
                  <a:cubicBezTo>
                    <a:pt x="385" y="380"/>
                    <a:pt x="385" y="380"/>
                    <a:pt x="385" y="380"/>
                  </a:cubicBezTo>
                  <a:cubicBezTo>
                    <a:pt x="386" y="377"/>
                    <a:pt x="386" y="377"/>
                    <a:pt x="386" y="377"/>
                  </a:cubicBezTo>
                  <a:cubicBezTo>
                    <a:pt x="383" y="375"/>
                    <a:pt x="383" y="375"/>
                    <a:pt x="383" y="375"/>
                  </a:cubicBezTo>
                  <a:cubicBezTo>
                    <a:pt x="383" y="373"/>
                    <a:pt x="383" y="373"/>
                    <a:pt x="383" y="373"/>
                  </a:cubicBezTo>
                  <a:cubicBezTo>
                    <a:pt x="385" y="373"/>
                    <a:pt x="385" y="373"/>
                    <a:pt x="385" y="373"/>
                  </a:cubicBezTo>
                  <a:cubicBezTo>
                    <a:pt x="385" y="373"/>
                    <a:pt x="384" y="371"/>
                    <a:pt x="384" y="371"/>
                  </a:cubicBezTo>
                  <a:cubicBezTo>
                    <a:pt x="384" y="371"/>
                    <a:pt x="385" y="371"/>
                    <a:pt x="385" y="370"/>
                  </a:cubicBezTo>
                  <a:cubicBezTo>
                    <a:pt x="385" y="369"/>
                    <a:pt x="384" y="369"/>
                    <a:pt x="384" y="369"/>
                  </a:cubicBezTo>
                  <a:cubicBezTo>
                    <a:pt x="383" y="368"/>
                    <a:pt x="383" y="368"/>
                    <a:pt x="383" y="368"/>
                  </a:cubicBezTo>
                  <a:cubicBezTo>
                    <a:pt x="386" y="368"/>
                    <a:pt x="386" y="368"/>
                    <a:pt x="386" y="368"/>
                  </a:cubicBezTo>
                  <a:cubicBezTo>
                    <a:pt x="387" y="367"/>
                    <a:pt x="387" y="367"/>
                    <a:pt x="387" y="367"/>
                  </a:cubicBezTo>
                  <a:cubicBezTo>
                    <a:pt x="387" y="366"/>
                    <a:pt x="387" y="366"/>
                    <a:pt x="387" y="366"/>
                  </a:cubicBezTo>
                  <a:cubicBezTo>
                    <a:pt x="386" y="365"/>
                    <a:pt x="386" y="365"/>
                    <a:pt x="386" y="365"/>
                  </a:cubicBezTo>
                  <a:cubicBezTo>
                    <a:pt x="386" y="365"/>
                    <a:pt x="388" y="365"/>
                    <a:pt x="388" y="364"/>
                  </a:cubicBezTo>
                  <a:cubicBezTo>
                    <a:pt x="388" y="364"/>
                    <a:pt x="388" y="361"/>
                    <a:pt x="388" y="361"/>
                  </a:cubicBezTo>
                  <a:cubicBezTo>
                    <a:pt x="390" y="361"/>
                    <a:pt x="390" y="361"/>
                    <a:pt x="390" y="361"/>
                  </a:cubicBezTo>
                  <a:cubicBezTo>
                    <a:pt x="390" y="359"/>
                    <a:pt x="390" y="359"/>
                    <a:pt x="390" y="359"/>
                  </a:cubicBezTo>
                  <a:cubicBezTo>
                    <a:pt x="388" y="359"/>
                    <a:pt x="388" y="359"/>
                    <a:pt x="388" y="359"/>
                  </a:cubicBezTo>
                  <a:cubicBezTo>
                    <a:pt x="388" y="358"/>
                    <a:pt x="388" y="358"/>
                    <a:pt x="388" y="358"/>
                  </a:cubicBezTo>
                  <a:cubicBezTo>
                    <a:pt x="388" y="357"/>
                    <a:pt x="388" y="357"/>
                    <a:pt x="388" y="357"/>
                  </a:cubicBezTo>
                  <a:cubicBezTo>
                    <a:pt x="390" y="358"/>
                    <a:pt x="390" y="358"/>
                    <a:pt x="390" y="358"/>
                  </a:cubicBezTo>
                  <a:cubicBezTo>
                    <a:pt x="390" y="358"/>
                    <a:pt x="390" y="357"/>
                    <a:pt x="390" y="357"/>
                  </a:cubicBezTo>
                  <a:cubicBezTo>
                    <a:pt x="390" y="356"/>
                    <a:pt x="390" y="356"/>
                    <a:pt x="390" y="356"/>
                  </a:cubicBezTo>
                  <a:cubicBezTo>
                    <a:pt x="391" y="355"/>
                    <a:pt x="391" y="355"/>
                    <a:pt x="391" y="355"/>
                  </a:cubicBezTo>
                  <a:cubicBezTo>
                    <a:pt x="389" y="354"/>
                    <a:pt x="389" y="354"/>
                    <a:pt x="389" y="354"/>
                  </a:cubicBezTo>
                  <a:cubicBezTo>
                    <a:pt x="391" y="353"/>
                    <a:pt x="391" y="353"/>
                    <a:pt x="391" y="353"/>
                  </a:cubicBezTo>
                  <a:cubicBezTo>
                    <a:pt x="391" y="352"/>
                    <a:pt x="391" y="352"/>
                    <a:pt x="391" y="352"/>
                  </a:cubicBezTo>
                  <a:cubicBezTo>
                    <a:pt x="390" y="351"/>
                    <a:pt x="390" y="351"/>
                    <a:pt x="390" y="351"/>
                  </a:cubicBezTo>
                  <a:cubicBezTo>
                    <a:pt x="390" y="351"/>
                    <a:pt x="390" y="351"/>
                    <a:pt x="390" y="351"/>
                  </a:cubicBezTo>
                  <a:cubicBezTo>
                    <a:pt x="392" y="351"/>
                    <a:pt x="392" y="351"/>
                    <a:pt x="392" y="351"/>
                  </a:cubicBezTo>
                  <a:cubicBezTo>
                    <a:pt x="392" y="271"/>
                    <a:pt x="392" y="271"/>
                    <a:pt x="392" y="271"/>
                  </a:cubicBezTo>
                  <a:cubicBezTo>
                    <a:pt x="393" y="122"/>
                    <a:pt x="393" y="122"/>
                    <a:pt x="393" y="122"/>
                  </a:cubicBezTo>
                  <a:cubicBezTo>
                    <a:pt x="392" y="123"/>
                    <a:pt x="390" y="123"/>
                    <a:pt x="389" y="123"/>
                  </a:cubicBezTo>
                  <a:cubicBezTo>
                    <a:pt x="388" y="123"/>
                    <a:pt x="387" y="123"/>
                    <a:pt x="386" y="123"/>
                  </a:cubicBezTo>
                  <a:cubicBezTo>
                    <a:pt x="385" y="122"/>
                    <a:pt x="384" y="123"/>
                    <a:pt x="383" y="123"/>
                  </a:cubicBezTo>
                  <a:cubicBezTo>
                    <a:pt x="382" y="122"/>
                    <a:pt x="381" y="122"/>
                    <a:pt x="380" y="123"/>
                  </a:cubicBezTo>
                  <a:cubicBezTo>
                    <a:pt x="379" y="123"/>
                    <a:pt x="378" y="124"/>
                    <a:pt x="377" y="124"/>
                  </a:cubicBezTo>
                  <a:cubicBezTo>
                    <a:pt x="376" y="124"/>
                    <a:pt x="374" y="124"/>
                    <a:pt x="374" y="122"/>
                  </a:cubicBezTo>
                  <a:cubicBezTo>
                    <a:pt x="373" y="122"/>
                    <a:pt x="374" y="121"/>
                    <a:pt x="374" y="120"/>
                  </a:cubicBezTo>
                  <a:cubicBezTo>
                    <a:pt x="375" y="119"/>
                    <a:pt x="378" y="117"/>
                    <a:pt x="376" y="116"/>
                  </a:cubicBezTo>
                  <a:cubicBezTo>
                    <a:pt x="375" y="114"/>
                    <a:pt x="374" y="114"/>
                    <a:pt x="372" y="114"/>
                  </a:cubicBezTo>
                  <a:cubicBezTo>
                    <a:pt x="372" y="114"/>
                    <a:pt x="371" y="114"/>
                    <a:pt x="370" y="114"/>
                  </a:cubicBezTo>
                  <a:cubicBezTo>
                    <a:pt x="370" y="113"/>
                    <a:pt x="370" y="113"/>
                    <a:pt x="369" y="113"/>
                  </a:cubicBezTo>
                  <a:cubicBezTo>
                    <a:pt x="369" y="112"/>
                    <a:pt x="367" y="112"/>
                    <a:pt x="366" y="112"/>
                  </a:cubicBezTo>
                  <a:cubicBezTo>
                    <a:pt x="365" y="112"/>
                    <a:pt x="363" y="112"/>
                    <a:pt x="362" y="112"/>
                  </a:cubicBezTo>
                  <a:cubicBezTo>
                    <a:pt x="361" y="112"/>
                    <a:pt x="360" y="112"/>
                    <a:pt x="359" y="111"/>
                  </a:cubicBezTo>
                  <a:cubicBezTo>
                    <a:pt x="358" y="111"/>
                    <a:pt x="357" y="110"/>
                    <a:pt x="356" y="110"/>
                  </a:cubicBezTo>
                  <a:cubicBezTo>
                    <a:pt x="355" y="110"/>
                    <a:pt x="354" y="110"/>
                    <a:pt x="353" y="111"/>
                  </a:cubicBezTo>
                  <a:cubicBezTo>
                    <a:pt x="354" y="112"/>
                    <a:pt x="354" y="112"/>
                    <a:pt x="354" y="112"/>
                  </a:cubicBezTo>
                  <a:cubicBezTo>
                    <a:pt x="354" y="112"/>
                    <a:pt x="354" y="113"/>
                    <a:pt x="354" y="113"/>
                  </a:cubicBezTo>
                  <a:cubicBezTo>
                    <a:pt x="353" y="113"/>
                    <a:pt x="352" y="112"/>
                    <a:pt x="351" y="112"/>
                  </a:cubicBezTo>
                  <a:cubicBezTo>
                    <a:pt x="350" y="112"/>
                    <a:pt x="349" y="112"/>
                    <a:pt x="348" y="111"/>
                  </a:cubicBezTo>
                  <a:cubicBezTo>
                    <a:pt x="347" y="111"/>
                    <a:pt x="347" y="111"/>
                    <a:pt x="346" y="110"/>
                  </a:cubicBezTo>
                  <a:cubicBezTo>
                    <a:pt x="345" y="110"/>
                    <a:pt x="344" y="110"/>
                    <a:pt x="344" y="109"/>
                  </a:cubicBezTo>
                  <a:cubicBezTo>
                    <a:pt x="343" y="109"/>
                    <a:pt x="343" y="108"/>
                    <a:pt x="342" y="108"/>
                  </a:cubicBezTo>
                  <a:cubicBezTo>
                    <a:pt x="341" y="107"/>
                    <a:pt x="340" y="106"/>
                    <a:pt x="338" y="106"/>
                  </a:cubicBezTo>
                  <a:cubicBezTo>
                    <a:pt x="336" y="106"/>
                    <a:pt x="334" y="107"/>
                    <a:pt x="332" y="107"/>
                  </a:cubicBezTo>
                  <a:cubicBezTo>
                    <a:pt x="330" y="108"/>
                    <a:pt x="328" y="108"/>
                    <a:pt x="326" y="108"/>
                  </a:cubicBezTo>
                  <a:cubicBezTo>
                    <a:pt x="323" y="108"/>
                    <a:pt x="320" y="109"/>
                    <a:pt x="317" y="108"/>
                  </a:cubicBezTo>
                  <a:cubicBezTo>
                    <a:pt x="316" y="107"/>
                    <a:pt x="314" y="106"/>
                    <a:pt x="313" y="106"/>
                  </a:cubicBezTo>
                  <a:cubicBezTo>
                    <a:pt x="312" y="105"/>
                    <a:pt x="312" y="103"/>
                    <a:pt x="310" y="103"/>
                  </a:cubicBezTo>
                  <a:cubicBezTo>
                    <a:pt x="309" y="102"/>
                    <a:pt x="307" y="102"/>
                    <a:pt x="305" y="101"/>
                  </a:cubicBezTo>
                  <a:cubicBezTo>
                    <a:pt x="304" y="101"/>
                    <a:pt x="303" y="100"/>
                    <a:pt x="302" y="100"/>
                  </a:cubicBezTo>
                  <a:cubicBezTo>
                    <a:pt x="301" y="99"/>
                    <a:pt x="300" y="98"/>
                    <a:pt x="299" y="97"/>
                  </a:cubicBezTo>
                  <a:cubicBezTo>
                    <a:pt x="295" y="96"/>
                    <a:pt x="291" y="94"/>
                    <a:pt x="288" y="93"/>
                  </a:cubicBezTo>
                  <a:cubicBezTo>
                    <a:pt x="284" y="91"/>
                    <a:pt x="281" y="89"/>
                    <a:pt x="277" y="87"/>
                  </a:cubicBezTo>
                  <a:cubicBezTo>
                    <a:pt x="276" y="86"/>
                    <a:pt x="274" y="86"/>
                    <a:pt x="273" y="85"/>
                  </a:cubicBezTo>
                  <a:cubicBezTo>
                    <a:pt x="272" y="85"/>
                    <a:pt x="272" y="84"/>
                    <a:pt x="271" y="84"/>
                  </a:cubicBezTo>
                  <a:cubicBezTo>
                    <a:pt x="271" y="84"/>
                    <a:pt x="270" y="84"/>
                    <a:pt x="269" y="83"/>
                  </a:cubicBezTo>
                  <a:cubicBezTo>
                    <a:pt x="268" y="83"/>
                    <a:pt x="266" y="82"/>
                    <a:pt x="265" y="83"/>
                  </a:cubicBezTo>
                  <a:cubicBezTo>
                    <a:pt x="264" y="83"/>
                    <a:pt x="263" y="83"/>
                    <a:pt x="261" y="83"/>
                  </a:cubicBezTo>
                  <a:cubicBezTo>
                    <a:pt x="260" y="82"/>
                    <a:pt x="259" y="81"/>
                    <a:pt x="257" y="80"/>
                  </a:cubicBezTo>
                  <a:cubicBezTo>
                    <a:pt x="256" y="79"/>
                    <a:pt x="256" y="79"/>
                    <a:pt x="256" y="77"/>
                  </a:cubicBezTo>
                  <a:cubicBezTo>
                    <a:pt x="255" y="76"/>
                    <a:pt x="255" y="76"/>
                    <a:pt x="254" y="76"/>
                  </a:cubicBezTo>
                  <a:cubicBezTo>
                    <a:pt x="253" y="75"/>
                    <a:pt x="253" y="75"/>
                    <a:pt x="252" y="74"/>
                  </a:cubicBezTo>
                  <a:cubicBezTo>
                    <a:pt x="250" y="73"/>
                    <a:pt x="249" y="73"/>
                    <a:pt x="248" y="73"/>
                  </a:cubicBezTo>
                  <a:cubicBezTo>
                    <a:pt x="246" y="72"/>
                    <a:pt x="245" y="72"/>
                    <a:pt x="244" y="71"/>
                  </a:cubicBezTo>
                  <a:cubicBezTo>
                    <a:pt x="242" y="71"/>
                    <a:pt x="240" y="71"/>
                    <a:pt x="239" y="70"/>
                  </a:cubicBezTo>
                  <a:cubicBezTo>
                    <a:pt x="235" y="69"/>
                    <a:pt x="232" y="69"/>
                    <a:pt x="229" y="67"/>
                  </a:cubicBezTo>
                  <a:cubicBezTo>
                    <a:pt x="227" y="66"/>
                    <a:pt x="226" y="65"/>
                    <a:pt x="224" y="64"/>
                  </a:cubicBezTo>
                  <a:cubicBezTo>
                    <a:pt x="224" y="64"/>
                    <a:pt x="222" y="64"/>
                    <a:pt x="221" y="63"/>
                  </a:cubicBezTo>
                  <a:cubicBezTo>
                    <a:pt x="219" y="63"/>
                    <a:pt x="216" y="62"/>
                    <a:pt x="214" y="61"/>
                  </a:cubicBezTo>
                  <a:cubicBezTo>
                    <a:pt x="213" y="60"/>
                    <a:pt x="211" y="60"/>
                    <a:pt x="210" y="59"/>
                  </a:cubicBezTo>
                  <a:cubicBezTo>
                    <a:pt x="209" y="59"/>
                    <a:pt x="210" y="58"/>
                    <a:pt x="209" y="57"/>
                  </a:cubicBezTo>
                  <a:cubicBezTo>
                    <a:pt x="209" y="58"/>
                    <a:pt x="208" y="58"/>
                    <a:pt x="208" y="58"/>
                  </a:cubicBezTo>
                  <a:cubicBezTo>
                    <a:pt x="207" y="58"/>
                    <a:pt x="207" y="56"/>
                    <a:pt x="206" y="56"/>
                  </a:cubicBezTo>
                  <a:cubicBezTo>
                    <a:pt x="206" y="55"/>
                    <a:pt x="205" y="53"/>
                    <a:pt x="204" y="52"/>
                  </a:cubicBezTo>
                  <a:cubicBezTo>
                    <a:pt x="203" y="53"/>
                    <a:pt x="203" y="54"/>
                    <a:pt x="202" y="54"/>
                  </a:cubicBezTo>
                  <a:cubicBezTo>
                    <a:pt x="202" y="54"/>
                    <a:pt x="202" y="53"/>
                    <a:pt x="202" y="52"/>
                  </a:cubicBezTo>
                  <a:cubicBezTo>
                    <a:pt x="201" y="52"/>
                    <a:pt x="199" y="53"/>
                    <a:pt x="197" y="53"/>
                  </a:cubicBezTo>
                  <a:cubicBezTo>
                    <a:pt x="195" y="53"/>
                    <a:pt x="193" y="54"/>
                    <a:pt x="191" y="55"/>
                  </a:cubicBezTo>
                  <a:cubicBezTo>
                    <a:pt x="188" y="56"/>
                    <a:pt x="186" y="57"/>
                    <a:pt x="183" y="59"/>
                  </a:cubicBezTo>
                  <a:cubicBezTo>
                    <a:pt x="182" y="60"/>
                    <a:pt x="180" y="60"/>
                    <a:pt x="179" y="61"/>
                  </a:cubicBezTo>
                  <a:cubicBezTo>
                    <a:pt x="177" y="61"/>
                    <a:pt x="176" y="62"/>
                    <a:pt x="174" y="63"/>
                  </a:cubicBezTo>
                  <a:cubicBezTo>
                    <a:pt x="172" y="65"/>
                    <a:pt x="169" y="66"/>
                    <a:pt x="166" y="67"/>
                  </a:cubicBezTo>
                  <a:cubicBezTo>
                    <a:pt x="165" y="68"/>
                    <a:pt x="163" y="68"/>
                    <a:pt x="164" y="70"/>
                  </a:cubicBezTo>
                  <a:cubicBezTo>
                    <a:pt x="165" y="72"/>
                    <a:pt x="170" y="70"/>
                    <a:pt x="169" y="73"/>
                  </a:cubicBezTo>
                  <a:cubicBezTo>
                    <a:pt x="168" y="73"/>
                    <a:pt x="166" y="73"/>
                    <a:pt x="165" y="73"/>
                  </a:cubicBezTo>
                  <a:cubicBezTo>
                    <a:pt x="163" y="72"/>
                    <a:pt x="162" y="69"/>
                    <a:pt x="161" y="69"/>
                  </a:cubicBezTo>
                  <a:cubicBezTo>
                    <a:pt x="159" y="69"/>
                    <a:pt x="159" y="71"/>
                    <a:pt x="159" y="72"/>
                  </a:cubicBezTo>
                  <a:cubicBezTo>
                    <a:pt x="159" y="72"/>
                    <a:pt x="159" y="73"/>
                    <a:pt x="159" y="74"/>
                  </a:cubicBezTo>
                  <a:cubicBezTo>
                    <a:pt x="158" y="74"/>
                    <a:pt x="157" y="76"/>
                    <a:pt x="157" y="76"/>
                  </a:cubicBezTo>
                  <a:cubicBezTo>
                    <a:pt x="156" y="76"/>
                    <a:pt x="156" y="74"/>
                    <a:pt x="156" y="73"/>
                  </a:cubicBezTo>
                  <a:cubicBezTo>
                    <a:pt x="156" y="72"/>
                    <a:pt x="157" y="71"/>
                    <a:pt x="155" y="71"/>
                  </a:cubicBezTo>
                  <a:cubicBezTo>
                    <a:pt x="153" y="72"/>
                    <a:pt x="153" y="76"/>
                    <a:pt x="152" y="77"/>
                  </a:cubicBezTo>
                  <a:cubicBezTo>
                    <a:pt x="152" y="78"/>
                    <a:pt x="154" y="79"/>
                    <a:pt x="154" y="79"/>
                  </a:cubicBezTo>
                  <a:cubicBezTo>
                    <a:pt x="155" y="79"/>
                    <a:pt x="155" y="78"/>
                    <a:pt x="155" y="78"/>
                  </a:cubicBezTo>
                  <a:cubicBezTo>
                    <a:pt x="156" y="78"/>
                    <a:pt x="157" y="80"/>
                    <a:pt x="158" y="81"/>
                  </a:cubicBezTo>
                  <a:cubicBezTo>
                    <a:pt x="159" y="82"/>
                    <a:pt x="161" y="83"/>
                    <a:pt x="161" y="85"/>
                  </a:cubicBezTo>
                  <a:cubicBezTo>
                    <a:pt x="162" y="87"/>
                    <a:pt x="162" y="88"/>
                    <a:pt x="162" y="90"/>
                  </a:cubicBezTo>
                  <a:cubicBezTo>
                    <a:pt x="160" y="91"/>
                    <a:pt x="160" y="90"/>
                    <a:pt x="158" y="90"/>
                  </a:cubicBezTo>
                  <a:cubicBezTo>
                    <a:pt x="157" y="91"/>
                    <a:pt x="156" y="91"/>
                    <a:pt x="155" y="92"/>
                  </a:cubicBezTo>
                  <a:cubicBezTo>
                    <a:pt x="152" y="92"/>
                    <a:pt x="150" y="92"/>
                    <a:pt x="148" y="92"/>
                  </a:cubicBezTo>
                  <a:cubicBezTo>
                    <a:pt x="145" y="92"/>
                    <a:pt x="143" y="95"/>
                    <a:pt x="141" y="96"/>
                  </a:cubicBezTo>
                  <a:cubicBezTo>
                    <a:pt x="139" y="97"/>
                    <a:pt x="137" y="95"/>
                    <a:pt x="136" y="97"/>
                  </a:cubicBezTo>
                  <a:cubicBezTo>
                    <a:pt x="135" y="98"/>
                    <a:pt x="135" y="98"/>
                    <a:pt x="135" y="99"/>
                  </a:cubicBezTo>
                  <a:cubicBezTo>
                    <a:pt x="134" y="99"/>
                    <a:pt x="133" y="100"/>
                    <a:pt x="133" y="100"/>
                  </a:cubicBezTo>
                  <a:cubicBezTo>
                    <a:pt x="131" y="99"/>
                    <a:pt x="130" y="100"/>
                    <a:pt x="129" y="100"/>
                  </a:cubicBezTo>
                  <a:cubicBezTo>
                    <a:pt x="127" y="101"/>
                    <a:pt x="127" y="101"/>
                    <a:pt x="126" y="100"/>
                  </a:cubicBezTo>
                  <a:cubicBezTo>
                    <a:pt x="124" y="100"/>
                    <a:pt x="123" y="100"/>
                    <a:pt x="122" y="99"/>
                  </a:cubicBezTo>
                  <a:cubicBezTo>
                    <a:pt x="121" y="98"/>
                    <a:pt x="121" y="98"/>
                    <a:pt x="120" y="98"/>
                  </a:cubicBezTo>
                  <a:cubicBezTo>
                    <a:pt x="119" y="98"/>
                    <a:pt x="118" y="98"/>
                    <a:pt x="117" y="98"/>
                  </a:cubicBezTo>
                  <a:cubicBezTo>
                    <a:pt x="115" y="98"/>
                    <a:pt x="112" y="97"/>
                    <a:pt x="110" y="98"/>
                  </a:cubicBezTo>
                  <a:cubicBezTo>
                    <a:pt x="109" y="99"/>
                    <a:pt x="107" y="101"/>
                    <a:pt x="107" y="103"/>
                  </a:cubicBezTo>
                  <a:cubicBezTo>
                    <a:pt x="108" y="105"/>
                    <a:pt x="108" y="105"/>
                    <a:pt x="106" y="107"/>
                  </a:cubicBezTo>
                  <a:cubicBezTo>
                    <a:pt x="105" y="109"/>
                    <a:pt x="105" y="111"/>
                    <a:pt x="105" y="113"/>
                  </a:cubicBezTo>
                  <a:cubicBezTo>
                    <a:pt x="103" y="117"/>
                    <a:pt x="103" y="121"/>
                    <a:pt x="99" y="123"/>
                  </a:cubicBezTo>
                  <a:cubicBezTo>
                    <a:pt x="95" y="125"/>
                    <a:pt x="89" y="124"/>
                    <a:pt x="88" y="128"/>
                  </a:cubicBezTo>
                  <a:cubicBezTo>
                    <a:pt x="87" y="130"/>
                    <a:pt x="87" y="130"/>
                    <a:pt x="86" y="131"/>
                  </a:cubicBezTo>
                  <a:cubicBezTo>
                    <a:pt x="85" y="132"/>
                    <a:pt x="84" y="132"/>
                    <a:pt x="83" y="134"/>
                  </a:cubicBezTo>
                  <a:cubicBezTo>
                    <a:pt x="83" y="134"/>
                    <a:pt x="83" y="135"/>
                    <a:pt x="83" y="136"/>
                  </a:cubicBezTo>
                  <a:cubicBezTo>
                    <a:pt x="82" y="136"/>
                    <a:pt x="81" y="137"/>
                    <a:pt x="81" y="138"/>
                  </a:cubicBezTo>
                  <a:cubicBezTo>
                    <a:pt x="79" y="140"/>
                    <a:pt x="82" y="140"/>
                    <a:pt x="82" y="142"/>
                  </a:cubicBezTo>
                  <a:cubicBezTo>
                    <a:pt x="82" y="143"/>
                    <a:pt x="80" y="145"/>
                    <a:pt x="79" y="146"/>
                  </a:cubicBezTo>
                  <a:cubicBezTo>
                    <a:pt x="78" y="147"/>
                    <a:pt x="77" y="147"/>
                    <a:pt x="75" y="148"/>
                  </a:cubicBezTo>
                  <a:cubicBezTo>
                    <a:pt x="74" y="148"/>
                    <a:pt x="70" y="149"/>
                    <a:pt x="71" y="151"/>
                  </a:cubicBezTo>
                  <a:cubicBezTo>
                    <a:pt x="71" y="152"/>
                    <a:pt x="71" y="152"/>
                    <a:pt x="71" y="153"/>
                  </a:cubicBezTo>
                  <a:cubicBezTo>
                    <a:pt x="71" y="154"/>
                    <a:pt x="71" y="154"/>
                    <a:pt x="71" y="154"/>
                  </a:cubicBezTo>
                  <a:cubicBezTo>
                    <a:pt x="69" y="156"/>
                    <a:pt x="65" y="157"/>
                    <a:pt x="63" y="158"/>
                  </a:cubicBezTo>
                  <a:cubicBezTo>
                    <a:pt x="61" y="160"/>
                    <a:pt x="60" y="162"/>
                    <a:pt x="58" y="165"/>
                  </a:cubicBezTo>
                  <a:cubicBezTo>
                    <a:pt x="57" y="167"/>
                    <a:pt x="56" y="168"/>
                    <a:pt x="54" y="169"/>
                  </a:cubicBezTo>
                  <a:cubicBezTo>
                    <a:pt x="53" y="169"/>
                    <a:pt x="52" y="169"/>
                    <a:pt x="51" y="169"/>
                  </a:cubicBezTo>
                  <a:cubicBezTo>
                    <a:pt x="50" y="169"/>
                    <a:pt x="50" y="170"/>
                    <a:pt x="49" y="170"/>
                  </a:cubicBezTo>
                  <a:cubicBezTo>
                    <a:pt x="47" y="171"/>
                    <a:pt x="45" y="171"/>
                    <a:pt x="43" y="170"/>
                  </a:cubicBezTo>
                  <a:cubicBezTo>
                    <a:pt x="42" y="170"/>
                    <a:pt x="40" y="170"/>
                    <a:pt x="39" y="170"/>
                  </a:cubicBezTo>
                  <a:cubicBezTo>
                    <a:pt x="38" y="170"/>
                    <a:pt x="37" y="170"/>
                    <a:pt x="35" y="170"/>
                  </a:cubicBezTo>
                  <a:cubicBezTo>
                    <a:pt x="34" y="170"/>
                    <a:pt x="34" y="170"/>
                    <a:pt x="33" y="169"/>
                  </a:cubicBezTo>
                  <a:cubicBezTo>
                    <a:pt x="31" y="169"/>
                    <a:pt x="30" y="168"/>
                    <a:pt x="29" y="167"/>
                  </a:cubicBezTo>
                  <a:cubicBezTo>
                    <a:pt x="28" y="167"/>
                    <a:pt x="27" y="167"/>
                    <a:pt x="25" y="167"/>
                  </a:cubicBezTo>
                  <a:cubicBezTo>
                    <a:pt x="25" y="166"/>
                    <a:pt x="24" y="166"/>
                    <a:pt x="23" y="165"/>
                  </a:cubicBezTo>
                  <a:cubicBezTo>
                    <a:pt x="22" y="165"/>
                    <a:pt x="22" y="164"/>
                    <a:pt x="22" y="164"/>
                  </a:cubicBezTo>
                  <a:cubicBezTo>
                    <a:pt x="22" y="163"/>
                    <a:pt x="22" y="163"/>
                    <a:pt x="22" y="163"/>
                  </a:cubicBezTo>
                  <a:cubicBezTo>
                    <a:pt x="21" y="162"/>
                    <a:pt x="20" y="162"/>
                    <a:pt x="20" y="163"/>
                  </a:cubicBezTo>
                  <a:cubicBezTo>
                    <a:pt x="19" y="162"/>
                    <a:pt x="18" y="162"/>
                    <a:pt x="18" y="162"/>
                  </a:cubicBezTo>
                  <a:cubicBezTo>
                    <a:pt x="17" y="161"/>
                    <a:pt x="18" y="161"/>
                    <a:pt x="17" y="160"/>
                  </a:cubicBezTo>
                  <a:cubicBezTo>
                    <a:pt x="17" y="160"/>
                    <a:pt x="17" y="160"/>
                    <a:pt x="16" y="160"/>
                  </a:cubicBezTo>
                  <a:cubicBezTo>
                    <a:pt x="16" y="159"/>
                    <a:pt x="16" y="159"/>
                    <a:pt x="16" y="158"/>
                  </a:cubicBezTo>
                  <a:cubicBezTo>
                    <a:pt x="16" y="157"/>
                    <a:pt x="16" y="156"/>
                    <a:pt x="16" y="156"/>
                  </a:cubicBezTo>
                  <a:cubicBezTo>
                    <a:pt x="15" y="155"/>
                    <a:pt x="14" y="156"/>
                    <a:pt x="14" y="155"/>
                  </a:cubicBezTo>
                  <a:cubicBezTo>
                    <a:pt x="13" y="154"/>
                    <a:pt x="13" y="153"/>
                    <a:pt x="14" y="152"/>
                  </a:cubicBezTo>
                  <a:cubicBezTo>
                    <a:pt x="14" y="151"/>
                    <a:pt x="14" y="150"/>
                    <a:pt x="14" y="149"/>
                  </a:cubicBezTo>
                  <a:cubicBezTo>
                    <a:pt x="13" y="147"/>
                    <a:pt x="14" y="148"/>
                    <a:pt x="15" y="147"/>
                  </a:cubicBezTo>
                  <a:cubicBezTo>
                    <a:pt x="16" y="146"/>
                    <a:pt x="15" y="145"/>
                    <a:pt x="15" y="145"/>
                  </a:cubicBezTo>
                  <a:cubicBezTo>
                    <a:pt x="15" y="144"/>
                    <a:pt x="16" y="143"/>
                    <a:pt x="16" y="142"/>
                  </a:cubicBezTo>
                  <a:cubicBezTo>
                    <a:pt x="16" y="141"/>
                    <a:pt x="15" y="140"/>
                    <a:pt x="14" y="140"/>
                  </a:cubicBezTo>
                  <a:cubicBezTo>
                    <a:pt x="14" y="141"/>
                    <a:pt x="14" y="142"/>
                    <a:pt x="14" y="142"/>
                  </a:cubicBezTo>
                  <a:cubicBezTo>
                    <a:pt x="14" y="143"/>
                    <a:pt x="14" y="143"/>
                    <a:pt x="13" y="143"/>
                  </a:cubicBezTo>
                  <a:cubicBezTo>
                    <a:pt x="11" y="143"/>
                    <a:pt x="11" y="143"/>
                    <a:pt x="11" y="143"/>
                  </a:cubicBezTo>
                  <a:cubicBezTo>
                    <a:pt x="11" y="144"/>
                    <a:pt x="12" y="146"/>
                    <a:pt x="10" y="146"/>
                  </a:cubicBezTo>
                  <a:cubicBezTo>
                    <a:pt x="10" y="146"/>
                    <a:pt x="8" y="146"/>
                    <a:pt x="7" y="145"/>
                  </a:cubicBezTo>
                  <a:cubicBezTo>
                    <a:pt x="6" y="145"/>
                    <a:pt x="6" y="143"/>
                    <a:pt x="5" y="143"/>
                  </a:cubicBezTo>
                  <a:cubicBezTo>
                    <a:pt x="5" y="142"/>
                    <a:pt x="6" y="141"/>
                    <a:pt x="6" y="140"/>
                  </a:cubicBezTo>
                  <a:cubicBezTo>
                    <a:pt x="6" y="140"/>
                    <a:pt x="5" y="139"/>
                    <a:pt x="5" y="138"/>
                  </a:cubicBezTo>
                  <a:cubicBezTo>
                    <a:pt x="4" y="137"/>
                    <a:pt x="5" y="135"/>
                    <a:pt x="4" y="134"/>
                  </a:cubicBezTo>
                  <a:cubicBezTo>
                    <a:pt x="4" y="132"/>
                    <a:pt x="4" y="130"/>
                    <a:pt x="4" y="128"/>
                  </a:cubicBezTo>
                  <a:cubicBezTo>
                    <a:pt x="4" y="126"/>
                    <a:pt x="4" y="124"/>
                    <a:pt x="4" y="121"/>
                  </a:cubicBezTo>
                  <a:cubicBezTo>
                    <a:pt x="4" y="120"/>
                    <a:pt x="4" y="118"/>
                    <a:pt x="4" y="116"/>
                  </a:cubicBezTo>
                  <a:cubicBezTo>
                    <a:pt x="3" y="115"/>
                    <a:pt x="2" y="115"/>
                    <a:pt x="0" y="115"/>
                  </a:cubicBezTo>
                  <a:cubicBezTo>
                    <a:pt x="7" y="165"/>
                    <a:pt x="7" y="165"/>
                    <a:pt x="7" y="165"/>
                  </a:cubicBezTo>
                  <a:cubicBezTo>
                    <a:pt x="8" y="168"/>
                    <a:pt x="8" y="168"/>
                    <a:pt x="8" y="168"/>
                  </a:cubicBezTo>
                  <a:cubicBezTo>
                    <a:pt x="8" y="171"/>
                    <a:pt x="8" y="171"/>
                    <a:pt x="8" y="171"/>
                  </a:cubicBezTo>
                  <a:cubicBezTo>
                    <a:pt x="3" y="179"/>
                    <a:pt x="3" y="179"/>
                    <a:pt x="3" y="179"/>
                  </a:cubicBezTo>
                  <a:cubicBezTo>
                    <a:pt x="3" y="180"/>
                    <a:pt x="3" y="180"/>
                    <a:pt x="3" y="180"/>
                  </a:cubicBezTo>
                  <a:cubicBezTo>
                    <a:pt x="20" y="185"/>
                    <a:pt x="20" y="185"/>
                    <a:pt x="20" y="185"/>
                  </a:cubicBezTo>
                  <a:cubicBezTo>
                    <a:pt x="41" y="192"/>
                    <a:pt x="41" y="192"/>
                    <a:pt x="41" y="192"/>
                  </a:cubicBezTo>
                  <a:cubicBezTo>
                    <a:pt x="22" y="218"/>
                    <a:pt x="22" y="218"/>
                    <a:pt x="22" y="218"/>
                  </a:cubicBezTo>
                  <a:cubicBezTo>
                    <a:pt x="17" y="224"/>
                    <a:pt x="17" y="224"/>
                    <a:pt x="17" y="224"/>
                  </a:cubicBezTo>
                  <a:cubicBezTo>
                    <a:pt x="17" y="224"/>
                    <a:pt x="17" y="224"/>
                    <a:pt x="17" y="224"/>
                  </a:cubicBezTo>
                  <a:cubicBezTo>
                    <a:pt x="18" y="224"/>
                    <a:pt x="18" y="224"/>
                    <a:pt x="19" y="225"/>
                  </a:cubicBezTo>
                  <a:cubicBezTo>
                    <a:pt x="20" y="225"/>
                    <a:pt x="21" y="225"/>
                    <a:pt x="21" y="226"/>
                  </a:cubicBezTo>
                  <a:cubicBezTo>
                    <a:pt x="22" y="226"/>
                    <a:pt x="23" y="226"/>
                    <a:pt x="23" y="227"/>
                  </a:cubicBezTo>
                  <a:cubicBezTo>
                    <a:pt x="24" y="227"/>
                    <a:pt x="24" y="228"/>
                    <a:pt x="25" y="229"/>
                  </a:cubicBezTo>
                  <a:cubicBezTo>
                    <a:pt x="25" y="229"/>
                    <a:pt x="26" y="229"/>
                    <a:pt x="26" y="230"/>
                  </a:cubicBezTo>
                  <a:cubicBezTo>
                    <a:pt x="28" y="231"/>
                    <a:pt x="29" y="232"/>
                    <a:pt x="31" y="233"/>
                  </a:cubicBezTo>
                  <a:cubicBezTo>
                    <a:pt x="32" y="234"/>
                    <a:pt x="33" y="234"/>
                    <a:pt x="34" y="235"/>
                  </a:cubicBezTo>
                  <a:cubicBezTo>
                    <a:pt x="35" y="235"/>
                    <a:pt x="36" y="236"/>
                    <a:pt x="37" y="236"/>
                  </a:cubicBezTo>
                  <a:cubicBezTo>
                    <a:pt x="39" y="236"/>
                    <a:pt x="41" y="236"/>
                    <a:pt x="43" y="235"/>
                  </a:cubicBezTo>
                  <a:cubicBezTo>
                    <a:pt x="48" y="234"/>
                    <a:pt x="52" y="234"/>
                    <a:pt x="57" y="235"/>
                  </a:cubicBezTo>
                  <a:cubicBezTo>
                    <a:pt x="59" y="236"/>
                    <a:pt x="61" y="236"/>
                    <a:pt x="63" y="237"/>
                  </a:cubicBezTo>
                  <a:cubicBezTo>
                    <a:pt x="65" y="237"/>
                    <a:pt x="67" y="238"/>
                    <a:pt x="69" y="238"/>
                  </a:cubicBezTo>
                  <a:cubicBezTo>
                    <a:pt x="71" y="238"/>
                    <a:pt x="72" y="238"/>
                    <a:pt x="74" y="237"/>
                  </a:cubicBezTo>
                  <a:cubicBezTo>
                    <a:pt x="75" y="237"/>
                    <a:pt x="76" y="237"/>
                    <a:pt x="77" y="237"/>
                  </a:cubicBezTo>
                  <a:cubicBezTo>
                    <a:pt x="78" y="238"/>
                    <a:pt x="80" y="238"/>
                    <a:pt x="80" y="238"/>
                  </a:cubicBezTo>
                  <a:cubicBezTo>
                    <a:pt x="81" y="239"/>
                    <a:pt x="82" y="239"/>
                    <a:pt x="83" y="240"/>
                  </a:cubicBezTo>
                  <a:cubicBezTo>
                    <a:pt x="83" y="240"/>
                    <a:pt x="84" y="240"/>
                    <a:pt x="85" y="240"/>
                  </a:cubicBezTo>
                  <a:cubicBezTo>
                    <a:pt x="85" y="239"/>
                    <a:pt x="85" y="239"/>
                    <a:pt x="85" y="239"/>
                  </a:cubicBezTo>
                  <a:cubicBezTo>
                    <a:pt x="86" y="240"/>
                    <a:pt x="86" y="240"/>
                    <a:pt x="86" y="240"/>
                  </a:cubicBezTo>
                  <a:cubicBezTo>
                    <a:pt x="86" y="240"/>
                    <a:pt x="86" y="240"/>
                    <a:pt x="86" y="240"/>
                  </a:cubicBezTo>
                  <a:cubicBezTo>
                    <a:pt x="86" y="241"/>
                    <a:pt x="86" y="241"/>
                    <a:pt x="86" y="241"/>
                  </a:cubicBezTo>
                  <a:cubicBezTo>
                    <a:pt x="87" y="242"/>
                    <a:pt x="88" y="242"/>
                    <a:pt x="89" y="243"/>
                  </a:cubicBezTo>
                  <a:cubicBezTo>
                    <a:pt x="89" y="244"/>
                    <a:pt x="90" y="244"/>
                    <a:pt x="91" y="244"/>
                  </a:cubicBezTo>
                  <a:cubicBezTo>
                    <a:pt x="91" y="245"/>
                    <a:pt x="92" y="245"/>
                    <a:pt x="92" y="246"/>
                  </a:cubicBezTo>
                  <a:cubicBezTo>
                    <a:pt x="93" y="246"/>
                    <a:pt x="94" y="245"/>
                    <a:pt x="95" y="245"/>
                  </a:cubicBezTo>
                  <a:cubicBezTo>
                    <a:pt x="95" y="245"/>
                    <a:pt x="95" y="246"/>
                    <a:pt x="95" y="246"/>
                  </a:cubicBezTo>
                  <a:cubicBezTo>
                    <a:pt x="95" y="247"/>
                    <a:pt x="96" y="247"/>
                    <a:pt x="97" y="248"/>
                  </a:cubicBezTo>
                  <a:cubicBezTo>
                    <a:pt x="99" y="248"/>
                    <a:pt x="101" y="249"/>
                    <a:pt x="103" y="249"/>
                  </a:cubicBezTo>
                  <a:cubicBezTo>
                    <a:pt x="105" y="249"/>
                    <a:pt x="107" y="249"/>
                    <a:pt x="108" y="250"/>
                  </a:cubicBezTo>
                  <a:cubicBezTo>
                    <a:pt x="109" y="250"/>
                    <a:pt x="109" y="250"/>
                    <a:pt x="109" y="250"/>
                  </a:cubicBezTo>
                  <a:cubicBezTo>
                    <a:pt x="110" y="251"/>
                    <a:pt x="110" y="251"/>
                    <a:pt x="111" y="251"/>
                  </a:cubicBezTo>
                  <a:cubicBezTo>
                    <a:pt x="111" y="252"/>
                    <a:pt x="112" y="252"/>
                    <a:pt x="112" y="252"/>
                  </a:cubicBezTo>
                  <a:cubicBezTo>
                    <a:pt x="113" y="253"/>
                    <a:pt x="113" y="253"/>
                    <a:pt x="114" y="253"/>
                  </a:cubicBezTo>
                  <a:cubicBezTo>
                    <a:pt x="115" y="253"/>
                    <a:pt x="116" y="253"/>
                    <a:pt x="117" y="254"/>
                  </a:cubicBezTo>
                  <a:cubicBezTo>
                    <a:pt x="117" y="254"/>
                    <a:pt x="118" y="255"/>
                    <a:pt x="118" y="255"/>
                  </a:cubicBezTo>
                  <a:cubicBezTo>
                    <a:pt x="119" y="256"/>
                    <a:pt x="119" y="256"/>
                    <a:pt x="119" y="256"/>
                  </a:cubicBezTo>
                  <a:cubicBezTo>
                    <a:pt x="121" y="256"/>
                    <a:pt x="121" y="257"/>
                    <a:pt x="122" y="258"/>
                  </a:cubicBezTo>
                  <a:cubicBezTo>
                    <a:pt x="124" y="258"/>
                    <a:pt x="125" y="258"/>
                    <a:pt x="127" y="258"/>
                  </a:cubicBezTo>
                  <a:cubicBezTo>
                    <a:pt x="128" y="258"/>
                    <a:pt x="128" y="259"/>
                    <a:pt x="129" y="260"/>
                  </a:cubicBezTo>
                  <a:cubicBezTo>
                    <a:pt x="130" y="260"/>
                    <a:pt x="131" y="260"/>
                    <a:pt x="131" y="261"/>
                  </a:cubicBezTo>
                  <a:cubicBezTo>
                    <a:pt x="132" y="261"/>
                    <a:pt x="132" y="262"/>
                    <a:pt x="133" y="261"/>
                  </a:cubicBezTo>
                  <a:cubicBezTo>
                    <a:pt x="133" y="261"/>
                    <a:pt x="133" y="261"/>
                    <a:pt x="133" y="261"/>
                  </a:cubicBezTo>
                  <a:cubicBezTo>
                    <a:pt x="133" y="260"/>
                    <a:pt x="133" y="260"/>
                    <a:pt x="133" y="260"/>
                  </a:cubicBezTo>
                  <a:cubicBezTo>
                    <a:pt x="133" y="260"/>
                    <a:pt x="133" y="259"/>
                    <a:pt x="133" y="259"/>
                  </a:cubicBezTo>
                  <a:cubicBezTo>
                    <a:pt x="133" y="258"/>
                    <a:pt x="132" y="256"/>
                    <a:pt x="133" y="257"/>
                  </a:cubicBezTo>
                  <a:cubicBezTo>
                    <a:pt x="134" y="257"/>
                    <a:pt x="134" y="257"/>
                    <a:pt x="134" y="258"/>
                  </a:cubicBezTo>
                  <a:cubicBezTo>
                    <a:pt x="134" y="258"/>
                    <a:pt x="134" y="258"/>
                    <a:pt x="135" y="258"/>
                  </a:cubicBezTo>
                  <a:cubicBezTo>
                    <a:pt x="136" y="259"/>
                    <a:pt x="136" y="259"/>
                    <a:pt x="137" y="258"/>
                  </a:cubicBezTo>
                  <a:cubicBezTo>
                    <a:pt x="138" y="258"/>
                    <a:pt x="138" y="258"/>
                    <a:pt x="139" y="258"/>
                  </a:cubicBezTo>
                  <a:cubicBezTo>
                    <a:pt x="140" y="260"/>
                    <a:pt x="137" y="259"/>
                    <a:pt x="136" y="260"/>
                  </a:cubicBezTo>
                  <a:cubicBezTo>
                    <a:pt x="136" y="260"/>
                    <a:pt x="135" y="260"/>
                    <a:pt x="135" y="261"/>
                  </a:cubicBezTo>
                  <a:cubicBezTo>
                    <a:pt x="135" y="261"/>
                    <a:pt x="135" y="262"/>
                    <a:pt x="135" y="262"/>
                  </a:cubicBezTo>
                  <a:cubicBezTo>
                    <a:pt x="135" y="263"/>
                    <a:pt x="135" y="263"/>
                    <a:pt x="136" y="263"/>
                  </a:cubicBezTo>
                  <a:cubicBezTo>
                    <a:pt x="136" y="264"/>
                    <a:pt x="136" y="264"/>
                    <a:pt x="137" y="264"/>
                  </a:cubicBezTo>
                  <a:cubicBezTo>
                    <a:pt x="138" y="264"/>
                    <a:pt x="138" y="264"/>
                    <a:pt x="139" y="263"/>
                  </a:cubicBezTo>
                  <a:cubicBezTo>
                    <a:pt x="140" y="263"/>
                    <a:pt x="140" y="263"/>
                    <a:pt x="141" y="262"/>
                  </a:cubicBezTo>
                  <a:cubicBezTo>
                    <a:pt x="141" y="262"/>
                    <a:pt x="141" y="261"/>
                    <a:pt x="142" y="261"/>
                  </a:cubicBezTo>
                  <a:cubicBezTo>
                    <a:pt x="143" y="261"/>
                    <a:pt x="144" y="261"/>
                    <a:pt x="144" y="261"/>
                  </a:cubicBezTo>
                  <a:cubicBezTo>
                    <a:pt x="145" y="261"/>
                    <a:pt x="145" y="261"/>
                    <a:pt x="146" y="260"/>
                  </a:cubicBezTo>
                  <a:cubicBezTo>
                    <a:pt x="146" y="260"/>
                    <a:pt x="147" y="260"/>
                    <a:pt x="147" y="261"/>
                  </a:cubicBezTo>
                  <a:cubicBezTo>
                    <a:pt x="147" y="262"/>
                    <a:pt x="147" y="262"/>
                    <a:pt x="147" y="262"/>
                  </a:cubicBezTo>
                  <a:cubicBezTo>
                    <a:pt x="147" y="262"/>
                    <a:pt x="147" y="262"/>
                    <a:pt x="147" y="262"/>
                  </a:cubicBezTo>
                  <a:cubicBezTo>
                    <a:pt x="147" y="263"/>
                    <a:pt x="147" y="263"/>
                    <a:pt x="146" y="263"/>
                  </a:cubicBezTo>
                  <a:cubicBezTo>
                    <a:pt x="146" y="263"/>
                    <a:pt x="146" y="262"/>
                    <a:pt x="146" y="261"/>
                  </a:cubicBezTo>
                  <a:cubicBezTo>
                    <a:pt x="145" y="261"/>
                    <a:pt x="143" y="262"/>
                    <a:pt x="143" y="263"/>
                  </a:cubicBezTo>
                  <a:cubicBezTo>
                    <a:pt x="143" y="264"/>
                    <a:pt x="144" y="264"/>
                    <a:pt x="144" y="264"/>
                  </a:cubicBezTo>
                  <a:cubicBezTo>
                    <a:pt x="145" y="264"/>
                    <a:pt x="146" y="265"/>
                    <a:pt x="146" y="265"/>
                  </a:cubicBezTo>
                  <a:cubicBezTo>
                    <a:pt x="148" y="265"/>
                    <a:pt x="149" y="265"/>
                    <a:pt x="151" y="265"/>
                  </a:cubicBezTo>
                  <a:cubicBezTo>
                    <a:pt x="152" y="264"/>
                    <a:pt x="152" y="262"/>
                    <a:pt x="152" y="261"/>
                  </a:cubicBezTo>
                  <a:cubicBezTo>
                    <a:pt x="152" y="261"/>
                    <a:pt x="153" y="260"/>
                    <a:pt x="153" y="260"/>
                  </a:cubicBezTo>
                  <a:cubicBezTo>
                    <a:pt x="154" y="260"/>
                    <a:pt x="153" y="260"/>
                    <a:pt x="153" y="261"/>
                  </a:cubicBezTo>
                  <a:cubicBezTo>
                    <a:pt x="153" y="262"/>
                    <a:pt x="153" y="263"/>
                    <a:pt x="152" y="264"/>
                  </a:cubicBezTo>
                  <a:cubicBezTo>
                    <a:pt x="152" y="264"/>
                    <a:pt x="151" y="265"/>
                    <a:pt x="151" y="266"/>
                  </a:cubicBezTo>
                  <a:cubicBezTo>
                    <a:pt x="152" y="267"/>
                    <a:pt x="153" y="268"/>
                    <a:pt x="154" y="268"/>
                  </a:cubicBezTo>
                  <a:cubicBezTo>
                    <a:pt x="155" y="268"/>
                    <a:pt x="156" y="266"/>
                    <a:pt x="155" y="265"/>
                  </a:cubicBezTo>
                  <a:cubicBezTo>
                    <a:pt x="155" y="264"/>
                    <a:pt x="155" y="263"/>
                    <a:pt x="155" y="262"/>
                  </a:cubicBezTo>
                  <a:cubicBezTo>
                    <a:pt x="156" y="262"/>
                    <a:pt x="156" y="261"/>
                    <a:pt x="156" y="260"/>
                  </a:cubicBezTo>
                  <a:cubicBezTo>
                    <a:pt x="157" y="260"/>
                    <a:pt x="157" y="261"/>
                    <a:pt x="157" y="261"/>
                  </a:cubicBezTo>
                  <a:cubicBezTo>
                    <a:pt x="157" y="262"/>
                    <a:pt x="156" y="262"/>
                    <a:pt x="156" y="263"/>
                  </a:cubicBezTo>
                  <a:cubicBezTo>
                    <a:pt x="156" y="263"/>
                    <a:pt x="156" y="263"/>
                    <a:pt x="156" y="264"/>
                  </a:cubicBezTo>
                  <a:cubicBezTo>
                    <a:pt x="156" y="265"/>
                    <a:pt x="157" y="265"/>
                    <a:pt x="157" y="266"/>
                  </a:cubicBezTo>
                  <a:cubicBezTo>
                    <a:pt x="156" y="266"/>
                    <a:pt x="156" y="266"/>
                    <a:pt x="156" y="267"/>
                  </a:cubicBezTo>
                  <a:cubicBezTo>
                    <a:pt x="156" y="267"/>
                    <a:pt x="156" y="267"/>
                    <a:pt x="156" y="267"/>
                  </a:cubicBezTo>
                  <a:cubicBezTo>
                    <a:pt x="157" y="268"/>
                    <a:pt x="157" y="268"/>
                    <a:pt x="157" y="268"/>
                  </a:cubicBezTo>
                  <a:cubicBezTo>
                    <a:pt x="157" y="268"/>
                    <a:pt x="157" y="268"/>
                    <a:pt x="157" y="268"/>
                  </a:cubicBezTo>
                  <a:cubicBezTo>
                    <a:pt x="157" y="269"/>
                    <a:pt x="158" y="269"/>
                    <a:pt x="158" y="269"/>
                  </a:cubicBezTo>
                  <a:cubicBezTo>
                    <a:pt x="159" y="269"/>
                    <a:pt x="159" y="269"/>
                    <a:pt x="159" y="269"/>
                  </a:cubicBezTo>
                  <a:cubicBezTo>
                    <a:pt x="160" y="268"/>
                    <a:pt x="160" y="268"/>
                    <a:pt x="160" y="268"/>
                  </a:cubicBezTo>
                  <a:cubicBezTo>
                    <a:pt x="161" y="268"/>
                    <a:pt x="161" y="267"/>
                    <a:pt x="162" y="267"/>
                  </a:cubicBezTo>
                  <a:cubicBezTo>
                    <a:pt x="162" y="266"/>
                    <a:pt x="162" y="266"/>
                    <a:pt x="162" y="265"/>
                  </a:cubicBezTo>
                  <a:cubicBezTo>
                    <a:pt x="163" y="264"/>
                    <a:pt x="163" y="264"/>
                    <a:pt x="164" y="264"/>
                  </a:cubicBezTo>
                  <a:cubicBezTo>
                    <a:pt x="165" y="264"/>
                    <a:pt x="166" y="264"/>
                    <a:pt x="166" y="264"/>
                  </a:cubicBezTo>
                  <a:cubicBezTo>
                    <a:pt x="166" y="265"/>
                    <a:pt x="165" y="264"/>
                    <a:pt x="164" y="265"/>
                  </a:cubicBezTo>
                  <a:cubicBezTo>
                    <a:pt x="163" y="265"/>
                    <a:pt x="163" y="266"/>
                    <a:pt x="163" y="267"/>
                  </a:cubicBezTo>
                  <a:cubicBezTo>
                    <a:pt x="163" y="267"/>
                    <a:pt x="163" y="268"/>
                    <a:pt x="163" y="268"/>
                  </a:cubicBezTo>
                  <a:cubicBezTo>
                    <a:pt x="162" y="269"/>
                    <a:pt x="162" y="269"/>
                    <a:pt x="162" y="269"/>
                  </a:cubicBezTo>
                  <a:cubicBezTo>
                    <a:pt x="162" y="270"/>
                    <a:pt x="164" y="270"/>
                    <a:pt x="164" y="270"/>
                  </a:cubicBezTo>
                  <a:cubicBezTo>
                    <a:pt x="165" y="270"/>
                    <a:pt x="165" y="270"/>
                    <a:pt x="165" y="269"/>
                  </a:cubicBezTo>
                  <a:cubicBezTo>
                    <a:pt x="165" y="269"/>
                    <a:pt x="165" y="268"/>
                    <a:pt x="165" y="268"/>
                  </a:cubicBezTo>
                  <a:cubicBezTo>
                    <a:pt x="167" y="267"/>
                    <a:pt x="167" y="267"/>
                    <a:pt x="167" y="267"/>
                  </a:cubicBezTo>
                  <a:cubicBezTo>
                    <a:pt x="167" y="267"/>
                    <a:pt x="168" y="267"/>
                    <a:pt x="168" y="267"/>
                  </a:cubicBezTo>
                  <a:cubicBezTo>
                    <a:pt x="169" y="267"/>
                    <a:pt x="168" y="268"/>
                    <a:pt x="168" y="268"/>
                  </a:cubicBezTo>
                  <a:cubicBezTo>
                    <a:pt x="167" y="268"/>
                    <a:pt x="166" y="268"/>
                    <a:pt x="166" y="269"/>
                  </a:cubicBezTo>
                  <a:cubicBezTo>
                    <a:pt x="166" y="270"/>
                    <a:pt x="167" y="270"/>
                    <a:pt x="167" y="270"/>
                  </a:cubicBezTo>
                  <a:cubicBezTo>
                    <a:pt x="167" y="271"/>
                    <a:pt x="168" y="271"/>
                    <a:pt x="168" y="270"/>
                  </a:cubicBezTo>
                  <a:cubicBezTo>
                    <a:pt x="168" y="270"/>
                    <a:pt x="169" y="269"/>
                    <a:pt x="169" y="269"/>
                  </a:cubicBezTo>
                  <a:cubicBezTo>
                    <a:pt x="170" y="268"/>
                    <a:pt x="171" y="267"/>
                    <a:pt x="171" y="267"/>
                  </a:cubicBezTo>
                  <a:cubicBezTo>
                    <a:pt x="172" y="267"/>
                    <a:pt x="171" y="269"/>
                    <a:pt x="171" y="270"/>
                  </a:cubicBezTo>
                  <a:cubicBezTo>
                    <a:pt x="170" y="270"/>
                    <a:pt x="169" y="271"/>
                    <a:pt x="169" y="272"/>
                  </a:cubicBezTo>
                  <a:cubicBezTo>
                    <a:pt x="169" y="273"/>
                    <a:pt x="169" y="273"/>
                    <a:pt x="169" y="273"/>
                  </a:cubicBezTo>
                  <a:cubicBezTo>
                    <a:pt x="170" y="274"/>
                    <a:pt x="170" y="274"/>
                    <a:pt x="170" y="274"/>
                  </a:cubicBezTo>
                  <a:cubicBezTo>
                    <a:pt x="170" y="275"/>
                    <a:pt x="170" y="275"/>
                    <a:pt x="171" y="275"/>
                  </a:cubicBezTo>
                  <a:cubicBezTo>
                    <a:pt x="171" y="275"/>
                    <a:pt x="172" y="276"/>
                    <a:pt x="172" y="276"/>
                  </a:cubicBezTo>
                  <a:cubicBezTo>
                    <a:pt x="173" y="276"/>
                    <a:pt x="173" y="276"/>
                    <a:pt x="174" y="277"/>
                  </a:cubicBezTo>
                  <a:cubicBezTo>
                    <a:pt x="175" y="276"/>
                    <a:pt x="175" y="274"/>
                    <a:pt x="175" y="274"/>
                  </a:cubicBezTo>
                  <a:cubicBezTo>
                    <a:pt x="175" y="272"/>
                    <a:pt x="176" y="270"/>
                    <a:pt x="178" y="271"/>
                  </a:cubicBezTo>
                  <a:cubicBezTo>
                    <a:pt x="178" y="271"/>
                    <a:pt x="178" y="271"/>
                    <a:pt x="178" y="272"/>
                  </a:cubicBezTo>
                  <a:cubicBezTo>
                    <a:pt x="177" y="272"/>
                    <a:pt x="177" y="272"/>
                    <a:pt x="177" y="272"/>
                  </a:cubicBezTo>
                  <a:cubicBezTo>
                    <a:pt x="177" y="273"/>
                    <a:pt x="176" y="273"/>
                    <a:pt x="176" y="273"/>
                  </a:cubicBezTo>
                  <a:cubicBezTo>
                    <a:pt x="176" y="274"/>
                    <a:pt x="176" y="275"/>
                    <a:pt x="176" y="276"/>
                  </a:cubicBezTo>
                  <a:cubicBezTo>
                    <a:pt x="177" y="276"/>
                    <a:pt x="177" y="276"/>
                    <a:pt x="177" y="276"/>
                  </a:cubicBezTo>
                  <a:cubicBezTo>
                    <a:pt x="177" y="277"/>
                    <a:pt x="177" y="277"/>
                    <a:pt x="178" y="278"/>
                  </a:cubicBezTo>
                  <a:cubicBezTo>
                    <a:pt x="179" y="278"/>
                    <a:pt x="179" y="278"/>
                    <a:pt x="180" y="277"/>
                  </a:cubicBezTo>
                  <a:cubicBezTo>
                    <a:pt x="180" y="277"/>
                    <a:pt x="181" y="276"/>
                    <a:pt x="181" y="275"/>
                  </a:cubicBezTo>
                  <a:cubicBezTo>
                    <a:pt x="182" y="275"/>
                    <a:pt x="181" y="274"/>
                    <a:pt x="181" y="273"/>
                  </a:cubicBezTo>
                  <a:cubicBezTo>
                    <a:pt x="182" y="272"/>
                    <a:pt x="182" y="270"/>
                    <a:pt x="183" y="270"/>
                  </a:cubicBezTo>
                  <a:cubicBezTo>
                    <a:pt x="183" y="270"/>
                    <a:pt x="184" y="270"/>
                    <a:pt x="185" y="269"/>
                  </a:cubicBezTo>
                  <a:cubicBezTo>
                    <a:pt x="185" y="269"/>
                    <a:pt x="185" y="269"/>
                    <a:pt x="185" y="269"/>
                  </a:cubicBezTo>
                  <a:cubicBezTo>
                    <a:pt x="185" y="269"/>
                    <a:pt x="185" y="268"/>
                    <a:pt x="186" y="269"/>
                  </a:cubicBezTo>
                  <a:cubicBezTo>
                    <a:pt x="186" y="271"/>
                    <a:pt x="186" y="271"/>
                    <a:pt x="186" y="271"/>
                  </a:cubicBezTo>
                  <a:cubicBezTo>
                    <a:pt x="185" y="271"/>
                    <a:pt x="185" y="271"/>
                    <a:pt x="184" y="272"/>
                  </a:cubicBezTo>
                  <a:cubicBezTo>
                    <a:pt x="183" y="272"/>
                    <a:pt x="183" y="273"/>
                    <a:pt x="183" y="274"/>
                  </a:cubicBezTo>
                  <a:cubicBezTo>
                    <a:pt x="182" y="275"/>
                    <a:pt x="182" y="275"/>
                    <a:pt x="182" y="276"/>
                  </a:cubicBezTo>
                  <a:cubicBezTo>
                    <a:pt x="182" y="277"/>
                    <a:pt x="182" y="278"/>
                    <a:pt x="182" y="278"/>
                  </a:cubicBezTo>
                  <a:cubicBezTo>
                    <a:pt x="183" y="279"/>
                    <a:pt x="185" y="278"/>
                    <a:pt x="185" y="276"/>
                  </a:cubicBezTo>
                  <a:cubicBezTo>
                    <a:pt x="185" y="276"/>
                    <a:pt x="185" y="275"/>
                    <a:pt x="185" y="275"/>
                  </a:cubicBezTo>
                  <a:cubicBezTo>
                    <a:pt x="185" y="274"/>
                    <a:pt x="185" y="274"/>
                    <a:pt x="186" y="273"/>
                  </a:cubicBezTo>
                  <a:cubicBezTo>
                    <a:pt x="186" y="273"/>
                    <a:pt x="187" y="273"/>
                    <a:pt x="187" y="273"/>
                  </a:cubicBezTo>
                  <a:cubicBezTo>
                    <a:pt x="186" y="274"/>
                    <a:pt x="186" y="274"/>
                    <a:pt x="186" y="274"/>
                  </a:cubicBezTo>
                  <a:cubicBezTo>
                    <a:pt x="186" y="275"/>
                    <a:pt x="186" y="275"/>
                    <a:pt x="186" y="276"/>
                  </a:cubicBezTo>
                  <a:cubicBezTo>
                    <a:pt x="187" y="277"/>
                    <a:pt x="186" y="278"/>
                    <a:pt x="185" y="278"/>
                  </a:cubicBezTo>
                  <a:cubicBezTo>
                    <a:pt x="184" y="278"/>
                    <a:pt x="183" y="278"/>
                    <a:pt x="182" y="279"/>
                  </a:cubicBezTo>
                  <a:cubicBezTo>
                    <a:pt x="181" y="281"/>
                    <a:pt x="187" y="282"/>
                    <a:pt x="188" y="282"/>
                  </a:cubicBezTo>
                  <a:cubicBezTo>
                    <a:pt x="189" y="282"/>
                    <a:pt x="189" y="281"/>
                    <a:pt x="189" y="280"/>
                  </a:cubicBezTo>
                  <a:cubicBezTo>
                    <a:pt x="190" y="280"/>
                    <a:pt x="191" y="277"/>
                    <a:pt x="192" y="278"/>
                  </a:cubicBezTo>
                  <a:cubicBezTo>
                    <a:pt x="192" y="278"/>
                    <a:pt x="192" y="279"/>
                    <a:pt x="191" y="280"/>
                  </a:cubicBezTo>
                  <a:cubicBezTo>
                    <a:pt x="191" y="280"/>
                    <a:pt x="191" y="280"/>
                    <a:pt x="192" y="281"/>
                  </a:cubicBezTo>
                  <a:cubicBezTo>
                    <a:pt x="192" y="282"/>
                    <a:pt x="190" y="282"/>
                    <a:pt x="190" y="283"/>
                  </a:cubicBezTo>
                  <a:cubicBezTo>
                    <a:pt x="190" y="284"/>
                    <a:pt x="190" y="285"/>
                    <a:pt x="191" y="286"/>
                  </a:cubicBezTo>
                  <a:cubicBezTo>
                    <a:pt x="191" y="286"/>
                    <a:pt x="192" y="287"/>
                    <a:pt x="193" y="287"/>
                  </a:cubicBezTo>
                  <a:cubicBezTo>
                    <a:pt x="193" y="287"/>
                    <a:pt x="194" y="287"/>
                    <a:pt x="194" y="286"/>
                  </a:cubicBezTo>
                  <a:cubicBezTo>
                    <a:pt x="195" y="286"/>
                    <a:pt x="195" y="287"/>
                    <a:pt x="194" y="288"/>
                  </a:cubicBezTo>
                  <a:cubicBezTo>
                    <a:pt x="194" y="288"/>
                    <a:pt x="193" y="288"/>
                    <a:pt x="192" y="289"/>
                  </a:cubicBezTo>
                  <a:cubicBezTo>
                    <a:pt x="192" y="290"/>
                    <a:pt x="191" y="291"/>
                    <a:pt x="192" y="292"/>
                  </a:cubicBezTo>
                  <a:cubicBezTo>
                    <a:pt x="193" y="292"/>
                    <a:pt x="193" y="292"/>
                    <a:pt x="193" y="292"/>
                  </a:cubicBezTo>
                  <a:cubicBezTo>
                    <a:pt x="194" y="291"/>
                    <a:pt x="194" y="291"/>
                    <a:pt x="194" y="291"/>
                  </a:cubicBezTo>
                  <a:cubicBezTo>
                    <a:pt x="194" y="290"/>
                    <a:pt x="194" y="290"/>
                    <a:pt x="195" y="289"/>
                  </a:cubicBezTo>
                  <a:cubicBezTo>
                    <a:pt x="196" y="289"/>
                    <a:pt x="197" y="288"/>
                    <a:pt x="198" y="288"/>
                  </a:cubicBezTo>
                  <a:cubicBezTo>
                    <a:pt x="197" y="289"/>
                    <a:pt x="195" y="290"/>
                    <a:pt x="196" y="291"/>
                  </a:cubicBezTo>
                  <a:cubicBezTo>
                    <a:pt x="196" y="292"/>
                    <a:pt x="196" y="293"/>
                    <a:pt x="197" y="293"/>
                  </a:cubicBezTo>
                  <a:cubicBezTo>
                    <a:pt x="198" y="293"/>
                    <a:pt x="199" y="292"/>
                    <a:pt x="200" y="292"/>
                  </a:cubicBezTo>
                  <a:cubicBezTo>
                    <a:pt x="201" y="291"/>
                    <a:pt x="201" y="290"/>
                    <a:pt x="202" y="290"/>
                  </a:cubicBezTo>
                  <a:cubicBezTo>
                    <a:pt x="202" y="289"/>
                    <a:pt x="203" y="289"/>
                    <a:pt x="204" y="288"/>
                  </a:cubicBezTo>
                  <a:cubicBezTo>
                    <a:pt x="204" y="288"/>
                    <a:pt x="205" y="287"/>
                    <a:pt x="205" y="287"/>
                  </a:cubicBezTo>
                  <a:cubicBezTo>
                    <a:pt x="206" y="286"/>
                    <a:pt x="207" y="286"/>
                    <a:pt x="207" y="286"/>
                  </a:cubicBezTo>
                  <a:cubicBezTo>
                    <a:pt x="209" y="286"/>
                    <a:pt x="210" y="284"/>
                    <a:pt x="211" y="284"/>
                  </a:cubicBezTo>
                  <a:cubicBezTo>
                    <a:pt x="211" y="285"/>
                    <a:pt x="210" y="285"/>
                    <a:pt x="209" y="286"/>
                  </a:cubicBezTo>
                  <a:cubicBezTo>
                    <a:pt x="208" y="286"/>
                    <a:pt x="208" y="287"/>
                    <a:pt x="207" y="287"/>
                  </a:cubicBezTo>
                  <a:cubicBezTo>
                    <a:pt x="206" y="287"/>
                    <a:pt x="206" y="288"/>
                    <a:pt x="205" y="288"/>
                  </a:cubicBezTo>
                  <a:cubicBezTo>
                    <a:pt x="205" y="289"/>
                    <a:pt x="205" y="289"/>
                    <a:pt x="204" y="290"/>
                  </a:cubicBezTo>
                  <a:cubicBezTo>
                    <a:pt x="203" y="290"/>
                    <a:pt x="202" y="290"/>
                    <a:pt x="202" y="291"/>
                  </a:cubicBezTo>
                  <a:cubicBezTo>
                    <a:pt x="201" y="292"/>
                    <a:pt x="202" y="292"/>
                    <a:pt x="202" y="292"/>
                  </a:cubicBezTo>
                  <a:cubicBezTo>
                    <a:pt x="203" y="294"/>
                    <a:pt x="205" y="295"/>
                    <a:pt x="206" y="296"/>
                  </a:cubicBezTo>
                  <a:cubicBezTo>
                    <a:pt x="207" y="297"/>
                    <a:pt x="207" y="297"/>
                    <a:pt x="208" y="297"/>
                  </a:cubicBezTo>
                  <a:cubicBezTo>
                    <a:pt x="208" y="298"/>
                    <a:pt x="208" y="298"/>
                    <a:pt x="208" y="298"/>
                  </a:cubicBezTo>
                  <a:cubicBezTo>
                    <a:pt x="209" y="299"/>
                    <a:pt x="209" y="299"/>
                    <a:pt x="210" y="299"/>
                  </a:cubicBezTo>
                  <a:cubicBezTo>
                    <a:pt x="210" y="298"/>
                    <a:pt x="210" y="298"/>
                    <a:pt x="210" y="297"/>
                  </a:cubicBezTo>
                  <a:cubicBezTo>
                    <a:pt x="210" y="296"/>
                    <a:pt x="209" y="296"/>
                    <a:pt x="209" y="295"/>
                  </a:cubicBezTo>
                  <a:cubicBezTo>
                    <a:pt x="208" y="295"/>
                    <a:pt x="208" y="294"/>
                    <a:pt x="208" y="293"/>
                  </a:cubicBezTo>
                  <a:cubicBezTo>
                    <a:pt x="209" y="293"/>
                    <a:pt x="209" y="294"/>
                    <a:pt x="209" y="294"/>
                  </a:cubicBezTo>
                  <a:cubicBezTo>
                    <a:pt x="209" y="295"/>
                    <a:pt x="210" y="295"/>
                    <a:pt x="210" y="295"/>
                  </a:cubicBezTo>
                  <a:cubicBezTo>
                    <a:pt x="211" y="295"/>
                    <a:pt x="211" y="295"/>
                    <a:pt x="212" y="295"/>
                  </a:cubicBezTo>
                  <a:cubicBezTo>
                    <a:pt x="212" y="294"/>
                    <a:pt x="212" y="294"/>
                    <a:pt x="212" y="294"/>
                  </a:cubicBezTo>
                  <a:cubicBezTo>
                    <a:pt x="212" y="293"/>
                    <a:pt x="212" y="293"/>
                    <a:pt x="212" y="293"/>
                  </a:cubicBezTo>
                  <a:cubicBezTo>
                    <a:pt x="213" y="292"/>
                    <a:pt x="213" y="292"/>
                    <a:pt x="214" y="292"/>
                  </a:cubicBezTo>
                  <a:cubicBezTo>
                    <a:pt x="214" y="292"/>
                    <a:pt x="214" y="292"/>
                    <a:pt x="215" y="291"/>
                  </a:cubicBezTo>
                  <a:cubicBezTo>
                    <a:pt x="216" y="291"/>
                    <a:pt x="217" y="291"/>
                    <a:pt x="218" y="291"/>
                  </a:cubicBezTo>
                  <a:cubicBezTo>
                    <a:pt x="218" y="291"/>
                    <a:pt x="219" y="290"/>
                    <a:pt x="219" y="290"/>
                  </a:cubicBezTo>
                  <a:cubicBezTo>
                    <a:pt x="220" y="289"/>
                    <a:pt x="220" y="290"/>
                    <a:pt x="220" y="291"/>
                  </a:cubicBezTo>
                  <a:cubicBezTo>
                    <a:pt x="220" y="291"/>
                    <a:pt x="220" y="292"/>
                    <a:pt x="219" y="292"/>
                  </a:cubicBezTo>
                  <a:cubicBezTo>
                    <a:pt x="219" y="293"/>
                    <a:pt x="219" y="293"/>
                    <a:pt x="219" y="293"/>
                  </a:cubicBezTo>
                  <a:cubicBezTo>
                    <a:pt x="217" y="293"/>
                    <a:pt x="215" y="293"/>
                    <a:pt x="214" y="294"/>
                  </a:cubicBezTo>
                  <a:cubicBezTo>
                    <a:pt x="213" y="295"/>
                    <a:pt x="213" y="295"/>
                    <a:pt x="213" y="296"/>
                  </a:cubicBezTo>
                  <a:cubicBezTo>
                    <a:pt x="213" y="297"/>
                    <a:pt x="212" y="298"/>
                    <a:pt x="212" y="299"/>
                  </a:cubicBezTo>
                  <a:cubicBezTo>
                    <a:pt x="212" y="300"/>
                    <a:pt x="212" y="301"/>
                    <a:pt x="213" y="301"/>
                  </a:cubicBezTo>
                  <a:cubicBezTo>
                    <a:pt x="213" y="301"/>
                    <a:pt x="214" y="302"/>
                    <a:pt x="214" y="302"/>
                  </a:cubicBezTo>
                  <a:cubicBezTo>
                    <a:pt x="215" y="303"/>
                    <a:pt x="216" y="301"/>
                    <a:pt x="216" y="301"/>
                  </a:cubicBezTo>
                  <a:cubicBezTo>
                    <a:pt x="216" y="299"/>
                    <a:pt x="217" y="298"/>
                    <a:pt x="218" y="297"/>
                  </a:cubicBezTo>
                  <a:cubicBezTo>
                    <a:pt x="218" y="297"/>
                    <a:pt x="219" y="296"/>
                    <a:pt x="219" y="296"/>
                  </a:cubicBezTo>
                  <a:cubicBezTo>
                    <a:pt x="220" y="296"/>
                    <a:pt x="221" y="297"/>
                    <a:pt x="221" y="298"/>
                  </a:cubicBezTo>
                  <a:cubicBezTo>
                    <a:pt x="222" y="297"/>
                    <a:pt x="224" y="296"/>
                    <a:pt x="225" y="295"/>
                  </a:cubicBezTo>
                  <a:cubicBezTo>
                    <a:pt x="226" y="294"/>
                    <a:pt x="226" y="292"/>
                    <a:pt x="227" y="292"/>
                  </a:cubicBezTo>
                  <a:cubicBezTo>
                    <a:pt x="228" y="292"/>
                    <a:pt x="228" y="293"/>
                    <a:pt x="229" y="293"/>
                  </a:cubicBezTo>
                  <a:cubicBezTo>
                    <a:pt x="229" y="294"/>
                    <a:pt x="230" y="294"/>
                    <a:pt x="230" y="295"/>
                  </a:cubicBezTo>
                  <a:cubicBezTo>
                    <a:pt x="229" y="295"/>
                    <a:pt x="229" y="295"/>
                    <a:pt x="229" y="295"/>
                  </a:cubicBezTo>
                  <a:cubicBezTo>
                    <a:pt x="229" y="295"/>
                    <a:pt x="229" y="295"/>
                    <a:pt x="229" y="295"/>
                  </a:cubicBezTo>
                  <a:cubicBezTo>
                    <a:pt x="229" y="294"/>
                    <a:pt x="228" y="294"/>
                    <a:pt x="228" y="293"/>
                  </a:cubicBezTo>
                  <a:cubicBezTo>
                    <a:pt x="227" y="293"/>
                    <a:pt x="227" y="294"/>
                    <a:pt x="226" y="295"/>
                  </a:cubicBezTo>
                  <a:cubicBezTo>
                    <a:pt x="226" y="295"/>
                    <a:pt x="226" y="295"/>
                    <a:pt x="225" y="296"/>
                  </a:cubicBezTo>
                  <a:cubicBezTo>
                    <a:pt x="225" y="296"/>
                    <a:pt x="224" y="296"/>
                    <a:pt x="224" y="297"/>
                  </a:cubicBezTo>
                  <a:cubicBezTo>
                    <a:pt x="224" y="298"/>
                    <a:pt x="224" y="298"/>
                    <a:pt x="224" y="298"/>
                  </a:cubicBezTo>
                  <a:cubicBezTo>
                    <a:pt x="224" y="298"/>
                    <a:pt x="225" y="299"/>
                    <a:pt x="226" y="299"/>
                  </a:cubicBezTo>
                  <a:cubicBezTo>
                    <a:pt x="226" y="299"/>
                    <a:pt x="227" y="299"/>
                    <a:pt x="226" y="300"/>
                  </a:cubicBezTo>
                  <a:cubicBezTo>
                    <a:pt x="225" y="301"/>
                    <a:pt x="225" y="300"/>
                    <a:pt x="224" y="300"/>
                  </a:cubicBezTo>
                  <a:cubicBezTo>
                    <a:pt x="224" y="299"/>
                    <a:pt x="224" y="299"/>
                    <a:pt x="223" y="299"/>
                  </a:cubicBezTo>
                  <a:cubicBezTo>
                    <a:pt x="223" y="298"/>
                    <a:pt x="223" y="298"/>
                    <a:pt x="223" y="298"/>
                  </a:cubicBezTo>
                  <a:cubicBezTo>
                    <a:pt x="222" y="299"/>
                    <a:pt x="222" y="299"/>
                    <a:pt x="222" y="299"/>
                  </a:cubicBezTo>
                  <a:cubicBezTo>
                    <a:pt x="221" y="300"/>
                    <a:pt x="220" y="299"/>
                    <a:pt x="219" y="299"/>
                  </a:cubicBezTo>
                  <a:cubicBezTo>
                    <a:pt x="218" y="298"/>
                    <a:pt x="218" y="299"/>
                    <a:pt x="218" y="300"/>
                  </a:cubicBezTo>
                  <a:cubicBezTo>
                    <a:pt x="217" y="301"/>
                    <a:pt x="217" y="302"/>
                    <a:pt x="216" y="303"/>
                  </a:cubicBezTo>
                  <a:cubicBezTo>
                    <a:pt x="216" y="303"/>
                    <a:pt x="215" y="303"/>
                    <a:pt x="215" y="303"/>
                  </a:cubicBezTo>
                  <a:cubicBezTo>
                    <a:pt x="213" y="304"/>
                    <a:pt x="212" y="304"/>
                    <a:pt x="212" y="306"/>
                  </a:cubicBezTo>
                  <a:cubicBezTo>
                    <a:pt x="212" y="308"/>
                    <a:pt x="212" y="310"/>
                    <a:pt x="212" y="311"/>
                  </a:cubicBezTo>
                  <a:cubicBezTo>
                    <a:pt x="212" y="312"/>
                    <a:pt x="213" y="314"/>
                    <a:pt x="213" y="314"/>
                  </a:cubicBezTo>
                  <a:cubicBezTo>
                    <a:pt x="214" y="315"/>
                    <a:pt x="215" y="314"/>
                    <a:pt x="217" y="313"/>
                  </a:cubicBezTo>
                  <a:cubicBezTo>
                    <a:pt x="218" y="313"/>
                    <a:pt x="218" y="314"/>
                    <a:pt x="219" y="314"/>
                  </a:cubicBezTo>
                  <a:cubicBezTo>
                    <a:pt x="220" y="314"/>
                    <a:pt x="220" y="313"/>
                    <a:pt x="220" y="313"/>
                  </a:cubicBezTo>
                  <a:cubicBezTo>
                    <a:pt x="221" y="312"/>
                    <a:pt x="221" y="312"/>
                    <a:pt x="222" y="311"/>
                  </a:cubicBezTo>
                  <a:cubicBezTo>
                    <a:pt x="222" y="311"/>
                    <a:pt x="222" y="310"/>
                    <a:pt x="223" y="310"/>
                  </a:cubicBezTo>
                  <a:cubicBezTo>
                    <a:pt x="223" y="309"/>
                    <a:pt x="225" y="308"/>
                    <a:pt x="224" y="310"/>
                  </a:cubicBezTo>
                  <a:cubicBezTo>
                    <a:pt x="224" y="310"/>
                    <a:pt x="223" y="311"/>
                    <a:pt x="223" y="311"/>
                  </a:cubicBezTo>
                  <a:cubicBezTo>
                    <a:pt x="223" y="312"/>
                    <a:pt x="222" y="312"/>
                    <a:pt x="222" y="312"/>
                  </a:cubicBezTo>
                  <a:cubicBezTo>
                    <a:pt x="224" y="312"/>
                    <a:pt x="226" y="310"/>
                    <a:pt x="228" y="310"/>
                  </a:cubicBezTo>
                  <a:cubicBezTo>
                    <a:pt x="230" y="310"/>
                    <a:pt x="234" y="311"/>
                    <a:pt x="236" y="309"/>
                  </a:cubicBezTo>
                  <a:cubicBezTo>
                    <a:pt x="237" y="308"/>
                    <a:pt x="237" y="307"/>
                    <a:pt x="237" y="306"/>
                  </a:cubicBezTo>
                  <a:cubicBezTo>
                    <a:pt x="238" y="305"/>
                    <a:pt x="239" y="305"/>
                    <a:pt x="240" y="305"/>
                  </a:cubicBezTo>
                  <a:cubicBezTo>
                    <a:pt x="242" y="306"/>
                    <a:pt x="245" y="306"/>
                    <a:pt x="246" y="307"/>
                  </a:cubicBezTo>
                  <a:cubicBezTo>
                    <a:pt x="246" y="308"/>
                    <a:pt x="245" y="307"/>
                    <a:pt x="245" y="307"/>
                  </a:cubicBezTo>
                  <a:cubicBezTo>
                    <a:pt x="244" y="307"/>
                    <a:pt x="242" y="307"/>
                    <a:pt x="241" y="306"/>
                  </a:cubicBezTo>
                  <a:cubicBezTo>
                    <a:pt x="240" y="306"/>
                    <a:pt x="239" y="306"/>
                    <a:pt x="239" y="306"/>
                  </a:cubicBezTo>
                  <a:cubicBezTo>
                    <a:pt x="238" y="306"/>
                    <a:pt x="238" y="307"/>
                    <a:pt x="237" y="308"/>
                  </a:cubicBezTo>
                  <a:cubicBezTo>
                    <a:pt x="237" y="309"/>
                    <a:pt x="236" y="310"/>
                    <a:pt x="234" y="310"/>
                  </a:cubicBezTo>
                  <a:cubicBezTo>
                    <a:pt x="232" y="311"/>
                    <a:pt x="231" y="311"/>
                    <a:pt x="229" y="311"/>
                  </a:cubicBezTo>
                  <a:cubicBezTo>
                    <a:pt x="228" y="311"/>
                    <a:pt x="227" y="312"/>
                    <a:pt x="225" y="312"/>
                  </a:cubicBezTo>
                  <a:cubicBezTo>
                    <a:pt x="224" y="313"/>
                    <a:pt x="223" y="313"/>
                    <a:pt x="222" y="314"/>
                  </a:cubicBezTo>
                  <a:cubicBezTo>
                    <a:pt x="221" y="314"/>
                    <a:pt x="220" y="314"/>
                    <a:pt x="219" y="316"/>
                  </a:cubicBezTo>
                  <a:cubicBezTo>
                    <a:pt x="219" y="316"/>
                    <a:pt x="218" y="317"/>
                    <a:pt x="219" y="318"/>
                  </a:cubicBezTo>
                  <a:cubicBezTo>
                    <a:pt x="220" y="321"/>
                    <a:pt x="224" y="320"/>
                    <a:pt x="226" y="321"/>
                  </a:cubicBezTo>
                  <a:cubicBezTo>
                    <a:pt x="228" y="322"/>
                    <a:pt x="232" y="322"/>
                    <a:pt x="233" y="319"/>
                  </a:cubicBezTo>
                  <a:cubicBezTo>
                    <a:pt x="233" y="318"/>
                    <a:pt x="233" y="317"/>
                    <a:pt x="233" y="317"/>
                  </a:cubicBezTo>
                  <a:cubicBezTo>
                    <a:pt x="233" y="316"/>
                    <a:pt x="232" y="316"/>
                    <a:pt x="232" y="315"/>
                  </a:cubicBezTo>
                  <a:cubicBezTo>
                    <a:pt x="232" y="314"/>
                    <a:pt x="232" y="313"/>
                    <a:pt x="233" y="313"/>
                  </a:cubicBezTo>
                  <a:cubicBezTo>
                    <a:pt x="233" y="312"/>
                    <a:pt x="234" y="312"/>
                    <a:pt x="235" y="312"/>
                  </a:cubicBezTo>
                  <a:cubicBezTo>
                    <a:pt x="236" y="312"/>
                    <a:pt x="236" y="311"/>
                    <a:pt x="237" y="311"/>
                  </a:cubicBezTo>
                  <a:cubicBezTo>
                    <a:pt x="238" y="310"/>
                    <a:pt x="239" y="310"/>
                    <a:pt x="240" y="310"/>
                  </a:cubicBezTo>
                  <a:cubicBezTo>
                    <a:pt x="240" y="309"/>
                    <a:pt x="243" y="309"/>
                    <a:pt x="243" y="310"/>
                  </a:cubicBezTo>
                  <a:cubicBezTo>
                    <a:pt x="243" y="310"/>
                    <a:pt x="242" y="310"/>
                    <a:pt x="241" y="310"/>
                  </a:cubicBezTo>
                  <a:cubicBezTo>
                    <a:pt x="240" y="311"/>
                    <a:pt x="239" y="311"/>
                    <a:pt x="238" y="311"/>
                  </a:cubicBezTo>
                  <a:cubicBezTo>
                    <a:pt x="237" y="312"/>
                    <a:pt x="237" y="312"/>
                    <a:pt x="236" y="313"/>
                  </a:cubicBezTo>
                  <a:cubicBezTo>
                    <a:pt x="235" y="313"/>
                    <a:pt x="234" y="313"/>
                    <a:pt x="233" y="314"/>
                  </a:cubicBezTo>
                  <a:cubicBezTo>
                    <a:pt x="233" y="314"/>
                    <a:pt x="233" y="315"/>
                    <a:pt x="234" y="315"/>
                  </a:cubicBezTo>
                  <a:cubicBezTo>
                    <a:pt x="234" y="316"/>
                    <a:pt x="234" y="316"/>
                    <a:pt x="234" y="316"/>
                  </a:cubicBezTo>
                  <a:cubicBezTo>
                    <a:pt x="234" y="317"/>
                    <a:pt x="234" y="318"/>
                    <a:pt x="234" y="319"/>
                  </a:cubicBezTo>
                  <a:cubicBezTo>
                    <a:pt x="234" y="321"/>
                    <a:pt x="232" y="322"/>
                    <a:pt x="231" y="322"/>
                  </a:cubicBezTo>
                  <a:cubicBezTo>
                    <a:pt x="230" y="322"/>
                    <a:pt x="229" y="322"/>
                    <a:pt x="228" y="322"/>
                  </a:cubicBezTo>
                  <a:cubicBezTo>
                    <a:pt x="227" y="322"/>
                    <a:pt x="225" y="322"/>
                    <a:pt x="224" y="324"/>
                  </a:cubicBezTo>
                  <a:cubicBezTo>
                    <a:pt x="224" y="324"/>
                    <a:pt x="224" y="325"/>
                    <a:pt x="224" y="325"/>
                  </a:cubicBezTo>
                  <a:cubicBezTo>
                    <a:pt x="225" y="327"/>
                    <a:pt x="226" y="329"/>
                    <a:pt x="227" y="331"/>
                  </a:cubicBezTo>
                  <a:cubicBezTo>
                    <a:pt x="228" y="332"/>
                    <a:pt x="229" y="332"/>
                    <a:pt x="229" y="333"/>
                  </a:cubicBezTo>
                  <a:cubicBezTo>
                    <a:pt x="230" y="334"/>
                    <a:pt x="230" y="334"/>
                    <a:pt x="230" y="335"/>
                  </a:cubicBezTo>
                  <a:cubicBezTo>
                    <a:pt x="231" y="337"/>
                    <a:pt x="231" y="338"/>
                    <a:pt x="232" y="340"/>
                  </a:cubicBezTo>
                  <a:cubicBezTo>
                    <a:pt x="232" y="340"/>
                    <a:pt x="233" y="341"/>
                    <a:pt x="233" y="342"/>
                  </a:cubicBezTo>
                  <a:cubicBezTo>
                    <a:pt x="233" y="342"/>
                    <a:pt x="233" y="343"/>
                    <a:pt x="233" y="344"/>
                  </a:cubicBezTo>
                  <a:cubicBezTo>
                    <a:pt x="233" y="345"/>
                    <a:pt x="233" y="346"/>
                    <a:pt x="233" y="347"/>
                  </a:cubicBezTo>
                  <a:cubicBezTo>
                    <a:pt x="233" y="348"/>
                    <a:pt x="234" y="349"/>
                    <a:pt x="234" y="350"/>
                  </a:cubicBezTo>
                  <a:cubicBezTo>
                    <a:pt x="235" y="350"/>
                    <a:pt x="234" y="352"/>
                    <a:pt x="234" y="353"/>
                  </a:cubicBezTo>
                  <a:cubicBezTo>
                    <a:pt x="234" y="354"/>
                    <a:pt x="236" y="355"/>
                    <a:pt x="237" y="355"/>
                  </a:cubicBezTo>
                  <a:cubicBezTo>
                    <a:pt x="239" y="357"/>
                    <a:pt x="241" y="358"/>
                    <a:pt x="243" y="360"/>
                  </a:cubicBezTo>
                  <a:cubicBezTo>
                    <a:pt x="244" y="361"/>
                    <a:pt x="246" y="363"/>
                    <a:pt x="247" y="365"/>
                  </a:cubicBezTo>
                  <a:cubicBezTo>
                    <a:pt x="249" y="367"/>
                    <a:pt x="251" y="368"/>
                    <a:pt x="253" y="369"/>
                  </a:cubicBezTo>
                  <a:cubicBezTo>
                    <a:pt x="255" y="370"/>
                    <a:pt x="256" y="371"/>
                    <a:pt x="258" y="372"/>
                  </a:cubicBezTo>
                  <a:cubicBezTo>
                    <a:pt x="259" y="373"/>
                    <a:pt x="260" y="375"/>
                    <a:pt x="260" y="377"/>
                  </a:cubicBezTo>
                  <a:cubicBezTo>
                    <a:pt x="260" y="377"/>
                    <a:pt x="260" y="378"/>
                    <a:pt x="260" y="378"/>
                  </a:cubicBezTo>
                  <a:cubicBezTo>
                    <a:pt x="260" y="379"/>
                    <a:pt x="261" y="379"/>
                    <a:pt x="261" y="379"/>
                  </a:cubicBezTo>
                  <a:cubicBezTo>
                    <a:pt x="262" y="379"/>
                    <a:pt x="264" y="379"/>
                    <a:pt x="265" y="380"/>
                  </a:cubicBezTo>
                  <a:cubicBezTo>
                    <a:pt x="266" y="380"/>
                    <a:pt x="266" y="380"/>
                    <a:pt x="267" y="381"/>
                  </a:cubicBezTo>
                  <a:cubicBezTo>
                    <a:pt x="268" y="381"/>
                    <a:pt x="269" y="381"/>
                    <a:pt x="269" y="382"/>
                  </a:cubicBezTo>
                  <a:cubicBezTo>
                    <a:pt x="270" y="382"/>
                    <a:pt x="271" y="383"/>
                    <a:pt x="271" y="384"/>
                  </a:cubicBezTo>
                  <a:cubicBezTo>
                    <a:pt x="273" y="385"/>
                    <a:pt x="274" y="385"/>
                    <a:pt x="275" y="386"/>
                  </a:cubicBezTo>
                  <a:cubicBezTo>
                    <a:pt x="276" y="387"/>
                    <a:pt x="276" y="388"/>
                    <a:pt x="277" y="389"/>
                  </a:cubicBezTo>
                  <a:cubicBezTo>
                    <a:pt x="278" y="389"/>
                    <a:pt x="280" y="390"/>
                    <a:pt x="281" y="390"/>
                  </a:cubicBezTo>
                  <a:cubicBezTo>
                    <a:pt x="282" y="391"/>
                    <a:pt x="283" y="392"/>
                    <a:pt x="284" y="393"/>
                  </a:cubicBezTo>
                  <a:cubicBezTo>
                    <a:pt x="285" y="393"/>
                    <a:pt x="286" y="393"/>
                    <a:pt x="287" y="394"/>
                  </a:cubicBezTo>
                  <a:cubicBezTo>
                    <a:pt x="290" y="395"/>
                    <a:pt x="291" y="397"/>
                    <a:pt x="293" y="398"/>
                  </a:cubicBezTo>
                  <a:cubicBezTo>
                    <a:pt x="294" y="399"/>
                    <a:pt x="295" y="400"/>
                    <a:pt x="296" y="400"/>
                  </a:cubicBezTo>
                  <a:cubicBezTo>
                    <a:pt x="297" y="401"/>
                    <a:pt x="298" y="401"/>
                    <a:pt x="299" y="401"/>
                  </a:cubicBezTo>
                  <a:cubicBezTo>
                    <a:pt x="299" y="402"/>
                    <a:pt x="300" y="403"/>
                    <a:pt x="300" y="404"/>
                  </a:cubicBezTo>
                  <a:cubicBezTo>
                    <a:pt x="300" y="404"/>
                    <a:pt x="300" y="405"/>
                    <a:pt x="300" y="406"/>
                  </a:cubicBezTo>
                  <a:cubicBezTo>
                    <a:pt x="300" y="407"/>
                    <a:pt x="301" y="408"/>
                    <a:pt x="302" y="408"/>
                  </a:cubicBezTo>
                  <a:cubicBezTo>
                    <a:pt x="302" y="408"/>
                    <a:pt x="303" y="408"/>
                    <a:pt x="304" y="407"/>
                  </a:cubicBezTo>
                  <a:cubicBezTo>
                    <a:pt x="305" y="406"/>
                    <a:pt x="304" y="404"/>
                    <a:pt x="306" y="403"/>
                  </a:cubicBezTo>
                  <a:cubicBezTo>
                    <a:pt x="308" y="403"/>
                    <a:pt x="309" y="403"/>
                    <a:pt x="310" y="404"/>
                  </a:cubicBezTo>
                  <a:cubicBezTo>
                    <a:pt x="310" y="406"/>
                    <a:pt x="311" y="409"/>
                    <a:pt x="313" y="408"/>
                  </a:cubicBezTo>
                  <a:cubicBezTo>
                    <a:pt x="314" y="407"/>
                    <a:pt x="315" y="406"/>
                    <a:pt x="316" y="405"/>
                  </a:cubicBezTo>
                  <a:cubicBezTo>
                    <a:pt x="316" y="404"/>
                    <a:pt x="316" y="403"/>
                    <a:pt x="317" y="402"/>
                  </a:cubicBezTo>
                  <a:cubicBezTo>
                    <a:pt x="317" y="401"/>
                    <a:pt x="317" y="400"/>
                    <a:pt x="318" y="400"/>
                  </a:cubicBezTo>
                  <a:cubicBezTo>
                    <a:pt x="318" y="399"/>
                    <a:pt x="319" y="398"/>
                    <a:pt x="320" y="398"/>
                  </a:cubicBezTo>
                  <a:cubicBezTo>
                    <a:pt x="320" y="398"/>
                    <a:pt x="321" y="398"/>
                    <a:pt x="321" y="398"/>
                  </a:cubicBezTo>
                  <a:cubicBezTo>
                    <a:pt x="322" y="399"/>
                    <a:pt x="319" y="400"/>
                    <a:pt x="319" y="400"/>
                  </a:cubicBezTo>
                  <a:cubicBezTo>
                    <a:pt x="318" y="401"/>
                    <a:pt x="318" y="403"/>
                    <a:pt x="317" y="404"/>
                  </a:cubicBezTo>
                  <a:cubicBezTo>
                    <a:pt x="317" y="405"/>
                    <a:pt x="316" y="406"/>
                    <a:pt x="315" y="407"/>
                  </a:cubicBezTo>
                  <a:cubicBezTo>
                    <a:pt x="315" y="408"/>
                    <a:pt x="314" y="409"/>
                    <a:pt x="313" y="410"/>
                  </a:cubicBezTo>
                  <a:cubicBezTo>
                    <a:pt x="313" y="411"/>
                    <a:pt x="312" y="411"/>
                    <a:pt x="311" y="411"/>
                  </a:cubicBezTo>
                  <a:cubicBezTo>
                    <a:pt x="311" y="411"/>
                    <a:pt x="310" y="410"/>
                    <a:pt x="310" y="409"/>
                  </a:cubicBezTo>
                  <a:cubicBezTo>
                    <a:pt x="309" y="408"/>
                    <a:pt x="309" y="407"/>
                    <a:pt x="309" y="407"/>
                  </a:cubicBezTo>
                  <a:cubicBezTo>
                    <a:pt x="309" y="406"/>
                    <a:pt x="308" y="405"/>
                    <a:pt x="308" y="404"/>
                  </a:cubicBezTo>
                  <a:cubicBezTo>
                    <a:pt x="306" y="404"/>
                    <a:pt x="306" y="407"/>
                    <a:pt x="306" y="408"/>
                  </a:cubicBezTo>
                  <a:cubicBezTo>
                    <a:pt x="306" y="409"/>
                    <a:pt x="305" y="410"/>
                    <a:pt x="304" y="410"/>
                  </a:cubicBezTo>
                  <a:cubicBezTo>
                    <a:pt x="304" y="410"/>
                    <a:pt x="303" y="410"/>
                    <a:pt x="302" y="410"/>
                  </a:cubicBezTo>
                  <a:cubicBezTo>
                    <a:pt x="301" y="410"/>
                    <a:pt x="300" y="409"/>
                    <a:pt x="299" y="408"/>
                  </a:cubicBezTo>
                  <a:cubicBezTo>
                    <a:pt x="298" y="407"/>
                    <a:pt x="299" y="406"/>
                    <a:pt x="299" y="405"/>
                  </a:cubicBezTo>
                  <a:cubicBezTo>
                    <a:pt x="299" y="404"/>
                    <a:pt x="298" y="403"/>
                    <a:pt x="298" y="402"/>
                  </a:cubicBezTo>
                  <a:cubicBezTo>
                    <a:pt x="296" y="401"/>
                    <a:pt x="293" y="401"/>
                    <a:pt x="292" y="402"/>
                  </a:cubicBezTo>
                  <a:cubicBezTo>
                    <a:pt x="291" y="404"/>
                    <a:pt x="295" y="405"/>
                    <a:pt x="296" y="405"/>
                  </a:cubicBezTo>
                  <a:cubicBezTo>
                    <a:pt x="297" y="405"/>
                    <a:pt x="297" y="406"/>
                    <a:pt x="297" y="406"/>
                  </a:cubicBezTo>
                  <a:cubicBezTo>
                    <a:pt x="297" y="407"/>
                    <a:pt x="297" y="407"/>
                    <a:pt x="296" y="407"/>
                  </a:cubicBezTo>
                  <a:cubicBezTo>
                    <a:pt x="295" y="407"/>
                    <a:pt x="293" y="407"/>
                    <a:pt x="292" y="407"/>
                  </a:cubicBezTo>
                  <a:cubicBezTo>
                    <a:pt x="291" y="407"/>
                    <a:pt x="289" y="407"/>
                    <a:pt x="288" y="407"/>
                  </a:cubicBezTo>
                  <a:cubicBezTo>
                    <a:pt x="287" y="407"/>
                    <a:pt x="286" y="406"/>
                    <a:pt x="286" y="405"/>
                  </a:cubicBezTo>
                  <a:cubicBezTo>
                    <a:pt x="286" y="405"/>
                    <a:pt x="286" y="405"/>
                    <a:pt x="286" y="404"/>
                  </a:cubicBezTo>
                  <a:cubicBezTo>
                    <a:pt x="286" y="404"/>
                    <a:pt x="285" y="403"/>
                    <a:pt x="285" y="403"/>
                  </a:cubicBezTo>
                  <a:cubicBezTo>
                    <a:pt x="284" y="402"/>
                    <a:pt x="283" y="405"/>
                    <a:pt x="283" y="406"/>
                  </a:cubicBezTo>
                  <a:cubicBezTo>
                    <a:pt x="282" y="407"/>
                    <a:pt x="280" y="407"/>
                    <a:pt x="279" y="407"/>
                  </a:cubicBezTo>
                  <a:cubicBezTo>
                    <a:pt x="277" y="408"/>
                    <a:pt x="275" y="408"/>
                    <a:pt x="272" y="408"/>
                  </a:cubicBezTo>
                  <a:cubicBezTo>
                    <a:pt x="271" y="407"/>
                    <a:pt x="270" y="407"/>
                    <a:pt x="269" y="406"/>
                  </a:cubicBezTo>
                  <a:cubicBezTo>
                    <a:pt x="268" y="406"/>
                    <a:pt x="268" y="406"/>
                    <a:pt x="267" y="405"/>
                  </a:cubicBezTo>
                  <a:cubicBezTo>
                    <a:pt x="267" y="405"/>
                    <a:pt x="266" y="405"/>
                    <a:pt x="266" y="405"/>
                  </a:cubicBezTo>
                  <a:cubicBezTo>
                    <a:pt x="264" y="405"/>
                    <a:pt x="263" y="405"/>
                    <a:pt x="262" y="405"/>
                  </a:cubicBezTo>
                  <a:cubicBezTo>
                    <a:pt x="261" y="405"/>
                    <a:pt x="259" y="405"/>
                    <a:pt x="258" y="405"/>
                  </a:cubicBezTo>
                  <a:cubicBezTo>
                    <a:pt x="257" y="405"/>
                    <a:pt x="257" y="405"/>
                    <a:pt x="256" y="405"/>
                  </a:cubicBezTo>
                  <a:cubicBezTo>
                    <a:pt x="256" y="405"/>
                    <a:pt x="255" y="405"/>
                    <a:pt x="255" y="405"/>
                  </a:cubicBezTo>
                  <a:cubicBezTo>
                    <a:pt x="254" y="405"/>
                    <a:pt x="253" y="405"/>
                    <a:pt x="252" y="405"/>
                  </a:cubicBezTo>
                  <a:cubicBezTo>
                    <a:pt x="251" y="405"/>
                    <a:pt x="250" y="405"/>
                    <a:pt x="250" y="405"/>
                  </a:cubicBezTo>
                  <a:cubicBezTo>
                    <a:pt x="249" y="406"/>
                    <a:pt x="250" y="406"/>
                    <a:pt x="251" y="406"/>
                  </a:cubicBezTo>
                  <a:cubicBezTo>
                    <a:pt x="252" y="407"/>
                    <a:pt x="253" y="407"/>
                    <a:pt x="254" y="408"/>
                  </a:cubicBezTo>
                  <a:cubicBezTo>
                    <a:pt x="256" y="408"/>
                    <a:pt x="257" y="409"/>
                    <a:pt x="258" y="410"/>
                  </a:cubicBezTo>
                  <a:cubicBezTo>
                    <a:pt x="259" y="411"/>
                    <a:pt x="260" y="411"/>
                    <a:pt x="261" y="412"/>
                  </a:cubicBezTo>
                  <a:cubicBezTo>
                    <a:pt x="262" y="413"/>
                    <a:pt x="262" y="414"/>
                    <a:pt x="263" y="415"/>
                  </a:cubicBezTo>
                  <a:cubicBezTo>
                    <a:pt x="265" y="418"/>
                    <a:pt x="267" y="421"/>
                    <a:pt x="268" y="424"/>
                  </a:cubicBezTo>
                  <a:cubicBezTo>
                    <a:pt x="268" y="425"/>
                    <a:pt x="268" y="425"/>
                    <a:pt x="269" y="425"/>
                  </a:cubicBezTo>
                  <a:cubicBezTo>
                    <a:pt x="271" y="425"/>
                    <a:pt x="272" y="425"/>
                    <a:pt x="273" y="425"/>
                  </a:cubicBezTo>
                  <a:cubicBezTo>
                    <a:pt x="274" y="425"/>
                    <a:pt x="275" y="425"/>
                    <a:pt x="276" y="426"/>
                  </a:cubicBezTo>
                  <a:cubicBezTo>
                    <a:pt x="277" y="426"/>
                    <a:pt x="277" y="427"/>
                    <a:pt x="277" y="428"/>
                  </a:cubicBezTo>
                  <a:cubicBezTo>
                    <a:pt x="277" y="430"/>
                    <a:pt x="275" y="431"/>
                    <a:pt x="275" y="432"/>
                  </a:cubicBezTo>
                  <a:cubicBezTo>
                    <a:pt x="274" y="433"/>
                    <a:pt x="274" y="434"/>
                    <a:pt x="274" y="435"/>
                  </a:cubicBezTo>
                  <a:cubicBezTo>
                    <a:pt x="273" y="435"/>
                    <a:pt x="273" y="436"/>
                    <a:pt x="273" y="437"/>
                  </a:cubicBezTo>
                  <a:cubicBezTo>
                    <a:pt x="272" y="438"/>
                    <a:pt x="271" y="439"/>
                    <a:pt x="271" y="441"/>
                  </a:cubicBezTo>
                  <a:cubicBezTo>
                    <a:pt x="271" y="442"/>
                    <a:pt x="272" y="444"/>
                    <a:pt x="271" y="445"/>
                  </a:cubicBezTo>
                  <a:cubicBezTo>
                    <a:pt x="270" y="446"/>
                    <a:pt x="269" y="446"/>
                    <a:pt x="268" y="447"/>
                  </a:cubicBezTo>
                  <a:cubicBezTo>
                    <a:pt x="267" y="448"/>
                    <a:pt x="265" y="449"/>
                    <a:pt x="265" y="450"/>
                  </a:cubicBezTo>
                  <a:cubicBezTo>
                    <a:pt x="265" y="451"/>
                    <a:pt x="266" y="452"/>
                    <a:pt x="266" y="452"/>
                  </a:cubicBezTo>
                  <a:cubicBezTo>
                    <a:pt x="266" y="453"/>
                    <a:pt x="266" y="453"/>
                    <a:pt x="265" y="454"/>
                  </a:cubicBezTo>
                  <a:cubicBezTo>
                    <a:pt x="265" y="455"/>
                    <a:pt x="265" y="455"/>
                    <a:pt x="264" y="456"/>
                  </a:cubicBezTo>
                  <a:cubicBezTo>
                    <a:pt x="265" y="456"/>
                    <a:pt x="265" y="457"/>
                    <a:pt x="265" y="457"/>
                  </a:cubicBezTo>
                  <a:cubicBezTo>
                    <a:pt x="266" y="458"/>
                    <a:pt x="266" y="459"/>
                    <a:pt x="265" y="460"/>
                  </a:cubicBezTo>
                  <a:cubicBezTo>
                    <a:pt x="263" y="461"/>
                    <a:pt x="261" y="459"/>
                    <a:pt x="260" y="462"/>
                  </a:cubicBezTo>
                  <a:cubicBezTo>
                    <a:pt x="259" y="463"/>
                    <a:pt x="260" y="465"/>
                    <a:pt x="261" y="466"/>
                  </a:cubicBezTo>
                  <a:cubicBezTo>
                    <a:pt x="262" y="468"/>
                    <a:pt x="264" y="469"/>
                    <a:pt x="265" y="471"/>
                  </a:cubicBezTo>
                  <a:cubicBezTo>
                    <a:pt x="266" y="472"/>
                    <a:pt x="266" y="476"/>
                    <a:pt x="269" y="474"/>
                  </a:cubicBezTo>
                  <a:cubicBezTo>
                    <a:pt x="270" y="474"/>
                    <a:pt x="269" y="473"/>
                    <a:pt x="270" y="472"/>
                  </a:cubicBezTo>
                  <a:cubicBezTo>
                    <a:pt x="270" y="472"/>
                    <a:pt x="270" y="471"/>
                    <a:pt x="270" y="471"/>
                  </a:cubicBezTo>
                  <a:cubicBezTo>
                    <a:pt x="270" y="470"/>
                    <a:pt x="269" y="470"/>
                    <a:pt x="269" y="469"/>
                  </a:cubicBezTo>
                  <a:cubicBezTo>
                    <a:pt x="269" y="469"/>
                    <a:pt x="270" y="468"/>
                    <a:pt x="270" y="468"/>
                  </a:cubicBezTo>
                  <a:cubicBezTo>
                    <a:pt x="269" y="468"/>
                    <a:pt x="268" y="468"/>
                    <a:pt x="268" y="467"/>
                  </a:cubicBezTo>
                  <a:cubicBezTo>
                    <a:pt x="269" y="466"/>
                    <a:pt x="270" y="466"/>
                    <a:pt x="270" y="466"/>
                  </a:cubicBezTo>
                  <a:cubicBezTo>
                    <a:pt x="271" y="465"/>
                    <a:pt x="272" y="465"/>
                    <a:pt x="272" y="465"/>
                  </a:cubicBezTo>
                  <a:cubicBezTo>
                    <a:pt x="273" y="464"/>
                    <a:pt x="273" y="464"/>
                    <a:pt x="273" y="463"/>
                  </a:cubicBezTo>
                  <a:cubicBezTo>
                    <a:pt x="273" y="463"/>
                    <a:pt x="274" y="463"/>
                    <a:pt x="274" y="463"/>
                  </a:cubicBezTo>
                  <a:cubicBezTo>
                    <a:pt x="276" y="463"/>
                    <a:pt x="278" y="462"/>
                    <a:pt x="280" y="462"/>
                  </a:cubicBezTo>
                  <a:cubicBezTo>
                    <a:pt x="281" y="462"/>
                    <a:pt x="282" y="461"/>
                    <a:pt x="283" y="461"/>
                  </a:cubicBezTo>
                  <a:cubicBezTo>
                    <a:pt x="283" y="460"/>
                    <a:pt x="284" y="460"/>
                    <a:pt x="284" y="459"/>
                  </a:cubicBezTo>
                  <a:cubicBezTo>
                    <a:pt x="284" y="458"/>
                    <a:pt x="284" y="457"/>
                    <a:pt x="284" y="456"/>
                  </a:cubicBezTo>
                  <a:cubicBezTo>
                    <a:pt x="284" y="456"/>
                    <a:pt x="284" y="455"/>
                    <a:pt x="285" y="456"/>
                  </a:cubicBezTo>
                  <a:cubicBezTo>
                    <a:pt x="285" y="456"/>
                    <a:pt x="285" y="456"/>
                    <a:pt x="285" y="457"/>
                  </a:cubicBezTo>
                  <a:cubicBezTo>
                    <a:pt x="285" y="458"/>
                    <a:pt x="285" y="459"/>
                    <a:pt x="285" y="459"/>
                  </a:cubicBezTo>
                  <a:cubicBezTo>
                    <a:pt x="285" y="460"/>
                    <a:pt x="284" y="461"/>
                    <a:pt x="284" y="462"/>
                  </a:cubicBezTo>
                  <a:cubicBezTo>
                    <a:pt x="285" y="463"/>
                    <a:pt x="285" y="464"/>
                    <a:pt x="286" y="464"/>
                  </a:cubicBezTo>
                  <a:cubicBezTo>
                    <a:pt x="287" y="465"/>
                    <a:pt x="288" y="465"/>
                    <a:pt x="289" y="466"/>
                  </a:cubicBezTo>
                  <a:cubicBezTo>
                    <a:pt x="289" y="466"/>
                    <a:pt x="289" y="466"/>
                    <a:pt x="290" y="467"/>
                  </a:cubicBezTo>
                  <a:cubicBezTo>
                    <a:pt x="290" y="467"/>
                    <a:pt x="291" y="467"/>
                    <a:pt x="291" y="467"/>
                  </a:cubicBezTo>
                  <a:cubicBezTo>
                    <a:pt x="293" y="467"/>
                    <a:pt x="295" y="467"/>
                    <a:pt x="297" y="466"/>
                  </a:cubicBezTo>
                  <a:cubicBezTo>
                    <a:pt x="298" y="466"/>
                    <a:pt x="300" y="465"/>
                    <a:pt x="301" y="465"/>
                  </a:cubicBezTo>
                  <a:cubicBezTo>
                    <a:pt x="302" y="464"/>
                    <a:pt x="303" y="464"/>
                    <a:pt x="304" y="464"/>
                  </a:cubicBezTo>
                  <a:cubicBezTo>
                    <a:pt x="305" y="463"/>
                    <a:pt x="306" y="463"/>
                    <a:pt x="307" y="462"/>
                  </a:cubicBezTo>
                  <a:cubicBezTo>
                    <a:pt x="308" y="461"/>
                    <a:pt x="309" y="461"/>
                    <a:pt x="311" y="461"/>
                  </a:cubicBezTo>
                  <a:cubicBezTo>
                    <a:pt x="314" y="460"/>
                    <a:pt x="318" y="460"/>
                    <a:pt x="321" y="461"/>
                  </a:cubicBezTo>
                  <a:cubicBezTo>
                    <a:pt x="322" y="461"/>
                    <a:pt x="323" y="461"/>
                    <a:pt x="325" y="461"/>
                  </a:cubicBezTo>
                  <a:cubicBezTo>
                    <a:pt x="326" y="461"/>
                    <a:pt x="327" y="461"/>
                    <a:pt x="328" y="461"/>
                  </a:cubicBezTo>
                  <a:cubicBezTo>
                    <a:pt x="329" y="461"/>
                    <a:pt x="329" y="460"/>
                    <a:pt x="330" y="459"/>
                  </a:cubicBezTo>
                  <a:cubicBezTo>
                    <a:pt x="331" y="459"/>
                    <a:pt x="332" y="459"/>
                    <a:pt x="334" y="458"/>
                  </a:cubicBezTo>
                  <a:cubicBezTo>
                    <a:pt x="335" y="458"/>
                    <a:pt x="334" y="458"/>
                    <a:pt x="334" y="457"/>
                  </a:cubicBezTo>
                  <a:cubicBezTo>
                    <a:pt x="334" y="456"/>
                    <a:pt x="334" y="455"/>
                    <a:pt x="334" y="455"/>
                  </a:cubicBezTo>
                  <a:cubicBezTo>
                    <a:pt x="334" y="454"/>
                    <a:pt x="334" y="453"/>
                    <a:pt x="334" y="452"/>
                  </a:cubicBezTo>
                  <a:cubicBezTo>
                    <a:pt x="335" y="451"/>
                    <a:pt x="335" y="451"/>
                    <a:pt x="335" y="451"/>
                  </a:cubicBezTo>
                  <a:cubicBezTo>
                    <a:pt x="336" y="451"/>
                    <a:pt x="336" y="451"/>
                    <a:pt x="336" y="451"/>
                  </a:cubicBezTo>
                  <a:cubicBezTo>
                    <a:pt x="336" y="452"/>
                    <a:pt x="335" y="453"/>
                    <a:pt x="335" y="454"/>
                  </a:cubicBezTo>
                  <a:cubicBezTo>
                    <a:pt x="335" y="454"/>
                    <a:pt x="335" y="455"/>
                    <a:pt x="335" y="455"/>
                  </a:cubicBezTo>
                  <a:cubicBezTo>
                    <a:pt x="335" y="456"/>
                    <a:pt x="335" y="457"/>
                    <a:pt x="335" y="457"/>
                  </a:cubicBezTo>
                  <a:cubicBezTo>
                    <a:pt x="335" y="458"/>
                    <a:pt x="336" y="459"/>
                    <a:pt x="335" y="459"/>
                  </a:cubicBezTo>
                  <a:cubicBezTo>
                    <a:pt x="335" y="459"/>
                    <a:pt x="334" y="459"/>
                    <a:pt x="334" y="459"/>
                  </a:cubicBezTo>
                  <a:cubicBezTo>
                    <a:pt x="333" y="459"/>
                    <a:pt x="333" y="459"/>
                    <a:pt x="332" y="460"/>
                  </a:cubicBezTo>
                  <a:cubicBezTo>
                    <a:pt x="332" y="460"/>
                    <a:pt x="331" y="460"/>
                    <a:pt x="331" y="461"/>
                  </a:cubicBezTo>
                  <a:cubicBezTo>
                    <a:pt x="331" y="461"/>
                    <a:pt x="330" y="461"/>
                    <a:pt x="330" y="461"/>
                  </a:cubicBezTo>
                  <a:cubicBezTo>
                    <a:pt x="329" y="461"/>
                    <a:pt x="329" y="462"/>
                    <a:pt x="329" y="462"/>
                  </a:cubicBezTo>
                  <a:cubicBezTo>
                    <a:pt x="329" y="463"/>
                    <a:pt x="329" y="463"/>
                    <a:pt x="329" y="464"/>
                  </a:cubicBezTo>
                  <a:cubicBezTo>
                    <a:pt x="330" y="465"/>
                    <a:pt x="331" y="466"/>
                    <a:pt x="332" y="467"/>
                  </a:cubicBezTo>
                  <a:cubicBezTo>
                    <a:pt x="333" y="468"/>
                    <a:pt x="334" y="469"/>
                    <a:pt x="335" y="470"/>
                  </a:cubicBezTo>
                  <a:cubicBezTo>
                    <a:pt x="336" y="471"/>
                    <a:pt x="338" y="472"/>
                    <a:pt x="339" y="473"/>
                  </a:cubicBezTo>
                  <a:cubicBezTo>
                    <a:pt x="340" y="473"/>
                    <a:pt x="341" y="474"/>
                    <a:pt x="342" y="475"/>
                  </a:cubicBezTo>
                  <a:cubicBezTo>
                    <a:pt x="342" y="475"/>
                    <a:pt x="342" y="475"/>
                    <a:pt x="343" y="476"/>
                  </a:cubicBezTo>
                  <a:cubicBezTo>
                    <a:pt x="343" y="476"/>
                    <a:pt x="344" y="476"/>
                    <a:pt x="345" y="477"/>
                  </a:cubicBezTo>
                  <a:cubicBezTo>
                    <a:pt x="345" y="477"/>
                    <a:pt x="345" y="477"/>
                    <a:pt x="345" y="477"/>
                  </a:cubicBezTo>
                  <a:cubicBezTo>
                    <a:pt x="346" y="478"/>
                    <a:pt x="347" y="479"/>
                    <a:pt x="347" y="479"/>
                  </a:cubicBezTo>
                  <a:cubicBezTo>
                    <a:pt x="348" y="480"/>
                    <a:pt x="348" y="481"/>
                    <a:pt x="349" y="482"/>
                  </a:cubicBezTo>
                  <a:cubicBezTo>
                    <a:pt x="350" y="482"/>
                    <a:pt x="351" y="483"/>
                    <a:pt x="352" y="483"/>
                  </a:cubicBezTo>
                  <a:cubicBezTo>
                    <a:pt x="353" y="483"/>
                    <a:pt x="353" y="483"/>
                    <a:pt x="354" y="482"/>
                  </a:cubicBezTo>
                  <a:cubicBezTo>
                    <a:pt x="355" y="482"/>
                    <a:pt x="356" y="482"/>
                    <a:pt x="356" y="483"/>
                  </a:cubicBezTo>
                  <a:cubicBezTo>
                    <a:pt x="357" y="483"/>
                    <a:pt x="357" y="483"/>
                    <a:pt x="358" y="484"/>
                  </a:cubicBezTo>
                  <a:cubicBezTo>
                    <a:pt x="358" y="484"/>
                    <a:pt x="359" y="483"/>
                    <a:pt x="359" y="483"/>
                  </a:cubicBezTo>
                  <a:cubicBezTo>
                    <a:pt x="359" y="484"/>
                    <a:pt x="359" y="484"/>
                    <a:pt x="359" y="484"/>
                  </a:cubicBezTo>
                  <a:cubicBezTo>
                    <a:pt x="357" y="484"/>
                    <a:pt x="357" y="483"/>
                    <a:pt x="356" y="483"/>
                  </a:cubicBezTo>
                  <a:cubicBezTo>
                    <a:pt x="355" y="484"/>
                    <a:pt x="354" y="484"/>
                    <a:pt x="354" y="485"/>
                  </a:cubicBezTo>
                  <a:cubicBezTo>
                    <a:pt x="355" y="486"/>
                    <a:pt x="356" y="488"/>
                    <a:pt x="358" y="489"/>
                  </a:cubicBezTo>
                  <a:cubicBezTo>
                    <a:pt x="360" y="490"/>
                    <a:pt x="362" y="492"/>
                    <a:pt x="363" y="495"/>
                  </a:cubicBezTo>
                  <a:cubicBezTo>
                    <a:pt x="364" y="497"/>
                    <a:pt x="365" y="498"/>
                    <a:pt x="366" y="499"/>
                  </a:cubicBezTo>
                  <a:cubicBezTo>
                    <a:pt x="368" y="501"/>
                    <a:pt x="369" y="504"/>
                    <a:pt x="370" y="506"/>
                  </a:cubicBezTo>
                  <a:cubicBezTo>
                    <a:pt x="372" y="508"/>
                    <a:pt x="373" y="509"/>
                    <a:pt x="375" y="510"/>
                  </a:cubicBezTo>
                  <a:cubicBezTo>
                    <a:pt x="377" y="512"/>
                    <a:pt x="378" y="514"/>
                    <a:pt x="380" y="515"/>
                  </a:cubicBezTo>
                  <a:cubicBezTo>
                    <a:pt x="382" y="517"/>
                    <a:pt x="383" y="518"/>
                    <a:pt x="384" y="519"/>
                  </a:cubicBezTo>
                  <a:cubicBezTo>
                    <a:pt x="385" y="521"/>
                    <a:pt x="386" y="521"/>
                    <a:pt x="387" y="522"/>
                  </a:cubicBezTo>
                  <a:cubicBezTo>
                    <a:pt x="390" y="523"/>
                    <a:pt x="392" y="523"/>
                    <a:pt x="394" y="524"/>
                  </a:cubicBezTo>
                  <a:cubicBezTo>
                    <a:pt x="394" y="386"/>
                    <a:pt x="394" y="386"/>
                    <a:pt x="394" y="386"/>
                  </a:cubicBezTo>
                  <a:cubicBezTo>
                    <a:pt x="394" y="386"/>
                    <a:pt x="393" y="387"/>
                    <a:pt x="393" y="387"/>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2" name="Freeform 36">
              <a:extLst>
                <a:ext uri="{FF2B5EF4-FFF2-40B4-BE49-F238E27FC236}">
                  <a16:creationId xmlns:a16="http://schemas.microsoft.com/office/drawing/2014/main" id="{3E4CC32B-B2BB-1C11-0AC9-697F11A2860E}"/>
                </a:ext>
              </a:extLst>
            </p:cNvPr>
            <p:cNvSpPr>
              <a:spLocks noEditPoints="1"/>
            </p:cNvSpPr>
            <p:nvPr/>
          </p:nvSpPr>
          <p:spPr bwMode="auto">
            <a:xfrm>
              <a:off x="1076325" y="2828925"/>
              <a:ext cx="773113" cy="1136650"/>
            </a:xfrm>
            <a:custGeom>
              <a:avLst/>
              <a:gdLst>
                <a:gd name="T0" fmla="*/ 51 w 203"/>
                <a:gd name="T1" fmla="*/ 213 h 298"/>
                <a:gd name="T2" fmla="*/ 48 w 203"/>
                <a:gd name="T3" fmla="*/ 227 h 298"/>
                <a:gd name="T4" fmla="*/ 37 w 203"/>
                <a:gd name="T5" fmla="*/ 227 h 298"/>
                <a:gd name="T6" fmla="*/ 26 w 203"/>
                <a:gd name="T7" fmla="*/ 206 h 298"/>
                <a:gd name="T8" fmla="*/ 15 w 203"/>
                <a:gd name="T9" fmla="*/ 191 h 298"/>
                <a:gd name="T10" fmla="*/ 3 w 203"/>
                <a:gd name="T11" fmla="*/ 178 h 298"/>
                <a:gd name="T12" fmla="*/ 13 w 203"/>
                <a:gd name="T13" fmla="*/ 174 h 298"/>
                <a:gd name="T14" fmla="*/ 20 w 203"/>
                <a:gd name="T15" fmla="*/ 170 h 298"/>
                <a:gd name="T16" fmla="*/ 29 w 203"/>
                <a:gd name="T17" fmla="*/ 176 h 298"/>
                <a:gd name="T18" fmla="*/ 37 w 203"/>
                <a:gd name="T19" fmla="*/ 189 h 298"/>
                <a:gd name="T20" fmla="*/ 52 w 203"/>
                <a:gd name="T21" fmla="*/ 201 h 298"/>
                <a:gd name="T22" fmla="*/ 79 w 203"/>
                <a:gd name="T23" fmla="*/ 284 h 298"/>
                <a:gd name="T24" fmla="*/ 76 w 203"/>
                <a:gd name="T25" fmla="*/ 293 h 298"/>
                <a:gd name="T26" fmla="*/ 81 w 203"/>
                <a:gd name="T27" fmla="*/ 297 h 298"/>
                <a:gd name="T28" fmla="*/ 86 w 203"/>
                <a:gd name="T29" fmla="*/ 294 h 298"/>
                <a:gd name="T30" fmla="*/ 83 w 203"/>
                <a:gd name="T31" fmla="*/ 277 h 298"/>
                <a:gd name="T32" fmla="*/ 86 w 203"/>
                <a:gd name="T33" fmla="*/ 270 h 298"/>
                <a:gd name="T34" fmla="*/ 77 w 203"/>
                <a:gd name="T35" fmla="*/ 262 h 298"/>
                <a:gd name="T36" fmla="*/ 80 w 203"/>
                <a:gd name="T37" fmla="*/ 271 h 298"/>
                <a:gd name="T38" fmla="*/ 88 w 203"/>
                <a:gd name="T39" fmla="*/ 280 h 298"/>
                <a:gd name="T40" fmla="*/ 102 w 203"/>
                <a:gd name="T41" fmla="*/ 257 h 298"/>
                <a:gd name="T42" fmla="*/ 106 w 203"/>
                <a:gd name="T43" fmla="*/ 253 h 298"/>
                <a:gd name="T44" fmla="*/ 97 w 203"/>
                <a:gd name="T45" fmla="*/ 251 h 298"/>
                <a:gd name="T46" fmla="*/ 92 w 203"/>
                <a:gd name="T47" fmla="*/ 256 h 298"/>
                <a:gd name="T48" fmla="*/ 47 w 203"/>
                <a:gd name="T49" fmla="*/ 266 h 298"/>
                <a:gd name="T50" fmla="*/ 187 w 203"/>
                <a:gd name="T51" fmla="*/ 201 h 298"/>
                <a:gd name="T52" fmla="*/ 183 w 203"/>
                <a:gd name="T53" fmla="*/ 184 h 298"/>
                <a:gd name="T54" fmla="*/ 199 w 203"/>
                <a:gd name="T55" fmla="*/ 172 h 298"/>
                <a:gd name="T56" fmla="*/ 199 w 203"/>
                <a:gd name="T57" fmla="*/ 157 h 298"/>
                <a:gd name="T58" fmla="*/ 199 w 203"/>
                <a:gd name="T59" fmla="*/ 134 h 298"/>
                <a:gd name="T60" fmla="*/ 193 w 203"/>
                <a:gd name="T61" fmla="*/ 102 h 298"/>
                <a:gd name="T62" fmla="*/ 186 w 203"/>
                <a:gd name="T63" fmla="*/ 104 h 298"/>
                <a:gd name="T64" fmla="*/ 184 w 203"/>
                <a:gd name="T65" fmla="*/ 102 h 298"/>
                <a:gd name="T66" fmla="*/ 173 w 203"/>
                <a:gd name="T67" fmla="*/ 80 h 298"/>
                <a:gd name="T68" fmla="*/ 160 w 203"/>
                <a:gd name="T69" fmla="*/ 67 h 298"/>
                <a:gd name="T70" fmla="*/ 137 w 203"/>
                <a:gd name="T71" fmla="*/ 52 h 298"/>
                <a:gd name="T72" fmla="*/ 106 w 203"/>
                <a:gd name="T73" fmla="*/ 36 h 298"/>
                <a:gd name="T74" fmla="*/ 99 w 203"/>
                <a:gd name="T75" fmla="*/ 30 h 298"/>
                <a:gd name="T76" fmla="*/ 89 w 203"/>
                <a:gd name="T77" fmla="*/ 17 h 298"/>
                <a:gd name="T78" fmla="*/ 75 w 203"/>
                <a:gd name="T79" fmla="*/ 13 h 298"/>
                <a:gd name="T80" fmla="*/ 71 w 203"/>
                <a:gd name="T81" fmla="*/ 6 h 298"/>
                <a:gd name="T82" fmla="*/ 61 w 203"/>
                <a:gd name="T83" fmla="*/ 5 h 298"/>
                <a:gd name="T84" fmla="*/ 46 w 203"/>
                <a:gd name="T85" fmla="*/ 33 h 298"/>
                <a:gd name="T86" fmla="*/ 53 w 203"/>
                <a:gd name="T87" fmla="*/ 50 h 298"/>
                <a:gd name="T88" fmla="*/ 52 w 203"/>
                <a:gd name="T89" fmla="*/ 66 h 298"/>
                <a:gd name="T90" fmla="*/ 58 w 203"/>
                <a:gd name="T91" fmla="*/ 88 h 298"/>
                <a:gd name="T92" fmla="*/ 63 w 203"/>
                <a:gd name="T93" fmla="*/ 113 h 298"/>
                <a:gd name="T94" fmla="*/ 74 w 203"/>
                <a:gd name="T95" fmla="*/ 137 h 298"/>
                <a:gd name="T96" fmla="*/ 86 w 203"/>
                <a:gd name="T97" fmla="*/ 144 h 298"/>
                <a:gd name="T98" fmla="*/ 100 w 203"/>
                <a:gd name="T99" fmla="*/ 153 h 298"/>
                <a:gd name="T100" fmla="*/ 106 w 203"/>
                <a:gd name="T101" fmla="*/ 164 h 298"/>
                <a:gd name="T102" fmla="*/ 100 w 203"/>
                <a:gd name="T103" fmla="*/ 167 h 298"/>
                <a:gd name="T104" fmla="*/ 110 w 203"/>
                <a:gd name="T105" fmla="*/ 190 h 298"/>
                <a:gd name="T106" fmla="*/ 119 w 203"/>
                <a:gd name="T107" fmla="*/ 214 h 298"/>
                <a:gd name="T108" fmla="*/ 124 w 203"/>
                <a:gd name="T109" fmla="*/ 231 h 298"/>
                <a:gd name="T110" fmla="*/ 129 w 203"/>
                <a:gd name="T111" fmla="*/ 246 h 298"/>
                <a:gd name="T112" fmla="*/ 144 w 203"/>
                <a:gd name="T113" fmla="*/ 232 h 298"/>
                <a:gd name="T114" fmla="*/ 160 w 203"/>
                <a:gd name="T115" fmla="*/ 234 h 298"/>
                <a:gd name="T116" fmla="*/ 167 w 203"/>
                <a:gd name="T117" fmla="*/ 217 h 298"/>
                <a:gd name="T118" fmla="*/ 185 w 203"/>
                <a:gd name="T119" fmla="*/ 2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298">
                  <a:moveTo>
                    <a:pt x="52" y="201"/>
                  </a:moveTo>
                  <a:cubicBezTo>
                    <a:pt x="53" y="202"/>
                    <a:pt x="54" y="204"/>
                    <a:pt x="53" y="206"/>
                  </a:cubicBezTo>
                  <a:cubicBezTo>
                    <a:pt x="52" y="207"/>
                    <a:pt x="51" y="208"/>
                    <a:pt x="51" y="209"/>
                  </a:cubicBezTo>
                  <a:cubicBezTo>
                    <a:pt x="50" y="209"/>
                    <a:pt x="49" y="211"/>
                    <a:pt x="50" y="212"/>
                  </a:cubicBezTo>
                  <a:cubicBezTo>
                    <a:pt x="50" y="212"/>
                    <a:pt x="51" y="212"/>
                    <a:pt x="51" y="213"/>
                  </a:cubicBezTo>
                  <a:cubicBezTo>
                    <a:pt x="51" y="214"/>
                    <a:pt x="50" y="214"/>
                    <a:pt x="50" y="215"/>
                  </a:cubicBezTo>
                  <a:cubicBezTo>
                    <a:pt x="50" y="215"/>
                    <a:pt x="50" y="216"/>
                    <a:pt x="49" y="217"/>
                  </a:cubicBezTo>
                  <a:cubicBezTo>
                    <a:pt x="49" y="218"/>
                    <a:pt x="50" y="219"/>
                    <a:pt x="50" y="220"/>
                  </a:cubicBezTo>
                  <a:cubicBezTo>
                    <a:pt x="50" y="222"/>
                    <a:pt x="50" y="224"/>
                    <a:pt x="50" y="225"/>
                  </a:cubicBezTo>
                  <a:cubicBezTo>
                    <a:pt x="49" y="226"/>
                    <a:pt x="49" y="226"/>
                    <a:pt x="48" y="227"/>
                  </a:cubicBezTo>
                  <a:cubicBezTo>
                    <a:pt x="47" y="228"/>
                    <a:pt x="46" y="229"/>
                    <a:pt x="45" y="229"/>
                  </a:cubicBezTo>
                  <a:cubicBezTo>
                    <a:pt x="44" y="228"/>
                    <a:pt x="44" y="227"/>
                    <a:pt x="43" y="227"/>
                  </a:cubicBezTo>
                  <a:cubicBezTo>
                    <a:pt x="43" y="227"/>
                    <a:pt x="42" y="228"/>
                    <a:pt x="42" y="228"/>
                  </a:cubicBezTo>
                  <a:cubicBezTo>
                    <a:pt x="41" y="228"/>
                    <a:pt x="41" y="228"/>
                    <a:pt x="41" y="228"/>
                  </a:cubicBezTo>
                  <a:cubicBezTo>
                    <a:pt x="40" y="227"/>
                    <a:pt x="38" y="228"/>
                    <a:pt x="37" y="227"/>
                  </a:cubicBezTo>
                  <a:cubicBezTo>
                    <a:pt x="37" y="227"/>
                    <a:pt x="37" y="226"/>
                    <a:pt x="37" y="225"/>
                  </a:cubicBezTo>
                  <a:cubicBezTo>
                    <a:pt x="37" y="223"/>
                    <a:pt x="37" y="223"/>
                    <a:pt x="36" y="222"/>
                  </a:cubicBezTo>
                  <a:cubicBezTo>
                    <a:pt x="36" y="220"/>
                    <a:pt x="35" y="219"/>
                    <a:pt x="34" y="217"/>
                  </a:cubicBezTo>
                  <a:cubicBezTo>
                    <a:pt x="34" y="214"/>
                    <a:pt x="33" y="212"/>
                    <a:pt x="30" y="209"/>
                  </a:cubicBezTo>
                  <a:cubicBezTo>
                    <a:pt x="29" y="208"/>
                    <a:pt x="27" y="207"/>
                    <a:pt x="26" y="206"/>
                  </a:cubicBezTo>
                  <a:cubicBezTo>
                    <a:pt x="24" y="205"/>
                    <a:pt x="22" y="205"/>
                    <a:pt x="20" y="204"/>
                  </a:cubicBezTo>
                  <a:cubicBezTo>
                    <a:pt x="20" y="204"/>
                    <a:pt x="20" y="203"/>
                    <a:pt x="20" y="203"/>
                  </a:cubicBezTo>
                  <a:cubicBezTo>
                    <a:pt x="20" y="202"/>
                    <a:pt x="20" y="202"/>
                    <a:pt x="20" y="202"/>
                  </a:cubicBezTo>
                  <a:cubicBezTo>
                    <a:pt x="20" y="200"/>
                    <a:pt x="19" y="198"/>
                    <a:pt x="18" y="196"/>
                  </a:cubicBezTo>
                  <a:cubicBezTo>
                    <a:pt x="17" y="194"/>
                    <a:pt x="17" y="192"/>
                    <a:pt x="15" y="191"/>
                  </a:cubicBezTo>
                  <a:cubicBezTo>
                    <a:pt x="14" y="190"/>
                    <a:pt x="12" y="189"/>
                    <a:pt x="12" y="188"/>
                  </a:cubicBezTo>
                  <a:cubicBezTo>
                    <a:pt x="11" y="188"/>
                    <a:pt x="11" y="186"/>
                    <a:pt x="10" y="185"/>
                  </a:cubicBezTo>
                  <a:cubicBezTo>
                    <a:pt x="10" y="184"/>
                    <a:pt x="9" y="184"/>
                    <a:pt x="8" y="183"/>
                  </a:cubicBezTo>
                  <a:cubicBezTo>
                    <a:pt x="7" y="182"/>
                    <a:pt x="6" y="181"/>
                    <a:pt x="5" y="180"/>
                  </a:cubicBezTo>
                  <a:cubicBezTo>
                    <a:pt x="5" y="179"/>
                    <a:pt x="4" y="178"/>
                    <a:pt x="3" y="178"/>
                  </a:cubicBezTo>
                  <a:cubicBezTo>
                    <a:pt x="2" y="177"/>
                    <a:pt x="1" y="176"/>
                    <a:pt x="0" y="175"/>
                  </a:cubicBezTo>
                  <a:cubicBezTo>
                    <a:pt x="1" y="174"/>
                    <a:pt x="3" y="175"/>
                    <a:pt x="4" y="175"/>
                  </a:cubicBezTo>
                  <a:cubicBezTo>
                    <a:pt x="6" y="176"/>
                    <a:pt x="7" y="176"/>
                    <a:pt x="9" y="176"/>
                  </a:cubicBezTo>
                  <a:cubicBezTo>
                    <a:pt x="10" y="176"/>
                    <a:pt x="12" y="176"/>
                    <a:pt x="12" y="175"/>
                  </a:cubicBezTo>
                  <a:cubicBezTo>
                    <a:pt x="13" y="174"/>
                    <a:pt x="13" y="174"/>
                    <a:pt x="13" y="174"/>
                  </a:cubicBezTo>
                  <a:cubicBezTo>
                    <a:pt x="14" y="173"/>
                    <a:pt x="15" y="173"/>
                    <a:pt x="15" y="173"/>
                  </a:cubicBezTo>
                  <a:cubicBezTo>
                    <a:pt x="16" y="172"/>
                    <a:pt x="16" y="171"/>
                    <a:pt x="17" y="171"/>
                  </a:cubicBezTo>
                  <a:cubicBezTo>
                    <a:pt x="17" y="170"/>
                    <a:pt x="16" y="169"/>
                    <a:pt x="17" y="168"/>
                  </a:cubicBezTo>
                  <a:cubicBezTo>
                    <a:pt x="18" y="168"/>
                    <a:pt x="18" y="169"/>
                    <a:pt x="19" y="170"/>
                  </a:cubicBezTo>
                  <a:cubicBezTo>
                    <a:pt x="19" y="170"/>
                    <a:pt x="19" y="170"/>
                    <a:pt x="20" y="170"/>
                  </a:cubicBezTo>
                  <a:cubicBezTo>
                    <a:pt x="21" y="169"/>
                    <a:pt x="22" y="170"/>
                    <a:pt x="22" y="171"/>
                  </a:cubicBezTo>
                  <a:cubicBezTo>
                    <a:pt x="23" y="172"/>
                    <a:pt x="24" y="172"/>
                    <a:pt x="25" y="172"/>
                  </a:cubicBezTo>
                  <a:cubicBezTo>
                    <a:pt x="25" y="172"/>
                    <a:pt x="25" y="172"/>
                    <a:pt x="25" y="172"/>
                  </a:cubicBezTo>
                  <a:cubicBezTo>
                    <a:pt x="26" y="173"/>
                    <a:pt x="26" y="174"/>
                    <a:pt x="27" y="174"/>
                  </a:cubicBezTo>
                  <a:cubicBezTo>
                    <a:pt x="27" y="175"/>
                    <a:pt x="28" y="175"/>
                    <a:pt x="29" y="176"/>
                  </a:cubicBezTo>
                  <a:cubicBezTo>
                    <a:pt x="29" y="176"/>
                    <a:pt x="29" y="177"/>
                    <a:pt x="29" y="178"/>
                  </a:cubicBezTo>
                  <a:cubicBezTo>
                    <a:pt x="29" y="178"/>
                    <a:pt x="29" y="178"/>
                    <a:pt x="30" y="179"/>
                  </a:cubicBezTo>
                  <a:cubicBezTo>
                    <a:pt x="31" y="180"/>
                    <a:pt x="31" y="181"/>
                    <a:pt x="32" y="182"/>
                  </a:cubicBezTo>
                  <a:cubicBezTo>
                    <a:pt x="33" y="183"/>
                    <a:pt x="34" y="184"/>
                    <a:pt x="34" y="185"/>
                  </a:cubicBezTo>
                  <a:cubicBezTo>
                    <a:pt x="35" y="187"/>
                    <a:pt x="36" y="188"/>
                    <a:pt x="37" y="189"/>
                  </a:cubicBezTo>
                  <a:cubicBezTo>
                    <a:pt x="38" y="190"/>
                    <a:pt x="39" y="191"/>
                    <a:pt x="40" y="191"/>
                  </a:cubicBezTo>
                  <a:cubicBezTo>
                    <a:pt x="42" y="192"/>
                    <a:pt x="43" y="192"/>
                    <a:pt x="45" y="193"/>
                  </a:cubicBezTo>
                  <a:cubicBezTo>
                    <a:pt x="47" y="194"/>
                    <a:pt x="47" y="196"/>
                    <a:pt x="49" y="197"/>
                  </a:cubicBezTo>
                  <a:cubicBezTo>
                    <a:pt x="49" y="198"/>
                    <a:pt x="50" y="198"/>
                    <a:pt x="50" y="198"/>
                  </a:cubicBezTo>
                  <a:cubicBezTo>
                    <a:pt x="51" y="199"/>
                    <a:pt x="51" y="200"/>
                    <a:pt x="52" y="201"/>
                  </a:cubicBezTo>
                  <a:close/>
                  <a:moveTo>
                    <a:pt x="83" y="277"/>
                  </a:moveTo>
                  <a:cubicBezTo>
                    <a:pt x="83" y="277"/>
                    <a:pt x="83" y="277"/>
                    <a:pt x="82" y="277"/>
                  </a:cubicBezTo>
                  <a:cubicBezTo>
                    <a:pt x="82" y="277"/>
                    <a:pt x="82" y="279"/>
                    <a:pt x="82" y="279"/>
                  </a:cubicBezTo>
                  <a:cubicBezTo>
                    <a:pt x="82" y="280"/>
                    <a:pt x="81" y="281"/>
                    <a:pt x="81" y="282"/>
                  </a:cubicBezTo>
                  <a:cubicBezTo>
                    <a:pt x="80" y="282"/>
                    <a:pt x="80" y="283"/>
                    <a:pt x="79" y="284"/>
                  </a:cubicBezTo>
                  <a:cubicBezTo>
                    <a:pt x="79" y="285"/>
                    <a:pt x="79" y="286"/>
                    <a:pt x="79" y="287"/>
                  </a:cubicBezTo>
                  <a:cubicBezTo>
                    <a:pt x="79" y="288"/>
                    <a:pt x="79" y="289"/>
                    <a:pt x="79" y="289"/>
                  </a:cubicBezTo>
                  <a:cubicBezTo>
                    <a:pt x="79" y="290"/>
                    <a:pt x="78" y="290"/>
                    <a:pt x="78" y="291"/>
                  </a:cubicBezTo>
                  <a:cubicBezTo>
                    <a:pt x="78" y="292"/>
                    <a:pt x="78" y="292"/>
                    <a:pt x="77" y="293"/>
                  </a:cubicBezTo>
                  <a:cubicBezTo>
                    <a:pt x="77" y="293"/>
                    <a:pt x="76" y="293"/>
                    <a:pt x="76" y="293"/>
                  </a:cubicBezTo>
                  <a:cubicBezTo>
                    <a:pt x="75" y="293"/>
                    <a:pt x="74" y="293"/>
                    <a:pt x="74" y="294"/>
                  </a:cubicBezTo>
                  <a:cubicBezTo>
                    <a:pt x="73" y="294"/>
                    <a:pt x="75" y="295"/>
                    <a:pt x="75" y="295"/>
                  </a:cubicBezTo>
                  <a:cubicBezTo>
                    <a:pt x="76" y="295"/>
                    <a:pt x="77" y="295"/>
                    <a:pt x="78" y="295"/>
                  </a:cubicBezTo>
                  <a:cubicBezTo>
                    <a:pt x="79" y="296"/>
                    <a:pt x="79" y="296"/>
                    <a:pt x="79" y="296"/>
                  </a:cubicBezTo>
                  <a:cubicBezTo>
                    <a:pt x="80" y="297"/>
                    <a:pt x="81" y="298"/>
                    <a:pt x="81" y="297"/>
                  </a:cubicBezTo>
                  <a:cubicBezTo>
                    <a:pt x="82" y="296"/>
                    <a:pt x="82" y="296"/>
                    <a:pt x="82" y="296"/>
                  </a:cubicBezTo>
                  <a:cubicBezTo>
                    <a:pt x="82" y="295"/>
                    <a:pt x="83" y="294"/>
                    <a:pt x="84" y="295"/>
                  </a:cubicBezTo>
                  <a:cubicBezTo>
                    <a:pt x="85" y="295"/>
                    <a:pt x="85" y="297"/>
                    <a:pt x="86" y="297"/>
                  </a:cubicBezTo>
                  <a:cubicBezTo>
                    <a:pt x="86" y="297"/>
                    <a:pt x="87" y="296"/>
                    <a:pt x="87" y="295"/>
                  </a:cubicBezTo>
                  <a:cubicBezTo>
                    <a:pt x="87" y="294"/>
                    <a:pt x="86" y="294"/>
                    <a:pt x="86" y="294"/>
                  </a:cubicBezTo>
                  <a:cubicBezTo>
                    <a:pt x="86" y="293"/>
                    <a:pt x="87" y="292"/>
                    <a:pt x="87" y="292"/>
                  </a:cubicBezTo>
                  <a:cubicBezTo>
                    <a:pt x="87" y="291"/>
                    <a:pt x="87" y="289"/>
                    <a:pt x="87" y="288"/>
                  </a:cubicBezTo>
                  <a:cubicBezTo>
                    <a:pt x="87" y="288"/>
                    <a:pt x="87" y="287"/>
                    <a:pt x="88" y="286"/>
                  </a:cubicBezTo>
                  <a:cubicBezTo>
                    <a:pt x="88" y="285"/>
                    <a:pt x="88" y="284"/>
                    <a:pt x="87" y="283"/>
                  </a:cubicBezTo>
                  <a:cubicBezTo>
                    <a:pt x="86" y="281"/>
                    <a:pt x="84" y="279"/>
                    <a:pt x="83" y="277"/>
                  </a:cubicBezTo>
                  <a:close/>
                  <a:moveTo>
                    <a:pt x="90" y="279"/>
                  </a:moveTo>
                  <a:cubicBezTo>
                    <a:pt x="90" y="278"/>
                    <a:pt x="90" y="278"/>
                    <a:pt x="90" y="277"/>
                  </a:cubicBezTo>
                  <a:cubicBezTo>
                    <a:pt x="90" y="276"/>
                    <a:pt x="89" y="276"/>
                    <a:pt x="88" y="276"/>
                  </a:cubicBezTo>
                  <a:cubicBezTo>
                    <a:pt x="87" y="275"/>
                    <a:pt x="87" y="274"/>
                    <a:pt x="86" y="273"/>
                  </a:cubicBezTo>
                  <a:cubicBezTo>
                    <a:pt x="86" y="272"/>
                    <a:pt x="86" y="271"/>
                    <a:pt x="86" y="270"/>
                  </a:cubicBezTo>
                  <a:cubicBezTo>
                    <a:pt x="86" y="269"/>
                    <a:pt x="86" y="268"/>
                    <a:pt x="85" y="267"/>
                  </a:cubicBezTo>
                  <a:cubicBezTo>
                    <a:pt x="84" y="267"/>
                    <a:pt x="83" y="266"/>
                    <a:pt x="83" y="266"/>
                  </a:cubicBezTo>
                  <a:cubicBezTo>
                    <a:pt x="82" y="265"/>
                    <a:pt x="82" y="264"/>
                    <a:pt x="81" y="263"/>
                  </a:cubicBezTo>
                  <a:cubicBezTo>
                    <a:pt x="81" y="263"/>
                    <a:pt x="81" y="262"/>
                    <a:pt x="80" y="262"/>
                  </a:cubicBezTo>
                  <a:cubicBezTo>
                    <a:pt x="79" y="262"/>
                    <a:pt x="78" y="262"/>
                    <a:pt x="77" y="262"/>
                  </a:cubicBezTo>
                  <a:cubicBezTo>
                    <a:pt x="77" y="263"/>
                    <a:pt x="75" y="263"/>
                    <a:pt x="75" y="263"/>
                  </a:cubicBezTo>
                  <a:cubicBezTo>
                    <a:pt x="74" y="264"/>
                    <a:pt x="76" y="264"/>
                    <a:pt x="77" y="264"/>
                  </a:cubicBezTo>
                  <a:cubicBezTo>
                    <a:pt x="78" y="264"/>
                    <a:pt x="79" y="265"/>
                    <a:pt x="79" y="267"/>
                  </a:cubicBezTo>
                  <a:cubicBezTo>
                    <a:pt x="79" y="267"/>
                    <a:pt x="79" y="268"/>
                    <a:pt x="79" y="269"/>
                  </a:cubicBezTo>
                  <a:cubicBezTo>
                    <a:pt x="79" y="270"/>
                    <a:pt x="80" y="270"/>
                    <a:pt x="80" y="271"/>
                  </a:cubicBezTo>
                  <a:cubicBezTo>
                    <a:pt x="81" y="272"/>
                    <a:pt x="82" y="273"/>
                    <a:pt x="83" y="274"/>
                  </a:cubicBezTo>
                  <a:cubicBezTo>
                    <a:pt x="83" y="275"/>
                    <a:pt x="83" y="275"/>
                    <a:pt x="83" y="275"/>
                  </a:cubicBezTo>
                  <a:cubicBezTo>
                    <a:pt x="84" y="275"/>
                    <a:pt x="84" y="276"/>
                    <a:pt x="85" y="276"/>
                  </a:cubicBezTo>
                  <a:cubicBezTo>
                    <a:pt x="85" y="277"/>
                    <a:pt x="86" y="277"/>
                    <a:pt x="86" y="278"/>
                  </a:cubicBezTo>
                  <a:cubicBezTo>
                    <a:pt x="87" y="279"/>
                    <a:pt x="87" y="279"/>
                    <a:pt x="88" y="280"/>
                  </a:cubicBezTo>
                  <a:cubicBezTo>
                    <a:pt x="88" y="281"/>
                    <a:pt x="89" y="282"/>
                    <a:pt x="89" y="282"/>
                  </a:cubicBezTo>
                  <a:cubicBezTo>
                    <a:pt x="91" y="283"/>
                    <a:pt x="91" y="281"/>
                    <a:pt x="91" y="280"/>
                  </a:cubicBezTo>
                  <a:cubicBezTo>
                    <a:pt x="91" y="280"/>
                    <a:pt x="91" y="279"/>
                    <a:pt x="90" y="279"/>
                  </a:cubicBezTo>
                  <a:close/>
                  <a:moveTo>
                    <a:pt x="97" y="257"/>
                  </a:moveTo>
                  <a:cubicBezTo>
                    <a:pt x="99" y="257"/>
                    <a:pt x="100" y="257"/>
                    <a:pt x="102" y="257"/>
                  </a:cubicBezTo>
                  <a:cubicBezTo>
                    <a:pt x="102" y="257"/>
                    <a:pt x="103" y="256"/>
                    <a:pt x="104" y="256"/>
                  </a:cubicBezTo>
                  <a:cubicBezTo>
                    <a:pt x="104" y="256"/>
                    <a:pt x="105" y="257"/>
                    <a:pt x="106" y="257"/>
                  </a:cubicBezTo>
                  <a:cubicBezTo>
                    <a:pt x="107" y="257"/>
                    <a:pt x="108" y="257"/>
                    <a:pt x="108" y="256"/>
                  </a:cubicBezTo>
                  <a:cubicBezTo>
                    <a:pt x="108" y="256"/>
                    <a:pt x="108" y="255"/>
                    <a:pt x="108" y="254"/>
                  </a:cubicBezTo>
                  <a:cubicBezTo>
                    <a:pt x="107" y="254"/>
                    <a:pt x="107" y="253"/>
                    <a:pt x="106" y="253"/>
                  </a:cubicBezTo>
                  <a:cubicBezTo>
                    <a:pt x="106" y="252"/>
                    <a:pt x="106" y="251"/>
                    <a:pt x="105" y="251"/>
                  </a:cubicBezTo>
                  <a:cubicBezTo>
                    <a:pt x="104" y="251"/>
                    <a:pt x="103" y="252"/>
                    <a:pt x="103" y="252"/>
                  </a:cubicBezTo>
                  <a:cubicBezTo>
                    <a:pt x="102" y="252"/>
                    <a:pt x="101" y="252"/>
                    <a:pt x="101" y="252"/>
                  </a:cubicBezTo>
                  <a:cubicBezTo>
                    <a:pt x="100" y="252"/>
                    <a:pt x="99" y="252"/>
                    <a:pt x="99" y="252"/>
                  </a:cubicBezTo>
                  <a:cubicBezTo>
                    <a:pt x="98" y="251"/>
                    <a:pt x="97" y="252"/>
                    <a:pt x="97" y="251"/>
                  </a:cubicBezTo>
                  <a:cubicBezTo>
                    <a:pt x="96" y="251"/>
                    <a:pt x="95" y="251"/>
                    <a:pt x="95" y="251"/>
                  </a:cubicBezTo>
                  <a:cubicBezTo>
                    <a:pt x="94" y="251"/>
                    <a:pt x="94" y="251"/>
                    <a:pt x="93" y="251"/>
                  </a:cubicBezTo>
                  <a:cubicBezTo>
                    <a:pt x="91" y="251"/>
                    <a:pt x="88" y="252"/>
                    <a:pt x="89" y="254"/>
                  </a:cubicBezTo>
                  <a:cubicBezTo>
                    <a:pt x="90" y="255"/>
                    <a:pt x="90" y="256"/>
                    <a:pt x="91" y="256"/>
                  </a:cubicBezTo>
                  <a:cubicBezTo>
                    <a:pt x="91" y="256"/>
                    <a:pt x="92" y="256"/>
                    <a:pt x="92" y="256"/>
                  </a:cubicBezTo>
                  <a:cubicBezTo>
                    <a:pt x="93" y="256"/>
                    <a:pt x="94" y="256"/>
                    <a:pt x="94" y="257"/>
                  </a:cubicBezTo>
                  <a:cubicBezTo>
                    <a:pt x="95" y="257"/>
                    <a:pt x="96" y="257"/>
                    <a:pt x="97" y="257"/>
                  </a:cubicBezTo>
                  <a:close/>
                  <a:moveTo>
                    <a:pt x="49" y="266"/>
                  </a:moveTo>
                  <a:cubicBezTo>
                    <a:pt x="48" y="266"/>
                    <a:pt x="47" y="266"/>
                    <a:pt x="47" y="266"/>
                  </a:cubicBezTo>
                  <a:cubicBezTo>
                    <a:pt x="47" y="266"/>
                    <a:pt x="47" y="266"/>
                    <a:pt x="47" y="266"/>
                  </a:cubicBezTo>
                  <a:cubicBezTo>
                    <a:pt x="47" y="267"/>
                    <a:pt x="48" y="268"/>
                    <a:pt x="49" y="268"/>
                  </a:cubicBezTo>
                  <a:cubicBezTo>
                    <a:pt x="49" y="268"/>
                    <a:pt x="50" y="268"/>
                    <a:pt x="50" y="267"/>
                  </a:cubicBezTo>
                  <a:cubicBezTo>
                    <a:pt x="50" y="266"/>
                    <a:pt x="50" y="266"/>
                    <a:pt x="49" y="266"/>
                  </a:cubicBezTo>
                  <a:close/>
                  <a:moveTo>
                    <a:pt x="187" y="203"/>
                  </a:moveTo>
                  <a:cubicBezTo>
                    <a:pt x="187" y="202"/>
                    <a:pt x="187" y="201"/>
                    <a:pt x="187" y="201"/>
                  </a:cubicBezTo>
                  <a:cubicBezTo>
                    <a:pt x="187" y="200"/>
                    <a:pt x="186" y="199"/>
                    <a:pt x="185" y="199"/>
                  </a:cubicBezTo>
                  <a:cubicBezTo>
                    <a:pt x="185" y="197"/>
                    <a:pt x="186" y="196"/>
                    <a:pt x="186" y="195"/>
                  </a:cubicBezTo>
                  <a:cubicBezTo>
                    <a:pt x="188" y="193"/>
                    <a:pt x="189" y="193"/>
                    <a:pt x="187" y="191"/>
                  </a:cubicBezTo>
                  <a:cubicBezTo>
                    <a:pt x="186" y="190"/>
                    <a:pt x="185" y="189"/>
                    <a:pt x="185" y="187"/>
                  </a:cubicBezTo>
                  <a:cubicBezTo>
                    <a:pt x="184" y="186"/>
                    <a:pt x="184" y="185"/>
                    <a:pt x="183" y="184"/>
                  </a:cubicBezTo>
                  <a:cubicBezTo>
                    <a:pt x="181" y="183"/>
                    <a:pt x="180" y="183"/>
                    <a:pt x="180" y="181"/>
                  </a:cubicBezTo>
                  <a:cubicBezTo>
                    <a:pt x="180" y="177"/>
                    <a:pt x="182" y="177"/>
                    <a:pt x="185" y="177"/>
                  </a:cubicBezTo>
                  <a:cubicBezTo>
                    <a:pt x="188" y="177"/>
                    <a:pt x="191" y="177"/>
                    <a:pt x="194" y="177"/>
                  </a:cubicBezTo>
                  <a:cubicBezTo>
                    <a:pt x="195" y="176"/>
                    <a:pt x="196" y="176"/>
                    <a:pt x="197" y="174"/>
                  </a:cubicBezTo>
                  <a:cubicBezTo>
                    <a:pt x="198" y="173"/>
                    <a:pt x="197" y="172"/>
                    <a:pt x="199" y="172"/>
                  </a:cubicBezTo>
                  <a:cubicBezTo>
                    <a:pt x="201" y="172"/>
                    <a:pt x="201" y="174"/>
                    <a:pt x="202" y="172"/>
                  </a:cubicBezTo>
                  <a:cubicBezTo>
                    <a:pt x="203" y="171"/>
                    <a:pt x="203" y="170"/>
                    <a:pt x="203" y="168"/>
                  </a:cubicBezTo>
                  <a:cubicBezTo>
                    <a:pt x="203" y="167"/>
                    <a:pt x="202" y="166"/>
                    <a:pt x="202" y="164"/>
                  </a:cubicBezTo>
                  <a:cubicBezTo>
                    <a:pt x="202" y="163"/>
                    <a:pt x="203" y="161"/>
                    <a:pt x="202" y="160"/>
                  </a:cubicBezTo>
                  <a:cubicBezTo>
                    <a:pt x="201" y="158"/>
                    <a:pt x="200" y="159"/>
                    <a:pt x="199" y="157"/>
                  </a:cubicBezTo>
                  <a:cubicBezTo>
                    <a:pt x="199" y="156"/>
                    <a:pt x="200" y="155"/>
                    <a:pt x="200" y="153"/>
                  </a:cubicBezTo>
                  <a:cubicBezTo>
                    <a:pt x="199" y="153"/>
                    <a:pt x="197" y="154"/>
                    <a:pt x="197" y="153"/>
                  </a:cubicBezTo>
                  <a:cubicBezTo>
                    <a:pt x="196" y="152"/>
                    <a:pt x="195" y="151"/>
                    <a:pt x="195" y="150"/>
                  </a:cubicBezTo>
                  <a:cubicBezTo>
                    <a:pt x="195" y="148"/>
                    <a:pt x="196" y="146"/>
                    <a:pt x="197" y="144"/>
                  </a:cubicBezTo>
                  <a:cubicBezTo>
                    <a:pt x="197" y="140"/>
                    <a:pt x="198" y="137"/>
                    <a:pt x="199" y="134"/>
                  </a:cubicBezTo>
                  <a:cubicBezTo>
                    <a:pt x="200" y="130"/>
                    <a:pt x="199" y="128"/>
                    <a:pt x="198" y="124"/>
                  </a:cubicBezTo>
                  <a:cubicBezTo>
                    <a:pt x="197" y="121"/>
                    <a:pt x="196" y="119"/>
                    <a:pt x="196" y="115"/>
                  </a:cubicBezTo>
                  <a:cubicBezTo>
                    <a:pt x="196" y="113"/>
                    <a:pt x="198" y="110"/>
                    <a:pt x="198" y="108"/>
                  </a:cubicBezTo>
                  <a:cubicBezTo>
                    <a:pt x="198" y="107"/>
                    <a:pt x="196" y="105"/>
                    <a:pt x="196" y="104"/>
                  </a:cubicBezTo>
                  <a:cubicBezTo>
                    <a:pt x="195" y="104"/>
                    <a:pt x="194" y="102"/>
                    <a:pt x="193" y="102"/>
                  </a:cubicBezTo>
                  <a:cubicBezTo>
                    <a:pt x="192" y="101"/>
                    <a:pt x="192" y="100"/>
                    <a:pt x="192" y="99"/>
                  </a:cubicBezTo>
                  <a:cubicBezTo>
                    <a:pt x="192" y="99"/>
                    <a:pt x="191" y="97"/>
                    <a:pt x="190" y="97"/>
                  </a:cubicBezTo>
                  <a:cubicBezTo>
                    <a:pt x="190" y="97"/>
                    <a:pt x="188" y="97"/>
                    <a:pt x="188" y="97"/>
                  </a:cubicBezTo>
                  <a:cubicBezTo>
                    <a:pt x="187" y="97"/>
                    <a:pt x="186" y="99"/>
                    <a:pt x="186" y="100"/>
                  </a:cubicBezTo>
                  <a:cubicBezTo>
                    <a:pt x="186" y="101"/>
                    <a:pt x="186" y="103"/>
                    <a:pt x="186" y="104"/>
                  </a:cubicBezTo>
                  <a:cubicBezTo>
                    <a:pt x="186" y="105"/>
                    <a:pt x="187" y="108"/>
                    <a:pt x="187" y="108"/>
                  </a:cubicBezTo>
                  <a:cubicBezTo>
                    <a:pt x="186" y="109"/>
                    <a:pt x="186" y="109"/>
                    <a:pt x="186" y="109"/>
                  </a:cubicBezTo>
                  <a:cubicBezTo>
                    <a:pt x="186" y="109"/>
                    <a:pt x="185" y="107"/>
                    <a:pt x="185" y="107"/>
                  </a:cubicBezTo>
                  <a:cubicBezTo>
                    <a:pt x="185" y="107"/>
                    <a:pt x="184" y="105"/>
                    <a:pt x="184" y="104"/>
                  </a:cubicBezTo>
                  <a:cubicBezTo>
                    <a:pt x="184" y="104"/>
                    <a:pt x="184" y="102"/>
                    <a:pt x="184" y="102"/>
                  </a:cubicBezTo>
                  <a:cubicBezTo>
                    <a:pt x="184" y="102"/>
                    <a:pt x="183" y="100"/>
                    <a:pt x="183" y="99"/>
                  </a:cubicBezTo>
                  <a:cubicBezTo>
                    <a:pt x="183" y="98"/>
                    <a:pt x="182" y="96"/>
                    <a:pt x="182" y="95"/>
                  </a:cubicBezTo>
                  <a:cubicBezTo>
                    <a:pt x="181" y="94"/>
                    <a:pt x="177" y="93"/>
                    <a:pt x="177" y="93"/>
                  </a:cubicBezTo>
                  <a:cubicBezTo>
                    <a:pt x="177" y="83"/>
                    <a:pt x="177" y="83"/>
                    <a:pt x="177" y="83"/>
                  </a:cubicBezTo>
                  <a:cubicBezTo>
                    <a:pt x="177" y="83"/>
                    <a:pt x="174" y="80"/>
                    <a:pt x="173" y="80"/>
                  </a:cubicBezTo>
                  <a:cubicBezTo>
                    <a:pt x="172" y="79"/>
                    <a:pt x="171" y="77"/>
                    <a:pt x="171" y="77"/>
                  </a:cubicBezTo>
                  <a:cubicBezTo>
                    <a:pt x="170" y="80"/>
                    <a:pt x="170" y="80"/>
                    <a:pt x="170" y="80"/>
                  </a:cubicBezTo>
                  <a:cubicBezTo>
                    <a:pt x="168" y="75"/>
                    <a:pt x="168" y="75"/>
                    <a:pt x="168" y="75"/>
                  </a:cubicBezTo>
                  <a:cubicBezTo>
                    <a:pt x="168" y="75"/>
                    <a:pt x="166" y="72"/>
                    <a:pt x="165" y="71"/>
                  </a:cubicBezTo>
                  <a:cubicBezTo>
                    <a:pt x="164" y="70"/>
                    <a:pt x="161" y="68"/>
                    <a:pt x="160" y="67"/>
                  </a:cubicBezTo>
                  <a:cubicBezTo>
                    <a:pt x="159" y="66"/>
                    <a:pt x="156" y="66"/>
                    <a:pt x="155" y="66"/>
                  </a:cubicBezTo>
                  <a:cubicBezTo>
                    <a:pt x="154" y="66"/>
                    <a:pt x="152" y="65"/>
                    <a:pt x="150" y="63"/>
                  </a:cubicBezTo>
                  <a:cubicBezTo>
                    <a:pt x="148" y="62"/>
                    <a:pt x="147" y="60"/>
                    <a:pt x="146" y="59"/>
                  </a:cubicBezTo>
                  <a:cubicBezTo>
                    <a:pt x="146" y="58"/>
                    <a:pt x="143" y="56"/>
                    <a:pt x="142" y="55"/>
                  </a:cubicBezTo>
                  <a:cubicBezTo>
                    <a:pt x="141" y="55"/>
                    <a:pt x="138" y="54"/>
                    <a:pt x="137" y="52"/>
                  </a:cubicBezTo>
                  <a:cubicBezTo>
                    <a:pt x="135" y="50"/>
                    <a:pt x="134" y="50"/>
                    <a:pt x="134" y="49"/>
                  </a:cubicBezTo>
                  <a:cubicBezTo>
                    <a:pt x="134" y="49"/>
                    <a:pt x="128" y="46"/>
                    <a:pt x="127" y="46"/>
                  </a:cubicBezTo>
                  <a:cubicBezTo>
                    <a:pt x="127" y="45"/>
                    <a:pt x="123" y="42"/>
                    <a:pt x="122" y="42"/>
                  </a:cubicBezTo>
                  <a:cubicBezTo>
                    <a:pt x="122" y="42"/>
                    <a:pt x="115" y="39"/>
                    <a:pt x="114" y="39"/>
                  </a:cubicBezTo>
                  <a:cubicBezTo>
                    <a:pt x="113" y="38"/>
                    <a:pt x="107" y="36"/>
                    <a:pt x="106" y="36"/>
                  </a:cubicBezTo>
                  <a:cubicBezTo>
                    <a:pt x="105" y="36"/>
                    <a:pt x="102" y="33"/>
                    <a:pt x="102" y="33"/>
                  </a:cubicBezTo>
                  <a:cubicBezTo>
                    <a:pt x="98" y="31"/>
                    <a:pt x="98" y="31"/>
                    <a:pt x="98" y="31"/>
                  </a:cubicBezTo>
                  <a:cubicBezTo>
                    <a:pt x="96" y="31"/>
                    <a:pt x="96" y="31"/>
                    <a:pt x="96" y="31"/>
                  </a:cubicBezTo>
                  <a:cubicBezTo>
                    <a:pt x="96" y="29"/>
                    <a:pt x="96" y="29"/>
                    <a:pt x="96" y="29"/>
                  </a:cubicBezTo>
                  <a:cubicBezTo>
                    <a:pt x="96" y="29"/>
                    <a:pt x="98" y="30"/>
                    <a:pt x="99" y="30"/>
                  </a:cubicBezTo>
                  <a:cubicBezTo>
                    <a:pt x="100" y="30"/>
                    <a:pt x="99" y="29"/>
                    <a:pt x="99" y="28"/>
                  </a:cubicBezTo>
                  <a:cubicBezTo>
                    <a:pt x="99" y="27"/>
                    <a:pt x="97" y="24"/>
                    <a:pt x="97" y="24"/>
                  </a:cubicBezTo>
                  <a:cubicBezTo>
                    <a:pt x="97" y="23"/>
                    <a:pt x="93" y="22"/>
                    <a:pt x="93" y="22"/>
                  </a:cubicBezTo>
                  <a:cubicBezTo>
                    <a:pt x="93" y="22"/>
                    <a:pt x="91" y="22"/>
                    <a:pt x="90" y="21"/>
                  </a:cubicBezTo>
                  <a:cubicBezTo>
                    <a:pt x="89" y="20"/>
                    <a:pt x="89" y="17"/>
                    <a:pt x="89" y="17"/>
                  </a:cubicBezTo>
                  <a:cubicBezTo>
                    <a:pt x="88" y="16"/>
                    <a:pt x="87" y="17"/>
                    <a:pt x="87" y="17"/>
                  </a:cubicBezTo>
                  <a:cubicBezTo>
                    <a:pt x="85" y="16"/>
                    <a:pt x="85" y="16"/>
                    <a:pt x="85" y="16"/>
                  </a:cubicBezTo>
                  <a:cubicBezTo>
                    <a:pt x="85" y="16"/>
                    <a:pt x="81" y="14"/>
                    <a:pt x="81" y="13"/>
                  </a:cubicBezTo>
                  <a:cubicBezTo>
                    <a:pt x="80" y="13"/>
                    <a:pt x="78" y="13"/>
                    <a:pt x="78" y="13"/>
                  </a:cubicBezTo>
                  <a:cubicBezTo>
                    <a:pt x="75" y="13"/>
                    <a:pt x="75" y="13"/>
                    <a:pt x="75" y="13"/>
                  </a:cubicBezTo>
                  <a:cubicBezTo>
                    <a:pt x="73" y="11"/>
                    <a:pt x="73" y="11"/>
                    <a:pt x="73" y="11"/>
                  </a:cubicBezTo>
                  <a:cubicBezTo>
                    <a:pt x="70" y="10"/>
                    <a:pt x="70" y="10"/>
                    <a:pt x="70" y="10"/>
                  </a:cubicBezTo>
                  <a:cubicBezTo>
                    <a:pt x="67" y="11"/>
                    <a:pt x="67" y="11"/>
                    <a:pt x="67" y="11"/>
                  </a:cubicBezTo>
                  <a:cubicBezTo>
                    <a:pt x="67" y="11"/>
                    <a:pt x="66" y="9"/>
                    <a:pt x="66" y="8"/>
                  </a:cubicBezTo>
                  <a:cubicBezTo>
                    <a:pt x="66" y="8"/>
                    <a:pt x="71" y="6"/>
                    <a:pt x="71" y="6"/>
                  </a:cubicBezTo>
                  <a:cubicBezTo>
                    <a:pt x="72" y="5"/>
                    <a:pt x="71" y="3"/>
                    <a:pt x="71" y="2"/>
                  </a:cubicBezTo>
                  <a:cubicBezTo>
                    <a:pt x="71" y="2"/>
                    <a:pt x="71" y="1"/>
                    <a:pt x="72" y="1"/>
                  </a:cubicBezTo>
                  <a:cubicBezTo>
                    <a:pt x="71" y="0"/>
                    <a:pt x="70" y="0"/>
                    <a:pt x="70" y="0"/>
                  </a:cubicBezTo>
                  <a:cubicBezTo>
                    <a:pt x="68" y="0"/>
                    <a:pt x="68" y="0"/>
                    <a:pt x="67" y="1"/>
                  </a:cubicBezTo>
                  <a:cubicBezTo>
                    <a:pt x="64" y="2"/>
                    <a:pt x="62" y="2"/>
                    <a:pt x="61" y="5"/>
                  </a:cubicBezTo>
                  <a:cubicBezTo>
                    <a:pt x="60" y="8"/>
                    <a:pt x="59" y="11"/>
                    <a:pt x="58" y="13"/>
                  </a:cubicBezTo>
                  <a:cubicBezTo>
                    <a:pt x="57" y="16"/>
                    <a:pt x="58" y="18"/>
                    <a:pt x="57" y="20"/>
                  </a:cubicBezTo>
                  <a:cubicBezTo>
                    <a:pt x="55" y="23"/>
                    <a:pt x="53" y="24"/>
                    <a:pt x="51" y="24"/>
                  </a:cubicBezTo>
                  <a:cubicBezTo>
                    <a:pt x="51" y="26"/>
                    <a:pt x="51" y="28"/>
                    <a:pt x="50" y="29"/>
                  </a:cubicBezTo>
                  <a:cubicBezTo>
                    <a:pt x="49" y="31"/>
                    <a:pt x="48" y="32"/>
                    <a:pt x="46" y="33"/>
                  </a:cubicBezTo>
                  <a:cubicBezTo>
                    <a:pt x="44" y="34"/>
                    <a:pt x="43" y="35"/>
                    <a:pt x="44" y="37"/>
                  </a:cubicBezTo>
                  <a:cubicBezTo>
                    <a:pt x="45" y="39"/>
                    <a:pt x="45" y="41"/>
                    <a:pt x="47" y="43"/>
                  </a:cubicBezTo>
                  <a:cubicBezTo>
                    <a:pt x="47" y="44"/>
                    <a:pt x="49" y="44"/>
                    <a:pt x="50" y="46"/>
                  </a:cubicBezTo>
                  <a:cubicBezTo>
                    <a:pt x="51" y="47"/>
                    <a:pt x="51" y="47"/>
                    <a:pt x="52" y="48"/>
                  </a:cubicBezTo>
                  <a:cubicBezTo>
                    <a:pt x="53" y="49"/>
                    <a:pt x="54" y="49"/>
                    <a:pt x="53" y="50"/>
                  </a:cubicBezTo>
                  <a:cubicBezTo>
                    <a:pt x="53" y="52"/>
                    <a:pt x="50" y="52"/>
                    <a:pt x="50" y="54"/>
                  </a:cubicBezTo>
                  <a:cubicBezTo>
                    <a:pt x="51" y="56"/>
                    <a:pt x="55" y="56"/>
                    <a:pt x="56" y="57"/>
                  </a:cubicBezTo>
                  <a:cubicBezTo>
                    <a:pt x="58" y="59"/>
                    <a:pt x="56" y="61"/>
                    <a:pt x="55" y="62"/>
                  </a:cubicBezTo>
                  <a:cubicBezTo>
                    <a:pt x="54" y="62"/>
                    <a:pt x="53" y="63"/>
                    <a:pt x="52" y="63"/>
                  </a:cubicBezTo>
                  <a:cubicBezTo>
                    <a:pt x="51" y="64"/>
                    <a:pt x="52" y="65"/>
                    <a:pt x="52" y="66"/>
                  </a:cubicBezTo>
                  <a:cubicBezTo>
                    <a:pt x="53" y="67"/>
                    <a:pt x="53" y="69"/>
                    <a:pt x="53" y="70"/>
                  </a:cubicBezTo>
                  <a:cubicBezTo>
                    <a:pt x="54" y="71"/>
                    <a:pt x="54" y="71"/>
                    <a:pt x="54" y="72"/>
                  </a:cubicBezTo>
                  <a:cubicBezTo>
                    <a:pt x="55" y="73"/>
                    <a:pt x="54" y="74"/>
                    <a:pt x="53" y="75"/>
                  </a:cubicBezTo>
                  <a:cubicBezTo>
                    <a:pt x="53" y="76"/>
                    <a:pt x="53" y="77"/>
                    <a:pt x="53" y="78"/>
                  </a:cubicBezTo>
                  <a:cubicBezTo>
                    <a:pt x="53" y="82"/>
                    <a:pt x="53" y="86"/>
                    <a:pt x="58" y="88"/>
                  </a:cubicBezTo>
                  <a:cubicBezTo>
                    <a:pt x="59" y="89"/>
                    <a:pt x="60" y="89"/>
                    <a:pt x="61" y="90"/>
                  </a:cubicBezTo>
                  <a:cubicBezTo>
                    <a:pt x="61" y="91"/>
                    <a:pt x="62" y="91"/>
                    <a:pt x="62" y="92"/>
                  </a:cubicBezTo>
                  <a:cubicBezTo>
                    <a:pt x="62" y="93"/>
                    <a:pt x="61" y="92"/>
                    <a:pt x="61" y="93"/>
                  </a:cubicBezTo>
                  <a:cubicBezTo>
                    <a:pt x="60" y="95"/>
                    <a:pt x="62" y="98"/>
                    <a:pt x="62" y="100"/>
                  </a:cubicBezTo>
                  <a:cubicBezTo>
                    <a:pt x="62" y="104"/>
                    <a:pt x="60" y="109"/>
                    <a:pt x="63" y="113"/>
                  </a:cubicBezTo>
                  <a:cubicBezTo>
                    <a:pt x="65" y="115"/>
                    <a:pt x="66" y="117"/>
                    <a:pt x="66" y="119"/>
                  </a:cubicBezTo>
                  <a:cubicBezTo>
                    <a:pt x="67" y="122"/>
                    <a:pt x="66" y="124"/>
                    <a:pt x="66" y="127"/>
                  </a:cubicBezTo>
                  <a:cubicBezTo>
                    <a:pt x="66" y="129"/>
                    <a:pt x="65" y="129"/>
                    <a:pt x="65" y="130"/>
                  </a:cubicBezTo>
                  <a:cubicBezTo>
                    <a:pt x="67" y="132"/>
                    <a:pt x="68" y="133"/>
                    <a:pt x="69" y="134"/>
                  </a:cubicBezTo>
                  <a:cubicBezTo>
                    <a:pt x="70" y="135"/>
                    <a:pt x="72" y="137"/>
                    <a:pt x="74" y="137"/>
                  </a:cubicBezTo>
                  <a:cubicBezTo>
                    <a:pt x="75" y="138"/>
                    <a:pt x="76" y="138"/>
                    <a:pt x="77" y="138"/>
                  </a:cubicBezTo>
                  <a:cubicBezTo>
                    <a:pt x="78" y="138"/>
                    <a:pt x="78" y="139"/>
                    <a:pt x="78" y="139"/>
                  </a:cubicBezTo>
                  <a:cubicBezTo>
                    <a:pt x="78" y="140"/>
                    <a:pt x="80" y="140"/>
                    <a:pt x="81" y="139"/>
                  </a:cubicBezTo>
                  <a:cubicBezTo>
                    <a:pt x="83" y="139"/>
                    <a:pt x="83" y="140"/>
                    <a:pt x="84" y="141"/>
                  </a:cubicBezTo>
                  <a:cubicBezTo>
                    <a:pt x="85" y="142"/>
                    <a:pt x="86" y="143"/>
                    <a:pt x="86" y="144"/>
                  </a:cubicBezTo>
                  <a:cubicBezTo>
                    <a:pt x="86" y="145"/>
                    <a:pt x="87" y="144"/>
                    <a:pt x="89" y="146"/>
                  </a:cubicBezTo>
                  <a:cubicBezTo>
                    <a:pt x="90" y="148"/>
                    <a:pt x="93" y="150"/>
                    <a:pt x="94" y="151"/>
                  </a:cubicBezTo>
                  <a:cubicBezTo>
                    <a:pt x="95" y="153"/>
                    <a:pt x="96" y="154"/>
                    <a:pt x="97" y="154"/>
                  </a:cubicBezTo>
                  <a:cubicBezTo>
                    <a:pt x="98" y="155"/>
                    <a:pt x="100" y="157"/>
                    <a:pt x="101" y="157"/>
                  </a:cubicBezTo>
                  <a:cubicBezTo>
                    <a:pt x="101" y="157"/>
                    <a:pt x="100" y="155"/>
                    <a:pt x="100" y="153"/>
                  </a:cubicBezTo>
                  <a:cubicBezTo>
                    <a:pt x="100" y="151"/>
                    <a:pt x="101" y="153"/>
                    <a:pt x="103" y="154"/>
                  </a:cubicBezTo>
                  <a:cubicBezTo>
                    <a:pt x="104" y="155"/>
                    <a:pt x="105" y="156"/>
                    <a:pt x="105" y="158"/>
                  </a:cubicBezTo>
                  <a:cubicBezTo>
                    <a:pt x="105" y="159"/>
                    <a:pt x="106" y="159"/>
                    <a:pt x="106" y="160"/>
                  </a:cubicBezTo>
                  <a:cubicBezTo>
                    <a:pt x="107" y="161"/>
                    <a:pt x="107" y="162"/>
                    <a:pt x="107" y="162"/>
                  </a:cubicBezTo>
                  <a:cubicBezTo>
                    <a:pt x="106" y="164"/>
                    <a:pt x="106" y="164"/>
                    <a:pt x="106" y="164"/>
                  </a:cubicBezTo>
                  <a:cubicBezTo>
                    <a:pt x="106" y="164"/>
                    <a:pt x="106" y="164"/>
                    <a:pt x="106" y="165"/>
                  </a:cubicBezTo>
                  <a:cubicBezTo>
                    <a:pt x="106" y="166"/>
                    <a:pt x="105" y="167"/>
                    <a:pt x="105" y="167"/>
                  </a:cubicBezTo>
                  <a:cubicBezTo>
                    <a:pt x="103" y="167"/>
                    <a:pt x="103" y="167"/>
                    <a:pt x="103" y="167"/>
                  </a:cubicBezTo>
                  <a:cubicBezTo>
                    <a:pt x="103" y="167"/>
                    <a:pt x="102" y="168"/>
                    <a:pt x="102" y="167"/>
                  </a:cubicBezTo>
                  <a:cubicBezTo>
                    <a:pt x="101" y="167"/>
                    <a:pt x="100" y="167"/>
                    <a:pt x="100" y="167"/>
                  </a:cubicBezTo>
                  <a:cubicBezTo>
                    <a:pt x="100" y="167"/>
                    <a:pt x="101" y="169"/>
                    <a:pt x="102" y="171"/>
                  </a:cubicBezTo>
                  <a:cubicBezTo>
                    <a:pt x="104" y="172"/>
                    <a:pt x="103" y="173"/>
                    <a:pt x="104" y="175"/>
                  </a:cubicBezTo>
                  <a:cubicBezTo>
                    <a:pt x="105" y="177"/>
                    <a:pt x="107" y="179"/>
                    <a:pt x="108" y="181"/>
                  </a:cubicBezTo>
                  <a:cubicBezTo>
                    <a:pt x="109" y="183"/>
                    <a:pt x="108" y="184"/>
                    <a:pt x="108" y="186"/>
                  </a:cubicBezTo>
                  <a:cubicBezTo>
                    <a:pt x="108" y="188"/>
                    <a:pt x="109" y="189"/>
                    <a:pt x="110" y="190"/>
                  </a:cubicBezTo>
                  <a:cubicBezTo>
                    <a:pt x="112" y="192"/>
                    <a:pt x="111" y="193"/>
                    <a:pt x="112" y="196"/>
                  </a:cubicBezTo>
                  <a:cubicBezTo>
                    <a:pt x="113" y="199"/>
                    <a:pt x="114" y="201"/>
                    <a:pt x="115" y="203"/>
                  </a:cubicBezTo>
                  <a:cubicBezTo>
                    <a:pt x="115" y="205"/>
                    <a:pt x="116" y="208"/>
                    <a:pt x="116" y="209"/>
                  </a:cubicBezTo>
                  <a:cubicBezTo>
                    <a:pt x="116" y="210"/>
                    <a:pt x="117" y="211"/>
                    <a:pt x="118" y="212"/>
                  </a:cubicBezTo>
                  <a:cubicBezTo>
                    <a:pt x="119" y="213"/>
                    <a:pt x="119" y="214"/>
                    <a:pt x="119" y="214"/>
                  </a:cubicBezTo>
                  <a:cubicBezTo>
                    <a:pt x="119" y="215"/>
                    <a:pt x="120" y="217"/>
                    <a:pt x="121" y="218"/>
                  </a:cubicBezTo>
                  <a:cubicBezTo>
                    <a:pt x="121" y="218"/>
                    <a:pt x="121" y="221"/>
                    <a:pt x="120" y="222"/>
                  </a:cubicBezTo>
                  <a:cubicBezTo>
                    <a:pt x="120" y="224"/>
                    <a:pt x="121" y="223"/>
                    <a:pt x="122" y="225"/>
                  </a:cubicBezTo>
                  <a:cubicBezTo>
                    <a:pt x="124" y="226"/>
                    <a:pt x="123" y="229"/>
                    <a:pt x="123" y="229"/>
                  </a:cubicBezTo>
                  <a:cubicBezTo>
                    <a:pt x="123" y="229"/>
                    <a:pt x="123" y="231"/>
                    <a:pt x="124" y="231"/>
                  </a:cubicBezTo>
                  <a:cubicBezTo>
                    <a:pt x="125" y="232"/>
                    <a:pt x="125" y="235"/>
                    <a:pt x="125" y="236"/>
                  </a:cubicBezTo>
                  <a:cubicBezTo>
                    <a:pt x="125" y="238"/>
                    <a:pt x="123" y="240"/>
                    <a:pt x="124" y="241"/>
                  </a:cubicBezTo>
                  <a:cubicBezTo>
                    <a:pt x="124" y="241"/>
                    <a:pt x="126" y="243"/>
                    <a:pt x="126" y="244"/>
                  </a:cubicBezTo>
                  <a:cubicBezTo>
                    <a:pt x="126" y="245"/>
                    <a:pt x="127" y="246"/>
                    <a:pt x="127" y="247"/>
                  </a:cubicBezTo>
                  <a:cubicBezTo>
                    <a:pt x="128" y="247"/>
                    <a:pt x="128" y="246"/>
                    <a:pt x="129" y="246"/>
                  </a:cubicBezTo>
                  <a:cubicBezTo>
                    <a:pt x="131" y="244"/>
                    <a:pt x="131" y="242"/>
                    <a:pt x="135" y="242"/>
                  </a:cubicBezTo>
                  <a:cubicBezTo>
                    <a:pt x="137" y="242"/>
                    <a:pt x="137" y="242"/>
                    <a:pt x="138" y="240"/>
                  </a:cubicBezTo>
                  <a:cubicBezTo>
                    <a:pt x="138" y="239"/>
                    <a:pt x="138" y="238"/>
                    <a:pt x="139" y="237"/>
                  </a:cubicBezTo>
                  <a:cubicBezTo>
                    <a:pt x="140" y="236"/>
                    <a:pt x="140" y="235"/>
                    <a:pt x="141" y="234"/>
                  </a:cubicBezTo>
                  <a:cubicBezTo>
                    <a:pt x="142" y="232"/>
                    <a:pt x="143" y="233"/>
                    <a:pt x="144" y="232"/>
                  </a:cubicBezTo>
                  <a:cubicBezTo>
                    <a:pt x="146" y="231"/>
                    <a:pt x="146" y="230"/>
                    <a:pt x="147" y="229"/>
                  </a:cubicBezTo>
                  <a:cubicBezTo>
                    <a:pt x="149" y="228"/>
                    <a:pt x="149" y="230"/>
                    <a:pt x="151" y="230"/>
                  </a:cubicBezTo>
                  <a:cubicBezTo>
                    <a:pt x="151" y="231"/>
                    <a:pt x="151" y="231"/>
                    <a:pt x="151" y="231"/>
                  </a:cubicBezTo>
                  <a:cubicBezTo>
                    <a:pt x="153" y="231"/>
                    <a:pt x="154" y="229"/>
                    <a:pt x="156" y="230"/>
                  </a:cubicBezTo>
                  <a:cubicBezTo>
                    <a:pt x="158" y="230"/>
                    <a:pt x="158" y="232"/>
                    <a:pt x="160" y="234"/>
                  </a:cubicBezTo>
                  <a:cubicBezTo>
                    <a:pt x="162" y="236"/>
                    <a:pt x="164" y="233"/>
                    <a:pt x="167" y="233"/>
                  </a:cubicBezTo>
                  <a:cubicBezTo>
                    <a:pt x="169" y="233"/>
                    <a:pt x="171" y="234"/>
                    <a:pt x="173" y="233"/>
                  </a:cubicBezTo>
                  <a:cubicBezTo>
                    <a:pt x="175" y="231"/>
                    <a:pt x="175" y="229"/>
                    <a:pt x="174" y="228"/>
                  </a:cubicBezTo>
                  <a:cubicBezTo>
                    <a:pt x="173" y="225"/>
                    <a:pt x="174" y="223"/>
                    <a:pt x="172" y="222"/>
                  </a:cubicBezTo>
                  <a:cubicBezTo>
                    <a:pt x="170" y="221"/>
                    <a:pt x="167" y="220"/>
                    <a:pt x="167" y="217"/>
                  </a:cubicBezTo>
                  <a:cubicBezTo>
                    <a:pt x="167" y="216"/>
                    <a:pt x="168" y="215"/>
                    <a:pt x="168" y="213"/>
                  </a:cubicBezTo>
                  <a:cubicBezTo>
                    <a:pt x="168" y="212"/>
                    <a:pt x="168" y="210"/>
                    <a:pt x="168" y="209"/>
                  </a:cubicBezTo>
                  <a:cubicBezTo>
                    <a:pt x="171" y="206"/>
                    <a:pt x="174" y="209"/>
                    <a:pt x="176" y="210"/>
                  </a:cubicBezTo>
                  <a:cubicBezTo>
                    <a:pt x="177" y="211"/>
                    <a:pt x="180" y="212"/>
                    <a:pt x="181" y="213"/>
                  </a:cubicBezTo>
                  <a:cubicBezTo>
                    <a:pt x="183" y="213"/>
                    <a:pt x="184" y="213"/>
                    <a:pt x="185" y="214"/>
                  </a:cubicBezTo>
                  <a:cubicBezTo>
                    <a:pt x="185" y="212"/>
                    <a:pt x="185" y="211"/>
                    <a:pt x="185" y="210"/>
                  </a:cubicBezTo>
                  <a:cubicBezTo>
                    <a:pt x="186" y="208"/>
                    <a:pt x="186" y="205"/>
                    <a:pt x="187" y="203"/>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3" name="Freeform 38">
              <a:extLst>
                <a:ext uri="{FF2B5EF4-FFF2-40B4-BE49-F238E27FC236}">
                  <a16:creationId xmlns:a16="http://schemas.microsoft.com/office/drawing/2014/main" id="{0664517B-77FD-97FF-519F-844E50C76836}"/>
                </a:ext>
              </a:extLst>
            </p:cNvPr>
            <p:cNvSpPr>
              <a:spLocks noEditPoints="1"/>
            </p:cNvSpPr>
            <p:nvPr/>
          </p:nvSpPr>
          <p:spPr bwMode="auto">
            <a:xfrm>
              <a:off x="7180263" y="2763838"/>
              <a:ext cx="892175" cy="995362"/>
            </a:xfrm>
            <a:custGeom>
              <a:avLst/>
              <a:gdLst>
                <a:gd name="T0" fmla="*/ 123 w 234"/>
                <a:gd name="T1" fmla="*/ 195 h 261"/>
                <a:gd name="T2" fmla="*/ 117 w 234"/>
                <a:gd name="T3" fmla="*/ 210 h 261"/>
                <a:gd name="T4" fmla="*/ 105 w 234"/>
                <a:gd name="T5" fmla="*/ 221 h 261"/>
                <a:gd name="T6" fmla="*/ 95 w 234"/>
                <a:gd name="T7" fmla="*/ 231 h 261"/>
                <a:gd name="T8" fmla="*/ 91 w 234"/>
                <a:gd name="T9" fmla="*/ 238 h 261"/>
                <a:gd name="T10" fmla="*/ 87 w 234"/>
                <a:gd name="T11" fmla="*/ 245 h 261"/>
                <a:gd name="T12" fmla="*/ 85 w 234"/>
                <a:gd name="T13" fmla="*/ 250 h 261"/>
                <a:gd name="T14" fmla="*/ 75 w 234"/>
                <a:gd name="T15" fmla="*/ 252 h 261"/>
                <a:gd name="T16" fmla="*/ 63 w 234"/>
                <a:gd name="T17" fmla="*/ 255 h 261"/>
                <a:gd name="T18" fmla="*/ 49 w 234"/>
                <a:gd name="T19" fmla="*/ 257 h 261"/>
                <a:gd name="T20" fmla="*/ 34 w 234"/>
                <a:gd name="T21" fmla="*/ 261 h 261"/>
                <a:gd name="T22" fmla="*/ 24 w 234"/>
                <a:gd name="T23" fmla="*/ 257 h 261"/>
                <a:gd name="T24" fmla="*/ 20 w 234"/>
                <a:gd name="T25" fmla="*/ 241 h 261"/>
                <a:gd name="T26" fmla="*/ 12 w 234"/>
                <a:gd name="T27" fmla="*/ 237 h 261"/>
                <a:gd name="T28" fmla="*/ 8 w 234"/>
                <a:gd name="T29" fmla="*/ 228 h 261"/>
                <a:gd name="T30" fmla="*/ 0 w 234"/>
                <a:gd name="T31" fmla="*/ 222 h 261"/>
                <a:gd name="T32" fmla="*/ 7 w 234"/>
                <a:gd name="T33" fmla="*/ 221 h 261"/>
                <a:gd name="T34" fmla="*/ 18 w 234"/>
                <a:gd name="T35" fmla="*/ 222 h 261"/>
                <a:gd name="T36" fmla="*/ 29 w 234"/>
                <a:gd name="T37" fmla="*/ 224 h 261"/>
                <a:gd name="T38" fmla="*/ 43 w 234"/>
                <a:gd name="T39" fmla="*/ 228 h 261"/>
                <a:gd name="T40" fmla="*/ 49 w 234"/>
                <a:gd name="T41" fmla="*/ 227 h 261"/>
                <a:gd name="T42" fmla="*/ 60 w 234"/>
                <a:gd name="T43" fmla="*/ 223 h 261"/>
                <a:gd name="T44" fmla="*/ 75 w 234"/>
                <a:gd name="T45" fmla="*/ 217 h 261"/>
                <a:gd name="T46" fmla="*/ 81 w 234"/>
                <a:gd name="T47" fmla="*/ 207 h 261"/>
                <a:gd name="T48" fmla="*/ 89 w 234"/>
                <a:gd name="T49" fmla="*/ 205 h 261"/>
                <a:gd name="T50" fmla="*/ 94 w 234"/>
                <a:gd name="T51" fmla="*/ 202 h 261"/>
                <a:gd name="T52" fmla="*/ 89 w 234"/>
                <a:gd name="T53" fmla="*/ 199 h 261"/>
                <a:gd name="T54" fmla="*/ 91 w 234"/>
                <a:gd name="T55" fmla="*/ 193 h 261"/>
                <a:gd name="T56" fmla="*/ 101 w 234"/>
                <a:gd name="T57" fmla="*/ 191 h 261"/>
                <a:gd name="T58" fmla="*/ 107 w 234"/>
                <a:gd name="T59" fmla="*/ 188 h 261"/>
                <a:gd name="T60" fmla="*/ 105 w 234"/>
                <a:gd name="T61" fmla="*/ 183 h 261"/>
                <a:gd name="T62" fmla="*/ 112 w 234"/>
                <a:gd name="T63" fmla="*/ 177 h 261"/>
                <a:gd name="T64" fmla="*/ 117 w 234"/>
                <a:gd name="T65" fmla="*/ 173 h 261"/>
                <a:gd name="T66" fmla="*/ 125 w 234"/>
                <a:gd name="T67" fmla="*/ 177 h 261"/>
                <a:gd name="T68" fmla="*/ 128 w 234"/>
                <a:gd name="T69" fmla="*/ 182 h 261"/>
                <a:gd name="T70" fmla="*/ 158 w 234"/>
                <a:gd name="T71" fmla="*/ 66 h 261"/>
                <a:gd name="T72" fmla="*/ 147 w 234"/>
                <a:gd name="T73" fmla="*/ 51 h 261"/>
                <a:gd name="T74" fmla="*/ 148 w 234"/>
                <a:gd name="T75" fmla="*/ 60 h 261"/>
                <a:gd name="T76" fmla="*/ 154 w 234"/>
                <a:gd name="T77" fmla="*/ 70 h 261"/>
                <a:gd name="T78" fmla="*/ 228 w 234"/>
                <a:gd name="T79" fmla="*/ 29 h 261"/>
                <a:gd name="T80" fmla="*/ 233 w 234"/>
                <a:gd name="T81" fmla="*/ 17 h 261"/>
                <a:gd name="T82" fmla="*/ 227 w 234"/>
                <a:gd name="T83" fmla="*/ 1 h 261"/>
                <a:gd name="T84" fmla="*/ 222 w 234"/>
                <a:gd name="T85" fmla="*/ 9 h 261"/>
                <a:gd name="T86" fmla="*/ 226 w 234"/>
                <a:gd name="T87" fmla="*/ 21 h 261"/>
                <a:gd name="T88" fmla="*/ 223 w 234"/>
                <a:gd name="T89" fmla="*/ 34 h 261"/>
                <a:gd name="T90" fmla="*/ 229 w 234"/>
                <a:gd name="T91" fmla="*/ 50 h 261"/>
                <a:gd name="T92" fmla="*/ 222 w 234"/>
                <a:gd name="T93" fmla="*/ 44 h 261"/>
                <a:gd name="T94" fmla="*/ 216 w 234"/>
                <a:gd name="T95" fmla="*/ 33 h 261"/>
                <a:gd name="T96" fmla="*/ 143 w 234"/>
                <a:gd name="T97" fmla="*/ 117 h 261"/>
                <a:gd name="T98" fmla="*/ 145 w 234"/>
                <a:gd name="T99" fmla="*/ 110 h 261"/>
                <a:gd name="T100" fmla="*/ 141 w 234"/>
                <a:gd name="T101"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4" h="261">
                  <a:moveTo>
                    <a:pt x="130" y="190"/>
                  </a:moveTo>
                  <a:cubicBezTo>
                    <a:pt x="129" y="191"/>
                    <a:pt x="127" y="191"/>
                    <a:pt x="126" y="192"/>
                  </a:cubicBezTo>
                  <a:cubicBezTo>
                    <a:pt x="124" y="193"/>
                    <a:pt x="123" y="194"/>
                    <a:pt x="123" y="195"/>
                  </a:cubicBezTo>
                  <a:cubicBezTo>
                    <a:pt x="122" y="196"/>
                    <a:pt x="121" y="197"/>
                    <a:pt x="121" y="198"/>
                  </a:cubicBezTo>
                  <a:cubicBezTo>
                    <a:pt x="121" y="200"/>
                    <a:pt x="121" y="202"/>
                    <a:pt x="120" y="204"/>
                  </a:cubicBezTo>
                  <a:cubicBezTo>
                    <a:pt x="120" y="206"/>
                    <a:pt x="119" y="208"/>
                    <a:pt x="117" y="210"/>
                  </a:cubicBezTo>
                  <a:cubicBezTo>
                    <a:pt x="116" y="212"/>
                    <a:pt x="115" y="214"/>
                    <a:pt x="113" y="215"/>
                  </a:cubicBezTo>
                  <a:cubicBezTo>
                    <a:pt x="111" y="216"/>
                    <a:pt x="110" y="218"/>
                    <a:pt x="108" y="219"/>
                  </a:cubicBezTo>
                  <a:cubicBezTo>
                    <a:pt x="107" y="220"/>
                    <a:pt x="106" y="220"/>
                    <a:pt x="105" y="221"/>
                  </a:cubicBezTo>
                  <a:cubicBezTo>
                    <a:pt x="104" y="223"/>
                    <a:pt x="102" y="223"/>
                    <a:pt x="100" y="225"/>
                  </a:cubicBezTo>
                  <a:cubicBezTo>
                    <a:pt x="99" y="226"/>
                    <a:pt x="99" y="227"/>
                    <a:pt x="98" y="228"/>
                  </a:cubicBezTo>
                  <a:cubicBezTo>
                    <a:pt x="97" y="229"/>
                    <a:pt x="96" y="230"/>
                    <a:pt x="95" y="231"/>
                  </a:cubicBezTo>
                  <a:cubicBezTo>
                    <a:pt x="95" y="232"/>
                    <a:pt x="95" y="233"/>
                    <a:pt x="95" y="234"/>
                  </a:cubicBezTo>
                  <a:cubicBezTo>
                    <a:pt x="94" y="235"/>
                    <a:pt x="94" y="235"/>
                    <a:pt x="93" y="236"/>
                  </a:cubicBezTo>
                  <a:cubicBezTo>
                    <a:pt x="92" y="236"/>
                    <a:pt x="91" y="237"/>
                    <a:pt x="91" y="238"/>
                  </a:cubicBezTo>
                  <a:cubicBezTo>
                    <a:pt x="90" y="239"/>
                    <a:pt x="90" y="239"/>
                    <a:pt x="90" y="240"/>
                  </a:cubicBezTo>
                  <a:cubicBezTo>
                    <a:pt x="89" y="241"/>
                    <a:pt x="90" y="242"/>
                    <a:pt x="90" y="243"/>
                  </a:cubicBezTo>
                  <a:cubicBezTo>
                    <a:pt x="89" y="244"/>
                    <a:pt x="88" y="244"/>
                    <a:pt x="87" y="245"/>
                  </a:cubicBezTo>
                  <a:cubicBezTo>
                    <a:pt x="86" y="245"/>
                    <a:pt x="86" y="246"/>
                    <a:pt x="86" y="247"/>
                  </a:cubicBezTo>
                  <a:cubicBezTo>
                    <a:pt x="86" y="248"/>
                    <a:pt x="86" y="249"/>
                    <a:pt x="86" y="250"/>
                  </a:cubicBezTo>
                  <a:cubicBezTo>
                    <a:pt x="85" y="250"/>
                    <a:pt x="85" y="250"/>
                    <a:pt x="85" y="250"/>
                  </a:cubicBezTo>
                  <a:cubicBezTo>
                    <a:pt x="84" y="250"/>
                    <a:pt x="84" y="250"/>
                    <a:pt x="84" y="251"/>
                  </a:cubicBezTo>
                  <a:cubicBezTo>
                    <a:pt x="82" y="251"/>
                    <a:pt x="81" y="252"/>
                    <a:pt x="79" y="252"/>
                  </a:cubicBezTo>
                  <a:cubicBezTo>
                    <a:pt x="78" y="252"/>
                    <a:pt x="76" y="251"/>
                    <a:pt x="75" y="252"/>
                  </a:cubicBezTo>
                  <a:cubicBezTo>
                    <a:pt x="75" y="252"/>
                    <a:pt x="74" y="253"/>
                    <a:pt x="73" y="253"/>
                  </a:cubicBezTo>
                  <a:cubicBezTo>
                    <a:pt x="72" y="254"/>
                    <a:pt x="72" y="254"/>
                    <a:pt x="71" y="254"/>
                  </a:cubicBezTo>
                  <a:cubicBezTo>
                    <a:pt x="68" y="254"/>
                    <a:pt x="66" y="255"/>
                    <a:pt x="63" y="255"/>
                  </a:cubicBezTo>
                  <a:cubicBezTo>
                    <a:pt x="61" y="255"/>
                    <a:pt x="58" y="255"/>
                    <a:pt x="55" y="256"/>
                  </a:cubicBezTo>
                  <a:cubicBezTo>
                    <a:pt x="54" y="256"/>
                    <a:pt x="53" y="257"/>
                    <a:pt x="52" y="257"/>
                  </a:cubicBezTo>
                  <a:cubicBezTo>
                    <a:pt x="52" y="257"/>
                    <a:pt x="50" y="257"/>
                    <a:pt x="49" y="257"/>
                  </a:cubicBezTo>
                  <a:cubicBezTo>
                    <a:pt x="47" y="258"/>
                    <a:pt x="45" y="259"/>
                    <a:pt x="43" y="259"/>
                  </a:cubicBezTo>
                  <a:cubicBezTo>
                    <a:pt x="41" y="259"/>
                    <a:pt x="39" y="259"/>
                    <a:pt x="37" y="260"/>
                  </a:cubicBezTo>
                  <a:cubicBezTo>
                    <a:pt x="36" y="261"/>
                    <a:pt x="35" y="261"/>
                    <a:pt x="34" y="261"/>
                  </a:cubicBezTo>
                  <a:cubicBezTo>
                    <a:pt x="33" y="261"/>
                    <a:pt x="32" y="260"/>
                    <a:pt x="31" y="260"/>
                  </a:cubicBezTo>
                  <a:cubicBezTo>
                    <a:pt x="29" y="259"/>
                    <a:pt x="26" y="259"/>
                    <a:pt x="23" y="259"/>
                  </a:cubicBezTo>
                  <a:cubicBezTo>
                    <a:pt x="23" y="258"/>
                    <a:pt x="24" y="257"/>
                    <a:pt x="24" y="257"/>
                  </a:cubicBezTo>
                  <a:cubicBezTo>
                    <a:pt x="25" y="256"/>
                    <a:pt x="26" y="254"/>
                    <a:pt x="26" y="253"/>
                  </a:cubicBezTo>
                  <a:cubicBezTo>
                    <a:pt x="26" y="252"/>
                    <a:pt x="26" y="251"/>
                    <a:pt x="26" y="249"/>
                  </a:cubicBezTo>
                  <a:cubicBezTo>
                    <a:pt x="26" y="246"/>
                    <a:pt x="24" y="243"/>
                    <a:pt x="20" y="241"/>
                  </a:cubicBezTo>
                  <a:cubicBezTo>
                    <a:pt x="20" y="241"/>
                    <a:pt x="19" y="241"/>
                    <a:pt x="18" y="241"/>
                  </a:cubicBezTo>
                  <a:cubicBezTo>
                    <a:pt x="17" y="240"/>
                    <a:pt x="16" y="240"/>
                    <a:pt x="15" y="239"/>
                  </a:cubicBezTo>
                  <a:cubicBezTo>
                    <a:pt x="14" y="238"/>
                    <a:pt x="13" y="238"/>
                    <a:pt x="12" y="237"/>
                  </a:cubicBezTo>
                  <a:cubicBezTo>
                    <a:pt x="11" y="236"/>
                    <a:pt x="9" y="235"/>
                    <a:pt x="9" y="235"/>
                  </a:cubicBezTo>
                  <a:cubicBezTo>
                    <a:pt x="9" y="234"/>
                    <a:pt x="9" y="232"/>
                    <a:pt x="9" y="231"/>
                  </a:cubicBezTo>
                  <a:cubicBezTo>
                    <a:pt x="9" y="230"/>
                    <a:pt x="9" y="229"/>
                    <a:pt x="8" y="228"/>
                  </a:cubicBezTo>
                  <a:cubicBezTo>
                    <a:pt x="6" y="227"/>
                    <a:pt x="3" y="227"/>
                    <a:pt x="2" y="225"/>
                  </a:cubicBezTo>
                  <a:cubicBezTo>
                    <a:pt x="1" y="224"/>
                    <a:pt x="0" y="223"/>
                    <a:pt x="0" y="222"/>
                  </a:cubicBezTo>
                  <a:cubicBezTo>
                    <a:pt x="0" y="222"/>
                    <a:pt x="0" y="222"/>
                    <a:pt x="0" y="222"/>
                  </a:cubicBezTo>
                  <a:cubicBezTo>
                    <a:pt x="1" y="222"/>
                    <a:pt x="2" y="222"/>
                    <a:pt x="4" y="222"/>
                  </a:cubicBezTo>
                  <a:cubicBezTo>
                    <a:pt x="4" y="222"/>
                    <a:pt x="5" y="223"/>
                    <a:pt x="6" y="223"/>
                  </a:cubicBezTo>
                  <a:cubicBezTo>
                    <a:pt x="7" y="223"/>
                    <a:pt x="7" y="222"/>
                    <a:pt x="7" y="221"/>
                  </a:cubicBezTo>
                  <a:cubicBezTo>
                    <a:pt x="7" y="221"/>
                    <a:pt x="11" y="222"/>
                    <a:pt x="12" y="222"/>
                  </a:cubicBezTo>
                  <a:cubicBezTo>
                    <a:pt x="13" y="222"/>
                    <a:pt x="13" y="223"/>
                    <a:pt x="14" y="223"/>
                  </a:cubicBezTo>
                  <a:cubicBezTo>
                    <a:pt x="15" y="223"/>
                    <a:pt x="17" y="223"/>
                    <a:pt x="18" y="222"/>
                  </a:cubicBezTo>
                  <a:cubicBezTo>
                    <a:pt x="19" y="222"/>
                    <a:pt x="20" y="223"/>
                    <a:pt x="21" y="224"/>
                  </a:cubicBezTo>
                  <a:cubicBezTo>
                    <a:pt x="23" y="224"/>
                    <a:pt x="24" y="224"/>
                    <a:pt x="26" y="224"/>
                  </a:cubicBezTo>
                  <a:cubicBezTo>
                    <a:pt x="27" y="224"/>
                    <a:pt x="28" y="224"/>
                    <a:pt x="29" y="224"/>
                  </a:cubicBezTo>
                  <a:cubicBezTo>
                    <a:pt x="30" y="224"/>
                    <a:pt x="31" y="224"/>
                    <a:pt x="32" y="224"/>
                  </a:cubicBezTo>
                  <a:cubicBezTo>
                    <a:pt x="35" y="223"/>
                    <a:pt x="37" y="225"/>
                    <a:pt x="39" y="226"/>
                  </a:cubicBezTo>
                  <a:cubicBezTo>
                    <a:pt x="40" y="227"/>
                    <a:pt x="42" y="228"/>
                    <a:pt x="43" y="228"/>
                  </a:cubicBezTo>
                  <a:cubicBezTo>
                    <a:pt x="44" y="228"/>
                    <a:pt x="45" y="227"/>
                    <a:pt x="46" y="227"/>
                  </a:cubicBezTo>
                  <a:cubicBezTo>
                    <a:pt x="46" y="227"/>
                    <a:pt x="47" y="227"/>
                    <a:pt x="47" y="227"/>
                  </a:cubicBezTo>
                  <a:cubicBezTo>
                    <a:pt x="48" y="228"/>
                    <a:pt x="48" y="227"/>
                    <a:pt x="49" y="227"/>
                  </a:cubicBezTo>
                  <a:cubicBezTo>
                    <a:pt x="50" y="227"/>
                    <a:pt x="51" y="227"/>
                    <a:pt x="53" y="227"/>
                  </a:cubicBezTo>
                  <a:cubicBezTo>
                    <a:pt x="54" y="226"/>
                    <a:pt x="55" y="225"/>
                    <a:pt x="56" y="225"/>
                  </a:cubicBezTo>
                  <a:cubicBezTo>
                    <a:pt x="57" y="224"/>
                    <a:pt x="59" y="223"/>
                    <a:pt x="60" y="223"/>
                  </a:cubicBezTo>
                  <a:cubicBezTo>
                    <a:pt x="62" y="223"/>
                    <a:pt x="64" y="223"/>
                    <a:pt x="65" y="221"/>
                  </a:cubicBezTo>
                  <a:cubicBezTo>
                    <a:pt x="67" y="220"/>
                    <a:pt x="68" y="219"/>
                    <a:pt x="70" y="218"/>
                  </a:cubicBezTo>
                  <a:cubicBezTo>
                    <a:pt x="71" y="218"/>
                    <a:pt x="73" y="218"/>
                    <a:pt x="75" y="217"/>
                  </a:cubicBezTo>
                  <a:cubicBezTo>
                    <a:pt x="76" y="216"/>
                    <a:pt x="77" y="213"/>
                    <a:pt x="77" y="211"/>
                  </a:cubicBezTo>
                  <a:cubicBezTo>
                    <a:pt x="77" y="211"/>
                    <a:pt x="78" y="210"/>
                    <a:pt x="78" y="209"/>
                  </a:cubicBezTo>
                  <a:cubicBezTo>
                    <a:pt x="79" y="208"/>
                    <a:pt x="80" y="207"/>
                    <a:pt x="81" y="207"/>
                  </a:cubicBezTo>
                  <a:cubicBezTo>
                    <a:pt x="82" y="206"/>
                    <a:pt x="83" y="206"/>
                    <a:pt x="85" y="206"/>
                  </a:cubicBezTo>
                  <a:cubicBezTo>
                    <a:pt x="86" y="206"/>
                    <a:pt x="87" y="206"/>
                    <a:pt x="88" y="206"/>
                  </a:cubicBezTo>
                  <a:cubicBezTo>
                    <a:pt x="88" y="205"/>
                    <a:pt x="89" y="205"/>
                    <a:pt x="89" y="205"/>
                  </a:cubicBezTo>
                  <a:cubicBezTo>
                    <a:pt x="90" y="205"/>
                    <a:pt x="90" y="205"/>
                    <a:pt x="90" y="205"/>
                  </a:cubicBezTo>
                  <a:cubicBezTo>
                    <a:pt x="91" y="205"/>
                    <a:pt x="92" y="205"/>
                    <a:pt x="93" y="204"/>
                  </a:cubicBezTo>
                  <a:cubicBezTo>
                    <a:pt x="94" y="204"/>
                    <a:pt x="94" y="203"/>
                    <a:pt x="94" y="202"/>
                  </a:cubicBezTo>
                  <a:cubicBezTo>
                    <a:pt x="93" y="201"/>
                    <a:pt x="93" y="200"/>
                    <a:pt x="92" y="201"/>
                  </a:cubicBezTo>
                  <a:cubicBezTo>
                    <a:pt x="91" y="201"/>
                    <a:pt x="91" y="201"/>
                    <a:pt x="90" y="201"/>
                  </a:cubicBezTo>
                  <a:cubicBezTo>
                    <a:pt x="89" y="201"/>
                    <a:pt x="89" y="200"/>
                    <a:pt x="89" y="199"/>
                  </a:cubicBezTo>
                  <a:cubicBezTo>
                    <a:pt x="89" y="199"/>
                    <a:pt x="88" y="197"/>
                    <a:pt x="88" y="196"/>
                  </a:cubicBezTo>
                  <a:cubicBezTo>
                    <a:pt x="89" y="196"/>
                    <a:pt x="90" y="195"/>
                    <a:pt x="90" y="195"/>
                  </a:cubicBezTo>
                  <a:cubicBezTo>
                    <a:pt x="91" y="194"/>
                    <a:pt x="91" y="194"/>
                    <a:pt x="91" y="193"/>
                  </a:cubicBezTo>
                  <a:cubicBezTo>
                    <a:pt x="92" y="193"/>
                    <a:pt x="93" y="193"/>
                    <a:pt x="93" y="192"/>
                  </a:cubicBezTo>
                  <a:cubicBezTo>
                    <a:pt x="94" y="192"/>
                    <a:pt x="95" y="192"/>
                    <a:pt x="95" y="193"/>
                  </a:cubicBezTo>
                  <a:cubicBezTo>
                    <a:pt x="97" y="193"/>
                    <a:pt x="100" y="193"/>
                    <a:pt x="101" y="191"/>
                  </a:cubicBezTo>
                  <a:cubicBezTo>
                    <a:pt x="102" y="191"/>
                    <a:pt x="102" y="190"/>
                    <a:pt x="103" y="190"/>
                  </a:cubicBezTo>
                  <a:cubicBezTo>
                    <a:pt x="103" y="189"/>
                    <a:pt x="104" y="189"/>
                    <a:pt x="104" y="189"/>
                  </a:cubicBezTo>
                  <a:cubicBezTo>
                    <a:pt x="105" y="189"/>
                    <a:pt x="106" y="189"/>
                    <a:pt x="107" y="188"/>
                  </a:cubicBezTo>
                  <a:cubicBezTo>
                    <a:pt x="107" y="188"/>
                    <a:pt x="108" y="187"/>
                    <a:pt x="108" y="186"/>
                  </a:cubicBezTo>
                  <a:cubicBezTo>
                    <a:pt x="107" y="185"/>
                    <a:pt x="106" y="184"/>
                    <a:pt x="106" y="183"/>
                  </a:cubicBezTo>
                  <a:cubicBezTo>
                    <a:pt x="106" y="183"/>
                    <a:pt x="105" y="183"/>
                    <a:pt x="105" y="183"/>
                  </a:cubicBezTo>
                  <a:cubicBezTo>
                    <a:pt x="105" y="182"/>
                    <a:pt x="106" y="182"/>
                    <a:pt x="107" y="181"/>
                  </a:cubicBezTo>
                  <a:cubicBezTo>
                    <a:pt x="108" y="181"/>
                    <a:pt x="109" y="180"/>
                    <a:pt x="110" y="180"/>
                  </a:cubicBezTo>
                  <a:cubicBezTo>
                    <a:pt x="111" y="179"/>
                    <a:pt x="111" y="178"/>
                    <a:pt x="112" y="177"/>
                  </a:cubicBezTo>
                  <a:cubicBezTo>
                    <a:pt x="113" y="176"/>
                    <a:pt x="114" y="176"/>
                    <a:pt x="114" y="176"/>
                  </a:cubicBezTo>
                  <a:cubicBezTo>
                    <a:pt x="115" y="175"/>
                    <a:pt x="115" y="175"/>
                    <a:pt x="115" y="174"/>
                  </a:cubicBezTo>
                  <a:cubicBezTo>
                    <a:pt x="115" y="173"/>
                    <a:pt x="117" y="173"/>
                    <a:pt x="117" y="173"/>
                  </a:cubicBezTo>
                  <a:cubicBezTo>
                    <a:pt x="119" y="173"/>
                    <a:pt x="119" y="174"/>
                    <a:pt x="119" y="175"/>
                  </a:cubicBezTo>
                  <a:cubicBezTo>
                    <a:pt x="120" y="176"/>
                    <a:pt x="120" y="176"/>
                    <a:pt x="121" y="176"/>
                  </a:cubicBezTo>
                  <a:cubicBezTo>
                    <a:pt x="123" y="176"/>
                    <a:pt x="124" y="177"/>
                    <a:pt x="125" y="177"/>
                  </a:cubicBezTo>
                  <a:cubicBezTo>
                    <a:pt x="126" y="177"/>
                    <a:pt x="126" y="176"/>
                    <a:pt x="127" y="176"/>
                  </a:cubicBezTo>
                  <a:cubicBezTo>
                    <a:pt x="128" y="178"/>
                    <a:pt x="126" y="179"/>
                    <a:pt x="126" y="180"/>
                  </a:cubicBezTo>
                  <a:cubicBezTo>
                    <a:pt x="126" y="181"/>
                    <a:pt x="127" y="182"/>
                    <a:pt x="128" y="182"/>
                  </a:cubicBezTo>
                  <a:cubicBezTo>
                    <a:pt x="129" y="183"/>
                    <a:pt x="130" y="184"/>
                    <a:pt x="131" y="185"/>
                  </a:cubicBezTo>
                  <a:cubicBezTo>
                    <a:pt x="133" y="187"/>
                    <a:pt x="132" y="188"/>
                    <a:pt x="130" y="190"/>
                  </a:cubicBezTo>
                  <a:close/>
                  <a:moveTo>
                    <a:pt x="158" y="66"/>
                  </a:moveTo>
                  <a:cubicBezTo>
                    <a:pt x="157" y="65"/>
                    <a:pt x="156" y="65"/>
                    <a:pt x="155" y="64"/>
                  </a:cubicBezTo>
                  <a:cubicBezTo>
                    <a:pt x="155" y="63"/>
                    <a:pt x="154" y="62"/>
                    <a:pt x="153" y="60"/>
                  </a:cubicBezTo>
                  <a:cubicBezTo>
                    <a:pt x="152" y="57"/>
                    <a:pt x="152" y="52"/>
                    <a:pt x="147" y="51"/>
                  </a:cubicBezTo>
                  <a:cubicBezTo>
                    <a:pt x="146" y="50"/>
                    <a:pt x="143" y="50"/>
                    <a:pt x="143" y="52"/>
                  </a:cubicBezTo>
                  <a:cubicBezTo>
                    <a:pt x="142" y="53"/>
                    <a:pt x="144" y="55"/>
                    <a:pt x="145" y="56"/>
                  </a:cubicBezTo>
                  <a:cubicBezTo>
                    <a:pt x="146" y="57"/>
                    <a:pt x="148" y="58"/>
                    <a:pt x="148" y="60"/>
                  </a:cubicBezTo>
                  <a:cubicBezTo>
                    <a:pt x="148" y="62"/>
                    <a:pt x="147" y="64"/>
                    <a:pt x="148" y="66"/>
                  </a:cubicBezTo>
                  <a:cubicBezTo>
                    <a:pt x="148" y="67"/>
                    <a:pt x="150" y="69"/>
                    <a:pt x="151" y="69"/>
                  </a:cubicBezTo>
                  <a:cubicBezTo>
                    <a:pt x="152" y="70"/>
                    <a:pt x="153" y="69"/>
                    <a:pt x="154" y="70"/>
                  </a:cubicBezTo>
                  <a:cubicBezTo>
                    <a:pt x="154" y="70"/>
                    <a:pt x="154" y="71"/>
                    <a:pt x="155" y="72"/>
                  </a:cubicBezTo>
                  <a:cubicBezTo>
                    <a:pt x="159" y="72"/>
                    <a:pt x="159" y="68"/>
                    <a:pt x="158" y="66"/>
                  </a:cubicBezTo>
                  <a:close/>
                  <a:moveTo>
                    <a:pt x="228" y="29"/>
                  </a:moveTo>
                  <a:cubicBezTo>
                    <a:pt x="228" y="28"/>
                    <a:pt x="227" y="26"/>
                    <a:pt x="228" y="25"/>
                  </a:cubicBezTo>
                  <a:cubicBezTo>
                    <a:pt x="228" y="24"/>
                    <a:pt x="229" y="24"/>
                    <a:pt x="230" y="23"/>
                  </a:cubicBezTo>
                  <a:cubicBezTo>
                    <a:pt x="232" y="22"/>
                    <a:pt x="233" y="19"/>
                    <a:pt x="233" y="17"/>
                  </a:cubicBezTo>
                  <a:cubicBezTo>
                    <a:pt x="234" y="15"/>
                    <a:pt x="232" y="14"/>
                    <a:pt x="232" y="12"/>
                  </a:cubicBezTo>
                  <a:cubicBezTo>
                    <a:pt x="231" y="9"/>
                    <a:pt x="232" y="7"/>
                    <a:pt x="231" y="5"/>
                  </a:cubicBezTo>
                  <a:cubicBezTo>
                    <a:pt x="231" y="4"/>
                    <a:pt x="229" y="2"/>
                    <a:pt x="227" y="1"/>
                  </a:cubicBezTo>
                  <a:cubicBezTo>
                    <a:pt x="226" y="1"/>
                    <a:pt x="224" y="0"/>
                    <a:pt x="224" y="1"/>
                  </a:cubicBezTo>
                  <a:cubicBezTo>
                    <a:pt x="223" y="1"/>
                    <a:pt x="223" y="3"/>
                    <a:pt x="223" y="4"/>
                  </a:cubicBezTo>
                  <a:cubicBezTo>
                    <a:pt x="223" y="6"/>
                    <a:pt x="222" y="7"/>
                    <a:pt x="222" y="9"/>
                  </a:cubicBezTo>
                  <a:cubicBezTo>
                    <a:pt x="221" y="11"/>
                    <a:pt x="221" y="12"/>
                    <a:pt x="222" y="14"/>
                  </a:cubicBezTo>
                  <a:cubicBezTo>
                    <a:pt x="222" y="15"/>
                    <a:pt x="223" y="17"/>
                    <a:pt x="224" y="18"/>
                  </a:cubicBezTo>
                  <a:cubicBezTo>
                    <a:pt x="225" y="18"/>
                    <a:pt x="226" y="19"/>
                    <a:pt x="226" y="21"/>
                  </a:cubicBezTo>
                  <a:cubicBezTo>
                    <a:pt x="226" y="23"/>
                    <a:pt x="224" y="25"/>
                    <a:pt x="222" y="27"/>
                  </a:cubicBezTo>
                  <a:cubicBezTo>
                    <a:pt x="221" y="29"/>
                    <a:pt x="220" y="30"/>
                    <a:pt x="220" y="31"/>
                  </a:cubicBezTo>
                  <a:cubicBezTo>
                    <a:pt x="221" y="33"/>
                    <a:pt x="222" y="33"/>
                    <a:pt x="223" y="34"/>
                  </a:cubicBezTo>
                  <a:cubicBezTo>
                    <a:pt x="226" y="34"/>
                    <a:pt x="227" y="32"/>
                    <a:pt x="228" y="29"/>
                  </a:cubicBezTo>
                  <a:close/>
                  <a:moveTo>
                    <a:pt x="225" y="43"/>
                  </a:moveTo>
                  <a:cubicBezTo>
                    <a:pt x="225" y="45"/>
                    <a:pt x="226" y="48"/>
                    <a:pt x="229" y="50"/>
                  </a:cubicBezTo>
                  <a:cubicBezTo>
                    <a:pt x="230" y="49"/>
                    <a:pt x="230" y="47"/>
                    <a:pt x="230" y="45"/>
                  </a:cubicBezTo>
                  <a:cubicBezTo>
                    <a:pt x="229" y="43"/>
                    <a:pt x="228" y="43"/>
                    <a:pt x="225" y="43"/>
                  </a:cubicBezTo>
                  <a:close/>
                  <a:moveTo>
                    <a:pt x="222" y="44"/>
                  </a:moveTo>
                  <a:cubicBezTo>
                    <a:pt x="221" y="42"/>
                    <a:pt x="222" y="41"/>
                    <a:pt x="222" y="39"/>
                  </a:cubicBezTo>
                  <a:cubicBezTo>
                    <a:pt x="221" y="37"/>
                    <a:pt x="219" y="36"/>
                    <a:pt x="219" y="34"/>
                  </a:cubicBezTo>
                  <a:cubicBezTo>
                    <a:pt x="218" y="32"/>
                    <a:pt x="216" y="30"/>
                    <a:pt x="216" y="33"/>
                  </a:cubicBezTo>
                  <a:cubicBezTo>
                    <a:pt x="216" y="35"/>
                    <a:pt x="218" y="36"/>
                    <a:pt x="219" y="38"/>
                  </a:cubicBezTo>
                  <a:cubicBezTo>
                    <a:pt x="220" y="40"/>
                    <a:pt x="219" y="44"/>
                    <a:pt x="222" y="44"/>
                  </a:cubicBezTo>
                  <a:close/>
                  <a:moveTo>
                    <a:pt x="143" y="117"/>
                  </a:moveTo>
                  <a:cubicBezTo>
                    <a:pt x="143" y="116"/>
                    <a:pt x="142" y="116"/>
                    <a:pt x="142" y="115"/>
                  </a:cubicBezTo>
                  <a:cubicBezTo>
                    <a:pt x="141" y="114"/>
                    <a:pt x="142" y="113"/>
                    <a:pt x="142" y="113"/>
                  </a:cubicBezTo>
                  <a:cubicBezTo>
                    <a:pt x="143" y="112"/>
                    <a:pt x="145" y="111"/>
                    <a:pt x="145" y="110"/>
                  </a:cubicBezTo>
                  <a:cubicBezTo>
                    <a:pt x="145" y="108"/>
                    <a:pt x="142" y="107"/>
                    <a:pt x="141" y="108"/>
                  </a:cubicBezTo>
                  <a:cubicBezTo>
                    <a:pt x="139" y="109"/>
                    <a:pt x="140" y="111"/>
                    <a:pt x="140" y="112"/>
                  </a:cubicBezTo>
                  <a:cubicBezTo>
                    <a:pt x="140" y="114"/>
                    <a:pt x="140" y="115"/>
                    <a:pt x="141" y="117"/>
                  </a:cubicBezTo>
                  <a:cubicBezTo>
                    <a:pt x="142" y="117"/>
                    <a:pt x="142" y="117"/>
                    <a:pt x="143" y="117"/>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 name="Freeform 40">
              <a:extLst>
                <a:ext uri="{FF2B5EF4-FFF2-40B4-BE49-F238E27FC236}">
                  <a16:creationId xmlns:a16="http://schemas.microsoft.com/office/drawing/2014/main" id="{2922D66F-ABFE-FB75-047F-F6AC6CDE75B9}"/>
                </a:ext>
              </a:extLst>
            </p:cNvPr>
            <p:cNvSpPr>
              <a:spLocks noEditPoints="1"/>
            </p:cNvSpPr>
            <p:nvPr/>
          </p:nvSpPr>
          <p:spPr bwMode="auto">
            <a:xfrm>
              <a:off x="7481888" y="3217863"/>
              <a:ext cx="1023938" cy="1177925"/>
            </a:xfrm>
            <a:custGeom>
              <a:avLst/>
              <a:gdLst>
                <a:gd name="T0" fmla="*/ 97 w 269"/>
                <a:gd name="T1" fmla="*/ 301 h 309"/>
                <a:gd name="T2" fmla="*/ 96 w 269"/>
                <a:gd name="T3" fmla="*/ 290 h 309"/>
                <a:gd name="T4" fmla="*/ 61 w 269"/>
                <a:gd name="T5" fmla="*/ 272 h 309"/>
                <a:gd name="T6" fmla="*/ 79 w 269"/>
                <a:gd name="T7" fmla="*/ 276 h 309"/>
                <a:gd name="T8" fmla="*/ 106 w 269"/>
                <a:gd name="T9" fmla="*/ 273 h 309"/>
                <a:gd name="T10" fmla="*/ 109 w 269"/>
                <a:gd name="T11" fmla="*/ 271 h 309"/>
                <a:gd name="T12" fmla="*/ 72 w 269"/>
                <a:gd name="T13" fmla="*/ 270 h 309"/>
                <a:gd name="T14" fmla="*/ 45 w 269"/>
                <a:gd name="T15" fmla="*/ 263 h 309"/>
                <a:gd name="T16" fmla="*/ 7 w 269"/>
                <a:gd name="T17" fmla="*/ 282 h 309"/>
                <a:gd name="T18" fmla="*/ 44 w 269"/>
                <a:gd name="T19" fmla="*/ 274 h 309"/>
                <a:gd name="T20" fmla="*/ 57 w 269"/>
                <a:gd name="T21" fmla="*/ 271 h 309"/>
                <a:gd name="T22" fmla="*/ 53 w 269"/>
                <a:gd name="T23" fmla="*/ 269 h 309"/>
                <a:gd name="T24" fmla="*/ 45 w 269"/>
                <a:gd name="T25" fmla="*/ 263 h 309"/>
                <a:gd name="T26" fmla="*/ 30 w 269"/>
                <a:gd name="T27" fmla="*/ 263 h 309"/>
                <a:gd name="T28" fmla="*/ 190 w 269"/>
                <a:gd name="T29" fmla="*/ 248 h 309"/>
                <a:gd name="T30" fmla="*/ 195 w 269"/>
                <a:gd name="T31" fmla="*/ 263 h 309"/>
                <a:gd name="T32" fmla="*/ 230 w 269"/>
                <a:gd name="T33" fmla="*/ 258 h 309"/>
                <a:gd name="T34" fmla="*/ 206 w 269"/>
                <a:gd name="T35" fmla="*/ 242 h 309"/>
                <a:gd name="T36" fmla="*/ 174 w 269"/>
                <a:gd name="T37" fmla="*/ 205 h 309"/>
                <a:gd name="T38" fmla="*/ 175 w 269"/>
                <a:gd name="T39" fmla="*/ 198 h 309"/>
                <a:gd name="T40" fmla="*/ 182 w 269"/>
                <a:gd name="T41" fmla="*/ 181 h 309"/>
                <a:gd name="T42" fmla="*/ 190 w 269"/>
                <a:gd name="T43" fmla="*/ 199 h 309"/>
                <a:gd name="T44" fmla="*/ 203 w 269"/>
                <a:gd name="T45" fmla="*/ 210 h 309"/>
                <a:gd name="T46" fmla="*/ 202 w 269"/>
                <a:gd name="T47" fmla="*/ 203 h 309"/>
                <a:gd name="T48" fmla="*/ 197 w 269"/>
                <a:gd name="T49" fmla="*/ 185 h 309"/>
                <a:gd name="T50" fmla="*/ 168 w 269"/>
                <a:gd name="T51" fmla="*/ 184 h 309"/>
                <a:gd name="T52" fmla="*/ 174 w 269"/>
                <a:gd name="T53" fmla="*/ 189 h 309"/>
                <a:gd name="T54" fmla="*/ 267 w 269"/>
                <a:gd name="T55" fmla="*/ 141 h 309"/>
                <a:gd name="T56" fmla="*/ 208 w 269"/>
                <a:gd name="T57" fmla="*/ 39 h 309"/>
                <a:gd name="T58" fmla="*/ 194 w 269"/>
                <a:gd name="T59" fmla="*/ 63 h 309"/>
                <a:gd name="T60" fmla="*/ 185 w 269"/>
                <a:gd name="T61" fmla="*/ 94 h 309"/>
                <a:gd name="T62" fmla="*/ 198 w 269"/>
                <a:gd name="T63" fmla="*/ 106 h 309"/>
                <a:gd name="T64" fmla="*/ 200 w 269"/>
                <a:gd name="T65" fmla="*/ 137 h 309"/>
                <a:gd name="T66" fmla="*/ 210 w 269"/>
                <a:gd name="T67" fmla="*/ 179 h 309"/>
                <a:gd name="T68" fmla="*/ 237 w 269"/>
                <a:gd name="T69" fmla="*/ 210 h 309"/>
                <a:gd name="T70" fmla="*/ 240 w 269"/>
                <a:gd name="T71" fmla="*/ 208 h 309"/>
                <a:gd name="T72" fmla="*/ 213 w 269"/>
                <a:gd name="T73" fmla="*/ 159 h 309"/>
                <a:gd name="T74" fmla="*/ 214 w 269"/>
                <a:gd name="T75" fmla="*/ 143 h 309"/>
                <a:gd name="T76" fmla="*/ 226 w 269"/>
                <a:gd name="T77" fmla="*/ 130 h 309"/>
                <a:gd name="T78" fmla="*/ 255 w 269"/>
                <a:gd name="T79" fmla="*/ 139 h 309"/>
                <a:gd name="T80" fmla="*/ 257 w 269"/>
                <a:gd name="T81" fmla="*/ 126 h 309"/>
                <a:gd name="T82" fmla="*/ 239 w 269"/>
                <a:gd name="T83" fmla="*/ 118 h 309"/>
                <a:gd name="T84" fmla="*/ 237 w 269"/>
                <a:gd name="T85" fmla="*/ 108 h 309"/>
                <a:gd name="T86" fmla="*/ 257 w 269"/>
                <a:gd name="T87" fmla="*/ 96 h 309"/>
                <a:gd name="T88" fmla="*/ 262 w 269"/>
                <a:gd name="T89" fmla="*/ 90 h 309"/>
                <a:gd name="T90" fmla="*/ 265 w 269"/>
                <a:gd name="T91" fmla="*/ 79 h 309"/>
                <a:gd name="T92" fmla="*/ 262 w 269"/>
                <a:gd name="T93" fmla="*/ 69 h 309"/>
                <a:gd name="T94" fmla="*/ 256 w 269"/>
                <a:gd name="T95" fmla="*/ 65 h 309"/>
                <a:gd name="T96" fmla="*/ 234 w 269"/>
                <a:gd name="T97" fmla="*/ 76 h 309"/>
                <a:gd name="T98" fmla="*/ 230 w 269"/>
                <a:gd name="T99" fmla="*/ 92 h 309"/>
                <a:gd name="T100" fmla="*/ 211 w 269"/>
                <a:gd name="T101" fmla="*/ 111 h 309"/>
                <a:gd name="T102" fmla="*/ 202 w 269"/>
                <a:gd name="T103" fmla="*/ 107 h 309"/>
                <a:gd name="T104" fmla="*/ 204 w 269"/>
                <a:gd name="T105" fmla="*/ 94 h 309"/>
                <a:gd name="T106" fmla="*/ 214 w 269"/>
                <a:gd name="T107" fmla="*/ 88 h 309"/>
                <a:gd name="T108" fmla="*/ 219 w 269"/>
                <a:gd name="T109" fmla="*/ 75 h 309"/>
                <a:gd name="T110" fmla="*/ 222 w 269"/>
                <a:gd name="T111" fmla="*/ 66 h 309"/>
                <a:gd name="T112" fmla="*/ 220 w 269"/>
                <a:gd name="T113" fmla="*/ 53 h 309"/>
                <a:gd name="T114" fmla="*/ 211 w 269"/>
                <a:gd name="T115" fmla="*/ 47 h 309"/>
                <a:gd name="T116" fmla="*/ 255 w 269"/>
                <a:gd name="T117" fmla="*/ 1 h 309"/>
                <a:gd name="T118" fmla="*/ 237 w 269"/>
                <a:gd name="T119" fmla="*/ 24 h 309"/>
                <a:gd name="T120" fmla="*/ 251 w 269"/>
                <a:gd name="T121" fmla="*/ 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 h="309">
                  <a:moveTo>
                    <a:pt x="94" y="281"/>
                  </a:moveTo>
                  <a:cubicBezTo>
                    <a:pt x="94" y="281"/>
                    <a:pt x="94" y="281"/>
                    <a:pt x="94" y="281"/>
                  </a:cubicBezTo>
                  <a:cubicBezTo>
                    <a:pt x="94" y="281"/>
                    <a:pt x="94" y="281"/>
                    <a:pt x="94" y="281"/>
                  </a:cubicBezTo>
                  <a:cubicBezTo>
                    <a:pt x="94" y="281"/>
                    <a:pt x="94" y="281"/>
                    <a:pt x="94" y="281"/>
                  </a:cubicBezTo>
                  <a:cubicBezTo>
                    <a:pt x="94" y="282"/>
                    <a:pt x="94" y="282"/>
                    <a:pt x="94" y="282"/>
                  </a:cubicBezTo>
                  <a:cubicBezTo>
                    <a:pt x="93" y="283"/>
                    <a:pt x="93" y="283"/>
                    <a:pt x="92" y="284"/>
                  </a:cubicBezTo>
                  <a:cubicBezTo>
                    <a:pt x="92" y="284"/>
                    <a:pt x="92" y="285"/>
                    <a:pt x="92" y="285"/>
                  </a:cubicBezTo>
                  <a:cubicBezTo>
                    <a:pt x="92" y="285"/>
                    <a:pt x="92" y="285"/>
                    <a:pt x="92" y="285"/>
                  </a:cubicBezTo>
                  <a:cubicBezTo>
                    <a:pt x="92" y="285"/>
                    <a:pt x="92" y="286"/>
                    <a:pt x="92" y="286"/>
                  </a:cubicBezTo>
                  <a:cubicBezTo>
                    <a:pt x="92" y="287"/>
                    <a:pt x="92" y="287"/>
                    <a:pt x="92" y="287"/>
                  </a:cubicBezTo>
                  <a:cubicBezTo>
                    <a:pt x="92" y="288"/>
                    <a:pt x="92" y="289"/>
                    <a:pt x="92" y="289"/>
                  </a:cubicBezTo>
                  <a:cubicBezTo>
                    <a:pt x="93" y="290"/>
                    <a:pt x="93" y="292"/>
                    <a:pt x="93" y="293"/>
                  </a:cubicBezTo>
                  <a:cubicBezTo>
                    <a:pt x="93" y="294"/>
                    <a:pt x="93" y="295"/>
                    <a:pt x="94" y="295"/>
                  </a:cubicBezTo>
                  <a:cubicBezTo>
                    <a:pt x="94" y="296"/>
                    <a:pt x="95" y="297"/>
                    <a:pt x="96" y="298"/>
                  </a:cubicBezTo>
                  <a:cubicBezTo>
                    <a:pt x="96" y="299"/>
                    <a:pt x="97" y="300"/>
                    <a:pt x="97" y="301"/>
                  </a:cubicBezTo>
                  <a:cubicBezTo>
                    <a:pt x="98" y="303"/>
                    <a:pt x="97" y="304"/>
                    <a:pt x="98" y="305"/>
                  </a:cubicBezTo>
                  <a:cubicBezTo>
                    <a:pt x="98" y="305"/>
                    <a:pt x="98" y="305"/>
                    <a:pt x="98" y="306"/>
                  </a:cubicBezTo>
                  <a:cubicBezTo>
                    <a:pt x="98" y="306"/>
                    <a:pt x="98" y="306"/>
                    <a:pt x="98" y="306"/>
                  </a:cubicBezTo>
                  <a:cubicBezTo>
                    <a:pt x="99" y="306"/>
                    <a:pt x="99" y="306"/>
                    <a:pt x="99" y="306"/>
                  </a:cubicBezTo>
                  <a:cubicBezTo>
                    <a:pt x="100" y="307"/>
                    <a:pt x="101" y="307"/>
                    <a:pt x="102" y="309"/>
                  </a:cubicBezTo>
                  <a:cubicBezTo>
                    <a:pt x="102" y="309"/>
                    <a:pt x="102" y="309"/>
                    <a:pt x="102" y="309"/>
                  </a:cubicBezTo>
                  <a:cubicBezTo>
                    <a:pt x="102" y="309"/>
                    <a:pt x="102" y="309"/>
                    <a:pt x="102" y="309"/>
                  </a:cubicBezTo>
                  <a:cubicBezTo>
                    <a:pt x="102" y="309"/>
                    <a:pt x="102" y="309"/>
                    <a:pt x="102" y="309"/>
                  </a:cubicBezTo>
                  <a:cubicBezTo>
                    <a:pt x="102" y="308"/>
                    <a:pt x="102" y="308"/>
                    <a:pt x="102" y="308"/>
                  </a:cubicBezTo>
                  <a:cubicBezTo>
                    <a:pt x="102" y="307"/>
                    <a:pt x="102" y="307"/>
                    <a:pt x="102" y="306"/>
                  </a:cubicBezTo>
                  <a:cubicBezTo>
                    <a:pt x="101" y="305"/>
                    <a:pt x="101" y="304"/>
                    <a:pt x="100" y="303"/>
                  </a:cubicBezTo>
                  <a:cubicBezTo>
                    <a:pt x="99" y="300"/>
                    <a:pt x="98" y="297"/>
                    <a:pt x="97" y="294"/>
                  </a:cubicBezTo>
                  <a:cubicBezTo>
                    <a:pt x="96" y="293"/>
                    <a:pt x="96" y="292"/>
                    <a:pt x="95" y="291"/>
                  </a:cubicBezTo>
                  <a:cubicBezTo>
                    <a:pt x="96" y="290"/>
                    <a:pt x="96" y="290"/>
                    <a:pt x="96" y="290"/>
                  </a:cubicBezTo>
                  <a:cubicBezTo>
                    <a:pt x="96" y="290"/>
                    <a:pt x="96" y="290"/>
                    <a:pt x="96" y="290"/>
                  </a:cubicBezTo>
                  <a:cubicBezTo>
                    <a:pt x="96" y="289"/>
                    <a:pt x="96" y="288"/>
                    <a:pt x="96" y="287"/>
                  </a:cubicBezTo>
                  <a:cubicBezTo>
                    <a:pt x="97" y="286"/>
                    <a:pt x="97" y="285"/>
                    <a:pt x="97" y="284"/>
                  </a:cubicBezTo>
                  <a:cubicBezTo>
                    <a:pt x="97" y="284"/>
                    <a:pt x="97" y="284"/>
                    <a:pt x="97" y="284"/>
                  </a:cubicBezTo>
                  <a:cubicBezTo>
                    <a:pt x="97" y="283"/>
                    <a:pt x="97" y="283"/>
                    <a:pt x="97" y="283"/>
                  </a:cubicBezTo>
                  <a:cubicBezTo>
                    <a:pt x="97" y="283"/>
                    <a:pt x="97" y="283"/>
                    <a:pt x="97" y="283"/>
                  </a:cubicBezTo>
                  <a:cubicBezTo>
                    <a:pt x="96" y="283"/>
                    <a:pt x="96" y="282"/>
                    <a:pt x="96" y="282"/>
                  </a:cubicBezTo>
                  <a:cubicBezTo>
                    <a:pt x="95" y="282"/>
                    <a:pt x="95" y="281"/>
                    <a:pt x="94" y="281"/>
                  </a:cubicBezTo>
                  <a:cubicBezTo>
                    <a:pt x="94" y="281"/>
                    <a:pt x="94" y="281"/>
                    <a:pt x="94" y="281"/>
                  </a:cubicBezTo>
                  <a:moveTo>
                    <a:pt x="61" y="269"/>
                  </a:moveTo>
                  <a:cubicBezTo>
                    <a:pt x="61" y="269"/>
                    <a:pt x="61" y="269"/>
                    <a:pt x="61" y="269"/>
                  </a:cubicBezTo>
                  <a:cubicBezTo>
                    <a:pt x="61" y="269"/>
                    <a:pt x="61" y="270"/>
                    <a:pt x="60" y="270"/>
                  </a:cubicBezTo>
                  <a:cubicBezTo>
                    <a:pt x="60" y="271"/>
                    <a:pt x="60" y="271"/>
                    <a:pt x="60" y="272"/>
                  </a:cubicBezTo>
                  <a:cubicBezTo>
                    <a:pt x="60" y="272"/>
                    <a:pt x="60" y="272"/>
                    <a:pt x="60" y="272"/>
                  </a:cubicBezTo>
                  <a:cubicBezTo>
                    <a:pt x="60" y="272"/>
                    <a:pt x="60" y="272"/>
                    <a:pt x="60" y="272"/>
                  </a:cubicBezTo>
                  <a:cubicBezTo>
                    <a:pt x="61" y="272"/>
                    <a:pt x="61" y="272"/>
                    <a:pt x="61" y="272"/>
                  </a:cubicBezTo>
                  <a:cubicBezTo>
                    <a:pt x="61" y="272"/>
                    <a:pt x="61" y="272"/>
                    <a:pt x="61" y="272"/>
                  </a:cubicBezTo>
                  <a:cubicBezTo>
                    <a:pt x="63" y="272"/>
                    <a:pt x="64" y="273"/>
                    <a:pt x="65" y="274"/>
                  </a:cubicBezTo>
                  <a:cubicBezTo>
                    <a:pt x="65" y="274"/>
                    <a:pt x="66" y="275"/>
                    <a:pt x="66" y="276"/>
                  </a:cubicBezTo>
                  <a:cubicBezTo>
                    <a:pt x="66" y="276"/>
                    <a:pt x="66" y="276"/>
                    <a:pt x="66" y="277"/>
                  </a:cubicBezTo>
                  <a:cubicBezTo>
                    <a:pt x="66" y="277"/>
                    <a:pt x="66" y="277"/>
                    <a:pt x="66" y="277"/>
                  </a:cubicBezTo>
                  <a:cubicBezTo>
                    <a:pt x="66" y="276"/>
                    <a:pt x="66" y="276"/>
                    <a:pt x="67" y="276"/>
                  </a:cubicBezTo>
                  <a:cubicBezTo>
                    <a:pt x="67" y="276"/>
                    <a:pt x="67" y="276"/>
                    <a:pt x="67" y="276"/>
                  </a:cubicBezTo>
                  <a:cubicBezTo>
                    <a:pt x="67" y="276"/>
                    <a:pt x="68" y="276"/>
                    <a:pt x="68" y="276"/>
                  </a:cubicBezTo>
                  <a:cubicBezTo>
                    <a:pt x="69" y="277"/>
                    <a:pt x="69" y="277"/>
                    <a:pt x="69" y="277"/>
                  </a:cubicBezTo>
                  <a:cubicBezTo>
                    <a:pt x="69" y="277"/>
                    <a:pt x="69" y="277"/>
                    <a:pt x="69" y="277"/>
                  </a:cubicBezTo>
                  <a:cubicBezTo>
                    <a:pt x="70" y="277"/>
                    <a:pt x="70" y="277"/>
                    <a:pt x="70" y="277"/>
                  </a:cubicBezTo>
                  <a:cubicBezTo>
                    <a:pt x="70" y="277"/>
                    <a:pt x="70" y="277"/>
                    <a:pt x="70" y="277"/>
                  </a:cubicBezTo>
                  <a:cubicBezTo>
                    <a:pt x="70" y="277"/>
                    <a:pt x="71" y="277"/>
                    <a:pt x="72" y="276"/>
                  </a:cubicBezTo>
                  <a:cubicBezTo>
                    <a:pt x="73" y="276"/>
                    <a:pt x="74" y="276"/>
                    <a:pt x="75" y="276"/>
                  </a:cubicBezTo>
                  <a:cubicBezTo>
                    <a:pt x="76" y="276"/>
                    <a:pt x="77" y="276"/>
                    <a:pt x="79" y="276"/>
                  </a:cubicBezTo>
                  <a:cubicBezTo>
                    <a:pt x="80" y="276"/>
                    <a:pt x="80" y="276"/>
                    <a:pt x="80" y="276"/>
                  </a:cubicBezTo>
                  <a:cubicBezTo>
                    <a:pt x="81" y="276"/>
                    <a:pt x="82" y="276"/>
                    <a:pt x="83" y="276"/>
                  </a:cubicBezTo>
                  <a:cubicBezTo>
                    <a:pt x="83" y="276"/>
                    <a:pt x="84" y="276"/>
                    <a:pt x="84" y="276"/>
                  </a:cubicBezTo>
                  <a:cubicBezTo>
                    <a:pt x="85" y="276"/>
                    <a:pt x="85" y="276"/>
                    <a:pt x="86" y="276"/>
                  </a:cubicBezTo>
                  <a:cubicBezTo>
                    <a:pt x="87" y="275"/>
                    <a:pt x="87" y="275"/>
                    <a:pt x="88" y="275"/>
                  </a:cubicBezTo>
                  <a:cubicBezTo>
                    <a:pt x="88" y="275"/>
                    <a:pt x="88" y="275"/>
                    <a:pt x="89" y="275"/>
                  </a:cubicBezTo>
                  <a:cubicBezTo>
                    <a:pt x="90" y="275"/>
                    <a:pt x="90" y="275"/>
                    <a:pt x="90" y="275"/>
                  </a:cubicBezTo>
                  <a:cubicBezTo>
                    <a:pt x="91" y="275"/>
                    <a:pt x="92" y="275"/>
                    <a:pt x="92" y="276"/>
                  </a:cubicBezTo>
                  <a:cubicBezTo>
                    <a:pt x="93" y="276"/>
                    <a:pt x="93" y="277"/>
                    <a:pt x="94" y="277"/>
                  </a:cubicBezTo>
                  <a:cubicBezTo>
                    <a:pt x="94" y="277"/>
                    <a:pt x="94" y="277"/>
                    <a:pt x="94" y="277"/>
                  </a:cubicBezTo>
                  <a:cubicBezTo>
                    <a:pt x="94" y="277"/>
                    <a:pt x="94" y="277"/>
                    <a:pt x="94" y="277"/>
                  </a:cubicBezTo>
                  <a:cubicBezTo>
                    <a:pt x="94" y="277"/>
                    <a:pt x="94" y="277"/>
                    <a:pt x="94" y="277"/>
                  </a:cubicBezTo>
                  <a:cubicBezTo>
                    <a:pt x="94" y="277"/>
                    <a:pt x="95" y="277"/>
                    <a:pt x="95" y="276"/>
                  </a:cubicBezTo>
                  <a:cubicBezTo>
                    <a:pt x="96" y="276"/>
                    <a:pt x="97" y="275"/>
                    <a:pt x="98" y="275"/>
                  </a:cubicBezTo>
                  <a:cubicBezTo>
                    <a:pt x="101" y="273"/>
                    <a:pt x="104" y="274"/>
                    <a:pt x="106" y="273"/>
                  </a:cubicBezTo>
                  <a:cubicBezTo>
                    <a:pt x="107" y="273"/>
                    <a:pt x="108" y="273"/>
                    <a:pt x="110" y="273"/>
                  </a:cubicBezTo>
                  <a:cubicBezTo>
                    <a:pt x="110" y="273"/>
                    <a:pt x="111" y="273"/>
                    <a:pt x="112" y="273"/>
                  </a:cubicBezTo>
                  <a:cubicBezTo>
                    <a:pt x="112" y="273"/>
                    <a:pt x="112" y="273"/>
                    <a:pt x="112" y="273"/>
                  </a:cubicBezTo>
                  <a:cubicBezTo>
                    <a:pt x="112" y="273"/>
                    <a:pt x="113" y="273"/>
                    <a:pt x="113" y="273"/>
                  </a:cubicBezTo>
                  <a:cubicBezTo>
                    <a:pt x="114" y="273"/>
                    <a:pt x="114" y="273"/>
                    <a:pt x="114" y="273"/>
                  </a:cubicBezTo>
                  <a:cubicBezTo>
                    <a:pt x="115" y="273"/>
                    <a:pt x="115" y="273"/>
                    <a:pt x="116" y="272"/>
                  </a:cubicBezTo>
                  <a:cubicBezTo>
                    <a:pt x="117" y="272"/>
                    <a:pt x="117" y="272"/>
                    <a:pt x="118" y="272"/>
                  </a:cubicBezTo>
                  <a:cubicBezTo>
                    <a:pt x="118" y="271"/>
                    <a:pt x="118" y="271"/>
                    <a:pt x="118" y="271"/>
                  </a:cubicBezTo>
                  <a:cubicBezTo>
                    <a:pt x="117" y="272"/>
                    <a:pt x="116" y="272"/>
                    <a:pt x="115" y="272"/>
                  </a:cubicBezTo>
                  <a:cubicBezTo>
                    <a:pt x="114" y="272"/>
                    <a:pt x="113" y="272"/>
                    <a:pt x="112" y="271"/>
                  </a:cubicBezTo>
                  <a:cubicBezTo>
                    <a:pt x="111" y="271"/>
                    <a:pt x="111" y="271"/>
                    <a:pt x="110" y="271"/>
                  </a:cubicBezTo>
                  <a:cubicBezTo>
                    <a:pt x="110" y="271"/>
                    <a:pt x="109" y="271"/>
                    <a:pt x="109" y="271"/>
                  </a:cubicBezTo>
                  <a:cubicBezTo>
                    <a:pt x="109" y="271"/>
                    <a:pt x="109" y="271"/>
                    <a:pt x="109" y="271"/>
                  </a:cubicBezTo>
                  <a:cubicBezTo>
                    <a:pt x="109" y="271"/>
                    <a:pt x="109" y="271"/>
                    <a:pt x="109" y="271"/>
                  </a:cubicBezTo>
                  <a:cubicBezTo>
                    <a:pt x="109" y="271"/>
                    <a:pt x="109" y="271"/>
                    <a:pt x="109" y="271"/>
                  </a:cubicBezTo>
                  <a:cubicBezTo>
                    <a:pt x="108" y="271"/>
                    <a:pt x="107" y="271"/>
                    <a:pt x="107" y="271"/>
                  </a:cubicBezTo>
                  <a:cubicBezTo>
                    <a:pt x="104" y="271"/>
                    <a:pt x="102" y="270"/>
                    <a:pt x="100" y="270"/>
                  </a:cubicBezTo>
                  <a:cubicBezTo>
                    <a:pt x="99" y="270"/>
                    <a:pt x="99" y="270"/>
                    <a:pt x="98" y="270"/>
                  </a:cubicBezTo>
                  <a:cubicBezTo>
                    <a:pt x="97" y="270"/>
                    <a:pt x="95" y="270"/>
                    <a:pt x="94" y="270"/>
                  </a:cubicBezTo>
                  <a:cubicBezTo>
                    <a:pt x="94" y="270"/>
                    <a:pt x="93" y="270"/>
                    <a:pt x="92" y="271"/>
                  </a:cubicBezTo>
                  <a:cubicBezTo>
                    <a:pt x="92" y="271"/>
                    <a:pt x="91" y="271"/>
                    <a:pt x="91" y="271"/>
                  </a:cubicBezTo>
                  <a:cubicBezTo>
                    <a:pt x="89" y="271"/>
                    <a:pt x="88" y="270"/>
                    <a:pt x="86" y="270"/>
                  </a:cubicBezTo>
                  <a:cubicBezTo>
                    <a:pt x="86" y="270"/>
                    <a:pt x="85" y="270"/>
                    <a:pt x="85" y="270"/>
                  </a:cubicBezTo>
                  <a:cubicBezTo>
                    <a:pt x="84" y="271"/>
                    <a:pt x="82" y="271"/>
                    <a:pt x="81" y="271"/>
                  </a:cubicBezTo>
                  <a:cubicBezTo>
                    <a:pt x="80" y="271"/>
                    <a:pt x="79" y="271"/>
                    <a:pt x="78" y="271"/>
                  </a:cubicBezTo>
                  <a:cubicBezTo>
                    <a:pt x="78" y="271"/>
                    <a:pt x="78" y="271"/>
                    <a:pt x="78" y="271"/>
                  </a:cubicBezTo>
                  <a:cubicBezTo>
                    <a:pt x="78" y="271"/>
                    <a:pt x="78" y="271"/>
                    <a:pt x="78" y="271"/>
                  </a:cubicBezTo>
                  <a:cubicBezTo>
                    <a:pt x="76" y="271"/>
                    <a:pt x="75" y="271"/>
                    <a:pt x="74" y="271"/>
                  </a:cubicBezTo>
                  <a:cubicBezTo>
                    <a:pt x="73" y="270"/>
                    <a:pt x="73" y="270"/>
                    <a:pt x="72" y="270"/>
                  </a:cubicBezTo>
                  <a:cubicBezTo>
                    <a:pt x="72" y="270"/>
                    <a:pt x="72" y="270"/>
                    <a:pt x="72" y="270"/>
                  </a:cubicBezTo>
                  <a:cubicBezTo>
                    <a:pt x="72" y="270"/>
                    <a:pt x="72" y="270"/>
                    <a:pt x="72" y="270"/>
                  </a:cubicBezTo>
                  <a:cubicBezTo>
                    <a:pt x="72" y="270"/>
                    <a:pt x="72" y="270"/>
                    <a:pt x="72" y="270"/>
                  </a:cubicBezTo>
                  <a:cubicBezTo>
                    <a:pt x="71" y="270"/>
                    <a:pt x="71" y="270"/>
                    <a:pt x="70" y="270"/>
                  </a:cubicBezTo>
                  <a:cubicBezTo>
                    <a:pt x="69" y="270"/>
                    <a:pt x="69" y="270"/>
                    <a:pt x="69" y="270"/>
                  </a:cubicBezTo>
                  <a:cubicBezTo>
                    <a:pt x="68" y="270"/>
                    <a:pt x="68" y="270"/>
                    <a:pt x="68" y="270"/>
                  </a:cubicBezTo>
                  <a:cubicBezTo>
                    <a:pt x="67" y="270"/>
                    <a:pt x="67" y="270"/>
                    <a:pt x="67" y="269"/>
                  </a:cubicBezTo>
                  <a:cubicBezTo>
                    <a:pt x="66" y="270"/>
                    <a:pt x="66" y="270"/>
                    <a:pt x="66" y="270"/>
                  </a:cubicBezTo>
                  <a:cubicBezTo>
                    <a:pt x="66" y="270"/>
                    <a:pt x="66" y="271"/>
                    <a:pt x="65" y="271"/>
                  </a:cubicBezTo>
                  <a:cubicBezTo>
                    <a:pt x="65" y="271"/>
                    <a:pt x="65" y="271"/>
                    <a:pt x="65" y="271"/>
                  </a:cubicBezTo>
                  <a:cubicBezTo>
                    <a:pt x="64" y="270"/>
                    <a:pt x="64" y="270"/>
                    <a:pt x="64" y="270"/>
                  </a:cubicBezTo>
                  <a:cubicBezTo>
                    <a:pt x="64" y="270"/>
                    <a:pt x="64" y="270"/>
                    <a:pt x="64" y="270"/>
                  </a:cubicBezTo>
                  <a:cubicBezTo>
                    <a:pt x="63" y="270"/>
                    <a:pt x="62" y="269"/>
                    <a:pt x="61" y="269"/>
                  </a:cubicBezTo>
                  <a:cubicBezTo>
                    <a:pt x="61" y="269"/>
                    <a:pt x="61" y="269"/>
                    <a:pt x="61" y="269"/>
                  </a:cubicBezTo>
                  <a:moveTo>
                    <a:pt x="45" y="263"/>
                  </a:moveTo>
                  <a:cubicBezTo>
                    <a:pt x="45" y="263"/>
                    <a:pt x="45" y="263"/>
                    <a:pt x="45" y="263"/>
                  </a:cubicBezTo>
                  <a:moveTo>
                    <a:pt x="14" y="261"/>
                  </a:moveTo>
                  <a:cubicBezTo>
                    <a:pt x="12" y="261"/>
                    <a:pt x="10" y="261"/>
                    <a:pt x="8" y="261"/>
                  </a:cubicBezTo>
                  <a:cubicBezTo>
                    <a:pt x="7" y="261"/>
                    <a:pt x="6" y="261"/>
                    <a:pt x="4" y="261"/>
                  </a:cubicBezTo>
                  <a:cubicBezTo>
                    <a:pt x="4" y="261"/>
                    <a:pt x="3" y="262"/>
                    <a:pt x="3" y="262"/>
                  </a:cubicBezTo>
                  <a:cubicBezTo>
                    <a:pt x="2" y="262"/>
                    <a:pt x="2" y="262"/>
                    <a:pt x="1" y="262"/>
                  </a:cubicBezTo>
                  <a:cubicBezTo>
                    <a:pt x="1" y="263"/>
                    <a:pt x="1" y="264"/>
                    <a:pt x="1" y="265"/>
                  </a:cubicBezTo>
                  <a:cubicBezTo>
                    <a:pt x="1" y="266"/>
                    <a:pt x="0" y="266"/>
                    <a:pt x="0" y="267"/>
                  </a:cubicBezTo>
                  <a:cubicBezTo>
                    <a:pt x="0" y="269"/>
                    <a:pt x="0" y="270"/>
                    <a:pt x="0" y="272"/>
                  </a:cubicBezTo>
                  <a:cubicBezTo>
                    <a:pt x="0" y="272"/>
                    <a:pt x="0" y="273"/>
                    <a:pt x="0" y="273"/>
                  </a:cubicBezTo>
                  <a:cubicBezTo>
                    <a:pt x="0" y="274"/>
                    <a:pt x="0" y="275"/>
                    <a:pt x="0" y="276"/>
                  </a:cubicBezTo>
                  <a:cubicBezTo>
                    <a:pt x="0" y="276"/>
                    <a:pt x="0" y="277"/>
                    <a:pt x="1" y="277"/>
                  </a:cubicBezTo>
                  <a:cubicBezTo>
                    <a:pt x="2" y="278"/>
                    <a:pt x="3" y="280"/>
                    <a:pt x="3" y="281"/>
                  </a:cubicBezTo>
                  <a:cubicBezTo>
                    <a:pt x="3" y="281"/>
                    <a:pt x="3" y="281"/>
                    <a:pt x="3" y="282"/>
                  </a:cubicBezTo>
                  <a:cubicBezTo>
                    <a:pt x="3" y="282"/>
                    <a:pt x="3" y="282"/>
                    <a:pt x="4" y="282"/>
                  </a:cubicBezTo>
                  <a:cubicBezTo>
                    <a:pt x="5" y="282"/>
                    <a:pt x="6" y="282"/>
                    <a:pt x="7" y="282"/>
                  </a:cubicBezTo>
                  <a:cubicBezTo>
                    <a:pt x="8" y="282"/>
                    <a:pt x="9" y="282"/>
                    <a:pt x="9" y="281"/>
                  </a:cubicBezTo>
                  <a:cubicBezTo>
                    <a:pt x="12" y="281"/>
                    <a:pt x="15" y="281"/>
                    <a:pt x="17" y="279"/>
                  </a:cubicBezTo>
                  <a:cubicBezTo>
                    <a:pt x="18" y="278"/>
                    <a:pt x="19" y="278"/>
                    <a:pt x="21" y="277"/>
                  </a:cubicBezTo>
                  <a:cubicBezTo>
                    <a:pt x="22" y="276"/>
                    <a:pt x="24" y="275"/>
                    <a:pt x="25" y="275"/>
                  </a:cubicBezTo>
                  <a:cubicBezTo>
                    <a:pt x="26" y="274"/>
                    <a:pt x="27" y="274"/>
                    <a:pt x="28" y="274"/>
                  </a:cubicBezTo>
                  <a:cubicBezTo>
                    <a:pt x="29" y="274"/>
                    <a:pt x="30" y="275"/>
                    <a:pt x="31" y="275"/>
                  </a:cubicBezTo>
                  <a:cubicBezTo>
                    <a:pt x="32" y="276"/>
                    <a:pt x="32" y="276"/>
                    <a:pt x="32" y="276"/>
                  </a:cubicBezTo>
                  <a:cubicBezTo>
                    <a:pt x="33" y="276"/>
                    <a:pt x="33" y="276"/>
                    <a:pt x="34" y="276"/>
                  </a:cubicBezTo>
                  <a:cubicBezTo>
                    <a:pt x="34" y="277"/>
                    <a:pt x="35" y="277"/>
                    <a:pt x="35" y="277"/>
                  </a:cubicBezTo>
                  <a:cubicBezTo>
                    <a:pt x="36" y="277"/>
                    <a:pt x="37" y="276"/>
                    <a:pt x="38" y="275"/>
                  </a:cubicBezTo>
                  <a:cubicBezTo>
                    <a:pt x="39" y="275"/>
                    <a:pt x="39" y="275"/>
                    <a:pt x="40" y="274"/>
                  </a:cubicBezTo>
                  <a:cubicBezTo>
                    <a:pt x="40" y="274"/>
                    <a:pt x="41" y="274"/>
                    <a:pt x="41" y="274"/>
                  </a:cubicBezTo>
                  <a:cubicBezTo>
                    <a:pt x="41" y="274"/>
                    <a:pt x="41" y="274"/>
                    <a:pt x="41" y="274"/>
                  </a:cubicBezTo>
                  <a:cubicBezTo>
                    <a:pt x="42" y="274"/>
                    <a:pt x="42" y="274"/>
                    <a:pt x="42" y="274"/>
                  </a:cubicBezTo>
                  <a:cubicBezTo>
                    <a:pt x="42" y="274"/>
                    <a:pt x="43" y="274"/>
                    <a:pt x="44" y="274"/>
                  </a:cubicBezTo>
                  <a:cubicBezTo>
                    <a:pt x="44" y="274"/>
                    <a:pt x="44" y="275"/>
                    <a:pt x="44" y="275"/>
                  </a:cubicBezTo>
                  <a:cubicBezTo>
                    <a:pt x="44" y="275"/>
                    <a:pt x="44" y="275"/>
                    <a:pt x="44" y="275"/>
                  </a:cubicBezTo>
                  <a:cubicBezTo>
                    <a:pt x="44" y="275"/>
                    <a:pt x="44" y="275"/>
                    <a:pt x="44" y="275"/>
                  </a:cubicBezTo>
                  <a:cubicBezTo>
                    <a:pt x="45" y="275"/>
                    <a:pt x="45" y="275"/>
                    <a:pt x="45" y="274"/>
                  </a:cubicBezTo>
                  <a:cubicBezTo>
                    <a:pt x="46" y="274"/>
                    <a:pt x="46" y="274"/>
                    <a:pt x="47" y="273"/>
                  </a:cubicBezTo>
                  <a:cubicBezTo>
                    <a:pt x="47" y="273"/>
                    <a:pt x="48" y="273"/>
                    <a:pt x="49" y="273"/>
                  </a:cubicBezTo>
                  <a:cubicBezTo>
                    <a:pt x="49" y="273"/>
                    <a:pt x="49" y="273"/>
                    <a:pt x="49" y="273"/>
                  </a:cubicBezTo>
                  <a:cubicBezTo>
                    <a:pt x="50" y="273"/>
                    <a:pt x="51" y="273"/>
                    <a:pt x="53" y="273"/>
                  </a:cubicBezTo>
                  <a:cubicBezTo>
                    <a:pt x="53" y="273"/>
                    <a:pt x="53" y="273"/>
                    <a:pt x="53" y="273"/>
                  </a:cubicBezTo>
                  <a:cubicBezTo>
                    <a:pt x="53" y="273"/>
                    <a:pt x="54" y="273"/>
                    <a:pt x="54" y="273"/>
                  </a:cubicBezTo>
                  <a:cubicBezTo>
                    <a:pt x="55" y="273"/>
                    <a:pt x="56" y="274"/>
                    <a:pt x="56" y="274"/>
                  </a:cubicBezTo>
                  <a:cubicBezTo>
                    <a:pt x="56" y="274"/>
                    <a:pt x="56" y="274"/>
                    <a:pt x="56" y="274"/>
                  </a:cubicBezTo>
                  <a:cubicBezTo>
                    <a:pt x="56" y="274"/>
                    <a:pt x="56" y="274"/>
                    <a:pt x="56" y="274"/>
                  </a:cubicBezTo>
                  <a:cubicBezTo>
                    <a:pt x="56" y="274"/>
                    <a:pt x="56" y="274"/>
                    <a:pt x="56" y="273"/>
                  </a:cubicBezTo>
                  <a:cubicBezTo>
                    <a:pt x="57" y="273"/>
                    <a:pt x="57" y="272"/>
                    <a:pt x="57" y="271"/>
                  </a:cubicBezTo>
                  <a:cubicBezTo>
                    <a:pt x="57" y="271"/>
                    <a:pt x="57" y="270"/>
                    <a:pt x="57" y="269"/>
                  </a:cubicBezTo>
                  <a:cubicBezTo>
                    <a:pt x="56" y="269"/>
                    <a:pt x="56" y="270"/>
                    <a:pt x="56" y="270"/>
                  </a:cubicBezTo>
                  <a:cubicBezTo>
                    <a:pt x="56" y="270"/>
                    <a:pt x="56" y="270"/>
                    <a:pt x="56" y="270"/>
                  </a:cubicBezTo>
                  <a:cubicBezTo>
                    <a:pt x="55" y="270"/>
                    <a:pt x="55" y="269"/>
                    <a:pt x="55" y="269"/>
                  </a:cubicBezTo>
                  <a:cubicBezTo>
                    <a:pt x="54" y="269"/>
                    <a:pt x="54" y="268"/>
                    <a:pt x="54" y="268"/>
                  </a:cubicBezTo>
                  <a:cubicBezTo>
                    <a:pt x="54" y="267"/>
                    <a:pt x="54" y="267"/>
                    <a:pt x="55" y="267"/>
                  </a:cubicBezTo>
                  <a:cubicBezTo>
                    <a:pt x="55" y="266"/>
                    <a:pt x="55" y="266"/>
                    <a:pt x="55" y="266"/>
                  </a:cubicBezTo>
                  <a:cubicBezTo>
                    <a:pt x="55" y="266"/>
                    <a:pt x="55" y="266"/>
                    <a:pt x="55" y="266"/>
                  </a:cubicBezTo>
                  <a:cubicBezTo>
                    <a:pt x="54" y="266"/>
                    <a:pt x="54" y="266"/>
                    <a:pt x="54" y="266"/>
                  </a:cubicBezTo>
                  <a:cubicBezTo>
                    <a:pt x="54" y="266"/>
                    <a:pt x="54" y="266"/>
                    <a:pt x="54" y="266"/>
                  </a:cubicBezTo>
                  <a:cubicBezTo>
                    <a:pt x="53" y="266"/>
                    <a:pt x="53" y="266"/>
                    <a:pt x="53" y="266"/>
                  </a:cubicBezTo>
                  <a:cubicBezTo>
                    <a:pt x="53" y="266"/>
                    <a:pt x="53" y="266"/>
                    <a:pt x="53" y="266"/>
                  </a:cubicBezTo>
                  <a:cubicBezTo>
                    <a:pt x="53" y="266"/>
                    <a:pt x="53" y="266"/>
                    <a:pt x="53" y="266"/>
                  </a:cubicBezTo>
                  <a:cubicBezTo>
                    <a:pt x="53" y="267"/>
                    <a:pt x="53" y="267"/>
                    <a:pt x="53" y="267"/>
                  </a:cubicBezTo>
                  <a:cubicBezTo>
                    <a:pt x="53" y="267"/>
                    <a:pt x="53" y="268"/>
                    <a:pt x="53" y="269"/>
                  </a:cubicBezTo>
                  <a:cubicBezTo>
                    <a:pt x="52" y="269"/>
                    <a:pt x="52" y="269"/>
                    <a:pt x="51" y="270"/>
                  </a:cubicBezTo>
                  <a:cubicBezTo>
                    <a:pt x="51" y="270"/>
                    <a:pt x="51" y="270"/>
                    <a:pt x="51" y="270"/>
                  </a:cubicBezTo>
                  <a:cubicBezTo>
                    <a:pt x="51" y="270"/>
                    <a:pt x="51" y="270"/>
                    <a:pt x="51" y="270"/>
                  </a:cubicBezTo>
                  <a:cubicBezTo>
                    <a:pt x="51" y="270"/>
                    <a:pt x="51" y="270"/>
                    <a:pt x="51" y="270"/>
                  </a:cubicBezTo>
                  <a:cubicBezTo>
                    <a:pt x="50" y="270"/>
                    <a:pt x="49" y="269"/>
                    <a:pt x="49" y="269"/>
                  </a:cubicBezTo>
                  <a:cubicBezTo>
                    <a:pt x="49" y="268"/>
                    <a:pt x="49" y="268"/>
                    <a:pt x="49" y="267"/>
                  </a:cubicBezTo>
                  <a:cubicBezTo>
                    <a:pt x="49" y="267"/>
                    <a:pt x="49" y="267"/>
                    <a:pt x="49" y="266"/>
                  </a:cubicBezTo>
                  <a:cubicBezTo>
                    <a:pt x="49" y="266"/>
                    <a:pt x="49" y="265"/>
                    <a:pt x="49" y="265"/>
                  </a:cubicBezTo>
                  <a:cubicBezTo>
                    <a:pt x="49" y="265"/>
                    <a:pt x="49" y="265"/>
                    <a:pt x="49" y="265"/>
                  </a:cubicBezTo>
                  <a:cubicBezTo>
                    <a:pt x="49" y="265"/>
                    <a:pt x="48" y="264"/>
                    <a:pt x="48" y="264"/>
                  </a:cubicBezTo>
                  <a:cubicBezTo>
                    <a:pt x="47" y="264"/>
                    <a:pt x="47" y="264"/>
                    <a:pt x="46" y="263"/>
                  </a:cubicBezTo>
                  <a:cubicBezTo>
                    <a:pt x="46" y="263"/>
                    <a:pt x="46" y="263"/>
                    <a:pt x="46" y="263"/>
                  </a:cubicBezTo>
                  <a:cubicBezTo>
                    <a:pt x="46" y="263"/>
                    <a:pt x="46" y="263"/>
                    <a:pt x="46" y="263"/>
                  </a:cubicBezTo>
                  <a:cubicBezTo>
                    <a:pt x="46" y="263"/>
                    <a:pt x="46" y="263"/>
                    <a:pt x="45" y="263"/>
                  </a:cubicBezTo>
                  <a:cubicBezTo>
                    <a:pt x="45" y="263"/>
                    <a:pt x="45" y="263"/>
                    <a:pt x="45" y="263"/>
                  </a:cubicBezTo>
                  <a:cubicBezTo>
                    <a:pt x="45" y="264"/>
                    <a:pt x="45" y="264"/>
                    <a:pt x="46" y="265"/>
                  </a:cubicBezTo>
                  <a:cubicBezTo>
                    <a:pt x="45" y="265"/>
                    <a:pt x="45" y="265"/>
                    <a:pt x="45" y="265"/>
                  </a:cubicBezTo>
                  <a:cubicBezTo>
                    <a:pt x="45" y="266"/>
                    <a:pt x="45" y="266"/>
                    <a:pt x="45" y="267"/>
                  </a:cubicBezTo>
                  <a:cubicBezTo>
                    <a:pt x="44" y="268"/>
                    <a:pt x="43" y="268"/>
                    <a:pt x="42" y="268"/>
                  </a:cubicBezTo>
                  <a:cubicBezTo>
                    <a:pt x="42" y="268"/>
                    <a:pt x="42" y="268"/>
                    <a:pt x="42" y="268"/>
                  </a:cubicBezTo>
                  <a:cubicBezTo>
                    <a:pt x="41" y="268"/>
                    <a:pt x="41" y="268"/>
                    <a:pt x="40" y="267"/>
                  </a:cubicBezTo>
                  <a:cubicBezTo>
                    <a:pt x="39" y="267"/>
                    <a:pt x="38" y="266"/>
                    <a:pt x="38" y="265"/>
                  </a:cubicBezTo>
                  <a:cubicBezTo>
                    <a:pt x="38" y="265"/>
                    <a:pt x="38" y="265"/>
                    <a:pt x="38" y="265"/>
                  </a:cubicBezTo>
                  <a:cubicBezTo>
                    <a:pt x="38" y="265"/>
                    <a:pt x="38" y="265"/>
                    <a:pt x="38" y="265"/>
                  </a:cubicBezTo>
                  <a:cubicBezTo>
                    <a:pt x="37" y="265"/>
                    <a:pt x="37" y="265"/>
                    <a:pt x="36" y="264"/>
                  </a:cubicBezTo>
                  <a:cubicBezTo>
                    <a:pt x="36" y="264"/>
                    <a:pt x="35" y="264"/>
                    <a:pt x="35" y="264"/>
                  </a:cubicBezTo>
                  <a:cubicBezTo>
                    <a:pt x="35" y="264"/>
                    <a:pt x="35" y="264"/>
                    <a:pt x="35" y="264"/>
                  </a:cubicBezTo>
                  <a:cubicBezTo>
                    <a:pt x="35" y="264"/>
                    <a:pt x="35" y="264"/>
                    <a:pt x="35" y="264"/>
                  </a:cubicBezTo>
                  <a:cubicBezTo>
                    <a:pt x="34" y="264"/>
                    <a:pt x="33" y="264"/>
                    <a:pt x="33" y="264"/>
                  </a:cubicBezTo>
                  <a:cubicBezTo>
                    <a:pt x="32" y="264"/>
                    <a:pt x="31" y="264"/>
                    <a:pt x="30" y="263"/>
                  </a:cubicBezTo>
                  <a:cubicBezTo>
                    <a:pt x="30" y="263"/>
                    <a:pt x="30" y="263"/>
                    <a:pt x="30" y="263"/>
                  </a:cubicBezTo>
                  <a:cubicBezTo>
                    <a:pt x="30" y="263"/>
                    <a:pt x="30" y="263"/>
                    <a:pt x="30" y="263"/>
                  </a:cubicBezTo>
                  <a:cubicBezTo>
                    <a:pt x="29" y="263"/>
                    <a:pt x="29" y="263"/>
                    <a:pt x="28" y="263"/>
                  </a:cubicBezTo>
                  <a:cubicBezTo>
                    <a:pt x="28" y="263"/>
                    <a:pt x="28" y="263"/>
                    <a:pt x="28" y="263"/>
                  </a:cubicBezTo>
                  <a:cubicBezTo>
                    <a:pt x="28" y="263"/>
                    <a:pt x="28" y="263"/>
                    <a:pt x="28" y="263"/>
                  </a:cubicBezTo>
                  <a:cubicBezTo>
                    <a:pt x="24" y="263"/>
                    <a:pt x="21" y="261"/>
                    <a:pt x="17" y="261"/>
                  </a:cubicBezTo>
                  <a:cubicBezTo>
                    <a:pt x="16" y="261"/>
                    <a:pt x="15" y="261"/>
                    <a:pt x="14" y="261"/>
                  </a:cubicBezTo>
                  <a:moveTo>
                    <a:pt x="205" y="242"/>
                  </a:moveTo>
                  <a:cubicBezTo>
                    <a:pt x="205" y="242"/>
                    <a:pt x="205" y="242"/>
                    <a:pt x="204" y="242"/>
                  </a:cubicBezTo>
                  <a:cubicBezTo>
                    <a:pt x="203" y="242"/>
                    <a:pt x="203" y="242"/>
                    <a:pt x="203" y="242"/>
                  </a:cubicBezTo>
                  <a:cubicBezTo>
                    <a:pt x="202" y="242"/>
                    <a:pt x="202" y="242"/>
                    <a:pt x="201" y="242"/>
                  </a:cubicBezTo>
                  <a:cubicBezTo>
                    <a:pt x="200" y="242"/>
                    <a:pt x="200" y="242"/>
                    <a:pt x="199" y="242"/>
                  </a:cubicBezTo>
                  <a:cubicBezTo>
                    <a:pt x="198" y="242"/>
                    <a:pt x="196" y="244"/>
                    <a:pt x="195" y="245"/>
                  </a:cubicBezTo>
                  <a:cubicBezTo>
                    <a:pt x="194" y="246"/>
                    <a:pt x="193" y="247"/>
                    <a:pt x="191" y="248"/>
                  </a:cubicBezTo>
                  <a:cubicBezTo>
                    <a:pt x="191" y="248"/>
                    <a:pt x="190" y="248"/>
                    <a:pt x="190" y="248"/>
                  </a:cubicBezTo>
                  <a:cubicBezTo>
                    <a:pt x="189" y="248"/>
                    <a:pt x="189" y="248"/>
                    <a:pt x="188" y="248"/>
                  </a:cubicBezTo>
                  <a:cubicBezTo>
                    <a:pt x="188" y="248"/>
                    <a:pt x="188" y="248"/>
                    <a:pt x="188" y="248"/>
                  </a:cubicBezTo>
                  <a:cubicBezTo>
                    <a:pt x="188" y="248"/>
                    <a:pt x="188" y="248"/>
                    <a:pt x="188" y="248"/>
                  </a:cubicBezTo>
                  <a:cubicBezTo>
                    <a:pt x="187" y="248"/>
                    <a:pt x="187" y="248"/>
                    <a:pt x="187" y="248"/>
                  </a:cubicBezTo>
                  <a:cubicBezTo>
                    <a:pt x="187" y="249"/>
                    <a:pt x="187" y="249"/>
                    <a:pt x="187" y="249"/>
                  </a:cubicBezTo>
                  <a:cubicBezTo>
                    <a:pt x="187" y="250"/>
                    <a:pt x="187" y="251"/>
                    <a:pt x="187" y="251"/>
                  </a:cubicBezTo>
                  <a:cubicBezTo>
                    <a:pt x="186" y="253"/>
                    <a:pt x="186" y="254"/>
                    <a:pt x="186" y="255"/>
                  </a:cubicBezTo>
                  <a:cubicBezTo>
                    <a:pt x="185" y="256"/>
                    <a:pt x="185" y="257"/>
                    <a:pt x="185" y="258"/>
                  </a:cubicBezTo>
                  <a:cubicBezTo>
                    <a:pt x="185" y="258"/>
                    <a:pt x="185" y="259"/>
                    <a:pt x="186" y="260"/>
                  </a:cubicBezTo>
                  <a:cubicBezTo>
                    <a:pt x="186" y="260"/>
                    <a:pt x="187" y="260"/>
                    <a:pt x="187" y="260"/>
                  </a:cubicBezTo>
                  <a:cubicBezTo>
                    <a:pt x="188" y="261"/>
                    <a:pt x="188" y="261"/>
                    <a:pt x="189" y="262"/>
                  </a:cubicBezTo>
                  <a:cubicBezTo>
                    <a:pt x="189" y="262"/>
                    <a:pt x="189" y="262"/>
                    <a:pt x="189" y="262"/>
                  </a:cubicBezTo>
                  <a:cubicBezTo>
                    <a:pt x="189" y="262"/>
                    <a:pt x="190" y="263"/>
                    <a:pt x="190" y="263"/>
                  </a:cubicBezTo>
                  <a:cubicBezTo>
                    <a:pt x="190" y="263"/>
                    <a:pt x="190" y="263"/>
                    <a:pt x="190" y="263"/>
                  </a:cubicBezTo>
                  <a:cubicBezTo>
                    <a:pt x="191" y="263"/>
                    <a:pt x="193" y="263"/>
                    <a:pt x="195" y="263"/>
                  </a:cubicBezTo>
                  <a:cubicBezTo>
                    <a:pt x="195" y="263"/>
                    <a:pt x="195" y="263"/>
                    <a:pt x="195" y="263"/>
                  </a:cubicBezTo>
                  <a:cubicBezTo>
                    <a:pt x="196" y="263"/>
                    <a:pt x="198" y="263"/>
                    <a:pt x="199" y="263"/>
                  </a:cubicBezTo>
                  <a:cubicBezTo>
                    <a:pt x="200" y="263"/>
                    <a:pt x="201" y="262"/>
                    <a:pt x="203" y="262"/>
                  </a:cubicBezTo>
                  <a:cubicBezTo>
                    <a:pt x="204" y="262"/>
                    <a:pt x="204" y="262"/>
                    <a:pt x="205" y="262"/>
                  </a:cubicBezTo>
                  <a:cubicBezTo>
                    <a:pt x="206" y="262"/>
                    <a:pt x="207" y="262"/>
                    <a:pt x="207" y="262"/>
                  </a:cubicBezTo>
                  <a:cubicBezTo>
                    <a:pt x="207" y="262"/>
                    <a:pt x="207" y="262"/>
                    <a:pt x="207" y="262"/>
                  </a:cubicBezTo>
                  <a:cubicBezTo>
                    <a:pt x="209" y="262"/>
                    <a:pt x="211" y="261"/>
                    <a:pt x="214" y="261"/>
                  </a:cubicBezTo>
                  <a:cubicBezTo>
                    <a:pt x="215" y="261"/>
                    <a:pt x="217" y="261"/>
                    <a:pt x="218" y="262"/>
                  </a:cubicBezTo>
                  <a:cubicBezTo>
                    <a:pt x="219" y="263"/>
                    <a:pt x="220" y="263"/>
                    <a:pt x="221" y="264"/>
                  </a:cubicBezTo>
                  <a:cubicBezTo>
                    <a:pt x="222" y="264"/>
                    <a:pt x="223" y="264"/>
                    <a:pt x="224" y="264"/>
                  </a:cubicBezTo>
                  <a:cubicBezTo>
                    <a:pt x="224" y="264"/>
                    <a:pt x="224" y="264"/>
                    <a:pt x="224" y="264"/>
                  </a:cubicBezTo>
                  <a:cubicBezTo>
                    <a:pt x="224" y="264"/>
                    <a:pt x="224" y="264"/>
                    <a:pt x="224" y="264"/>
                  </a:cubicBezTo>
                  <a:cubicBezTo>
                    <a:pt x="226" y="264"/>
                    <a:pt x="228" y="264"/>
                    <a:pt x="229" y="262"/>
                  </a:cubicBezTo>
                  <a:cubicBezTo>
                    <a:pt x="230" y="262"/>
                    <a:pt x="230" y="261"/>
                    <a:pt x="230" y="260"/>
                  </a:cubicBezTo>
                  <a:cubicBezTo>
                    <a:pt x="230" y="259"/>
                    <a:pt x="230" y="259"/>
                    <a:pt x="230" y="258"/>
                  </a:cubicBezTo>
                  <a:cubicBezTo>
                    <a:pt x="230" y="258"/>
                    <a:pt x="229" y="257"/>
                    <a:pt x="229" y="257"/>
                  </a:cubicBezTo>
                  <a:cubicBezTo>
                    <a:pt x="228" y="257"/>
                    <a:pt x="228" y="257"/>
                    <a:pt x="228" y="257"/>
                  </a:cubicBezTo>
                  <a:cubicBezTo>
                    <a:pt x="228" y="257"/>
                    <a:pt x="228" y="257"/>
                    <a:pt x="228" y="257"/>
                  </a:cubicBezTo>
                  <a:cubicBezTo>
                    <a:pt x="228" y="257"/>
                    <a:pt x="228" y="257"/>
                    <a:pt x="227" y="257"/>
                  </a:cubicBezTo>
                  <a:cubicBezTo>
                    <a:pt x="226" y="257"/>
                    <a:pt x="226" y="257"/>
                    <a:pt x="226" y="257"/>
                  </a:cubicBezTo>
                  <a:cubicBezTo>
                    <a:pt x="226" y="257"/>
                    <a:pt x="226" y="257"/>
                    <a:pt x="226" y="257"/>
                  </a:cubicBezTo>
                  <a:cubicBezTo>
                    <a:pt x="225" y="256"/>
                    <a:pt x="225" y="256"/>
                    <a:pt x="224" y="256"/>
                  </a:cubicBezTo>
                  <a:cubicBezTo>
                    <a:pt x="224" y="255"/>
                    <a:pt x="224" y="255"/>
                    <a:pt x="223" y="254"/>
                  </a:cubicBezTo>
                  <a:cubicBezTo>
                    <a:pt x="222" y="254"/>
                    <a:pt x="222" y="253"/>
                    <a:pt x="221" y="252"/>
                  </a:cubicBezTo>
                  <a:cubicBezTo>
                    <a:pt x="219" y="251"/>
                    <a:pt x="217" y="249"/>
                    <a:pt x="215" y="248"/>
                  </a:cubicBezTo>
                  <a:cubicBezTo>
                    <a:pt x="215" y="248"/>
                    <a:pt x="215" y="248"/>
                    <a:pt x="214" y="248"/>
                  </a:cubicBezTo>
                  <a:cubicBezTo>
                    <a:pt x="214" y="247"/>
                    <a:pt x="214" y="247"/>
                    <a:pt x="214" y="247"/>
                  </a:cubicBezTo>
                  <a:cubicBezTo>
                    <a:pt x="213" y="247"/>
                    <a:pt x="212" y="247"/>
                    <a:pt x="211" y="247"/>
                  </a:cubicBezTo>
                  <a:cubicBezTo>
                    <a:pt x="210" y="246"/>
                    <a:pt x="209" y="245"/>
                    <a:pt x="208" y="244"/>
                  </a:cubicBezTo>
                  <a:cubicBezTo>
                    <a:pt x="207" y="243"/>
                    <a:pt x="207" y="243"/>
                    <a:pt x="206" y="242"/>
                  </a:cubicBezTo>
                  <a:cubicBezTo>
                    <a:pt x="205" y="242"/>
                    <a:pt x="205" y="242"/>
                    <a:pt x="205" y="242"/>
                  </a:cubicBezTo>
                  <a:cubicBezTo>
                    <a:pt x="205" y="242"/>
                    <a:pt x="205" y="242"/>
                    <a:pt x="205" y="242"/>
                  </a:cubicBezTo>
                  <a:moveTo>
                    <a:pt x="174" y="197"/>
                  </a:moveTo>
                  <a:cubicBezTo>
                    <a:pt x="174" y="197"/>
                    <a:pt x="174" y="197"/>
                    <a:pt x="174" y="197"/>
                  </a:cubicBezTo>
                  <a:cubicBezTo>
                    <a:pt x="174" y="198"/>
                    <a:pt x="174" y="198"/>
                    <a:pt x="174" y="199"/>
                  </a:cubicBezTo>
                  <a:cubicBezTo>
                    <a:pt x="174" y="199"/>
                    <a:pt x="174" y="199"/>
                    <a:pt x="174" y="199"/>
                  </a:cubicBezTo>
                  <a:cubicBezTo>
                    <a:pt x="174" y="200"/>
                    <a:pt x="173" y="201"/>
                    <a:pt x="173" y="201"/>
                  </a:cubicBezTo>
                  <a:cubicBezTo>
                    <a:pt x="173" y="202"/>
                    <a:pt x="172" y="202"/>
                    <a:pt x="172" y="203"/>
                  </a:cubicBezTo>
                  <a:cubicBezTo>
                    <a:pt x="172" y="203"/>
                    <a:pt x="172" y="203"/>
                    <a:pt x="172" y="204"/>
                  </a:cubicBezTo>
                  <a:cubicBezTo>
                    <a:pt x="172" y="204"/>
                    <a:pt x="172" y="204"/>
                    <a:pt x="172" y="204"/>
                  </a:cubicBezTo>
                  <a:cubicBezTo>
                    <a:pt x="172" y="204"/>
                    <a:pt x="172" y="204"/>
                    <a:pt x="172" y="204"/>
                  </a:cubicBezTo>
                  <a:cubicBezTo>
                    <a:pt x="172" y="205"/>
                    <a:pt x="172" y="205"/>
                    <a:pt x="172" y="205"/>
                  </a:cubicBezTo>
                  <a:cubicBezTo>
                    <a:pt x="173" y="205"/>
                    <a:pt x="173" y="205"/>
                    <a:pt x="173" y="205"/>
                  </a:cubicBezTo>
                  <a:cubicBezTo>
                    <a:pt x="173" y="205"/>
                    <a:pt x="174" y="205"/>
                    <a:pt x="174" y="205"/>
                  </a:cubicBezTo>
                  <a:cubicBezTo>
                    <a:pt x="174" y="205"/>
                    <a:pt x="174" y="205"/>
                    <a:pt x="174" y="205"/>
                  </a:cubicBezTo>
                  <a:cubicBezTo>
                    <a:pt x="174" y="205"/>
                    <a:pt x="174" y="205"/>
                    <a:pt x="174" y="205"/>
                  </a:cubicBezTo>
                  <a:cubicBezTo>
                    <a:pt x="174" y="205"/>
                    <a:pt x="174" y="205"/>
                    <a:pt x="174" y="205"/>
                  </a:cubicBezTo>
                  <a:cubicBezTo>
                    <a:pt x="175" y="205"/>
                    <a:pt x="175" y="205"/>
                    <a:pt x="175" y="205"/>
                  </a:cubicBezTo>
                  <a:cubicBezTo>
                    <a:pt x="176" y="205"/>
                    <a:pt x="176" y="205"/>
                    <a:pt x="176" y="205"/>
                  </a:cubicBezTo>
                  <a:cubicBezTo>
                    <a:pt x="176" y="205"/>
                    <a:pt x="176" y="205"/>
                    <a:pt x="176" y="205"/>
                  </a:cubicBezTo>
                  <a:cubicBezTo>
                    <a:pt x="176" y="205"/>
                    <a:pt x="177" y="206"/>
                    <a:pt x="177" y="206"/>
                  </a:cubicBezTo>
                  <a:cubicBezTo>
                    <a:pt x="177" y="206"/>
                    <a:pt x="177" y="206"/>
                    <a:pt x="178" y="206"/>
                  </a:cubicBezTo>
                  <a:cubicBezTo>
                    <a:pt x="177" y="205"/>
                    <a:pt x="177" y="204"/>
                    <a:pt x="177" y="203"/>
                  </a:cubicBezTo>
                  <a:cubicBezTo>
                    <a:pt x="177" y="202"/>
                    <a:pt x="177" y="202"/>
                    <a:pt x="177" y="202"/>
                  </a:cubicBezTo>
                  <a:cubicBezTo>
                    <a:pt x="177" y="202"/>
                    <a:pt x="177" y="202"/>
                    <a:pt x="177" y="202"/>
                  </a:cubicBezTo>
                  <a:cubicBezTo>
                    <a:pt x="177" y="202"/>
                    <a:pt x="177" y="202"/>
                    <a:pt x="177" y="202"/>
                  </a:cubicBezTo>
                  <a:cubicBezTo>
                    <a:pt x="177" y="201"/>
                    <a:pt x="177" y="201"/>
                    <a:pt x="177" y="201"/>
                  </a:cubicBezTo>
                  <a:cubicBezTo>
                    <a:pt x="177" y="201"/>
                    <a:pt x="177" y="201"/>
                    <a:pt x="177" y="201"/>
                  </a:cubicBezTo>
                  <a:cubicBezTo>
                    <a:pt x="176" y="201"/>
                    <a:pt x="176" y="201"/>
                    <a:pt x="175" y="201"/>
                  </a:cubicBezTo>
                  <a:cubicBezTo>
                    <a:pt x="175" y="200"/>
                    <a:pt x="175" y="199"/>
                    <a:pt x="175" y="198"/>
                  </a:cubicBezTo>
                  <a:cubicBezTo>
                    <a:pt x="175" y="198"/>
                    <a:pt x="175" y="198"/>
                    <a:pt x="175" y="198"/>
                  </a:cubicBezTo>
                  <a:cubicBezTo>
                    <a:pt x="175" y="198"/>
                    <a:pt x="175" y="198"/>
                    <a:pt x="175" y="198"/>
                  </a:cubicBezTo>
                  <a:cubicBezTo>
                    <a:pt x="174" y="198"/>
                    <a:pt x="174" y="197"/>
                    <a:pt x="174" y="197"/>
                  </a:cubicBezTo>
                  <a:moveTo>
                    <a:pt x="192" y="179"/>
                  </a:moveTo>
                  <a:cubicBezTo>
                    <a:pt x="192" y="180"/>
                    <a:pt x="192" y="180"/>
                    <a:pt x="192" y="180"/>
                  </a:cubicBezTo>
                  <a:cubicBezTo>
                    <a:pt x="192" y="180"/>
                    <a:pt x="192" y="181"/>
                    <a:pt x="192" y="182"/>
                  </a:cubicBezTo>
                  <a:cubicBezTo>
                    <a:pt x="191" y="182"/>
                    <a:pt x="191" y="183"/>
                    <a:pt x="190" y="184"/>
                  </a:cubicBezTo>
                  <a:cubicBezTo>
                    <a:pt x="190" y="185"/>
                    <a:pt x="189" y="186"/>
                    <a:pt x="188" y="186"/>
                  </a:cubicBezTo>
                  <a:cubicBezTo>
                    <a:pt x="187" y="186"/>
                    <a:pt x="187" y="186"/>
                    <a:pt x="187" y="186"/>
                  </a:cubicBezTo>
                  <a:cubicBezTo>
                    <a:pt x="187" y="186"/>
                    <a:pt x="187" y="186"/>
                    <a:pt x="187" y="186"/>
                  </a:cubicBezTo>
                  <a:cubicBezTo>
                    <a:pt x="186" y="185"/>
                    <a:pt x="186" y="185"/>
                    <a:pt x="185" y="184"/>
                  </a:cubicBezTo>
                  <a:cubicBezTo>
                    <a:pt x="184" y="184"/>
                    <a:pt x="184" y="183"/>
                    <a:pt x="183" y="183"/>
                  </a:cubicBezTo>
                  <a:cubicBezTo>
                    <a:pt x="183" y="182"/>
                    <a:pt x="183" y="182"/>
                    <a:pt x="182" y="181"/>
                  </a:cubicBezTo>
                  <a:cubicBezTo>
                    <a:pt x="182" y="181"/>
                    <a:pt x="182" y="181"/>
                    <a:pt x="181" y="180"/>
                  </a:cubicBezTo>
                  <a:cubicBezTo>
                    <a:pt x="181" y="181"/>
                    <a:pt x="181" y="181"/>
                    <a:pt x="182" y="181"/>
                  </a:cubicBezTo>
                  <a:cubicBezTo>
                    <a:pt x="182" y="182"/>
                    <a:pt x="182" y="182"/>
                    <a:pt x="182" y="183"/>
                  </a:cubicBezTo>
                  <a:cubicBezTo>
                    <a:pt x="182" y="183"/>
                    <a:pt x="182" y="183"/>
                    <a:pt x="182" y="183"/>
                  </a:cubicBezTo>
                  <a:cubicBezTo>
                    <a:pt x="182" y="183"/>
                    <a:pt x="182" y="183"/>
                    <a:pt x="182" y="183"/>
                  </a:cubicBezTo>
                  <a:cubicBezTo>
                    <a:pt x="182" y="184"/>
                    <a:pt x="181" y="185"/>
                    <a:pt x="180" y="185"/>
                  </a:cubicBezTo>
                  <a:cubicBezTo>
                    <a:pt x="180" y="186"/>
                    <a:pt x="179" y="187"/>
                    <a:pt x="179" y="187"/>
                  </a:cubicBezTo>
                  <a:cubicBezTo>
                    <a:pt x="179" y="188"/>
                    <a:pt x="179" y="188"/>
                    <a:pt x="179" y="188"/>
                  </a:cubicBezTo>
                  <a:cubicBezTo>
                    <a:pt x="179" y="189"/>
                    <a:pt x="179" y="189"/>
                    <a:pt x="180" y="190"/>
                  </a:cubicBezTo>
                  <a:cubicBezTo>
                    <a:pt x="181" y="191"/>
                    <a:pt x="182" y="192"/>
                    <a:pt x="183" y="193"/>
                  </a:cubicBezTo>
                  <a:cubicBezTo>
                    <a:pt x="183" y="193"/>
                    <a:pt x="183" y="193"/>
                    <a:pt x="183" y="193"/>
                  </a:cubicBezTo>
                  <a:cubicBezTo>
                    <a:pt x="184" y="194"/>
                    <a:pt x="184" y="195"/>
                    <a:pt x="184" y="195"/>
                  </a:cubicBezTo>
                  <a:cubicBezTo>
                    <a:pt x="185" y="195"/>
                    <a:pt x="185" y="195"/>
                    <a:pt x="186" y="196"/>
                  </a:cubicBezTo>
                  <a:cubicBezTo>
                    <a:pt x="186" y="196"/>
                    <a:pt x="186" y="196"/>
                    <a:pt x="186" y="196"/>
                  </a:cubicBezTo>
                  <a:cubicBezTo>
                    <a:pt x="186" y="196"/>
                    <a:pt x="187" y="196"/>
                    <a:pt x="188" y="196"/>
                  </a:cubicBezTo>
                  <a:cubicBezTo>
                    <a:pt x="188" y="196"/>
                    <a:pt x="189" y="196"/>
                    <a:pt x="190" y="197"/>
                  </a:cubicBezTo>
                  <a:cubicBezTo>
                    <a:pt x="190" y="198"/>
                    <a:pt x="190" y="198"/>
                    <a:pt x="190" y="199"/>
                  </a:cubicBezTo>
                  <a:cubicBezTo>
                    <a:pt x="190" y="199"/>
                    <a:pt x="190" y="199"/>
                    <a:pt x="190" y="199"/>
                  </a:cubicBezTo>
                  <a:cubicBezTo>
                    <a:pt x="190" y="202"/>
                    <a:pt x="188" y="203"/>
                    <a:pt x="188" y="204"/>
                  </a:cubicBezTo>
                  <a:cubicBezTo>
                    <a:pt x="188" y="205"/>
                    <a:pt x="188" y="205"/>
                    <a:pt x="188" y="205"/>
                  </a:cubicBezTo>
                  <a:cubicBezTo>
                    <a:pt x="188" y="206"/>
                    <a:pt x="189" y="207"/>
                    <a:pt x="189" y="208"/>
                  </a:cubicBezTo>
                  <a:cubicBezTo>
                    <a:pt x="189" y="208"/>
                    <a:pt x="190" y="208"/>
                    <a:pt x="190" y="208"/>
                  </a:cubicBezTo>
                  <a:cubicBezTo>
                    <a:pt x="191" y="207"/>
                    <a:pt x="192" y="207"/>
                    <a:pt x="193" y="207"/>
                  </a:cubicBezTo>
                  <a:cubicBezTo>
                    <a:pt x="193" y="207"/>
                    <a:pt x="194" y="206"/>
                    <a:pt x="195" y="205"/>
                  </a:cubicBezTo>
                  <a:cubicBezTo>
                    <a:pt x="196" y="205"/>
                    <a:pt x="197" y="204"/>
                    <a:pt x="198" y="204"/>
                  </a:cubicBezTo>
                  <a:cubicBezTo>
                    <a:pt x="199" y="204"/>
                    <a:pt x="199" y="204"/>
                    <a:pt x="199" y="204"/>
                  </a:cubicBezTo>
                  <a:cubicBezTo>
                    <a:pt x="199" y="204"/>
                    <a:pt x="201" y="205"/>
                    <a:pt x="201" y="206"/>
                  </a:cubicBezTo>
                  <a:cubicBezTo>
                    <a:pt x="201" y="206"/>
                    <a:pt x="201" y="207"/>
                    <a:pt x="201" y="207"/>
                  </a:cubicBezTo>
                  <a:cubicBezTo>
                    <a:pt x="201" y="207"/>
                    <a:pt x="201" y="208"/>
                    <a:pt x="201" y="208"/>
                  </a:cubicBezTo>
                  <a:cubicBezTo>
                    <a:pt x="201" y="209"/>
                    <a:pt x="201" y="209"/>
                    <a:pt x="201" y="209"/>
                  </a:cubicBezTo>
                  <a:cubicBezTo>
                    <a:pt x="202" y="209"/>
                    <a:pt x="202" y="209"/>
                    <a:pt x="202" y="209"/>
                  </a:cubicBezTo>
                  <a:cubicBezTo>
                    <a:pt x="202" y="209"/>
                    <a:pt x="202" y="209"/>
                    <a:pt x="203" y="210"/>
                  </a:cubicBezTo>
                  <a:cubicBezTo>
                    <a:pt x="203" y="210"/>
                    <a:pt x="204" y="210"/>
                    <a:pt x="205" y="210"/>
                  </a:cubicBezTo>
                  <a:cubicBezTo>
                    <a:pt x="206" y="211"/>
                    <a:pt x="206" y="211"/>
                    <a:pt x="207" y="211"/>
                  </a:cubicBezTo>
                  <a:cubicBezTo>
                    <a:pt x="207" y="212"/>
                    <a:pt x="207" y="212"/>
                    <a:pt x="207" y="212"/>
                  </a:cubicBezTo>
                  <a:cubicBezTo>
                    <a:pt x="207" y="211"/>
                    <a:pt x="207" y="211"/>
                    <a:pt x="207" y="211"/>
                  </a:cubicBezTo>
                  <a:cubicBezTo>
                    <a:pt x="208" y="211"/>
                    <a:pt x="208" y="211"/>
                    <a:pt x="208" y="210"/>
                  </a:cubicBezTo>
                  <a:cubicBezTo>
                    <a:pt x="210" y="209"/>
                    <a:pt x="211" y="209"/>
                    <a:pt x="212" y="209"/>
                  </a:cubicBezTo>
                  <a:cubicBezTo>
                    <a:pt x="213" y="209"/>
                    <a:pt x="213" y="209"/>
                    <a:pt x="213" y="209"/>
                  </a:cubicBezTo>
                  <a:cubicBezTo>
                    <a:pt x="213" y="209"/>
                    <a:pt x="213" y="209"/>
                    <a:pt x="213" y="209"/>
                  </a:cubicBezTo>
                  <a:cubicBezTo>
                    <a:pt x="213" y="208"/>
                    <a:pt x="213" y="208"/>
                    <a:pt x="213" y="208"/>
                  </a:cubicBezTo>
                  <a:cubicBezTo>
                    <a:pt x="213" y="205"/>
                    <a:pt x="212" y="204"/>
                    <a:pt x="211" y="203"/>
                  </a:cubicBezTo>
                  <a:cubicBezTo>
                    <a:pt x="210" y="202"/>
                    <a:pt x="210" y="202"/>
                    <a:pt x="209" y="202"/>
                  </a:cubicBezTo>
                  <a:cubicBezTo>
                    <a:pt x="209" y="202"/>
                    <a:pt x="209" y="202"/>
                    <a:pt x="209" y="202"/>
                  </a:cubicBezTo>
                  <a:cubicBezTo>
                    <a:pt x="209" y="202"/>
                    <a:pt x="209" y="202"/>
                    <a:pt x="209" y="202"/>
                  </a:cubicBezTo>
                  <a:cubicBezTo>
                    <a:pt x="207" y="202"/>
                    <a:pt x="205" y="203"/>
                    <a:pt x="204" y="203"/>
                  </a:cubicBezTo>
                  <a:cubicBezTo>
                    <a:pt x="203" y="203"/>
                    <a:pt x="203" y="203"/>
                    <a:pt x="202" y="203"/>
                  </a:cubicBezTo>
                  <a:cubicBezTo>
                    <a:pt x="202" y="203"/>
                    <a:pt x="201" y="203"/>
                    <a:pt x="201" y="203"/>
                  </a:cubicBezTo>
                  <a:cubicBezTo>
                    <a:pt x="200" y="203"/>
                    <a:pt x="199" y="202"/>
                    <a:pt x="199" y="202"/>
                  </a:cubicBezTo>
                  <a:cubicBezTo>
                    <a:pt x="199" y="201"/>
                    <a:pt x="199" y="201"/>
                    <a:pt x="199" y="200"/>
                  </a:cubicBezTo>
                  <a:cubicBezTo>
                    <a:pt x="199" y="200"/>
                    <a:pt x="199" y="200"/>
                    <a:pt x="199" y="200"/>
                  </a:cubicBezTo>
                  <a:cubicBezTo>
                    <a:pt x="199" y="199"/>
                    <a:pt x="199" y="199"/>
                    <a:pt x="199" y="199"/>
                  </a:cubicBezTo>
                  <a:cubicBezTo>
                    <a:pt x="199" y="199"/>
                    <a:pt x="198" y="199"/>
                    <a:pt x="198" y="199"/>
                  </a:cubicBezTo>
                  <a:cubicBezTo>
                    <a:pt x="197" y="198"/>
                    <a:pt x="197" y="198"/>
                    <a:pt x="196" y="197"/>
                  </a:cubicBezTo>
                  <a:cubicBezTo>
                    <a:pt x="196" y="197"/>
                    <a:pt x="196" y="197"/>
                    <a:pt x="196" y="196"/>
                  </a:cubicBezTo>
                  <a:cubicBezTo>
                    <a:pt x="196" y="196"/>
                    <a:pt x="196" y="196"/>
                    <a:pt x="196" y="196"/>
                  </a:cubicBezTo>
                  <a:cubicBezTo>
                    <a:pt x="196" y="194"/>
                    <a:pt x="197" y="193"/>
                    <a:pt x="198" y="192"/>
                  </a:cubicBezTo>
                  <a:cubicBezTo>
                    <a:pt x="199" y="191"/>
                    <a:pt x="200" y="190"/>
                    <a:pt x="201" y="190"/>
                  </a:cubicBezTo>
                  <a:cubicBezTo>
                    <a:pt x="201" y="189"/>
                    <a:pt x="201" y="189"/>
                    <a:pt x="201" y="189"/>
                  </a:cubicBezTo>
                  <a:cubicBezTo>
                    <a:pt x="201" y="188"/>
                    <a:pt x="201" y="188"/>
                    <a:pt x="201" y="188"/>
                  </a:cubicBezTo>
                  <a:cubicBezTo>
                    <a:pt x="201" y="188"/>
                    <a:pt x="200" y="188"/>
                    <a:pt x="200" y="187"/>
                  </a:cubicBezTo>
                  <a:cubicBezTo>
                    <a:pt x="199" y="187"/>
                    <a:pt x="198" y="187"/>
                    <a:pt x="197" y="185"/>
                  </a:cubicBezTo>
                  <a:cubicBezTo>
                    <a:pt x="196" y="184"/>
                    <a:pt x="196" y="184"/>
                    <a:pt x="196" y="184"/>
                  </a:cubicBezTo>
                  <a:cubicBezTo>
                    <a:pt x="195" y="183"/>
                    <a:pt x="195" y="182"/>
                    <a:pt x="194" y="182"/>
                  </a:cubicBezTo>
                  <a:cubicBezTo>
                    <a:pt x="193" y="181"/>
                    <a:pt x="193" y="180"/>
                    <a:pt x="192" y="180"/>
                  </a:cubicBezTo>
                  <a:cubicBezTo>
                    <a:pt x="192" y="179"/>
                    <a:pt x="192" y="179"/>
                    <a:pt x="192" y="179"/>
                  </a:cubicBezTo>
                  <a:moveTo>
                    <a:pt x="175" y="176"/>
                  </a:moveTo>
                  <a:cubicBezTo>
                    <a:pt x="174" y="176"/>
                    <a:pt x="174" y="176"/>
                    <a:pt x="174" y="176"/>
                  </a:cubicBezTo>
                  <a:cubicBezTo>
                    <a:pt x="174" y="176"/>
                    <a:pt x="174" y="176"/>
                    <a:pt x="174" y="176"/>
                  </a:cubicBezTo>
                  <a:cubicBezTo>
                    <a:pt x="173" y="176"/>
                    <a:pt x="172" y="176"/>
                    <a:pt x="172" y="176"/>
                  </a:cubicBezTo>
                  <a:cubicBezTo>
                    <a:pt x="171" y="177"/>
                    <a:pt x="170" y="177"/>
                    <a:pt x="169" y="177"/>
                  </a:cubicBezTo>
                  <a:cubicBezTo>
                    <a:pt x="169" y="177"/>
                    <a:pt x="169" y="177"/>
                    <a:pt x="169" y="178"/>
                  </a:cubicBezTo>
                  <a:cubicBezTo>
                    <a:pt x="168" y="178"/>
                    <a:pt x="168" y="178"/>
                    <a:pt x="168" y="178"/>
                  </a:cubicBezTo>
                  <a:cubicBezTo>
                    <a:pt x="169" y="179"/>
                    <a:pt x="169" y="179"/>
                    <a:pt x="169" y="179"/>
                  </a:cubicBezTo>
                  <a:cubicBezTo>
                    <a:pt x="169" y="180"/>
                    <a:pt x="169" y="180"/>
                    <a:pt x="169" y="180"/>
                  </a:cubicBezTo>
                  <a:cubicBezTo>
                    <a:pt x="169" y="181"/>
                    <a:pt x="168" y="182"/>
                    <a:pt x="168" y="182"/>
                  </a:cubicBezTo>
                  <a:cubicBezTo>
                    <a:pt x="168" y="183"/>
                    <a:pt x="168" y="183"/>
                    <a:pt x="168" y="184"/>
                  </a:cubicBezTo>
                  <a:cubicBezTo>
                    <a:pt x="168" y="184"/>
                    <a:pt x="168" y="184"/>
                    <a:pt x="168" y="184"/>
                  </a:cubicBezTo>
                  <a:cubicBezTo>
                    <a:pt x="168" y="185"/>
                    <a:pt x="168" y="185"/>
                    <a:pt x="169" y="187"/>
                  </a:cubicBezTo>
                  <a:cubicBezTo>
                    <a:pt x="169" y="187"/>
                    <a:pt x="169" y="187"/>
                    <a:pt x="169" y="187"/>
                  </a:cubicBezTo>
                  <a:cubicBezTo>
                    <a:pt x="169" y="188"/>
                    <a:pt x="169" y="188"/>
                    <a:pt x="169" y="188"/>
                  </a:cubicBezTo>
                  <a:cubicBezTo>
                    <a:pt x="169" y="189"/>
                    <a:pt x="169" y="189"/>
                    <a:pt x="169" y="189"/>
                  </a:cubicBezTo>
                  <a:cubicBezTo>
                    <a:pt x="169" y="189"/>
                    <a:pt x="169" y="189"/>
                    <a:pt x="169" y="189"/>
                  </a:cubicBezTo>
                  <a:cubicBezTo>
                    <a:pt x="169" y="189"/>
                    <a:pt x="169" y="189"/>
                    <a:pt x="169" y="189"/>
                  </a:cubicBezTo>
                  <a:cubicBezTo>
                    <a:pt x="169" y="190"/>
                    <a:pt x="169" y="190"/>
                    <a:pt x="169" y="190"/>
                  </a:cubicBezTo>
                  <a:cubicBezTo>
                    <a:pt x="169" y="190"/>
                    <a:pt x="169" y="190"/>
                    <a:pt x="169" y="190"/>
                  </a:cubicBezTo>
                  <a:cubicBezTo>
                    <a:pt x="170" y="190"/>
                    <a:pt x="170" y="190"/>
                    <a:pt x="170" y="190"/>
                  </a:cubicBezTo>
                  <a:cubicBezTo>
                    <a:pt x="170" y="190"/>
                    <a:pt x="170" y="190"/>
                    <a:pt x="170" y="190"/>
                  </a:cubicBezTo>
                  <a:cubicBezTo>
                    <a:pt x="170" y="190"/>
                    <a:pt x="170" y="190"/>
                    <a:pt x="170" y="190"/>
                  </a:cubicBezTo>
                  <a:cubicBezTo>
                    <a:pt x="170" y="190"/>
                    <a:pt x="170" y="190"/>
                    <a:pt x="170" y="190"/>
                  </a:cubicBezTo>
                  <a:cubicBezTo>
                    <a:pt x="171" y="190"/>
                    <a:pt x="172" y="190"/>
                    <a:pt x="173" y="189"/>
                  </a:cubicBezTo>
                  <a:cubicBezTo>
                    <a:pt x="173" y="189"/>
                    <a:pt x="174" y="189"/>
                    <a:pt x="174" y="189"/>
                  </a:cubicBezTo>
                  <a:cubicBezTo>
                    <a:pt x="175" y="189"/>
                    <a:pt x="175" y="189"/>
                    <a:pt x="175" y="189"/>
                  </a:cubicBezTo>
                  <a:cubicBezTo>
                    <a:pt x="175" y="189"/>
                    <a:pt x="175" y="188"/>
                    <a:pt x="175" y="188"/>
                  </a:cubicBezTo>
                  <a:cubicBezTo>
                    <a:pt x="175" y="187"/>
                    <a:pt x="175" y="187"/>
                    <a:pt x="176" y="186"/>
                  </a:cubicBezTo>
                  <a:cubicBezTo>
                    <a:pt x="176" y="185"/>
                    <a:pt x="176" y="185"/>
                    <a:pt x="176" y="184"/>
                  </a:cubicBezTo>
                  <a:cubicBezTo>
                    <a:pt x="176" y="184"/>
                    <a:pt x="176" y="184"/>
                    <a:pt x="176" y="184"/>
                  </a:cubicBezTo>
                  <a:cubicBezTo>
                    <a:pt x="176" y="184"/>
                    <a:pt x="176" y="183"/>
                    <a:pt x="176" y="183"/>
                  </a:cubicBezTo>
                  <a:cubicBezTo>
                    <a:pt x="176" y="182"/>
                    <a:pt x="176" y="181"/>
                    <a:pt x="176" y="180"/>
                  </a:cubicBezTo>
                  <a:cubicBezTo>
                    <a:pt x="176" y="179"/>
                    <a:pt x="176" y="179"/>
                    <a:pt x="176" y="178"/>
                  </a:cubicBezTo>
                  <a:cubicBezTo>
                    <a:pt x="176" y="178"/>
                    <a:pt x="176" y="178"/>
                    <a:pt x="176" y="178"/>
                  </a:cubicBezTo>
                  <a:cubicBezTo>
                    <a:pt x="176" y="177"/>
                    <a:pt x="175" y="177"/>
                    <a:pt x="175" y="177"/>
                  </a:cubicBezTo>
                  <a:cubicBezTo>
                    <a:pt x="175" y="176"/>
                    <a:pt x="175" y="176"/>
                    <a:pt x="175" y="176"/>
                  </a:cubicBezTo>
                  <a:moveTo>
                    <a:pt x="266" y="141"/>
                  </a:moveTo>
                  <a:cubicBezTo>
                    <a:pt x="267" y="141"/>
                    <a:pt x="268" y="141"/>
                    <a:pt x="269" y="142"/>
                  </a:cubicBezTo>
                  <a:cubicBezTo>
                    <a:pt x="269" y="141"/>
                    <a:pt x="268" y="141"/>
                    <a:pt x="267" y="141"/>
                  </a:cubicBezTo>
                  <a:cubicBezTo>
                    <a:pt x="267" y="141"/>
                    <a:pt x="267" y="141"/>
                    <a:pt x="267" y="141"/>
                  </a:cubicBezTo>
                  <a:cubicBezTo>
                    <a:pt x="267" y="141"/>
                    <a:pt x="266" y="141"/>
                    <a:pt x="266" y="141"/>
                  </a:cubicBezTo>
                  <a:moveTo>
                    <a:pt x="261" y="95"/>
                  </a:moveTo>
                  <a:cubicBezTo>
                    <a:pt x="261" y="95"/>
                    <a:pt x="261" y="95"/>
                    <a:pt x="261" y="95"/>
                  </a:cubicBezTo>
                  <a:moveTo>
                    <a:pt x="223" y="27"/>
                  </a:moveTo>
                  <a:cubicBezTo>
                    <a:pt x="223" y="27"/>
                    <a:pt x="223" y="27"/>
                    <a:pt x="223" y="27"/>
                  </a:cubicBezTo>
                  <a:cubicBezTo>
                    <a:pt x="223" y="27"/>
                    <a:pt x="222" y="27"/>
                    <a:pt x="221" y="27"/>
                  </a:cubicBezTo>
                  <a:cubicBezTo>
                    <a:pt x="221" y="27"/>
                    <a:pt x="221" y="27"/>
                    <a:pt x="221" y="27"/>
                  </a:cubicBezTo>
                  <a:cubicBezTo>
                    <a:pt x="221" y="27"/>
                    <a:pt x="221" y="27"/>
                    <a:pt x="221" y="27"/>
                  </a:cubicBezTo>
                  <a:cubicBezTo>
                    <a:pt x="220" y="27"/>
                    <a:pt x="220" y="27"/>
                    <a:pt x="219" y="27"/>
                  </a:cubicBezTo>
                  <a:cubicBezTo>
                    <a:pt x="219" y="27"/>
                    <a:pt x="219" y="27"/>
                    <a:pt x="219" y="27"/>
                  </a:cubicBezTo>
                  <a:cubicBezTo>
                    <a:pt x="218" y="27"/>
                    <a:pt x="218" y="27"/>
                    <a:pt x="218" y="27"/>
                  </a:cubicBezTo>
                  <a:cubicBezTo>
                    <a:pt x="218" y="28"/>
                    <a:pt x="217" y="29"/>
                    <a:pt x="217" y="29"/>
                  </a:cubicBezTo>
                  <a:cubicBezTo>
                    <a:pt x="216" y="30"/>
                    <a:pt x="215" y="31"/>
                    <a:pt x="215" y="31"/>
                  </a:cubicBezTo>
                  <a:cubicBezTo>
                    <a:pt x="213" y="32"/>
                    <a:pt x="212" y="33"/>
                    <a:pt x="211" y="34"/>
                  </a:cubicBezTo>
                  <a:cubicBezTo>
                    <a:pt x="210" y="36"/>
                    <a:pt x="209" y="37"/>
                    <a:pt x="208" y="39"/>
                  </a:cubicBezTo>
                  <a:cubicBezTo>
                    <a:pt x="207" y="40"/>
                    <a:pt x="206" y="42"/>
                    <a:pt x="204" y="43"/>
                  </a:cubicBezTo>
                  <a:cubicBezTo>
                    <a:pt x="203" y="44"/>
                    <a:pt x="203" y="45"/>
                    <a:pt x="202" y="46"/>
                  </a:cubicBezTo>
                  <a:cubicBezTo>
                    <a:pt x="201" y="47"/>
                    <a:pt x="201" y="48"/>
                    <a:pt x="200" y="49"/>
                  </a:cubicBezTo>
                  <a:cubicBezTo>
                    <a:pt x="198" y="51"/>
                    <a:pt x="197" y="52"/>
                    <a:pt x="196" y="54"/>
                  </a:cubicBezTo>
                  <a:cubicBezTo>
                    <a:pt x="196" y="54"/>
                    <a:pt x="196" y="54"/>
                    <a:pt x="196" y="55"/>
                  </a:cubicBezTo>
                  <a:cubicBezTo>
                    <a:pt x="196" y="56"/>
                    <a:pt x="196" y="56"/>
                    <a:pt x="196" y="56"/>
                  </a:cubicBezTo>
                  <a:cubicBezTo>
                    <a:pt x="196" y="56"/>
                    <a:pt x="196" y="56"/>
                    <a:pt x="196" y="57"/>
                  </a:cubicBezTo>
                  <a:cubicBezTo>
                    <a:pt x="196" y="58"/>
                    <a:pt x="196" y="58"/>
                    <a:pt x="196" y="59"/>
                  </a:cubicBezTo>
                  <a:cubicBezTo>
                    <a:pt x="196" y="59"/>
                    <a:pt x="195" y="59"/>
                    <a:pt x="195" y="59"/>
                  </a:cubicBezTo>
                  <a:cubicBezTo>
                    <a:pt x="195" y="59"/>
                    <a:pt x="195" y="59"/>
                    <a:pt x="195" y="59"/>
                  </a:cubicBezTo>
                  <a:cubicBezTo>
                    <a:pt x="195" y="59"/>
                    <a:pt x="194" y="59"/>
                    <a:pt x="194" y="59"/>
                  </a:cubicBezTo>
                  <a:cubicBezTo>
                    <a:pt x="194" y="59"/>
                    <a:pt x="194" y="59"/>
                    <a:pt x="194" y="59"/>
                  </a:cubicBezTo>
                  <a:cubicBezTo>
                    <a:pt x="194" y="60"/>
                    <a:pt x="194" y="60"/>
                    <a:pt x="194" y="60"/>
                  </a:cubicBezTo>
                  <a:cubicBezTo>
                    <a:pt x="195" y="60"/>
                    <a:pt x="195" y="60"/>
                    <a:pt x="195" y="61"/>
                  </a:cubicBezTo>
                  <a:cubicBezTo>
                    <a:pt x="195" y="62"/>
                    <a:pt x="194" y="62"/>
                    <a:pt x="194" y="63"/>
                  </a:cubicBezTo>
                  <a:cubicBezTo>
                    <a:pt x="193" y="63"/>
                    <a:pt x="193" y="63"/>
                    <a:pt x="193" y="64"/>
                  </a:cubicBezTo>
                  <a:cubicBezTo>
                    <a:pt x="193" y="64"/>
                    <a:pt x="193" y="64"/>
                    <a:pt x="193" y="64"/>
                  </a:cubicBezTo>
                  <a:cubicBezTo>
                    <a:pt x="193" y="65"/>
                    <a:pt x="193" y="66"/>
                    <a:pt x="194" y="67"/>
                  </a:cubicBezTo>
                  <a:cubicBezTo>
                    <a:pt x="194" y="68"/>
                    <a:pt x="194" y="69"/>
                    <a:pt x="194" y="69"/>
                  </a:cubicBezTo>
                  <a:cubicBezTo>
                    <a:pt x="194" y="70"/>
                    <a:pt x="194" y="70"/>
                    <a:pt x="194" y="71"/>
                  </a:cubicBezTo>
                  <a:cubicBezTo>
                    <a:pt x="194" y="71"/>
                    <a:pt x="194" y="72"/>
                    <a:pt x="193" y="73"/>
                  </a:cubicBezTo>
                  <a:cubicBezTo>
                    <a:pt x="193" y="74"/>
                    <a:pt x="192" y="74"/>
                    <a:pt x="192" y="75"/>
                  </a:cubicBezTo>
                  <a:cubicBezTo>
                    <a:pt x="190" y="77"/>
                    <a:pt x="189" y="80"/>
                    <a:pt x="187" y="83"/>
                  </a:cubicBezTo>
                  <a:cubicBezTo>
                    <a:pt x="186" y="84"/>
                    <a:pt x="186" y="84"/>
                    <a:pt x="186" y="85"/>
                  </a:cubicBezTo>
                  <a:cubicBezTo>
                    <a:pt x="186" y="86"/>
                    <a:pt x="187" y="88"/>
                    <a:pt x="187" y="90"/>
                  </a:cubicBezTo>
                  <a:cubicBezTo>
                    <a:pt x="187" y="91"/>
                    <a:pt x="187" y="91"/>
                    <a:pt x="187" y="91"/>
                  </a:cubicBezTo>
                  <a:cubicBezTo>
                    <a:pt x="187" y="91"/>
                    <a:pt x="187" y="92"/>
                    <a:pt x="186" y="93"/>
                  </a:cubicBezTo>
                  <a:cubicBezTo>
                    <a:pt x="186" y="93"/>
                    <a:pt x="186" y="94"/>
                    <a:pt x="186" y="94"/>
                  </a:cubicBezTo>
                  <a:cubicBezTo>
                    <a:pt x="185" y="94"/>
                    <a:pt x="185" y="94"/>
                    <a:pt x="185" y="94"/>
                  </a:cubicBezTo>
                  <a:cubicBezTo>
                    <a:pt x="185" y="94"/>
                    <a:pt x="185" y="94"/>
                    <a:pt x="185" y="94"/>
                  </a:cubicBezTo>
                  <a:cubicBezTo>
                    <a:pt x="185" y="94"/>
                    <a:pt x="185" y="94"/>
                    <a:pt x="185" y="94"/>
                  </a:cubicBezTo>
                  <a:cubicBezTo>
                    <a:pt x="185" y="95"/>
                    <a:pt x="185" y="95"/>
                    <a:pt x="185" y="95"/>
                  </a:cubicBezTo>
                  <a:cubicBezTo>
                    <a:pt x="186" y="95"/>
                    <a:pt x="186" y="95"/>
                    <a:pt x="186" y="95"/>
                  </a:cubicBezTo>
                  <a:cubicBezTo>
                    <a:pt x="187" y="95"/>
                    <a:pt x="187" y="95"/>
                    <a:pt x="187" y="95"/>
                  </a:cubicBezTo>
                  <a:cubicBezTo>
                    <a:pt x="188" y="94"/>
                    <a:pt x="188" y="94"/>
                    <a:pt x="189" y="94"/>
                  </a:cubicBezTo>
                  <a:cubicBezTo>
                    <a:pt x="189" y="94"/>
                    <a:pt x="189" y="94"/>
                    <a:pt x="189" y="94"/>
                  </a:cubicBezTo>
                  <a:cubicBezTo>
                    <a:pt x="189" y="94"/>
                    <a:pt x="190" y="94"/>
                    <a:pt x="190" y="95"/>
                  </a:cubicBezTo>
                  <a:cubicBezTo>
                    <a:pt x="190" y="95"/>
                    <a:pt x="191" y="96"/>
                    <a:pt x="191" y="96"/>
                  </a:cubicBezTo>
                  <a:cubicBezTo>
                    <a:pt x="191" y="97"/>
                    <a:pt x="191" y="98"/>
                    <a:pt x="191" y="99"/>
                  </a:cubicBezTo>
                  <a:cubicBezTo>
                    <a:pt x="192" y="99"/>
                    <a:pt x="192" y="100"/>
                    <a:pt x="192" y="100"/>
                  </a:cubicBezTo>
                  <a:cubicBezTo>
                    <a:pt x="192" y="101"/>
                    <a:pt x="191" y="102"/>
                    <a:pt x="191" y="103"/>
                  </a:cubicBezTo>
                  <a:cubicBezTo>
                    <a:pt x="191" y="103"/>
                    <a:pt x="191" y="104"/>
                    <a:pt x="192" y="104"/>
                  </a:cubicBezTo>
                  <a:cubicBezTo>
                    <a:pt x="192" y="104"/>
                    <a:pt x="192" y="104"/>
                    <a:pt x="192" y="105"/>
                  </a:cubicBezTo>
                  <a:cubicBezTo>
                    <a:pt x="193" y="105"/>
                    <a:pt x="194" y="105"/>
                    <a:pt x="195" y="105"/>
                  </a:cubicBezTo>
                  <a:cubicBezTo>
                    <a:pt x="196" y="105"/>
                    <a:pt x="197" y="106"/>
                    <a:pt x="198" y="106"/>
                  </a:cubicBezTo>
                  <a:cubicBezTo>
                    <a:pt x="199" y="107"/>
                    <a:pt x="199" y="107"/>
                    <a:pt x="200" y="108"/>
                  </a:cubicBezTo>
                  <a:cubicBezTo>
                    <a:pt x="200" y="108"/>
                    <a:pt x="200" y="109"/>
                    <a:pt x="200" y="109"/>
                  </a:cubicBezTo>
                  <a:cubicBezTo>
                    <a:pt x="200" y="110"/>
                    <a:pt x="199" y="111"/>
                    <a:pt x="199" y="111"/>
                  </a:cubicBezTo>
                  <a:cubicBezTo>
                    <a:pt x="199" y="112"/>
                    <a:pt x="198" y="112"/>
                    <a:pt x="198" y="113"/>
                  </a:cubicBezTo>
                  <a:cubicBezTo>
                    <a:pt x="196" y="113"/>
                    <a:pt x="195" y="114"/>
                    <a:pt x="195" y="114"/>
                  </a:cubicBezTo>
                  <a:cubicBezTo>
                    <a:pt x="194" y="114"/>
                    <a:pt x="194" y="115"/>
                    <a:pt x="194" y="116"/>
                  </a:cubicBezTo>
                  <a:cubicBezTo>
                    <a:pt x="194" y="118"/>
                    <a:pt x="194" y="119"/>
                    <a:pt x="194" y="120"/>
                  </a:cubicBezTo>
                  <a:cubicBezTo>
                    <a:pt x="193" y="121"/>
                    <a:pt x="193" y="122"/>
                    <a:pt x="193" y="123"/>
                  </a:cubicBezTo>
                  <a:cubicBezTo>
                    <a:pt x="193" y="124"/>
                    <a:pt x="194" y="125"/>
                    <a:pt x="195" y="127"/>
                  </a:cubicBezTo>
                  <a:cubicBezTo>
                    <a:pt x="195" y="128"/>
                    <a:pt x="196" y="129"/>
                    <a:pt x="196" y="130"/>
                  </a:cubicBezTo>
                  <a:cubicBezTo>
                    <a:pt x="196" y="131"/>
                    <a:pt x="196" y="132"/>
                    <a:pt x="196" y="132"/>
                  </a:cubicBezTo>
                  <a:cubicBezTo>
                    <a:pt x="196" y="132"/>
                    <a:pt x="196" y="133"/>
                    <a:pt x="196" y="133"/>
                  </a:cubicBezTo>
                  <a:cubicBezTo>
                    <a:pt x="197" y="134"/>
                    <a:pt x="197" y="134"/>
                    <a:pt x="198" y="135"/>
                  </a:cubicBezTo>
                  <a:cubicBezTo>
                    <a:pt x="199" y="136"/>
                    <a:pt x="199" y="136"/>
                    <a:pt x="199" y="137"/>
                  </a:cubicBezTo>
                  <a:cubicBezTo>
                    <a:pt x="200" y="137"/>
                    <a:pt x="200" y="137"/>
                    <a:pt x="200" y="137"/>
                  </a:cubicBezTo>
                  <a:cubicBezTo>
                    <a:pt x="201" y="137"/>
                    <a:pt x="203" y="137"/>
                    <a:pt x="204" y="138"/>
                  </a:cubicBezTo>
                  <a:cubicBezTo>
                    <a:pt x="205" y="139"/>
                    <a:pt x="205" y="140"/>
                    <a:pt x="205" y="141"/>
                  </a:cubicBezTo>
                  <a:cubicBezTo>
                    <a:pt x="205" y="142"/>
                    <a:pt x="205" y="142"/>
                    <a:pt x="205" y="142"/>
                  </a:cubicBezTo>
                  <a:cubicBezTo>
                    <a:pt x="205" y="144"/>
                    <a:pt x="204" y="147"/>
                    <a:pt x="204" y="149"/>
                  </a:cubicBezTo>
                  <a:cubicBezTo>
                    <a:pt x="203" y="150"/>
                    <a:pt x="203" y="151"/>
                    <a:pt x="203" y="152"/>
                  </a:cubicBezTo>
                  <a:cubicBezTo>
                    <a:pt x="203" y="152"/>
                    <a:pt x="203" y="152"/>
                    <a:pt x="203" y="152"/>
                  </a:cubicBezTo>
                  <a:cubicBezTo>
                    <a:pt x="204" y="153"/>
                    <a:pt x="204" y="153"/>
                    <a:pt x="204" y="153"/>
                  </a:cubicBezTo>
                  <a:cubicBezTo>
                    <a:pt x="204" y="153"/>
                    <a:pt x="204" y="153"/>
                    <a:pt x="205" y="154"/>
                  </a:cubicBezTo>
                  <a:cubicBezTo>
                    <a:pt x="205" y="155"/>
                    <a:pt x="205" y="155"/>
                    <a:pt x="205" y="156"/>
                  </a:cubicBezTo>
                  <a:cubicBezTo>
                    <a:pt x="205" y="158"/>
                    <a:pt x="204" y="159"/>
                    <a:pt x="204" y="161"/>
                  </a:cubicBezTo>
                  <a:cubicBezTo>
                    <a:pt x="204" y="163"/>
                    <a:pt x="204" y="165"/>
                    <a:pt x="203" y="167"/>
                  </a:cubicBezTo>
                  <a:cubicBezTo>
                    <a:pt x="203" y="169"/>
                    <a:pt x="202" y="170"/>
                    <a:pt x="202" y="172"/>
                  </a:cubicBezTo>
                  <a:cubicBezTo>
                    <a:pt x="202" y="172"/>
                    <a:pt x="202" y="173"/>
                    <a:pt x="202" y="173"/>
                  </a:cubicBezTo>
                  <a:cubicBezTo>
                    <a:pt x="203" y="174"/>
                    <a:pt x="203" y="175"/>
                    <a:pt x="205" y="177"/>
                  </a:cubicBezTo>
                  <a:cubicBezTo>
                    <a:pt x="206" y="178"/>
                    <a:pt x="208" y="178"/>
                    <a:pt x="210" y="179"/>
                  </a:cubicBezTo>
                  <a:cubicBezTo>
                    <a:pt x="212" y="180"/>
                    <a:pt x="213" y="182"/>
                    <a:pt x="214" y="183"/>
                  </a:cubicBezTo>
                  <a:cubicBezTo>
                    <a:pt x="214" y="184"/>
                    <a:pt x="215" y="184"/>
                    <a:pt x="215" y="185"/>
                  </a:cubicBezTo>
                  <a:cubicBezTo>
                    <a:pt x="215" y="185"/>
                    <a:pt x="215" y="185"/>
                    <a:pt x="215" y="185"/>
                  </a:cubicBezTo>
                  <a:cubicBezTo>
                    <a:pt x="216" y="186"/>
                    <a:pt x="216" y="187"/>
                    <a:pt x="216" y="187"/>
                  </a:cubicBezTo>
                  <a:cubicBezTo>
                    <a:pt x="216" y="187"/>
                    <a:pt x="217" y="188"/>
                    <a:pt x="217" y="188"/>
                  </a:cubicBezTo>
                  <a:cubicBezTo>
                    <a:pt x="217" y="189"/>
                    <a:pt x="218" y="189"/>
                    <a:pt x="218" y="190"/>
                  </a:cubicBezTo>
                  <a:cubicBezTo>
                    <a:pt x="219" y="192"/>
                    <a:pt x="219" y="194"/>
                    <a:pt x="220" y="196"/>
                  </a:cubicBezTo>
                  <a:cubicBezTo>
                    <a:pt x="221" y="197"/>
                    <a:pt x="221" y="198"/>
                    <a:pt x="222" y="199"/>
                  </a:cubicBezTo>
                  <a:cubicBezTo>
                    <a:pt x="223" y="201"/>
                    <a:pt x="224" y="201"/>
                    <a:pt x="226" y="202"/>
                  </a:cubicBezTo>
                  <a:cubicBezTo>
                    <a:pt x="229" y="203"/>
                    <a:pt x="232" y="203"/>
                    <a:pt x="235" y="205"/>
                  </a:cubicBezTo>
                  <a:cubicBezTo>
                    <a:pt x="235" y="206"/>
                    <a:pt x="236" y="206"/>
                    <a:pt x="236" y="206"/>
                  </a:cubicBezTo>
                  <a:cubicBezTo>
                    <a:pt x="237" y="207"/>
                    <a:pt x="237" y="207"/>
                    <a:pt x="237" y="208"/>
                  </a:cubicBezTo>
                  <a:cubicBezTo>
                    <a:pt x="237" y="208"/>
                    <a:pt x="237" y="208"/>
                    <a:pt x="238" y="209"/>
                  </a:cubicBezTo>
                  <a:cubicBezTo>
                    <a:pt x="238" y="209"/>
                    <a:pt x="237" y="210"/>
                    <a:pt x="237" y="210"/>
                  </a:cubicBezTo>
                  <a:cubicBezTo>
                    <a:pt x="237" y="210"/>
                    <a:pt x="237" y="210"/>
                    <a:pt x="237" y="210"/>
                  </a:cubicBezTo>
                  <a:cubicBezTo>
                    <a:pt x="237" y="211"/>
                    <a:pt x="237" y="211"/>
                    <a:pt x="236" y="211"/>
                  </a:cubicBezTo>
                  <a:cubicBezTo>
                    <a:pt x="237" y="211"/>
                    <a:pt x="237" y="211"/>
                    <a:pt x="237" y="211"/>
                  </a:cubicBezTo>
                  <a:cubicBezTo>
                    <a:pt x="237" y="211"/>
                    <a:pt x="238" y="211"/>
                    <a:pt x="239" y="212"/>
                  </a:cubicBezTo>
                  <a:cubicBezTo>
                    <a:pt x="239" y="212"/>
                    <a:pt x="239" y="212"/>
                    <a:pt x="239" y="212"/>
                  </a:cubicBezTo>
                  <a:cubicBezTo>
                    <a:pt x="240" y="211"/>
                    <a:pt x="240" y="211"/>
                    <a:pt x="240" y="211"/>
                  </a:cubicBezTo>
                  <a:cubicBezTo>
                    <a:pt x="240" y="211"/>
                    <a:pt x="240" y="211"/>
                    <a:pt x="241" y="211"/>
                  </a:cubicBezTo>
                  <a:cubicBezTo>
                    <a:pt x="241" y="211"/>
                    <a:pt x="241" y="211"/>
                    <a:pt x="241" y="211"/>
                  </a:cubicBezTo>
                  <a:cubicBezTo>
                    <a:pt x="241" y="211"/>
                    <a:pt x="242" y="211"/>
                    <a:pt x="242" y="212"/>
                  </a:cubicBezTo>
                  <a:cubicBezTo>
                    <a:pt x="242" y="212"/>
                    <a:pt x="242" y="212"/>
                    <a:pt x="242" y="212"/>
                  </a:cubicBezTo>
                  <a:cubicBezTo>
                    <a:pt x="243" y="213"/>
                    <a:pt x="243" y="213"/>
                    <a:pt x="243" y="213"/>
                  </a:cubicBezTo>
                  <a:cubicBezTo>
                    <a:pt x="243" y="213"/>
                    <a:pt x="243" y="213"/>
                    <a:pt x="243" y="213"/>
                  </a:cubicBezTo>
                  <a:cubicBezTo>
                    <a:pt x="243" y="213"/>
                    <a:pt x="243" y="213"/>
                    <a:pt x="243" y="213"/>
                  </a:cubicBezTo>
                  <a:cubicBezTo>
                    <a:pt x="244" y="213"/>
                    <a:pt x="244" y="213"/>
                    <a:pt x="244" y="213"/>
                  </a:cubicBezTo>
                  <a:cubicBezTo>
                    <a:pt x="244" y="212"/>
                    <a:pt x="243" y="211"/>
                    <a:pt x="242" y="211"/>
                  </a:cubicBezTo>
                  <a:cubicBezTo>
                    <a:pt x="241" y="210"/>
                    <a:pt x="241" y="209"/>
                    <a:pt x="240" y="208"/>
                  </a:cubicBezTo>
                  <a:cubicBezTo>
                    <a:pt x="239" y="208"/>
                    <a:pt x="239" y="207"/>
                    <a:pt x="238" y="207"/>
                  </a:cubicBezTo>
                  <a:cubicBezTo>
                    <a:pt x="237" y="206"/>
                    <a:pt x="236" y="206"/>
                    <a:pt x="236" y="205"/>
                  </a:cubicBezTo>
                  <a:cubicBezTo>
                    <a:pt x="236" y="205"/>
                    <a:pt x="235" y="205"/>
                    <a:pt x="234" y="204"/>
                  </a:cubicBezTo>
                  <a:cubicBezTo>
                    <a:pt x="234" y="203"/>
                    <a:pt x="234" y="203"/>
                    <a:pt x="233" y="202"/>
                  </a:cubicBezTo>
                  <a:cubicBezTo>
                    <a:pt x="233" y="201"/>
                    <a:pt x="232" y="200"/>
                    <a:pt x="232" y="200"/>
                  </a:cubicBezTo>
                  <a:cubicBezTo>
                    <a:pt x="231" y="199"/>
                    <a:pt x="230" y="198"/>
                    <a:pt x="230" y="197"/>
                  </a:cubicBezTo>
                  <a:cubicBezTo>
                    <a:pt x="228" y="194"/>
                    <a:pt x="226" y="190"/>
                    <a:pt x="224" y="187"/>
                  </a:cubicBezTo>
                  <a:cubicBezTo>
                    <a:pt x="224" y="185"/>
                    <a:pt x="222" y="184"/>
                    <a:pt x="222" y="182"/>
                  </a:cubicBezTo>
                  <a:cubicBezTo>
                    <a:pt x="221" y="181"/>
                    <a:pt x="220" y="179"/>
                    <a:pt x="220" y="177"/>
                  </a:cubicBezTo>
                  <a:cubicBezTo>
                    <a:pt x="219" y="177"/>
                    <a:pt x="219" y="176"/>
                    <a:pt x="219" y="175"/>
                  </a:cubicBezTo>
                  <a:cubicBezTo>
                    <a:pt x="219" y="173"/>
                    <a:pt x="219" y="172"/>
                    <a:pt x="218" y="172"/>
                  </a:cubicBezTo>
                  <a:cubicBezTo>
                    <a:pt x="218" y="169"/>
                    <a:pt x="217" y="167"/>
                    <a:pt x="216" y="165"/>
                  </a:cubicBezTo>
                  <a:cubicBezTo>
                    <a:pt x="215" y="164"/>
                    <a:pt x="215" y="163"/>
                    <a:pt x="214" y="162"/>
                  </a:cubicBezTo>
                  <a:cubicBezTo>
                    <a:pt x="213" y="161"/>
                    <a:pt x="213" y="160"/>
                    <a:pt x="213" y="159"/>
                  </a:cubicBezTo>
                  <a:cubicBezTo>
                    <a:pt x="213" y="159"/>
                    <a:pt x="213" y="159"/>
                    <a:pt x="213" y="159"/>
                  </a:cubicBezTo>
                  <a:cubicBezTo>
                    <a:pt x="213" y="157"/>
                    <a:pt x="214" y="156"/>
                    <a:pt x="214" y="156"/>
                  </a:cubicBezTo>
                  <a:cubicBezTo>
                    <a:pt x="213" y="155"/>
                    <a:pt x="213" y="155"/>
                    <a:pt x="213" y="155"/>
                  </a:cubicBezTo>
                  <a:cubicBezTo>
                    <a:pt x="213" y="154"/>
                    <a:pt x="213" y="154"/>
                    <a:pt x="213" y="154"/>
                  </a:cubicBezTo>
                  <a:cubicBezTo>
                    <a:pt x="213" y="154"/>
                    <a:pt x="214" y="153"/>
                    <a:pt x="214" y="153"/>
                  </a:cubicBezTo>
                  <a:cubicBezTo>
                    <a:pt x="214" y="153"/>
                    <a:pt x="214" y="153"/>
                    <a:pt x="214" y="153"/>
                  </a:cubicBezTo>
                  <a:cubicBezTo>
                    <a:pt x="215" y="152"/>
                    <a:pt x="215" y="152"/>
                    <a:pt x="215" y="152"/>
                  </a:cubicBezTo>
                  <a:cubicBezTo>
                    <a:pt x="215" y="152"/>
                    <a:pt x="215" y="151"/>
                    <a:pt x="215" y="151"/>
                  </a:cubicBezTo>
                  <a:cubicBezTo>
                    <a:pt x="215" y="150"/>
                    <a:pt x="215" y="149"/>
                    <a:pt x="215" y="148"/>
                  </a:cubicBezTo>
                  <a:cubicBezTo>
                    <a:pt x="215" y="147"/>
                    <a:pt x="215" y="147"/>
                    <a:pt x="215" y="147"/>
                  </a:cubicBezTo>
                  <a:cubicBezTo>
                    <a:pt x="215" y="147"/>
                    <a:pt x="215" y="147"/>
                    <a:pt x="215" y="147"/>
                  </a:cubicBezTo>
                  <a:cubicBezTo>
                    <a:pt x="215" y="146"/>
                    <a:pt x="216" y="145"/>
                    <a:pt x="216" y="145"/>
                  </a:cubicBezTo>
                  <a:cubicBezTo>
                    <a:pt x="215" y="144"/>
                    <a:pt x="215" y="144"/>
                    <a:pt x="215" y="144"/>
                  </a:cubicBezTo>
                  <a:cubicBezTo>
                    <a:pt x="215" y="144"/>
                    <a:pt x="215" y="144"/>
                    <a:pt x="215" y="144"/>
                  </a:cubicBezTo>
                  <a:cubicBezTo>
                    <a:pt x="215" y="143"/>
                    <a:pt x="215" y="143"/>
                    <a:pt x="215" y="143"/>
                  </a:cubicBezTo>
                  <a:cubicBezTo>
                    <a:pt x="215" y="143"/>
                    <a:pt x="215" y="143"/>
                    <a:pt x="214" y="143"/>
                  </a:cubicBezTo>
                  <a:cubicBezTo>
                    <a:pt x="214" y="142"/>
                    <a:pt x="212" y="142"/>
                    <a:pt x="212" y="140"/>
                  </a:cubicBezTo>
                  <a:cubicBezTo>
                    <a:pt x="212" y="139"/>
                    <a:pt x="212" y="139"/>
                    <a:pt x="212" y="139"/>
                  </a:cubicBezTo>
                  <a:cubicBezTo>
                    <a:pt x="212" y="139"/>
                    <a:pt x="212" y="139"/>
                    <a:pt x="212" y="138"/>
                  </a:cubicBezTo>
                  <a:cubicBezTo>
                    <a:pt x="213" y="138"/>
                    <a:pt x="213" y="138"/>
                    <a:pt x="213" y="138"/>
                  </a:cubicBezTo>
                  <a:cubicBezTo>
                    <a:pt x="213" y="137"/>
                    <a:pt x="214" y="137"/>
                    <a:pt x="214" y="136"/>
                  </a:cubicBezTo>
                  <a:cubicBezTo>
                    <a:pt x="214" y="136"/>
                    <a:pt x="214" y="136"/>
                    <a:pt x="214" y="136"/>
                  </a:cubicBezTo>
                  <a:cubicBezTo>
                    <a:pt x="214" y="135"/>
                    <a:pt x="214" y="135"/>
                    <a:pt x="214" y="134"/>
                  </a:cubicBezTo>
                  <a:cubicBezTo>
                    <a:pt x="214" y="133"/>
                    <a:pt x="214" y="133"/>
                    <a:pt x="214" y="132"/>
                  </a:cubicBezTo>
                  <a:cubicBezTo>
                    <a:pt x="215" y="131"/>
                    <a:pt x="216" y="131"/>
                    <a:pt x="216" y="130"/>
                  </a:cubicBezTo>
                  <a:cubicBezTo>
                    <a:pt x="217" y="130"/>
                    <a:pt x="218" y="130"/>
                    <a:pt x="219" y="130"/>
                  </a:cubicBezTo>
                  <a:cubicBezTo>
                    <a:pt x="219" y="130"/>
                    <a:pt x="220" y="130"/>
                    <a:pt x="221" y="130"/>
                  </a:cubicBezTo>
                  <a:cubicBezTo>
                    <a:pt x="222" y="129"/>
                    <a:pt x="223" y="129"/>
                    <a:pt x="224" y="129"/>
                  </a:cubicBezTo>
                  <a:cubicBezTo>
                    <a:pt x="224" y="129"/>
                    <a:pt x="225" y="129"/>
                    <a:pt x="225" y="129"/>
                  </a:cubicBezTo>
                  <a:cubicBezTo>
                    <a:pt x="226" y="130"/>
                    <a:pt x="226" y="130"/>
                    <a:pt x="226" y="130"/>
                  </a:cubicBezTo>
                  <a:cubicBezTo>
                    <a:pt x="226" y="130"/>
                    <a:pt x="226" y="130"/>
                    <a:pt x="226" y="130"/>
                  </a:cubicBezTo>
                  <a:cubicBezTo>
                    <a:pt x="226" y="130"/>
                    <a:pt x="227" y="130"/>
                    <a:pt x="228" y="130"/>
                  </a:cubicBezTo>
                  <a:cubicBezTo>
                    <a:pt x="229" y="130"/>
                    <a:pt x="229" y="130"/>
                    <a:pt x="230" y="130"/>
                  </a:cubicBezTo>
                  <a:cubicBezTo>
                    <a:pt x="231" y="130"/>
                    <a:pt x="232" y="131"/>
                    <a:pt x="232" y="131"/>
                  </a:cubicBezTo>
                  <a:cubicBezTo>
                    <a:pt x="232" y="132"/>
                    <a:pt x="233" y="132"/>
                    <a:pt x="233" y="133"/>
                  </a:cubicBezTo>
                  <a:cubicBezTo>
                    <a:pt x="233" y="133"/>
                    <a:pt x="234" y="133"/>
                    <a:pt x="234" y="133"/>
                  </a:cubicBezTo>
                  <a:cubicBezTo>
                    <a:pt x="235" y="134"/>
                    <a:pt x="236" y="134"/>
                    <a:pt x="236" y="134"/>
                  </a:cubicBezTo>
                  <a:cubicBezTo>
                    <a:pt x="238" y="134"/>
                    <a:pt x="239" y="134"/>
                    <a:pt x="240" y="134"/>
                  </a:cubicBezTo>
                  <a:cubicBezTo>
                    <a:pt x="240" y="134"/>
                    <a:pt x="240" y="134"/>
                    <a:pt x="240" y="134"/>
                  </a:cubicBezTo>
                  <a:cubicBezTo>
                    <a:pt x="240" y="134"/>
                    <a:pt x="240" y="134"/>
                    <a:pt x="240" y="134"/>
                  </a:cubicBezTo>
                  <a:cubicBezTo>
                    <a:pt x="241" y="134"/>
                    <a:pt x="242" y="134"/>
                    <a:pt x="243" y="134"/>
                  </a:cubicBezTo>
                  <a:cubicBezTo>
                    <a:pt x="244" y="134"/>
                    <a:pt x="245" y="134"/>
                    <a:pt x="246" y="134"/>
                  </a:cubicBezTo>
                  <a:cubicBezTo>
                    <a:pt x="247" y="134"/>
                    <a:pt x="247" y="134"/>
                    <a:pt x="248" y="134"/>
                  </a:cubicBezTo>
                  <a:cubicBezTo>
                    <a:pt x="249" y="134"/>
                    <a:pt x="249" y="134"/>
                    <a:pt x="250" y="134"/>
                  </a:cubicBezTo>
                  <a:cubicBezTo>
                    <a:pt x="250" y="134"/>
                    <a:pt x="251" y="135"/>
                    <a:pt x="251" y="135"/>
                  </a:cubicBezTo>
                  <a:cubicBezTo>
                    <a:pt x="253" y="137"/>
                    <a:pt x="253" y="138"/>
                    <a:pt x="255" y="139"/>
                  </a:cubicBezTo>
                  <a:cubicBezTo>
                    <a:pt x="257" y="139"/>
                    <a:pt x="259" y="139"/>
                    <a:pt x="261" y="140"/>
                  </a:cubicBezTo>
                  <a:cubicBezTo>
                    <a:pt x="261" y="140"/>
                    <a:pt x="262" y="140"/>
                    <a:pt x="262" y="140"/>
                  </a:cubicBezTo>
                  <a:cubicBezTo>
                    <a:pt x="262" y="140"/>
                    <a:pt x="262" y="140"/>
                    <a:pt x="261" y="139"/>
                  </a:cubicBezTo>
                  <a:cubicBezTo>
                    <a:pt x="261" y="139"/>
                    <a:pt x="261" y="138"/>
                    <a:pt x="261" y="138"/>
                  </a:cubicBezTo>
                  <a:cubicBezTo>
                    <a:pt x="261" y="137"/>
                    <a:pt x="261" y="137"/>
                    <a:pt x="261" y="136"/>
                  </a:cubicBezTo>
                  <a:cubicBezTo>
                    <a:pt x="261" y="136"/>
                    <a:pt x="261" y="136"/>
                    <a:pt x="261" y="136"/>
                  </a:cubicBezTo>
                  <a:cubicBezTo>
                    <a:pt x="262" y="135"/>
                    <a:pt x="261" y="135"/>
                    <a:pt x="262" y="134"/>
                  </a:cubicBezTo>
                  <a:cubicBezTo>
                    <a:pt x="262" y="133"/>
                    <a:pt x="262" y="132"/>
                    <a:pt x="262" y="132"/>
                  </a:cubicBezTo>
                  <a:cubicBezTo>
                    <a:pt x="262" y="132"/>
                    <a:pt x="262" y="132"/>
                    <a:pt x="262" y="132"/>
                  </a:cubicBezTo>
                  <a:cubicBezTo>
                    <a:pt x="262" y="131"/>
                    <a:pt x="262" y="130"/>
                    <a:pt x="261" y="129"/>
                  </a:cubicBezTo>
                  <a:cubicBezTo>
                    <a:pt x="261" y="128"/>
                    <a:pt x="261" y="128"/>
                    <a:pt x="261" y="128"/>
                  </a:cubicBezTo>
                  <a:cubicBezTo>
                    <a:pt x="261" y="127"/>
                    <a:pt x="261" y="127"/>
                    <a:pt x="261" y="127"/>
                  </a:cubicBezTo>
                  <a:cubicBezTo>
                    <a:pt x="261" y="127"/>
                    <a:pt x="261" y="127"/>
                    <a:pt x="261" y="127"/>
                  </a:cubicBezTo>
                  <a:cubicBezTo>
                    <a:pt x="260" y="127"/>
                    <a:pt x="260" y="127"/>
                    <a:pt x="259" y="127"/>
                  </a:cubicBezTo>
                  <a:cubicBezTo>
                    <a:pt x="258" y="127"/>
                    <a:pt x="258" y="126"/>
                    <a:pt x="257" y="126"/>
                  </a:cubicBezTo>
                  <a:cubicBezTo>
                    <a:pt x="255" y="126"/>
                    <a:pt x="254" y="125"/>
                    <a:pt x="252" y="125"/>
                  </a:cubicBezTo>
                  <a:cubicBezTo>
                    <a:pt x="252" y="125"/>
                    <a:pt x="251" y="125"/>
                    <a:pt x="250" y="124"/>
                  </a:cubicBezTo>
                  <a:cubicBezTo>
                    <a:pt x="250" y="124"/>
                    <a:pt x="250" y="124"/>
                    <a:pt x="250" y="124"/>
                  </a:cubicBezTo>
                  <a:cubicBezTo>
                    <a:pt x="250" y="123"/>
                    <a:pt x="250" y="123"/>
                    <a:pt x="250" y="123"/>
                  </a:cubicBezTo>
                  <a:cubicBezTo>
                    <a:pt x="249" y="123"/>
                    <a:pt x="249" y="123"/>
                    <a:pt x="248" y="123"/>
                  </a:cubicBezTo>
                  <a:cubicBezTo>
                    <a:pt x="248" y="122"/>
                    <a:pt x="247" y="122"/>
                    <a:pt x="247" y="122"/>
                  </a:cubicBezTo>
                  <a:cubicBezTo>
                    <a:pt x="246" y="122"/>
                    <a:pt x="245" y="122"/>
                    <a:pt x="244" y="122"/>
                  </a:cubicBezTo>
                  <a:cubicBezTo>
                    <a:pt x="244" y="122"/>
                    <a:pt x="244" y="122"/>
                    <a:pt x="244" y="122"/>
                  </a:cubicBezTo>
                  <a:cubicBezTo>
                    <a:pt x="243" y="122"/>
                    <a:pt x="243" y="122"/>
                    <a:pt x="243" y="122"/>
                  </a:cubicBezTo>
                  <a:cubicBezTo>
                    <a:pt x="243" y="122"/>
                    <a:pt x="242" y="122"/>
                    <a:pt x="242" y="121"/>
                  </a:cubicBezTo>
                  <a:cubicBezTo>
                    <a:pt x="241" y="121"/>
                    <a:pt x="241" y="121"/>
                    <a:pt x="241" y="121"/>
                  </a:cubicBezTo>
                  <a:cubicBezTo>
                    <a:pt x="241" y="121"/>
                    <a:pt x="241" y="121"/>
                    <a:pt x="241" y="121"/>
                  </a:cubicBezTo>
                  <a:cubicBezTo>
                    <a:pt x="240" y="120"/>
                    <a:pt x="240" y="120"/>
                    <a:pt x="240" y="120"/>
                  </a:cubicBezTo>
                  <a:cubicBezTo>
                    <a:pt x="239" y="120"/>
                    <a:pt x="239" y="120"/>
                    <a:pt x="239" y="120"/>
                  </a:cubicBezTo>
                  <a:cubicBezTo>
                    <a:pt x="239" y="118"/>
                    <a:pt x="239" y="118"/>
                    <a:pt x="239" y="118"/>
                  </a:cubicBezTo>
                  <a:cubicBezTo>
                    <a:pt x="238" y="118"/>
                    <a:pt x="238" y="118"/>
                    <a:pt x="238" y="118"/>
                  </a:cubicBezTo>
                  <a:cubicBezTo>
                    <a:pt x="238" y="117"/>
                    <a:pt x="238" y="117"/>
                    <a:pt x="238" y="117"/>
                  </a:cubicBezTo>
                  <a:cubicBezTo>
                    <a:pt x="237" y="117"/>
                    <a:pt x="237" y="117"/>
                    <a:pt x="237" y="117"/>
                  </a:cubicBezTo>
                  <a:cubicBezTo>
                    <a:pt x="237" y="116"/>
                    <a:pt x="237" y="116"/>
                    <a:pt x="237" y="116"/>
                  </a:cubicBezTo>
                  <a:cubicBezTo>
                    <a:pt x="237" y="116"/>
                    <a:pt x="236" y="116"/>
                    <a:pt x="236" y="116"/>
                  </a:cubicBezTo>
                  <a:cubicBezTo>
                    <a:pt x="235" y="116"/>
                    <a:pt x="235" y="116"/>
                    <a:pt x="234" y="115"/>
                  </a:cubicBezTo>
                  <a:cubicBezTo>
                    <a:pt x="233" y="114"/>
                    <a:pt x="233" y="113"/>
                    <a:pt x="233" y="113"/>
                  </a:cubicBezTo>
                  <a:cubicBezTo>
                    <a:pt x="233" y="112"/>
                    <a:pt x="233" y="112"/>
                    <a:pt x="233" y="111"/>
                  </a:cubicBezTo>
                  <a:cubicBezTo>
                    <a:pt x="233" y="110"/>
                    <a:pt x="233" y="110"/>
                    <a:pt x="233" y="110"/>
                  </a:cubicBezTo>
                  <a:cubicBezTo>
                    <a:pt x="233" y="110"/>
                    <a:pt x="233" y="110"/>
                    <a:pt x="233" y="110"/>
                  </a:cubicBezTo>
                  <a:cubicBezTo>
                    <a:pt x="234" y="109"/>
                    <a:pt x="234" y="109"/>
                    <a:pt x="234" y="109"/>
                  </a:cubicBezTo>
                  <a:cubicBezTo>
                    <a:pt x="235" y="109"/>
                    <a:pt x="235" y="109"/>
                    <a:pt x="235" y="109"/>
                  </a:cubicBezTo>
                  <a:cubicBezTo>
                    <a:pt x="236" y="108"/>
                    <a:pt x="236" y="108"/>
                    <a:pt x="236" y="108"/>
                  </a:cubicBezTo>
                  <a:cubicBezTo>
                    <a:pt x="236" y="108"/>
                    <a:pt x="237" y="108"/>
                    <a:pt x="237" y="108"/>
                  </a:cubicBezTo>
                  <a:cubicBezTo>
                    <a:pt x="237" y="108"/>
                    <a:pt x="237" y="108"/>
                    <a:pt x="237" y="108"/>
                  </a:cubicBezTo>
                  <a:cubicBezTo>
                    <a:pt x="237" y="108"/>
                    <a:pt x="237" y="108"/>
                    <a:pt x="238" y="108"/>
                  </a:cubicBezTo>
                  <a:cubicBezTo>
                    <a:pt x="238" y="108"/>
                    <a:pt x="237" y="107"/>
                    <a:pt x="237" y="107"/>
                  </a:cubicBezTo>
                  <a:cubicBezTo>
                    <a:pt x="237" y="107"/>
                    <a:pt x="237" y="107"/>
                    <a:pt x="237" y="107"/>
                  </a:cubicBezTo>
                  <a:cubicBezTo>
                    <a:pt x="238" y="107"/>
                    <a:pt x="238" y="107"/>
                    <a:pt x="238" y="107"/>
                  </a:cubicBezTo>
                  <a:cubicBezTo>
                    <a:pt x="238" y="106"/>
                    <a:pt x="238" y="105"/>
                    <a:pt x="239" y="105"/>
                  </a:cubicBezTo>
                  <a:cubicBezTo>
                    <a:pt x="240" y="104"/>
                    <a:pt x="240" y="103"/>
                    <a:pt x="242" y="103"/>
                  </a:cubicBezTo>
                  <a:cubicBezTo>
                    <a:pt x="243" y="103"/>
                    <a:pt x="244" y="102"/>
                    <a:pt x="245" y="102"/>
                  </a:cubicBezTo>
                  <a:cubicBezTo>
                    <a:pt x="247" y="102"/>
                    <a:pt x="249" y="101"/>
                    <a:pt x="250" y="100"/>
                  </a:cubicBezTo>
                  <a:cubicBezTo>
                    <a:pt x="251" y="100"/>
                    <a:pt x="252" y="99"/>
                    <a:pt x="252" y="99"/>
                  </a:cubicBezTo>
                  <a:cubicBezTo>
                    <a:pt x="253" y="99"/>
                    <a:pt x="254" y="99"/>
                    <a:pt x="254" y="98"/>
                  </a:cubicBezTo>
                  <a:cubicBezTo>
                    <a:pt x="254" y="98"/>
                    <a:pt x="255" y="97"/>
                    <a:pt x="256" y="96"/>
                  </a:cubicBezTo>
                  <a:cubicBezTo>
                    <a:pt x="257" y="96"/>
                    <a:pt x="257" y="96"/>
                    <a:pt x="257" y="96"/>
                  </a:cubicBezTo>
                  <a:cubicBezTo>
                    <a:pt x="257" y="96"/>
                    <a:pt x="257" y="96"/>
                    <a:pt x="257" y="96"/>
                  </a:cubicBezTo>
                  <a:cubicBezTo>
                    <a:pt x="257" y="96"/>
                    <a:pt x="257" y="96"/>
                    <a:pt x="257" y="96"/>
                  </a:cubicBezTo>
                  <a:cubicBezTo>
                    <a:pt x="257" y="96"/>
                    <a:pt x="257" y="96"/>
                    <a:pt x="257" y="96"/>
                  </a:cubicBezTo>
                  <a:cubicBezTo>
                    <a:pt x="257" y="95"/>
                    <a:pt x="258" y="95"/>
                    <a:pt x="258" y="95"/>
                  </a:cubicBezTo>
                  <a:cubicBezTo>
                    <a:pt x="259" y="95"/>
                    <a:pt x="259" y="94"/>
                    <a:pt x="260" y="94"/>
                  </a:cubicBezTo>
                  <a:cubicBezTo>
                    <a:pt x="260" y="94"/>
                    <a:pt x="260" y="94"/>
                    <a:pt x="260" y="94"/>
                  </a:cubicBezTo>
                  <a:cubicBezTo>
                    <a:pt x="260" y="94"/>
                    <a:pt x="260" y="95"/>
                    <a:pt x="261" y="95"/>
                  </a:cubicBezTo>
                  <a:cubicBezTo>
                    <a:pt x="261" y="95"/>
                    <a:pt x="261" y="95"/>
                    <a:pt x="261" y="95"/>
                  </a:cubicBezTo>
                  <a:cubicBezTo>
                    <a:pt x="261" y="95"/>
                    <a:pt x="261" y="95"/>
                    <a:pt x="261" y="95"/>
                  </a:cubicBezTo>
                  <a:cubicBezTo>
                    <a:pt x="261" y="95"/>
                    <a:pt x="261" y="95"/>
                    <a:pt x="261" y="95"/>
                  </a:cubicBezTo>
                  <a:cubicBezTo>
                    <a:pt x="261" y="94"/>
                    <a:pt x="261" y="94"/>
                    <a:pt x="261" y="94"/>
                  </a:cubicBezTo>
                  <a:cubicBezTo>
                    <a:pt x="262" y="94"/>
                    <a:pt x="262" y="94"/>
                    <a:pt x="262" y="94"/>
                  </a:cubicBezTo>
                  <a:cubicBezTo>
                    <a:pt x="262" y="94"/>
                    <a:pt x="262" y="94"/>
                    <a:pt x="262" y="94"/>
                  </a:cubicBezTo>
                  <a:cubicBezTo>
                    <a:pt x="262" y="93"/>
                    <a:pt x="262" y="93"/>
                    <a:pt x="262" y="93"/>
                  </a:cubicBezTo>
                  <a:cubicBezTo>
                    <a:pt x="262" y="93"/>
                    <a:pt x="262" y="92"/>
                    <a:pt x="262" y="92"/>
                  </a:cubicBezTo>
                  <a:cubicBezTo>
                    <a:pt x="262" y="92"/>
                    <a:pt x="262" y="92"/>
                    <a:pt x="262" y="92"/>
                  </a:cubicBezTo>
                  <a:cubicBezTo>
                    <a:pt x="262" y="91"/>
                    <a:pt x="262" y="91"/>
                    <a:pt x="262" y="91"/>
                  </a:cubicBezTo>
                  <a:cubicBezTo>
                    <a:pt x="262" y="91"/>
                    <a:pt x="262" y="91"/>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90"/>
                    <a:pt x="262" y="90"/>
                  </a:cubicBezTo>
                  <a:cubicBezTo>
                    <a:pt x="262" y="90"/>
                    <a:pt x="262" y="89"/>
                    <a:pt x="262" y="89"/>
                  </a:cubicBezTo>
                  <a:cubicBezTo>
                    <a:pt x="262" y="89"/>
                    <a:pt x="262" y="89"/>
                    <a:pt x="262" y="89"/>
                  </a:cubicBezTo>
                  <a:cubicBezTo>
                    <a:pt x="263" y="88"/>
                    <a:pt x="262" y="87"/>
                    <a:pt x="263" y="87"/>
                  </a:cubicBezTo>
                  <a:cubicBezTo>
                    <a:pt x="263" y="86"/>
                    <a:pt x="263" y="85"/>
                    <a:pt x="264" y="83"/>
                  </a:cubicBezTo>
                  <a:cubicBezTo>
                    <a:pt x="264" y="83"/>
                    <a:pt x="264" y="83"/>
                    <a:pt x="264" y="83"/>
                  </a:cubicBezTo>
                  <a:cubicBezTo>
                    <a:pt x="264" y="83"/>
                    <a:pt x="264" y="83"/>
                    <a:pt x="264" y="83"/>
                  </a:cubicBezTo>
                  <a:cubicBezTo>
                    <a:pt x="263" y="83"/>
                    <a:pt x="263" y="83"/>
                    <a:pt x="263" y="83"/>
                  </a:cubicBezTo>
                  <a:cubicBezTo>
                    <a:pt x="263" y="82"/>
                    <a:pt x="263" y="82"/>
                    <a:pt x="263" y="82"/>
                  </a:cubicBezTo>
                  <a:cubicBezTo>
                    <a:pt x="263" y="81"/>
                    <a:pt x="264" y="81"/>
                    <a:pt x="264" y="80"/>
                  </a:cubicBezTo>
                  <a:cubicBezTo>
                    <a:pt x="264" y="80"/>
                    <a:pt x="265" y="80"/>
                    <a:pt x="265" y="79"/>
                  </a:cubicBezTo>
                  <a:cubicBezTo>
                    <a:pt x="265" y="79"/>
                    <a:pt x="265" y="79"/>
                    <a:pt x="265" y="79"/>
                  </a:cubicBezTo>
                  <a:cubicBezTo>
                    <a:pt x="265" y="79"/>
                    <a:pt x="265" y="79"/>
                    <a:pt x="265" y="78"/>
                  </a:cubicBezTo>
                  <a:cubicBezTo>
                    <a:pt x="265" y="78"/>
                    <a:pt x="265" y="77"/>
                    <a:pt x="265" y="77"/>
                  </a:cubicBezTo>
                  <a:cubicBezTo>
                    <a:pt x="265" y="76"/>
                    <a:pt x="265" y="76"/>
                    <a:pt x="266" y="75"/>
                  </a:cubicBezTo>
                  <a:cubicBezTo>
                    <a:pt x="266" y="75"/>
                    <a:pt x="266" y="75"/>
                    <a:pt x="266" y="75"/>
                  </a:cubicBezTo>
                  <a:cubicBezTo>
                    <a:pt x="266" y="75"/>
                    <a:pt x="265" y="75"/>
                    <a:pt x="265" y="74"/>
                  </a:cubicBezTo>
                  <a:cubicBezTo>
                    <a:pt x="265" y="74"/>
                    <a:pt x="265" y="74"/>
                    <a:pt x="265" y="74"/>
                  </a:cubicBezTo>
                  <a:cubicBezTo>
                    <a:pt x="264" y="74"/>
                    <a:pt x="264" y="74"/>
                    <a:pt x="264" y="74"/>
                  </a:cubicBezTo>
                  <a:cubicBezTo>
                    <a:pt x="264" y="74"/>
                    <a:pt x="264" y="74"/>
                    <a:pt x="264" y="74"/>
                  </a:cubicBezTo>
                  <a:cubicBezTo>
                    <a:pt x="264" y="74"/>
                    <a:pt x="263" y="73"/>
                    <a:pt x="263" y="73"/>
                  </a:cubicBezTo>
                  <a:cubicBezTo>
                    <a:pt x="262" y="73"/>
                    <a:pt x="262" y="72"/>
                    <a:pt x="262" y="72"/>
                  </a:cubicBezTo>
                  <a:cubicBezTo>
                    <a:pt x="262" y="71"/>
                    <a:pt x="262" y="71"/>
                    <a:pt x="262" y="71"/>
                  </a:cubicBezTo>
                  <a:cubicBezTo>
                    <a:pt x="262" y="70"/>
                    <a:pt x="262" y="70"/>
                    <a:pt x="262" y="70"/>
                  </a:cubicBezTo>
                  <a:cubicBezTo>
                    <a:pt x="262" y="70"/>
                    <a:pt x="262" y="70"/>
                    <a:pt x="262" y="70"/>
                  </a:cubicBezTo>
                  <a:cubicBezTo>
                    <a:pt x="262" y="69"/>
                    <a:pt x="262" y="69"/>
                    <a:pt x="262" y="69"/>
                  </a:cubicBezTo>
                  <a:cubicBezTo>
                    <a:pt x="262" y="69"/>
                    <a:pt x="262" y="69"/>
                    <a:pt x="262" y="69"/>
                  </a:cubicBezTo>
                  <a:cubicBezTo>
                    <a:pt x="262" y="68"/>
                    <a:pt x="262" y="68"/>
                    <a:pt x="262" y="68"/>
                  </a:cubicBezTo>
                  <a:cubicBezTo>
                    <a:pt x="262" y="67"/>
                    <a:pt x="263" y="67"/>
                    <a:pt x="263" y="66"/>
                  </a:cubicBezTo>
                  <a:cubicBezTo>
                    <a:pt x="263" y="66"/>
                    <a:pt x="264" y="66"/>
                    <a:pt x="264" y="66"/>
                  </a:cubicBezTo>
                  <a:cubicBezTo>
                    <a:pt x="264" y="65"/>
                    <a:pt x="264" y="65"/>
                    <a:pt x="264" y="65"/>
                  </a:cubicBezTo>
                  <a:cubicBezTo>
                    <a:pt x="264" y="65"/>
                    <a:pt x="264" y="65"/>
                    <a:pt x="264" y="65"/>
                  </a:cubicBezTo>
                  <a:cubicBezTo>
                    <a:pt x="264" y="65"/>
                    <a:pt x="264" y="65"/>
                    <a:pt x="264" y="65"/>
                  </a:cubicBezTo>
                  <a:cubicBezTo>
                    <a:pt x="264" y="65"/>
                    <a:pt x="263" y="64"/>
                    <a:pt x="263" y="64"/>
                  </a:cubicBezTo>
                  <a:cubicBezTo>
                    <a:pt x="262" y="64"/>
                    <a:pt x="262" y="64"/>
                    <a:pt x="262" y="64"/>
                  </a:cubicBezTo>
                  <a:cubicBezTo>
                    <a:pt x="261" y="64"/>
                    <a:pt x="261" y="64"/>
                    <a:pt x="261" y="64"/>
                  </a:cubicBezTo>
                  <a:cubicBezTo>
                    <a:pt x="261" y="64"/>
                    <a:pt x="260" y="64"/>
                    <a:pt x="260" y="64"/>
                  </a:cubicBezTo>
                  <a:cubicBezTo>
                    <a:pt x="260" y="64"/>
                    <a:pt x="259" y="65"/>
                    <a:pt x="258" y="65"/>
                  </a:cubicBezTo>
                  <a:cubicBezTo>
                    <a:pt x="258" y="65"/>
                    <a:pt x="258" y="65"/>
                    <a:pt x="258" y="65"/>
                  </a:cubicBezTo>
                  <a:cubicBezTo>
                    <a:pt x="257" y="65"/>
                    <a:pt x="257" y="65"/>
                    <a:pt x="256" y="65"/>
                  </a:cubicBezTo>
                  <a:cubicBezTo>
                    <a:pt x="256" y="65"/>
                    <a:pt x="256" y="65"/>
                    <a:pt x="256" y="65"/>
                  </a:cubicBezTo>
                  <a:cubicBezTo>
                    <a:pt x="256" y="65"/>
                    <a:pt x="256" y="65"/>
                    <a:pt x="256" y="65"/>
                  </a:cubicBezTo>
                  <a:cubicBezTo>
                    <a:pt x="256" y="65"/>
                    <a:pt x="256" y="65"/>
                    <a:pt x="256" y="65"/>
                  </a:cubicBezTo>
                  <a:cubicBezTo>
                    <a:pt x="255" y="65"/>
                    <a:pt x="255" y="65"/>
                    <a:pt x="255" y="65"/>
                  </a:cubicBezTo>
                  <a:cubicBezTo>
                    <a:pt x="255" y="65"/>
                    <a:pt x="255" y="65"/>
                    <a:pt x="254" y="66"/>
                  </a:cubicBezTo>
                  <a:cubicBezTo>
                    <a:pt x="254" y="66"/>
                    <a:pt x="254" y="66"/>
                    <a:pt x="253" y="67"/>
                  </a:cubicBezTo>
                  <a:cubicBezTo>
                    <a:pt x="252" y="67"/>
                    <a:pt x="252" y="67"/>
                    <a:pt x="252" y="67"/>
                  </a:cubicBezTo>
                  <a:cubicBezTo>
                    <a:pt x="251" y="67"/>
                    <a:pt x="251" y="67"/>
                    <a:pt x="250" y="66"/>
                  </a:cubicBezTo>
                  <a:cubicBezTo>
                    <a:pt x="250" y="66"/>
                    <a:pt x="250" y="66"/>
                    <a:pt x="250" y="66"/>
                  </a:cubicBezTo>
                  <a:cubicBezTo>
                    <a:pt x="249" y="66"/>
                    <a:pt x="249" y="66"/>
                    <a:pt x="249" y="66"/>
                  </a:cubicBezTo>
                  <a:cubicBezTo>
                    <a:pt x="249" y="66"/>
                    <a:pt x="249" y="66"/>
                    <a:pt x="249" y="66"/>
                  </a:cubicBezTo>
                  <a:cubicBezTo>
                    <a:pt x="249" y="66"/>
                    <a:pt x="248" y="66"/>
                    <a:pt x="247" y="67"/>
                  </a:cubicBezTo>
                  <a:cubicBezTo>
                    <a:pt x="245" y="68"/>
                    <a:pt x="244" y="71"/>
                    <a:pt x="242" y="72"/>
                  </a:cubicBezTo>
                  <a:cubicBezTo>
                    <a:pt x="240" y="73"/>
                    <a:pt x="239" y="73"/>
                    <a:pt x="238" y="74"/>
                  </a:cubicBezTo>
                  <a:cubicBezTo>
                    <a:pt x="237" y="74"/>
                    <a:pt x="237" y="74"/>
                    <a:pt x="236" y="74"/>
                  </a:cubicBezTo>
                  <a:cubicBezTo>
                    <a:pt x="236" y="75"/>
                    <a:pt x="235" y="75"/>
                    <a:pt x="234" y="76"/>
                  </a:cubicBezTo>
                  <a:cubicBezTo>
                    <a:pt x="234" y="76"/>
                    <a:pt x="233" y="76"/>
                    <a:pt x="233" y="76"/>
                  </a:cubicBezTo>
                  <a:cubicBezTo>
                    <a:pt x="233" y="76"/>
                    <a:pt x="232" y="76"/>
                    <a:pt x="232" y="77"/>
                  </a:cubicBezTo>
                  <a:cubicBezTo>
                    <a:pt x="232" y="77"/>
                    <a:pt x="232" y="78"/>
                    <a:pt x="231" y="79"/>
                  </a:cubicBezTo>
                  <a:cubicBezTo>
                    <a:pt x="230" y="80"/>
                    <a:pt x="230" y="81"/>
                    <a:pt x="229" y="81"/>
                  </a:cubicBezTo>
                  <a:cubicBezTo>
                    <a:pt x="229" y="82"/>
                    <a:pt x="228" y="82"/>
                    <a:pt x="228" y="82"/>
                  </a:cubicBezTo>
                  <a:cubicBezTo>
                    <a:pt x="227" y="82"/>
                    <a:pt x="227" y="82"/>
                    <a:pt x="227" y="82"/>
                  </a:cubicBezTo>
                  <a:cubicBezTo>
                    <a:pt x="227" y="82"/>
                    <a:pt x="227" y="82"/>
                    <a:pt x="227" y="82"/>
                  </a:cubicBezTo>
                  <a:cubicBezTo>
                    <a:pt x="227" y="83"/>
                    <a:pt x="227" y="83"/>
                    <a:pt x="227" y="83"/>
                  </a:cubicBezTo>
                  <a:cubicBezTo>
                    <a:pt x="228" y="83"/>
                    <a:pt x="229" y="82"/>
                    <a:pt x="230" y="82"/>
                  </a:cubicBezTo>
                  <a:cubicBezTo>
                    <a:pt x="230" y="82"/>
                    <a:pt x="230" y="82"/>
                    <a:pt x="230" y="82"/>
                  </a:cubicBezTo>
                  <a:cubicBezTo>
                    <a:pt x="230" y="82"/>
                    <a:pt x="231" y="82"/>
                    <a:pt x="232" y="83"/>
                  </a:cubicBezTo>
                  <a:cubicBezTo>
                    <a:pt x="232" y="83"/>
                    <a:pt x="233" y="83"/>
                    <a:pt x="233" y="84"/>
                  </a:cubicBezTo>
                  <a:cubicBezTo>
                    <a:pt x="234" y="85"/>
                    <a:pt x="234" y="85"/>
                    <a:pt x="234" y="86"/>
                  </a:cubicBezTo>
                  <a:cubicBezTo>
                    <a:pt x="234" y="88"/>
                    <a:pt x="234" y="88"/>
                    <a:pt x="233" y="89"/>
                  </a:cubicBezTo>
                  <a:cubicBezTo>
                    <a:pt x="233" y="91"/>
                    <a:pt x="231" y="92"/>
                    <a:pt x="230" y="92"/>
                  </a:cubicBezTo>
                  <a:cubicBezTo>
                    <a:pt x="229" y="92"/>
                    <a:pt x="227" y="92"/>
                    <a:pt x="226" y="92"/>
                  </a:cubicBezTo>
                  <a:cubicBezTo>
                    <a:pt x="226" y="92"/>
                    <a:pt x="226" y="92"/>
                    <a:pt x="226" y="92"/>
                  </a:cubicBezTo>
                  <a:cubicBezTo>
                    <a:pt x="225" y="92"/>
                    <a:pt x="225" y="92"/>
                    <a:pt x="225" y="92"/>
                  </a:cubicBezTo>
                  <a:cubicBezTo>
                    <a:pt x="224" y="92"/>
                    <a:pt x="224" y="92"/>
                    <a:pt x="223" y="93"/>
                  </a:cubicBezTo>
                  <a:cubicBezTo>
                    <a:pt x="222" y="93"/>
                    <a:pt x="222" y="93"/>
                    <a:pt x="221" y="94"/>
                  </a:cubicBezTo>
                  <a:cubicBezTo>
                    <a:pt x="220" y="95"/>
                    <a:pt x="220" y="95"/>
                    <a:pt x="219" y="96"/>
                  </a:cubicBezTo>
                  <a:cubicBezTo>
                    <a:pt x="219" y="97"/>
                    <a:pt x="218" y="98"/>
                    <a:pt x="218" y="99"/>
                  </a:cubicBezTo>
                  <a:cubicBezTo>
                    <a:pt x="218" y="100"/>
                    <a:pt x="217" y="101"/>
                    <a:pt x="217" y="101"/>
                  </a:cubicBezTo>
                  <a:cubicBezTo>
                    <a:pt x="217" y="102"/>
                    <a:pt x="218" y="103"/>
                    <a:pt x="218" y="104"/>
                  </a:cubicBezTo>
                  <a:cubicBezTo>
                    <a:pt x="218" y="105"/>
                    <a:pt x="218" y="105"/>
                    <a:pt x="218" y="105"/>
                  </a:cubicBezTo>
                  <a:cubicBezTo>
                    <a:pt x="218" y="105"/>
                    <a:pt x="218" y="106"/>
                    <a:pt x="217" y="107"/>
                  </a:cubicBezTo>
                  <a:cubicBezTo>
                    <a:pt x="216" y="107"/>
                    <a:pt x="216" y="107"/>
                    <a:pt x="215" y="108"/>
                  </a:cubicBezTo>
                  <a:cubicBezTo>
                    <a:pt x="215" y="108"/>
                    <a:pt x="215" y="109"/>
                    <a:pt x="214" y="110"/>
                  </a:cubicBezTo>
                  <a:cubicBezTo>
                    <a:pt x="214" y="110"/>
                    <a:pt x="213" y="110"/>
                    <a:pt x="213" y="110"/>
                  </a:cubicBezTo>
                  <a:cubicBezTo>
                    <a:pt x="213" y="111"/>
                    <a:pt x="212" y="111"/>
                    <a:pt x="211" y="111"/>
                  </a:cubicBezTo>
                  <a:cubicBezTo>
                    <a:pt x="211" y="111"/>
                    <a:pt x="211" y="111"/>
                    <a:pt x="211" y="111"/>
                  </a:cubicBezTo>
                  <a:cubicBezTo>
                    <a:pt x="210" y="111"/>
                    <a:pt x="210" y="111"/>
                    <a:pt x="209" y="111"/>
                  </a:cubicBezTo>
                  <a:cubicBezTo>
                    <a:pt x="209" y="111"/>
                    <a:pt x="209" y="111"/>
                    <a:pt x="209" y="111"/>
                  </a:cubicBezTo>
                  <a:cubicBezTo>
                    <a:pt x="209" y="111"/>
                    <a:pt x="209" y="111"/>
                    <a:pt x="209" y="111"/>
                  </a:cubicBezTo>
                  <a:cubicBezTo>
                    <a:pt x="209" y="111"/>
                    <a:pt x="208" y="111"/>
                    <a:pt x="208" y="111"/>
                  </a:cubicBezTo>
                  <a:cubicBezTo>
                    <a:pt x="207" y="111"/>
                    <a:pt x="207" y="111"/>
                    <a:pt x="207" y="111"/>
                  </a:cubicBezTo>
                  <a:cubicBezTo>
                    <a:pt x="207" y="111"/>
                    <a:pt x="207" y="111"/>
                    <a:pt x="207" y="111"/>
                  </a:cubicBezTo>
                  <a:cubicBezTo>
                    <a:pt x="206" y="111"/>
                    <a:pt x="206" y="110"/>
                    <a:pt x="205" y="110"/>
                  </a:cubicBezTo>
                  <a:cubicBezTo>
                    <a:pt x="205" y="110"/>
                    <a:pt x="204" y="109"/>
                    <a:pt x="204" y="108"/>
                  </a:cubicBezTo>
                  <a:cubicBezTo>
                    <a:pt x="204" y="108"/>
                    <a:pt x="204" y="108"/>
                    <a:pt x="204" y="108"/>
                  </a:cubicBezTo>
                  <a:cubicBezTo>
                    <a:pt x="203" y="108"/>
                    <a:pt x="203" y="108"/>
                    <a:pt x="203" y="108"/>
                  </a:cubicBezTo>
                  <a:cubicBezTo>
                    <a:pt x="203" y="107"/>
                    <a:pt x="203" y="107"/>
                    <a:pt x="203" y="107"/>
                  </a:cubicBezTo>
                  <a:cubicBezTo>
                    <a:pt x="203" y="107"/>
                    <a:pt x="203" y="107"/>
                    <a:pt x="203" y="107"/>
                  </a:cubicBezTo>
                  <a:cubicBezTo>
                    <a:pt x="202" y="107"/>
                    <a:pt x="202" y="107"/>
                    <a:pt x="202" y="107"/>
                  </a:cubicBezTo>
                  <a:cubicBezTo>
                    <a:pt x="202" y="107"/>
                    <a:pt x="202" y="107"/>
                    <a:pt x="202" y="107"/>
                  </a:cubicBezTo>
                  <a:cubicBezTo>
                    <a:pt x="201" y="107"/>
                    <a:pt x="201" y="107"/>
                    <a:pt x="201" y="107"/>
                  </a:cubicBezTo>
                  <a:cubicBezTo>
                    <a:pt x="200" y="107"/>
                    <a:pt x="200" y="107"/>
                    <a:pt x="200" y="107"/>
                  </a:cubicBezTo>
                  <a:cubicBezTo>
                    <a:pt x="200" y="107"/>
                    <a:pt x="200" y="107"/>
                    <a:pt x="200" y="107"/>
                  </a:cubicBezTo>
                  <a:cubicBezTo>
                    <a:pt x="200" y="107"/>
                    <a:pt x="199" y="106"/>
                    <a:pt x="199" y="106"/>
                  </a:cubicBezTo>
                  <a:cubicBezTo>
                    <a:pt x="199" y="105"/>
                    <a:pt x="199" y="105"/>
                    <a:pt x="199" y="105"/>
                  </a:cubicBezTo>
                  <a:cubicBezTo>
                    <a:pt x="199" y="105"/>
                    <a:pt x="199" y="105"/>
                    <a:pt x="199" y="105"/>
                  </a:cubicBezTo>
                  <a:cubicBezTo>
                    <a:pt x="198" y="105"/>
                    <a:pt x="198" y="104"/>
                    <a:pt x="198" y="104"/>
                  </a:cubicBezTo>
                  <a:cubicBezTo>
                    <a:pt x="198" y="104"/>
                    <a:pt x="198" y="104"/>
                    <a:pt x="198" y="104"/>
                  </a:cubicBezTo>
                  <a:cubicBezTo>
                    <a:pt x="198" y="103"/>
                    <a:pt x="198" y="103"/>
                    <a:pt x="198" y="103"/>
                  </a:cubicBezTo>
                  <a:cubicBezTo>
                    <a:pt x="198" y="102"/>
                    <a:pt x="198" y="101"/>
                    <a:pt x="198" y="100"/>
                  </a:cubicBezTo>
                  <a:cubicBezTo>
                    <a:pt x="198" y="100"/>
                    <a:pt x="198" y="99"/>
                    <a:pt x="199" y="98"/>
                  </a:cubicBezTo>
                  <a:cubicBezTo>
                    <a:pt x="199" y="97"/>
                    <a:pt x="200" y="97"/>
                    <a:pt x="200" y="96"/>
                  </a:cubicBezTo>
                  <a:cubicBezTo>
                    <a:pt x="200" y="96"/>
                    <a:pt x="201" y="96"/>
                    <a:pt x="201" y="96"/>
                  </a:cubicBezTo>
                  <a:cubicBezTo>
                    <a:pt x="202" y="95"/>
                    <a:pt x="202" y="95"/>
                    <a:pt x="202" y="95"/>
                  </a:cubicBezTo>
                  <a:cubicBezTo>
                    <a:pt x="203" y="95"/>
                    <a:pt x="203" y="94"/>
                    <a:pt x="204" y="94"/>
                  </a:cubicBezTo>
                  <a:cubicBezTo>
                    <a:pt x="204" y="94"/>
                    <a:pt x="205" y="94"/>
                    <a:pt x="205" y="94"/>
                  </a:cubicBezTo>
                  <a:cubicBezTo>
                    <a:pt x="206" y="94"/>
                    <a:pt x="206" y="94"/>
                    <a:pt x="206" y="94"/>
                  </a:cubicBezTo>
                  <a:cubicBezTo>
                    <a:pt x="206" y="94"/>
                    <a:pt x="206" y="93"/>
                    <a:pt x="206" y="93"/>
                  </a:cubicBezTo>
                  <a:cubicBezTo>
                    <a:pt x="207" y="92"/>
                    <a:pt x="208" y="91"/>
                    <a:pt x="209" y="90"/>
                  </a:cubicBezTo>
                  <a:cubicBezTo>
                    <a:pt x="209" y="90"/>
                    <a:pt x="209" y="89"/>
                    <a:pt x="209" y="89"/>
                  </a:cubicBezTo>
                  <a:cubicBezTo>
                    <a:pt x="210" y="88"/>
                    <a:pt x="210" y="88"/>
                    <a:pt x="210"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1" y="88"/>
                    <a:pt x="211" y="88"/>
                    <a:pt x="211" y="88"/>
                  </a:cubicBezTo>
                  <a:cubicBezTo>
                    <a:pt x="212" y="88"/>
                    <a:pt x="213" y="88"/>
                    <a:pt x="214" y="88"/>
                  </a:cubicBezTo>
                  <a:cubicBezTo>
                    <a:pt x="214" y="88"/>
                    <a:pt x="214" y="88"/>
                    <a:pt x="214" y="88"/>
                  </a:cubicBezTo>
                  <a:cubicBezTo>
                    <a:pt x="214" y="88"/>
                    <a:pt x="214" y="88"/>
                    <a:pt x="214" y="88"/>
                  </a:cubicBezTo>
                  <a:cubicBezTo>
                    <a:pt x="214" y="88"/>
                    <a:pt x="214" y="88"/>
                    <a:pt x="214" y="88"/>
                  </a:cubicBezTo>
                  <a:cubicBezTo>
                    <a:pt x="214" y="88"/>
                    <a:pt x="214" y="88"/>
                    <a:pt x="214" y="88"/>
                  </a:cubicBezTo>
                  <a:cubicBezTo>
                    <a:pt x="214" y="87"/>
                    <a:pt x="214" y="87"/>
                    <a:pt x="214" y="87"/>
                  </a:cubicBezTo>
                  <a:cubicBezTo>
                    <a:pt x="214" y="87"/>
                    <a:pt x="214" y="87"/>
                    <a:pt x="214" y="87"/>
                  </a:cubicBezTo>
                  <a:cubicBezTo>
                    <a:pt x="214" y="86"/>
                    <a:pt x="214" y="85"/>
                    <a:pt x="215" y="84"/>
                  </a:cubicBezTo>
                  <a:cubicBezTo>
                    <a:pt x="216" y="83"/>
                    <a:pt x="216" y="82"/>
                    <a:pt x="217" y="82"/>
                  </a:cubicBezTo>
                  <a:cubicBezTo>
                    <a:pt x="218" y="81"/>
                    <a:pt x="218" y="81"/>
                    <a:pt x="218" y="81"/>
                  </a:cubicBezTo>
                  <a:cubicBezTo>
                    <a:pt x="219" y="80"/>
                    <a:pt x="219" y="80"/>
                    <a:pt x="220" y="79"/>
                  </a:cubicBezTo>
                  <a:cubicBezTo>
                    <a:pt x="220" y="79"/>
                    <a:pt x="220" y="79"/>
                    <a:pt x="220" y="79"/>
                  </a:cubicBezTo>
                  <a:cubicBezTo>
                    <a:pt x="220" y="79"/>
                    <a:pt x="220" y="79"/>
                    <a:pt x="220" y="79"/>
                  </a:cubicBezTo>
                  <a:cubicBezTo>
                    <a:pt x="219" y="78"/>
                    <a:pt x="219" y="78"/>
                    <a:pt x="219" y="77"/>
                  </a:cubicBezTo>
                  <a:cubicBezTo>
                    <a:pt x="219" y="77"/>
                    <a:pt x="219" y="77"/>
                    <a:pt x="219" y="77"/>
                  </a:cubicBezTo>
                  <a:cubicBezTo>
                    <a:pt x="219" y="76"/>
                    <a:pt x="219" y="76"/>
                    <a:pt x="219" y="76"/>
                  </a:cubicBezTo>
                  <a:cubicBezTo>
                    <a:pt x="219" y="76"/>
                    <a:pt x="219" y="76"/>
                    <a:pt x="219" y="76"/>
                  </a:cubicBezTo>
                  <a:cubicBezTo>
                    <a:pt x="219" y="75"/>
                    <a:pt x="219" y="75"/>
                    <a:pt x="219" y="75"/>
                  </a:cubicBezTo>
                  <a:cubicBezTo>
                    <a:pt x="219" y="75"/>
                    <a:pt x="219" y="75"/>
                    <a:pt x="219" y="75"/>
                  </a:cubicBezTo>
                  <a:cubicBezTo>
                    <a:pt x="219" y="75"/>
                    <a:pt x="219" y="75"/>
                    <a:pt x="219" y="75"/>
                  </a:cubicBezTo>
                  <a:cubicBezTo>
                    <a:pt x="219" y="75"/>
                    <a:pt x="219" y="75"/>
                    <a:pt x="219" y="75"/>
                  </a:cubicBezTo>
                  <a:cubicBezTo>
                    <a:pt x="220" y="74"/>
                    <a:pt x="220" y="74"/>
                    <a:pt x="221" y="74"/>
                  </a:cubicBezTo>
                  <a:cubicBezTo>
                    <a:pt x="221" y="74"/>
                    <a:pt x="221" y="74"/>
                    <a:pt x="221" y="74"/>
                  </a:cubicBezTo>
                  <a:cubicBezTo>
                    <a:pt x="221" y="73"/>
                    <a:pt x="221" y="73"/>
                    <a:pt x="221" y="73"/>
                  </a:cubicBezTo>
                  <a:cubicBezTo>
                    <a:pt x="221" y="73"/>
                    <a:pt x="221" y="72"/>
                    <a:pt x="221" y="71"/>
                  </a:cubicBezTo>
                  <a:cubicBezTo>
                    <a:pt x="221" y="71"/>
                    <a:pt x="221" y="71"/>
                    <a:pt x="221" y="71"/>
                  </a:cubicBezTo>
                  <a:cubicBezTo>
                    <a:pt x="221" y="71"/>
                    <a:pt x="221" y="71"/>
                    <a:pt x="221" y="71"/>
                  </a:cubicBezTo>
                  <a:cubicBezTo>
                    <a:pt x="221" y="70"/>
                    <a:pt x="221" y="70"/>
                    <a:pt x="221" y="70"/>
                  </a:cubicBezTo>
                  <a:cubicBezTo>
                    <a:pt x="221" y="69"/>
                    <a:pt x="221" y="69"/>
                    <a:pt x="221" y="69"/>
                  </a:cubicBezTo>
                  <a:cubicBezTo>
                    <a:pt x="221" y="68"/>
                    <a:pt x="221" y="68"/>
                    <a:pt x="221" y="68"/>
                  </a:cubicBezTo>
                  <a:cubicBezTo>
                    <a:pt x="221" y="68"/>
                    <a:pt x="221" y="68"/>
                    <a:pt x="221" y="68"/>
                  </a:cubicBezTo>
                  <a:cubicBezTo>
                    <a:pt x="222" y="68"/>
                    <a:pt x="222" y="68"/>
                    <a:pt x="222" y="68"/>
                  </a:cubicBezTo>
                  <a:cubicBezTo>
                    <a:pt x="222" y="68"/>
                    <a:pt x="222" y="67"/>
                    <a:pt x="222" y="67"/>
                  </a:cubicBezTo>
                  <a:cubicBezTo>
                    <a:pt x="222" y="66"/>
                    <a:pt x="222" y="66"/>
                    <a:pt x="222" y="66"/>
                  </a:cubicBezTo>
                  <a:cubicBezTo>
                    <a:pt x="222" y="66"/>
                    <a:pt x="222" y="66"/>
                    <a:pt x="222" y="66"/>
                  </a:cubicBezTo>
                  <a:cubicBezTo>
                    <a:pt x="222" y="65"/>
                    <a:pt x="222" y="65"/>
                    <a:pt x="222" y="65"/>
                  </a:cubicBezTo>
                  <a:cubicBezTo>
                    <a:pt x="222" y="64"/>
                    <a:pt x="222" y="64"/>
                    <a:pt x="221" y="64"/>
                  </a:cubicBezTo>
                  <a:cubicBezTo>
                    <a:pt x="221" y="63"/>
                    <a:pt x="220" y="62"/>
                    <a:pt x="220" y="61"/>
                  </a:cubicBezTo>
                  <a:cubicBezTo>
                    <a:pt x="220" y="61"/>
                    <a:pt x="220" y="61"/>
                    <a:pt x="220" y="61"/>
                  </a:cubicBezTo>
                  <a:cubicBezTo>
                    <a:pt x="220" y="60"/>
                    <a:pt x="220" y="60"/>
                    <a:pt x="220" y="60"/>
                  </a:cubicBezTo>
                  <a:cubicBezTo>
                    <a:pt x="220" y="60"/>
                    <a:pt x="220" y="60"/>
                    <a:pt x="220" y="60"/>
                  </a:cubicBezTo>
                  <a:cubicBezTo>
                    <a:pt x="220" y="59"/>
                    <a:pt x="220" y="59"/>
                    <a:pt x="220" y="59"/>
                  </a:cubicBezTo>
                  <a:cubicBezTo>
                    <a:pt x="220" y="59"/>
                    <a:pt x="220" y="58"/>
                    <a:pt x="220" y="58"/>
                  </a:cubicBezTo>
                  <a:cubicBezTo>
                    <a:pt x="220" y="57"/>
                    <a:pt x="221" y="57"/>
                    <a:pt x="221" y="57"/>
                  </a:cubicBezTo>
                  <a:cubicBezTo>
                    <a:pt x="221" y="57"/>
                    <a:pt x="221" y="57"/>
                    <a:pt x="221" y="57"/>
                  </a:cubicBezTo>
                  <a:cubicBezTo>
                    <a:pt x="221" y="56"/>
                    <a:pt x="221" y="56"/>
                    <a:pt x="221" y="56"/>
                  </a:cubicBezTo>
                  <a:cubicBezTo>
                    <a:pt x="221" y="56"/>
                    <a:pt x="221" y="56"/>
                    <a:pt x="221" y="56"/>
                  </a:cubicBezTo>
                  <a:cubicBezTo>
                    <a:pt x="221" y="55"/>
                    <a:pt x="221" y="55"/>
                    <a:pt x="221" y="55"/>
                  </a:cubicBezTo>
                  <a:cubicBezTo>
                    <a:pt x="221" y="55"/>
                    <a:pt x="220" y="54"/>
                    <a:pt x="220" y="53"/>
                  </a:cubicBezTo>
                  <a:cubicBezTo>
                    <a:pt x="219" y="52"/>
                    <a:pt x="218" y="51"/>
                    <a:pt x="217" y="51"/>
                  </a:cubicBezTo>
                  <a:cubicBezTo>
                    <a:pt x="217" y="50"/>
                    <a:pt x="217" y="50"/>
                    <a:pt x="217" y="50"/>
                  </a:cubicBezTo>
                  <a:cubicBezTo>
                    <a:pt x="217" y="50"/>
                    <a:pt x="217" y="50"/>
                    <a:pt x="217" y="50"/>
                  </a:cubicBezTo>
                  <a:cubicBezTo>
                    <a:pt x="217" y="50"/>
                    <a:pt x="217" y="50"/>
                    <a:pt x="217" y="50"/>
                  </a:cubicBezTo>
                  <a:cubicBezTo>
                    <a:pt x="217" y="50"/>
                    <a:pt x="217" y="50"/>
                    <a:pt x="217" y="50"/>
                  </a:cubicBezTo>
                  <a:cubicBezTo>
                    <a:pt x="216" y="50"/>
                    <a:pt x="216" y="50"/>
                    <a:pt x="216" y="50"/>
                  </a:cubicBezTo>
                  <a:cubicBezTo>
                    <a:pt x="216" y="50"/>
                    <a:pt x="216" y="51"/>
                    <a:pt x="215" y="51"/>
                  </a:cubicBezTo>
                  <a:cubicBezTo>
                    <a:pt x="215" y="51"/>
                    <a:pt x="215" y="51"/>
                    <a:pt x="215" y="51"/>
                  </a:cubicBezTo>
                  <a:cubicBezTo>
                    <a:pt x="215" y="51"/>
                    <a:pt x="215" y="51"/>
                    <a:pt x="215" y="51"/>
                  </a:cubicBezTo>
                  <a:cubicBezTo>
                    <a:pt x="214" y="51"/>
                    <a:pt x="214" y="51"/>
                    <a:pt x="213" y="50"/>
                  </a:cubicBezTo>
                  <a:cubicBezTo>
                    <a:pt x="213" y="50"/>
                    <a:pt x="213" y="50"/>
                    <a:pt x="212" y="50"/>
                  </a:cubicBezTo>
                  <a:cubicBezTo>
                    <a:pt x="212" y="50"/>
                    <a:pt x="212" y="50"/>
                    <a:pt x="212" y="50"/>
                  </a:cubicBezTo>
                  <a:cubicBezTo>
                    <a:pt x="212" y="49"/>
                    <a:pt x="211" y="49"/>
                    <a:pt x="211" y="49"/>
                  </a:cubicBezTo>
                  <a:cubicBezTo>
                    <a:pt x="211" y="48"/>
                    <a:pt x="211" y="48"/>
                    <a:pt x="211" y="48"/>
                  </a:cubicBezTo>
                  <a:cubicBezTo>
                    <a:pt x="211" y="47"/>
                    <a:pt x="211" y="47"/>
                    <a:pt x="211" y="47"/>
                  </a:cubicBezTo>
                  <a:cubicBezTo>
                    <a:pt x="211" y="47"/>
                    <a:pt x="211" y="47"/>
                    <a:pt x="211" y="47"/>
                  </a:cubicBezTo>
                  <a:cubicBezTo>
                    <a:pt x="211" y="47"/>
                    <a:pt x="211" y="46"/>
                    <a:pt x="211" y="45"/>
                  </a:cubicBezTo>
                  <a:cubicBezTo>
                    <a:pt x="211" y="44"/>
                    <a:pt x="211" y="43"/>
                    <a:pt x="211" y="42"/>
                  </a:cubicBezTo>
                  <a:cubicBezTo>
                    <a:pt x="211" y="41"/>
                    <a:pt x="212" y="40"/>
                    <a:pt x="213" y="39"/>
                  </a:cubicBezTo>
                  <a:cubicBezTo>
                    <a:pt x="214" y="39"/>
                    <a:pt x="214" y="39"/>
                    <a:pt x="215" y="39"/>
                  </a:cubicBezTo>
                  <a:cubicBezTo>
                    <a:pt x="215" y="39"/>
                    <a:pt x="215" y="39"/>
                    <a:pt x="215" y="39"/>
                  </a:cubicBezTo>
                  <a:cubicBezTo>
                    <a:pt x="216" y="39"/>
                    <a:pt x="216" y="39"/>
                    <a:pt x="216" y="38"/>
                  </a:cubicBezTo>
                  <a:cubicBezTo>
                    <a:pt x="217" y="38"/>
                    <a:pt x="217" y="38"/>
                    <a:pt x="217" y="37"/>
                  </a:cubicBezTo>
                  <a:cubicBezTo>
                    <a:pt x="217" y="36"/>
                    <a:pt x="217" y="36"/>
                    <a:pt x="217" y="35"/>
                  </a:cubicBezTo>
                  <a:cubicBezTo>
                    <a:pt x="218" y="33"/>
                    <a:pt x="219" y="32"/>
                    <a:pt x="220" y="32"/>
                  </a:cubicBezTo>
                  <a:cubicBezTo>
                    <a:pt x="221" y="31"/>
                    <a:pt x="221" y="31"/>
                    <a:pt x="222" y="30"/>
                  </a:cubicBezTo>
                  <a:cubicBezTo>
                    <a:pt x="222" y="29"/>
                    <a:pt x="223" y="29"/>
                    <a:pt x="223" y="28"/>
                  </a:cubicBezTo>
                  <a:cubicBezTo>
                    <a:pt x="223" y="28"/>
                    <a:pt x="223" y="27"/>
                    <a:pt x="223" y="27"/>
                  </a:cubicBezTo>
                  <a:moveTo>
                    <a:pt x="256" y="0"/>
                  </a:moveTo>
                  <a:cubicBezTo>
                    <a:pt x="256" y="0"/>
                    <a:pt x="256" y="0"/>
                    <a:pt x="255" y="1"/>
                  </a:cubicBezTo>
                  <a:cubicBezTo>
                    <a:pt x="255" y="1"/>
                    <a:pt x="254" y="2"/>
                    <a:pt x="254" y="2"/>
                  </a:cubicBezTo>
                  <a:cubicBezTo>
                    <a:pt x="253" y="2"/>
                    <a:pt x="253" y="2"/>
                    <a:pt x="252" y="2"/>
                  </a:cubicBezTo>
                  <a:cubicBezTo>
                    <a:pt x="251" y="2"/>
                    <a:pt x="251" y="2"/>
                    <a:pt x="251" y="2"/>
                  </a:cubicBezTo>
                  <a:cubicBezTo>
                    <a:pt x="251" y="2"/>
                    <a:pt x="251" y="2"/>
                    <a:pt x="251" y="2"/>
                  </a:cubicBezTo>
                  <a:cubicBezTo>
                    <a:pt x="251" y="2"/>
                    <a:pt x="250" y="2"/>
                    <a:pt x="250" y="2"/>
                  </a:cubicBezTo>
                  <a:cubicBezTo>
                    <a:pt x="249" y="2"/>
                    <a:pt x="248" y="4"/>
                    <a:pt x="247" y="5"/>
                  </a:cubicBezTo>
                  <a:cubicBezTo>
                    <a:pt x="246" y="7"/>
                    <a:pt x="244" y="7"/>
                    <a:pt x="243" y="8"/>
                  </a:cubicBezTo>
                  <a:cubicBezTo>
                    <a:pt x="242" y="9"/>
                    <a:pt x="240" y="10"/>
                    <a:pt x="240" y="11"/>
                  </a:cubicBezTo>
                  <a:cubicBezTo>
                    <a:pt x="239" y="12"/>
                    <a:pt x="239" y="14"/>
                    <a:pt x="239" y="16"/>
                  </a:cubicBezTo>
                  <a:cubicBezTo>
                    <a:pt x="237" y="17"/>
                    <a:pt x="236" y="18"/>
                    <a:pt x="235" y="19"/>
                  </a:cubicBezTo>
                  <a:cubicBezTo>
                    <a:pt x="234" y="20"/>
                    <a:pt x="234" y="20"/>
                    <a:pt x="234" y="20"/>
                  </a:cubicBezTo>
                  <a:cubicBezTo>
                    <a:pt x="234" y="20"/>
                    <a:pt x="235" y="20"/>
                    <a:pt x="235" y="20"/>
                  </a:cubicBezTo>
                  <a:cubicBezTo>
                    <a:pt x="236" y="21"/>
                    <a:pt x="236" y="21"/>
                    <a:pt x="237" y="22"/>
                  </a:cubicBezTo>
                  <a:cubicBezTo>
                    <a:pt x="237" y="22"/>
                    <a:pt x="237" y="23"/>
                    <a:pt x="237" y="24"/>
                  </a:cubicBezTo>
                  <a:cubicBezTo>
                    <a:pt x="237" y="24"/>
                    <a:pt x="237" y="24"/>
                    <a:pt x="237" y="24"/>
                  </a:cubicBezTo>
                  <a:cubicBezTo>
                    <a:pt x="237" y="25"/>
                    <a:pt x="237" y="26"/>
                    <a:pt x="237" y="27"/>
                  </a:cubicBezTo>
                  <a:cubicBezTo>
                    <a:pt x="237" y="29"/>
                    <a:pt x="237" y="30"/>
                    <a:pt x="238" y="31"/>
                  </a:cubicBezTo>
                  <a:cubicBezTo>
                    <a:pt x="238" y="31"/>
                    <a:pt x="238" y="32"/>
                    <a:pt x="239" y="32"/>
                  </a:cubicBezTo>
                  <a:cubicBezTo>
                    <a:pt x="239" y="33"/>
                    <a:pt x="240" y="33"/>
                    <a:pt x="239" y="34"/>
                  </a:cubicBezTo>
                  <a:cubicBezTo>
                    <a:pt x="239" y="34"/>
                    <a:pt x="239" y="34"/>
                    <a:pt x="239" y="34"/>
                  </a:cubicBezTo>
                  <a:cubicBezTo>
                    <a:pt x="239" y="34"/>
                    <a:pt x="239" y="34"/>
                    <a:pt x="239" y="34"/>
                  </a:cubicBezTo>
                  <a:cubicBezTo>
                    <a:pt x="239" y="35"/>
                    <a:pt x="239" y="35"/>
                    <a:pt x="239" y="36"/>
                  </a:cubicBezTo>
                  <a:cubicBezTo>
                    <a:pt x="239" y="36"/>
                    <a:pt x="239" y="36"/>
                    <a:pt x="239" y="36"/>
                  </a:cubicBezTo>
                  <a:cubicBezTo>
                    <a:pt x="240" y="36"/>
                    <a:pt x="240" y="35"/>
                    <a:pt x="240" y="35"/>
                  </a:cubicBezTo>
                  <a:cubicBezTo>
                    <a:pt x="240" y="35"/>
                    <a:pt x="240" y="35"/>
                    <a:pt x="240" y="35"/>
                  </a:cubicBezTo>
                  <a:cubicBezTo>
                    <a:pt x="242" y="33"/>
                    <a:pt x="244" y="33"/>
                    <a:pt x="246" y="33"/>
                  </a:cubicBezTo>
                  <a:cubicBezTo>
                    <a:pt x="246" y="33"/>
                    <a:pt x="246" y="33"/>
                    <a:pt x="247" y="33"/>
                  </a:cubicBezTo>
                  <a:cubicBezTo>
                    <a:pt x="247" y="33"/>
                    <a:pt x="248" y="33"/>
                    <a:pt x="248" y="33"/>
                  </a:cubicBezTo>
                  <a:cubicBezTo>
                    <a:pt x="248" y="33"/>
                    <a:pt x="249" y="33"/>
                    <a:pt x="249" y="33"/>
                  </a:cubicBezTo>
                  <a:cubicBezTo>
                    <a:pt x="250" y="33"/>
                    <a:pt x="251" y="33"/>
                    <a:pt x="251" y="33"/>
                  </a:cubicBezTo>
                  <a:cubicBezTo>
                    <a:pt x="251" y="33"/>
                    <a:pt x="252" y="33"/>
                    <a:pt x="252" y="32"/>
                  </a:cubicBezTo>
                  <a:cubicBezTo>
                    <a:pt x="253" y="31"/>
                    <a:pt x="254" y="31"/>
                    <a:pt x="255" y="30"/>
                  </a:cubicBezTo>
                  <a:cubicBezTo>
                    <a:pt x="256" y="29"/>
                    <a:pt x="256" y="28"/>
                    <a:pt x="257" y="26"/>
                  </a:cubicBezTo>
                  <a:cubicBezTo>
                    <a:pt x="257" y="25"/>
                    <a:pt x="258" y="24"/>
                    <a:pt x="258" y="23"/>
                  </a:cubicBezTo>
                  <a:cubicBezTo>
                    <a:pt x="259" y="21"/>
                    <a:pt x="259" y="20"/>
                    <a:pt x="259" y="19"/>
                  </a:cubicBezTo>
                  <a:cubicBezTo>
                    <a:pt x="259" y="18"/>
                    <a:pt x="259" y="17"/>
                    <a:pt x="259" y="16"/>
                  </a:cubicBezTo>
                  <a:cubicBezTo>
                    <a:pt x="260" y="13"/>
                    <a:pt x="262" y="11"/>
                    <a:pt x="263" y="9"/>
                  </a:cubicBezTo>
                  <a:cubicBezTo>
                    <a:pt x="263" y="9"/>
                    <a:pt x="263" y="9"/>
                    <a:pt x="263" y="9"/>
                  </a:cubicBezTo>
                  <a:cubicBezTo>
                    <a:pt x="263" y="8"/>
                    <a:pt x="263" y="8"/>
                    <a:pt x="262" y="7"/>
                  </a:cubicBezTo>
                  <a:cubicBezTo>
                    <a:pt x="262" y="7"/>
                    <a:pt x="261" y="6"/>
                    <a:pt x="261" y="6"/>
                  </a:cubicBezTo>
                  <a:cubicBezTo>
                    <a:pt x="260" y="5"/>
                    <a:pt x="259" y="5"/>
                    <a:pt x="258" y="4"/>
                  </a:cubicBezTo>
                  <a:cubicBezTo>
                    <a:pt x="257" y="2"/>
                    <a:pt x="257" y="1"/>
                    <a:pt x="256" y="0"/>
                  </a:cubicBezTo>
                  <a:cubicBezTo>
                    <a:pt x="256" y="0"/>
                    <a:pt x="256" y="0"/>
                    <a:pt x="256" y="0"/>
                  </a:cubicBezTo>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5" name="Freeform 42">
              <a:extLst>
                <a:ext uri="{FF2B5EF4-FFF2-40B4-BE49-F238E27FC236}">
                  <a16:creationId xmlns:a16="http://schemas.microsoft.com/office/drawing/2014/main" id="{FAD41760-3A95-6B27-5FB2-46686BC7652A}"/>
                </a:ext>
              </a:extLst>
            </p:cNvPr>
            <p:cNvSpPr>
              <a:spLocks noEditPoints="1"/>
            </p:cNvSpPr>
            <p:nvPr/>
          </p:nvSpPr>
          <p:spPr bwMode="auto">
            <a:xfrm>
              <a:off x="5203825" y="2798763"/>
              <a:ext cx="792163" cy="781050"/>
            </a:xfrm>
            <a:custGeom>
              <a:avLst/>
              <a:gdLst>
                <a:gd name="T0" fmla="*/ 199 w 208"/>
                <a:gd name="T1" fmla="*/ 21 h 205"/>
                <a:gd name="T2" fmla="*/ 185 w 208"/>
                <a:gd name="T3" fmla="*/ 24 h 205"/>
                <a:gd name="T4" fmla="*/ 190 w 208"/>
                <a:gd name="T5" fmla="*/ 18 h 205"/>
                <a:gd name="T6" fmla="*/ 175 w 208"/>
                <a:gd name="T7" fmla="*/ 59 h 205"/>
                <a:gd name="T8" fmla="*/ 180 w 208"/>
                <a:gd name="T9" fmla="*/ 55 h 205"/>
                <a:gd name="T10" fmla="*/ 194 w 208"/>
                <a:gd name="T11" fmla="*/ 54 h 205"/>
                <a:gd name="T12" fmla="*/ 200 w 208"/>
                <a:gd name="T13" fmla="*/ 54 h 205"/>
                <a:gd name="T14" fmla="*/ 181 w 208"/>
                <a:gd name="T15" fmla="*/ 65 h 205"/>
                <a:gd name="T16" fmla="*/ 189 w 208"/>
                <a:gd name="T17" fmla="*/ 66 h 205"/>
                <a:gd name="T18" fmla="*/ 9 w 208"/>
                <a:gd name="T19" fmla="*/ 191 h 205"/>
                <a:gd name="T20" fmla="*/ 40 w 208"/>
                <a:gd name="T21" fmla="*/ 205 h 205"/>
                <a:gd name="T22" fmla="*/ 62 w 208"/>
                <a:gd name="T23" fmla="*/ 192 h 205"/>
                <a:gd name="T24" fmla="*/ 84 w 208"/>
                <a:gd name="T25" fmla="*/ 180 h 205"/>
                <a:gd name="T26" fmla="*/ 99 w 208"/>
                <a:gd name="T27" fmla="*/ 157 h 205"/>
                <a:gd name="T28" fmla="*/ 108 w 208"/>
                <a:gd name="T29" fmla="*/ 136 h 205"/>
                <a:gd name="T30" fmla="*/ 118 w 208"/>
                <a:gd name="T31" fmla="*/ 119 h 205"/>
                <a:gd name="T32" fmla="*/ 150 w 208"/>
                <a:gd name="T33" fmla="*/ 116 h 205"/>
                <a:gd name="T34" fmla="*/ 195 w 208"/>
                <a:gd name="T35" fmla="*/ 128 h 205"/>
                <a:gd name="T36" fmla="*/ 199 w 208"/>
                <a:gd name="T37" fmla="*/ 112 h 205"/>
                <a:gd name="T38" fmla="*/ 188 w 208"/>
                <a:gd name="T39" fmla="*/ 99 h 205"/>
                <a:gd name="T40" fmla="*/ 186 w 208"/>
                <a:gd name="T41" fmla="*/ 93 h 205"/>
                <a:gd name="T42" fmla="*/ 188 w 208"/>
                <a:gd name="T43" fmla="*/ 88 h 205"/>
                <a:gd name="T44" fmla="*/ 185 w 208"/>
                <a:gd name="T45" fmla="*/ 87 h 205"/>
                <a:gd name="T46" fmla="*/ 176 w 208"/>
                <a:gd name="T47" fmla="*/ 80 h 205"/>
                <a:gd name="T48" fmla="*/ 166 w 208"/>
                <a:gd name="T49" fmla="*/ 75 h 205"/>
                <a:gd name="T50" fmla="*/ 179 w 208"/>
                <a:gd name="T51" fmla="*/ 70 h 205"/>
                <a:gd name="T52" fmla="*/ 169 w 208"/>
                <a:gd name="T53" fmla="*/ 59 h 205"/>
                <a:gd name="T54" fmla="*/ 158 w 208"/>
                <a:gd name="T55" fmla="*/ 48 h 205"/>
                <a:gd name="T56" fmla="*/ 179 w 208"/>
                <a:gd name="T57" fmla="*/ 43 h 205"/>
                <a:gd name="T58" fmla="*/ 187 w 208"/>
                <a:gd name="T59" fmla="*/ 39 h 205"/>
                <a:gd name="T60" fmla="*/ 194 w 208"/>
                <a:gd name="T61" fmla="*/ 34 h 205"/>
                <a:gd name="T62" fmla="*/ 180 w 208"/>
                <a:gd name="T63" fmla="*/ 23 h 205"/>
                <a:gd name="T64" fmla="*/ 174 w 208"/>
                <a:gd name="T65" fmla="*/ 20 h 205"/>
                <a:gd name="T66" fmla="*/ 176 w 208"/>
                <a:gd name="T67" fmla="*/ 17 h 205"/>
                <a:gd name="T68" fmla="*/ 186 w 208"/>
                <a:gd name="T69" fmla="*/ 15 h 205"/>
                <a:gd name="T70" fmla="*/ 176 w 208"/>
                <a:gd name="T71" fmla="*/ 13 h 205"/>
                <a:gd name="T72" fmla="*/ 160 w 208"/>
                <a:gd name="T73" fmla="*/ 4 h 205"/>
                <a:gd name="T74" fmla="*/ 143 w 208"/>
                <a:gd name="T75" fmla="*/ 3 h 205"/>
                <a:gd name="T76" fmla="*/ 131 w 208"/>
                <a:gd name="T77" fmla="*/ 4 h 205"/>
                <a:gd name="T78" fmla="*/ 120 w 208"/>
                <a:gd name="T79" fmla="*/ 4 h 205"/>
                <a:gd name="T80" fmla="*/ 108 w 208"/>
                <a:gd name="T81" fmla="*/ 2 h 205"/>
                <a:gd name="T82" fmla="*/ 94 w 208"/>
                <a:gd name="T83" fmla="*/ 7 h 205"/>
                <a:gd name="T84" fmla="*/ 83 w 208"/>
                <a:gd name="T85" fmla="*/ 2 h 205"/>
                <a:gd name="T86" fmla="*/ 76 w 208"/>
                <a:gd name="T87" fmla="*/ 11 h 205"/>
                <a:gd name="T88" fmla="*/ 66 w 208"/>
                <a:gd name="T89" fmla="*/ 25 h 205"/>
                <a:gd name="T90" fmla="*/ 62 w 208"/>
                <a:gd name="T91" fmla="*/ 41 h 205"/>
                <a:gd name="T92" fmla="*/ 65 w 208"/>
                <a:gd name="T93" fmla="*/ 61 h 205"/>
                <a:gd name="T94" fmla="*/ 61 w 208"/>
                <a:gd name="T95" fmla="*/ 77 h 205"/>
                <a:gd name="T96" fmla="*/ 46 w 208"/>
                <a:gd name="T97" fmla="*/ 86 h 205"/>
                <a:gd name="T98" fmla="*/ 33 w 208"/>
                <a:gd name="T99" fmla="*/ 96 h 205"/>
                <a:gd name="T100" fmla="*/ 38 w 208"/>
                <a:gd name="T101" fmla="*/ 110 h 205"/>
                <a:gd name="T102" fmla="*/ 34 w 208"/>
                <a:gd name="T103" fmla="*/ 122 h 205"/>
                <a:gd name="T104" fmla="*/ 14 w 208"/>
                <a:gd name="T105" fmla="*/ 135 h 205"/>
                <a:gd name="T106" fmla="*/ 15 w 208"/>
                <a:gd name="T107" fmla="*/ 143 h 205"/>
                <a:gd name="T108" fmla="*/ 18 w 208"/>
                <a:gd name="T109" fmla="*/ 152 h 205"/>
                <a:gd name="T110" fmla="*/ 10 w 208"/>
                <a:gd name="T111" fmla="*/ 157 h 205"/>
                <a:gd name="T112" fmla="*/ 6 w 208"/>
                <a:gd name="T113" fmla="*/ 172 h 205"/>
                <a:gd name="T114" fmla="*/ 4 w 208"/>
                <a:gd name="T115" fmla="*/ 18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205">
                  <a:moveTo>
                    <a:pt x="191" y="16"/>
                  </a:moveTo>
                  <a:cubicBezTo>
                    <a:pt x="191" y="16"/>
                    <a:pt x="191" y="16"/>
                    <a:pt x="191" y="16"/>
                  </a:cubicBezTo>
                  <a:cubicBezTo>
                    <a:pt x="205" y="16"/>
                    <a:pt x="205" y="16"/>
                    <a:pt x="205" y="16"/>
                  </a:cubicBezTo>
                  <a:cubicBezTo>
                    <a:pt x="205" y="17"/>
                    <a:pt x="205" y="19"/>
                    <a:pt x="205" y="20"/>
                  </a:cubicBezTo>
                  <a:cubicBezTo>
                    <a:pt x="205" y="22"/>
                    <a:pt x="205" y="23"/>
                    <a:pt x="203" y="23"/>
                  </a:cubicBezTo>
                  <a:cubicBezTo>
                    <a:pt x="202" y="23"/>
                    <a:pt x="201" y="23"/>
                    <a:pt x="200" y="23"/>
                  </a:cubicBezTo>
                  <a:cubicBezTo>
                    <a:pt x="200" y="23"/>
                    <a:pt x="199" y="22"/>
                    <a:pt x="199" y="21"/>
                  </a:cubicBezTo>
                  <a:cubicBezTo>
                    <a:pt x="197" y="20"/>
                    <a:pt x="196" y="20"/>
                    <a:pt x="194" y="19"/>
                  </a:cubicBezTo>
                  <a:cubicBezTo>
                    <a:pt x="194" y="19"/>
                    <a:pt x="193" y="18"/>
                    <a:pt x="193" y="17"/>
                  </a:cubicBezTo>
                  <a:cubicBezTo>
                    <a:pt x="193" y="17"/>
                    <a:pt x="191" y="16"/>
                    <a:pt x="191" y="16"/>
                  </a:cubicBezTo>
                  <a:close/>
                  <a:moveTo>
                    <a:pt x="187" y="18"/>
                  </a:moveTo>
                  <a:cubicBezTo>
                    <a:pt x="186" y="19"/>
                    <a:pt x="186" y="19"/>
                    <a:pt x="186" y="19"/>
                  </a:cubicBezTo>
                  <a:cubicBezTo>
                    <a:pt x="185" y="19"/>
                    <a:pt x="185" y="20"/>
                    <a:pt x="185" y="20"/>
                  </a:cubicBezTo>
                  <a:cubicBezTo>
                    <a:pt x="185" y="21"/>
                    <a:pt x="185" y="23"/>
                    <a:pt x="185" y="24"/>
                  </a:cubicBezTo>
                  <a:cubicBezTo>
                    <a:pt x="185" y="25"/>
                    <a:pt x="186" y="25"/>
                    <a:pt x="187" y="26"/>
                  </a:cubicBezTo>
                  <a:cubicBezTo>
                    <a:pt x="188" y="26"/>
                    <a:pt x="188" y="27"/>
                    <a:pt x="189" y="28"/>
                  </a:cubicBezTo>
                  <a:cubicBezTo>
                    <a:pt x="190" y="28"/>
                    <a:pt x="191" y="28"/>
                    <a:pt x="192" y="27"/>
                  </a:cubicBezTo>
                  <a:cubicBezTo>
                    <a:pt x="193" y="26"/>
                    <a:pt x="193" y="25"/>
                    <a:pt x="193" y="24"/>
                  </a:cubicBezTo>
                  <a:cubicBezTo>
                    <a:pt x="194" y="24"/>
                    <a:pt x="195" y="23"/>
                    <a:pt x="194" y="22"/>
                  </a:cubicBezTo>
                  <a:cubicBezTo>
                    <a:pt x="194" y="21"/>
                    <a:pt x="193" y="21"/>
                    <a:pt x="192" y="20"/>
                  </a:cubicBezTo>
                  <a:cubicBezTo>
                    <a:pt x="191" y="19"/>
                    <a:pt x="191" y="18"/>
                    <a:pt x="190" y="18"/>
                  </a:cubicBezTo>
                  <a:cubicBezTo>
                    <a:pt x="189" y="17"/>
                    <a:pt x="188" y="17"/>
                    <a:pt x="187" y="18"/>
                  </a:cubicBezTo>
                  <a:close/>
                  <a:moveTo>
                    <a:pt x="164" y="51"/>
                  </a:moveTo>
                  <a:cubicBezTo>
                    <a:pt x="164" y="52"/>
                    <a:pt x="164" y="52"/>
                    <a:pt x="165" y="53"/>
                  </a:cubicBezTo>
                  <a:cubicBezTo>
                    <a:pt x="165" y="54"/>
                    <a:pt x="165" y="55"/>
                    <a:pt x="166" y="55"/>
                  </a:cubicBezTo>
                  <a:cubicBezTo>
                    <a:pt x="166" y="56"/>
                    <a:pt x="167" y="57"/>
                    <a:pt x="168" y="57"/>
                  </a:cubicBezTo>
                  <a:cubicBezTo>
                    <a:pt x="170" y="57"/>
                    <a:pt x="170" y="57"/>
                    <a:pt x="171" y="57"/>
                  </a:cubicBezTo>
                  <a:cubicBezTo>
                    <a:pt x="173" y="58"/>
                    <a:pt x="174" y="58"/>
                    <a:pt x="175" y="59"/>
                  </a:cubicBezTo>
                  <a:cubicBezTo>
                    <a:pt x="177" y="59"/>
                    <a:pt x="178" y="59"/>
                    <a:pt x="179" y="58"/>
                  </a:cubicBezTo>
                  <a:cubicBezTo>
                    <a:pt x="179" y="57"/>
                    <a:pt x="178" y="56"/>
                    <a:pt x="177" y="56"/>
                  </a:cubicBezTo>
                  <a:cubicBezTo>
                    <a:pt x="175" y="55"/>
                    <a:pt x="175" y="55"/>
                    <a:pt x="174" y="54"/>
                  </a:cubicBezTo>
                  <a:cubicBezTo>
                    <a:pt x="172" y="53"/>
                    <a:pt x="170" y="53"/>
                    <a:pt x="169" y="52"/>
                  </a:cubicBezTo>
                  <a:cubicBezTo>
                    <a:pt x="167" y="52"/>
                    <a:pt x="166" y="51"/>
                    <a:pt x="164" y="51"/>
                  </a:cubicBezTo>
                  <a:close/>
                  <a:moveTo>
                    <a:pt x="178" y="53"/>
                  </a:moveTo>
                  <a:cubicBezTo>
                    <a:pt x="178" y="54"/>
                    <a:pt x="179" y="54"/>
                    <a:pt x="180" y="55"/>
                  </a:cubicBezTo>
                  <a:cubicBezTo>
                    <a:pt x="181" y="56"/>
                    <a:pt x="181" y="57"/>
                    <a:pt x="182" y="57"/>
                  </a:cubicBezTo>
                  <a:cubicBezTo>
                    <a:pt x="183" y="58"/>
                    <a:pt x="185" y="57"/>
                    <a:pt x="185" y="56"/>
                  </a:cubicBezTo>
                  <a:cubicBezTo>
                    <a:pt x="184" y="55"/>
                    <a:pt x="183" y="54"/>
                    <a:pt x="183" y="54"/>
                  </a:cubicBezTo>
                  <a:cubicBezTo>
                    <a:pt x="182" y="53"/>
                    <a:pt x="181" y="53"/>
                    <a:pt x="180" y="53"/>
                  </a:cubicBezTo>
                  <a:cubicBezTo>
                    <a:pt x="179" y="53"/>
                    <a:pt x="178" y="53"/>
                    <a:pt x="178" y="53"/>
                  </a:cubicBezTo>
                  <a:close/>
                  <a:moveTo>
                    <a:pt x="195" y="53"/>
                  </a:moveTo>
                  <a:cubicBezTo>
                    <a:pt x="194" y="53"/>
                    <a:pt x="194" y="54"/>
                    <a:pt x="194" y="54"/>
                  </a:cubicBezTo>
                  <a:cubicBezTo>
                    <a:pt x="195" y="55"/>
                    <a:pt x="195" y="56"/>
                    <a:pt x="196" y="56"/>
                  </a:cubicBezTo>
                  <a:cubicBezTo>
                    <a:pt x="197" y="56"/>
                    <a:pt x="197" y="57"/>
                    <a:pt x="198" y="57"/>
                  </a:cubicBezTo>
                  <a:cubicBezTo>
                    <a:pt x="199" y="58"/>
                    <a:pt x="199" y="58"/>
                    <a:pt x="200" y="59"/>
                  </a:cubicBezTo>
                  <a:cubicBezTo>
                    <a:pt x="200" y="59"/>
                    <a:pt x="201" y="59"/>
                    <a:pt x="202" y="59"/>
                  </a:cubicBezTo>
                  <a:cubicBezTo>
                    <a:pt x="202" y="58"/>
                    <a:pt x="202" y="58"/>
                    <a:pt x="202" y="57"/>
                  </a:cubicBezTo>
                  <a:cubicBezTo>
                    <a:pt x="202" y="57"/>
                    <a:pt x="202" y="56"/>
                    <a:pt x="202" y="56"/>
                  </a:cubicBezTo>
                  <a:cubicBezTo>
                    <a:pt x="201" y="55"/>
                    <a:pt x="201" y="55"/>
                    <a:pt x="200" y="54"/>
                  </a:cubicBezTo>
                  <a:cubicBezTo>
                    <a:pt x="200" y="53"/>
                    <a:pt x="200" y="52"/>
                    <a:pt x="199" y="51"/>
                  </a:cubicBezTo>
                  <a:cubicBezTo>
                    <a:pt x="199" y="51"/>
                    <a:pt x="199" y="51"/>
                    <a:pt x="198" y="51"/>
                  </a:cubicBezTo>
                  <a:cubicBezTo>
                    <a:pt x="197" y="51"/>
                    <a:pt x="197" y="51"/>
                    <a:pt x="196" y="51"/>
                  </a:cubicBezTo>
                  <a:cubicBezTo>
                    <a:pt x="195" y="52"/>
                    <a:pt x="195" y="52"/>
                    <a:pt x="195" y="52"/>
                  </a:cubicBezTo>
                  <a:lnTo>
                    <a:pt x="195" y="53"/>
                  </a:lnTo>
                  <a:close/>
                  <a:moveTo>
                    <a:pt x="182" y="60"/>
                  </a:moveTo>
                  <a:cubicBezTo>
                    <a:pt x="180" y="61"/>
                    <a:pt x="180" y="63"/>
                    <a:pt x="181" y="65"/>
                  </a:cubicBezTo>
                  <a:cubicBezTo>
                    <a:pt x="182" y="66"/>
                    <a:pt x="182" y="66"/>
                    <a:pt x="183" y="67"/>
                  </a:cubicBezTo>
                  <a:cubicBezTo>
                    <a:pt x="184" y="68"/>
                    <a:pt x="184" y="68"/>
                    <a:pt x="185" y="68"/>
                  </a:cubicBezTo>
                  <a:cubicBezTo>
                    <a:pt x="186" y="69"/>
                    <a:pt x="186" y="69"/>
                    <a:pt x="186" y="69"/>
                  </a:cubicBezTo>
                  <a:cubicBezTo>
                    <a:pt x="187" y="70"/>
                    <a:pt x="187" y="72"/>
                    <a:pt x="188" y="72"/>
                  </a:cubicBezTo>
                  <a:cubicBezTo>
                    <a:pt x="189" y="71"/>
                    <a:pt x="189" y="70"/>
                    <a:pt x="189" y="69"/>
                  </a:cubicBezTo>
                  <a:cubicBezTo>
                    <a:pt x="189" y="69"/>
                    <a:pt x="189" y="68"/>
                    <a:pt x="188" y="67"/>
                  </a:cubicBezTo>
                  <a:cubicBezTo>
                    <a:pt x="188" y="67"/>
                    <a:pt x="189" y="67"/>
                    <a:pt x="189" y="66"/>
                  </a:cubicBezTo>
                  <a:cubicBezTo>
                    <a:pt x="189" y="65"/>
                    <a:pt x="190" y="64"/>
                    <a:pt x="190" y="63"/>
                  </a:cubicBezTo>
                  <a:cubicBezTo>
                    <a:pt x="190" y="62"/>
                    <a:pt x="190" y="62"/>
                    <a:pt x="189" y="61"/>
                  </a:cubicBezTo>
                  <a:cubicBezTo>
                    <a:pt x="189" y="61"/>
                    <a:pt x="188" y="60"/>
                    <a:pt x="187" y="60"/>
                  </a:cubicBezTo>
                  <a:cubicBezTo>
                    <a:pt x="186" y="60"/>
                    <a:pt x="184" y="60"/>
                    <a:pt x="182" y="60"/>
                  </a:cubicBezTo>
                  <a:close/>
                  <a:moveTo>
                    <a:pt x="4" y="186"/>
                  </a:moveTo>
                  <a:cubicBezTo>
                    <a:pt x="9" y="188"/>
                    <a:pt x="9" y="188"/>
                    <a:pt x="9" y="188"/>
                  </a:cubicBezTo>
                  <a:cubicBezTo>
                    <a:pt x="9" y="191"/>
                    <a:pt x="9" y="191"/>
                    <a:pt x="9" y="191"/>
                  </a:cubicBezTo>
                  <a:cubicBezTo>
                    <a:pt x="13" y="195"/>
                    <a:pt x="13" y="195"/>
                    <a:pt x="13" y="195"/>
                  </a:cubicBezTo>
                  <a:cubicBezTo>
                    <a:pt x="18" y="197"/>
                    <a:pt x="18" y="197"/>
                    <a:pt x="18" y="197"/>
                  </a:cubicBezTo>
                  <a:cubicBezTo>
                    <a:pt x="21" y="196"/>
                    <a:pt x="21" y="196"/>
                    <a:pt x="21" y="196"/>
                  </a:cubicBezTo>
                  <a:cubicBezTo>
                    <a:pt x="25" y="197"/>
                    <a:pt x="25" y="197"/>
                    <a:pt x="25" y="197"/>
                  </a:cubicBezTo>
                  <a:cubicBezTo>
                    <a:pt x="30" y="201"/>
                    <a:pt x="30" y="201"/>
                    <a:pt x="30" y="201"/>
                  </a:cubicBezTo>
                  <a:cubicBezTo>
                    <a:pt x="36" y="201"/>
                    <a:pt x="36" y="201"/>
                    <a:pt x="36" y="201"/>
                  </a:cubicBezTo>
                  <a:cubicBezTo>
                    <a:pt x="40" y="205"/>
                    <a:pt x="40" y="205"/>
                    <a:pt x="40" y="205"/>
                  </a:cubicBezTo>
                  <a:cubicBezTo>
                    <a:pt x="44" y="205"/>
                    <a:pt x="44" y="205"/>
                    <a:pt x="44" y="205"/>
                  </a:cubicBezTo>
                  <a:cubicBezTo>
                    <a:pt x="50" y="204"/>
                    <a:pt x="50" y="204"/>
                    <a:pt x="50" y="204"/>
                  </a:cubicBezTo>
                  <a:cubicBezTo>
                    <a:pt x="52" y="199"/>
                    <a:pt x="52" y="199"/>
                    <a:pt x="52" y="199"/>
                  </a:cubicBezTo>
                  <a:cubicBezTo>
                    <a:pt x="52" y="197"/>
                    <a:pt x="52" y="197"/>
                    <a:pt x="52" y="197"/>
                  </a:cubicBezTo>
                  <a:cubicBezTo>
                    <a:pt x="54" y="194"/>
                    <a:pt x="54" y="194"/>
                    <a:pt x="54" y="194"/>
                  </a:cubicBezTo>
                  <a:cubicBezTo>
                    <a:pt x="57" y="194"/>
                    <a:pt x="57" y="194"/>
                    <a:pt x="57" y="194"/>
                  </a:cubicBezTo>
                  <a:cubicBezTo>
                    <a:pt x="62" y="192"/>
                    <a:pt x="62" y="192"/>
                    <a:pt x="62" y="192"/>
                  </a:cubicBezTo>
                  <a:cubicBezTo>
                    <a:pt x="66" y="191"/>
                    <a:pt x="66" y="191"/>
                    <a:pt x="66" y="191"/>
                  </a:cubicBezTo>
                  <a:cubicBezTo>
                    <a:pt x="71" y="192"/>
                    <a:pt x="71" y="192"/>
                    <a:pt x="71" y="192"/>
                  </a:cubicBezTo>
                  <a:cubicBezTo>
                    <a:pt x="72" y="190"/>
                    <a:pt x="72" y="190"/>
                    <a:pt x="72" y="190"/>
                  </a:cubicBezTo>
                  <a:cubicBezTo>
                    <a:pt x="74" y="187"/>
                    <a:pt x="74" y="187"/>
                    <a:pt x="74" y="187"/>
                  </a:cubicBezTo>
                  <a:cubicBezTo>
                    <a:pt x="78" y="186"/>
                    <a:pt x="78" y="186"/>
                    <a:pt x="78" y="186"/>
                  </a:cubicBezTo>
                  <a:cubicBezTo>
                    <a:pt x="80" y="181"/>
                    <a:pt x="80" y="181"/>
                    <a:pt x="80" y="181"/>
                  </a:cubicBezTo>
                  <a:cubicBezTo>
                    <a:pt x="84" y="180"/>
                    <a:pt x="84" y="180"/>
                    <a:pt x="84" y="180"/>
                  </a:cubicBezTo>
                  <a:cubicBezTo>
                    <a:pt x="86" y="176"/>
                    <a:pt x="86" y="176"/>
                    <a:pt x="86" y="176"/>
                  </a:cubicBezTo>
                  <a:cubicBezTo>
                    <a:pt x="90" y="175"/>
                    <a:pt x="90" y="175"/>
                    <a:pt x="90" y="175"/>
                  </a:cubicBezTo>
                  <a:cubicBezTo>
                    <a:pt x="90" y="171"/>
                    <a:pt x="90" y="171"/>
                    <a:pt x="90" y="171"/>
                  </a:cubicBezTo>
                  <a:cubicBezTo>
                    <a:pt x="92" y="169"/>
                    <a:pt x="92" y="169"/>
                    <a:pt x="92" y="169"/>
                  </a:cubicBezTo>
                  <a:cubicBezTo>
                    <a:pt x="96" y="169"/>
                    <a:pt x="96" y="169"/>
                    <a:pt x="96" y="169"/>
                  </a:cubicBezTo>
                  <a:cubicBezTo>
                    <a:pt x="98" y="162"/>
                    <a:pt x="98" y="162"/>
                    <a:pt x="98" y="162"/>
                  </a:cubicBezTo>
                  <a:cubicBezTo>
                    <a:pt x="99" y="157"/>
                    <a:pt x="99" y="157"/>
                    <a:pt x="99" y="157"/>
                  </a:cubicBezTo>
                  <a:cubicBezTo>
                    <a:pt x="99" y="151"/>
                    <a:pt x="99" y="151"/>
                    <a:pt x="99" y="151"/>
                  </a:cubicBezTo>
                  <a:cubicBezTo>
                    <a:pt x="100" y="148"/>
                    <a:pt x="100" y="148"/>
                    <a:pt x="100" y="148"/>
                  </a:cubicBezTo>
                  <a:cubicBezTo>
                    <a:pt x="102" y="145"/>
                    <a:pt x="102" y="145"/>
                    <a:pt x="102" y="145"/>
                  </a:cubicBezTo>
                  <a:cubicBezTo>
                    <a:pt x="101" y="141"/>
                    <a:pt x="101" y="141"/>
                    <a:pt x="101" y="141"/>
                  </a:cubicBezTo>
                  <a:cubicBezTo>
                    <a:pt x="106" y="141"/>
                    <a:pt x="106" y="141"/>
                    <a:pt x="106" y="141"/>
                  </a:cubicBezTo>
                  <a:cubicBezTo>
                    <a:pt x="109" y="137"/>
                    <a:pt x="109" y="137"/>
                    <a:pt x="109" y="137"/>
                  </a:cubicBezTo>
                  <a:cubicBezTo>
                    <a:pt x="108" y="136"/>
                    <a:pt x="108" y="136"/>
                    <a:pt x="108" y="136"/>
                  </a:cubicBezTo>
                  <a:cubicBezTo>
                    <a:pt x="106" y="133"/>
                    <a:pt x="106" y="133"/>
                    <a:pt x="106" y="133"/>
                  </a:cubicBezTo>
                  <a:cubicBezTo>
                    <a:pt x="108" y="129"/>
                    <a:pt x="108" y="129"/>
                    <a:pt x="108" y="129"/>
                  </a:cubicBezTo>
                  <a:cubicBezTo>
                    <a:pt x="112" y="129"/>
                    <a:pt x="112" y="129"/>
                    <a:pt x="112" y="129"/>
                  </a:cubicBezTo>
                  <a:cubicBezTo>
                    <a:pt x="116" y="131"/>
                    <a:pt x="116" y="131"/>
                    <a:pt x="116" y="131"/>
                  </a:cubicBezTo>
                  <a:cubicBezTo>
                    <a:pt x="118" y="126"/>
                    <a:pt x="118" y="126"/>
                    <a:pt x="118" y="126"/>
                  </a:cubicBezTo>
                  <a:cubicBezTo>
                    <a:pt x="118" y="123"/>
                    <a:pt x="118" y="123"/>
                    <a:pt x="118" y="123"/>
                  </a:cubicBezTo>
                  <a:cubicBezTo>
                    <a:pt x="118" y="119"/>
                    <a:pt x="118" y="119"/>
                    <a:pt x="118" y="119"/>
                  </a:cubicBezTo>
                  <a:cubicBezTo>
                    <a:pt x="121" y="119"/>
                    <a:pt x="121" y="119"/>
                    <a:pt x="121" y="119"/>
                  </a:cubicBezTo>
                  <a:cubicBezTo>
                    <a:pt x="125" y="123"/>
                    <a:pt x="125" y="123"/>
                    <a:pt x="125" y="123"/>
                  </a:cubicBezTo>
                  <a:cubicBezTo>
                    <a:pt x="133" y="115"/>
                    <a:pt x="133" y="115"/>
                    <a:pt x="133" y="115"/>
                  </a:cubicBezTo>
                  <a:cubicBezTo>
                    <a:pt x="137" y="125"/>
                    <a:pt x="137" y="125"/>
                    <a:pt x="137" y="125"/>
                  </a:cubicBezTo>
                  <a:cubicBezTo>
                    <a:pt x="141" y="118"/>
                    <a:pt x="141" y="118"/>
                    <a:pt x="141" y="118"/>
                  </a:cubicBezTo>
                  <a:cubicBezTo>
                    <a:pt x="145" y="117"/>
                    <a:pt x="145" y="117"/>
                    <a:pt x="145" y="117"/>
                  </a:cubicBezTo>
                  <a:cubicBezTo>
                    <a:pt x="150" y="116"/>
                    <a:pt x="150" y="116"/>
                    <a:pt x="150" y="116"/>
                  </a:cubicBezTo>
                  <a:cubicBezTo>
                    <a:pt x="153" y="111"/>
                    <a:pt x="153" y="111"/>
                    <a:pt x="153" y="111"/>
                  </a:cubicBezTo>
                  <a:cubicBezTo>
                    <a:pt x="165" y="112"/>
                    <a:pt x="165" y="112"/>
                    <a:pt x="165" y="112"/>
                  </a:cubicBezTo>
                  <a:cubicBezTo>
                    <a:pt x="167" y="110"/>
                    <a:pt x="167" y="110"/>
                    <a:pt x="167" y="110"/>
                  </a:cubicBezTo>
                  <a:cubicBezTo>
                    <a:pt x="174" y="110"/>
                    <a:pt x="174" y="110"/>
                    <a:pt x="174" y="110"/>
                  </a:cubicBezTo>
                  <a:cubicBezTo>
                    <a:pt x="180" y="116"/>
                    <a:pt x="180" y="116"/>
                    <a:pt x="180" y="116"/>
                  </a:cubicBezTo>
                  <a:cubicBezTo>
                    <a:pt x="187" y="116"/>
                    <a:pt x="187" y="116"/>
                    <a:pt x="187" y="116"/>
                  </a:cubicBezTo>
                  <a:cubicBezTo>
                    <a:pt x="195" y="128"/>
                    <a:pt x="195" y="128"/>
                    <a:pt x="195" y="128"/>
                  </a:cubicBezTo>
                  <a:cubicBezTo>
                    <a:pt x="199" y="127"/>
                    <a:pt x="199" y="127"/>
                    <a:pt x="199" y="127"/>
                  </a:cubicBezTo>
                  <a:cubicBezTo>
                    <a:pt x="201" y="124"/>
                    <a:pt x="201" y="124"/>
                    <a:pt x="201" y="124"/>
                  </a:cubicBezTo>
                  <a:cubicBezTo>
                    <a:pt x="205" y="124"/>
                    <a:pt x="205" y="124"/>
                    <a:pt x="205" y="124"/>
                  </a:cubicBezTo>
                  <a:cubicBezTo>
                    <a:pt x="208" y="121"/>
                    <a:pt x="208" y="121"/>
                    <a:pt x="208" y="121"/>
                  </a:cubicBezTo>
                  <a:cubicBezTo>
                    <a:pt x="207" y="120"/>
                    <a:pt x="206" y="119"/>
                    <a:pt x="205" y="117"/>
                  </a:cubicBezTo>
                  <a:cubicBezTo>
                    <a:pt x="204" y="116"/>
                    <a:pt x="202" y="115"/>
                    <a:pt x="200" y="114"/>
                  </a:cubicBezTo>
                  <a:cubicBezTo>
                    <a:pt x="200" y="113"/>
                    <a:pt x="199" y="113"/>
                    <a:pt x="199" y="112"/>
                  </a:cubicBezTo>
                  <a:cubicBezTo>
                    <a:pt x="198" y="112"/>
                    <a:pt x="198" y="111"/>
                    <a:pt x="198" y="111"/>
                  </a:cubicBezTo>
                  <a:cubicBezTo>
                    <a:pt x="197" y="110"/>
                    <a:pt x="197" y="110"/>
                    <a:pt x="197" y="110"/>
                  </a:cubicBezTo>
                  <a:cubicBezTo>
                    <a:pt x="197" y="109"/>
                    <a:pt x="197" y="109"/>
                    <a:pt x="197" y="108"/>
                  </a:cubicBezTo>
                  <a:cubicBezTo>
                    <a:pt x="196" y="106"/>
                    <a:pt x="197" y="105"/>
                    <a:pt x="197" y="103"/>
                  </a:cubicBezTo>
                  <a:cubicBezTo>
                    <a:pt x="196" y="101"/>
                    <a:pt x="194" y="101"/>
                    <a:pt x="192" y="101"/>
                  </a:cubicBezTo>
                  <a:cubicBezTo>
                    <a:pt x="190" y="100"/>
                    <a:pt x="187" y="101"/>
                    <a:pt x="186" y="99"/>
                  </a:cubicBezTo>
                  <a:cubicBezTo>
                    <a:pt x="187" y="99"/>
                    <a:pt x="186" y="99"/>
                    <a:pt x="188" y="99"/>
                  </a:cubicBezTo>
                  <a:cubicBezTo>
                    <a:pt x="189" y="99"/>
                    <a:pt x="191" y="100"/>
                    <a:pt x="192" y="99"/>
                  </a:cubicBezTo>
                  <a:cubicBezTo>
                    <a:pt x="191" y="98"/>
                    <a:pt x="190" y="98"/>
                    <a:pt x="189" y="97"/>
                  </a:cubicBezTo>
                  <a:cubicBezTo>
                    <a:pt x="190" y="97"/>
                    <a:pt x="190" y="97"/>
                    <a:pt x="190" y="97"/>
                  </a:cubicBezTo>
                  <a:cubicBezTo>
                    <a:pt x="189" y="97"/>
                    <a:pt x="188" y="97"/>
                    <a:pt x="187" y="96"/>
                  </a:cubicBezTo>
                  <a:cubicBezTo>
                    <a:pt x="189" y="95"/>
                    <a:pt x="189" y="95"/>
                    <a:pt x="191" y="95"/>
                  </a:cubicBezTo>
                  <a:cubicBezTo>
                    <a:pt x="192" y="95"/>
                    <a:pt x="193" y="95"/>
                    <a:pt x="192" y="94"/>
                  </a:cubicBezTo>
                  <a:cubicBezTo>
                    <a:pt x="192" y="92"/>
                    <a:pt x="187" y="92"/>
                    <a:pt x="186" y="93"/>
                  </a:cubicBezTo>
                  <a:cubicBezTo>
                    <a:pt x="185" y="93"/>
                    <a:pt x="183" y="94"/>
                    <a:pt x="183" y="93"/>
                  </a:cubicBezTo>
                  <a:cubicBezTo>
                    <a:pt x="182" y="92"/>
                    <a:pt x="184" y="92"/>
                    <a:pt x="184" y="91"/>
                  </a:cubicBezTo>
                  <a:cubicBezTo>
                    <a:pt x="185" y="91"/>
                    <a:pt x="185" y="91"/>
                    <a:pt x="185" y="91"/>
                  </a:cubicBezTo>
                  <a:cubicBezTo>
                    <a:pt x="186" y="90"/>
                    <a:pt x="186" y="90"/>
                    <a:pt x="186" y="90"/>
                  </a:cubicBezTo>
                  <a:cubicBezTo>
                    <a:pt x="187" y="90"/>
                    <a:pt x="189" y="91"/>
                    <a:pt x="190" y="90"/>
                  </a:cubicBezTo>
                  <a:cubicBezTo>
                    <a:pt x="189" y="90"/>
                    <a:pt x="190" y="89"/>
                    <a:pt x="190" y="89"/>
                  </a:cubicBezTo>
                  <a:cubicBezTo>
                    <a:pt x="190" y="88"/>
                    <a:pt x="189" y="88"/>
                    <a:pt x="188" y="88"/>
                  </a:cubicBezTo>
                  <a:cubicBezTo>
                    <a:pt x="187" y="88"/>
                    <a:pt x="186" y="88"/>
                    <a:pt x="186" y="88"/>
                  </a:cubicBezTo>
                  <a:cubicBezTo>
                    <a:pt x="185" y="88"/>
                    <a:pt x="185" y="89"/>
                    <a:pt x="184" y="89"/>
                  </a:cubicBezTo>
                  <a:cubicBezTo>
                    <a:pt x="183" y="90"/>
                    <a:pt x="182" y="91"/>
                    <a:pt x="181" y="90"/>
                  </a:cubicBezTo>
                  <a:cubicBezTo>
                    <a:pt x="181" y="89"/>
                    <a:pt x="182" y="89"/>
                    <a:pt x="182" y="88"/>
                  </a:cubicBezTo>
                  <a:cubicBezTo>
                    <a:pt x="183" y="87"/>
                    <a:pt x="181" y="88"/>
                    <a:pt x="181" y="87"/>
                  </a:cubicBezTo>
                  <a:cubicBezTo>
                    <a:pt x="180" y="86"/>
                    <a:pt x="183" y="87"/>
                    <a:pt x="183" y="87"/>
                  </a:cubicBezTo>
                  <a:cubicBezTo>
                    <a:pt x="184" y="87"/>
                    <a:pt x="184" y="88"/>
                    <a:pt x="185" y="87"/>
                  </a:cubicBezTo>
                  <a:cubicBezTo>
                    <a:pt x="186" y="85"/>
                    <a:pt x="186" y="84"/>
                    <a:pt x="185" y="83"/>
                  </a:cubicBezTo>
                  <a:cubicBezTo>
                    <a:pt x="184" y="82"/>
                    <a:pt x="184" y="82"/>
                    <a:pt x="183" y="82"/>
                  </a:cubicBezTo>
                  <a:cubicBezTo>
                    <a:pt x="182" y="82"/>
                    <a:pt x="181" y="82"/>
                    <a:pt x="181" y="83"/>
                  </a:cubicBezTo>
                  <a:cubicBezTo>
                    <a:pt x="180" y="82"/>
                    <a:pt x="180" y="82"/>
                    <a:pt x="180" y="82"/>
                  </a:cubicBezTo>
                  <a:cubicBezTo>
                    <a:pt x="179" y="82"/>
                    <a:pt x="179" y="82"/>
                    <a:pt x="179" y="82"/>
                  </a:cubicBezTo>
                  <a:cubicBezTo>
                    <a:pt x="178" y="81"/>
                    <a:pt x="178" y="81"/>
                    <a:pt x="178" y="81"/>
                  </a:cubicBezTo>
                  <a:cubicBezTo>
                    <a:pt x="178" y="80"/>
                    <a:pt x="178" y="80"/>
                    <a:pt x="176" y="80"/>
                  </a:cubicBezTo>
                  <a:cubicBezTo>
                    <a:pt x="175" y="81"/>
                    <a:pt x="173" y="82"/>
                    <a:pt x="172" y="81"/>
                  </a:cubicBezTo>
                  <a:cubicBezTo>
                    <a:pt x="172" y="80"/>
                    <a:pt x="172" y="80"/>
                    <a:pt x="173" y="80"/>
                  </a:cubicBezTo>
                  <a:cubicBezTo>
                    <a:pt x="174" y="79"/>
                    <a:pt x="176" y="79"/>
                    <a:pt x="176" y="78"/>
                  </a:cubicBezTo>
                  <a:cubicBezTo>
                    <a:pt x="176" y="76"/>
                    <a:pt x="174" y="77"/>
                    <a:pt x="173" y="77"/>
                  </a:cubicBezTo>
                  <a:cubicBezTo>
                    <a:pt x="172" y="77"/>
                    <a:pt x="170" y="77"/>
                    <a:pt x="169" y="76"/>
                  </a:cubicBezTo>
                  <a:cubicBezTo>
                    <a:pt x="168" y="76"/>
                    <a:pt x="168" y="75"/>
                    <a:pt x="167" y="75"/>
                  </a:cubicBezTo>
                  <a:cubicBezTo>
                    <a:pt x="167" y="75"/>
                    <a:pt x="166" y="75"/>
                    <a:pt x="166" y="75"/>
                  </a:cubicBezTo>
                  <a:cubicBezTo>
                    <a:pt x="165" y="75"/>
                    <a:pt x="164" y="75"/>
                    <a:pt x="164" y="75"/>
                  </a:cubicBezTo>
                  <a:cubicBezTo>
                    <a:pt x="164" y="74"/>
                    <a:pt x="165" y="73"/>
                    <a:pt x="164" y="72"/>
                  </a:cubicBezTo>
                  <a:cubicBezTo>
                    <a:pt x="163" y="72"/>
                    <a:pt x="162" y="72"/>
                    <a:pt x="161" y="72"/>
                  </a:cubicBezTo>
                  <a:cubicBezTo>
                    <a:pt x="162" y="71"/>
                    <a:pt x="164" y="71"/>
                    <a:pt x="165" y="71"/>
                  </a:cubicBezTo>
                  <a:cubicBezTo>
                    <a:pt x="167" y="71"/>
                    <a:pt x="168" y="73"/>
                    <a:pt x="170" y="73"/>
                  </a:cubicBezTo>
                  <a:cubicBezTo>
                    <a:pt x="172" y="73"/>
                    <a:pt x="173" y="72"/>
                    <a:pt x="174" y="71"/>
                  </a:cubicBezTo>
                  <a:cubicBezTo>
                    <a:pt x="176" y="71"/>
                    <a:pt x="177" y="70"/>
                    <a:pt x="179" y="70"/>
                  </a:cubicBezTo>
                  <a:cubicBezTo>
                    <a:pt x="179" y="69"/>
                    <a:pt x="180" y="69"/>
                    <a:pt x="180" y="68"/>
                  </a:cubicBezTo>
                  <a:cubicBezTo>
                    <a:pt x="180" y="67"/>
                    <a:pt x="179" y="66"/>
                    <a:pt x="178" y="66"/>
                  </a:cubicBezTo>
                  <a:cubicBezTo>
                    <a:pt x="177" y="67"/>
                    <a:pt x="176" y="67"/>
                    <a:pt x="175" y="67"/>
                  </a:cubicBezTo>
                  <a:cubicBezTo>
                    <a:pt x="174" y="67"/>
                    <a:pt x="173" y="67"/>
                    <a:pt x="172" y="67"/>
                  </a:cubicBezTo>
                  <a:cubicBezTo>
                    <a:pt x="172" y="66"/>
                    <a:pt x="174" y="65"/>
                    <a:pt x="175" y="64"/>
                  </a:cubicBezTo>
                  <a:cubicBezTo>
                    <a:pt x="175" y="63"/>
                    <a:pt x="175" y="62"/>
                    <a:pt x="173" y="61"/>
                  </a:cubicBezTo>
                  <a:cubicBezTo>
                    <a:pt x="172" y="60"/>
                    <a:pt x="170" y="60"/>
                    <a:pt x="169" y="59"/>
                  </a:cubicBezTo>
                  <a:cubicBezTo>
                    <a:pt x="168" y="59"/>
                    <a:pt x="166" y="58"/>
                    <a:pt x="165" y="57"/>
                  </a:cubicBezTo>
                  <a:cubicBezTo>
                    <a:pt x="162" y="57"/>
                    <a:pt x="160" y="56"/>
                    <a:pt x="161" y="53"/>
                  </a:cubicBezTo>
                  <a:cubicBezTo>
                    <a:pt x="162" y="52"/>
                    <a:pt x="163" y="49"/>
                    <a:pt x="161" y="49"/>
                  </a:cubicBezTo>
                  <a:cubicBezTo>
                    <a:pt x="159" y="49"/>
                    <a:pt x="157" y="50"/>
                    <a:pt x="156" y="50"/>
                  </a:cubicBezTo>
                  <a:cubicBezTo>
                    <a:pt x="154" y="50"/>
                    <a:pt x="152" y="50"/>
                    <a:pt x="151" y="50"/>
                  </a:cubicBezTo>
                  <a:cubicBezTo>
                    <a:pt x="151" y="48"/>
                    <a:pt x="153" y="48"/>
                    <a:pt x="154" y="48"/>
                  </a:cubicBezTo>
                  <a:cubicBezTo>
                    <a:pt x="155" y="48"/>
                    <a:pt x="156" y="48"/>
                    <a:pt x="158" y="48"/>
                  </a:cubicBezTo>
                  <a:cubicBezTo>
                    <a:pt x="161" y="48"/>
                    <a:pt x="164" y="48"/>
                    <a:pt x="167" y="48"/>
                  </a:cubicBezTo>
                  <a:cubicBezTo>
                    <a:pt x="169" y="48"/>
                    <a:pt x="171" y="48"/>
                    <a:pt x="173" y="48"/>
                  </a:cubicBezTo>
                  <a:cubicBezTo>
                    <a:pt x="174" y="48"/>
                    <a:pt x="175" y="49"/>
                    <a:pt x="176" y="49"/>
                  </a:cubicBezTo>
                  <a:cubicBezTo>
                    <a:pt x="177" y="50"/>
                    <a:pt x="181" y="50"/>
                    <a:pt x="180" y="47"/>
                  </a:cubicBezTo>
                  <a:cubicBezTo>
                    <a:pt x="180" y="46"/>
                    <a:pt x="177" y="46"/>
                    <a:pt x="176" y="46"/>
                  </a:cubicBezTo>
                  <a:cubicBezTo>
                    <a:pt x="177" y="45"/>
                    <a:pt x="177" y="45"/>
                    <a:pt x="178" y="44"/>
                  </a:cubicBezTo>
                  <a:cubicBezTo>
                    <a:pt x="179" y="44"/>
                    <a:pt x="178" y="43"/>
                    <a:pt x="179" y="43"/>
                  </a:cubicBezTo>
                  <a:cubicBezTo>
                    <a:pt x="179" y="43"/>
                    <a:pt x="180" y="44"/>
                    <a:pt x="181" y="44"/>
                  </a:cubicBezTo>
                  <a:cubicBezTo>
                    <a:pt x="182" y="46"/>
                    <a:pt x="183" y="48"/>
                    <a:pt x="185" y="49"/>
                  </a:cubicBezTo>
                  <a:cubicBezTo>
                    <a:pt x="186" y="49"/>
                    <a:pt x="188" y="49"/>
                    <a:pt x="190" y="49"/>
                  </a:cubicBezTo>
                  <a:cubicBezTo>
                    <a:pt x="191" y="49"/>
                    <a:pt x="193" y="47"/>
                    <a:pt x="194" y="47"/>
                  </a:cubicBezTo>
                  <a:cubicBezTo>
                    <a:pt x="195" y="46"/>
                    <a:pt x="197" y="46"/>
                    <a:pt x="197" y="45"/>
                  </a:cubicBezTo>
                  <a:cubicBezTo>
                    <a:pt x="200" y="43"/>
                    <a:pt x="195" y="42"/>
                    <a:pt x="194" y="41"/>
                  </a:cubicBezTo>
                  <a:cubicBezTo>
                    <a:pt x="193" y="41"/>
                    <a:pt x="186" y="41"/>
                    <a:pt x="187" y="39"/>
                  </a:cubicBezTo>
                  <a:cubicBezTo>
                    <a:pt x="188" y="39"/>
                    <a:pt x="190" y="39"/>
                    <a:pt x="192" y="39"/>
                  </a:cubicBezTo>
                  <a:cubicBezTo>
                    <a:pt x="193" y="39"/>
                    <a:pt x="194" y="40"/>
                    <a:pt x="195" y="41"/>
                  </a:cubicBezTo>
                  <a:cubicBezTo>
                    <a:pt x="196" y="41"/>
                    <a:pt x="198" y="41"/>
                    <a:pt x="198" y="40"/>
                  </a:cubicBezTo>
                  <a:cubicBezTo>
                    <a:pt x="197" y="39"/>
                    <a:pt x="195" y="39"/>
                    <a:pt x="196" y="38"/>
                  </a:cubicBezTo>
                  <a:cubicBezTo>
                    <a:pt x="197" y="38"/>
                    <a:pt x="198" y="39"/>
                    <a:pt x="199" y="38"/>
                  </a:cubicBezTo>
                  <a:cubicBezTo>
                    <a:pt x="199" y="37"/>
                    <a:pt x="197" y="36"/>
                    <a:pt x="196" y="35"/>
                  </a:cubicBezTo>
                  <a:cubicBezTo>
                    <a:pt x="195" y="34"/>
                    <a:pt x="195" y="34"/>
                    <a:pt x="194" y="34"/>
                  </a:cubicBezTo>
                  <a:cubicBezTo>
                    <a:pt x="193" y="33"/>
                    <a:pt x="193" y="34"/>
                    <a:pt x="192" y="34"/>
                  </a:cubicBezTo>
                  <a:cubicBezTo>
                    <a:pt x="190" y="34"/>
                    <a:pt x="191" y="32"/>
                    <a:pt x="190" y="31"/>
                  </a:cubicBezTo>
                  <a:cubicBezTo>
                    <a:pt x="189" y="30"/>
                    <a:pt x="187" y="30"/>
                    <a:pt x="186" y="29"/>
                  </a:cubicBezTo>
                  <a:cubicBezTo>
                    <a:pt x="185" y="29"/>
                    <a:pt x="184" y="28"/>
                    <a:pt x="184" y="27"/>
                  </a:cubicBezTo>
                  <a:cubicBezTo>
                    <a:pt x="183" y="26"/>
                    <a:pt x="182" y="25"/>
                    <a:pt x="182" y="25"/>
                  </a:cubicBezTo>
                  <a:cubicBezTo>
                    <a:pt x="181" y="24"/>
                    <a:pt x="181" y="24"/>
                    <a:pt x="181" y="24"/>
                  </a:cubicBezTo>
                  <a:cubicBezTo>
                    <a:pt x="181" y="23"/>
                    <a:pt x="180" y="23"/>
                    <a:pt x="180" y="23"/>
                  </a:cubicBezTo>
                  <a:cubicBezTo>
                    <a:pt x="179" y="23"/>
                    <a:pt x="179" y="22"/>
                    <a:pt x="178" y="23"/>
                  </a:cubicBezTo>
                  <a:cubicBezTo>
                    <a:pt x="178" y="23"/>
                    <a:pt x="178" y="24"/>
                    <a:pt x="178" y="25"/>
                  </a:cubicBezTo>
                  <a:cubicBezTo>
                    <a:pt x="177" y="25"/>
                    <a:pt x="177" y="25"/>
                    <a:pt x="176" y="25"/>
                  </a:cubicBezTo>
                  <a:cubicBezTo>
                    <a:pt x="175" y="25"/>
                    <a:pt x="175" y="24"/>
                    <a:pt x="175" y="24"/>
                  </a:cubicBezTo>
                  <a:cubicBezTo>
                    <a:pt x="176" y="23"/>
                    <a:pt x="177" y="23"/>
                    <a:pt x="177" y="22"/>
                  </a:cubicBezTo>
                  <a:cubicBezTo>
                    <a:pt x="178" y="21"/>
                    <a:pt x="177" y="21"/>
                    <a:pt x="177" y="20"/>
                  </a:cubicBezTo>
                  <a:cubicBezTo>
                    <a:pt x="176" y="20"/>
                    <a:pt x="175" y="20"/>
                    <a:pt x="174" y="20"/>
                  </a:cubicBezTo>
                  <a:cubicBezTo>
                    <a:pt x="173" y="19"/>
                    <a:pt x="174" y="19"/>
                    <a:pt x="174" y="19"/>
                  </a:cubicBezTo>
                  <a:cubicBezTo>
                    <a:pt x="174" y="18"/>
                    <a:pt x="173" y="18"/>
                    <a:pt x="172" y="18"/>
                  </a:cubicBezTo>
                  <a:cubicBezTo>
                    <a:pt x="172" y="18"/>
                    <a:pt x="170" y="17"/>
                    <a:pt x="170" y="16"/>
                  </a:cubicBezTo>
                  <a:cubicBezTo>
                    <a:pt x="169" y="15"/>
                    <a:pt x="170" y="15"/>
                    <a:pt x="170" y="15"/>
                  </a:cubicBezTo>
                  <a:cubicBezTo>
                    <a:pt x="171" y="16"/>
                    <a:pt x="172" y="16"/>
                    <a:pt x="173" y="16"/>
                  </a:cubicBezTo>
                  <a:cubicBezTo>
                    <a:pt x="174" y="16"/>
                    <a:pt x="175" y="16"/>
                    <a:pt x="175" y="17"/>
                  </a:cubicBezTo>
                  <a:cubicBezTo>
                    <a:pt x="176" y="17"/>
                    <a:pt x="176" y="17"/>
                    <a:pt x="176" y="17"/>
                  </a:cubicBezTo>
                  <a:cubicBezTo>
                    <a:pt x="176" y="18"/>
                    <a:pt x="176" y="18"/>
                    <a:pt x="176" y="18"/>
                  </a:cubicBezTo>
                  <a:cubicBezTo>
                    <a:pt x="177" y="18"/>
                    <a:pt x="178" y="18"/>
                    <a:pt x="178" y="19"/>
                  </a:cubicBezTo>
                  <a:cubicBezTo>
                    <a:pt x="179" y="19"/>
                    <a:pt x="180" y="19"/>
                    <a:pt x="181" y="18"/>
                  </a:cubicBezTo>
                  <a:cubicBezTo>
                    <a:pt x="182" y="18"/>
                    <a:pt x="182" y="19"/>
                    <a:pt x="183" y="19"/>
                  </a:cubicBezTo>
                  <a:cubicBezTo>
                    <a:pt x="184" y="18"/>
                    <a:pt x="182" y="16"/>
                    <a:pt x="184" y="17"/>
                  </a:cubicBezTo>
                  <a:cubicBezTo>
                    <a:pt x="185" y="17"/>
                    <a:pt x="186" y="17"/>
                    <a:pt x="186" y="16"/>
                  </a:cubicBezTo>
                  <a:cubicBezTo>
                    <a:pt x="186" y="16"/>
                    <a:pt x="186" y="15"/>
                    <a:pt x="186" y="15"/>
                  </a:cubicBezTo>
                  <a:cubicBezTo>
                    <a:pt x="186" y="16"/>
                    <a:pt x="186" y="16"/>
                    <a:pt x="186" y="16"/>
                  </a:cubicBezTo>
                  <a:cubicBezTo>
                    <a:pt x="186" y="16"/>
                    <a:pt x="185" y="16"/>
                    <a:pt x="185" y="15"/>
                  </a:cubicBezTo>
                  <a:cubicBezTo>
                    <a:pt x="184" y="15"/>
                    <a:pt x="184" y="15"/>
                    <a:pt x="184" y="15"/>
                  </a:cubicBezTo>
                  <a:cubicBezTo>
                    <a:pt x="183" y="15"/>
                    <a:pt x="183" y="15"/>
                    <a:pt x="183" y="15"/>
                  </a:cubicBezTo>
                  <a:cubicBezTo>
                    <a:pt x="182" y="15"/>
                    <a:pt x="183" y="16"/>
                    <a:pt x="182" y="16"/>
                  </a:cubicBezTo>
                  <a:cubicBezTo>
                    <a:pt x="180" y="15"/>
                    <a:pt x="179" y="15"/>
                    <a:pt x="178" y="15"/>
                  </a:cubicBezTo>
                  <a:cubicBezTo>
                    <a:pt x="177" y="14"/>
                    <a:pt x="177" y="14"/>
                    <a:pt x="176" y="13"/>
                  </a:cubicBezTo>
                  <a:cubicBezTo>
                    <a:pt x="175" y="13"/>
                    <a:pt x="175" y="13"/>
                    <a:pt x="175" y="12"/>
                  </a:cubicBezTo>
                  <a:cubicBezTo>
                    <a:pt x="174" y="12"/>
                    <a:pt x="175" y="11"/>
                    <a:pt x="174" y="11"/>
                  </a:cubicBezTo>
                  <a:cubicBezTo>
                    <a:pt x="173" y="10"/>
                    <a:pt x="172" y="9"/>
                    <a:pt x="171" y="9"/>
                  </a:cubicBezTo>
                  <a:cubicBezTo>
                    <a:pt x="169" y="8"/>
                    <a:pt x="168" y="6"/>
                    <a:pt x="166" y="5"/>
                  </a:cubicBezTo>
                  <a:cubicBezTo>
                    <a:pt x="166" y="5"/>
                    <a:pt x="164" y="3"/>
                    <a:pt x="163" y="3"/>
                  </a:cubicBezTo>
                  <a:cubicBezTo>
                    <a:pt x="162" y="3"/>
                    <a:pt x="162" y="4"/>
                    <a:pt x="161" y="4"/>
                  </a:cubicBezTo>
                  <a:cubicBezTo>
                    <a:pt x="161" y="4"/>
                    <a:pt x="160" y="4"/>
                    <a:pt x="160" y="4"/>
                  </a:cubicBezTo>
                  <a:cubicBezTo>
                    <a:pt x="159" y="4"/>
                    <a:pt x="158" y="4"/>
                    <a:pt x="157" y="4"/>
                  </a:cubicBezTo>
                  <a:cubicBezTo>
                    <a:pt x="156" y="5"/>
                    <a:pt x="156" y="5"/>
                    <a:pt x="155" y="4"/>
                  </a:cubicBezTo>
                  <a:cubicBezTo>
                    <a:pt x="154" y="4"/>
                    <a:pt x="153" y="4"/>
                    <a:pt x="152" y="5"/>
                  </a:cubicBezTo>
                  <a:cubicBezTo>
                    <a:pt x="152" y="5"/>
                    <a:pt x="152" y="6"/>
                    <a:pt x="151" y="6"/>
                  </a:cubicBezTo>
                  <a:cubicBezTo>
                    <a:pt x="150" y="7"/>
                    <a:pt x="149" y="5"/>
                    <a:pt x="148" y="4"/>
                  </a:cubicBezTo>
                  <a:cubicBezTo>
                    <a:pt x="147" y="4"/>
                    <a:pt x="146" y="4"/>
                    <a:pt x="145" y="3"/>
                  </a:cubicBezTo>
                  <a:cubicBezTo>
                    <a:pt x="145" y="3"/>
                    <a:pt x="144" y="3"/>
                    <a:pt x="143" y="3"/>
                  </a:cubicBezTo>
                  <a:cubicBezTo>
                    <a:pt x="143" y="3"/>
                    <a:pt x="143" y="3"/>
                    <a:pt x="142" y="4"/>
                  </a:cubicBezTo>
                  <a:cubicBezTo>
                    <a:pt x="141" y="5"/>
                    <a:pt x="139" y="5"/>
                    <a:pt x="138" y="4"/>
                  </a:cubicBezTo>
                  <a:cubicBezTo>
                    <a:pt x="137" y="4"/>
                    <a:pt x="138" y="4"/>
                    <a:pt x="137" y="4"/>
                  </a:cubicBezTo>
                  <a:cubicBezTo>
                    <a:pt x="136" y="4"/>
                    <a:pt x="136" y="4"/>
                    <a:pt x="135" y="4"/>
                  </a:cubicBezTo>
                  <a:cubicBezTo>
                    <a:pt x="135" y="3"/>
                    <a:pt x="135" y="2"/>
                    <a:pt x="134" y="2"/>
                  </a:cubicBezTo>
                  <a:cubicBezTo>
                    <a:pt x="134" y="2"/>
                    <a:pt x="133" y="3"/>
                    <a:pt x="133" y="3"/>
                  </a:cubicBezTo>
                  <a:cubicBezTo>
                    <a:pt x="132" y="4"/>
                    <a:pt x="132" y="4"/>
                    <a:pt x="131" y="4"/>
                  </a:cubicBezTo>
                  <a:cubicBezTo>
                    <a:pt x="130" y="4"/>
                    <a:pt x="130" y="4"/>
                    <a:pt x="129" y="4"/>
                  </a:cubicBezTo>
                  <a:cubicBezTo>
                    <a:pt x="129" y="4"/>
                    <a:pt x="129" y="4"/>
                    <a:pt x="128" y="4"/>
                  </a:cubicBezTo>
                  <a:cubicBezTo>
                    <a:pt x="127" y="4"/>
                    <a:pt x="126" y="4"/>
                    <a:pt x="125" y="3"/>
                  </a:cubicBezTo>
                  <a:cubicBezTo>
                    <a:pt x="125" y="3"/>
                    <a:pt x="125" y="2"/>
                    <a:pt x="125" y="2"/>
                  </a:cubicBezTo>
                  <a:cubicBezTo>
                    <a:pt x="124" y="2"/>
                    <a:pt x="124" y="2"/>
                    <a:pt x="124" y="2"/>
                  </a:cubicBezTo>
                  <a:cubicBezTo>
                    <a:pt x="123" y="2"/>
                    <a:pt x="123" y="2"/>
                    <a:pt x="122" y="1"/>
                  </a:cubicBezTo>
                  <a:cubicBezTo>
                    <a:pt x="122" y="2"/>
                    <a:pt x="121" y="3"/>
                    <a:pt x="120" y="4"/>
                  </a:cubicBezTo>
                  <a:cubicBezTo>
                    <a:pt x="120" y="5"/>
                    <a:pt x="119" y="5"/>
                    <a:pt x="118" y="5"/>
                  </a:cubicBezTo>
                  <a:cubicBezTo>
                    <a:pt x="118" y="5"/>
                    <a:pt x="118" y="6"/>
                    <a:pt x="118" y="7"/>
                  </a:cubicBezTo>
                  <a:cubicBezTo>
                    <a:pt x="117" y="7"/>
                    <a:pt x="115" y="8"/>
                    <a:pt x="115" y="7"/>
                  </a:cubicBezTo>
                  <a:cubicBezTo>
                    <a:pt x="114" y="7"/>
                    <a:pt x="114" y="5"/>
                    <a:pt x="114" y="5"/>
                  </a:cubicBezTo>
                  <a:cubicBezTo>
                    <a:pt x="113" y="5"/>
                    <a:pt x="113" y="4"/>
                    <a:pt x="113" y="4"/>
                  </a:cubicBezTo>
                  <a:cubicBezTo>
                    <a:pt x="112" y="3"/>
                    <a:pt x="112" y="3"/>
                    <a:pt x="111" y="3"/>
                  </a:cubicBezTo>
                  <a:cubicBezTo>
                    <a:pt x="110" y="2"/>
                    <a:pt x="109" y="2"/>
                    <a:pt x="108" y="2"/>
                  </a:cubicBezTo>
                  <a:cubicBezTo>
                    <a:pt x="107" y="3"/>
                    <a:pt x="106" y="4"/>
                    <a:pt x="104" y="3"/>
                  </a:cubicBezTo>
                  <a:cubicBezTo>
                    <a:pt x="104" y="3"/>
                    <a:pt x="104" y="3"/>
                    <a:pt x="103" y="3"/>
                  </a:cubicBezTo>
                  <a:cubicBezTo>
                    <a:pt x="103" y="2"/>
                    <a:pt x="102" y="2"/>
                    <a:pt x="102" y="2"/>
                  </a:cubicBezTo>
                  <a:cubicBezTo>
                    <a:pt x="101" y="2"/>
                    <a:pt x="99" y="2"/>
                    <a:pt x="98" y="2"/>
                  </a:cubicBezTo>
                  <a:cubicBezTo>
                    <a:pt x="98" y="2"/>
                    <a:pt x="98" y="3"/>
                    <a:pt x="98" y="4"/>
                  </a:cubicBezTo>
                  <a:cubicBezTo>
                    <a:pt x="98" y="5"/>
                    <a:pt x="97" y="5"/>
                    <a:pt x="97" y="5"/>
                  </a:cubicBezTo>
                  <a:cubicBezTo>
                    <a:pt x="95" y="5"/>
                    <a:pt x="95" y="6"/>
                    <a:pt x="94" y="7"/>
                  </a:cubicBezTo>
                  <a:cubicBezTo>
                    <a:pt x="93" y="7"/>
                    <a:pt x="93" y="9"/>
                    <a:pt x="91" y="8"/>
                  </a:cubicBezTo>
                  <a:cubicBezTo>
                    <a:pt x="90" y="8"/>
                    <a:pt x="90" y="7"/>
                    <a:pt x="90" y="6"/>
                  </a:cubicBezTo>
                  <a:cubicBezTo>
                    <a:pt x="89" y="4"/>
                    <a:pt x="89" y="4"/>
                    <a:pt x="88" y="4"/>
                  </a:cubicBezTo>
                  <a:cubicBezTo>
                    <a:pt x="87" y="4"/>
                    <a:pt x="87" y="4"/>
                    <a:pt x="86" y="4"/>
                  </a:cubicBezTo>
                  <a:cubicBezTo>
                    <a:pt x="86" y="3"/>
                    <a:pt x="85" y="3"/>
                    <a:pt x="85" y="3"/>
                  </a:cubicBezTo>
                  <a:cubicBezTo>
                    <a:pt x="84" y="3"/>
                    <a:pt x="84" y="3"/>
                    <a:pt x="83" y="3"/>
                  </a:cubicBezTo>
                  <a:cubicBezTo>
                    <a:pt x="83" y="2"/>
                    <a:pt x="83" y="2"/>
                    <a:pt x="83" y="2"/>
                  </a:cubicBezTo>
                  <a:cubicBezTo>
                    <a:pt x="83" y="2"/>
                    <a:pt x="82" y="1"/>
                    <a:pt x="81" y="0"/>
                  </a:cubicBezTo>
                  <a:cubicBezTo>
                    <a:pt x="80" y="0"/>
                    <a:pt x="80" y="2"/>
                    <a:pt x="80" y="3"/>
                  </a:cubicBezTo>
                  <a:cubicBezTo>
                    <a:pt x="80" y="4"/>
                    <a:pt x="80" y="6"/>
                    <a:pt x="80" y="7"/>
                  </a:cubicBezTo>
                  <a:cubicBezTo>
                    <a:pt x="80" y="7"/>
                    <a:pt x="80" y="7"/>
                    <a:pt x="80" y="8"/>
                  </a:cubicBezTo>
                  <a:cubicBezTo>
                    <a:pt x="79" y="8"/>
                    <a:pt x="78" y="9"/>
                    <a:pt x="78" y="10"/>
                  </a:cubicBezTo>
                  <a:cubicBezTo>
                    <a:pt x="77" y="11"/>
                    <a:pt x="77" y="11"/>
                    <a:pt x="75" y="11"/>
                  </a:cubicBezTo>
                  <a:cubicBezTo>
                    <a:pt x="76" y="11"/>
                    <a:pt x="76" y="11"/>
                    <a:pt x="76" y="11"/>
                  </a:cubicBezTo>
                  <a:cubicBezTo>
                    <a:pt x="75" y="11"/>
                    <a:pt x="75" y="10"/>
                    <a:pt x="74" y="11"/>
                  </a:cubicBezTo>
                  <a:cubicBezTo>
                    <a:pt x="73" y="11"/>
                    <a:pt x="73" y="12"/>
                    <a:pt x="73" y="12"/>
                  </a:cubicBezTo>
                  <a:cubicBezTo>
                    <a:pt x="72" y="13"/>
                    <a:pt x="72" y="13"/>
                    <a:pt x="71" y="14"/>
                  </a:cubicBezTo>
                  <a:cubicBezTo>
                    <a:pt x="70" y="14"/>
                    <a:pt x="70" y="14"/>
                    <a:pt x="70" y="15"/>
                  </a:cubicBezTo>
                  <a:cubicBezTo>
                    <a:pt x="69" y="16"/>
                    <a:pt x="69" y="17"/>
                    <a:pt x="68" y="18"/>
                  </a:cubicBezTo>
                  <a:cubicBezTo>
                    <a:pt x="68" y="20"/>
                    <a:pt x="68" y="21"/>
                    <a:pt x="67" y="22"/>
                  </a:cubicBezTo>
                  <a:cubicBezTo>
                    <a:pt x="67" y="23"/>
                    <a:pt x="67" y="24"/>
                    <a:pt x="66" y="25"/>
                  </a:cubicBezTo>
                  <a:cubicBezTo>
                    <a:pt x="66" y="26"/>
                    <a:pt x="66" y="27"/>
                    <a:pt x="65" y="28"/>
                  </a:cubicBezTo>
                  <a:cubicBezTo>
                    <a:pt x="65" y="29"/>
                    <a:pt x="64" y="28"/>
                    <a:pt x="63" y="29"/>
                  </a:cubicBezTo>
                  <a:cubicBezTo>
                    <a:pt x="61" y="29"/>
                    <a:pt x="61" y="30"/>
                    <a:pt x="62" y="31"/>
                  </a:cubicBezTo>
                  <a:cubicBezTo>
                    <a:pt x="62" y="32"/>
                    <a:pt x="63" y="32"/>
                    <a:pt x="64" y="33"/>
                  </a:cubicBezTo>
                  <a:cubicBezTo>
                    <a:pt x="65" y="34"/>
                    <a:pt x="65" y="35"/>
                    <a:pt x="65" y="36"/>
                  </a:cubicBezTo>
                  <a:cubicBezTo>
                    <a:pt x="64" y="37"/>
                    <a:pt x="64" y="38"/>
                    <a:pt x="63" y="39"/>
                  </a:cubicBezTo>
                  <a:cubicBezTo>
                    <a:pt x="63" y="40"/>
                    <a:pt x="62" y="41"/>
                    <a:pt x="62" y="41"/>
                  </a:cubicBezTo>
                  <a:cubicBezTo>
                    <a:pt x="62" y="42"/>
                    <a:pt x="62" y="44"/>
                    <a:pt x="62" y="45"/>
                  </a:cubicBezTo>
                  <a:cubicBezTo>
                    <a:pt x="62" y="46"/>
                    <a:pt x="62" y="47"/>
                    <a:pt x="62" y="48"/>
                  </a:cubicBezTo>
                  <a:cubicBezTo>
                    <a:pt x="63" y="49"/>
                    <a:pt x="63" y="50"/>
                    <a:pt x="63" y="51"/>
                  </a:cubicBezTo>
                  <a:cubicBezTo>
                    <a:pt x="63" y="52"/>
                    <a:pt x="65" y="54"/>
                    <a:pt x="64" y="56"/>
                  </a:cubicBezTo>
                  <a:cubicBezTo>
                    <a:pt x="65" y="56"/>
                    <a:pt x="65" y="57"/>
                    <a:pt x="65" y="57"/>
                  </a:cubicBezTo>
                  <a:cubicBezTo>
                    <a:pt x="66" y="58"/>
                    <a:pt x="66" y="58"/>
                    <a:pt x="66" y="59"/>
                  </a:cubicBezTo>
                  <a:cubicBezTo>
                    <a:pt x="67" y="60"/>
                    <a:pt x="66" y="61"/>
                    <a:pt x="65" y="61"/>
                  </a:cubicBezTo>
                  <a:cubicBezTo>
                    <a:pt x="64" y="61"/>
                    <a:pt x="64" y="59"/>
                    <a:pt x="63" y="59"/>
                  </a:cubicBezTo>
                  <a:cubicBezTo>
                    <a:pt x="63" y="59"/>
                    <a:pt x="62" y="61"/>
                    <a:pt x="62" y="61"/>
                  </a:cubicBezTo>
                  <a:cubicBezTo>
                    <a:pt x="61" y="63"/>
                    <a:pt x="60" y="65"/>
                    <a:pt x="60" y="67"/>
                  </a:cubicBezTo>
                  <a:cubicBezTo>
                    <a:pt x="59" y="69"/>
                    <a:pt x="60" y="71"/>
                    <a:pt x="59" y="72"/>
                  </a:cubicBezTo>
                  <a:cubicBezTo>
                    <a:pt x="59" y="73"/>
                    <a:pt x="58" y="74"/>
                    <a:pt x="59" y="75"/>
                  </a:cubicBezTo>
                  <a:cubicBezTo>
                    <a:pt x="59" y="75"/>
                    <a:pt x="60" y="75"/>
                    <a:pt x="60" y="76"/>
                  </a:cubicBezTo>
                  <a:cubicBezTo>
                    <a:pt x="60" y="76"/>
                    <a:pt x="61" y="77"/>
                    <a:pt x="61" y="77"/>
                  </a:cubicBezTo>
                  <a:cubicBezTo>
                    <a:pt x="60" y="78"/>
                    <a:pt x="59" y="78"/>
                    <a:pt x="59" y="79"/>
                  </a:cubicBezTo>
                  <a:cubicBezTo>
                    <a:pt x="59" y="80"/>
                    <a:pt x="59" y="81"/>
                    <a:pt x="59" y="82"/>
                  </a:cubicBezTo>
                  <a:cubicBezTo>
                    <a:pt x="58" y="84"/>
                    <a:pt x="56" y="85"/>
                    <a:pt x="55" y="85"/>
                  </a:cubicBezTo>
                  <a:cubicBezTo>
                    <a:pt x="54" y="86"/>
                    <a:pt x="53" y="86"/>
                    <a:pt x="53" y="86"/>
                  </a:cubicBezTo>
                  <a:cubicBezTo>
                    <a:pt x="52" y="87"/>
                    <a:pt x="52" y="88"/>
                    <a:pt x="51" y="88"/>
                  </a:cubicBezTo>
                  <a:cubicBezTo>
                    <a:pt x="50" y="88"/>
                    <a:pt x="49" y="88"/>
                    <a:pt x="48" y="88"/>
                  </a:cubicBezTo>
                  <a:cubicBezTo>
                    <a:pt x="47" y="88"/>
                    <a:pt x="47" y="87"/>
                    <a:pt x="46" y="86"/>
                  </a:cubicBezTo>
                  <a:cubicBezTo>
                    <a:pt x="45" y="85"/>
                    <a:pt x="45" y="85"/>
                    <a:pt x="44" y="83"/>
                  </a:cubicBezTo>
                  <a:cubicBezTo>
                    <a:pt x="43" y="84"/>
                    <a:pt x="43" y="86"/>
                    <a:pt x="43" y="86"/>
                  </a:cubicBezTo>
                  <a:cubicBezTo>
                    <a:pt x="42" y="87"/>
                    <a:pt x="42" y="88"/>
                    <a:pt x="41" y="88"/>
                  </a:cubicBezTo>
                  <a:cubicBezTo>
                    <a:pt x="40" y="89"/>
                    <a:pt x="39" y="90"/>
                    <a:pt x="37" y="91"/>
                  </a:cubicBezTo>
                  <a:cubicBezTo>
                    <a:pt x="37" y="91"/>
                    <a:pt x="36" y="91"/>
                    <a:pt x="36" y="92"/>
                  </a:cubicBezTo>
                  <a:cubicBezTo>
                    <a:pt x="36" y="93"/>
                    <a:pt x="36" y="93"/>
                    <a:pt x="36" y="94"/>
                  </a:cubicBezTo>
                  <a:cubicBezTo>
                    <a:pt x="35" y="95"/>
                    <a:pt x="34" y="95"/>
                    <a:pt x="33" y="96"/>
                  </a:cubicBezTo>
                  <a:cubicBezTo>
                    <a:pt x="32" y="98"/>
                    <a:pt x="34" y="97"/>
                    <a:pt x="35" y="98"/>
                  </a:cubicBezTo>
                  <a:cubicBezTo>
                    <a:pt x="36" y="99"/>
                    <a:pt x="37" y="100"/>
                    <a:pt x="36" y="101"/>
                  </a:cubicBezTo>
                  <a:cubicBezTo>
                    <a:pt x="35" y="102"/>
                    <a:pt x="34" y="102"/>
                    <a:pt x="33" y="103"/>
                  </a:cubicBezTo>
                  <a:cubicBezTo>
                    <a:pt x="32" y="105"/>
                    <a:pt x="33" y="105"/>
                    <a:pt x="34" y="105"/>
                  </a:cubicBezTo>
                  <a:cubicBezTo>
                    <a:pt x="36" y="107"/>
                    <a:pt x="32" y="109"/>
                    <a:pt x="32" y="110"/>
                  </a:cubicBezTo>
                  <a:cubicBezTo>
                    <a:pt x="33" y="111"/>
                    <a:pt x="33" y="112"/>
                    <a:pt x="34" y="111"/>
                  </a:cubicBezTo>
                  <a:cubicBezTo>
                    <a:pt x="35" y="111"/>
                    <a:pt x="37" y="110"/>
                    <a:pt x="38" y="110"/>
                  </a:cubicBezTo>
                  <a:cubicBezTo>
                    <a:pt x="39" y="111"/>
                    <a:pt x="39" y="113"/>
                    <a:pt x="40" y="114"/>
                  </a:cubicBezTo>
                  <a:cubicBezTo>
                    <a:pt x="40" y="115"/>
                    <a:pt x="41" y="115"/>
                    <a:pt x="42" y="115"/>
                  </a:cubicBezTo>
                  <a:cubicBezTo>
                    <a:pt x="42" y="116"/>
                    <a:pt x="41" y="117"/>
                    <a:pt x="41" y="117"/>
                  </a:cubicBezTo>
                  <a:cubicBezTo>
                    <a:pt x="40" y="118"/>
                    <a:pt x="39" y="118"/>
                    <a:pt x="38" y="118"/>
                  </a:cubicBezTo>
                  <a:cubicBezTo>
                    <a:pt x="37" y="118"/>
                    <a:pt x="36" y="119"/>
                    <a:pt x="35" y="120"/>
                  </a:cubicBezTo>
                  <a:cubicBezTo>
                    <a:pt x="34" y="120"/>
                    <a:pt x="34" y="120"/>
                    <a:pt x="34" y="121"/>
                  </a:cubicBezTo>
                  <a:cubicBezTo>
                    <a:pt x="34" y="121"/>
                    <a:pt x="34" y="122"/>
                    <a:pt x="34" y="122"/>
                  </a:cubicBezTo>
                  <a:cubicBezTo>
                    <a:pt x="33" y="123"/>
                    <a:pt x="32" y="123"/>
                    <a:pt x="31" y="123"/>
                  </a:cubicBezTo>
                  <a:cubicBezTo>
                    <a:pt x="29" y="123"/>
                    <a:pt x="29" y="126"/>
                    <a:pt x="26" y="126"/>
                  </a:cubicBezTo>
                  <a:cubicBezTo>
                    <a:pt x="26" y="124"/>
                    <a:pt x="24" y="126"/>
                    <a:pt x="24" y="127"/>
                  </a:cubicBezTo>
                  <a:cubicBezTo>
                    <a:pt x="24" y="128"/>
                    <a:pt x="26" y="130"/>
                    <a:pt x="24" y="131"/>
                  </a:cubicBezTo>
                  <a:cubicBezTo>
                    <a:pt x="23" y="131"/>
                    <a:pt x="21" y="132"/>
                    <a:pt x="19" y="132"/>
                  </a:cubicBezTo>
                  <a:cubicBezTo>
                    <a:pt x="18" y="132"/>
                    <a:pt x="16" y="131"/>
                    <a:pt x="15" y="132"/>
                  </a:cubicBezTo>
                  <a:cubicBezTo>
                    <a:pt x="15" y="133"/>
                    <a:pt x="14" y="134"/>
                    <a:pt x="14" y="135"/>
                  </a:cubicBezTo>
                  <a:cubicBezTo>
                    <a:pt x="13" y="135"/>
                    <a:pt x="13" y="135"/>
                    <a:pt x="12" y="136"/>
                  </a:cubicBezTo>
                  <a:cubicBezTo>
                    <a:pt x="12" y="136"/>
                    <a:pt x="11" y="136"/>
                    <a:pt x="11" y="136"/>
                  </a:cubicBezTo>
                  <a:cubicBezTo>
                    <a:pt x="10" y="137"/>
                    <a:pt x="11" y="139"/>
                    <a:pt x="12" y="139"/>
                  </a:cubicBezTo>
                  <a:cubicBezTo>
                    <a:pt x="13" y="139"/>
                    <a:pt x="13" y="139"/>
                    <a:pt x="14" y="139"/>
                  </a:cubicBezTo>
                  <a:cubicBezTo>
                    <a:pt x="15" y="139"/>
                    <a:pt x="15" y="139"/>
                    <a:pt x="15" y="139"/>
                  </a:cubicBezTo>
                  <a:cubicBezTo>
                    <a:pt x="16" y="140"/>
                    <a:pt x="15" y="140"/>
                    <a:pt x="15" y="141"/>
                  </a:cubicBezTo>
                  <a:cubicBezTo>
                    <a:pt x="15" y="141"/>
                    <a:pt x="15" y="142"/>
                    <a:pt x="15" y="143"/>
                  </a:cubicBezTo>
                  <a:cubicBezTo>
                    <a:pt x="15" y="144"/>
                    <a:pt x="16" y="145"/>
                    <a:pt x="16" y="146"/>
                  </a:cubicBezTo>
                  <a:cubicBezTo>
                    <a:pt x="16" y="146"/>
                    <a:pt x="17" y="146"/>
                    <a:pt x="17" y="146"/>
                  </a:cubicBezTo>
                  <a:cubicBezTo>
                    <a:pt x="18" y="145"/>
                    <a:pt x="18" y="145"/>
                    <a:pt x="18" y="145"/>
                  </a:cubicBezTo>
                  <a:cubicBezTo>
                    <a:pt x="19" y="145"/>
                    <a:pt x="20" y="145"/>
                    <a:pt x="20" y="146"/>
                  </a:cubicBezTo>
                  <a:cubicBezTo>
                    <a:pt x="20" y="146"/>
                    <a:pt x="20" y="147"/>
                    <a:pt x="19" y="147"/>
                  </a:cubicBezTo>
                  <a:cubicBezTo>
                    <a:pt x="19" y="148"/>
                    <a:pt x="18" y="149"/>
                    <a:pt x="18" y="150"/>
                  </a:cubicBezTo>
                  <a:cubicBezTo>
                    <a:pt x="18" y="150"/>
                    <a:pt x="18" y="151"/>
                    <a:pt x="18" y="152"/>
                  </a:cubicBezTo>
                  <a:cubicBezTo>
                    <a:pt x="19" y="152"/>
                    <a:pt x="20" y="152"/>
                    <a:pt x="20" y="153"/>
                  </a:cubicBezTo>
                  <a:cubicBezTo>
                    <a:pt x="20" y="154"/>
                    <a:pt x="18" y="154"/>
                    <a:pt x="18" y="154"/>
                  </a:cubicBezTo>
                  <a:cubicBezTo>
                    <a:pt x="16" y="154"/>
                    <a:pt x="16" y="154"/>
                    <a:pt x="16" y="155"/>
                  </a:cubicBezTo>
                  <a:cubicBezTo>
                    <a:pt x="15" y="156"/>
                    <a:pt x="15" y="157"/>
                    <a:pt x="14" y="156"/>
                  </a:cubicBezTo>
                  <a:cubicBezTo>
                    <a:pt x="12" y="156"/>
                    <a:pt x="12" y="155"/>
                    <a:pt x="12" y="155"/>
                  </a:cubicBezTo>
                  <a:cubicBezTo>
                    <a:pt x="11" y="155"/>
                    <a:pt x="10" y="156"/>
                    <a:pt x="10" y="156"/>
                  </a:cubicBezTo>
                  <a:cubicBezTo>
                    <a:pt x="10" y="157"/>
                    <a:pt x="10" y="157"/>
                    <a:pt x="10" y="157"/>
                  </a:cubicBezTo>
                  <a:cubicBezTo>
                    <a:pt x="9" y="158"/>
                    <a:pt x="9" y="158"/>
                    <a:pt x="9" y="158"/>
                  </a:cubicBezTo>
                  <a:cubicBezTo>
                    <a:pt x="9" y="159"/>
                    <a:pt x="8" y="159"/>
                    <a:pt x="8" y="160"/>
                  </a:cubicBezTo>
                  <a:cubicBezTo>
                    <a:pt x="8" y="160"/>
                    <a:pt x="9" y="160"/>
                    <a:pt x="10" y="161"/>
                  </a:cubicBezTo>
                  <a:cubicBezTo>
                    <a:pt x="10" y="162"/>
                    <a:pt x="10" y="162"/>
                    <a:pt x="10" y="163"/>
                  </a:cubicBezTo>
                  <a:cubicBezTo>
                    <a:pt x="10" y="164"/>
                    <a:pt x="10" y="165"/>
                    <a:pt x="10" y="165"/>
                  </a:cubicBezTo>
                  <a:cubicBezTo>
                    <a:pt x="10" y="167"/>
                    <a:pt x="10" y="168"/>
                    <a:pt x="10" y="169"/>
                  </a:cubicBezTo>
                  <a:cubicBezTo>
                    <a:pt x="10" y="170"/>
                    <a:pt x="7" y="171"/>
                    <a:pt x="6" y="172"/>
                  </a:cubicBezTo>
                  <a:cubicBezTo>
                    <a:pt x="4" y="173"/>
                    <a:pt x="2" y="173"/>
                    <a:pt x="3" y="175"/>
                  </a:cubicBezTo>
                  <a:cubicBezTo>
                    <a:pt x="3" y="176"/>
                    <a:pt x="3" y="176"/>
                    <a:pt x="4" y="177"/>
                  </a:cubicBezTo>
                  <a:cubicBezTo>
                    <a:pt x="4" y="178"/>
                    <a:pt x="4" y="178"/>
                    <a:pt x="3" y="178"/>
                  </a:cubicBezTo>
                  <a:cubicBezTo>
                    <a:pt x="3" y="179"/>
                    <a:pt x="3" y="181"/>
                    <a:pt x="2" y="181"/>
                  </a:cubicBezTo>
                  <a:cubicBezTo>
                    <a:pt x="1" y="181"/>
                    <a:pt x="0" y="181"/>
                    <a:pt x="0" y="181"/>
                  </a:cubicBezTo>
                  <a:cubicBezTo>
                    <a:pt x="0" y="182"/>
                    <a:pt x="0" y="182"/>
                    <a:pt x="0" y="182"/>
                  </a:cubicBezTo>
                  <a:lnTo>
                    <a:pt x="4" y="186"/>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6" name="Freeform 44">
              <a:extLst>
                <a:ext uri="{FF2B5EF4-FFF2-40B4-BE49-F238E27FC236}">
                  <a16:creationId xmlns:a16="http://schemas.microsoft.com/office/drawing/2014/main" id="{FF79D526-7DE5-656B-C126-1A00A120BD8D}"/>
                </a:ext>
              </a:extLst>
            </p:cNvPr>
            <p:cNvSpPr>
              <a:spLocks noEditPoints="1"/>
            </p:cNvSpPr>
            <p:nvPr/>
          </p:nvSpPr>
          <p:spPr bwMode="auto">
            <a:xfrm>
              <a:off x="7737475" y="4471988"/>
              <a:ext cx="2192338" cy="1311275"/>
            </a:xfrm>
            <a:custGeom>
              <a:avLst/>
              <a:gdLst>
                <a:gd name="T0" fmla="*/ 37 w 576"/>
                <a:gd name="T1" fmla="*/ 42 h 344"/>
                <a:gd name="T2" fmla="*/ 46 w 576"/>
                <a:gd name="T3" fmla="*/ 23 h 344"/>
                <a:gd name="T4" fmla="*/ 100 w 576"/>
                <a:gd name="T5" fmla="*/ 28 h 344"/>
                <a:gd name="T6" fmla="*/ 106 w 576"/>
                <a:gd name="T7" fmla="*/ 54 h 344"/>
                <a:gd name="T8" fmla="*/ 159 w 576"/>
                <a:gd name="T9" fmla="*/ 23 h 344"/>
                <a:gd name="T10" fmla="*/ 177 w 576"/>
                <a:gd name="T11" fmla="*/ 36 h 344"/>
                <a:gd name="T12" fmla="*/ 207 w 576"/>
                <a:gd name="T13" fmla="*/ 26 h 344"/>
                <a:gd name="T14" fmla="*/ 242 w 576"/>
                <a:gd name="T15" fmla="*/ 40 h 344"/>
                <a:gd name="T16" fmla="*/ 274 w 576"/>
                <a:gd name="T17" fmla="*/ 38 h 344"/>
                <a:gd name="T18" fmla="*/ 314 w 576"/>
                <a:gd name="T19" fmla="*/ 62 h 344"/>
                <a:gd name="T20" fmla="*/ 328 w 576"/>
                <a:gd name="T21" fmla="*/ 47 h 344"/>
                <a:gd name="T22" fmla="*/ 313 w 576"/>
                <a:gd name="T23" fmla="*/ 24 h 344"/>
                <a:gd name="T24" fmla="*/ 279 w 576"/>
                <a:gd name="T25" fmla="*/ 14 h 344"/>
                <a:gd name="T26" fmla="*/ 254 w 576"/>
                <a:gd name="T27" fmla="*/ 3 h 344"/>
                <a:gd name="T28" fmla="*/ 229 w 576"/>
                <a:gd name="T29" fmla="*/ 9 h 344"/>
                <a:gd name="T30" fmla="*/ 192 w 576"/>
                <a:gd name="T31" fmla="*/ 4 h 344"/>
                <a:gd name="T32" fmla="*/ 162 w 576"/>
                <a:gd name="T33" fmla="*/ 13 h 344"/>
                <a:gd name="T34" fmla="*/ 147 w 576"/>
                <a:gd name="T35" fmla="*/ 23 h 344"/>
                <a:gd name="T36" fmla="*/ 166 w 576"/>
                <a:gd name="T37" fmla="*/ 53 h 344"/>
                <a:gd name="T38" fmla="*/ 174 w 576"/>
                <a:gd name="T39" fmla="*/ 52 h 344"/>
                <a:gd name="T40" fmla="*/ 165 w 576"/>
                <a:gd name="T41" fmla="*/ 49 h 344"/>
                <a:gd name="T42" fmla="*/ 159 w 576"/>
                <a:gd name="T43" fmla="*/ 57 h 344"/>
                <a:gd name="T44" fmla="*/ 180 w 576"/>
                <a:gd name="T45" fmla="*/ 50 h 344"/>
                <a:gd name="T46" fmla="*/ 190 w 576"/>
                <a:gd name="T47" fmla="*/ 47 h 344"/>
                <a:gd name="T48" fmla="*/ 128 w 576"/>
                <a:gd name="T49" fmla="*/ 29 h 344"/>
                <a:gd name="T50" fmla="*/ 152 w 576"/>
                <a:gd name="T51" fmla="*/ 13 h 344"/>
                <a:gd name="T52" fmla="*/ 547 w 576"/>
                <a:gd name="T53" fmla="*/ 240 h 344"/>
                <a:gd name="T54" fmla="*/ 557 w 576"/>
                <a:gd name="T55" fmla="*/ 227 h 344"/>
                <a:gd name="T56" fmla="*/ 564 w 576"/>
                <a:gd name="T57" fmla="*/ 208 h 344"/>
                <a:gd name="T58" fmla="*/ 566 w 576"/>
                <a:gd name="T59" fmla="*/ 184 h 344"/>
                <a:gd name="T60" fmla="*/ 550 w 576"/>
                <a:gd name="T61" fmla="*/ 165 h 344"/>
                <a:gd name="T62" fmla="*/ 538 w 576"/>
                <a:gd name="T63" fmla="*/ 179 h 344"/>
                <a:gd name="T64" fmla="*/ 539 w 576"/>
                <a:gd name="T65" fmla="*/ 201 h 344"/>
                <a:gd name="T66" fmla="*/ 536 w 576"/>
                <a:gd name="T67" fmla="*/ 213 h 344"/>
                <a:gd name="T68" fmla="*/ 530 w 576"/>
                <a:gd name="T69" fmla="*/ 211 h 344"/>
                <a:gd name="T70" fmla="*/ 528 w 576"/>
                <a:gd name="T71" fmla="*/ 227 h 344"/>
                <a:gd name="T72" fmla="*/ 565 w 576"/>
                <a:gd name="T73" fmla="*/ 234 h 344"/>
                <a:gd name="T74" fmla="*/ 572 w 576"/>
                <a:gd name="T75" fmla="*/ 228 h 344"/>
                <a:gd name="T76" fmla="*/ 570 w 576"/>
                <a:gd name="T77" fmla="*/ 227 h 344"/>
                <a:gd name="T78" fmla="*/ 562 w 576"/>
                <a:gd name="T79" fmla="*/ 247 h 344"/>
                <a:gd name="T80" fmla="*/ 456 w 576"/>
                <a:gd name="T81" fmla="*/ 188 h 344"/>
                <a:gd name="T82" fmla="*/ 457 w 576"/>
                <a:gd name="T83" fmla="*/ 178 h 344"/>
                <a:gd name="T84" fmla="*/ 444 w 576"/>
                <a:gd name="T85" fmla="*/ 181 h 344"/>
                <a:gd name="T86" fmla="*/ 437 w 576"/>
                <a:gd name="T87" fmla="*/ 177 h 344"/>
                <a:gd name="T88" fmla="*/ 441 w 576"/>
                <a:gd name="T89" fmla="*/ 195 h 344"/>
                <a:gd name="T90" fmla="*/ 363 w 576"/>
                <a:gd name="T91" fmla="*/ 312 h 344"/>
                <a:gd name="T92" fmla="*/ 382 w 576"/>
                <a:gd name="T93" fmla="*/ 272 h 344"/>
                <a:gd name="T94" fmla="*/ 365 w 576"/>
                <a:gd name="T95" fmla="*/ 277 h 344"/>
                <a:gd name="T96" fmla="*/ 342 w 576"/>
                <a:gd name="T97" fmla="*/ 312 h 344"/>
                <a:gd name="T98" fmla="*/ 345 w 576"/>
                <a:gd name="T99" fmla="*/ 333 h 344"/>
                <a:gd name="T100" fmla="*/ 324 w 576"/>
                <a:gd name="T101" fmla="*/ 341 h 344"/>
                <a:gd name="T102" fmla="*/ 336 w 576"/>
                <a:gd name="T103" fmla="*/ 291 h 344"/>
                <a:gd name="T104" fmla="*/ 251 w 576"/>
                <a:gd name="T105" fmla="*/ 313 h 344"/>
                <a:gd name="T106" fmla="*/ 251 w 576"/>
                <a:gd name="T107" fmla="*/ 312 h 344"/>
                <a:gd name="T108" fmla="*/ 18 w 576"/>
                <a:gd name="T109" fmla="*/ 322 h 344"/>
                <a:gd name="T110" fmla="*/ 55 w 576"/>
                <a:gd name="T111" fmla="*/ 317 h 344"/>
                <a:gd name="T112" fmla="*/ 71 w 576"/>
                <a:gd name="T113" fmla="*/ 297 h 344"/>
                <a:gd name="T114" fmla="*/ 40 w 576"/>
                <a:gd name="T115" fmla="*/ 304 h 344"/>
                <a:gd name="T116" fmla="*/ 21 w 576"/>
                <a:gd name="T117" fmla="*/ 310 h 344"/>
                <a:gd name="T118" fmla="*/ 131 w 576"/>
                <a:gd name="T119" fmla="*/ 336 h 344"/>
                <a:gd name="T120" fmla="*/ 140 w 576"/>
                <a:gd name="T121" fmla="*/ 329 h 344"/>
                <a:gd name="T122" fmla="*/ 167 w 576"/>
                <a:gd name="T123" fmla="*/ 336 h 344"/>
                <a:gd name="T124" fmla="*/ 121 w 576"/>
                <a:gd name="T125" fmla="*/ 29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344">
                  <a:moveTo>
                    <a:pt x="74" y="66"/>
                  </a:moveTo>
                  <a:cubicBezTo>
                    <a:pt x="73" y="65"/>
                    <a:pt x="72" y="64"/>
                    <a:pt x="71" y="64"/>
                  </a:cubicBezTo>
                  <a:cubicBezTo>
                    <a:pt x="69" y="63"/>
                    <a:pt x="67" y="63"/>
                    <a:pt x="66" y="62"/>
                  </a:cubicBezTo>
                  <a:cubicBezTo>
                    <a:pt x="63" y="62"/>
                    <a:pt x="62" y="61"/>
                    <a:pt x="60" y="60"/>
                  </a:cubicBezTo>
                  <a:cubicBezTo>
                    <a:pt x="59" y="59"/>
                    <a:pt x="58" y="58"/>
                    <a:pt x="57" y="57"/>
                  </a:cubicBezTo>
                  <a:cubicBezTo>
                    <a:pt x="56" y="57"/>
                    <a:pt x="55" y="57"/>
                    <a:pt x="53" y="56"/>
                  </a:cubicBezTo>
                  <a:cubicBezTo>
                    <a:pt x="52" y="56"/>
                    <a:pt x="51" y="55"/>
                    <a:pt x="50" y="54"/>
                  </a:cubicBezTo>
                  <a:cubicBezTo>
                    <a:pt x="49" y="54"/>
                    <a:pt x="48" y="53"/>
                    <a:pt x="48" y="52"/>
                  </a:cubicBezTo>
                  <a:cubicBezTo>
                    <a:pt x="47" y="52"/>
                    <a:pt x="47" y="51"/>
                    <a:pt x="47" y="51"/>
                  </a:cubicBezTo>
                  <a:cubicBezTo>
                    <a:pt x="46" y="51"/>
                    <a:pt x="45" y="51"/>
                    <a:pt x="44" y="50"/>
                  </a:cubicBezTo>
                  <a:cubicBezTo>
                    <a:pt x="43" y="50"/>
                    <a:pt x="43" y="49"/>
                    <a:pt x="43" y="48"/>
                  </a:cubicBezTo>
                  <a:cubicBezTo>
                    <a:pt x="42" y="47"/>
                    <a:pt x="42" y="46"/>
                    <a:pt x="41" y="45"/>
                  </a:cubicBezTo>
                  <a:cubicBezTo>
                    <a:pt x="40" y="44"/>
                    <a:pt x="38" y="43"/>
                    <a:pt x="37" y="42"/>
                  </a:cubicBezTo>
                  <a:cubicBezTo>
                    <a:pt x="36" y="42"/>
                    <a:pt x="35" y="41"/>
                    <a:pt x="35" y="40"/>
                  </a:cubicBezTo>
                  <a:cubicBezTo>
                    <a:pt x="35" y="39"/>
                    <a:pt x="35" y="39"/>
                    <a:pt x="35" y="38"/>
                  </a:cubicBezTo>
                  <a:cubicBezTo>
                    <a:pt x="34" y="37"/>
                    <a:pt x="33" y="37"/>
                    <a:pt x="33" y="36"/>
                  </a:cubicBezTo>
                  <a:cubicBezTo>
                    <a:pt x="33" y="36"/>
                    <a:pt x="33" y="35"/>
                    <a:pt x="33" y="35"/>
                  </a:cubicBezTo>
                  <a:cubicBezTo>
                    <a:pt x="33" y="34"/>
                    <a:pt x="33" y="34"/>
                    <a:pt x="33" y="33"/>
                  </a:cubicBezTo>
                  <a:cubicBezTo>
                    <a:pt x="33" y="32"/>
                    <a:pt x="32" y="32"/>
                    <a:pt x="32" y="31"/>
                  </a:cubicBezTo>
                  <a:cubicBezTo>
                    <a:pt x="33" y="30"/>
                    <a:pt x="33" y="29"/>
                    <a:pt x="33" y="28"/>
                  </a:cubicBezTo>
                  <a:cubicBezTo>
                    <a:pt x="33" y="27"/>
                    <a:pt x="33" y="25"/>
                    <a:pt x="34" y="24"/>
                  </a:cubicBezTo>
                  <a:cubicBezTo>
                    <a:pt x="34" y="23"/>
                    <a:pt x="35" y="23"/>
                    <a:pt x="36" y="22"/>
                  </a:cubicBezTo>
                  <a:cubicBezTo>
                    <a:pt x="36" y="21"/>
                    <a:pt x="37" y="21"/>
                    <a:pt x="38" y="20"/>
                  </a:cubicBezTo>
                  <a:cubicBezTo>
                    <a:pt x="39" y="20"/>
                    <a:pt x="39" y="21"/>
                    <a:pt x="40" y="22"/>
                  </a:cubicBezTo>
                  <a:cubicBezTo>
                    <a:pt x="40" y="22"/>
                    <a:pt x="41" y="23"/>
                    <a:pt x="42" y="23"/>
                  </a:cubicBezTo>
                  <a:cubicBezTo>
                    <a:pt x="43" y="24"/>
                    <a:pt x="45" y="25"/>
                    <a:pt x="46" y="23"/>
                  </a:cubicBezTo>
                  <a:cubicBezTo>
                    <a:pt x="47" y="22"/>
                    <a:pt x="47" y="22"/>
                    <a:pt x="48" y="21"/>
                  </a:cubicBezTo>
                  <a:cubicBezTo>
                    <a:pt x="49" y="21"/>
                    <a:pt x="49" y="21"/>
                    <a:pt x="50" y="20"/>
                  </a:cubicBezTo>
                  <a:cubicBezTo>
                    <a:pt x="51" y="19"/>
                    <a:pt x="53" y="19"/>
                    <a:pt x="54" y="19"/>
                  </a:cubicBezTo>
                  <a:cubicBezTo>
                    <a:pt x="56" y="18"/>
                    <a:pt x="58" y="18"/>
                    <a:pt x="59" y="18"/>
                  </a:cubicBezTo>
                  <a:cubicBezTo>
                    <a:pt x="63" y="18"/>
                    <a:pt x="66" y="18"/>
                    <a:pt x="70" y="17"/>
                  </a:cubicBezTo>
                  <a:cubicBezTo>
                    <a:pt x="73" y="17"/>
                    <a:pt x="76" y="17"/>
                    <a:pt x="80" y="17"/>
                  </a:cubicBezTo>
                  <a:cubicBezTo>
                    <a:pt x="82" y="17"/>
                    <a:pt x="83" y="17"/>
                    <a:pt x="84" y="19"/>
                  </a:cubicBezTo>
                  <a:cubicBezTo>
                    <a:pt x="85" y="20"/>
                    <a:pt x="87" y="20"/>
                    <a:pt x="88" y="21"/>
                  </a:cubicBezTo>
                  <a:cubicBezTo>
                    <a:pt x="89" y="22"/>
                    <a:pt x="90" y="22"/>
                    <a:pt x="91" y="22"/>
                  </a:cubicBezTo>
                  <a:cubicBezTo>
                    <a:pt x="92" y="22"/>
                    <a:pt x="93" y="22"/>
                    <a:pt x="93" y="22"/>
                  </a:cubicBezTo>
                  <a:cubicBezTo>
                    <a:pt x="94" y="22"/>
                    <a:pt x="95" y="23"/>
                    <a:pt x="95" y="23"/>
                  </a:cubicBezTo>
                  <a:cubicBezTo>
                    <a:pt x="97" y="24"/>
                    <a:pt x="97" y="25"/>
                    <a:pt x="98" y="26"/>
                  </a:cubicBezTo>
                  <a:cubicBezTo>
                    <a:pt x="99" y="27"/>
                    <a:pt x="100" y="27"/>
                    <a:pt x="100" y="28"/>
                  </a:cubicBezTo>
                  <a:cubicBezTo>
                    <a:pt x="100" y="28"/>
                    <a:pt x="100" y="29"/>
                    <a:pt x="100" y="30"/>
                  </a:cubicBezTo>
                  <a:cubicBezTo>
                    <a:pt x="100" y="31"/>
                    <a:pt x="99" y="30"/>
                    <a:pt x="99" y="30"/>
                  </a:cubicBezTo>
                  <a:cubicBezTo>
                    <a:pt x="98" y="29"/>
                    <a:pt x="95" y="29"/>
                    <a:pt x="95" y="31"/>
                  </a:cubicBezTo>
                  <a:cubicBezTo>
                    <a:pt x="95" y="32"/>
                    <a:pt x="95" y="33"/>
                    <a:pt x="96" y="33"/>
                  </a:cubicBezTo>
                  <a:cubicBezTo>
                    <a:pt x="96" y="33"/>
                    <a:pt x="97" y="33"/>
                    <a:pt x="97" y="33"/>
                  </a:cubicBezTo>
                  <a:cubicBezTo>
                    <a:pt x="98" y="33"/>
                    <a:pt x="98" y="34"/>
                    <a:pt x="98" y="34"/>
                  </a:cubicBezTo>
                  <a:cubicBezTo>
                    <a:pt x="98" y="36"/>
                    <a:pt x="100" y="37"/>
                    <a:pt x="102" y="35"/>
                  </a:cubicBezTo>
                  <a:cubicBezTo>
                    <a:pt x="102" y="35"/>
                    <a:pt x="102" y="34"/>
                    <a:pt x="103" y="34"/>
                  </a:cubicBezTo>
                  <a:cubicBezTo>
                    <a:pt x="103" y="34"/>
                    <a:pt x="104" y="35"/>
                    <a:pt x="104" y="35"/>
                  </a:cubicBezTo>
                  <a:cubicBezTo>
                    <a:pt x="106" y="36"/>
                    <a:pt x="107" y="35"/>
                    <a:pt x="108" y="36"/>
                  </a:cubicBezTo>
                  <a:cubicBezTo>
                    <a:pt x="109" y="36"/>
                    <a:pt x="109" y="38"/>
                    <a:pt x="109" y="39"/>
                  </a:cubicBezTo>
                  <a:cubicBezTo>
                    <a:pt x="108" y="42"/>
                    <a:pt x="108" y="45"/>
                    <a:pt x="108" y="48"/>
                  </a:cubicBezTo>
                  <a:cubicBezTo>
                    <a:pt x="108" y="50"/>
                    <a:pt x="108" y="53"/>
                    <a:pt x="106" y="54"/>
                  </a:cubicBezTo>
                  <a:cubicBezTo>
                    <a:pt x="105" y="54"/>
                    <a:pt x="103" y="54"/>
                    <a:pt x="102" y="54"/>
                  </a:cubicBezTo>
                  <a:cubicBezTo>
                    <a:pt x="101" y="54"/>
                    <a:pt x="100" y="55"/>
                    <a:pt x="99" y="55"/>
                  </a:cubicBezTo>
                  <a:cubicBezTo>
                    <a:pt x="97" y="55"/>
                    <a:pt x="96" y="55"/>
                    <a:pt x="94" y="56"/>
                  </a:cubicBezTo>
                  <a:cubicBezTo>
                    <a:pt x="93" y="57"/>
                    <a:pt x="92" y="58"/>
                    <a:pt x="91" y="59"/>
                  </a:cubicBezTo>
                  <a:cubicBezTo>
                    <a:pt x="90" y="60"/>
                    <a:pt x="89" y="60"/>
                    <a:pt x="88" y="61"/>
                  </a:cubicBezTo>
                  <a:cubicBezTo>
                    <a:pt x="85" y="61"/>
                    <a:pt x="83" y="62"/>
                    <a:pt x="81" y="62"/>
                  </a:cubicBezTo>
                  <a:cubicBezTo>
                    <a:pt x="80" y="63"/>
                    <a:pt x="79" y="64"/>
                    <a:pt x="77" y="65"/>
                  </a:cubicBezTo>
                  <a:cubicBezTo>
                    <a:pt x="76" y="65"/>
                    <a:pt x="75" y="65"/>
                    <a:pt x="74" y="66"/>
                  </a:cubicBezTo>
                  <a:close/>
                  <a:moveTo>
                    <a:pt x="156" y="36"/>
                  </a:moveTo>
                  <a:cubicBezTo>
                    <a:pt x="157" y="35"/>
                    <a:pt x="157" y="34"/>
                    <a:pt x="157" y="33"/>
                  </a:cubicBezTo>
                  <a:cubicBezTo>
                    <a:pt x="157" y="32"/>
                    <a:pt x="158" y="30"/>
                    <a:pt x="158" y="29"/>
                  </a:cubicBezTo>
                  <a:cubicBezTo>
                    <a:pt x="158" y="28"/>
                    <a:pt x="158" y="27"/>
                    <a:pt x="158" y="26"/>
                  </a:cubicBezTo>
                  <a:cubicBezTo>
                    <a:pt x="158" y="25"/>
                    <a:pt x="158" y="24"/>
                    <a:pt x="159" y="23"/>
                  </a:cubicBezTo>
                  <a:cubicBezTo>
                    <a:pt x="159" y="22"/>
                    <a:pt x="160" y="21"/>
                    <a:pt x="161" y="21"/>
                  </a:cubicBezTo>
                  <a:cubicBezTo>
                    <a:pt x="162" y="20"/>
                    <a:pt x="163" y="19"/>
                    <a:pt x="163" y="18"/>
                  </a:cubicBezTo>
                  <a:cubicBezTo>
                    <a:pt x="164" y="18"/>
                    <a:pt x="164" y="18"/>
                    <a:pt x="164" y="17"/>
                  </a:cubicBezTo>
                  <a:cubicBezTo>
                    <a:pt x="165" y="17"/>
                    <a:pt x="166" y="18"/>
                    <a:pt x="166" y="18"/>
                  </a:cubicBezTo>
                  <a:cubicBezTo>
                    <a:pt x="166" y="18"/>
                    <a:pt x="166" y="20"/>
                    <a:pt x="166" y="20"/>
                  </a:cubicBezTo>
                  <a:cubicBezTo>
                    <a:pt x="166" y="22"/>
                    <a:pt x="164" y="23"/>
                    <a:pt x="164" y="25"/>
                  </a:cubicBezTo>
                  <a:cubicBezTo>
                    <a:pt x="164" y="26"/>
                    <a:pt x="164" y="27"/>
                    <a:pt x="165" y="27"/>
                  </a:cubicBezTo>
                  <a:cubicBezTo>
                    <a:pt x="166" y="27"/>
                    <a:pt x="168" y="26"/>
                    <a:pt x="169" y="26"/>
                  </a:cubicBezTo>
                  <a:cubicBezTo>
                    <a:pt x="170" y="26"/>
                    <a:pt x="170" y="27"/>
                    <a:pt x="171" y="28"/>
                  </a:cubicBezTo>
                  <a:cubicBezTo>
                    <a:pt x="172" y="29"/>
                    <a:pt x="172" y="30"/>
                    <a:pt x="173" y="31"/>
                  </a:cubicBezTo>
                  <a:cubicBezTo>
                    <a:pt x="173" y="31"/>
                    <a:pt x="174" y="32"/>
                    <a:pt x="174" y="33"/>
                  </a:cubicBezTo>
                  <a:cubicBezTo>
                    <a:pt x="175" y="33"/>
                    <a:pt x="175" y="34"/>
                    <a:pt x="176" y="35"/>
                  </a:cubicBezTo>
                  <a:cubicBezTo>
                    <a:pt x="176" y="35"/>
                    <a:pt x="176" y="36"/>
                    <a:pt x="177" y="36"/>
                  </a:cubicBezTo>
                  <a:cubicBezTo>
                    <a:pt x="177" y="38"/>
                    <a:pt x="178" y="38"/>
                    <a:pt x="179" y="39"/>
                  </a:cubicBezTo>
                  <a:cubicBezTo>
                    <a:pt x="179" y="40"/>
                    <a:pt x="180" y="41"/>
                    <a:pt x="180" y="41"/>
                  </a:cubicBezTo>
                  <a:cubicBezTo>
                    <a:pt x="182" y="42"/>
                    <a:pt x="184" y="41"/>
                    <a:pt x="185" y="41"/>
                  </a:cubicBezTo>
                  <a:cubicBezTo>
                    <a:pt x="187" y="41"/>
                    <a:pt x="188" y="40"/>
                    <a:pt x="189" y="40"/>
                  </a:cubicBezTo>
                  <a:cubicBezTo>
                    <a:pt x="190" y="40"/>
                    <a:pt x="191" y="40"/>
                    <a:pt x="193" y="40"/>
                  </a:cubicBezTo>
                  <a:cubicBezTo>
                    <a:pt x="194" y="40"/>
                    <a:pt x="195" y="40"/>
                    <a:pt x="196" y="39"/>
                  </a:cubicBezTo>
                  <a:cubicBezTo>
                    <a:pt x="197" y="39"/>
                    <a:pt x="196" y="38"/>
                    <a:pt x="196" y="38"/>
                  </a:cubicBezTo>
                  <a:cubicBezTo>
                    <a:pt x="195" y="37"/>
                    <a:pt x="195" y="36"/>
                    <a:pt x="196" y="35"/>
                  </a:cubicBezTo>
                  <a:cubicBezTo>
                    <a:pt x="196" y="34"/>
                    <a:pt x="198" y="33"/>
                    <a:pt x="200" y="32"/>
                  </a:cubicBezTo>
                  <a:cubicBezTo>
                    <a:pt x="201" y="31"/>
                    <a:pt x="202" y="30"/>
                    <a:pt x="203" y="29"/>
                  </a:cubicBezTo>
                  <a:cubicBezTo>
                    <a:pt x="204" y="28"/>
                    <a:pt x="204" y="28"/>
                    <a:pt x="205" y="28"/>
                  </a:cubicBezTo>
                  <a:cubicBezTo>
                    <a:pt x="205" y="28"/>
                    <a:pt x="205" y="27"/>
                    <a:pt x="206" y="27"/>
                  </a:cubicBezTo>
                  <a:cubicBezTo>
                    <a:pt x="206" y="27"/>
                    <a:pt x="206" y="26"/>
                    <a:pt x="207" y="26"/>
                  </a:cubicBezTo>
                  <a:cubicBezTo>
                    <a:pt x="207" y="26"/>
                    <a:pt x="208" y="26"/>
                    <a:pt x="209" y="26"/>
                  </a:cubicBezTo>
                  <a:cubicBezTo>
                    <a:pt x="210" y="26"/>
                    <a:pt x="211" y="26"/>
                    <a:pt x="211" y="26"/>
                  </a:cubicBezTo>
                  <a:cubicBezTo>
                    <a:pt x="211" y="26"/>
                    <a:pt x="212" y="27"/>
                    <a:pt x="212" y="27"/>
                  </a:cubicBezTo>
                  <a:cubicBezTo>
                    <a:pt x="212" y="28"/>
                    <a:pt x="213" y="29"/>
                    <a:pt x="213" y="30"/>
                  </a:cubicBezTo>
                  <a:cubicBezTo>
                    <a:pt x="213" y="32"/>
                    <a:pt x="211" y="32"/>
                    <a:pt x="211" y="33"/>
                  </a:cubicBezTo>
                  <a:cubicBezTo>
                    <a:pt x="210" y="33"/>
                    <a:pt x="210" y="34"/>
                    <a:pt x="210" y="35"/>
                  </a:cubicBezTo>
                  <a:cubicBezTo>
                    <a:pt x="210" y="36"/>
                    <a:pt x="212" y="35"/>
                    <a:pt x="213" y="35"/>
                  </a:cubicBezTo>
                  <a:cubicBezTo>
                    <a:pt x="214" y="35"/>
                    <a:pt x="215" y="35"/>
                    <a:pt x="217" y="35"/>
                  </a:cubicBezTo>
                  <a:cubicBezTo>
                    <a:pt x="218" y="35"/>
                    <a:pt x="219" y="34"/>
                    <a:pt x="220" y="35"/>
                  </a:cubicBezTo>
                  <a:cubicBezTo>
                    <a:pt x="221" y="35"/>
                    <a:pt x="222" y="35"/>
                    <a:pt x="223" y="36"/>
                  </a:cubicBezTo>
                  <a:cubicBezTo>
                    <a:pt x="225" y="37"/>
                    <a:pt x="228" y="38"/>
                    <a:pt x="231" y="38"/>
                  </a:cubicBezTo>
                  <a:cubicBezTo>
                    <a:pt x="233" y="39"/>
                    <a:pt x="236" y="38"/>
                    <a:pt x="239" y="39"/>
                  </a:cubicBezTo>
                  <a:cubicBezTo>
                    <a:pt x="240" y="39"/>
                    <a:pt x="241" y="40"/>
                    <a:pt x="242" y="40"/>
                  </a:cubicBezTo>
                  <a:cubicBezTo>
                    <a:pt x="243" y="40"/>
                    <a:pt x="244" y="40"/>
                    <a:pt x="245" y="41"/>
                  </a:cubicBezTo>
                  <a:cubicBezTo>
                    <a:pt x="246" y="42"/>
                    <a:pt x="248" y="42"/>
                    <a:pt x="249" y="41"/>
                  </a:cubicBezTo>
                  <a:cubicBezTo>
                    <a:pt x="251" y="40"/>
                    <a:pt x="250" y="37"/>
                    <a:pt x="248" y="36"/>
                  </a:cubicBezTo>
                  <a:cubicBezTo>
                    <a:pt x="248" y="35"/>
                    <a:pt x="248" y="35"/>
                    <a:pt x="247" y="34"/>
                  </a:cubicBezTo>
                  <a:cubicBezTo>
                    <a:pt x="247" y="34"/>
                    <a:pt x="246" y="34"/>
                    <a:pt x="246" y="33"/>
                  </a:cubicBezTo>
                  <a:cubicBezTo>
                    <a:pt x="245" y="32"/>
                    <a:pt x="246" y="32"/>
                    <a:pt x="247" y="32"/>
                  </a:cubicBezTo>
                  <a:cubicBezTo>
                    <a:pt x="248" y="32"/>
                    <a:pt x="249" y="32"/>
                    <a:pt x="250" y="32"/>
                  </a:cubicBezTo>
                  <a:cubicBezTo>
                    <a:pt x="252" y="32"/>
                    <a:pt x="254" y="32"/>
                    <a:pt x="256" y="33"/>
                  </a:cubicBezTo>
                  <a:cubicBezTo>
                    <a:pt x="258" y="33"/>
                    <a:pt x="261" y="33"/>
                    <a:pt x="264" y="33"/>
                  </a:cubicBezTo>
                  <a:cubicBezTo>
                    <a:pt x="265" y="33"/>
                    <a:pt x="266" y="34"/>
                    <a:pt x="267" y="34"/>
                  </a:cubicBezTo>
                  <a:cubicBezTo>
                    <a:pt x="269" y="34"/>
                    <a:pt x="270" y="34"/>
                    <a:pt x="271" y="34"/>
                  </a:cubicBezTo>
                  <a:cubicBezTo>
                    <a:pt x="272" y="35"/>
                    <a:pt x="273" y="35"/>
                    <a:pt x="273" y="36"/>
                  </a:cubicBezTo>
                  <a:cubicBezTo>
                    <a:pt x="274" y="37"/>
                    <a:pt x="274" y="37"/>
                    <a:pt x="274" y="38"/>
                  </a:cubicBezTo>
                  <a:cubicBezTo>
                    <a:pt x="275" y="39"/>
                    <a:pt x="275" y="40"/>
                    <a:pt x="275" y="40"/>
                  </a:cubicBezTo>
                  <a:cubicBezTo>
                    <a:pt x="276" y="42"/>
                    <a:pt x="277" y="42"/>
                    <a:pt x="279" y="43"/>
                  </a:cubicBezTo>
                  <a:cubicBezTo>
                    <a:pt x="281" y="43"/>
                    <a:pt x="282" y="44"/>
                    <a:pt x="284" y="45"/>
                  </a:cubicBezTo>
                  <a:cubicBezTo>
                    <a:pt x="285" y="45"/>
                    <a:pt x="286" y="46"/>
                    <a:pt x="287" y="47"/>
                  </a:cubicBezTo>
                  <a:cubicBezTo>
                    <a:pt x="288" y="47"/>
                    <a:pt x="289" y="48"/>
                    <a:pt x="290" y="48"/>
                  </a:cubicBezTo>
                  <a:cubicBezTo>
                    <a:pt x="291" y="49"/>
                    <a:pt x="293" y="49"/>
                    <a:pt x="294" y="50"/>
                  </a:cubicBezTo>
                  <a:cubicBezTo>
                    <a:pt x="295" y="50"/>
                    <a:pt x="297" y="51"/>
                    <a:pt x="298" y="51"/>
                  </a:cubicBezTo>
                  <a:cubicBezTo>
                    <a:pt x="300" y="52"/>
                    <a:pt x="301" y="53"/>
                    <a:pt x="303" y="53"/>
                  </a:cubicBezTo>
                  <a:cubicBezTo>
                    <a:pt x="303" y="54"/>
                    <a:pt x="304" y="54"/>
                    <a:pt x="304" y="55"/>
                  </a:cubicBezTo>
                  <a:cubicBezTo>
                    <a:pt x="305" y="56"/>
                    <a:pt x="305" y="56"/>
                    <a:pt x="305" y="56"/>
                  </a:cubicBezTo>
                  <a:cubicBezTo>
                    <a:pt x="306" y="57"/>
                    <a:pt x="309" y="56"/>
                    <a:pt x="310" y="58"/>
                  </a:cubicBezTo>
                  <a:cubicBezTo>
                    <a:pt x="311" y="59"/>
                    <a:pt x="311" y="60"/>
                    <a:pt x="311" y="61"/>
                  </a:cubicBezTo>
                  <a:cubicBezTo>
                    <a:pt x="312" y="61"/>
                    <a:pt x="313" y="61"/>
                    <a:pt x="314" y="62"/>
                  </a:cubicBezTo>
                  <a:cubicBezTo>
                    <a:pt x="315" y="63"/>
                    <a:pt x="318" y="63"/>
                    <a:pt x="320" y="64"/>
                  </a:cubicBezTo>
                  <a:cubicBezTo>
                    <a:pt x="321" y="64"/>
                    <a:pt x="322" y="64"/>
                    <a:pt x="323" y="64"/>
                  </a:cubicBezTo>
                  <a:cubicBezTo>
                    <a:pt x="323" y="64"/>
                    <a:pt x="324" y="65"/>
                    <a:pt x="324" y="65"/>
                  </a:cubicBezTo>
                  <a:cubicBezTo>
                    <a:pt x="325" y="66"/>
                    <a:pt x="326" y="67"/>
                    <a:pt x="327" y="66"/>
                  </a:cubicBezTo>
                  <a:cubicBezTo>
                    <a:pt x="327" y="65"/>
                    <a:pt x="326" y="64"/>
                    <a:pt x="326" y="64"/>
                  </a:cubicBezTo>
                  <a:cubicBezTo>
                    <a:pt x="326" y="63"/>
                    <a:pt x="326" y="62"/>
                    <a:pt x="326" y="61"/>
                  </a:cubicBezTo>
                  <a:cubicBezTo>
                    <a:pt x="326" y="60"/>
                    <a:pt x="327" y="59"/>
                    <a:pt x="326" y="58"/>
                  </a:cubicBezTo>
                  <a:cubicBezTo>
                    <a:pt x="326" y="57"/>
                    <a:pt x="326" y="57"/>
                    <a:pt x="326" y="56"/>
                  </a:cubicBezTo>
                  <a:cubicBezTo>
                    <a:pt x="326" y="56"/>
                    <a:pt x="326" y="55"/>
                    <a:pt x="326" y="54"/>
                  </a:cubicBezTo>
                  <a:cubicBezTo>
                    <a:pt x="327" y="53"/>
                    <a:pt x="328" y="53"/>
                    <a:pt x="329" y="52"/>
                  </a:cubicBezTo>
                  <a:cubicBezTo>
                    <a:pt x="329" y="51"/>
                    <a:pt x="330" y="50"/>
                    <a:pt x="330" y="50"/>
                  </a:cubicBezTo>
                  <a:cubicBezTo>
                    <a:pt x="330" y="49"/>
                    <a:pt x="329" y="49"/>
                    <a:pt x="329" y="48"/>
                  </a:cubicBezTo>
                  <a:cubicBezTo>
                    <a:pt x="329" y="48"/>
                    <a:pt x="328" y="47"/>
                    <a:pt x="328" y="47"/>
                  </a:cubicBezTo>
                  <a:cubicBezTo>
                    <a:pt x="328" y="46"/>
                    <a:pt x="328" y="46"/>
                    <a:pt x="327" y="46"/>
                  </a:cubicBezTo>
                  <a:cubicBezTo>
                    <a:pt x="327" y="45"/>
                    <a:pt x="326" y="44"/>
                    <a:pt x="325" y="43"/>
                  </a:cubicBezTo>
                  <a:cubicBezTo>
                    <a:pt x="326" y="42"/>
                    <a:pt x="326" y="42"/>
                    <a:pt x="326" y="42"/>
                  </a:cubicBezTo>
                  <a:cubicBezTo>
                    <a:pt x="326" y="42"/>
                    <a:pt x="327" y="42"/>
                    <a:pt x="327" y="42"/>
                  </a:cubicBezTo>
                  <a:cubicBezTo>
                    <a:pt x="327" y="41"/>
                    <a:pt x="327" y="41"/>
                    <a:pt x="326" y="40"/>
                  </a:cubicBezTo>
                  <a:cubicBezTo>
                    <a:pt x="326" y="40"/>
                    <a:pt x="325" y="39"/>
                    <a:pt x="325" y="39"/>
                  </a:cubicBezTo>
                  <a:cubicBezTo>
                    <a:pt x="324" y="38"/>
                    <a:pt x="324" y="38"/>
                    <a:pt x="323" y="38"/>
                  </a:cubicBezTo>
                  <a:cubicBezTo>
                    <a:pt x="322" y="38"/>
                    <a:pt x="321" y="38"/>
                    <a:pt x="321" y="38"/>
                  </a:cubicBezTo>
                  <a:cubicBezTo>
                    <a:pt x="319" y="38"/>
                    <a:pt x="318" y="38"/>
                    <a:pt x="317" y="38"/>
                  </a:cubicBezTo>
                  <a:cubicBezTo>
                    <a:pt x="316" y="38"/>
                    <a:pt x="316" y="38"/>
                    <a:pt x="316" y="37"/>
                  </a:cubicBezTo>
                  <a:cubicBezTo>
                    <a:pt x="316" y="36"/>
                    <a:pt x="315" y="36"/>
                    <a:pt x="315" y="35"/>
                  </a:cubicBezTo>
                  <a:cubicBezTo>
                    <a:pt x="315" y="34"/>
                    <a:pt x="315" y="33"/>
                    <a:pt x="314" y="32"/>
                  </a:cubicBezTo>
                  <a:cubicBezTo>
                    <a:pt x="314" y="29"/>
                    <a:pt x="313" y="27"/>
                    <a:pt x="313" y="24"/>
                  </a:cubicBezTo>
                  <a:cubicBezTo>
                    <a:pt x="313" y="23"/>
                    <a:pt x="312" y="22"/>
                    <a:pt x="312" y="21"/>
                  </a:cubicBezTo>
                  <a:cubicBezTo>
                    <a:pt x="311" y="21"/>
                    <a:pt x="310" y="21"/>
                    <a:pt x="309" y="20"/>
                  </a:cubicBezTo>
                  <a:cubicBezTo>
                    <a:pt x="308" y="20"/>
                    <a:pt x="307" y="20"/>
                    <a:pt x="306" y="19"/>
                  </a:cubicBezTo>
                  <a:cubicBezTo>
                    <a:pt x="305" y="19"/>
                    <a:pt x="306" y="18"/>
                    <a:pt x="305" y="18"/>
                  </a:cubicBezTo>
                  <a:cubicBezTo>
                    <a:pt x="304" y="17"/>
                    <a:pt x="304" y="17"/>
                    <a:pt x="303" y="16"/>
                  </a:cubicBezTo>
                  <a:cubicBezTo>
                    <a:pt x="302" y="15"/>
                    <a:pt x="301" y="15"/>
                    <a:pt x="300" y="14"/>
                  </a:cubicBezTo>
                  <a:cubicBezTo>
                    <a:pt x="298" y="11"/>
                    <a:pt x="293" y="11"/>
                    <a:pt x="290" y="13"/>
                  </a:cubicBezTo>
                  <a:cubicBezTo>
                    <a:pt x="289" y="14"/>
                    <a:pt x="288" y="14"/>
                    <a:pt x="286" y="13"/>
                  </a:cubicBezTo>
                  <a:cubicBezTo>
                    <a:pt x="286" y="12"/>
                    <a:pt x="286" y="12"/>
                    <a:pt x="285" y="13"/>
                  </a:cubicBezTo>
                  <a:cubicBezTo>
                    <a:pt x="284" y="13"/>
                    <a:pt x="283" y="13"/>
                    <a:pt x="283" y="13"/>
                  </a:cubicBezTo>
                  <a:cubicBezTo>
                    <a:pt x="282" y="13"/>
                    <a:pt x="281" y="13"/>
                    <a:pt x="281" y="13"/>
                  </a:cubicBezTo>
                  <a:cubicBezTo>
                    <a:pt x="280" y="14"/>
                    <a:pt x="280" y="14"/>
                    <a:pt x="280" y="14"/>
                  </a:cubicBezTo>
                  <a:cubicBezTo>
                    <a:pt x="279" y="14"/>
                    <a:pt x="279" y="14"/>
                    <a:pt x="279" y="14"/>
                  </a:cubicBezTo>
                  <a:cubicBezTo>
                    <a:pt x="278" y="14"/>
                    <a:pt x="278" y="13"/>
                    <a:pt x="277" y="13"/>
                  </a:cubicBezTo>
                  <a:cubicBezTo>
                    <a:pt x="276" y="12"/>
                    <a:pt x="275" y="12"/>
                    <a:pt x="274" y="11"/>
                  </a:cubicBezTo>
                  <a:cubicBezTo>
                    <a:pt x="273" y="11"/>
                    <a:pt x="272" y="11"/>
                    <a:pt x="271" y="10"/>
                  </a:cubicBezTo>
                  <a:cubicBezTo>
                    <a:pt x="271" y="10"/>
                    <a:pt x="270" y="10"/>
                    <a:pt x="269" y="9"/>
                  </a:cubicBezTo>
                  <a:cubicBezTo>
                    <a:pt x="269" y="9"/>
                    <a:pt x="269" y="7"/>
                    <a:pt x="268" y="7"/>
                  </a:cubicBezTo>
                  <a:cubicBezTo>
                    <a:pt x="267" y="7"/>
                    <a:pt x="267" y="8"/>
                    <a:pt x="266" y="8"/>
                  </a:cubicBezTo>
                  <a:cubicBezTo>
                    <a:pt x="265" y="8"/>
                    <a:pt x="265" y="8"/>
                    <a:pt x="265" y="8"/>
                  </a:cubicBezTo>
                  <a:cubicBezTo>
                    <a:pt x="265" y="8"/>
                    <a:pt x="265" y="8"/>
                    <a:pt x="265" y="8"/>
                  </a:cubicBezTo>
                  <a:cubicBezTo>
                    <a:pt x="264" y="7"/>
                    <a:pt x="264" y="7"/>
                    <a:pt x="263" y="7"/>
                  </a:cubicBezTo>
                  <a:cubicBezTo>
                    <a:pt x="263" y="6"/>
                    <a:pt x="263" y="6"/>
                    <a:pt x="262" y="5"/>
                  </a:cubicBezTo>
                  <a:cubicBezTo>
                    <a:pt x="261" y="4"/>
                    <a:pt x="260" y="4"/>
                    <a:pt x="259" y="4"/>
                  </a:cubicBezTo>
                  <a:cubicBezTo>
                    <a:pt x="258" y="4"/>
                    <a:pt x="257" y="3"/>
                    <a:pt x="256" y="3"/>
                  </a:cubicBezTo>
                  <a:cubicBezTo>
                    <a:pt x="255" y="3"/>
                    <a:pt x="255" y="3"/>
                    <a:pt x="254" y="3"/>
                  </a:cubicBezTo>
                  <a:cubicBezTo>
                    <a:pt x="253" y="2"/>
                    <a:pt x="252" y="2"/>
                    <a:pt x="251" y="2"/>
                  </a:cubicBezTo>
                  <a:cubicBezTo>
                    <a:pt x="251" y="2"/>
                    <a:pt x="250" y="2"/>
                    <a:pt x="249" y="2"/>
                  </a:cubicBezTo>
                  <a:cubicBezTo>
                    <a:pt x="249" y="2"/>
                    <a:pt x="249" y="1"/>
                    <a:pt x="249" y="1"/>
                  </a:cubicBezTo>
                  <a:cubicBezTo>
                    <a:pt x="248" y="0"/>
                    <a:pt x="247" y="0"/>
                    <a:pt x="246" y="1"/>
                  </a:cubicBezTo>
                  <a:cubicBezTo>
                    <a:pt x="246" y="1"/>
                    <a:pt x="245" y="1"/>
                    <a:pt x="245" y="1"/>
                  </a:cubicBezTo>
                  <a:cubicBezTo>
                    <a:pt x="244" y="0"/>
                    <a:pt x="244" y="0"/>
                    <a:pt x="244" y="0"/>
                  </a:cubicBezTo>
                  <a:cubicBezTo>
                    <a:pt x="244" y="0"/>
                    <a:pt x="243" y="0"/>
                    <a:pt x="242" y="0"/>
                  </a:cubicBezTo>
                  <a:cubicBezTo>
                    <a:pt x="241" y="0"/>
                    <a:pt x="239" y="0"/>
                    <a:pt x="238" y="1"/>
                  </a:cubicBezTo>
                  <a:cubicBezTo>
                    <a:pt x="237" y="1"/>
                    <a:pt x="238" y="2"/>
                    <a:pt x="238" y="2"/>
                  </a:cubicBezTo>
                  <a:cubicBezTo>
                    <a:pt x="238" y="3"/>
                    <a:pt x="237" y="3"/>
                    <a:pt x="237" y="4"/>
                  </a:cubicBezTo>
                  <a:cubicBezTo>
                    <a:pt x="236" y="5"/>
                    <a:pt x="235" y="5"/>
                    <a:pt x="234" y="5"/>
                  </a:cubicBezTo>
                  <a:cubicBezTo>
                    <a:pt x="233" y="6"/>
                    <a:pt x="233" y="6"/>
                    <a:pt x="232" y="7"/>
                  </a:cubicBezTo>
                  <a:cubicBezTo>
                    <a:pt x="231" y="7"/>
                    <a:pt x="230" y="8"/>
                    <a:pt x="229" y="9"/>
                  </a:cubicBezTo>
                  <a:cubicBezTo>
                    <a:pt x="228" y="9"/>
                    <a:pt x="227" y="9"/>
                    <a:pt x="226" y="9"/>
                  </a:cubicBezTo>
                  <a:cubicBezTo>
                    <a:pt x="225" y="10"/>
                    <a:pt x="223" y="10"/>
                    <a:pt x="222" y="9"/>
                  </a:cubicBezTo>
                  <a:cubicBezTo>
                    <a:pt x="221" y="9"/>
                    <a:pt x="219" y="6"/>
                    <a:pt x="219" y="5"/>
                  </a:cubicBezTo>
                  <a:cubicBezTo>
                    <a:pt x="219" y="4"/>
                    <a:pt x="219" y="4"/>
                    <a:pt x="219" y="3"/>
                  </a:cubicBezTo>
                  <a:cubicBezTo>
                    <a:pt x="219" y="2"/>
                    <a:pt x="219" y="2"/>
                    <a:pt x="218" y="1"/>
                  </a:cubicBezTo>
                  <a:cubicBezTo>
                    <a:pt x="217" y="1"/>
                    <a:pt x="216" y="2"/>
                    <a:pt x="215" y="2"/>
                  </a:cubicBezTo>
                  <a:cubicBezTo>
                    <a:pt x="213" y="3"/>
                    <a:pt x="212" y="4"/>
                    <a:pt x="210" y="4"/>
                  </a:cubicBezTo>
                  <a:cubicBezTo>
                    <a:pt x="208" y="4"/>
                    <a:pt x="207" y="4"/>
                    <a:pt x="205" y="5"/>
                  </a:cubicBezTo>
                  <a:cubicBezTo>
                    <a:pt x="204" y="5"/>
                    <a:pt x="201" y="5"/>
                    <a:pt x="200" y="4"/>
                  </a:cubicBezTo>
                  <a:cubicBezTo>
                    <a:pt x="199" y="4"/>
                    <a:pt x="198" y="4"/>
                    <a:pt x="197" y="5"/>
                  </a:cubicBezTo>
                  <a:cubicBezTo>
                    <a:pt x="197" y="5"/>
                    <a:pt x="196" y="5"/>
                    <a:pt x="195" y="5"/>
                  </a:cubicBezTo>
                  <a:cubicBezTo>
                    <a:pt x="195" y="4"/>
                    <a:pt x="195" y="4"/>
                    <a:pt x="195" y="4"/>
                  </a:cubicBezTo>
                  <a:cubicBezTo>
                    <a:pt x="194" y="3"/>
                    <a:pt x="193" y="4"/>
                    <a:pt x="192" y="4"/>
                  </a:cubicBezTo>
                  <a:cubicBezTo>
                    <a:pt x="190" y="4"/>
                    <a:pt x="189" y="4"/>
                    <a:pt x="187" y="4"/>
                  </a:cubicBezTo>
                  <a:cubicBezTo>
                    <a:pt x="186" y="4"/>
                    <a:pt x="185" y="4"/>
                    <a:pt x="184" y="4"/>
                  </a:cubicBezTo>
                  <a:cubicBezTo>
                    <a:pt x="183" y="4"/>
                    <a:pt x="183" y="4"/>
                    <a:pt x="182" y="4"/>
                  </a:cubicBezTo>
                  <a:cubicBezTo>
                    <a:pt x="181" y="5"/>
                    <a:pt x="180" y="5"/>
                    <a:pt x="179" y="6"/>
                  </a:cubicBezTo>
                  <a:cubicBezTo>
                    <a:pt x="178" y="6"/>
                    <a:pt x="178" y="5"/>
                    <a:pt x="177" y="5"/>
                  </a:cubicBezTo>
                  <a:cubicBezTo>
                    <a:pt x="176" y="5"/>
                    <a:pt x="174" y="5"/>
                    <a:pt x="174" y="5"/>
                  </a:cubicBezTo>
                  <a:cubicBezTo>
                    <a:pt x="173" y="5"/>
                    <a:pt x="172" y="5"/>
                    <a:pt x="171" y="5"/>
                  </a:cubicBezTo>
                  <a:cubicBezTo>
                    <a:pt x="169" y="5"/>
                    <a:pt x="166" y="5"/>
                    <a:pt x="164" y="6"/>
                  </a:cubicBezTo>
                  <a:cubicBezTo>
                    <a:pt x="162" y="6"/>
                    <a:pt x="162" y="8"/>
                    <a:pt x="162" y="9"/>
                  </a:cubicBezTo>
                  <a:cubicBezTo>
                    <a:pt x="161" y="10"/>
                    <a:pt x="161" y="10"/>
                    <a:pt x="160" y="11"/>
                  </a:cubicBezTo>
                  <a:cubicBezTo>
                    <a:pt x="160" y="11"/>
                    <a:pt x="159" y="11"/>
                    <a:pt x="159" y="12"/>
                  </a:cubicBezTo>
                  <a:cubicBezTo>
                    <a:pt x="159" y="13"/>
                    <a:pt x="161" y="12"/>
                    <a:pt x="161" y="12"/>
                  </a:cubicBezTo>
                  <a:cubicBezTo>
                    <a:pt x="162" y="12"/>
                    <a:pt x="162" y="13"/>
                    <a:pt x="162" y="13"/>
                  </a:cubicBezTo>
                  <a:cubicBezTo>
                    <a:pt x="161" y="14"/>
                    <a:pt x="161" y="14"/>
                    <a:pt x="161" y="14"/>
                  </a:cubicBezTo>
                  <a:cubicBezTo>
                    <a:pt x="161" y="14"/>
                    <a:pt x="161" y="14"/>
                    <a:pt x="161" y="15"/>
                  </a:cubicBezTo>
                  <a:cubicBezTo>
                    <a:pt x="160" y="15"/>
                    <a:pt x="161" y="16"/>
                    <a:pt x="161" y="17"/>
                  </a:cubicBezTo>
                  <a:cubicBezTo>
                    <a:pt x="161" y="17"/>
                    <a:pt x="160" y="17"/>
                    <a:pt x="159" y="17"/>
                  </a:cubicBezTo>
                  <a:cubicBezTo>
                    <a:pt x="158" y="17"/>
                    <a:pt x="156" y="17"/>
                    <a:pt x="155" y="18"/>
                  </a:cubicBezTo>
                  <a:cubicBezTo>
                    <a:pt x="154" y="18"/>
                    <a:pt x="154" y="18"/>
                    <a:pt x="153" y="18"/>
                  </a:cubicBezTo>
                  <a:cubicBezTo>
                    <a:pt x="153" y="19"/>
                    <a:pt x="153" y="19"/>
                    <a:pt x="153" y="19"/>
                  </a:cubicBezTo>
                  <a:cubicBezTo>
                    <a:pt x="153" y="19"/>
                    <a:pt x="153" y="19"/>
                    <a:pt x="153" y="19"/>
                  </a:cubicBezTo>
                  <a:cubicBezTo>
                    <a:pt x="152" y="20"/>
                    <a:pt x="152" y="20"/>
                    <a:pt x="152" y="20"/>
                  </a:cubicBezTo>
                  <a:cubicBezTo>
                    <a:pt x="152" y="20"/>
                    <a:pt x="152" y="20"/>
                    <a:pt x="152" y="20"/>
                  </a:cubicBezTo>
                  <a:cubicBezTo>
                    <a:pt x="151" y="21"/>
                    <a:pt x="150" y="21"/>
                    <a:pt x="150" y="21"/>
                  </a:cubicBezTo>
                  <a:cubicBezTo>
                    <a:pt x="150" y="22"/>
                    <a:pt x="150" y="22"/>
                    <a:pt x="149" y="22"/>
                  </a:cubicBezTo>
                  <a:cubicBezTo>
                    <a:pt x="149" y="23"/>
                    <a:pt x="148" y="23"/>
                    <a:pt x="147" y="23"/>
                  </a:cubicBezTo>
                  <a:cubicBezTo>
                    <a:pt x="146" y="23"/>
                    <a:pt x="145" y="22"/>
                    <a:pt x="145" y="24"/>
                  </a:cubicBezTo>
                  <a:cubicBezTo>
                    <a:pt x="146" y="25"/>
                    <a:pt x="146" y="25"/>
                    <a:pt x="147" y="26"/>
                  </a:cubicBezTo>
                  <a:cubicBezTo>
                    <a:pt x="147" y="27"/>
                    <a:pt x="147" y="29"/>
                    <a:pt x="147" y="30"/>
                  </a:cubicBezTo>
                  <a:cubicBezTo>
                    <a:pt x="148" y="31"/>
                    <a:pt x="149" y="32"/>
                    <a:pt x="149" y="33"/>
                  </a:cubicBezTo>
                  <a:cubicBezTo>
                    <a:pt x="150" y="34"/>
                    <a:pt x="151" y="36"/>
                    <a:pt x="150" y="38"/>
                  </a:cubicBezTo>
                  <a:cubicBezTo>
                    <a:pt x="149" y="39"/>
                    <a:pt x="148" y="41"/>
                    <a:pt x="147" y="42"/>
                  </a:cubicBezTo>
                  <a:cubicBezTo>
                    <a:pt x="147" y="44"/>
                    <a:pt x="148" y="47"/>
                    <a:pt x="149" y="47"/>
                  </a:cubicBezTo>
                  <a:cubicBezTo>
                    <a:pt x="151" y="47"/>
                    <a:pt x="150" y="46"/>
                    <a:pt x="150" y="45"/>
                  </a:cubicBezTo>
                  <a:cubicBezTo>
                    <a:pt x="150" y="45"/>
                    <a:pt x="150" y="44"/>
                    <a:pt x="150" y="43"/>
                  </a:cubicBezTo>
                  <a:cubicBezTo>
                    <a:pt x="151" y="41"/>
                    <a:pt x="152" y="40"/>
                    <a:pt x="152" y="39"/>
                  </a:cubicBezTo>
                  <a:cubicBezTo>
                    <a:pt x="153" y="38"/>
                    <a:pt x="153" y="35"/>
                    <a:pt x="155" y="36"/>
                  </a:cubicBezTo>
                  <a:cubicBezTo>
                    <a:pt x="155" y="36"/>
                    <a:pt x="156" y="36"/>
                    <a:pt x="156" y="36"/>
                  </a:cubicBezTo>
                  <a:close/>
                  <a:moveTo>
                    <a:pt x="166" y="53"/>
                  </a:moveTo>
                  <a:cubicBezTo>
                    <a:pt x="166" y="52"/>
                    <a:pt x="167" y="52"/>
                    <a:pt x="168" y="52"/>
                  </a:cubicBezTo>
                  <a:cubicBezTo>
                    <a:pt x="168" y="52"/>
                    <a:pt x="168" y="53"/>
                    <a:pt x="168" y="53"/>
                  </a:cubicBezTo>
                  <a:cubicBezTo>
                    <a:pt x="167" y="54"/>
                    <a:pt x="166" y="55"/>
                    <a:pt x="165" y="56"/>
                  </a:cubicBezTo>
                  <a:cubicBezTo>
                    <a:pt x="164" y="57"/>
                    <a:pt x="163" y="58"/>
                    <a:pt x="162" y="59"/>
                  </a:cubicBezTo>
                  <a:cubicBezTo>
                    <a:pt x="161" y="59"/>
                    <a:pt x="160" y="60"/>
                    <a:pt x="161" y="61"/>
                  </a:cubicBezTo>
                  <a:cubicBezTo>
                    <a:pt x="161" y="61"/>
                    <a:pt x="162" y="61"/>
                    <a:pt x="162" y="61"/>
                  </a:cubicBezTo>
                  <a:cubicBezTo>
                    <a:pt x="164" y="60"/>
                    <a:pt x="165" y="59"/>
                    <a:pt x="166" y="59"/>
                  </a:cubicBezTo>
                  <a:cubicBezTo>
                    <a:pt x="168" y="59"/>
                    <a:pt x="169" y="58"/>
                    <a:pt x="170" y="57"/>
                  </a:cubicBezTo>
                  <a:cubicBezTo>
                    <a:pt x="171" y="56"/>
                    <a:pt x="172" y="56"/>
                    <a:pt x="171" y="55"/>
                  </a:cubicBezTo>
                  <a:cubicBezTo>
                    <a:pt x="171" y="54"/>
                    <a:pt x="171" y="54"/>
                    <a:pt x="171" y="54"/>
                  </a:cubicBezTo>
                  <a:cubicBezTo>
                    <a:pt x="171" y="53"/>
                    <a:pt x="171" y="53"/>
                    <a:pt x="170" y="53"/>
                  </a:cubicBezTo>
                  <a:cubicBezTo>
                    <a:pt x="170" y="52"/>
                    <a:pt x="169" y="51"/>
                    <a:pt x="170" y="51"/>
                  </a:cubicBezTo>
                  <a:cubicBezTo>
                    <a:pt x="172" y="51"/>
                    <a:pt x="173" y="52"/>
                    <a:pt x="174" y="52"/>
                  </a:cubicBezTo>
                  <a:cubicBezTo>
                    <a:pt x="175" y="52"/>
                    <a:pt x="176" y="51"/>
                    <a:pt x="175" y="50"/>
                  </a:cubicBezTo>
                  <a:cubicBezTo>
                    <a:pt x="175" y="50"/>
                    <a:pt x="175" y="50"/>
                    <a:pt x="175" y="50"/>
                  </a:cubicBezTo>
                  <a:cubicBezTo>
                    <a:pt x="174" y="49"/>
                    <a:pt x="174" y="49"/>
                    <a:pt x="174" y="49"/>
                  </a:cubicBezTo>
                  <a:cubicBezTo>
                    <a:pt x="174" y="48"/>
                    <a:pt x="174" y="48"/>
                    <a:pt x="174" y="48"/>
                  </a:cubicBezTo>
                  <a:cubicBezTo>
                    <a:pt x="174" y="48"/>
                    <a:pt x="173" y="48"/>
                    <a:pt x="174" y="48"/>
                  </a:cubicBezTo>
                  <a:cubicBezTo>
                    <a:pt x="175" y="47"/>
                    <a:pt x="176" y="47"/>
                    <a:pt x="176" y="45"/>
                  </a:cubicBezTo>
                  <a:cubicBezTo>
                    <a:pt x="176" y="45"/>
                    <a:pt x="175" y="45"/>
                    <a:pt x="175" y="45"/>
                  </a:cubicBezTo>
                  <a:cubicBezTo>
                    <a:pt x="174" y="45"/>
                    <a:pt x="174" y="45"/>
                    <a:pt x="174" y="45"/>
                  </a:cubicBezTo>
                  <a:cubicBezTo>
                    <a:pt x="174" y="44"/>
                    <a:pt x="174" y="44"/>
                    <a:pt x="174" y="44"/>
                  </a:cubicBezTo>
                  <a:cubicBezTo>
                    <a:pt x="173" y="44"/>
                    <a:pt x="172" y="44"/>
                    <a:pt x="171" y="44"/>
                  </a:cubicBezTo>
                  <a:cubicBezTo>
                    <a:pt x="170" y="44"/>
                    <a:pt x="169" y="44"/>
                    <a:pt x="168" y="45"/>
                  </a:cubicBezTo>
                  <a:cubicBezTo>
                    <a:pt x="167" y="45"/>
                    <a:pt x="167" y="46"/>
                    <a:pt x="166" y="47"/>
                  </a:cubicBezTo>
                  <a:cubicBezTo>
                    <a:pt x="166" y="47"/>
                    <a:pt x="165" y="48"/>
                    <a:pt x="165" y="49"/>
                  </a:cubicBezTo>
                  <a:cubicBezTo>
                    <a:pt x="163" y="50"/>
                    <a:pt x="160" y="49"/>
                    <a:pt x="158" y="49"/>
                  </a:cubicBezTo>
                  <a:cubicBezTo>
                    <a:pt x="157" y="49"/>
                    <a:pt x="156" y="50"/>
                    <a:pt x="155" y="50"/>
                  </a:cubicBezTo>
                  <a:cubicBezTo>
                    <a:pt x="154" y="50"/>
                    <a:pt x="154" y="51"/>
                    <a:pt x="153" y="51"/>
                  </a:cubicBezTo>
                  <a:cubicBezTo>
                    <a:pt x="152" y="52"/>
                    <a:pt x="152" y="54"/>
                    <a:pt x="150" y="54"/>
                  </a:cubicBezTo>
                  <a:cubicBezTo>
                    <a:pt x="150" y="55"/>
                    <a:pt x="149" y="55"/>
                    <a:pt x="149" y="55"/>
                  </a:cubicBezTo>
                  <a:cubicBezTo>
                    <a:pt x="149" y="55"/>
                    <a:pt x="149" y="56"/>
                    <a:pt x="149" y="57"/>
                  </a:cubicBezTo>
                  <a:cubicBezTo>
                    <a:pt x="149" y="57"/>
                    <a:pt x="149" y="58"/>
                    <a:pt x="150" y="58"/>
                  </a:cubicBezTo>
                  <a:cubicBezTo>
                    <a:pt x="150" y="59"/>
                    <a:pt x="150" y="59"/>
                    <a:pt x="150" y="60"/>
                  </a:cubicBezTo>
                  <a:cubicBezTo>
                    <a:pt x="150" y="60"/>
                    <a:pt x="150" y="61"/>
                    <a:pt x="151" y="61"/>
                  </a:cubicBezTo>
                  <a:cubicBezTo>
                    <a:pt x="151" y="61"/>
                    <a:pt x="152" y="61"/>
                    <a:pt x="152" y="61"/>
                  </a:cubicBezTo>
                  <a:cubicBezTo>
                    <a:pt x="153" y="61"/>
                    <a:pt x="154" y="61"/>
                    <a:pt x="155" y="60"/>
                  </a:cubicBezTo>
                  <a:cubicBezTo>
                    <a:pt x="155" y="59"/>
                    <a:pt x="156" y="59"/>
                    <a:pt x="157" y="58"/>
                  </a:cubicBezTo>
                  <a:cubicBezTo>
                    <a:pt x="157" y="58"/>
                    <a:pt x="158" y="57"/>
                    <a:pt x="159" y="57"/>
                  </a:cubicBezTo>
                  <a:cubicBezTo>
                    <a:pt x="160" y="56"/>
                    <a:pt x="162" y="54"/>
                    <a:pt x="164" y="54"/>
                  </a:cubicBezTo>
                  <a:cubicBezTo>
                    <a:pt x="165" y="54"/>
                    <a:pt x="165" y="53"/>
                    <a:pt x="166" y="53"/>
                  </a:cubicBezTo>
                  <a:close/>
                  <a:moveTo>
                    <a:pt x="180" y="52"/>
                  </a:moveTo>
                  <a:cubicBezTo>
                    <a:pt x="180" y="52"/>
                    <a:pt x="181" y="52"/>
                    <a:pt x="182" y="51"/>
                  </a:cubicBezTo>
                  <a:cubicBezTo>
                    <a:pt x="182" y="51"/>
                    <a:pt x="183" y="51"/>
                    <a:pt x="184" y="51"/>
                  </a:cubicBezTo>
                  <a:cubicBezTo>
                    <a:pt x="185" y="51"/>
                    <a:pt x="186" y="51"/>
                    <a:pt x="187" y="51"/>
                  </a:cubicBezTo>
                  <a:cubicBezTo>
                    <a:pt x="188" y="51"/>
                    <a:pt x="189" y="50"/>
                    <a:pt x="189" y="49"/>
                  </a:cubicBezTo>
                  <a:cubicBezTo>
                    <a:pt x="189" y="48"/>
                    <a:pt x="188" y="48"/>
                    <a:pt x="188" y="47"/>
                  </a:cubicBezTo>
                  <a:cubicBezTo>
                    <a:pt x="187" y="47"/>
                    <a:pt x="186" y="46"/>
                    <a:pt x="186" y="46"/>
                  </a:cubicBezTo>
                  <a:cubicBezTo>
                    <a:pt x="185" y="45"/>
                    <a:pt x="185" y="45"/>
                    <a:pt x="184" y="45"/>
                  </a:cubicBezTo>
                  <a:cubicBezTo>
                    <a:pt x="182" y="45"/>
                    <a:pt x="180" y="45"/>
                    <a:pt x="180" y="46"/>
                  </a:cubicBezTo>
                  <a:cubicBezTo>
                    <a:pt x="179" y="47"/>
                    <a:pt x="179" y="47"/>
                    <a:pt x="180" y="48"/>
                  </a:cubicBezTo>
                  <a:cubicBezTo>
                    <a:pt x="180" y="48"/>
                    <a:pt x="180" y="49"/>
                    <a:pt x="180" y="50"/>
                  </a:cubicBezTo>
                  <a:cubicBezTo>
                    <a:pt x="179" y="51"/>
                    <a:pt x="180" y="51"/>
                    <a:pt x="180" y="52"/>
                  </a:cubicBezTo>
                  <a:close/>
                  <a:moveTo>
                    <a:pt x="194" y="50"/>
                  </a:moveTo>
                  <a:cubicBezTo>
                    <a:pt x="195" y="49"/>
                    <a:pt x="196" y="49"/>
                    <a:pt x="197" y="49"/>
                  </a:cubicBezTo>
                  <a:cubicBezTo>
                    <a:pt x="197" y="50"/>
                    <a:pt x="197" y="50"/>
                    <a:pt x="197" y="50"/>
                  </a:cubicBezTo>
                  <a:cubicBezTo>
                    <a:pt x="198" y="51"/>
                    <a:pt x="198" y="51"/>
                    <a:pt x="198" y="51"/>
                  </a:cubicBezTo>
                  <a:cubicBezTo>
                    <a:pt x="199" y="51"/>
                    <a:pt x="199" y="50"/>
                    <a:pt x="199" y="49"/>
                  </a:cubicBezTo>
                  <a:cubicBezTo>
                    <a:pt x="198" y="48"/>
                    <a:pt x="198" y="47"/>
                    <a:pt x="198" y="46"/>
                  </a:cubicBezTo>
                  <a:cubicBezTo>
                    <a:pt x="198" y="45"/>
                    <a:pt x="198" y="43"/>
                    <a:pt x="197" y="44"/>
                  </a:cubicBezTo>
                  <a:cubicBezTo>
                    <a:pt x="196" y="44"/>
                    <a:pt x="196" y="46"/>
                    <a:pt x="195" y="46"/>
                  </a:cubicBezTo>
                  <a:cubicBezTo>
                    <a:pt x="194" y="46"/>
                    <a:pt x="193" y="45"/>
                    <a:pt x="192" y="45"/>
                  </a:cubicBezTo>
                  <a:cubicBezTo>
                    <a:pt x="191" y="45"/>
                    <a:pt x="190" y="43"/>
                    <a:pt x="189" y="44"/>
                  </a:cubicBezTo>
                  <a:cubicBezTo>
                    <a:pt x="188" y="44"/>
                    <a:pt x="188" y="45"/>
                    <a:pt x="189" y="46"/>
                  </a:cubicBezTo>
                  <a:cubicBezTo>
                    <a:pt x="189" y="46"/>
                    <a:pt x="189" y="46"/>
                    <a:pt x="190" y="47"/>
                  </a:cubicBezTo>
                  <a:cubicBezTo>
                    <a:pt x="190" y="47"/>
                    <a:pt x="191" y="47"/>
                    <a:pt x="191" y="48"/>
                  </a:cubicBezTo>
                  <a:cubicBezTo>
                    <a:pt x="192" y="48"/>
                    <a:pt x="193" y="50"/>
                    <a:pt x="192" y="51"/>
                  </a:cubicBezTo>
                  <a:cubicBezTo>
                    <a:pt x="194" y="51"/>
                    <a:pt x="194" y="50"/>
                    <a:pt x="194" y="50"/>
                  </a:cubicBezTo>
                  <a:close/>
                  <a:moveTo>
                    <a:pt x="123" y="32"/>
                  </a:moveTo>
                  <a:cubicBezTo>
                    <a:pt x="123" y="33"/>
                    <a:pt x="124" y="34"/>
                    <a:pt x="125" y="34"/>
                  </a:cubicBezTo>
                  <a:cubicBezTo>
                    <a:pt x="126" y="34"/>
                    <a:pt x="127" y="34"/>
                    <a:pt x="128" y="34"/>
                  </a:cubicBezTo>
                  <a:cubicBezTo>
                    <a:pt x="129" y="34"/>
                    <a:pt x="129" y="35"/>
                    <a:pt x="130" y="35"/>
                  </a:cubicBezTo>
                  <a:cubicBezTo>
                    <a:pt x="132" y="36"/>
                    <a:pt x="132" y="36"/>
                    <a:pt x="132" y="36"/>
                  </a:cubicBezTo>
                  <a:cubicBezTo>
                    <a:pt x="132" y="34"/>
                    <a:pt x="132" y="34"/>
                    <a:pt x="132" y="34"/>
                  </a:cubicBezTo>
                  <a:cubicBezTo>
                    <a:pt x="132" y="33"/>
                    <a:pt x="132" y="33"/>
                    <a:pt x="131" y="32"/>
                  </a:cubicBezTo>
                  <a:cubicBezTo>
                    <a:pt x="131" y="32"/>
                    <a:pt x="130" y="31"/>
                    <a:pt x="129" y="31"/>
                  </a:cubicBezTo>
                  <a:cubicBezTo>
                    <a:pt x="129" y="30"/>
                    <a:pt x="129" y="30"/>
                    <a:pt x="129" y="30"/>
                  </a:cubicBezTo>
                  <a:cubicBezTo>
                    <a:pt x="128" y="30"/>
                    <a:pt x="128" y="30"/>
                    <a:pt x="128" y="29"/>
                  </a:cubicBezTo>
                  <a:cubicBezTo>
                    <a:pt x="126" y="30"/>
                    <a:pt x="122" y="30"/>
                    <a:pt x="123" y="32"/>
                  </a:cubicBezTo>
                  <a:close/>
                  <a:moveTo>
                    <a:pt x="133" y="27"/>
                  </a:moveTo>
                  <a:cubicBezTo>
                    <a:pt x="133" y="28"/>
                    <a:pt x="135" y="29"/>
                    <a:pt x="136" y="29"/>
                  </a:cubicBezTo>
                  <a:cubicBezTo>
                    <a:pt x="137" y="29"/>
                    <a:pt x="139" y="29"/>
                    <a:pt x="140" y="28"/>
                  </a:cubicBezTo>
                  <a:cubicBezTo>
                    <a:pt x="141" y="28"/>
                    <a:pt x="141" y="28"/>
                    <a:pt x="141" y="28"/>
                  </a:cubicBezTo>
                  <a:cubicBezTo>
                    <a:pt x="141" y="27"/>
                    <a:pt x="141" y="26"/>
                    <a:pt x="141" y="25"/>
                  </a:cubicBezTo>
                  <a:cubicBezTo>
                    <a:pt x="141" y="24"/>
                    <a:pt x="140" y="22"/>
                    <a:pt x="139" y="23"/>
                  </a:cubicBezTo>
                  <a:cubicBezTo>
                    <a:pt x="138" y="24"/>
                    <a:pt x="137" y="25"/>
                    <a:pt x="136" y="26"/>
                  </a:cubicBezTo>
                  <a:cubicBezTo>
                    <a:pt x="135" y="26"/>
                    <a:pt x="134" y="26"/>
                    <a:pt x="133" y="27"/>
                  </a:cubicBezTo>
                  <a:close/>
                  <a:moveTo>
                    <a:pt x="145" y="14"/>
                  </a:moveTo>
                  <a:cubicBezTo>
                    <a:pt x="144" y="15"/>
                    <a:pt x="145" y="15"/>
                    <a:pt x="146" y="15"/>
                  </a:cubicBezTo>
                  <a:cubicBezTo>
                    <a:pt x="146" y="16"/>
                    <a:pt x="147" y="16"/>
                    <a:pt x="148" y="16"/>
                  </a:cubicBezTo>
                  <a:cubicBezTo>
                    <a:pt x="149" y="16"/>
                    <a:pt x="151" y="14"/>
                    <a:pt x="152" y="13"/>
                  </a:cubicBezTo>
                  <a:cubicBezTo>
                    <a:pt x="152" y="12"/>
                    <a:pt x="152" y="12"/>
                    <a:pt x="153" y="11"/>
                  </a:cubicBezTo>
                  <a:cubicBezTo>
                    <a:pt x="153" y="10"/>
                    <a:pt x="153" y="10"/>
                    <a:pt x="153" y="9"/>
                  </a:cubicBezTo>
                  <a:cubicBezTo>
                    <a:pt x="152" y="8"/>
                    <a:pt x="152" y="8"/>
                    <a:pt x="151" y="9"/>
                  </a:cubicBezTo>
                  <a:cubicBezTo>
                    <a:pt x="150" y="9"/>
                    <a:pt x="149" y="9"/>
                    <a:pt x="148" y="10"/>
                  </a:cubicBezTo>
                  <a:cubicBezTo>
                    <a:pt x="147" y="10"/>
                    <a:pt x="147" y="12"/>
                    <a:pt x="146" y="12"/>
                  </a:cubicBezTo>
                  <a:cubicBezTo>
                    <a:pt x="146" y="13"/>
                    <a:pt x="146" y="14"/>
                    <a:pt x="145" y="14"/>
                  </a:cubicBezTo>
                  <a:close/>
                  <a:moveTo>
                    <a:pt x="542" y="248"/>
                  </a:moveTo>
                  <a:cubicBezTo>
                    <a:pt x="542" y="248"/>
                    <a:pt x="542" y="248"/>
                    <a:pt x="542" y="248"/>
                  </a:cubicBezTo>
                  <a:cubicBezTo>
                    <a:pt x="542" y="248"/>
                    <a:pt x="542" y="247"/>
                    <a:pt x="543" y="247"/>
                  </a:cubicBezTo>
                  <a:cubicBezTo>
                    <a:pt x="543" y="246"/>
                    <a:pt x="545" y="246"/>
                    <a:pt x="545" y="246"/>
                  </a:cubicBezTo>
                  <a:cubicBezTo>
                    <a:pt x="545" y="245"/>
                    <a:pt x="545" y="245"/>
                    <a:pt x="545" y="245"/>
                  </a:cubicBezTo>
                  <a:cubicBezTo>
                    <a:pt x="545" y="243"/>
                    <a:pt x="547" y="243"/>
                    <a:pt x="548" y="242"/>
                  </a:cubicBezTo>
                  <a:cubicBezTo>
                    <a:pt x="548" y="241"/>
                    <a:pt x="547" y="241"/>
                    <a:pt x="547" y="240"/>
                  </a:cubicBezTo>
                  <a:cubicBezTo>
                    <a:pt x="548" y="240"/>
                    <a:pt x="549" y="240"/>
                    <a:pt x="550" y="240"/>
                  </a:cubicBezTo>
                  <a:cubicBezTo>
                    <a:pt x="551" y="240"/>
                    <a:pt x="552" y="239"/>
                    <a:pt x="552" y="237"/>
                  </a:cubicBezTo>
                  <a:cubicBezTo>
                    <a:pt x="552" y="237"/>
                    <a:pt x="553" y="236"/>
                    <a:pt x="553" y="235"/>
                  </a:cubicBezTo>
                  <a:cubicBezTo>
                    <a:pt x="552" y="234"/>
                    <a:pt x="551" y="235"/>
                    <a:pt x="551" y="234"/>
                  </a:cubicBezTo>
                  <a:cubicBezTo>
                    <a:pt x="550" y="233"/>
                    <a:pt x="551" y="232"/>
                    <a:pt x="551" y="231"/>
                  </a:cubicBezTo>
                  <a:cubicBezTo>
                    <a:pt x="551" y="229"/>
                    <a:pt x="549" y="228"/>
                    <a:pt x="550" y="226"/>
                  </a:cubicBezTo>
                  <a:cubicBezTo>
                    <a:pt x="551" y="227"/>
                    <a:pt x="551" y="229"/>
                    <a:pt x="552" y="230"/>
                  </a:cubicBezTo>
                  <a:cubicBezTo>
                    <a:pt x="553" y="231"/>
                    <a:pt x="554" y="231"/>
                    <a:pt x="555" y="232"/>
                  </a:cubicBezTo>
                  <a:cubicBezTo>
                    <a:pt x="556" y="232"/>
                    <a:pt x="556" y="233"/>
                    <a:pt x="557" y="232"/>
                  </a:cubicBezTo>
                  <a:cubicBezTo>
                    <a:pt x="557" y="232"/>
                    <a:pt x="558" y="231"/>
                    <a:pt x="558" y="230"/>
                  </a:cubicBezTo>
                  <a:cubicBezTo>
                    <a:pt x="559" y="230"/>
                    <a:pt x="559" y="229"/>
                    <a:pt x="559" y="228"/>
                  </a:cubicBezTo>
                  <a:cubicBezTo>
                    <a:pt x="559" y="226"/>
                    <a:pt x="558" y="228"/>
                    <a:pt x="557" y="229"/>
                  </a:cubicBezTo>
                  <a:cubicBezTo>
                    <a:pt x="556" y="229"/>
                    <a:pt x="557" y="228"/>
                    <a:pt x="557" y="227"/>
                  </a:cubicBezTo>
                  <a:cubicBezTo>
                    <a:pt x="558" y="226"/>
                    <a:pt x="558" y="225"/>
                    <a:pt x="558" y="224"/>
                  </a:cubicBezTo>
                  <a:cubicBezTo>
                    <a:pt x="557" y="222"/>
                    <a:pt x="554" y="222"/>
                    <a:pt x="552" y="222"/>
                  </a:cubicBezTo>
                  <a:cubicBezTo>
                    <a:pt x="552" y="221"/>
                    <a:pt x="553" y="220"/>
                    <a:pt x="552" y="220"/>
                  </a:cubicBezTo>
                  <a:cubicBezTo>
                    <a:pt x="551" y="219"/>
                    <a:pt x="551" y="219"/>
                    <a:pt x="551" y="218"/>
                  </a:cubicBezTo>
                  <a:cubicBezTo>
                    <a:pt x="553" y="218"/>
                    <a:pt x="553" y="219"/>
                    <a:pt x="554" y="220"/>
                  </a:cubicBezTo>
                  <a:cubicBezTo>
                    <a:pt x="555" y="221"/>
                    <a:pt x="556" y="221"/>
                    <a:pt x="557" y="221"/>
                  </a:cubicBezTo>
                  <a:cubicBezTo>
                    <a:pt x="558" y="222"/>
                    <a:pt x="560" y="221"/>
                    <a:pt x="561" y="221"/>
                  </a:cubicBezTo>
                  <a:cubicBezTo>
                    <a:pt x="562" y="221"/>
                    <a:pt x="563" y="220"/>
                    <a:pt x="563" y="219"/>
                  </a:cubicBezTo>
                  <a:cubicBezTo>
                    <a:pt x="565" y="218"/>
                    <a:pt x="565" y="218"/>
                    <a:pt x="566" y="216"/>
                  </a:cubicBezTo>
                  <a:cubicBezTo>
                    <a:pt x="566" y="215"/>
                    <a:pt x="567" y="213"/>
                    <a:pt x="568" y="212"/>
                  </a:cubicBezTo>
                  <a:cubicBezTo>
                    <a:pt x="568" y="211"/>
                    <a:pt x="569" y="210"/>
                    <a:pt x="567" y="209"/>
                  </a:cubicBezTo>
                  <a:cubicBezTo>
                    <a:pt x="567" y="209"/>
                    <a:pt x="565" y="209"/>
                    <a:pt x="565" y="209"/>
                  </a:cubicBezTo>
                  <a:cubicBezTo>
                    <a:pt x="564" y="208"/>
                    <a:pt x="564" y="208"/>
                    <a:pt x="564" y="208"/>
                  </a:cubicBezTo>
                  <a:cubicBezTo>
                    <a:pt x="566" y="209"/>
                    <a:pt x="568" y="208"/>
                    <a:pt x="568" y="206"/>
                  </a:cubicBezTo>
                  <a:cubicBezTo>
                    <a:pt x="569" y="205"/>
                    <a:pt x="567" y="203"/>
                    <a:pt x="567" y="202"/>
                  </a:cubicBezTo>
                  <a:cubicBezTo>
                    <a:pt x="566" y="201"/>
                    <a:pt x="565" y="199"/>
                    <a:pt x="563" y="198"/>
                  </a:cubicBezTo>
                  <a:cubicBezTo>
                    <a:pt x="562" y="197"/>
                    <a:pt x="560" y="197"/>
                    <a:pt x="560" y="195"/>
                  </a:cubicBezTo>
                  <a:cubicBezTo>
                    <a:pt x="561" y="195"/>
                    <a:pt x="562" y="195"/>
                    <a:pt x="562" y="196"/>
                  </a:cubicBezTo>
                  <a:cubicBezTo>
                    <a:pt x="563" y="196"/>
                    <a:pt x="563" y="197"/>
                    <a:pt x="564" y="197"/>
                  </a:cubicBezTo>
                  <a:cubicBezTo>
                    <a:pt x="565" y="198"/>
                    <a:pt x="566" y="195"/>
                    <a:pt x="565" y="194"/>
                  </a:cubicBezTo>
                  <a:cubicBezTo>
                    <a:pt x="565" y="194"/>
                    <a:pt x="564" y="193"/>
                    <a:pt x="566" y="192"/>
                  </a:cubicBezTo>
                  <a:cubicBezTo>
                    <a:pt x="567" y="192"/>
                    <a:pt x="568" y="193"/>
                    <a:pt x="568" y="192"/>
                  </a:cubicBezTo>
                  <a:cubicBezTo>
                    <a:pt x="568" y="191"/>
                    <a:pt x="568" y="190"/>
                    <a:pt x="567" y="189"/>
                  </a:cubicBezTo>
                  <a:cubicBezTo>
                    <a:pt x="567" y="189"/>
                    <a:pt x="566" y="189"/>
                    <a:pt x="565" y="189"/>
                  </a:cubicBezTo>
                  <a:cubicBezTo>
                    <a:pt x="564" y="188"/>
                    <a:pt x="566" y="187"/>
                    <a:pt x="566" y="187"/>
                  </a:cubicBezTo>
                  <a:cubicBezTo>
                    <a:pt x="567" y="186"/>
                    <a:pt x="567" y="185"/>
                    <a:pt x="566" y="184"/>
                  </a:cubicBezTo>
                  <a:cubicBezTo>
                    <a:pt x="566" y="183"/>
                    <a:pt x="565" y="183"/>
                    <a:pt x="565" y="182"/>
                  </a:cubicBezTo>
                  <a:cubicBezTo>
                    <a:pt x="566" y="182"/>
                    <a:pt x="565" y="181"/>
                    <a:pt x="566" y="180"/>
                  </a:cubicBezTo>
                  <a:cubicBezTo>
                    <a:pt x="566" y="179"/>
                    <a:pt x="568" y="179"/>
                    <a:pt x="568" y="177"/>
                  </a:cubicBezTo>
                  <a:cubicBezTo>
                    <a:pt x="569" y="175"/>
                    <a:pt x="565" y="175"/>
                    <a:pt x="564" y="174"/>
                  </a:cubicBezTo>
                  <a:cubicBezTo>
                    <a:pt x="563" y="174"/>
                    <a:pt x="563" y="174"/>
                    <a:pt x="562" y="173"/>
                  </a:cubicBezTo>
                  <a:cubicBezTo>
                    <a:pt x="562" y="173"/>
                    <a:pt x="561" y="173"/>
                    <a:pt x="561" y="173"/>
                  </a:cubicBezTo>
                  <a:cubicBezTo>
                    <a:pt x="561" y="172"/>
                    <a:pt x="562" y="173"/>
                    <a:pt x="563" y="172"/>
                  </a:cubicBezTo>
                  <a:cubicBezTo>
                    <a:pt x="564" y="172"/>
                    <a:pt x="563" y="171"/>
                    <a:pt x="563" y="171"/>
                  </a:cubicBezTo>
                  <a:cubicBezTo>
                    <a:pt x="563" y="171"/>
                    <a:pt x="563" y="171"/>
                    <a:pt x="564" y="170"/>
                  </a:cubicBezTo>
                  <a:cubicBezTo>
                    <a:pt x="564" y="169"/>
                    <a:pt x="563" y="169"/>
                    <a:pt x="562" y="169"/>
                  </a:cubicBezTo>
                  <a:cubicBezTo>
                    <a:pt x="561" y="167"/>
                    <a:pt x="560" y="166"/>
                    <a:pt x="559" y="164"/>
                  </a:cubicBezTo>
                  <a:cubicBezTo>
                    <a:pt x="558" y="162"/>
                    <a:pt x="555" y="164"/>
                    <a:pt x="554" y="164"/>
                  </a:cubicBezTo>
                  <a:cubicBezTo>
                    <a:pt x="552" y="164"/>
                    <a:pt x="550" y="162"/>
                    <a:pt x="550" y="165"/>
                  </a:cubicBezTo>
                  <a:cubicBezTo>
                    <a:pt x="552" y="165"/>
                    <a:pt x="551" y="166"/>
                    <a:pt x="551" y="168"/>
                  </a:cubicBezTo>
                  <a:cubicBezTo>
                    <a:pt x="551" y="169"/>
                    <a:pt x="552" y="168"/>
                    <a:pt x="552" y="169"/>
                  </a:cubicBezTo>
                  <a:cubicBezTo>
                    <a:pt x="553" y="170"/>
                    <a:pt x="552" y="170"/>
                    <a:pt x="551" y="170"/>
                  </a:cubicBezTo>
                  <a:cubicBezTo>
                    <a:pt x="550" y="171"/>
                    <a:pt x="551" y="171"/>
                    <a:pt x="550" y="171"/>
                  </a:cubicBezTo>
                  <a:cubicBezTo>
                    <a:pt x="549" y="171"/>
                    <a:pt x="549" y="171"/>
                    <a:pt x="549" y="171"/>
                  </a:cubicBezTo>
                  <a:cubicBezTo>
                    <a:pt x="548" y="172"/>
                    <a:pt x="548" y="172"/>
                    <a:pt x="548" y="172"/>
                  </a:cubicBezTo>
                  <a:cubicBezTo>
                    <a:pt x="548" y="173"/>
                    <a:pt x="548" y="173"/>
                    <a:pt x="548" y="173"/>
                  </a:cubicBezTo>
                  <a:cubicBezTo>
                    <a:pt x="547" y="173"/>
                    <a:pt x="547" y="174"/>
                    <a:pt x="547" y="175"/>
                  </a:cubicBezTo>
                  <a:cubicBezTo>
                    <a:pt x="547" y="176"/>
                    <a:pt x="546" y="178"/>
                    <a:pt x="545" y="178"/>
                  </a:cubicBezTo>
                  <a:cubicBezTo>
                    <a:pt x="544" y="179"/>
                    <a:pt x="543" y="179"/>
                    <a:pt x="543" y="180"/>
                  </a:cubicBezTo>
                  <a:cubicBezTo>
                    <a:pt x="542" y="180"/>
                    <a:pt x="542" y="181"/>
                    <a:pt x="542" y="181"/>
                  </a:cubicBezTo>
                  <a:cubicBezTo>
                    <a:pt x="541" y="182"/>
                    <a:pt x="539" y="180"/>
                    <a:pt x="539" y="180"/>
                  </a:cubicBezTo>
                  <a:cubicBezTo>
                    <a:pt x="538" y="180"/>
                    <a:pt x="538" y="179"/>
                    <a:pt x="538" y="179"/>
                  </a:cubicBezTo>
                  <a:cubicBezTo>
                    <a:pt x="537" y="178"/>
                    <a:pt x="535" y="179"/>
                    <a:pt x="534" y="180"/>
                  </a:cubicBezTo>
                  <a:cubicBezTo>
                    <a:pt x="533" y="181"/>
                    <a:pt x="535" y="183"/>
                    <a:pt x="536" y="184"/>
                  </a:cubicBezTo>
                  <a:cubicBezTo>
                    <a:pt x="537" y="184"/>
                    <a:pt x="541" y="183"/>
                    <a:pt x="541" y="185"/>
                  </a:cubicBezTo>
                  <a:cubicBezTo>
                    <a:pt x="541" y="185"/>
                    <a:pt x="543" y="184"/>
                    <a:pt x="544" y="185"/>
                  </a:cubicBezTo>
                  <a:cubicBezTo>
                    <a:pt x="544" y="185"/>
                    <a:pt x="549" y="184"/>
                    <a:pt x="547" y="186"/>
                  </a:cubicBezTo>
                  <a:cubicBezTo>
                    <a:pt x="547" y="186"/>
                    <a:pt x="545" y="186"/>
                    <a:pt x="544" y="186"/>
                  </a:cubicBezTo>
                  <a:cubicBezTo>
                    <a:pt x="544" y="187"/>
                    <a:pt x="544" y="187"/>
                    <a:pt x="543" y="188"/>
                  </a:cubicBezTo>
                  <a:cubicBezTo>
                    <a:pt x="543" y="189"/>
                    <a:pt x="542" y="189"/>
                    <a:pt x="542" y="189"/>
                  </a:cubicBezTo>
                  <a:cubicBezTo>
                    <a:pt x="541" y="190"/>
                    <a:pt x="542" y="190"/>
                    <a:pt x="541" y="191"/>
                  </a:cubicBezTo>
                  <a:cubicBezTo>
                    <a:pt x="541" y="191"/>
                    <a:pt x="540" y="192"/>
                    <a:pt x="540" y="192"/>
                  </a:cubicBezTo>
                  <a:cubicBezTo>
                    <a:pt x="539" y="193"/>
                    <a:pt x="540" y="193"/>
                    <a:pt x="540" y="194"/>
                  </a:cubicBezTo>
                  <a:cubicBezTo>
                    <a:pt x="541" y="195"/>
                    <a:pt x="541" y="197"/>
                    <a:pt x="540" y="198"/>
                  </a:cubicBezTo>
                  <a:cubicBezTo>
                    <a:pt x="540" y="199"/>
                    <a:pt x="540" y="200"/>
                    <a:pt x="539" y="201"/>
                  </a:cubicBezTo>
                  <a:cubicBezTo>
                    <a:pt x="539" y="201"/>
                    <a:pt x="539" y="201"/>
                    <a:pt x="539" y="202"/>
                  </a:cubicBezTo>
                  <a:cubicBezTo>
                    <a:pt x="538" y="204"/>
                    <a:pt x="540" y="206"/>
                    <a:pt x="539" y="209"/>
                  </a:cubicBezTo>
                  <a:cubicBezTo>
                    <a:pt x="538" y="210"/>
                    <a:pt x="536" y="209"/>
                    <a:pt x="535" y="208"/>
                  </a:cubicBezTo>
                  <a:cubicBezTo>
                    <a:pt x="535" y="206"/>
                    <a:pt x="536" y="205"/>
                    <a:pt x="536" y="203"/>
                  </a:cubicBezTo>
                  <a:cubicBezTo>
                    <a:pt x="536" y="202"/>
                    <a:pt x="536" y="203"/>
                    <a:pt x="535" y="202"/>
                  </a:cubicBezTo>
                  <a:cubicBezTo>
                    <a:pt x="534" y="202"/>
                    <a:pt x="534" y="201"/>
                    <a:pt x="534" y="201"/>
                  </a:cubicBezTo>
                  <a:cubicBezTo>
                    <a:pt x="533" y="201"/>
                    <a:pt x="531" y="202"/>
                    <a:pt x="531" y="201"/>
                  </a:cubicBezTo>
                  <a:cubicBezTo>
                    <a:pt x="530" y="201"/>
                    <a:pt x="529" y="199"/>
                    <a:pt x="528" y="201"/>
                  </a:cubicBezTo>
                  <a:cubicBezTo>
                    <a:pt x="528" y="202"/>
                    <a:pt x="528" y="205"/>
                    <a:pt x="529" y="206"/>
                  </a:cubicBezTo>
                  <a:cubicBezTo>
                    <a:pt x="530" y="207"/>
                    <a:pt x="531" y="206"/>
                    <a:pt x="532" y="207"/>
                  </a:cubicBezTo>
                  <a:cubicBezTo>
                    <a:pt x="532" y="208"/>
                    <a:pt x="532" y="209"/>
                    <a:pt x="532" y="210"/>
                  </a:cubicBezTo>
                  <a:cubicBezTo>
                    <a:pt x="532" y="210"/>
                    <a:pt x="533" y="210"/>
                    <a:pt x="534" y="210"/>
                  </a:cubicBezTo>
                  <a:cubicBezTo>
                    <a:pt x="535" y="211"/>
                    <a:pt x="535" y="212"/>
                    <a:pt x="536" y="213"/>
                  </a:cubicBezTo>
                  <a:cubicBezTo>
                    <a:pt x="537" y="214"/>
                    <a:pt x="538" y="214"/>
                    <a:pt x="539" y="215"/>
                  </a:cubicBezTo>
                  <a:cubicBezTo>
                    <a:pt x="540" y="216"/>
                    <a:pt x="541" y="217"/>
                    <a:pt x="542" y="217"/>
                  </a:cubicBezTo>
                  <a:cubicBezTo>
                    <a:pt x="543" y="218"/>
                    <a:pt x="543" y="218"/>
                    <a:pt x="544" y="216"/>
                  </a:cubicBezTo>
                  <a:cubicBezTo>
                    <a:pt x="544" y="215"/>
                    <a:pt x="545" y="215"/>
                    <a:pt x="545" y="215"/>
                  </a:cubicBezTo>
                  <a:cubicBezTo>
                    <a:pt x="546" y="215"/>
                    <a:pt x="548" y="215"/>
                    <a:pt x="548" y="216"/>
                  </a:cubicBezTo>
                  <a:cubicBezTo>
                    <a:pt x="547" y="217"/>
                    <a:pt x="545" y="217"/>
                    <a:pt x="545" y="218"/>
                  </a:cubicBezTo>
                  <a:cubicBezTo>
                    <a:pt x="544" y="219"/>
                    <a:pt x="543" y="219"/>
                    <a:pt x="543" y="220"/>
                  </a:cubicBezTo>
                  <a:cubicBezTo>
                    <a:pt x="543" y="221"/>
                    <a:pt x="543" y="224"/>
                    <a:pt x="541" y="222"/>
                  </a:cubicBezTo>
                  <a:cubicBezTo>
                    <a:pt x="539" y="221"/>
                    <a:pt x="541" y="220"/>
                    <a:pt x="540" y="218"/>
                  </a:cubicBezTo>
                  <a:cubicBezTo>
                    <a:pt x="540" y="218"/>
                    <a:pt x="539" y="216"/>
                    <a:pt x="538" y="216"/>
                  </a:cubicBezTo>
                  <a:cubicBezTo>
                    <a:pt x="537" y="215"/>
                    <a:pt x="536" y="215"/>
                    <a:pt x="535" y="214"/>
                  </a:cubicBezTo>
                  <a:cubicBezTo>
                    <a:pt x="534" y="213"/>
                    <a:pt x="534" y="212"/>
                    <a:pt x="533" y="212"/>
                  </a:cubicBezTo>
                  <a:cubicBezTo>
                    <a:pt x="532" y="211"/>
                    <a:pt x="531" y="212"/>
                    <a:pt x="530" y="211"/>
                  </a:cubicBezTo>
                  <a:cubicBezTo>
                    <a:pt x="530" y="210"/>
                    <a:pt x="528" y="208"/>
                    <a:pt x="527" y="209"/>
                  </a:cubicBezTo>
                  <a:cubicBezTo>
                    <a:pt x="526" y="209"/>
                    <a:pt x="527" y="211"/>
                    <a:pt x="527" y="212"/>
                  </a:cubicBezTo>
                  <a:cubicBezTo>
                    <a:pt x="528" y="214"/>
                    <a:pt x="529" y="216"/>
                    <a:pt x="529" y="217"/>
                  </a:cubicBezTo>
                  <a:cubicBezTo>
                    <a:pt x="529" y="219"/>
                    <a:pt x="528" y="221"/>
                    <a:pt x="528" y="222"/>
                  </a:cubicBezTo>
                  <a:cubicBezTo>
                    <a:pt x="528" y="223"/>
                    <a:pt x="528" y="225"/>
                    <a:pt x="529" y="226"/>
                  </a:cubicBezTo>
                  <a:cubicBezTo>
                    <a:pt x="531" y="227"/>
                    <a:pt x="531" y="227"/>
                    <a:pt x="531" y="227"/>
                  </a:cubicBezTo>
                  <a:cubicBezTo>
                    <a:pt x="531" y="226"/>
                    <a:pt x="531" y="226"/>
                    <a:pt x="531" y="226"/>
                  </a:cubicBezTo>
                  <a:cubicBezTo>
                    <a:pt x="532" y="227"/>
                    <a:pt x="532" y="227"/>
                    <a:pt x="533" y="227"/>
                  </a:cubicBezTo>
                  <a:cubicBezTo>
                    <a:pt x="534" y="228"/>
                    <a:pt x="535" y="228"/>
                    <a:pt x="535" y="230"/>
                  </a:cubicBezTo>
                  <a:cubicBezTo>
                    <a:pt x="536" y="231"/>
                    <a:pt x="534" y="233"/>
                    <a:pt x="533" y="232"/>
                  </a:cubicBezTo>
                  <a:cubicBezTo>
                    <a:pt x="532" y="231"/>
                    <a:pt x="533" y="229"/>
                    <a:pt x="533" y="228"/>
                  </a:cubicBezTo>
                  <a:cubicBezTo>
                    <a:pt x="531" y="228"/>
                    <a:pt x="530" y="228"/>
                    <a:pt x="528" y="228"/>
                  </a:cubicBezTo>
                  <a:cubicBezTo>
                    <a:pt x="528" y="228"/>
                    <a:pt x="528" y="227"/>
                    <a:pt x="528" y="227"/>
                  </a:cubicBezTo>
                  <a:cubicBezTo>
                    <a:pt x="527" y="228"/>
                    <a:pt x="527" y="230"/>
                    <a:pt x="527" y="232"/>
                  </a:cubicBezTo>
                  <a:cubicBezTo>
                    <a:pt x="526" y="234"/>
                    <a:pt x="527" y="236"/>
                    <a:pt x="526" y="238"/>
                  </a:cubicBezTo>
                  <a:cubicBezTo>
                    <a:pt x="526" y="240"/>
                    <a:pt x="526" y="243"/>
                    <a:pt x="525" y="245"/>
                  </a:cubicBezTo>
                  <a:cubicBezTo>
                    <a:pt x="524" y="246"/>
                    <a:pt x="524" y="247"/>
                    <a:pt x="525" y="249"/>
                  </a:cubicBezTo>
                  <a:cubicBezTo>
                    <a:pt x="526" y="251"/>
                    <a:pt x="529" y="250"/>
                    <a:pt x="530" y="252"/>
                  </a:cubicBezTo>
                  <a:cubicBezTo>
                    <a:pt x="530" y="252"/>
                    <a:pt x="531" y="254"/>
                    <a:pt x="531" y="254"/>
                  </a:cubicBezTo>
                  <a:cubicBezTo>
                    <a:pt x="532" y="255"/>
                    <a:pt x="533" y="255"/>
                    <a:pt x="534" y="255"/>
                  </a:cubicBezTo>
                  <a:cubicBezTo>
                    <a:pt x="535" y="254"/>
                    <a:pt x="535" y="254"/>
                    <a:pt x="536" y="254"/>
                  </a:cubicBezTo>
                  <a:cubicBezTo>
                    <a:pt x="538" y="253"/>
                    <a:pt x="541" y="252"/>
                    <a:pt x="542" y="251"/>
                  </a:cubicBezTo>
                  <a:cubicBezTo>
                    <a:pt x="543" y="250"/>
                    <a:pt x="544" y="249"/>
                    <a:pt x="542" y="248"/>
                  </a:cubicBezTo>
                  <a:close/>
                  <a:moveTo>
                    <a:pt x="563" y="233"/>
                  </a:moveTo>
                  <a:cubicBezTo>
                    <a:pt x="564" y="233"/>
                    <a:pt x="564" y="233"/>
                    <a:pt x="564" y="233"/>
                  </a:cubicBezTo>
                  <a:cubicBezTo>
                    <a:pt x="565" y="234"/>
                    <a:pt x="565" y="234"/>
                    <a:pt x="565" y="234"/>
                  </a:cubicBezTo>
                  <a:cubicBezTo>
                    <a:pt x="565" y="234"/>
                    <a:pt x="565" y="233"/>
                    <a:pt x="565" y="233"/>
                  </a:cubicBezTo>
                  <a:cubicBezTo>
                    <a:pt x="566" y="233"/>
                    <a:pt x="566" y="232"/>
                    <a:pt x="566" y="232"/>
                  </a:cubicBezTo>
                  <a:cubicBezTo>
                    <a:pt x="567" y="232"/>
                    <a:pt x="567" y="232"/>
                    <a:pt x="568" y="231"/>
                  </a:cubicBezTo>
                  <a:cubicBezTo>
                    <a:pt x="567" y="231"/>
                    <a:pt x="567" y="231"/>
                    <a:pt x="567" y="231"/>
                  </a:cubicBezTo>
                  <a:cubicBezTo>
                    <a:pt x="567" y="230"/>
                    <a:pt x="567" y="229"/>
                    <a:pt x="566" y="229"/>
                  </a:cubicBezTo>
                  <a:cubicBezTo>
                    <a:pt x="565" y="228"/>
                    <a:pt x="565" y="227"/>
                    <a:pt x="564" y="227"/>
                  </a:cubicBezTo>
                  <a:cubicBezTo>
                    <a:pt x="563" y="226"/>
                    <a:pt x="563" y="227"/>
                    <a:pt x="563" y="227"/>
                  </a:cubicBezTo>
                  <a:cubicBezTo>
                    <a:pt x="562" y="228"/>
                    <a:pt x="559" y="228"/>
                    <a:pt x="561" y="230"/>
                  </a:cubicBezTo>
                  <a:cubicBezTo>
                    <a:pt x="561" y="230"/>
                    <a:pt x="561" y="230"/>
                    <a:pt x="562" y="231"/>
                  </a:cubicBezTo>
                  <a:cubicBezTo>
                    <a:pt x="562" y="231"/>
                    <a:pt x="562" y="232"/>
                    <a:pt x="562" y="233"/>
                  </a:cubicBezTo>
                  <a:cubicBezTo>
                    <a:pt x="562" y="233"/>
                    <a:pt x="563" y="233"/>
                    <a:pt x="563" y="233"/>
                  </a:cubicBezTo>
                  <a:close/>
                  <a:moveTo>
                    <a:pt x="571" y="227"/>
                  </a:moveTo>
                  <a:cubicBezTo>
                    <a:pt x="572" y="228"/>
                    <a:pt x="572" y="228"/>
                    <a:pt x="572" y="228"/>
                  </a:cubicBezTo>
                  <a:cubicBezTo>
                    <a:pt x="572" y="228"/>
                    <a:pt x="573" y="228"/>
                    <a:pt x="573" y="227"/>
                  </a:cubicBezTo>
                  <a:cubicBezTo>
                    <a:pt x="573" y="226"/>
                    <a:pt x="573" y="225"/>
                    <a:pt x="574" y="224"/>
                  </a:cubicBezTo>
                  <a:cubicBezTo>
                    <a:pt x="574" y="224"/>
                    <a:pt x="574" y="223"/>
                    <a:pt x="574" y="223"/>
                  </a:cubicBezTo>
                  <a:cubicBezTo>
                    <a:pt x="575" y="222"/>
                    <a:pt x="575" y="222"/>
                    <a:pt x="575" y="222"/>
                  </a:cubicBezTo>
                  <a:cubicBezTo>
                    <a:pt x="576" y="221"/>
                    <a:pt x="576" y="220"/>
                    <a:pt x="576" y="219"/>
                  </a:cubicBezTo>
                  <a:cubicBezTo>
                    <a:pt x="576" y="219"/>
                    <a:pt x="576" y="218"/>
                    <a:pt x="576" y="218"/>
                  </a:cubicBezTo>
                  <a:cubicBezTo>
                    <a:pt x="576" y="217"/>
                    <a:pt x="575" y="217"/>
                    <a:pt x="575" y="217"/>
                  </a:cubicBezTo>
                  <a:cubicBezTo>
                    <a:pt x="575" y="217"/>
                    <a:pt x="574" y="217"/>
                    <a:pt x="574" y="217"/>
                  </a:cubicBezTo>
                  <a:cubicBezTo>
                    <a:pt x="574" y="217"/>
                    <a:pt x="573" y="217"/>
                    <a:pt x="573" y="217"/>
                  </a:cubicBezTo>
                  <a:cubicBezTo>
                    <a:pt x="572" y="218"/>
                    <a:pt x="572" y="219"/>
                    <a:pt x="572" y="220"/>
                  </a:cubicBezTo>
                  <a:cubicBezTo>
                    <a:pt x="571" y="221"/>
                    <a:pt x="570" y="221"/>
                    <a:pt x="570" y="222"/>
                  </a:cubicBezTo>
                  <a:cubicBezTo>
                    <a:pt x="569" y="223"/>
                    <a:pt x="570" y="224"/>
                    <a:pt x="570" y="225"/>
                  </a:cubicBezTo>
                  <a:cubicBezTo>
                    <a:pt x="571" y="225"/>
                    <a:pt x="570" y="226"/>
                    <a:pt x="570" y="227"/>
                  </a:cubicBezTo>
                  <a:cubicBezTo>
                    <a:pt x="571" y="227"/>
                    <a:pt x="571" y="227"/>
                    <a:pt x="571" y="227"/>
                  </a:cubicBezTo>
                  <a:close/>
                  <a:moveTo>
                    <a:pt x="567" y="237"/>
                  </a:moveTo>
                  <a:cubicBezTo>
                    <a:pt x="566" y="236"/>
                    <a:pt x="566" y="236"/>
                    <a:pt x="566" y="236"/>
                  </a:cubicBezTo>
                  <a:cubicBezTo>
                    <a:pt x="566" y="236"/>
                    <a:pt x="566" y="235"/>
                    <a:pt x="565" y="235"/>
                  </a:cubicBezTo>
                  <a:cubicBezTo>
                    <a:pt x="565" y="235"/>
                    <a:pt x="564" y="235"/>
                    <a:pt x="563" y="236"/>
                  </a:cubicBezTo>
                  <a:cubicBezTo>
                    <a:pt x="563" y="236"/>
                    <a:pt x="563" y="237"/>
                    <a:pt x="563" y="237"/>
                  </a:cubicBezTo>
                  <a:cubicBezTo>
                    <a:pt x="563" y="239"/>
                    <a:pt x="562" y="240"/>
                    <a:pt x="561" y="241"/>
                  </a:cubicBezTo>
                  <a:cubicBezTo>
                    <a:pt x="560" y="242"/>
                    <a:pt x="559" y="243"/>
                    <a:pt x="559" y="244"/>
                  </a:cubicBezTo>
                  <a:cubicBezTo>
                    <a:pt x="559" y="244"/>
                    <a:pt x="559" y="245"/>
                    <a:pt x="560" y="245"/>
                  </a:cubicBezTo>
                  <a:cubicBezTo>
                    <a:pt x="560" y="246"/>
                    <a:pt x="560" y="246"/>
                    <a:pt x="560" y="246"/>
                  </a:cubicBezTo>
                  <a:cubicBezTo>
                    <a:pt x="561" y="246"/>
                    <a:pt x="561" y="246"/>
                    <a:pt x="561" y="246"/>
                  </a:cubicBezTo>
                  <a:cubicBezTo>
                    <a:pt x="561" y="247"/>
                    <a:pt x="561" y="247"/>
                    <a:pt x="561" y="247"/>
                  </a:cubicBezTo>
                  <a:cubicBezTo>
                    <a:pt x="562" y="247"/>
                    <a:pt x="562" y="247"/>
                    <a:pt x="562" y="247"/>
                  </a:cubicBezTo>
                  <a:cubicBezTo>
                    <a:pt x="563" y="247"/>
                    <a:pt x="563" y="247"/>
                    <a:pt x="563" y="247"/>
                  </a:cubicBezTo>
                  <a:cubicBezTo>
                    <a:pt x="563" y="246"/>
                    <a:pt x="563" y="246"/>
                    <a:pt x="564" y="245"/>
                  </a:cubicBezTo>
                  <a:cubicBezTo>
                    <a:pt x="564" y="244"/>
                    <a:pt x="565" y="243"/>
                    <a:pt x="565" y="243"/>
                  </a:cubicBezTo>
                  <a:cubicBezTo>
                    <a:pt x="566" y="242"/>
                    <a:pt x="565" y="241"/>
                    <a:pt x="566" y="240"/>
                  </a:cubicBezTo>
                  <a:cubicBezTo>
                    <a:pt x="566" y="239"/>
                    <a:pt x="566" y="239"/>
                    <a:pt x="566" y="239"/>
                  </a:cubicBezTo>
                  <a:cubicBezTo>
                    <a:pt x="567" y="239"/>
                    <a:pt x="567" y="238"/>
                    <a:pt x="567" y="238"/>
                  </a:cubicBezTo>
                  <a:cubicBezTo>
                    <a:pt x="567" y="237"/>
                    <a:pt x="567" y="237"/>
                    <a:pt x="567" y="237"/>
                  </a:cubicBezTo>
                  <a:close/>
                  <a:moveTo>
                    <a:pt x="450" y="198"/>
                  </a:moveTo>
                  <a:cubicBezTo>
                    <a:pt x="451" y="198"/>
                    <a:pt x="453" y="197"/>
                    <a:pt x="454" y="196"/>
                  </a:cubicBezTo>
                  <a:cubicBezTo>
                    <a:pt x="454" y="195"/>
                    <a:pt x="454" y="194"/>
                    <a:pt x="455" y="193"/>
                  </a:cubicBezTo>
                  <a:cubicBezTo>
                    <a:pt x="455" y="192"/>
                    <a:pt x="456" y="192"/>
                    <a:pt x="456" y="192"/>
                  </a:cubicBezTo>
                  <a:cubicBezTo>
                    <a:pt x="457" y="191"/>
                    <a:pt x="457" y="191"/>
                    <a:pt x="456" y="190"/>
                  </a:cubicBezTo>
                  <a:cubicBezTo>
                    <a:pt x="456" y="189"/>
                    <a:pt x="456" y="189"/>
                    <a:pt x="456" y="188"/>
                  </a:cubicBezTo>
                  <a:cubicBezTo>
                    <a:pt x="456" y="185"/>
                    <a:pt x="457" y="184"/>
                    <a:pt x="459" y="181"/>
                  </a:cubicBezTo>
                  <a:cubicBezTo>
                    <a:pt x="459" y="181"/>
                    <a:pt x="460" y="179"/>
                    <a:pt x="461" y="178"/>
                  </a:cubicBezTo>
                  <a:cubicBezTo>
                    <a:pt x="462" y="178"/>
                    <a:pt x="463" y="177"/>
                    <a:pt x="464" y="176"/>
                  </a:cubicBezTo>
                  <a:cubicBezTo>
                    <a:pt x="468" y="173"/>
                    <a:pt x="468" y="167"/>
                    <a:pt x="469" y="163"/>
                  </a:cubicBezTo>
                  <a:cubicBezTo>
                    <a:pt x="469" y="161"/>
                    <a:pt x="470" y="160"/>
                    <a:pt x="470" y="158"/>
                  </a:cubicBezTo>
                  <a:cubicBezTo>
                    <a:pt x="471" y="158"/>
                    <a:pt x="471" y="157"/>
                    <a:pt x="470" y="156"/>
                  </a:cubicBezTo>
                  <a:cubicBezTo>
                    <a:pt x="470" y="156"/>
                    <a:pt x="469" y="156"/>
                    <a:pt x="469" y="155"/>
                  </a:cubicBezTo>
                  <a:cubicBezTo>
                    <a:pt x="468" y="155"/>
                    <a:pt x="468" y="154"/>
                    <a:pt x="468" y="155"/>
                  </a:cubicBezTo>
                  <a:cubicBezTo>
                    <a:pt x="467" y="155"/>
                    <a:pt x="467" y="156"/>
                    <a:pt x="466" y="157"/>
                  </a:cubicBezTo>
                  <a:cubicBezTo>
                    <a:pt x="466" y="158"/>
                    <a:pt x="465" y="160"/>
                    <a:pt x="465" y="161"/>
                  </a:cubicBezTo>
                  <a:cubicBezTo>
                    <a:pt x="463" y="164"/>
                    <a:pt x="462" y="168"/>
                    <a:pt x="462" y="171"/>
                  </a:cubicBezTo>
                  <a:cubicBezTo>
                    <a:pt x="462" y="173"/>
                    <a:pt x="461" y="174"/>
                    <a:pt x="460" y="175"/>
                  </a:cubicBezTo>
                  <a:cubicBezTo>
                    <a:pt x="459" y="176"/>
                    <a:pt x="458" y="177"/>
                    <a:pt x="457" y="178"/>
                  </a:cubicBezTo>
                  <a:cubicBezTo>
                    <a:pt x="455" y="180"/>
                    <a:pt x="456" y="182"/>
                    <a:pt x="455" y="185"/>
                  </a:cubicBezTo>
                  <a:cubicBezTo>
                    <a:pt x="455" y="186"/>
                    <a:pt x="454" y="186"/>
                    <a:pt x="454" y="187"/>
                  </a:cubicBezTo>
                  <a:cubicBezTo>
                    <a:pt x="453" y="188"/>
                    <a:pt x="453" y="189"/>
                    <a:pt x="453" y="190"/>
                  </a:cubicBezTo>
                  <a:cubicBezTo>
                    <a:pt x="452" y="191"/>
                    <a:pt x="452" y="193"/>
                    <a:pt x="452" y="194"/>
                  </a:cubicBezTo>
                  <a:cubicBezTo>
                    <a:pt x="451" y="195"/>
                    <a:pt x="451" y="196"/>
                    <a:pt x="451" y="196"/>
                  </a:cubicBezTo>
                  <a:cubicBezTo>
                    <a:pt x="450" y="198"/>
                    <a:pt x="450" y="198"/>
                    <a:pt x="450" y="198"/>
                  </a:cubicBezTo>
                  <a:close/>
                  <a:moveTo>
                    <a:pt x="448" y="187"/>
                  </a:moveTo>
                  <a:cubicBezTo>
                    <a:pt x="447" y="186"/>
                    <a:pt x="446" y="186"/>
                    <a:pt x="446" y="185"/>
                  </a:cubicBezTo>
                  <a:cubicBezTo>
                    <a:pt x="446" y="184"/>
                    <a:pt x="446" y="183"/>
                    <a:pt x="446" y="183"/>
                  </a:cubicBezTo>
                  <a:cubicBezTo>
                    <a:pt x="445" y="183"/>
                    <a:pt x="445" y="183"/>
                    <a:pt x="445" y="183"/>
                  </a:cubicBezTo>
                  <a:cubicBezTo>
                    <a:pt x="445" y="182"/>
                    <a:pt x="445" y="182"/>
                    <a:pt x="445" y="182"/>
                  </a:cubicBezTo>
                  <a:cubicBezTo>
                    <a:pt x="445" y="182"/>
                    <a:pt x="445" y="182"/>
                    <a:pt x="445" y="182"/>
                  </a:cubicBezTo>
                  <a:cubicBezTo>
                    <a:pt x="444" y="182"/>
                    <a:pt x="444" y="181"/>
                    <a:pt x="444" y="181"/>
                  </a:cubicBezTo>
                  <a:cubicBezTo>
                    <a:pt x="444" y="180"/>
                    <a:pt x="443" y="179"/>
                    <a:pt x="444" y="178"/>
                  </a:cubicBezTo>
                  <a:cubicBezTo>
                    <a:pt x="445" y="178"/>
                    <a:pt x="446" y="179"/>
                    <a:pt x="446" y="180"/>
                  </a:cubicBezTo>
                  <a:cubicBezTo>
                    <a:pt x="446" y="180"/>
                    <a:pt x="447" y="180"/>
                    <a:pt x="447" y="180"/>
                  </a:cubicBezTo>
                  <a:cubicBezTo>
                    <a:pt x="448" y="179"/>
                    <a:pt x="447" y="177"/>
                    <a:pt x="447" y="176"/>
                  </a:cubicBezTo>
                  <a:cubicBezTo>
                    <a:pt x="447" y="175"/>
                    <a:pt x="448" y="174"/>
                    <a:pt x="448" y="172"/>
                  </a:cubicBezTo>
                  <a:cubicBezTo>
                    <a:pt x="448" y="172"/>
                    <a:pt x="448" y="171"/>
                    <a:pt x="448" y="171"/>
                  </a:cubicBezTo>
                  <a:cubicBezTo>
                    <a:pt x="447" y="169"/>
                    <a:pt x="446" y="172"/>
                    <a:pt x="445" y="172"/>
                  </a:cubicBezTo>
                  <a:cubicBezTo>
                    <a:pt x="444" y="174"/>
                    <a:pt x="443" y="177"/>
                    <a:pt x="441" y="177"/>
                  </a:cubicBezTo>
                  <a:cubicBezTo>
                    <a:pt x="441" y="177"/>
                    <a:pt x="442" y="176"/>
                    <a:pt x="441" y="176"/>
                  </a:cubicBezTo>
                  <a:cubicBezTo>
                    <a:pt x="441" y="175"/>
                    <a:pt x="440" y="176"/>
                    <a:pt x="440" y="176"/>
                  </a:cubicBezTo>
                  <a:cubicBezTo>
                    <a:pt x="439" y="176"/>
                    <a:pt x="439" y="176"/>
                    <a:pt x="438" y="176"/>
                  </a:cubicBezTo>
                  <a:cubicBezTo>
                    <a:pt x="438" y="176"/>
                    <a:pt x="437" y="175"/>
                    <a:pt x="437" y="175"/>
                  </a:cubicBezTo>
                  <a:cubicBezTo>
                    <a:pt x="437" y="176"/>
                    <a:pt x="437" y="176"/>
                    <a:pt x="437" y="177"/>
                  </a:cubicBezTo>
                  <a:cubicBezTo>
                    <a:pt x="437" y="178"/>
                    <a:pt x="437" y="178"/>
                    <a:pt x="438" y="179"/>
                  </a:cubicBezTo>
                  <a:cubicBezTo>
                    <a:pt x="439" y="180"/>
                    <a:pt x="438" y="181"/>
                    <a:pt x="439" y="181"/>
                  </a:cubicBezTo>
                  <a:cubicBezTo>
                    <a:pt x="439" y="182"/>
                    <a:pt x="440" y="182"/>
                    <a:pt x="440" y="182"/>
                  </a:cubicBezTo>
                  <a:cubicBezTo>
                    <a:pt x="440" y="183"/>
                    <a:pt x="441" y="183"/>
                    <a:pt x="441" y="184"/>
                  </a:cubicBezTo>
                  <a:cubicBezTo>
                    <a:pt x="442" y="185"/>
                    <a:pt x="442" y="185"/>
                    <a:pt x="442" y="186"/>
                  </a:cubicBezTo>
                  <a:cubicBezTo>
                    <a:pt x="442" y="187"/>
                    <a:pt x="442" y="189"/>
                    <a:pt x="441" y="189"/>
                  </a:cubicBezTo>
                  <a:cubicBezTo>
                    <a:pt x="441" y="188"/>
                    <a:pt x="441" y="185"/>
                    <a:pt x="440" y="185"/>
                  </a:cubicBezTo>
                  <a:cubicBezTo>
                    <a:pt x="440" y="185"/>
                    <a:pt x="440" y="186"/>
                    <a:pt x="440" y="187"/>
                  </a:cubicBezTo>
                  <a:cubicBezTo>
                    <a:pt x="440" y="188"/>
                    <a:pt x="440" y="188"/>
                    <a:pt x="440" y="189"/>
                  </a:cubicBezTo>
                  <a:cubicBezTo>
                    <a:pt x="439" y="189"/>
                    <a:pt x="439" y="189"/>
                    <a:pt x="439" y="190"/>
                  </a:cubicBezTo>
                  <a:cubicBezTo>
                    <a:pt x="439" y="191"/>
                    <a:pt x="439" y="192"/>
                    <a:pt x="439" y="193"/>
                  </a:cubicBezTo>
                  <a:cubicBezTo>
                    <a:pt x="439" y="194"/>
                    <a:pt x="440" y="193"/>
                    <a:pt x="441" y="194"/>
                  </a:cubicBezTo>
                  <a:cubicBezTo>
                    <a:pt x="441" y="195"/>
                    <a:pt x="441" y="196"/>
                    <a:pt x="441" y="195"/>
                  </a:cubicBezTo>
                  <a:cubicBezTo>
                    <a:pt x="441" y="194"/>
                    <a:pt x="441" y="194"/>
                    <a:pt x="441" y="194"/>
                  </a:cubicBezTo>
                  <a:cubicBezTo>
                    <a:pt x="441" y="194"/>
                    <a:pt x="441" y="192"/>
                    <a:pt x="442" y="192"/>
                  </a:cubicBezTo>
                  <a:cubicBezTo>
                    <a:pt x="443" y="192"/>
                    <a:pt x="443" y="194"/>
                    <a:pt x="443" y="194"/>
                  </a:cubicBezTo>
                  <a:cubicBezTo>
                    <a:pt x="444" y="196"/>
                    <a:pt x="444" y="196"/>
                    <a:pt x="445" y="196"/>
                  </a:cubicBezTo>
                  <a:cubicBezTo>
                    <a:pt x="446" y="195"/>
                    <a:pt x="446" y="195"/>
                    <a:pt x="446" y="194"/>
                  </a:cubicBezTo>
                  <a:cubicBezTo>
                    <a:pt x="446" y="193"/>
                    <a:pt x="447" y="193"/>
                    <a:pt x="447" y="192"/>
                  </a:cubicBezTo>
                  <a:cubicBezTo>
                    <a:pt x="448" y="190"/>
                    <a:pt x="448" y="188"/>
                    <a:pt x="448" y="187"/>
                  </a:cubicBezTo>
                  <a:close/>
                  <a:moveTo>
                    <a:pt x="351" y="322"/>
                  </a:moveTo>
                  <a:cubicBezTo>
                    <a:pt x="352" y="322"/>
                    <a:pt x="353" y="319"/>
                    <a:pt x="354" y="319"/>
                  </a:cubicBezTo>
                  <a:cubicBezTo>
                    <a:pt x="356" y="319"/>
                    <a:pt x="354" y="324"/>
                    <a:pt x="354" y="326"/>
                  </a:cubicBezTo>
                  <a:cubicBezTo>
                    <a:pt x="357" y="325"/>
                    <a:pt x="356" y="323"/>
                    <a:pt x="357" y="321"/>
                  </a:cubicBezTo>
                  <a:cubicBezTo>
                    <a:pt x="357" y="319"/>
                    <a:pt x="358" y="317"/>
                    <a:pt x="359" y="316"/>
                  </a:cubicBezTo>
                  <a:cubicBezTo>
                    <a:pt x="359" y="314"/>
                    <a:pt x="361" y="313"/>
                    <a:pt x="363" y="312"/>
                  </a:cubicBezTo>
                  <a:cubicBezTo>
                    <a:pt x="365" y="311"/>
                    <a:pt x="365" y="308"/>
                    <a:pt x="367" y="306"/>
                  </a:cubicBezTo>
                  <a:cubicBezTo>
                    <a:pt x="368" y="305"/>
                    <a:pt x="370" y="304"/>
                    <a:pt x="372" y="303"/>
                  </a:cubicBezTo>
                  <a:cubicBezTo>
                    <a:pt x="373" y="302"/>
                    <a:pt x="374" y="301"/>
                    <a:pt x="374" y="299"/>
                  </a:cubicBezTo>
                  <a:cubicBezTo>
                    <a:pt x="375" y="298"/>
                    <a:pt x="376" y="297"/>
                    <a:pt x="377" y="295"/>
                  </a:cubicBezTo>
                  <a:cubicBezTo>
                    <a:pt x="377" y="294"/>
                    <a:pt x="377" y="294"/>
                    <a:pt x="377" y="293"/>
                  </a:cubicBezTo>
                  <a:cubicBezTo>
                    <a:pt x="377" y="292"/>
                    <a:pt x="378" y="291"/>
                    <a:pt x="378" y="290"/>
                  </a:cubicBezTo>
                  <a:cubicBezTo>
                    <a:pt x="379" y="288"/>
                    <a:pt x="377" y="288"/>
                    <a:pt x="377" y="286"/>
                  </a:cubicBezTo>
                  <a:cubicBezTo>
                    <a:pt x="378" y="285"/>
                    <a:pt x="378" y="285"/>
                    <a:pt x="378" y="284"/>
                  </a:cubicBezTo>
                  <a:cubicBezTo>
                    <a:pt x="378" y="283"/>
                    <a:pt x="378" y="283"/>
                    <a:pt x="378" y="282"/>
                  </a:cubicBezTo>
                  <a:cubicBezTo>
                    <a:pt x="377" y="280"/>
                    <a:pt x="377" y="280"/>
                    <a:pt x="375" y="279"/>
                  </a:cubicBezTo>
                  <a:cubicBezTo>
                    <a:pt x="376" y="277"/>
                    <a:pt x="377" y="276"/>
                    <a:pt x="378" y="275"/>
                  </a:cubicBezTo>
                  <a:cubicBezTo>
                    <a:pt x="379" y="275"/>
                    <a:pt x="381" y="275"/>
                    <a:pt x="381" y="274"/>
                  </a:cubicBezTo>
                  <a:cubicBezTo>
                    <a:pt x="382" y="274"/>
                    <a:pt x="381" y="273"/>
                    <a:pt x="382" y="272"/>
                  </a:cubicBezTo>
                  <a:cubicBezTo>
                    <a:pt x="382" y="271"/>
                    <a:pt x="386" y="271"/>
                    <a:pt x="387" y="271"/>
                  </a:cubicBezTo>
                  <a:cubicBezTo>
                    <a:pt x="389" y="271"/>
                    <a:pt x="391" y="272"/>
                    <a:pt x="393" y="274"/>
                  </a:cubicBezTo>
                  <a:cubicBezTo>
                    <a:pt x="394" y="275"/>
                    <a:pt x="396" y="276"/>
                    <a:pt x="396" y="274"/>
                  </a:cubicBezTo>
                  <a:cubicBezTo>
                    <a:pt x="396" y="272"/>
                    <a:pt x="395" y="271"/>
                    <a:pt x="394" y="270"/>
                  </a:cubicBezTo>
                  <a:cubicBezTo>
                    <a:pt x="394" y="269"/>
                    <a:pt x="394" y="269"/>
                    <a:pt x="393" y="268"/>
                  </a:cubicBezTo>
                  <a:cubicBezTo>
                    <a:pt x="392" y="268"/>
                    <a:pt x="392" y="267"/>
                    <a:pt x="391" y="267"/>
                  </a:cubicBezTo>
                  <a:cubicBezTo>
                    <a:pt x="389" y="267"/>
                    <a:pt x="386" y="268"/>
                    <a:pt x="384" y="268"/>
                  </a:cubicBezTo>
                  <a:cubicBezTo>
                    <a:pt x="382" y="269"/>
                    <a:pt x="380" y="270"/>
                    <a:pt x="379" y="270"/>
                  </a:cubicBezTo>
                  <a:cubicBezTo>
                    <a:pt x="376" y="271"/>
                    <a:pt x="375" y="270"/>
                    <a:pt x="377" y="268"/>
                  </a:cubicBezTo>
                  <a:cubicBezTo>
                    <a:pt x="375" y="268"/>
                    <a:pt x="371" y="269"/>
                    <a:pt x="370" y="271"/>
                  </a:cubicBezTo>
                  <a:cubicBezTo>
                    <a:pt x="368" y="272"/>
                    <a:pt x="370" y="273"/>
                    <a:pt x="369" y="274"/>
                  </a:cubicBezTo>
                  <a:cubicBezTo>
                    <a:pt x="368" y="275"/>
                    <a:pt x="367" y="275"/>
                    <a:pt x="366" y="275"/>
                  </a:cubicBezTo>
                  <a:cubicBezTo>
                    <a:pt x="365" y="276"/>
                    <a:pt x="366" y="276"/>
                    <a:pt x="365" y="277"/>
                  </a:cubicBezTo>
                  <a:cubicBezTo>
                    <a:pt x="365" y="278"/>
                    <a:pt x="363" y="280"/>
                    <a:pt x="365" y="281"/>
                  </a:cubicBezTo>
                  <a:cubicBezTo>
                    <a:pt x="363" y="283"/>
                    <a:pt x="361" y="281"/>
                    <a:pt x="360" y="284"/>
                  </a:cubicBezTo>
                  <a:cubicBezTo>
                    <a:pt x="359" y="286"/>
                    <a:pt x="359" y="288"/>
                    <a:pt x="356" y="288"/>
                  </a:cubicBezTo>
                  <a:cubicBezTo>
                    <a:pt x="356" y="287"/>
                    <a:pt x="356" y="287"/>
                    <a:pt x="356" y="287"/>
                  </a:cubicBezTo>
                  <a:cubicBezTo>
                    <a:pt x="354" y="288"/>
                    <a:pt x="354" y="290"/>
                    <a:pt x="353" y="292"/>
                  </a:cubicBezTo>
                  <a:cubicBezTo>
                    <a:pt x="351" y="293"/>
                    <a:pt x="350" y="295"/>
                    <a:pt x="349" y="296"/>
                  </a:cubicBezTo>
                  <a:cubicBezTo>
                    <a:pt x="348" y="298"/>
                    <a:pt x="348" y="300"/>
                    <a:pt x="349" y="301"/>
                  </a:cubicBezTo>
                  <a:cubicBezTo>
                    <a:pt x="349" y="303"/>
                    <a:pt x="351" y="303"/>
                    <a:pt x="350" y="305"/>
                  </a:cubicBezTo>
                  <a:cubicBezTo>
                    <a:pt x="350" y="305"/>
                    <a:pt x="349" y="305"/>
                    <a:pt x="348" y="304"/>
                  </a:cubicBezTo>
                  <a:cubicBezTo>
                    <a:pt x="348" y="301"/>
                    <a:pt x="341" y="305"/>
                    <a:pt x="345" y="307"/>
                  </a:cubicBezTo>
                  <a:cubicBezTo>
                    <a:pt x="346" y="308"/>
                    <a:pt x="345" y="308"/>
                    <a:pt x="345" y="309"/>
                  </a:cubicBezTo>
                  <a:cubicBezTo>
                    <a:pt x="345" y="310"/>
                    <a:pt x="345" y="311"/>
                    <a:pt x="345" y="311"/>
                  </a:cubicBezTo>
                  <a:cubicBezTo>
                    <a:pt x="345" y="312"/>
                    <a:pt x="343" y="311"/>
                    <a:pt x="342" y="312"/>
                  </a:cubicBezTo>
                  <a:cubicBezTo>
                    <a:pt x="342" y="313"/>
                    <a:pt x="343" y="315"/>
                    <a:pt x="343" y="315"/>
                  </a:cubicBezTo>
                  <a:cubicBezTo>
                    <a:pt x="343" y="316"/>
                    <a:pt x="344" y="317"/>
                    <a:pt x="344" y="318"/>
                  </a:cubicBezTo>
                  <a:cubicBezTo>
                    <a:pt x="345" y="319"/>
                    <a:pt x="344" y="320"/>
                    <a:pt x="344" y="321"/>
                  </a:cubicBezTo>
                  <a:cubicBezTo>
                    <a:pt x="346" y="322"/>
                    <a:pt x="349" y="323"/>
                    <a:pt x="351" y="322"/>
                  </a:cubicBezTo>
                  <a:close/>
                  <a:moveTo>
                    <a:pt x="323" y="344"/>
                  </a:moveTo>
                  <a:cubicBezTo>
                    <a:pt x="324" y="344"/>
                    <a:pt x="325" y="344"/>
                    <a:pt x="325" y="343"/>
                  </a:cubicBezTo>
                  <a:cubicBezTo>
                    <a:pt x="326" y="343"/>
                    <a:pt x="326" y="343"/>
                    <a:pt x="326" y="342"/>
                  </a:cubicBezTo>
                  <a:cubicBezTo>
                    <a:pt x="327" y="342"/>
                    <a:pt x="327" y="342"/>
                    <a:pt x="328" y="342"/>
                  </a:cubicBezTo>
                  <a:cubicBezTo>
                    <a:pt x="329" y="341"/>
                    <a:pt x="330" y="340"/>
                    <a:pt x="331" y="339"/>
                  </a:cubicBezTo>
                  <a:cubicBezTo>
                    <a:pt x="331" y="338"/>
                    <a:pt x="331" y="337"/>
                    <a:pt x="332" y="337"/>
                  </a:cubicBezTo>
                  <a:cubicBezTo>
                    <a:pt x="334" y="336"/>
                    <a:pt x="335" y="337"/>
                    <a:pt x="337" y="337"/>
                  </a:cubicBezTo>
                  <a:cubicBezTo>
                    <a:pt x="338" y="336"/>
                    <a:pt x="339" y="336"/>
                    <a:pt x="340" y="335"/>
                  </a:cubicBezTo>
                  <a:cubicBezTo>
                    <a:pt x="341" y="334"/>
                    <a:pt x="343" y="334"/>
                    <a:pt x="345" y="333"/>
                  </a:cubicBezTo>
                  <a:cubicBezTo>
                    <a:pt x="346" y="332"/>
                    <a:pt x="347" y="331"/>
                    <a:pt x="347" y="330"/>
                  </a:cubicBezTo>
                  <a:cubicBezTo>
                    <a:pt x="347" y="329"/>
                    <a:pt x="345" y="329"/>
                    <a:pt x="344" y="330"/>
                  </a:cubicBezTo>
                  <a:cubicBezTo>
                    <a:pt x="343" y="331"/>
                    <a:pt x="343" y="332"/>
                    <a:pt x="341" y="332"/>
                  </a:cubicBezTo>
                  <a:cubicBezTo>
                    <a:pt x="341" y="331"/>
                    <a:pt x="342" y="331"/>
                    <a:pt x="342" y="330"/>
                  </a:cubicBezTo>
                  <a:cubicBezTo>
                    <a:pt x="341" y="329"/>
                    <a:pt x="341" y="329"/>
                    <a:pt x="340" y="329"/>
                  </a:cubicBezTo>
                  <a:cubicBezTo>
                    <a:pt x="340" y="328"/>
                    <a:pt x="338" y="328"/>
                    <a:pt x="337" y="328"/>
                  </a:cubicBezTo>
                  <a:cubicBezTo>
                    <a:pt x="336" y="329"/>
                    <a:pt x="337" y="330"/>
                    <a:pt x="335" y="330"/>
                  </a:cubicBezTo>
                  <a:cubicBezTo>
                    <a:pt x="334" y="330"/>
                    <a:pt x="333" y="330"/>
                    <a:pt x="332" y="331"/>
                  </a:cubicBezTo>
                  <a:cubicBezTo>
                    <a:pt x="332" y="331"/>
                    <a:pt x="332" y="332"/>
                    <a:pt x="332" y="333"/>
                  </a:cubicBezTo>
                  <a:cubicBezTo>
                    <a:pt x="332" y="334"/>
                    <a:pt x="333" y="335"/>
                    <a:pt x="332" y="335"/>
                  </a:cubicBezTo>
                  <a:cubicBezTo>
                    <a:pt x="331" y="336"/>
                    <a:pt x="330" y="336"/>
                    <a:pt x="329" y="336"/>
                  </a:cubicBezTo>
                  <a:cubicBezTo>
                    <a:pt x="327" y="337"/>
                    <a:pt x="327" y="338"/>
                    <a:pt x="325" y="339"/>
                  </a:cubicBezTo>
                  <a:cubicBezTo>
                    <a:pt x="325" y="340"/>
                    <a:pt x="324" y="341"/>
                    <a:pt x="324" y="341"/>
                  </a:cubicBezTo>
                  <a:cubicBezTo>
                    <a:pt x="323" y="342"/>
                    <a:pt x="323" y="342"/>
                    <a:pt x="322" y="343"/>
                  </a:cubicBezTo>
                  <a:cubicBezTo>
                    <a:pt x="322" y="343"/>
                    <a:pt x="322" y="344"/>
                    <a:pt x="323" y="344"/>
                  </a:cubicBezTo>
                  <a:close/>
                  <a:moveTo>
                    <a:pt x="336" y="291"/>
                  </a:moveTo>
                  <a:cubicBezTo>
                    <a:pt x="337" y="291"/>
                    <a:pt x="337" y="291"/>
                    <a:pt x="338" y="291"/>
                  </a:cubicBezTo>
                  <a:cubicBezTo>
                    <a:pt x="338" y="291"/>
                    <a:pt x="339" y="291"/>
                    <a:pt x="340" y="291"/>
                  </a:cubicBezTo>
                  <a:cubicBezTo>
                    <a:pt x="340" y="291"/>
                    <a:pt x="339" y="292"/>
                    <a:pt x="340" y="293"/>
                  </a:cubicBezTo>
                  <a:cubicBezTo>
                    <a:pt x="340" y="294"/>
                    <a:pt x="342" y="291"/>
                    <a:pt x="343" y="290"/>
                  </a:cubicBezTo>
                  <a:cubicBezTo>
                    <a:pt x="344" y="289"/>
                    <a:pt x="347" y="288"/>
                    <a:pt x="346" y="286"/>
                  </a:cubicBezTo>
                  <a:cubicBezTo>
                    <a:pt x="345" y="286"/>
                    <a:pt x="344" y="286"/>
                    <a:pt x="343" y="286"/>
                  </a:cubicBezTo>
                  <a:cubicBezTo>
                    <a:pt x="342" y="286"/>
                    <a:pt x="341" y="286"/>
                    <a:pt x="340" y="286"/>
                  </a:cubicBezTo>
                  <a:cubicBezTo>
                    <a:pt x="340" y="287"/>
                    <a:pt x="339" y="287"/>
                    <a:pt x="338" y="287"/>
                  </a:cubicBezTo>
                  <a:cubicBezTo>
                    <a:pt x="337" y="287"/>
                    <a:pt x="336" y="287"/>
                    <a:pt x="336" y="288"/>
                  </a:cubicBezTo>
                  <a:cubicBezTo>
                    <a:pt x="335" y="289"/>
                    <a:pt x="336" y="291"/>
                    <a:pt x="336" y="291"/>
                  </a:cubicBezTo>
                  <a:close/>
                  <a:moveTo>
                    <a:pt x="330" y="292"/>
                  </a:moveTo>
                  <a:cubicBezTo>
                    <a:pt x="329" y="292"/>
                    <a:pt x="328" y="292"/>
                    <a:pt x="328" y="293"/>
                  </a:cubicBezTo>
                  <a:cubicBezTo>
                    <a:pt x="327" y="293"/>
                    <a:pt x="327" y="294"/>
                    <a:pt x="327" y="295"/>
                  </a:cubicBezTo>
                  <a:cubicBezTo>
                    <a:pt x="327" y="296"/>
                    <a:pt x="328" y="296"/>
                    <a:pt x="329" y="296"/>
                  </a:cubicBezTo>
                  <a:cubicBezTo>
                    <a:pt x="330" y="296"/>
                    <a:pt x="331" y="296"/>
                    <a:pt x="332" y="296"/>
                  </a:cubicBezTo>
                  <a:cubicBezTo>
                    <a:pt x="332" y="296"/>
                    <a:pt x="333" y="295"/>
                    <a:pt x="333" y="295"/>
                  </a:cubicBezTo>
                  <a:cubicBezTo>
                    <a:pt x="334" y="295"/>
                    <a:pt x="334" y="295"/>
                    <a:pt x="334" y="294"/>
                  </a:cubicBezTo>
                  <a:cubicBezTo>
                    <a:pt x="335" y="294"/>
                    <a:pt x="336" y="294"/>
                    <a:pt x="335" y="293"/>
                  </a:cubicBezTo>
                  <a:cubicBezTo>
                    <a:pt x="335" y="293"/>
                    <a:pt x="334" y="293"/>
                    <a:pt x="334" y="293"/>
                  </a:cubicBezTo>
                  <a:cubicBezTo>
                    <a:pt x="333" y="293"/>
                    <a:pt x="333" y="292"/>
                    <a:pt x="332" y="292"/>
                  </a:cubicBezTo>
                  <a:cubicBezTo>
                    <a:pt x="331" y="293"/>
                    <a:pt x="330" y="293"/>
                    <a:pt x="330" y="292"/>
                  </a:cubicBezTo>
                  <a:close/>
                  <a:moveTo>
                    <a:pt x="251" y="312"/>
                  </a:moveTo>
                  <a:cubicBezTo>
                    <a:pt x="251" y="313"/>
                    <a:pt x="251" y="313"/>
                    <a:pt x="251" y="313"/>
                  </a:cubicBezTo>
                  <a:cubicBezTo>
                    <a:pt x="251" y="314"/>
                    <a:pt x="251" y="315"/>
                    <a:pt x="251" y="316"/>
                  </a:cubicBezTo>
                  <a:cubicBezTo>
                    <a:pt x="251" y="318"/>
                    <a:pt x="252" y="318"/>
                    <a:pt x="253" y="319"/>
                  </a:cubicBezTo>
                  <a:cubicBezTo>
                    <a:pt x="254" y="320"/>
                    <a:pt x="255" y="321"/>
                    <a:pt x="256" y="322"/>
                  </a:cubicBezTo>
                  <a:cubicBezTo>
                    <a:pt x="257" y="323"/>
                    <a:pt x="257" y="324"/>
                    <a:pt x="258" y="325"/>
                  </a:cubicBezTo>
                  <a:cubicBezTo>
                    <a:pt x="260" y="326"/>
                    <a:pt x="261" y="326"/>
                    <a:pt x="262" y="324"/>
                  </a:cubicBezTo>
                  <a:cubicBezTo>
                    <a:pt x="263" y="322"/>
                    <a:pt x="264" y="321"/>
                    <a:pt x="266" y="320"/>
                  </a:cubicBezTo>
                  <a:cubicBezTo>
                    <a:pt x="268" y="318"/>
                    <a:pt x="267" y="317"/>
                    <a:pt x="266" y="315"/>
                  </a:cubicBezTo>
                  <a:cubicBezTo>
                    <a:pt x="266" y="314"/>
                    <a:pt x="266" y="312"/>
                    <a:pt x="265" y="311"/>
                  </a:cubicBezTo>
                  <a:cubicBezTo>
                    <a:pt x="264" y="310"/>
                    <a:pt x="262" y="311"/>
                    <a:pt x="260" y="311"/>
                  </a:cubicBezTo>
                  <a:cubicBezTo>
                    <a:pt x="259" y="310"/>
                    <a:pt x="258" y="310"/>
                    <a:pt x="257" y="310"/>
                  </a:cubicBezTo>
                  <a:cubicBezTo>
                    <a:pt x="256" y="309"/>
                    <a:pt x="254" y="309"/>
                    <a:pt x="253" y="310"/>
                  </a:cubicBezTo>
                  <a:cubicBezTo>
                    <a:pt x="252" y="310"/>
                    <a:pt x="252" y="310"/>
                    <a:pt x="251" y="310"/>
                  </a:cubicBezTo>
                  <a:cubicBezTo>
                    <a:pt x="251" y="311"/>
                    <a:pt x="251" y="312"/>
                    <a:pt x="251" y="312"/>
                  </a:cubicBezTo>
                  <a:close/>
                  <a:moveTo>
                    <a:pt x="2" y="340"/>
                  </a:moveTo>
                  <a:cubicBezTo>
                    <a:pt x="2" y="340"/>
                    <a:pt x="3" y="340"/>
                    <a:pt x="3" y="340"/>
                  </a:cubicBezTo>
                  <a:cubicBezTo>
                    <a:pt x="4" y="341"/>
                    <a:pt x="4" y="341"/>
                    <a:pt x="4" y="340"/>
                  </a:cubicBezTo>
                  <a:cubicBezTo>
                    <a:pt x="5" y="340"/>
                    <a:pt x="5" y="339"/>
                    <a:pt x="6" y="338"/>
                  </a:cubicBezTo>
                  <a:cubicBezTo>
                    <a:pt x="6" y="337"/>
                    <a:pt x="7" y="335"/>
                    <a:pt x="7" y="333"/>
                  </a:cubicBezTo>
                  <a:cubicBezTo>
                    <a:pt x="7" y="333"/>
                    <a:pt x="8" y="331"/>
                    <a:pt x="7" y="330"/>
                  </a:cubicBezTo>
                  <a:cubicBezTo>
                    <a:pt x="7" y="330"/>
                    <a:pt x="6" y="330"/>
                    <a:pt x="6" y="331"/>
                  </a:cubicBezTo>
                  <a:cubicBezTo>
                    <a:pt x="5" y="332"/>
                    <a:pt x="4" y="332"/>
                    <a:pt x="4" y="333"/>
                  </a:cubicBezTo>
                  <a:cubicBezTo>
                    <a:pt x="3" y="334"/>
                    <a:pt x="2" y="335"/>
                    <a:pt x="1" y="336"/>
                  </a:cubicBezTo>
                  <a:cubicBezTo>
                    <a:pt x="1" y="336"/>
                    <a:pt x="0" y="336"/>
                    <a:pt x="0" y="337"/>
                  </a:cubicBezTo>
                  <a:cubicBezTo>
                    <a:pt x="0" y="337"/>
                    <a:pt x="0" y="338"/>
                    <a:pt x="0" y="339"/>
                  </a:cubicBezTo>
                  <a:cubicBezTo>
                    <a:pt x="0" y="339"/>
                    <a:pt x="1" y="339"/>
                    <a:pt x="2" y="340"/>
                  </a:cubicBezTo>
                  <a:close/>
                  <a:moveTo>
                    <a:pt x="18" y="322"/>
                  </a:moveTo>
                  <a:cubicBezTo>
                    <a:pt x="19" y="322"/>
                    <a:pt x="20" y="321"/>
                    <a:pt x="20" y="321"/>
                  </a:cubicBezTo>
                  <a:cubicBezTo>
                    <a:pt x="21" y="320"/>
                    <a:pt x="22" y="320"/>
                    <a:pt x="23" y="319"/>
                  </a:cubicBezTo>
                  <a:cubicBezTo>
                    <a:pt x="24" y="318"/>
                    <a:pt x="24" y="318"/>
                    <a:pt x="25" y="318"/>
                  </a:cubicBezTo>
                  <a:cubicBezTo>
                    <a:pt x="26" y="318"/>
                    <a:pt x="26" y="317"/>
                    <a:pt x="27" y="316"/>
                  </a:cubicBezTo>
                  <a:cubicBezTo>
                    <a:pt x="27" y="316"/>
                    <a:pt x="28" y="316"/>
                    <a:pt x="29" y="316"/>
                  </a:cubicBezTo>
                  <a:cubicBezTo>
                    <a:pt x="30" y="316"/>
                    <a:pt x="31" y="315"/>
                    <a:pt x="32" y="315"/>
                  </a:cubicBezTo>
                  <a:cubicBezTo>
                    <a:pt x="33" y="315"/>
                    <a:pt x="35" y="315"/>
                    <a:pt x="37" y="315"/>
                  </a:cubicBezTo>
                  <a:cubicBezTo>
                    <a:pt x="38" y="315"/>
                    <a:pt x="39" y="315"/>
                    <a:pt x="40" y="316"/>
                  </a:cubicBezTo>
                  <a:cubicBezTo>
                    <a:pt x="40" y="317"/>
                    <a:pt x="40" y="317"/>
                    <a:pt x="40" y="317"/>
                  </a:cubicBezTo>
                  <a:cubicBezTo>
                    <a:pt x="41" y="317"/>
                    <a:pt x="42" y="317"/>
                    <a:pt x="42" y="317"/>
                  </a:cubicBezTo>
                  <a:cubicBezTo>
                    <a:pt x="44" y="317"/>
                    <a:pt x="46" y="317"/>
                    <a:pt x="48" y="317"/>
                  </a:cubicBezTo>
                  <a:cubicBezTo>
                    <a:pt x="50" y="317"/>
                    <a:pt x="51" y="316"/>
                    <a:pt x="53" y="317"/>
                  </a:cubicBezTo>
                  <a:cubicBezTo>
                    <a:pt x="54" y="317"/>
                    <a:pt x="54" y="317"/>
                    <a:pt x="55" y="317"/>
                  </a:cubicBezTo>
                  <a:cubicBezTo>
                    <a:pt x="56" y="318"/>
                    <a:pt x="57" y="318"/>
                    <a:pt x="57" y="318"/>
                  </a:cubicBezTo>
                  <a:cubicBezTo>
                    <a:pt x="59" y="319"/>
                    <a:pt x="60" y="319"/>
                    <a:pt x="60" y="318"/>
                  </a:cubicBezTo>
                  <a:cubicBezTo>
                    <a:pt x="61" y="315"/>
                    <a:pt x="63" y="312"/>
                    <a:pt x="65" y="311"/>
                  </a:cubicBezTo>
                  <a:cubicBezTo>
                    <a:pt x="67" y="309"/>
                    <a:pt x="70" y="307"/>
                    <a:pt x="72" y="307"/>
                  </a:cubicBezTo>
                  <a:cubicBezTo>
                    <a:pt x="74" y="306"/>
                    <a:pt x="76" y="305"/>
                    <a:pt x="78" y="306"/>
                  </a:cubicBezTo>
                  <a:cubicBezTo>
                    <a:pt x="79" y="306"/>
                    <a:pt x="82" y="306"/>
                    <a:pt x="81" y="305"/>
                  </a:cubicBezTo>
                  <a:cubicBezTo>
                    <a:pt x="81" y="304"/>
                    <a:pt x="81" y="302"/>
                    <a:pt x="80" y="301"/>
                  </a:cubicBezTo>
                  <a:cubicBezTo>
                    <a:pt x="80" y="301"/>
                    <a:pt x="80" y="300"/>
                    <a:pt x="79" y="300"/>
                  </a:cubicBezTo>
                  <a:cubicBezTo>
                    <a:pt x="78" y="300"/>
                    <a:pt x="77" y="300"/>
                    <a:pt x="76" y="300"/>
                  </a:cubicBezTo>
                  <a:cubicBezTo>
                    <a:pt x="75" y="301"/>
                    <a:pt x="74" y="301"/>
                    <a:pt x="74" y="300"/>
                  </a:cubicBezTo>
                  <a:cubicBezTo>
                    <a:pt x="73" y="299"/>
                    <a:pt x="73" y="299"/>
                    <a:pt x="73" y="299"/>
                  </a:cubicBezTo>
                  <a:cubicBezTo>
                    <a:pt x="73" y="299"/>
                    <a:pt x="73" y="298"/>
                    <a:pt x="72" y="298"/>
                  </a:cubicBezTo>
                  <a:cubicBezTo>
                    <a:pt x="72" y="298"/>
                    <a:pt x="71" y="298"/>
                    <a:pt x="71" y="297"/>
                  </a:cubicBezTo>
                  <a:cubicBezTo>
                    <a:pt x="70" y="297"/>
                    <a:pt x="69" y="296"/>
                    <a:pt x="69" y="295"/>
                  </a:cubicBezTo>
                  <a:cubicBezTo>
                    <a:pt x="68" y="294"/>
                    <a:pt x="69" y="294"/>
                    <a:pt x="67" y="294"/>
                  </a:cubicBezTo>
                  <a:cubicBezTo>
                    <a:pt x="67" y="295"/>
                    <a:pt x="66" y="295"/>
                    <a:pt x="65" y="295"/>
                  </a:cubicBezTo>
                  <a:cubicBezTo>
                    <a:pt x="63" y="295"/>
                    <a:pt x="62" y="295"/>
                    <a:pt x="61" y="296"/>
                  </a:cubicBezTo>
                  <a:cubicBezTo>
                    <a:pt x="60" y="296"/>
                    <a:pt x="59" y="296"/>
                    <a:pt x="58" y="297"/>
                  </a:cubicBezTo>
                  <a:cubicBezTo>
                    <a:pt x="58" y="298"/>
                    <a:pt x="58" y="298"/>
                    <a:pt x="58" y="298"/>
                  </a:cubicBezTo>
                  <a:cubicBezTo>
                    <a:pt x="57" y="298"/>
                    <a:pt x="56" y="298"/>
                    <a:pt x="55" y="298"/>
                  </a:cubicBezTo>
                  <a:cubicBezTo>
                    <a:pt x="54" y="298"/>
                    <a:pt x="53" y="299"/>
                    <a:pt x="53" y="299"/>
                  </a:cubicBezTo>
                  <a:cubicBezTo>
                    <a:pt x="52" y="300"/>
                    <a:pt x="52" y="301"/>
                    <a:pt x="51" y="301"/>
                  </a:cubicBezTo>
                  <a:cubicBezTo>
                    <a:pt x="50" y="303"/>
                    <a:pt x="47" y="302"/>
                    <a:pt x="45" y="302"/>
                  </a:cubicBezTo>
                  <a:cubicBezTo>
                    <a:pt x="44" y="303"/>
                    <a:pt x="44" y="303"/>
                    <a:pt x="43" y="304"/>
                  </a:cubicBezTo>
                  <a:cubicBezTo>
                    <a:pt x="43" y="304"/>
                    <a:pt x="42" y="304"/>
                    <a:pt x="41" y="304"/>
                  </a:cubicBezTo>
                  <a:cubicBezTo>
                    <a:pt x="41" y="304"/>
                    <a:pt x="40" y="304"/>
                    <a:pt x="40" y="304"/>
                  </a:cubicBezTo>
                  <a:cubicBezTo>
                    <a:pt x="39" y="304"/>
                    <a:pt x="39" y="304"/>
                    <a:pt x="38" y="304"/>
                  </a:cubicBezTo>
                  <a:cubicBezTo>
                    <a:pt x="37" y="303"/>
                    <a:pt x="37" y="303"/>
                    <a:pt x="36" y="303"/>
                  </a:cubicBezTo>
                  <a:cubicBezTo>
                    <a:pt x="36" y="303"/>
                    <a:pt x="35" y="303"/>
                    <a:pt x="35" y="303"/>
                  </a:cubicBezTo>
                  <a:cubicBezTo>
                    <a:pt x="34" y="302"/>
                    <a:pt x="33" y="302"/>
                    <a:pt x="32" y="302"/>
                  </a:cubicBezTo>
                  <a:cubicBezTo>
                    <a:pt x="31" y="302"/>
                    <a:pt x="31" y="302"/>
                    <a:pt x="30" y="302"/>
                  </a:cubicBezTo>
                  <a:cubicBezTo>
                    <a:pt x="29" y="301"/>
                    <a:pt x="29" y="301"/>
                    <a:pt x="29" y="301"/>
                  </a:cubicBezTo>
                  <a:cubicBezTo>
                    <a:pt x="29" y="300"/>
                    <a:pt x="28" y="301"/>
                    <a:pt x="27" y="301"/>
                  </a:cubicBezTo>
                  <a:cubicBezTo>
                    <a:pt x="26" y="302"/>
                    <a:pt x="26" y="303"/>
                    <a:pt x="26" y="304"/>
                  </a:cubicBezTo>
                  <a:cubicBezTo>
                    <a:pt x="25" y="305"/>
                    <a:pt x="25" y="305"/>
                    <a:pt x="25" y="306"/>
                  </a:cubicBezTo>
                  <a:cubicBezTo>
                    <a:pt x="24" y="306"/>
                    <a:pt x="23" y="306"/>
                    <a:pt x="22" y="307"/>
                  </a:cubicBezTo>
                  <a:cubicBezTo>
                    <a:pt x="22" y="308"/>
                    <a:pt x="22" y="308"/>
                    <a:pt x="22" y="308"/>
                  </a:cubicBezTo>
                  <a:cubicBezTo>
                    <a:pt x="22" y="309"/>
                    <a:pt x="22" y="309"/>
                    <a:pt x="22" y="309"/>
                  </a:cubicBezTo>
                  <a:cubicBezTo>
                    <a:pt x="22" y="310"/>
                    <a:pt x="22" y="310"/>
                    <a:pt x="21" y="310"/>
                  </a:cubicBezTo>
                  <a:cubicBezTo>
                    <a:pt x="21" y="311"/>
                    <a:pt x="21" y="311"/>
                    <a:pt x="20" y="312"/>
                  </a:cubicBezTo>
                  <a:cubicBezTo>
                    <a:pt x="20" y="312"/>
                    <a:pt x="19" y="313"/>
                    <a:pt x="18" y="313"/>
                  </a:cubicBezTo>
                  <a:cubicBezTo>
                    <a:pt x="18" y="314"/>
                    <a:pt x="18" y="314"/>
                    <a:pt x="19" y="315"/>
                  </a:cubicBezTo>
                  <a:cubicBezTo>
                    <a:pt x="19" y="315"/>
                    <a:pt x="20" y="316"/>
                    <a:pt x="20" y="316"/>
                  </a:cubicBezTo>
                  <a:cubicBezTo>
                    <a:pt x="20" y="317"/>
                    <a:pt x="19" y="318"/>
                    <a:pt x="19" y="318"/>
                  </a:cubicBezTo>
                  <a:cubicBezTo>
                    <a:pt x="19" y="319"/>
                    <a:pt x="18" y="319"/>
                    <a:pt x="18" y="320"/>
                  </a:cubicBezTo>
                  <a:cubicBezTo>
                    <a:pt x="17" y="320"/>
                    <a:pt x="17" y="322"/>
                    <a:pt x="18" y="322"/>
                  </a:cubicBezTo>
                  <a:close/>
                  <a:moveTo>
                    <a:pt x="136" y="332"/>
                  </a:moveTo>
                  <a:cubicBezTo>
                    <a:pt x="135" y="332"/>
                    <a:pt x="135" y="331"/>
                    <a:pt x="134" y="331"/>
                  </a:cubicBezTo>
                  <a:cubicBezTo>
                    <a:pt x="134" y="331"/>
                    <a:pt x="133" y="332"/>
                    <a:pt x="133" y="332"/>
                  </a:cubicBezTo>
                  <a:cubicBezTo>
                    <a:pt x="132" y="332"/>
                    <a:pt x="132" y="333"/>
                    <a:pt x="131" y="333"/>
                  </a:cubicBezTo>
                  <a:cubicBezTo>
                    <a:pt x="131" y="334"/>
                    <a:pt x="130" y="334"/>
                    <a:pt x="130" y="335"/>
                  </a:cubicBezTo>
                  <a:cubicBezTo>
                    <a:pt x="130" y="335"/>
                    <a:pt x="130" y="336"/>
                    <a:pt x="131" y="336"/>
                  </a:cubicBezTo>
                  <a:cubicBezTo>
                    <a:pt x="132" y="337"/>
                    <a:pt x="133" y="337"/>
                    <a:pt x="134" y="336"/>
                  </a:cubicBezTo>
                  <a:cubicBezTo>
                    <a:pt x="135" y="336"/>
                    <a:pt x="139" y="336"/>
                    <a:pt x="138" y="334"/>
                  </a:cubicBezTo>
                  <a:cubicBezTo>
                    <a:pt x="138" y="333"/>
                    <a:pt x="137" y="332"/>
                    <a:pt x="136" y="332"/>
                  </a:cubicBezTo>
                  <a:close/>
                  <a:moveTo>
                    <a:pt x="161" y="331"/>
                  </a:moveTo>
                  <a:cubicBezTo>
                    <a:pt x="161" y="330"/>
                    <a:pt x="159" y="330"/>
                    <a:pt x="158" y="330"/>
                  </a:cubicBezTo>
                  <a:cubicBezTo>
                    <a:pt x="156" y="330"/>
                    <a:pt x="155" y="331"/>
                    <a:pt x="153" y="331"/>
                  </a:cubicBezTo>
                  <a:cubicBezTo>
                    <a:pt x="152" y="331"/>
                    <a:pt x="150" y="331"/>
                    <a:pt x="149" y="330"/>
                  </a:cubicBezTo>
                  <a:cubicBezTo>
                    <a:pt x="148" y="330"/>
                    <a:pt x="148" y="330"/>
                    <a:pt x="148" y="330"/>
                  </a:cubicBezTo>
                  <a:cubicBezTo>
                    <a:pt x="147" y="329"/>
                    <a:pt x="147" y="329"/>
                    <a:pt x="147" y="329"/>
                  </a:cubicBezTo>
                  <a:cubicBezTo>
                    <a:pt x="147" y="329"/>
                    <a:pt x="146" y="329"/>
                    <a:pt x="146" y="329"/>
                  </a:cubicBezTo>
                  <a:cubicBezTo>
                    <a:pt x="145" y="329"/>
                    <a:pt x="144" y="328"/>
                    <a:pt x="143" y="328"/>
                  </a:cubicBezTo>
                  <a:cubicBezTo>
                    <a:pt x="142" y="328"/>
                    <a:pt x="141" y="328"/>
                    <a:pt x="140" y="328"/>
                  </a:cubicBezTo>
                  <a:cubicBezTo>
                    <a:pt x="140" y="328"/>
                    <a:pt x="140" y="328"/>
                    <a:pt x="140" y="329"/>
                  </a:cubicBezTo>
                  <a:cubicBezTo>
                    <a:pt x="140" y="330"/>
                    <a:pt x="140" y="331"/>
                    <a:pt x="141" y="333"/>
                  </a:cubicBezTo>
                  <a:cubicBezTo>
                    <a:pt x="141" y="333"/>
                    <a:pt x="141" y="333"/>
                    <a:pt x="141" y="334"/>
                  </a:cubicBezTo>
                  <a:cubicBezTo>
                    <a:pt x="142" y="334"/>
                    <a:pt x="144" y="335"/>
                    <a:pt x="145" y="335"/>
                  </a:cubicBezTo>
                  <a:cubicBezTo>
                    <a:pt x="147" y="335"/>
                    <a:pt x="149" y="335"/>
                    <a:pt x="150" y="336"/>
                  </a:cubicBezTo>
                  <a:cubicBezTo>
                    <a:pt x="151" y="336"/>
                    <a:pt x="152" y="336"/>
                    <a:pt x="153" y="337"/>
                  </a:cubicBezTo>
                  <a:cubicBezTo>
                    <a:pt x="153" y="338"/>
                    <a:pt x="153" y="338"/>
                    <a:pt x="154" y="338"/>
                  </a:cubicBezTo>
                  <a:cubicBezTo>
                    <a:pt x="155" y="338"/>
                    <a:pt x="156" y="338"/>
                    <a:pt x="156" y="337"/>
                  </a:cubicBezTo>
                  <a:cubicBezTo>
                    <a:pt x="157" y="337"/>
                    <a:pt x="157" y="336"/>
                    <a:pt x="157" y="336"/>
                  </a:cubicBezTo>
                  <a:cubicBezTo>
                    <a:pt x="157" y="336"/>
                    <a:pt x="157" y="335"/>
                    <a:pt x="158" y="335"/>
                  </a:cubicBezTo>
                  <a:cubicBezTo>
                    <a:pt x="158" y="334"/>
                    <a:pt x="159" y="333"/>
                    <a:pt x="160" y="333"/>
                  </a:cubicBezTo>
                  <a:cubicBezTo>
                    <a:pt x="161" y="333"/>
                    <a:pt x="161" y="332"/>
                    <a:pt x="161" y="331"/>
                  </a:cubicBezTo>
                  <a:close/>
                  <a:moveTo>
                    <a:pt x="168" y="338"/>
                  </a:moveTo>
                  <a:cubicBezTo>
                    <a:pt x="167" y="337"/>
                    <a:pt x="167" y="337"/>
                    <a:pt x="167" y="336"/>
                  </a:cubicBezTo>
                  <a:cubicBezTo>
                    <a:pt x="167" y="336"/>
                    <a:pt x="167" y="336"/>
                    <a:pt x="167" y="335"/>
                  </a:cubicBezTo>
                  <a:cubicBezTo>
                    <a:pt x="166" y="334"/>
                    <a:pt x="166" y="334"/>
                    <a:pt x="166" y="334"/>
                  </a:cubicBezTo>
                  <a:cubicBezTo>
                    <a:pt x="165" y="334"/>
                    <a:pt x="165" y="334"/>
                    <a:pt x="165" y="334"/>
                  </a:cubicBezTo>
                  <a:cubicBezTo>
                    <a:pt x="164" y="335"/>
                    <a:pt x="164" y="335"/>
                    <a:pt x="163" y="335"/>
                  </a:cubicBezTo>
                  <a:cubicBezTo>
                    <a:pt x="162" y="335"/>
                    <a:pt x="161" y="335"/>
                    <a:pt x="160" y="335"/>
                  </a:cubicBezTo>
                  <a:cubicBezTo>
                    <a:pt x="160" y="335"/>
                    <a:pt x="160" y="336"/>
                    <a:pt x="159" y="337"/>
                  </a:cubicBezTo>
                  <a:cubicBezTo>
                    <a:pt x="159" y="338"/>
                    <a:pt x="159" y="338"/>
                    <a:pt x="159" y="338"/>
                  </a:cubicBezTo>
                  <a:cubicBezTo>
                    <a:pt x="159" y="338"/>
                    <a:pt x="160" y="339"/>
                    <a:pt x="160" y="339"/>
                  </a:cubicBezTo>
                  <a:cubicBezTo>
                    <a:pt x="161" y="339"/>
                    <a:pt x="161" y="339"/>
                    <a:pt x="162" y="339"/>
                  </a:cubicBezTo>
                  <a:cubicBezTo>
                    <a:pt x="162" y="339"/>
                    <a:pt x="163" y="339"/>
                    <a:pt x="164" y="339"/>
                  </a:cubicBezTo>
                  <a:cubicBezTo>
                    <a:pt x="165" y="339"/>
                    <a:pt x="166" y="339"/>
                    <a:pt x="167" y="339"/>
                  </a:cubicBezTo>
                  <a:cubicBezTo>
                    <a:pt x="167" y="339"/>
                    <a:pt x="168" y="338"/>
                    <a:pt x="168" y="338"/>
                  </a:cubicBezTo>
                  <a:close/>
                  <a:moveTo>
                    <a:pt x="121" y="292"/>
                  </a:moveTo>
                  <a:cubicBezTo>
                    <a:pt x="121" y="291"/>
                    <a:pt x="121" y="292"/>
                    <a:pt x="120" y="292"/>
                  </a:cubicBezTo>
                  <a:cubicBezTo>
                    <a:pt x="118" y="292"/>
                    <a:pt x="117" y="290"/>
                    <a:pt x="115" y="291"/>
                  </a:cubicBezTo>
                  <a:cubicBezTo>
                    <a:pt x="113" y="292"/>
                    <a:pt x="115" y="294"/>
                    <a:pt x="114" y="295"/>
                  </a:cubicBezTo>
                  <a:cubicBezTo>
                    <a:pt x="114" y="296"/>
                    <a:pt x="113" y="296"/>
                    <a:pt x="113" y="297"/>
                  </a:cubicBezTo>
                  <a:cubicBezTo>
                    <a:pt x="112" y="298"/>
                    <a:pt x="113" y="298"/>
                    <a:pt x="113" y="299"/>
                  </a:cubicBezTo>
                  <a:cubicBezTo>
                    <a:pt x="114" y="301"/>
                    <a:pt x="116" y="298"/>
                    <a:pt x="116" y="298"/>
                  </a:cubicBezTo>
                  <a:cubicBezTo>
                    <a:pt x="117" y="298"/>
                    <a:pt x="118" y="297"/>
                    <a:pt x="118" y="297"/>
                  </a:cubicBezTo>
                  <a:cubicBezTo>
                    <a:pt x="119" y="296"/>
                    <a:pt x="120" y="296"/>
                    <a:pt x="120" y="296"/>
                  </a:cubicBezTo>
                  <a:cubicBezTo>
                    <a:pt x="121" y="295"/>
                    <a:pt x="122" y="294"/>
                    <a:pt x="122" y="293"/>
                  </a:cubicBezTo>
                  <a:cubicBezTo>
                    <a:pt x="121" y="293"/>
                    <a:pt x="121" y="292"/>
                    <a:pt x="121" y="292"/>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7" name="Freeform 46">
              <a:extLst>
                <a:ext uri="{FF2B5EF4-FFF2-40B4-BE49-F238E27FC236}">
                  <a16:creationId xmlns:a16="http://schemas.microsoft.com/office/drawing/2014/main" id="{B7F8C489-2C2E-19DC-4D48-98ABCF3E613C}"/>
                </a:ext>
              </a:extLst>
            </p:cNvPr>
            <p:cNvSpPr>
              <a:spLocks/>
            </p:cNvSpPr>
            <p:nvPr/>
          </p:nvSpPr>
          <p:spPr bwMode="auto">
            <a:xfrm>
              <a:off x="2589213" y="4689475"/>
              <a:ext cx="539750" cy="517525"/>
            </a:xfrm>
            <a:custGeom>
              <a:avLst/>
              <a:gdLst>
                <a:gd name="T0" fmla="*/ 124 w 142"/>
                <a:gd name="T1" fmla="*/ 21 h 136"/>
                <a:gd name="T2" fmla="*/ 118 w 142"/>
                <a:gd name="T3" fmla="*/ 10 h 136"/>
                <a:gd name="T4" fmla="*/ 111 w 142"/>
                <a:gd name="T5" fmla="*/ 5 h 136"/>
                <a:gd name="T6" fmla="*/ 103 w 142"/>
                <a:gd name="T7" fmla="*/ 0 h 136"/>
                <a:gd name="T8" fmla="*/ 97 w 142"/>
                <a:gd name="T9" fmla="*/ 9 h 136"/>
                <a:gd name="T10" fmla="*/ 89 w 142"/>
                <a:gd name="T11" fmla="*/ 20 h 136"/>
                <a:gd name="T12" fmla="*/ 75 w 142"/>
                <a:gd name="T13" fmla="*/ 30 h 136"/>
                <a:gd name="T14" fmla="*/ 63 w 142"/>
                <a:gd name="T15" fmla="*/ 33 h 136"/>
                <a:gd name="T16" fmla="*/ 47 w 142"/>
                <a:gd name="T17" fmla="*/ 45 h 136"/>
                <a:gd name="T18" fmla="*/ 43 w 142"/>
                <a:gd name="T19" fmla="*/ 62 h 136"/>
                <a:gd name="T20" fmla="*/ 38 w 142"/>
                <a:gd name="T21" fmla="*/ 71 h 136"/>
                <a:gd name="T22" fmla="*/ 29 w 142"/>
                <a:gd name="T23" fmla="*/ 73 h 136"/>
                <a:gd name="T24" fmla="*/ 16 w 142"/>
                <a:gd name="T25" fmla="*/ 73 h 136"/>
                <a:gd name="T26" fmla="*/ 6 w 142"/>
                <a:gd name="T27" fmla="*/ 68 h 136"/>
                <a:gd name="T28" fmla="*/ 3 w 142"/>
                <a:gd name="T29" fmla="*/ 75 h 136"/>
                <a:gd name="T30" fmla="*/ 5 w 142"/>
                <a:gd name="T31" fmla="*/ 76 h 136"/>
                <a:gd name="T32" fmla="*/ 11 w 142"/>
                <a:gd name="T33" fmla="*/ 80 h 136"/>
                <a:gd name="T34" fmla="*/ 21 w 142"/>
                <a:gd name="T35" fmla="*/ 88 h 136"/>
                <a:gd name="T36" fmla="*/ 22 w 142"/>
                <a:gd name="T37" fmla="*/ 93 h 136"/>
                <a:gd name="T38" fmla="*/ 29 w 142"/>
                <a:gd name="T39" fmla="*/ 104 h 136"/>
                <a:gd name="T40" fmla="*/ 41 w 142"/>
                <a:gd name="T41" fmla="*/ 112 h 136"/>
                <a:gd name="T42" fmla="*/ 43 w 142"/>
                <a:gd name="T43" fmla="*/ 119 h 136"/>
                <a:gd name="T44" fmla="*/ 51 w 142"/>
                <a:gd name="T45" fmla="*/ 125 h 136"/>
                <a:gd name="T46" fmla="*/ 61 w 142"/>
                <a:gd name="T47" fmla="*/ 136 h 136"/>
                <a:gd name="T48" fmla="*/ 68 w 142"/>
                <a:gd name="T49" fmla="*/ 132 h 136"/>
                <a:gd name="T50" fmla="*/ 64 w 142"/>
                <a:gd name="T51" fmla="*/ 125 h 136"/>
                <a:gd name="T52" fmla="*/ 60 w 142"/>
                <a:gd name="T53" fmla="*/ 117 h 136"/>
                <a:gd name="T54" fmla="*/ 60 w 142"/>
                <a:gd name="T55" fmla="*/ 110 h 136"/>
                <a:gd name="T56" fmla="*/ 70 w 142"/>
                <a:gd name="T57" fmla="*/ 115 h 136"/>
                <a:gd name="T58" fmla="*/ 82 w 142"/>
                <a:gd name="T59" fmla="*/ 121 h 136"/>
                <a:gd name="T60" fmla="*/ 92 w 142"/>
                <a:gd name="T61" fmla="*/ 126 h 136"/>
                <a:gd name="T62" fmla="*/ 96 w 142"/>
                <a:gd name="T63" fmla="*/ 127 h 136"/>
                <a:gd name="T64" fmla="*/ 98 w 142"/>
                <a:gd name="T65" fmla="*/ 122 h 136"/>
                <a:gd name="T66" fmla="*/ 96 w 142"/>
                <a:gd name="T67" fmla="*/ 116 h 136"/>
                <a:gd name="T68" fmla="*/ 102 w 142"/>
                <a:gd name="T69" fmla="*/ 111 h 136"/>
                <a:gd name="T70" fmla="*/ 106 w 142"/>
                <a:gd name="T71" fmla="*/ 109 h 136"/>
                <a:gd name="T72" fmla="*/ 121 w 142"/>
                <a:gd name="T73" fmla="*/ 123 h 136"/>
                <a:gd name="T74" fmla="*/ 128 w 142"/>
                <a:gd name="T75" fmla="*/ 131 h 136"/>
                <a:gd name="T76" fmla="*/ 134 w 142"/>
                <a:gd name="T77" fmla="*/ 127 h 136"/>
                <a:gd name="T78" fmla="*/ 136 w 142"/>
                <a:gd name="T79" fmla="*/ 115 h 136"/>
                <a:gd name="T80" fmla="*/ 136 w 142"/>
                <a:gd name="T81" fmla="*/ 98 h 136"/>
                <a:gd name="T82" fmla="*/ 138 w 142"/>
                <a:gd name="T83" fmla="*/ 86 h 136"/>
                <a:gd name="T84" fmla="*/ 139 w 142"/>
                <a:gd name="T85" fmla="*/ 71 h 136"/>
                <a:gd name="T86" fmla="*/ 141 w 142"/>
                <a:gd name="T87" fmla="*/ 58 h 136"/>
                <a:gd name="T88" fmla="*/ 141 w 142"/>
                <a:gd name="T89" fmla="*/ 51 h 136"/>
                <a:gd name="T90" fmla="*/ 139 w 142"/>
                <a:gd name="T91" fmla="*/ 44 h 136"/>
                <a:gd name="T92" fmla="*/ 136 w 142"/>
                <a:gd name="T93" fmla="*/ 30 h 136"/>
                <a:gd name="T94" fmla="*/ 136 w 142"/>
                <a:gd name="T95" fmla="*/ 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136">
                  <a:moveTo>
                    <a:pt x="132" y="24"/>
                  </a:moveTo>
                  <a:cubicBezTo>
                    <a:pt x="131" y="24"/>
                    <a:pt x="129" y="24"/>
                    <a:pt x="128" y="24"/>
                  </a:cubicBezTo>
                  <a:cubicBezTo>
                    <a:pt x="127" y="23"/>
                    <a:pt x="125" y="22"/>
                    <a:pt x="124" y="21"/>
                  </a:cubicBezTo>
                  <a:cubicBezTo>
                    <a:pt x="123" y="20"/>
                    <a:pt x="122" y="20"/>
                    <a:pt x="121" y="18"/>
                  </a:cubicBezTo>
                  <a:cubicBezTo>
                    <a:pt x="121" y="16"/>
                    <a:pt x="121" y="16"/>
                    <a:pt x="120" y="14"/>
                  </a:cubicBezTo>
                  <a:cubicBezTo>
                    <a:pt x="119" y="13"/>
                    <a:pt x="118" y="12"/>
                    <a:pt x="118" y="10"/>
                  </a:cubicBezTo>
                  <a:cubicBezTo>
                    <a:pt x="118" y="8"/>
                    <a:pt x="116" y="9"/>
                    <a:pt x="115" y="7"/>
                  </a:cubicBezTo>
                  <a:cubicBezTo>
                    <a:pt x="115" y="7"/>
                    <a:pt x="115" y="6"/>
                    <a:pt x="113" y="5"/>
                  </a:cubicBezTo>
                  <a:cubicBezTo>
                    <a:pt x="112" y="5"/>
                    <a:pt x="111" y="6"/>
                    <a:pt x="111" y="5"/>
                  </a:cubicBezTo>
                  <a:cubicBezTo>
                    <a:pt x="110" y="4"/>
                    <a:pt x="110" y="4"/>
                    <a:pt x="109" y="3"/>
                  </a:cubicBezTo>
                  <a:cubicBezTo>
                    <a:pt x="109" y="3"/>
                    <a:pt x="107" y="3"/>
                    <a:pt x="106" y="3"/>
                  </a:cubicBezTo>
                  <a:cubicBezTo>
                    <a:pt x="106" y="2"/>
                    <a:pt x="105" y="0"/>
                    <a:pt x="103" y="0"/>
                  </a:cubicBezTo>
                  <a:cubicBezTo>
                    <a:pt x="102" y="0"/>
                    <a:pt x="101" y="2"/>
                    <a:pt x="101" y="3"/>
                  </a:cubicBezTo>
                  <a:cubicBezTo>
                    <a:pt x="101" y="5"/>
                    <a:pt x="101" y="6"/>
                    <a:pt x="101" y="8"/>
                  </a:cubicBezTo>
                  <a:cubicBezTo>
                    <a:pt x="101" y="10"/>
                    <a:pt x="99" y="9"/>
                    <a:pt x="97" y="9"/>
                  </a:cubicBezTo>
                  <a:cubicBezTo>
                    <a:pt x="95" y="9"/>
                    <a:pt x="95" y="10"/>
                    <a:pt x="94" y="12"/>
                  </a:cubicBezTo>
                  <a:cubicBezTo>
                    <a:pt x="93" y="14"/>
                    <a:pt x="92" y="15"/>
                    <a:pt x="91" y="17"/>
                  </a:cubicBezTo>
                  <a:cubicBezTo>
                    <a:pt x="90" y="19"/>
                    <a:pt x="90" y="19"/>
                    <a:pt x="89" y="20"/>
                  </a:cubicBezTo>
                  <a:cubicBezTo>
                    <a:pt x="87" y="22"/>
                    <a:pt x="88" y="24"/>
                    <a:pt x="86" y="25"/>
                  </a:cubicBezTo>
                  <a:cubicBezTo>
                    <a:pt x="84" y="26"/>
                    <a:pt x="82" y="26"/>
                    <a:pt x="80" y="27"/>
                  </a:cubicBezTo>
                  <a:cubicBezTo>
                    <a:pt x="78" y="28"/>
                    <a:pt x="77" y="29"/>
                    <a:pt x="75" y="30"/>
                  </a:cubicBezTo>
                  <a:cubicBezTo>
                    <a:pt x="72" y="31"/>
                    <a:pt x="71" y="32"/>
                    <a:pt x="68" y="32"/>
                  </a:cubicBezTo>
                  <a:cubicBezTo>
                    <a:pt x="67" y="32"/>
                    <a:pt x="67" y="32"/>
                    <a:pt x="65" y="32"/>
                  </a:cubicBezTo>
                  <a:cubicBezTo>
                    <a:pt x="64" y="33"/>
                    <a:pt x="64" y="33"/>
                    <a:pt x="63" y="33"/>
                  </a:cubicBezTo>
                  <a:cubicBezTo>
                    <a:pt x="60" y="32"/>
                    <a:pt x="60" y="33"/>
                    <a:pt x="58" y="35"/>
                  </a:cubicBezTo>
                  <a:cubicBezTo>
                    <a:pt x="56" y="36"/>
                    <a:pt x="53" y="35"/>
                    <a:pt x="52" y="36"/>
                  </a:cubicBezTo>
                  <a:cubicBezTo>
                    <a:pt x="49" y="38"/>
                    <a:pt x="48" y="42"/>
                    <a:pt x="47" y="45"/>
                  </a:cubicBezTo>
                  <a:cubicBezTo>
                    <a:pt x="46" y="47"/>
                    <a:pt x="45" y="50"/>
                    <a:pt x="45" y="53"/>
                  </a:cubicBezTo>
                  <a:cubicBezTo>
                    <a:pt x="44" y="54"/>
                    <a:pt x="44" y="56"/>
                    <a:pt x="44" y="58"/>
                  </a:cubicBezTo>
                  <a:cubicBezTo>
                    <a:pt x="44" y="59"/>
                    <a:pt x="43" y="60"/>
                    <a:pt x="43" y="62"/>
                  </a:cubicBezTo>
                  <a:cubicBezTo>
                    <a:pt x="43" y="63"/>
                    <a:pt x="43" y="65"/>
                    <a:pt x="44" y="66"/>
                  </a:cubicBezTo>
                  <a:cubicBezTo>
                    <a:pt x="45" y="66"/>
                    <a:pt x="46" y="67"/>
                    <a:pt x="47" y="69"/>
                  </a:cubicBezTo>
                  <a:cubicBezTo>
                    <a:pt x="47" y="72"/>
                    <a:pt x="40" y="71"/>
                    <a:pt x="38" y="71"/>
                  </a:cubicBezTo>
                  <a:cubicBezTo>
                    <a:pt x="36" y="71"/>
                    <a:pt x="35" y="69"/>
                    <a:pt x="34" y="71"/>
                  </a:cubicBezTo>
                  <a:cubicBezTo>
                    <a:pt x="34" y="72"/>
                    <a:pt x="33" y="73"/>
                    <a:pt x="33" y="74"/>
                  </a:cubicBezTo>
                  <a:cubicBezTo>
                    <a:pt x="32" y="75"/>
                    <a:pt x="30" y="74"/>
                    <a:pt x="29" y="73"/>
                  </a:cubicBezTo>
                  <a:cubicBezTo>
                    <a:pt x="27" y="72"/>
                    <a:pt x="26" y="71"/>
                    <a:pt x="24" y="73"/>
                  </a:cubicBezTo>
                  <a:cubicBezTo>
                    <a:pt x="22" y="74"/>
                    <a:pt x="22" y="73"/>
                    <a:pt x="20" y="72"/>
                  </a:cubicBezTo>
                  <a:cubicBezTo>
                    <a:pt x="18" y="72"/>
                    <a:pt x="18" y="73"/>
                    <a:pt x="16" y="73"/>
                  </a:cubicBezTo>
                  <a:cubicBezTo>
                    <a:pt x="15" y="71"/>
                    <a:pt x="15" y="69"/>
                    <a:pt x="14" y="67"/>
                  </a:cubicBezTo>
                  <a:cubicBezTo>
                    <a:pt x="13" y="66"/>
                    <a:pt x="11" y="66"/>
                    <a:pt x="9" y="65"/>
                  </a:cubicBezTo>
                  <a:cubicBezTo>
                    <a:pt x="9" y="66"/>
                    <a:pt x="7" y="67"/>
                    <a:pt x="6" y="68"/>
                  </a:cubicBezTo>
                  <a:cubicBezTo>
                    <a:pt x="4" y="69"/>
                    <a:pt x="2" y="70"/>
                    <a:pt x="1" y="71"/>
                  </a:cubicBezTo>
                  <a:cubicBezTo>
                    <a:pt x="0" y="72"/>
                    <a:pt x="0" y="72"/>
                    <a:pt x="0" y="72"/>
                  </a:cubicBezTo>
                  <a:cubicBezTo>
                    <a:pt x="1" y="73"/>
                    <a:pt x="2" y="74"/>
                    <a:pt x="3" y="75"/>
                  </a:cubicBezTo>
                  <a:cubicBezTo>
                    <a:pt x="4" y="75"/>
                    <a:pt x="3" y="78"/>
                    <a:pt x="4" y="78"/>
                  </a:cubicBezTo>
                  <a:cubicBezTo>
                    <a:pt x="5" y="78"/>
                    <a:pt x="5" y="78"/>
                    <a:pt x="5" y="78"/>
                  </a:cubicBezTo>
                  <a:cubicBezTo>
                    <a:pt x="5" y="76"/>
                    <a:pt x="5" y="76"/>
                    <a:pt x="5" y="76"/>
                  </a:cubicBezTo>
                  <a:cubicBezTo>
                    <a:pt x="7" y="78"/>
                    <a:pt x="7" y="78"/>
                    <a:pt x="7" y="78"/>
                  </a:cubicBezTo>
                  <a:cubicBezTo>
                    <a:pt x="7" y="78"/>
                    <a:pt x="9" y="81"/>
                    <a:pt x="9" y="81"/>
                  </a:cubicBezTo>
                  <a:cubicBezTo>
                    <a:pt x="10" y="81"/>
                    <a:pt x="10" y="80"/>
                    <a:pt x="11" y="80"/>
                  </a:cubicBezTo>
                  <a:cubicBezTo>
                    <a:pt x="11" y="80"/>
                    <a:pt x="14" y="83"/>
                    <a:pt x="14" y="83"/>
                  </a:cubicBezTo>
                  <a:cubicBezTo>
                    <a:pt x="14" y="83"/>
                    <a:pt x="17" y="85"/>
                    <a:pt x="18" y="86"/>
                  </a:cubicBezTo>
                  <a:cubicBezTo>
                    <a:pt x="19" y="86"/>
                    <a:pt x="20" y="87"/>
                    <a:pt x="21" y="88"/>
                  </a:cubicBezTo>
                  <a:cubicBezTo>
                    <a:pt x="22" y="89"/>
                    <a:pt x="21" y="89"/>
                    <a:pt x="21" y="89"/>
                  </a:cubicBezTo>
                  <a:cubicBezTo>
                    <a:pt x="20" y="92"/>
                    <a:pt x="20" y="92"/>
                    <a:pt x="20" y="92"/>
                  </a:cubicBezTo>
                  <a:cubicBezTo>
                    <a:pt x="20" y="92"/>
                    <a:pt x="21" y="93"/>
                    <a:pt x="22" y="93"/>
                  </a:cubicBezTo>
                  <a:cubicBezTo>
                    <a:pt x="22" y="94"/>
                    <a:pt x="24" y="96"/>
                    <a:pt x="24" y="96"/>
                  </a:cubicBezTo>
                  <a:cubicBezTo>
                    <a:pt x="24" y="96"/>
                    <a:pt x="25" y="99"/>
                    <a:pt x="25" y="100"/>
                  </a:cubicBezTo>
                  <a:cubicBezTo>
                    <a:pt x="25" y="100"/>
                    <a:pt x="28" y="104"/>
                    <a:pt x="29" y="104"/>
                  </a:cubicBezTo>
                  <a:cubicBezTo>
                    <a:pt x="29" y="105"/>
                    <a:pt x="32" y="107"/>
                    <a:pt x="33" y="107"/>
                  </a:cubicBezTo>
                  <a:cubicBezTo>
                    <a:pt x="34" y="108"/>
                    <a:pt x="35" y="109"/>
                    <a:pt x="35" y="109"/>
                  </a:cubicBezTo>
                  <a:cubicBezTo>
                    <a:pt x="35" y="109"/>
                    <a:pt x="39" y="112"/>
                    <a:pt x="41" y="112"/>
                  </a:cubicBezTo>
                  <a:cubicBezTo>
                    <a:pt x="43" y="113"/>
                    <a:pt x="44" y="115"/>
                    <a:pt x="44" y="115"/>
                  </a:cubicBezTo>
                  <a:cubicBezTo>
                    <a:pt x="45" y="116"/>
                    <a:pt x="43" y="117"/>
                    <a:pt x="43" y="117"/>
                  </a:cubicBezTo>
                  <a:cubicBezTo>
                    <a:pt x="43" y="119"/>
                    <a:pt x="43" y="119"/>
                    <a:pt x="43" y="119"/>
                  </a:cubicBezTo>
                  <a:cubicBezTo>
                    <a:pt x="43" y="119"/>
                    <a:pt x="44" y="119"/>
                    <a:pt x="46" y="120"/>
                  </a:cubicBezTo>
                  <a:cubicBezTo>
                    <a:pt x="47" y="120"/>
                    <a:pt x="49" y="121"/>
                    <a:pt x="49" y="121"/>
                  </a:cubicBezTo>
                  <a:cubicBezTo>
                    <a:pt x="49" y="121"/>
                    <a:pt x="51" y="124"/>
                    <a:pt x="51" y="125"/>
                  </a:cubicBezTo>
                  <a:cubicBezTo>
                    <a:pt x="51" y="125"/>
                    <a:pt x="55" y="128"/>
                    <a:pt x="55" y="129"/>
                  </a:cubicBezTo>
                  <a:cubicBezTo>
                    <a:pt x="56" y="129"/>
                    <a:pt x="58" y="131"/>
                    <a:pt x="59" y="131"/>
                  </a:cubicBezTo>
                  <a:cubicBezTo>
                    <a:pt x="59" y="132"/>
                    <a:pt x="61" y="136"/>
                    <a:pt x="61" y="136"/>
                  </a:cubicBezTo>
                  <a:cubicBezTo>
                    <a:pt x="61" y="136"/>
                    <a:pt x="68" y="136"/>
                    <a:pt x="69" y="136"/>
                  </a:cubicBezTo>
                  <a:cubicBezTo>
                    <a:pt x="69" y="136"/>
                    <a:pt x="69" y="135"/>
                    <a:pt x="68" y="134"/>
                  </a:cubicBezTo>
                  <a:cubicBezTo>
                    <a:pt x="68" y="133"/>
                    <a:pt x="68" y="132"/>
                    <a:pt x="68" y="132"/>
                  </a:cubicBezTo>
                  <a:cubicBezTo>
                    <a:pt x="68" y="131"/>
                    <a:pt x="68" y="130"/>
                    <a:pt x="68" y="129"/>
                  </a:cubicBezTo>
                  <a:cubicBezTo>
                    <a:pt x="68" y="129"/>
                    <a:pt x="66" y="127"/>
                    <a:pt x="66" y="127"/>
                  </a:cubicBezTo>
                  <a:cubicBezTo>
                    <a:pt x="65" y="126"/>
                    <a:pt x="65" y="126"/>
                    <a:pt x="64" y="125"/>
                  </a:cubicBezTo>
                  <a:cubicBezTo>
                    <a:pt x="64" y="124"/>
                    <a:pt x="63" y="124"/>
                    <a:pt x="64" y="123"/>
                  </a:cubicBezTo>
                  <a:cubicBezTo>
                    <a:pt x="64" y="123"/>
                    <a:pt x="64" y="121"/>
                    <a:pt x="64" y="121"/>
                  </a:cubicBezTo>
                  <a:cubicBezTo>
                    <a:pt x="64" y="121"/>
                    <a:pt x="61" y="118"/>
                    <a:pt x="60" y="117"/>
                  </a:cubicBezTo>
                  <a:cubicBezTo>
                    <a:pt x="60" y="116"/>
                    <a:pt x="59" y="116"/>
                    <a:pt x="59" y="115"/>
                  </a:cubicBezTo>
                  <a:cubicBezTo>
                    <a:pt x="58" y="114"/>
                    <a:pt x="58" y="113"/>
                    <a:pt x="58" y="112"/>
                  </a:cubicBezTo>
                  <a:cubicBezTo>
                    <a:pt x="58" y="110"/>
                    <a:pt x="59" y="111"/>
                    <a:pt x="60" y="110"/>
                  </a:cubicBezTo>
                  <a:cubicBezTo>
                    <a:pt x="61" y="109"/>
                    <a:pt x="64" y="110"/>
                    <a:pt x="65" y="110"/>
                  </a:cubicBezTo>
                  <a:cubicBezTo>
                    <a:pt x="65" y="110"/>
                    <a:pt x="66" y="110"/>
                    <a:pt x="67" y="111"/>
                  </a:cubicBezTo>
                  <a:cubicBezTo>
                    <a:pt x="68" y="112"/>
                    <a:pt x="69" y="113"/>
                    <a:pt x="70" y="115"/>
                  </a:cubicBezTo>
                  <a:cubicBezTo>
                    <a:pt x="72" y="116"/>
                    <a:pt x="73" y="116"/>
                    <a:pt x="74" y="116"/>
                  </a:cubicBezTo>
                  <a:cubicBezTo>
                    <a:pt x="75" y="116"/>
                    <a:pt x="75" y="116"/>
                    <a:pt x="76" y="117"/>
                  </a:cubicBezTo>
                  <a:cubicBezTo>
                    <a:pt x="78" y="118"/>
                    <a:pt x="80" y="120"/>
                    <a:pt x="82" y="121"/>
                  </a:cubicBezTo>
                  <a:cubicBezTo>
                    <a:pt x="83" y="122"/>
                    <a:pt x="83" y="121"/>
                    <a:pt x="85" y="122"/>
                  </a:cubicBezTo>
                  <a:cubicBezTo>
                    <a:pt x="87" y="123"/>
                    <a:pt x="87" y="124"/>
                    <a:pt x="88" y="124"/>
                  </a:cubicBezTo>
                  <a:cubicBezTo>
                    <a:pt x="89" y="125"/>
                    <a:pt x="91" y="125"/>
                    <a:pt x="92" y="126"/>
                  </a:cubicBezTo>
                  <a:cubicBezTo>
                    <a:pt x="93" y="127"/>
                    <a:pt x="95" y="128"/>
                    <a:pt x="96" y="129"/>
                  </a:cubicBezTo>
                  <a:cubicBezTo>
                    <a:pt x="98" y="129"/>
                    <a:pt x="99" y="126"/>
                    <a:pt x="99" y="126"/>
                  </a:cubicBezTo>
                  <a:cubicBezTo>
                    <a:pt x="99" y="126"/>
                    <a:pt x="97" y="127"/>
                    <a:pt x="96" y="127"/>
                  </a:cubicBezTo>
                  <a:cubicBezTo>
                    <a:pt x="96" y="127"/>
                    <a:pt x="96" y="125"/>
                    <a:pt x="96" y="125"/>
                  </a:cubicBezTo>
                  <a:cubicBezTo>
                    <a:pt x="95" y="124"/>
                    <a:pt x="96" y="123"/>
                    <a:pt x="97" y="123"/>
                  </a:cubicBezTo>
                  <a:cubicBezTo>
                    <a:pt x="97" y="123"/>
                    <a:pt x="97" y="122"/>
                    <a:pt x="98" y="122"/>
                  </a:cubicBezTo>
                  <a:cubicBezTo>
                    <a:pt x="98" y="122"/>
                    <a:pt x="97" y="121"/>
                    <a:pt x="97" y="121"/>
                  </a:cubicBezTo>
                  <a:cubicBezTo>
                    <a:pt x="97" y="121"/>
                    <a:pt x="97" y="119"/>
                    <a:pt x="97" y="118"/>
                  </a:cubicBezTo>
                  <a:cubicBezTo>
                    <a:pt x="97" y="118"/>
                    <a:pt x="97" y="117"/>
                    <a:pt x="96" y="116"/>
                  </a:cubicBezTo>
                  <a:cubicBezTo>
                    <a:pt x="96" y="115"/>
                    <a:pt x="98" y="115"/>
                    <a:pt x="98" y="115"/>
                  </a:cubicBezTo>
                  <a:cubicBezTo>
                    <a:pt x="98" y="115"/>
                    <a:pt x="101" y="114"/>
                    <a:pt x="101" y="114"/>
                  </a:cubicBezTo>
                  <a:cubicBezTo>
                    <a:pt x="102" y="114"/>
                    <a:pt x="102" y="112"/>
                    <a:pt x="102" y="111"/>
                  </a:cubicBezTo>
                  <a:cubicBezTo>
                    <a:pt x="101" y="110"/>
                    <a:pt x="102" y="109"/>
                    <a:pt x="102" y="108"/>
                  </a:cubicBezTo>
                  <a:cubicBezTo>
                    <a:pt x="102" y="107"/>
                    <a:pt x="103" y="107"/>
                    <a:pt x="104" y="106"/>
                  </a:cubicBezTo>
                  <a:cubicBezTo>
                    <a:pt x="104" y="106"/>
                    <a:pt x="105" y="107"/>
                    <a:pt x="106" y="109"/>
                  </a:cubicBezTo>
                  <a:cubicBezTo>
                    <a:pt x="107" y="110"/>
                    <a:pt x="107" y="111"/>
                    <a:pt x="109" y="114"/>
                  </a:cubicBezTo>
                  <a:cubicBezTo>
                    <a:pt x="110" y="116"/>
                    <a:pt x="115" y="120"/>
                    <a:pt x="117" y="120"/>
                  </a:cubicBezTo>
                  <a:cubicBezTo>
                    <a:pt x="119" y="121"/>
                    <a:pt x="120" y="122"/>
                    <a:pt x="121" y="123"/>
                  </a:cubicBezTo>
                  <a:cubicBezTo>
                    <a:pt x="123" y="125"/>
                    <a:pt x="121" y="126"/>
                    <a:pt x="122" y="127"/>
                  </a:cubicBezTo>
                  <a:cubicBezTo>
                    <a:pt x="122" y="129"/>
                    <a:pt x="122" y="129"/>
                    <a:pt x="123" y="129"/>
                  </a:cubicBezTo>
                  <a:cubicBezTo>
                    <a:pt x="125" y="130"/>
                    <a:pt x="127" y="130"/>
                    <a:pt x="128" y="131"/>
                  </a:cubicBezTo>
                  <a:cubicBezTo>
                    <a:pt x="130" y="131"/>
                    <a:pt x="130" y="132"/>
                    <a:pt x="130" y="133"/>
                  </a:cubicBezTo>
                  <a:cubicBezTo>
                    <a:pt x="131" y="134"/>
                    <a:pt x="132" y="133"/>
                    <a:pt x="132" y="133"/>
                  </a:cubicBezTo>
                  <a:cubicBezTo>
                    <a:pt x="132" y="132"/>
                    <a:pt x="133" y="130"/>
                    <a:pt x="134" y="127"/>
                  </a:cubicBezTo>
                  <a:cubicBezTo>
                    <a:pt x="134" y="125"/>
                    <a:pt x="134" y="125"/>
                    <a:pt x="135" y="122"/>
                  </a:cubicBezTo>
                  <a:cubicBezTo>
                    <a:pt x="136" y="120"/>
                    <a:pt x="135" y="119"/>
                    <a:pt x="136" y="117"/>
                  </a:cubicBezTo>
                  <a:cubicBezTo>
                    <a:pt x="136" y="116"/>
                    <a:pt x="136" y="116"/>
                    <a:pt x="136" y="115"/>
                  </a:cubicBezTo>
                  <a:cubicBezTo>
                    <a:pt x="136" y="114"/>
                    <a:pt x="136" y="114"/>
                    <a:pt x="136" y="112"/>
                  </a:cubicBezTo>
                  <a:cubicBezTo>
                    <a:pt x="136" y="110"/>
                    <a:pt x="136" y="107"/>
                    <a:pt x="136" y="106"/>
                  </a:cubicBezTo>
                  <a:cubicBezTo>
                    <a:pt x="136" y="105"/>
                    <a:pt x="136" y="100"/>
                    <a:pt x="136" y="98"/>
                  </a:cubicBezTo>
                  <a:cubicBezTo>
                    <a:pt x="137" y="97"/>
                    <a:pt x="138" y="96"/>
                    <a:pt x="138" y="95"/>
                  </a:cubicBezTo>
                  <a:cubicBezTo>
                    <a:pt x="138" y="95"/>
                    <a:pt x="138" y="93"/>
                    <a:pt x="138" y="91"/>
                  </a:cubicBezTo>
                  <a:cubicBezTo>
                    <a:pt x="138" y="90"/>
                    <a:pt x="138" y="87"/>
                    <a:pt x="138" y="86"/>
                  </a:cubicBezTo>
                  <a:cubicBezTo>
                    <a:pt x="138" y="84"/>
                    <a:pt x="138" y="81"/>
                    <a:pt x="138" y="79"/>
                  </a:cubicBezTo>
                  <a:cubicBezTo>
                    <a:pt x="138" y="76"/>
                    <a:pt x="140" y="75"/>
                    <a:pt x="140" y="74"/>
                  </a:cubicBezTo>
                  <a:cubicBezTo>
                    <a:pt x="140" y="73"/>
                    <a:pt x="139" y="72"/>
                    <a:pt x="139" y="71"/>
                  </a:cubicBezTo>
                  <a:cubicBezTo>
                    <a:pt x="138" y="70"/>
                    <a:pt x="138" y="69"/>
                    <a:pt x="138" y="67"/>
                  </a:cubicBezTo>
                  <a:cubicBezTo>
                    <a:pt x="138" y="65"/>
                    <a:pt x="139" y="64"/>
                    <a:pt x="139" y="63"/>
                  </a:cubicBezTo>
                  <a:cubicBezTo>
                    <a:pt x="139" y="62"/>
                    <a:pt x="140" y="60"/>
                    <a:pt x="141" y="58"/>
                  </a:cubicBezTo>
                  <a:cubicBezTo>
                    <a:pt x="142" y="57"/>
                    <a:pt x="142" y="58"/>
                    <a:pt x="142" y="57"/>
                  </a:cubicBezTo>
                  <a:cubicBezTo>
                    <a:pt x="142" y="57"/>
                    <a:pt x="140" y="54"/>
                    <a:pt x="139" y="53"/>
                  </a:cubicBezTo>
                  <a:cubicBezTo>
                    <a:pt x="139" y="52"/>
                    <a:pt x="141" y="52"/>
                    <a:pt x="141" y="51"/>
                  </a:cubicBezTo>
                  <a:cubicBezTo>
                    <a:pt x="141" y="51"/>
                    <a:pt x="141" y="49"/>
                    <a:pt x="141" y="49"/>
                  </a:cubicBezTo>
                  <a:cubicBezTo>
                    <a:pt x="141" y="48"/>
                    <a:pt x="142" y="46"/>
                    <a:pt x="142" y="45"/>
                  </a:cubicBezTo>
                  <a:cubicBezTo>
                    <a:pt x="142" y="44"/>
                    <a:pt x="141" y="44"/>
                    <a:pt x="139" y="44"/>
                  </a:cubicBezTo>
                  <a:cubicBezTo>
                    <a:pt x="137" y="44"/>
                    <a:pt x="138" y="42"/>
                    <a:pt x="137" y="41"/>
                  </a:cubicBezTo>
                  <a:cubicBezTo>
                    <a:pt x="137" y="40"/>
                    <a:pt x="136" y="38"/>
                    <a:pt x="136" y="37"/>
                  </a:cubicBezTo>
                  <a:cubicBezTo>
                    <a:pt x="136" y="35"/>
                    <a:pt x="136" y="32"/>
                    <a:pt x="136" y="30"/>
                  </a:cubicBezTo>
                  <a:cubicBezTo>
                    <a:pt x="136" y="29"/>
                    <a:pt x="136" y="28"/>
                    <a:pt x="136" y="28"/>
                  </a:cubicBezTo>
                  <a:cubicBezTo>
                    <a:pt x="136" y="28"/>
                    <a:pt x="137" y="27"/>
                    <a:pt x="137" y="27"/>
                  </a:cubicBezTo>
                  <a:cubicBezTo>
                    <a:pt x="137" y="27"/>
                    <a:pt x="136" y="26"/>
                    <a:pt x="136" y="26"/>
                  </a:cubicBezTo>
                  <a:cubicBezTo>
                    <a:pt x="135" y="26"/>
                    <a:pt x="133" y="25"/>
                    <a:pt x="132" y="24"/>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8" name="Freeform 48">
              <a:extLst>
                <a:ext uri="{FF2B5EF4-FFF2-40B4-BE49-F238E27FC236}">
                  <a16:creationId xmlns:a16="http://schemas.microsoft.com/office/drawing/2014/main" id="{71BBDE9A-6BD9-36FD-FF09-B8B894C4D13E}"/>
                </a:ext>
              </a:extLst>
            </p:cNvPr>
            <p:cNvSpPr>
              <a:spLocks/>
            </p:cNvSpPr>
            <p:nvPr/>
          </p:nvSpPr>
          <p:spPr bwMode="auto">
            <a:xfrm>
              <a:off x="2012950" y="3998913"/>
              <a:ext cx="777875" cy="473075"/>
            </a:xfrm>
            <a:custGeom>
              <a:avLst/>
              <a:gdLst>
                <a:gd name="T0" fmla="*/ 70 w 204"/>
                <a:gd name="T1" fmla="*/ 115 h 124"/>
                <a:gd name="T2" fmla="*/ 77 w 204"/>
                <a:gd name="T3" fmla="*/ 116 h 124"/>
                <a:gd name="T4" fmla="*/ 79 w 204"/>
                <a:gd name="T5" fmla="*/ 119 h 124"/>
                <a:gd name="T6" fmla="*/ 90 w 204"/>
                <a:gd name="T7" fmla="*/ 118 h 124"/>
                <a:gd name="T8" fmla="*/ 94 w 204"/>
                <a:gd name="T9" fmla="*/ 113 h 124"/>
                <a:gd name="T10" fmla="*/ 103 w 204"/>
                <a:gd name="T11" fmla="*/ 106 h 124"/>
                <a:gd name="T12" fmla="*/ 107 w 204"/>
                <a:gd name="T13" fmla="*/ 100 h 124"/>
                <a:gd name="T14" fmla="*/ 109 w 204"/>
                <a:gd name="T15" fmla="*/ 96 h 124"/>
                <a:gd name="T16" fmla="*/ 119 w 204"/>
                <a:gd name="T17" fmla="*/ 97 h 124"/>
                <a:gd name="T18" fmla="*/ 127 w 204"/>
                <a:gd name="T19" fmla="*/ 96 h 124"/>
                <a:gd name="T20" fmla="*/ 129 w 204"/>
                <a:gd name="T21" fmla="*/ 86 h 124"/>
                <a:gd name="T22" fmla="*/ 142 w 204"/>
                <a:gd name="T23" fmla="*/ 98 h 124"/>
                <a:gd name="T24" fmla="*/ 147 w 204"/>
                <a:gd name="T25" fmla="*/ 87 h 124"/>
                <a:gd name="T26" fmla="*/ 145 w 204"/>
                <a:gd name="T27" fmla="*/ 84 h 124"/>
                <a:gd name="T28" fmla="*/ 146 w 204"/>
                <a:gd name="T29" fmla="*/ 72 h 124"/>
                <a:gd name="T30" fmla="*/ 174 w 204"/>
                <a:gd name="T31" fmla="*/ 63 h 124"/>
                <a:gd name="T32" fmla="*/ 196 w 204"/>
                <a:gd name="T33" fmla="*/ 57 h 124"/>
                <a:gd name="T34" fmla="*/ 199 w 204"/>
                <a:gd name="T35" fmla="*/ 54 h 124"/>
                <a:gd name="T36" fmla="*/ 200 w 204"/>
                <a:gd name="T37" fmla="*/ 51 h 124"/>
                <a:gd name="T38" fmla="*/ 204 w 204"/>
                <a:gd name="T39" fmla="*/ 50 h 124"/>
                <a:gd name="T40" fmla="*/ 202 w 204"/>
                <a:gd name="T41" fmla="*/ 43 h 124"/>
                <a:gd name="T42" fmla="*/ 203 w 204"/>
                <a:gd name="T43" fmla="*/ 36 h 124"/>
                <a:gd name="T44" fmla="*/ 200 w 204"/>
                <a:gd name="T45" fmla="*/ 27 h 124"/>
                <a:gd name="T46" fmla="*/ 199 w 204"/>
                <a:gd name="T47" fmla="*/ 17 h 124"/>
                <a:gd name="T48" fmla="*/ 193 w 204"/>
                <a:gd name="T49" fmla="*/ 19 h 124"/>
                <a:gd name="T50" fmla="*/ 189 w 204"/>
                <a:gd name="T51" fmla="*/ 20 h 124"/>
                <a:gd name="T52" fmla="*/ 187 w 204"/>
                <a:gd name="T53" fmla="*/ 19 h 124"/>
                <a:gd name="T54" fmla="*/ 178 w 204"/>
                <a:gd name="T55" fmla="*/ 16 h 124"/>
                <a:gd name="T56" fmla="*/ 168 w 204"/>
                <a:gd name="T57" fmla="*/ 16 h 124"/>
                <a:gd name="T58" fmla="*/ 167 w 204"/>
                <a:gd name="T59" fmla="*/ 23 h 124"/>
                <a:gd name="T60" fmla="*/ 163 w 204"/>
                <a:gd name="T61" fmla="*/ 16 h 124"/>
                <a:gd name="T62" fmla="*/ 157 w 204"/>
                <a:gd name="T63" fmla="*/ 13 h 124"/>
                <a:gd name="T64" fmla="*/ 150 w 204"/>
                <a:gd name="T65" fmla="*/ 8 h 124"/>
                <a:gd name="T66" fmla="*/ 145 w 204"/>
                <a:gd name="T67" fmla="*/ 4 h 124"/>
                <a:gd name="T68" fmla="*/ 143 w 204"/>
                <a:gd name="T69" fmla="*/ 1 h 124"/>
                <a:gd name="T70" fmla="*/ 138 w 204"/>
                <a:gd name="T71" fmla="*/ 3 h 124"/>
                <a:gd name="T72" fmla="*/ 120 w 204"/>
                <a:gd name="T73" fmla="*/ 1 h 124"/>
                <a:gd name="T74" fmla="*/ 104 w 204"/>
                <a:gd name="T75" fmla="*/ 15 h 124"/>
                <a:gd name="T76" fmla="*/ 100 w 204"/>
                <a:gd name="T77" fmla="*/ 19 h 124"/>
                <a:gd name="T78" fmla="*/ 87 w 204"/>
                <a:gd name="T79" fmla="*/ 21 h 124"/>
                <a:gd name="T80" fmla="*/ 81 w 204"/>
                <a:gd name="T81" fmla="*/ 18 h 124"/>
                <a:gd name="T82" fmla="*/ 77 w 204"/>
                <a:gd name="T83" fmla="*/ 15 h 124"/>
                <a:gd name="T84" fmla="*/ 67 w 204"/>
                <a:gd name="T85" fmla="*/ 12 h 124"/>
                <a:gd name="T86" fmla="*/ 63 w 204"/>
                <a:gd name="T87" fmla="*/ 11 h 124"/>
                <a:gd name="T88" fmla="*/ 45 w 204"/>
                <a:gd name="T89" fmla="*/ 14 h 124"/>
                <a:gd name="T90" fmla="*/ 44 w 204"/>
                <a:gd name="T91" fmla="*/ 21 h 124"/>
                <a:gd name="T92" fmla="*/ 43 w 204"/>
                <a:gd name="T93" fmla="*/ 29 h 124"/>
                <a:gd name="T94" fmla="*/ 37 w 204"/>
                <a:gd name="T95" fmla="*/ 38 h 124"/>
                <a:gd name="T96" fmla="*/ 36 w 204"/>
                <a:gd name="T97" fmla="*/ 44 h 124"/>
                <a:gd name="T98" fmla="*/ 28 w 204"/>
                <a:gd name="T99" fmla="*/ 51 h 124"/>
                <a:gd name="T100" fmla="*/ 13 w 204"/>
                <a:gd name="T101" fmla="*/ 58 h 124"/>
                <a:gd name="T102" fmla="*/ 5 w 204"/>
                <a:gd name="T103" fmla="*/ 58 h 124"/>
                <a:gd name="T104" fmla="*/ 2 w 204"/>
                <a:gd name="T105" fmla="*/ 67 h 124"/>
                <a:gd name="T106" fmla="*/ 3 w 204"/>
                <a:gd name="T107" fmla="*/ 74 h 124"/>
                <a:gd name="T108" fmla="*/ 9 w 204"/>
                <a:gd name="T109" fmla="*/ 94 h 124"/>
                <a:gd name="T110" fmla="*/ 28 w 204"/>
                <a:gd name="T111" fmla="*/ 111 h 124"/>
                <a:gd name="T112" fmla="*/ 44 w 204"/>
                <a:gd name="T113" fmla="*/ 120 h 124"/>
                <a:gd name="T114" fmla="*/ 59 w 204"/>
                <a:gd name="T115" fmla="*/ 124 h 124"/>
                <a:gd name="T116" fmla="*/ 66 w 204"/>
                <a:gd name="T117" fmla="*/ 11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24">
                  <a:moveTo>
                    <a:pt x="66" y="119"/>
                  </a:moveTo>
                  <a:cubicBezTo>
                    <a:pt x="68" y="118"/>
                    <a:pt x="68" y="117"/>
                    <a:pt x="70" y="115"/>
                  </a:cubicBezTo>
                  <a:cubicBezTo>
                    <a:pt x="72" y="113"/>
                    <a:pt x="71" y="116"/>
                    <a:pt x="72" y="117"/>
                  </a:cubicBezTo>
                  <a:cubicBezTo>
                    <a:pt x="74" y="118"/>
                    <a:pt x="76" y="116"/>
                    <a:pt x="77" y="116"/>
                  </a:cubicBezTo>
                  <a:cubicBezTo>
                    <a:pt x="77" y="117"/>
                    <a:pt x="77" y="117"/>
                    <a:pt x="77" y="118"/>
                  </a:cubicBezTo>
                  <a:cubicBezTo>
                    <a:pt x="78" y="119"/>
                    <a:pt x="78" y="119"/>
                    <a:pt x="79" y="119"/>
                  </a:cubicBezTo>
                  <a:cubicBezTo>
                    <a:pt x="81" y="121"/>
                    <a:pt x="83" y="120"/>
                    <a:pt x="85" y="119"/>
                  </a:cubicBezTo>
                  <a:cubicBezTo>
                    <a:pt x="86" y="119"/>
                    <a:pt x="89" y="119"/>
                    <a:pt x="90" y="118"/>
                  </a:cubicBezTo>
                  <a:cubicBezTo>
                    <a:pt x="91" y="117"/>
                    <a:pt x="91" y="116"/>
                    <a:pt x="92" y="115"/>
                  </a:cubicBezTo>
                  <a:cubicBezTo>
                    <a:pt x="93" y="114"/>
                    <a:pt x="93" y="114"/>
                    <a:pt x="94" y="113"/>
                  </a:cubicBezTo>
                  <a:cubicBezTo>
                    <a:pt x="97" y="112"/>
                    <a:pt x="102" y="111"/>
                    <a:pt x="103" y="109"/>
                  </a:cubicBezTo>
                  <a:cubicBezTo>
                    <a:pt x="103" y="108"/>
                    <a:pt x="102" y="107"/>
                    <a:pt x="103" y="106"/>
                  </a:cubicBezTo>
                  <a:cubicBezTo>
                    <a:pt x="103" y="105"/>
                    <a:pt x="105" y="105"/>
                    <a:pt x="106" y="104"/>
                  </a:cubicBezTo>
                  <a:cubicBezTo>
                    <a:pt x="106" y="103"/>
                    <a:pt x="107" y="101"/>
                    <a:pt x="107" y="100"/>
                  </a:cubicBezTo>
                  <a:cubicBezTo>
                    <a:pt x="106" y="99"/>
                    <a:pt x="105" y="100"/>
                    <a:pt x="105" y="98"/>
                  </a:cubicBezTo>
                  <a:cubicBezTo>
                    <a:pt x="105" y="96"/>
                    <a:pt x="107" y="95"/>
                    <a:pt x="109" y="96"/>
                  </a:cubicBezTo>
                  <a:cubicBezTo>
                    <a:pt x="112" y="97"/>
                    <a:pt x="113" y="98"/>
                    <a:pt x="116" y="98"/>
                  </a:cubicBezTo>
                  <a:cubicBezTo>
                    <a:pt x="117" y="97"/>
                    <a:pt x="118" y="96"/>
                    <a:pt x="119" y="97"/>
                  </a:cubicBezTo>
                  <a:cubicBezTo>
                    <a:pt x="120" y="97"/>
                    <a:pt x="121" y="99"/>
                    <a:pt x="122" y="99"/>
                  </a:cubicBezTo>
                  <a:cubicBezTo>
                    <a:pt x="125" y="99"/>
                    <a:pt x="128" y="98"/>
                    <a:pt x="127" y="96"/>
                  </a:cubicBezTo>
                  <a:cubicBezTo>
                    <a:pt x="127" y="94"/>
                    <a:pt x="125" y="92"/>
                    <a:pt x="125" y="90"/>
                  </a:cubicBezTo>
                  <a:cubicBezTo>
                    <a:pt x="125" y="87"/>
                    <a:pt x="127" y="85"/>
                    <a:pt x="129" y="86"/>
                  </a:cubicBezTo>
                  <a:cubicBezTo>
                    <a:pt x="131" y="87"/>
                    <a:pt x="133" y="89"/>
                    <a:pt x="134" y="91"/>
                  </a:cubicBezTo>
                  <a:cubicBezTo>
                    <a:pt x="136" y="92"/>
                    <a:pt x="139" y="98"/>
                    <a:pt x="142" y="98"/>
                  </a:cubicBezTo>
                  <a:cubicBezTo>
                    <a:pt x="145" y="97"/>
                    <a:pt x="141" y="90"/>
                    <a:pt x="143" y="88"/>
                  </a:cubicBezTo>
                  <a:cubicBezTo>
                    <a:pt x="144" y="87"/>
                    <a:pt x="146" y="88"/>
                    <a:pt x="147" y="87"/>
                  </a:cubicBezTo>
                  <a:cubicBezTo>
                    <a:pt x="149" y="85"/>
                    <a:pt x="147" y="85"/>
                    <a:pt x="145" y="85"/>
                  </a:cubicBezTo>
                  <a:cubicBezTo>
                    <a:pt x="145" y="84"/>
                    <a:pt x="145" y="84"/>
                    <a:pt x="145" y="84"/>
                  </a:cubicBezTo>
                  <a:cubicBezTo>
                    <a:pt x="146" y="82"/>
                    <a:pt x="148" y="81"/>
                    <a:pt x="148" y="78"/>
                  </a:cubicBezTo>
                  <a:cubicBezTo>
                    <a:pt x="148" y="75"/>
                    <a:pt x="145" y="75"/>
                    <a:pt x="146" y="72"/>
                  </a:cubicBezTo>
                  <a:cubicBezTo>
                    <a:pt x="147" y="68"/>
                    <a:pt x="153" y="68"/>
                    <a:pt x="157" y="67"/>
                  </a:cubicBezTo>
                  <a:cubicBezTo>
                    <a:pt x="162" y="65"/>
                    <a:pt x="168" y="65"/>
                    <a:pt x="174" y="63"/>
                  </a:cubicBezTo>
                  <a:cubicBezTo>
                    <a:pt x="179" y="62"/>
                    <a:pt x="185" y="60"/>
                    <a:pt x="191" y="59"/>
                  </a:cubicBezTo>
                  <a:cubicBezTo>
                    <a:pt x="192" y="58"/>
                    <a:pt x="194" y="58"/>
                    <a:pt x="196" y="57"/>
                  </a:cubicBezTo>
                  <a:cubicBezTo>
                    <a:pt x="196" y="56"/>
                    <a:pt x="197" y="55"/>
                    <a:pt x="198" y="55"/>
                  </a:cubicBezTo>
                  <a:cubicBezTo>
                    <a:pt x="198" y="54"/>
                    <a:pt x="198" y="54"/>
                    <a:pt x="199" y="54"/>
                  </a:cubicBezTo>
                  <a:cubicBezTo>
                    <a:pt x="198" y="53"/>
                    <a:pt x="198" y="53"/>
                    <a:pt x="198" y="53"/>
                  </a:cubicBezTo>
                  <a:cubicBezTo>
                    <a:pt x="198" y="52"/>
                    <a:pt x="199" y="52"/>
                    <a:pt x="200" y="51"/>
                  </a:cubicBezTo>
                  <a:cubicBezTo>
                    <a:pt x="201" y="50"/>
                    <a:pt x="202" y="51"/>
                    <a:pt x="203" y="51"/>
                  </a:cubicBezTo>
                  <a:cubicBezTo>
                    <a:pt x="204" y="51"/>
                    <a:pt x="204" y="50"/>
                    <a:pt x="204" y="50"/>
                  </a:cubicBezTo>
                  <a:cubicBezTo>
                    <a:pt x="204" y="50"/>
                    <a:pt x="203" y="48"/>
                    <a:pt x="203" y="47"/>
                  </a:cubicBezTo>
                  <a:cubicBezTo>
                    <a:pt x="203" y="45"/>
                    <a:pt x="203" y="44"/>
                    <a:pt x="202" y="43"/>
                  </a:cubicBezTo>
                  <a:cubicBezTo>
                    <a:pt x="202" y="43"/>
                    <a:pt x="203" y="41"/>
                    <a:pt x="203" y="40"/>
                  </a:cubicBezTo>
                  <a:cubicBezTo>
                    <a:pt x="203" y="39"/>
                    <a:pt x="203" y="37"/>
                    <a:pt x="203" y="36"/>
                  </a:cubicBezTo>
                  <a:cubicBezTo>
                    <a:pt x="203" y="34"/>
                    <a:pt x="202" y="33"/>
                    <a:pt x="201" y="32"/>
                  </a:cubicBezTo>
                  <a:cubicBezTo>
                    <a:pt x="201" y="31"/>
                    <a:pt x="200" y="29"/>
                    <a:pt x="200" y="27"/>
                  </a:cubicBezTo>
                  <a:cubicBezTo>
                    <a:pt x="201" y="26"/>
                    <a:pt x="202" y="24"/>
                    <a:pt x="201" y="23"/>
                  </a:cubicBezTo>
                  <a:cubicBezTo>
                    <a:pt x="201" y="22"/>
                    <a:pt x="199" y="18"/>
                    <a:pt x="199" y="17"/>
                  </a:cubicBezTo>
                  <a:cubicBezTo>
                    <a:pt x="199" y="15"/>
                    <a:pt x="197" y="17"/>
                    <a:pt x="197" y="17"/>
                  </a:cubicBezTo>
                  <a:cubicBezTo>
                    <a:pt x="196" y="17"/>
                    <a:pt x="194" y="18"/>
                    <a:pt x="193" y="19"/>
                  </a:cubicBezTo>
                  <a:cubicBezTo>
                    <a:pt x="192" y="20"/>
                    <a:pt x="191" y="19"/>
                    <a:pt x="190" y="18"/>
                  </a:cubicBezTo>
                  <a:cubicBezTo>
                    <a:pt x="190" y="18"/>
                    <a:pt x="189" y="20"/>
                    <a:pt x="189" y="20"/>
                  </a:cubicBezTo>
                  <a:cubicBezTo>
                    <a:pt x="188" y="25"/>
                    <a:pt x="188" y="25"/>
                    <a:pt x="188" y="25"/>
                  </a:cubicBezTo>
                  <a:cubicBezTo>
                    <a:pt x="188" y="25"/>
                    <a:pt x="187" y="20"/>
                    <a:pt x="187" y="19"/>
                  </a:cubicBezTo>
                  <a:cubicBezTo>
                    <a:pt x="187" y="19"/>
                    <a:pt x="184" y="19"/>
                    <a:pt x="182" y="18"/>
                  </a:cubicBezTo>
                  <a:cubicBezTo>
                    <a:pt x="181" y="17"/>
                    <a:pt x="179" y="16"/>
                    <a:pt x="178" y="16"/>
                  </a:cubicBezTo>
                  <a:cubicBezTo>
                    <a:pt x="177" y="16"/>
                    <a:pt x="173" y="15"/>
                    <a:pt x="170" y="15"/>
                  </a:cubicBezTo>
                  <a:cubicBezTo>
                    <a:pt x="168" y="14"/>
                    <a:pt x="168" y="15"/>
                    <a:pt x="168" y="16"/>
                  </a:cubicBezTo>
                  <a:cubicBezTo>
                    <a:pt x="167" y="16"/>
                    <a:pt x="166" y="17"/>
                    <a:pt x="166" y="17"/>
                  </a:cubicBezTo>
                  <a:cubicBezTo>
                    <a:pt x="166" y="18"/>
                    <a:pt x="167" y="24"/>
                    <a:pt x="167" y="23"/>
                  </a:cubicBezTo>
                  <a:cubicBezTo>
                    <a:pt x="166" y="23"/>
                    <a:pt x="165" y="21"/>
                    <a:pt x="165" y="20"/>
                  </a:cubicBezTo>
                  <a:cubicBezTo>
                    <a:pt x="164" y="19"/>
                    <a:pt x="164" y="17"/>
                    <a:pt x="163" y="16"/>
                  </a:cubicBezTo>
                  <a:cubicBezTo>
                    <a:pt x="162" y="15"/>
                    <a:pt x="160" y="14"/>
                    <a:pt x="160" y="13"/>
                  </a:cubicBezTo>
                  <a:cubicBezTo>
                    <a:pt x="159" y="13"/>
                    <a:pt x="157" y="13"/>
                    <a:pt x="157" y="13"/>
                  </a:cubicBezTo>
                  <a:cubicBezTo>
                    <a:pt x="157" y="13"/>
                    <a:pt x="153" y="11"/>
                    <a:pt x="153" y="9"/>
                  </a:cubicBezTo>
                  <a:cubicBezTo>
                    <a:pt x="152" y="8"/>
                    <a:pt x="151" y="9"/>
                    <a:pt x="150" y="8"/>
                  </a:cubicBezTo>
                  <a:cubicBezTo>
                    <a:pt x="149" y="8"/>
                    <a:pt x="149" y="6"/>
                    <a:pt x="149" y="5"/>
                  </a:cubicBezTo>
                  <a:cubicBezTo>
                    <a:pt x="148" y="5"/>
                    <a:pt x="146" y="4"/>
                    <a:pt x="145" y="4"/>
                  </a:cubicBezTo>
                  <a:cubicBezTo>
                    <a:pt x="144" y="4"/>
                    <a:pt x="144" y="3"/>
                    <a:pt x="144" y="3"/>
                  </a:cubicBezTo>
                  <a:cubicBezTo>
                    <a:pt x="144" y="3"/>
                    <a:pt x="144" y="1"/>
                    <a:pt x="143" y="1"/>
                  </a:cubicBezTo>
                  <a:cubicBezTo>
                    <a:pt x="143" y="0"/>
                    <a:pt x="143" y="0"/>
                    <a:pt x="143" y="0"/>
                  </a:cubicBezTo>
                  <a:cubicBezTo>
                    <a:pt x="142" y="2"/>
                    <a:pt x="140" y="2"/>
                    <a:pt x="138" y="3"/>
                  </a:cubicBezTo>
                  <a:cubicBezTo>
                    <a:pt x="135" y="3"/>
                    <a:pt x="132" y="2"/>
                    <a:pt x="129" y="2"/>
                  </a:cubicBezTo>
                  <a:cubicBezTo>
                    <a:pt x="126" y="1"/>
                    <a:pt x="123" y="1"/>
                    <a:pt x="120" y="1"/>
                  </a:cubicBezTo>
                  <a:cubicBezTo>
                    <a:pt x="116" y="1"/>
                    <a:pt x="114" y="4"/>
                    <a:pt x="113" y="7"/>
                  </a:cubicBezTo>
                  <a:cubicBezTo>
                    <a:pt x="111" y="10"/>
                    <a:pt x="108" y="13"/>
                    <a:pt x="104" y="15"/>
                  </a:cubicBezTo>
                  <a:cubicBezTo>
                    <a:pt x="103" y="15"/>
                    <a:pt x="102" y="15"/>
                    <a:pt x="101" y="17"/>
                  </a:cubicBezTo>
                  <a:cubicBezTo>
                    <a:pt x="101" y="17"/>
                    <a:pt x="101" y="18"/>
                    <a:pt x="100" y="19"/>
                  </a:cubicBezTo>
                  <a:cubicBezTo>
                    <a:pt x="99" y="20"/>
                    <a:pt x="96" y="22"/>
                    <a:pt x="94" y="22"/>
                  </a:cubicBezTo>
                  <a:cubicBezTo>
                    <a:pt x="92" y="23"/>
                    <a:pt x="89" y="22"/>
                    <a:pt x="87" y="21"/>
                  </a:cubicBezTo>
                  <a:cubicBezTo>
                    <a:pt x="85" y="21"/>
                    <a:pt x="84" y="21"/>
                    <a:pt x="83" y="20"/>
                  </a:cubicBezTo>
                  <a:cubicBezTo>
                    <a:pt x="82" y="19"/>
                    <a:pt x="82" y="18"/>
                    <a:pt x="81" y="18"/>
                  </a:cubicBezTo>
                  <a:cubicBezTo>
                    <a:pt x="79" y="18"/>
                    <a:pt x="79" y="19"/>
                    <a:pt x="78" y="17"/>
                  </a:cubicBezTo>
                  <a:cubicBezTo>
                    <a:pt x="78" y="17"/>
                    <a:pt x="78" y="16"/>
                    <a:pt x="77" y="15"/>
                  </a:cubicBezTo>
                  <a:cubicBezTo>
                    <a:pt x="76" y="14"/>
                    <a:pt x="74" y="13"/>
                    <a:pt x="72" y="12"/>
                  </a:cubicBezTo>
                  <a:cubicBezTo>
                    <a:pt x="70" y="11"/>
                    <a:pt x="69" y="13"/>
                    <a:pt x="67" y="12"/>
                  </a:cubicBezTo>
                  <a:cubicBezTo>
                    <a:pt x="66" y="12"/>
                    <a:pt x="66" y="11"/>
                    <a:pt x="65" y="11"/>
                  </a:cubicBezTo>
                  <a:cubicBezTo>
                    <a:pt x="64" y="11"/>
                    <a:pt x="64" y="11"/>
                    <a:pt x="63" y="11"/>
                  </a:cubicBezTo>
                  <a:cubicBezTo>
                    <a:pt x="60" y="12"/>
                    <a:pt x="57" y="9"/>
                    <a:pt x="54" y="10"/>
                  </a:cubicBezTo>
                  <a:cubicBezTo>
                    <a:pt x="50" y="10"/>
                    <a:pt x="49" y="14"/>
                    <a:pt x="45" y="14"/>
                  </a:cubicBezTo>
                  <a:cubicBezTo>
                    <a:pt x="44" y="15"/>
                    <a:pt x="44" y="15"/>
                    <a:pt x="44" y="15"/>
                  </a:cubicBezTo>
                  <a:cubicBezTo>
                    <a:pt x="44" y="17"/>
                    <a:pt x="43" y="19"/>
                    <a:pt x="44" y="21"/>
                  </a:cubicBezTo>
                  <a:cubicBezTo>
                    <a:pt x="44" y="23"/>
                    <a:pt x="46" y="23"/>
                    <a:pt x="47" y="25"/>
                  </a:cubicBezTo>
                  <a:cubicBezTo>
                    <a:pt x="47" y="26"/>
                    <a:pt x="44" y="28"/>
                    <a:pt x="43" y="29"/>
                  </a:cubicBezTo>
                  <a:cubicBezTo>
                    <a:pt x="40" y="30"/>
                    <a:pt x="37" y="29"/>
                    <a:pt x="36" y="33"/>
                  </a:cubicBezTo>
                  <a:cubicBezTo>
                    <a:pt x="35" y="35"/>
                    <a:pt x="37" y="36"/>
                    <a:pt x="37" y="38"/>
                  </a:cubicBezTo>
                  <a:cubicBezTo>
                    <a:pt x="37" y="39"/>
                    <a:pt x="36" y="40"/>
                    <a:pt x="36" y="41"/>
                  </a:cubicBezTo>
                  <a:cubicBezTo>
                    <a:pt x="36" y="42"/>
                    <a:pt x="37" y="43"/>
                    <a:pt x="36" y="44"/>
                  </a:cubicBezTo>
                  <a:cubicBezTo>
                    <a:pt x="36" y="45"/>
                    <a:pt x="33" y="46"/>
                    <a:pt x="32" y="47"/>
                  </a:cubicBezTo>
                  <a:cubicBezTo>
                    <a:pt x="30" y="48"/>
                    <a:pt x="29" y="50"/>
                    <a:pt x="28" y="51"/>
                  </a:cubicBezTo>
                  <a:cubicBezTo>
                    <a:pt x="25" y="55"/>
                    <a:pt x="24" y="59"/>
                    <a:pt x="20" y="58"/>
                  </a:cubicBezTo>
                  <a:cubicBezTo>
                    <a:pt x="17" y="58"/>
                    <a:pt x="15" y="58"/>
                    <a:pt x="13" y="58"/>
                  </a:cubicBezTo>
                  <a:cubicBezTo>
                    <a:pt x="11" y="59"/>
                    <a:pt x="10" y="60"/>
                    <a:pt x="8" y="59"/>
                  </a:cubicBezTo>
                  <a:cubicBezTo>
                    <a:pt x="7" y="58"/>
                    <a:pt x="6" y="58"/>
                    <a:pt x="5" y="58"/>
                  </a:cubicBezTo>
                  <a:cubicBezTo>
                    <a:pt x="4" y="58"/>
                    <a:pt x="4" y="60"/>
                    <a:pt x="2" y="59"/>
                  </a:cubicBezTo>
                  <a:cubicBezTo>
                    <a:pt x="0" y="61"/>
                    <a:pt x="2" y="64"/>
                    <a:pt x="2" y="67"/>
                  </a:cubicBezTo>
                  <a:cubicBezTo>
                    <a:pt x="3" y="68"/>
                    <a:pt x="3" y="69"/>
                    <a:pt x="3" y="71"/>
                  </a:cubicBezTo>
                  <a:cubicBezTo>
                    <a:pt x="2" y="72"/>
                    <a:pt x="2" y="73"/>
                    <a:pt x="3" y="74"/>
                  </a:cubicBezTo>
                  <a:cubicBezTo>
                    <a:pt x="5" y="79"/>
                    <a:pt x="9" y="81"/>
                    <a:pt x="10" y="86"/>
                  </a:cubicBezTo>
                  <a:cubicBezTo>
                    <a:pt x="10" y="89"/>
                    <a:pt x="10" y="92"/>
                    <a:pt x="9" y="94"/>
                  </a:cubicBezTo>
                  <a:cubicBezTo>
                    <a:pt x="14" y="96"/>
                    <a:pt x="19" y="98"/>
                    <a:pt x="23" y="102"/>
                  </a:cubicBezTo>
                  <a:cubicBezTo>
                    <a:pt x="26" y="105"/>
                    <a:pt x="26" y="107"/>
                    <a:pt x="28" y="111"/>
                  </a:cubicBezTo>
                  <a:cubicBezTo>
                    <a:pt x="34" y="110"/>
                    <a:pt x="35" y="112"/>
                    <a:pt x="40" y="115"/>
                  </a:cubicBezTo>
                  <a:cubicBezTo>
                    <a:pt x="41" y="117"/>
                    <a:pt x="43" y="118"/>
                    <a:pt x="44" y="120"/>
                  </a:cubicBezTo>
                  <a:cubicBezTo>
                    <a:pt x="47" y="122"/>
                    <a:pt x="48" y="121"/>
                    <a:pt x="51" y="121"/>
                  </a:cubicBezTo>
                  <a:cubicBezTo>
                    <a:pt x="54" y="121"/>
                    <a:pt x="57" y="122"/>
                    <a:pt x="59" y="124"/>
                  </a:cubicBezTo>
                  <a:cubicBezTo>
                    <a:pt x="60" y="123"/>
                    <a:pt x="60" y="123"/>
                    <a:pt x="60" y="123"/>
                  </a:cubicBezTo>
                  <a:cubicBezTo>
                    <a:pt x="61" y="121"/>
                    <a:pt x="63" y="120"/>
                    <a:pt x="66" y="119"/>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9" name="Freeform 50">
              <a:extLst>
                <a:ext uri="{FF2B5EF4-FFF2-40B4-BE49-F238E27FC236}">
                  <a16:creationId xmlns:a16="http://schemas.microsoft.com/office/drawing/2014/main" id="{D1515461-C0F7-FCE1-43F3-A1F0BAF1ED06}"/>
                </a:ext>
              </a:extLst>
            </p:cNvPr>
            <p:cNvSpPr>
              <a:spLocks/>
            </p:cNvSpPr>
            <p:nvPr/>
          </p:nvSpPr>
          <p:spPr bwMode="auto">
            <a:xfrm>
              <a:off x="3305175" y="5237163"/>
              <a:ext cx="63500" cy="69850"/>
            </a:xfrm>
            <a:custGeom>
              <a:avLst/>
              <a:gdLst>
                <a:gd name="T0" fmla="*/ 17 w 17"/>
                <a:gd name="T1" fmla="*/ 1 h 18"/>
                <a:gd name="T2" fmla="*/ 13 w 17"/>
                <a:gd name="T3" fmla="*/ 2 h 18"/>
                <a:gd name="T4" fmla="*/ 10 w 17"/>
                <a:gd name="T5" fmla="*/ 3 h 18"/>
                <a:gd name="T6" fmla="*/ 6 w 17"/>
                <a:gd name="T7" fmla="*/ 2 h 18"/>
                <a:gd name="T8" fmla="*/ 4 w 17"/>
                <a:gd name="T9" fmla="*/ 2 h 18"/>
                <a:gd name="T10" fmla="*/ 2 w 17"/>
                <a:gd name="T11" fmla="*/ 0 h 18"/>
                <a:gd name="T12" fmla="*/ 0 w 17"/>
                <a:gd name="T13" fmla="*/ 4 h 18"/>
                <a:gd name="T14" fmla="*/ 1 w 17"/>
                <a:gd name="T15" fmla="*/ 8 h 18"/>
                <a:gd name="T16" fmla="*/ 3 w 17"/>
                <a:gd name="T17" fmla="*/ 11 h 18"/>
                <a:gd name="T18" fmla="*/ 5 w 17"/>
                <a:gd name="T19" fmla="*/ 15 h 18"/>
                <a:gd name="T20" fmla="*/ 5 w 17"/>
                <a:gd name="T21" fmla="*/ 18 h 18"/>
                <a:gd name="T22" fmla="*/ 7 w 17"/>
                <a:gd name="T23" fmla="*/ 17 h 18"/>
                <a:gd name="T24" fmla="*/ 11 w 17"/>
                <a:gd name="T25" fmla="*/ 17 h 18"/>
                <a:gd name="T26" fmla="*/ 14 w 17"/>
                <a:gd name="T27" fmla="*/ 15 h 18"/>
                <a:gd name="T28" fmla="*/ 15 w 17"/>
                <a:gd name="T29" fmla="*/ 13 h 18"/>
                <a:gd name="T30" fmla="*/ 16 w 17"/>
                <a:gd name="T31" fmla="*/ 10 h 18"/>
                <a:gd name="T32" fmla="*/ 17 w 17"/>
                <a:gd name="T33" fmla="*/ 4 h 18"/>
                <a:gd name="T34" fmla="*/ 17 w 17"/>
                <a:gd name="T3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8">
                  <a:moveTo>
                    <a:pt x="17" y="1"/>
                  </a:moveTo>
                  <a:cubicBezTo>
                    <a:pt x="16" y="1"/>
                    <a:pt x="13" y="2"/>
                    <a:pt x="13" y="2"/>
                  </a:cubicBezTo>
                  <a:cubicBezTo>
                    <a:pt x="12" y="2"/>
                    <a:pt x="10" y="3"/>
                    <a:pt x="10" y="3"/>
                  </a:cubicBezTo>
                  <a:cubicBezTo>
                    <a:pt x="6" y="2"/>
                    <a:pt x="6" y="2"/>
                    <a:pt x="6" y="2"/>
                  </a:cubicBezTo>
                  <a:cubicBezTo>
                    <a:pt x="6" y="2"/>
                    <a:pt x="5" y="2"/>
                    <a:pt x="4" y="2"/>
                  </a:cubicBezTo>
                  <a:cubicBezTo>
                    <a:pt x="4" y="2"/>
                    <a:pt x="3" y="1"/>
                    <a:pt x="2" y="0"/>
                  </a:cubicBezTo>
                  <a:cubicBezTo>
                    <a:pt x="1" y="1"/>
                    <a:pt x="0" y="2"/>
                    <a:pt x="0" y="4"/>
                  </a:cubicBezTo>
                  <a:cubicBezTo>
                    <a:pt x="0" y="5"/>
                    <a:pt x="0" y="6"/>
                    <a:pt x="1" y="8"/>
                  </a:cubicBezTo>
                  <a:cubicBezTo>
                    <a:pt x="1" y="9"/>
                    <a:pt x="2" y="10"/>
                    <a:pt x="3" y="11"/>
                  </a:cubicBezTo>
                  <a:cubicBezTo>
                    <a:pt x="4" y="13"/>
                    <a:pt x="5" y="13"/>
                    <a:pt x="5" y="15"/>
                  </a:cubicBezTo>
                  <a:cubicBezTo>
                    <a:pt x="5" y="16"/>
                    <a:pt x="5" y="17"/>
                    <a:pt x="5" y="18"/>
                  </a:cubicBezTo>
                  <a:cubicBezTo>
                    <a:pt x="6" y="18"/>
                    <a:pt x="6" y="17"/>
                    <a:pt x="7" y="17"/>
                  </a:cubicBezTo>
                  <a:cubicBezTo>
                    <a:pt x="8" y="17"/>
                    <a:pt x="10" y="18"/>
                    <a:pt x="11" y="17"/>
                  </a:cubicBezTo>
                  <a:cubicBezTo>
                    <a:pt x="13" y="17"/>
                    <a:pt x="14" y="17"/>
                    <a:pt x="14" y="15"/>
                  </a:cubicBezTo>
                  <a:cubicBezTo>
                    <a:pt x="15" y="14"/>
                    <a:pt x="14" y="14"/>
                    <a:pt x="15" y="13"/>
                  </a:cubicBezTo>
                  <a:cubicBezTo>
                    <a:pt x="15" y="12"/>
                    <a:pt x="15" y="11"/>
                    <a:pt x="16" y="10"/>
                  </a:cubicBezTo>
                  <a:cubicBezTo>
                    <a:pt x="17" y="8"/>
                    <a:pt x="17" y="6"/>
                    <a:pt x="17" y="4"/>
                  </a:cubicBezTo>
                  <a:cubicBezTo>
                    <a:pt x="17" y="3"/>
                    <a:pt x="17" y="2"/>
                    <a:pt x="17" y="1"/>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0" name="Freeform 52">
              <a:extLst>
                <a:ext uri="{FF2B5EF4-FFF2-40B4-BE49-F238E27FC236}">
                  <a16:creationId xmlns:a16="http://schemas.microsoft.com/office/drawing/2014/main" id="{41C0C98D-95D1-2CF8-336D-5A7352F1C513}"/>
                </a:ext>
              </a:extLst>
            </p:cNvPr>
            <p:cNvSpPr>
              <a:spLocks/>
            </p:cNvSpPr>
            <p:nvPr/>
          </p:nvSpPr>
          <p:spPr bwMode="auto">
            <a:xfrm>
              <a:off x="6738938" y="3584575"/>
              <a:ext cx="541338" cy="171450"/>
            </a:xfrm>
            <a:custGeom>
              <a:avLst/>
              <a:gdLst>
                <a:gd name="T0" fmla="*/ 142 w 142"/>
                <a:gd name="T1" fmla="*/ 34 h 45"/>
                <a:gd name="T2" fmla="*/ 134 w 142"/>
                <a:gd name="T3" fmla="*/ 26 h 45"/>
                <a:gd name="T4" fmla="*/ 128 w 142"/>
                <a:gd name="T5" fmla="*/ 22 h 45"/>
                <a:gd name="T6" fmla="*/ 125 w 142"/>
                <a:gd name="T7" fmla="*/ 16 h 45"/>
                <a:gd name="T8" fmla="*/ 118 w 142"/>
                <a:gd name="T9" fmla="*/ 10 h 45"/>
                <a:gd name="T10" fmla="*/ 116 w 142"/>
                <a:gd name="T11" fmla="*/ 7 h 45"/>
                <a:gd name="T12" fmla="*/ 111 w 142"/>
                <a:gd name="T13" fmla="*/ 5 h 45"/>
                <a:gd name="T14" fmla="*/ 109 w 142"/>
                <a:gd name="T15" fmla="*/ 7 h 45"/>
                <a:gd name="T16" fmla="*/ 107 w 142"/>
                <a:gd name="T17" fmla="*/ 10 h 45"/>
                <a:gd name="T18" fmla="*/ 104 w 142"/>
                <a:gd name="T19" fmla="*/ 9 h 45"/>
                <a:gd name="T20" fmla="*/ 101 w 142"/>
                <a:gd name="T21" fmla="*/ 13 h 45"/>
                <a:gd name="T22" fmla="*/ 95 w 142"/>
                <a:gd name="T23" fmla="*/ 10 h 45"/>
                <a:gd name="T24" fmla="*/ 83 w 142"/>
                <a:gd name="T25" fmla="*/ 4 h 45"/>
                <a:gd name="T26" fmla="*/ 79 w 142"/>
                <a:gd name="T27" fmla="*/ 2 h 45"/>
                <a:gd name="T28" fmla="*/ 75 w 142"/>
                <a:gd name="T29" fmla="*/ 2 h 45"/>
                <a:gd name="T30" fmla="*/ 72 w 142"/>
                <a:gd name="T31" fmla="*/ 1 h 45"/>
                <a:gd name="T32" fmla="*/ 68 w 142"/>
                <a:gd name="T33" fmla="*/ 2 h 45"/>
                <a:gd name="T34" fmla="*/ 64 w 142"/>
                <a:gd name="T35" fmla="*/ 2 h 45"/>
                <a:gd name="T36" fmla="*/ 59 w 142"/>
                <a:gd name="T37" fmla="*/ 4 h 45"/>
                <a:gd name="T38" fmla="*/ 54 w 142"/>
                <a:gd name="T39" fmla="*/ 6 h 45"/>
                <a:gd name="T40" fmla="*/ 29 w 142"/>
                <a:gd name="T41" fmla="*/ 10 h 45"/>
                <a:gd name="T42" fmla="*/ 13 w 142"/>
                <a:gd name="T43" fmla="*/ 12 h 45"/>
                <a:gd name="T44" fmla="*/ 3 w 142"/>
                <a:gd name="T45" fmla="*/ 16 h 45"/>
                <a:gd name="T46" fmla="*/ 6 w 142"/>
                <a:gd name="T47" fmla="*/ 28 h 45"/>
                <a:gd name="T48" fmla="*/ 11 w 142"/>
                <a:gd name="T49" fmla="*/ 34 h 45"/>
                <a:gd name="T50" fmla="*/ 17 w 142"/>
                <a:gd name="T51" fmla="*/ 34 h 45"/>
                <a:gd name="T52" fmla="*/ 21 w 142"/>
                <a:gd name="T53" fmla="*/ 32 h 45"/>
                <a:gd name="T54" fmla="*/ 29 w 142"/>
                <a:gd name="T55" fmla="*/ 31 h 45"/>
                <a:gd name="T56" fmla="*/ 35 w 142"/>
                <a:gd name="T57" fmla="*/ 35 h 45"/>
                <a:gd name="T58" fmla="*/ 41 w 142"/>
                <a:gd name="T59" fmla="*/ 37 h 45"/>
                <a:gd name="T60" fmla="*/ 58 w 142"/>
                <a:gd name="T61" fmla="*/ 34 h 45"/>
                <a:gd name="T62" fmla="*/ 67 w 142"/>
                <a:gd name="T63" fmla="*/ 34 h 45"/>
                <a:gd name="T64" fmla="*/ 78 w 142"/>
                <a:gd name="T65" fmla="*/ 33 h 45"/>
                <a:gd name="T66" fmla="*/ 88 w 142"/>
                <a:gd name="T67" fmla="*/ 34 h 45"/>
                <a:gd name="T68" fmla="*/ 91 w 142"/>
                <a:gd name="T69" fmla="*/ 34 h 45"/>
                <a:gd name="T70" fmla="*/ 97 w 142"/>
                <a:gd name="T71" fmla="*/ 34 h 45"/>
                <a:gd name="T72" fmla="*/ 110 w 142"/>
                <a:gd name="T73" fmla="*/ 34 h 45"/>
                <a:gd name="T74" fmla="*/ 115 w 142"/>
                <a:gd name="T75" fmla="*/ 33 h 45"/>
                <a:gd name="T76" fmla="*/ 120 w 142"/>
                <a:gd name="T77" fmla="*/ 37 h 45"/>
                <a:gd name="T78" fmla="*/ 128 w 142"/>
                <a:gd name="T79" fmla="*/ 44 h 45"/>
                <a:gd name="T80" fmla="*/ 139 w 142"/>
                <a:gd name="T81" fmla="*/ 44 h 45"/>
                <a:gd name="T82" fmla="*/ 142 w 142"/>
                <a:gd name="T83"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45">
                  <a:moveTo>
                    <a:pt x="142" y="38"/>
                  </a:moveTo>
                  <a:cubicBezTo>
                    <a:pt x="142" y="37"/>
                    <a:pt x="142" y="36"/>
                    <a:pt x="142" y="34"/>
                  </a:cubicBezTo>
                  <a:cubicBezTo>
                    <a:pt x="142" y="31"/>
                    <a:pt x="140" y="28"/>
                    <a:pt x="136" y="26"/>
                  </a:cubicBezTo>
                  <a:cubicBezTo>
                    <a:pt x="136" y="26"/>
                    <a:pt x="135" y="26"/>
                    <a:pt x="134" y="26"/>
                  </a:cubicBezTo>
                  <a:cubicBezTo>
                    <a:pt x="133" y="25"/>
                    <a:pt x="132" y="25"/>
                    <a:pt x="131" y="24"/>
                  </a:cubicBezTo>
                  <a:cubicBezTo>
                    <a:pt x="130" y="23"/>
                    <a:pt x="129" y="23"/>
                    <a:pt x="128" y="22"/>
                  </a:cubicBezTo>
                  <a:cubicBezTo>
                    <a:pt x="127" y="21"/>
                    <a:pt x="125" y="20"/>
                    <a:pt x="125" y="20"/>
                  </a:cubicBezTo>
                  <a:cubicBezTo>
                    <a:pt x="125" y="19"/>
                    <a:pt x="125" y="17"/>
                    <a:pt x="125" y="16"/>
                  </a:cubicBezTo>
                  <a:cubicBezTo>
                    <a:pt x="125" y="15"/>
                    <a:pt x="125" y="14"/>
                    <a:pt x="124" y="13"/>
                  </a:cubicBezTo>
                  <a:cubicBezTo>
                    <a:pt x="122" y="12"/>
                    <a:pt x="119" y="12"/>
                    <a:pt x="118" y="10"/>
                  </a:cubicBezTo>
                  <a:cubicBezTo>
                    <a:pt x="117" y="9"/>
                    <a:pt x="116" y="8"/>
                    <a:pt x="116" y="7"/>
                  </a:cubicBezTo>
                  <a:cubicBezTo>
                    <a:pt x="116" y="7"/>
                    <a:pt x="116" y="7"/>
                    <a:pt x="116" y="7"/>
                  </a:cubicBezTo>
                  <a:cubicBezTo>
                    <a:pt x="116" y="7"/>
                    <a:pt x="115" y="7"/>
                    <a:pt x="114" y="7"/>
                  </a:cubicBezTo>
                  <a:cubicBezTo>
                    <a:pt x="113" y="6"/>
                    <a:pt x="112" y="5"/>
                    <a:pt x="111" y="5"/>
                  </a:cubicBezTo>
                  <a:cubicBezTo>
                    <a:pt x="110" y="5"/>
                    <a:pt x="108" y="5"/>
                    <a:pt x="108" y="5"/>
                  </a:cubicBezTo>
                  <a:cubicBezTo>
                    <a:pt x="107" y="6"/>
                    <a:pt x="109" y="6"/>
                    <a:pt x="109" y="7"/>
                  </a:cubicBezTo>
                  <a:cubicBezTo>
                    <a:pt x="109" y="8"/>
                    <a:pt x="108" y="8"/>
                    <a:pt x="108" y="9"/>
                  </a:cubicBezTo>
                  <a:cubicBezTo>
                    <a:pt x="107" y="9"/>
                    <a:pt x="107" y="10"/>
                    <a:pt x="107" y="10"/>
                  </a:cubicBezTo>
                  <a:cubicBezTo>
                    <a:pt x="105" y="9"/>
                    <a:pt x="105" y="9"/>
                    <a:pt x="105" y="9"/>
                  </a:cubicBezTo>
                  <a:cubicBezTo>
                    <a:pt x="105" y="9"/>
                    <a:pt x="104" y="9"/>
                    <a:pt x="104" y="9"/>
                  </a:cubicBezTo>
                  <a:cubicBezTo>
                    <a:pt x="104" y="10"/>
                    <a:pt x="106" y="11"/>
                    <a:pt x="105" y="12"/>
                  </a:cubicBezTo>
                  <a:cubicBezTo>
                    <a:pt x="104" y="14"/>
                    <a:pt x="102" y="14"/>
                    <a:pt x="101" y="13"/>
                  </a:cubicBezTo>
                  <a:cubicBezTo>
                    <a:pt x="100" y="12"/>
                    <a:pt x="99" y="11"/>
                    <a:pt x="98" y="11"/>
                  </a:cubicBezTo>
                  <a:cubicBezTo>
                    <a:pt x="97" y="10"/>
                    <a:pt x="96" y="10"/>
                    <a:pt x="95" y="10"/>
                  </a:cubicBezTo>
                  <a:cubicBezTo>
                    <a:pt x="93" y="9"/>
                    <a:pt x="91" y="8"/>
                    <a:pt x="90" y="6"/>
                  </a:cubicBezTo>
                  <a:cubicBezTo>
                    <a:pt x="88" y="4"/>
                    <a:pt x="85" y="5"/>
                    <a:pt x="83" y="4"/>
                  </a:cubicBezTo>
                  <a:cubicBezTo>
                    <a:pt x="81" y="4"/>
                    <a:pt x="80" y="4"/>
                    <a:pt x="79" y="3"/>
                  </a:cubicBezTo>
                  <a:cubicBezTo>
                    <a:pt x="79" y="2"/>
                    <a:pt x="79" y="2"/>
                    <a:pt x="79" y="2"/>
                  </a:cubicBezTo>
                  <a:cubicBezTo>
                    <a:pt x="78" y="2"/>
                    <a:pt x="77" y="3"/>
                    <a:pt x="76" y="3"/>
                  </a:cubicBezTo>
                  <a:cubicBezTo>
                    <a:pt x="75" y="4"/>
                    <a:pt x="75" y="2"/>
                    <a:pt x="75" y="2"/>
                  </a:cubicBezTo>
                  <a:cubicBezTo>
                    <a:pt x="74" y="1"/>
                    <a:pt x="73" y="2"/>
                    <a:pt x="73" y="2"/>
                  </a:cubicBezTo>
                  <a:cubicBezTo>
                    <a:pt x="72" y="2"/>
                    <a:pt x="72" y="1"/>
                    <a:pt x="72" y="1"/>
                  </a:cubicBezTo>
                  <a:cubicBezTo>
                    <a:pt x="71" y="0"/>
                    <a:pt x="70" y="1"/>
                    <a:pt x="70" y="1"/>
                  </a:cubicBezTo>
                  <a:cubicBezTo>
                    <a:pt x="69" y="2"/>
                    <a:pt x="69" y="2"/>
                    <a:pt x="68" y="2"/>
                  </a:cubicBezTo>
                  <a:cubicBezTo>
                    <a:pt x="67" y="2"/>
                    <a:pt x="66" y="2"/>
                    <a:pt x="66" y="2"/>
                  </a:cubicBezTo>
                  <a:cubicBezTo>
                    <a:pt x="65" y="2"/>
                    <a:pt x="64" y="2"/>
                    <a:pt x="64" y="2"/>
                  </a:cubicBezTo>
                  <a:cubicBezTo>
                    <a:pt x="64" y="2"/>
                    <a:pt x="63" y="3"/>
                    <a:pt x="62" y="3"/>
                  </a:cubicBezTo>
                  <a:cubicBezTo>
                    <a:pt x="62" y="3"/>
                    <a:pt x="60" y="4"/>
                    <a:pt x="59" y="4"/>
                  </a:cubicBezTo>
                  <a:cubicBezTo>
                    <a:pt x="58" y="4"/>
                    <a:pt x="58" y="3"/>
                    <a:pt x="57" y="3"/>
                  </a:cubicBezTo>
                  <a:cubicBezTo>
                    <a:pt x="55" y="4"/>
                    <a:pt x="55" y="5"/>
                    <a:pt x="54" y="6"/>
                  </a:cubicBezTo>
                  <a:cubicBezTo>
                    <a:pt x="51" y="10"/>
                    <a:pt x="47" y="9"/>
                    <a:pt x="43" y="6"/>
                  </a:cubicBezTo>
                  <a:cubicBezTo>
                    <a:pt x="39" y="4"/>
                    <a:pt x="33" y="9"/>
                    <a:pt x="29" y="10"/>
                  </a:cubicBezTo>
                  <a:cubicBezTo>
                    <a:pt x="26" y="11"/>
                    <a:pt x="23" y="12"/>
                    <a:pt x="20" y="12"/>
                  </a:cubicBezTo>
                  <a:cubicBezTo>
                    <a:pt x="18" y="12"/>
                    <a:pt x="15" y="12"/>
                    <a:pt x="13" y="12"/>
                  </a:cubicBezTo>
                  <a:cubicBezTo>
                    <a:pt x="10" y="13"/>
                    <a:pt x="12" y="14"/>
                    <a:pt x="12" y="15"/>
                  </a:cubicBezTo>
                  <a:cubicBezTo>
                    <a:pt x="11" y="17"/>
                    <a:pt x="5" y="16"/>
                    <a:pt x="3" y="16"/>
                  </a:cubicBezTo>
                  <a:cubicBezTo>
                    <a:pt x="1" y="17"/>
                    <a:pt x="0" y="20"/>
                    <a:pt x="0" y="22"/>
                  </a:cubicBezTo>
                  <a:cubicBezTo>
                    <a:pt x="1" y="25"/>
                    <a:pt x="4" y="26"/>
                    <a:pt x="6" y="28"/>
                  </a:cubicBezTo>
                  <a:cubicBezTo>
                    <a:pt x="7" y="29"/>
                    <a:pt x="10" y="29"/>
                    <a:pt x="11" y="32"/>
                  </a:cubicBezTo>
                  <a:cubicBezTo>
                    <a:pt x="11" y="33"/>
                    <a:pt x="11" y="33"/>
                    <a:pt x="11" y="34"/>
                  </a:cubicBezTo>
                  <a:cubicBezTo>
                    <a:pt x="12" y="34"/>
                    <a:pt x="13" y="34"/>
                    <a:pt x="14" y="34"/>
                  </a:cubicBezTo>
                  <a:cubicBezTo>
                    <a:pt x="14" y="33"/>
                    <a:pt x="16" y="34"/>
                    <a:pt x="17" y="34"/>
                  </a:cubicBezTo>
                  <a:cubicBezTo>
                    <a:pt x="18" y="35"/>
                    <a:pt x="19" y="34"/>
                    <a:pt x="20" y="34"/>
                  </a:cubicBezTo>
                  <a:cubicBezTo>
                    <a:pt x="20" y="33"/>
                    <a:pt x="20" y="33"/>
                    <a:pt x="21" y="32"/>
                  </a:cubicBezTo>
                  <a:cubicBezTo>
                    <a:pt x="22" y="30"/>
                    <a:pt x="24" y="30"/>
                    <a:pt x="26" y="31"/>
                  </a:cubicBezTo>
                  <a:cubicBezTo>
                    <a:pt x="27" y="31"/>
                    <a:pt x="28" y="31"/>
                    <a:pt x="29" y="31"/>
                  </a:cubicBezTo>
                  <a:cubicBezTo>
                    <a:pt x="30" y="32"/>
                    <a:pt x="30" y="32"/>
                    <a:pt x="31" y="32"/>
                  </a:cubicBezTo>
                  <a:cubicBezTo>
                    <a:pt x="33" y="33"/>
                    <a:pt x="34" y="33"/>
                    <a:pt x="35" y="35"/>
                  </a:cubicBezTo>
                  <a:cubicBezTo>
                    <a:pt x="36" y="36"/>
                    <a:pt x="36" y="36"/>
                    <a:pt x="37" y="37"/>
                  </a:cubicBezTo>
                  <a:cubicBezTo>
                    <a:pt x="39" y="38"/>
                    <a:pt x="39" y="38"/>
                    <a:pt x="41" y="37"/>
                  </a:cubicBezTo>
                  <a:cubicBezTo>
                    <a:pt x="46" y="37"/>
                    <a:pt x="50" y="35"/>
                    <a:pt x="55" y="34"/>
                  </a:cubicBezTo>
                  <a:cubicBezTo>
                    <a:pt x="56" y="33"/>
                    <a:pt x="57" y="34"/>
                    <a:pt x="58" y="34"/>
                  </a:cubicBezTo>
                  <a:cubicBezTo>
                    <a:pt x="59" y="35"/>
                    <a:pt x="60" y="34"/>
                    <a:pt x="61" y="34"/>
                  </a:cubicBezTo>
                  <a:cubicBezTo>
                    <a:pt x="63" y="35"/>
                    <a:pt x="65" y="35"/>
                    <a:pt x="67" y="34"/>
                  </a:cubicBezTo>
                  <a:cubicBezTo>
                    <a:pt x="68" y="34"/>
                    <a:pt x="70" y="33"/>
                    <a:pt x="71" y="33"/>
                  </a:cubicBezTo>
                  <a:cubicBezTo>
                    <a:pt x="73" y="32"/>
                    <a:pt x="76" y="32"/>
                    <a:pt x="78" y="33"/>
                  </a:cubicBezTo>
                  <a:cubicBezTo>
                    <a:pt x="80" y="33"/>
                    <a:pt x="82" y="33"/>
                    <a:pt x="83" y="33"/>
                  </a:cubicBezTo>
                  <a:cubicBezTo>
                    <a:pt x="85" y="34"/>
                    <a:pt x="86" y="35"/>
                    <a:pt x="88" y="34"/>
                  </a:cubicBezTo>
                  <a:cubicBezTo>
                    <a:pt x="88" y="34"/>
                    <a:pt x="90" y="33"/>
                    <a:pt x="90" y="33"/>
                  </a:cubicBezTo>
                  <a:cubicBezTo>
                    <a:pt x="91" y="34"/>
                    <a:pt x="91" y="34"/>
                    <a:pt x="91" y="34"/>
                  </a:cubicBezTo>
                  <a:cubicBezTo>
                    <a:pt x="91" y="35"/>
                    <a:pt x="93" y="34"/>
                    <a:pt x="94" y="34"/>
                  </a:cubicBezTo>
                  <a:cubicBezTo>
                    <a:pt x="95" y="34"/>
                    <a:pt x="96" y="34"/>
                    <a:pt x="97" y="34"/>
                  </a:cubicBezTo>
                  <a:cubicBezTo>
                    <a:pt x="100" y="33"/>
                    <a:pt x="103" y="34"/>
                    <a:pt x="106" y="34"/>
                  </a:cubicBezTo>
                  <a:cubicBezTo>
                    <a:pt x="107" y="34"/>
                    <a:pt x="109" y="34"/>
                    <a:pt x="110" y="34"/>
                  </a:cubicBezTo>
                  <a:cubicBezTo>
                    <a:pt x="111" y="34"/>
                    <a:pt x="112" y="34"/>
                    <a:pt x="113" y="33"/>
                  </a:cubicBezTo>
                  <a:cubicBezTo>
                    <a:pt x="114" y="33"/>
                    <a:pt x="114" y="32"/>
                    <a:pt x="115" y="33"/>
                  </a:cubicBezTo>
                  <a:cubicBezTo>
                    <a:pt x="115" y="33"/>
                    <a:pt x="116" y="34"/>
                    <a:pt x="117" y="34"/>
                  </a:cubicBezTo>
                  <a:cubicBezTo>
                    <a:pt x="118" y="35"/>
                    <a:pt x="119" y="36"/>
                    <a:pt x="120" y="37"/>
                  </a:cubicBezTo>
                  <a:cubicBezTo>
                    <a:pt x="121" y="39"/>
                    <a:pt x="122" y="40"/>
                    <a:pt x="124" y="41"/>
                  </a:cubicBezTo>
                  <a:cubicBezTo>
                    <a:pt x="125" y="42"/>
                    <a:pt x="126" y="43"/>
                    <a:pt x="128" y="44"/>
                  </a:cubicBezTo>
                  <a:cubicBezTo>
                    <a:pt x="131" y="45"/>
                    <a:pt x="135" y="43"/>
                    <a:pt x="138" y="44"/>
                  </a:cubicBezTo>
                  <a:cubicBezTo>
                    <a:pt x="139" y="44"/>
                    <a:pt x="139" y="44"/>
                    <a:pt x="139" y="44"/>
                  </a:cubicBezTo>
                  <a:cubicBezTo>
                    <a:pt x="139" y="43"/>
                    <a:pt x="140" y="42"/>
                    <a:pt x="140" y="42"/>
                  </a:cubicBezTo>
                  <a:cubicBezTo>
                    <a:pt x="141" y="41"/>
                    <a:pt x="142" y="39"/>
                    <a:pt x="142" y="38"/>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1" name="Freeform 54">
              <a:extLst>
                <a:ext uri="{FF2B5EF4-FFF2-40B4-BE49-F238E27FC236}">
                  <a16:creationId xmlns:a16="http://schemas.microsoft.com/office/drawing/2014/main" id="{FD964DF9-CCC9-CC38-6C52-3FE61359E685}"/>
                </a:ext>
              </a:extLst>
            </p:cNvPr>
            <p:cNvSpPr>
              <a:spLocks noEditPoints="1"/>
            </p:cNvSpPr>
            <p:nvPr/>
          </p:nvSpPr>
          <p:spPr bwMode="auto">
            <a:xfrm>
              <a:off x="6186488" y="5713413"/>
              <a:ext cx="1474788" cy="687387"/>
            </a:xfrm>
            <a:custGeom>
              <a:avLst/>
              <a:gdLst>
                <a:gd name="T0" fmla="*/ 39 w 387"/>
                <a:gd name="T1" fmla="*/ 32 h 180"/>
                <a:gd name="T2" fmla="*/ 32 w 387"/>
                <a:gd name="T3" fmla="*/ 42 h 180"/>
                <a:gd name="T4" fmla="*/ 52 w 387"/>
                <a:gd name="T5" fmla="*/ 37 h 180"/>
                <a:gd name="T6" fmla="*/ 44 w 387"/>
                <a:gd name="T7" fmla="*/ 39 h 180"/>
                <a:gd name="T8" fmla="*/ 245 w 387"/>
                <a:gd name="T9" fmla="*/ 22 h 180"/>
                <a:gd name="T10" fmla="*/ 250 w 387"/>
                <a:gd name="T11" fmla="*/ 6 h 180"/>
                <a:gd name="T12" fmla="*/ 242 w 387"/>
                <a:gd name="T13" fmla="*/ 7 h 180"/>
                <a:gd name="T14" fmla="*/ 223 w 387"/>
                <a:gd name="T15" fmla="*/ 25 h 180"/>
                <a:gd name="T16" fmla="*/ 194 w 387"/>
                <a:gd name="T17" fmla="*/ 29 h 180"/>
                <a:gd name="T18" fmla="*/ 173 w 387"/>
                <a:gd name="T19" fmla="*/ 26 h 180"/>
                <a:gd name="T20" fmla="*/ 158 w 387"/>
                <a:gd name="T21" fmla="*/ 32 h 180"/>
                <a:gd name="T22" fmla="*/ 130 w 387"/>
                <a:gd name="T23" fmla="*/ 21 h 180"/>
                <a:gd name="T24" fmla="*/ 98 w 387"/>
                <a:gd name="T25" fmla="*/ 12 h 180"/>
                <a:gd name="T26" fmla="*/ 78 w 387"/>
                <a:gd name="T27" fmla="*/ 18 h 180"/>
                <a:gd name="T28" fmla="*/ 66 w 387"/>
                <a:gd name="T29" fmla="*/ 24 h 180"/>
                <a:gd name="T30" fmla="*/ 55 w 387"/>
                <a:gd name="T31" fmla="*/ 45 h 180"/>
                <a:gd name="T32" fmla="*/ 87 w 387"/>
                <a:gd name="T33" fmla="*/ 48 h 180"/>
                <a:gd name="T34" fmla="*/ 130 w 387"/>
                <a:gd name="T35" fmla="*/ 55 h 180"/>
                <a:gd name="T36" fmla="*/ 166 w 387"/>
                <a:gd name="T37" fmla="*/ 47 h 180"/>
                <a:gd name="T38" fmla="*/ 190 w 387"/>
                <a:gd name="T39" fmla="*/ 46 h 180"/>
                <a:gd name="T40" fmla="*/ 241 w 387"/>
                <a:gd name="T41" fmla="*/ 32 h 180"/>
                <a:gd name="T42" fmla="*/ 95 w 387"/>
                <a:gd name="T43" fmla="*/ 97 h 180"/>
                <a:gd name="T44" fmla="*/ 62 w 387"/>
                <a:gd name="T45" fmla="*/ 76 h 180"/>
                <a:gd name="T46" fmla="*/ 24 w 387"/>
                <a:gd name="T47" fmla="*/ 81 h 180"/>
                <a:gd name="T48" fmla="*/ 7 w 387"/>
                <a:gd name="T49" fmla="*/ 101 h 180"/>
                <a:gd name="T50" fmla="*/ 42 w 387"/>
                <a:gd name="T51" fmla="*/ 106 h 180"/>
                <a:gd name="T52" fmla="*/ 67 w 387"/>
                <a:gd name="T53" fmla="*/ 125 h 180"/>
                <a:gd name="T54" fmla="*/ 96 w 387"/>
                <a:gd name="T55" fmla="*/ 137 h 180"/>
                <a:gd name="T56" fmla="*/ 116 w 387"/>
                <a:gd name="T57" fmla="*/ 120 h 180"/>
                <a:gd name="T58" fmla="*/ 174 w 387"/>
                <a:gd name="T59" fmla="*/ 155 h 180"/>
                <a:gd name="T60" fmla="*/ 275 w 387"/>
                <a:gd name="T61" fmla="*/ 158 h 180"/>
                <a:gd name="T62" fmla="*/ 264 w 387"/>
                <a:gd name="T63" fmla="*/ 158 h 180"/>
                <a:gd name="T64" fmla="*/ 245 w 387"/>
                <a:gd name="T65" fmla="*/ 178 h 180"/>
                <a:gd name="T66" fmla="*/ 266 w 387"/>
                <a:gd name="T67" fmla="*/ 168 h 180"/>
                <a:gd name="T68" fmla="*/ 279 w 387"/>
                <a:gd name="T69" fmla="*/ 128 h 180"/>
                <a:gd name="T70" fmla="*/ 276 w 387"/>
                <a:gd name="T71" fmla="*/ 137 h 180"/>
                <a:gd name="T72" fmla="*/ 245 w 387"/>
                <a:gd name="T73" fmla="*/ 34 h 180"/>
                <a:gd name="T74" fmla="*/ 258 w 387"/>
                <a:gd name="T75" fmla="*/ 20 h 180"/>
                <a:gd name="T76" fmla="*/ 253 w 387"/>
                <a:gd name="T77" fmla="*/ 20 h 180"/>
                <a:gd name="T78" fmla="*/ 279 w 387"/>
                <a:gd name="T79" fmla="*/ 30 h 180"/>
                <a:gd name="T80" fmla="*/ 288 w 387"/>
                <a:gd name="T81" fmla="*/ 22 h 180"/>
                <a:gd name="T82" fmla="*/ 308 w 387"/>
                <a:gd name="T83" fmla="*/ 10 h 180"/>
                <a:gd name="T84" fmla="*/ 290 w 387"/>
                <a:gd name="T85" fmla="*/ 14 h 180"/>
                <a:gd name="T86" fmla="*/ 278 w 387"/>
                <a:gd name="T87" fmla="*/ 12 h 180"/>
                <a:gd name="T88" fmla="*/ 267 w 387"/>
                <a:gd name="T89" fmla="*/ 27 h 180"/>
                <a:gd name="T90" fmla="*/ 327 w 387"/>
                <a:gd name="T91" fmla="*/ 23 h 180"/>
                <a:gd name="T92" fmla="*/ 327 w 387"/>
                <a:gd name="T93" fmla="*/ 11 h 180"/>
                <a:gd name="T94" fmla="*/ 312 w 387"/>
                <a:gd name="T95" fmla="*/ 17 h 180"/>
                <a:gd name="T96" fmla="*/ 356 w 387"/>
                <a:gd name="T97" fmla="*/ 20 h 180"/>
                <a:gd name="T98" fmla="*/ 360 w 387"/>
                <a:gd name="T99" fmla="*/ 5 h 180"/>
                <a:gd name="T100" fmla="*/ 347 w 387"/>
                <a:gd name="T101" fmla="*/ 10 h 180"/>
                <a:gd name="T102" fmla="*/ 374 w 387"/>
                <a:gd name="T103" fmla="*/ 72 h 180"/>
                <a:gd name="T104" fmla="*/ 384 w 387"/>
                <a:gd name="T105" fmla="*/ 58 h 180"/>
                <a:gd name="T106" fmla="*/ 360 w 387"/>
                <a:gd name="T107" fmla="*/ 60 h 180"/>
                <a:gd name="T108" fmla="*/ 339 w 387"/>
                <a:gd name="T109" fmla="*/ 79 h 180"/>
                <a:gd name="T110" fmla="*/ 322 w 387"/>
                <a:gd name="T111" fmla="*/ 85 h 180"/>
                <a:gd name="T112" fmla="*/ 297 w 387"/>
                <a:gd name="T113" fmla="*/ 94 h 180"/>
                <a:gd name="T114" fmla="*/ 294 w 387"/>
                <a:gd name="T115" fmla="*/ 122 h 180"/>
                <a:gd name="T116" fmla="*/ 292 w 387"/>
                <a:gd name="T117" fmla="*/ 143 h 180"/>
                <a:gd name="T118" fmla="*/ 352 w 387"/>
                <a:gd name="T119" fmla="*/ 1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 h="180">
                  <a:moveTo>
                    <a:pt x="28" y="33"/>
                  </a:moveTo>
                  <a:cubicBezTo>
                    <a:pt x="28" y="32"/>
                    <a:pt x="28" y="32"/>
                    <a:pt x="28" y="32"/>
                  </a:cubicBezTo>
                  <a:cubicBezTo>
                    <a:pt x="29" y="31"/>
                    <a:pt x="29" y="31"/>
                    <a:pt x="29" y="31"/>
                  </a:cubicBezTo>
                  <a:cubicBezTo>
                    <a:pt x="29" y="31"/>
                    <a:pt x="30" y="29"/>
                    <a:pt x="30" y="29"/>
                  </a:cubicBezTo>
                  <a:cubicBezTo>
                    <a:pt x="30" y="28"/>
                    <a:pt x="31" y="27"/>
                    <a:pt x="31" y="26"/>
                  </a:cubicBezTo>
                  <a:cubicBezTo>
                    <a:pt x="31" y="26"/>
                    <a:pt x="32" y="26"/>
                    <a:pt x="31" y="25"/>
                  </a:cubicBezTo>
                  <a:cubicBezTo>
                    <a:pt x="31" y="24"/>
                    <a:pt x="30" y="24"/>
                    <a:pt x="31" y="23"/>
                  </a:cubicBezTo>
                  <a:cubicBezTo>
                    <a:pt x="31" y="23"/>
                    <a:pt x="32" y="23"/>
                    <a:pt x="32" y="23"/>
                  </a:cubicBezTo>
                  <a:cubicBezTo>
                    <a:pt x="33" y="26"/>
                    <a:pt x="33" y="26"/>
                    <a:pt x="33" y="26"/>
                  </a:cubicBezTo>
                  <a:cubicBezTo>
                    <a:pt x="34" y="26"/>
                    <a:pt x="35" y="26"/>
                    <a:pt x="36" y="26"/>
                  </a:cubicBezTo>
                  <a:cubicBezTo>
                    <a:pt x="37" y="26"/>
                    <a:pt x="38" y="26"/>
                    <a:pt x="38" y="26"/>
                  </a:cubicBezTo>
                  <a:cubicBezTo>
                    <a:pt x="39" y="26"/>
                    <a:pt x="39" y="28"/>
                    <a:pt x="39" y="28"/>
                  </a:cubicBezTo>
                  <a:cubicBezTo>
                    <a:pt x="39" y="28"/>
                    <a:pt x="39" y="29"/>
                    <a:pt x="39" y="30"/>
                  </a:cubicBezTo>
                  <a:cubicBezTo>
                    <a:pt x="39" y="30"/>
                    <a:pt x="39" y="31"/>
                    <a:pt x="39" y="32"/>
                  </a:cubicBezTo>
                  <a:cubicBezTo>
                    <a:pt x="39" y="32"/>
                    <a:pt x="39" y="33"/>
                    <a:pt x="39" y="33"/>
                  </a:cubicBezTo>
                  <a:cubicBezTo>
                    <a:pt x="37" y="33"/>
                    <a:pt x="37" y="33"/>
                    <a:pt x="37" y="33"/>
                  </a:cubicBezTo>
                  <a:cubicBezTo>
                    <a:pt x="36" y="32"/>
                    <a:pt x="36" y="32"/>
                    <a:pt x="36" y="32"/>
                  </a:cubicBezTo>
                  <a:cubicBezTo>
                    <a:pt x="35" y="32"/>
                    <a:pt x="35" y="32"/>
                    <a:pt x="35" y="32"/>
                  </a:cubicBezTo>
                  <a:cubicBezTo>
                    <a:pt x="34" y="33"/>
                    <a:pt x="34" y="33"/>
                    <a:pt x="34" y="33"/>
                  </a:cubicBezTo>
                  <a:cubicBezTo>
                    <a:pt x="33" y="33"/>
                    <a:pt x="33" y="33"/>
                    <a:pt x="33" y="33"/>
                  </a:cubicBezTo>
                  <a:cubicBezTo>
                    <a:pt x="33" y="34"/>
                    <a:pt x="33" y="34"/>
                    <a:pt x="33" y="34"/>
                  </a:cubicBezTo>
                  <a:cubicBezTo>
                    <a:pt x="34" y="34"/>
                    <a:pt x="34" y="34"/>
                    <a:pt x="34" y="34"/>
                  </a:cubicBezTo>
                  <a:cubicBezTo>
                    <a:pt x="34" y="34"/>
                    <a:pt x="34" y="36"/>
                    <a:pt x="33" y="36"/>
                  </a:cubicBezTo>
                  <a:cubicBezTo>
                    <a:pt x="33" y="36"/>
                    <a:pt x="32" y="37"/>
                    <a:pt x="32" y="37"/>
                  </a:cubicBezTo>
                  <a:cubicBezTo>
                    <a:pt x="31" y="38"/>
                    <a:pt x="31" y="38"/>
                    <a:pt x="31" y="38"/>
                  </a:cubicBezTo>
                  <a:cubicBezTo>
                    <a:pt x="31" y="38"/>
                    <a:pt x="32" y="38"/>
                    <a:pt x="32" y="39"/>
                  </a:cubicBezTo>
                  <a:cubicBezTo>
                    <a:pt x="32" y="39"/>
                    <a:pt x="32" y="41"/>
                    <a:pt x="32" y="41"/>
                  </a:cubicBezTo>
                  <a:cubicBezTo>
                    <a:pt x="32" y="42"/>
                    <a:pt x="32" y="42"/>
                    <a:pt x="32" y="42"/>
                  </a:cubicBezTo>
                  <a:cubicBezTo>
                    <a:pt x="28" y="40"/>
                    <a:pt x="28" y="40"/>
                    <a:pt x="28" y="40"/>
                  </a:cubicBezTo>
                  <a:cubicBezTo>
                    <a:pt x="29" y="39"/>
                    <a:pt x="29" y="39"/>
                    <a:pt x="29" y="39"/>
                  </a:cubicBezTo>
                  <a:cubicBezTo>
                    <a:pt x="29" y="39"/>
                    <a:pt x="29" y="38"/>
                    <a:pt x="29" y="38"/>
                  </a:cubicBezTo>
                  <a:cubicBezTo>
                    <a:pt x="29" y="37"/>
                    <a:pt x="29" y="37"/>
                    <a:pt x="29" y="36"/>
                  </a:cubicBezTo>
                  <a:cubicBezTo>
                    <a:pt x="29" y="36"/>
                    <a:pt x="29" y="34"/>
                    <a:pt x="29" y="34"/>
                  </a:cubicBezTo>
                  <a:lnTo>
                    <a:pt x="28" y="33"/>
                  </a:lnTo>
                  <a:close/>
                  <a:moveTo>
                    <a:pt x="46" y="45"/>
                  </a:moveTo>
                  <a:cubicBezTo>
                    <a:pt x="46" y="46"/>
                    <a:pt x="47" y="46"/>
                    <a:pt x="47" y="45"/>
                  </a:cubicBezTo>
                  <a:cubicBezTo>
                    <a:pt x="48" y="44"/>
                    <a:pt x="48" y="44"/>
                    <a:pt x="48" y="44"/>
                  </a:cubicBezTo>
                  <a:cubicBezTo>
                    <a:pt x="49" y="43"/>
                    <a:pt x="49" y="42"/>
                    <a:pt x="48" y="42"/>
                  </a:cubicBezTo>
                  <a:cubicBezTo>
                    <a:pt x="48" y="41"/>
                    <a:pt x="47" y="41"/>
                    <a:pt x="47" y="40"/>
                  </a:cubicBezTo>
                  <a:cubicBezTo>
                    <a:pt x="47" y="39"/>
                    <a:pt x="48" y="39"/>
                    <a:pt x="48" y="39"/>
                  </a:cubicBezTo>
                  <a:cubicBezTo>
                    <a:pt x="49" y="38"/>
                    <a:pt x="50" y="39"/>
                    <a:pt x="50" y="38"/>
                  </a:cubicBezTo>
                  <a:cubicBezTo>
                    <a:pt x="52" y="37"/>
                    <a:pt x="52" y="37"/>
                    <a:pt x="52" y="37"/>
                  </a:cubicBezTo>
                  <a:cubicBezTo>
                    <a:pt x="53" y="36"/>
                    <a:pt x="53" y="36"/>
                    <a:pt x="53" y="36"/>
                  </a:cubicBezTo>
                  <a:cubicBezTo>
                    <a:pt x="54" y="35"/>
                    <a:pt x="54" y="35"/>
                    <a:pt x="54" y="35"/>
                  </a:cubicBezTo>
                  <a:cubicBezTo>
                    <a:pt x="54" y="35"/>
                    <a:pt x="53" y="35"/>
                    <a:pt x="52" y="34"/>
                  </a:cubicBezTo>
                  <a:cubicBezTo>
                    <a:pt x="52" y="34"/>
                    <a:pt x="49" y="35"/>
                    <a:pt x="49" y="35"/>
                  </a:cubicBezTo>
                  <a:cubicBezTo>
                    <a:pt x="48" y="36"/>
                    <a:pt x="48" y="36"/>
                    <a:pt x="48" y="36"/>
                  </a:cubicBezTo>
                  <a:cubicBezTo>
                    <a:pt x="48" y="36"/>
                    <a:pt x="48" y="37"/>
                    <a:pt x="48" y="37"/>
                  </a:cubicBezTo>
                  <a:cubicBezTo>
                    <a:pt x="48" y="38"/>
                    <a:pt x="47" y="38"/>
                    <a:pt x="47" y="38"/>
                  </a:cubicBezTo>
                  <a:cubicBezTo>
                    <a:pt x="45" y="38"/>
                    <a:pt x="45" y="38"/>
                    <a:pt x="45" y="38"/>
                  </a:cubicBezTo>
                  <a:cubicBezTo>
                    <a:pt x="45" y="35"/>
                    <a:pt x="45" y="35"/>
                    <a:pt x="45" y="35"/>
                  </a:cubicBezTo>
                  <a:cubicBezTo>
                    <a:pt x="45" y="34"/>
                    <a:pt x="45" y="34"/>
                    <a:pt x="45" y="34"/>
                  </a:cubicBezTo>
                  <a:cubicBezTo>
                    <a:pt x="43" y="34"/>
                    <a:pt x="43" y="34"/>
                    <a:pt x="43" y="34"/>
                  </a:cubicBezTo>
                  <a:cubicBezTo>
                    <a:pt x="43" y="34"/>
                    <a:pt x="44" y="36"/>
                    <a:pt x="44" y="36"/>
                  </a:cubicBezTo>
                  <a:cubicBezTo>
                    <a:pt x="44" y="37"/>
                    <a:pt x="44" y="38"/>
                    <a:pt x="44" y="38"/>
                  </a:cubicBezTo>
                  <a:cubicBezTo>
                    <a:pt x="44" y="39"/>
                    <a:pt x="44" y="39"/>
                    <a:pt x="44" y="39"/>
                  </a:cubicBezTo>
                  <a:cubicBezTo>
                    <a:pt x="43" y="40"/>
                    <a:pt x="43" y="40"/>
                    <a:pt x="43" y="40"/>
                  </a:cubicBezTo>
                  <a:cubicBezTo>
                    <a:pt x="43" y="41"/>
                    <a:pt x="43" y="42"/>
                    <a:pt x="43" y="42"/>
                  </a:cubicBezTo>
                  <a:cubicBezTo>
                    <a:pt x="43" y="43"/>
                    <a:pt x="43" y="43"/>
                    <a:pt x="43" y="44"/>
                  </a:cubicBezTo>
                  <a:cubicBezTo>
                    <a:pt x="43" y="44"/>
                    <a:pt x="43" y="44"/>
                    <a:pt x="44" y="44"/>
                  </a:cubicBezTo>
                  <a:cubicBezTo>
                    <a:pt x="45" y="44"/>
                    <a:pt x="45" y="45"/>
                    <a:pt x="46" y="45"/>
                  </a:cubicBezTo>
                  <a:close/>
                  <a:moveTo>
                    <a:pt x="242" y="30"/>
                  </a:moveTo>
                  <a:cubicBezTo>
                    <a:pt x="242" y="29"/>
                    <a:pt x="241" y="29"/>
                    <a:pt x="241" y="28"/>
                  </a:cubicBezTo>
                  <a:cubicBezTo>
                    <a:pt x="241" y="28"/>
                    <a:pt x="240" y="27"/>
                    <a:pt x="240" y="27"/>
                  </a:cubicBezTo>
                  <a:cubicBezTo>
                    <a:pt x="239" y="26"/>
                    <a:pt x="239" y="26"/>
                    <a:pt x="239" y="26"/>
                  </a:cubicBezTo>
                  <a:cubicBezTo>
                    <a:pt x="238" y="23"/>
                    <a:pt x="238" y="23"/>
                    <a:pt x="238" y="23"/>
                  </a:cubicBezTo>
                  <a:cubicBezTo>
                    <a:pt x="239" y="22"/>
                    <a:pt x="239" y="22"/>
                    <a:pt x="239" y="22"/>
                  </a:cubicBezTo>
                  <a:cubicBezTo>
                    <a:pt x="239" y="22"/>
                    <a:pt x="241" y="23"/>
                    <a:pt x="241" y="23"/>
                  </a:cubicBezTo>
                  <a:cubicBezTo>
                    <a:pt x="242" y="23"/>
                    <a:pt x="244" y="23"/>
                    <a:pt x="244" y="24"/>
                  </a:cubicBezTo>
                  <a:cubicBezTo>
                    <a:pt x="245" y="24"/>
                    <a:pt x="245" y="23"/>
                    <a:pt x="245" y="22"/>
                  </a:cubicBezTo>
                  <a:cubicBezTo>
                    <a:pt x="245" y="22"/>
                    <a:pt x="244" y="21"/>
                    <a:pt x="244" y="21"/>
                  </a:cubicBezTo>
                  <a:cubicBezTo>
                    <a:pt x="244" y="20"/>
                    <a:pt x="244" y="20"/>
                    <a:pt x="244" y="20"/>
                  </a:cubicBezTo>
                  <a:cubicBezTo>
                    <a:pt x="244" y="18"/>
                    <a:pt x="244" y="18"/>
                    <a:pt x="244" y="18"/>
                  </a:cubicBezTo>
                  <a:cubicBezTo>
                    <a:pt x="246" y="16"/>
                    <a:pt x="246" y="16"/>
                    <a:pt x="246" y="16"/>
                  </a:cubicBezTo>
                  <a:cubicBezTo>
                    <a:pt x="246" y="16"/>
                    <a:pt x="248" y="17"/>
                    <a:pt x="249" y="17"/>
                  </a:cubicBezTo>
                  <a:cubicBezTo>
                    <a:pt x="249" y="17"/>
                    <a:pt x="250" y="17"/>
                    <a:pt x="250" y="17"/>
                  </a:cubicBezTo>
                  <a:cubicBezTo>
                    <a:pt x="251" y="17"/>
                    <a:pt x="252" y="16"/>
                    <a:pt x="252" y="16"/>
                  </a:cubicBezTo>
                  <a:cubicBezTo>
                    <a:pt x="253" y="14"/>
                    <a:pt x="253" y="14"/>
                    <a:pt x="253" y="14"/>
                  </a:cubicBezTo>
                  <a:cubicBezTo>
                    <a:pt x="253" y="13"/>
                    <a:pt x="252" y="13"/>
                    <a:pt x="252" y="12"/>
                  </a:cubicBezTo>
                  <a:cubicBezTo>
                    <a:pt x="251" y="12"/>
                    <a:pt x="251" y="11"/>
                    <a:pt x="251" y="11"/>
                  </a:cubicBezTo>
                  <a:cubicBezTo>
                    <a:pt x="250" y="11"/>
                    <a:pt x="250" y="10"/>
                    <a:pt x="250" y="10"/>
                  </a:cubicBezTo>
                  <a:cubicBezTo>
                    <a:pt x="249" y="9"/>
                    <a:pt x="249" y="9"/>
                    <a:pt x="249" y="9"/>
                  </a:cubicBezTo>
                  <a:cubicBezTo>
                    <a:pt x="249" y="8"/>
                    <a:pt x="249" y="8"/>
                    <a:pt x="249" y="8"/>
                  </a:cubicBezTo>
                  <a:cubicBezTo>
                    <a:pt x="250" y="6"/>
                    <a:pt x="250" y="6"/>
                    <a:pt x="250" y="6"/>
                  </a:cubicBezTo>
                  <a:cubicBezTo>
                    <a:pt x="250" y="3"/>
                    <a:pt x="250" y="3"/>
                    <a:pt x="250" y="3"/>
                  </a:cubicBezTo>
                  <a:cubicBezTo>
                    <a:pt x="249" y="3"/>
                    <a:pt x="249" y="3"/>
                    <a:pt x="249" y="3"/>
                  </a:cubicBezTo>
                  <a:cubicBezTo>
                    <a:pt x="248" y="3"/>
                    <a:pt x="248" y="3"/>
                    <a:pt x="248" y="3"/>
                  </a:cubicBezTo>
                  <a:cubicBezTo>
                    <a:pt x="246" y="2"/>
                    <a:pt x="246" y="2"/>
                    <a:pt x="246" y="2"/>
                  </a:cubicBezTo>
                  <a:cubicBezTo>
                    <a:pt x="246" y="2"/>
                    <a:pt x="245" y="0"/>
                    <a:pt x="244" y="0"/>
                  </a:cubicBezTo>
                  <a:cubicBezTo>
                    <a:pt x="244" y="0"/>
                    <a:pt x="243" y="0"/>
                    <a:pt x="242" y="0"/>
                  </a:cubicBezTo>
                  <a:cubicBezTo>
                    <a:pt x="241" y="2"/>
                    <a:pt x="241" y="2"/>
                    <a:pt x="241" y="2"/>
                  </a:cubicBezTo>
                  <a:cubicBezTo>
                    <a:pt x="238" y="3"/>
                    <a:pt x="238" y="3"/>
                    <a:pt x="238" y="3"/>
                  </a:cubicBezTo>
                  <a:cubicBezTo>
                    <a:pt x="238" y="5"/>
                    <a:pt x="238" y="5"/>
                    <a:pt x="238" y="5"/>
                  </a:cubicBezTo>
                  <a:cubicBezTo>
                    <a:pt x="238" y="5"/>
                    <a:pt x="236" y="7"/>
                    <a:pt x="236" y="7"/>
                  </a:cubicBezTo>
                  <a:cubicBezTo>
                    <a:pt x="236" y="7"/>
                    <a:pt x="235" y="9"/>
                    <a:pt x="235" y="9"/>
                  </a:cubicBezTo>
                  <a:cubicBezTo>
                    <a:pt x="235" y="9"/>
                    <a:pt x="238" y="10"/>
                    <a:pt x="238" y="10"/>
                  </a:cubicBezTo>
                  <a:cubicBezTo>
                    <a:pt x="239" y="9"/>
                    <a:pt x="240" y="8"/>
                    <a:pt x="241" y="7"/>
                  </a:cubicBezTo>
                  <a:cubicBezTo>
                    <a:pt x="241" y="7"/>
                    <a:pt x="241" y="7"/>
                    <a:pt x="242" y="7"/>
                  </a:cubicBezTo>
                  <a:cubicBezTo>
                    <a:pt x="242" y="7"/>
                    <a:pt x="245" y="7"/>
                    <a:pt x="245" y="7"/>
                  </a:cubicBezTo>
                  <a:cubicBezTo>
                    <a:pt x="246" y="7"/>
                    <a:pt x="247" y="8"/>
                    <a:pt x="247" y="8"/>
                  </a:cubicBezTo>
                  <a:cubicBezTo>
                    <a:pt x="247" y="8"/>
                    <a:pt x="247" y="9"/>
                    <a:pt x="246" y="10"/>
                  </a:cubicBezTo>
                  <a:cubicBezTo>
                    <a:pt x="246" y="10"/>
                    <a:pt x="245" y="11"/>
                    <a:pt x="245" y="12"/>
                  </a:cubicBezTo>
                  <a:cubicBezTo>
                    <a:pt x="245" y="12"/>
                    <a:pt x="245" y="13"/>
                    <a:pt x="244" y="13"/>
                  </a:cubicBezTo>
                  <a:cubicBezTo>
                    <a:pt x="242" y="14"/>
                    <a:pt x="242" y="14"/>
                    <a:pt x="242" y="14"/>
                  </a:cubicBezTo>
                  <a:cubicBezTo>
                    <a:pt x="240" y="15"/>
                    <a:pt x="240" y="15"/>
                    <a:pt x="240" y="15"/>
                  </a:cubicBezTo>
                  <a:cubicBezTo>
                    <a:pt x="238" y="17"/>
                    <a:pt x="238" y="17"/>
                    <a:pt x="238" y="17"/>
                  </a:cubicBezTo>
                  <a:cubicBezTo>
                    <a:pt x="236" y="19"/>
                    <a:pt x="236" y="19"/>
                    <a:pt x="236" y="19"/>
                  </a:cubicBezTo>
                  <a:cubicBezTo>
                    <a:pt x="236" y="19"/>
                    <a:pt x="233" y="19"/>
                    <a:pt x="233" y="19"/>
                  </a:cubicBezTo>
                  <a:cubicBezTo>
                    <a:pt x="232" y="19"/>
                    <a:pt x="230" y="20"/>
                    <a:pt x="229" y="20"/>
                  </a:cubicBezTo>
                  <a:cubicBezTo>
                    <a:pt x="229" y="20"/>
                    <a:pt x="227" y="21"/>
                    <a:pt x="227" y="21"/>
                  </a:cubicBezTo>
                  <a:cubicBezTo>
                    <a:pt x="225" y="23"/>
                    <a:pt x="225" y="23"/>
                    <a:pt x="225" y="23"/>
                  </a:cubicBezTo>
                  <a:cubicBezTo>
                    <a:pt x="223" y="25"/>
                    <a:pt x="223" y="25"/>
                    <a:pt x="223" y="25"/>
                  </a:cubicBezTo>
                  <a:cubicBezTo>
                    <a:pt x="221" y="25"/>
                    <a:pt x="221" y="25"/>
                    <a:pt x="221" y="25"/>
                  </a:cubicBezTo>
                  <a:cubicBezTo>
                    <a:pt x="220" y="26"/>
                    <a:pt x="220" y="26"/>
                    <a:pt x="220" y="26"/>
                  </a:cubicBezTo>
                  <a:cubicBezTo>
                    <a:pt x="220" y="28"/>
                    <a:pt x="220" y="28"/>
                    <a:pt x="220" y="28"/>
                  </a:cubicBezTo>
                  <a:cubicBezTo>
                    <a:pt x="222" y="29"/>
                    <a:pt x="222" y="29"/>
                    <a:pt x="222" y="29"/>
                  </a:cubicBezTo>
                  <a:cubicBezTo>
                    <a:pt x="222" y="30"/>
                    <a:pt x="221" y="31"/>
                    <a:pt x="221" y="32"/>
                  </a:cubicBezTo>
                  <a:cubicBezTo>
                    <a:pt x="220" y="32"/>
                    <a:pt x="219" y="34"/>
                    <a:pt x="219" y="34"/>
                  </a:cubicBezTo>
                  <a:cubicBezTo>
                    <a:pt x="214" y="34"/>
                    <a:pt x="214" y="34"/>
                    <a:pt x="214" y="34"/>
                  </a:cubicBezTo>
                  <a:cubicBezTo>
                    <a:pt x="211" y="34"/>
                    <a:pt x="211" y="34"/>
                    <a:pt x="211" y="34"/>
                  </a:cubicBezTo>
                  <a:cubicBezTo>
                    <a:pt x="210" y="35"/>
                    <a:pt x="210" y="35"/>
                    <a:pt x="210" y="35"/>
                  </a:cubicBezTo>
                  <a:cubicBezTo>
                    <a:pt x="210" y="35"/>
                    <a:pt x="209" y="36"/>
                    <a:pt x="208" y="36"/>
                  </a:cubicBezTo>
                  <a:cubicBezTo>
                    <a:pt x="208" y="36"/>
                    <a:pt x="206" y="35"/>
                    <a:pt x="206" y="35"/>
                  </a:cubicBezTo>
                  <a:cubicBezTo>
                    <a:pt x="205" y="35"/>
                    <a:pt x="204" y="35"/>
                    <a:pt x="204" y="34"/>
                  </a:cubicBezTo>
                  <a:cubicBezTo>
                    <a:pt x="203" y="34"/>
                    <a:pt x="197" y="29"/>
                    <a:pt x="196" y="29"/>
                  </a:cubicBezTo>
                  <a:cubicBezTo>
                    <a:pt x="196" y="29"/>
                    <a:pt x="194" y="29"/>
                    <a:pt x="194" y="29"/>
                  </a:cubicBezTo>
                  <a:cubicBezTo>
                    <a:pt x="193" y="28"/>
                    <a:pt x="193" y="28"/>
                    <a:pt x="193" y="28"/>
                  </a:cubicBezTo>
                  <a:cubicBezTo>
                    <a:pt x="191" y="28"/>
                    <a:pt x="191" y="28"/>
                    <a:pt x="191" y="28"/>
                  </a:cubicBezTo>
                  <a:cubicBezTo>
                    <a:pt x="191" y="28"/>
                    <a:pt x="190" y="28"/>
                    <a:pt x="190" y="27"/>
                  </a:cubicBezTo>
                  <a:cubicBezTo>
                    <a:pt x="190" y="27"/>
                    <a:pt x="190" y="26"/>
                    <a:pt x="190" y="26"/>
                  </a:cubicBezTo>
                  <a:cubicBezTo>
                    <a:pt x="191" y="24"/>
                    <a:pt x="191" y="24"/>
                    <a:pt x="191" y="24"/>
                  </a:cubicBezTo>
                  <a:cubicBezTo>
                    <a:pt x="192" y="23"/>
                    <a:pt x="192" y="23"/>
                    <a:pt x="192" y="23"/>
                  </a:cubicBezTo>
                  <a:cubicBezTo>
                    <a:pt x="192" y="23"/>
                    <a:pt x="190" y="23"/>
                    <a:pt x="190" y="23"/>
                  </a:cubicBezTo>
                  <a:cubicBezTo>
                    <a:pt x="189" y="24"/>
                    <a:pt x="188" y="24"/>
                    <a:pt x="187" y="25"/>
                  </a:cubicBezTo>
                  <a:cubicBezTo>
                    <a:pt x="186" y="25"/>
                    <a:pt x="185" y="26"/>
                    <a:pt x="184" y="26"/>
                  </a:cubicBezTo>
                  <a:cubicBezTo>
                    <a:pt x="184" y="27"/>
                    <a:pt x="183" y="26"/>
                    <a:pt x="182" y="26"/>
                  </a:cubicBezTo>
                  <a:cubicBezTo>
                    <a:pt x="181" y="26"/>
                    <a:pt x="181" y="26"/>
                    <a:pt x="180" y="26"/>
                  </a:cubicBezTo>
                  <a:cubicBezTo>
                    <a:pt x="180" y="26"/>
                    <a:pt x="179" y="27"/>
                    <a:pt x="179" y="27"/>
                  </a:cubicBezTo>
                  <a:cubicBezTo>
                    <a:pt x="177" y="27"/>
                    <a:pt x="177" y="27"/>
                    <a:pt x="177" y="27"/>
                  </a:cubicBezTo>
                  <a:cubicBezTo>
                    <a:pt x="177" y="27"/>
                    <a:pt x="174" y="26"/>
                    <a:pt x="173" y="26"/>
                  </a:cubicBezTo>
                  <a:cubicBezTo>
                    <a:pt x="172" y="26"/>
                    <a:pt x="172" y="27"/>
                    <a:pt x="171" y="27"/>
                  </a:cubicBezTo>
                  <a:cubicBezTo>
                    <a:pt x="170" y="27"/>
                    <a:pt x="170" y="27"/>
                    <a:pt x="169" y="27"/>
                  </a:cubicBezTo>
                  <a:cubicBezTo>
                    <a:pt x="169" y="27"/>
                    <a:pt x="169" y="27"/>
                    <a:pt x="168" y="27"/>
                  </a:cubicBezTo>
                  <a:cubicBezTo>
                    <a:pt x="167" y="27"/>
                    <a:pt x="168" y="26"/>
                    <a:pt x="168" y="25"/>
                  </a:cubicBezTo>
                  <a:cubicBezTo>
                    <a:pt x="168" y="25"/>
                    <a:pt x="167" y="25"/>
                    <a:pt x="167" y="25"/>
                  </a:cubicBezTo>
                  <a:cubicBezTo>
                    <a:pt x="166" y="26"/>
                    <a:pt x="166" y="26"/>
                    <a:pt x="166" y="26"/>
                  </a:cubicBezTo>
                  <a:cubicBezTo>
                    <a:pt x="166" y="27"/>
                    <a:pt x="166" y="27"/>
                    <a:pt x="166" y="27"/>
                  </a:cubicBezTo>
                  <a:cubicBezTo>
                    <a:pt x="165" y="28"/>
                    <a:pt x="165" y="28"/>
                    <a:pt x="165" y="28"/>
                  </a:cubicBezTo>
                  <a:cubicBezTo>
                    <a:pt x="165" y="30"/>
                    <a:pt x="165" y="30"/>
                    <a:pt x="165" y="30"/>
                  </a:cubicBezTo>
                  <a:cubicBezTo>
                    <a:pt x="164" y="31"/>
                    <a:pt x="164" y="31"/>
                    <a:pt x="164" y="31"/>
                  </a:cubicBezTo>
                  <a:cubicBezTo>
                    <a:pt x="164" y="32"/>
                    <a:pt x="163" y="32"/>
                    <a:pt x="163" y="32"/>
                  </a:cubicBezTo>
                  <a:cubicBezTo>
                    <a:pt x="162" y="32"/>
                    <a:pt x="162" y="33"/>
                    <a:pt x="161" y="33"/>
                  </a:cubicBezTo>
                  <a:cubicBezTo>
                    <a:pt x="160" y="34"/>
                    <a:pt x="160" y="34"/>
                    <a:pt x="160" y="34"/>
                  </a:cubicBezTo>
                  <a:cubicBezTo>
                    <a:pt x="158" y="32"/>
                    <a:pt x="158" y="32"/>
                    <a:pt x="158" y="32"/>
                  </a:cubicBezTo>
                  <a:cubicBezTo>
                    <a:pt x="157" y="31"/>
                    <a:pt x="157" y="31"/>
                    <a:pt x="157" y="31"/>
                  </a:cubicBezTo>
                  <a:cubicBezTo>
                    <a:pt x="157" y="31"/>
                    <a:pt x="156" y="31"/>
                    <a:pt x="156" y="31"/>
                  </a:cubicBezTo>
                  <a:cubicBezTo>
                    <a:pt x="155" y="32"/>
                    <a:pt x="154" y="32"/>
                    <a:pt x="153" y="32"/>
                  </a:cubicBezTo>
                  <a:cubicBezTo>
                    <a:pt x="153" y="32"/>
                    <a:pt x="153" y="32"/>
                    <a:pt x="152" y="32"/>
                  </a:cubicBezTo>
                  <a:cubicBezTo>
                    <a:pt x="150" y="30"/>
                    <a:pt x="150" y="30"/>
                    <a:pt x="150" y="30"/>
                  </a:cubicBezTo>
                  <a:cubicBezTo>
                    <a:pt x="149" y="29"/>
                    <a:pt x="149" y="29"/>
                    <a:pt x="149" y="29"/>
                  </a:cubicBezTo>
                  <a:cubicBezTo>
                    <a:pt x="149" y="29"/>
                    <a:pt x="148" y="28"/>
                    <a:pt x="148" y="27"/>
                  </a:cubicBezTo>
                  <a:cubicBezTo>
                    <a:pt x="147" y="27"/>
                    <a:pt x="146" y="26"/>
                    <a:pt x="146" y="25"/>
                  </a:cubicBezTo>
                  <a:cubicBezTo>
                    <a:pt x="145" y="25"/>
                    <a:pt x="144" y="24"/>
                    <a:pt x="143" y="24"/>
                  </a:cubicBezTo>
                  <a:cubicBezTo>
                    <a:pt x="141" y="24"/>
                    <a:pt x="141" y="24"/>
                    <a:pt x="141" y="24"/>
                  </a:cubicBezTo>
                  <a:cubicBezTo>
                    <a:pt x="141" y="24"/>
                    <a:pt x="139" y="23"/>
                    <a:pt x="139" y="23"/>
                  </a:cubicBezTo>
                  <a:cubicBezTo>
                    <a:pt x="139" y="22"/>
                    <a:pt x="137" y="22"/>
                    <a:pt x="136" y="22"/>
                  </a:cubicBezTo>
                  <a:cubicBezTo>
                    <a:pt x="135" y="22"/>
                    <a:pt x="133" y="22"/>
                    <a:pt x="132" y="22"/>
                  </a:cubicBezTo>
                  <a:cubicBezTo>
                    <a:pt x="130" y="22"/>
                    <a:pt x="130" y="21"/>
                    <a:pt x="130" y="21"/>
                  </a:cubicBezTo>
                  <a:cubicBezTo>
                    <a:pt x="127" y="19"/>
                    <a:pt x="127" y="19"/>
                    <a:pt x="127" y="19"/>
                  </a:cubicBezTo>
                  <a:cubicBezTo>
                    <a:pt x="126" y="17"/>
                    <a:pt x="126" y="17"/>
                    <a:pt x="126" y="17"/>
                  </a:cubicBezTo>
                  <a:cubicBezTo>
                    <a:pt x="126" y="17"/>
                    <a:pt x="126" y="17"/>
                    <a:pt x="126" y="17"/>
                  </a:cubicBezTo>
                  <a:cubicBezTo>
                    <a:pt x="125" y="17"/>
                    <a:pt x="125" y="17"/>
                    <a:pt x="125" y="17"/>
                  </a:cubicBezTo>
                  <a:cubicBezTo>
                    <a:pt x="125" y="17"/>
                    <a:pt x="121" y="18"/>
                    <a:pt x="119" y="18"/>
                  </a:cubicBezTo>
                  <a:cubicBezTo>
                    <a:pt x="118" y="18"/>
                    <a:pt x="118" y="17"/>
                    <a:pt x="117" y="17"/>
                  </a:cubicBezTo>
                  <a:cubicBezTo>
                    <a:pt x="117" y="17"/>
                    <a:pt x="114" y="17"/>
                    <a:pt x="112" y="17"/>
                  </a:cubicBezTo>
                  <a:cubicBezTo>
                    <a:pt x="111" y="17"/>
                    <a:pt x="110" y="17"/>
                    <a:pt x="110" y="16"/>
                  </a:cubicBezTo>
                  <a:cubicBezTo>
                    <a:pt x="109" y="16"/>
                    <a:pt x="108" y="15"/>
                    <a:pt x="107" y="14"/>
                  </a:cubicBezTo>
                  <a:cubicBezTo>
                    <a:pt x="106" y="14"/>
                    <a:pt x="104" y="11"/>
                    <a:pt x="104" y="11"/>
                  </a:cubicBezTo>
                  <a:cubicBezTo>
                    <a:pt x="104" y="10"/>
                    <a:pt x="103" y="12"/>
                    <a:pt x="103" y="13"/>
                  </a:cubicBezTo>
                  <a:cubicBezTo>
                    <a:pt x="103" y="15"/>
                    <a:pt x="102" y="14"/>
                    <a:pt x="101" y="14"/>
                  </a:cubicBezTo>
                  <a:cubicBezTo>
                    <a:pt x="100" y="14"/>
                    <a:pt x="100" y="14"/>
                    <a:pt x="100" y="13"/>
                  </a:cubicBezTo>
                  <a:cubicBezTo>
                    <a:pt x="100" y="13"/>
                    <a:pt x="98" y="12"/>
                    <a:pt x="98" y="12"/>
                  </a:cubicBezTo>
                  <a:cubicBezTo>
                    <a:pt x="98" y="13"/>
                    <a:pt x="98" y="13"/>
                    <a:pt x="98" y="13"/>
                  </a:cubicBezTo>
                  <a:cubicBezTo>
                    <a:pt x="96" y="14"/>
                    <a:pt x="96" y="14"/>
                    <a:pt x="96" y="14"/>
                  </a:cubicBezTo>
                  <a:cubicBezTo>
                    <a:pt x="96" y="14"/>
                    <a:pt x="94" y="13"/>
                    <a:pt x="94" y="12"/>
                  </a:cubicBezTo>
                  <a:cubicBezTo>
                    <a:pt x="94" y="12"/>
                    <a:pt x="94" y="11"/>
                    <a:pt x="94" y="11"/>
                  </a:cubicBezTo>
                  <a:cubicBezTo>
                    <a:pt x="92" y="11"/>
                    <a:pt x="92" y="11"/>
                    <a:pt x="92" y="11"/>
                  </a:cubicBezTo>
                  <a:cubicBezTo>
                    <a:pt x="91" y="13"/>
                    <a:pt x="91" y="13"/>
                    <a:pt x="91" y="13"/>
                  </a:cubicBezTo>
                  <a:cubicBezTo>
                    <a:pt x="90" y="14"/>
                    <a:pt x="90" y="14"/>
                    <a:pt x="90" y="14"/>
                  </a:cubicBezTo>
                  <a:cubicBezTo>
                    <a:pt x="88" y="14"/>
                    <a:pt x="88" y="14"/>
                    <a:pt x="88" y="14"/>
                  </a:cubicBezTo>
                  <a:cubicBezTo>
                    <a:pt x="87" y="13"/>
                    <a:pt x="87" y="13"/>
                    <a:pt x="87" y="13"/>
                  </a:cubicBezTo>
                  <a:cubicBezTo>
                    <a:pt x="86" y="13"/>
                    <a:pt x="83" y="13"/>
                    <a:pt x="82" y="13"/>
                  </a:cubicBezTo>
                  <a:cubicBezTo>
                    <a:pt x="82" y="13"/>
                    <a:pt x="81" y="14"/>
                    <a:pt x="81" y="14"/>
                  </a:cubicBezTo>
                  <a:cubicBezTo>
                    <a:pt x="79" y="15"/>
                    <a:pt x="79" y="15"/>
                    <a:pt x="79" y="15"/>
                  </a:cubicBezTo>
                  <a:cubicBezTo>
                    <a:pt x="78" y="16"/>
                    <a:pt x="78" y="16"/>
                    <a:pt x="78" y="16"/>
                  </a:cubicBezTo>
                  <a:cubicBezTo>
                    <a:pt x="78" y="18"/>
                    <a:pt x="78" y="18"/>
                    <a:pt x="78" y="18"/>
                  </a:cubicBezTo>
                  <a:cubicBezTo>
                    <a:pt x="77" y="19"/>
                    <a:pt x="77" y="19"/>
                    <a:pt x="77" y="19"/>
                  </a:cubicBezTo>
                  <a:cubicBezTo>
                    <a:pt x="76" y="19"/>
                    <a:pt x="76" y="19"/>
                    <a:pt x="76" y="19"/>
                  </a:cubicBezTo>
                  <a:cubicBezTo>
                    <a:pt x="75" y="19"/>
                    <a:pt x="75" y="19"/>
                    <a:pt x="75" y="18"/>
                  </a:cubicBezTo>
                  <a:cubicBezTo>
                    <a:pt x="75" y="18"/>
                    <a:pt x="74" y="18"/>
                    <a:pt x="74" y="18"/>
                  </a:cubicBezTo>
                  <a:cubicBezTo>
                    <a:pt x="73" y="19"/>
                    <a:pt x="73" y="19"/>
                    <a:pt x="73" y="19"/>
                  </a:cubicBezTo>
                  <a:cubicBezTo>
                    <a:pt x="73" y="21"/>
                    <a:pt x="73" y="21"/>
                    <a:pt x="73" y="21"/>
                  </a:cubicBezTo>
                  <a:cubicBezTo>
                    <a:pt x="72" y="22"/>
                    <a:pt x="72" y="22"/>
                    <a:pt x="72" y="22"/>
                  </a:cubicBezTo>
                  <a:cubicBezTo>
                    <a:pt x="72" y="22"/>
                    <a:pt x="72" y="22"/>
                    <a:pt x="72" y="22"/>
                  </a:cubicBezTo>
                  <a:cubicBezTo>
                    <a:pt x="71" y="22"/>
                    <a:pt x="71" y="22"/>
                    <a:pt x="71" y="21"/>
                  </a:cubicBezTo>
                  <a:cubicBezTo>
                    <a:pt x="70" y="21"/>
                    <a:pt x="70" y="20"/>
                    <a:pt x="70" y="20"/>
                  </a:cubicBezTo>
                  <a:cubicBezTo>
                    <a:pt x="70" y="19"/>
                    <a:pt x="68" y="19"/>
                    <a:pt x="68" y="19"/>
                  </a:cubicBezTo>
                  <a:cubicBezTo>
                    <a:pt x="67" y="21"/>
                    <a:pt x="67" y="21"/>
                    <a:pt x="67" y="21"/>
                  </a:cubicBezTo>
                  <a:cubicBezTo>
                    <a:pt x="66" y="21"/>
                    <a:pt x="66" y="22"/>
                    <a:pt x="67" y="22"/>
                  </a:cubicBezTo>
                  <a:cubicBezTo>
                    <a:pt x="67" y="23"/>
                    <a:pt x="66" y="24"/>
                    <a:pt x="66" y="24"/>
                  </a:cubicBezTo>
                  <a:cubicBezTo>
                    <a:pt x="65" y="23"/>
                    <a:pt x="65" y="23"/>
                    <a:pt x="65" y="23"/>
                  </a:cubicBezTo>
                  <a:cubicBezTo>
                    <a:pt x="63" y="23"/>
                    <a:pt x="63" y="23"/>
                    <a:pt x="63" y="23"/>
                  </a:cubicBezTo>
                  <a:cubicBezTo>
                    <a:pt x="63" y="23"/>
                    <a:pt x="62" y="24"/>
                    <a:pt x="62" y="25"/>
                  </a:cubicBezTo>
                  <a:cubicBezTo>
                    <a:pt x="61" y="25"/>
                    <a:pt x="60" y="25"/>
                    <a:pt x="60" y="25"/>
                  </a:cubicBezTo>
                  <a:cubicBezTo>
                    <a:pt x="60" y="25"/>
                    <a:pt x="59" y="24"/>
                    <a:pt x="58" y="23"/>
                  </a:cubicBezTo>
                  <a:cubicBezTo>
                    <a:pt x="58" y="23"/>
                    <a:pt x="57" y="23"/>
                    <a:pt x="57" y="23"/>
                  </a:cubicBezTo>
                  <a:cubicBezTo>
                    <a:pt x="57" y="23"/>
                    <a:pt x="58" y="25"/>
                    <a:pt x="58" y="26"/>
                  </a:cubicBezTo>
                  <a:cubicBezTo>
                    <a:pt x="58" y="26"/>
                    <a:pt x="58" y="27"/>
                    <a:pt x="58" y="28"/>
                  </a:cubicBezTo>
                  <a:cubicBezTo>
                    <a:pt x="58" y="28"/>
                    <a:pt x="57" y="29"/>
                    <a:pt x="56" y="29"/>
                  </a:cubicBezTo>
                  <a:cubicBezTo>
                    <a:pt x="56" y="30"/>
                    <a:pt x="55" y="31"/>
                    <a:pt x="55" y="32"/>
                  </a:cubicBezTo>
                  <a:cubicBezTo>
                    <a:pt x="55" y="35"/>
                    <a:pt x="55" y="35"/>
                    <a:pt x="55" y="35"/>
                  </a:cubicBezTo>
                  <a:cubicBezTo>
                    <a:pt x="54" y="37"/>
                    <a:pt x="54" y="37"/>
                    <a:pt x="54" y="37"/>
                  </a:cubicBezTo>
                  <a:cubicBezTo>
                    <a:pt x="54" y="42"/>
                    <a:pt x="54" y="42"/>
                    <a:pt x="54" y="42"/>
                  </a:cubicBezTo>
                  <a:cubicBezTo>
                    <a:pt x="54" y="42"/>
                    <a:pt x="55" y="44"/>
                    <a:pt x="55" y="45"/>
                  </a:cubicBezTo>
                  <a:cubicBezTo>
                    <a:pt x="56" y="45"/>
                    <a:pt x="57" y="46"/>
                    <a:pt x="58" y="46"/>
                  </a:cubicBezTo>
                  <a:cubicBezTo>
                    <a:pt x="59" y="46"/>
                    <a:pt x="59" y="47"/>
                    <a:pt x="59" y="47"/>
                  </a:cubicBezTo>
                  <a:cubicBezTo>
                    <a:pt x="59" y="48"/>
                    <a:pt x="59" y="48"/>
                    <a:pt x="59" y="48"/>
                  </a:cubicBezTo>
                  <a:cubicBezTo>
                    <a:pt x="59" y="48"/>
                    <a:pt x="60" y="49"/>
                    <a:pt x="60" y="49"/>
                  </a:cubicBezTo>
                  <a:cubicBezTo>
                    <a:pt x="61" y="49"/>
                    <a:pt x="61" y="48"/>
                    <a:pt x="61" y="48"/>
                  </a:cubicBezTo>
                  <a:cubicBezTo>
                    <a:pt x="61" y="47"/>
                    <a:pt x="63" y="47"/>
                    <a:pt x="64" y="47"/>
                  </a:cubicBezTo>
                  <a:cubicBezTo>
                    <a:pt x="64" y="47"/>
                    <a:pt x="67" y="47"/>
                    <a:pt x="67" y="47"/>
                  </a:cubicBezTo>
                  <a:cubicBezTo>
                    <a:pt x="68" y="46"/>
                    <a:pt x="71" y="46"/>
                    <a:pt x="72" y="46"/>
                  </a:cubicBezTo>
                  <a:cubicBezTo>
                    <a:pt x="72" y="45"/>
                    <a:pt x="75" y="45"/>
                    <a:pt x="75" y="45"/>
                  </a:cubicBezTo>
                  <a:cubicBezTo>
                    <a:pt x="77" y="46"/>
                    <a:pt x="77" y="46"/>
                    <a:pt x="77" y="46"/>
                  </a:cubicBezTo>
                  <a:cubicBezTo>
                    <a:pt x="79" y="48"/>
                    <a:pt x="79" y="48"/>
                    <a:pt x="79" y="48"/>
                  </a:cubicBezTo>
                  <a:cubicBezTo>
                    <a:pt x="81" y="48"/>
                    <a:pt x="81" y="48"/>
                    <a:pt x="81" y="48"/>
                  </a:cubicBezTo>
                  <a:cubicBezTo>
                    <a:pt x="87" y="48"/>
                    <a:pt x="87" y="48"/>
                    <a:pt x="87" y="48"/>
                  </a:cubicBezTo>
                  <a:cubicBezTo>
                    <a:pt x="87" y="48"/>
                    <a:pt x="87" y="48"/>
                    <a:pt x="87" y="48"/>
                  </a:cubicBezTo>
                  <a:cubicBezTo>
                    <a:pt x="88" y="46"/>
                    <a:pt x="88" y="46"/>
                    <a:pt x="88" y="46"/>
                  </a:cubicBezTo>
                  <a:cubicBezTo>
                    <a:pt x="102" y="46"/>
                    <a:pt x="102" y="46"/>
                    <a:pt x="102" y="46"/>
                  </a:cubicBezTo>
                  <a:cubicBezTo>
                    <a:pt x="104" y="47"/>
                    <a:pt x="104" y="47"/>
                    <a:pt x="104" y="47"/>
                  </a:cubicBezTo>
                  <a:cubicBezTo>
                    <a:pt x="106" y="49"/>
                    <a:pt x="106" y="49"/>
                    <a:pt x="106" y="49"/>
                  </a:cubicBezTo>
                  <a:cubicBezTo>
                    <a:pt x="106" y="50"/>
                    <a:pt x="108" y="51"/>
                    <a:pt x="109" y="51"/>
                  </a:cubicBezTo>
                  <a:cubicBezTo>
                    <a:pt x="110" y="51"/>
                    <a:pt x="113" y="51"/>
                    <a:pt x="114" y="51"/>
                  </a:cubicBezTo>
                  <a:cubicBezTo>
                    <a:pt x="114" y="51"/>
                    <a:pt x="115" y="50"/>
                    <a:pt x="115" y="49"/>
                  </a:cubicBezTo>
                  <a:cubicBezTo>
                    <a:pt x="115" y="49"/>
                    <a:pt x="116" y="48"/>
                    <a:pt x="116" y="48"/>
                  </a:cubicBezTo>
                  <a:cubicBezTo>
                    <a:pt x="118" y="48"/>
                    <a:pt x="118" y="48"/>
                    <a:pt x="118" y="48"/>
                  </a:cubicBezTo>
                  <a:cubicBezTo>
                    <a:pt x="118" y="48"/>
                    <a:pt x="119" y="49"/>
                    <a:pt x="120" y="49"/>
                  </a:cubicBezTo>
                  <a:cubicBezTo>
                    <a:pt x="120" y="50"/>
                    <a:pt x="121" y="51"/>
                    <a:pt x="121" y="51"/>
                  </a:cubicBezTo>
                  <a:cubicBezTo>
                    <a:pt x="121" y="52"/>
                    <a:pt x="123" y="54"/>
                    <a:pt x="123" y="54"/>
                  </a:cubicBezTo>
                  <a:cubicBezTo>
                    <a:pt x="124" y="54"/>
                    <a:pt x="125" y="55"/>
                    <a:pt x="126" y="55"/>
                  </a:cubicBezTo>
                  <a:cubicBezTo>
                    <a:pt x="127" y="55"/>
                    <a:pt x="130" y="55"/>
                    <a:pt x="130" y="55"/>
                  </a:cubicBezTo>
                  <a:cubicBezTo>
                    <a:pt x="131" y="55"/>
                    <a:pt x="132" y="54"/>
                    <a:pt x="132" y="54"/>
                  </a:cubicBezTo>
                  <a:cubicBezTo>
                    <a:pt x="133" y="53"/>
                    <a:pt x="135" y="52"/>
                    <a:pt x="135" y="52"/>
                  </a:cubicBezTo>
                  <a:cubicBezTo>
                    <a:pt x="136" y="52"/>
                    <a:pt x="137" y="51"/>
                    <a:pt x="137" y="51"/>
                  </a:cubicBezTo>
                  <a:cubicBezTo>
                    <a:pt x="137" y="51"/>
                    <a:pt x="141" y="51"/>
                    <a:pt x="142" y="51"/>
                  </a:cubicBezTo>
                  <a:cubicBezTo>
                    <a:pt x="142" y="51"/>
                    <a:pt x="145" y="52"/>
                    <a:pt x="146" y="52"/>
                  </a:cubicBezTo>
                  <a:cubicBezTo>
                    <a:pt x="146" y="52"/>
                    <a:pt x="148" y="52"/>
                    <a:pt x="148" y="52"/>
                  </a:cubicBezTo>
                  <a:cubicBezTo>
                    <a:pt x="149" y="52"/>
                    <a:pt x="149" y="52"/>
                    <a:pt x="150" y="51"/>
                  </a:cubicBezTo>
                  <a:cubicBezTo>
                    <a:pt x="150" y="51"/>
                    <a:pt x="151" y="50"/>
                    <a:pt x="151" y="50"/>
                  </a:cubicBezTo>
                  <a:cubicBezTo>
                    <a:pt x="151" y="47"/>
                    <a:pt x="151" y="47"/>
                    <a:pt x="151" y="47"/>
                  </a:cubicBezTo>
                  <a:cubicBezTo>
                    <a:pt x="151" y="45"/>
                    <a:pt x="151" y="45"/>
                    <a:pt x="151" y="45"/>
                  </a:cubicBezTo>
                  <a:cubicBezTo>
                    <a:pt x="153" y="45"/>
                    <a:pt x="153" y="45"/>
                    <a:pt x="153" y="45"/>
                  </a:cubicBezTo>
                  <a:cubicBezTo>
                    <a:pt x="156" y="46"/>
                    <a:pt x="156" y="46"/>
                    <a:pt x="156" y="46"/>
                  </a:cubicBezTo>
                  <a:cubicBezTo>
                    <a:pt x="164" y="46"/>
                    <a:pt x="164" y="46"/>
                    <a:pt x="164" y="46"/>
                  </a:cubicBezTo>
                  <a:cubicBezTo>
                    <a:pt x="166" y="47"/>
                    <a:pt x="166" y="47"/>
                    <a:pt x="166" y="47"/>
                  </a:cubicBezTo>
                  <a:cubicBezTo>
                    <a:pt x="167" y="49"/>
                    <a:pt x="167" y="49"/>
                    <a:pt x="167" y="49"/>
                  </a:cubicBezTo>
                  <a:cubicBezTo>
                    <a:pt x="167" y="50"/>
                    <a:pt x="167" y="50"/>
                    <a:pt x="167" y="50"/>
                  </a:cubicBezTo>
                  <a:cubicBezTo>
                    <a:pt x="167" y="52"/>
                    <a:pt x="167" y="52"/>
                    <a:pt x="167" y="52"/>
                  </a:cubicBezTo>
                  <a:cubicBezTo>
                    <a:pt x="168" y="52"/>
                    <a:pt x="168" y="52"/>
                    <a:pt x="168" y="52"/>
                  </a:cubicBezTo>
                  <a:cubicBezTo>
                    <a:pt x="168" y="52"/>
                    <a:pt x="169" y="50"/>
                    <a:pt x="169" y="50"/>
                  </a:cubicBezTo>
                  <a:cubicBezTo>
                    <a:pt x="169" y="50"/>
                    <a:pt x="170" y="49"/>
                    <a:pt x="170" y="49"/>
                  </a:cubicBezTo>
                  <a:cubicBezTo>
                    <a:pt x="172" y="49"/>
                    <a:pt x="172" y="49"/>
                    <a:pt x="172" y="49"/>
                  </a:cubicBezTo>
                  <a:cubicBezTo>
                    <a:pt x="174" y="51"/>
                    <a:pt x="174" y="51"/>
                    <a:pt x="174" y="51"/>
                  </a:cubicBezTo>
                  <a:cubicBezTo>
                    <a:pt x="177" y="50"/>
                    <a:pt x="177" y="50"/>
                    <a:pt x="177" y="50"/>
                  </a:cubicBezTo>
                  <a:cubicBezTo>
                    <a:pt x="177" y="50"/>
                    <a:pt x="179" y="49"/>
                    <a:pt x="180" y="49"/>
                  </a:cubicBezTo>
                  <a:cubicBezTo>
                    <a:pt x="180" y="48"/>
                    <a:pt x="182" y="48"/>
                    <a:pt x="182" y="47"/>
                  </a:cubicBezTo>
                  <a:cubicBezTo>
                    <a:pt x="182" y="47"/>
                    <a:pt x="185" y="47"/>
                    <a:pt x="186" y="47"/>
                  </a:cubicBezTo>
                  <a:cubicBezTo>
                    <a:pt x="186" y="47"/>
                    <a:pt x="187" y="47"/>
                    <a:pt x="187" y="46"/>
                  </a:cubicBezTo>
                  <a:cubicBezTo>
                    <a:pt x="190" y="46"/>
                    <a:pt x="190" y="46"/>
                    <a:pt x="190" y="46"/>
                  </a:cubicBezTo>
                  <a:cubicBezTo>
                    <a:pt x="195" y="42"/>
                    <a:pt x="195" y="42"/>
                    <a:pt x="195" y="42"/>
                  </a:cubicBezTo>
                  <a:cubicBezTo>
                    <a:pt x="197" y="41"/>
                    <a:pt x="197" y="41"/>
                    <a:pt x="197" y="41"/>
                  </a:cubicBezTo>
                  <a:cubicBezTo>
                    <a:pt x="200" y="42"/>
                    <a:pt x="200" y="42"/>
                    <a:pt x="200" y="42"/>
                  </a:cubicBezTo>
                  <a:cubicBezTo>
                    <a:pt x="200" y="42"/>
                    <a:pt x="201" y="42"/>
                    <a:pt x="202" y="42"/>
                  </a:cubicBezTo>
                  <a:cubicBezTo>
                    <a:pt x="202" y="42"/>
                    <a:pt x="205" y="42"/>
                    <a:pt x="206" y="42"/>
                  </a:cubicBezTo>
                  <a:cubicBezTo>
                    <a:pt x="207" y="42"/>
                    <a:pt x="209" y="42"/>
                    <a:pt x="209" y="42"/>
                  </a:cubicBezTo>
                  <a:cubicBezTo>
                    <a:pt x="210" y="42"/>
                    <a:pt x="212" y="42"/>
                    <a:pt x="213" y="42"/>
                  </a:cubicBezTo>
                  <a:cubicBezTo>
                    <a:pt x="214" y="42"/>
                    <a:pt x="215" y="42"/>
                    <a:pt x="216" y="42"/>
                  </a:cubicBezTo>
                  <a:cubicBezTo>
                    <a:pt x="217" y="41"/>
                    <a:pt x="219" y="41"/>
                    <a:pt x="220" y="41"/>
                  </a:cubicBezTo>
                  <a:cubicBezTo>
                    <a:pt x="222" y="40"/>
                    <a:pt x="223" y="39"/>
                    <a:pt x="223" y="37"/>
                  </a:cubicBezTo>
                  <a:cubicBezTo>
                    <a:pt x="224" y="36"/>
                    <a:pt x="227" y="36"/>
                    <a:pt x="228" y="36"/>
                  </a:cubicBezTo>
                  <a:cubicBezTo>
                    <a:pt x="229" y="36"/>
                    <a:pt x="231" y="35"/>
                    <a:pt x="231" y="35"/>
                  </a:cubicBezTo>
                  <a:cubicBezTo>
                    <a:pt x="232" y="35"/>
                    <a:pt x="238" y="34"/>
                    <a:pt x="238" y="34"/>
                  </a:cubicBezTo>
                  <a:cubicBezTo>
                    <a:pt x="241" y="32"/>
                    <a:pt x="241" y="32"/>
                    <a:pt x="241" y="32"/>
                  </a:cubicBezTo>
                  <a:cubicBezTo>
                    <a:pt x="241" y="32"/>
                    <a:pt x="242" y="30"/>
                    <a:pt x="242" y="30"/>
                  </a:cubicBezTo>
                  <a:close/>
                  <a:moveTo>
                    <a:pt x="116" y="120"/>
                  </a:moveTo>
                  <a:cubicBezTo>
                    <a:pt x="116" y="120"/>
                    <a:pt x="113" y="117"/>
                    <a:pt x="112" y="116"/>
                  </a:cubicBezTo>
                  <a:cubicBezTo>
                    <a:pt x="112" y="116"/>
                    <a:pt x="111" y="116"/>
                    <a:pt x="110" y="116"/>
                  </a:cubicBezTo>
                  <a:cubicBezTo>
                    <a:pt x="109" y="115"/>
                    <a:pt x="108" y="115"/>
                    <a:pt x="108" y="114"/>
                  </a:cubicBezTo>
                  <a:cubicBezTo>
                    <a:pt x="107" y="114"/>
                    <a:pt x="106" y="112"/>
                    <a:pt x="106" y="111"/>
                  </a:cubicBezTo>
                  <a:cubicBezTo>
                    <a:pt x="106" y="111"/>
                    <a:pt x="105" y="109"/>
                    <a:pt x="105" y="109"/>
                  </a:cubicBezTo>
                  <a:cubicBezTo>
                    <a:pt x="104" y="107"/>
                    <a:pt x="104" y="107"/>
                    <a:pt x="104" y="107"/>
                  </a:cubicBezTo>
                  <a:cubicBezTo>
                    <a:pt x="103" y="104"/>
                    <a:pt x="103" y="104"/>
                    <a:pt x="103" y="104"/>
                  </a:cubicBezTo>
                  <a:cubicBezTo>
                    <a:pt x="102" y="103"/>
                    <a:pt x="102" y="103"/>
                    <a:pt x="102" y="103"/>
                  </a:cubicBezTo>
                  <a:cubicBezTo>
                    <a:pt x="100" y="101"/>
                    <a:pt x="100" y="101"/>
                    <a:pt x="100" y="101"/>
                  </a:cubicBezTo>
                  <a:cubicBezTo>
                    <a:pt x="98" y="101"/>
                    <a:pt x="98" y="101"/>
                    <a:pt x="98" y="101"/>
                  </a:cubicBezTo>
                  <a:cubicBezTo>
                    <a:pt x="96" y="99"/>
                    <a:pt x="96" y="99"/>
                    <a:pt x="96" y="99"/>
                  </a:cubicBezTo>
                  <a:cubicBezTo>
                    <a:pt x="96" y="99"/>
                    <a:pt x="95" y="97"/>
                    <a:pt x="95" y="97"/>
                  </a:cubicBezTo>
                  <a:cubicBezTo>
                    <a:pt x="94" y="96"/>
                    <a:pt x="93" y="97"/>
                    <a:pt x="93" y="97"/>
                  </a:cubicBezTo>
                  <a:cubicBezTo>
                    <a:pt x="92" y="98"/>
                    <a:pt x="89" y="99"/>
                    <a:pt x="88" y="99"/>
                  </a:cubicBezTo>
                  <a:cubicBezTo>
                    <a:pt x="87" y="100"/>
                    <a:pt x="85" y="100"/>
                    <a:pt x="85" y="100"/>
                  </a:cubicBezTo>
                  <a:cubicBezTo>
                    <a:pt x="85" y="98"/>
                    <a:pt x="85" y="98"/>
                    <a:pt x="85" y="98"/>
                  </a:cubicBezTo>
                  <a:cubicBezTo>
                    <a:pt x="85" y="98"/>
                    <a:pt x="82" y="98"/>
                    <a:pt x="82" y="98"/>
                  </a:cubicBezTo>
                  <a:cubicBezTo>
                    <a:pt x="81" y="98"/>
                    <a:pt x="81" y="96"/>
                    <a:pt x="81" y="96"/>
                  </a:cubicBezTo>
                  <a:cubicBezTo>
                    <a:pt x="80" y="95"/>
                    <a:pt x="80" y="93"/>
                    <a:pt x="80" y="93"/>
                  </a:cubicBezTo>
                  <a:cubicBezTo>
                    <a:pt x="80" y="93"/>
                    <a:pt x="80" y="89"/>
                    <a:pt x="79" y="89"/>
                  </a:cubicBezTo>
                  <a:cubicBezTo>
                    <a:pt x="79" y="88"/>
                    <a:pt x="78" y="88"/>
                    <a:pt x="78" y="88"/>
                  </a:cubicBezTo>
                  <a:cubicBezTo>
                    <a:pt x="77" y="88"/>
                    <a:pt x="77" y="88"/>
                    <a:pt x="76" y="88"/>
                  </a:cubicBezTo>
                  <a:cubicBezTo>
                    <a:pt x="74" y="89"/>
                    <a:pt x="73" y="88"/>
                    <a:pt x="72" y="88"/>
                  </a:cubicBezTo>
                  <a:cubicBezTo>
                    <a:pt x="71" y="88"/>
                    <a:pt x="69" y="86"/>
                    <a:pt x="69" y="85"/>
                  </a:cubicBezTo>
                  <a:cubicBezTo>
                    <a:pt x="69" y="84"/>
                    <a:pt x="63" y="78"/>
                    <a:pt x="63" y="77"/>
                  </a:cubicBezTo>
                  <a:cubicBezTo>
                    <a:pt x="63" y="76"/>
                    <a:pt x="62" y="76"/>
                    <a:pt x="62" y="76"/>
                  </a:cubicBezTo>
                  <a:cubicBezTo>
                    <a:pt x="53" y="83"/>
                    <a:pt x="53" y="83"/>
                    <a:pt x="53" y="83"/>
                  </a:cubicBezTo>
                  <a:cubicBezTo>
                    <a:pt x="53" y="83"/>
                    <a:pt x="51" y="83"/>
                    <a:pt x="50" y="83"/>
                  </a:cubicBezTo>
                  <a:cubicBezTo>
                    <a:pt x="49" y="83"/>
                    <a:pt x="48" y="82"/>
                    <a:pt x="48" y="82"/>
                  </a:cubicBezTo>
                  <a:cubicBezTo>
                    <a:pt x="47" y="82"/>
                    <a:pt x="45" y="81"/>
                    <a:pt x="45" y="81"/>
                  </a:cubicBezTo>
                  <a:cubicBezTo>
                    <a:pt x="45" y="80"/>
                    <a:pt x="43" y="80"/>
                    <a:pt x="42" y="80"/>
                  </a:cubicBezTo>
                  <a:cubicBezTo>
                    <a:pt x="41" y="80"/>
                    <a:pt x="40" y="80"/>
                    <a:pt x="40" y="80"/>
                  </a:cubicBezTo>
                  <a:cubicBezTo>
                    <a:pt x="38" y="81"/>
                    <a:pt x="38" y="81"/>
                    <a:pt x="38" y="81"/>
                  </a:cubicBezTo>
                  <a:cubicBezTo>
                    <a:pt x="37" y="81"/>
                    <a:pt x="36" y="82"/>
                    <a:pt x="35" y="81"/>
                  </a:cubicBezTo>
                  <a:cubicBezTo>
                    <a:pt x="35" y="81"/>
                    <a:pt x="34" y="81"/>
                    <a:pt x="34" y="81"/>
                  </a:cubicBezTo>
                  <a:cubicBezTo>
                    <a:pt x="32" y="81"/>
                    <a:pt x="32" y="81"/>
                    <a:pt x="32" y="81"/>
                  </a:cubicBezTo>
                  <a:cubicBezTo>
                    <a:pt x="32" y="81"/>
                    <a:pt x="30" y="82"/>
                    <a:pt x="30" y="82"/>
                  </a:cubicBezTo>
                  <a:cubicBezTo>
                    <a:pt x="29" y="82"/>
                    <a:pt x="28" y="82"/>
                    <a:pt x="28" y="82"/>
                  </a:cubicBezTo>
                  <a:cubicBezTo>
                    <a:pt x="26" y="82"/>
                    <a:pt x="26" y="82"/>
                    <a:pt x="26" y="82"/>
                  </a:cubicBezTo>
                  <a:cubicBezTo>
                    <a:pt x="24" y="81"/>
                    <a:pt x="24" y="81"/>
                    <a:pt x="24" y="81"/>
                  </a:cubicBezTo>
                  <a:cubicBezTo>
                    <a:pt x="24" y="80"/>
                    <a:pt x="22" y="81"/>
                    <a:pt x="21" y="81"/>
                  </a:cubicBezTo>
                  <a:cubicBezTo>
                    <a:pt x="20" y="81"/>
                    <a:pt x="18" y="82"/>
                    <a:pt x="18" y="82"/>
                  </a:cubicBezTo>
                  <a:cubicBezTo>
                    <a:pt x="17" y="82"/>
                    <a:pt x="17" y="82"/>
                    <a:pt x="17" y="82"/>
                  </a:cubicBezTo>
                  <a:cubicBezTo>
                    <a:pt x="16" y="82"/>
                    <a:pt x="16" y="82"/>
                    <a:pt x="16" y="82"/>
                  </a:cubicBezTo>
                  <a:cubicBezTo>
                    <a:pt x="16" y="82"/>
                    <a:pt x="14" y="82"/>
                    <a:pt x="13" y="83"/>
                  </a:cubicBezTo>
                  <a:cubicBezTo>
                    <a:pt x="12" y="83"/>
                    <a:pt x="11" y="84"/>
                    <a:pt x="10" y="85"/>
                  </a:cubicBezTo>
                  <a:cubicBezTo>
                    <a:pt x="10" y="85"/>
                    <a:pt x="9" y="85"/>
                    <a:pt x="8" y="85"/>
                  </a:cubicBezTo>
                  <a:cubicBezTo>
                    <a:pt x="8" y="85"/>
                    <a:pt x="6" y="85"/>
                    <a:pt x="5" y="86"/>
                  </a:cubicBezTo>
                  <a:cubicBezTo>
                    <a:pt x="4" y="86"/>
                    <a:pt x="3" y="87"/>
                    <a:pt x="3" y="88"/>
                  </a:cubicBezTo>
                  <a:cubicBezTo>
                    <a:pt x="2" y="89"/>
                    <a:pt x="1" y="90"/>
                    <a:pt x="1" y="90"/>
                  </a:cubicBezTo>
                  <a:cubicBezTo>
                    <a:pt x="0" y="92"/>
                    <a:pt x="0" y="92"/>
                    <a:pt x="0" y="92"/>
                  </a:cubicBezTo>
                  <a:cubicBezTo>
                    <a:pt x="0" y="92"/>
                    <a:pt x="1" y="95"/>
                    <a:pt x="1" y="95"/>
                  </a:cubicBezTo>
                  <a:cubicBezTo>
                    <a:pt x="2" y="96"/>
                    <a:pt x="4" y="98"/>
                    <a:pt x="5" y="99"/>
                  </a:cubicBezTo>
                  <a:cubicBezTo>
                    <a:pt x="6" y="100"/>
                    <a:pt x="6" y="100"/>
                    <a:pt x="7" y="101"/>
                  </a:cubicBezTo>
                  <a:cubicBezTo>
                    <a:pt x="8" y="102"/>
                    <a:pt x="10" y="102"/>
                    <a:pt x="14" y="104"/>
                  </a:cubicBezTo>
                  <a:cubicBezTo>
                    <a:pt x="14" y="104"/>
                    <a:pt x="17" y="104"/>
                    <a:pt x="18" y="105"/>
                  </a:cubicBezTo>
                  <a:cubicBezTo>
                    <a:pt x="19" y="105"/>
                    <a:pt x="22" y="105"/>
                    <a:pt x="23" y="105"/>
                  </a:cubicBezTo>
                  <a:cubicBezTo>
                    <a:pt x="23" y="105"/>
                    <a:pt x="23" y="106"/>
                    <a:pt x="23" y="106"/>
                  </a:cubicBezTo>
                  <a:cubicBezTo>
                    <a:pt x="23" y="106"/>
                    <a:pt x="24" y="106"/>
                    <a:pt x="25" y="106"/>
                  </a:cubicBezTo>
                  <a:cubicBezTo>
                    <a:pt x="25" y="106"/>
                    <a:pt x="26" y="106"/>
                    <a:pt x="26" y="106"/>
                  </a:cubicBezTo>
                  <a:cubicBezTo>
                    <a:pt x="26" y="106"/>
                    <a:pt x="27" y="106"/>
                    <a:pt x="27" y="107"/>
                  </a:cubicBezTo>
                  <a:cubicBezTo>
                    <a:pt x="27" y="108"/>
                    <a:pt x="29" y="108"/>
                    <a:pt x="29" y="108"/>
                  </a:cubicBezTo>
                  <a:cubicBezTo>
                    <a:pt x="29" y="108"/>
                    <a:pt x="30" y="107"/>
                    <a:pt x="30" y="106"/>
                  </a:cubicBezTo>
                  <a:cubicBezTo>
                    <a:pt x="30" y="106"/>
                    <a:pt x="32" y="105"/>
                    <a:pt x="33" y="105"/>
                  </a:cubicBezTo>
                  <a:cubicBezTo>
                    <a:pt x="34" y="104"/>
                    <a:pt x="34" y="105"/>
                    <a:pt x="34" y="105"/>
                  </a:cubicBezTo>
                  <a:cubicBezTo>
                    <a:pt x="37" y="106"/>
                    <a:pt x="37" y="106"/>
                    <a:pt x="37" y="106"/>
                  </a:cubicBezTo>
                  <a:cubicBezTo>
                    <a:pt x="37" y="106"/>
                    <a:pt x="38" y="106"/>
                    <a:pt x="39" y="106"/>
                  </a:cubicBezTo>
                  <a:cubicBezTo>
                    <a:pt x="39" y="106"/>
                    <a:pt x="41" y="106"/>
                    <a:pt x="42" y="106"/>
                  </a:cubicBezTo>
                  <a:cubicBezTo>
                    <a:pt x="43" y="106"/>
                    <a:pt x="42" y="108"/>
                    <a:pt x="43" y="109"/>
                  </a:cubicBezTo>
                  <a:cubicBezTo>
                    <a:pt x="43" y="109"/>
                    <a:pt x="44" y="108"/>
                    <a:pt x="44" y="107"/>
                  </a:cubicBezTo>
                  <a:cubicBezTo>
                    <a:pt x="45" y="106"/>
                    <a:pt x="45" y="107"/>
                    <a:pt x="46" y="107"/>
                  </a:cubicBezTo>
                  <a:cubicBezTo>
                    <a:pt x="47" y="107"/>
                    <a:pt x="46" y="109"/>
                    <a:pt x="46" y="109"/>
                  </a:cubicBezTo>
                  <a:cubicBezTo>
                    <a:pt x="46" y="110"/>
                    <a:pt x="47" y="111"/>
                    <a:pt x="48" y="112"/>
                  </a:cubicBezTo>
                  <a:cubicBezTo>
                    <a:pt x="49" y="112"/>
                    <a:pt x="51" y="114"/>
                    <a:pt x="52" y="115"/>
                  </a:cubicBezTo>
                  <a:cubicBezTo>
                    <a:pt x="53" y="116"/>
                    <a:pt x="55" y="116"/>
                    <a:pt x="56" y="116"/>
                  </a:cubicBezTo>
                  <a:cubicBezTo>
                    <a:pt x="58" y="116"/>
                    <a:pt x="58" y="116"/>
                    <a:pt x="58" y="116"/>
                  </a:cubicBezTo>
                  <a:cubicBezTo>
                    <a:pt x="58" y="118"/>
                    <a:pt x="58" y="118"/>
                    <a:pt x="58" y="118"/>
                  </a:cubicBezTo>
                  <a:cubicBezTo>
                    <a:pt x="59" y="118"/>
                    <a:pt x="60" y="119"/>
                    <a:pt x="61" y="119"/>
                  </a:cubicBezTo>
                  <a:cubicBezTo>
                    <a:pt x="61" y="119"/>
                    <a:pt x="63" y="119"/>
                    <a:pt x="63" y="119"/>
                  </a:cubicBezTo>
                  <a:cubicBezTo>
                    <a:pt x="63" y="121"/>
                    <a:pt x="63" y="121"/>
                    <a:pt x="63" y="121"/>
                  </a:cubicBezTo>
                  <a:cubicBezTo>
                    <a:pt x="63" y="121"/>
                    <a:pt x="64" y="122"/>
                    <a:pt x="65" y="122"/>
                  </a:cubicBezTo>
                  <a:cubicBezTo>
                    <a:pt x="65" y="122"/>
                    <a:pt x="67" y="125"/>
                    <a:pt x="67" y="125"/>
                  </a:cubicBezTo>
                  <a:cubicBezTo>
                    <a:pt x="68" y="126"/>
                    <a:pt x="67" y="127"/>
                    <a:pt x="66" y="127"/>
                  </a:cubicBezTo>
                  <a:cubicBezTo>
                    <a:pt x="66" y="128"/>
                    <a:pt x="66" y="128"/>
                    <a:pt x="66" y="128"/>
                  </a:cubicBezTo>
                  <a:cubicBezTo>
                    <a:pt x="66" y="128"/>
                    <a:pt x="67" y="128"/>
                    <a:pt x="68" y="129"/>
                  </a:cubicBezTo>
                  <a:cubicBezTo>
                    <a:pt x="70" y="129"/>
                    <a:pt x="69" y="130"/>
                    <a:pt x="70" y="130"/>
                  </a:cubicBezTo>
                  <a:cubicBezTo>
                    <a:pt x="70" y="131"/>
                    <a:pt x="73" y="133"/>
                    <a:pt x="73" y="133"/>
                  </a:cubicBezTo>
                  <a:cubicBezTo>
                    <a:pt x="74" y="133"/>
                    <a:pt x="76" y="135"/>
                    <a:pt x="77" y="135"/>
                  </a:cubicBezTo>
                  <a:cubicBezTo>
                    <a:pt x="77" y="135"/>
                    <a:pt x="80" y="137"/>
                    <a:pt x="80" y="137"/>
                  </a:cubicBezTo>
                  <a:cubicBezTo>
                    <a:pt x="80" y="137"/>
                    <a:pt x="80" y="136"/>
                    <a:pt x="82" y="136"/>
                  </a:cubicBezTo>
                  <a:cubicBezTo>
                    <a:pt x="83" y="136"/>
                    <a:pt x="85" y="136"/>
                    <a:pt x="86" y="136"/>
                  </a:cubicBezTo>
                  <a:cubicBezTo>
                    <a:pt x="88" y="137"/>
                    <a:pt x="89" y="137"/>
                    <a:pt x="89" y="137"/>
                  </a:cubicBezTo>
                  <a:cubicBezTo>
                    <a:pt x="90" y="138"/>
                    <a:pt x="91" y="139"/>
                    <a:pt x="92" y="139"/>
                  </a:cubicBezTo>
                  <a:cubicBezTo>
                    <a:pt x="92" y="139"/>
                    <a:pt x="95" y="140"/>
                    <a:pt x="95" y="140"/>
                  </a:cubicBezTo>
                  <a:cubicBezTo>
                    <a:pt x="95" y="140"/>
                    <a:pt x="95" y="140"/>
                    <a:pt x="95" y="139"/>
                  </a:cubicBezTo>
                  <a:cubicBezTo>
                    <a:pt x="96" y="139"/>
                    <a:pt x="96" y="137"/>
                    <a:pt x="96" y="137"/>
                  </a:cubicBezTo>
                  <a:cubicBezTo>
                    <a:pt x="96" y="137"/>
                    <a:pt x="97" y="137"/>
                    <a:pt x="98" y="137"/>
                  </a:cubicBezTo>
                  <a:cubicBezTo>
                    <a:pt x="98" y="137"/>
                    <a:pt x="98" y="136"/>
                    <a:pt x="98" y="136"/>
                  </a:cubicBezTo>
                  <a:cubicBezTo>
                    <a:pt x="99" y="136"/>
                    <a:pt x="100" y="136"/>
                    <a:pt x="101" y="136"/>
                  </a:cubicBezTo>
                  <a:cubicBezTo>
                    <a:pt x="102" y="136"/>
                    <a:pt x="103" y="137"/>
                    <a:pt x="103" y="137"/>
                  </a:cubicBezTo>
                  <a:cubicBezTo>
                    <a:pt x="105" y="136"/>
                    <a:pt x="105" y="136"/>
                    <a:pt x="105" y="136"/>
                  </a:cubicBezTo>
                  <a:cubicBezTo>
                    <a:pt x="105" y="136"/>
                    <a:pt x="106" y="135"/>
                    <a:pt x="107" y="135"/>
                  </a:cubicBezTo>
                  <a:cubicBezTo>
                    <a:pt x="108" y="135"/>
                    <a:pt x="110" y="134"/>
                    <a:pt x="110" y="134"/>
                  </a:cubicBezTo>
                  <a:cubicBezTo>
                    <a:pt x="111" y="134"/>
                    <a:pt x="112" y="132"/>
                    <a:pt x="112" y="132"/>
                  </a:cubicBezTo>
                  <a:cubicBezTo>
                    <a:pt x="112" y="132"/>
                    <a:pt x="113" y="131"/>
                    <a:pt x="113" y="131"/>
                  </a:cubicBezTo>
                  <a:cubicBezTo>
                    <a:pt x="115" y="129"/>
                    <a:pt x="115" y="129"/>
                    <a:pt x="115" y="129"/>
                  </a:cubicBezTo>
                  <a:cubicBezTo>
                    <a:pt x="115" y="129"/>
                    <a:pt x="116" y="129"/>
                    <a:pt x="117" y="128"/>
                  </a:cubicBezTo>
                  <a:cubicBezTo>
                    <a:pt x="117" y="128"/>
                    <a:pt x="118" y="126"/>
                    <a:pt x="118" y="126"/>
                  </a:cubicBezTo>
                  <a:cubicBezTo>
                    <a:pt x="118" y="125"/>
                    <a:pt x="118" y="123"/>
                    <a:pt x="118" y="122"/>
                  </a:cubicBezTo>
                  <a:cubicBezTo>
                    <a:pt x="118" y="122"/>
                    <a:pt x="117" y="120"/>
                    <a:pt x="116" y="120"/>
                  </a:cubicBezTo>
                  <a:close/>
                  <a:moveTo>
                    <a:pt x="166" y="158"/>
                  </a:moveTo>
                  <a:cubicBezTo>
                    <a:pt x="165" y="159"/>
                    <a:pt x="163" y="158"/>
                    <a:pt x="163" y="158"/>
                  </a:cubicBezTo>
                  <a:cubicBezTo>
                    <a:pt x="162" y="159"/>
                    <a:pt x="162" y="159"/>
                    <a:pt x="161" y="160"/>
                  </a:cubicBezTo>
                  <a:cubicBezTo>
                    <a:pt x="163" y="161"/>
                    <a:pt x="163" y="161"/>
                    <a:pt x="163" y="161"/>
                  </a:cubicBezTo>
                  <a:cubicBezTo>
                    <a:pt x="163" y="161"/>
                    <a:pt x="167" y="160"/>
                    <a:pt x="167" y="159"/>
                  </a:cubicBezTo>
                  <a:cubicBezTo>
                    <a:pt x="168" y="158"/>
                    <a:pt x="166" y="158"/>
                    <a:pt x="166" y="158"/>
                  </a:cubicBezTo>
                  <a:close/>
                  <a:moveTo>
                    <a:pt x="189" y="149"/>
                  </a:moveTo>
                  <a:cubicBezTo>
                    <a:pt x="187" y="149"/>
                    <a:pt x="187" y="149"/>
                    <a:pt x="187" y="149"/>
                  </a:cubicBezTo>
                  <a:cubicBezTo>
                    <a:pt x="184" y="148"/>
                    <a:pt x="184" y="148"/>
                    <a:pt x="184" y="148"/>
                  </a:cubicBezTo>
                  <a:cubicBezTo>
                    <a:pt x="182" y="148"/>
                    <a:pt x="182" y="148"/>
                    <a:pt x="182" y="148"/>
                  </a:cubicBezTo>
                  <a:cubicBezTo>
                    <a:pt x="180" y="150"/>
                    <a:pt x="180" y="150"/>
                    <a:pt x="180" y="150"/>
                  </a:cubicBezTo>
                  <a:cubicBezTo>
                    <a:pt x="179" y="153"/>
                    <a:pt x="179" y="153"/>
                    <a:pt x="179" y="153"/>
                  </a:cubicBezTo>
                  <a:cubicBezTo>
                    <a:pt x="176" y="153"/>
                    <a:pt x="176" y="153"/>
                    <a:pt x="176" y="153"/>
                  </a:cubicBezTo>
                  <a:cubicBezTo>
                    <a:pt x="174" y="155"/>
                    <a:pt x="174" y="155"/>
                    <a:pt x="174" y="155"/>
                  </a:cubicBezTo>
                  <a:cubicBezTo>
                    <a:pt x="171" y="157"/>
                    <a:pt x="171" y="157"/>
                    <a:pt x="171" y="157"/>
                  </a:cubicBezTo>
                  <a:cubicBezTo>
                    <a:pt x="173" y="160"/>
                    <a:pt x="173" y="160"/>
                    <a:pt x="173" y="160"/>
                  </a:cubicBezTo>
                  <a:cubicBezTo>
                    <a:pt x="173" y="160"/>
                    <a:pt x="175" y="159"/>
                    <a:pt x="175" y="159"/>
                  </a:cubicBezTo>
                  <a:cubicBezTo>
                    <a:pt x="176" y="159"/>
                    <a:pt x="176" y="159"/>
                    <a:pt x="177" y="160"/>
                  </a:cubicBezTo>
                  <a:cubicBezTo>
                    <a:pt x="178" y="160"/>
                    <a:pt x="179" y="160"/>
                    <a:pt x="179" y="160"/>
                  </a:cubicBezTo>
                  <a:cubicBezTo>
                    <a:pt x="180" y="160"/>
                    <a:pt x="181" y="160"/>
                    <a:pt x="182" y="159"/>
                  </a:cubicBezTo>
                  <a:cubicBezTo>
                    <a:pt x="183" y="159"/>
                    <a:pt x="184" y="158"/>
                    <a:pt x="185" y="157"/>
                  </a:cubicBezTo>
                  <a:cubicBezTo>
                    <a:pt x="186" y="156"/>
                    <a:pt x="187" y="155"/>
                    <a:pt x="188" y="155"/>
                  </a:cubicBezTo>
                  <a:cubicBezTo>
                    <a:pt x="188" y="155"/>
                    <a:pt x="189" y="155"/>
                    <a:pt x="189" y="155"/>
                  </a:cubicBezTo>
                  <a:cubicBezTo>
                    <a:pt x="190" y="154"/>
                    <a:pt x="190" y="154"/>
                    <a:pt x="190" y="154"/>
                  </a:cubicBezTo>
                  <a:cubicBezTo>
                    <a:pt x="190" y="154"/>
                    <a:pt x="190" y="150"/>
                    <a:pt x="190" y="149"/>
                  </a:cubicBezTo>
                  <a:cubicBezTo>
                    <a:pt x="190" y="149"/>
                    <a:pt x="189" y="149"/>
                    <a:pt x="189" y="149"/>
                  </a:cubicBezTo>
                  <a:close/>
                  <a:moveTo>
                    <a:pt x="277" y="159"/>
                  </a:moveTo>
                  <a:cubicBezTo>
                    <a:pt x="275" y="158"/>
                    <a:pt x="275" y="158"/>
                    <a:pt x="275" y="158"/>
                  </a:cubicBezTo>
                  <a:cubicBezTo>
                    <a:pt x="275" y="158"/>
                    <a:pt x="274" y="157"/>
                    <a:pt x="275" y="157"/>
                  </a:cubicBezTo>
                  <a:cubicBezTo>
                    <a:pt x="275" y="157"/>
                    <a:pt x="276" y="155"/>
                    <a:pt x="277" y="155"/>
                  </a:cubicBezTo>
                  <a:cubicBezTo>
                    <a:pt x="277" y="154"/>
                    <a:pt x="278" y="153"/>
                    <a:pt x="278" y="152"/>
                  </a:cubicBezTo>
                  <a:cubicBezTo>
                    <a:pt x="278" y="151"/>
                    <a:pt x="277" y="152"/>
                    <a:pt x="277" y="152"/>
                  </a:cubicBezTo>
                  <a:cubicBezTo>
                    <a:pt x="276" y="153"/>
                    <a:pt x="276" y="154"/>
                    <a:pt x="275" y="155"/>
                  </a:cubicBezTo>
                  <a:cubicBezTo>
                    <a:pt x="274" y="155"/>
                    <a:pt x="275" y="154"/>
                    <a:pt x="275" y="153"/>
                  </a:cubicBezTo>
                  <a:cubicBezTo>
                    <a:pt x="275" y="152"/>
                    <a:pt x="275" y="151"/>
                    <a:pt x="276" y="150"/>
                  </a:cubicBezTo>
                  <a:cubicBezTo>
                    <a:pt x="276" y="150"/>
                    <a:pt x="275" y="150"/>
                    <a:pt x="275" y="150"/>
                  </a:cubicBezTo>
                  <a:cubicBezTo>
                    <a:pt x="274" y="151"/>
                    <a:pt x="273" y="151"/>
                    <a:pt x="272" y="152"/>
                  </a:cubicBezTo>
                  <a:cubicBezTo>
                    <a:pt x="271" y="152"/>
                    <a:pt x="269" y="153"/>
                    <a:pt x="269" y="153"/>
                  </a:cubicBezTo>
                  <a:cubicBezTo>
                    <a:pt x="268" y="154"/>
                    <a:pt x="267" y="156"/>
                    <a:pt x="266" y="156"/>
                  </a:cubicBezTo>
                  <a:cubicBezTo>
                    <a:pt x="266" y="157"/>
                    <a:pt x="266" y="158"/>
                    <a:pt x="266" y="158"/>
                  </a:cubicBezTo>
                  <a:cubicBezTo>
                    <a:pt x="265" y="159"/>
                    <a:pt x="265" y="159"/>
                    <a:pt x="265" y="159"/>
                  </a:cubicBezTo>
                  <a:cubicBezTo>
                    <a:pt x="264" y="158"/>
                    <a:pt x="264" y="158"/>
                    <a:pt x="264" y="158"/>
                  </a:cubicBezTo>
                  <a:cubicBezTo>
                    <a:pt x="264" y="158"/>
                    <a:pt x="264" y="159"/>
                    <a:pt x="263" y="160"/>
                  </a:cubicBezTo>
                  <a:cubicBezTo>
                    <a:pt x="262" y="161"/>
                    <a:pt x="259" y="163"/>
                    <a:pt x="258" y="164"/>
                  </a:cubicBezTo>
                  <a:cubicBezTo>
                    <a:pt x="257" y="165"/>
                    <a:pt x="254" y="166"/>
                    <a:pt x="253" y="167"/>
                  </a:cubicBezTo>
                  <a:cubicBezTo>
                    <a:pt x="252" y="167"/>
                    <a:pt x="248" y="168"/>
                    <a:pt x="247" y="168"/>
                  </a:cubicBezTo>
                  <a:cubicBezTo>
                    <a:pt x="246" y="168"/>
                    <a:pt x="243" y="169"/>
                    <a:pt x="242" y="169"/>
                  </a:cubicBezTo>
                  <a:cubicBezTo>
                    <a:pt x="242" y="170"/>
                    <a:pt x="240" y="171"/>
                    <a:pt x="240" y="171"/>
                  </a:cubicBezTo>
                  <a:cubicBezTo>
                    <a:pt x="240" y="172"/>
                    <a:pt x="240" y="173"/>
                    <a:pt x="241" y="174"/>
                  </a:cubicBezTo>
                  <a:cubicBezTo>
                    <a:pt x="241" y="175"/>
                    <a:pt x="241" y="176"/>
                    <a:pt x="241" y="177"/>
                  </a:cubicBezTo>
                  <a:cubicBezTo>
                    <a:pt x="240" y="178"/>
                    <a:pt x="240" y="178"/>
                    <a:pt x="240" y="178"/>
                  </a:cubicBezTo>
                  <a:cubicBezTo>
                    <a:pt x="240" y="179"/>
                    <a:pt x="240" y="179"/>
                    <a:pt x="240" y="179"/>
                  </a:cubicBezTo>
                  <a:cubicBezTo>
                    <a:pt x="240" y="179"/>
                    <a:pt x="242" y="180"/>
                    <a:pt x="242" y="180"/>
                  </a:cubicBezTo>
                  <a:cubicBezTo>
                    <a:pt x="242" y="180"/>
                    <a:pt x="243" y="180"/>
                    <a:pt x="243" y="180"/>
                  </a:cubicBezTo>
                  <a:cubicBezTo>
                    <a:pt x="243" y="179"/>
                    <a:pt x="243" y="179"/>
                    <a:pt x="243" y="179"/>
                  </a:cubicBezTo>
                  <a:cubicBezTo>
                    <a:pt x="243" y="179"/>
                    <a:pt x="245" y="178"/>
                    <a:pt x="245" y="178"/>
                  </a:cubicBezTo>
                  <a:cubicBezTo>
                    <a:pt x="246" y="179"/>
                    <a:pt x="247" y="179"/>
                    <a:pt x="247" y="178"/>
                  </a:cubicBezTo>
                  <a:cubicBezTo>
                    <a:pt x="248" y="178"/>
                    <a:pt x="248" y="178"/>
                    <a:pt x="248" y="177"/>
                  </a:cubicBezTo>
                  <a:cubicBezTo>
                    <a:pt x="248" y="177"/>
                    <a:pt x="249" y="177"/>
                    <a:pt x="249" y="176"/>
                  </a:cubicBezTo>
                  <a:cubicBezTo>
                    <a:pt x="249" y="176"/>
                    <a:pt x="250" y="176"/>
                    <a:pt x="250" y="176"/>
                  </a:cubicBezTo>
                  <a:cubicBezTo>
                    <a:pt x="250" y="176"/>
                    <a:pt x="253" y="175"/>
                    <a:pt x="254" y="175"/>
                  </a:cubicBezTo>
                  <a:cubicBezTo>
                    <a:pt x="255" y="174"/>
                    <a:pt x="255" y="174"/>
                    <a:pt x="257" y="174"/>
                  </a:cubicBezTo>
                  <a:cubicBezTo>
                    <a:pt x="258" y="174"/>
                    <a:pt x="258" y="174"/>
                    <a:pt x="259" y="173"/>
                  </a:cubicBezTo>
                  <a:cubicBezTo>
                    <a:pt x="260" y="173"/>
                    <a:pt x="260" y="173"/>
                    <a:pt x="261" y="172"/>
                  </a:cubicBezTo>
                  <a:cubicBezTo>
                    <a:pt x="262" y="172"/>
                    <a:pt x="261" y="173"/>
                    <a:pt x="262" y="173"/>
                  </a:cubicBezTo>
                  <a:cubicBezTo>
                    <a:pt x="262" y="173"/>
                    <a:pt x="263" y="173"/>
                    <a:pt x="264" y="173"/>
                  </a:cubicBezTo>
                  <a:cubicBezTo>
                    <a:pt x="265" y="173"/>
                    <a:pt x="265" y="173"/>
                    <a:pt x="265" y="173"/>
                  </a:cubicBezTo>
                  <a:cubicBezTo>
                    <a:pt x="266" y="173"/>
                    <a:pt x="266" y="172"/>
                    <a:pt x="266" y="172"/>
                  </a:cubicBezTo>
                  <a:cubicBezTo>
                    <a:pt x="266" y="170"/>
                    <a:pt x="266" y="170"/>
                    <a:pt x="266" y="170"/>
                  </a:cubicBezTo>
                  <a:cubicBezTo>
                    <a:pt x="266" y="170"/>
                    <a:pt x="266" y="168"/>
                    <a:pt x="266" y="168"/>
                  </a:cubicBezTo>
                  <a:cubicBezTo>
                    <a:pt x="267" y="167"/>
                    <a:pt x="268" y="167"/>
                    <a:pt x="268" y="167"/>
                  </a:cubicBezTo>
                  <a:cubicBezTo>
                    <a:pt x="270" y="166"/>
                    <a:pt x="270" y="166"/>
                    <a:pt x="270" y="166"/>
                  </a:cubicBezTo>
                  <a:cubicBezTo>
                    <a:pt x="272" y="164"/>
                    <a:pt x="272" y="164"/>
                    <a:pt x="272" y="164"/>
                  </a:cubicBezTo>
                  <a:cubicBezTo>
                    <a:pt x="273" y="164"/>
                    <a:pt x="273" y="164"/>
                    <a:pt x="273" y="164"/>
                  </a:cubicBezTo>
                  <a:cubicBezTo>
                    <a:pt x="273" y="164"/>
                    <a:pt x="276" y="163"/>
                    <a:pt x="277" y="163"/>
                  </a:cubicBezTo>
                  <a:cubicBezTo>
                    <a:pt x="277" y="163"/>
                    <a:pt x="277" y="163"/>
                    <a:pt x="278" y="163"/>
                  </a:cubicBezTo>
                  <a:cubicBezTo>
                    <a:pt x="278" y="162"/>
                    <a:pt x="278" y="161"/>
                    <a:pt x="278" y="160"/>
                  </a:cubicBezTo>
                  <a:cubicBezTo>
                    <a:pt x="277" y="159"/>
                    <a:pt x="277" y="159"/>
                    <a:pt x="277" y="159"/>
                  </a:cubicBezTo>
                  <a:close/>
                  <a:moveTo>
                    <a:pt x="277" y="135"/>
                  </a:moveTo>
                  <a:cubicBezTo>
                    <a:pt x="277" y="135"/>
                    <a:pt x="280" y="134"/>
                    <a:pt x="281" y="133"/>
                  </a:cubicBezTo>
                  <a:cubicBezTo>
                    <a:pt x="281" y="133"/>
                    <a:pt x="281" y="132"/>
                    <a:pt x="281" y="131"/>
                  </a:cubicBezTo>
                  <a:cubicBezTo>
                    <a:pt x="282" y="130"/>
                    <a:pt x="280" y="131"/>
                    <a:pt x="280" y="131"/>
                  </a:cubicBezTo>
                  <a:cubicBezTo>
                    <a:pt x="281" y="129"/>
                    <a:pt x="281" y="129"/>
                    <a:pt x="281" y="129"/>
                  </a:cubicBezTo>
                  <a:cubicBezTo>
                    <a:pt x="281" y="129"/>
                    <a:pt x="280" y="128"/>
                    <a:pt x="279" y="128"/>
                  </a:cubicBezTo>
                  <a:cubicBezTo>
                    <a:pt x="279" y="128"/>
                    <a:pt x="278" y="128"/>
                    <a:pt x="277" y="129"/>
                  </a:cubicBezTo>
                  <a:cubicBezTo>
                    <a:pt x="277" y="129"/>
                    <a:pt x="276" y="130"/>
                    <a:pt x="276" y="131"/>
                  </a:cubicBezTo>
                  <a:cubicBezTo>
                    <a:pt x="276" y="131"/>
                    <a:pt x="275" y="133"/>
                    <a:pt x="275" y="133"/>
                  </a:cubicBezTo>
                  <a:cubicBezTo>
                    <a:pt x="274" y="134"/>
                    <a:pt x="273" y="136"/>
                    <a:pt x="272" y="136"/>
                  </a:cubicBezTo>
                  <a:cubicBezTo>
                    <a:pt x="272" y="137"/>
                    <a:pt x="271" y="137"/>
                    <a:pt x="271" y="138"/>
                  </a:cubicBezTo>
                  <a:cubicBezTo>
                    <a:pt x="270" y="138"/>
                    <a:pt x="271" y="140"/>
                    <a:pt x="271" y="140"/>
                  </a:cubicBezTo>
                  <a:cubicBezTo>
                    <a:pt x="271" y="141"/>
                    <a:pt x="271" y="141"/>
                    <a:pt x="271" y="141"/>
                  </a:cubicBezTo>
                  <a:cubicBezTo>
                    <a:pt x="271" y="141"/>
                    <a:pt x="271" y="142"/>
                    <a:pt x="272" y="142"/>
                  </a:cubicBezTo>
                  <a:cubicBezTo>
                    <a:pt x="273" y="141"/>
                    <a:pt x="273" y="140"/>
                    <a:pt x="273" y="140"/>
                  </a:cubicBezTo>
                  <a:cubicBezTo>
                    <a:pt x="274" y="140"/>
                    <a:pt x="274" y="140"/>
                    <a:pt x="274" y="140"/>
                  </a:cubicBezTo>
                  <a:cubicBezTo>
                    <a:pt x="274" y="140"/>
                    <a:pt x="275" y="142"/>
                    <a:pt x="276" y="142"/>
                  </a:cubicBezTo>
                  <a:cubicBezTo>
                    <a:pt x="277" y="142"/>
                    <a:pt x="276" y="141"/>
                    <a:pt x="276" y="141"/>
                  </a:cubicBezTo>
                  <a:cubicBezTo>
                    <a:pt x="277" y="141"/>
                    <a:pt x="277" y="140"/>
                    <a:pt x="277" y="139"/>
                  </a:cubicBezTo>
                  <a:cubicBezTo>
                    <a:pt x="277" y="138"/>
                    <a:pt x="277" y="137"/>
                    <a:pt x="276" y="137"/>
                  </a:cubicBezTo>
                  <a:cubicBezTo>
                    <a:pt x="276" y="136"/>
                    <a:pt x="276" y="136"/>
                    <a:pt x="276" y="136"/>
                  </a:cubicBezTo>
                  <a:lnTo>
                    <a:pt x="277" y="135"/>
                  </a:lnTo>
                  <a:close/>
                  <a:moveTo>
                    <a:pt x="260" y="22"/>
                  </a:moveTo>
                  <a:cubicBezTo>
                    <a:pt x="259" y="23"/>
                    <a:pt x="258" y="23"/>
                    <a:pt x="258" y="23"/>
                  </a:cubicBezTo>
                  <a:cubicBezTo>
                    <a:pt x="257" y="23"/>
                    <a:pt x="256" y="23"/>
                    <a:pt x="256" y="23"/>
                  </a:cubicBezTo>
                  <a:cubicBezTo>
                    <a:pt x="255" y="23"/>
                    <a:pt x="254" y="23"/>
                    <a:pt x="253" y="23"/>
                  </a:cubicBezTo>
                  <a:cubicBezTo>
                    <a:pt x="253" y="23"/>
                    <a:pt x="253" y="23"/>
                    <a:pt x="252" y="23"/>
                  </a:cubicBezTo>
                  <a:cubicBezTo>
                    <a:pt x="251" y="23"/>
                    <a:pt x="251" y="23"/>
                    <a:pt x="251" y="23"/>
                  </a:cubicBezTo>
                  <a:cubicBezTo>
                    <a:pt x="249" y="23"/>
                    <a:pt x="249" y="24"/>
                    <a:pt x="249" y="25"/>
                  </a:cubicBezTo>
                  <a:cubicBezTo>
                    <a:pt x="249" y="25"/>
                    <a:pt x="249" y="26"/>
                    <a:pt x="248" y="26"/>
                  </a:cubicBezTo>
                  <a:cubicBezTo>
                    <a:pt x="248" y="27"/>
                    <a:pt x="247" y="27"/>
                    <a:pt x="247" y="27"/>
                  </a:cubicBezTo>
                  <a:cubicBezTo>
                    <a:pt x="246" y="28"/>
                    <a:pt x="245" y="29"/>
                    <a:pt x="244" y="30"/>
                  </a:cubicBezTo>
                  <a:cubicBezTo>
                    <a:pt x="244" y="31"/>
                    <a:pt x="244" y="32"/>
                    <a:pt x="244" y="33"/>
                  </a:cubicBezTo>
                  <a:cubicBezTo>
                    <a:pt x="245" y="34"/>
                    <a:pt x="245" y="34"/>
                    <a:pt x="245" y="34"/>
                  </a:cubicBezTo>
                  <a:cubicBezTo>
                    <a:pt x="246" y="34"/>
                    <a:pt x="247" y="34"/>
                    <a:pt x="247" y="33"/>
                  </a:cubicBezTo>
                  <a:cubicBezTo>
                    <a:pt x="248" y="33"/>
                    <a:pt x="248" y="32"/>
                    <a:pt x="248" y="32"/>
                  </a:cubicBezTo>
                  <a:cubicBezTo>
                    <a:pt x="248" y="31"/>
                    <a:pt x="249" y="30"/>
                    <a:pt x="249" y="30"/>
                  </a:cubicBezTo>
                  <a:cubicBezTo>
                    <a:pt x="250" y="29"/>
                    <a:pt x="250" y="28"/>
                    <a:pt x="251" y="28"/>
                  </a:cubicBezTo>
                  <a:cubicBezTo>
                    <a:pt x="251" y="27"/>
                    <a:pt x="252" y="27"/>
                    <a:pt x="253" y="27"/>
                  </a:cubicBezTo>
                  <a:cubicBezTo>
                    <a:pt x="253" y="26"/>
                    <a:pt x="254" y="26"/>
                    <a:pt x="254" y="26"/>
                  </a:cubicBezTo>
                  <a:cubicBezTo>
                    <a:pt x="255" y="26"/>
                    <a:pt x="256" y="26"/>
                    <a:pt x="256" y="26"/>
                  </a:cubicBezTo>
                  <a:cubicBezTo>
                    <a:pt x="258" y="26"/>
                    <a:pt x="259" y="26"/>
                    <a:pt x="260" y="25"/>
                  </a:cubicBezTo>
                  <a:cubicBezTo>
                    <a:pt x="260" y="24"/>
                    <a:pt x="261" y="24"/>
                    <a:pt x="261" y="23"/>
                  </a:cubicBezTo>
                  <a:cubicBezTo>
                    <a:pt x="261" y="23"/>
                    <a:pt x="261" y="23"/>
                    <a:pt x="261" y="22"/>
                  </a:cubicBezTo>
                  <a:cubicBezTo>
                    <a:pt x="260" y="22"/>
                    <a:pt x="260" y="22"/>
                    <a:pt x="260" y="22"/>
                  </a:cubicBezTo>
                  <a:close/>
                  <a:moveTo>
                    <a:pt x="255" y="21"/>
                  </a:moveTo>
                  <a:cubicBezTo>
                    <a:pt x="256" y="21"/>
                    <a:pt x="255" y="21"/>
                    <a:pt x="256" y="21"/>
                  </a:cubicBezTo>
                  <a:cubicBezTo>
                    <a:pt x="257" y="21"/>
                    <a:pt x="258" y="21"/>
                    <a:pt x="258" y="20"/>
                  </a:cubicBezTo>
                  <a:cubicBezTo>
                    <a:pt x="260" y="20"/>
                    <a:pt x="261" y="20"/>
                    <a:pt x="262" y="20"/>
                  </a:cubicBezTo>
                  <a:cubicBezTo>
                    <a:pt x="263" y="19"/>
                    <a:pt x="265" y="19"/>
                    <a:pt x="266" y="20"/>
                  </a:cubicBezTo>
                  <a:cubicBezTo>
                    <a:pt x="267" y="20"/>
                    <a:pt x="270" y="21"/>
                    <a:pt x="270" y="19"/>
                  </a:cubicBezTo>
                  <a:cubicBezTo>
                    <a:pt x="270" y="17"/>
                    <a:pt x="270" y="16"/>
                    <a:pt x="270" y="15"/>
                  </a:cubicBezTo>
                  <a:cubicBezTo>
                    <a:pt x="271" y="13"/>
                    <a:pt x="273" y="13"/>
                    <a:pt x="272" y="12"/>
                  </a:cubicBezTo>
                  <a:cubicBezTo>
                    <a:pt x="270" y="11"/>
                    <a:pt x="269" y="11"/>
                    <a:pt x="268" y="11"/>
                  </a:cubicBezTo>
                  <a:cubicBezTo>
                    <a:pt x="268" y="11"/>
                    <a:pt x="267" y="10"/>
                    <a:pt x="266" y="10"/>
                  </a:cubicBezTo>
                  <a:cubicBezTo>
                    <a:pt x="266" y="10"/>
                    <a:pt x="265" y="12"/>
                    <a:pt x="265" y="10"/>
                  </a:cubicBezTo>
                  <a:cubicBezTo>
                    <a:pt x="264" y="10"/>
                    <a:pt x="265" y="10"/>
                    <a:pt x="264" y="10"/>
                  </a:cubicBezTo>
                  <a:cubicBezTo>
                    <a:pt x="264" y="10"/>
                    <a:pt x="263" y="10"/>
                    <a:pt x="263" y="10"/>
                  </a:cubicBezTo>
                  <a:cubicBezTo>
                    <a:pt x="262" y="10"/>
                    <a:pt x="261" y="10"/>
                    <a:pt x="260" y="11"/>
                  </a:cubicBezTo>
                  <a:cubicBezTo>
                    <a:pt x="259" y="11"/>
                    <a:pt x="259" y="12"/>
                    <a:pt x="258" y="12"/>
                  </a:cubicBezTo>
                  <a:cubicBezTo>
                    <a:pt x="257" y="13"/>
                    <a:pt x="255" y="14"/>
                    <a:pt x="254" y="15"/>
                  </a:cubicBezTo>
                  <a:cubicBezTo>
                    <a:pt x="253" y="17"/>
                    <a:pt x="253" y="19"/>
                    <a:pt x="253" y="20"/>
                  </a:cubicBezTo>
                  <a:cubicBezTo>
                    <a:pt x="253" y="22"/>
                    <a:pt x="254" y="20"/>
                    <a:pt x="255" y="21"/>
                  </a:cubicBezTo>
                  <a:close/>
                  <a:moveTo>
                    <a:pt x="267" y="27"/>
                  </a:moveTo>
                  <a:cubicBezTo>
                    <a:pt x="266" y="27"/>
                    <a:pt x="266" y="27"/>
                    <a:pt x="265" y="27"/>
                  </a:cubicBezTo>
                  <a:cubicBezTo>
                    <a:pt x="264" y="28"/>
                    <a:pt x="264" y="29"/>
                    <a:pt x="265" y="29"/>
                  </a:cubicBezTo>
                  <a:cubicBezTo>
                    <a:pt x="265" y="29"/>
                    <a:pt x="266" y="29"/>
                    <a:pt x="266" y="29"/>
                  </a:cubicBezTo>
                  <a:cubicBezTo>
                    <a:pt x="267" y="29"/>
                    <a:pt x="268" y="29"/>
                    <a:pt x="269" y="29"/>
                  </a:cubicBezTo>
                  <a:cubicBezTo>
                    <a:pt x="269" y="29"/>
                    <a:pt x="270" y="29"/>
                    <a:pt x="270" y="29"/>
                  </a:cubicBezTo>
                  <a:cubicBezTo>
                    <a:pt x="271" y="29"/>
                    <a:pt x="271" y="29"/>
                    <a:pt x="272" y="29"/>
                  </a:cubicBezTo>
                  <a:cubicBezTo>
                    <a:pt x="272" y="29"/>
                    <a:pt x="273" y="30"/>
                    <a:pt x="274" y="31"/>
                  </a:cubicBezTo>
                  <a:cubicBezTo>
                    <a:pt x="274" y="31"/>
                    <a:pt x="274" y="31"/>
                    <a:pt x="274" y="31"/>
                  </a:cubicBezTo>
                  <a:cubicBezTo>
                    <a:pt x="275" y="32"/>
                    <a:pt x="276" y="31"/>
                    <a:pt x="276" y="31"/>
                  </a:cubicBezTo>
                  <a:cubicBezTo>
                    <a:pt x="277" y="32"/>
                    <a:pt x="278" y="32"/>
                    <a:pt x="278" y="31"/>
                  </a:cubicBezTo>
                  <a:cubicBezTo>
                    <a:pt x="278" y="31"/>
                    <a:pt x="278" y="31"/>
                    <a:pt x="278" y="31"/>
                  </a:cubicBezTo>
                  <a:cubicBezTo>
                    <a:pt x="279" y="30"/>
                    <a:pt x="279" y="30"/>
                    <a:pt x="279" y="30"/>
                  </a:cubicBezTo>
                  <a:cubicBezTo>
                    <a:pt x="279" y="30"/>
                    <a:pt x="279" y="30"/>
                    <a:pt x="279" y="30"/>
                  </a:cubicBezTo>
                  <a:cubicBezTo>
                    <a:pt x="279" y="29"/>
                    <a:pt x="279" y="29"/>
                    <a:pt x="279" y="29"/>
                  </a:cubicBezTo>
                  <a:cubicBezTo>
                    <a:pt x="279" y="29"/>
                    <a:pt x="280" y="29"/>
                    <a:pt x="280" y="29"/>
                  </a:cubicBezTo>
                  <a:cubicBezTo>
                    <a:pt x="281" y="29"/>
                    <a:pt x="281" y="29"/>
                    <a:pt x="281" y="29"/>
                  </a:cubicBezTo>
                  <a:cubicBezTo>
                    <a:pt x="281" y="28"/>
                    <a:pt x="281" y="28"/>
                    <a:pt x="281" y="28"/>
                  </a:cubicBezTo>
                  <a:cubicBezTo>
                    <a:pt x="282" y="28"/>
                    <a:pt x="283" y="28"/>
                    <a:pt x="283" y="29"/>
                  </a:cubicBezTo>
                  <a:cubicBezTo>
                    <a:pt x="283" y="30"/>
                    <a:pt x="283" y="30"/>
                    <a:pt x="283" y="30"/>
                  </a:cubicBezTo>
                  <a:cubicBezTo>
                    <a:pt x="284" y="30"/>
                    <a:pt x="284" y="30"/>
                    <a:pt x="284" y="30"/>
                  </a:cubicBezTo>
                  <a:cubicBezTo>
                    <a:pt x="284" y="31"/>
                    <a:pt x="284" y="32"/>
                    <a:pt x="285" y="31"/>
                  </a:cubicBezTo>
                  <a:cubicBezTo>
                    <a:pt x="285" y="31"/>
                    <a:pt x="286" y="31"/>
                    <a:pt x="286" y="30"/>
                  </a:cubicBezTo>
                  <a:cubicBezTo>
                    <a:pt x="287" y="30"/>
                    <a:pt x="287" y="30"/>
                    <a:pt x="287" y="29"/>
                  </a:cubicBezTo>
                  <a:cubicBezTo>
                    <a:pt x="288" y="29"/>
                    <a:pt x="288" y="27"/>
                    <a:pt x="287" y="27"/>
                  </a:cubicBezTo>
                  <a:cubicBezTo>
                    <a:pt x="287" y="26"/>
                    <a:pt x="286" y="26"/>
                    <a:pt x="286" y="25"/>
                  </a:cubicBezTo>
                  <a:cubicBezTo>
                    <a:pt x="286" y="24"/>
                    <a:pt x="288" y="23"/>
                    <a:pt x="288" y="22"/>
                  </a:cubicBezTo>
                  <a:cubicBezTo>
                    <a:pt x="289" y="22"/>
                    <a:pt x="290" y="21"/>
                    <a:pt x="291" y="21"/>
                  </a:cubicBezTo>
                  <a:cubicBezTo>
                    <a:pt x="291" y="22"/>
                    <a:pt x="292" y="22"/>
                    <a:pt x="292" y="22"/>
                  </a:cubicBezTo>
                  <a:cubicBezTo>
                    <a:pt x="293" y="22"/>
                    <a:pt x="293" y="22"/>
                    <a:pt x="294" y="21"/>
                  </a:cubicBezTo>
                  <a:cubicBezTo>
                    <a:pt x="294" y="21"/>
                    <a:pt x="294" y="22"/>
                    <a:pt x="294" y="21"/>
                  </a:cubicBezTo>
                  <a:cubicBezTo>
                    <a:pt x="295" y="20"/>
                    <a:pt x="295" y="20"/>
                    <a:pt x="295" y="20"/>
                  </a:cubicBezTo>
                  <a:cubicBezTo>
                    <a:pt x="295" y="20"/>
                    <a:pt x="295" y="19"/>
                    <a:pt x="295" y="19"/>
                  </a:cubicBezTo>
                  <a:cubicBezTo>
                    <a:pt x="296" y="18"/>
                    <a:pt x="296" y="18"/>
                    <a:pt x="296" y="18"/>
                  </a:cubicBezTo>
                  <a:cubicBezTo>
                    <a:pt x="297" y="16"/>
                    <a:pt x="297" y="15"/>
                    <a:pt x="298" y="14"/>
                  </a:cubicBezTo>
                  <a:cubicBezTo>
                    <a:pt x="299" y="14"/>
                    <a:pt x="299" y="14"/>
                    <a:pt x="300" y="13"/>
                  </a:cubicBezTo>
                  <a:cubicBezTo>
                    <a:pt x="301" y="13"/>
                    <a:pt x="301" y="13"/>
                    <a:pt x="301" y="13"/>
                  </a:cubicBezTo>
                  <a:cubicBezTo>
                    <a:pt x="302" y="13"/>
                    <a:pt x="303" y="13"/>
                    <a:pt x="305" y="13"/>
                  </a:cubicBezTo>
                  <a:cubicBezTo>
                    <a:pt x="306" y="13"/>
                    <a:pt x="307" y="12"/>
                    <a:pt x="308" y="12"/>
                  </a:cubicBezTo>
                  <a:cubicBezTo>
                    <a:pt x="308" y="12"/>
                    <a:pt x="309" y="11"/>
                    <a:pt x="308" y="10"/>
                  </a:cubicBezTo>
                  <a:cubicBezTo>
                    <a:pt x="308" y="10"/>
                    <a:pt x="308" y="10"/>
                    <a:pt x="308" y="10"/>
                  </a:cubicBezTo>
                  <a:cubicBezTo>
                    <a:pt x="307" y="9"/>
                    <a:pt x="307" y="9"/>
                    <a:pt x="307" y="9"/>
                  </a:cubicBezTo>
                  <a:cubicBezTo>
                    <a:pt x="307" y="9"/>
                    <a:pt x="306" y="9"/>
                    <a:pt x="306" y="9"/>
                  </a:cubicBezTo>
                  <a:cubicBezTo>
                    <a:pt x="305" y="9"/>
                    <a:pt x="305" y="9"/>
                    <a:pt x="304" y="9"/>
                  </a:cubicBezTo>
                  <a:cubicBezTo>
                    <a:pt x="304" y="9"/>
                    <a:pt x="303" y="8"/>
                    <a:pt x="303" y="8"/>
                  </a:cubicBezTo>
                  <a:cubicBezTo>
                    <a:pt x="302" y="8"/>
                    <a:pt x="302" y="8"/>
                    <a:pt x="302" y="7"/>
                  </a:cubicBezTo>
                  <a:cubicBezTo>
                    <a:pt x="301" y="6"/>
                    <a:pt x="300" y="7"/>
                    <a:pt x="299" y="7"/>
                  </a:cubicBezTo>
                  <a:cubicBezTo>
                    <a:pt x="298" y="7"/>
                    <a:pt x="298" y="8"/>
                    <a:pt x="297" y="8"/>
                  </a:cubicBezTo>
                  <a:cubicBezTo>
                    <a:pt x="296" y="9"/>
                    <a:pt x="296" y="10"/>
                    <a:pt x="296" y="10"/>
                  </a:cubicBezTo>
                  <a:cubicBezTo>
                    <a:pt x="295" y="11"/>
                    <a:pt x="294" y="11"/>
                    <a:pt x="293" y="11"/>
                  </a:cubicBezTo>
                  <a:cubicBezTo>
                    <a:pt x="292" y="11"/>
                    <a:pt x="292" y="11"/>
                    <a:pt x="292" y="10"/>
                  </a:cubicBezTo>
                  <a:cubicBezTo>
                    <a:pt x="292" y="10"/>
                    <a:pt x="292" y="9"/>
                    <a:pt x="291" y="9"/>
                  </a:cubicBezTo>
                  <a:cubicBezTo>
                    <a:pt x="291" y="9"/>
                    <a:pt x="290" y="9"/>
                    <a:pt x="289" y="9"/>
                  </a:cubicBezTo>
                  <a:cubicBezTo>
                    <a:pt x="289" y="10"/>
                    <a:pt x="290" y="10"/>
                    <a:pt x="290" y="10"/>
                  </a:cubicBezTo>
                  <a:cubicBezTo>
                    <a:pt x="291" y="11"/>
                    <a:pt x="291" y="13"/>
                    <a:pt x="290" y="14"/>
                  </a:cubicBezTo>
                  <a:cubicBezTo>
                    <a:pt x="289" y="15"/>
                    <a:pt x="289" y="15"/>
                    <a:pt x="289" y="15"/>
                  </a:cubicBezTo>
                  <a:cubicBezTo>
                    <a:pt x="289" y="15"/>
                    <a:pt x="289" y="15"/>
                    <a:pt x="289" y="15"/>
                  </a:cubicBezTo>
                  <a:cubicBezTo>
                    <a:pt x="289" y="14"/>
                    <a:pt x="288" y="13"/>
                    <a:pt x="288" y="14"/>
                  </a:cubicBezTo>
                  <a:cubicBezTo>
                    <a:pt x="287" y="14"/>
                    <a:pt x="287" y="15"/>
                    <a:pt x="287" y="16"/>
                  </a:cubicBezTo>
                  <a:cubicBezTo>
                    <a:pt x="288" y="16"/>
                    <a:pt x="288" y="16"/>
                    <a:pt x="288" y="17"/>
                  </a:cubicBezTo>
                  <a:cubicBezTo>
                    <a:pt x="287" y="18"/>
                    <a:pt x="285" y="18"/>
                    <a:pt x="284" y="18"/>
                  </a:cubicBezTo>
                  <a:cubicBezTo>
                    <a:pt x="284" y="18"/>
                    <a:pt x="283" y="18"/>
                    <a:pt x="282" y="17"/>
                  </a:cubicBezTo>
                  <a:cubicBezTo>
                    <a:pt x="282" y="17"/>
                    <a:pt x="283" y="16"/>
                    <a:pt x="283" y="16"/>
                  </a:cubicBezTo>
                  <a:cubicBezTo>
                    <a:pt x="283" y="14"/>
                    <a:pt x="285" y="13"/>
                    <a:pt x="286" y="12"/>
                  </a:cubicBezTo>
                  <a:cubicBezTo>
                    <a:pt x="286" y="11"/>
                    <a:pt x="286" y="11"/>
                    <a:pt x="286" y="11"/>
                  </a:cubicBezTo>
                  <a:cubicBezTo>
                    <a:pt x="285" y="10"/>
                    <a:pt x="285" y="10"/>
                    <a:pt x="284" y="10"/>
                  </a:cubicBezTo>
                  <a:cubicBezTo>
                    <a:pt x="284" y="10"/>
                    <a:pt x="283" y="10"/>
                    <a:pt x="282" y="11"/>
                  </a:cubicBezTo>
                  <a:cubicBezTo>
                    <a:pt x="282" y="11"/>
                    <a:pt x="281" y="11"/>
                    <a:pt x="281" y="11"/>
                  </a:cubicBezTo>
                  <a:cubicBezTo>
                    <a:pt x="280" y="12"/>
                    <a:pt x="279" y="12"/>
                    <a:pt x="278" y="12"/>
                  </a:cubicBezTo>
                  <a:cubicBezTo>
                    <a:pt x="278" y="12"/>
                    <a:pt x="278" y="12"/>
                    <a:pt x="277" y="12"/>
                  </a:cubicBezTo>
                  <a:cubicBezTo>
                    <a:pt x="277" y="11"/>
                    <a:pt x="277" y="11"/>
                    <a:pt x="276" y="12"/>
                  </a:cubicBezTo>
                  <a:cubicBezTo>
                    <a:pt x="275" y="12"/>
                    <a:pt x="274" y="13"/>
                    <a:pt x="274" y="14"/>
                  </a:cubicBezTo>
                  <a:cubicBezTo>
                    <a:pt x="273" y="14"/>
                    <a:pt x="273" y="14"/>
                    <a:pt x="274" y="14"/>
                  </a:cubicBezTo>
                  <a:cubicBezTo>
                    <a:pt x="274" y="15"/>
                    <a:pt x="275" y="15"/>
                    <a:pt x="275" y="14"/>
                  </a:cubicBezTo>
                  <a:cubicBezTo>
                    <a:pt x="276" y="14"/>
                    <a:pt x="277" y="14"/>
                    <a:pt x="278" y="15"/>
                  </a:cubicBezTo>
                  <a:cubicBezTo>
                    <a:pt x="279" y="15"/>
                    <a:pt x="279" y="16"/>
                    <a:pt x="280" y="16"/>
                  </a:cubicBezTo>
                  <a:cubicBezTo>
                    <a:pt x="280" y="17"/>
                    <a:pt x="280" y="17"/>
                    <a:pt x="280" y="17"/>
                  </a:cubicBezTo>
                  <a:cubicBezTo>
                    <a:pt x="279" y="18"/>
                    <a:pt x="279" y="18"/>
                    <a:pt x="279" y="18"/>
                  </a:cubicBezTo>
                  <a:cubicBezTo>
                    <a:pt x="279" y="18"/>
                    <a:pt x="278" y="18"/>
                    <a:pt x="277" y="19"/>
                  </a:cubicBezTo>
                  <a:cubicBezTo>
                    <a:pt x="276" y="19"/>
                    <a:pt x="275" y="19"/>
                    <a:pt x="275" y="19"/>
                  </a:cubicBezTo>
                  <a:cubicBezTo>
                    <a:pt x="274" y="19"/>
                    <a:pt x="273" y="20"/>
                    <a:pt x="272" y="20"/>
                  </a:cubicBezTo>
                  <a:cubicBezTo>
                    <a:pt x="272" y="22"/>
                    <a:pt x="271" y="23"/>
                    <a:pt x="270" y="24"/>
                  </a:cubicBezTo>
                  <a:cubicBezTo>
                    <a:pt x="269" y="25"/>
                    <a:pt x="268" y="26"/>
                    <a:pt x="267" y="27"/>
                  </a:cubicBezTo>
                  <a:close/>
                  <a:moveTo>
                    <a:pt x="309" y="23"/>
                  </a:moveTo>
                  <a:cubicBezTo>
                    <a:pt x="310" y="24"/>
                    <a:pt x="310" y="24"/>
                    <a:pt x="311" y="23"/>
                  </a:cubicBezTo>
                  <a:cubicBezTo>
                    <a:pt x="312" y="23"/>
                    <a:pt x="312" y="22"/>
                    <a:pt x="313" y="22"/>
                  </a:cubicBezTo>
                  <a:cubicBezTo>
                    <a:pt x="314" y="22"/>
                    <a:pt x="315" y="21"/>
                    <a:pt x="316" y="22"/>
                  </a:cubicBezTo>
                  <a:cubicBezTo>
                    <a:pt x="316" y="23"/>
                    <a:pt x="316" y="23"/>
                    <a:pt x="316" y="24"/>
                  </a:cubicBezTo>
                  <a:cubicBezTo>
                    <a:pt x="316" y="24"/>
                    <a:pt x="317" y="25"/>
                    <a:pt x="317" y="25"/>
                  </a:cubicBezTo>
                  <a:cubicBezTo>
                    <a:pt x="317" y="25"/>
                    <a:pt x="317" y="26"/>
                    <a:pt x="317" y="26"/>
                  </a:cubicBezTo>
                  <a:cubicBezTo>
                    <a:pt x="317" y="27"/>
                    <a:pt x="317" y="27"/>
                    <a:pt x="317" y="27"/>
                  </a:cubicBezTo>
                  <a:cubicBezTo>
                    <a:pt x="317" y="28"/>
                    <a:pt x="317" y="29"/>
                    <a:pt x="318" y="30"/>
                  </a:cubicBezTo>
                  <a:cubicBezTo>
                    <a:pt x="318" y="30"/>
                    <a:pt x="319" y="30"/>
                    <a:pt x="319" y="30"/>
                  </a:cubicBezTo>
                  <a:cubicBezTo>
                    <a:pt x="320" y="30"/>
                    <a:pt x="321" y="30"/>
                    <a:pt x="321" y="30"/>
                  </a:cubicBezTo>
                  <a:cubicBezTo>
                    <a:pt x="323" y="30"/>
                    <a:pt x="323" y="29"/>
                    <a:pt x="324" y="28"/>
                  </a:cubicBezTo>
                  <a:cubicBezTo>
                    <a:pt x="325" y="27"/>
                    <a:pt x="326" y="26"/>
                    <a:pt x="326" y="26"/>
                  </a:cubicBezTo>
                  <a:cubicBezTo>
                    <a:pt x="327" y="25"/>
                    <a:pt x="327" y="24"/>
                    <a:pt x="327" y="23"/>
                  </a:cubicBezTo>
                  <a:cubicBezTo>
                    <a:pt x="327" y="22"/>
                    <a:pt x="327" y="21"/>
                    <a:pt x="328" y="20"/>
                  </a:cubicBezTo>
                  <a:cubicBezTo>
                    <a:pt x="328" y="19"/>
                    <a:pt x="330" y="18"/>
                    <a:pt x="331" y="17"/>
                  </a:cubicBezTo>
                  <a:cubicBezTo>
                    <a:pt x="331" y="16"/>
                    <a:pt x="333" y="16"/>
                    <a:pt x="332" y="15"/>
                  </a:cubicBezTo>
                  <a:cubicBezTo>
                    <a:pt x="332" y="14"/>
                    <a:pt x="332" y="14"/>
                    <a:pt x="332" y="14"/>
                  </a:cubicBezTo>
                  <a:cubicBezTo>
                    <a:pt x="332" y="13"/>
                    <a:pt x="332" y="13"/>
                    <a:pt x="332" y="13"/>
                  </a:cubicBezTo>
                  <a:cubicBezTo>
                    <a:pt x="332" y="11"/>
                    <a:pt x="333" y="11"/>
                    <a:pt x="333" y="10"/>
                  </a:cubicBezTo>
                  <a:cubicBezTo>
                    <a:pt x="334" y="10"/>
                    <a:pt x="334" y="9"/>
                    <a:pt x="334" y="9"/>
                  </a:cubicBezTo>
                  <a:cubicBezTo>
                    <a:pt x="334" y="8"/>
                    <a:pt x="333" y="8"/>
                    <a:pt x="333" y="8"/>
                  </a:cubicBezTo>
                  <a:cubicBezTo>
                    <a:pt x="333" y="7"/>
                    <a:pt x="333" y="7"/>
                    <a:pt x="332" y="7"/>
                  </a:cubicBezTo>
                  <a:cubicBezTo>
                    <a:pt x="332" y="7"/>
                    <a:pt x="331" y="7"/>
                    <a:pt x="331" y="7"/>
                  </a:cubicBezTo>
                  <a:cubicBezTo>
                    <a:pt x="330" y="7"/>
                    <a:pt x="329" y="7"/>
                    <a:pt x="329" y="7"/>
                  </a:cubicBezTo>
                  <a:cubicBezTo>
                    <a:pt x="328" y="8"/>
                    <a:pt x="328" y="8"/>
                    <a:pt x="328" y="8"/>
                  </a:cubicBezTo>
                  <a:cubicBezTo>
                    <a:pt x="328" y="9"/>
                    <a:pt x="328" y="9"/>
                    <a:pt x="328" y="10"/>
                  </a:cubicBezTo>
                  <a:cubicBezTo>
                    <a:pt x="328" y="10"/>
                    <a:pt x="327" y="10"/>
                    <a:pt x="327" y="11"/>
                  </a:cubicBezTo>
                  <a:cubicBezTo>
                    <a:pt x="327" y="12"/>
                    <a:pt x="327" y="12"/>
                    <a:pt x="327" y="12"/>
                  </a:cubicBezTo>
                  <a:cubicBezTo>
                    <a:pt x="327" y="12"/>
                    <a:pt x="327" y="12"/>
                    <a:pt x="326" y="12"/>
                  </a:cubicBezTo>
                  <a:cubicBezTo>
                    <a:pt x="325" y="13"/>
                    <a:pt x="325" y="13"/>
                    <a:pt x="325" y="13"/>
                  </a:cubicBezTo>
                  <a:cubicBezTo>
                    <a:pt x="324" y="13"/>
                    <a:pt x="324" y="13"/>
                    <a:pt x="324" y="13"/>
                  </a:cubicBezTo>
                  <a:cubicBezTo>
                    <a:pt x="324" y="14"/>
                    <a:pt x="324" y="14"/>
                    <a:pt x="324" y="15"/>
                  </a:cubicBezTo>
                  <a:cubicBezTo>
                    <a:pt x="324" y="16"/>
                    <a:pt x="323" y="16"/>
                    <a:pt x="322" y="16"/>
                  </a:cubicBezTo>
                  <a:cubicBezTo>
                    <a:pt x="322" y="16"/>
                    <a:pt x="321" y="17"/>
                    <a:pt x="321" y="17"/>
                  </a:cubicBezTo>
                  <a:cubicBezTo>
                    <a:pt x="320" y="18"/>
                    <a:pt x="321" y="18"/>
                    <a:pt x="320" y="19"/>
                  </a:cubicBezTo>
                  <a:cubicBezTo>
                    <a:pt x="320" y="19"/>
                    <a:pt x="320" y="19"/>
                    <a:pt x="320" y="19"/>
                  </a:cubicBezTo>
                  <a:cubicBezTo>
                    <a:pt x="319" y="19"/>
                    <a:pt x="319" y="19"/>
                    <a:pt x="319" y="19"/>
                  </a:cubicBezTo>
                  <a:cubicBezTo>
                    <a:pt x="319" y="18"/>
                    <a:pt x="318" y="18"/>
                    <a:pt x="318" y="18"/>
                  </a:cubicBezTo>
                  <a:cubicBezTo>
                    <a:pt x="318" y="16"/>
                    <a:pt x="319" y="15"/>
                    <a:pt x="318" y="14"/>
                  </a:cubicBezTo>
                  <a:cubicBezTo>
                    <a:pt x="317" y="14"/>
                    <a:pt x="316" y="15"/>
                    <a:pt x="315" y="15"/>
                  </a:cubicBezTo>
                  <a:cubicBezTo>
                    <a:pt x="314" y="16"/>
                    <a:pt x="313" y="16"/>
                    <a:pt x="312" y="17"/>
                  </a:cubicBezTo>
                  <a:cubicBezTo>
                    <a:pt x="311" y="17"/>
                    <a:pt x="311" y="18"/>
                    <a:pt x="311" y="19"/>
                  </a:cubicBezTo>
                  <a:cubicBezTo>
                    <a:pt x="311" y="20"/>
                    <a:pt x="311" y="20"/>
                    <a:pt x="310" y="21"/>
                  </a:cubicBezTo>
                  <a:cubicBezTo>
                    <a:pt x="310" y="21"/>
                    <a:pt x="310" y="21"/>
                    <a:pt x="309" y="22"/>
                  </a:cubicBezTo>
                  <a:cubicBezTo>
                    <a:pt x="309" y="22"/>
                    <a:pt x="308" y="23"/>
                    <a:pt x="309" y="23"/>
                  </a:cubicBezTo>
                  <a:close/>
                  <a:moveTo>
                    <a:pt x="336" y="23"/>
                  </a:moveTo>
                  <a:cubicBezTo>
                    <a:pt x="337" y="23"/>
                    <a:pt x="338" y="23"/>
                    <a:pt x="339" y="23"/>
                  </a:cubicBezTo>
                  <a:cubicBezTo>
                    <a:pt x="340" y="23"/>
                    <a:pt x="341" y="24"/>
                    <a:pt x="341" y="23"/>
                  </a:cubicBezTo>
                  <a:cubicBezTo>
                    <a:pt x="342" y="23"/>
                    <a:pt x="342" y="23"/>
                    <a:pt x="343" y="22"/>
                  </a:cubicBezTo>
                  <a:cubicBezTo>
                    <a:pt x="344" y="22"/>
                    <a:pt x="344" y="22"/>
                    <a:pt x="345" y="22"/>
                  </a:cubicBezTo>
                  <a:cubicBezTo>
                    <a:pt x="346" y="22"/>
                    <a:pt x="346" y="24"/>
                    <a:pt x="348" y="23"/>
                  </a:cubicBezTo>
                  <a:cubicBezTo>
                    <a:pt x="349" y="23"/>
                    <a:pt x="350" y="23"/>
                    <a:pt x="350" y="23"/>
                  </a:cubicBezTo>
                  <a:cubicBezTo>
                    <a:pt x="351" y="22"/>
                    <a:pt x="351" y="22"/>
                    <a:pt x="351" y="21"/>
                  </a:cubicBezTo>
                  <a:cubicBezTo>
                    <a:pt x="352" y="21"/>
                    <a:pt x="353" y="21"/>
                    <a:pt x="354" y="20"/>
                  </a:cubicBezTo>
                  <a:cubicBezTo>
                    <a:pt x="355" y="20"/>
                    <a:pt x="355" y="20"/>
                    <a:pt x="356" y="20"/>
                  </a:cubicBezTo>
                  <a:cubicBezTo>
                    <a:pt x="358" y="21"/>
                    <a:pt x="360" y="21"/>
                    <a:pt x="362" y="21"/>
                  </a:cubicBezTo>
                  <a:cubicBezTo>
                    <a:pt x="364" y="21"/>
                    <a:pt x="365" y="20"/>
                    <a:pt x="366" y="20"/>
                  </a:cubicBezTo>
                  <a:cubicBezTo>
                    <a:pt x="367" y="19"/>
                    <a:pt x="368" y="19"/>
                    <a:pt x="369" y="19"/>
                  </a:cubicBezTo>
                  <a:cubicBezTo>
                    <a:pt x="371" y="18"/>
                    <a:pt x="374" y="18"/>
                    <a:pt x="377" y="17"/>
                  </a:cubicBezTo>
                  <a:cubicBezTo>
                    <a:pt x="379" y="17"/>
                    <a:pt x="381" y="17"/>
                    <a:pt x="383" y="17"/>
                  </a:cubicBezTo>
                  <a:cubicBezTo>
                    <a:pt x="384" y="16"/>
                    <a:pt x="383" y="15"/>
                    <a:pt x="383" y="13"/>
                  </a:cubicBezTo>
                  <a:cubicBezTo>
                    <a:pt x="384" y="12"/>
                    <a:pt x="384" y="11"/>
                    <a:pt x="383" y="9"/>
                  </a:cubicBezTo>
                  <a:cubicBezTo>
                    <a:pt x="383" y="8"/>
                    <a:pt x="383" y="8"/>
                    <a:pt x="383" y="7"/>
                  </a:cubicBezTo>
                  <a:cubicBezTo>
                    <a:pt x="382" y="7"/>
                    <a:pt x="382" y="6"/>
                    <a:pt x="382" y="5"/>
                  </a:cubicBezTo>
                  <a:cubicBezTo>
                    <a:pt x="381" y="4"/>
                    <a:pt x="379" y="4"/>
                    <a:pt x="378" y="4"/>
                  </a:cubicBezTo>
                  <a:cubicBezTo>
                    <a:pt x="377" y="4"/>
                    <a:pt x="376" y="5"/>
                    <a:pt x="375" y="5"/>
                  </a:cubicBezTo>
                  <a:cubicBezTo>
                    <a:pt x="375" y="5"/>
                    <a:pt x="374" y="5"/>
                    <a:pt x="374" y="5"/>
                  </a:cubicBezTo>
                  <a:cubicBezTo>
                    <a:pt x="371" y="5"/>
                    <a:pt x="368" y="6"/>
                    <a:pt x="365" y="6"/>
                  </a:cubicBezTo>
                  <a:cubicBezTo>
                    <a:pt x="363" y="5"/>
                    <a:pt x="362" y="5"/>
                    <a:pt x="360" y="5"/>
                  </a:cubicBezTo>
                  <a:cubicBezTo>
                    <a:pt x="360" y="5"/>
                    <a:pt x="359" y="5"/>
                    <a:pt x="358" y="5"/>
                  </a:cubicBezTo>
                  <a:cubicBezTo>
                    <a:pt x="358" y="5"/>
                    <a:pt x="357" y="5"/>
                    <a:pt x="356" y="6"/>
                  </a:cubicBezTo>
                  <a:cubicBezTo>
                    <a:pt x="355" y="6"/>
                    <a:pt x="355" y="6"/>
                    <a:pt x="354" y="6"/>
                  </a:cubicBezTo>
                  <a:cubicBezTo>
                    <a:pt x="354" y="6"/>
                    <a:pt x="354" y="6"/>
                    <a:pt x="353" y="7"/>
                  </a:cubicBezTo>
                  <a:cubicBezTo>
                    <a:pt x="352" y="7"/>
                    <a:pt x="351" y="7"/>
                    <a:pt x="351" y="6"/>
                  </a:cubicBezTo>
                  <a:cubicBezTo>
                    <a:pt x="350" y="6"/>
                    <a:pt x="350" y="5"/>
                    <a:pt x="350" y="4"/>
                  </a:cubicBezTo>
                  <a:cubicBezTo>
                    <a:pt x="350" y="3"/>
                    <a:pt x="349" y="3"/>
                    <a:pt x="348" y="3"/>
                  </a:cubicBezTo>
                  <a:cubicBezTo>
                    <a:pt x="347" y="3"/>
                    <a:pt x="346" y="3"/>
                    <a:pt x="344" y="3"/>
                  </a:cubicBezTo>
                  <a:cubicBezTo>
                    <a:pt x="343" y="4"/>
                    <a:pt x="342" y="4"/>
                    <a:pt x="342" y="5"/>
                  </a:cubicBezTo>
                  <a:cubicBezTo>
                    <a:pt x="340" y="7"/>
                    <a:pt x="339" y="8"/>
                    <a:pt x="338" y="10"/>
                  </a:cubicBezTo>
                  <a:cubicBezTo>
                    <a:pt x="338" y="10"/>
                    <a:pt x="338" y="11"/>
                    <a:pt x="339" y="12"/>
                  </a:cubicBezTo>
                  <a:cubicBezTo>
                    <a:pt x="339" y="12"/>
                    <a:pt x="340" y="11"/>
                    <a:pt x="341" y="11"/>
                  </a:cubicBezTo>
                  <a:cubicBezTo>
                    <a:pt x="343" y="11"/>
                    <a:pt x="344" y="10"/>
                    <a:pt x="346" y="9"/>
                  </a:cubicBezTo>
                  <a:cubicBezTo>
                    <a:pt x="346" y="9"/>
                    <a:pt x="348" y="9"/>
                    <a:pt x="347" y="10"/>
                  </a:cubicBezTo>
                  <a:cubicBezTo>
                    <a:pt x="347" y="10"/>
                    <a:pt x="346" y="10"/>
                    <a:pt x="346" y="11"/>
                  </a:cubicBezTo>
                  <a:cubicBezTo>
                    <a:pt x="345" y="11"/>
                    <a:pt x="345" y="11"/>
                    <a:pt x="344" y="11"/>
                  </a:cubicBezTo>
                  <a:cubicBezTo>
                    <a:pt x="343" y="12"/>
                    <a:pt x="342" y="12"/>
                    <a:pt x="342" y="12"/>
                  </a:cubicBezTo>
                  <a:cubicBezTo>
                    <a:pt x="341" y="13"/>
                    <a:pt x="339" y="14"/>
                    <a:pt x="339" y="15"/>
                  </a:cubicBezTo>
                  <a:cubicBezTo>
                    <a:pt x="338" y="15"/>
                    <a:pt x="338" y="17"/>
                    <a:pt x="337" y="17"/>
                  </a:cubicBezTo>
                  <a:cubicBezTo>
                    <a:pt x="336" y="18"/>
                    <a:pt x="335" y="19"/>
                    <a:pt x="335" y="21"/>
                  </a:cubicBezTo>
                  <a:cubicBezTo>
                    <a:pt x="335" y="22"/>
                    <a:pt x="335" y="23"/>
                    <a:pt x="336" y="23"/>
                  </a:cubicBezTo>
                  <a:close/>
                  <a:moveTo>
                    <a:pt x="379" y="82"/>
                  </a:moveTo>
                  <a:cubicBezTo>
                    <a:pt x="379" y="81"/>
                    <a:pt x="379" y="81"/>
                    <a:pt x="379" y="81"/>
                  </a:cubicBezTo>
                  <a:cubicBezTo>
                    <a:pt x="379" y="80"/>
                    <a:pt x="379" y="80"/>
                    <a:pt x="379" y="80"/>
                  </a:cubicBezTo>
                  <a:cubicBezTo>
                    <a:pt x="379" y="79"/>
                    <a:pt x="379" y="78"/>
                    <a:pt x="378" y="78"/>
                  </a:cubicBezTo>
                  <a:cubicBezTo>
                    <a:pt x="377" y="77"/>
                    <a:pt x="376" y="77"/>
                    <a:pt x="375" y="77"/>
                  </a:cubicBezTo>
                  <a:cubicBezTo>
                    <a:pt x="375" y="76"/>
                    <a:pt x="375" y="76"/>
                    <a:pt x="375" y="75"/>
                  </a:cubicBezTo>
                  <a:cubicBezTo>
                    <a:pt x="375" y="74"/>
                    <a:pt x="374" y="73"/>
                    <a:pt x="374" y="72"/>
                  </a:cubicBezTo>
                  <a:cubicBezTo>
                    <a:pt x="374" y="72"/>
                    <a:pt x="374" y="71"/>
                    <a:pt x="374" y="70"/>
                  </a:cubicBezTo>
                  <a:cubicBezTo>
                    <a:pt x="375" y="70"/>
                    <a:pt x="375" y="70"/>
                    <a:pt x="376" y="69"/>
                  </a:cubicBezTo>
                  <a:cubicBezTo>
                    <a:pt x="376" y="69"/>
                    <a:pt x="377" y="69"/>
                    <a:pt x="378" y="69"/>
                  </a:cubicBezTo>
                  <a:cubicBezTo>
                    <a:pt x="379" y="69"/>
                    <a:pt x="379" y="69"/>
                    <a:pt x="380" y="70"/>
                  </a:cubicBezTo>
                  <a:cubicBezTo>
                    <a:pt x="380" y="70"/>
                    <a:pt x="381" y="70"/>
                    <a:pt x="381" y="70"/>
                  </a:cubicBezTo>
                  <a:cubicBezTo>
                    <a:pt x="382" y="70"/>
                    <a:pt x="382" y="70"/>
                    <a:pt x="382" y="70"/>
                  </a:cubicBezTo>
                  <a:cubicBezTo>
                    <a:pt x="383" y="70"/>
                    <a:pt x="383" y="70"/>
                    <a:pt x="384" y="69"/>
                  </a:cubicBezTo>
                  <a:cubicBezTo>
                    <a:pt x="384" y="69"/>
                    <a:pt x="386" y="69"/>
                    <a:pt x="386" y="68"/>
                  </a:cubicBezTo>
                  <a:cubicBezTo>
                    <a:pt x="387" y="68"/>
                    <a:pt x="387" y="67"/>
                    <a:pt x="386" y="67"/>
                  </a:cubicBezTo>
                  <a:cubicBezTo>
                    <a:pt x="385" y="66"/>
                    <a:pt x="386" y="65"/>
                    <a:pt x="386" y="63"/>
                  </a:cubicBezTo>
                  <a:cubicBezTo>
                    <a:pt x="386" y="63"/>
                    <a:pt x="386" y="62"/>
                    <a:pt x="386" y="61"/>
                  </a:cubicBezTo>
                  <a:cubicBezTo>
                    <a:pt x="387" y="61"/>
                    <a:pt x="387" y="60"/>
                    <a:pt x="386" y="60"/>
                  </a:cubicBezTo>
                  <a:cubicBezTo>
                    <a:pt x="386" y="59"/>
                    <a:pt x="385" y="59"/>
                    <a:pt x="385" y="59"/>
                  </a:cubicBezTo>
                  <a:cubicBezTo>
                    <a:pt x="384" y="59"/>
                    <a:pt x="384" y="58"/>
                    <a:pt x="384" y="58"/>
                  </a:cubicBezTo>
                  <a:cubicBezTo>
                    <a:pt x="384" y="57"/>
                    <a:pt x="383" y="56"/>
                    <a:pt x="382" y="56"/>
                  </a:cubicBezTo>
                  <a:cubicBezTo>
                    <a:pt x="381" y="57"/>
                    <a:pt x="381" y="58"/>
                    <a:pt x="381" y="59"/>
                  </a:cubicBezTo>
                  <a:cubicBezTo>
                    <a:pt x="380" y="59"/>
                    <a:pt x="380" y="60"/>
                    <a:pt x="379" y="60"/>
                  </a:cubicBezTo>
                  <a:cubicBezTo>
                    <a:pt x="378" y="61"/>
                    <a:pt x="377" y="61"/>
                    <a:pt x="376" y="62"/>
                  </a:cubicBezTo>
                  <a:cubicBezTo>
                    <a:pt x="375" y="62"/>
                    <a:pt x="375" y="62"/>
                    <a:pt x="374" y="62"/>
                  </a:cubicBezTo>
                  <a:cubicBezTo>
                    <a:pt x="373" y="61"/>
                    <a:pt x="372" y="61"/>
                    <a:pt x="371" y="61"/>
                  </a:cubicBezTo>
                  <a:cubicBezTo>
                    <a:pt x="370" y="60"/>
                    <a:pt x="371" y="59"/>
                    <a:pt x="371" y="58"/>
                  </a:cubicBezTo>
                  <a:cubicBezTo>
                    <a:pt x="372" y="57"/>
                    <a:pt x="372" y="56"/>
                    <a:pt x="372" y="56"/>
                  </a:cubicBezTo>
                  <a:cubicBezTo>
                    <a:pt x="371" y="56"/>
                    <a:pt x="371" y="56"/>
                    <a:pt x="371" y="56"/>
                  </a:cubicBezTo>
                  <a:cubicBezTo>
                    <a:pt x="370" y="56"/>
                    <a:pt x="369" y="56"/>
                    <a:pt x="369" y="56"/>
                  </a:cubicBezTo>
                  <a:cubicBezTo>
                    <a:pt x="367" y="58"/>
                    <a:pt x="367" y="58"/>
                    <a:pt x="367" y="58"/>
                  </a:cubicBezTo>
                  <a:cubicBezTo>
                    <a:pt x="366" y="58"/>
                    <a:pt x="366" y="58"/>
                    <a:pt x="365" y="58"/>
                  </a:cubicBezTo>
                  <a:cubicBezTo>
                    <a:pt x="363" y="58"/>
                    <a:pt x="363" y="58"/>
                    <a:pt x="363" y="59"/>
                  </a:cubicBezTo>
                  <a:cubicBezTo>
                    <a:pt x="362" y="59"/>
                    <a:pt x="361" y="60"/>
                    <a:pt x="360" y="60"/>
                  </a:cubicBezTo>
                  <a:cubicBezTo>
                    <a:pt x="360" y="61"/>
                    <a:pt x="359" y="61"/>
                    <a:pt x="359" y="61"/>
                  </a:cubicBezTo>
                  <a:cubicBezTo>
                    <a:pt x="357" y="62"/>
                    <a:pt x="357" y="62"/>
                    <a:pt x="357" y="62"/>
                  </a:cubicBezTo>
                  <a:cubicBezTo>
                    <a:pt x="356" y="64"/>
                    <a:pt x="356" y="64"/>
                    <a:pt x="356" y="64"/>
                  </a:cubicBezTo>
                  <a:cubicBezTo>
                    <a:pt x="353" y="67"/>
                    <a:pt x="353" y="67"/>
                    <a:pt x="353" y="67"/>
                  </a:cubicBezTo>
                  <a:cubicBezTo>
                    <a:pt x="351" y="68"/>
                    <a:pt x="351" y="68"/>
                    <a:pt x="351" y="68"/>
                  </a:cubicBezTo>
                  <a:cubicBezTo>
                    <a:pt x="350" y="68"/>
                    <a:pt x="348" y="69"/>
                    <a:pt x="348" y="69"/>
                  </a:cubicBezTo>
                  <a:cubicBezTo>
                    <a:pt x="347" y="69"/>
                    <a:pt x="346" y="70"/>
                    <a:pt x="346" y="70"/>
                  </a:cubicBezTo>
                  <a:cubicBezTo>
                    <a:pt x="343" y="69"/>
                    <a:pt x="343" y="69"/>
                    <a:pt x="343" y="69"/>
                  </a:cubicBezTo>
                  <a:cubicBezTo>
                    <a:pt x="343" y="69"/>
                    <a:pt x="343" y="69"/>
                    <a:pt x="343" y="69"/>
                  </a:cubicBezTo>
                  <a:cubicBezTo>
                    <a:pt x="343" y="69"/>
                    <a:pt x="343" y="70"/>
                    <a:pt x="343" y="70"/>
                  </a:cubicBezTo>
                  <a:cubicBezTo>
                    <a:pt x="342" y="72"/>
                    <a:pt x="342" y="73"/>
                    <a:pt x="342" y="75"/>
                  </a:cubicBezTo>
                  <a:cubicBezTo>
                    <a:pt x="342" y="76"/>
                    <a:pt x="342" y="77"/>
                    <a:pt x="342" y="77"/>
                  </a:cubicBezTo>
                  <a:cubicBezTo>
                    <a:pt x="342" y="78"/>
                    <a:pt x="341" y="78"/>
                    <a:pt x="341" y="78"/>
                  </a:cubicBezTo>
                  <a:cubicBezTo>
                    <a:pt x="340" y="79"/>
                    <a:pt x="340" y="79"/>
                    <a:pt x="339" y="79"/>
                  </a:cubicBezTo>
                  <a:cubicBezTo>
                    <a:pt x="338" y="80"/>
                    <a:pt x="338" y="80"/>
                    <a:pt x="337" y="81"/>
                  </a:cubicBezTo>
                  <a:cubicBezTo>
                    <a:pt x="337" y="81"/>
                    <a:pt x="337" y="81"/>
                    <a:pt x="337" y="81"/>
                  </a:cubicBezTo>
                  <a:cubicBezTo>
                    <a:pt x="337" y="82"/>
                    <a:pt x="337" y="82"/>
                    <a:pt x="337" y="83"/>
                  </a:cubicBezTo>
                  <a:cubicBezTo>
                    <a:pt x="336" y="84"/>
                    <a:pt x="335" y="84"/>
                    <a:pt x="335" y="86"/>
                  </a:cubicBezTo>
                  <a:cubicBezTo>
                    <a:pt x="335" y="86"/>
                    <a:pt x="336" y="87"/>
                    <a:pt x="336" y="88"/>
                  </a:cubicBezTo>
                  <a:cubicBezTo>
                    <a:pt x="336" y="89"/>
                    <a:pt x="334" y="89"/>
                    <a:pt x="334" y="89"/>
                  </a:cubicBezTo>
                  <a:cubicBezTo>
                    <a:pt x="333" y="89"/>
                    <a:pt x="332" y="90"/>
                    <a:pt x="331" y="90"/>
                  </a:cubicBezTo>
                  <a:cubicBezTo>
                    <a:pt x="330" y="90"/>
                    <a:pt x="331" y="89"/>
                    <a:pt x="331" y="88"/>
                  </a:cubicBezTo>
                  <a:cubicBezTo>
                    <a:pt x="331" y="87"/>
                    <a:pt x="331" y="86"/>
                    <a:pt x="331" y="85"/>
                  </a:cubicBezTo>
                  <a:cubicBezTo>
                    <a:pt x="330" y="85"/>
                    <a:pt x="330" y="84"/>
                    <a:pt x="329" y="83"/>
                  </a:cubicBezTo>
                  <a:cubicBezTo>
                    <a:pt x="329" y="83"/>
                    <a:pt x="328" y="82"/>
                    <a:pt x="328" y="82"/>
                  </a:cubicBezTo>
                  <a:cubicBezTo>
                    <a:pt x="327" y="81"/>
                    <a:pt x="326" y="81"/>
                    <a:pt x="326" y="82"/>
                  </a:cubicBezTo>
                  <a:cubicBezTo>
                    <a:pt x="325" y="82"/>
                    <a:pt x="324" y="83"/>
                    <a:pt x="324" y="83"/>
                  </a:cubicBezTo>
                  <a:cubicBezTo>
                    <a:pt x="323" y="84"/>
                    <a:pt x="323" y="84"/>
                    <a:pt x="322" y="85"/>
                  </a:cubicBezTo>
                  <a:cubicBezTo>
                    <a:pt x="321" y="85"/>
                    <a:pt x="321" y="84"/>
                    <a:pt x="320" y="84"/>
                  </a:cubicBezTo>
                  <a:cubicBezTo>
                    <a:pt x="319" y="84"/>
                    <a:pt x="318" y="82"/>
                    <a:pt x="317" y="81"/>
                  </a:cubicBezTo>
                  <a:cubicBezTo>
                    <a:pt x="317" y="80"/>
                    <a:pt x="316" y="80"/>
                    <a:pt x="315" y="79"/>
                  </a:cubicBezTo>
                  <a:cubicBezTo>
                    <a:pt x="315" y="79"/>
                    <a:pt x="315" y="79"/>
                    <a:pt x="315" y="79"/>
                  </a:cubicBezTo>
                  <a:cubicBezTo>
                    <a:pt x="313" y="80"/>
                    <a:pt x="313" y="80"/>
                    <a:pt x="313" y="80"/>
                  </a:cubicBezTo>
                  <a:cubicBezTo>
                    <a:pt x="313" y="80"/>
                    <a:pt x="311" y="81"/>
                    <a:pt x="310" y="82"/>
                  </a:cubicBezTo>
                  <a:cubicBezTo>
                    <a:pt x="310" y="82"/>
                    <a:pt x="307" y="86"/>
                    <a:pt x="307" y="86"/>
                  </a:cubicBezTo>
                  <a:cubicBezTo>
                    <a:pt x="307" y="86"/>
                    <a:pt x="306" y="88"/>
                    <a:pt x="305" y="88"/>
                  </a:cubicBezTo>
                  <a:cubicBezTo>
                    <a:pt x="305" y="88"/>
                    <a:pt x="304" y="88"/>
                    <a:pt x="303" y="88"/>
                  </a:cubicBezTo>
                  <a:cubicBezTo>
                    <a:pt x="303" y="88"/>
                    <a:pt x="302" y="88"/>
                    <a:pt x="302" y="88"/>
                  </a:cubicBezTo>
                  <a:cubicBezTo>
                    <a:pt x="301" y="90"/>
                    <a:pt x="301" y="90"/>
                    <a:pt x="301" y="90"/>
                  </a:cubicBezTo>
                  <a:cubicBezTo>
                    <a:pt x="301" y="90"/>
                    <a:pt x="300" y="91"/>
                    <a:pt x="300" y="91"/>
                  </a:cubicBezTo>
                  <a:cubicBezTo>
                    <a:pt x="300" y="91"/>
                    <a:pt x="300" y="92"/>
                    <a:pt x="299" y="92"/>
                  </a:cubicBezTo>
                  <a:cubicBezTo>
                    <a:pt x="298" y="93"/>
                    <a:pt x="297" y="94"/>
                    <a:pt x="297" y="94"/>
                  </a:cubicBezTo>
                  <a:cubicBezTo>
                    <a:pt x="295" y="95"/>
                    <a:pt x="295" y="95"/>
                    <a:pt x="295" y="95"/>
                  </a:cubicBezTo>
                  <a:cubicBezTo>
                    <a:pt x="293" y="97"/>
                    <a:pt x="293" y="97"/>
                    <a:pt x="293" y="97"/>
                  </a:cubicBezTo>
                  <a:cubicBezTo>
                    <a:pt x="293" y="97"/>
                    <a:pt x="293" y="99"/>
                    <a:pt x="293" y="100"/>
                  </a:cubicBezTo>
                  <a:cubicBezTo>
                    <a:pt x="293" y="100"/>
                    <a:pt x="294" y="103"/>
                    <a:pt x="294" y="103"/>
                  </a:cubicBezTo>
                  <a:cubicBezTo>
                    <a:pt x="294" y="103"/>
                    <a:pt x="293" y="105"/>
                    <a:pt x="293" y="105"/>
                  </a:cubicBezTo>
                  <a:cubicBezTo>
                    <a:pt x="293" y="106"/>
                    <a:pt x="292" y="107"/>
                    <a:pt x="292" y="107"/>
                  </a:cubicBezTo>
                  <a:cubicBezTo>
                    <a:pt x="292" y="107"/>
                    <a:pt x="292" y="108"/>
                    <a:pt x="293" y="109"/>
                  </a:cubicBezTo>
                  <a:cubicBezTo>
                    <a:pt x="293" y="109"/>
                    <a:pt x="293" y="111"/>
                    <a:pt x="293" y="111"/>
                  </a:cubicBezTo>
                  <a:cubicBezTo>
                    <a:pt x="293" y="112"/>
                    <a:pt x="291" y="114"/>
                    <a:pt x="291" y="114"/>
                  </a:cubicBezTo>
                  <a:cubicBezTo>
                    <a:pt x="291" y="114"/>
                    <a:pt x="289" y="114"/>
                    <a:pt x="289" y="114"/>
                  </a:cubicBezTo>
                  <a:cubicBezTo>
                    <a:pt x="288" y="117"/>
                    <a:pt x="288" y="117"/>
                    <a:pt x="288" y="117"/>
                  </a:cubicBezTo>
                  <a:cubicBezTo>
                    <a:pt x="288" y="123"/>
                    <a:pt x="288" y="123"/>
                    <a:pt x="288" y="123"/>
                  </a:cubicBezTo>
                  <a:cubicBezTo>
                    <a:pt x="288" y="123"/>
                    <a:pt x="289" y="123"/>
                    <a:pt x="291" y="122"/>
                  </a:cubicBezTo>
                  <a:cubicBezTo>
                    <a:pt x="293" y="122"/>
                    <a:pt x="293" y="122"/>
                    <a:pt x="294" y="122"/>
                  </a:cubicBezTo>
                  <a:cubicBezTo>
                    <a:pt x="295" y="122"/>
                    <a:pt x="297" y="123"/>
                    <a:pt x="298" y="123"/>
                  </a:cubicBezTo>
                  <a:cubicBezTo>
                    <a:pt x="298" y="123"/>
                    <a:pt x="299" y="125"/>
                    <a:pt x="298" y="126"/>
                  </a:cubicBezTo>
                  <a:cubicBezTo>
                    <a:pt x="298" y="127"/>
                    <a:pt x="296" y="127"/>
                    <a:pt x="295" y="128"/>
                  </a:cubicBezTo>
                  <a:cubicBezTo>
                    <a:pt x="294" y="129"/>
                    <a:pt x="293" y="129"/>
                    <a:pt x="292" y="129"/>
                  </a:cubicBezTo>
                  <a:cubicBezTo>
                    <a:pt x="290" y="130"/>
                    <a:pt x="287" y="131"/>
                    <a:pt x="286" y="131"/>
                  </a:cubicBezTo>
                  <a:cubicBezTo>
                    <a:pt x="286" y="131"/>
                    <a:pt x="285" y="132"/>
                    <a:pt x="285" y="133"/>
                  </a:cubicBezTo>
                  <a:cubicBezTo>
                    <a:pt x="285" y="134"/>
                    <a:pt x="284" y="134"/>
                    <a:pt x="283" y="135"/>
                  </a:cubicBezTo>
                  <a:cubicBezTo>
                    <a:pt x="281" y="136"/>
                    <a:pt x="282" y="136"/>
                    <a:pt x="283" y="137"/>
                  </a:cubicBezTo>
                  <a:cubicBezTo>
                    <a:pt x="283" y="139"/>
                    <a:pt x="282" y="139"/>
                    <a:pt x="281" y="141"/>
                  </a:cubicBezTo>
                  <a:cubicBezTo>
                    <a:pt x="281" y="143"/>
                    <a:pt x="281" y="143"/>
                    <a:pt x="281" y="143"/>
                  </a:cubicBezTo>
                  <a:cubicBezTo>
                    <a:pt x="281" y="143"/>
                    <a:pt x="284" y="142"/>
                    <a:pt x="286" y="142"/>
                  </a:cubicBezTo>
                  <a:cubicBezTo>
                    <a:pt x="287" y="141"/>
                    <a:pt x="287" y="142"/>
                    <a:pt x="288" y="143"/>
                  </a:cubicBezTo>
                  <a:cubicBezTo>
                    <a:pt x="288" y="143"/>
                    <a:pt x="289" y="144"/>
                    <a:pt x="290" y="144"/>
                  </a:cubicBezTo>
                  <a:cubicBezTo>
                    <a:pt x="291" y="144"/>
                    <a:pt x="291" y="143"/>
                    <a:pt x="292" y="143"/>
                  </a:cubicBezTo>
                  <a:cubicBezTo>
                    <a:pt x="294" y="142"/>
                    <a:pt x="293" y="144"/>
                    <a:pt x="294" y="144"/>
                  </a:cubicBezTo>
                  <a:cubicBezTo>
                    <a:pt x="294" y="144"/>
                    <a:pt x="295" y="144"/>
                    <a:pt x="296" y="143"/>
                  </a:cubicBezTo>
                  <a:cubicBezTo>
                    <a:pt x="298" y="143"/>
                    <a:pt x="302" y="143"/>
                    <a:pt x="304" y="142"/>
                  </a:cubicBezTo>
                  <a:cubicBezTo>
                    <a:pt x="306" y="141"/>
                    <a:pt x="309" y="139"/>
                    <a:pt x="310" y="139"/>
                  </a:cubicBezTo>
                  <a:cubicBezTo>
                    <a:pt x="311" y="139"/>
                    <a:pt x="312" y="139"/>
                    <a:pt x="314" y="138"/>
                  </a:cubicBezTo>
                  <a:cubicBezTo>
                    <a:pt x="316" y="138"/>
                    <a:pt x="315" y="137"/>
                    <a:pt x="316" y="136"/>
                  </a:cubicBezTo>
                  <a:cubicBezTo>
                    <a:pt x="316" y="136"/>
                    <a:pt x="317" y="134"/>
                    <a:pt x="318" y="133"/>
                  </a:cubicBezTo>
                  <a:cubicBezTo>
                    <a:pt x="319" y="132"/>
                    <a:pt x="320" y="132"/>
                    <a:pt x="321" y="132"/>
                  </a:cubicBezTo>
                  <a:cubicBezTo>
                    <a:pt x="322" y="131"/>
                    <a:pt x="328" y="131"/>
                    <a:pt x="330" y="131"/>
                  </a:cubicBezTo>
                  <a:cubicBezTo>
                    <a:pt x="332" y="131"/>
                    <a:pt x="336" y="131"/>
                    <a:pt x="338" y="131"/>
                  </a:cubicBezTo>
                  <a:cubicBezTo>
                    <a:pt x="340" y="131"/>
                    <a:pt x="342" y="130"/>
                    <a:pt x="343" y="128"/>
                  </a:cubicBezTo>
                  <a:cubicBezTo>
                    <a:pt x="345" y="126"/>
                    <a:pt x="345" y="124"/>
                    <a:pt x="346" y="122"/>
                  </a:cubicBezTo>
                  <a:cubicBezTo>
                    <a:pt x="347" y="121"/>
                    <a:pt x="348" y="121"/>
                    <a:pt x="349" y="121"/>
                  </a:cubicBezTo>
                  <a:cubicBezTo>
                    <a:pt x="350" y="120"/>
                    <a:pt x="351" y="120"/>
                    <a:pt x="352" y="118"/>
                  </a:cubicBezTo>
                  <a:cubicBezTo>
                    <a:pt x="354" y="117"/>
                    <a:pt x="354" y="116"/>
                    <a:pt x="354" y="116"/>
                  </a:cubicBezTo>
                  <a:cubicBezTo>
                    <a:pt x="354" y="116"/>
                    <a:pt x="358" y="115"/>
                    <a:pt x="359" y="114"/>
                  </a:cubicBezTo>
                  <a:cubicBezTo>
                    <a:pt x="360" y="113"/>
                    <a:pt x="361" y="111"/>
                    <a:pt x="362" y="110"/>
                  </a:cubicBezTo>
                  <a:cubicBezTo>
                    <a:pt x="363" y="109"/>
                    <a:pt x="365" y="107"/>
                    <a:pt x="365" y="106"/>
                  </a:cubicBezTo>
                  <a:cubicBezTo>
                    <a:pt x="366" y="105"/>
                    <a:pt x="367" y="103"/>
                    <a:pt x="369" y="102"/>
                  </a:cubicBezTo>
                  <a:cubicBezTo>
                    <a:pt x="371" y="102"/>
                    <a:pt x="373" y="101"/>
                    <a:pt x="373" y="101"/>
                  </a:cubicBezTo>
                  <a:cubicBezTo>
                    <a:pt x="374" y="101"/>
                    <a:pt x="374" y="97"/>
                    <a:pt x="374" y="96"/>
                  </a:cubicBezTo>
                  <a:cubicBezTo>
                    <a:pt x="374" y="95"/>
                    <a:pt x="374" y="94"/>
                    <a:pt x="374" y="93"/>
                  </a:cubicBezTo>
                  <a:cubicBezTo>
                    <a:pt x="375" y="92"/>
                    <a:pt x="376" y="90"/>
                    <a:pt x="376" y="90"/>
                  </a:cubicBezTo>
                  <a:cubicBezTo>
                    <a:pt x="377" y="90"/>
                    <a:pt x="379" y="88"/>
                    <a:pt x="380" y="87"/>
                  </a:cubicBezTo>
                  <a:cubicBezTo>
                    <a:pt x="381" y="87"/>
                    <a:pt x="381" y="87"/>
                    <a:pt x="381" y="87"/>
                  </a:cubicBezTo>
                  <a:cubicBezTo>
                    <a:pt x="380" y="86"/>
                    <a:pt x="380" y="85"/>
                    <a:pt x="380" y="85"/>
                  </a:cubicBezTo>
                  <a:cubicBezTo>
                    <a:pt x="380" y="84"/>
                    <a:pt x="380" y="82"/>
                    <a:pt x="379" y="82"/>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2" name="Freeform 56">
              <a:extLst>
                <a:ext uri="{FF2B5EF4-FFF2-40B4-BE49-F238E27FC236}">
                  <a16:creationId xmlns:a16="http://schemas.microsoft.com/office/drawing/2014/main" id="{9145B848-4D25-E341-1C35-4BA65B3E5BD2}"/>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3" name="Freeform 57">
              <a:extLst>
                <a:ext uri="{FF2B5EF4-FFF2-40B4-BE49-F238E27FC236}">
                  <a16:creationId xmlns:a16="http://schemas.microsoft.com/office/drawing/2014/main" id="{77B2B0C2-BCEA-2915-5735-9C88E3709D2C}"/>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4" name="Freeform 58">
              <a:extLst>
                <a:ext uri="{FF2B5EF4-FFF2-40B4-BE49-F238E27FC236}">
                  <a16:creationId xmlns:a16="http://schemas.microsoft.com/office/drawing/2014/main" id="{EB2B854C-7B3D-7DB0-4E72-F755AE5FBB57}"/>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5" name="Freeform 59">
              <a:extLst>
                <a:ext uri="{FF2B5EF4-FFF2-40B4-BE49-F238E27FC236}">
                  <a16:creationId xmlns:a16="http://schemas.microsoft.com/office/drawing/2014/main" id="{4C3CDBAA-D33D-8939-1F44-AA65B809E8DF}"/>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6" name="Freeform 60">
              <a:extLst>
                <a:ext uri="{FF2B5EF4-FFF2-40B4-BE49-F238E27FC236}">
                  <a16:creationId xmlns:a16="http://schemas.microsoft.com/office/drawing/2014/main" id="{2AE8BB75-242E-9DF0-7BB8-DABF3690A32F}"/>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7" name="Freeform 61">
              <a:extLst>
                <a:ext uri="{FF2B5EF4-FFF2-40B4-BE49-F238E27FC236}">
                  <a16:creationId xmlns:a16="http://schemas.microsoft.com/office/drawing/2014/main" id="{95D29077-482C-5559-7022-DDF94E139D93}"/>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8" name="Freeform 62">
              <a:extLst>
                <a:ext uri="{FF2B5EF4-FFF2-40B4-BE49-F238E27FC236}">
                  <a16:creationId xmlns:a16="http://schemas.microsoft.com/office/drawing/2014/main" id="{CA858284-FC29-DC9A-A95D-F862A8560EDC}"/>
                </a:ext>
              </a:extLst>
            </p:cNvPr>
            <p:cNvSpPr>
              <a:spLocks/>
            </p:cNvSpPr>
            <p:nvPr/>
          </p:nvSpPr>
          <p:spPr bwMode="auto">
            <a:xfrm>
              <a:off x="5894388" y="39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49" name="Freeform 63">
              <a:extLst>
                <a:ext uri="{FF2B5EF4-FFF2-40B4-BE49-F238E27FC236}">
                  <a16:creationId xmlns:a16="http://schemas.microsoft.com/office/drawing/2014/main" id="{FA01239C-7E34-C048-77C3-EDF32E90D5F2}"/>
                </a:ext>
              </a:extLst>
            </p:cNvPr>
            <p:cNvSpPr>
              <a:spLocks/>
            </p:cNvSpPr>
            <p:nvPr/>
          </p:nvSpPr>
          <p:spPr bwMode="auto">
            <a:xfrm>
              <a:off x="5889625" y="3908425"/>
              <a:ext cx="7938" cy="6350"/>
            </a:xfrm>
            <a:custGeom>
              <a:avLst/>
              <a:gdLst>
                <a:gd name="T0" fmla="*/ 1 w 2"/>
                <a:gd name="T1" fmla="*/ 1 h 2"/>
                <a:gd name="T2" fmla="*/ 2 w 2"/>
                <a:gd name="T3" fmla="*/ 1 h 2"/>
                <a:gd name="T4" fmla="*/ 2 w 2"/>
                <a:gd name="T5" fmla="*/ 1 h 2"/>
                <a:gd name="T6" fmla="*/ 1 w 2"/>
                <a:gd name="T7" fmla="*/ 0 h 2"/>
                <a:gd name="T8" fmla="*/ 0 w 2"/>
                <a:gd name="T9" fmla="*/ 1 h 2"/>
                <a:gd name="T10" fmla="*/ 0 w 2"/>
                <a:gd name="T11" fmla="*/ 1 h 2"/>
                <a:gd name="T12" fmla="*/ 0 w 2"/>
                <a:gd name="T13" fmla="*/ 2 h 2"/>
                <a:gd name="T14" fmla="*/ 1 w 2"/>
                <a:gd name="T15" fmla="*/ 2 h 2"/>
                <a:gd name="T16" fmla="*/ 2 w 2"/>
                <a:gd name="T17" fmla="*/ 2 h 2"/>
                <a:gd name="T18" fmla="*/ 2 w 2"/>
                <a:gd name="T19" fmla="*/ 1 h 2"/>
                <a:gd name="T20" fmla="*/ 1 w 2"/>
                <a:gd name="T21" fmla="*/ 1 h 2"/>
                <a:gd name="T22" fmla="*/ 2 w 2"/>
                <a:gd name="T23" fmla="*/ 1 h 2"/>
                <a:gd name="T24" fmla="*/ 2 w 2"/>
                <a:gd name="T25" fmla="*/ 1 h 2"/>
                <a:gd name="T26" fmla="*/ 1 w 2"/>
                <a:gd name="T27" fmla="*/ 0 h 2"/>
                <a:gd name="T28" fmla="*/ 0 w 2"/>
                <a:gd name="T29" fmla="*/ 1 h 2"/>
                <a:gd name="T30" fmla="*/ 0 w 2"/>
                <a:gd name="T31" fmla="*/ 1 h 2"/>
                <a:gd name="T32" fmla="*/ 0 w 2"/>
                <a:gd name="T33" fmla="*/ 2 h 2"/>
                <a:gd name="T34" fmla="*/ 1 w 2"/>
                <a:gd name="T35" fmla="*/ 2 h 2"/>
                <a:gd name="T36" fmla="*/ 2 w 2"/>
                <a:gd name="T37" fmla="*/ 2 h 2"/>
                <a:gd name="T38" fmla="*/ 2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1" y="1"/>
                  </a:move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cubicBezTo>
                    <a:pt x="1" y="1"/>
                    <a:pt x="1" y="1"/>
                    <a:pt x="1" y="1"/>
                  </a:cubicBezTo>
                  <a:cubicBezTo>
                    <a:pt x="2" y="1"/>
                    <a:pt x="2" y="1"/>
                    <a:pt x="2" y="1"/>
                  </a:cubicBezTo>
                  <a:cubicBezTo>
                    <a:pt x="2" y="1"/>
                    <a:pt x="2" y="1"/>
                    <a:pt x="2" y="1"/>
                  </a:cubicBezTo>
                  <a:cubicBezTo>
                    <a:pt x="2" y="0"/>
                    <a:pt x="2" y="0"/>
                    <a:pt x="1" y="0"/>
                  </a:cubicBezTo>
                  <a:cubicBezTo>
                    <a:pt x="1" y="0"/>
                    <a:pt x="0" y="0"/>
                    <a:pt x="0" y="1"/>
                  </a:cubicBezTo>
                  <a:cubicBezTo>
                    <a:pt x="0" y="1"/>
                    <a:pt x="0" y="1"/>
                    <a:pt x="0" y="1"/>
                  </a:cubicBezTo>
                  <a:cubicBezTo>
                    <a:pt x="0" y="2"/>
                    <a:pt x="0" y="2"/>
                    <a:pt x="0" y="2"/>
                  </a:cubicBezTo>
                  <a:cubicBezTo>
                    <a:pt x="1" y="2"/>
                    <a:pt x="1" y="2"/>
                    <a:pt x="1" y="2"/>
                  </a:cubicBezTo>
                  <a:cubicBezTo>
                    <a:pt x="2" y="2"/>
                    <a:pt x="2" y="2"/>
                    <a:pt x="2" y="2"/>
                  </a:cubicBezTo>
                  <a:cubicBezTo>
                    <a:pt x="2" y="1"/>
                    <a:pt x="2" y="1"/>
                    <a:pt x="2" y="1"/>
                  </a:cubicBezTo>
                  <a:lnTo>
                    <a:pt x="1" y="1"/>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0" name="Freeform 64">
              <a:extLst>
                <a:ext uri="{FF2B5EF4-FFF2-40B4-BE49-F238E27FC236}">
                  <a16:creationId xmlns:a16="http://schemas.microsoft.com/office/drawing/2014/main" id="{C13B316E-AC68-0ABD-5079-0645C9710858}"/>
                </a:ext>
              </a:extLst>
            </p:cNvPr>
            <p:cNvSpPr>
              <a:spLocks/>
            </p:cNvSpPr>
            <p:nvPr/>
          </p:nvSpPr>
          <p:spPr bwMode="auto">
            <a:xfrm>
              <a:off x="5033963" y="3217863"/>
              <a:ext cx="1198563" cy="1166812"/>
            </a:xfrm>
            <a:custGeom>
              <a:avLst/>
              <a:gdLst>
                <a:gd name="T0" fmla="*/ 305 w 315"/>
                <a:gd name="T1" fmla="*/ 93 h 306"/>
                <a:gd name="T2" fmla="*/ 298 w 315"/>
                <a:gd name="T3" fmla="*/ 84 h 306"/>
                <a:gd name="T4" fmla="*/ 280 w 315"/>
                <a:gd name="T5" fmla="*/ 69 h 306"/>
                <a:gd name="T6" fmla="*/ 258 w 315"/>
                <a:gd name="T7" fmla="*/ 54 h 306"/>
                <a:gd name="T8" fmla="*/ 247 w 315"/>
                <a:gd name="T9" fmla="*/ 43 h 306"/>
                <a:gd name="T10" fmla="*/ 236 w 315"/>
                <a:gd name="T11" fmla="*/ 33 h 306"/>
                <a:gd name="T12" fmla="*/ 245 w 315"/>
                <a:gd name="T13" fmla="*/ 32 h 306"/>
                <a:gd name="T14" fmla="*/ 250 w 315"/>
                <a:gd name="T15" fmla="*/ 29 h 306"/>
                <a:gd name="T16" fmla="*/ 253 w 315"/>
                <a:gd name="T17" fmla="*/ 26 h 306"/>
                <a:gd name="T18" fmla="*/ 250 w 315"/>
                <a:gd name="T19" fmla="*/ 14 h 306"/>
                <a:gd name="T20" fmla="*/ 198 w 315"/>
                <a:gd name="T21" fmla="*/ 1 h 306"/>
                <a:gd name="T22" fmla="*/ 163 w 315"/>
                <a:gd name="T23" fmla="*/ 13 h 306"/>
                <a:gd name="T24" fmla="*/ 146 w 315"/>
                <a:gd name="T25" fmla="*/ 31 h 306"/>
                <a:gd name="T26" fmla="*/ 135 w 315"/>
                <a:gd name="T27" fmla="*/ 65 h 306"/>
                <a:gd name="T28" fmla="*/ 107 w 315"/>
                <a:gd name="T29" fmla="*/ 82 h 306"/>
                <a:gd name="T30" fmla="*/ 75 w 315"/>
                <a:gd name="T31" fmla="*/ 91 h 306"/>
                <a:gd name="T32" fmla="*/ 45 w 315"/>
                <a:gd name="T33" fmla="*/ 71 h 306"/>
                <a:gd name="T34" fmla="*/ 24 w 315"/>
                <a:gd name="T35" fmla="*/ 73 h 306"/>
                <a:gd name="T36" fmla="*/ 4 w 315"/>
                <a:gd name="T37" fmla="*/ 109 h 306"/>
                <a:gd name="T38" fmla="*/ 18 w 315"/>
                <a:gd name="T39" fmla="*/ 117 h 306"/>
                <a:gd name="T40" fmla="*/ 48 w 315"/>
                <a:gd name="T41" fmla="*/ 120 h 306"/>
                <a:gd name="T42" fmla="*/ 72 w 315"/>
                <a:gd name="T43" fmla="*/ 120 h 306"/>
                <a:gd name="T44" fmla="*/ 66 w 315"/>
                <a:gd name="T45" fmla="*/ 159 h 306"/>
                <a:gd name="T46" fmla="*/ 91 w 315"/>
                <a:gd name="T47" fmla="*/ 166 h 306"/>
                <a:gd name="T48" fmla="*/ 96 w 315"/>
                <a:gd name="T49" fmla="*/ 210 h 306"/>
                <a:gd name="T50" fmla="*/ 111 w 315"/>
                <a:gd name="T51" fmla="*/ 253 h 306"/>
                <a:gd name="T52" fmla="*/ 114 w 315"/>
                <a:gd name="T53" fmla="*/ 279 h 306"/>
                <a:gd name="T54" fmla="*/ 124 w 315"/>
                <a:gd name="T55" fmla="*/ 305 h 306"/>
                <a:gd name="T56" fmla="*/ 168 w 315"/>
                <a:gd name="T57" fmla="*/ 304 h 306"/>
                <a:gd name="T58" fmla="*/ 164 w 315"/>
                <a:gd name="T59" fmla="*/ 291 h 306"/>
                <a:gd name="T60" fmla="*/ 157 w 315"/>
                <a:gd name="T61" fmla="*/ 286 h 306"/>
                <a:gd name="T62" fmla="*/ 157 w 315"/>
                <a:gd name="T63" fmla="*/ 274 h 306"/>
                <a:gd name="T64" fmla="*/ 144 w 315"/>
                <a:gd name="T65" fmla="*/ 269 h 306"/>
                <a:gd name="T66" fmla="*/ 157 w 315"/>
                <a:gd name="T67" fmla="*/ 261 h 306"/>
                <a:gd name="T68" fmla="*/ 176 w 315"/>
                <a:gd name="T69" fmla="*/ 244 h 306"/>
                <a:gd name="T70" fmla="*/ 178 w 315"/>
                <a:gd name="T71" fmla="*/ 232 h 306"/>
                <a:gd name="T72" fmla="*/ 179 w 315"/>
                <a:gd name="T73" fmla="*/ 223 h 306"/>
                <a:gd name="T74" fmla="*/ 187 w 315"/>
                <a:gd name="T75" fmla="*/ 237 h 306"/>
                <a:gd name="T76" fmla="*/ 203 w 315"/>
                <a:gd name="T77" fmla="*/ 220 h 306"/>
                <a:gd name="T78" fmla="*/ 211 w 315"/>
                <a:gd name="T79" fmla="*/ 211 h 306"/>
                <a:gd name="T80" fmla="*/ 215 w 315"/>
                <a:gd name="T81" fmla="*/ 213 h 306"/>
                <a:gd name="T82" fmla="*/ 219 w 315"/>
                <a:gd name="T83" fmla="*/ 211 h 306"/>
                <a:gd name="T84" fmla="*/ 224 w 315"/>
                <a:gd name="T85" fmla="*/ 208 h 306"/>
                <a:gd name="T86" fmla="*/ 226 w 315"/>
                <a:gd name="T87" fmla="*/ 204 h 306"/>
                <a:gd name="T88" fmla="*/ 225 w 315"/>
                <a:gd name="T89" fmla="*/ 200 h 306"/>
                <a:gd name="T90" fmla="*/ 229 w 315"/>
                <a:gd name="T91" fmla="*/ 195 h 306"/>
                <a:gd name="T92" fmla="*/ 227 w 315"/>
                <a:gd name="T93" fmla="*/ 186 h 306"/>
                <a:gd name="T94" fmla="*/ 226 w 315"/>
                <a:gd name="T95" fmla="*/ 182 h 306"/>
                <a:gd name="T96" fmla="*/ 222 w 315"/>
                <a:gd name="T97" fmla="*/ 169 h 306"/>
                <a:gd name="T98" fmla="*/ 224 w 315"/>
                <a:gd name="T99" fmla="*/ 149 h 306"/>
                <a:gd name="T100" fmla="*/ 234 w 315"/>
                <a:gd name="T101" fmla="*/ 123 h 306"/>
                <a:gd name="T102" fmla="*/ 247 w 315"/>
                <a:gd name="T103" fmla="*/ 109 h 306"/>
                <a:gd name="T104" fmla="*/ 253 w 315"/>
                <a:gd name="T105" fmla="*/ 99 h 306"/>
                <a:gd name="T106" fmla="*/ 259 w 315"/>
                <a:gd name="T107" fmla="*/ 105 h 306"/>
                <a:gd name="T108" fmla="*/ 283 w 315"/>
                <a:gd name="T109" fmla="*/ 109 h 306"/>
                <a:gd name="T110" fmla="*/ 306 w 315"/>
                <a:gd name="T111" fmla="*/ 10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306">
                  <a:moveTo>
                    <a:pt x="315" y="98"/>
                  </a:moveTo>
                  <a:cubicBezTo>
                    <a:pt x="315" y="97"/>
                    <a:pt x="314" y="96"/>
                    <a:pt x="314" y="96"/>
                  </a:cubicBezTo>
                  <a:cubicBezTo>
                    <a:pt x="313" y="95"/>
                    <a:pt x="313" y="95"/>
                    <a:pt x="313" y="95"/>
                  </a:cubicBezTo>
                  <a:cubicBezTo>
                    <a:pt x="312" y="95"/>
                    <a:pt x="312" y="95"/>
                    <a:pt x="311" y="95"/>
                  </a:cubicBezTo>
                  <a:cubicBezTo>
                    <a:pt x="310" y="95"/>
                    <a:pt x="310" y="95"/>
                    <a:pt x="309" y="95"/>
                  </a:cubicBezTo>
                  <a:cubicBezTo>
                    <a:pt x="307" y="95"/>
                    <a:pt x="307" y="95"/>
                    <a:pt x="307" y="95"/>
                  </a:cubicBezTo>
                  <a:cubicBezTo>
                    <a:pt x="307" y="96"/>
                    <a:pt x="307" y="96"/>
                    <a:pt x="307" y="96"/>
                  </a:cubicBezTo>
                  <a:cubicBezTo>
                    <a:pt x="306" y="96"/>
                    <a:pt x="306" y="96"/>
                    <a:pt x="305" y="95"/>
                  </a:cubicBezTo>
                  <a:cubicBezTo>
                    <a:pt x="305" y="94"/>
                    <a:pt x="305" y="93"/>
                    <a:pt x="305" y="93"/>
                  </a:cubicBezTo>
                  <a:cubicBezTo>
                    <a:pt x="304" y="92"/>
                    <a:pt x="304" y="92"/>
                    <a:pt x="304" y="92"/>
                  </a:cubicBezTo>
                  <a:cubicBezTo>
                    <a:pt x="304" y="92"/>
                    <a:pt x="304" y="92"/>
                    <a:pt x="304" y="92"/>
                  </a:cubicBezTo>
                  <a:cubicBezTo>
                    <a:pt x="304" y="91"/>
                    <a:pt x="303" y="91"/>
                    <a:pt x="303" y="91"/>
                  </a:cubicBezTo>
                  <a:cubicBezTo>
                    <a:pt x="302" y="90"/>
                    <a:pt x="302" y="90"/>
                    <a:pt x="302" y="89"/>
                  </a:cubicBezTo>
                  <a:cubicBezTo>
                    <a:pt x="301" y="89"/>
                    <a:pt x="300" y="90"/>
                    <a:pt x="300" y="89"/>
                  </a:cubicBezTo>
                  <a:cubicBezTo>
                    <a:pt x="299" y="88"/>
                    <a:pt x="300" y="88"/>
                    <a:pt x="301" y="88"/>
                  </a:cubicBezTo>
                  <a:cubicBezTo>
                    <a:pt x="301" y="88"/>
                    <a:pt x="302" y="88"/>
                    <a:pt x="302" y="87"/>
                  </a:cubicBezTo>
                  <a:cubicBezTo>
                    <a:pt x="302" y="87"/>
                    <a:pt x="301" y="86"/>
                    <a:pt x="301" y="86"/>
                  </a:cubicBezTo>
                  <a:cubicBezTo>
                    <a:pt x="300" y="85"/>
                    <a:pt x="299" y="84"/>
                    <a:pt x="298" y="84"/>
                  </a:cubicBezTo>
                  <a:cubicBezTo>
                    <a:pt x="296" y="82"/>
                    <a:pt x="294" y="80"/>
                    <a:pt x="292" y="78"/>
                  </a:cubicBezTo>
                  <a:cubicBezTo>
                    <a:pt x="291" y="77"/>
                    <a:pt x="290" y="76"/>
                    <a:pt x="289" y="76"/>
                  </a:cubicBezTo>
                  <a:cubicBezTo>
                    <a:pt x="288" y="76"/>
                    <a:pt x="287" y="76"/>
                    <a:pt x="286" y="76"/>
                  </a:cubicBezTo>
                  <a:cubicBezTo>
                    <a:pt x="285" y="76"/>
                    <a:pt x="285" y="76"/>
                    <a:pt x="284" y="76"/>
                  </a:cubicBezTo>
                  <a:cubicBezTo>
                    <a:pt x="283" y="76"/>
                    <a:pt x="283" y="75"/>
                    <a:pt x="282" y="75"/>
                  </a:cubicBezTo>
                  <a:cubicBezTo>
                    <a:pt x="281" y="74"/>
                    <a:pt x="281" y="73"/>
                    <a:pt x="279" y="73"/>
                  </a:cubicBezTo>
                  <a:cubicBezTo>
                    <a:pt x="279" y="73"/>
                    <a:pt x="278" y="73"/>
                    <a:pt x="278" y="72"/>
                  </a:cubicBezTo>
                  <a:cubicBezTo>
                    <a:pt x="278" y="72"/>
                    <a:pt x="279" y="71"/>
                    <a:pt x="280" y="71"/>
                  </a:cubicBezTo>
                  <a:cubicBezTo>
                    <a:pt x="280" y="71"/>
                    <a:pt x="280" y="70"/>
                    <a:pt x="280" y="69"/>
                  </a:cubicBezTo>
                  <a:cubicBezTo>
                    <a:pt x="279" y="68"/>
                    <a:pt x="278" y="68"/>
                    <a:pt x="276" y="68"/>
                  </a:cubicBezTo>
                  <a:cubicBezTo>
                    <a:pt x="276" y="67"/>
                    <a:pt x="275" y="67"/>
                    <a:pt x="274" y="67"/>
                  </a:cubicBezTo>
                  <a:cubicBezTo>
                    <a:pt x="273" y="66"/>
                    <a:pt x="272" y="66"/>
                    <a:pt x="272" y="66"/>
                  </a:cubicBezTo>
                  <a:cubicBezTo>
                    <a:pt x="270" y="65"/>
                    <a:pt x="269" y="64"/>
                    <a:pt x="267" y="63"/>
                  </a:cubicBezTo>
                  <a:cubicBezTo>
                    <a:pt x="266" y="63"/>
                    <a:pt x="266" y="62"/>
                    <a:pt x="265" y="61"/>
                  </a:cubicBezTo>
                  <a:cubicBezTo>
                    <a:pt x="264" y="60"/>
                    <a:pt x="264" y="60"/>
                    <a:pt x="264" y="60"/>
                  </a:cubicBezTo>
                  <a:cubicBezTo>
                    <a:pt x="264" y="60"/>
                    <a:pt x="264" y="60"/>
                    <a:pt x="263" y="60"/>
                  </a:cubicBezTo>
                  <a:cubicBezTo>
                    <a:pt x="262" y="59"/>
                    <a:pt x="260" y="58"/>
                    <a:pt x="259" y="57"/>
                  </a:cubicBezTo>
                  <a:cubicBezTo>
                    <a:pt x="259" y="56"/>
                    <a:pt x="259" y="55"/>
                    <a:pt x="258" y="54"/>
                  </a:cubicBezTo>
                  <a:cubicBezTo>
                    <a:pt x="258" y="54"/>
                    <a:pt x="258" y="53"/>
                    <a:pt x="258" y="52"/>
                  </a:cubicBezTo>
                  <a:cubicBezTo>
                    <a:pt x="258" y="52"/>
                    <a:pt x="257" y="51"/>
                    <a:pt x="257" y="51"/>
                  </a:cubicBezTo>
                  <a:cubicBezTo>
                    <a:pt x="257" y="51"/>
                    <a:pt x="256" y="51"/>
                    <a:pt x="255" y="51"/>
                  </a:cubicBezTo>
                  <a:cubicBezTo>
                    <a:pt x="254" y="51"/>
                    <a:pt x="253" y="51"/>
                    <a:pt x="252" y="51"/>
                  </a:cubicBezTo>
                  <a:cubicBezTo>
                    <a:pt x="251" y="50"/>
                    <a:pt x="249" y="49"/>
                    <a:pt x="248" y="48"/>
                  </a:cubicBezTo>
                  <a:cubicBezTo>
                    <a:pt x="248" y="47"/>
                    <a:pt x="248" y="46"/>
                    <a:pt x="247" y="46"/>
                  </a:cubicBezTo>
                  <a:cubicBezTo>
                    <a:pt x="247" y="45"/>
                    <a:pt x="247" y="45"/>
                    <a:pt x="247" y="45"/>
                  </a:cubicBezTo>
                  <a:cubicBezTo>
                    <a:pt x="246" y="44"/>
                    <a:pt x="246" y="44"/>
                    <a:pt x="246" y="44"/>
                  </a:cubicBezTo>
                  <a:cubicBezTo>
                    <a:pt x="246" y="44"/>
                    <a:pt x="247" y="43"/>
                    <a:pt x="247" y="43"/>
                  </a:cubicBezTo>
                  <a:cubicBezTo>
                    <a:pt x="247" y="42"/>
                    <a:pt x="247" y="41"/>
                    <a:pt x="247" y="41"/>
                  </a:cubicBezTo>
                  <a:cubicBezTo>
                    <a:pt x="247" y="40"/>
                    <a:pt x="247" y="40"/>
                    <a:pt x="246" y="40"/>
                  </a:cubicBezTo>
                  <a:cubicBezTo>
                    <a:pt x="246" y="39"/>
                    <a:pt x="246" y="39"/>
                    <a:pt x="245" y="38"/>
                  </a:cubicBezTo>
                  <a:cubicBezTo>
                    <a:pt x="245" y="37"/>
                    <a:pt x="243" y="37"/>
                    <a:pt x="242" y="37"/>
                  </a:cubicBezTo>
                  <a:cubicBezTo>
                    <a:pt x="241" y="37"/>
                    <a:pt x="240" y="37"/>
                    <a:pt x="239" y="36"/>
                  </a:cubicBezTo>
                  <a:cubicBezTo>
                    <a:pt x="238" y="36"/>
                    <a:pt x="238" y="36"/>
                    <a:pt x="237" y="35"/>
                  </a:cubicBezTo>
                  <a:cubicBezTo>
                    <a:pt x="236" y="35"/>
                    <a:pt x="236" y="35"/>
                    <a:pt x="235" y="34"/>
                  </a:cubicBezTo>
                  <a:cubicBezTo>
                    <a:pt x="234" y="34"/>
                    <a:pt x="235" y="34"/>
                    <a:pt x="235" y="33"/>
                  </a:cubicBezTo>
                  <a:cubicBezTo>
                    <a:pt x="235" y="33"/>
                    <a:pt x="235" y="33"/>
                    <a:pt x="236" y="33"/>
                  </a:cubicBezTo>
                  <a:cubicBezTo>
                    <a:pt x="237" y="33"/>
                    <a:pt x="237" y="34"/>
                    <a:pt x="238" y="34"/>
                  </a:cubicBezTo>
                  <a:cubicBezTo>
                    <a:pt x="238" y="34"/>
                    <a:pt x="239" y="35"/>
                    <a:pt x="240" y="35"/>
                  </a:cubicBezTo>
                  <a:cubicBezTo>
                    <a:pt x="240" y="35"/>
                    <a:pt x="241" y="35"/>
                    <a:pt x="241" y="35"/>
                  </a:cubicBezTo>
                  <a:cubicBezTo>
                    <a:pt x="242" y="35"/>
                    <a:pt x="242" y="36"/>
                    <a:pt x="243" y="36"/>
                  </a:cubicBezTo>
                  <a:cubicBezTo>
                    <a:pt x="243" y="36"/>
                    <a:pt x="244" y="36"/>
                    <a:pt x="244" y="35"/>
                  </a:cubicBezTo>
                  <a:cubicBezTo>
                    <a:pt x="245" y="35"/>
                    <a:pt x="246" y="35"/>
                    <a:pt x="247" y="35"/>
                  </a:cubicBezTo>
                  <a:cubicBezTo>
                    <a:pt x="247" y="35"/>
                    <a:pt x="248" y="35"/>
                    <a:pt x="249" y="35"/>
                  </a:cubicBezTo>
                  <a:cubicBezTo>
                    <a:pt x="249" y="34"/>
                    <a:pt x="248" y="34"/>
                    <a:pt x="248" y="34"/>
                  </a:cubicBezTo>
                  <a:cubicBezTo>
                    <a:pt x="247" y="33"/>
                    <a:pt x="246" y="32"/>
                    <a:pt x="245" y="32"/>
                  </a:cubicBezTo>
                  <a:cubicBezTo>
                    <a:pt x="244" y="32"/>
                    <a:pt x="243" y="31"/>
                    <a:pt x="242" y="31"/>
                  </a:cubicBezTo>
                  <a:cubicBezTo>
                    <a:pt x="242" y="30"/>
                    <a:pt x="241" y="30"/>
                    <a:pt x="242" y="29"/>
                  </a:cubicBezTo>
                  <a:cubicBezTo>
                    <a:pt x="242" y="28"/>
                    <a:pt x="242" y="28"/>
                    <a:pt x="242" y="27"/>
                  </a:cubicBezTo>
                  <a:cubicBezTo>
                    <a:pt x="242" y="27"/>
                    <a:pt x="243" y="26"/>
                    <a:pt x="243" y="27"/>
                  </a:cubicBezTo>
                  <a:cubicBezTo>
                    <a:pt x="243" y="27"/>
                    <a:pt x="243" y="28"/>
                    <a:pt x="244" y="28"/>
                  </a:cubicBezTo>
                  <a:cubicBezTo>
                    <a:pt x="244" y="30"/>
                    <a:pt x="245" y="31"/>
                    <a:pt x="246" y="31"/>
                  </a:cubicBezTo>
                  <a:cubicBezTo>
                    <a:pt x="247" y="32"/>
                    <a:pt x="248" y="32"/>
                    <a:pt x="249" y="32"/>
                  </a:cubicBezTo>
                  <a:cubicBezTo>
                    <a:pt x="249" y="32"/>
                    <a:pt x="251" y="32"/>
                    <a:pt x="251" y="31"/>
                  </a:cubicBezTo>
                  <a:cubicBezTo>
                    <a:pt x="251" y="31"/>
                    <a:pt x="251" y="30"/>
                    <a:pt x="250" y="29"/>
                  </a:cubicBezTo>
                  <a:cubicBezTo>
                    <a:pt x="250" y="29"/>
                    <a:pt x="250" y="29"/>
                    <a:pt x="249" y="28"/>
                  </a:cubicBezTo>
                  <a:cubicBezTo>
                    <a:pt x="249" y="28"/>
                    <a:pt x="248" y="28"/>
                    <a:pt x="247" y="28"/>
                  </a:cubicBezTo>
                  <a:cubicBezTo>
                    <a:pt x="247" y="28"/>
                    <a:pt x="247" y="27"/>
                    <a:pt x="246" y="27"/>
                  </a:cubicBezTo>
                  <a:cubicBezTo>
                    <a:pt x="245" y="26"/>
                    <a:pt x="245" y="26"/>
                    <a:pt x="245" y="26"/>
                  </a:cubicBezTo>
                  <a:cubicBezTo>
                    <a:pt x="245" y="26"/>
                    <a:pt x="244" y="26"/>
                    <a:pt x="245" y="26"/>
                  </a:cubicBezTo>
                  <a:cubicBezTo>
                    <a:pt x="245" y="25"/>
                    <a:pt x="247" y="25"/>
                    <a:pt x="247" y="25"/>
                  </a:cubicBezTo>
                  <a:cubicBezTo>
                    <a:pt x="248" y="26"/>
                    <a:pt x="249" y="25"/>
                    <a:pt x="250" y="25"/>
                  </a:cubicBezTo>
                  <a:cubicBezTo>
                    <a:pt x="251" y="26"/>
                    <a:pt x="251" y="26"/>
                    <a:pt x="252" y="26"/>
                  </a:cubicBezTo>
                  <a:cubicBezTo>
                    <a:pt x="253" y="26"/>
                    <a:pt x="253" y="26"/>
                    <a:pt x="253" y="26"/>
                  </a:cubicBezTo>
                  <a:cubicBezTo>
                    <a:pt x="253" y="26"/>
                    <a:pt x="254" y="26"/>
                    <a:pt x="254" y="26"/>
                  </a:cubicBezTo>
                  <a:cubicBezTo>
                    <a:pt x="255" y="25"/>
                    <a:pt x="256" y="25"/>
                    <a:pt x="257" y="25"/>
                  </a:cubicBezTo>
                  <a:cubicBezTo>
                    <a:pt x="257" y="24"/>
                    <a:pt x="257" y="24"/>
                    <a:pt x="257" y="24"/>
                  </a:cubicBezTo>
                  <a:cubicBezTo>
                    <a:pt x="257" y="24"/>
                    <a:pt x="259" y="24"/>
                    <a:pt x="260" y="23"/>
                  </a:cubicBezTo>
                  <a:cubicBezTo>
                    <a:pt x="260" y="22"/>
                    <a:pt x="260" y="21"/>
                    <a:pt x="260" y="21"/>
                  </a:cubicBezTo>
                  <a:cubicBezTo>
                    <a:pt x="260" y="20"/>
                    <a:pt x="260" y="20"/>
                    <a:pt x="260" y="19"/>
                  </a:cubicBezTo>
                  <a:cubicBezTo>
                    <a:pt x="258" y="17"/>
                    <a:pt x="257" y="15"/>
                    <a:pt x="255" y="13"/>
                  </a:cubicBezTo>
                  <a:cubicBezTo>
                    <a:pt x="254" y="13"/>
                    <a:pt x="254" y="12"/>
                    <a:pt x="253" y="11"/>
                  </a:cubicBezTo>
                  <a:cubicBezTo>
                    <a:pt x="250" y="14"/>
                    <a:pt x="250" y="14"/>
                    <a:pt x="250" y="14"/>
                  </a:cubicBezTo>
                  <a:cubicBezTo>
                    <a:pt x="246" y="14"/>
                    <a:pt x="246" y="14"/>
                    <a:pt x="246" y="14"/>
                  </a:cubicBezTo>
                  <a:cubicBezTo>
                    <a:pt x="244" y="17"/>
                    <a:pt x="244" y="17"/>
                    <a:pt x="244" y="17"/>
                  </a:cubicBezTo>
                  <a:cubicBezTo>
                    <a:pt x="240" y="18"/>
                    <a:pt x="240" y="18"/>
                    <a:pt x="240" y="18"/>
                  </a:cubicBezTo>
                  <a:cubicBezTo>
                    <a:pt x="232" y="6"/>
                    <a:pt x="232" y="6"/>
                    <a:pt x="232" y="6"/>
                  </a:cubicBezTo>
                  <a:cubicBezTo>
                    <a:pt x="225" y="6"/>
                    <a:pt x="225" y="6"/>
                    <a:pt x="225" y="6"/>
                  </a:cubicBezTo>
                  <a:cubicBezTo>
                    <a:pt x="219" y="0"/>
                    <a:pt x="219" y="0"/>
                    <a:pt x="219" y="0"/>
                  </a:cubicBezTo>
                  <a:cubicBezTo>
                    <a:pt x="212" y="0"/>
                    <a:pt x="212" y="0"/>
                    <a:pt x="212" y="0"/>
                  </a:cubicBezTo>
                  <a:cubicBezTo>
                    <a:pt x="210" y="2"/>
                    <a:pt x="210" y="2"/>
                    <a:pt x="210" y="2"/>
                  </a:cubicBezTo>
                  <a:cubicBezTo>
                    <a:pt x="198" y="1"/>
                    <a:pt x="198" y="1"/>
                    <a:pt x="198" y="1"/>
                  </a:cubicBezTo>
                  <a:cubicBezTo>
                    <a:pt x="195" y="6"/>
                    <a:pt x="195" y="6"/>
                    <a:pt x="195" y="6"/>
                  </a:cubicBezTo>
                  <a:cubicBezTo>
                    <a:pt x="190" y="7"/>
                    <a:pt x="190" y="7"/>
                    <a:pt x="190" y="7"/>
                  </a:cubicBezTo>
                  <a:cubicBezTo>
                    <a:pt x="186" y="8"/>
                    <a:pt x="186" y="8"/>
                    <a:pt x="186" y="8"/>
                  </a:cubicBezTo>
                  <a:cubicBezTo>
                    <a:pt x="182" y="15"/>
                    <a:pt x="182" y="15"/>
                    <a:pt x="182" y="15"/>
                  </a:cubicBezTo>
                  <a:cubicBezTo>
                    <a:pt x="178" y="5"/>
                    <a:pt x="178" y="5"/>
                    <a:pt x="178" y="5"/>
                  </a:cubicBezTo>
                  <a:cubicBezTo>
                    <a:pt x="170" y="13"/>
                    <a:pt x="170" y="13"/>
                    <a:pt x="170" y="13"/>
                  </a:cubicBezTo>
                  <a:cubicBezTo>
                    <a:pt x="166" y="9"/>
                    <a:pt x="166" y="9"/>
                    <a:pt x="166" y="9"/>
                  </a:cubicBezTo>
                  <a:cubicBezTo>
                    <a:pt x="163" y="9"/>
                    <a:pt x="163" y="9"/>
                    <a:pt x="163" y="9"/>
                  </a:cubicBezTo>
                  <a:cubicBezTo>
                    <a:pt x="163" y="13"/>
                    <a:pt x="163" y="13"/>
                    <a:pt x="163" y="13"/>
                  </a:cubicBezTo>
                  <a:cubicBezTo>
                    <a:pt x="163" y="16"/>
                    <a:pt x="163" y="16"/>
                    <a:pt x="163" y="16"/>
                  </a:cubicBezTo>
                  <a:cubicBezTo>
                    <a:pt x="161" y="21"/>
                    <a:pt x="161" y="21"/>
                    <a:pt x="161" y="21"/>
                  </a:cubicBezTo>
                  <a:cubicBezTo>
                    <a:pt x="157" y="19"/>
                    <a:pt x="157" y="19"/>
                    <a:pt x="157" y="19"/>
                  </a:cubicBezTo>
                  <a:cubicBezTo>
                    <a:pt x="153" y="19"/>
                    <a:pt x="153" y="19"/>
                    <a:pt x="153" y="19"/>
                  </a:cubicBezTo>
                  <a:cubicBezTo>
                    <a:pt x="151" y="23"/>
                    <a:pt x="151" y="23"/>
                    <a:pt x="151" y="23"/>
                  </a:cubicBezTo>
                  <a:cubicBezTo>
                    <a:pt x="153" y="26"/>
                    <a:pt x="153" y="26"/>
                    <a:pt x="153" y="26"/>
                  </a:cubicBezTo>
                  <a:cubicBezTo>
                    <a:pt x="154" y="27"/>
                    <a:pt x="154" y="27"/>
                    <a:pt x="154" y="27"/>
                  </a:cubicBezTo>
                  <a:cubicBezTo>
                    <a:pt x="151" y="31"/>
                    <a:pt x="151" y="31"/>
                    <a:pt x="151" y="31"/>
                  </a:cubicBezTo>
                  <a:cubicBezTo>
                    <a:pt x="146" y="31"/>
                    <a:pt x="146" y="31"/>
                    <a:pt x="146" y="31"/>
                  </a:cubicBezTo>
                  <a:cubicBezTo>
                    <a:pt x="147" y="35"/>
                    <a:pt x="147" y="35"/>
                    <a:pt x="147" y="35"/>
                  </a:cubicBezTo>
                  <a:cubicBezTo>
                    <a:pt x="145" y="38"/>
                    <a:pt x="145" y="38"/>
                    <a:pt x="145" y="38"/>
                  </a:cubicBezTo>
                  <a:cubicBezTo>
                    <a:pt x="144" y="41"/>
                    <a:pt x="144" y="41"/>
                    <a:pt x="144" y="41"/>
                  </a:cubicBezTo>
                  <a:cubicBezTo>
                    <a:pt x="144" y="47"/>
                    <a:pt x="144" y="47"/>
                    <a:pt x="144" y="47"/>
                  </a:cubicBezTo>
                  <a:cubicBezTo>
                    <a:pt x="143" y="52"/>
                    <a:pt x="143" y="52"/>
                    <a:pt x="143" y="52"/>
                  </a:cubicBezTo>
                  <a:cubicBezTo>
                    <a:pt x="141" y="59"/>
                    <a:pt x="141" y="59"/>
                    <a:pt x="141" y="59"/>
                  </a:cubicBezTo>
                  <a:cubicBezTo>
                    <a:pt x="137" y="59"/>
                    <a:pt x="137" y="59"/>
                    <a:pt x="137" y="59"/>
                  </a:cubicBezTo>
                  <a:cubicBezTo>
                    <a:pt x="135" y="61"/>
                    <a:pt x="135" y="61"/>
                    <a:pt x="135" y="61"/>
                  </a:cubicBezTo>
                  <a:cubicBezTo>
                    <a:pt x="135" y="65"/>
                    <a:pt x="135" y="65"/>
                    <a:pt x="135" y="65"/>
                  </a:cubicBezTo>
                  <a:cubicBezTo>
                    <a:pt x="131" y="66"/>
                    <a:pt x="131" y="66"/>
                    <a:pt x="131" y="66"/>
                  </a:cubicBezTo>
                  <a:cubicBezTo>
                    <a:pt x="129" y="70"/>
                    <a:pt x="129" y="70"/>
                    <a:pt x="129" y="70"/>
                  </a:cubicBezTo>
                  <a:cubicBezTo>
                    <a:pt x="125" y="71"/>
                    <a:pt x="125" y="71"/>
                    <a:pt x="125" y="71"/>
                  </a:cubicBezTo>
                  <a:cubicBezTo>
                    <a:pt x="123" y="76"/>
                    <a:pt x="123" y="76"/>
                    <a:pt x="123" y="76"/>
                  </a:cubicBezTo>
                  <a:cubicBezTo>
                    <a:pt x="119" y="77"/>
                    <a:pt x="119" y="77"/>
                    <a:pt x="119" y="77"/>
                  </a:cubicBezTo>
                  <a:cubicBezTo>
                    <a:pt x="117" y="80"/>
                    <a:pt x="117" y="80"/>
                    <a:pt x="117" y="80"/>
                  </a:cubicBezTo>
                  <a:cubicBezTo>
                    <a:pt x="116" y="82"/>
                    <a:pt x="116" y="82"/>
                    <a:pt x="116" y="82"/>
                  </a:cubicBezTo>
                  <a:cubicBezTo>
                    <a:pt x="111" y="81"/>
                    <a:pt x="111" y="81"/>
                    <a:pt x="111" y="81"/>
                  </a:cubicBezTo>
                  <a:cubicBezTo>
                    <a:pt x="107" y="82"/>
                    <a:pt x="107" y="82"/>
                    <a:pt x="107" y="82"/>
                  </a:cubicBezTo>
                  <a:cubicBezTo>
                    <a:pt x="102" y="84"/>
                    <a:pt x="102" y="84"/>
                    <a:pt x="102" y="84"/>
                  </a:cubicBezTo>
                  <a:cubicBezTo>
                    <a:pt x="99" y="84"/>
                    <a:pt x="99" y="84"/>
                    <a:pt x="99" y="84"/>
                  </a:cubicBezTo>
                  <a:cubicBezTo>
                    <a:pt x="97" y="87"/>
                    <a:pt x="97" y="87"/>
                    <a:pt x="97" y="87"/>
                  </a:cubicBezTo>
                  <a:cubicBezTo>
                    <a:pt x="97" y="89"/>
                    <a:pt x="97" y="89"/>
                    <a:pt x="97" y="89"/>
                  </a:cubicBezTo>
                  <a:cubicBezTo>
                    <a:pt x="95" y="94"/>
                    <a:pt x="95" y="94"/>
                    <a:pt x="95" y="94"/>
                  </a:cubicBezTo>
                  <a:cubicBezTo>
                    <a:pt x="89" y="95"/>
                    <a:pt x="89" y="95"/>
                    <a:pt x="89" y="95"/>
                  </a:cubicBezTo>
                  <a:cubicBezTo>
                    <a:pt x="85" y="95"/>
                    <a:pt x="85" y="95"/>
                    <a:pt x="85" y="95"/>
                  </a:cubicBezTo>
                  <a:cubicBezTo>
                    <a:pt x="81" y="91"/>
                    <a:pt x="81" y="91"/>
                    <a:pt x="81" y="91"/>
                  </a:cubicBezTo>
                  <a:cubicBezTo>
                    <a:pt x="75" y="91"/>
                    <a:pt x="75" y="91"/>
                    <a:pt x="75" y="91"/>
                  </a:cubicBezTo>
                  <a:cubicBezTo>
                    <a:pt x="70" y="87"/>
                    <a:pt x="70" y="87"/>
                    <a:pt x="70" y="87"/>
                  </a:cubicBezTo>
                  <a:cubicBezTo>
                    <a:pt x="66" y="86"/>
                    <a:pt x="66" y="86"/>
                    <a:pt x="66" y="86"/>
                  </a:cubicBezTo>
                  <a:cubicBezTo>
                    <a:pt x="63" y="87"/>
                    <a:pt x="63" y="87"/>
                    <a:pt x="63" y="87"/>
                  </a:cubicBezTo>
                  <a:cubicBezTo>
                    <a:pt x="58" y="85"/>
                    <a:pt x="58" y="85"/>
                    <a:pt x="58" y="85"/>
                  </a:cubicBezTo>
                  <a:cubicBezTo>
                    <a:pt x="54" y="81"/>
                    <a:pt x="54" y="81"/>
                    <a:pt x="54" y="81"/>
                  </a:cubicBezTo>
                  <a:cubicBezTo>
                    <a:pt x="54" y="78"/>
                    <a:pt x="54" y="78"/>
                    <a:pt x="54" y="78"/>
                  </a:cubicBezTo>
                  <a:cubicBezTo>
                    <a:pt x="49" y="76"/>
                    <a:pt x="49" y="76"/>
                    <a:pt x="49" y="76"/>
                  </a:cubicBezTo>
                  <a:cubicBezTo>
                    <a:pt x="45" y="72"/>
                    <a:pt x="45" y="72"/>
                    <a:pt x="45" y="72"/>
                  </a:cubicBezTo>
                  <a:cubicBezTo>
                    <a:pt x="45" y="71"/>
                    <a:pt x="45" y="71"/>
                    <a:pt x="45" y="71"/>
                  </a:cubicBezTo>
                  <a:cubicBezTo>
                    <a:pt x="44" y="71"/>
                    <a:pt x="43" y="71"/>
                    <a:pt x="43" y="71"/>
                  </a:cubicBezTo>
                  <a:cubicBezTo>
                    <a:pt x="42" y="70"/>
                    <a:pt x="42" y="70"/>
                    <a:pt x="42" y="69"/>
                  </a:cubicBezTo>
                  <a:cubicBezTo>
                    <a:pt x="41" y="69"/>
                    <a:pt x="41" y="69"/>
                    <a:pt x="40" y="69"/>
                  </a:cubicBezTo>
                  <a:cubicBezTo>
                    <a:pt x="39" y="69"/>
                    <a:pt x="39" y="67"/>
                    <a:pt x="38" y="67"/>
                  </a:cubicBezTo>
                  <a:cubicBezTo>
                    <a:pt x="37" y="66"/>
                    <a:pt x="35" y="68"/>
                    <a:pt x="34" y="68"/>
                  </a:cubicBezTo>
                  <a:cubicBezTo>
                    <a:pt x="33" y="69"/>
                    <a:pt x="32" y="69"/>
                    <a:pt x="31" y="70"/>
                  </a:cubicBezTo>
                  <a:cubicBezTo>
                    <a:pt x="29" y="70"/>
                    <a:pt x="28" y="70"/>
                    <a:pt x="27" y="71"/>
                  </a:cubicBezTo>
                  <a:cubicBezTo>
                    <a:pt x="26" y="72"/>
                    <a:pt x="25" y="73"/>
                    <a:pt x="24" y="73"/>
                  </a:cubicBezTo>
                  <a:cubicBezTo>
                    <a:pt x="24" y="73"/>
                    <a:pt x="24" y="73"/>
                    <a:pt x="24" y="73"/>
                  </a:cubicBezTo>
                  <a:cubicBezTo>
                    <a:pt x="20" y="77"/>
                    <a:pt x="20" y="77"/>
                    <a:pt x="20" y="77"/>
                  </a:cubicBezTo>
                  <a:cubicBezTo>
                    <a:pt x="20" y="77"/>
                    <a:pt x="20" y="79"/>
                    <a:pt x="20" y="80"/>
                  </a:cubicBezTo>
                  <a:cubicBezTo>
                    <a:pt x="20" y="80"/>
                    <a:pt x="20" y="86"/>
                    <a:pt x="20" y="86"/>
                  </a:cubicBezTo>
                  <a:cubicBezTo>
                    <a:pt x="16" y="89"/>
                    <a:pt x="16" y="89"/>
                    <a:pt x="16" y="89"/>
                  </a:cubicBezTo>
                  <a:cubicBezTo>
                    <a:pt x="13" y="89"/>
                    <a:pt x="13" y="89"/>
                    <a:pt x="13" y="89"/>
                  </a:cubicBezTo>
                  <a:cubicBezTo>
                    <a:pt x="8" y="92"/>
                    <a:pt x="8" y="92"/>
                    <a:pt x="8" y="92"/>
                  </a:cubicBezTo>
                  <a:cubicBezTo>
                    <a:pt x="5" y="97"/>
                    <a:pt x="5" y="97"/>
                    <a:pt x="5" y="97"/>
                  </a:cubicBezTo>
                  <a:cubicBezTo>
                    <a:pt x="5" y="105"/>
                    <a:pt x="5" y="105"/>
                    <a:pt x="5" y="105"/>
                  </a:cubicBezTo>
                  <a:cubicBezTo>
                    <a:pt x="4" y="109"/>
                    <a:pt x="4" y="109"/>
                    <a:pt x="4" y="109"/>
                  </a:cubicBezTo>
                  <a:cubicBezTo>
                    <a:pt x="5" y="113"/>
                    <a:pt x="5" y="113"/>
                    <a:pt x="5" y="113"/>
                  </a:cubicBezTo>
                  <a:cubicBezTo>
                    <a:pt x="2" y="116"/>
                    <a:pt x="2" y="116"/>
                    <a:pt x="2" y="116"/>
                  </a:cubicBezTo>
                  <a:cubicBezTo>
                    <a:pt x="1" y="119"/>
                    <a:pt x="1" y="119"/>
                    <a:pt x="1" y="119"/>
                  </a:cubicBezTo>
                  <a:cubicBezTo>
                    <a:pt x="0" y="119"/>
                    <a:pt x="0" y="119"/>
                    <a:pt x="0" y="119"/>
                  </a:cubicBezTo>
                  <a:cubicBezTo>
                    <a:pt x="1" y="119"/>
                    <a:pt x="2" y="119"/>
                    <a:pt x="2" y="119"/>
                  </a:cubicBezTo>
                  <a:cubicBezTo>
                    <a:pt x="6" y="120"/>
                    <a:pt x="6" y="120"/>
                    <a:pt x="6" y="120"/>
                  </a:cubicBezTo>
                  <a:cubicBezTo>
                    <a:pt x="6" y="120"/>
                    <a:pt x="11" y="119"/>
                    <a:pt x="13" y="119"/>
                  </a:cubicBezTo>
                  <a:cubicBezTo>
                    <a:pt x="14" y="118"/>
                    <a:pt x="14" y="117"/>
                    <a:pt x="15" y="117"/>
                  </a:cubicBezTo>
                  <a:cubicBezTo>
                    <a:pt x="18" y="117"/>
                    <a:pt x="18" y="117"/>
                    <a:pt x="18" y="117"/>
                  </a:cubicBezTo>
                  <a:cubicBezTo>
                    <a:pt x="21" y="120"/>
                    <a:pt x="21" y="120"/>
                    <a:pt x="21" y="120"/>
                  </a:cubicBezTo>
                  <a:cubicBezTo>
                    <a:pt x="21" y="123"/>
                    <a:pt x="21" y="123"/>
                    <a:pt x="21" y="123"/>
                  </a:cubicBezTo>
                  <a:cubicBezTo>
                    <a:pt x="21" y="123"/>
                    <a:pt x="23" y="126"/>
                    <a:pt x="24" y="126"/>
                  </a:cubicBezTo>
                  <a:cubicBezTo>
                    <a:pt x="24" y="126"/>
                    <a:pt x="31" y="126"/>
                    <a:pt x="31" y="126"/>
                  </a:cubicBezTo>
                  <a:cubicBezTo>
                    <a:pt x="32" y="126"/>
                    <a:pt x="36" y="129"/>
                    <a:pt x="36" y="129"/>
                  </a:cubicBezTo>
                  <a:cubicBezTo>
                    <a:pt x="39" y="124"/>
                    <a:pt x="39" y="124"/>
                    <a:pt x="39" y="124"/>
                  </a:cubicBezTo>
                  <a:cubicBezTo>
                    <a:pt x="43" y="123"/>
                    <a:pt x="43" y="123"/>
                    <a:pt x="43" y="123"/>
                  </a:cubicBezTo>
                  <a:cubicBezTo>
                    <a:pt x="44" y="121"/>
                    <a:pt x="44" y="121"/>
                    <a:pt x="44" y="121"/>
                  </a:cubicBezTo>
                  <a:cubicBezTo>
                    <a:pt x="48" y="120"/>
                    <a:pt x="48" y="120"/>
                    <a:pt x="48" y="120"/>
                  </a:cubicBezTo>
                  <a:cubicBezTo>
                    <a:pt x="48" y="120"/>
                    <a:pt x="52" y="116"/>
                    <a:pt x="52" y="115"/>
                  </a:cubicBezTo>
                  <a:cubicBezTo>
                    <a:pt x="52" y="115"/>
                    <a:pt x="54" y="117"/>
                    <a:pt x="54" y="117"/>
                  </a:cubicBezTo>
                  <a:cubicBezTo>
                    <a:pt x="58" y="115"/>
                    <a:pt x="58" y="115"/>
                    <a:pt x="58" y="115"/>
                  </a:cubicBezTo>
                  <a:cubicBezTo>
                    <a:pt x="61" y="113"/>
                    <a:pt x="61" y="113"/>
                    <a:pt x="61" y="113"/>
                  </a:cubicBezTo>
                  <a:cubicBezTo>
                    <a:pt x="64" y="116"/>
                    <a:pt x="64" y="116"/>
                    <a:pt x="64" y="116"/>
                  </a:cubicBezTo>
                  <a:cubicBezTo>
                    <a:pt x="64" y="116"/>
                    <a:pt x="64" y="114"/>
                    <a:pt x="64" y="114"/>
                  </a:cubicBezTo>
                  <a:cubicBezTo>
                    <a:pt x="64" y="113"/>
                    <a:pt x="66" y="111"/>
                    <a:pt x="66" y="111"/>
                  </a:cubicBezTo>
                  <a:cubicBezTo>
                    <a:pt x="71" y="114"/>
                    <a:pt x="71" y="114"/>
                    <a:pt x="71" y="114"/>
                  </a:cubicBezTo>
                  <a:cubicBezTo>
                    <a:pt x="72" y="120"/>
                    <a:pt x="72" y="120"/>
                    <a:pt x="72" y="120"/>
                  </a:cubicBezTo>
                  <a:cubicBezTo>
                    <a:pt x="76" y="127"/>
                    <a:pt x="76" y="127"/>
                    <a:pt x="76" y="127"/>
                  </a:cubicBezTo>
                  <a:cubicBezTo>
                    <a:pt x="80" y="135"/>
                    <a:pt x="80" y="135"/>
                    <a:pt x="80" y="135"/>
                  </a:cubicBezTo>
                  <a:cubicBezTo>
                    <a:pt x="76" y="141"/>
                    <a:pt x="76" y="141"/>
                    <a:pt x="76" y="141"/>
                  </a:cubicBezTo>
                  <a:cubicBezTo>
                    <a:pt x="68" y="139"/>
                    <a:pt x="68" y="139"/>
                    <a:pt x="68" y="139"/>
                  </a:cubicBezTo>
                  <a:cubicBezTo>
                    <a:pt x="65" y="143"/>
                    <a:pt x="65" y="143"/>
                    <a:pt x="65" y="143"/>
                  </a:cubicBezTo>
                  <a:cubicBezTo>
                    <a:pt x="60" y="151"/>
                    <a:pt x="60" y="151"/>
                    <a:pt x="60" y="151"/>
                  </a:cubicBezTo>
                  <a:cubicBezTo>
                    <a:pt x="59" y="155"/>
                    <a:pt x="59" y="155"/>
                    <a:pt x="59" y="155"/>
                  </a:cubicBezTo>
                  <a:cubicBezTo>
                    <a:pt x="65" y="156"/>
                    <a:pt x="65" y="156"/>
                    <a:pt x="65" y="156"/>
                  </a:cubicBezTo>
                  <a:cubicBezTo>
                    <a:pt x="66" y="159"/>
                    <a:pt x="66" y="159"/>
                    <a:pt x="66" y="159"/>
                  </a:cubicBezTo>
                  <a:cubicBezTo>
                    <a:pt x="67" y="166"/>
                    <a:pt x="67" y="166"/>
                    <a:pt x="67" y="166"/>
                  </a:cubicBezTo>
                  <a:cubicBezTo>
                    <a:pt x="69" y="171"/>
                    <a:pt x="69" y="171"/>
                    <a:pt x="69" y="171"/>
                  </a:cubicBezTo>
                  <a:cubicBezTo>
                    <a:pt x="75" y="170"/>
                    <a:pt x="75" y="170"/>
                    <a:pt x="75" y="170"/>
                  </a:cubicBezTo>
                  <a:cubicBezTo>
                    <a:pt x="78" y="168"/>
                    <a:pt x="78" y="168"/>
                    <a:pt x="78" y="168"/>
                  </a:cubicBezTo>
                  <a:cubicBezTo>
                    <a:pt x="82" y="165"/>
                    <a:pt x="82" y="165"/>
                    <a:pt x="82" y="165"/>
                  </a:cubicBezTo>
                  <a:cubicBezTo>
                    <a:pt x="86" y="163"/>
                    <a:pt x="86" y="163"/>
                    <a:pt x="86" y="163"/>
                  </a:cubicBezTo>
                  <a:cubicBezTo>
                    <a:pt x="89" y="161"/>
                    <a:pt x="89" y="161"/>
                    <a:pt x="89" y="161"/>
                  </a:cubicBezTo>
                  <a:cubicBezTo>
                    <a:pt x="91" y="162"/>
                    <a:pt x="91" y="162"/>
                    <a:pt x="91" y="162"/>
                  </a:cubicBezTo>
                  <a:cubicBezTo>
                    <a:pt x="91" y="166"/>
                    <a:pt x="91" y="166"/>
                    <a:pt x="91" y="166"/>
                  </a:cubicBezTo>
                  <a:cubicBezTo>
                    <a:pt x="89" y="170"/>
                    <a:pt x="89" y="170"/>
                    <a:pt x="89" y="170"/>
                  </a:cubicBezTo>
                  <a:cubicBezTo>
                    <a:pt x="88" y="170"/>
                    <a:pt x="87" y="173"/>
                    <a:pt x="87" y="173"/>
                  </a:cubicBezTo>
                  <a:cubicBezTo>
                    <a:pt x="87" y="174"/>
                    <a:pt x="87" y="176"/>
                    <a:pt x="87" y="177"/>
                  </a:cubicBezTo>
                  <a:cubicBezTo>
                    <a:pt x="87" y="177"/>
                    <a:pt x="86" y="180"/>
                    <a:pt x="86" y="180"/>
                  </a:cubicBezTo>
                  <a:cubicBezTo>
                    <a:pt x="88" y="183"/>
                    <a:pt x="88" y="183"/>
                    <a:pt x="88" y="183"/>
                  </a:cubicBezTo>
                  <a:cubicBezTo>
                    <a:pt x="87" y="187"/>
                    <a:pt x="87" y="187"/>
                    <a:pt x="87" y="187"/>
                  </a:cubicBezTo>
                  <a:cubicBezTo>
                    <a:pt x="94" y="195"/>
                    <a:pt x="94" y="195"/>
                    <a:pt x="94" y="195"/>
                  </a:cubicBezTo>
                  <a:cubicBezTo>
                    <a:pt x="94" y="206"/>
                    <a:pt x="94" y="206"/>
                    <a:pt x="94" y="206"/>
                  </a:cubicBezTo>
                  <a:cubicBezTo>
                    <a:pt x="96" y="210"/>
                    <a:pt x="96" y="210"/>
                    <a:pt x="96" y="210"/>
                  </a:cubicBezTo>
                  <a:cubicBezTo>
                    <a:pt x="102" y="212"/>
                    <a:pt x="102" y="212"/>
                    <a:pt x="102" y="212"/>
                  </a:cubicBezTo>
                  <a:cubicBezTo>
                    <a:pt x="118" y="228"/>
                    <a:pt x="118" y="228"/>
                    <a:pt x="118" y="228"/>
                  </a:cubicBezTo>
                  <a:cubicBezTo>
                    <a:pt x="121" y="227"/>
                    <a:pt x="121" y="227"/>
                    <a:pt x="121" y="227"/>
                  </a:cubicBezTo>
                  <a:cubicBezTo>
                    <a:pt x="124" y="230"/>
                    <a:pt x="124" y="230"/>
                    <a:pt x="124" y="230"/>
                  </a:cubicBezTo>
                  <a:cubicBezTo>
                    <a:pt x="119" y="235"/>
                    <a:pt x="119" y="235"/>
                    <a:pt x="119" y="235"/>
                  </a:cubicBezTo>
                  <a:cubicBezTo>
                    <a:pt x="118" y="240"/>
                    <a:pt x="118" y="240"/>
                    <a:pt x="118" y="240"/>
                  </a:cubicBezTo>
                  <a:cubicBezTo>
                    <a:pt x="117" y="242"/>
                    <a:pt x="117" y="242"/>
                    <a:pt x="117" y="242"/>
                  </a:cubicBezTo>
                  <a:cubicBezTo>
                    <a:pt x="112" y="248"/>
                    <a:pt x="112" y="248"/>
                    <a:pt x="112" y="248"/>
                  </a:cubicBezTo>
                  <a:cubicBezTo>
                    <a:pt x="111" y="253"/>
                    <a:pt x="111" y="253"/>
                    <a:pt x="111" y="253"/>
                  </a:cubicBezTo>
                  <a:cubicBezTo>
                    <a:pt x="110" y="256"/>
                    <a:pt x="110" y="256"/>
                    <a:pt x="110" y="256"/>
                  </a:cubicBezTo>
                  <a:cubicBezTo>
                    <a:pt x="113" y="261"/>
                    <a:pt x="113" y="261"/>
                    <a:pt x="113" y="261"/>
                  </a:cubicBezTo>
                  <a:cubicBezTo>
                    <a:pt x="113" y="263"/>
                    <a:pt x="113" y="263"/>
                    <a:pt x="113" y="263"/>
                  </a:cubicBezTo>
                  <a:cubicBezTo>
                    <a:pt x="113" y="265"/>
                    <a:pt x="113" y="265"/>
                    <a:pt x="113" y="265"/>
                  </a:cubicBezTo>
                  <a:cubicBezTo>
                    <a:pt x="113" y="268"/>
                    <a:pt x="113" y="268"/>
                    <a:pt x="113" y="268"/>
                  </a:cubicBezTo>
                  <a:cubicBezTo>
                    <a:pt x="116" y="269"/>
                    <a:pt x="116" y="269"/>
                    <a:pt x="116" y="269"/>
                  </a:cubicBezTo>
                  <a:cubicBezTo>
                    <a:pt x="116" y="271"/>
                    <a:pt x="116" y="271"/>
                    <a:pt x="116" y="271"/>
                  </a:cubicBezTo>
                  <a:cubicBezTo>
                    <a:pt x="117" y="276"/>
                    <a:pt x="117" y="276"/>
                    <a:pt x="117" y="276"/>
                  </a:cubicBezTo>
                  <a:cubicBezTo>
                    <a:pt x="114" y="279"/>
                    <a:pt x="114" y="279"/>
                    <a:pt x="114" y="279"/>
                  </a:cubicBezTo>
                  <a:cubicBezTo>
                    <a:pt x="117" y="280"/>
                    <a:pt x="117" y="280"/>
                    <a:pt x="117" y="280"/>
                  </a:cubicBezTo>
                  <a:cubicBezTo>
                    <a:pt x="116" y="283"/>
                    <a:pt x="116" y="283"/>
                    <a:pt x="116" y="283"/>
                  </a:cubicBezTo>
                  <a:cubicBezTo>
                    <a:pt x="120" y="284"/>
                    <a:pt x="120" y="284"/>
                    <a:pt x="120" y="284"/>
                  </a:cubicBezTo>
                  <a:cubicBezTo>
                    <a:pt x="123" y="286"/>
                    <a:pt x="123" y="286"/>
                    <a:pt x="123" y="286"/>
                  </a:cubicBezTo>
                  <a:cubicBezTo>
                    <a:pt x="121" y="289"/>
                    <a:pt x="121" y="289"/>
                    <a:pt x="121" y="289"/>
                  </a:cubicBezTo>
                  <a:cubicBezTo>
                    <a:pt x="121" y="294"/>
                    <a:pt x="121" y="294"/>
                    <a:pt x="121" y="294"/>
                  </a:cubicBezTo>
                  <a:cubicBezTo>
                    <a:pt x="123" y="298"/>
                    <a:pt x="123" y="298"/>
                    <a:pt x="123" y="298"/>
                  </a:cubicBezTo>
                  <a:cubicBezTo>
                    <a:pt x="122" y="300"/>
                    <a:pt x="122" y="300"/>
                    <a:pt x="122" y="300"/>
                  </a:cubicBezTo>
                  <a:cubicBezTo>
                    <a:pt x="124" y="305"/>
                    <a:pt x="124" y="305"/>
                    <a:pt x="124" y="305"/>
                  </a:cubicBezTo>
                  <a:cubicBezTo>
                    <a:pt x="128" y="301"/>
                    <a:pt x="128" y="301"/>
                    <a:pt x="128" y="301"/>
                  </a:cubicBezTo>
                  <a:cubicBezTo>
                    <a:pt x="131" y="300"/>
                    <a:pt x="131" y="300"/>
                    <a:pt x="131" y="300"/>
                  </a:cubicBezTo>
                  <a:cubicBezTo>
                    <a:pt x="140" y="301"/>
                    <a:pt x="140" y="301"/>
                    <a:pt x="140" y="301"/>
                  </a:cubicBezTo>
                  <a:cubicBezTo>
                    <a:pt x="147" y="301"/>
                    <a:pt x="147" y="301"/>
                    <a:pt x="147" y="301"/>
                  </a:cubicBezTo>
                  <a:cubicBezTo>
                    <a:pt x="152" y="303"/>
                    <a:pt x="152" y="303"/>
                    <a:pt x="152" y="303"/>
                  </a:cubicBezTo>
                  <a:cubicBezTo>
                    <a:pt x="159" y="304"/>
                    <a:pt x="159" y="304"/>
                    <a:pt x="159" y="304"/>
                  </a:cubicBezTo>
                  <a:cubicBezTo>
                    <a:pt x="167" y="306"/>
                    <a:pt x="167" y="306"/>
                    <a:pt x="167" y="306"/>
                  </a:cubicBezTo>
                  <a:cubicBezTo>
                    <a:pt x="167" y="306"/>
                    <a:pt x="167" y="306"/>
                    <a:pt x="167" y="306"/>
                  </a:cubicBezTo>
                  <a:cubicBezTo>
                    <a:pt x="167" y="305"/>
                    <a:pt x="168" y="304"/>
                    <a:pt x="168" y="304"/>
                  </a:cubicBezTo>
                  <a:cubicBezTo>
                    <a:pt x="168" y="303"/>
                    <a:pt x="168" y="302"/>
                    <a:pt x="168" y="301"/>
                  </a:cubicBezTo>
                  <a:cubicBezTo>
                    <a:pt x="168" y="301"/>
                    <a:pt x="168" y="300"/>
                    <a:pt x="168" y="299"/>
                  </a:cubicBezTo>
                  <a:cubicBezTo>
                    <a:pt x="169" y="298"/>
                    <a:pt x="168" y="297"/>
                    <a:pt x="169" y="296"/>
                  </a:cubicBezTo>
                  <a:cubicBezTo>
                    <a:pt x="168" y="295"/>
                    <a:pt x="169" y="294"/>
                    <a:pt x="169" y="294"/>
                  </a:cubicBezTo>
                  <a:cubicBezTo>
                    <a:pt x="169" y="293"/>
                    <a:pt x="169" y="292"/>
                    <a:pt x="169" y="292"/>
                  </a:cubicBezTo>
                  <a:cubicBezTo>
                    <a:pt x="168" y="292"/>
                    <a:pt x="167" y="293"/>
                    <a:pt x="167" y="293"/>
                  </a:cubicBezTo>
                  <a:cubicBezTo>
                    <a:pt x="166" y="293"/>
                    <a:pt x="166" y="293"/>
                    <a:pt x="166" y="293"/>
                  </a:cubicBezTo>
                  <a:cubicBezTo>
                    <a:pt x="166" y="292"/>
                    <a:pt x="164" y="293"/>
                    <a:pt x="164" y="292"/>
                  </a:cubicBezTo>
                  <a:cubicBezTo>
                    <a:pt x="164" y="291"/>
                    <a:pt x="164" y="291"/>
                    <a:pt x="164" y="291"/>
                  </a:cubicBezTo>
                  <a:cubicBezTo>
                    <a:pt x="164" y="290"/>
                    <a:pt x="164" y="290"/>
                    <a:pt x="164" y="290"/>
                  </a:cubicBezTo>
                  <a:cubicBezTo>
                    <a:pt x="164" y="289"/>
                    <a:pt x="164" y="288"/>
                    <a:pt x="163" y="288"/>
                  </a:cubicBezTo>
                  <a:cubicBezTo>
                    <a:pt x="163" y="288"/>
                    <a:pt x="163" y="288"/>
                    <a:pt x="162" y="288"/>
                  </a:cubicBezTo>
                  <a:cubicBezTo>
                    <a:pt x="162" y="288"/>
                    <a:pt x="161" y="289"/>
                    <a:pt x="161" y="289"/>
                  </a:cubicBezTo>
                  <a:cubicBezTo>
                    <a:pt x="160" y="289"/>
                    <a:pt x="160" y="290"/>
                    <a:pt x="160" y="289"/>
                  </a:cubicBezTo>
                  <a:cubicBezTo>
                    <a:pt x="159" y="289"/>
                    <a:pt x="159" y="289"/>
                    <a:pt x="158" y="289"/>
                  </a:cubicBezTo>
                  <a:cubicBezTo>
                    <a:pt x="158" y="289"/>
                    <a:pt x="157" y="289"/>
                    <a:pt x="157" y="288"/>
                  </a:cubicBezTo>
                  <a:cubicBezTo>
                    <a:pt x="156" y="288"/>
                    <a:pt x="155" y="288"/>
                    <a:pt x="156" y="287"/>
                  </a:cubicBezTo>
                  <a:cubicBezTo>
                    <a:pt x="156" y="286"/>
                    <a:pt x="157" y="286"/>
                    <a:pt x="157" y="286"/>
                  </a:cubicBezTo>
                  <a:cubicBezTo>
                    <a:pt x="158" y="286"/>
                    <a:pt x="158" y="286"/>
                    <a:pt x="158" y="285"/>
                  </a:cubicBezTo>
                  <a:cubicBezTo>
                    <a:pt x="159" y="285"/>
                    <a:pt x="159" y="285"/>
                    <a:pt x="159" y="285"/>
                  </a:cubicBezTo>
                  <a:cubicBezTo>
                    <a:pt x="160" y="284"/>
                    <a:pt x="160" y="284"/>
                    <a:pt x="160" y="284"/>
                  </a:cubicBezTo>
                  <a:cubicBezTo>
                    <a:pt x="161" y="283"/>
                    <a:pt x="161" y="283"/>
                    <a:pt x="161" y="283"/>
                  </a:cubicBezTo>
                  <a:cubicBezTo>
                    <a:pt x="161" y="283"/>
                    <a:pt x="161" y="282"/>
                    <a:pt x="160" y="282"/>
                  </a:cubicBezTo>
                  <a:cubicBezTo>
                    <a:pt x="160" y="281"/>
                    <a:pt x="161" y="281"/>
                    <a:pt x="160" y="280"/>
                  </a:cubicBezTo>
                  <a:cubicBezTo>
                    <a:pt x="160" y="280"/>
                    <a:pt x="160" y="279"/>
                    <a:pt x="160" y="278"/>
                  </a:cubicBezTo>
                  <a:cubicBezTo>
                    <a:pt x="160" y="277"/>
                    <a:pt x="160" y="276"/>
                    <a:pt x="160" y="275"/>
                  </a:cubicBezTo>
                  <a:cubicBezTo>
                    <a:pt x="160" y="273"/>
                    <a:pt x="158" y="274"/>
                    <a:pt x="157" y="274"/>
                  </a:cubicBezTo>
                  <a:cubicBezTo>
                    <a:pt x="156" y="275"/>
                    <a:pt x="155" y="275"/>
                    <a:pt x="154" y="274"/>
                  </a:cubicBezTo>
                  <a:cubicBezTo>
                    <a:pt x="155" y="273"/>
                    <a:pt x="156" y="273"/>
                    <a:pt x="157" y="273"/>
                  </a:cubicBezTo>
                  <a:cubicBezTo>
                    <a:pt x="158" y="273"/>
                    <a:pt x="160" y="272"/>
                    <a:pt x="160" y="271"/>
                  </a:cubicBezTo>
                  <a:cubicBezTo>
                    <a:pt x="160" y="270"/>
                    <a:pt x="160" y="269"/>
                    <a:pt x="160" y="268"/>
                  </a:cubicBezTo>
                  <a:cubicBezTo>
                    <a:pt x="159" y="267"/>
                    <a:pt x="159" y="267"/>
                    <a:pt x="158" y="267"/>
                  </a:cubicBezTo>
                  <a:cubicBezTo>
                    <a:pt x="156" y="268"/>
                    <a:pt x="154" y="268"/>
                    <a:pt x="153" y="269"/>
                  </a:cubicBezTo>
                  <a:cubicBezTo>
                    <a:pt x="151" y="269"/>
                    <a:pt x="151" y="269"/>
                    <a:pt x="150" y="270"/>
                  </a:cubicBezTo>
                  <a:cubicBezTo>
                    <a:pt x="149" y="270"/>
                    <a:pt x="149" y="270"/>
                    <a:pt x="148" y="270"/>
                  </a:cubicBezTo>
                  <a:cubicBezTo>
                    <a:pt x="147" y="269"/>
                    <a:pt x="145" y="269"/>
                    <a:pt x="144" y="269"/>
                  </a:cubicBezTo>
                  <a:cubicBezTo>
                    <a:pt x="144" y="269"/>
                    <a:pt x="143" y="269"/>
                    <a:pt x="143" y="268"/>
                  </a:cubicBezTo>
                  <a:cubicBezTo>
                    <a:pt x="143" y="268"/>
                    <a:pt x="143" y="268"/>
                    <a:pt x="144" y="268"/>
                  </a:cubicBezTo>
                  <a:cubicBezTo>
                    <a:pt x="145" y="267"/>
                    <a:pt x="146" y="268"/>
                    <a:pt x="148" y="267"/>
                  </a:cubicBezTo>
                  <a:cubicBezTo>
                    <a:pt x="148" y="267"/>
                    <a:pt x="149" y="267"/>
                    <a:pt x="149" y="266"/>
                  </a:cubicBezTo>
                  <a:cubicBezTo>
                    <a:pt x="150" y="266"/>
                    <a:pt x="150" y="265"/>
                    <a:pt x="151" y="265"/>
                  </a:cubicBezTo>
                  <a:cubicBezTo>
                    <a:pt x="151" y="264"/>
                    <a:pt x="152" y="264"/>
                    <a:pt x="153" y="264"/>
                  </a:cubicBezTo>
                  <a:cubicBezTo>
                    <a:pt x="153" y="263"/>
                    <a:pt x="153" y="263"/>
                    <a:pt x="154" y="263"/>
                  </a:cubicBezTo>
                  <a:cubicBezTo>
                    <a:pt x="154" y="262"/>
                    <a:pt x="155" y="262"/>
                    <a:pt x="155" y="261"/>
                  </a:cubicBezTo>
                  <a:cubicBezTo>
                    <a:pt x="156" y="261"/>
                    <a:pt x="156" y="261"/>
                    <a:pt x="157" y="261"/>
                  </a:cubicBezTo>
                  <a:cubicBezTo>
                    <a:pt x="158" y="261"/>
                    <a:pt x="158" y="260"/>
                    <a:pt x="159" y="260"/>
                  </a:cubicBezTo>
                  <a:cubicBezTo>
                    <a:pt x="160" y="259"/>
                    <a:pt x="161" y="260"/>
                    <a:pt x="162" y="259"/>
                  </a:cubicBezTo>
                  <a:cubicBezTo>
                    <a:pt x="163" y="259"/>
                    <a:pt x="164" y="259"/>
                    <a:pt x="164" y="259"/>
                  </a:cubicBezTo>
                  <a:cubicBezTo>
                    <a:pt x="165" y="258"/>
                    <a:pt x="166" y="258"/>
                    <a:pt x="166" y="258"/>
                  </a:cubicBezTo>
                  <a:cubicBezTo>
                    <a:pt x="167" y="257"/>
                    <a:pt x="167" y="254"/>
                    <a:pt x="166" y="253"/>
                  </a:cubicBezTo>
                  <a:cubicBezTo>
                    <a:pt x="165" y="252"/>
                    <a:pt x="165" y="251"/>
                    <a:pt x="165" y="250"/>
                  </a:cubicBezTo>
                  <a:cubicBezTo>
                    <a:pt x="165" y="248"/>
                    <a:pt x="167" y="248"/>
                    <a:pt x="168" y="247"/>
                  </a:cubicBezTo>
                  <a:cubicBezTo>
                    <a:pt x="170" y="247"/>
                    <a:pt x="171" y="246"/>
                    <a:pt x="172" y="246"/>
                  </a:cubicBezTo>
                  <a:cubicBezTo>
                    <a:pt x="173" y="245"/>
                    <a:pt x="175" y="245"/>
                    <a:pt x="176" y="244"/>
                  </a:cubicBezTo>
                  <a:cubicBezTo>
                    <a:pt x="177" y="244"/>
                    <a:pt x="178" y="243"/>
                    <a:pt x="179" y="242"/>
                  </a:cubicBezTo>
                  <a:cubicBezTo>
                    <a:pt x="179" y="242"/>
                    <a:pt x="180" y="241"/>
                    <a:pt x="180" y="240"/>
                  </a:cubicBezTo>
                  <a:cubicBezTo>
                    <a:pt x="180" y="239"/>
                    <a:pt x="179" y="239"/>
                    <a:pt x="180" y="238"/>
                  </a:cubicBezTo>
                  <a:cubicBezTo>
                    <a:pt x="180" y="237"/>
                    <a:pt x="180" y="237"/>
                    <a:pt x="180" y="237"/>
                  </a:cubicBezTo>
                  <a:cubicBezTo>
                    <a:pt x="181" y="236"/>
                    <a:pt x="180" y="236"/>
                    <a:pt x="179" y="235"/>
                  </a:cubicBezTo>
                  <a:cubicBezTo>
                    <a:pt x="179" y="235"/>
                    <a:pt x="179" y="234"/>
                    <a:pt x="178" y="234"/>
                  </a:cubicBezTo>
                  <a:cubicBezTo>
                    <a:pt x="177" y="234"/>
                    <a:pt x="177" y="234"/>
                    <a:pt x="176" y="233"/>
                  </a:cubicBezTo>
                  <a:cubicBezTo>
                    <a:pt x="176" y="233"/>
                    <a:pt x="175" y="233"/>
                    <a:pt x="176" y="232"/>
                  </a:cubicBezTo>
                  <a:cubicBezTo>
                    <a:pt x="176" y="232"/>
                    <a:pt x="177" y="232"/>
                    <a:pt x="178" y="232"/>
                  </a:cubicBezTo>
                  <a:cubicBezTo>
                    <a:pt x="178" y="233"/>
                    <a:pt x="179" y="233"/>
                    <a:pt x="179" y="233"/>
                  </a:cubicBezTo>
                  <a:cubicBezTo>
                    <a:pt x="179" y="232"/>
                    <a:pt x="179" y="232"/>
                    <a:pt x="179" y="231"/>
                  </a:cubicBezTo>
                  <a:cubicBezTo>
                    <a:pt x="179" y="231"/>
                    <a:pt x="179" y="230"/>
                    <a:pt x="178" y="230"/>
                  </a:cubicBezTo>
                  <a:cubicBezTo>
                    <a:pt x="178" y="230"/>
                    <a:pt x="177" y="230"/>
                    <a:pt x="177" y="230"/>
                  </a:cubicBezTo>
                  <a:cubicBezTo>
                    <a:pt x="177" y="229"/>
                    <a:pt x="176" y="229"/>
                    <a:pt x="176" y="229"/>
                  </a:cubicBezTo>
                  <a:cubicBezTo>
                    <a:pt x="175" y="228"/>
                    <a:pt x="176" y="227"/>
                    <a:pt x="176" y="226"/>
                  </a:cubicBezTo>
                  <a:cubicBezTo>
                    <a:pt x="177" y="225"/>
                    <a:pt x="177" y="224"/>
                    <a:pt x="177" y="223"/>
                  </a:cubicBezTo>
                  <a:cubicBezTo>
                    <a:pt x="177" y="222"/>
                    <a:pt x="178" y="221"/>
                    <a:pt x="179" y="222"/>
                  </a:cubicBezTo>
                  <a:cubicBezTo>
                    <a:pt x="179" y="223"/>
                    <a:pt x="179" y="223"/>
                    <a:pt x="179" y="223"/>
                  </a:cubicBezTo>
                  <a:cubicBezTo>
                    <a:pt x="179" y="224"/>
                    <a:pt x="178" y="224"/>
                    <a:pt x="178" y="225"/>
                  </a:cubicBezTo>
                  <a:cubicBezTo>
                    <a:pt x="178" y="227"/>
                    <a:pt x="180" y="229"/>
                    <a:pt x="181" y="231"/>
                  </a:cubicBezTo>
                  <a:cubicBezTo>
                    <a:pt x="181" y="231"/>
                    <a:pt x="181" y="232"/>
                    <a:pt x="181" y="233"/>
                  </a:cubicBezTo>
                  <a:cubicBezTo>
                    <a:pt x="181" y="233"/>
                    <a:pt x="181" y="234"/>
                    <a:pt x="182" y="234"/>
                  </a:cubicBezTo>
                  <a:cubicBezTo>
                    <a:pt x="182" y="234"/>
                    <a:pt x="182" y="234"/>
                    <a:pt x="182" y="234"/>
                  </a:cubicBezTo>
                  <a:cubicBezTo>
                    <a:pt x="183" y="234"/>
                    <a:pt x="183" y="235"/>
                    <a:pt x="182" y="235"/>
                  </a:cubicBezTo>
                  <a:cubicBezTo>
                    <a:pt x="182" y="236"/>
                    <a:pt x="182" y="236"/>
                    <a:pt x="182" y="237"/>
                  </a:cubicBezTo>
                  <a:cubicBezTo>
                    <a:pt x="182" y="237"/>
                    <a:pt x="184" y="237"/>
                    <a:pt x="184" y="237"/>
                  </a:cubicBezTo>
                  <a:cubicBezTo>
                    <a:pt x="185" y="237"/>
                    <a:pt x="186" y="237"/>
                    <a:pt x="187" y="237"/>
                  </a:cubicBezTo>
                  <a:cubicBezTo>
                    <a:pt x="187" y="237"/>
                    <a:pt x="188" y="237"/>
                    <a:pt x="188" y="237"/>
                  </a:cubicBezTo>
                  <a:cubicBezTo>
                    <a:pt x="189" y="236"/>
                    <a:pt x="189" y="236"/>
                    <a:pt x="190" y="235"/>
                  </a:cubicBezTo>
                  <a:cubicBezTo>
                    <a:pt x="191" y="234"/>
                    <a:pt x="193" y="234"/>
                    <a:pt x="194" y="233"/>
                  </a:cubicBezTo>
                  <a:cubicBezTo>
                    <a:pt x="195" y="232"/>
                    <a:pt x="195" y="231"/>
                    <a:pt x="195" y="230"/>
                  </a:cubicBezTo>
                  <a:cubicBezTo>
                    <a:pt x="195" y="230"/>
                    <a:pt x="195" y="229"/>
                    <a:pt x="196" y="229"/>
                  </a:cubicBezTo>
                  <a:cubicBezTo>
                    <a:pt x="196" y="228"/>
                    <a:pt x="197" y="228"/>
                    <a:pt x="197" y="227"/>
                  </a:cubicBezTo>
                  <a:cubicBezTo>
                    <a:pt x="198" y="227"/>
                    <a:pt x="198" y="225"/>
                    <a:pt x="199" y="225"/>
                  </a:cubicBezTo>
                  <a:cubicBezTo>
                    <a:pt x="200" y="224"/>
                    <a:pt x="200" y="223"/>
                    <a:pt x="201" y="222"/>
                  </a:cubicBezTo>
                  <a:cubicBezTo>
                    <a:pt x="202" y="221"/>
                    <a:pt x="202" y="220"/>
                    <a:pt x="203" y="220"/>
                  </a:cubicBezTo>
                  <a:cubicBezTo>
                    <a:pt x="203" y="219"/>
                    <a:pt x="203" y="218"/>
                    <a:pt x="204" y="218"/>
                  </a:cubicBezTo>
                  <a:cubicBezTo>
                    <a:pt x="205" y="218"/>
                    <a:pt x="205" y="217"/>
                    <a:pt x="206" y="217"/>
                  </a:cubicBezTo>
                  <a:cubicBezTo>
                    <a:pt x="207" y="216"/>
                    <a:pt x="208" y="216"/>
                    <a:pt x="208" y="215"/>
                  </a:cubicBezTo>
                  <a:cubicBezTo>
                    <a:pt x="209" y="214"/>
                    <a:pt x="209" y="214"/>
                    <a:pt x="209" y="214"/>
                  </a:cubicBezTo>
                  <a:cubicBezTo>
                    <a:pt x="209" y="213"/>
                    <a:pt x="209" y="213"/>
                    <a:pt x="209" y="213"/>
                  </a:cubicBezTo>
                  <a:cubicBezTo>
                    <a:pt x="209" y="212"/>
                    <a:pt x="209" y="210"/>
                    <a:pt x="209" y="210"/>
                  </a:cubicBezTo>
                  <a:cubicBezTo>
                    <a:pt x="210" y="211"/>
                    <a:pt x="210" y="212"/>
                    <a:pt x="210" y="212"/>
                  </a:cubicBezTo>
                  <a:cubicBezTo>
                    <a:pt x="211" y="212"/>
                    <a:pt x="211" y="212"/>
                    <a:pt x="211" y="212"/>
                  </a:cubicBezTo>
                  <a:cubicBezTo>
                    <a:pt x="211" y="211"/>
                    <a:pt x="211" y="211"/>
                    <a:pt x="211" y="211"/>
                  </a:cubicBezTo>
                  <a:cubicBezTo>
                    <a:pt x="211" y="210"/>
                    <a:pt x="210" y="210"/>
                    <a:pt x="210" y="209"/>
                  </a:cubicBezTo>
                  <a:cubicBezTo>
                    <a:pt x="210" y="208"/>
                    <a:pt x="210" y="207"/>
                    <a:pt x="211" y="206"/>
                  </a:cubicBezTo>
                  <a:cubicBezTo>
                    <a:pt x="212" y="206"/>
                    <a:pt x="212" y="207"/>
                    <a:pt x="212" y="207"/>
                  </a:cubicBezTo>
                  <a:cubicBezTo>
                    <a:pt x="212" y="208"/>
                    <a:pt x="212" y="208"/>
                    <a:pt x="212" y="209"/>
                  </a:cubicBezTo>
                  <a:cubicBezTo>
                    <a:pt x="212" y="210"/>
                    <a:pt x="212" y="210"/>
                    <a:pt x="213" y="211"/>
                  </a:cubicBezTo>
                  <a:cubicBezTo>
                    <a:pt x="214" y="211"/>
                    <a:pt x="214" y="211"/>
                    <a:pt x="213" y="212"/>
                  </a:cubicBezTo>
                  <a:cubicBezTo>
                    <a:pt x="213" y="212"/>
                    <a:pt x="213" y="213"/>
                    <a:pt x="214" y="214"/>
                  </a:cubicBezTo>
                  <a:cubicBezTo>
                    <a:pt x="214" y="214"/>
                    <a:pt x="215" y="215"/>
                    <a:pt x="215" y="214"/>
                  </a:cubicBezTo>
                  <a:cubicBezTo>
                    <a:pt x="215" y="214"/>
                    <a:pt x="215" y="213"/>
                    <a:pt x="215" y="213"/>
                  </a:cubicBezTo>
                  <a:cubicBezTo>
                    <a:pt x="216" y="213"/>
                    <a:pt x="216" y="213"/>
                    <a:pt x="216" y="213"/>
                  </a:cubicBezTo>
                  <a:cubicBezTo>
                    <a:pt x="217" y="212"/>
                    <a:pt x="217" y="212"/>
                    <a:pt x="217" y="212"/>
                  </a:cubicBezTo>
                  <a:cubicBezTo>
                    <a:pt x="216" y="211"/>
                    <a:pt x="216" y="211"/>
                    <a:pt x="216" y="211"/>
                  </a:cubicBezTo>
                  <a:cubicBezTo>
                    <a:pt x="216" y="211"/>
                    <a:pt x="216" y="211"/>
                    <a:pt x="216" y="210"/>
                  </a:cubicBezTo>
                  <a:cubicBezTo>
                    <a:pt x="216" y="210"/>
                    <a:pt x="216" y="210"/>
                    <a:pt x="216" y="210"/>
                  </a:cubicBezTo>
                  <a:cubicBezTo>
                    <a:pt x="217" y="210"/>
                    <a:pt x="217" y="210"/>
                    <a:pt x="218" y="211"/>
                  </a:cubicBezTo>
                  <a:cubicBezTo>
                    <a:pt x="218" y="212"/>
                    <a:pt x="218" y="212"/>
                    <a:pt x="219" y="213"/>
                  </a:cubicBezTo>
                  <a:cubicBezTo>
                    <a:pt x="219" y="213"/>
                    <a:pt x="220" y="213"/>
                    <a:pt x="220" y="213"/>
                  </a:cubicBezTo>
                  <a:cubicBezTo>
                    <a:pt x="221" y="213"/>
                    <a:pt x="220" y="211"/>
                    <a:pt x="219" y="211"/>
                  </a:cubicBezTo>
                  <a:cubicBezTo>
                    <a:pt x="218" y="210"/>
                    <a:pt x="218" y="210"/>
                    <a:pt x="218" y="209"/>
                  </a:cubicBezTo>
                  <a:cubicBezTo>
                    <a:pt x="219" y="209"/>
                    <a:pt x="219" y="210"/>
                    <a:pt x="220" y="210"/>
                  </a:cubicBezTo>
                  <a:cubicBezTo>
                    <a:pt x="220" y="209"/>
                    <a:pt x="220" y="208"/>
                    <a:pt x="219" y="208"/>
                  </a:cubicBezTo>
                  <a:cubicBezTo>
                    <a:pt x="219" y="207"/>
                    <a:pt x="218" y="207"/>
                    <a:pt x="219" y="206"/>
                  </a:cubicBezTo>
                  <a:cubicBezTo>
                    <a:pt x="219" y="206"/>
                    <a:pt x="219" y="206"/>
                    <a:pt x="219" y="206"/>
                  </a:cubicBezTo>
                  <a:cubicBezTo>
                    <a:pt x="220" y="206"/>
                    <a:pt x="220" y="207"/>
                    <a:pt x="221" y="207"/>
                  </a:cubicBezTo>
                  <a:cubicBezTo>
                    <a:pt x="221" y="207"/>
                    <a:pt x="221" y="207"/>
                    <a:pt x="222" y="207"/>
                  </a:cubicBezTo>
                  <a:cubicBezTo>
                    <a:pt x="222" y="207"/>
                    <a:pt x="222" y="207"/>
                    <a:pt x="223" y="207"/>
                  </a:cubicBezTo>
                  <a:cubicBezTo>
                    <a:pt x="224" y="207"/>
                    <a:pt x="224" y="208"/>
                    <a:pt x="224" y="208"/>
                  </a:cubicBezTo>
                  <a:cubicBezTo>
                    <a:pt x="225" y="209"/>
                    <a:pt x="226" y="209"/>
                    <a:pt x="227" y="209"/>
                  </a:cubicBezTo>
                  <a:cubicBezTo>
                    <a:pt x="227" y="209"/>
                    <a:pt x="228" y="208"/>
                    <a:pt x="228" y="208"/>
                  </a:cubicBezTo>
                  <a:cubicBezTo>
                    <a:pt x="228" y="207"/>
                    <a:pt x="228" y="207"/>
                    <a:pt x="228" y="207"/>
                  </a:cubicBezTo>
                  <a:cubicBezTo>
                    <a:pt x="229" y="207"/>
                    <a:pt x="230" y="207"/>
                    <a:pt x="230" y="207"/>
                  </a:cubicBezTo>
                  <a:cubicBezTo>
                    <a:pt x="231" y="207"/>
                    <a:pt x="231" y="207"/>
                    <a:pt x="231" y="206"/>
                  </a:cubicBezTo>
                  <a:cubicBezTo>
                    <a:pt x="232" y="206"/>
                    <a:pt x="231" y="205"/>
                    <a:pt x="231" y="205"/>
                  </a:cubicBezTo>
                  <a:cubicBezTo>
                    <a:pt x="231" y="204"/>
                    <a:pt x="231" y="204"/>
                    <a:pt x="230" y="204"/>
                  </a:cubicBezTo>
                  <a:cubicBezTo>
                    <a:pt x="229" y="204"/>
                    <a:pt x="228" y="204"/>
                    <a:pt x="228" y="204"/>
                  </a:cubicBezTo>
                  <a:cubicBezTo>
                    <a:pt x="227" y="204"/>
                    <a:pt x="226" y="204"/>
                    <a:pt x="226" y="204"/>
                  </a:cubicBezTo>
                  <a:cubicBezTo>
                    <a:pt x="225" y="204"/>
                    <a:pt x="225" y="204"/>
                    <a:pt x="225" y="204"/>
                  </a:cubicBezTo>
                  <a:cubicBezTo>
                    <a:pt x="224" y="204"/>
                    <a:pt x="223" y="204"/>
                    <a:pt x="223" y="203"/>
                  </a:cubicBezTo>
                  <a:cubicBezTo>
                    <a:pt x="222" y="202"/>
                    <a:pt x="222" y="201"/>
                    <a:pt x="221" y="201"/>
                  </a:cubicBezTo>
                  <a:cubicBezTo>
                    <a:pt x="221" y="200"/>
                    <a:pt x="220" y="200"/>
                    <a:pt x="220" y="199"/>
                  </a:cubicBezTo>
                  <a:cubicBezTo>
                    <a:pt x="221" y="199"/>
                    <a:pt x="221" y="199"/>
                    <a:pt x="222" y="199"/>
                  </a:cubicBezTo>
                  <a:cubicBezTo>
                    <a:pt x="222" y="200"/>
                    <a:pt x="222" y="200"/>
                    <a:pt x="223" y="200"/>
                  </a:cubicBezTo>
                  <a:cubicBezTo>
                    <a:pt x="223" y="201"/>
                    <a:pt x="223" y="201"/>
                    <a:pt x="223" y="201"/>
                  </a:cubicBezTo>
                  <a:cubicBezTo>
                    <a:pt x="224" y="202"/>
                    <a:pt x="225" y="202"/>
                    <a:pt x="226" y="201"/>
                  </a:cubicBezTo>
                  <a:cubicBezTo>
                    <a:pt x="226" y="201"/>
                    <a:pt x="226" y="201"/>
                    <a:pt x="225" y="200"/>
                  </a:cubicBezTo>
                  <a:cubicBezTo>
                    <a:pt x="225" y="200"/>
                    <a:pt x="225" y="200"/>
                    <a:pt x="225" y="199"/>
                  </a:cubicBezTo>
                  <a:cubicBezTo>
                    <a:pt x="225" y="198"/>
                    <a:pt x="226" y="198"/>
                    <a:pt x="226" y="199"/>
                  </a:cubicBezTo>
                  <a:cubicBezTo>
                    <a:pt x="226" y="199"/>
                    <a:pt x="227" y="199"/>
                    <a:pt x="227" y="199"/>
                  </a:cubicBezTo>
                  <a:cubicBezTo>
                    <a:pt x="228" y="198"/>
                    <a:pt x="228" y="198"/>
                    <a:pt x="228" y="198"/>
                  </a:cubicBezTo>
                  <a:cubicBezTo>
                    <a:pt x="227" y="197"/>
                    <a:pt x="226" y="197"/>
                    <a:pt x="225" y="196"/>
                  </a:cubicBezTo>
                  <a:cubicBezTo>
                    <a:pt x="225" y="196"/>
                    <a:pt x="225" y="196"/>
                    <a:pt x="225" y="196"/>
                  </a:cubicBezTo>
                  <a:cubicBezTo>
                    <a:pt x="225" y="195"/>
                    <a:pt x="225" y="195"/>
                    <a:pt x="226" y="196"/>
                  </a:cubicBezTo>
                  <a:cubicBezTo>
                    <a:pt x="226" y="196"/>
                    <a:pt x="227" y="196"/>
                    <a:pt x="228" y="196"/>
                  </a:cubicBezTo>
                  <a:cubicBezTo>
                    <a:pt x="228" y="196"/>
                    <a:pt x="228" y="195"/>
                    <a:pt x="229" y="195"/>
                  </a:cubicBezTo>
                  <a:cubicBezTo>
                    <a:pt x="229" y="194"/>
                    <a:pt x="229" y="192"/>
                    <a:pt x="229" y="191"/>
                  </a:cubicBezTo>
                  <a:cubicBezTo>
                    <a:pt x="228" y="191"/>
                    <a:pt x="228" y="191"/>
                    <a:pt x="228" y="191"/>
                  </a:cubicBezTo>
                  <a:cubicBezTo>
                    <a:pt x="227" y="190"/>
                    <a:pt x="227" y="190"/>
                    <a:pt x="227" y="190"/>
                  </a:cubicBezTo>
                  <a:cubicBezTo>
                    <a:pt x="227" y="190"/>
                    <a:pt x="228" y="189"/>
                    <a:pt x="229" y="189"/>
                  </a:cubicBezTo>
                  <a:cubicBezTo>
                    <a:pt x="230" y="189"/>
                    <a:pt x="231" y="188"/>
                    <a:pt x="232" y="188"/>
                  </a:cubicBezTo>
                  <a:cubicBezTo>
                    <a:pt x="232" y="187"/>
                    <a:pt x="232" y="187"/>
                    <a:pt x="231" y="186"/>
                  </a:cubicBezTo>
                  <a:cubicBezTo>
                    <a:pt x="231" y="185"/>
                    <a:pt x="231" y="185"/>
                    <a:pt x="230" y="185"/>
                  </a:cubicBezTo>
                  <a:cubicBezTo>
                    <a:pt x="230" y="185"/>
                    <a:pt x="229" y="185"/>
                    <a:pt x="229" y="185"/>
                  </a:cubicBezTo>
                  <a:cubicBezTo>
                    <a:pt x="228" y="185"/>
                    <a:pt x="228" y="186"/>
                    <a:pt x="227" y="186"/>
                  </a:cubicBezTo>
                  <a:cubicBezTo>
                    <a:pt x="226" y="187"/>
                    <a:pt x="225" y="188"/>
                    <a:pt x="224" y="189"/>
                  </a:cubicBezTo>
                  <a:cubicBezTo>
                    <a:pt x="224" y="189"/>
                    <a:pt x="223" y="189"/>
                    <a:pt x="222" y="190"/>
                  </a:cubicBezTo>
                  <a:cubicBezTo>
                    <a:pt x="221" y="190"/>
                    <a:pt x="221" y="190"/>
                    <a:pt x="221" y="190"/>
                  </a:cubicBezTo>
                  <a:cubicBezTo>
                    <a:pt x="221" y="189"/>
                    <a:pt x="222" y="188"/>
                    <a:pt x="223" y="188"/>
                  </a:cubicBezTo>
                  <a:cubicBezTo>
                    <a:pt x="224" y="188"/>
                    <a:pt x="225" y="187"/>
                    <a:pt x="225" y="186"/>
                  </a:cubicBezTo>
                  <a:cubicBezTo>
                    <a:pt x="226" y="185"/>
                    <a:pt x="226" y="183"/>
                    <a:pt x="226" y="182"/>
                  </a:cubicBezTo>
                  <a:cubicBezTo>
                    <a:pt x="226" y="182"/>
                    <a:pt x="226" y="182"/>
                    <a:pt x="226" y="182"/>
                  </a:cubicBezTo>
                  <a:cubicBezTo>
                    <a:pt x="226" y="182"/>
                    <a:pt x="226" y="182"/>
                    <a:pt x="226" y="182"/>
                  </a:cubicBezTo>
                  <a:cubicBezTo>
                    <a:pt x="226" y="182"/>
                    <a:pt x="226" y="182"/>
                    <a:pt x="226" y="182"/>
                  </a:cubicBezTo>
                  <a:cubicBezTo>
                    <a:pt x="226" y="181"/>
                    <a:pt x="226" y="181"/>
                    <a:pt x="226" y="181"/>
                  </a:cubicBezTo>
                  <a:cubicBezTo>
                    <a:pt x="225" y="181"/>
                    <a:pt x="225" y="181"/>
                    <a:pt x="225" y="181"/>
                  </a:cubicBezTo>
                  <a:cubicBezTo>
                    <a:pt x="224" y="181"/>
                    <a:pt x="224" y="181"/>
                    <a:pt x="223" y="180"/>
                  </a:cubicBezTo>
                  <a:cubicBezTo>
                    <a:pt x="223" y="179"/>
                    <a:pt x="223" y="180"/>
                    <a:pt x="222" y="180"/>
                  </a:cubicBezTo>
                  <a:cubicBezTo>
                    <a:pt x="221" y="180"/>
                    <a:pt x="221" y="180"/>
                    <a:pt x="221" y="179"/>
                  </a:cubicBezTo>
                  <a:cubicBezTo>
                    <a:pt x="221" y="178"/>
                    <a:pt x="221" y="178"/>
                    <a:pt x="220" y="177"/>
                  </a:cubicBezTo>
                  <a:cubicBezTo>
                    <a:pt x="220" y="176"/>
                    <a:pt x="219" y="175"/>
                    <a:pt x="220" y="174"/>
                  </a:cubicBezTo>
                  <a:cubicBezTo>
                    <a:pt x="220" y="173"/>
                    <a:pt x="220" y="172"/>
                    <a:pt x="221" y="172"/>
                  </a:cubicBezTo>
                  <a:cubicBezTo>
                    <a:pt x="221" y="171"/>
                    <a:pt x="222" y="170"/>
                    <a:pt x="222" y="169"/>
                  </a:cubicBezTo>
                  <a:cubicBezTo>
                    <a:pt x="223" y="167"/>
                    <a:pt x="222" y="166"/>
                    <a:pt x="223" y="164"/>
                  </a:cubicBezTo>
                  <a:cubicBezTo>
                    <a:pt x="224" y="163"/>
                    <a:pt x="225" y="162"/>
                    <a:pt x="225" y="161"/>
                  </a:cubicBezTo>
                  <a:cubicBezTo>
                    <a:pt x="225" y="160"/>
                    <a:pt x="225" y="160"/>
                    <a:pt x="225" y="159"/>
                  </a:cubicBezTo>
                  <a:cubicBezTo>
                    <a:pt x="225" y="158"/>
                    <a:pt x="225" y="157"/>
                    <a:pt x="224" y="157"/>
                  </a:cubicBezTo>
                  <a:cubicBezTo>
                    <a:pt x="223" y="156"/>
                    <a:pt x="222" y="156"/>
                    <a:pt x="223" y="154"/>
                  </a:cubicBezTo>
                  <a:cubicBezTo>
                    <a:pt x="223" y="154"/>
                    <a:pt x="223" y="153"/>
                    <a:pt x="224" y="153"/>
                  </a:cubicBezTo>
                  <a:cubicBezTo>
                    <a:pt x="224" y="153"/>
                    <a:pt x="224" y="153"/>
                    <a:pt x="224" y="153"/>
                  </a:cubicBezTo>
                  <a:cubicBezTo>
                    <a:pt x="225" y="152"/>
                    <a:pt x="224" y="152"/>
                    <a:pt x="224" y="151"/>
                  </a:cubicBezTo>
                  <a:cubicBezTo>
                    <a:pt x="224" y="151"/>
                    <a:pt x="224" y="150"/>
                    <a:pt x="224" y="149"/>
                  </a:cubicBezTo>
                  <a:cubicBezTo>
                    <a:pt x="224" y="148"/>
                    <a:pt x="224" y="148"/>
                    <a:pt x="225" y="147"/>
                  </a:cubicBezTo>
                  <a:cubicBezTo>
                    <a:pt x="225" y="146"/>
                    <a:pt x="225" y="145"/>
                    <a:pt x="225" y="144"/>
                  </a:cubicBezTo>
                  <a:cubicBezTo>
                    <a:pt x="226" y="142"/>
                    <a:pt x="226" y="141"/>
                    <a:pt x="227" y="139"/>
                  </a:cubicBezTo>
                  <a:cubicBezTo>
                    <a:pt x="228" y="138"/>
                    <a:pt x="228" y="137"/>
                    <a:pt x="228" y="136"/>
                  </a:cubicBezTo>
                  <a:cubicBezTo>
                    <a:pt x="228" y="135"/>
                    <a:pt x="228" y="135"/>
                    <a:pt x="229" y="135"/>
                  </a:cubicBezTo>
                  <a:cubicBezTo>
                    <a:pt x="230" y="134"/>
                    <a:pt x="230" y="135"/>
                    <a:pt x="230" y="134"/>
                  </a:cubicBezTo>
                  <a:cubicBezTo>
                    <a:pt x="231" y="133"/>
                    <a:pt x="230" y="133"/>
                    <a:pt x="230" y="132"/>
                  </a:cubicBezTo>
                  <a:cubicBezTo>
                    <a:pt x="230" y="129"/>
                    <a:pt x="232" y="128"/>
                    <a:pt x="233" y="126"/>
                  </a:cubicBezTo>
                  <a:cubicBezTo>
                    <a:pt x="234" y="125"/>
                    <a:pt x="234" y="124"/>
                    <a:pt x="234" y="123"/>
                  </a:cubicBezTo>
                  <a:cubicBezTo>
                    <a:pt x="235" y="123"/>
                    <a:pt x="235" y="123"/>
                    <a:pt x="236" y="123"/>
                  </a:cubicBezTo>
                  <a:cubicBezTo>
                    <a:pt x="237" y="122"/>
                    <a:pt x="237" y="122"/>
                    <a:pt x="237" y="122"/>
                  </a:cubicBezTo>
                  <a:cubicBezTo>
                    <a:pt x="237" y="121"/>
                    <a:pt x="237" y="120"/>
                    <a:pt x="237" y="119"/>
                  </a:cubicBezTo>
                  <a:cubicBezTo>
                    <a:pt x="237" y="118"/>
                    <a:pt x="238" y="116"/>
                    <a:pt x="239" y="115"/>
                  </a:cubicBezTo>
                  <a:cubicBezTo>
                    <a:pt x="240" y="114"/>
                    <a:pt x="241" y="113"/>
                    <a:pt x="242" y="112"/>
                  </a:cubicBezTo>
                  <a:cubicBezTo>
                    <a:pt x="243" y="111"/>
                    <a:pt x="243" y="111"/>
                    <a:pt x="244" y="111"/>
                  </a:cubicBezTo>
                  <a:cubicBezTo>
                    <a:pt x="244" y="110"/>
                    <a:pt x="245" y="110"/>
                    <a:pt x="245" y="110"/>
                  </a:cubicBezTo>
                  <a:cubicBezTo>
                    <a:pt x="246" y="111"/>
                    <a:pt x="246" y="111"/>
                    <a:pt x="247" y="110"/>
                  </a:cubicBezTo>
                  <a:cubicBezTo>
                    <a:pt x="247" y="110"/>
                    <a:pt x="247" y="109"/>
                    <a:pt x="247" y="109"/>
                  </a:cubicBezTo>
                  <a:cubicBezTo>
                    <a:pt x="249" y="109"/>
                    <a:pt x="249" y="109"/>
                    <a:pt x="250" y="110"/>
                  </a:cubicBezTo>
                  <a:cubicBezTo>
                    <a:pt x="250" y="110"/>
                    <a:pt x="251" y="111"/>
                    <a:pt x="251" y="111"/>
                  </a:cubicBezTo>
                  <a:cubicBezTo>
                    <a:pt x="251" y="111"/>
                    <a:pt x="252" y="111"/>
                    <a:pt x="252" y="111"/>
                  </a:cubicBezTo>
                  <a:cubicBezTo>
                    <a:pt x="253" y="111"/>
                    <a:pt x="256" y="113"/>
                    <a:pt x="257" y="112"/>
                  </a:cubicBezTo>
                  <a:cubicBezTo>
                    <a:pt x="257" y="111"/>
                    <a:pt x="257" y="110"/>
                    <a:pt x="257" y="109"/>
                  </a:cubicBezTo>
                  <a:cubicBezTo>
                    <a:pt x="256" y="108"/>
                    <a:pt x="256" y="108"/>
                    <a:pt x="256" y="107"/>
                  </a:cubicBezTo>
                  <a:cubicBezTo>
                    <a:pt x="256" y="107"/>
                    <a:pt x="255" y="106"/>
                    <a:pt x="255" y="106"/>
                  </a:cubicBezTo>
                  <a:cubicBezTo>
                    <a:pt x="255" y="105"/>
                    <a:pt x="254" y="104"/>
                    <a:pt x="254" y="103"/>
                  </a:cubicBezTo>
                  <a:cubicBezTo>
                    <a:pt x="253" y="102"/>
                    <a:pt x="253" y="101"/>
                    <a:pt x="253" y="99"/>
                  </a:cubicBezTo>
                  <a:cubicBezTo>
                    <a:pt x="253" y="98"/>
                    <a:pt x="253" y="97"/>
                    <a:pt x="252" y="96"/>
                  </a:cubicBezTo>
                  <a:cubicBezTo>
                    <a:pt x="251" y="95"/>
                    <a:pt x="250" y="95"/>
                    <a:pt x="249" y="94"/>
                  </a:cubicBezTo>
                  <a:cubicBezTo>
                    <a:pt x="249" y="94"/>
                    <a:pt x="247" y="92"/>
                    <a:pt x="248" y="91"/>
                  </a:cubicBezTo>
                  <a:cubicBezTo>
                    <a:pt x="249" y="92"/>
                    <a:pt x="250" y="92"/>
                    <a:pt x="250" y="93"/>
                  </a:cubicBezTo>
                  <a:cubicBezTo>
                    <a:pt x="251" y="93"/>
                    <a:pt x="251" y="93"/>
                    <a:pt x="252" y="94"/>
                  </a:cubicBezTo>
                  <a:cubicBezTo>
                    <a:pt x="252" y="94"/>
                    <a:pt x="253" y="94"/>
                    <a:pt x="254" y="95"/>
                  </a:cubicBezTo>
                  <a:cubicBezTo>
                    <a:pt x="254" y="95"/>
                    <a:pt x="255" y="97"/>
                    <a:pt x="254" y="98"/>
                  </a:cubicBezTo>
                  <a:cubicBezTo>
                    <a:pt x="255" y="100"/>
                    <a:pt x="257" y="101"/>
                    <a:pt x="258" y="103"/>
                  </a:cubicBezTo>
                  <a:cubicBezTo>
                    <a:pt x="258" y="104"/>
                    <a:pt x="259" y="105"/>
                    <a:pt x="259" y="105"/>
                  </a:cubicBezTo>
                  <a:cubicBezTo>
                    <a:pt x="260" y="105"/>
                    <a:pt x="261" y="105"/>
                    <a:pt x="262" y="105"/>
                  </a:cubicBezTo>
                  <a:cubicBezTo>
                    <a:pt x="263" y="105"/>
                    <a:pt x="265" y="106"/>
                    <a:pt x="266" y="106"/>
                  </a:cubicBezTo>
                  <a:cubicBezTo>
                    <a:pt x="268" y="107"/>
                    <a:pt x="269" y="107"/>
                    <a:pt x="271" y="107"/>
                  </a:cubicBezTo>
                  <a:cubicBezTo>
                    <a:pt x="272" y="107"/>
                    <a:pt x="273" y="108"/>
                    <a:pt x="273" y="108"/>
                  </a:cubicBezTo>
                  <a:cubicBezTo>
                    <a:pt x="274" y="108"/>
                    <a:pt x="274" y="108"/>
                    <a:pt x="275" y="108"/>
                  </a:cubicBezTo>
                  <a:cubicBezTo>
                    <a:pt x="275" y="108"/>
                    <a:pt x="275" y="109"/>
                    <a:pt x="276" y="110"/>
                  </a:cubicBezTo>
                  <a:cubicBezTo>
                    <a:pt x="276" y="110"/>
                    <a:pt x="278" y="110"/>
                    <a:pt x="279" y="110"/>
                  </a:cubicBezTo>
                  <a:cubicBezTo>
                    <a:pt x="280" y="110"/>
                    <a:pt x="280" y="109"/>
                    <a:pt x="281" y="109"/>
                  </a:cubicBezTo>
                  <a:cubicBezTo>
                    <a:pt x="282" y="108"/>
                    <a:pt x="282" y="109"/>
                    <a:pt x="283" y="109"/>
                  </a:cubicBezTo>
                  <a:cubicBezTo>
                    <a:pt x="284" y="109"/>
                    <a:pt x="285" y="109"/>
                    <a:pt x="286" y="109"/>
                  </a:cubicBezTo>
                  <a:cubicBezTo>
                    <a:pt x="287" y="109"/>
                    <a:pt x="289" y="110"/>
                    <a:pt x="290" y="110"/>
                  </a:cubicBezTo>
                  <a:cubicBezTo>
                    <a:pt x="291" y="110"/>
                    <a:pt x="291" y="109"/>
                    <a:pt x="292" y="109"/>
                  </a:cubicBezTo>
                  <a:cubicBezTo>
                    <a:pt x="292" y="108"/>
                    <a:pt x="292" y="108"/>
                    <a:pt x="292" y="108"/>
                  </a:cubicBezTo>
                  <a:cubicBezTo>
                    <a:pt x="293" y="108"/>
                    <a:pt x="294" y="108"/>
                    <a:pt x="295" y="108"/>
                  </a:cubicBezTo>
                  <a:cubicBezTo>
                    <a:pt x="296" y="107"/>
                    <a:pt x="297" y="108"/>
                    <a:pt x="297" y="109"/>
                  </a:cubicBezTo>
                  <a:cubicBezTo>
                    <a:pt x="298" y="109"/>
                    <a:pt x="299" y="110"/>
                    <a:pt x="300" y="110"/>
                  </a:cubicBezTo>
                  <a:cubicBezTo>
                    <a:pt x="301" y="110"/>
                    <a:pt x="302" y="110"/>
                    <a:pt x="303" y="110"/>
                  </a:cubicBezTo>
                  <a:cubicBezTo>
                    <a:pt x="305" y="110"/>
                    <a:pt x="305" y="108"/>
                    <a:pt x="306" y="107"/>
                  </a:cubicBezTo>
                  <a:cubicBezTo>
                    <a:pt x="307" y="107"/>
                    <a:pt x="307" y="106"/>
                    <a:pt x="308" y="106"/>
                  </a:cubicBezTo>
                  <a:cubicBezTo>
                    <a:pt x="309" y="106"/>
                    <a:pt x="309" y="106"/>
                    <a:pt x="310" y="106"/>
                  </a:cubicBezTo>
                  <a:cubicBezTo>
                    <a:pt x="310" y="105"/>
                    <a:pt x="310" y="105"/>
                    <a:pt x="310" y="105"/>
                  </a:cubicBezTo>
                  <a:cubicBezTo>
                    <a:pt x="310" y="104"/>
                    <a:pt x="310" y="104"/>
                    <a:pt x="311" y="103"/>
                  </a:cubicBezTo>
                  <a:cubicBezTo>
                    <a:pt x="312" y="103"/>
                    <a:pt x="312" y="103"/>
                    <a:pt x="313" y="102"/>
                  </a:cubicBezTo>
                  <a:cubicBezTo>
                    <a:pt x="313" y="102"/>
                    <a:pt x="313" y="101"/>
                    <a:pt x="314" y="101"/>
                  </a:cubicBezTo>
                  <a:cubicBezTo>
                    <a:pt x="315" y="100"/>
                    <a:pt x="315" y="100"/>
                    <a:pt x="315" y="100"/>
                  </a:cubicBezTo>
                  <a:cubicBezTo>
                    <a:pt x="315" y="100"/>
                    <a:pt x="315" y="98"/>
                    <a:pt x="315" y="98"/>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1" name="Freeform 66">
              <a:extLst>
                <a:ext uri="{FF2B5EF4-FFF2-40B4-BE49-F238E27FC236}">
                  <a16:creationId xmlns:a16="http://schemas.microsoft.com/office/drawing/2014/main" id="{4ADDA51E-616E-C26D-2102-AAA8BD5B7FE5}"/>
                </a:ext>
              </a:extLst>
            </p:cNvPr>
            <p:cNvSpPr>
              <a:spLocks noEditPoints="1"/>
            </p:cNvSpPr>
            <p:nvPr/>
          </p:nvSpPr>
          <p:spPr bwMode="auto">
            <a:xfrm>
              <a:off x="6338888" y="3511550"/>
              <a:ext cx="963613" cy="1074737"/>
            </a:xfrm>
            <a:custGeom>
              <a:avLst/>
              <a:gdLst>
                <a:gd name="T0" fmla="*/ 214 w 253"/>
                <a:gd name="T1" fmla="*/ 156 h 282"/>
                <a:gd name="T2" fmla="*/ 228 w 253"/>
                <a:gd name="T3" fmla="*/ 163 h 282"/>
                <a:gd name="T4" fmla="*/ 241 w 253"/>
                <a:gd name="T5" fmla="*/ 157 h 282"/>
                <a:gd name="T6" fmla="*/ 247 w 253"/>
                <a:gd name="T7" fmla="*/ 171 h 282"/>
                <a:gd name="T8" fmla="*/ 231 w 253"/>
                <a:gd name="T9" fmla="*/ 178 h 282"/>
                <a:gd name="T10" fmla="*/ 227 w 253"/>
                <a:gd name="T11" fmla="*/ 171 h 282"/>
                <a:gd name="T12" fmla="*/ 136 w 253"/>
                <a:gd name="T13" fmla="*/ 117 h 282"/>
                <a:gd name="T14" fmla="*/ 158 w 253"/>
                <a:gd name="T15" fmla="*/ 108 h 282"/>
                <a:gd name="T16" fmla="*/ 160 w 253"/>
                <a:gd name="T17" fmla="*/ 103 h 282"/>
                <a:gd name="T18" fmla="*/ 144 w 253"/>
                <a:gd name="T19" fmla="*/ 108 h 282"/>
                <a:gd name="T20" fmla="*/ 222 w 253"/>
                <a:gd name="T21" fmla="*/ 198 h 282"/>
                <a:gd name="T22" fmla="*/ 238 w 253"/>
                <a:gd name="T23" fmla="*/ 189 h 282"/>
                <a:gd name="T24" fmla="*/ 253 w 253"/>
                <a:gd name="T25" fmla="*/ 183 h 282"/>
                <a:gd name="T26" fmla="*/ 246 w 253"/>
                <a:gd name="T27" fmla="*/ 186 h 282"/>
                <a:gd name="T28" fmla="*/ 125 w 253"/>
                <a:gd name="T29" fmla="*/ 31 h 282"/>
                <a:gd name="T30" fmla="*/ 168 w 253"/>
                <a:gd name="T31" fmla="*/ 20 h 282"/>
                <a:gd name="T32" fmla="*/ 145 w 253"/>
                <a:gd name="T33" fmla="*/ 16 h 282"/>
                <a:gd name="T34" fmla="*/ 116 w 253"/>
                <a:gd name="T35" fmla="*/ 6 h 282"/>
                <a:gd name="T36" fmla="*/ 87 w 253"/>
                <a:gd name="T37" fmla="*/ 1 h 282"/>
                <a:gd name="T38" fmla="*/ 81 w 253"/>
                <a:gd name="T39" fmla="*/ 20 h 282"/>
                <a:gd name="T40" fmla="*/ 62 w 253"/>
                <a:gd name="T41" fmla="*/ 34 h 282"/>
                <a:gd name="T42" fmla="*/ 52 w 253"/>
                <a:gd name="T43" fmla="*/ 23 h 282"/>
                <a:gd name="T44" fmla="*/ 27 w 253"/>
                <a:gd name="T45" fmla="*/ 56 h 282"/>
                <a:gd name="T46" fmla="*/ 26 w 253"/>
                <a:gd name="T47" fmla="*/ 83 h 282"/>
                <a:gd name="T48" fmla="*/ 17 w 253"/>
                <a:gd name="T49" fmla="*/ 91 h 282"/>
                <a:gd name="T50" fmla="*/ 21 w 253"/>
                <a:gd name="T51" fmla="*/ 131 h 282"/>
                <a:gd name="T52" fmla="*/ 8 w 253"/>
                <a:gd name="T53" fmla="*/ 146 h 282"/>
                <a:gd name="T54" fmla="*/ 2 w 253"/>
                <a:gd name="T55" fmla="*/ 167 h 282"/>
                <a:gd name="T56" fmla="*/ 23 w 253"/>
                <a:gd name="T57" fmla="*/ 190 h 282"/>
                <a:gd name="T58" fmla="*/ 44 w 253"/>
                <a:gd name="T59" fmla="*/ 206 h 282"/>
                <a:gd name="T60" fmla="*/ 94 w 253"/>
                <a:gd name="T61" fmla="*/ 220 h 282"/>
                <a:gd name="T62" fmla="*/ 137 w 253"/>
                <a:gd name="T63" fmla="*/ 236 h 282"/>
                <a:gd name="T64" fmla="*/ 140 w 253"/>
                <a:gd name="T65" fmla="*/ 261 h 282"/>
                <a:gd name="T66" fmla="*/ 166 w 253"/>
                <a:gd name="T67" fmla="*/ 271 h 282"/>
                <a:gd name="T68" fmla="*/ 184 w 253"/>
                <a:gd name="T69" fmla="*/ 277 h 282"/>
                <a:gd name="T70" fmla="*/ 171 w 253"/>
                <a:gd name="T71" fmla="*/ 259 h 282"/>
                <a:gd name="T72" fmla="*/ 157 w 253"/>
                <a:gd name="T73" fmla="*/ 248 h 282"/>
                <a:gd name="T74" fmla="*/ 147 w 253"/>
                <a:gd name="T75" fmla="*/ 228 h 282"/>
                <a:gd name="T76" fmla="*/ 131 w 253"/>
                <a:gd name="T77" fmla="*/ 216 h 282"/>
                <a:gd name="T78" fmla="*/ 118 w 253"/>
                <a:gd name="T79" fmla="*/ 203 h 282"/>
                <a:gd name="T80" fmla="*/ 117 w 253"/>
                <a:gd name="T81" fmla="*/ 192 h 282"/>
                <a:gd name="T82" fmla="*/ 134 w 253"/>
                <a:gd name="T83" fmla="*/ 202 h 282"/>
                <a:gd name="T84" fmla="*/ 173 w 253"/>
                <a:gd name="T85" fmla="*/ 177 h 282"/>
                <a:gd name="T86" fmla="*/ 193 w 253"/>
                <a:gd name="T87" fmla="*/ 158 h 282"/>
                <a:gd name="T88" fmla="*/ 213 w 253"/>
                <a:gd name="T89" fmla="*/ 138 h 282"/>
                <a:gd name="T90" fmla="*/ 235 w 253"/>
                <a:gd name="T91" fmla="*/ 146 h 282"/>
                <a:gd name="T92" fmla="*/ 240 w 253"/>
                <a:gd name="T93" fmla="*/ 122 h 282"/>
                <a:gd name="T94" fmla="*/ 210 w 253"/>
                <a:gd name="T95" fmla="*/ 121 h 282"/>
                <a:gd name="T96" fmla="*/ 214 w 253"/>
                <a:gd name="T97" fmla="*/ 128 h 282"/>
                <a:gd name="T98" fmla="*/ 186 w 253"/>
                <a:gd name="T99" fmla="*/ 129 h 282"/>
                <a:gd name="T100" fmla="*/ 161 w 253"/>
                <a:gd name="T101" fmla="*/ 140 h 282"/>
                <a:gd name="T102" fmla="*/ 135 w 253"/>
                <a:gd name="T103" fmla="*/ 134 h 282"/>
                <a:gd name="T104" fmla="*/ 119 w 253"/>
                <a:gd name="T105" fmla="*/ 143 h 282"/>
                <a:gd name="T106" fmla="*/ 102 w 253"/>
                <a:gd name="T107" fmla="*/ 168 h 282"/>
                <a:gd name="T108" fmla="*/ 84 w 253"/>
                <a:gd name="T109" fmla="*/ 166 h 282"/>
                <a:gd name="T110" fmla="*/ 69 w 253"/>
                <a:gd name="T111" fmla="*/ 156 h 282"/>
                <a:gd name="T112" fmla="*/ 55 w 253"/>
                <a:gd name="T113" fmla="*/ 140 h 282"/>
                <a:gd name="T114" fmla="*/ 37 w 253"/>
                <a:gd name="T115" fmla="*/ 118 h 282"/>
                <a:gd name="T116" fmla="*/ 39 w 253"/>
                <a:gd name="T117" fmla="*/ 83 h 282"/>
                <a:gd name="T118" fmla="*/ 62 w 253"/>
                <a:gd name="T119" fmla="*/ 53 h 282"/>
                <a:gd name="T120" fmla="*/ 91 w 253"/>
                <a:gd name="T121" fmla="*/ 58 h 282"/>
                <a:gd name="T122" fmla="*/ 110 w 253"/>
                <a:gd name="T123" fmla="*/ 5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82">
                  <a:moveTo>
                    <a:pt x="208" y="180"/>
                  </a:moveTo>
                  <a:cubicBezTo>
                    <a:pt x="207" y="178"/>
                    <a:pt x="207" y="177"/>
                    <a:pt x="206" y="176"/>
                  </a:cubicBezTo>
                  <a:cubicBezTo>
                    <a:pt x="206" y="174"/>
                    <a:pt x="204" y="173"/>
                    <a:pt x="203" y="172"/>
                  </a:cubicBezTo>
                  <a:cubicBezTo>
                    <a:pt x="203" y="171"/>
                    <a:pt x="204" y="169"/>
                    <a:pt x="204" y="167"/>
                  </a:cubicBezTo>
                  <a:cubicBezTo>
                    <a:pt x="204" y="165"/>
                    <a:pt x="204" y="163"/>
                    <a:pt x="205" y="162"/>
                  </a:cubicBezTo>
                  <a:cubicBezTo>
                    <a:pt x="206" y="160"/>
                    <a:pt x="208" y="159"/>
                    <a:pt x="209" y="158"/>
                  </a:cubicBezTo>
                  <a:cubicBezTo>
                    <a:pt x="210" y="157"/>
                    <a:pt x="210" y="155"/>
                    <a:pt x="211" y="155"/>
                  </a:cubicBezTo>
                  <a:cubicBezTo>
                    <a:pt x="212" y="154"/>
                    <a:pt x="213" y="155"/>
                    <a:pt x="214" y="156"/>
                  </a:cubicBezTo>
                  <a:cubicBezTo>
                    <a:pt x="215" y="156"/>
                    <a:pt x="216" y="156"/>
                    <a:pt x="217" y="155"/>
                  </a:cubicBezTo>
                  <a:cubicBezTo>
                    <a:pt x="218" y="154"/>
                    <a:pt x="220" y="154"/>
                    <a:pt x="221" y="154"/>
                  </a:cubicBezTo>
                  <a:cubicBezTo>
                    <a:pt x="223" y="154"/>
                    <a:pt x="223" y="155"/>
                    <a:pt x="224" y="155"/>
                  </a:cubicBezTo>
                  <a:cubicBezTo>
                    <a:pt x="226" y="156"/>
                    <a:pt x="226" y="155"/>
                    <a:pt x="226" y="154"/>
                  </a:cubicBezTo>
                  <a:cubicBezTo>
                    <a:pt x="227" y="152"/>
                    <a:pt x="230" y="156"/>
                    <a:pt x="230" y="157"/>
                  </a:cubicBezTo>
                  <a:cubicBezTo>
                    <a:pt x="231" y="158"/>
                    <a:pt x="231" y="159"/>
                    <a:pt x="229" y="160"/>
                  </a:cubicBezTo>
                  <a:cubicBezTo>
                    <a:pt x="228" y="161"/>
                    <a:pt x="229" y="160"/>
                    <a:pt x="228" y="161"/>
                  </a:cubicBezTo>
                  <a:cubicBezTo>
                    <a:pt x="228" y="162"/>
                    <a:pt x="228" y="162"/>
                    <a:pt x="228" y="163"/>
                  </a:cubicBezTo>
                  <a:cubicBezTo>
                    <a:pt x="229" y="164"/>
                    <a:pt x="230" y="165"/>
                    <a:pt x="231" y="166"/>
                  </a:cubicBezTo>
                  <a:cubicBezTo>
                    <a:pt x="231" y="167"/>
                    <a:pt x="231" y="168"/>
                    <a:pt x="232" y="167"/>
                  </a:cubicBezTo>
                  <a:cubicBezTo>
                    <a:pt x="233" y="166"/>
                    <a:pt x="233" y="166"/>
                    <a:pt x="233" y="166"/>
                  </a:cubicBezTo>
                  <a:cubicBezTo>
                    <a:pt x="233" y="166"/>
                    <a:pt x="233" y="166"/>
                    <a:pt x="233" y="166"/>
                  </a:cubicBezTo>
                  <a:cubicBezTo>
                    <a:pt x="234" y="165"/>
                    <a:pt x="233" y="164"/>
                    <a:pt x="234" y="163"/>
                  </a:cubicBezTo>
                  <a:cubicBezTo>
                    <a:pt x="234" y="162"/>
                    <a:pt x="235" y="162"/>
                    <a:pt x="236" y="162"/>
                  </a:cubicBezTo>
                  <a:cubicBezTo>
                    <a:pt x="237" y="161"/>
                    <a:pt x="238" y="159"/>
                    <a:pt x="239" y="158"/>
                  </a:cubicBezTo>
                  <a:cubicBezTo>
                    <a:pt x="239" y="158"/>
                    <a:pt x="240" y="157"/>
                    <a:pt x="241" y="157"/>
                  </a:cubicBezTo>
                  <a:cubicBezTo>
                    <a:pt x="242" y="158"/>
                    <a:pt x="241" y="158"/>
                    <a:pt x="242" y="158"/>
                  </a:cubicBezTo>
                  <a:cubicBezTo>
                    <a:pt x="242" y="159"/>
                    <a:pt x="242" y="159"/>
                    <a:pt x="242" y="159"/>
                  </a:cubicBezTo>
                  <a:cubicBezTo>
                    <a:pt x="243" y="159"/>
                    <a:pt x="243" y="159"/>
                    <a:pt x="243" y="158"/>
                  </a:cubicBezTo>
                  <a:cubicBezTo>
                    <a:pt x="244" y="158"/>
                    <a:pt x="245" y="158"/>
                    <a:pt x="246" y="159"/>
                  </a:cubicBezTo>
                  <a:cubicBezTo>
                    <a:pt x="246" y="160"/>
                    <a:pt x="247" y="161"/>
                    <a:pt x="248" y="161"/>
                  </a:cubicBezTo>
                  <a:cubicBezTo>
                    <a:pt x="249" y="161"/>
                    <a:pt x="250" y="160"/>
                    <a:pt x="251" y="161"/>
                  </a:cubicBezTo>
                  <a:cubicBezTo>
                    <a:pt x="251" y="162"/>
                    <a:pt x="250" y="163"/>
                    <a:pt x="250" y="164"/>
                  </a:cubicBezTo>
                  <a:cubicBezTo>
                    <a:pt x="249" y="166"/>
                    <a:pt x="249" y="169"/>
                    <a:pt x="247" y="171"/>
                  </a:cubicBezTo>
                  <a:cubicBezTo>
                    <a:pt x="247" y="171"/>
                    <a:pt x="246" y="172"/>
                    <a:pt x="245" y="172"/>
                  </a:cubicBezTo>
                  <a:cubicBezTo>
                    <a:pt x="245" y="173"/>
                    <a:pt x="245" y="173"/>
                    <a:pt x="244" y="174"/>
                  </a:cubicBezTo>
                  <a:cubicBezTo>
                    <a:pt x="244" y="175"/>
                    <a:pt x="242" y="176"/>
                    <a:pt x="241" y="175"/>
                  </a:cubicBezTo>
                  <a:cubicBezTo>
                    <a:pt x="238" y="174"/>
                    <a:pt x="238" y="170"/>
                    <a:pt x="235" y="168"/>
                  </a:cubicBezTo>
                  <a:cubicBezTo>
                    <a:pt x="234" y="169"/>
                    <a:pt x="234" y="170"/>
                    <a:pt x="233" y="171"/>
                  </a:cubicBezTo>
                  <a:cubicBezTo>
                    <a:pt x="232" y="171"/>
                    <a:pt x="232" y="171"/>
                    <a:pt x="231" y="172"/>
                  </a:cubicBezTo>
                  <a:cubicBezTo>
                    <a:pt x="231" y="172"/>
                    <a:pt x="231" y="173"/>
                    <a:pt x="231" y="174"/>
                  </a:cubicBezTo>
                  <a:cubicBezTo>
                    <a:pt x="231" y="176"/>
                    <a:pt x="231" y="177"/>
                    <a:pt x="231" y="178"/>
                  </a:cubicBezTo>
                  <a:cubicBezTo>
                    <a:pt x="231" y="180"/>
                    <a:pt x="232" y="181"/>
                    <a:pt x="232" y="183"/>
                  </a:cubicBezTo>
                  <a:cubicBezTo>
                    <a:pt x="230" y="183"/>
                    <a:pt x="231" y="181"/>
                    <a:pt x="229" y="181"/>
                  </a:cubicBezTo>
                  <a:cubicBezTo>
                    <a:pt x="229" y="181"/>
                    <a:pt x="228" y="181"/>
                    <a:pt x="228" y="182"/>
                  </a:cubicBezTo>
                  <a:cubicBezTo>
                    <a:pt x="226" y="182"/>
                    <a:pt x="226" y="182"/>
                    <a:pt x="226" y="182"/>
                  </a:cubicBezTo>
                  <a:cubicBezTo>
                    <a:pt x="226" y="182"/>
                    <a:pt x="226" y="182"/>
                    <a:pt x="225" y="181"/>
                  </a:cubicBezTo>
                  <a:cubicBezTo>
                    <a:pt x="225" y="181"/>
                    <a:pt x="224" y="181"/>
                    <a:pt x="223" y="180"/>
                  </a:cubicBezTo>
                  <a:cubicBezTo>
                    <a:pt x="221" y="178"/>
                    <a:pt x="224" y="177"/>
                    <a:pt x="225" y="176"/>
                  </a:cubicBezTo>
                  <a:cubicBezTo>
                    <a:pt x="227" y="175"/>
                    <a:pt x="227" y="173"/>
                    <a:pt x="227" y="171"/>
                  </a:cubicBezTo>
                  <a:cubicBezTo>
                    <a:pt x="226" y="169"/>
                    <a:pt x="226" y="166"/>
                    <a:pt x="226" y="164"/>
                  </a:cubicBezTo>
                  <a:cubicBezTo>
                    <a:pt x="225" y="163"/>
                    <a:pt x="224" y="161"/>
                    <a:pt x="223" y="162"/>
                  </a:cubicBezTo>
                  <a:cubicBezTo>
                    <a:pt x="222" y="163"/>
                    <a:pt x="222" y="165"/>
                    <a:pt x="221" y="166"/>
                  </a:cubicBezTo>
                  <a:cubicBezTo>
                    <a:pt x="220" y="167"/>
                    <a:pt x="219" y="168"/>
                    <a:pt x="219" y="170"/>
                  </a:cubicBezTo>
                  <a:cubicBezTo>
                    <a:pt x="218" y="171"/>
                    <a:pt x="218" y="172"/>
                    <a:pt x="217" y="173"/>
                  </a:cubicBezTo>
                  <a:cubicBezTo>
                    <a:pt x="216" y="175"/>
                    <a:pt x="215" y="176"/>
                    <a:pt x="214" y="177"/>
                  </a:cubicBezTo>
                  <a:cubicBezTo>
                    <a:pt x="212" y="178"/>
                    <a:pt x="211" y="180"/>
                    <a:pt x="208" y="180"/>
                  </a:cubicBezTo>
                  <a:close/>
                  <a:moveTo>
                    <a:pt x="136" y="117"/>
                  </a:moveTo>
                  <a:cubicBezTo>
                    <a:pt x="137" y="117"/>
                    <a:pt x="138" y="114"/>
                    <a:pt x="140" y="114"/>
                  </a:cubicBezTo>
                  <a:cubicBezTo>
                    <a:pt x="141" y="113"/>
                    <a:pt x="143" y="113"/>
                    <a:pt x="143" y="115"/>
                  </a:cubicBezTo>
                  <a:cubicBezTo>
                    <a:pt x="144" y="115"/>
                    <a:pt x="145" y="115"/>
                    <a:pt x="145" y="115"/>
                  </a:cubicBezTo>
                  <a:cubicBezTo>
                    <a:pt x="146" y="115"/>
                    <a:pt x="146" y="115"/>
                    <a:pt x="146" y="114"/>
                  </a:cubicBezTo>
                  <a:cubicBezTo>
                    <a:pt x="147" y="114"/>
                    <a:pt x="147" y="115"/>
                    <a:pt x="148" y="115"/>
                  </a:cubicBezTo>
                  <a:cubicBezTo>
                    <a:pt x="150" y="115"/>
                    <a:pt x="150" y="112"/>
                    <a:pt x="150" y="110"/>
                  </a:cubicBezTo>
                  <a:cubicBezTo>
                    <a:pt x="151" y="108"/>
                    <a:pt x="154" y="108"/>
                    <a:pt x="156" y="108"/>
                  </a:cubicBezTo>
                  <a:cubicBezTo>
                    <a:pt x="157" y="108"/>
                    <a:pt x="157" y="108"/>
                    <a:pt x="158" y="108"/>
                  </a:cubicBezTo>
                  <a:cubicBezTo>
                    <a:pt x="158" y="108"/>
                    <a:pt x="159" y="107"/>
                    <a:pt x="159" y="108"/>
                  </a:cubicBezTo>
                  <a:cubicBezTo>
                    <a:pt x="160" y="108"/>
                    <a:pt x="160" y="109"/>
                    <a:pt x="161" y="109"/>
                  </a:cubicBezTo>
                  <a:cubicBezTo>
                    <a:pt x="162" y="110"/>
                    <a:pt x="162" y="108"/>
                    <a:pt x="162" y="108"/>
                  </a:cubicBezTo>
                  <a:cubicBezTo>
                    <a:pt x="163" y="107"/>
                    <a:pt x="164" y="106"/>
                    <a:pt x="164" y="105"/>
                  </a:cubicBezTo>
                  <a:cubicBezTo>
                    <a:pt x="164" y="104"/>
                    <a:pt x="164" y="104"/>
                    <a:pt x="163" y="103"/>
                  </a:cubicBezTo>
                  <a:cubicBezTo>
                    <a:pt x="163" y="103"/>
                    <a:pt x="162" y="102"/>
                    <a:pt x="162" y="102"/>
                  </a:cubicBezTo>
                  <a:cubicBezTo>
                    <a:pt x="161" y="101"/>
                    <a:pt x="161" y="101"/>
                    <a:pt x="161" y="101"/>
                  </a:cubicBezTo>
                  <a:cubicBezTo>
                    <a:pt x="160" y="101"/>
                    <a:pt x="160" y="102"/>
                    <a:pt x="160" y="103"/>
                  </a:cubicBezTo>
                  <a:cubicBezTo>
                    <a:pt x="159" y="104"/>
                    <a:pt x="158" y="104"/>
                    <a:pt x="157" y="104"/>
                  </a:cubicBezTo>
                  <a:cubicBezTo>
                    <a:pt x="155" y="105"/>
                    <a:pt x="154" y="104"/>
                    <a:pt x="152" y="103"/>
                  </a:cubicBezTo>
                  <a:cubicBezTo>
                    <a:pt x="152" y="104"/>
                    <a:pt x="153" y="104"/>
                    <a:pt x="153" y="105"/>
                  </a:cubicBezTo>
                  <a:cubicBezTo>
                    <a:pt x="152" y="105"/>
                    <a:pt x="151" y="104"/>
                    <a:pt x="151" y="104"/>
                  </a:cubicBezTo>
                  <a:cubicBezTo>
                    <a:pt x="149" y="103"/>
                    <a:pt x="148" y="103"/>
                    <a:pt x="148" y="104"/>
                  </a:cubicBezTo>
                  <a:cubicBezTo>
                    <a:pt x="148" y="105"/>
                    <a:pt x="148" y="107"/>
                    <a:pt x="147" y="108"/>
                  </a:cubicBezTo>
                  <a:cubicBezTo>
                    <a:pt x="147" y="108"/>
                    <a:pt x="146" y="108"/>
                    <a:pt x="145" y="108"/>
                  </a:cubicBezTo>
                  <a:cubicBezTo>
                    <a:pt x="145" y="108"/>
                    <a:pt x="144" y="108"/>
                    <a:pt x="144" y="108"/>
                  </a:cubicBezTo>
                  <a:cubicBezTo>
                    <a:pt x="144" y="109"/>
                    <a:pt x="143" y="109"/>
                    <a:pt x="142" y="109"/>
                  </a:cubicBezTo>
                  <a:cubicBezTo>
                    <a:pt x="142" y="109"/>
                    <a:pt x="142" y="109"/>
                    <a:pt x="142" y="108"/>
                  </a:cubicBezTo>
                  <a:cubicBezTo>
                    <a:pt x="141" y="108"/>
                    <a:pt x="142" y="110"/>
                    <a:pt x="141" y="110"/>
                  </a:cubicBezTo>
                  <a:cubicBezTo>
                    <a:pt x="140" y="110"/>
                    <a:pt x="139" y="110"/>
                    <a:pt x="139" y="110"/>
                  </a:cubicBezTo>
                  <a:cubicBezTo>
                    <a:pt x="138" y="110"/>
                    <a:pt x="137" y="111"/>
                    <a:pt x="137" y="112"/>
                  </a:cubicBezTo>
                  <a:cubicBezTo>
                    <a:pt x="135" y="113"/>
                    <a:pt x="135" y="115"/>
                    <a:pt x="135" y="117"/>
                  </a:cubicBezTo>
                  <a:cubicBezTo>
                    <a:pt x="135" y="117"/>
                    <a:pt x="135" y="117"/>
                    <a:pt x="136" y="117"/>
                  </a:cubicBezTo>
                  <a:close/>
                  <a:moveTo>
                    <a:pt x="222" y="198"/>
                  </a:moveTo>
                  <a:cubicBezTo>
                    <a:pt x="223" y="197"/>
                    <a:pt x="223" y="197"/>
                    <a:pt x="224" y="197"/>
                  </a:cubicBezTo>
                  <a:cubicBezTo>
                    <a:pt x="225" y="196"/>
                    <a:pt x="225" y="194"/>
                    <a:pt x="225" y="193"/>
                  </a:cubicBezTo>
                  <a:cubicBezTo>
                    <a:pt x="225" y="191"/>
                    <a:pt x="224" y="189"/>
                    <a:pt x="222" y="190"/>
                  </a:cubicBezTo>
                  <a:cubicBezTo>
                    <a:pt x="221" y="191"/>
                    <a:pt x="221" y="192"/>
                    <a:pt x="221" y="194"/>
                  </a:cubicBezTo>
                  <a:cubicBezTo>
                    <a:pt x="220" y="195"/>
                    <a:pt x="219" y="197"/>
                    <a:pt x="220" y="199"/>
                  </a:cubicBezTo>
                  <a:cubicBezTo>
                    <a:pt x="221" y="199"/>
                    <a:pt x="222" y="199"/>
                    <a:pt x="222" y="198"/>
                  </a:cubicBezTo>
                  <a:close/>
                  <a:moveTo>
                    <a:pt x="236" y="190"/>
                  </a:moveTo>
                  <a:cubicBezTo>
                    <a:pt x="237" y="189"/>
                    <a:pt x="237" y="189"/>
                    <a:pt x="238" y="189"/>
                  </a:cubicBezTo>
                  <a:cubicBezTo>
                    <a:pt x="240" y="188"/>
                    <a:pt x="239" y="186"/>
                    <a:pt x="239" y="184"/>
                  </a:cubicBezTo>
                  <a:cubicBezTo>
                    <a:pt x="238" y="184"/>
                    <a:pt x="238" y="185"/>
                    <a:pt x="237" y="186"/>
                  </a:cubicBezTo>
                  <a:cubicBezTo>
                    <a:pt x="237" y="186"/>
                    <a:pt x="236" y="187"/>
                    <a:pt x="236" y="187"/>
                  </a:cubicBezTo>
                  <a:cubicBezTo>
                    <a:pt x="234" y="189"/>
                    <a:pt x="233" y="190"/>
                    <a:pt x="234" y="192"/>
                  </a:cubicBezTo>
                  <a:cubicBezTo>
                    <a:pt x="236" y="192"/>
                    <a:pt x="236" y="191"/>
                    <a:pt x="236" y="190"/>
                  </a:cubicBezTo>
                  <a:close/>
                  <a:moveTo>
                    <a:pt x="252" y="187"/>
                  </a:moveTo>
                  <a:cubicBezTo>
                    <a:pt x="253" y="186"/>
                    <a:pt x="253" y="186"/>
                    <a:pt x="253" y="185"/>
                  </a:cubicBezTo>
                  <a:cubicBezTo>
                    <a:pt x="253" y="185"/>
                    <a:pt x="253" y="184"/>
                    <a:pt x="253" y="183"/>
                  </a:cubicBezTo>
                  <a:cubicBezTo>
                    <a:pt x="253" y="182"/>
                    <a:pt x="253" y="180"/>
                    <a:pt x="252" y="180"/>
                  </a:cubicBezTo>
                  <a:cubicBezTo>
                    <a:pt x="251" y="180"/>
                    <a:pt x="250" y="180"/>
                    <a:pt x="250" y="179"/>
                  </a:cubicBezTo>
                  <a:cubicBezTo>
                    <a:pt x="250" y="179"/>
                    <a:pt x="250" y="178"/>
                    <a:pt x="250" y="177"/>
                  </a:cubicBezTo>
                  <a:cubicBezTo>
                    <a:pt x="250" y="176"/>
                    <a:pt x="250" y="175"/>
                    <a:pt x="250" y="174"/>
                  </a:cubicBezTo>
                  <a:cubicBezTo>
                    <a:pt x="249" y="173"/>
                    <a:pt x="248" y="174"/>
                    <a:pt x="247" y="175"/>
                  </a:cubicBezTo>
                  <a:cubicBezTo>
                    <a:pt x="247" y="175"/>
                    <a:pt x="246" y="176"/>
                    <a:pt x="246" y="177"/>
                  </a:cubicBezTo>
                  <a:cubicBezTo>
                    <a:pt x="246" y="179"/>
                    <a:pt x="246" y="179"/>
                    <a:pt x="246" y="180"/>
                  </a:cubicBezTo>
                  <a:cubicBezTo>
                    <a:pt x="247" y="182"/>
                    <a:pt x="245" y="184"/>
                    <a:pt x="246" y="186"/>
                  </a:cubicBezTo>
                  <a:cubicBezTo>
                    <a:pt x="248" y="189"/>
                    <a:pt x="251" y="187"/>
                    <a:pt x="252" y="187"/>
                  </a:cubicBezTo>
                  <a:close/>
                  <a:moveTo>
                    <a:pt x="116" y="51"/>
                  </a:moveTo>
                  <a:cubicBezTo>
                    <a:pt x="115" y="48"/>
                    <a:pt x="112" y="48"/>
                    <a:pt x="111" y="47"/>
                  </a:cubicBezTo>
                  <a:cubicBezTo>
                    <a:pt x="109" y="45"/>
                    <a:pt x="106" y="44"/>
                    <a:pt x="105" y="41"/>
                  </a:cubicBezTo>
                  <a:cubicBezTo>
                    <a:pt x="105" y="39"/>
                    <a:pt x="106" y="36"/>
                    <a:pt x="108" y="35"/>
                  </a:cubicBezTo>
                  <a:cubicBezTo>
                    <a:pt x="110" y="35"/>
                    <a:pt x="116" y="36"/>
                    <a:pt x="117" y="34"/>
                  </a:cubicBezTo>
                  <a:cubicBezTo>
                    <a:pt x="117" y="33"/>
                    <a:pt x="115" y="32"/>
                    <a:pt x="118" y="31"/>
                  </a:cubicBezTo>
                  <a:cubicBezTo>
                    <a:pt x="120" y="31"/>
                    <a:pt x="123" y="31"/>
                    <a:pt x="125" y="31"/>
                  </a:cubicBezTo>
                  <a:cubicBezTo>
                    <a:pt x="128" y="31"/>
                    <a:pt x="131" y="30"/>
                    <a:pt x="134" y="29"/>
                  </a:cubicBezTo>
                  <a:cubicBezTo>
                    <a:pt x="138" y="28"/>
                    <a:pt x="144" y="23"/>
                    <a:pt x="148" y="25"/>
                  </a:cubicBezTo>
                  <a:cubicBezTo>
                    <a:pt x="152" y="28"/>
                    <a:pt x="156" y="29"/>
                    <a:pt x="159" y="25"/>
                  </a:cubicBezTo>
                  <a:cubicBezTo>
                    <a:pt x="160" y="24"/>
                    <a:pt x="160" y="23"/>
                    <a:pt x="162" y="22"/>
                  </a:cubicBezTo>
                  <a:cubicBezTo>
                    <a:pt x="163" y="22"/>
                    <a:pt x="163" y="23"/>
                    <a:pt x="164" y="23"/>
                  </a:cubicBezTo>
                  <a:cubicBezTo>
                    <a:pt x="165" y="23"/>
                    <a:pt x="167" y="22"/>
                    <a:pt x="167" y="22"/>
                  </a:cubicBezTo>
                  <a:cubicBezTo>
                    <a:pt x="168" y="22"/>
                    <a:pt x="169" y="21"/>
                    <a:pt x="169" y="21"/>
                  </a:cubicBezTo>
                  <a:cubicBezTo>
                    <a:pt x="169" y="21"/>
                    <a:pt x="169" y="21"/>
                    <a:pt x="168" y="20"/>
                  </a:cubicBezTo>
                  <a:cubicBezTo>
                    <a:pt x="168" y="19"/>
                    <a:pt x="168" y="19"/>
                    <a:pt x="167" y="19"/>
                  </a:cubicBezTo>
                  <a:cubicBezTo>
                    <a:pt x="166" y="19"/>
                    <a:pt x="165" y="19"/>
                    <a:pt x="165" y="19"/>
                  </a:cubicBezTo>
                  <a:cubicBezTo>
                    <a:pt x="164" y="18"/>
                    <a:pt x="162" y="18"/>
                    <a:pt x="161" y="17"/>
                  </a:cubicBezTo>
                  <a:cubicBezTo>
                    <a:pt x="161" y="17"/>
                    <a:pt x="160" y="18"/>
                    <a:pt x="159" y="18"/>
                  </a:cubicBezTo>
                  <a:cubicBezTo>
                    <a:pt x="158" y="19"/>
                    <a:pt x="155" y="21"/>
                    <a:pt x="153" y="20"/>
                  </a:cubicBezTo>
                  <a:cubicBezTo>
                    <a:pt x="152" y="19"/>
                    <a:pt x="152" y="17"/>
                    <a:pt x="152" y="16"/>
                  </a:cubicBezTo>
                  <a:cubicBezTo>
                    <a:pt x="151" y="16"/>
                    <a:pt x="150" y="16"/>
                    <a:pt x="148" y="16"/>
                  </a:cubicBezTo>
                  <a:cubicBezTo>
                    <a:pt x="147" y="16"/>
                    <a:pt x="146" y="16"/>
                    <a:pt x="145" y="16"/>
                  </a:cubicBezTo>
                  <a:cubicBezTo>
                    <a:pt x="142" y="17"/>
                    <a:pt x="140" y="18"/>
                    <a:pt x="137" y="18"/>
                  </a:cubicBezTo>
                  <a:cubicBezTo>
                    <a:pt x="132" y="18"/>
                    <a:pt x="128" y="17"/>
                    <a:pt x="124" y="14"/>
                  </a:cubicBezTo>
                  <a:cubicBezTo>
                    <a:pt x="122" y="12"/>
                    <a:pt x="120" y="10"/>
                    <a:pt x="122" y="7"/>
                  </a:cubicBezTo>
                  <a:cubicBezTo>
                    <a:pt x="122" y="6"/>
                    <a:pt x="123" y="6"/>
                    <a:pt x="123" y="5"/>
                  </a:cubicBezTo>
                  <a:cubicBezTo>
                    <a:pt x="123" y="4"/>
                    <a:pt x="123" y="4"/>
                    <a:pt x="122" y="3"/>
                  </a:cubicBezTo>
                  <a:cubicBezTo>
                    <a:pt x="122" y="3"/>
                    <a:pt x="122" y="3"/>
                    <a:pt x="122" y="2"/>
                  </a:cubicBezTo>
                  <a:cubicBezTo>
                    <a:pt x="121" y="3"/>
                    <a:pt x="120" y="4"/>
                    <a:pt x="119" y="5"/>
                  </a:cubicBezTo>
                  <a:cubicBezTo>
                    <a:pt x="118" y="5"/>
                    <a:pt x="117" y="6"/>
                    <a:pt x="116" y="6"/>
                  </a:cubicBezTo>
                  <a:cubicBezTo>
                    <a:pt x="114" y="6"/>
                    <a:pt x="113" y="6"/>
                    <a:pt x="111" y="7"/>
                  </a:cubicBezTo>
                  <a:cubicBezTo>
                    <a:pt x="110" y="7"/>
                    <a:pt x="109" y="7"/>
                    <a:pt x="108" y="6"/>
                  </a:cubicBezTo>
                  <a:cubicBezTo>
                    <a:pt x="106" y="6"/>
                    <a:pt x="104" y="5"/>
                    <a:pt x="103" y="4"/>
                  </a:cubicBezTo>
                  <a:cubicBezTo>
                    <a:pt x="102" y="3"/>
                    <a:pt x="101" y="3"/>
                    <a:pt x="100" y="3"/>
                  </a:cubicBezTo>
                  <a:cubicBezTo>
                    <a:pt x="98" y="3"/>
                    <a:pt x="97" y="3"/>
                    <a:pt x="96" y="2"/>
                  </a:cubicBezTo>
                  <a:cubicBezTo>
                    <a:pt x="95" y="1"/>
                    <a:pt x="94" y="0"/>
                    <a:pt x="92" y="0"/>
                  </a:cubicBezTo>
                  <a:cubicBezTo>
                    <a:pt x="91" y="1"/>
                    <a:pt x="88" y="3"/>
                    <a:pt x="89" y="0"/>
                  </a:cubicBezTo>
                  <a:cubicBezTo>
                    <a:pt x="88" y="0"/>
                    <a:pt x="88" y="1"/>
                    <a:pt x="87" y="1"/>
                  </a:cubicBezTo>
                  <a:cubicBezTo>
                    <a:pt x="86" y="2"/>
                    <a:pt x="85" y="2"/>
                    <a:pt x="84" y="2"/>
                  </a:cubicBezTo>
                  <a:cubicBezTo>
                    <a:pt x="83" y="2"/>
                    <a:pt x="83" y="4"/>
                    <a:pt x="83" y="5"/>
                  </a:cubicBezTo>
                  <a:cubicBezTo>
                    <a:pt x="83" y="6"/>
                    <a:pt x="83" y="7"/>
                    <a:pt x="83" y="7"/>
                  </a:cubicBezTo>
                  <a:cubicBezTo>
                    <a:pt x="83" y="8"/>
                    <a:pt x="84" y="9"/>
                    <a:pt x="84" y="10"/>
                  </a:cubicBezTo>
                  <a:cubicBezTo>
                    <a:pt x="84" y="11"/>
                    <a:pt x="82" y="11"/>
                    <a:pt x="81" y="13"/>
                  </a:cubicBezTo>
                  <a:cubicBezTo>
                    <a:pt x="81" y="14"/>
                    <a:pt x="81" y="15"/>
                    <a:pt x="82" y="16"/>
                  </a:cubicBezTo>
                  <a:cubicBezTo>
                    <a:pt x="82" y="17"/>
                    <a:pt x="83" y="17"/>
                    <a:pt x="83" y="18"/>
                  </a:cubicBezTo>
                  <a:cubicBezTo>
                    <a:pt x="83" y="19"/>
                    <a:pt x="82" y="20"/>
                    <a:pt x="81" y="20"/>
                  </a:cubicBezTo>
                  <a:cubicBezTo>
                    <a:pt x="80" y="21"/>
                    <a:pt x="79" y="22"/>
                    <a:pt x="78" y="23"/>
                  </a:cubicBezTo>
                  <a:cubicBezTo>
                    <a:pt x="77" y="24"/>
                    <a:pt x="75" y="24"/>
                    <a:pt x="74" y="25"/>
                  </a:cubicBezTo>
                  <a:cubicBezTo>
                    <a:pt x="73" y="26"/>
                    <a:pt x="70" y="28"/>
                    <a:pt x="71" y="30"/>
                  </a:cubicBezTo>
                  <a:cubicBezTo>
                    <a:pt x="71" y="31"/>
                    <a:pt x="71" y="32"/>
                    <a:pt x="71" y="33"/>
                  </a:cubicBezTo>
                  <a:cubicBezTo>
                    <a:pt x="70" y="34"/>
                    <a:pt x="69" y="34"/>
                    <a:pt x="69" y="35"/>
                  </a:cubicBezTo>
                  <a:cubicBezTo>
                    <a:pt x="69" y="36"/>
                    <a:pt x="68" y="36"/>
                    <a:pt x="67" y="36"/>
                  </a:cubicBezTo>
                  <a:cubicBezTo>
                    <a:pt x="67" y="36"/>
                    <a:pt x="66" y="35"/>
                    <a:pt x="66" y="34"/>
                  </a:cubicBezTo>
                  <a:cubicBezTo>
                    <a:pt x="65" y="33"/>
                    <a:pt x="64" y="34"/>
                    <a:pt x="62" y="34"/>
                  </a:cubicBezTo>
                  <a:cubicBezTo>
                    <a:pt x="61" y="34"/>
                    <a:pt x="60" y="34"/>
                    <a:pt x="58" y="34"/>
                  </a:cubicBezTo>
                  <a:cubicBezTo>
                    <a:pt x="58" y="33"/>
                    <a:pt x="57" y="33"/>
                    <a:pt x="57" y="32"/>
                  </a:cubicBezTo>
                  <a:cubicBezTo>
                    <a:pt x="56" y="32"/>
                    <a:pt x="56" y="31"/>
                    <a:pt x="56" y="31"/>
                  </a:cubicBezTo>
                  <a:cubicBezTo>
                    <a:pt x="55" y="32"/>
                    <a:pt x="54" y="31"/>
                    <a:pt x="53" y="30"/>
                  </a:cubicBezTo>
                  <a:cubicBezTo>
                    <a:pt x="53" y="30"/>
                    <a:pt x="54" y="29"/>
                    <a:pt x="54" y="28"/>
                  </a:cubicBezTo>
                  <a:cubicBezTo>
                    <a:pt x="55" y="27"/>
                    <a:pt x="54" y="26"/>
                    <a:pt x="54" y="25"/>
                  </a:cubicBezTo>
                  <a:cubicBezTo>
                    <a:pt x="54" y="24"/>
                    <a:pt x="55" y="23"/>
                    <a:pt x="54" y="23"/>
                  </a:cubicBezTo>
                  <a:cubicBezTo>
                    <a:pt x="54" y="22"/>
                    <a:pt x="52" y="23"/>
                    <a:pt x="52" y="23"/>
                  </a:cubicBezTo>
                  <a:cubicBezTo>
                    <a:pt x="50" y="23"/>
                    <a:pt x="49" y="23"/>
                    <a:pt x="49" y="25"/>
                  </a:cubicBezTo>
                  <a:cubicBezTo>
                    <a:pt x="49" y="27"/>
                    <a:pt x="48" y="29"/>
                    <a:pt x="48" y="30"/>
                  </a:cubicBezTo>
                  <a:cubicBezTo>
                    <a:pt x="48" y="30"/>
                    <a:pt x="48" y="30"/>
                    <a:pt x="48" y="30"/>
                  </a:cubicBezTo>
                  <a:cubicBezTo>
                    <a:pt x="48" y="31"/>
                    <a:pt x="49" y="32"/>
                    <a:pt x="48" y="32"/>
                  </a:cubicBezTo>
                  <a:cubicBezTo>
                    <a:pt x="48" y="36"/>
                    <a:pt x="44" y="36"/>
                    <a:pt x="42" y="36"/>
                  </a:cubicBezTo>
                  <a:cubicBezTo>
                    <a:pt x="38" y="36"/>
                    <a:pt x="36" y="38"/>
                    <a:pt x="35" y="42"/>
                  </a:cubicBezTo>
                  <a:cubicBezTo>
                    <a:pt x="35" y="45"/>
                    <a:pt x="39" y="51"/>
                    <a:pt x="34" y="53"/>
                  </a:cubicBezTo>
                  <a:cubicBezTo>
                    <a:pt x="32" y="54"/>
                    <a:pt x="26" y="52"/>
                    <a:pt x="27" y="56"/>
                  </a:cubicBezTo>
                  <a:cubicBezTo>
                    <a:pt x="27" y="58"/>
                    <a:pt x="27" y="58"/>
                    <a:pt x="25" y="59"/>
                  </a:cubicBezTo>
                  <a:cubicBezTo>
                    <a:pt x="24" y="60"/>
                    <a:pt x="24" y="61"/>
                    <a:pt x="25" y="63"/>
                  </a:cubicBezTo>
                  <a:cubicBezTo>
                    <a:pt x="26" y="64"/>
                    <a:pt x="30" y="66"/>
                    <a:pt x="28" y="69"/>
                  </a:cubicBezTo>
                  <a:cubicBezTo>
                    <a:pt x="27" y="70"/>
                    <a:pt x="24" y="69"/>
                    <a:pt x="23" y="69"/>
                  </a:cubicBezTo>
                  <a:cubicBezTo>
                    <a:pt x="22" y="68"/>
                    <a:pt x="21" y="68"/>
                    <a:pt x="20" y="69"/>
                  </a:cubicBezTo>
                  <a:cubicBezTo>
                    <a:pt x="20" y="70"/>
                    <a:pt x="21" y="71"/>
                    <a:pt x="21" y="72"/>
                  </a:cubicBezTo>
                  <a:cubicBezTo>
                    <a:pt x="23" y="74"/>
                    <a:pt x="24" y="75"/>
                    <a:pt x="25" y="77"/>
                  </a:cubicBezTo>
                  <a:cubicBezTo>
                    <a:pt x="26" y="79"/>
                    <a:pt x="27" y="81"/>
                    <a:pt x="26" y="83"/>
                  </a:cubicBezTo>
                  <a:cubicBezTo>
                    <a:pt x="26" y="84"/>
                    <a:pt x="25" y="85"/>
                    <a:pt x="25" y="86"/>
                  </a:cubicBezTo>
                  <a:cubicBezTo>
                    <a:pt x="24" y="86"/>
                    <a:pt x="24" y="87"/>
                    <a:pt x="24" y="87"/>
                  </a:cubicBezTo>
                  <a:cubicBezTo>
                    <a:pt x="21" y="91"/>
                    <a:pt x="19" y="87"/>
                    <a:pt x="17" y="85"/>
                  </a:cubicBezTo>
                  <a:cubicBezTo>
                    <a:pt x="17" y="84"/>
                    <a:pt x="15" y="81"/>
                    <a:pt x="14" y="82"/>
                  </a:cubicBezTo>
                  <a:cubicBezTo>
                    <a:pt x="14" y="82"/>
                    <a:pt x="13" y="83"/>
                    <a:pt x="12" y="83"/>
                  </a:cubicBezTo>
                  <a:cubicBezTo>
                    <a:pt x="12" y="83"/>
                    <a:pt x="11" y="82"/>
                    <a:pt x="10" y="83"/>
                  </a:cubicBezTo>
                  <a:cubicBezTo>
                    <a:pt x="10" y="84"/>
                    <a:pt x="11" y="85"/>
                    <a:pt x="12" y="86"/>
                  </a:cubicBezTo>
                  <a:cubicBezTo>
                    <a:pt x="13" y="88"/>
                    <a:pt x="14" y="91"/>
                    <a:pt x="17" y="91"/>
                  </a:cubicBezTo>
                  <a:cubicBezTo>
                    <a:pt x="19" y="91"/>
                    <a:pt x="21" y="89"/>
                    <a:pt x="22" y="92"/>
                  </a:cubicBezTo>
                  <a:cubicBezTo>
                    <a:pt x="22" y="94"/>
                    <a:pt x="21" y="96"/>
                    <a:pt x="21" y="98"/>
                  </a:cubicBezTo>
                  <a:cubicBezTo>
                    <a:pt x="20" y="100"/>
                    <a:pt x="20" y="102"/>
                    <a:pt x="20" y="105"/>
                  </a:cubicBezTo>
                  <a:cubicBezTo>
                    <a:pt x="19" y="110"/>
                    <a:pt x="19" y="115"/>
                    <a:pt x="21" y="120"/>
                  </a:cubicBezTo>
                  <a:cubicBezTo>
                    <a:pt x="22" y="123"/>
                    <a:pt x="23" y="124"/>
                    <a:pt x="24" y="126"/>
                  </a:cubicBezTo>
                  <a:cubicBezTo>
                    <a:pt x="25" y="128"/>
                    <a:pt x="25" y="130"/>
                    <a:pt x="26" y="132"/>
                  </a:cubicBezTo>
                  <a:cubicBezTo>
                    <a:pt x="26" y="133"/>
                    <a:pt x="26" y="136"/>
                    <a:pt x="24" y="135"/>
                  </a:cubicBezTo>
                  <a:cubicBezTo>
                    <a:pt x="23" y="135"/>
                    <a:pt x="22" y="132"/>
                    <a:pt x="21" y="131"/>
                  </a:cubicBezTo>
                  <a:cubicBezTo>
                    <a:pt x="20" y="129"/>
                    <a:pt x="19" y="123"/>
                    <a:pt x="16" y="123"/>
                  </a:cubicBezTo>
                  <a:cubicBezTo>
                    <a:pt x="16" y="123"/>
                    <a:pt x="14" y="124"/>
                    <a:pt x="14" y="124"/>
                  </a:cubicBezTo>
                  <a:cubicBezTo>
                    <a:pt x="13" y="125"/>
                    <a:pt x="14" y="126"/>
                    <a:pt x="15" y="127"/>
                  </a:cubicBezTo>
                  <a:cubicBezTo>
                    <a:pt x="15" y="130"/>
                    <a:pt x="13" y="129"/>
                    <a:pt x="11" y="130"/>
                  </a:cubicBezTo>
                  <a:cubicBezTo>
                    <a:pt x="9" y="131"/>
                    <a:pt x="10" y="133"/>
                    <a:pt x="9" y="134"/>
                  </a:cubicBezTo>
                  <a:cubicBezTo>
                    <a:pt x="8" y="134"/>
                    <a:pt x="8" y="134"/>
                    <a:pt x="7" y="134"/>
                  </a:cubicBezTo>
                  <a:cubicBezTo>
                    <a:pt x="7" y="144"/>
                    <a:pt x="7" y="144"/>
                    <a:pt x="7" y="144"/>
                  </a:cubicBezTo>
                  <a:cubicBezTo>
                    <a:pt x="8" y="146"/>
                    <a:pt x="8" y="146"/>
                    <a:pt x="8" y="146"/>
                  </a:cubicBezTo>
                  <a:cubicBezTo>
                    <a:pt x="9" y="151"/>
                    <a:pt x="9" y="151"/>
                    <a:pt x="9" y="151"/>
                  </a:cubicBezTo>
                  <a:cubicBezTo>
                    <a:pt x="8" y="152"/>
                    <a:pt x="8" y="152"/>
                    <a:pt x="8" y="152"/>
                  </a:cubicBezTo>
                  <a:cubicBezTo>
                    <a:pt x="8" y="155"/>
                    <a:pt x="8" y="155"/>
                    <a:pt x="8" y="155"/>
                  </a:cubicBezTo>
                  <a:cubicBezTo>
                    <a:pt x="6" y="156"/>
                    <a:pt x="6" y="156"/>
                    <a:pt x="6" y="156"/>
                  </a:cubicBezTo>
                  <a:cubicBezTo>
                    <a:pt x="3" y="160"/>
                    <a:pt x="3" y="160"/>
                    <a:pt x="3" y="160"/>
                  </a:cubicBezTo>
                  <a:cubicBezTo>
                    <a:pt x="3" y="162"/>
                    <a:pt x="3" y="162"/>
                    <a:pt x="3" y="162"/>
                  </a:cubicBezTo>
                  <a:cubicBezTo>
                    <a:pt x="0" y="165"/>
                    <a:pt x="0" y="165"/>
                    <a:pt x="0" y="165"/>
                  </a:cubicBezTo>
                  <a:cubicBezTo>
                    <a:pt x="2" y="167"/>
                    <a:pt x="2" y="167"/>
                    <a:pt x="2" y="167"/>
                  </a:cubicBezTo>
                  <a:cubicBezTo>
                    <a:pt x="5" y="169"/>
                    <a:pt x="5" y="169"/>
                    <a:pt x="5" y="169"/>
                  </a:cubicBezTo>
                  <a:cubicBezTo>
                    <a:pt x="9" y="169"/>
                    <a:pt x="9" y="169"/>
                    <a:pt x="9" y="169"/>
                  </a:cubicBezTo>
                  <a:cubicBezTo>
                    <a:pt x="12" y="168"/>
                    <a:pt x="12" y="168"/>
                    <a:pt x="12" y="168"/>
                  </a:cubicBezTo>
                  <a:cubicBezTo>
                    <a:pt x="15" y="172"/>
                    <a:pt x="15" y="172"/>
                    <a:pt x="15" y="172"/>
                  </a:cubicBezTo>
                  <a:cubicBezTo>
                    <a:pt x="13" y="174"/>
                    <a:pt x="13" y="174"/>
                    <a:pt x="13" y="174"/>
                  </a:cubicBezTo>
                  <a:cubicBezTo>
                    <a:pt x="14" y="177"/>
                    <a:pt x="14" y="177"/>
                    <a:pt x="14" y="177"/>
                  </a:cubicBezTo>
                  <a:cubicBezTo>
                    <a:pt x="17" y="180"/>
                    <a:pt x="17" y="180"/>
                    <a:pt x="17" y="180"/>
                  </a:cubicBezTo>
                  <a:cubicBezTo>
                    <a:pt x="23" y="190"/>
                    <a:pt x="23" y="190"/>
                    <a:pt x="23" y="190"/>
                  </a:cubicBezTo>
                  <a:cubicBezTo>
                    <a:pt x="25" y="191"/>
                    <a:pt x="25" y="191"/>
                    <a:pt x="25" y="191"/>
                  </a:cubicBezTo>
                  <a:cubicBezTo>
                    <a:pt x="26" y="206"/>
                    <a:pt x="26" y="206"/>
                    <a:pt x="26" y="206"/>
                  </a:cubicBezTo>
                  <a:cubicBezTo>
                    <a:pt x="25" y="206"/>
                    <a:pt x="25" y="206"/>
                    <a:pt x="25" y="206"/>
                  </a:cubicBezTo>
                  <a:cubicBezTo>
                    <a:pt x="27" y="208"/>
                    <a:pt x="27" y="208"/>
                    <a:pt x="27" y="208"/>
                  </a:cubicBezTo>
                  <a:cubicBezTo>
                    <a:pt x="29" y="206"/>
                    <a:pt x="29" y="206"/>
                    <a:pt x="29" y="206"/>
                  </a:cubicBezTo>
                  <a:cubicBezTo>
                    <a:pt x="34" y="201"/>
                    <a:pt x="34" y="201"/>
                    <a:pt x="34" y="201"/>
                  </a:cubicBezTo>
                  <a:cubicBezTo>
                    <a:pt x="38" y="204"/>
                    <a:pt x="38" y="204"/>
                    <a:pt x="38" y="204"/>
                  </a:cubicBezTo>
                  <a:cubicBezTo>
                    <a:pt x="44" y="206"/>
                    <a:pt x="44" y="206"/>
                    <a:pt x="44" y="206"/>
                  </a:cubicBezTo>
                  <a:cubicBezTo>
                    <a:pt x="51" y="206"/>
                    <a:pt x="51" y="206"/>
                    <a:pt x="51" y="206"/>
                  </a:cubicBezTo>
                  <a:cubicBezTo>
                    <a:pt x="53" y="208"/>
                    <a:pt x="53" y="208"/>
                    <a:pt x="53" y="208"/>
                  </a:cubicBezTo>
                  <a:cubicBezTo>
                    <a:pt x="55" y="205"/>
                    <a:pt x="55" y="205"/>
                    <a:pt x="55" y="205"/>
                  </a:cubicBezTo>
                  <a:cubicBezTo>
                    <a:pt x="58" y="198"/>
                    <a:pt x="58" y="198"/>
                    <a:pt x="58" y="198"/>
                  </a:cubicBezTo>
                  <a:cubicBezTo>
                    <a:pt x="72" y="215"/>
                    <a:pt x="72" y="215"/>
                    <a:pt x="72" y="215"/>
                  </a:cubicBezTo>
                  <a:cubicBezTo>
                    <a:pt x="79" y="219"/>
                    <a:pt x="79" y="219"/>
                    <a:pt x="79" y="219"/>
                  </a:cubicBezTo>
                  <a:cubicBezTo>
                    <a:pt x="83" y="218"/>
                    <a:pt x="83" y="218"/>
                    <a:pt x="83" y="218"/>
                  </a:cubicBezTo>
                  <a:cubicBezTo>
                    <a:pt x="94" y="220"/>
                    <a:pt x="94" y="220"/>
                    <a:pt x="94" y="220"/>
                  </a:cubicBezTo>
                  <a:cubicBezTo>
                    <a:pt x="97" y="221"/>
                    <a:pt x="97" y="221"/>
                    <a:pt x="97" y="221"/>
                  </a:cubicBezTo>
                  <a:cubicBezTo>
                    <a:pt x="101" y="222"/>
                    <a:pt x="101" y="222"/>
                    <a:pt x="101" y="222"/>
                  </a:cubicBezTo>
                  <a:cubicBezTo>
                    <a:pt x="107" y="227"/>
                    <a:pt x="107" y="227"/>
                    <a:pt x="107" y="227"/>
                  </a:cubicBezTo>
                  <a:cubicBezTo>
                    <a:pt x="120" y="229"/>
                    <a:pt x="120" y="229"/>
                    <a:pt x="120" y="229"/>
                  </a:cubicBezTo>
                  <a:cubicBezTo>
                    <a:pt x="126" y="231"/>
                    <a:pt x="126" y="231"/>
                    <a:pt x="126" y="231"/>
                  </a:cubicBezTo>
                  <a:cubicBezTo>
                    <a:pt x="131" y="233"/>
                    <a:pt x="131" y="233"/>
                    <a:pt x="131" y="233"/>
                  </a:cubicBezTo>
                  <a:cubicBezTo>
                    <a:pt x="134" y="237"/>
                    <a:pt x="134" y="237"/>
                    <a:pt x="134" y="237"/>
                  </a:cubicBezTo>
                  <a:cubicBezTo>
                    <a:pt x="137" y="236"/>
                    <a:pt x="137" y="236"/>
                    <a:pt x="137" y="236"/>
                  </a:cubicBezTo>
                  <a:cubicBezTo>
                    <a:pt x="140" y="239"/>
                    <a:pt x="140" y="239"/>
                    <a:pt x="140" y="239"/>
                  </a:cubicBezTo>
                  <a:cubicBezTo>
                    <a:pt x="143" y="244"/>
                    <a:pt x="143" y="244"/>
                    <a:pt x="143" y="244"/>
                  </a:cubicBezTo>
                  <a:cubicBezTo>
                    <a:pt x="140" y="248"/>
                    <a:pt x="140" y="248"/>
                    <a:pt x="140" y="248"/>
                  </a:cubicBezTo>
                  <a:cubicBezTo>
                    <a:pt x="138" y="251"/>
                    <a:pt x="138" y="251"/>
                    <a:pt x="138" y="251"/>
                  </a:cubicBezTo>
                  <a:cubicBezTo>
                    <a:pt x="138" y="254"/>
                    <a:pt x="138" y="254"/>
                    <a:pt x="138" y="254"/>
                  </a:cubicBezTo>
                  <a:cubicBezTo>
                    <a:pt x="136" y="256"/>
                    <a:pt x="136" y="256"/>
                    <a:pt x="136" y="256"/>
                  </a:cubicBezTo>
                  <a:cubicBezTo>
                    <a:pt x="135" y="259"/>
                    <a:pt x="135" y="259"/>
                    <a:pt x="135" y="259"/>
                  </a:cubicBezTo>
                  <a:cubicBezTo>
                    <a:pt x="140" y="261"/>
                    <a:pt x="140" y="261"/>
                    <a:pt x="140" y="261"/>
                  </a:cubicBezTo>
                  <a:cubicBezTo>
                    <a:pt x="145" y="263"/>
                    <a:pt x="145" y="263"/>
                    <a:pt x="145" y="263"/>
                  </a:cubicBezTo>
                  <a:cubicBezTo>
                    <a:pt x="149" y="265"/>
                    <a:pt x="149" y="265"/>
                    <a:pt x="149" y="265"/>
                  </a:cubicBezTo>
                  <a:cubicBezTo>
                    <a:pt x="153" y="264"/>
                    <a:pt x="153" y="264"/>
                    <a:pt x="153" y="264"/>
                  </a:cubicBezTo>
                  <a:cubicBezTo>
                    <a:pt x="155" y="263"/>
                    <a:pt x="155" y="263"/>
                    <a:pt x="155" y="263"/>
                  </a:cubicBezTo>
                  <a:cubicBezTo>
                    <a:pt x="160" y="263"/>
                    <a:pt x="160" y="263"/>
                    <a:pt x="160" y="263"/>
                  </a:cubicBezTo>
                  <a:cubicBezTo>
                    <a:pt x="162" y="266"/>
                    <a:pt x="162" y="266"/>
                    <a:pt x="162" y="266"/>
                  </a:cubicBezTo>
                  <a:cubicBezTo>
                    <a:pt x="166" y="267"/>
                    <a:pt x="166" y="267"/>
                    <a:pt x="166" y="267"/>
                  </a:cubicBezTo>
                  <a:cubicBezTo>
                    <a:pt x="166" y="271"/>
                    <a:pt x="166" y="271"/>
                    <a:pt x="166" y="271"/>
                  </a:cubicBezTo>
                  <a:cubicBezTo>
                    <a:pt x="170" y="274"/>
                    <a:pt x="170" y="274"/>
                    <a:pt x="170" y="274"/>
                  </a:cubicBezTo>
                  <a:cubicBezTo>
                    <a:pt x="174" y="274"/>
                    <a:pt x="174" y="274"/>
                    <a:pt x="174" y="274"/>
                  </a:cubicBezTo>
                  <a:cubicBezTo>
                    <a:pt x="174" y="281"/>
                    <a:pt x="174" y="281"/>
                    <a:pt x="174" y="281"/>
                  </a:cubicBezTo>
                  <a:cubicBezTo>
                    <a:pt x="174" y="282"/>
                    <a:pt x="174" y="282"/>
                    <a:pt x="174" y="282"/>
                  </a:cubicBezTo>
                  <a:cubicBezTo>
                    <a:pt x="175" y="281"/>
                    <a:pt x="175" y="281"/>
                    <a:pt x="175" y="281"/>
                  </a:cubicBezTo>
                  <a:cubicBezTo>
                    <a:pt x="178" y="280"/>
                    <a:pt x="179" y="282"/>
                    <a:pt x="181" y="281"/>
                  </a:cubicBezTo>
                  <a:cubicBezTo>
                    <a:pt x="181" y="280"/>
                    <a:pt x="181" y="279"/>
                    <a:pt x="182" y="278"/>
                  </a:cubicBezTo>
                  <a:cubicBezTo>
                    <a:pt x="182" y="278"/>
                    <a:pt x="184" y="278"/>
                    <a:pt x="184" y="277"/>
                  </a:cubicBezTo>
                  <a:cubicBezTo>
                    <a:pt x="184" y="276"/>
                    <a:pt x="184" y="275"/>
                    <a:pt x="183" y="274"/>
                  </a:cubicBezTo>
                  <a:cubicBezTo>
                    <a:pt x="182" y="273"/>
                    <a:pt x="182" y="273"/>
                    <a:pt x="180" y="274"/>
                  </a:cubicBezTo>
                  <a:cubicBezTo>
                    <a:pt x="180" y="274"/>
                    <a:pt x="179" y="273"/>
                    <a:pt x="178" y="273"/>
                  </a:cubicBezTo>
                  <a:cubicBezTo>
                    <a:pt x="177" y="272"/>
                    <a:pt x="176" y="271"/>
                    <a:pt x="175" y="270"/>
                  </a:cubicBezTo>
                  <a:cubicBezTo>
                    <a:pt x="174" y="270"/>
                    <a:pt x="173" y="269"/>
                    <a:pt x="172" y="268"/>
                  </a:cubicBezTo>
                  <a:cubicBezTo>
                    <a:pt x="172" y="268"/>
                    <a:pt x="172" y="267"/>
                    <a:pt x="172" y="266"/>
                  </a:cubicBezTo>
                  <a:cubicBezTo>
                    <a:pt x="173" y="264"/>
                    <a:pt x="175" y="262"/>
                    <a:pt x="175" y="260"/>
                  </a:cubicBezTo>
                  <a:cubicBezTo>
                    <a:pt x="174" y="258"/>
                    <a:pt x="172" y="258"/>
                    <a:pt x="171" y="259"/>
                  </a:cubicBezTo>
                  <a:cubicBezTo>
                    <a:pt x="170" y="259"/>
                    <a:pt x="169" y="259"/>
                    <a:pt x="168" y="258"/>
                  </a:cubicBezTo>
                  <a:cubicBezTo>
                    <a:pt x="166" y="258"/>
                    <a:pt x="168" y="256"/>
                    <a:pt x="168" y="255"/>
                  </a:cubicBezTo>
                  <a:cubicBezTo>
                    <a:pt x="167" y="255"/>
                    <a:pt x="167" y="255"/>
                    <a:pt x="167" y="255"/>
                  </a:cubicBezTo>
                  <a:cubicBezTo>
                    <a:pt x="168" y="254"/>
                    <a:pt x="166" y="253"/>
                    <a:pt x="166" y="253"/>
                  </a:cubicBezTo>
                  <a:cubicBezTo>
                    <a:pt x="165" y="252"/>
                    <a:pt x="164" y="252"/>
                    <a:pt x="164" y="252"/>
                  </a:cubicBezTo>
                  <a:cubicBezTo>
                    <a:pt x="163" y="251"/>
                    <a:pt x="162" y="252"/>
                    <a:pt x="161" y="252"/>
                  </a:cubicBezTo>
                  <a:cubicBezTo>
                    <a:pt x="160" y="251"/>
                    <a:pt x="160" y="250"/>
                    <a:pt x="159" y="250"/>
                  </a:cubicBezTo>
                  <a:cubicBezTo>
                    <a:pt x="158" y="249"/>
                    <a:pt x="157" y="249"/>
                    <a:pt x="157" y="248"/>
                  </a:cubicBezTo>
                  <a:cubicBezTo>
                    <a:pt x="156" y="247"/>
                    <a:pt x="156" y="247"/>
                    <a:pt x="157" y="246"/>
                  </a:cubicBezTo>
                  <a:cubicBezTo>
                    <a:pt x="157" y="246"/>
                    <a:pt x="157" y="246"/>
                    <a:pt x="157" y="245"/>
                  </a:cubicBezTo>
                  <a:cubicBezTo>
                    <a:pt x="157" y="244"/>
                    <a:pt x="157" y="244"/>
                    <a:pt x="157" y="244"/>
                  </a:cubicBezTo>
                  <a:cubicBezTo>
                    <a:pt x="156" y="244"/>
                    <a:pt x="156" y="243"/>
                    <a:pt x="156" y="243"/>
                  </a:cubicBezTo>
                  <a:cubicBezTo>
                    <a:pt x="155" y="242"/>
                    <a:pt x="155" y="241"/>
                    <a:pt x="155" y="240"/>
                  </a:cubicBezTo>
                  <a:cubicBezTo>
                    <a:pt x="154" y="238"/>
                    <a:pt x="153" y="237"/>
                    <a:pt x="152" y="235"/>
                  </a:cubicBezTo>
                  <a:cubicBezTo>
                    <a:pt x="151" y="234"/>
                    <a:pt x="150" y="232"/>
                    <a:pt x="149" y="230"/>
                  </a:cubicBezTo>
                  <a:cubicBezTo>
                    <a:pt x="149" y="229"/>
                    <a:pt x="148" y="229"/>
                    <a:pt x="147" y="228"/>
                  </a:cubicBezTo>
                  <a:cubicBezTo>
                    <a:pt x="147" y="227"/>
                    <a:pt x="146" y="226"/>
                    <a:pt x="146" y="226"/>
                  </a:cubicBezTo>
                  <a:cubicBezTo>
                    <a:pt x="146" y="224"/>
                    <a:pt x="146" y="223"/>
                    <a:pt x="144" y="222"/>
                  </a:cubicBezTo>
                  <a:cubicBezTo>
                    <a:pt x="144" y="222"/>
                    <a:pt x="143" y="222"/>
                    <a:pt x="142" y="221"/>
                  </a:cubicBezTo>
                  <a:cubicBezTo>
                    <a:pt x="142" y="221"/>
                    <a:pt x="141" y="220"/>
                    <a:pt x="140" y="220"/>
                  </a:cubicBezTo>
                  <a:cubicBezTo>
                    <a:pt x="139" y="219"/>
                    <a:pt x="140" y="217"/>
                    <a:pt x="139" y="217"/>
                  </a:cubicBezTo>
                  <a:cubicBezTo>
                    <a:pt x="138" y="217"/>
                    <a:pt x="138" y="216"/>
                    <a:pt x="137" y="216"/>
                  </a:cubicBezTo>
                  <a:cubicBezTo>
                    <a:pt x="137" y="216"/>
                    <a:pt x="136" y="216"/>
                    <a:pt x="136" y="216"/>
                  </a:cubicBezTo>
                  <a:cubicBezTo>
                    <a:pt x="134" y="216"/>
                    <a:pt x="132" y="216"/>
                    <a:pt x="131" y="216"/>
                  </a:cubicBezTo>
                  <a:cubicBezTo>
                    <a:pt x="127" y="215"/>
                    <a:pt x="129" y="212"/>
                    <a:pt x="128" y="210"/>
                  </a:cubicBezTo>
                  <a:cubicBezTo>
                    <a:pt x="127" y="207"/>
                    <a:pt x="125" y="206"/>
                    <a:pt x="123" y="204"/>
                  </a:cubicBezTo>
                  <a:cubicBezTo>
                    <a:pt x="123" y="204"/>
                    <a:pt x="123" y="204"/>
                    <a:pt x="122" y="203"/>
                  </a:cubicBezTo>
                  <a:cubicBezTo>
                    <a:pt x="122" y="203"/>
                    <a:pt x="121" y="203"/>
                    <a:pt x="120" y="202"/>
                  </a:cubicBezTo>
                  <a:cubicBezTo>
                    <a:pt x="120" y="201"/>
                    <a:pt x="120" y="201"/>
                    <a:pt x="120" y="200"/>
                  </a:cubicBezTo>
                  <a:cubicBezTo>
                    <a:pt x="120" y="200"/>
                    <a:pt x="120" y="198"/>
                    <a:pt x="118" y="199"/>
                  </a:cubicBezTo>
                  <a:cubicBezTo>
                    <a:pt x="118" y="199"/>
                    <a:pt x="118" y="199"/>
                    <a:pt x="118" y="200"/>
                  </a:cubicBezTo>
                  <a:cubicBezTo>
                    <a:pt x="118" y="201"/>
                    <a:pt x="118" y="202"/>
                    <a:pt x="118" y="203"/>
                  </a:cubicBezTo>
                  <a:cubicBezTo>
                    <a:pt x="117" y="203"/>
                    <a:pt x="116" y="204"/>
                    <a:pt x="115" y="203"/>
                  </a:cubicBezTo>
                  <a:cubicBezTo>
                    <a:pt x="115" y="203"/>
                    <a:pt x="116" y="202"/>
                    <a:pt x="115" y="201"/>
                  </a:cubicBezTo>
                  <a:cubicBezTo>
                    <a:pt x="115" y="201"/>
                    <a:pt x="114" y="200"/>
                    <a:pt x="114" y="200"/>
                  </a:cubicBezTo>
                  <a:cubicBezTo>
                    <a:pt x="114" y="199"/>
                    <a:pt x="114" y="199"/>
                    <a:pt x="115" y="198"/>
                  </a:cubicBezTo>
                  <a:cubicBezTo>
                    <a:pt x="115" y="198"/>
                    <a:pt x="115" y="197"/>
                    <a:pt x="115" y="196"/>
                  </a:cubicBezTo>
                  <a:cubicBezTo>
                    <a:pt x="115" y="195"/>
                    <a:pt x="113" y="196"/>
                    <a:pt x="113" y="194"/>
                  </a:cubicBezTo>
                  <a:cubicBezTo>
                    <a:pt x="113" y="193"/>
                    <a:pt x="114" y="191"/>
                    <a:pt x="115" y="191"/>
                  </a:cubicBezTo>
                  <a:cubicBezTo>
                    <a:pt x="116" y="191"/>
                    <a:pt x="117" y="192"/>
                    <a:pt x="117" y="192"/>
                  </a:cubicBezTo>
                  <a:cubicBezTo>
                    <a:pt x="118" y="193"/>
                    <a:pt x="119" y="193"/>
                    <a:pt x="120" y="193"/>
                  </a:cubicBezTo>
                  <a:cubicBezTo>
                    <a:pt x="121" y="194"/>
                    <a:pt x="122" y="193"/>
                    <a:pt x="122" y="194"/>
                  </a:cubicBezTo>
                  <a:cubicBezTo>
                    <a:pt x="122" y="195"/>
                    <a:pt x="121" y="195"/>
                    <a:pt x="122" y="196"/>
                  </a:cubicBezTo>
                  <a:cubicBezTo>
                    <a:pt x="122" y="197"/>
                    <a:pt x="123" y="197"/>
                    <a:pt x="124" y="197"/>
                  </a:cubicBezTo>
                  <a:cubicBezTo>
                    <a:pt x="125" y="197"/>
                    <a:pt x="125" y="198"/>
                    <a:pt x="126" y="198"/>
                  </a:cubicBezTo>
                  <a:cubicBezTo>
                    <a:pt x="127" y="199"/>
                    <a:pt x="127" y="200"/>
                    <a:pt x="127" y="200"/>
                  </a:cubicBezTo>
                  <a:cubicBezTo>
                    <a:pt x="128" y="201"/>
                    <a:pt x="128" y="202"/>
                    <a:pt x="129" y="202"/>
                  </a:cubicBezTo>
                  <a:cubicBezTo>
                    <a:pt x="130" y="203"/>
                    <a:pt x="132" y="202"/>
                    <a:pt x="134" y="202"/>
                  </a:cubicBezTo>
                  <a:cubicBezTo>
                    <a:pt x="137" y="201"/>
                    <a:pt x="140" y="198"/>
                    <a:pt x="141" y="195"/>
                  </a:cubicBezTo>
                  <a:cubicBezTo>
                    <a:pt x="143" y="192"/>
                    <a:pt x="143" y="189"/>
                    <a:pt x="146" y="187"/>
                  </a:cubicBezTo>
                  <a:cubicBezTo>
                    <a:pt x="148" y="185"/>
                    <a:pt x="150" y="186"/>
                    <a:pt x="152" y="185"/>
                  </a:cubicBezTo>
                  <a:cubicBezTo>
                    <a:pt x="153" y="185"/>
                    <a:pt x="154" y="184"/>
                    <a:pt x="154" y="183"/>
                  </a:cubicBezTo>
                  <a:cubicBezTo>
                    <a:pt x="155" y="183"/>
                    <a:pt x="155" y="182"/>
                    <a:pt x="156" y="182"/>
                  </a:cubicBezTo>
                  <a:cubicBezTo>
                    <a:pt x="157" y="181"/>
                    <a:pt x="158" y="181"/>
                    <a:pt x="159" y="181"/>
                  </a:cubicBezTo>
                  <a:cubicBezTo>
                    <a:pt x="162" y="180"/>
                    <a:pt x="165" y="181"/>
                    <a:pt x="167" y="180"/>
                  </a:cubicBezTo>
                  <a:cubicBezTo>
                    <a:pt x="169" y="180"/>
                    <a:pt x="171" y="178"/>
                    <a:pt x="173" y="177"/>
                  </a:cubicBezTo>
                  <a:cubicBezTo>
                    <a:pt x="174" y="177"/>
                    <a:pt x="176" y="176"/>
                    <a:pt x="177" y="175"/>
                  </a:cubicBezTo>
                  <a:cubicBezTo>
                    <a:pt x="179" y="174"/>
                    <a:pt x="179" y="174"/>
                    <a:pt x="180" y="172"/>
                  </a:cubicBezTo>
                  <a:cubicBezTo>
                    <a:pt x="180" y="171"/>
                    <a:pt x="181" y="170"/>
                    <a:pt x="183" y="169"/>
                  </a:cubicBezTo>
                  <a:cubicBezTo>
                    <a:pt x="184" y="168"/>
                    <a:pt x="184" y="167"/>
                    <a:pt x="185" y="166"/>
                  </a:cubicBezTo>
                  <a:cubicBezTo>
                    <a:pt x="186" y="165"/>
                    <a:pt x="188" y="164"/>
                    <a:pt x="189" y="163"/>
                  </a:cubicBezTo>
                  <a:cubicBezTo>
                    <a:pt x="189" y="162"/>
                    <a:pt x="190" y="161"/>
                    <a:pt x="191" y="160"/>
                  </a:cubicBezTo>
                  <a:cubicBezTo>
                    <a:pt x="191" y="160"/>
                    <a:pt x="192" y="159"/>
                    <a:pt x="192" y="159"/>
                  </a:cubicBezTo>
                  <a:cubicBezTo>
                    <a:pt x="192" y="158"/>
                    <a:pt x="192" y="158"/>
                    <a:pt x="193" y="158"/>
                  </a:cubicBezTo>
                  <a:cubicBezTo>
                    <a:pt x="194" y="156"/>
                    <a:pt x="194" y="155"/>
                    <a:pt x="195" y="154"/>
                  </a:cubicBezTo>
                  <a:cubicBezTo>
                    <a:pt x="196" y="153"/>
                    <a:pt x="196" y="153"/>
                    <a:pt x="196" y="152"/>
                  </a:cubicBezTo>
                  <a:cubicBezTo>
                    <a:pt x="197" y="152"/>
                    <a:pt x="197" y="152"/>
                    <a:pt x="198" y="152"/>
                  </a:cubicBezTo>
                  <a:cubicBezTo>
                    <a:pt x="199" y="151"/>
                    <a:pt x="200" y="149"/>
                    <a:pt x="201" y="148"/>
                  </a:cubicBezTo>
                  <a:cubicBezTo>
                    <a:pt x="202" y="147"/>
                    <a:pt x="204" y="145"/>
                    <a:pt x="204" y="143"/>
                  </a:cubicBezTo>
                  <a:cubicBezTo>
                    <a:pt x="204" y="142"/>
                    <a:pt x="204" y="142"/>
                    <a:pt x="204" y="141"/>
                  </a:cubicBezTo>
                  <a:cubicBezTo>
                    <a:pt x="205" y="140"/>
                    <a:pt x="207" y="139"/>
                    <a:pt x="208" y="139"/>
                  </a:cubicBezTo>
                  <a:cubicBezTo>
                    <a:pt x="210" y="138"/>
                    <a:pt x="212" y="138"/>
                    <a:pt x="213" y="138"/>
                  </a:cubicBezTo>
                  <a:cubicBezTo>
                    <a:pt x="215" y="138"/>
                    <a:pt x="217" y="138"/>
                    <a:pt x="219" y="138"/>
                  </a:cubicBezTo>
                  <a:cubicBezTo>
                    <a:pt x="220" y="138"/>
                    <a:pt x="220" y="137"/>
                    <a:pt x="221" y="136"/>
                  </a:cubicBezTo>
                  <a:cubicBezTo>
                    <a:pt x="222" y="135"/>
                    <a:pt x="223" y="134"/>
                    <a:pt x="224" y="135"/>
                  </a:cubicBezTo>
                  <a:cubicBezTo>
                    <a:pt x="225" y="135"/>
                    <a:pt x="225" y="137"/>
                    <a:pt x="226" y="138"/>
                  </a:cubicBezTo>
                  <a:cubicBezTo>
                    <a:pt x="226" y="139"/>
                    <a:pt x="226" y="140"/>
                    <a:pt x="227" y="141"/>
                  </a:cubicBezTo>
                  <a:cubicBezTo>
                    <a:pt x="228" y="142"/>
                    <a:pt x="229" y="142"/>
                    <a:pt x="230" y="143"/>
                  </a:cubicBezTo>
                  <a:cubicBezTo>
                    <a:pt x="231" y="144"/>
                    <a:pt x="232" y="144"/>
                    <a:pt x="233" y="145"/>
                  </a:cubicBezTo>
                  <a:cubicBezTo>
                    <a:pt x="234" y="145"/>
                    <a:pt x="235" y="145"/>
                    <a:pt x="235" y="146"/>
                  </a:cubicBezTo>
                  <a:cubicBezTo>
                    <a:pt x="237" y="146"/>
                    <a:pt x="238" y="147"/>
                    <a:pt x="239" y="146"/>
                  </a:cubicBezTo>
                  <a:cubicBezTo>
                    <a:pt x="239" y="145"/>
                    <a:pt x="240" y="144"/>
                    <a:pt x="240" y="143"/>
                  </a:cubicBezTo>
                  <a:cubicBezTo>
                    <a:pt x="240" y="141"/>
                    <a:pt x="240" y="137"/>
                    <a:pt x="241" y="135"/>
                  </a:cubicBezTo>
                  <a:cubicBezTo>
                    <a:pt x="242" y="134"/>
                    <a:pt x="243" y="134"/>
                    <a:pt x="243" y="133"/>
                  </a:cubicBezTo>
                  <a:cubicBezTo>
                    <a:pt x="244" y="132"/>
                    <a:pt x="243" y="131"/>
                    <a:pt x="243" y="130"/>
                  </a:cubicBezTo>
                  <a:cubicBezTo>
                    <a:pt x="243" y="129"/>
                    <a:pt x="243" y="127"/>
                    <a:pt x="242" y="126"/>
                  </a:cubicBezTo>
                  <a:cubicBezTo>
                    <a:pt x="241" y="125"/>
                    <a:pt x="240" y="125"/>
                    <a:pt x="240" y="124"/>
                  </a:cubicBezTo>
                  <a:cubicBezTo>
                    <a:pt x="240" y="123"/>
                    <a:pt x="241" y="123"/>
                    <a:pt x="240" y="122"/>
                  </a:cubicBezTo>
                  <a:cubicBezTo>
                    <a:pt x="240" y="121"/>
                    <a:pt x="237" y="120"/>
                    <a:pt x="236" y="120"/>
                  </a:cubicBezTo>
                  <a:cubicBezTo>
                    <a:pt x="235" y="119"/>
                    <a:pt x="234" y="119"/>
                    <a:pt x="232" y="118"/>
                  </a:cubicBezTo>
                  <a:cubicBezTo>
                    <a:pt x="231" y="117"/>
                    <a:pt x="231" y="117"/>
                    <a:pt x="229" y="117"/>
                  </a:cubicBezTo>
                  <a:cubicBezTo>
                    <a:pt x="227" y="117"/>
                    <a:pt x="225" y="116"/>
                    <a:pt x="223" y="117"/>
                  </a:cubicBezTo>
                  <a:cubicBezTo>
                    <a:pt x="220" y="117"/>
                    <a:pt x="219" y="118"/>
                    <a:pt x="217" y="120"/>
                  </a:cubicBezTo>
                  <a:cubicBezTo>
                    <a:pt x="216" y="120"/>
                    <a:pt x="216" y="121"/>
                    <a:pt x="215" y="121"/>
                  </a:cubicBezTo>
                  <a:cubicBezTo>
                    <a:pt x="214" y="121"/>
                    <a:pt x="213" y="120"/>
                    <a:pt x="212" y="121"/>
                  </a:cubicBezTo>
                  <a:cubicBezTo>
                    <a:pt x="212" y="121"/>
                    <a:pt x="211" y="121"/>
                    <a:pt x="210" y="121"/>
                  </a:cubicBezTo>
                  <a:cubicBezTo>
                    <a:pt x="210" y="121"/>
                    <a:pt x="209" y="121"/>
                    <a:pt x="208" y="121"/>
                  </a:cubicBezTo>
                  <a:cubicBezTo>
                    <a:pt x="207" y="121"/>
                    <a:pt x="206" y="123"/>
                    <a:pt x="204" y="123"/>
                  </a:cubicBezTo>
                  <a:cubicBezTo>
                    <a:pt x="203" y="123"/>
                    <a:pt x="202" y="123"/>
                    <a:pt x="202" y="123"/>
                  </a:cubicBezTo>
                  <a:cubicBezTo>
                    <a:pt x="201" y="123"/>
                    <a:pt x="201" y="123"/>
                    <a:pt x="200" y="124"/>
                  </a:cubicBezTo>
                  <a:cubicBezTo>
                    <a:pt x="201" y="125"/>
                    <a:pt x="202" y="125"/>
                    <a:pt x="203" y="126"/>
                  </a:cubicBezTo>
                  <a:cubicBezTo>
                    <a:pt x="205" y="126"/>
                    <a:pt x="206" y="126"/>
                    <a:pt x="208" y="126"/>
                  </a:cubicBezTo>
                  <a:cubicBezTo>
                    <a:pt x="209" y="127"/>
                    <a:pt x="210" y="127"/>
                    <a:pt x="210" y="128"/>
                  </a:cubicBezTo>
                  <a:cubicBezTo>
                    <a:pt x="211" y="128"/>
                    <a:pt x="213" y="127"/>
                    <a:pt x="214" y="128"/>
                  </a:cubicBezTo>
                  <a:cubicBezTo>
                    <a:pt x="215" y="129"/>
                    <a:pt x="209" y="129"/>
                    <a:pt x="208" y="129"/>
                  </a:cubicBezTo>
                  <a:cubicBezTo>
                    <a:pt x="207" y="129"/>
                    <a:pt x="206" y="130"/>
                    <a:pt x="205" y="130"/>
                  </a:cubicBezTo>
                  <a:cubicBezTo>
                    <a:pt x="204" y="130"/>
                    <a:pt x="203" y="131"/>
                    <a:pt x="202" y="131"/>
                  </a:cubicBezTo>
                  <a:cubicBezTo>
                    <a:pt x="201" y="131"/>
                    <a:pt x="201" y="132"/>
                    <a:pt x="199" y="132"/>
                  </a:cubicBezTo>
                  <a:cubicBezTo>
                    <a:pt x="198" y="132"/>
                    <a:pt x="197" y="131"/>
                    <a:pt x="196" y="131"/>
                  </a:cubicBezTo>
                  <a:cubicBezTo>
                    <a:pt x="195" y="130"/>
                    <a:pt x="195" y="130"/>
                    <a:pt x="194" y="129"/>
                  </a:cubicBezTo>
                  <a:cubicBezTo>
                    <a:pt x="193" y="129"/>
                    <a:pt x="192" y="130"/>
                    <a:pt x="191" y="130"/>
                  </a:cubicBezTo>
                  <a:cubicBezTo>
                    <a:pt x="189" y="130"/>
                    <a:pt x="188" y="130"/>
                    <a:pt x="186" y="129"/>
                  </a:cubicBezTo>
                  <a:cubicBezTo>
                    <a:pt x="184" y="129"/>
                    <a:pt x="182" y="130"/>
                    <a:pt x="180" y="130"/>
                  </a:cubicBezTo>
                  <a:cubicBezTo>
                    <a:pt x="178" y="131"/>
                    <a:pt x="177" y="131"/>
                    <a:pt x="175" y="130"/>
                  </a:cubicBezTo>
                  <a:cubicBezTo>
                    <a:pt x="172" y="130"/>
                    <a:pt x="170" y="130"/>
                    <a:pt x="168" y="130"/>
                  </a:cubicBezTo>
                  <a:cubicBezTo>
                    <a:pt x="167" y="131"/>
                    <a:pt x="166" y="132"/>
                    <a:pt x="166" y="133"/>
                  </a:cubicBezTo>
                  <a:cubicBezTo>
                    <a:pt x="165" y="134"/>
                    <a:pt x="165" y="135"/>
                    <a:pt x="165" y="137"/>
                  </a:cubicBezTo>
                  <a:cubicBezTo>
                    <a:pt x="165" y="137"/>
                    <a:pt x="165" y="138"/>
                    <a:pt x="165" y="138"/>
                  </a:cubicBezTo>
                  <a:cubicBezTo>
                    <a:pt x="165" y="139"/>
                    <a:pt x="164" y="139"/>
                    <a:pt x="164" y="140"/>
                  </a:cubicBezTo>
                  <a:cubicBezTo>
                    <a:pt x="163" y="140"/>
                    <a:pt x="162" y="140"/>
                    <a:pt x="161" y="140"/>
                  </a:cubicBezTo>
                  <a:cubicBezTo>
                    <a:pt x="159" y="140"/>
                    <a:pt x="158" y="139"/>
                    <a:pt x="157" y="139"/>
                  </a:cubicBezTo>
                  <a:cubicBezTo>
                    <a:pt x="155" y="139"/>
                    <a:pt x="153" y="142"/>
                    <a:pt x="153" y="144"/>
                  </a:cubicBezTo>
                  <a:cubicBezTo>
                    <a:pt x="152" y="144"/>
                    <a:pt x="150" y="143"/>
                    <a:pt x="149" y="142"/>
                  </a:cubicBezTo>
                  <a:cubicBezTo>
                    <a:pt x="149" y="142"/>
                    <a:pt x="148" y="142"/>
                    <a:pt x="147" y="142"/>
                  </a:cubicBezTo>
                  <a:cubicBezTo>
                    <a:pt x="146" y="142"/>
                    <a:pt x="144" y="142"/>
                    <a:pt x="142" y="142"/>
                  </a:cubicBezTo>
                  <a:cubicBezTo>
                    <a:pt x="141" y="142"/>
                    <a:pt x="140" y="141"/>
                    <a:pt x="139" y="140"/>
                  </a:cubicBezTo>
                  <a:cubicBezTo>
                    <a:pt x="137" y="139"/>
                    <a:pt x="136" y="139"/>
                    <a:pt x="135" y="137"/>
                  </a:cubicBezTo>
                  <a:cubicBezTo>
                    <a:pt x="134" y="136"/>
                    <a:pt x="135" y="135"/>
                    <a:pt x="135" y="134"/>
                  </a:cubicBezTo>
                  <a:cubicBezTo>
                    <a:pt x="135" y="134"/>
                    <a:pt x="135" y="132"/>
                    <a:pt x="135" y="132"/>
                  </a:cubicBezTo>
                  <a:cubicBezTo>
                    <a:pt x="134" y="132"/>
                    <a:pt x="132" y="133"/>
                    <a:pt x="132" y="133"/>
                  </a:cubicBezTo>
                  <a:cubicBezTo>
                    <a:pt x="131" y="134"/>
                    <a:pt x="131" y="134"/>
                    <a:pt x="130" y="135"/>
                  </a:cubicBezTo>
                  <a:cubicBezTo>
                    <a:pt x="129" y="135"/>
                    <a:pt x="128" y="136"/>
                    <a:pt x="127" y="136"/>
                  </a:cubicBezTo>
                  <a:cubicBezTo>
                    <a:pt x="125" y="136"/>
                    <a:pt x="125" y="137"/>
                    <a:pt x="124" y="138"/>
                  </a:cubicBezTo>
                  <a:cubicBezTo>
                    <a:pt x="123" y="139"/>
                    <a:pt x="123" y="139"/>
                    <a:pt x="123" y="140"/>
                  </a:cubicBezTo>
                  <a:cubicBezTo>
                    <a:pt x="122" y="141"/>
                    <a:pt x="122" y="142"/>
                    <a:pt x="121" y="142"/>
                  </a:cubicBezTo>
                  <a:cubicBezTo>
                    <a:pt x="121" y="143"/>
                    <a:pt x="120" y="143"/>
                    <a:pt x="119" y="143"/>
                  </a:cubicBezTo>
                  <a:cubicBezTo>
                    <a:pt x="119" y="144"/>
                    <a:pt x="119" y="145"/>
                    <a:pt x="118" y="145"/>
                  </a:cubicBezTo>
                  <a:cubicBezTo>
                    <a:pt x="118" y="145"/>
                    <a:pt x="117" y="146"/>
                    <a:pt x="117" y="146"/>
                  </a:cubicBezTo>
                  <a:cubicBezTo>
                    <a:pt x="116" y="147"/>
                    <a:pt x="115" y="147"/>
                    <a:pt x="115" y="148"/>
                  </a:cubicBezTo>
                  <a:cubicBezTo>
                    <a:pt x="114" y="148"/>
                    <a:pt x="114" y="149"/>
                    <a:pt x="114" y="150"/>
                  </a:cubicBezTo>
                  <a:cubicBezTo>
                    <a:pt x="113" y="152"/>
                    <a:pt x="111" y="154"/>
                    <a:pt x="109" y="155"/>
                  </a:cubicBezTo>
                  <a:cubicBezTo>
                    <a:pt x="108" y="157"/>
                    <a:pt x="107" y="159"/>
                    <a:pt x="106" y="161"/>
                  </a:cubicBezTo>
                  <a:cubicBezTo>
                    <a:pt x="106" y="162"/>
                    <a:pt x="105" y="164"/>
                    <a:pt x="104" y="166"/>
                  </a:cubicBezTo>
                  <a:cubicBezTo>
                    <a:pt x="103" y="166"/>
                    <a:pt x="103" y="167"/>
                    <a:pt x="102" y="168"/>
                  </a:cubicBezTo>
                  <a:cubicBezTo>
                    <a:pt x="102" y="168"/>
                    <a:pt x="102" y="169"/>
                    <a:pt x="101" y="170"/>
                  </a:cubicBezTo>
                  <a:cubicBezTo>
                    <a:pt x="100" y="171"/>
                    <a:pt x="97" y="170"/>
                    <a:pt x="96" y="170"/>
                  </a:cubicBezTo>
                  <a:cubicBezTo>
                    <a:pt x="96" y="169"/>
                    <a:pt x="95" y="169"/>
                    <a:pt x="95" y="168"/>
                  </a:cubicBezTo>
                  <a:cubicBezTo>
                    <a:pt x="94" y="168"/>
                    <a:pt x="93" y="168"/>
                    <a:pt x="92" y="168"/>
                  </a:cubicBezTo>
                  <a:cubicBezTo>
                    <a:pt x="91" y="168"/>
                    <a:pt x="91" y="168"/>
                    <a:pt x="90" y="168"/>
                  </a:cubicBezTo>
                  <a:cubicBezTo>
                    <a:pt x="89" y="168"/>
                    <a:pt x="89" y="168"/>
                    <a:pt x="88" y="168"/>
                  </a:cubicBezTo>
                  <a:cubicBezTo>
                    <a:pt x="87" y="168"/>
                    <a:pt x="86" y="169"/>
                    <a:pt x="85" y="168"/>
                  </a:cubicBezTo>
                  <a:cubicBezTo>
                    <a:pt x="85" y="167"/>
                    <a:pt x="85" y="166"/>
                    <a:pt x="84" y="166"/>
                  </a:cubicBezTo>
                  <a:cubicBezTo>
                    <a:pt x="83" y="165"/>
                    <a:pt x="83" y="165"/>
                    <a:pt x="83" y="166"/>
                  </a:cubicBezTo>
                  <a:cubicBezTo>
                    <a:pt x="82" y="166"/>
                    <a:pt x="82" y="166"/>
                    <a:pt x="81" y="166"/>
                  </a:cubicBezTo>
                  <a:cubicBezTo>
                    <a:pt x="80" y="167"/>
                    <a:pt x="78" y="166"/>
                    <a:pt x="77" y="167"/>
                  </a:cubicBezTo>
                  <a:cubicBezTo>
                    <a:pt x="76" y="167"/>
                    <a:pt x="76" y="168"/>
                    <a:pt x="75" y="168"/>
                  </a:cubicBezTo>
                  <a:cubicBezTo>
                    <a:pt x="74" y="168"/>
                    <a:pt x="74" y="166"/>
                    <a:pt x="73" y="165"/>
                  </a:cubicBezTo>
                  <a:cubicBezTo>
                    <a:pt x="72" y="164"/>
                    <a:pt x="72" y="161"/>
                    <a:pt x="70" y="160"/>
                  </a:cubicBezTo>
                  <a:cubicBezTo>
                    <a:pt x="69" y="159"/>
                    <a:pt x="68" y="159"/>
                    <a:pt x="68" y="158"/>
                  </a:cubicBezTo>
                  <a:cubicBezTo>
                    <a:pt x="68" y="157"/>
                    <a:pt x="69" y="157"/>
                    <a:pt x="69" y="156"/>
                  </a:cubicBezTo>
                  <a:cubicBezTo>
                    <a:pt x="69" y="155"/>
                    <a:pt x="69" y="155"/>
                    <a:pt x="70" y="155"/>
                  </a:cubicBezTo>
                  <a:cubicBezTo>
                    <a:pt x="71" y="154"/>
                    <a:pt x="70" y="152"/>
                    <a:pt x="69" y="151"/>
                  </a:cubicBezTo>
                  <a:cubicBezTo>
                    <a:pt x="68" y="149"/>
                    <a:pt x="67" y="148"/>
                    <a:pt x="67" y="146"/>
                  </a:cubicBezTo>
                  <a:cubicBezTo>
                    <a:pt x="66" y="145"/>
                    <a:pt x="65" y="144"/>
                    <a:pt x="64" y="143"/>
                  </a:cubicBezTo>
                  <a:cubicBezTo>
                    <a:pt x="63" y="143"/>
                    <a:pt x="63" y="143"/>
                    <a:pt x="62" y="142"/>
                  </a:cubicBezTo>
                  <a:cubicBezTo>
                    <a:pt x="62" y="142"/>
                    <a:pt x="61" y="141"/>
                    <a:pt x="61" y="141"/>
                  </a:cubicBezTo>
                  <a:cubicBezTo>
                    <a:pt x="60" y="140"/>
                    <a:pt x="59" y="137"/>
                    <a:pt x="57" y="138"/>
                  </a:cubicBezTo>
                  <a:cubicBezTo>
                    <a:pt x="56" y="139"/>
                    <a:pt x="56" y="140"/>
                    <a:pt x="55" y="140"/>
                  </a:cubicBezTo>
                  <a:cubicBezTo>
                    <a:pt x="54" y="141"/>
                    <a:pt x="53" y="141"/>
                    <a:pt x="53" y="141"/>
                  </a:cubicBezTo>
                  <a:cubicBezTo>
                    <a:pt x="52" y="141"/>
                    <a:pt x="52" y="141"/>
                    <a:pt x="52" y="140"/>
                  </a:cubicBezTo>
                  <a:cubicBezTo>
                    <a:pt x="51" y="139"/>
                    <a:pt x="50" y="138"/>
                    <a:pt x="49" y="137"/>
                  </a:cubicBezTo>
                  <a:cubicBezTo>
                    <a:pt x="49" y="137"/>
                    <a:pt x="48" y="136"/>
                    <a:pt x="48" y="135"/>
                  </a:cubicBezTo>
                  <a:cubicBezTo>
                    <a:pt x="47" y="134"/>
                    <a:pt x="47" y="134"/>
                    <a:pt x="46" y="134"/>
                  </a:cubicBezTo>
                  <a:cubicBezTo>
                    <a:pt x="43" y="133"/>
                    <a:pt x="42" y="131"/>
                    <a:pt x="41" y="129"/>
                  </a:cubicBezTo>
                  <a:cubicBezTo>
                    <a:pt x="40" y="127"/>
                    <a:pt x="38" y="125"/>
                    <a:pt x="37" y="123"/>
                  </a:cubicBezTo>
                  <a:cubicBezTo>
                    <a:pt x="37" y="121"/>
                    <a:pt x="37" y="119"/>
                    <a:pt x="37" y="118"/>
                  </a:cubicBezTo>
                  <a:cubicBezTo>
                    <a:pt x="36" y="116"/>
                    <a:pt x="36" y="115"/>
                    <a:pt x="37" y="113"/>
                  </a:cubicBezTo>
                  <a:cubicBezTo>
                    <a:pt x="37" y="112"/>
                    <a:pt x="37" y="111"/>
                    <a:pt x="37" y="109"/>
                  </a:cubicBezTo>
                  <a:cubicBezTo>
                    <a:pt x="37" y="109"/>
                    <a:pt x="37" y="108"/>
                    <a:pt x="36" y="107"/>
                  </a:cubicBezTo>
                  <a:cubicBezTo>
                    <a:pt x="35" y="105"/>
                    <a:pt x="34" y="102"/>
                    <a:pt x="34" y="99"/>
                  </a:cubicBezTo>
                  <a:cubicBezTo>
                    <a:pt x="34" y="97"/>
                    <a:pt x="34" y="95"/>
                    <a:pt x="34" y="93"/>
                  </a:cubicBezTo>
                  <a:cubicBezTo>
                    <a:pt x="35" y="93"/>
                    <a:pt x="35" y="92"/>
                    <a:pt x="35" y="91"/>
                  </a:cubicBezTo>
                  <a:cubicBezTo>
                    <a:pt x="35" y="90"/>
                    <a:pt x="35" y="89"/>
                    <a:pt x="36" y="88"/>
                  </a:cubicBezTo>
                  <a:cubicBezTo>
                    <a:pt x="37" y="86"/>
                    <a:pt x="38" y="85"/>
                    <a:pt x="39" y="83"/>
                  </a:cubicBezTo>
                  <a:cubicBezTo>
                    <a:pt x="40" y="80"/>
                    <a:pt x="40" y="77"/>
                    <a:pt x="41" y="75"/>
                  </a:cubicBezTo>
                  <a:cubicBezTo>
                    <a:pt x="41" y="73"/>
                    <a:pt x="41" y="72"/>
                    <a:pt x="42" y="71"/>
                  </a:cubicBezTo>
                  <a:cubicBezTo>
                    <a:pt x="42" y="69"/>
                    <a:pt x="44" y="68"/>
                    <a:pt x="45" y="67"/>
                  </a:cubicBezTo>
                  <a:cubicBezTo>
                    <a:pt x="46" y="65"/>
                    <a:pt x="46" y="64"/>
                    <a:pt x="47" y="63"/>
                  </a:cubicBezTo>
                  <a:cubicBezTo>
                    <a:pt x="48" y="62"/>
                    <a:pt x="50" y="61"/>
                    <a:pt x="50" y="59"/>
                  </a:cubicBezTo>
                  <a:cubicBezTo>
                    <a:pt x="51" y="58"/>
                    <a:pt x="52" y="57"/>
                    <a:pt x="53" y="56"/>
                  </a:cubicBezTo>
                  <a:cubicBezTo>
                    <a:pt x="54" y="55"/>
                    <a:pt x="56" y="55"/>
                    <a:pt x="57" y="54"/>
                  </a:cubicBezTo>
                  <a:cubicBezTo>
                    <a:pt x="58" y="53"/>
                    <a:pt x="60" y="54"/>
                    <a:pt x="62" y="53"/>
                  </a:cubicBezTo>
                  <a:cubicBezTo>
                    <a:pt x="63" y="52"/>
                    <a:pt x="64" y="51"/>
                    <a:pt x="66" y="51"/>
                  </a:cubicBezTo>
                  <a:cubicBezTo>
                    <a:pt x="69" y="52"/>
                    <a:pt x="73" y="51"/>
                    <a:pt x="76" y="52"/>
                  </a:cubicBezTo>
                  <a:cubicBezTo>
                    <a:pt x="77" y="52"/>
                    <a:pt x="77" y="53"/>
                    <a:pt x="78" y="53"/>
                  </a:cubicBezTo>
                  <a:cubicBezTo>
                    <a:pt x="79" y="55"/>
                    <a:pt x="80" y="54"/>
                    <a:pt x="82" y="54"/>
                  </a:cubicBezTo>
                  <a:cubicBezTo>
                    <a:pt x="83" y="54"/>
                    <a:pt x="83" y="55"/>
                    <a:pt x="84" y="55"/>
                  </a:cubicBezTo>
                  <a:cubicBezTo>
                    <a:pt x="85" y="55"/>
                    <a:pt x="86" y="56"/>
                    <a:pt x="86" y="56"/>
                  </a:cubicBezTo>
                  <a:cubicBezTo>
                    <a:pt x="87" y="57"/>
                    <a:pt x="88" y="58"/>
                    <a:pt x="89" y="58"/>
                  </a:cubicBezTo>
                  <a:cubicBezTo>
                    <a:pt x="90" y="58"/>
                    <a:pt x="91" y="58"/>
                    <a:pt x="91" y="58"/>
                  </a:cubicBezTo>
                  <a:cubicBezTo>
                    <a:pt x="92" y="58"/>
                    <a:pt x="92" y="57"/>
                    <a:pt x="92" y="57"/>
                  </a:cubicBezTo>
                  <a:cubicBezTo>
                    <a:pt x="93" y="57"/>
                    <a:pt x="94" y="57"/>
                    <a:pt x="94" y="57"/>
                  </a:cubicBezTo>
                  <a:cubicBezTo>
                    <a:pt x="95" y="57"/>
                    <a:pt x="96" y="57"/>
                    <a:pt x="97" y="57"/>
                  </a:cubicBezTo>
                  <a:cubicBezTo>
                    <a:pt x="97" y="57"/>
                    <a:pt x="97" y="58"/>
                    <a:pt x="98" y="58"/>
                  </a:cubicBezTo>
                  <a:cubicBezTo>
                    <a:pt x="99" y="59"/>
                    <a:pt x="101" y="58"/>
                    <a:pt x="102" y="57"/>
                  </a:cubicBezTo>
                  <a:cubicBezTo>
                    <a:pt x="103" y="57"/>
                    <a:pt x="104" y="56"/>
                    <a:pt x="104" y="55"/>
                  </a:cubicBezTo>
                  <a:cubicBezTo>
                    <a:pt x="105" y="54"/>
                    <a:pt x="106" y="55"/>
                    <a:pt x="107" y="54"/>
                  </a:cubicBezTo>
                  <a:cubicBezTo>
                    <a:pt x="109" y="54"/>
                    <a:pt x="109" y="53"/>
                    <a:pt x="110" y="53"/>
                  </a:cubicBezTo>
                  <a:cubicBezTo>
                    <a:pt x="111" y="52"/>
                    <a:pt x="112" y="53"/>
                    <a:pt x="113" y="53"/>
                  </a:cubicBezTo>
                  <a:cubicBezTo>
                    <a:pt x="114" y="54"/>
                    <a:pt x="115" y="54"/>
                    <a:pt x="116" y="53"/>
                  </a:cubicBezTo>
                  <a:cubicBezTo>
                    <a:pt x="116" y="52"/>
                    <a:pt x="116" y="52"/>
                    <a:pt x="116" y="51"/>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2" name="Freeform 68">
              <a:extLst>
                <a:ext uri="{FF2B5EF4-FFF2-40B4-BE49-F238E27FC236}">
                  <a16:creationId xmlns:a16="http://schemas.microsoft.com/office/drawing/2014/main" id="{0D9F9157-B17F-62DD-001C-3FC576DD8125}"/>
                </a:ext>
              </a:extLst>
            </p:cNvPr>
            <p:cNvSpPr>
              <a:spLocks/>
            </p:cNvSpPr>
            <p:nvPr/>
          </p:nvSpPr>
          <p:spPr bwMode="auto">
            <a:xfrm>
              <a:off x="4318000" y="3641725"/>
              <a:ext cx="1187450" cy="1009650"/>
            </a:xfrm>
            <a:custGeom>
              <a:avLst/>
              <a:gdLst>
                <a:gd name="T0" fmla="*/ 230 w 312"/>
                <a:gd name="T1" fmla="*/ 233 h 265"/>
                <a:gd name="T2" fmla="*/ 235 w 312"/>
                <a:gd name="T3" fmla="*/ 220 h 265"/>
                <a:gd name="T4" fmla="*/ 247 w 312"/>
                <a:gd name="T5" fmla="*/ 207 h 265"/>
                <a:gd name="T6" fmla="*/ 278 w 312"/>
                <a:gd name="T7" fmla="*/ 179 h 265"/>
                <a:gd name="T8" fmla="*/ 285 w 312"/>
                <a:gd name="T9" fmla="*/ 166 h 265"/>
                <a:gd name="T10" fmla="*/ 293 w 312"/>
                <a:gd name="T11" fmla="*/ 133 h 265"/>
                <a:gd name="T12" fmla="*/ 309 w 312"/>
                <a:gd name="T13" fmla="*/ 116 h 265"/>
                <a:gd name="T14" fmla="*/ 282 w 312"/>
                <a:gd name="T15" fmla="*/ 84 h 265"/>
                <a:gd name="T16" fmla="*/ 275 w 312"/>
                <a:gd name="T17" fmla="*/ 62 h 265"/>
                <a:gd name="T18" fmla="*/ 274 w 312"/>
                <a:gd name="T19" fmla="*/ 52 h 265"/>
                <a:gd name="T20" fmla="*/ 255 w 312"/>
                <a:gd name="T21" fmla="*/ 55 h 265"/>
                <a:gd name="T22" fmla="*/ 253 w 312"/>
                <a:gd name="T23" fmla="*/ 32 h 265"/>
                <a:gd name="T24" fmla="*/ 260 w 312"/>
                <a:gd name="T25" fmla="*/ 9 h 265"/>
                <a:gd name="T26" fmla="*/ 249 w 312"/>
                <a:gd name="T27" fmla="*/ 2 h 265"/>
                <a:gd name="T28" fmla="*/ 232 w 312"/>
                <a:gd name="T29" fmla="*/ 10 h 265"/>
                <a:gd name="T30" fmla="*/ 212 w 312"/>
                <a:gd name="T31" fmla="*/ 15 h 265"/>
                <a:gd name="T32" fmla="*/ 201 w 312"/>
                <a:gd name="T33" fmla="*/ 8 h 265"/>
                <a:gd name="T34" fmla="*/ 183 w 312"/>
                <a:gd name="T35" fmla="*/ 15 h 265"/>
                <a:gd name="T36" fmla="*/ 158 w 312"/>
                <a:gd name="T37" fmla="*/ 32 h 265"/>
                <a:gd name="T38" fmla="*/ 164 w 312"/>
                <a:gd name="T39" fmla="*/ 49 h 265"/>
                <a:gd name="T40" fmla="*/ 152 w 312"/>
                <a:gd name="T41" fmla="*/ 70 h 265"/>
                <a:gd name="T42" fmla="*/ 136 w 312"/>
                <a:gd name="T43" fmla="*/ 79 h 265"/>
                <a:gd name="T44" fmla="*/ 120 w 312"/>
                <a:gd name="T45" fmla="*/ 88 h 265"/>
                <a:gd name="T46" fmla="*/ 104 w 312"/>
                <a:gd name="T47" fmla="*/ 89 h 265"/>
                <a:gd name="T48" fmla="*/ 87 w 312"/>
                <a:gd name="T49" fmla="*/ 88 h 265"/>
                <a:gd name="T50" fmla="*/ 76 w 312"/>
                <a:gd name="T51" fmla="*/ 98 h 265"/>
                <a:gd name="T52" fmla="*/ 63 w 312"/>
                <a:gd name="T53" fmla="*/ 104 h 265"/>
                <a:gd name="T54" fmla="*/ 41 w 312"/>
                <a:gd name="T55" fmla="*/ 124 h 265"/>
                <a:gd name="T56" fmla="*/ 23 w 312"/>
                <a:gd name="T57" fmla="*/ 143 h 265"/>
                <a:gd name="T58" fmla="*/ 8 w 312"/>
                <a:gd name="T59" fmla="*/ 147 h 265"/>
                <a:gd name="T60" fmla="*/ 16 w 312"/>
                <a:gd name="T61" fmla="*/ 158 h 265"/>
                <a:gd name="T62" fmla="*/ 20 w 312"/>
                <a:gd name="T63" fmla="*/ 175 h 265"/>
                <a:gd name="T64" fmla="*/ 24 w 312"/>
                <a:gd name="T65" fmla="*/ 210 h 265"/>
                <a:gd name="T66" fmla="*/ 0 w 312"/>
                <a:gd name="T67" fmla="*/ 231 h 265"/>
                <a:gd name="T68" fmla="*/ 25 w 312"/>
                <a:gd name="T69" fmla="*/ 233 h 265"/>
                <a:gd name="T70" fmla="*/ 44 w 312"/>
                <a:gd name="T71" fmla="*/ 225 h 265"/>
                <a:gd name="T72" fmla="*/ 54 w 312"/>
                <a:gd name="T73" fmla="*/ 229 h 265"/>
                <a:gd name="T74" fmla="*/ 59 w 312"/>
                <a:gd name="T75" fmla="*/ 219 h 265"/>
                <a:gd name="T76" fmla="*/ 65 w 312"/>
                <a:gd name="T77" fmla="*/ 242 h 265"/>
                <a:gd name="T78" fmla="*/ 69 w 312"/>
                <a:gd name="T79" fmla="*/ 265 h 265"/>
                <a:gd name="T80" fmla="*/ 102 w 312"/>
                <a:gd name="T81" fmla="*/ 254 h 265"/>
                <a:gd name="T82" fmla="*/ 115 w 312"/>
                <a:gd name="T83" fmla="*/ 255 h 265"/>
                <a:gd name="T84" fmla="*/ 135 w 312"/>
                <a:gd name="T85" fmla="*/ 240 h 265"/>
                <a:gd name="T86" fmla="*/ 136 w 312"/>
                <a:gd name="T87" fmla="*/ 221 h 265"/>
                <a:gd name="T88" fmla="*/ 148 w 312"/>
                <a:gd name="T89" fmla="*/ 235 h 265"/>
                <a:gd name="T90" fmla="*/ 156 w 312"/>
                <a:gd name="T91" fmla="*/ 245 h 265"/>
                <a:gd name="T92" fmla="*/ 160 w 312"/>
                <a:gd name="T93" fmla="*/ 251 h 265"/>
                <a:gd name="T94" fmla="*/ 174 w 312"/>
                <a:gd name="T95" fmla="*/ 242 h 265"/>
                <a:gd name="T96" fmla="*/ 174 w 312"/>
                <a:gd name="T97" fmla="*/ 259 h 265"/>
                <a:gd name="T98" fmla="*/ 204 w 312"/>
                <a:gd name="T99" fmla="*/ 249 h 265"/>
                <a:gd name="T100" fmla="*/ 205 w 312"/>
                <a:gd name="T101" fmla="*/ 249 h 265"/>
                <a:gd name="T102" fmla="*/ 217 w 312"/>
                <a:gd name="T103" fmla="*/ 248 h 265"/>
                <a:gd name="T104" fmla="*/ 220 w 312"/>
                <a:gd name="T105"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265">
                  <a:moveTo>
                    <a:pt x="222" y="247"/>
                  </a:moveTo>
                  <a:cubicBezTo>
                    <a:pt x="225" y="246"/>
                    <a:pt x="225" y="246"/>
                    <a:pt x="225" y="246"/>
                  </a:cubicBezTo>
                  <a:cubicBezTo>
                    <a:pt x="225" y="242"/>
                    <a:pt x="225" y="242"/>
                    <a:pt x="225" y="242"/>
                  </a:cubicBezTo>
                  <a:cubicBezTo>
                    <a:pt x="231" y="237"/>
                    <a:pt x="231" y="237"/>
                    <a:pt x="231" y="237"/>
                  </a:cubicBezTo>
                  <a:cubicBezTo>
                    <a:pt x="230" y="233"/>
                    <a:pt x="230" y="233"/>
                    <a:pt x="230" y="233"/>
                  </a:cubicBezTo>
                  <a:cubicBezTo>
                    <a:pt x="231" y="230"/>
                    <a:pt x="231" y="230"/>
                    <a:pt x="231" y="230"/>
                  </a:cubicBezTo>
                  <a:cubicBezTo>
                    <a:pt x="231" y="226"/>
                    <a:pt x="231" y="226"/>
                    <a:pt x="231" y="226"/>
                  </a:cubicBezTo>
                  <a:cubicBezTo>
                    <a:pt x="233" y="224"/>
                    <a:pt x="233" y="224"/>
                    <a:pt x="233" y="224"/>
                  </a:cubicBezTo>
                  <a:cubicBezTo>
                    <a:pt x="236" y="224"/>
                    <a:pt x="236" y="224"/>
                    <a:pt x="236" y="224"/>
                  </a:cubicBezTo>
                  <a:cubicBezTo>
                    <a:pt x="235" y="220"/>
                    <a:pt x="235" y="220"/>
                    <a:pt x="235" y="220"/>
                  </a:cubicBezTo>
                  <a:cubicBezTo>
                    <a:pt x="240" y="218"/>
                    <a:pt x="240" y="218"/>
                    <a:pt x="240" y="218"/>
                  </a:cubicBezTo>
                  <a:cubicBezTo>
                    <a:pt x="241" y="216"/>
                    <a:pt x="241" y="216"/>
                    <a:pt x="241" y="216"/>
                  </a:cubicBezTo>
                  <a:cubicBezTo>
                    <a:pt x="245" y="214"/>
                    <a:pt x="245" y="214"/>
                    <a:pt x="245" y="214"/>
                  </a:cubicBezTo>
                  <a:cubicBezTo>
                    <a:pt x="247" y="212"/>
                    <a:pt x="247" y="212"/>
                    <a:pt x="247" y="212"/>
                  </a:cubicBezTo>
                  <a:cubicBezTo>
                    <a:pt x="247" y="207"/>
                    <a:pt x="247" y="207"/>
                    <a:pt x="247" y="207"/>
                  </a:cubicBezTo>
                  <a:cubicBezTo>
                    <a:pt x="256" y="197"/>
                    <a:pt x="256" y="197"/>
                    <a:pt x="256" y="197"/>
                  </a:cubicBezTo>
                  <a:cubicBezTo>
                    <a:pt x="259" y="196"/>
                    <a:pt x="259" y="196"/>
                    <a:pt x="259" y="196"/>
                  </a:cubicBezTo>
                  <a:cubicBezTo>
                    <a:pt x="274" y="184"/>
                    <a:pt x="274" y="184"/>
                    <a:pt x="274" y="184"/>
                  </a:cubicBezTo>
                  <a:cubicBezTo>
                    <a:pt x="277" y="184"/>
                    <a:pt x="277" y="184"/>
                    <a:pt x="277" y="184"/>
                  </a:cubicBezTo>
                  <a:cubicBezTo>
                    <a:pt x="278" y="179"/>
                    <a:pt x="278" y="179"/>
                    <a:pt x="278" y="179"/>
                  </a:cubicBezTo>
                  <a:cubicBezTo>
                    <a:pt x="280" y="175"/>
                    <a:pt x="280" y="175"/>
                    <a:pt x="280" y="175"/>
                  </a:cubicBezTo>
                  <a:cubicBezTo>
                    <a:pt x="284" y="173"/>
                    <a:pt x="284" y="173"/>
                    <a:pt x="284" y="173"/>
                  </a:cubicBezTo>
                  <a:cubicBezTo>
                    <a:pt x="283" y="171"/>
                    <a:pt x="283" y="171"/>
                    <a:pt x="283" y="171"/>
                  </a:cubicBezTo>
                  <a:cubicBezTo>
                    <a:pt x="285" y="168"/>
                    <a:pt x="285" y="168"/>
                    <a:pt x="285" y="168"/>
                  </a:cubicBezTo>
                  <a:cubicBezTo>
                    <a:pt x="285" y="166"/>
                    <a:pt x="285" y="166"/>
                    <a:pt x="285" y="166"/>
                  </a:cubicBezTo>
                  <a:cubicBezTo>
                    <a:pt x="285" y="164"/>
                    <a:pt x="285" y="164"/>
                    <a:pt x="285" y="164"/>
                  </a:cubicBezTo>
                  <a:cubicBezTo>
                    <a:pt x="279" y="164"/>
                    <a:pt x="279" y="164"/>
                    <a:pt x="279" y="164"/>
                  </a:cubicBezTo>
                  <a:cubicBezTo>
                    <a:pt x="279" y="159"/>
                    <a:pt x="279" y="159"/>
                    <a:pt x="279" y="159"/>
                  </a:cubicBezTo>
                  <a:cubicBezTo>
                    <a:pt x="285" y="136"/>
                    <a:pt x="285" y="136"/>
                    <a:pt x="285" y="136"/>
                  </a:cubicBezTo>
                  <a:cubicBezTo>
                    <a:pt x="293" y="133"/>
                    <a:pt x="293" y="133"/>
                    <a:pt x="293" y="133"/>
                  </a:cubicBezTo>
                  <a:cubicBezTo>
                    <a:pt x="300" y="130"/>
                    <a:pt x="300" y="130"/>
                    <a:pt x="300" y="130"/>
                  </a:cubicBezTo>
                  <a:cubicBezTo>
                    <a:pt x="306" y="129"/>
                    <a:pt x="306" y="129"/>
                    <a:pt x="306" y="129"/>
                  </a:cubicBezTo>
                  <a:cubicBezTo>
                    <a:pt x="307" y="124"/>
                    <a:pt x="307" y="124"/>
                    <a:pt x="307" y="124"/>
                  </a:cubicBezTo>
                  <a:cubicBezTo>
                    <a:pt x="312" y="119"/>
                    <a:pt x="312" y="119"/>
                    <a:pt x="312" y="119"/>
                  </a:cubicBezTo>
                  <a:cubicBezTo>
                    <a:pt x="309" y="116"/>
                    <a:pt x="309" y="116"/>
                    <a:pt x="309" y="116"/>
                  </a:cubicBezTo>
                  <a:cubicBezTo>
                    <a:pt x="306" y="117"/>
                    <a:pt x="306" y="117"/>
                    <a:pt x="306" y="117"/>
                  </a:cubicBezTo>
                  <a:cubicBezTo>
                    <a:pt x="290" y="101"/>
                    <a:pt x="290" y="101"/>
                    <a:pt x="290" y="101"/>
                  </a:cubicBezTo>
                  <a:cubicBezTo>
                    <a:pt x="284" y="99"/>
                    <a:pt x="284" y="99"/>
                    <a:pt x="284" y="99"/>
                  </a:cubicBezTo>
                  <a:cubicBezTo>
                    <a:pt x="282" y="95"/>
                    <a:pt x="282" y="95"/>
                    <a:pt x="282" y="95"/>
                  </a:cubicBezTo>
                  <a:cubicBezTo>
                    <a:pt x="282" y="84"/>
                    <a:pt x="282" y="84"/>
                    <a:pt x="282" y="84"/>
                  </a:cubicBezTo>
                  <a:cubicBezTo>
                    <a:pt x="275" y="76"/>
                    <a:pt x="275" y="76"/>
                    <a:pt x="275" y="76"/>
                  </a:cubicBezTo>
                  <a:cubicBezTo>
                    <a:pt x="276" y="72"/>
                    <a:pt x="276" y="72"/>
                    <a:pt x="276" y="72"/>
                  </a:cubicBezTo>
                  <a:cubicBezTo>
                    <a:pt x="274" y="69"/>
                    <a:pt x="274" y="69"/>
                    <a:pt x="274" y="69"/>
                  </a:cubicBezTo>
                  <a:cubicBezTo>
                    <a:pt x="274" y="69"/>
                    <a:pt x="275" y="66"/>
                    <a:pt x="275" y="66"/>
                  </a:cubicBezTo>
                  <a:cubicBezTo>
                    <a:pt x="275" y="65"/>
                    <a:pt x="275" y="63"/>
                    <a:pt x="275" y="62"/>
                  </a:cubicBezTo>
                  <a:cubicBezTo>
                    <a:pt x="275" y="62"/>
                    <a:pt x="276" y="59"/>
                    <a:pt x="277" y="59"/>
                  </a:cubicBezTo>
                  <a:cubicBezTo>
                    <a:pt x="279" y="55"/>
                    <a:pt x="279" y="55"/>
                    <a:pt x="279" y="55"/>
                  </a:cubicBezTo>
                  <a:cubicBezTo>
                    <a:pt x="279" y="51"/>
                    <a:pt x="279" y="51"/>
                    <a:pt x="279" y="51"/>
                  </a:cubicBezTo>
                  <a:cubicBezTo>
                    <a:pt x="277" y="50"/>
                    <a:pt x="277" y="50"/>
                    <a:pt x="277" y="50"/>
                  </a:cubicBezTo>
                  <a:cubicBezTo>
                    <a:pt x="274" y="52"/>
                    <a:pt x="274" y="52"/>
                    <a:pt x="274" y="52"/>
                  </a:cubicBezTo>
                  <a:cubicBezTo>
                    <a:pt x="270" y="54"/>
                    <a:pt x="270" y="54"/>
                    <a:pt x="270" y="54"/>
                  </a:cubicBezTo>
                  <a:cubicBezTo>
                    <a:pt x="266" y="57"/>
                    <a:pt x="266" y="57"/>
                    <a:pt x="266" y="57"/>
                  </a:cubicBezTo>
                  <a:cubicBezTo>
                    <a:pt x="263" y="59"/>
                    <a:pt x="263" y="59"/>
                    <a:pt x="263" y="59"/>
                  </a:cubicBezTo>
                  <a:cubicBezTo>
                    <a:pt x="257" y="60"/>
                    <a:pt x="257" y="60"/>
                    <a:pt x="257" y="60"/>
                  </a:cubicBezTo>
                  <a:cubicBezTo>
                    <a:pt x="255" y="55"/>
                    <a:pt x="255" y="55"/>
                    <a:pt x="255" y="55"/>
                  </a:cubicBezTo>
                  <a:cubicBezTo>
                    <a:pt x="254" y="48"/>
                    <a:pt x="254" y="48"/>
                    <a:pt x="254" y="48"/>
                  </a:cubicBezTo>
                  <a:cubicBezTo>
                    <a:pt x="253" y="45"/>
                    <a:pt x="253" y="45"/>
                    <a:pt x="253" y="45"/>
                  </a:cubicBezTo>
                  <a:cubicBezTo>
                    <a:pt x="247" y="44"/>
                    <a:pt x="247" y="44"/>
                    <a:pt x="247" y="44"/>
                  </a:cubicBezTo>
                  <a:cubicBezTo>
                    <a:pt x="248" y="40"/>
                    <a:pt x="248" y="40"/>
                    <a:pt x="248" y="40"/>
                  </a:cubicBezTo>
                  <a:cubicBezTo>
                    <a:pt x="253" y="32"/>
                    <a:pt x="253" y="32"/>
                    <a:pt x="253" y="32"/>
                  </a:cubicBezTo>
                  <a:cubicBezTo>
                    <a:pt x="256" y="28"/>
                    <a:pt x="256" y="28"/>
                    <a:pt x="256" y="28"/>
                  </a:cubicBezTo>
                  <a:cubicBezTo>
                    <a:pt x="264" y="30"/>
                    <a:pt x="264" y="30"/>
                    <a:pt x="264" y="30"/>
                  </a:cubicBezTo>
                  <a:cubicBezTo>
                    <a:pt x="268" y="24"/>
                    <a:pt x="268" y="24"/>
                    <a:pt x="268" y="24"/>
                  </a:cubicBezTo>
                  <a:cubicBezTo>
                    <a:pt x="264" y="16"/>
                    <a:pt x="264" y="16"/>
                    <a:pt x="264" y="16"/>
                  </a:cubicBezTo>
                  <a:cubicBezTo>
                    <a:pt x="260" y="9"/>
                    <a:pt x="260" y="9"/>
                    <a:pt x="260" y="9"/>
                  </a:cubicBezTo>
                  <a:cubicBezTo>
                    <a:pt x="259" y="3"/>
                    <a:pt x="259" y="3"/>
                    <a:pt x="259" y="3"/>
                  </a:cubicBezTo>
                  <a:cubicBezTo>
                    <a:pt x="254" y="0"/>
                    <a:pt x="254" y="0"/>
                    <a:pt x="254" y="0"/>
                  </a:cubicBezTo>
                  <a:cubicBezTo>
                    <a:pt x="254" y="0"/>
                    <a:pt x="252" y="2"/>
                    <a:pt x="252" y="3"/>
                  </a:cubicBezTo>
                  <a:cubicBezTo>
                    <a:pt x="252" y="3"/>
                    <a:pt x="252" y="5"/>
                    <a:pt x="252" y="5"/>
                  </a:cubicBezTo>
                  <a:cubicBezTo>
                    <a:pt x="249" y="2"/>
                    <a:pt x="249" y="2"/>
                    <a:pt x="249" y="2"/>
                  </a:cubicBezTo>
                  <a:cubicBezTo>
                    <a:pt x="246" y="4"/>
                    <a:pt x="246" y="4"/>
                    <a:pt x="246" y="4"/>
                  </a:cubicBezTo>
                  <a:cubicBezTo>
                    <a:pt x="242" y="6"/>
                    <a:pt x="242" y="6"/>
                    <a:pt x="242" y="6"/>
                  </a:cubicBezTo>
                  <a:cubicBezTo>
                    <a:pt x="242" y="6"/>
                    <a:pt x="240" y="4"/>
                    <a:pt x="240" y="4"/>
                  </a:cubicBezTo>
                  <a:cubicBezTo>
                    <a:pt x="240" y="5"/>
                    <a:pt x="236" y="9"/>
                    <a:pt x="236" y="9"/>
                  </a:cubicBezTo>
                  <a:cubicBezTo>
                    <a:pt x="232" y="10"/>
                    <a:pt x="232" y="10"/>
                    <a:pt x="232" y="10"/>
                  </a:cubicBezTo>
                  <a:cubicBezTo>
                    <a:pt x="231" y="12"/>
                    <a:pt x="231" y="12"/>
                    <a:pt x="231" y="12"/>
                  </a:cubicBezTo>
                  <a:cubicBezTo>
                    <a:pt x="227" y="13"/>
                    <a:pt x="227" y="13"/>
                    <a:pt x="227" y="13"/>
                  </a:cubicBezTo>
                  <a:cubicBezTo>
                    <a:pt x="224" y="18"/>
                    <a:pt x="224" y="18"/>
                    <a:pt x="224" y="18"/>
                  </a:cubicBezTo>
                  <a:cubicBezTo>
                    <a:pt x="224" y="18"/>
                    <a:pt x="220" y="15"/>
                    <a:pt x="219" y="15"/>
                  </a:cubicBezTo>
                  <a:cubicBezTo>
                    <a:pt x="219" y="15"/>
                    <a:pt x="212" y="15"/>
                    <a:pt x="212" y="15"/>
                  </a:cubicBezTo>
                  <a:cubicBezTo>
                    <a:pt x="211" y="15"/>
                    <a:pt x="209" y="12"/>
                    <a:pt x="209" y="12"/>
                  </a:cubicBezTo>
                  <a:cubicBezTo>
                    <a:pt x="209" y="9"/>
                    <a:pt x="209" y="9"/>
                    <a:pt x="209" y="9"/>
                  </a:cubicBezTo>
                  <a:cubicBezTo>
                    <a:pt x="206" y="6"/>
                    <a:pt x="206" y="6"/>
                    <a:pt x="206" y="6"/>
                  </a:cubicBezTo>
                  <a:cubicBezTo>
                    <a:pt x="203" y="6"/>
                    <a:pt x="203" y="6"/>
                    <a:pt x="203" y="6"/>
                  </a:cubicBezTo>
                  <a:cubicBezTo>
                    <a:pt x="202" y="6"/>
                    <a:pt x="202" y="7"/>
                    <a:pt x="201" y="8"/>
                  </a:cubicBezTo>
                  <a:cubicBezTo>
                    <a:pt x="199" y="8"/>
                    <a:pt x="194" y="9"/>
                    <a:pt x="194" y="9"/>
                  </a:cubicBezTo>
                  <a:cubicBezTo>
                    <a:pt x="190" y="8"/>
                    <a:pt x="190" y="8"/>
                    <a:pt x="190" y="8"/>
                  </a:cubicBezTo>
                  <a:cubicBezTo>
                    <a:pt x="190" y="8"/>
                    <a:pt x="189" y="8"/>
                    <a:pt x="188" y="8"/>
                  </a:cubicBezTo>
                  <a:cubicBezTo>
                    <a:pt x="187" y="10"/>
                    <a:pt x="187" y="10"/>
                    <a:pt x="187" y="10"/>
                  </a:cubicBezTo>
                  <a:cubicBezTo>
                    <a:pt x="183" y="15"/>
                    <a:pt x="183" y="15"/>
                    <a:pt x="183" y="15"/>
                  </a:cubicBezTo>
                  <a:cubicBezTo>
                    <a:pt x="181" y="16"/>
                    <a:pt x="181" y="16"/>
                    <a:pt x="181" y="16"/>
                  </a:cubicBezTo>
                  <a:cubicBezTo>
                    <a:pt x="179" y="18"/>
                    <a:pt x="179" y="18"/>
                    <a:pt x="179" y="18"/>
                  </a:cubicBezTo>
                  <a:cubicBezTo>
                    <a:pt x="177" y="22"/>
                    <a:pt x="177" y="22"/>
                    <a:pt x="177" y="22"/>
                  </a:cubicBezTo>
                  <a:cubicBezTo>
                    <a:pt x="165" y="32"/>
                    <a:pt x="165" y="32"/>
                    <a:pt x="165" y="32"/>
                  </a:cubicBezTo>
                  <a:cubicBezTo>
                    <a:pt x="158" y="32"/>
                    <a:pt x="158" y="32"/>
                    <a:pt x="158" y="32"/>
                  </a:cubicBezTo>
                  <a:cubicBezTo>
                    <a:pt x="155" y="34"/>
                    <a:pt x="155" y="34"/>
                    <a:pt x="155" y="34"/>
                  </a:cubicBezTo>
                  <a:cubicBezTo>
                    <a:pt x="157" y="36"/>
                    <a:pt x="157" y="36"/>
                    <a:pt x="157" y="36"/>
                  </a:cubicBezTo>
                  <a:cubicBezTo>
                    <a:pt x="163" y="40"/>
                    <a:pt x="163" y="40"/>
                    <a:pt x="163" y="40"/>
                  </a:cubicBezTo>
                  <a:cubicBezTo>
                    <a:pt x="163" y="40"/>
                    <a:pt x="163" y="44"/>
                    <a:pt x="163" y="44"/>
                  </a:cubicBezTo>
                  <a:cubicBezTo>
                    <a:pt x="163" y="45"/>
                    <a:pt x="164" y="49"/>
                    <a:pt x="164" y="49"/>
                  </a:cubicBezTo>
                  <a:cubicBezTo>
                    <a:pt x="163" y="57"/>
                    <a:pt x="163" y="57"/>
                    <a:pt x="163" y="57"/>
                  </a:cubicBezTo>
                  <a:cubicBezTo>
                    <a:pt x="160" y="61"/>
                    <a:pt x="160" y="61"/>
                    <a:pt x="160" y="61"/>
                  </a:cubicBezTo>
                  <a:cubicBezTo>
                    <a:pt x="156" y="62"/>
                    <a:pt x="156" y="62"/>
                    <a:pt x="156" y="62"/>
                  </a:cubicBezTo>
                  <a:cubicBezTo>
                    <a:pt x="153" y="66"/>
                    <a:pt x="153" y="66"/>
                    <a:pt x="153" y="66"/>
                  </a:cubicBezTo>
                  <a:cubicBezTo>
                    <a:pt x="152" y="70"/>
                    <a:pt x="152" y="70"/>
                    <a:pt x="152" y="70"/>
                  </a:cubicBezTo>
                  <a:cubicBezTo>
                    <a:pt x="154" y="73"/>
                    <a:pt x="154" y="73"/>
                    <a:pt x="154" y="73"/>
                  </a:cubicBezTo>
                  <a:cubicBezTo>
                    <a:pt x="151" y="79"/>
                    <a:pt x="151" y="79"/>
                    <a:pt x="151" y="79"/>
                  </a:cubicBezTo>
                  <a:cubicBezTo>
                    <a:pt x="147" y="75"/>
                    <a:pt x="147" y="75"/>
                    <a:pt x="147" y="75"/>
                  </a:cubicBezTo>
                  <a:cubicBezTo>
                    <a:pt x="142" y="78"/>
                    <a:pt x="142" y="78"/>
                    <a:pt x="142" y="78"/>
                  </a:cubicBezTo>
                  <a:cubicBezTo>
                    <a:pt x="136" y="79"/>
                    <a:pt x="136" y="79"/>
                    <a:pt x="136" y="79"/>
                  </a:cubicBezTo>
                  <a:cubicBezTo>
                    <a:pt x="132" y="80"/>
                    <a:pt x="132" y="80"/>
                    <a:pt x="132" y="80"/>
                  </a:cubicBezTo>
                  <a:cubicBezTo>
                    <a:pt x="128" y="83"/>
                    <a:pt x="128" y="83"/>
                    <a:pt x="128" y="83"/>
                  </a:cubicBezTo>
                  <a:cubicBezTo>
                    <a:pt x="123" y="82"/>
                    <a:pt x="123" y="82"/>
                    <a:pt x="123" y="82"/>
                  </a:cubicBezTo>
                  <a:cubicBezTo>
                    <a:pt x="122" y="85"/>
                    <a:pt x="122" y="85"/>
                    <a:pt x="122" y="85"/>
                  </a:cubicBezTo>
                  <a:cubicBezTo>
                    <a:pt x="120" y="88"/>
                    <a:pt x="120" y="88"/>
                    <a:pt x="120" y="88"/>
                  </a:cubicBezTo>
                  <a:cubicBezTo>
                    <a:pt x="115" y="88"/>
                    <a:pt x="115" y="88"/>
                    <a:pt x="115" y="88"/>
                  </a:cubicBezTo>
                  <a:cubicBezTo>
                    <a:pt x="112" y="91"/>
                    <a:pt x="112" y="91"/>
                    <a:pt x="112" y="91"/>
                  </a:cubicBezTo>
                  <a:cubicBezTo>
                    <a:pt x="108" y="90"/>
                    <a:pt x="108" y="90"/>
                    <a:pt x="108" y="90"/>
                  </a:cubicBezTo>
                  <a:cubicBezTo>
                    <a:pt x="107" y="93"/>
                    <a:pt x="107" y="93"/>
                    <a:pt x="107" y="93"/>
                  </a:cubicBezTo>
                  <a:cubicBezTo>
                    <a:pt x="104" y="89"/>
                    <a:pt x="104" y="89"/>
                    <a:pt x="104" y="89"/>
                  </a:cubicBezTo>
                  <a:cubicBezTo>
                    <a:pt x="101" y="91"/>
                    <a:pt x="101" y="91"/>
                    <a:pt x="101" y="91"/>
                  </a:cubicBezTo>
                  <a:cubicBezTo>
                    <a:pt x="95" y="93"/>
                    <a:pt x="95" y="93"/>
                    <a:pt x="95" y="93"/>
                  </a:cubicBezTo>
                  <a:cubicBezTo>
                    <a:pt x="93" y="88"/>
                    <a:pt x="93" y="88"/>
                    <a:pt x="93" y="88"/>
                  </a:cubicBezTo>
                  <a:cubicBezTo>
                    <a:pt x="89" y="85"/>
                    <a:pt x="89" y="85"/>
                    <a:pt x="89" y="85"/>
                  </a:cubicBezTo>
                  <a:cubicBezTo>
                    <a:pt x="87" y="88"/>
                    <a:pt x="87" y="88"/>
                    <a:pt x="87" y="88"/>
                  </a:cubicBezTo>
                  <a:cubicBezTo>
                    <a:pt x="86" y="92"/>
                    <a:pt x="86" y="92"/>
                    <a:pt x="86" y="92"/>
                  </a:cubicBezTo>
                  <a:cubicBezTo>
                    <a:pt x="80" y="91"/>
                    <a:pt x="80" y="91"/>
                    <a:pt x="80" y="91"/>
                  </a:cubicBezTo>
                  <a:cubicBezTo>
                    <a:pt x="79" y="92"/>
                    <a:pt x="79" y="92"/>
                    <a:pt x="79" y="92"/>
                  </a:cubicBezTo>
                  <a:cubicBezTo>
                    <a:pt x="78" y="97"/>
                    <a:pt x="78" y="97"/>
                    <a:pt x="78" y="97"/>
                  </a:cubicBezTo>
                  <a:cubicBezTo>
                    <a:pt x="76" y="98"/>
                    <a:pt x="76" y="98"/>
                    <a:pt x="76" y="98"/>
                  </a:cubicBezTo>
                  <a:cubicBezTo>
                    <a:pt x="72" y="96"/>
                    <a:pt x="72" y="96"/>
                    <a:pt x="72" y="96"/>
                  </a:cubicBezTo>
                  <a:cubicBezTo>
                    <a:pt x="72" y="100"/>
                    <a:pt x="72" y="100"/>
                    <a:pt x="72" y="100"/>
                  </a:cubicBezTo>
                  <a:cubicBezTo>
                    <a:pt x="69" y="101"/>
                    <a:pt x="69" y="101"/>
                    <a:pt x="69" y="101"/>
                  </a:cubicBezTo>
                  <a:cubicBezTo>
                    <a:pt x="67" y="104"/>
                    <a:pt x="67" y="104"/>
                    <a:pt x="67" y="104"/>
                  </a:cubicBezTo>
                  <a:cubicBezTo>
                    <a:pt x="63" y="104"/>
                    <a:pt x="63" y="104"/>
                    <a:pt x="63" y="104"/>
                  </a:cubicBezTo>
                  <a:cubicBezTo>
                    <a:pt x="54" y="108"/>
                    <a:pt x="54" y="108"/>
                    <a:pt x="54" y="108"/>
                  </a:cubicBezTo>
                  <a:cubicBezTo>
                    <a:pt x="54" y="111"/>
                    <a:pt x="54" y="111"/>
                    <a:pt x="54" y="111"/>
                  </a:cubicBezTo>
                  <a:cubicBezTo>
                    <a:pt x="50" y="115"/>
                    <a:pt x="50" y="115"/>
                    <a:pt x="50" y="115"/>
                  </a:cubicBezTo>
                  <a:cubicBezTo>
                    <a:pt x="49" y="122"/>
                    <a:pt x="49" y="122"/>
                    <a:pt x="49" y="122"/>
                  </a:cubicBezTo>
                  <a:cubicBezTo>
                    <a:pt x="41" y="124"/>
                    <a:pt x="41" y="124"/>
                    <a:pt x="41" y="124"/>
                  </a:cubicBezTo>
                  <a:cubicBezTo>
                    <a:pt x="35" y="133"/>
                    <a:pt x="35" y="133"/>
                    <a:pt x="35" y="133"/>
                  </a:cubicBezTo>
                  <a:cubicBezTo>
                    <a:pt x="31" y="135"/>
                    <a:pt x="31" y="135"/>
                    <a:pt x="31" y="135"/>
                  </a:cubicBezTo>
                  <a:cubicBezTo>
                    <a:pt x="27" y="136"/>
                    <a:pt x="27" y="136"/>
                    <a:pt x="27" y="136"/>
                  </a:cubicBezTo>
                  <a:cubicBezTo>
                    <a:pt x="24" y="136"/>
                    <a:pt x="24" y="136"/>
                    <a:pt x="24" y="136"/>
                  </a:cubicBezTo>
                  <a:cubicBezTo>
                    <a:pt x="23" y="143"/>
                    <a:pt x="23" y="143"/>
                    <a:pt x="23" y="143"/>
                  </a:cubicBezTo>
                  <a:cubicBezTo>
                    <a:pt x="22" y="143"/>
                    <a:pt x="22" y="143"/>
                    <a:pt x="22" y="143"/>
                  </a:cubicBezTo>
                  <a:cubicBezTo>
                    <a:pt x="20" y="142"/>
                    <a:pt x="20" y="142"/>
                    <a:pt x="20" y="142"/>
                  </a:cubicBezTo>
                  <a:cubicBezTo>
                    <a:pt x="18" y="144"/>
                    <a:pt x="18" y="144"/>
                    <a:pt x="18" y="144"/>
                  </a:cubicBezTo>
                  <a:cubicBezTo>
                    <a:pt x="15" y="143"/>
                    <a:pt x="15" y="143"/>
                    <a:pt x="15" y="143"/>
                  </a:cubicBezTo>
                  <a:cubicBezTo>
                    <a:pt x="8" y="147"/>
                    <a:pt x="8" y="147"/>
                    <a:pt x="8" y="147"/>
                  </a:cubicBezTo>
                  <a:cubicBezTo>
                    <a:pt x="8" y="151"/>
                    <a:pt x="8" y="151"/>
                    <a:pt x="8" y="151"/>
                  </a:cubicBezTo>
                  <a:cubicBezTo>
                    <a:pt x="10" y="153"/>
                    <a:pt x="10" y="153"/>
                    <a:pt x="10" y="153"/>
                  </a:cubicBezTo>
                  <a:cubicBezTo>
                    <a:pt x="16" y="151"/>
                    <a:pt x="16" y="151"/>
                    <a:pt x="16" y="151"/>
                  </a:cubicBezTo>
                  <a:cubicBezTo>
                    <a:pt x="16" y="151"/>
                    <a:pt x="17" y="155"/>
                    <a:pt x="17" y="156"/>
                  </a:cubicBezTo>
                  <a:cubicBezTo>
                    <a:pt x="17" y="156"/>
                    <a:pt x="16" y="158"/>
                    <a:pt x="16" y="158"/>
                  </a:cubicBezTo>
                  <a:cubicBezTo>
                    <a:pt x="15" y="162"/>
                    <a:pt x="15" y="162"/>
                    <a:pt x="15" y="162"/>
                  </a:cubicBezTo>
                  <a:cubicBezTo>
                    <a:pt x="15" y="166"/>
                    <a:pt x="15" y="166"/>
                    <a:pt x="15" y="166"/>
                  </a:cubicBezTo>
                  <a:cubicBezTo>
                    <a:pt x="18" y="168"/>
                    <a:pt x="18" y="168"/>
                    <a:pt x="18" y="168"/>
                  </a:cubicBezTo>
                  <a:cubicBezTo>
                    <a:pt x="21" y="171"/>
                    <a:pt x="21" y="171"/>
                    <a:pt x="21" y="171"/>
                  </a:cubicBezTo>
                  <a:cubicBezTo>
                    <a:pt x="20" y="175"/>
                    <a:pt x="20" y="175"/>
                    <a:pt x="20" y="175"/>
                  </a:cubicBezTo>
                  <a:cubicBezTo>
                    <a:pt x="20" y="182"/>
                    <a:pt x="20" y="182"/>
                    <a:pt x="20" y="182"/>
                  </a:cubicBezTo>
                  <a:cubicBezTo>
                    <a:pt x="18" y="185"/>
                    <a:pt x="18" y="185"/>
                    <a:pt x="18" y="185"/>
                  </a:cubicBezTo>
                  <a:cubicBezTo>
                    <a:pt x="21" y="188"/>
                    <a:pt x="21" y="188"/>
                    <a:pt x="21" y="188"/>
                  </a:cubicBezTo>
                  <a:cubicBezTo>
                    <a:pt x="24" y="207"/>
                    <a:pt x="24" y="207"/>
                    <a:pt x="24" y="207"/>
                  </a:cubicBezTo>
                  <a:cubicBezTo>
                    <a:pt x="24" y="210"/>
                    <a:pt x="24" y="210"/>
                    <a:pt x="24" y="210"/>
                  </a:cubicBezTo>
                  <a:cubicBezTo>
                    <a:pt x="26" y="214"/>
                    <a:pt x="26" y="214"/>
                    <a:pt x="26" y="214"/>
                  </a:cubicBezTo>
                  <a:cubicBezTo>
                    <a:pt x="24" y="216"/>
                    <a:pt x="24" y="216"/>
                    <a:pt x="24" y="216"/>
                  </a:cubicBezTo>
                  <a:cubicBezTo>
                    <a:pt x="1" y="228"/>
                    <a:pt x="1" y="228"/>
                    <a:pt x="1" y="228"/>
                  </a:cubicBezTo>
                  <a:cubicBezTo>
                    <a:pt x="0" y="231"/>
                    <a:pt x="0" y="231"/>
                    <a:pt x="0" y="231"/>
                  </a:cubicBezTo>
                  <a:cubicBezTo>
                    <a:pt x="0" y="231"/>
                    <a:pt x="0" y="231"/>
                    <a:pt x="0" y="231"/>
                  </a:cubicBezTo>
                  <a:cubicBezTo>
                    <a:pt x="2" y="230"/>
                    <a:pt x="4" y="230"/>
                    <a:pt x="5" y="231"/>
                  </a:cubicBezTo>
                  <a:cubicBezTo>
                    <a:pt x="8" y="232"/>
                    <a:pt x="11" y="233"/>
                    <a:pt x="13" y="235"/>
                  </a:cubicBezTo>
                  <a:cubicBezTo>
                    <a:pt x="14" y="235"/>
                    <a:pt x="14" y="236"/>
                    <a:pt x="15" y="236"/>
                  </a:cubicBezTo>
                  <a:cubicBezTo>
                    <a:pt x="16" y="236"/>
                    <a:pt x="17" y="235"/>
                    <a:pt x="19" y="235"/>
                  </a:cubicBezTo>
                  <a:cubicBezTo>
                    <a:pt x="21" y="234"/>
                    <a:pt x="23" y="234"/>
                    <a:pt x="25" y="233"/>
                  </a:cubicBezTo>
                  <a:cubicBezTo>
                    <a:pt x="27" y="232"/>
                    <a:pt x="28" y="230"/>
                    <a:pt x="30" y="229"/>
                  </a:cubicBezTo>
                  <a:cubicBezTo>
                    <a:pt x="31" y="228"/>
                    <a:pt x="32" y="228"/>
                    <a:pt x="33" y="228"/>
                  </a:cubicBezTo>
                  <a:cubicBezTo>
                    <a:pt x="34" y="227"/>
                    <a:pt x="35" y="227"/>
                    <a:pt x="36" y="226"/>
                  </a:cubicBezTo>
                  <a:cubicBezTo>
                    <a:pt x="37" y="226"/>
                    <a:pt x="38" y="226"/>
                    <a:pt x="39" y="226"/>
                  </a:cubicBezTo>
                  <a:cubicBezTo>
                    <a:pt x="41" y="226"/>
                    <a:pt x="42" y="225"/>
                    <a:pt x="44" y="225"/>
                  </a:cubicBezTo>
                  <a:cubicBezTo>
                    <a:pt x="44" y="225"/>
                    <a:pt x="43" y="226"/>
                    <a:pt x="43" y="227"/>
                  </a:cubicBezTo>
                  <a:cubicBezTo>
                    <a:pt x="44" y="227"/>
                    <a:pt x="44" y="228"/>
                    <a:pt x="45" y="228"/>
                  </a:cubicBezTo>
                  <a:cubicBezTo>
                    <a:pt x="46" y="229"/>
                    <a:pt x="47" y="230"/>
                    <a:pt x="48" y="231"/>
                  </a:cubicBezTo>
                  <a:cubicBezTo>
                    <a:pt x="49" y="232"/>
                    <a:pt x="49" y="233"/>
                    <a:pt x="50" y="232"/>
                  </a:cubicBezTo>
                  <a:cubicBezTo>
                    <a:pt x="51" y="231"/>
                    <a:pt x="53" y="229"/>
                    <a:pt x="54" y="229"/>
                  </a:cubicBezTo>
                  <a:cubicBezTo>
                    <a:pt x="55" y="229"/>
                    <a:pt x="57" y="229"/>
                    <a:pt x="58" y="228"/>
                  </a:cubicBezTo>
                  <a:cubicBezTo>
                    <a:pt x="59" y="228"/>
                    <a:pt x="58" y="228"/>
                    <a:pt x="58" y="227"/>
                  </a:cubicBezTo>
                  <a:cubicBezTo>
                    <a:pt x="57" y="226"/>
                    <a:pt x="57" y="225"/>
                    <a:pt x="57" y="225"/>
                  </a:cubicBezTo>
                  <a:cubicBezTo>
                    <a:pt x="57" y="224"/>
                    <a:pt x="58" y="224"/>
                    <a:pt x="59" y="223"/>
                  </a:cubicBezTo>
                  <a:cubicBezTo>
                    <a:pt x="59" y="222"/>
                    <a:pt x="58" y="220"/>
                    <a:pt x="59" y="219"/>
                  </a:cubicBezTo>
                  <a:cubicBezTo>
                    <a:pt x="61" y="219"/>
                    <a:pt x="61" y="221"/>
                    <a:pt x="61" y="222"/>
                  </a:cubicBezTo>
                  <a:cubicBezTo>
                    <a:pt x="61" y="224"/>
                    <a:pt x="62" y="226"/>
                    <a:pt x="62" y="228"/>
                  </a:cubicBezTo>
                  <a:cubicBezTo>
                    <a:pt x="63" y="230"/>
                    <a:pt x="65" y="231"/>
                    <a:pt x="66" y="233"/>
                  </a:cubicBezTo>
                  <a:cubicBezTo>
                    <a:pt x="67" y="234"/>
                    <a:pt x="66" y="236"/>
                    <a:pt x="66" y="238"/>
                  </a:cubicBezTo>
                  <a:cubicBezTo>
                    <a:pt x="66" y="239"/>
                    <a:pt x="65" y="241"/>
                    <a:pt x="65" y="242"/>
                  </a:cubicBezTo>
                  <a:cubicBezTo>
                    <a:pt x="65" y="244"/>
                    <a:pt x="65" y="246"/>
                    <a:pt x="65" y="248"/>
                  </a:cubicBezTo>
                  <a:cubicBezTo>
                    <a:pt x="66" y="251"/>
                    <a:pt x="66" y="254"/>
                    <a:pt x="66" y="257"/>
                  </a:cubicBezTo>
                  <a:cubicBezTo>
                    <a:pt x="66" y="259"/>
                    <a:pt x="64" y="261"/>
                    <a:pt x="64" y="263"/>
                  </a:cubicBezTo>
                  <a:cubicBezTo>
                    <a:pt x="65" y="264"/>
                    <a:pt x="65" y="265"/>
                    <a:pt x="66" y="265"/>
                  </a:cubicBezTo>
                  <a:cubicBezTo>
                    <a:pt x="67" y="265"/>
                    <a:pt x="68" y="265"/>
                    <a:pt x="69" y="265"/>
                  </a:cubicBezTo>
                  <a:cubicBezTo>
                    <a:pt x="71" y="265"/>
                    <a:pt x="72" y="264"/>
                    <a:pt x="74" y="263"/>
                  </a:cubicBezTo>
                  <a:cubicBezTo>
                    <a:pt x="77" y="261"/>
                    <a:pt x="80" y="258"/>
                    <a:pt x="82" y="256"/>
                  </a:cubicBezTo>
                  <a:cubicBezTo>
                    <a:pt x="84" y="254"/>
                    <a:pt x="87" y="252"/>
                    <a:pt x="89" y="251"/>
                  </a:cubicBezTo>
                  <a:cubicBezTo>
                    <a:pt x="91" y="251"/>
                    <a:pt x="93" y="251"/>
                    <a:pt x="95" y="251"/>
                  </a:cubicBezTo>
                  <a:cubicBezTo>
                    <a:pt x="98" y="251"/>
                    <a:pt x="100" y="252"/>
                    <a:pt x="102" y="254"/>
                  </a:cubicBezTo>
                  <a:cubicBezTo>
                    <a:pt x="104" y="254"/>
                    <a:pt x="105" y="255"/>
                    <a:pt x="106" y="256"/>
                  </a:cubicBezTo>
                  <a:cubicBezTo>
                    <a:pt x="106" y="257"/>
                    <a:pt x="107" y="258"/>
                    <a:pt x="108" y="258"/>
                  </a:cubicBezTo>
                  <a:cubicBezTo>
                    <a:pt x="109" y="258"/>
                    <a:pt x="109" y="258"/>
                    <a:pt x="110" y="259"/>
                  </a:cubicBezTo>
                  <a:cubicBezTo>
                    <a:pt x="111" y="259"/>
                    <a:pt x="111" y="259"/>
                    <a:pt x="112" y="258"/>
                  </a:cubicBezTo>
                  <a:cubicBezTo>
                    <a:pt x="113" y="257"/>
                    <a:pt x="114" y="256"/>
                    <a:pt x="115" y="255"/>
                  </a:cubicBezTo>
                  <a:cubicBezTo>
                    <a:pt x="118" y="252"/>
                    <a:pt x="122" y="252"/>
                    <a:pt x="125" y="251"/>
                  </a:cubicBezTo>
                  <a:cubicBezTo>
                    <a:pt x="128" y="250"/>
                    <a:pt x="130" y="249"/>
                    <a:pt x="132" y="247"/>
                  </a:cubicBezTo>
                  <a:cubicBezTo>
                    <a:pt x="133" y="246"/>
                    <a:pt x="134" y="245"/>
                    <a:pt x="135" y="245"/>
                  </a:cubicBezTo>
                  <a:cubicBezTo>
                    <a:pt x="136" y="244"/>
                    <a:pt x="137" y="244"/>
                    <a:pt x="137" y="243"/>
                  </a:cubicBezTo>
                  <a:cubicBezTo>
                    <a:pt x="138" y="241"/>
                    <a:pt x="135" y="241"/>
                    <a:pt x="135" y="240"/>
                  </a:cubicBezTo>
                  <a:cubicBezTo>
                    <a:pt x="134" y="238"/>
                    <a:pt x="135" y="237"/>
                    <a:pt x="136" y="236"/>
                  </a:cubicBezTo>
                  <a:cubicBezTo>
                    <a:pt x="137" y="234"/>
                    <a:pt x="138" y="233"/>
                    <a:pt x="139" y="232"/>
                  </a:cubicBezTo>
                  <a:cubicBezTo>
                    <a:pt x="139" y="231"/>
                    <a:pt x="139" y="229"/>
                    <a:pt x="139" y="228"/>
                  </a:cubicBezTo>
                  <a:cubicBezTo>
                    <a:pt x="138" y="226"/>
                    <a:pt x="137" y="226"/>
                    <a:pt x="137" y="224"/>
                  </a:cubicBezTo>
                  <a:cubicBezTo>
                    <a:pt x="136" y="224"/>
                    <a:pt x="135" y="222"/>
                    <a:pt x="136" y="221"/>
                  </a:cubicBezTo>
                  <a:cubicBezTo>
                    <a:pt x="138" y="221"/>
                    <a:pt x="139" y="225"/>
                    <a:pt x="140" y="226"/>
                  </a:cubicBezTo>
                  <a:cubicBezTo>
                    <a:pt x="140" y="228"/>
                    <a:pt x="141" y="230"/>
                    <a:pt x="142" y="231"/>
                  </a:cubicBezTo>
                  <a:cubicBezTo>
                    <a:pt x="143" y="231"/>
                    <a:pt x="143" y="232"/>
                    <a:pt x="143" y="233"/>
                  </a:cubicBezTo>
                  <a:cubicBezTo>
                    <a:pt x="144" y="233"/>
                    <a:pt x="145" y="233"/>
                    <a:pt x="145" y="234"/>
                  </a:cubicBezTo>
                  <a:cubicBezTo>
                    <a:pt x="146" y="234"/>
                    <a:pt x="147" y="235"/>
                    <a:pt x="148" y="235"/>
                  </a:cubicBezTo>
                  <a:cubicBezTo>
                    <a:pt x="149" y="236"/>
                    <a:pt x="149" y="237"/>
                    <a:pt x="150" y="238"/>
                  </a:cubicBezTo>
                  <a:cubicBezTo>
                    <a:pt x="150" y="239"/>
                    <a:pt x="150" y="240"/>
                    <a:pt x="151" y="240"/>
                  </a:cubicBezTo>
                  <a:cubicBezTo>
                    <a:pt x="152" y="241"/>
                    <a:pt x="153" y="241"/>
                    <a:pt x="154" y="241"/>
                  </a:cubicBezTo>
                  <a:cubicBezTo>
                    <a:pt x="154" y="242"/>
                    <a:pt x="155" y="242"/>
                    <a:pt x="155" y="243"/>
                  </a:cubicBezTo>
                  <a:cubicBezTo>
                    <a:pt x="155" y="243"/>
                    <a:pt x="156" y="244"/>
                    <a:pt x="156" y="245"/>
                  </a:cubicBezTo>
                  <a:cubicBezTo>
                    <a:pt x="156" y="245"/>
                    <a:pt x="157" y="246"/>
                    <a:pt x="157" y="246"/>
                  </a:cubicBezTo>
                  <a:cubicBezTo>
                    <a:pt x="158" y="246"/>
                    <a:pt x="158" y="246"/>
                    <a:pt x="158" y="246"/>
                  </a:cubicBezTo>
                  <a:cubicBezTo>
                    <a:pt x="159" y="247"/>
                    <a:pt x="159" y="247"/>
                    <a:pt x="159" y="247"/>
                  </a:cubicBezTo>
                  <a:cubicBezTo>
                    <a:pt x="160" y="248"/>
                    <a:pt x="160" y="248"/>
                    <a:pt x="160" y="248"/>
                  </a:cubicBezTo>
                  <a:cubicBezTo>
                    <a:pt x="161" y="249"/>
                    <a:pt x="160" y="250"/>
                    <a:pt x="160" y="251"/>
                  </a:cubicBezTo>
                  <a:cubicBezTo>
                    <a:pt x="162" y="250"/>
                    <a:pt x="162" y="248"/>
                    <a:pt x="162" y="247"/>
                  </a:cubicBezTo>
                  <a:cubicBezTo>
                    <a:pt x="163" y="247"/>
                    <a:pt x="163" y="246"/>
                    <a:pt x="164" y="246"/>
                  </a:cubicBezTo>
                  <a:cubicBezTo>
                    <a:pt x="164" y="245"/>
                    <a:pt x="165" y="245"/>
                    <a:pt x="165" y="244"/>
                  </a:cubicBezTo>
                  <a:cubicBezTo>
                    <a:pt x="167" y="242"/>
                    <a:pt x="168" y="241"/>
                    <a:pt x="171" y="241"/>
                  </a:cubicBezTo>
                  <a:cubicBezTo>
                    <a:pt x="172" y="241"/>
                    <a:pt x="173" y="241"/>
                    <a:pt x="174" y="242"/>
                  </a:cubicBezTo>
                  <a:cubicBezTo>
                    <a:pt x="175" y="243"/>
                    <a:pt x="175" y="244"/>
                    <a:pt x="175" y="244"/>
                  </a:cubicBezTo>
                  <a:cubicBezTo>
                    <a:pt x="176" y="246"/>
                    <a:pt x="176" y="248"/>
                    <a:pt x="176" y="249"/>
                  </a:cubicBezTo>
                  <a:cubicBezTo>
                    <a:pt x="176" y="250"/>
                    <a:pt x="176" y="251"/>
                    <a:pt x="176" y="253"/>
                  </a:cubicBezTo>
                  <a:cubicBezTo>
                    <a:pt x="176" y="254"/>
                    <a:pt x="175" y="255"/>
                    <a:pt x="175" y="257"/>
                  </a:cubicBezTo>
                  <a:cubicBezTo>
                    <a:pt x="174" y="258"/>
                    <a:pt x="174" y="258"/>
                    <a:pt x="174" y="259"/>
                  </a:cubicBezTo>
                  <a:cubicBezTo>
                    <a:pt x="175" y="260"/>
                    <a:pt x="177" y="260"/>
                    <a:pt x="178" y="260"/>
                  </a:cubicBezTo>
                  <a:cubicBezTo>
                    <a:pt x="181" y="260"/>
                    <a:pt x="183" y="260"/>
                    <a:pt x="185" y="260"/>
                  </a:cubicBezTo>
                  <a:cubicBezTo>
                    <a:pt x="188" y="260"/>
                    <a:pt x="191" y="257"/>
                    <a:pt x="194" y="255"/>
                  </a:cubicBezTo>
                  <a:cubicBezTo>
                    <a:pt x="196" y="254"/>
                    <a:pt x="198" y="253"/>
                    <a:pt x="201" y="252"/>
                  </a:cubicBezTo>
                  <a:cubicBezTo>
                    <a:pt x="202" y="252"/>
                    <a:pt x="203" y="250"/>
                    <a:pt x="204" y="249"/>
                  </a:cubicBezTo>
                  <a:cubicBezTo>
                    <a:pt x="205" y="247"/>
                    <a:pt x="205" y="245"/>
                    <a:pt x="205" y="243"/>
                  </a:cubicBezTo>
                  <a:cubicBezTo>
                    <a:pt x="205" y="242"/>
                    <a:pt x="207" y="238"/>
                    <a:pt x="208" y="239"/>
                  </a:cubicBezTo>
                  <a:cubicBezTo>
                    <a:pt x="208" y="240"/>
                    <a:pt x="207" y="241"/>
                    <a:pt x="207" y="242"/>
                  </a:cubicBezTo>
                  <a:cubicBezTo>
                    <a:pt x="206" y="244"/>
                    <a:pt x="206" y="245"/>
                    <a:pt x="206" y="246"/>
                  </a:cubicBezTo>
                  <a:cubicBezTo>
                    <a:pt x="206" y="247"/>
                    <a:pt x="206" y="248"/>
                    <a:pt x="205" y="249"/>
                  </a:cubicBezTo>
                  <a:cubicBezTo>
                    <a:pt x="205" y="250"/>
                    <a:pt x="204" y="250"/>
                    <a:pt x="204" y="252"/>
                  </a:cubicBezTo>
                  <a:cubicBezTo>
                    <a:pt x="204" y="253"/>
                    <a:pt x="207" y="256"/>
                    <a:pt x="208" y="256"/>
                  </a:cubicBezTo>
                  <a:cubicBezTo>
                    <a:pt x="210" y="256"/>
                    <a:pt x="211" y="256"/>
                    <a:pt x="212" y="255"/>
                  </a:cubicBezTo>
                  <a:cubicBezTo>
                    <a:pt x="213" y="254"/>
                    <a:pt x="213" y="253"/>
                    <a:pt x="214" y="252"/>
                  </a:cubicBezTo>
                  <a:cubicBezTo>
                    <a:pt x="214" y="251"/>
                    <a:pt x="216" y="248"/>
                    <a:pt x="217" y="248"/>
                  </a:cubicBezTo>
                  <a:cubicBezTo>
                    <a:pt x="217" y="250"/>
                    <a:pt x="217" y="251"/>
                    <a:pt x="216" y="252"/>
                  </a:cubicBezTo>
                  <a:cubicBezTo>
                    <a:pt x="216" y="253"/>
                    <a:pt x="215" y="254"/>
                    <a:pt x="215" y="255"/>
                  </a:cubicBezTo>
                  <a:cubicBezTo>
                    <a:pt x="215" y="255"/>
                    <a:pt x="215" y="255"/>
                    <a:pt x="215" y="255"/>
                  </a:cubicBezTo>
                  <a:cubicBezTo>
                    <a:pt x="216" y="256"/>
                    <a:pt x="216" y="256"/>
                    <a:pt x="217" y="257"/>
                  </a:cubicBezTo>
                  <a:cubicBezTo>
                    <a:pt x="218" y="258"/>
                    <a:pt x="219" y="258"/>
                    <a:pt x="220" y="258"/>
                  </a:cubicBezTo>
                  <a:cubicBezTo>
                    <a:pt x="220" y="258"/>
                    <a:pt x="220" y="258"/>
                    <a:pt x="220" y="258"/>
                  </a:cubicBezTo>
                  <a:cubicBezTo>
                    <a:pt x="221" y="252"/>
                    <a:pt x="221" y="252"/>
                    <a:pt x="221" y="252"/>
                  </a:cubicBezTo>
                  <a:lnTo>
                    <a:pt x="222" y="247"/>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3" name="Freeform 70">
              <a:extLst>
                <a:ext uri="{FF2B5EF4-FFF2-40B4-BE49-F238E27FC236}">
                  <a16:creationId xmlns:a16="http://schemas.microsoft.com/office/drawing/2014/main" id="{CE004ACD-33CC-2FE3-CCA4-F5CCA38FCF14}"/>
                </a:ext>
              </a:extLst>
            </p:cNvPr>
            <p:cNvSpPr>
              <a:spLocks noEditPoints="1"/>
            </p:cNvSpPr>
            <p:nvPr/>
          </p:nvSpPr>
          <p:spPr bwMode="auto">
            <a:xfrm>
              <a:off x="4294188" y="5397500"/>
              <a:ext cx="876300" cy="484187"/>
            </a:xfrm>
            <a:custGeom>
              <a:avLst/>
              <a:gdLst>
                <a:gd name="T0" fmla="*/ 218 w 230"/>
                <a:gd name="T1" fmla="*/ 125 h 127"/>
                <a:gd name="T2" fmla="*/ 206 w 230"/>
                <a:gd name="T3" fmla="*/ 117 h 127"/>
                <a:gd name="T4" fmla="*/ 192 w 230"/>
                <a:gd name="T5" fmla="*/ 115 h 127"/>
                <a:gd name="T6" fmla="*/ 184 w 230"/>
                <a:gd name="T7" fmla="*/ 113 h 127"/>
                <a:gd name="T8" fmla="*/ 174 w 230"/>
                <a:gd name="T9" fmla="*/ 109 h 127"/>
                <a:gd name="T10" fmla="*/ 156 w 230"/>
                <a:gd name="T11" fmla="*/ 102 h 127"/>
                <a:gd name="T12" fmla="*/ 128 w 230"/>
                <a:gd name="T13" fmla="*/ 100 h 127"/>
                <a:gd name="T14" fmla="*/ 119 w 230"/>
                <a:gd name="T15" fmla="*/ 102 h 127"/>
                <a:gd name="T16" fmla="*/ 111 w 230"/>
                <a:gd name="T17" fmla="*/ 106 h 127"/>
                <a:gd name="T18" fmla="*/ 87 w 230"/>
                <a:gd name="T19" fmla="*/ 99 h 127"/>
                <a:gd name="T20" fmla="*/ 72 w 230"/>
                <a:gd name="T21" fmla="*/ 98 h 127"/>
                <a:gd name="T22" fmla="*/ 59 w 230"/>
                <a:gd name="T23" fmla="*/ 95 h 127"/>
                <a:gd name="T24" fmla="*/ 51 w 230"/>
                <a:gd name="T25" fmla="*/ 96 h 127"/>
                <a:gd name="T26" fmla="*/ 45 w 230"/>
                <a:gd name="T27" fmla="*/ 99 h 127"/>
                <a:gd name="T28" fmla="*/ 35 w 230"/>
                <a:gd name="T29" fmla="*/ 98 h 127"/>
                <a:gd name="T30" fmla="*/ 27 w 230"/>
                <a:gd name="T31" fmla="*/ 96 h 127"/>
                <a:gd name="T32" fmla="*/ 11 w 230"/>
                <a:gd name="T33" fmla="*/ 93 h 127"/>
                <a:gd name="T34" fmla="*/ 0 w 230"/>
                <a:gd name="T35" fmla="*/ 86 h 127"/>
                <a:gd name="T36" fmla="*/ 9 w 230"/>
                <a:gd name="T37" fmla="*/ 83 h 127"/>
                <a:gd name="T38" fmla="*/ 15 w 230"/>
                <a:gd name="T39" fmla="*/ 81 h 127"/>
                <a:gd name="T40" fmla="*/ 22 w 230"/>
                <a:gd name="T41" fmla="*/ 75 h 127"/>
                <a:gd name="T42" fmla="*/ 24 w 230"/>
                <a:gd name="T43" fmla="*/ 65 h 127"/>
                <a:gd name="T44" fmla="*/ 18 w 230"/>
                <a:gd name="T45" fmla="*/ 58 h 127"/>
                <a:gd name="T46" fmla="*/ 15 w 230"/>
                <a:gd name="T47" fmla="*/ 45 h 127"/>
                <a:gd name="T48" fmla="*/ 18 w 230"/>
                <a:gd name="T49" fmla="*/ 32 h 127"/>
                <a:gd name="T50" fmla="*/ 33 w 230"/>
                <a:gd name="T51" fmla="*/ 39 h 127"/>
                <a:gd name="T52" fmla="*/ 43 w 230"/>
                <a:gd name="T53" fmla="*/ 27 h 127"/>
                <a:gd name="T54" fmla="*/ 44 w 230"/>
                <a:gd name="T55" fmla="*/ 15 h 127"/>
                <a:gd name="T56" fmla="*/ 44 w 230"/>
                <a:gd name="T57" fmla="*/ 8 h 127"/>
                <a:gd name="T58" fmla="*/ 53 w 230"/>
                <a:gd name="T59" fmla="*/ 2 h 127"/>
                <a:gd name="T60" fmla="*/ 72 w 230"/>
                <a:gd name="T61" fmla="*/ 9 h 127"/>
                <a:gd name="T62" fmla="*/ 99 w 230"/>
                <a:gd name="T63" fmla="*/ 10 h 127"/>
                <a:gd name="T64" fmla="*/ 106 w 230"/>
                <a:gd name="T65" fmla="*/ 11 h 127"/>
                <a:gd name="T66" fmla="*/ 107 w 230"/>
                <a:gd name="T67" fmla="*/ 22 h 127"/>
                <a:gd name="T68" fmla="*/ 115 w 230"/>
                <a:gd name="T69" fmla="*/ 28 h 127"/>
                <a:gd name="T70" fmla="*/ 119 w 230"/>
                <a:gd name="T71" fmla="*/ 45 h 127"/>
                <a:gd name="T72" fmla="*/ 126 w 230"/>
                <a:gd name="T73" fmla="*/ 55 h 127"/>
                <a:gd name="T74" fmla="*/ 138 w 230"/>
                <a:gd name="T75" fmla="*/ 61 h 127"/>
                <a:gd name="T76" fmla="*/ 148 w 230"/>
                <a:gd name="T77" fmla="*/ 65 h 127"/>
                <a:gd name="T78" fmla="*/ 174 w 230"/>
                <a:gd name="T79" fmla="*/ 61 h 127"/>
                <a:gd name="T80" fmla="*/ 194 w 230"/>
                <a:gd name="T81" fmla="*/ 54 h 127"/>
                <a:gd name="T82" fmla="*/ 209 w 230"/>
                <a:gd name="T83" fmla="*/ 61 h 127"/>
                <a:gd name="T84" fmla="*/ 219 w 230"/>
                <a:gd name="T85" fmla="*/ 79 h 127"/>
                <a:gd name="T86" fmla="*/ 214 w 230"/>
                <a:gd name="T87" fmla="*/ 101 h 127"/>
                <a:gd name="T88" fmla="*/ 216 w 230"/>
                <a:gd name="T89" fmla="*/ 107 h 127"/>
                <a:gd name="T90" fmla="*/ 225 w 230"/>
                <a:gd name="T91" fmla="*/ 119 h 127"/>
                <a:gd name="T92" fmla="*/ 122 w 230"/>
                <a:gd name="T93" fmla="*/ 27 h 127"/>
                <a:gd name="T94" fmla="*/ 151 w 230"/>
                <a:gd name="T95" fmla="*/ 31 h 127"/>
                <a:gd name="T96" fmla="*/ 170 w 230"/>
                <a:gd name="T97" fmla="*/ 24 h 127"/>
                <a:gd name="T98" fmla="*/ 185 w 230"/>
                <a:gd name="T99" fmla="*/ 23 h 127"/>
                <a:gd name="T100" fmla="*/ 195 w 230"/>
                <a:gd name="T101" fmla="*/ 23 h 127"/>
                <a:gd name="T102" fmla="*/ 194 w 230"/>
                <a:gd name="T103" fmla="*/ 17 h 127"/>
                <a:gd name="T104" fmla="*/ 189 w 230"/>
                <a:gd name="T105" fmla="*/ 8 h 127"/>
                <a:gd name="T106" fmla="*/ 129 w 230"/>
                <a:gd name="T107" fmla="*/ 9 h 127"/>
                <a:gd name="T108" fmla="*/ 112 w 230"/>
                <a:gd name="T109" fmla="*/ 19 h 127"/>
                <a:gd name="T110" fmla="*/ 117 w 230"/>
                <a:gd name="T111" fmla="*/ 2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0" h="127">
                  <a:moveTo>
                    <a:pt x="229" y="123"/>
                  </a:moveTo>
                  <a:cubicBezTo>
                    <a:pt x="229" y="124"/>
                    <a:pt x="229" y="125"/>
                    <a:pt x="229" y="126"/>
                  </a:cubicBezTo>
                  <a:cubicBezTo>
                    <a:pt x="228" y="127"/>
                    <a:pt x="226" y="127"/>
                    <a:pt x="224" y="127"/>
                  </a:cubicBezTo>
                  <a:cubicBezTo>
                    <a:pt x="223" y="127"/>
                    <a:pt x="222" y="127"/>
                    <a:pt x="221" y="126"/>
                  </a:cubicBezTo>
                  <a:cubicBezTo>
                    <a:pt x="220" y="126"/>
                    <a:pt x="221" y="125"/>
                    <a:pt x="218" y="125"/>
                  </a:cubicBezTo>
                  <a:cubicBezTo>
                    <a:pt x="215" y="125"/>
                    <a:pt x="214" y="126"/>
                    <a:pt x="214" y="125"/>
                  </a:cubicBezTo>
                  <a:cubicBezTo>
                    <a:pt x="214" y="125"/>
                    <a:pt x="215" y="125"/>
                    <a:pt x="215" y="123"/>
                  </a:cubicBezTo>
                  <a:cubicBezTo>
                    <a:pt x="215" y="122"/>
                    <a:pt x="215" y="120"/>
                    <a:pt x="214" y="119"/>
                  </a:cubicBezTo>
                  <a:cubicBezTo>
                    <a:pt x="212" y="118"/>
                    <a:pt x="210" y="116"/>
                    <a:pt x="208" y="116"/>
                  </a:cubicBezTo>
                  <a:cubicBezTo>
                    <a:pt x="206" y="115"/>
                    <a:pt x="206" y="116"/>
                    <a:pt x="206" y="117"/>
                  </a:cubicBezTo>
                  <a:cubicBezTo>
                    <a:pt x="206" y="118"/>
                    <a:pt x="206" y="120"/>
                    <a:pt x="204" y="119"/>
                  </a:cubicBezTo>
                  <a:cubicBezTo>
                    <a:pt x="203" y="119"/>
                    <a:pt x="202" y="117"/>
                    <a:pt x="199" y="117"/>
                  </a:cubicBezTo>
                  <a:cubicBezTo>
                    <a:pt x="197" y="117"/>
                    <a:pt x="197" y="118"/>
                    <a:pt x="196" y="118"/>
                  </a:cubicBezTo>
                  <a:cubicBezTo>
                    <a:pt x="195" y="118"/>
                    <a:pt x="194" y="118"/>
                    <a:pt x="194" y="117"/>
                  </a:cubicBezTo>
                  <a:cubicBezTo>
                    <a:pt x="194" y="116"/>
                    <a:pt x="192" y="114"/>
                    <a:pt x="192" y="115"/>
                  </a:cubicBezTo>
                  <a:cubicBezTo>
                    <a:pt x="192" y="115"/>
                    <a:pt x="193" y="117"/>
                    <a:pt x="191" y="117"/>
                  </a:cubicBezTo>
                  <a:cubicBezTo>
                    <a:pt x="189" y="117"/>
                    <a:pt x="189" y="116"/>
                    <a:pt x="189" y="116"/>
                  </a:cubicBezTo>
                  <a:cubicBezTo>
                    <a:pt x="189" y="115"/>
                    <a:pt x="189" y="113"/>
                    <a:pt x="188" y="113"/>
                  </a:cubicBezTo>
                  <a:cubicBezTo>
                    <a:pt x="188" y="113"/>
                    <a:pt x="188" y="115"/>
                    <a:pt x="187" y="115"/>
                  </a:cubicBezTo>
                  <a:cubicBezTo>
                    <a:pt x="186" y="114"/>
                    <a:pt x="186" y="113"/>
                    <a:pt x="184" y="113"/>
                  </a:cubicBezTo>
                  <a:cubicBezTo>
                    <a:pt x="183" y="113"/>
                    <a:pt x="181" y="113"/>
                    <a:pt x="181" y="113"/>
                  </a:cubicBezTo>
                  <a:cubicBezTo>
                    <a:pt x="181" y="113"/>
                    <a:pt x="180" y="110"/>
                    <a:pt x="180" y="110"/>
                  </a:cubicBezTo>
                  <a:cubicBezTo>
                    <a:pt x="180" y="110"/>
                    <a:pt x="179" y="110"/>
                    <a:pt x="178" y="110"/>
                  </a:cubicBezTo>
                  <a:cubicBezTo>
                    <a:pt x="176" y="111"/>
                    <a:pt x="175" y="111"/>
                    <a:pt x="175" y="111"/>
                  </a:cubicBezTo>
                  <a:cubicBezTo>
                    <a:pt x="174" y="109"/>
                    <a:pt x="174" y="109"/>
                    <a:pt x="174" y="109"/>
                  </a:cubicBezTo>
                  <a:cubicBezTo>
                    <a:pt x="174" y="109"/>
                    <a:pt x="174" y="110"/>
                    <a:pt x="172" y="110"/>
                  </a:cubicBezTo>
                  <a:cubicBezTo>
                    <a:pt x="170" y="109"/>
                    <a:pt x="170" y="108"/>
                    <a:pt x="169" y="107"/>
                  </a:cubicBezTo>
                  <a:cubicBezTo>
                    <a:pt x="168" y="106"/>
                    <a:pt x="165" y="105"/>
                    <a:pt x="163" y="105"/>
                  </a:cubicBezTo>
                  <a:cubicBezTo>
                    <a:pt x="161" y="105"/>
                    <a:pt x="160" y="103"/>
                    <a:pt x="159" y="102"/>
                  </a:cubicBezTo>
                  <a:cubicBezTo>
                    <a:pt x="159" y="102"/>
                    <a:pt x="157" y="102"/>
                    <a:pt x="156" y="102"/>
                  </a:cubicBezTo>
                  <a:cubicBezTo>
                    <a:pt x="155" y="103"/>
                    <a:pt x="155" y="104"/>
                    <a:pt x="154" y="102"/>
                  </a:cubicBezTo>
                  <a:cubicBezTo>
                    <a:pt x="152" y="101"/>
                    <a:pt x="150" y="98"/>
                    <a:pt x="148" y="97"/>
                  </a:cubicBezTo>
                  <a:cubicBezTo>
                    <a:pt x="147" y="96"/>
                    <a:pt x="143" y="96"/>
                    <a:pt x="140" y="96"/>
                  </a:cubicBezTo>
                  <a:cubicBezTo>
                    <a:pt x="137" y="96"/>
                    <a:pt x="135" y="96"/>
                    <a:pt x="133" y="97"/>
                  </a:cubicBezTo>
                  <a:cubicBezTo>
                    <a:pt x="130" y="97"/>
                    <a:pt x="129" y="98"/>
                    <a:pt x="128" y="100"/>
                  </a:cubicBezTo>
                  <a:cubicBezTo>
                    <a:pt x="127" y="101"/>
                    <a:pt x="126" y="103"/>
                    <a:pt x="126" y="103"/>
                  </a:cubicBezTo>
                  <a:cubicBezTo>
                    <a:pt x="125" y="103"/>
                    <a:pt x="123" y="103"/>
                    <a:pt x="123" y="103"/>
                  </a:cubicBezTo>
                  <a:cubicBezTo>
                    <a:pt x="123" y="103"/>
                    <a:pt x="123" y="103"/>
                    <a:pt x="123" y="103"/>
                  </a:cubicBezTo>
                  <a:cubicBezTo>
                    <a:pt x="123" y="103"/>
                    <a:pt x="121" y="104"/>
                    <a:pt x="121" y="103"/>
                  </a:cubicBezTo>
                  <a:cubicBezTo>
                    <a:pt x="120" y="103"/>
                    <a:pt x="121" y="102"/>
                    <a:pt x="119" y="102"/>
                  </a:cubicBezTo>
                  <a:cubicBezTo>
                    <a:pt x="118" y="102"/>
                    <a:pt x="118" y="102"/>
                    <a:pt x="117" y="103"/>
                  </a:cubicBezTo>
                  <a:cubicBezTo>
                    <a:pt x="117" y="103"/>
                    <a:pt x="117" y="103"/>
                    <a:pt x="116" y="103"/>
                  </a:cubicBezTo>
                  <a:cubicBezTo>
                    <a:pt x="116" y="103"/>
                    <a:pt x="116" y="104"/>
                    <a:pt x="115" y="104"/>
                  </a:cubicBezTo>
                  <a:cubicBezTo>
                    <a:pt x="114" y="104"/>
                    <a:pt x="113" y="104"/>
                    <a:pt x="112" y="104"/>
                  </a:cubicBezTo>
                  <a:cubicBezTo>
                    <a:pt x="112" y="105"/>
                    <a:pt x="111" y="106"/>
                    <a:pt x="111" y="106"/>
                  </a:cubicBezTo>
                  <a:cubicBezTo>
                    <a:pt x="111" y="107"/>
                    <a:pt x="108" y="106"/>
                    <a:pt x="107" y="106"/>
                  </a:cubicBezTo>
                  <a:cubicBezTo>
                    <a:pt x="105" y="105"/>
                    <a:pt x="104" y="103"/>
                    <a:pt x="101" y="103"/>
                  </a:cubicBezTo>
                  <a:cubicBezTo>
                    <a:pt x="99" y="103"/>
                    <a:pt x="97" y="104"/>
                    <a:pt x="95" y="103"/>
                  </a:cubicBezTo>
                  <a:cubicBezTo>
                    <a:pt x="93" y="102"/>
                    <a:pt x="92" y="102"/>
                    <a:pt x="90" y="101"/>
                  </a:cubicBezTo>
                  <a:cubicBezTo>
                    <a:pt x="88" y="99"/>
                    <a:pt x="88" y="98"/>
                    <a:pt x="87" y="99"/>
                  </a:cubicBezTo>
                  <a:cubicBezTo>
                    <a:pt x="86" y="99"/>
                    <a:pt x="86" y="100"/>
                    <a:pt x="86" y="100"/>
                  </a:cubicBezTo>
                  <a:cubicBezTo>
                    <a:pt x="85" y="100"/>
                    <a:pt x="82" y="100"/>
                    <a:pt x="82" y="99"/>
                  </a:cubicBezTo>
                  <a:cubicBezTo>
                    <a:pt x="82" y="99"/>
                    <a:pt x="80" y="99"/>
                    <a:pt x="79" y="99"/>
                  </a:cubicBezTo>
                  <a:cubicBezTo>
                    <a:pt x="77" y="98"/>
                    <a:pt x="77" y="98"/>
                    <a:pt x="77" y="98"/>
                  </a:cubicBezTo>
                  <a:cubicBezTo>
                    <a:pt x="77" y="98"/>
                    <a:pt x="75" y="99"/>
                    <a:pt x="72" y="98"/>
                  </a:cubicBezTo>
                  <a:cubicBezTo>
                    <a:pt x="70" y="98"/>
                    <a:pt x="70" y="98"/>
                    <a:pt x="69" y="97"/>
                  </a:cubicBezTo>
                  <a:cubicBezTo>
                    <a:pt x="67" y="97"/>
                    <a:pt x="65" y="96"/>
                    <a:pt x="65" y="96"/>
                  </a:cubicBezTo>
                  <a:cubicBezTo>
                    <a:pt x="64" y="96"/>
                    <a:pt x="64" y="97"/>
                    <a:pt x="64" y="97"/>
                  </a:cubicBezTo>
                  <a:cubicBezTo>
                    <a:pt x="63" y="97"/>
                    <a:pt x="62" y="97"/>
                    <a:pt x="61" y="97"/>
                  </a:cubicBezTo>
                  <a:cubicBezTo>
                    <a:pt x="60" y="96"/>
                    <a:pt x="59" y="95"/>
                    <a:pt x="59" y="95"/>
                  </a:cubicBezTo>
                  <a:cubicBezTo>
                    <a:pt x="58" y="95"/>
                    <a:pt x="55" y="94"/>
                    <a:pt x="55" y="95"/>
                  </a:cubicBezTo>
                  <a:cubicBezTo>
                    <a:pt x="54" y="95"/>
                    <a:pt x="54" y="96"/>
                    <a:pt x="54" y="96"/>
                  </a:cubicBezTo>
                  <a:cubicBezTo>
                    <a:pt x="54" y="97"/>
                    <a:pt x="55" y="98"/>
                    <a:pt x="54" y="99"/>
                  </a:cubicBezTo>
                  <a:cubicBezTo>
                    <a:pt x="53" y="99"/>
                    <a:pt x="52" y="98"/>
                    <a:pt x="52" y="98"/>
                  </a:cubicBezTo>
                  <a:cubicBezTo>
                    <a:pt x="52" y="98"/>
                    <a:pt x="52" y="96"/>
                    <a:pt x="51" y="96"/>
                  </a:cubicBezTo>
                  <a:cubicBezTo>
                    <a:pt x="50" y="97"/>
                    <a:pt x="50" y="97"/>
                    <a:pt x="50" y="98"/>
                  </a:cubicBezTo>
                  <a:cubicBezTo>
                    <a:pt x="50" y="99"/>
                    <a:pt x="50" y="99"/>
                    <a:pt x="50" y="100"/>
                  </a:cubicBezTo>
                  <a:cubicBezTo>
                    <a:pt x="51" y="101"/>
                    <a:pt x="52" y="101"/>
                    <a:pt x="51" y="101"/>
                  </a:cubicBezTo>
                  <a:cubicBezTo>
                    <a:pt x="50" y="102"/>
                    <a:pt x="47" y="101"/>
                    <a:pt x="47" y="101"/>
                  </a:cubicBezTo>
                  <a:cubicBezTo>
                    <a:pt x="46" y="100"/>
                    <a:pt x="45" y="100"/>
                    <a:pt x="45" y="99"/>
                  </a:cubicBezTo>
                  <a:cubicBezTo>
                    <a:pt x="45" y="99"/>
                    <a:pt x="42" y="99"/>
                    <a:pt x="42" y="99"/>
                  </a:cubicBezTo>
                  <a:cubicBezTo>
                    <a:pt x="42" y="99"/>
                    <a:pt x="42" y="98"/>
                    <a:pt x="41" y="98"/>
                  </a:cubicBezTo>
                  <a:cubicBezTo>
                    <a:pt x="41" y="98"/>
                    <a:pt x="39" y="99"/>
                    <a:pt x="39" y="99"/>
                  </a:cubicBezTo>
                  <a:cubicBezTo>
                    <a:pt x="39" y="99"/>
                    <a:pt x="38" y="98"/>
                    <a:pt x="37" y="99"/>
                  </a:cubicBezTo>
                  <a:cubicBezTo>
                    <a:pt x="36" y="99"/>
                    <a:pt x="35" y="99"/>
                    <a:pt x="35" y="98"/>
                  </a:cubicBezTo>
                  <a:cubicBezTo>
                    <a:pt x="35" y="98"/>
                    <a:pt x="35" y="96"/>
                    <a:pt x="34" y="96"/>
                  </a:cubicBezTo>
                  <a:cubicBezTo>
                    <a:pt x="33" y="95"/>
                    <a:pt x="32" y="94"/>
                    <a:pt x="32" y="95"/>
                  </a:cubicBezTo>
                  <a:cubicBezTo>
                    <a:pt x="31" y="95"/>
                    <a:pt x="30" y="96"/>
                    <a:pt x="30" y="95"/>
                  </a:cubicBezTo>
                  <a:cubicBezTo>
                    <a:pt x="30" y="95"/>
                    <a:pt x="30" y="94"/>
                    <a:pt x="29" y="95"/>
                  </a:cubicBezTo>
                  <a:cubicBezTo>
                    <a:pt x="28" y="95"/>
                    <a:pt x="28" y="96"/>
                    <a:pt x="27" y="96"/>
                  </a:cubicBezTo>
                  <a:cubicBezTo>
                    <a:pt x="26" y="96"/>
                    <a:pt x="24" y="95"/>
                    <a:pt x="24" y="94"/>
                  </a:cubicBezTo>
                  <a:cubicBezTo>
                    <a:pt x="23" y="94"/>
                    <a:pt x="23" y="94"/>
                    <a:pt x="22" y="94"/>
                  </a:cubicBezTo>
                  <a:cubicBezTo>
                    <a:pt x="21" y="95"/>
                    <a:pt x="19" y="96"/>
                    <a:pt x="17" y="96"/>
                  </a:cubicBezTo>
                  <a:cubicBezTo>
                    <a:pt x="15" y="96"/>
                    <a:pt x="12" y="93"/>
                    <a:pt x="12" y="92"/>
                  </a:cubicBezTo>
                  <a:cubicBezTo>
                    <a:pt x="12" y="92"/>
                    <a:pt x="11" y="92"/>
                    <a:pt x="11" y="93"/>
                  </a:cubicBezTo>
                  <a:cubicBezTo>
                    <a:pt x="11" y="94"/>
                    <a:pt x="12" y="95"/>
                    <a:pt x="9" y="94"/>
                  </a:cubicBezTo>
                  <a:cubicBezTo>
                    <a:pt x="6" y="94"/>
                    <a:pt x="5" y="93"/>
                    <a:pt x="2" y="92"/>
                  </a:cubicBezTo>
                  <a:cubicBezTo>
                    <a:pt x="2" y="92"/>
                    <a:pt x="1" y="92"/>
                    <a:pt x="1" y="92"/>
                  </a:cubicBezTo>
                  <a:cubicBezTo>
                    <a:pt x="1" y="91"/>
                    <a:pt x="1" y="90"/>
                    <a:pt x="1" y="89"/>
                  </a:cubicBezTo>
                  <a:cubicBezTo>
                    <a:pt x="0" y="88"/>
                    <a:pt x="0" y="87"/>
                    <a:pt x="0" y="86"/>
                  </a:cubicBezTo>
                  <a:cubicBezTo>
                    <a:pt x="0" y="86"/>
                    <a:pt x="1" y="85"/>
                    <a:pt x="2" y="85"/>
                  </a:cubicBezTo>
                  <a:cubicBezTo>
                    <a:pt x="2" y="84"/>
                    <a:pt x="3" y="84"/>
                    <a:pt x="3" y="83"/>
                  </a:cubicBezTo>
                  <a:cubicBezTo>
                    <a:pt x="4" y="83"/>
                    <a:pt x="5" y="83"/>
                    <a:pt x="5" y="83"/>
                  </a:cubicBezTo>
                  <a:cubicBezTo>
                    <a:pt x="6" y="83"/>
                    <a:pt x="6" y="84"/>
                    <a:pt x="7" y="84"/>
                  </a:cubicBezTo>
                  <a:cubicBezTo>
                    <a:pt x="8" y="84"/>
                    <a:pt x="8" y="83"/>
                    <a:pt x="9" y="83"/>
                  </a:cubicBezTo>
                  <a:cubicBezTo>
                    <a:pt x="10" y="83"/>
                    <a:pt x="10" y="83"/>
                    <a:pt x="11" y="82"/>
                  </a:cubicBezTo>
                  <a:cubicBezTo>
                    <a:pt x="11" y="82"/>
                    <a:pt x="11" y="81"/>
                    <a:pt x="12" y="81"/>
                  </a:cubicBezTo>
                  <a:cubicBezTo>
                    <a:pt x="12" y="80"/>
                    <a:pt x="12" y="80"/>
                    <a:pt x="12" y="80"/>
                  </a:cubicBezTo>
                  <a:cubicBezTo>
                    <a:pt x="13" y="81"/>
                    <a:pt x="13" y="82"/>
                    <a:pt x="13" y="82"/>
                  </a:cubicBezTo>
                  <a:cubicBezTo>
                    <a:pt x="14" y="82"/>
                    <a:pt x="15" y="81"/>
                    <a:pt x="15" y="81"/>
                  </a:cubicBezTo>
                  <a:cubicBezTo>
                    <a:pt x="15" y="80"/>
                    <a:pt x="14" y="79"/>
                    <a:pt x="14" y="78"/>
                  </a:cubicBezTo>
                  <a:cubicBezTo>
                    <a:pt x="14" y="77"/>
                    <a:pt x="15" y="76"/>
                    <a:pt x="15" y="75"/>
                  </a:cubicBezTo>
                  <a:cubicBezTo>
                    <a:pt x="15" y="74"/>
                    <a:pt x="16" y="74"/>
                    <a:pt x="17" y="73"/>
                  </a:cubicBezTo>
                  <a:cubicBezTo>
                    <a:pt x="18" y="73"/>
                    <a:pt x="19" y="74"/>
                    <a:pt x="20" y="75"/>
                  </a:cubicBezTo>
                  <a:cubicBezTo>
                    <a:pt x="21" y="75"/>
                    <a:pt x="22" y="75"/>
                    <a:pt x="22" y="75"/>
                  </a:cubicBezTo>
                  <a:cubicBezTo>
                    <a:pt x="23" y="75"/>
                    <a:pt x="23" y="74"/>
                    <a:pt x="24" y="74"/>
                  </a:cubicBezTo>
                  <a:cubicBezTo>
                    <a:pt x="24" y="73"/>
                    <a:pt x="24" y="73"/>
                    <a:pt x="24" y="72"/>
                  </a:cubicBezTo>
                  <a:cubicBezTo>
                    <a:pt x="25" y="72"/>
                    <a:pt x="25" y="71"/>
                    <a:pt x="25" y="70"/>
                  </a:cubicBezTo>
                  <a:cubicBezTo>
                    <a:pt x="26" y="70"/>
                    <a:pt x="26" y="69"/>
                    <a:pt x="26" y="69"/>
                  </a:cubicBezTo>
                  <a:cubicBezTo>
                    <a:pt x="26" y="67"/>
                    <a:pt x="23" y="67"/>
                    <a:pt x="24" y="65"/>
                  </a:cubicBezTo>
                  <a:cubicBezTo>
                    <a:pt x="24" y="64"/>
                    <a:pt x="24" y="64"/>
                    <a:pt x="24" y="63"/>
                  </a:cubicBezTo>
                  <a:cubicBezTo>
                    <a:pt x="23" y="63"/>
                    <a:pt x="22" y="63"/>
                    <a:pt x="21" y="63"/>
                  </a:cubicBezTo>
                  <a:cubicBezTo>
                    <a:pt x="20" y="63"/>
                    <a:pt x="20" y="62"/>
                    <a:pt x="19" y="62"/>
                  </a:cubicBezTo>
                  <a:cubicBezTo>
                    <a:pt x="19" y="61"/>
                    <a:pt x="18" y="61"/>
                    <a:pt x="18" y="60"/>
                  </a:cubicBezTo>
                  <a:cubicBezTo>
                    <a:pt x="18" y="59"/>
                    <a:pt x="18" y="59"/>
                    <a:pt x="18" y="58"/>
                  </a:cubicBezTo>
                  <a:cubicBezTo>
                    <a:pt x="18" y="56"/>
                    <a:pt x="19" y="55"/>
                    <a:pt x="18" y="53"/>
                  </a:cubicBezTo>
                  <a:cubicBezTo>
                    <a:pt x="17" y="53"/>
                    <a:pt x="17" y="53"/>
                    <a:pt x="16" y="52"/>
                  </a:cubicBezTo>
                  <a:cubicBezTo>
                    <a:pt x="16" y="51"/>
                    <a:pt x="16" y="50"/>
                    <a:pt x="16" y="50"/>
                  </a:cubicBezTo>
                  <a:cubicBezTo>
                    <a:pt x="16" y="49"/>
                    <a:pt x="16" y="48"/>
                    <a:pt x="15" y="48"/>
                  </a:cubicBezTo>
                  <a:cubicBezTo>
                    <a:pt x="15" y="47"/>
                    <a:pt x="15" y="46"/>
                    <a:pt x="15" y="45"/>
                  </a:cubicBezTo>
                  <a:cubicBezTo>
                    <a:pt x="14" y="44"/>
                    <a:pt x="14" y="43"/>
                    <a:pt x="14" y="43"/>
                  </a:cubicBezTo>
                  <a:cubicBezTo>
                    <a:pt x="14" y="41"/>
                    <a:pt x="15" y="40"/>
                    <a:pt x="15" y="38"/>
                  </a:cubicBezTo>
                  <a:cubicBezTo>
                    <a:pt x="15" y="37"/>
                    <a:pt x="15" y="35"/>
                    <a:pt x="15" y="33"/>
                  </a:cubicBezTo>
                  <a:cubicBezTo>
                    <a:pt x="15" y="33"/>
                    <a:pt x="15" y="31"/>
                    <a:pt x="16" y="31"/>
                  </a:cubicBezTo>
                  <a:cubicBezTo>
                    <a:pt x="17" y="31"/>
                    <a:pt x="17" y="32"/>
                    <a:pt x="18" y="32"/>
                  </a:cubicBezTo>
                  <a:cubicBezTo>
                    <a:pt x="19" y="32"/>
                    <a:pt x="19" y="33"/>
                    <a:pt x="20" y="33"/>
                  </a:cubicBezTo>
                  <a:cubicBezTo>
                    <a:pt x="21" y="34"/>
                    <a:pt x="23" y="34"/>
                    <a:pt x="25" y="35"/>
                  </a:cubicBezTo>
                  <a:cubicBezTo>
                    <a:pt x="25" y="35"/>
                    <a:pt x="26" y="36"/>
                    <a:pt x="27" y="36"/>
                  </a:cubicBezTo>
                  <a:cubicBezTo>
                    <a:pt x="28" y="37"/>
                    <a:pt x="29" y="37"/>
                    <a:pt x="30" y="38"/>
                  </a:cubicBezTo>
                  <a:cubicBezTo>
                    <a:pt x="31" y="38"/>
                    <a:pt x="32" y="39"/>
                    <a:pt x="33" y="39"/>
                  </a:cubicBezTo>
                  <a:cubicBezTo>
                    <a:pt x="33" y="39"/>
                    <a:pt x="34" y="39"/>
                    <a:pt x="35" y="39"/>
                  </a:cubicBezTo>
                  <a:cubicBezTo>
                    <a:pt x="35" y="37"/>
                    <a:pt x="33" y="36"/>
                    <a:pt x="33" y="34"/>
                  </a:cubicBezTo>
                  <a:cubicBezTo>
                    <a:pt x="33" y="33"/>
                    <a:pt x="35" y="32"/>
                    <a:pt x="36" y="32"/>
                  </a:cubicBezTo>
                  <a:cubicBezTo>
                    <a:pt x="38" y="31"/>
                    <a:pt x="39" y="30"/>
                    <a:pt x="40" y="29"/>
                  </a:cubicBezTo>
                  <a:cubicBezTo>
                    <a:pt x="41" y="28"/>
                    <a:pt x="42" y="28"/>
                    <a:pt x="43" y="27"/>
                  </a:cubicBezTo>
                  <a:cubicBezTo>
                    <a:pt x="43" y="26"/>
                    <a:pt x="44" y="26"/>
                    <a:pt x="44" y="25"/>
                  </a:cubicBezTo>
                  <a:cubicBezTo>
                    <a:pt x="44" y="24"/>
                    <a:pt x="45" y="23"/>
                    <a:pt x="45" y="23"/>
                  </a:cubicBezTo>
                  <a:cubicBezTo>
                    <a:pt x="45" y="22"/>
                    <a:pt x="45" y="21"/>
                    <a:pt x="45" y="21"/>
                  </a:cubicBezTo>
                  <a:cubicBezTo>
                    <a:pt x="45" y="20"/>
                    <a:pt x="46" y="18"/>
                    <a:pt x="46" y="17"/>
                  </a:cubicBezTo>
                  <a:cubicBezTo>
                    <a:pt x="46" y="16"/>
                    <a:pt x="45" y="16"/>
                    <a:pt x="44" y="15"/>
                  </a:cubicBezTo>
                  <a:cubicBezTo>
                    <a:pt x="44" y="15"/>
                    <a:pt x="44" y="14"/>
                    <a:pt x="43" y="14"/>
                  </a:cubicBezTo>
                  <a:cubicBezTo>
                    <a:pt x="43" y="13"/>
                    <a:pt x="43" y="13"/>
                    <a:pt x="42" y="13"/>
                  </a:cubicBezTo>
                  <a:cubicBezTo>
                    <a:pt x="42" y="12"/>
                    <a:pt x="42" y="11"/>
                    <a:pt x="43" y="10"/>
                  </a:cubicBezTo>
                  <a:cubicBezTo>
                    <a:pt x="43" y="10"/>
                    <a:pt x="44" y="10"/>
                    <a:pt x="44" y="10"/>
                  </a:cubicBezTo>
                  <a:cubicBezTo>
                    <a:pt x="44" y="9"/>
                    <a:pt x="44" y="8"/>
                    <a:pt x="44" y="8"/>
                  </a:cubicBezTo>
                  <a:cubicBezTo>
                    <a:pt x="44" y="7"/>
                    <a:pt x="44" y="6"/>
                    <a:pt x="45" y="6"/>
                  </a:cubicBezTo>
                  <a:cubicBezTo>
                    <a:pt x="46" y="5"/>
                    <a:pt x="46" y="5"/>
                    <a:pt x="47" y="5"/>
                  </a:cubicBezTo>
                  <a:cubicBezTo>
                    <a:pt x="47" y="4"/>
                    <a:pt x="47" y="3"/>
                    <a:pt x="47" y="2"/>
                  </a:cubicBezTo>
                  <a:cubicBezTo>
                    <a:pt x="48" y="1"/>
                    <a:pt x="48" y="1"/>
                    <a:pt x="49" y="0"/>
                  </a:cubicBezTo>
                  <a:cubicBezTo>
                    <a:pt x="50" y="1"/>
                    <a:pt x="52" y="2"/>
                    <a:pt x="53" y="2"/>
                  </a:cubicBezTo>
                  <a:cubicBezTo>
                    <a:pt x="54" y="2"/>
                    <a:pt x="56" y="3"/>
                    <a:pt x="59" y="3"/>
                  </a:cubicBezTo>
                  <a:cubicBezTo>
                    <a:pt x="62" y="3"/>
                    <a:pt x="64" y="2"/>
                    <a:pt x="65" y="2"/>
                  </a:cubicBezTo>
                  <a:cubicBezTo>
                    <a:pt x="66" y="2"/>
                    <a:pt x="66" y="0"/>
                    <a:pt x="67" y="2"/>
                  </a:cubicBezTo>
                  <a:cubicBezTo>
                    <a:pt x="68" y="3"/>
                    <a:pt x="68" y="3"/>
                    <a:pt x="69" y="5"/>
                  </a:cubicBezTo>
                  <a:cubicBezTo>
                    <a:pt x="70" y="7"/>
                    <a:pt x="71" y="8"/>
                    <a:pt x="72" y="9"/>
                  </a:cubicBezTo>
                  <a:cubicBezTo>
                    <a:pt x="74" y="10"/>
                    <a:pt x="78" y="10"/>
                    <a:pt x="80" y="10"/>
                  </a:cubicBezTo>
                  <a:cubicBezTo>
                    <a:pt x="82" y="9"/>
                    <a:pt x="82" y="9"/>
                    <a:pt x="85" y="8"/>
                  </a:cubicBezTo>
                  <a:cubicBezTo>
                    <a:pt x="87" y="8"/>
                    <a:pt x="89" y="8"/>
                    <a:pt x="91" y="8"/>
                  </a:cubicBezTo>
                  <a:cubicBezTo>
                    <a:pt x="93" y="8"/>
                    <a:pt x="93" y="7"/>
                    <a:pt x="95" y="8"/>
                  </a:cubicBezTo>
                  <a:cubicBezTo>
                    <a:pt x="97" y="9"/>
                    <a:pt x="98" y="10"/>
                    <a:pt x="99" y="10"/>
                  </a:cubicBezTo>
                  <a:cubicBezTo>
                    <a:pt x="100" y="10"/>
                    <a:pt x="101" y="10"/>
                    <a:pt x="101" y="9"/>
                  </a:cubicBezTo>
                  <a:cubicBezTo>
                    <a:pt x="101" y="8"/>
                    <a:pt x="101" y="7"/>
                    <a:pt x="102" y="7"/>
                  </a:cubicBezTo>
                  <a:cubicBezTo>
                    <a:pt x="104" y="7"/>
                    <a:pt x="104" y="7"/>
                    <a:pt x="105" y="8"/>
                  </a:cubicBezTo>
                  <a:cubicBezTo>
                    <a:pt x="105" y="9"/>
                    <a:pt x="106" y="9"/>
                    <a:pt x="106" y="9"/>
                  </a:cubicBezTo>
                  <a:cubicBezTo>
                    <a:pt x="106" y="9"/>
                    <a:pt x="106" y="10"/>
                    <a:pt x="106" y="11"/>
                  </a:cubicBezTo>
                  <a:cubicBezTo>
                    <a:pt x="106" y="12"/>
                    <a:pt x="105" y="12"/>
                    <a:pt x="106" y="13"/>
                  </a:cubicBezTo>
                  <a:cubicBezTo>
                    <a:pt x="107" y="15"/>
                    <a:pt x="108" y="17"/>
                    <a:pt x="108" y="17"/>
                  </a:cubicBezTo>
                  <a:cubicBezTo>
                    <a:pt x="108" y="17"/>
                    <a:pt x="105" y="17"/>
                    <a:pt x="105" y="18"/>
                  </a:cubicBezTo>
                  <a:cubicBezTo>
                    <a:pt x="106" y="18"/>
                    <a:pt x="108" y="20"/>
                    <a:pt x="108" y="20"/>
                  </a:cubicBezTo>
                  <a:cubicBezTo>
                    <a:pt x="108" y="20"/>
                    <a:pt x="107" y="22"/>
                    <a:pt x="107" y="22"/>
                  </a:cubicBezTo>
                  <a:cubicBezTo>
                    <a:pt x="107" y="23"/>
                    <a:pt x="107" y="23"/>
                    <a:pt x="107" y="24"/>
                  </a:cubicBezTo>
                  <a:cubicBezTo>
                    <a:pt x="108" y="24"/>
                    <a:pt x="109" y="25"/>
                    <a:pt x="109" y="26"/>
                  </a:cubicBezTo>
                  <a:cubicBezTo>
                    <a:pt x="109" y="27"/>
                    <a:pt x="109" y="28"/>
                    <a:pt x="110" y="29"/>
                  </a:cubicBezTo>
                  <a:cubicBezTo>
                    <a:pt x="110" y="30"/>
                    <a:pt x="111" y="30"/>
                    <a:pt x="112" y="30"/>
                  </a:cubicBezTo>
                  <a:cubicBezTo>
                    <a:pt x="112" y="30"/>
                    <a:pt x="114" y="28"/>
                    <a:pt x="115" y="28"/>
                  </a:cubicBezTo>
                  <a:cubicBezTo>
                    <a:pt x="116" y="29"/>
                    <a:pt x="119" y="31"/>
                    <a:pt x="120" y="32"/>
                  </a:cubicBezTo>
                  <a:cubicBezTo>
                    <a:pt x="120" y="33"/>
                    <a:pt x="120" y="35"/>
                    <a:pt x="119" y="36"/>
                  </a:cubicBezTo>
                  <a:cubicBezTo>
                    <a:pt x="119" y="36"/>
                    <a:pt x="121" y="38"/>
                    <a:pt x="120" y="38"/>
                  </a:cubicBezTo>
                  <a:cubicBezTo>
                    <a:pt x="120" y="39"/>
                    <a:pt x="120" y="40"/>
                    <a:pt x="120" y="41"/>
                  </a:cubicBezTo>
                  <a:cubicBezTo>
                    <a:pt x="119" y="43"/>
                    <a:pt x="119" y="44"/>
                    <a:pt x="119" y="45"/>
                  </a:cubicBezTo>
                  <a:cubicBezTo>
                    <a:pt x="119" y="46"/>
                    <a:pt x="121" y="48"/>
                    <a:pt x="121" y="48"/>
                  </a:cubicBezTo>
                  <a:cubicBezTo>
                    <a:pt x="122" y="48"/>
                    <a:pt x="122" y="48"/>
                    <a:pt x="122" y="49"/>
                  </a:cubicBezTo>
                  <a:cubicBezTo>
                    <a:pt x="122" y="49"/>
                    <a:pt x="122" y="51"/>
                    <a:pt x="122" y="52"/>
                  </a:cubicBezTo>
                  <a:cubicBezTo>
                    <a:pt x="122" y="52"/>
                    <a:pt x="122" y="53"/>
                    <a:pt x="123" y="54"/>
                  </a:cubicBezTo>
                  <a:cubicBezTo>
                    <a:pt x="124" y="54"/>
                    <a:pt x="126" y="56"/>
                    <a:pt x="126" y="55"/>
                  </a:cubicBezTo>
                  <a:cubicBezTo>
                    <a:pt x="126" y="55"/>
                    <a:pt x="126" y="54"/>
                    <a:pt x="127" y="55"/>
                  </a:cubicBezTo>
                  <a:cubicBezTo>
                    <a:pt x="128" y="55"/>
                    <a:pt x="129" y="57"/>
                    <a:pt x="130" y="57"/>
                  </a:cubicBezTo>
                  <a:cubicBezTo>
                    <a:pt x="130" y="57"/>
                    <a:pt x="132" y="57"/>
                    <a:pt x="132" y="57"/>
                  </a:cubicBezTo>
                  <a:cubicBezTo>
                    <a:pt x="133" y="57"/>
                    <a:pt x="136" y="59"/>
                    <a:pt x="136" y="60"/>
                  </a:cubicBezTo>
                  <a:cubicBezTo>
                    <a:pt x="136" y="60"/>
                    <a:pt x="137" y="61"/>
                    <a:pt x="138" y="61"/>
                  </a:cubicBezTo>
                  <a:cubicBezTo>
                    <a:pt x="139" y="62"/>
                    <a:pt x="141" y="62"/>
                    <a:pt x="141" y="62"/>
                  </a:cubicBezTo>
                  <a:cubicBezTo>
                    <a:pt x="142" y="62"/>
                    <a:pt x="142" y="62"/>
                    <a:pt x="142" y="62"/>
                  </a:cubicBezTo>
                  <a:cubicBezTo>
                    <a:pt x="142" y="62"/>
                    <a:pt x="142" y="62"/>
                    <a:pt x="143" y="62"/>
                  </a:cubicBezTo>
                  <a:cubicBezTo>
                    <a:pt x="144" y="62"/>
                    <a:pt x="145" y="63"/>
                    <a:pt x="146" y="63"/>
                  </a:cubicBezTo>
                  <a:cubicBezTo>
                    <a:pt x="147" y="64"/>
                    <a:pt x="147" y="65"/>
                    <a:pt x="148" y="65"/>
                  </a:cubicBezTo>
                  <a:cubicBezTo>
                    <a:pt x="149" y="65"/>
                    <a:pt x="152" y="64"/>
                    <a:pt x="153" y="64"/>
                  </a:cubicBezTo>
                  <a:cubicBezTo>
                    <a:pt x="154" y="63"/>
                    <a:pt x="156" y="63"/>
                    <a:pt x="157" y="62"/>
                  </a:cubicBezTo>
                  <a:cubicBezTo>
                    <a:pt x="158" y="62"/>
                    <a:pt x="157" y="59"/>
                    <a:pt x="161" y="60"/>
                  </a:cubicBezTo>
                  <a:cubicBezTo>
                    <a:pt x="165" y="60"/>
                    <a:pt x="170" y="61"/>
                    <a:pt x="170" y="61"/>
                  </a:cubicBezTo>
                  <a:cubicBezTo>
                    <a:pt x="170" y="61"/>
                    <a:pt x="173" y="61"/>
                    <a:pt x="174" y="61"/>
                  </a:cubicBezTo>
                  <a:cubicBezTo>
                    <a:pt x="176" y="61"/>
                    <a:pt x="178" y="63"/>
                    <a:pt x="179" y="61"/>
                  </a:cubicBezTo>
                  <a:cubicBezTo>
                    <a:pt x="180" y="60"/>
                    <a:pt x="181" y="58"/>
                    <a:pt x="182" y="58"/>
                  </a:cubicBezTo>
                  <a:cubicBezTo>
                    <a:pt x="184" y="58"/>
                    <a:pt x="186" y="59"/>
                    <a:pt x="187" y="59"/>
                  </a:cubicBezTo>
                  <a:cubicBezTo>
                    <a:pt x="187" y="59"/>
                    <a:pt x="188" y="59"/>
                    <a:pt x="189" y="58"/>
                  </a:cubicBezTo>
                  <a:cubicBezTo>
                    <a:pt x="191" y="56"/>
                    <a:pt x="193" y="55"/>
                    <a:pt x="194" y="54"/>
                  </a:cubicBezTo>
                  <a:cubicBezTo>
                    <a:pt x="194" y="54"/>
                    <a:pt x="195" y="53"/>
                    <a:pt x="195" y="54"/>
                  </a:cubicBezTo>
                  <a:cubicBezTo>
                    <a:pt x="196" y="56"/>
                    <a:pt x="197" y="58"/>
                    <a:pt x="198" y="59"/>
                  </a:cubicBezTo>
                  <a:cubicBezTo>
                    <a:pt x="198" y="59"/>
                    <a:pt x="199" y="60"/>
                    <a:pt x="201" y="60"/>
                  </a:cubicBezTo>
                  <a:cubicBezTo>
                    <a:pt x="204" y="60"/>
                    <a:pt x="205" y="59"/>
                    <a:pt x="206" y="59"/>
                  </a:cubicBezTo>
                  <a:cubicBezTo>
                    <a:pt x="208" y="60"/>
                    <a:pt x="208" y="60"/>
                    <a:pt x="209" y="61"/>
                  </a:cubicBezTo>
                  <a:cubicBezTo>
                    <a:pt x="209" y="62"/>
                    <a:pt x="208" y="64"/>
                    <a:pt x="211" y="64"/>
                  </a:cubicBezTo>
                  <a:cubicBezTo>
                    <a:pt x="213" y="63"/>
                    <a:pt x="214" y="63"/>
                    <a:pt x="217" y="64"/>
                  </a:cubicBezTo>
                  <a:cubicBezTo>
                    <a:pt x="219" y="66"/>
                    <a:pt x="220" y="68"/>
                    <a:pt x="220" y="70"/>
                  </a:cubicBezTo>
                  <a:cubicBezTo>
                    <a:pt x="219" y="72"/>
                    <a:pt x="218" y="72"/>
                    <a:pt x="218" y="74"/>
                  </a:cubicBezTo>
                  <a:cubicBezTo>
                    <a:pt x="218" y="76"/>
                    <a:pt x="219" y="77"/>
                    <a:pt x="219" y="79"/>
                  </a:cubicBezTo>
                  <a:cubicBezTo>
                    <a:pt x="219" y="81"/>
                    <a:pt x="218" y="84"/>
                    <a:pt x="218" y="85"/>
                  </a:cubicBezTo>
                  <a:cubicBezTo>
                    <a:pt x="218" y="87"/>
                    <a:pt x="217" y="89"/>
                    <a:pt x="216" y="90"/>
                  </a:cubicBezTo>
                  <a:cubicBezTo>
                    <a:pt x="216" y="91"/>
                    <a:pt x="216" y="92"/>
                    <a:pt x="216" y="93"/>
                  </a:cubicBezTo>
                  <a:cubicBezTo>
                    <a:pt x="216" y="93"/>
                    <a:pt x="216" y="94"/>
                    <a:pt x="215" y="95"/>
                  </a:cubicBezTo>
                  <a:cubicBezTo>
                    <a:pt x="214" y="97"/>
                    <a:pt x="213" y="100"/>
                    <a:pt x="214" y="101"/>
                  </a:cubicBezTo>
                  <a:cubicBezTo>
                    <a:pt x="214" y="103"/>
                    <a:pt x="213" y="104"/>
                    <a:pt x="213" y="105"/>
                  </a:cubicBezTo>
                  <a:cubicBezTo>
                    <a:pt x="213" y="106"/>
                    <a:pt x="214" y="106"/>
                    <a:pt x="214" y="107"/>
                  </a:cubicBezTo>
                  <a:cubicBezTo>
                    <a:pt x="214" y="108"/>
                    <a:pt x="214" y="109"/>
                    <a:pt x="214" y="109"/>
                  </a:cubicBezTo>
                  <a:cubicBezTo>
                    <a:pt x="214" y="110"/>
                    <a:pt x="215" y="111"/>
                    <a:pt x="215" y="111"/>
                  </a:cubicBezTo>
                  <a:cubicBezTo>
                    <a:pt x="216" y="107"/>
                    <a:pt x="216" y="107"/>
                    <a:pt x="216" y="107"/>
                  </a:cubicBezTo>
                  <a:cubicBezTo>
                    <a:pt x="216" y="107"/>
                    <a:pt x="217" y="107"/>
                    <a:pt x="217" y="108"/>
                  </a:cubicBezTo>
                  <a:cubicBezTo>
                    <a:pt x="217" y="108"/>
                    <a:pt x="217" y="114"/>
                    <a:pt x="218" y="115"/>
                  </a:cubicBezTo>
                  <a:cubicBezTo>
                    <a:pt x="219" y="117"/>
                    <a:pt x="220" y="118"/>
                    <a:pt x="220" y="118"/>
                  </a:cubicBezTo>
                  <a:cubicBezTo>
                    <a:pt x="221" y="117"/>
                    <a:pt x="222" y="117"/>
                    <a:pt x="222" y="117"/>
                  </a:cubicBezTo>
                  <a:cubicBezTo>
                    <a:pt x="222" y="118"/>
                    <a:pt x="224" y="119"/>
                    <a:pt x="225" y="119"/>
                  </a:cubicBezTo>
                  <a:cubicBezTo>
                    <a:pt x="225" y="120"/>
                    <a:pt x="226" y="119"/>
                    <a:pt x="227" y="120"/>
                  </a:cubicBezTo>
                  <a:cubicBezTo>
                    <a:pt x="228" y="120"/>
                    <a:pt x="228" y="121"/>
                    <a:pt x="229" y="122"/>
                  </a:cubicBezTo>
                  <a:cubicBezTo>
                    <a:pt x="229" y="122"/>
                    <a:pt x="230" y="122"/>
                    <a:pt x="229" y="123"/>
                  </a:cubicBezTo>
                  <a:close/>
                  <a:moveTo>
                    <a:pt x="117" y="26"/>
                  </a:moveTo>
                  <a:cubicBezTo>
                    <a:pt x="119" y="26"/>
                    <a:pt x="121" y="26"/>
                    <a:pt x="122" y="27"/>
                  </a:cubicBezTo>
                  <a:cubicBezTo>
                    <a:pt x="124" y="27"/>
                    <a:pt x="125" y="28"/>
                    <a:pt x="127" y="29"/>
                  </a:cubicBezTo>
                  <a:cubicBezTo>
                    <a:pt x="129" y="29"/>
                    <a:pt x="131" y="29"/>
                    <a:pt x="133" y="30"/>
                  </a:cubicBezTo>
                  <a:cubicBezTo>
                    <a:pt x="135" y="30"/>
                    <a:pt x="137" y="30"/>
                    <a:pt x="139" y="30"/>
                  </a:cubicBezTo>
                  <a:cubicBezTo>
                    <a:pt x="141" y="30"/>
                    <a:pt x="143" y="31"/>
                    <a:pt x="145" y="31"/>
                  </a:cubicBezTo>
                  <a:cubicBezTo>
                    <a:pt x="147" y="31"/>
                    <a:pt x="149" y="31"/>
                    <a:pt x="151" y="31"/>
                  </a:cubicBezTo>
                  <a:cubicBezTo>
                    <a:pt x="154" y="31"/>
                    <a:pt x="158" y="30"/>
                    <a:pt x="161" y="32"/>
                  </a:cubicBezTo>
                  <a:cubicBezTo>
                    <a:pt x="162" y="32"/>
                    <a:pt x="162" y="32"/>
                    <a:pt x="163" y="31"/>
                  </a:cubicBezTo>
                  <a:cubicBezTo>
                    <a:pt x="163" y="31"/>
                    <a:pt x="164" y="30"/>
                    <a:pt x="164" y="29"/>
                  </a:cubicBezTo>
                  <a:cubicBezTo>
                    <a:pt x="165" y="27"/>
                    <a:pt x="166" y="25"/>
                    <a:pt x="168" y="24"/>
                  </a:cubicBezTo>
                  <a:cubicBezTo>
                    <a:pt x="169" y="24"/>
                    <a:pt x="170" y="24"/>
                    <a:pt x="170" y="24"/>
                  </a:cubicBezTo>
                  <a:cubicBezTo>
                    <a:pt x="172" y="24"/>
                    <a:pt x="172" y="23"/>
                    <a:pt x="174" y="24"/>
                  </a:cubicBezTo>
                  <a:cubicBezTo>
                    <a:pt x="175" y="24"/>
                    <a:pt x="177" y="24"/>
                    <a:pt x="178" y="24"/>
                  </a:cubicBezTo>
                  <a:cubicBezTo>
                    <a:pt x="179" y="25"/>
                    <a:pt x="180" y="25"/>
                    <a:pt x="181" y="25"/>
                  </a:cubicBezTo>
                  <a:cubicBezTo>
                    <a:pt x="182" y="25"/>
                    <a:pt x="184" y="25"/>
                    <a:pt x="184" y="25"/>
                  </a:cubicBezTo>
                  <a:cubicBezTo>
                    <a:pt x="185" y="25"/>
                    <a:pt x="185" y="24"/>
                    <a:pt x="185" y="23"/>
                  </a:cubicBezTo>
                  <a:cubicBezTo>
                    <a:pt x="184" y="23"/>
                    <a:pt x="184" y="22"/>
                    <a:pt x="184" y="22"/>
                  </a:cubicBezTo>
                  <a:cubicBezTo>
                    <a:pt x="185" y="21"/>
                    <a:pt x="185" y="20"/>
                    <a:pt x="186" y="19"/>
                  </a:cubicBezTo>
                  <a:cubicBezTo>
                    <a:pt x="187" y="19"/>
                    <a:pt x="188" y="19"/>
                    <a:pt x="188" y="20"/>
                  </a:cubicBezTo>
                  <a:cubicBezTo>
                    <a:pt x="188" y="21"/>
                    <a:pt x="189" y="21"/>
                    <a:pt x="189" y="22"/>
                  </a:cubicBezTo>
                  <a:cubicBezTo>
                    <a:pt x="191" y="23"/>
                    <a:pt x="193" y="24"/>
                    <a:pt x="195" y="23"/>
                  </a:cubicBezTo>
                  <a:cubicBezTo>
                    <a:pt x="196" y="23"/>
                    <a:pt x="196" y="22"/>
                    <a:pt x="196" y="22"/>
                  </a:cubicBezTo>
                  <a:cubicBezTo>
                    <a:pt x="195" y="21"/>
                    <a:pt x="195" y="21"/>
                    <a:pt x="194" y="21"/>
                  </a:cubicBezTo>
                  <a:cubicBezTo>
                    <a:pt x="192" y="21"/>
                    <a:pt x="190" y="21"/>
                    <a:pt x="189" y="20"/>
                  </a:cubicBezTo>
                  <a:cubicBezTo>
                    <a:pt x="188" y="18"/>
                    <a:pt x="190" y="18"/>
                    <a:pt x="191" y="17"/>
                  </a:cubicBezTo>
                  <a:cubicBezTo>
                    <a:pt x="192" y="16"/>
                    <a:pt x="193" y="17"/>
                    <a:pt x="194" y="17"/>
                  </a:cubicBezTo>
                  <a:cubicBezTo>
                    <a:pt x="195" y="17"/>
                    <a:pt x="196" y="16"/>
                    <a:pt x="197" y="15"/>
                  </a:cubicBezTo>
                  <a:cubicBezTo>
                    <a:pt x="197" y="15"/>
                    <a:pt x="198" y="14"/>
                    <a:pt x="199" y="14"/>
                  </a:cubicBezTo>
                  <a:cubicBezTo>
                    <a:pt x="199" y="13"/>
                    <a:pt x="198" y="12"/>
                    <a:pt x="197" y="12"/>
                  </a:cubicBezTo>
                  <a:cubicBezTo>
                    <a:pt x="196" y="11"/>
                    <a:pt x="195" y="11"/>
                    <a:pt x="193" y="10"/>
                  </a:cubicBezTo>
                  <a:cubicBezTo>
                    <a:pt x="192" y="9"/>
                    <a:pt x="190" y="8"/>
                    <a:pt x="189" y="8"/>
                  </a:cubicBezTo>
                  <a:cubicBezTo>
                    <a:pt x="186" y="7"/>
                    <a:pt x="183" y="9"/>
                    <a:pt x="180" y="9"/>
                  </a:cubicBezTo>
                  <a:cubicBezTo>
                    <a:pt x="176" y="9"/>
                    <a:pt x="172" y="9"/>
                    <a:pt x="167" y="9"/>
                  </a:cubicBezTo>
                  <a:cubicBezTo>
                    <a:pt x="162" y="9"/>
                    <a:pt x="156" y="9"/>
                    <a:pt x="151" y="9"/>
                  </a:cubicBezTo>
                  <a:cubicBezTo>
                    <a:pt x="147" y="9"/>
                    <a:pt x="144" y="9"/>
                    <a:pt x="140" y="9"/>
                  </a:cubicBezTo>
                  <a:cubicBezTo>
                    <a:pt x="136" y="9"/>
                    <a:pt x="133" y="9"/>
                    <a:pt x="129" y="9"/>
                  </a:cubicBezTo>
                  <a:cubicBezTo>
                    <a:pt x="126" y="9"/>
                    <a:pt x="123" y="9"/>
                    <a:pt x="120" y="11"/>
                  </a:cubicBezTo>
                  <a:cubicBezTo>
                    <a:pt x="120" y="12"/>
                    <a:pt x="119" y="12"/>
                    <a:pt x="119" y="13"/>
                  </a:cubicBezTo>
                  <a:cubicBezTo>
                    <a:pt x="118" y="14"/>
                    <a:pt x="117" y="15"/>
                    <a:pt x="116" y="16"/>
                  </a:cubicBezTo>
                  <a:cubicBezTo>
                    <a:pt x="116" y="16"/>
                    <a:pt x="115" y="17"/>
                    <a:pt x="114" y="18"/>
                  </a:cubicBezTo>
                  <a:cubicBezTo>
                    <a:pt x="114" y="19"/>
                    <a:pt x="113" y="19"/>
                    <a:pt x="112" y="19"/>
                  </a:cubicBezTo>
                  <a:cubicBezTo>
                    <a:pt x="111" y="19"/>
                    <a:pt x="110" y="19"/>
                    <a:pt x="110" y="20"/>
                  </a:cubicBezTo>
                  <a:cubicBezTo>
                    <a:pt x="110" y="21"/>
                    <a:pt x="111" y="22"/>
                    <a:pt x="111" y="22"/>
                  </a:cubicBezTo>
                  <a:cubicBezTo>
                    <a:pt x="111" y="23"/>
                    <a:pt x="112" y="23"/>
                    <a:pt x="112" y="24"/>
                  </a:cubicBezTo>
                  <a:cubicBezTo>
                    <a:pt x="112" y="25"/>
                    <a:pt x="112" y="26"/>
                    <a:pt x="112" y="26"/>
                  </a:cubicBezTo>
                  <a:cubicBezTo>
                    <a:pt x="114" y="28"/>
                    <a:pt x="116" y="26"/>
                    <a:pt x="117" y="26"/>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4" name="Freeform 72">
              <a:extLst>
                <a:ext uri="{FF2B5EF4-FFF2-40B4-BE49-F238E27FC236}">
                  <a16:creationId xmlns:a16="http://schemas.microsoft.com/office/drawing/2014/main" id="{4ADECA7D-3C55-FE55-5CAC-7B33EDAC0A6B}"/>
                </a:ext>
              </a:extLst>
            </p:cNvPr>
            <p:cNvSpPr>
              <a:spLocks/>
            </p:cNvSpPr>
            <p:nvPr/>
          </p:nvSpPr>
          <p:spPr bwMode="auto">
            <a:xfrm>
              <a:off x="3741738" y="5318125"/>
              <a:ext cx="739775" cy="430212"/>
            </a:xfrm>
            <a:custGeom>
              <a:avLst/>
              <a:gdLst>
                <a:gd name="T0" fmla="*/ 148 w 194"/>
                <a:gd name="T1" fmla="*/ 104 h 113"/>
                <a:gd name="T2" fmla="*/ 154 w 194"/>
                <a:gd name="T3" fmla="*/ 104 h 113"/>
                <a:gd name="T4" fmla="*/ 157 w 194"/>
                <a:gd name="T5" fmla="*/ 101 h 113"/>
                <a:gd name="T6" fmla="*/ 159 w 194"/>
                <a:gd name="T7" fmla="*/ 99 h 113"/>
                <a:gd name="T8" fmla="*/ 165 w 194"/>
                <a:gd name="T9" fmla="*/ 96 h 113"/>
                <a:gd name="T10" fmla="*/ 169 w 194"/>
                <a:gd name="T11" fmla="*/ 93 h 113"/>
                <a:gd name="T12" fmla="*/ 169 w 194"/>
                <a:gd name="T13" fmla="*/ 86 h 113"/>
                <a:gd name="T14" fmla="*/ 164 w 194"/>
                <a:gd name="T15" fmla="*/ 83 h 113"/>
                <a:gd name="T16" fmla="*/ 163 w 194"/>
                <a:gd name="T17" fmla="*/ 74 h 113"/>
                <a:gd name="T18" fmla="*/ 160 w 194"/>
                <a:gd name="T19" fmla="*/ 69 h 113"/>
                <a:gd name="T20" fmla="*/ 160 w 194"/>
                <a:gd name="T21" fmla="*/ 59 h 113"/>
                <a:gd name="T22" fmla="*/ 163 w 194"/>
                <a:gd name="T23" fmla="*/ 53 h 113"/>
                <a:gd name="T24" fmla="*/ 172 w 194"/>
                <a:gd name="T25" fmla="*/ 57 h 113"/>
                <a:gd name="T26" fmla="*/ 180 w 194"/>
                <a:gd name="T27" fmla="*/ 60 h 113"/>
                <a:gd name="T28" fmla="*/ 185 w 194"/>
                <a:gd name="T29" fmla="*/ 50 h 113"/>
                <a:gd name="T30" fmla="*/ 190 w 194"/>
                <a:gd name="T31" fmla="*/ 44 h 113"/>
                <a:gd name="T32" fmla="*/ 189 w 194"/>
                <a:gd name="T33" fmla="*/ 36 h 113"/>
                <a:gd name="T34" fmla="*/ 188 w 194"/>
                <a:gd name="T35" fmla="*/ 31 h 113"/>
                <a:gd name="T36" fmla="*/ 190 w 194"/>
                <a:gd name="T37" fmla="*/ 27 h 113"/>
                <a:gd name="T38" fmla="*/ 194 w 194"/>
                <a:gd name="T39" fmla="*/ 21 h 113"/>
                <a:gd name="T40" fmla="*/ 183 w 194"/>
                <a:gd name="T41" fmla="*/ 14 h 113"/>
                <a:gd name="T42" fmla="*/ 162 w 194"/>
                <a:gd name="T43" fmla="*/ 16 h 113"/>
                <a:gd name="T44" fmla="*/ 154 w 194"/>
                <a:gd name="T45" fmla="*/ 1 h 113"/>
                <a:gd name="T46" fmla="*/ 139 w 194"/>
                <a:gd name="T47" fmla="*/ 1 h 113"/>
                <a:gd name="T48" fmla="*/ 128 w 194"/>
                <a:gd name="T49" fmla="*/ 17 h 113"/>
                <a:gd name="T50" fmla="*/ 124 w 194"/>
                <a:gd name="T51" fmla="*/ 23 h 113"/>
                <a:gd name="T52" fmla="*/ 114 w 194"/>
                <a:gd name="T53" fmla="*/ 34 h 113"/>
                <a:gd name="T54" fmla="*/ 106 w 194"/>
                <a:gd name="T55" fmla="*/ 32 h 113"/>
                <a:gd name="T56" fmla="*/ 94 w 194"/>
                <a:gd name="T57" fmla="*/ 31 h 113"/>
                <a:gd name="T58" fmla="*/ 61 w 194"/>
                <a:gd name="T59" fmla="*/ 25 h 113"/>
                <a:gd name="T60" fmla="*/ 32 w 194"/>
                <a:gd name="T61" fmla="*/ 24 h 113"/>
                <a:gd name="T62" fmla="*/ 22 w 194"/>
                <a:gd name="T63" fmla="*/ 26 h 113"/>
                <a:gd name="T64" fmla="*/ 17 w 194"/>
                <a:gd name="T65" fmla="*/ 25 h 113"/>
                <a:gd name="T66" fmla="*/ 13 w 194"/>
                <a:gd name="T67" fmla="*/ 37 h 113"/>
                <a:gd name="T68" fmla="*/ 11 w 194"/>
                <a:gd name="T69" fmla="*/ 44 h 113"/>
                <a:gd name="T70" fmla="*/ 5 w 194"/>
                <a:gd name="T71" fmla="*/ 46 h 113"/>
                <a:gd name="T72" fmla="*/ 2 w 194"/>
                <a:gd name="T73" fmla="*/ 51 h 113"/>
                <a:gd name="T74" fmla="*/ 0 w 194"/>
                <a:gd name="T75" fmla="*/ 57 h 113"/>
                <a:gd name="T76" fmla="*/ 3 w 194"/>
                <a:gd name="T77" fmla="*/ 59 h 113"/>
                <a:gd name="T78" fmla="*/ 9 w 194"/>
                <a:gd name="T79" fmla="*/ 63 h 113"/>
                <a:gd name="T80" fmla="*/ 10 w 194"/>
                <a:gd name="T81" fmla="*/ 68 h 113"/>
                <a:gd name="T82" fmla="*/ 13 w 194"/>
                <a:gd name="T83" fmla="*/ 78 h 113"/>
                <a:gd name="T84" fmla="*/ 15 w 194"/>
                <a:gd name="T85" fmla="*/ 83 h 113"/>
                <a:gd name="T86" fmla="*/ 25 w 194"/>
                <a:gd name="T87" fmla="*/ 85 h 113"/>
                <a:gd name="T88" fmla="*/ 26 w 194"/>
                <a:gd name="T89" fmla="*/ 82 h 113"/>
                <a:gd name="T90" fmla="*/ 39 w 194"/>
                <a:gd name="T91" fmla="*/ 80 h 113"/>
                <a:gd name="T92" fmla="*/ 55 w 194"/>
                <a:gd name="T93" fmla="*/ 85 h 113"/>
                <a:gd name="T94" fmla="*/ 78 w 194"/>
                <a:gd name="T95" fmla="*/ 88 h 113"/>
                <a:gd name="T96" fmla="*/ 96 w 194"/>
                <a:gd name="T97" fmla="*/ 85 h 113"/>
                <a:gd name="T98" fmla="*/ 100 w 194"/>
                <a:gd name="T99" fmla="*/ 78 h 113"/>
                <a:gd name="T100" fmla="*/ 106 w 194"/>
                <a:gd name="T101" fmla="*/ 80 h 113"/>
                <a:gd name="T102" fmla="*/ 114 w 194"/>
                <a:gd name="T103" fmla="*/ 74 h 113"/>
                <a:gd name="T104" fmla="*/ 120 w 194"/>
                <a:gd name="T105" fmla="*/ 82 h 113"/>
                <a:gd name="T106" fmla="*/ 124 w 194"/>
                <a:gd name="T107" fmla="*/ 86 h 113"/>
                <a:gd name="T108" fmla="*/ 138 w 194"/>
                <a:gd name="T109" fmla="*/ 88 h 113"/>
                <a:gd name="T110" fmla="*/ 136 w 194"/>
                <a:gd name="T111" fmla="*/ 99 h 113"/>
                <a:gd name="T112" fmla="*/ 139 w 194"/>
                <a:gd name="T113" fmla="*/ 109 h 113"/>
                <a:gd name="T114" fmla="*/ 141 w 194"/>
                <a:gd name="T115" fmla="*/ 112 h 113"/>
                <a:gd name="T116" fmla="*/ 145 w 194"/>
                <a:gd name="T11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13">
                  <a:moveTo>
                    <a:pt x="145" y="107"/>
                  </a:moveTo>
                  <a:cubicBezTo>
                    <a:pt x="145" y="107"/>
                    <a:pt x="146" y="106"/>
                    <a:pt x="147" y="106"/>
                  </a:cubicBezTo>
                  <a:cubicBezTo>
                    <a:pt x="147" y="105"/>
                    <a:pt x="148" y="105"/>
                    <a:pt x="148" y="104"/>
                  </a:cubicBezTo>
                  <a:cubicBezTo>
                    <a:pt x="149" y="104"/>
                    <a:pt x="150" y="104"/>
                    <a:pt x="150" y="104"/>
                  </a:cubicBezTo>
                  <a:cubicBezTo>
                    <a:pt x="151" y="104"/>
                    <a:pt x="151" y="105"/>
                    <a:pt x="152" y="105"/>
                  </a:cubicBezTo>
                  <a:cubicBezTo>
                    <a:pt x="153" y="105"/>
                    <a:pt x="153" y="104"/>
                    <a:pt x="154" y="104"/>
                  </a:cubicBezTo>
                  <a:cubicBezTo>
                    <a:pt x="155" y="104"/>
                    <a:pt x="155" y="104"/>
                    <a:pt x="156" y="103"/>
                  </a:cubicBezTo>
                  <a:cubicBezTo>
                    <a:pt x="156" y="103"/>
                    <a:pt x="156" y="102"/>
                    <a:pt x="157" y="102"/>
                  </a:cubicBezTo>
                  <a:cubicBezTo>
                    <a:pt x="157" y="101"/>
                    <a:pt x="157" y="101"/>
                    <a:pt x="157" y="101"/>
                  </a:cubicBezTo>
                  <a:cubicBezTo>
                    <a:pt x="158" y="102"/>
                    <a:pt x="158" y="103"/>
                    <a:pt x="158" y="103"/>
                  </a:cubicBezTo>
                  <a:cubicBezTo>
                    <a:pt x="159" y="103"/>
                    <a:pt x="160" y="102"/>
                    <a:pt x="160" y="102"/>
                  </a:cubicBezTo>
                  <a:cubicBezTo>
                    <a:pt x="160" y="101"/>
                    <a:pt x="159" y="100"/>
                    <a:pt x="159" y="99"/>
                  </a:cubicBezTo>
                  <a:cubicBezTo>
                    <a:pt x="159" y="98"/>
                    <a:pt x="160" y="97"/>
                    <a:pt x="160" y="96"/>
                  </a:cubicBezTo>
                  <a:cubicBezTo>
                    <a:pt x="160" y="95"/>
                    <a:pt x="161" y="95"/>
                    <a:pt x="162" y="94"/>
                  </a:cubicBezTo>
                  <a:cubicBezTo>
                    <a:pt x="163" y="94"/>
                    <a:pt x="164" y="95"/>
                    <a:pt x="165" y="96"/>
                  </a:cubicBezTo>
                  <a:cubicBezTo>
                    <a:pt x="166" y="96"/>
                    <a:pt x="167" y="96"/>
                    <a:pt x="167" y="96"/>
                  </a:cubicBezTo>
                  <a:cubicBezTo>
                    <a:pt x="168" y="96"/>
                    <a:pt x="168" y="95"/>
                    <a:pt x="169" y="95"/>
                  </a:cubicBezTo>
                  <a:cubicBezTo>
                    <a:pt x="169" y="94"/>
                    <a:pt x="169" y="94"/>
                    <a:pt x="169" y="93"/>
                  </a:cubicBezTo>
                  <a:cubicBezTo>
                    <a:pt x="170" y="93"/>
                    <a:pt x="170" y="92"/>
                    <a:pt x="170" y="91"/>
                  </a:cubicBezTo>
                  <a:cubicBezTo>
                    <a:pt x="171" y="91"/>
                    <a:pt x="171" y="90"/>
                    <a:pt x="171" y="90"/>
                  </a:cubicBezTo>
                  <a:cubicBezTo>
                    <a:pt x="171" y="88"/>
                    <a:pt x="168" y="88"/>
                    <a:pt x="169" y="86"/>
                  </a:cubicBezTo>
                  <a:cubicBezTo>
                    <a:pt x="169" y="85"/>
                    <a:pt x="169" y="85"/>
                    <a:pt x="169" y="84"/>
                  </a:cubicBezTo>
                  <a:cubicBezTo>
                    <a:pt x="168" y="84"/>
                    <a:pt x="167" y="84"/>
                    <a:pt x="166" y="84"/>
                  </a:cubicBezTo>
                  <a:cubicBezTo>
                    <a:pt x="165" y="84"/>
                    <a:pt x="165" y="83"/>
                    <a:pt x="164" y="83"/>
                  </a:cubicBezTo>
                  <a:cubicBezTo>
                    <a:pt x="164" y="82"/>
                    <a:pt x="163" y="82"/>
                    <a:pt x="163" y="81"/>
                  </a:cubicBezTo>
                  <a:cubicBezTo>
                    <a:pt x="163" y="80"/>
                    <a:pt x="163" y="80"/>
                    <a:pt x="163" y="79"/>
                  </a:cubicBezTo>
                  <a:cubicBezTo>
                    <a:pt x="163" y="77"/>
                    <a:pt x="164" y="76"/>
                    <a:pt x="163" y="74"/>
                  </a:cubicBezTo>
                  <a:cubicBezTo>
                    <a:pt x="162" y="74"/>
                    <a:pt x="162" y="74"/>
                    <a:pt x="161" y="73"/>
                  </a:cubicBezTo>
                  <a:cubicBezTo>
                    <a:pt x="161" y="72"/>
                    <a:pt x="161" y="71"/>
                    <a:pt x="161" y="71"/>
                  </a:cubicBezTo>
                  <a:cubicBezTo>
                    <a:pt x="161" y="70"/>
                    <a:pt x="161" y="69"/>
                    <a:pt x="160" y="69"/>
                  </a:cubicBezTo>
                  <a:cubicBezTo>
                    <a:pt x="160" y="68"/>
                    <a:pt x="160" y="67"/>
                    <a:pt x="160" y="66"/>
                  </a:cubicBezTo>
                  <a:cubicBezTo>
                    <a:pt x="159" y="65"/>
                    <a:pt x="159" y="64"/>
                    <a:pt x="159" y="64"/>
                  </a:cubicBezTo>
                  <a:cubicBezTo>
                    <a:pt x="159" y="62"/>
                    <a:pt x="160" y="61"/>
                    <a:pt x="160" y="59"/>
                  </a:cubicBezTo>
                  <a:cubicBezTo>
                    <a:pt x="160" y="58"/>
                    <a:pt x="160" y="56"/>
                    <a:pt x="160" y="54"/>
                  </a:cubicBezTo>
                  <a:cubicBezTo>
                    <a:pt x="160" y="54"/>
                    <a:pt x="160" y="52"/>
                    <a:pt x="161" y="52"/>
                  </a:cubicBezTo>
                  <a:cubicBezTo>
                    <a:pt x="162" y="52"/>
                    <a:pt x="162" y="53"/>
                    <a:pt x="163" y="53"/>
                  </a:cubicBezTo>
                  <a:cubicBezTo>
                    <a:pt x="164" y="53"/>
                    <a:pt x="164" y="54"/>
                    <a:pt x="165" y="54"/>
                  </a:cubicBezTo>
                  <a:cubicBezTo>
                    <a:pt x="166" y="55"/>
                    <a:pt x="168" y="55"/>
                    <a:pt x="170" y="56"/>
                  </a:cubicBezTo>
                  <a:cubicBezTo>
                    <a:pt x="170" y="56"/>
                    <a:pt x="171" y="57"/>
                    <a:pt x="172" y="57"/>
                  </a:cubicBezTo>
                  <a:cubicBezTo>
                    <a:pt x="173" y="58"/>
                    <a:pt x="174" y="58"/>
                    <a:pt x="175" y="59"/>
                  </a:cubicBezTo>
                  <a:cubicBezTo>
                    <a:pt x="176" y="59"/>
                    <a:pt x="177" y="60"/>
                    <a:pt x="178" y="60"/>
                  </a:cubicBezTo>
                  <a:cubicBezTo>
                    <a:pt x="178" y="60"/>
                    <a:pt x="179" y="60"/>
                    <a:pt x="180" y="60"/>
                  </a:cubicBezTo>
                  <a:cubicBezTo>
                    <a:pt x="180" y="58"/>
                    <a:pt x="178" y="57"/>
                    <a:pt x="178" y="55"/>
                  </a:cubicBezTo>
                  <a:cubicBezTo>
                    <a:pt x="178" y="54"/>
                    <a:pt x="180" y="53"/>
                    <a:pt x="181" y="53"/>
                  </a:cubicBezTo>
                  <a:cubicBezTo>
                    <a:pt x="183" y="52"/>
                    <a:pt x="184" y="51"/>
                    <a:pt x="185" y="50"/>
                  </a:cubicBezTo>
                  <a:cubicBezTo>
                    <a:pt x="186" y="49"/>
                    <a:pt x="187" y="49"/>
                    <a:pt x="188" y="48"/>
                  </a:cubicBezTo>
                  <a:cubicBezTo>
                    <a:pt x="188" y="47"/>
                    <a:pt x="189" y="47"/>
                    <a:pt x="189" y="46"/>
                  </a:cubicBezTo>
                  <a:cubicBezTo>
                    <a:pt x="189" y="45"/>
                    <a:pt x="190" y="44"/>
                    <a:pt x="190" y="44"/>
                  </a:cubicBezTo>
                  <a:cubicBezTo>
                    <a:pt x="190" y="43"/>
                    <a:pt x="190" y="42"/>
                    <a:pt x="190" y="42"/>
                  </a:cubicBezTo>
                  <a:cubicBezTo>
                    <a:pt x="190" y="41"/>
                    <a:pt x="191" y="39"/>
                    <a:pt x="191" y="38"/>
                  </a:cubicBezTo>
                  <a:cubicBezTo>
                    <a:pt x="191" y="37"/>
                    <a:pt x="190" y="37"/>
                    <a:pt x="189" y="36"/>
                  </a:cubicBezTo>
                  <a:cubicBezTo>
                    <a:pt x="189" y="36"/>
                    <a:pt x="189" y="35"/>
                    <a:pt x="188" y="35"/>
                  </a:cubicBezTo>
                  <a:cubicBezTo>
                    <a:pt x="188" y="34"/>
                    <a:pt x="188" y="34"/>
                    <a:pt x="187" y="34"/>
                  </a:cubicBezTo>
                  <a:cubicBezTo>
                    <a:pt x="187" y="33"/>
                    <a:pt x="187" y="32"/>
                    <a:pt x="188" y="31"/>
                  </a:cubicBezTo>
                  <a:cubicBezTo>
                    <a:pt x="188" y="31"/>
                    <a:pt x="189" y="31"/>
                    <a:pt x="189" y="31"/>
                  </a:cubicBezTo>
                  <a:cubicBezTo>
                    <a:pt x="189" y="30"/>
                    <a:pt x="189" y="29"/>
                    <a:pt x="189" y="29"/>
                  </a:cubicBezTo>
                  <a:cubicBezTo>
                    <a:pt x="189" y="28"/>
                    <a:pt x="189" y="27"/>
                    <a:pt x="190" y="27"/>
                  </a:cubicBezTo>
                  <a:cubicBezTo>
                    <a:pt x="191" y="26"/>
                    <a:pt x="191" y="26"/>
                    <a:pt x="192" y="26"/>
                  </a:cubicBezTo>
                  <a:cubicBezTo>
                    <a:pt x="192" y="25"/>
                    <a:pt x="192" y="24"/>
                    <a:pt x="192" y="23"/>
                  </a:cubicBezTo>
                  <a:cubicBezTo>
                    <a:pt x="193" y="22"/>
                    <a:pt x="193" y="22"/>
                    <a:pt x="194" y="21"/>
                  </a:cubicBezTo>
                  <a:cubicBezTo>
                    <a:pt x="193" y="21"/>
                    <a:pt x="192" y="21"/>
                    <a:pt x="192" y="20"/>
                  </a:cubicBezTo>
                  <a:cubicBezTo>
                    <a:pt x="189" y="19"/>
                    <a:pt x="189" y="17"/>
                    <a:pt x="188" y="15"/>
                  </a:cubicBezTo>
                  <a:cubicBezTo>
                    <a:pt x="186" y="14"/>
                    <a:pt x="183" y="14"/>
                    <a:pt x="183" y="14"/>
                  </a:cubicBezTo>
                  <a:cubicBezTo>
                    <a:pt x="182" y="14"/>
                    <a:pt x="180" y="16"/>
                    <a:pt x="179" y="17"/>
                  </a:cubicBezTo>
                  <a:cubicBezTo>
                    <a:pt x="177" y="18"/>
                    <a:pt x="172" y="19"/>
                    <a:pt x="170" y="19"/>
                  </a:cubicBezTo>
                  <a:cubicBezTo>
                    <a:pt x="168" y="18"/>
                    <a:pt x="164" y="17"/>
                    <a:pt x="162" y="16"/>
                  </a:cubicBezTo>
                  <a:cubicBezTo>
                    <a:pt x="160" y="15"/>
                    <a:pt x="158" y="12"/>
                    <a:pt x="157" y="11"/>
                  </a:cubicBezTo>
                  <a:cubicBezTo>
                    <a:pt x="156" y="9"/>
                    <a:pt x="155" y="7"/>
                    <a:pt x="155" y="6"/>
                  </a:cubicBezTo>
                  <a:cubicBezTo>
                    <a:pt x="154" y="6"/>
                    <a:pt x="154" y="1"/>
                    <a:pt x="154" y="1"/>
                  </a:cubicBezTo>
                  <a:cubicBezTo>
                    <a:pt x="154" y="1"/>
                    <a:pt x="152" y="1"/>
                    <a:pt x="150" y="0"/>
                  </a:cubicBezTo>
                  <a:cubicBezTo>
                    <a:pt x="149" y="0"/>
                    <a:pt x="146" y="0"/>
                    <a:pt x="144" y="0"/>
                  </a:cubicBezTo>
                  <a:cubicBezTo>
                    <a:pt x="143" y="0"/>
                    <a:pt x="140" y="1"/>
                    <a:pt x="139" y="1"/>
                  </a:cubicBezTo>
                  <a:cubicBezTo>
                    <a:pt x="138" y="2"/>
                    <a:pt x="135" y="3"/>
                    <a:pt x="134" y="5"/>
                  </a:cubicBezTo>
                  <a:cubicBezTo>
                    <a:pt x="132" y="6"/>
                    <a:pt x="132" y="8"/>
                    <a:pt x="131" y="10"/>
                  </a:cubicBezTo>
                  <a:cubicBezTo>
                    <a:pt x="130" y="11"/>
                    <a:pt x="129" y="15"/>
                    <a:pt x="128" y="17"/>
                  </a:cubicBezTo>
                  <a:cubicBezTo>
                    <a:pt x="127" y="20"/>
                    <a:pt x="126" y="20"/>
                    <a:pt x="126" y="20"/>
                  </a:cubicBezTo>
                  <a:cubicBezTo>
                    <a:pt x="125" y="20"/>
                    <a:pt x="124" y="20"/>
                    <a:pt x="124" y="21"/>
                  </a:cubicBezTo>
                  <a:cubicBezTo>
                    <a:pt x="124" y="22"/>
                    <a:pt x="124" y="23"/>
                    <a:pt x="124" y="23"/>
                  </a:cubicBezTo>
                  <a:cubicBezTo>
                    <a:pt x="125" y="24"/>
                    <a:pt x="124" y="26"/>
                    <a:pt x="123" y="28"/>
                  </a:cubicBezTo>
                  <a:cubicBezTo>
                    <a:pt x="122" y="29"/>
                    <a:pt x="120" y="32"/>
                    <a:pt x="118" y="33"/>
                  </a:cubicBezTo>
                  <a:cubicBezTo>
                    <a:pt x="117" y="34"/>
                    <a:pt x="115" y="34"/>
                    <a:pt x="114" y="34"/>
                  </a:cubicBezTo>
                  <a:cubicBezTo>
                    <a:pt x="113" y="34"/>
                    <a:pt x="112" y="35"/>
                    <a:pt x="111" y="35"/>
                  </a:cubicBezTo>
                  <a:cubicBezTo>
                    <a:pt x="110" y="35"/>
                    <a:pt x="110" y="35"/>
                    <a:pt x="110" y="34"/>
                  </a:cubicBezTo>
                  <a:cubicBezTo>
                    <a:pt x="109" y="33"/>
                    <a:pt x="108" y="33"/>
                    <a:pt x="106" y="32"/>
                  </a:cubicBezTo>
                  <a:cubicBezTo>
                    <a:pt x="105" y="31"/>
                    <a:pt x="104" y="30"/>
                    <a:pt x="103" y="29"/>
                  </a:cubicBezTo>
                  <a:cubicBezTo>
                    <a:pt x="103" y="28"/>
                    <a:pt x="101" y="27"/>
                    <a:pt x="101" y="28"/>
                  </a:cubicBezTo>
                  <a:cubicBezTo>
                    <a:pt x="100" y="28"/>
                    <a:pt x="96" y="31"/>
                    <a:pt x="94" y="31"/>
                  </a:cubicBezTo>
                  <a:cubicBezTo>
                    <a:pt x="91" y="32"/>
                    <a:pt x="91" y="32"/>
                    <a:pt x="87" y="32"/>
                  </a:cubicBezTo>
                  <a:cubicBezTo>
                    <a:pt x="83" y="32"/>
                    <a:pt x="78" y="30"/>
                    <a:pt x="74" y="29"/>
                  </a:cubicBezTo>
                  <a:cubicBezTo>
                    <a:pt x="70" y="28"/>
                    <a:pt x="63" y="27"/>
                    <a:pt x="61" y="25"/>
                  </a:cubicBezTo>
                  <a:cubicBezTo>
                    <a:pt x="60" y="24"/>
                    <a:pt x="60" y="23"/>
                    <a:pt x="60" y="23"/>
                  </a:cubicBezTo>
                  <a:cubicBezTo>
                    <a:pt x="60" y="23"/>
                    <a:pt x="57" y="27"/>
                    <a:pt x="47" y="29"/>
                  </a:cubicBezTo>
                  <a:cubicBezTo>
                    <a:pt x="33" y="30"/>
                    <a:pt x="32" y="24"/>
                    <a:pt x="32" y="24"/>
                  </a:cubicBezTo>
                  <a:cubicBezTo>
                    <a:pt x="32" y="24"/>
                    <a:pt x="33" y="22"/>
                    <a:pt x="32" y="23"/>
                  </a:cubicBezTo>
                  <a:cubicBezTo>
                    <a:pt x="31" y="23"/>
                    <a:pt x="30" y="24"/>
                    <a:pt x="27" y="25"/>
                  </a:cubicBezTo>
                  <a:cubicBezTo>
                    <a:pt x="25" y="26"/>
                    <a:pt x="24" y="26"/>
                    <a:pt x="22" y="26"/>
                  </a:cubicBezTo>
                  <a:cubicBezTo>
                    <a:pt x="19" y="25"/>
                    <a:pt x="19" y="24"/>
                    <a:pt x="19" y="24"/>
                  </a:cubicBezTo>
                  <a:cubicBezTo>
                    <a:pt x="19" y="23"/>
                    <a:pt x="18" y="23"/>
                    <a:pt x="18" y="22"/>
                  </a:cubicBezTo>
                  <a:cubicBezTo>
                    <a:pt x="18" y="23"/>
                    <a:pt x="17" y="24"/>
                    <a:pt x="17" y="25"/>
                  </a:cubicBezTo>
                  <a:cubicBezTo>
                    <a:pt x="16" y="27"/>
                    <a:pt x="15" y="29"/>
                    <a:pt x="14" y="30"/>
                  </a:cubicBezTo>
                  <a:cubicBezTo>
                    <a:pt x="13" y="32"/>
                    <a:pt x="13" y="33"/>
                    <a:pt x="12" y="35"/>
                  </a:cubicBezTo>
                  <a:cubicBezTo>
                    <a:pt x="12" y="36"/>
                    <a:pt x="13" y="37"/>
                    <a:pt x="13" y="37"/>
                  </a:cubicBezTo>
                  <a:cubicBezTo>
                    <a:pt x="14" y="38"/>
                    <a:pt x="14" y="39"/>
                    <a:pt x="14" y="40"/>
                  </a:cubicBezTo>
                  <a:cubicBezTo>
                    <a:pt x="14" y="41"/>
                    <a:pt x="14" y="42"/>
                    <a:pt x="14" y="43"/>
                  </a:cubicBezTo>
                  <a:cubicBezTo>
                    <a:pt x="13" y="44"/>
                    <a:pt x="12" y="44"/>
                    <a:pt x="11" y="44"/>
                  </a:cubicBezTo>
                  <a:cubicBezTo>
                    <a:pt x="11" y="45"/>
                    <a:pt x="10" y="46"/>
                    <a:pt x="9" y="46"/>
                  </a:cubicBezTo>
                  <a:cubicBezTo>
                    <a:pt x="8" y="47"/>
                    <a:pt x="7" y="47"/>
                    <a:pt x="7" y="47"/>
                  </a:cubicBezTo>
                  <a:cubicBezTo>
                    <a:pt x="6" y="47"/>
                    <a:pt x="6" y="46"/>
                    <a:pt x="5" y="46"/>
                  </a:cubicBezTo>
                  <a:cubicBezTo>
                    <a:pt x="4" y="46"/>
                    <a:pt x="3" y="47"/>
                    <a:pt x="3" y="47"/>
                  </a:cubicBezTo>
                  <a:cubicBezTo>
                    <a:pt x="2" y="47"/>
                    <a:pt x="2" y="47"/>
                    <a:pt x="1" y="48"/>
                  </a:cubicBezTo>
                  <a:cubicBezTo>
                    <a:pt x="1" y="49"/>
                    <a:pt x="1" y="50"/>
                    <a:pt x="2" y="51"/>
                  </a:cubicBezTo>
                  <a:cubicBezTo>
                    <a:pt x="2" y="51"/>
                    <a:pt x="2" y="52"/>
                    <a:pt x="1" y="53"/>
                  </a:cubicBezTo>
                  <a:cubicBezTo>
                    <a:pt x="1" y="54"/>
                    <a:pt x="0" y="54"/>
                    <a:pt x="0" y="55"/>
                  </a:cubicBezTo>
                  <a:cubicBezTo>
                    <a:pt x="0" y="56"/>
                    <a:pt x="0" y="56"/>
                    <a:pt x="0" y="57"/>
                  </a:cubicBezTo>
                  <a:cubicBezTo>
                    <a:pt x="0" y="58"/>
                    <a:pt x="0" y="58"/>
                    <a:pt x="1" y="58"/>
                  </a:cubicBezTo>
                  <a:cubicBezTo>
                    <a:pt x="2" y="58"/>
                    <a:pt x="2" y="58"/>
                    <a:pt x="2" y="58"/>
                  </a:cubicBezTo>
                  <a:cubicBezTo>
                    <a:pt x="2" y="58"/>
                    <a:pt x="2" y="59"/>
                    <a:pt x="3" y="59"/>
                  </a:cubicBezTo>
                  <a:cubicBezTo>
                    <a:pt x="4" y="60"/>
                    <a:pt x="5" y="60"/>
                    <a:pt x="6" y="60"/>
                  </a:cubicBezTo>
                  <a:cubicBezTo>
                    <a:pt x="7" y="60"/>
                    <a:pt x="7" y="60"/>
                    <a:pt x="8" y="61"/>
                  </a:cubicBezTo>
                  <a:cubicBezTo>
                    <a:pt x="8" y="62"/>
                    <a:pt x="8" y="62"/>
                    <a:pt x="9" y="63"/>
                  </a:cubicBezTo>
                  <a:cubicBezTo>
                    <a:pt x="9" y="63"/>
                    <a:pt x="9" y="63"/>
                    <a:pt x="10" y="64"/>
                  </a:cubicBezTo>
                  <a:cubicBezTo>
                    <a:pt x="10" y="64"/>
                    <a:pt x="10" y="65"/>
                    <a:pt x="10" y="65"/>
                  </a:cubicBezTo>
                  <a:cubicBezTo>
                    <a:pt x="11" y="66"/>
                    <a:pt x="10" y="67"/>
                    <a:pt x="10" y="68"/>
                  </a:cubicBezTo>
                  <a:cubicBezTo>
                    <a:pt x="10" y="69"/>
                    <a:pt x="11" y="70"/>
                    <a:pt x="12" y="71"/>
                  </a:cubicBezTo>
                  <a:cubicBezTo>
                    <a:pt x="12" y="72"/>
                    <a:pt x="12" y="73"/>
                    <a:pt x="12" y="75"/>
                  </a:cubicBezTo>
                  <a:cubicBezTo>
                    <a:pt x="12" y="76"/>
                    <a:pt x="13" y="77"/>
                    <a:pt x="13" y="78"/>
                  </a:cubicBezTo>
                  <a:cubicBezTo>
                    <a:pt x="14" y="78"/>
                    <a:pt x="14" y="79"/>
                    <a:pt x="15" y="79"/>
                  </a:cubicBezTo>
                  <a:cubicBezTo>
                    <a:pt x="15" y="79"/>
                    <a:pt x="15" y="80"/>
                    <a:pt x="15" y="80"/>
                  </a:cubicBezTo>
                  <a:cubicBezTo>
                    <a:pt x="15" y="81"/>
                    <a:pt x="15" y="82"/>
                    <a:pt x="15" y="83"/>
                  </a:cubicBezTo>
                  <a:cubicBezTo>
                    <a:pt x="15" y="83"/>
                    <a:pt x="15" y="83"/>
                    <a:pt x="15" y="83"/>
                  </a:cubicBezTo>
                  <a:cubicBezTo>
                    <a:pt x="16" y="83"/>
                    <a:pt x="17" y="83"/>
                    <a:pt x="19" y="84"/>
                  </a:cubicBezTo>
                  <a:cubicBezTo>
                    <a:pt x="21" y="84"/>
                    <a:pt x="24" y="85"/>
                    <a:pt x="25" y="85"/>
                  </a:cubicBezTo>
                  <a:cubicBezTo>
                    <a:pt x="25" y="85"/>
                    <a:pt x="29" y="86"/>
                    <a:pt x="29" y="86"/>
                  </a:cubicBezTo>
                  <a:cubicBezTo>
                    <a:pt x="30" y="86"/>
                    <a:pt x="27" y="84"/>
                    <a:pt x="26" y="83"/>
                  </a:cubicBezTo>
                  <a:cubicBezTo>
                    <a:pt x="25" y="82"/>
                    <a:pt x="26" y="82"/>
                    <a:pt x="26" y="82"/>
                  </a:cubicBezTo>
                  <a:cubicBezTo>
                    <a:pt x="27" y="83"/>
                    <a:pt x="29" y="83"/>
                    <a:pt x="29" y="83"/>
                  </a:cubicBezTo>
                  <a:cubicBezTo>
                    <a:pt x="30" y="82"/>
                    <a:pt x="31" y="81"/>
                    <a:pt x="32" y="81"/>
                  </a:cubicBezTo>
                  <a:cubicBezTo>
                    <a:pt x="32" y="80"/>
                    <a:pt x="36" y="80"/>
                    <a:pt x="39" y="80"/>
                  </a:cubicBezTo>
                  <a:cubicBezTo>
                    <a:pt x="41" y="80"/>
                    <a:pt x="46" y="81"/>
                    <a:pt x="49" y="81"/>
                  </a:cubicBezTo>
                  <a:cubicBezTo>
                    <a:pt x="52" y="82"/>
                    <a:pt x="51" y="83"/>
                    <a:pt x="52" y="84"/>
                  </a:cubicBezTo>
                  <a:cubicBezTo>
                    <a:pt x="53" y="85"/>
                    <a:pt x="53" y="85"/>
                    <a:pt x="55" y="85"/>
                  </a:cubicBezTo>
                  <a:cubicBezTo>
                    <a:pt x="57" y="84"/>
                    <a:pt x="57" y="85"/>
                    <a:pt x="62" y="85"/>
                  </a:cubicBezTo>
                  <a:cubicBezTo>
                    <a:pt x="66" y="86"/>
                    <a:pt x="65" y="85"/>
                    <a:pt x="68" y="86"/>
                  </a:cubicBezTo>
                  <a:cubicBezTo>
                    <a:pt x="72" y="87"/>
                    <a:pt x="75" y="87"/>
                    <a:pt x="78" y="88"/>
                  </a:cubicBezTo>
                  <a:cubicBezTo>
                    <a:pt x="82" y="89"/>
                    <a:pt x="87" y="92"/>
                    <a:pt x="90" y="93"/>
                  </a:cubicBezTo>
                  <a:cubicBezTo>
                    <a:pt x="91" y="92"/>
                    <a:pt x="91" y="91"/>
                    <a:pt x="92" y="90"/>
                  </a:cubicBezTo>
                  <a:cubicBezTo>
                    <a:pt x="93" y="88"/>
                    <a:pt x="95" y="86"/>
                    <a:pt x="96" y="85"/>
                  </a:cubicBezTo>
                  <a:cubicBezTo>
                    <a:pt x="98" y="83"/>
                    <a:pt x="98" y="82"/>
                    <a:pt x="98" y="80"/>
                  </a:cubicBezTo>
                  <a:cubicBezTo>
                    <a:pt x="98" y="80"/>
                    <a:pt x="97" y="78"/>
                    <a:pt x="98" y="78"/>
                  </a:cubicBezTo>
                  <a:cubicBezTo>
                    <a:pt x="98" y="78"/>
                    <a:pt x="99" y="78"/>
                    <a:pt x="100" y="78"/>
                  </a:cubicBezTo>
                  <a:cubicBezTo>
                    <a:pt x="101" y="78"/>
                    <a:pt x="102" y="78"/>
                    <a:pt x="103" y="78"/>
                  </a:cubicBezTo>
                  <a:cubicBezTo>
                    <a:pt x="103" y="78"/>
                    <a:pt x="105" y="77"/>
                    <a:pt x="105" y="78"/>
                  </a:cubicBezTo>
                  <a:cubicBezTo>
                    <a:pt x="106" y="78"/>
                    <a:pt x="105" y="79"/>
                    <a:pt x="106" y="80"/>
                  </a:cubicBezTo>
                  <a:cubicBezTo>
                    <a:pt x="106" y="80"/>
                    <a:pt x="106" y="81"/>
                    <a:pt x="106" y="82"/>
                  </a:cubicBezTo>
                  <a:cubicBezTo>
                    <a:pt x="107" y="80"/>
                    <a:pt x="108" y="77"/>
                    <a:pt x="110" y="76"/>
                  </a:cubicBezTo>
                  <a:cubicBezTo>
                    <a:pt x="111" y="75"/>
                    <a:pt x="112" y="74"/>
                    <a:pt x="114" y="74"/>
                  </a:cubicBezTo>
                  <a:cubicBezTo>
                    <a:pt x="115" y="73"/>
                    <a:pt x="116" y="72"/>
                    <a:pt x="117" y="71"/>
                  </a:cubicBezTo>
                  <a:cubicBezTo>
                    <a:pt x="118" y="73"/>
                    <a:pt x="118" y="75"/>
                    <a:pt x="119" y="77"/>
                  </a:cubicBezTo>
                  <a:cubicBezTo>
                    <a:pt x="119" y="79"/>
                    <a:pt x="119" y="81"/>
                    <a:pt x="120" y="82"/>
                  </a:cubicBezTo>
                  <a:cubicBezTo>
                    <a:pt x="120" y="83"/>
                    <a:pt x="120" y="84"/>
                    <a:pt x="120" y="84"/>
                  </a:cubicBezTo>
                  <a:cubicBezTo>
                    <a:pt x="120" y="85"/>
                    <a:pt x="121" y="85"/>
                    <a:pt x="121" y="86"/>
                  </a:cubicBezTo>
                  <a:cubicBezTo>
                    <a:pt x="122" y="86"/>
                    <a:pt x="123" y="86"/>
                    <a:pt x="124" y="86"/>
                  </a:cubicBezTo>
                  <a:cubicBezTo>
                    <a:pt x="125" y="86"/>
                    <a:pt x="126" y="86"/>
                    <a:pt x="127" y="87"/>
                  </a:cubicBezTo>
                  <a:cubicBezTo>
                    <a:pt x="128" y="87"/>
                    <a:pt x="129" y="87"/>
                    <a:pt x="130" y="87"/>
                  </a:cubicBezTo>
                  <a:cubicBezTo>
                    <a:pt x="133" y="88"/>
                    <a:pt x="135" y="88"/>
                    <a:pt x="138" y="88"/>
                  </a:cubicBezTo>
                  <a:cubicBezTo>
                    <a:pt x="138" y="89"/>
                    <a:pt x="137" y="90"/>
                    <a:pt x="137" y="92"/>
                  </a:cubicBezTo>
                  <a:cubicBezTo>
                    <a:pt x="137" y="93"/>
                    <a:pt x="137" y="94"/>
                    <a:pt x="137" y="95"/>
                  </a:cubicBezTo>
                  <a:cubicBezTo>
                    <a:pt x="136" y="96"/>
                    <a:pt x="136" y="98"/>
                    <a:pt x="136" y="99"/>
                  </a:cubicBezTo>
                  <a:cubicBezTo>
                    <a:pt x="136" y="100"/>
                    <a:pt x="136" y="101"/>
                    <a:pt x="136" y="102"/>
                  </a:cubicBezTo>
                  <a:cubicBezTo>
                    <a:pt x="137" y="103"/>
                    <a:pt x="138" y="105"/>
                    <a:pt x="138" y="107"/>
                  </a:cubicBezTo>
                  <a:cubicBezTo>
                    <a:pt x="138" y="107"/>
                    <a:pt x="138" y="108"/>
                    <a:pt x="139" y="109"/>
                  </a:cubicBezTo>
                  <a:cubicBezTo>
                    <a:pt x="139" y="109"/>
                    <a:pt x="140" y="109"/>
                    <a:pt x="140" y="110"/>
                  </a:cubicBezTo>
                  <a:cubicBezTo>
                    <a:pt x="141" y="110"/>
                    <a:pt x="141" y="111"/>
                    <a:pt x="141" y="112"/>
                  </a:cubicBezTo>
                  <a:cubicBezTo>
                    <a:pt x="141" y="112"/>
                    <a:pt x="141" y="112"/>
                    <a:pt x="141" y="112"/>
                  </a:cubicBezTo>
                  <a:cubicBezTo>
                    <a:pt x="143" y="113"/>
                    <a:pt x="144" y="112"/>
                    <a:pt x="146" y="113"/>
                  </a:cubicBezTo>
                  <a:cubicBezTo>
                    <a:pt x="146" y="112"/>
                    <a:pt x="146" y="111"/>
                    <a:pt x="146" y="110"/>
                  </a:cubicBezTo>
                  <a:cubicBezTo>
                    <a:pt x="145" y="109"/>
                    <a:pt x="145" y="108"/>
                    <a:pt x="145" y="107"/>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5" name="Freeform 74">
              <a:extLst>
                <a:ext uri="{FF2B5EF4-FFF2-40B4-BE49-F238E27FC236}">
                  <a16:creationId xmlns:a16="http://schemas.microsoft.com/office/drawing/2014/main" id="{9DF9B049-16FA-E66F-BE80-03EE3A2917F1}"/>
                </a:ext>
              </a:extLst>
            </p:cNvPr>
            <p:cNvSpPr>
              <a:spLocks noEditPoints="1"/>
            </p:cNvSpPr>
            <p:nvPr/>
          </p:nvSpPr>
          <p:spPr bwMode="auto">
            <a:xfrm>
              <a:off x="1990725" y="4357688"/>
              <a:ext cx="642938" cy="750887"/>
            </a:xfrm>
            <a:custGeom>
              <a:avLst/>
              <a:gdLst>
                <a:gd name="T0" fmla="*/ 83 w 169"/>
                <a:gd name="T1" fmla="*/ 191 h 197"/>
                <a:gd name="T2" fmla="*/ 81 w 169"/>
                <a:gd name="T3" fmla="*/ 194 h 197"/>
                <a:gd name="T4" fmla="*/ 80 w 169"/>
                <a:gd name="T5" fmla="*/ 197 h 197"/>
                <a:gd name="T6" fmla="*/ 76 w 169"/>
                <a:gd name="T7" fmla="*/ 196 h 197"/>
                <a:gd name="T8" fmla="*/ 71 w 169"/>
                <a:gd name="T9" fmla="*/ 191 h 197"/>
                <a:gd name="T10" fmla="*/ 65 w 169"/>
                <a:gd name="T11" fmla="*/ 187 h 197"/>
                <a:gd name="T12" fmla="*/ 68 w 169"/>
                <a:gd name="T13" fmla="*/ 185 h 197"/>
                <a:gd name="T14" fmla="*/ 71 w 169"/>
                <a:gd name="T15" fmla="*/ 184 h 197"/>
                <a:gd name="T16" fmla="*/ 75 w 169"/>
                <a:gd name="T17" fmla="*/ 186 h 197"/>
                <a:gd name="T18" fmla="*/ 79 w 169"/>
                <a:gd name="T19" fmla="*/ 188 h 197"/>
                <a:gd name="T20" fmla="*/ 163 w 169"/>
                <a:gd name="T21" fmla="*/ 155 h 197"/>
                <a:gd name="T22" fmla="*/ 158 w 169"/>
                <a:gd name="T23" fmla="*/ 142 h 197"/>
                <a:gd name="T24" fmla="*/ 150 w 169"/>
                <a:gd name="T25" fmla="*/ 139 h 197"/>
                <a:gd name="T26" fmla="*/ 146 w 169"/>
                <a:gd name="T27" fmla="*/ 130 h 197"/>
                <a:gd name="T28" fmla="*/ 138 w 169"/>
                <a:gd name="T29" fmla="*/ 121 h 197"/>
                <a:gd name="T30" fmla="*/ 127 w 169"/>
                <a:gd name="T31" fmla="*/ 121 h 197"/>
                <a:gd name="T32" fmla="*/ 117 w 169"/>
                <a:gd name="T33" fmla="*/ 112 h 197"/>
                <a:gd name="T34" fmla="*/ 121 w 169"/>
                <a:gd name="T35" fmla="*/ 107 h 197"/>
                <a:gd name="T36" fmla="*/ 107 w 169"/>
                <a:gd name="T37" fmla="*/ 102 h 197"/>
                <a:gd name="T38" fmla="*/ 105 w 169"/>
                <a:gd name="T39" fmla="*/ 87 h 197"/>
                <a:gd name="T40" fmla="*/ 113 w 169"/>
                <a:gd name="T41" fmla="*/ 77 h 197"/>
                <a:gd name="T42" fmla="*/ 118 w 169"/>
                <a:gd name="T43" fmla="*/ 77 h 197"/>
                <a:gd name="T44" fmla="*/ 115 w 169"/>
                <a:gd name="T45" fmla="*/ 65 h 197"/>
                <a:gd name="T46" fmla="*/ 106 w 169"/>
                <a:gd name="T47" fmla="*/ 62 h 197"/>
                <a:gd name="T48" fmla="*/ 102 w 169"/>
                <a:gd name="T49" fmla="*/ 63 h 197"/>
                <a:gd name="T50" fmla="*/ 99 w 169"/>
                <a:gd name="T51" fmla="*/ 65 h 197"/>
                <a:gd name="T52" fmla="*/ 87 w 169"/>
                <a:gd name="T53" fmla="*/ 49 h 197"/>
                <a:gd name="T54" fmla="*/ 80 w 169"/>
                <a:gd name="T55" fmla="*/ 48 h 197"/>
                <a:gd name="T56" fmla="*/ 74 w 169"/>
                <a:gd name="T57" fmla="*/ 44 h 197"/>
                <a:gd name="T58" fmla="*/ 68 w 169"/>
                <a:gd name="T59" fmla="*/ 37 h 197"/>
                <a:gd name="T60" fmla="*/ 57 w 169"/>
                <a:gd name="T61" fmla="*/ 27 h 197"/>
                <a:gd name="T62" fmla="*/ 46 w 169"/>
                <a:gd name="T63" fmla="*/ 21 h 197"/>
                <a:gd name="T64" fmla="*/ 29 w 169"/>
                <a:gd name="T65" fmla="*/ 8 h 197"/>
                <a:gd name="T66" fmla="*/ 14 w 169"/>
                <a:gd name="T67" fmla="*/ 3 h 197"/>
                <a:gd name="T68" fmla="*/ 6 w 169"/>
                <a:gd name="T69" fmla="*/ 9 h 197"/>
                <a:gd name="T70" fmla="*/ 0 w 169"/>
                <a:gd name="T71" fmla="*/ 12 h 197"/>
                <a:gd name="T72" fmla="*/ 14 w 169"/>
                <a:gd name="T73" fmla="*/ 25 h 197"/>
                <a:gd name="T74" fmla="*/ 20 w 169"/>
                <a:gd name="T75" fmla="*/ 32 h 197"/>
                <a:gd name="T76" fmla="*/ 27 w 169"/>
                <a:gd name="T77" fmla="*/ 44 h 197"/>
                <a:gd name="T78" fmla="*/ 32 w 169"/>
                <a:gd name="T79" fmla="*/ 53 h 197"/>
                <a:gd name="T80" fmla="*/ 46 w 169"/>
                <a:gd name="T81" fmla="*/ 65 h 197"/>
                <a:gd name="T82" fmla="*/ 56 w 169"/>
                <a:gd name="T83" fmla="*/ 73 h 197"/>
                <a:gd name="T84" fmla="*/ 69 w 169"/>
                <a:gd name="T85" fmla="*/ 81 h 197"/>
                <a:gd name="T86" fmla="*/ 75 w 169"/>
                <a:gd name="T87" fmla="*/ 89 h 197"/>
                <a:gd name="T88" fmla="*/ 77 w 169"/>
                <a:gd name="T89" fmla="*/ 94 h 197"/>
                <a:gd name="T90" fmla="*/ 77 w 169"/>
                <a:gd name="T91" fmla="*/ 99 h 197"/>
                <a:gd name="T92" fmla="*/ 78 w 169"/>
                <a:gd name="T93" fmla="*/ 104 h 197"/>
                <a:gd name="T94" fmla="*/ 90 w 169"/>
                <a:gd name="T95" fmla="*/ 113 h 197"/>
                <a:gd name="T96" fmla="*/ 102 w 169"/>
                <a:gd name="T97" fmla="*/ 121 h 197"/>
                <a:gd name="T98" fmla="*/ 110 w 169"/>
                <a:gd name="T99" fmla="*/ 128 h 197"/>
                <a:gd name="T100" fmla="*/ 116 w 169"/>
                <a:gd name="T101" fmla="*/ 135 h 197"/>
                <a:gd name="T102" fmla="*/ 124 w 169"/>
                <a:gd name="T103" fmla="*/ 139 h 197"/>
                <a:gd name="T104" fmla="*/ 138 w 169"/>
                <a:gd name="T105" fmla="*/ 148 h 197"/>
                <a:gd name="T106" fmla="*/ 140 w 169"/>
                <a:gd name="T107" fmla="*/ 154 h 197"/>
                <a:gd name="T108" fmla="*/ 145 w 169"/>
                <a:gd name="T109" fmla="*/ 155 h 197"/>
                <a:gd name="T110" fmla="*/ 150 w 169"/>
                <a:gd name="T111" fmla="*/ 157 h 197"/>
                <a:gd name="T112" fmla="*/ 157 w 169"/>
                <a:gd name="T113" fmla="*/ 160 h 197"/>
                <a:gd name="T114" fmla="*/ 158 w 169"/>
                <a:gd name="T115" fmla="*/ 15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9" h="197">
                  <a:moveTo>
                    <a:pt x="82" y="189"/>
                  </a:moveTo>
                  <a:cubicBezTo>
                    <a:pt x="83" y="190"/>
                    <a:pt x="83" y="190"/>
                    <a:pt x="83" y="191"/>
                  </a:cubicBezTo>
                  <a:cubicBezTo>
                    <a:pt x="83" y="192"/>
                    <a:pt x="83" y="193"/>
                    <a:pt x="83" y="193"/>
                  </a:cubicBezTo>
                  <a:cubicBezTo>
                    <a:pt x="82" y="194"/>
                    <a:pt x="81" y="193"/>
                    <a:pt x="81" y="194"/>
                  </a:cubicBezTo>
                  <a:cubicBezTo>
                    <a:pt x="80" y="194"/>
                    <a:pt x="83" y="196"/>
                    <a:pt x="82" y="197"/>
                  </a:cubicBezTo>
                  <a:cubicBezTo>
                    <a:pt x="82" y="197"/>
                    <a:pt x="81" y="197"/>
                    <a:pt x="80" y="197"/>
                  </a:cubicBezTo>
                  <a:cubicBezTo>
                    <a:pt x="79" y="197"/>
                    <a:pt x="79" y="196"/>
                    <a:pt x="78" y="196"/>
                  </a:cubicBezTo>
                  <a:cubicBezTo>
                    <a:pt x="77" y="196"/>
                    <a:pt x="77" y="196"/>
                    <a:pt x="76" y="196"/>
                  </a:cubicBezTo>
                  <a:cubicBezTo>
                    <a:pt x="75" y="197"/>
                    <a:pt x="75" y="196"/>
                    <a:pt x="74" y="195"/>
                  </a:cubicBezTo>
                  <a:cubicBezTo>
                    <a:pt x="74" y="193"/>
                    <a:pt x="73" y="192"/>
                    <a:pt x="71" y="191"/>
                  </a:cubicBezTo>
                  <a:cubicBezTo>
                    <a:pt x="70" y="190"/>
                    <a:pt x="68" y="190"/>
                    <a:pt x="66" y="189"/>
                  </a:cubicBezTo>
                  <a:cubicBezTo>
                    <a:pt x="66" y="189"/>
                    <a:pt x="65" y="188"/>
                    <a:pt x="65" y="187"/>
                  </a:cubicBezTo>
                  <a:cubicBezTo>
                    <a:pt x="65" y="186"/>
                    <a:pt x="65" y="186"/>
                    <a:pt x="66" y="185"/>
                  </a:cubicBezTo>
                  <a:cubicBezTo>
                    <a:pt x="67" y="185"/>
                    <a:pt x="67" y="186"/>
                    <a:pt x="68" y="185"/>
                  </a:cubicBezTo>
                  <a:cubicBezTo>
                    <a:pt x="68" y="185"/>
                    <a:pt x="68" y="185"/>
                    <a:pt x="69" y="185"/>
                  </a:cubicBezTo>
                  <a:cubicBezTo>
                    <a:pt x="69" y="184"/>
                    <a:pt x="69" y="183"/>
                    <a:pt x="71" y="184"/>
                  </a:cubicBezTo>
                  <a:cubicBezTo>
                    <a:pt x="71" y="184"/>
                    <a:pt x="72" y="185"/>
                    <a:pt x="72" y="185"/>
                  </a:cubicBezTo>
                  <a:cubicBezTo>
                    <a:pt x="73" y="186"/>
                    <a:pt x="74" y="186"/>
                    <a:pt x="75" y="186"/>
                  </a:cubicBezTo>
                  <a:cubicBezTo>
                    <a:pt x="76" y="186"/>
                    <a:pt x="76" y="187"/>
                    <a:pt x="77" y="188"/>
                  </a:cubicBezTo>
                  <a:cubicBezTo>
                    <a:pt x="78" y="188"/>
                    <a:pt x="79" y="188"/>
                    <a:pt x="79" y="188"/>
                  </a:cubicBezTo>
                  <a:cubicBezTo>
                    <a:pt x="81" y="188"/>
                    <a:pt x="81" y="188"/>
                    <a:pt x="82" y="189"/>
                  </a:cubicBezTo>
                  <a:close/>
                  <a:moveTo>
                    <a:pt x="163" y="155"/>
                  </a:moveTo>
                  <a:cubicBezTo>
                    <a:pt x="166" y="153"/>
                    <a:pt x="169" y="149"/>
                    <a:pt x="163" y="149"/>
                  </a:cubicBezTo>
                  <a:cubicBezTo>
                    <a:pt x="163" y="145"/>
                    <a:pt x="162" y="143"/>
                    <a:pt x="158" y="142"/>
                  </a:cubicBezTo>
                  <a:cubicBezTo>
                    <a:pt x="157" y="140"/>
                    <a:pt x="159" y="136"/>
                    <a:pt x="155" y="138"/>
                  </a:cubicBezTo>
                  <a:cubicBezTo>
                    <a:pt x="153" y="139"/>
                    <a:pt x="153" y="140"/>
                    <a:pt x="150" y="139"/>
                  </a:cubicBezTo>
                  <a:cubicBezTo>
                    <a:pt x="149" y="138"/>
                    <a:pt x="145" y="137"/>
                    <a:pt x="144" y="136"/>
                  </a:cubicBezTo>
                  <a:cubicBezTo>
                    <a:pt x="143" y="134"/>
                    <a:pt x="145" y="132"/>
                    <a:pt x="146" y="130"/>
                  </a:cubicBezTo>
                  <a:cubicBezTo>
                    <a:pt x="148" y="127"/>
                    <a:pt x="147" y="127"/>
                    <a:pt x="144" y="125"/>
                  </a:cubicBezTo>
                  <a:cubicBezTo>
                    <a:pt x="142" y="124"/>
                    <a:pt x="141" y="122"/>
                    <a:pt x="138" y="121"/>
                  </a:cubicBezTo>
                  <a:cubicBezTo>
                    <a:pt x="136" y="120"/>
                    <a:pt x="133" y="119"/>
                    <a:pt x="131" y="119"/>
                  </a:cubicBezTo>
                  <a:cubicBezTo>
                    <a:pt x="130" y="120"/>
                    <a:pt x="128" y="121"/>
                    <a:pt x="127" y="121"/>
                  </a:cubicBezTo>
                  <a:cubicBezTo>
                    <a:pt x="126" y="121"/>
                    <a:pt x="125" y="119"/>
                    <a:pt x="124" y="119"/>
                  </a:cubicBezTo>
                  <a:cubicBezTo>
                    <a:pt x="121" y="117"/>
                    <a:pt x="119" y="115"/>
                    <a:pt x="117" y="112"/>
                  </a:cubicBezTo>
                  <a:cubicBezTo>
                    <a:pt x="116" y="110"/>
                    <a:pt x="114" y="110"/>
                    <a:pt x="116" y="108"/>
                  </a:cubicBezTo>
                  <a:cubicBezTo>
                    <a:pt x="117" y="107"/>
                    <a:pt x="119" y="108"/>
                    <a:pt x="121" y="107"/>
                  </a:cubicBezTo>
                  <a:cubicBezTo>
                    <a:pt x="120" y="106"/>
                    <a:pt x="117" y="105"/>
                    <a:pt x="116" y="104"/>
                  </a:cubicBezTo>
                  <a:cubicBezTo>
                    <a:pt x="113" y="102"/>
                    <a:pt x="110" y="103"/>
                    <a:pt x="107" y="102"/>
                  </a:cubicBezTo>
                  <a:cubicBezTo>
                    <a:pt x="105" y="101"/>
                    <a:pt x="95" y="94"/>
                    <a:pt x="100" y="91"/>
                  </a:cubicBezTo>
                  <a:cubicBezTo>
                    <a:pt x="102" y="89"/>
                    <a:pt x="104" y="90"/>
                    <a:pt x="105" y="87"/>
                  </a:cubicBezTo>
                  <a:cubicBezTo>
                    <a:pt x="106" y="85"/>
                    <a:pt x="107" y="82"/>
                    <a:pt x="108" y="80"/>
                  </a:cubicBezTo>
                  <a:cubicBezTo>
                    <a:pt x="109" y="78"/>
                    <a:pt x="110" y="76"/>
                    <a:pt x="113" y="77"/>
                  </a:cubicBezTo>
                  <a:cubicBezTo>
                    <a:pt x="113" y="77"/>
                    <a:pt x="114" y="78"/>
                    <a:pt x="115" y="79"/>
                  </a:cubicBezTo>
                  <a:cubicBezTo>
                    <a:pt x="117" y="79"/>
                    <a:pt x="117" y="79"/>
                    <a:pt x="118" y="77"/>
                  </a:cubicBezTo>
                  <a:cubicBezTo>
                    <a:pt x="120" y="75"/>
                    <a:pt x="122" y="72"/>
                    <a:pt x="120" y="69"/>
                  </a:cubicBezTo>
                  <a:cubicBezTo>
                    <a:pt x="119" y="67"/>
                    <a:pt x="115" y="68"/>
                    <a:pt x="115" y="65"/>
                  </a:cubicBezTo>
                  <a:cubicBezTo>
                    <a:pt x="113" y="64"/>
                    <a:pt x="111" y="65"/>
                    <a:pt x="109" y="64"/>
                  </a:cubicBezTo>
                  <a:cubicBezTo>
                    <a:pt x="109" y="64"/>
                    <a:pt x="108" y="61"/>
                    <a:pt x="106" y="62"/>
                  </a:cubicBezTo>
                  <a:cubicBezTo>
                    <a:pt x="106" y="62"/>
                    <a:pt x="105" y="63"/>
                    <a:pt x="105" y="63"/>
                  </a:cubicBezTo>
                  <a:cubicBezTo>
                    <a:pt x="104" y="63"/>
                    <a:pt x="103" y="63"/>
                    <a:pt x="102" y="63"/>
                  </a:cubicBezTo>
                  <a:cubicBezTo>
                    <a:pt x="101" y="63"/>
                    <a:pt x="101" y="63"/>
                    <a:pt x="100" y="64"/>
                  </a:cubicBezTo>
                  <a:cubicBezTo>
                    <a:pt x="99" y="64"/>
                    <a:pt x="99" y="65"/>
                    <a:pt x="99" y="65"/>
                  </a:cubicBezTo>
                  <a:cubicBezTo>
                    <a:pt x="96" y="65"/>
                    <a:pt x="91" y="62"/>
                    <a:pt x="90" y="59"/>
                  </a:cubicBezTo>
                  <a:cubicBezTo>
                    <a:pt x="89" y="55"/>
                    <a:pt x="90" y="52"/>
                    <a:pt x="87" y="49"/>
                  </a:cubicBezTo>
                  <a:cubicBezTo>
                    <a:pt x="85" y="47"/>
                    <a:pt x="84" y="47"/>
                    <a:pt x="82" y="47"/>
                  </a:cubicBezTo>
                  <a:cubicBezTo>
                    <a:pt x="81" y="47"/>
                    <a:pt x="81" y="48"/>
                    <a:pt x="80" y="48"/>
                  </a:cubicBezTo>
                  <a:cubicBezTo>
                    <a:pt x="79" y="48"/>
                    <a:pt x="79" y="47"/>
                    <a:pt x="78" y="47"/>
                  </a:cubicBezTo>
                  <a:cubicBezTo>
                    <a:pt x="76" y="46"/>
                    <a:pt x="75" y="46"/>
                    <a:pt x="74" y="44"/>
                  </a:cubicBezTo>
                  <a:cubicBezTo>
                    <a:pt x="74" y="42"/>
                    <a:pt x="74" y="41"/>
                    <a:pt x="72" y="40"/>
                  </a:cubicBezTo>
                  <a:cubicBezTo>
                    <a:pt x="70" y="38"/>
                    <a:pt x="69" y="39"/>
                    <a:pt x="68" y="37"/>
                  </a:cubicBezTo>
                  <a:cubicBezTo>
                    <a:pt x="68" y="35"/>
                    <a:pt x="67" y="33"/>
                    <a:pt x="66" y="32"/>
                  </a:cubicBezTo>
                  <a:cubicBezTo>
                    <a:pt x="64" y="28"/>
                    <a:pt x="61" y="27"/>
                    <a:pt x="57" y="27"/>
                  </a:cubicBezTo>
                  <a:cubicBezTo>
                    <a:pt x="54" y="27"/>
                    <a:pt x="53" y="28"/>
                    <a:pt x="50" y="26"/>
                  </a:cubicBezTo>
                  <a:cubicBezTo>
                    <a:pt x="49" y="24"/>
                    <a:pt x="47" y="23"/>
                    <a:pt x="46" y="21"/>
                  </a:cubicBezTo>
                  <a:cubicBezTo>
                    <a:pt x="41" y="18"/>
                    <a:pt x="40" y="16"/>
                    <a:pt x="34" y="17"/>
                  </a:cubicBezTo>
                  <a:cubicBezTo>
                    <a:pt x="32" y="13"/>
                    <a:pt x="32" y="11"/>
                    <a:pt x="29" y="8"/>
                  </a:cubicBezTo>
                  <a:cubicBezTo>
                    <a:pt x="25" y="4"/>
                    <a:pt x="20" y="2"/>
                    <a:pt x="15" y="0"/>
                  </a:cubicBezTo>
                  <a:cubicBezTo>
                    <a:pt x="15" y="1"/>
                    <a:pt x="14" y="2"/>
                    <a:pt x="14" y="3"/>
                  </a:cubicBezTo>
                  <a:cubicBezTo>
                    <a:pt x="13" y="4"/>
                    <a:pt x="11" y="5"/>
                    <a:pt x="10" y="6"/>
                  </a:cubicBezTo>
                  <a:cubicBezTo>
                    <a:pt x="9" y="7"/>
                    <a:pt x="8" y="8"/>
                    <a:pt x="6" y="9"/>
                  </a:cubicBezTo>
                  <a:cubicBezTo>
                    <a:pt x="5" y="10"/>
                    <a:pt x="3" y="11"/>
                    <a:pt x="2" y="12"/>
                  </a:cubicBezTo>
                  <a:cubicBezTo>
                    <a:pt x="1" y="12"/>
                    <a:pt x="1" y="12"/>
                    <a:pt x="0" y="12"/>
                  </a:cubicBezTo>
                  <a:cubicBezTo>
                    <a:pt x="2" y="15"/>
                    <a:pt x="5" y="19"/>
                    <a:pt x="6" y="19"/>
                  </a:cubicBezTo>
                  <a:cubicBezTo>
                    <a:pt x="7" y="21"/>
                    <a:pt x="12" y="23"/>
                    <a:pt x="14" y="25"/>
                  </a:cubicBezTo>
                  <a:cubicBezTo>
                    <a:pt x="16" y="26"/>
                    <a:pt x="17" y="28"/>
                    <a:pt x="17" y="28"/>
                  </a:cubicBezTo>
                  <a:cubicBezTo>
                    <a:pt x="17" y="28"/>
                    <a:pt x="19" y="31"/>
                    <a:pt x="20" y="32"/>
                  </a:cubicBezTo>
                  <a:cubicBezTo>
                    <a:pt x="20" y="34"/>
                    <a:pt x="23" y="37"/>
                    <a:pt x="23" y="38"/>
                  </a:cubicBezTo>
                  <a:cubicBezTo>
                    <a:pt x="24" y="39"/>
                    <a:pt x="27" y="43"/>
                    <a:pt x="27" y="44"/>
                  </a:cubicBezTo>
                  <a:cubicBezTo>
                    <a:pt x="28" y="44"/>
                    <a:pt x="29" y="46"/>
                    <a:pt x="29" y="47"/>
                  </a:cubicBezTo>
                  <a:cubicBezTo>
                    <a:pt x="30" y="48"/>
                    <a:pt x="31" y="52"/>
                    <a:pt x="32" y="53"/>
                  </a:cubicBezTo>
                  <a:cubicBezTo>
                    <a:pt x="32" y="54"/>
                    <a:pt x="35" y="57"/>
                    <a:pt x="36" y="58"/>
                  </a:cubicBezTo>
                  <a:cubicBezTo>
                    <a:pt x="38" y="59"/>
                    <a:pt x="45" y="64"/>
                    <a:pt x="46" y="65"/>
                  </a:cubicBezTo>
                  <a:cubicBezTo>
                    <a:pt x="48" y="66"/>
                    <a:pt x="50" y="68"/>
                    <a:pt x="51" y="68"/>
                  </a:cubicBezTo>
                  <a:cubicBezTo>
                    <a:pt x="52" y="69"/>
                    <a:pt x="55" y="72"/>
                    <a:pt x="56" y="73"/>
                  </a:cubicBezTo>
                  <a:cubicBezTo>
                    <a:pt x="56" y="73"/>
                    <a:pt x="65" y="77"/>
                    <a:pt x="66" y="78"/>
                  </a:cubicBezTo>
                  <a:cubicBezTo>
                    <a:pt x="66" y="79"/>
                    <a:pt x="69" y="80"/>
                    <a:pt x="69" y="81"/>
                  </a:cubicBezTo>
                  <a:cubicBezTo>
                    <a:pt x="70" y="82"/>
                    <a:pt x="73" y="85"/>
                    <a:pt x="73" y="85"/>
                  </a:cubicBezTo>
                  <a:cubicBezTo>
                    <a:pt x="74" y="86"/>
                    <a:pt x="75" y="88"/>
                    <a:pt x="75" y="89"/>
                  </a:cubicBezTo>
                  <a:cubicBezTo>
                    <a:pt x="76" y="90"/>
                    <a:pt x="75" y="91"/>
                    <a:pt x="75" y="91"/>
                  </a:cubicBezTo>
                  <a:cubicBezTo>
                    <a:pt x="75" y="91"/>
                    <a:pt x="76" y="93"/>
                    <a:pt x="77" y="94"/>
                  </a:cubicBezTo>
                  <a:cubicBezTo>
                    <a:pt x="78" y="95"/>
                    <a:pt x="78" y="96"/>
                    <a:pt x="78" y="98"/>
                  </a:cubicBezTo>
                  <a:cubicBezTo>
                    <a:pt x="78" y="99"/>
                    <a:pt x="78" y="99"/>
                    <a:pt x="77" y="99"/>
                  </a:cubicBezTo>
                  <a:cubicBezTo>
                    <a:pt x="77" y="99"/>
                    <a:pt x="77" y="100"/>
                    <a:pt x="77" y="101"/>
                  </a:cubicBezTo>
                  <a:cubicBezTo>
                    <a:pt x="77" y="102"/>
                    <a:pt x="77" y="103"/>
                    <a:pt x="78" y="104"/>
                  </a:cubicBezTo>
                  <a:cubicBezTo>
                    <a:pt x="79" y="105"/>
                    <a:pt x="81" y="106"/>
                    <a:pt x="82" y="107"/>
                  </a:cubicBezTo>
                  <a:cubicBezTo>
                    <a:pt x="83" y="108"/>
                    <a:pt x="89" y="113"/>
                    <a:pt x="90" y="113"/>
                  </a:cubicBezTo>
                  <a:cubicBezTo>
                    <a:pt x="91" y="114"/>
                    <a:pt x="95" y="116"/>
                    <a:pt x="97" y="117"/>
                  </a:cubicBezTo>
                  <a:cubicBezTo>
                    <a:pt x="98" y="118"/>
                    <a:pt x="102" y="121"/>
                    <a:pt x="102" y="121"/>
                  </a:cubicBezTo>
                  <a:cubicBezTo>
                    <a:pt x="103" y="122"/>
                    <a:pt x="105" y="124"/>
                    <a:pt x="106" y="125"/>
                  </a:cubicBezTo>
                  <a:cubicBezTo>
                    <a:pt x="107" y="126"/>
                    <a:pt x="109" y="128"/>
                    <a:pt x="110" y="128"/>
                  </a:cubicBezTo>
                  <a:cubicBezTo>
                    <a:pt x="111" y="129"/>
                    <a:pt x="114" y="132"/>
                    <a:pt x="114" y="132"/>
                  </a:cubicBezTo>
                  <a:cubicBezTo>
                    <a:pt x="114" y="132"/>
                    <a:pt x="115" y="135"/>
                    <a:pt x="116" y="135"/>
                  </a:cubicBezTo>
                  <a:cubicBezTo>
                    <a:pt x="117" y="136"/>
                    <a:pt x="119" y="136"/>
                    <a:pt x="119" y="136"/>
                  </a:cubicBezTo>
                  <a:cubicBezTo>
                    <a:pt x="120" y="136"/>
                    <a:pt x="124" y="139"/>
                    <a:pt x="124" y="139"/>
                  </a:cubicBezTo>
                  <a:cubicBezTo>
                    <a:pt x="125" y="140"/>
                    <a:pt x="130" y="142"/>
                    <a:pt x="130" y="142"/>
                  </a:cubicBezTo>
                  <a:cubicBezTo>
                    <a:pt x="130" y="142"/>
                    <a:pt x="137" y="148"/>
                    <a:pt x="138" y="148"/>
                  </a:cubicBezTo>
                  <a:cubicBezTo>
                    <a:pt x="139" y="149"/>
                    <a:pt x="139" y="150"/>
                    <a:pt x="140" y="151"/>
                  </a:cubicBezTo>
                  <a:cubicBezTo>
                    <a:pt x="140" y="152"/>
                    <a:pt x="140" y="154"/>
                    <a:pt x="140" y="154"/>
                  </a:cubicBezTo>
                  <a:cubicBezTo>
                    <a:pt x="144" y="153"/>
                    <a:pt x="144" y="153"/>
                    <a:pt x="144" y="153"/>
                  </a:cubicBezTo>
                  <a:cubicBezTo>
                    <a:pt x="144" y="153"/>
                    <a:pt x="145" y="155"/>
                    <a:pt x="145" y="155"/>
                  </a:cubicBezTo>
                  <a:cubicBezTo>
                    <a:pt x="146" y="156"/>
                    <a:pt x="147" y="157"/>
                    <a:pt x="147" y="158"/>
                  </a:cubicBezTo>
                  <a:cubicBezTo>
                    <a:pt x="148" y="158"/>
                    <a:pt x="150" y="157"/>
                    <a:pt x="150" y="157"/>
                  </a:cubicBezTo>
                  <a:cubicBezTo>
                    <a:pt x="150" y="157"/>
                    <a:pt x="154" y="160"/>
                    <a:pt x="154" y="160"/>
                  </a:cubicBezTo>
                  <a:cubicBezTo>
                    <a:pt x="155" y="161"/>
                    <a:pt x="156" y="160"/>
                    <a:pt x="157" y="160"/>
                  </a:cubicBezTo>
                  <a:cubicBezTo>
                    <a:pt x="157" y="159"/>
                    <a:pt x="157" y="159"/>
                    <a:pt x="157" y="159"/>
                  </a:cubicBezTo>
                  <a:cubicBezTo>
                    <a:pt x="157" y="159"/>
                    <a:pt x="157" y="159"/>
                    <a:pt x="158" y="158"/>
                  </a:cubicBezTo>
                  <a:cubicBezTo>
                    <a:pt x="159" y="157"/>
                    <a:pt x="161" y="156"/>
                    <a:pt x="163" y="155"/>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6" name="Freeform 76">
              <a:extLst>
                <a:ext uri="{FF2B5EF4-FFF2-40B4-BE49-F238E27FC236}">
                  <a16:creationId xmlns:a16="http://schemas.microsoft.com/office/drawing/2014/main" id="{96721CDC-3E85-58CC-BBCB-87AA6B045B17}"/>
                </a:ext>
              </a:extLst>
            </p:cNvPr>
            <p:cNvSpPr>
              <a:spLocks noEditPoints="1"/>
            </p:cNvSpPr>
            <p:nvPr/>
          </p:nvSpPr>
          <p:spPr bwMode="auto">
            <a:xfrm>
              <a:off x="2932113" y="5192713"/>
              <a:ext cx="392113" cy="266700"/>
            </a:xfrm>
            <a:custGeom>
              <a:avLst/>
              <a:gdLst>
                <a:gd name="T0" fmla="*/ 5 w 103"/>
                <a:gd name="T1" fmla="*/ 47 h 70"/>
                <a:gd name="T2" fmla="*/ 4 w 103"/>
                <a:gd name="T3" fmla="*/ 44 h 70"/>
                <a:gd name="T4" fmla="*/ 0 w 103"/>
                <a:gd name="T5" fmla="*/ 46 h 70"/>
                <a:gd name="T6" fmla="*/ 4 w 103"/>
                <a:gd name="T7" fmla="*/ 42 h 70"/>
                <a:gd name="T8" fmla="*/ 9 w 103"/>
                <a:gd name="T9" fmla="*/ 41 h 70"/>
                <a:gd name="T10" fmla="*/ 9 w 103"/>
                <a:gd name="T11" fmla="*/ 44 h 70"/>
                <a:gd name="T12" fmla="*/ 7 w 103"/>
                <a:gd name="T13" fmla="*/ 48 h 70"/>
                <a:gd name="T14" fmla="*/ 101 w 103"/>
                <a:gd name="T15" fmla="*/ 23 h 70"/>
                <a:gd name="T16" fmla="*/ 98 w 103"/>
                <a:gd name="T17" fmla="*/ 16 h 70"/>
                <a:gd name="T18" fmla="*/ 99 w 103"/>
                <a:gd name="T19" fmla="*/ 12 h 70"/>
                <a:gd name="T20" fmla="*/ 97 w 103"/>
                <a:gd name="T21" fmla="*/ 9 h 70"/>
                <a:gd name="T22" fmla="*/ 91 w 103"/>
                <a:gd name="T23" fmla="*/ 9 h 70"/>
                <a:gd name="T24" fmla="*/ 84 w 103"/>
                <a:gd name="T25" fmla="*/ 10 h 70"/>
                <a:gd name="T26" fmla="*/ 77 w 103"/>
                <a:gd name="T27" fmla="*/ 5 h 70"/>
                <a:gd name="T28" fmla="*/ 71 w 103"/>
                <a:gd name="T29" fmla="*/ 6 h 70"/>
                <a:gd name="T30" fmla="*/ 68 w 103"/>
                <a:gd name="T31" fmla="*/ 10 h 70"/>
                <a:gd name="T32" fmla="*/ 61 w 103"/>
                <a:gd name="T33" fmla="*/ 7 h 70"/>
                <a:gd name="T34" fmla="*/ 59 w 103"/>
                <a:gd name="T35" fmla="*/ 0 h 70"/>
                <a:gd name="T36" fmla="*/ 55 w 103"/>
                <a:gd name="T37" fmla="*/ 6 h 70"/>
                <a:gd name="T38" fmla="*/ 48 w 103"/>
                <a:gd name="T39" fmla="*/ 12 h 70"/>
                <a:gd name="T40" fmla="*/ 44 w 103"/>
                <a:gd name="T41" fmla="*/ 26 h 70"/>
                <a:gd name="T42" fmla="*/ 42 w 103"/>
                <a:gd name="T43" fmla="*/ 38 h 70"/>
                <a:gd name="T44" fmla="*/ 34 w 103"/>
                <a:gd name="T45" fmla="*/ 39 h 70"/>
                <a:gd name="T46" fmla="*/ 32 w 103"/>
                <a:gd name="T47" fmla="*/ 43 h 70"/>
                <a:gd name="T48" fmla="*/ 30 w 103"/>
                <a:gd name="T49" fmla="*/ 49 h 70"/>
                <a:gd name="T50" fmla="*/ 24 w 103"/>
                <a:gd name="T51" fmla="*/ 57 h 70"/>
                <a:gd name="T52" fmla="*/ 18 w 103"/>
                <a:gd name="T53" fmla="*/ 54 h 70"/>
                <a:gd name="T54" fmla="*/ 17 w 103"/>
                <a:gd name="T55" fmla="*/ 49 h 70"/>
                <a:gd name="T56" fmla="*/ 14 w 103"/>
                <a:gd name="T57" fmla="*/ 51 h 70"/>
                <a:gd name="T58" fmla="*/ 9 w 103"/>
                <a:gd name="T59" fmla="*/ 54 h 70"/>
                <a:gd name="T60" fmla="*/ 7 w 103"/>
                <a:gd name="T61" fmla="*/ 57 h 70"/>
                <a:gd name="T62" fmla="*/ 9 w 103"/>
                <a:gd name="T63" fmla="*/ 60 h 70"/>
                <a:gd name="T64" fmla="*/ 17 w 103"/>
                <a:gd name="T65" fmla="*/ 59 h 70"/>
                <a:gd name="T66" fmla="*/ 24 w 103"/>
                <a:gd name="T67" fmla="*/ 62 h 70"/>
                <a:gd name="T68" fmla="*/ 33 w 103"/>
                <a:gd name="T69" fmla="*/ 60 h 70"/>
                <a:gd name="T70" fmla="*/ 41 w 103"/>
                <a:gd name="T71" fmla="*/ 60 h 70"/>
                <a:gd name="T72" fmla="*/ 50 w 103"/>
                <a:gd name="T73" fmla="*/ 59 h 70"/>
                <a:gd name="T74" fmla="*/ 59 w 103"/>
                <a:gd name="T75" fmla="*/ 61 h 70"/>
                <a:gd name="T76" fmla="*/ 71 w 103"/>
                <a:gd name="T77" fmla="*/ 68 h 70"/>
                <a:gd name="T78" fmla="*/ 80 w 103"/>
                <a:gd name="T79" fmla="*/ 69 h 70"/>
                <a:gd name="T80" fmla="*/ 80 w 103"/>
                <a:gd name="T81" fmla="*/ 65 h 70"/>
                <a:gd name="T82" fmla="*/ 85 w 103"/>
                <a:gd name="T83" fmla="*/ 59 h 70"/>
                <a:gd name="T84" fmla="*/ 85 w 103"/>
                <a:gd name="T85" fmla="*/ 54 h 70"/>
                <a:gd name="T86" fmla="*/ 81 w 103"/>
                <a:gd name="T87" fmla="*/ 39 h 70"/>
                <a:gd name="T88" fmla="*/ 82 w 103"/>
                <a:gd name="T89" fmla="*/ 31 h 70"/>
                <a:gd name="T90" fmla="*/ 84 w 103"/>
                <a:gd name="T91" fmla="*/ 27 h 70"/>
                <a:gd name="T92" fmla="*/ 87 w 103"/>
                <a:gd name="T93" fmla="*/ 30 h 70"/>
                <a:gd name="T94" fmla="*/ 91 w 103"/>
                <a:gd name="T95" fmla="*/ 30 h 70"/>
                <a:gd name="T96" fmla="*/ 95 w 103"/>
                <a:gd name="T97" fmla="*/ 30 h 70"/>
                <a:gd name="T98" fmla="*/ 103 w 103"/>
                <a:gd name="T99"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70">
                  <a:moveTo>
                    <a:pt x="7" y="48"/>
                  </a:moveTo>
                  <a:cubicBezTo>
                    <a:pt x="6" y="49"/>
                    <a:pt x="5" y="48"/>
                    <a:pt x="5" y="47"/>
                  </a:cubicBezTo>
                  <a:cubicBezTo>
                    <a:pt x="5" y="46"/>
                    <a:pt x="4" y="45"/>
                    <a:pt x="4" y="44"/>
                  </a:cubicBezTo>
                  <a:cubicBezTo>
                    <a:pt x="4" y="44"/>
                    <a:pt x="4" y="44"/>
                    <a:pt x="4" y="44"/>
                  </a:cubicBezTo>
                  <a:cubicBezTo>
                    <a:pt x="4" y="44"/>
                    <a:pt x="2" y="46"/>
                    <a:pt x="2" y="46"/>
                  </a:cubicBezTo>
                  <a:cubicBezTo>
                    <a:pt x="1" y="46"/>
                    <a:pt x="0" y="46"/>
                    <a:pt x="0" y="46"/>
                  </a:cubicBezTo>
                  <a:cubicBezTo>
                    <a:pt x="0" y="46"/>
                    <a:pt x="1" y="44"/>
                    <a:pt x="2" y="44"/>
                  </a:cubicBezTo>
                  <a:cubicBezTo>
                    <a:pt x="2" y="43"/>
                    <a:pt x="3" y="42"/>
                    <a:pt x="4" y="42"/>
                  </a:cubicBezTo>
                  <a:cubicBezTo>
                    <a:pt x="4" y="42"/>
                    <a:pt x="6" y="42"/>
                    <a:pt x="6" y="41"/>
                  </a:cubicBezTo>
                  <a:cubicBezTo>
                    <a:pt x="7" y="41"/>
                    <a:pt x="9" y="41"/>
                    <a:pt x="9" y="41"/>
                  </a:cubicBezTo>
                  <a:cubicBezTo>
                    <a:pt x="9" y="40"/>
                    <a:pt x="10" y="40"/>
                    <a:pt x="10" y="41"/>
                  </a:cubicBezTo>
                  <a:cubicBezTo>
                    <a:pt x="9" y="41"/>
                    <a:pt x="9" y="43"/>
                    <a:pt x="9" y="44"/>
                  </a:cubicBezTo>
                  <a:cubicBezTo>
                    <a:pt x="9" y="44"/>
                    <a:pt x="9" y="45"/>
                    <a:pt x="9" y="46"/>
                  </a:cubicBezTo>
                  <a:cubicBezTo>
                    <a:pt x="9" y="47"/>
                    <a:pt x="8" y="48"/>
                    <a:pt x="7" y="48"/>
                  </a:cubicBezTo>
                  <a:close/>
                  <a:moveTo>
                    <a:pt x="103" y="27"/>
                  </a:moveTo>
                  <a:cubicBezTo>
                    <a:pt x="103" y="25"/>
                    <a:pt x="102" y="25"/>
                    <a:pt x="101" y="23"/>
                  </a:cubicBezTo>
                  <a:cubicBezTo>
                    <a:pt x="100" y="22"/>
                    <a:pt x="99" y="21"/>
                    <a:pt x="99" y="20"/>
                  </a:cubicBezTo>
                  <a:cubicBezTo>
                    <a:pt x="98" y="18"/>
                    <a:pt x="98" y="17"/>
                    <a:pt x="98" y="16"/>
                  </a:cubicBezTo>
                  <a:cubicBezTo>
                    <a:pt x="98" y="14"/>
                    <a:pt x="99" y="13"/>
                    <a:pt x="100" y="12"/>
                  </a:cubicBezTo>
                  <a:cubicBezTo>
                    <a:pt x="99" y="12"/>
                    <a:pt x="99" y="12"/>
                    <a:pt x="99" y="12"/>
                  </a:cubicBezTo>
                  <a:cubicBezTo>
                    <a:pt x="99" y="11"/>
                    <a:pt x="99" y="10"/>
                    <a:pt x="99" y="10"/>
                  </a:cubicBezTo>
                  <a:cubicBezTo>
                    <a:pt x="99" y="10"/>
                    <a:pt x="98" y="10"/>
                    <a:pt x="97" y="9"/>
                  </a:cubicBezTo>
                  <a:cubicBezTo>
                    <a:pt x="96" y="8"/>
                    <a:pt x="96" y="8"/>
                    <a:pt x="94" y="9"/>
                  </a:cubicBezTo>
                  <a:cubicBezTo>
                    <a:pt x="93" y="10"/>
                    <a:pt x="93" y="9"/>
                    <a:pt x="91" y="9"/>
                  </a:cubicBezTo>
                  <a:cubicBezTo>
                    <a:pt x="90" y="9"/>
                    <a:pt x="89" y="9"/>
                    <a:pt x="88" y="9"/>
                  </a:cubicBezTo>
                  <a:cubicBezTo>
                    <a:pt x="87" y="10"/>
                    <a:pt x="87" y="10"/>
                    <a:pt x="84" y="10"/>
                  </a:cubicBezTo>
                  <a:cubicBezTo>
                    <a:pt x="82" y="10"/>
                    <a:pt x="82" y="10"/>
                    <a:pt x="81" y="8"/>
                  </a:cubicBezTo>
                  <a:cubicBezTo>
                    <a:pt x="80" y="6"/>
                    <a:pt x="78" y="5"/>
                    <a:pt x="77" y="5"/>
                  </a:cubicBezTo>
                  <a:cubicBezTo>
                    <a:pt x="76" y="5"/>
                    <a:pt x="75" y="6"/>
                    <a:pt x="74" y="6"/>
                  </a:cubicBezTo>
                  <a:cubicBezTo>
                    <a:pt x="73" y="6"/>
                    <a:pt x="72" y="6"/>
                    <a:pt x="71" y="6"/>
                  </a:cubicBezTo>
                  <a:cubicBezTo>
                    <a:pt x="70" y="6"/>
                    <a:pt x="70" y="6"/>
                    <a:pt x="70" y="7"/>
                  </a:cubicBezTo>
                  <a:cubicBezTo>
                    <a:pt x="70" y="8"/>
                    <a:pt x="69" y="9"/>
                    <a:pt x="68" y="10"/>
                  </a:cubicBezTo>
                  <a:cubicBezTo>
                    <a:pt x="66" y="10"/>
                    <a:pt x="64" y="8"/>
                    <a:pt x="63" y="8"/>
                  </a:cubicBezTo>
                  <a:cubicBezTo>
                    <a:pt x="63" y="8"/>
                    <a:pt x="62" y="8"/>
                    <a:pt x="61" y="7"/>
                  </a:cubicBezTo>
                  <a:cubicBezTo>
                    <a:pt x="61" y="5"/>
                    <a:pt x="62" y="4"/>
                    <a:pt x="61" y="3"/>
                  </a:cubicBezTo>
                  <a:cubicBezTo>
                    <a:pt x="61" y="2"/>
                    <a:pt x="61" y="1"/>
                    <a:pt x="59" y="0"/>
                  </a:cubicBezTo>
                  <a:cubicBezTo>
                    <a:pt x="56" y="0"/>
                    <a:pt x="56" y="1"/>
                    <a:pt x="55" y="3"/>
                  </a:cubicBezTo>
                  <a:cubicBezTo>
                    <a:pt x="55" y="4"/>
                    <a:pt x="55" y="4"/>
                    <a:pt x="55" y="6"/>
                  </a:cubicBezTo>
                  <a:cubicBezTo>
                    <a:pt x="55" y="8"/>
                    <a:pt x="55" y="7"/>
                    <a:pt x="53" y="9"/>
                  </a:cubicBezTo>
                  <a:cubicBezTo>
                    <a:pt x="51" y="10"/>
                    <a:pt x="50" y="10"/>
                    <a:pt x="48" y="12"/>
                  </a:cubicBezTo>
                  <a:cubicBezTo>
                    <a:pt x="46" y="14"/>
                    <a:pt x="47" y="14"/>
                    <a:pt x="45" y="19"/>
                  </a:cubicBezTo>
                  <a:cubicBezTo>
                    <a:pt x="44" y="23"/>
                    <a:pt x="44" y="23"/>
                    <a:pt x="44" y="26"/>
                  </a:cubicBezTo>
                  <a:cubicBezTo>
                    <a:pt x="43" y="28"/>
                    <a:pt x="44" y="30"/>
                    <a:pt x="44" y="33"/>
                  </a:cubicBezTo>
                  <a:cubicBezTo>
                    <a:pt x="44" y="35"/>
                    <a:pt x="43" y="36"/>
                    <a:pt x="42" y="38"/>
                  </a:cubicBezTo>
                  <a:cubicBezTo>
                    <a:pt x="41" y="41"/>
                    <a:pt x="39" y="40"/>
                    <a:pt x="38" y="40"/>
                  </a:cubicBezTo>
                  <a:cubicBezTo>
                    <a:pt x="36" y="41"/>
                    <a:pt x="36" y="40"/>
                    <a:pt x="34" y="39"/>
                  </a:cubicBezTo>
                  <a:cubicBezTo>
                    <a:pt x="33" y="37"/>
                    <a:pt x="33" y="39"/>
                    <a:pt x="33" y="40"/>
                  </a:cubicBezTo>
                  <a:cubicBezTo>
                    <a:pt x="32" y="41"/>
                    <a:pt x="32" y="42"/>
                    <a:pt x="32" y="43"/>
                  </a:cubicBezTo>
                  <a:cubicBezTo>
                    <a:pt x="31" y="45"/>
                    <a:pt x="32" y="45"/>
                    <a:pt x="31" y="46"/>
                  </a:cubicBezTo>
                  <a:cubicBezTo>
                    <a:pt x="30" y="48"/>
                    <a:pt x="30" y="48"/>
                    <a:pt x="30" y="49"/>
                  </a:cubicBezTo>
                  <a:cubicBezTo>
                    <a:pt x="29" y="50"/>
                    <a:pt x="27" y="51"/>
                    <a:pt x="26" y="52"/>
                  </a:cubicBezTo>
                  <a:cubicBezTo>
                    <a:pt x="25" y="53"/>
                    <a:pt x="25" y="55"/>
                    <a:pt x="24" y="57"/>
                  </a:cubicBezTo>
                  <a:cubicBezTo>
                    <a:pt x="23" y="60"/>
                    <a:pt x="21" y="58"/>
                    <a:pt x="20" y="57"/>
                  </a:cubicBezTo>
                  <a:cubicBezTo>
                    <a:pt x="19" y="56"/>
                    <a:pt x="19" y="55"/>
                    <a:pt x="18" y="54"/>
                  </a:cubicBezTo>
                  <a:cubicBezTo>
                    <a:pt x="17" y="53"/>
                    <a:pt x="17" y="53"/>
                    <a:pt x="18" y="53"/>
                  </a:cubicBezTo>
                  <a:cubicBezTo>
                    <a:pt x="18" y="52"/>
                    <a:pt x="17" y="50"/>
                    <a:pt x="17" y="49"/>
                  </a:cubicBezTo>
                  <a:cubicBezTo>
                    <a:pt x="16" y="48"/>
                    <a:pt x="15" y="49"/>
                    <a:pt x="14" y="50"/>
                  </a:cubicBezTo>
                  <a:cubicBezTo>
                    <a:pt x="14" y="50"/>
                    <a:pt x="14" y="50"/>
                    <a:pt x="14" y="51"/>
                  </a:cubicBezTo>
                  <a:cubicBezTo>
                    <a:pt x="15" y="52"/>
                    <a:pt x="13" y="52"/>
                    <a:pt x="12" y="53"/>
                  </a:cubicBezTo>
                  <a:cubicBezTo>
                    <a:pt x="11" y="53"/>
                    <a:pt x="10" y="54"/>
                    <a:pt x="9" y="54"/>
                  </a:cubicBezTo>
                  <a:cubicBezTo>
                    <a:pt x="8" y="55"/>
                    <a:pt x="9" y="54"/>
                    <a:pt x="8" y="55"/>
                  </a:cubicBezTo>
                  <a:cubicBezTo>
                    <a:pt x="6" y="55"/>
                    <a:pt x="6" y="56"/>
                    <a:pt x="7" y="57"/>
                  </a:cubicBezTo>
                  <a:cubicBezTo>
                    <a:pt x="9" y="59"/>
                    <a:pt x="8" y="58"/>
                    <a:pt x="8" y="59"/>
                  </a:cubicBezTo>
                  <a:cubicBezTo>
                    <a:pt x="9" y="61"/>
                    <a:pt x="9" y="60"/>
                    <a:pt x="9" y="60"/>
                  </a:cubicBezTo>
                  <a:cubicBezTo>
                    <a:pt x="10" y="60"/>
                    <a:pt x="11" y="59"/>
                    <a:pt x="13" y="58"/>
                  </a:cubicBezTo>
                  <a:cubicBezTo>
                    <a:pt x="14" y="57"/>
                    <a:pt x="15" y="58"/>
                    <a:pt x="17" y="59"/>
                  </a:cubicBezTo>
                  <a:cubicBezTo>
                    <a:pt x="19" y="61"/>
                    <a:pt x="19" y="60"/>
                    <a:pt x="21" y="60"/>
                  </a:cubicBezTo>
                  <a:cubicBezTo>
                    <a:pt x="21" y="60"/>
                    <a:pt x="22" y="61"/>
                    <a:pt x="24" y="62"/>
                  </a:cubicBezTo>
                  <a:cubicBezTo>
                    <a:pt x="26" y="62"/>
                    <a:pt x="25" y="62"/>
                    <a:pt x="27" y="62"/>
                  </a:cubicBezTo>
                  <a:cubicBezTo>
                    <a:pt x="29" y="62"/>
                    <a:pt x="31" y="61"/>
                    <a:pt x="33" y="60"/>
                  </a:cubicBezTo>
                  <a:cubicBezTo>
                    <a:pt x="35" y="60"/>
                    <a:pt x="36" y="60"/>
                    <a:pt x="37" y="60"/>
                  </a:cubicBezTo>
                  <a:cubicBezTo>
                    <a:pt x="38" y="60"/>
                    <a:pt x="39" y="61"/>
                    <a:pt x="41" y="60"/>
                  </a:cubicBezTo>
                  <a:cubicBezTo>
                    <a:pt x="42" y="60"/>
                    <a:pt x="44" y="60"/>
                    <a:pt x="46" y="61"/>
                  </a:cubicBezTo>
                  <a:cubicBezTo>
                    <a:pt x="48" y="61"/>
                    <a:pt x="49" y="60"/>
                    <a:pt x="50" y="59"/>
                  </a:cubicBezTo>
                  <a:cubicBezTo>
                    <a:pt x="51" y="58"/>
                    <a:pt x="52" y="58"/>
                    <a:pt x="54" y="58"/>
                  </a:cubicBezTo>
                  <a:cubicBezTo>
                    <a:pt x="57" y="58"/>
                    <a:pt x="58" y="59"/>
                    <a:pt x="59" y="61"/>
                  </a:cubicBezTo>
                  <a:cubicBezTo>
                    <a:pt x="61" y="62"/>
                    <a:pt x="65" y="64"/>
                    <a:pt x="66" y="65"/>
                  </a:cubicBezTo>
                  <a:cubicBezTo>
                    <a:pt x="68" y="66"/>
                    <a:pt x="69" y="66"/>
                    <a:pt x="71" y="68"/>
                  </a:cubicBezTo>
                  <a:cubicBezTo>
                    <a:pt x="72" y="69"/>
                    <a:pt x="76" y="70"/>
                    <a:pt x="78" y="69"/>
                  </a:cubicBezTo>
                  <a:cubicBezTo>
                    <a:pt x="79" y="69"/>
                    <a:pt x="79" y="69"/>
                    <a:pt x="80" y="69"/>
                  </a:cubicBezTo>
                  <a:cubicBezTo>
                    <a:pt x="80" y="68"/>
                    <a:pt x="80" y="68"/>
                    <a:pt x="80" y="67"/>
                  </a:cubicBezTo>
                  <a:cubicBezTo>
                    <a:pt x="80" y="66"/>
                    <a:pt x="80" y="65"/>
                    <a:pt x="80" y="65"/>
                  </a:cubicBezTo>
                  <a:cubicBezTo>
                    <a:pt x="80" y="63"/>
                    <a:pt x="80" y="63"/>
                    <a:pt x="81" y="62"/>
                  </a:cubicBezTo>
                  <a:cubicBezTo>
                    <a:pt x="82" y="61"/>
                    <a:pt x="83" y="60"/>
                    <a:pt x="85" y="59"/>
                  </a:cubicBezTo>
                  <a:cubicBezTo>
                    <a:pt x="85" y="59"/>
                    <a:pt x="86" y="58"/>
                    <a:pt x="87" y="57"/>
                  </a:cubicBezTo>
                  <a:cubicBezTo>
                    <a:pt x="87" y="56"/>
                    <a:pt x="85" y="55"/>
                    <a:pt x="85" y="54"/>
                  </a:cubicBezTo>
                  <a:cubicBezTo>
                    <a:pt x="82" y="51"/>
                    <a:pt x="82" y="47"/>
                    <a:pt x="82" y="44"/>
                  </a:cubicBezTo>
                  <a:cubicBezTo>
                    <a:pt x="82" y="42"/>
                    <a:pt x="81" y="41"/>
                    <a:pt x="81" y="39"/>
                  </a:cubicBezTo>
                  <a:cubicBezTo>
                    <a:pt x="81" y="38"/>
                    <a:pt x="80" y="36"/>
                    <a:pt x="82" y="36"/>
                  </a:cubicBezTo>
                  <a:cubicBezTo>
                    <a:pt x="83" y="34"/>
                    <a:pt x="82" y="33"/>
                    <a:pt x="82" y="31"/>
                  </a:cubicBezTo>
                  <a:cubicBezTo>
                    <a:pt x="82" y="30"/>
                    <a:pt x="82" y="29"/>
                    <a:pt x="83" y="29"/>
                  </a:cubicBezTo>
                  <a:cubicBezTo>
                    <a:pt x="83" y="28"/>
                    <a:pt x="84" y="27"/>
                    <a:pt x="84" y="27"/>
                  </a:cubicBezTo>
                  <a:cubicBezTo>
                    <a:pt x="85" y="28"/>
                    <a:pt x="85" y="30"/>
                    <a:pt x="85" y="31"/>
                  </a:cubicBezTo>
                  <a:cubicBezTo>
                    <a:pt x="86" y="31"/>
                    <a:pt x="86" y="30"/>
                    <a:pt x="87" y="30"/>
                  </a:cubicBezTo>
                  <a:cubicBezTo>
                    <a:pt x="87" y="29"/>
                    <a:pt x="87" y="29"/>
                    <a:pt x="88" y="29"/>
                  </a:cubicBezTo>
                  <a:cubicBezTo>
                    <a:pt x="89" y="29"/>
                    <a:pt x="90" y="29"/>
                    <a:pt x="91" y="30"/>
                  </a:cubicBezTo>
                  <a:cubicBezTo>
                    <a:pt x="92" y="30"/>
                    <a:pt x="92" y="30"/>
                    <a:pt x="92" y="31"/>
                  </a:cubicBezTo>
                  <a:cubicBezTo>
                    <a:pt x="93" y="31"/>
                    <a:pt x="94" y="31"/>
                    <a:pt x="95" y="30"/>
                  </a:cubicBezTo>
                  <a:cubicBezTo>
                    <a:pt x="97" y="30"/>
                    <a:pt x="99" y="30"/>
                    <a:pt x="101" y="30"/>
                  </a:cubicBezTo>
                  <a:cubicBezTo>
                    <a:pt x="102" y="30"/>
                    <a:pt x="103" y="30"/>
                    <a:pt x="103" y="30"/>
                  </a:cubicBezTo>
                  <a:cubicBezTo>
                    <a:pt x="103" y="29"/>
                    <a:pt x="103" y="28"/>
                    <a:pt x="103" y="27"/>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7" name="Freeform 78">
              <a:extLst>
                <a:ext uri="{FF2B5EF4-FFF2-40B4-BE49-F238E27FC236}">
                  <a16:creationId xmlns:a16="http://schemas.microsoft.com/office/drawing/2014/main" id="{01541CAF-4327-F502-013A-8CB2D5D7EA24}"/>
                </a:ext>
              </a:extLst>
            </p:cNvPr>
            <p:cNvSpPr>
              <a:spLocks noEditPoints="1"/>
            </p:cNvSpPr>
            <p:nvPr/>
          </p:nvSpPr>
          <p:spPr bwMode="auto">
            <a:xfrm>
              <a:off x="2938463" y="4175125"/>
              <a:ext cx="739775" cy="411162"/>
            </a:xfrm>
            <a:custGeom>
              <a:avLst/>
              <a:gdLst>
                <a:gd name="T0" fmla="*/ 1 w 194"/>
                <a:gd name="T1" fmla="*/ 28 h 108"/>
                <a:gd name="T2" fmla="*/ 17 w 194"/>
                <a:gd name="T3" fmla="*/ 15 h 108"/>
                <a:gd name="T4" fmla="*/ 22 w 194"/>
                <a:gd name="T5" fmla="*/ 5 h 108"/>
                <a:gd name="T6" fmla="*/ 36 w 194"/>
                <a:gd name="T7" fmla="*/ 11 h 108"/>
                <a:gd name="T8" fmla="*/ 43 w 194"/>
                <a:gd name="T9" fmla="*/ 19 h 108"/>
                <a:gd name="T10" fmla="*/ 38 w 194"/>
                <a:gd name="T11" fmla="*/ 7 h 108"/>
                <a:gd name="T12" fmla="*/ 45 w 194"/>
                <a:gd name="T13" fmla="*/ 2 h 108"/>
                <a:gd name="T14" fmla="*/ 55 w 194"/>
                <a:gd name="T15" fmla="*/ 4 h 108"/>
                <a:gd name="T16" fmla="*/ 60 w 194"/>
                <a:gd name="T17" fmla="*/ 17 h 108"/>
                <a:gd name="T18" fmla="*/ 65 w 194"/>
                <a:gd name="T19" fmla="*/ 24 h 108"/>
                <a:gd name="T20" fmla="*/ 67 w 194"/>
                <a:gd name="T21" fmla="*/ 44 h 108"/>
                <a:gd name="T22" fmla="*/ 73 w 194"/>
                <a:gd name="T23" fmla="*/ 56 h 108"/>
                <a:gd name="T24" fmla="*/ 97 w 194"/>
                <a:gd name="T25" fmla="*/ 64 h 108"/>
                <a:gd name="T26" fmla="*/ 98 w 194"/>
                <a:gd name="T27" fmla="*/ 71 h 108"/>
                <a:gd name="T28" fmla="*/ 93 w 194"/>
                <a:gd name="T29" fmla="*/ 90 h 108"/>
                <a:gd name="T30" fmla="*/ 99 w 194"/>
                <a:gd name="T31" fmla="*/ 93 h 108"/>
                <a:gd name="T32" fmla="*/ 91 w 194"/>
                <a:gd name="T33" fmla="*/ 97 h 108"/>
                <a:gd name="T34" fmla="*/ 81 w 194"/>
                <a:gd name="T35" fmla="*/ 91 h 108"/>
                <a:gd name="T36" fmla="*/ 73 w 194"/>
                <a:gd name="T37" fmla="*/ 87 h 108"/>
                <a:gd name="T38" fmla="*/ 63 w 194"/>
                <a:gd name="T39" fmla="*/ 84 h 108"/>
                <a:gd name="T40" fmla="*/ 51 w 194"/>
                <a:gd name="T41" fmla="*/ 79 h 108"/>
                <a:gd name="T42" fmla="*/ 48 w 194"/>
                <a:gd name="T43" fmla="*/ 67 h 108"/>
                <a:gd name="T44" fmla="*/ 43 w 194"/>
                <a:gd name="T45" fmla="*/ 52 h 108"/>
                <a:gd name="T46" fmla="*/ 42 w 194"/>
                <a:gd name="T47" fmla="*/ 42 h 108"/>
                <a:gd name="T48" fmla="*/ 32 w 194"/>
                <a:gd name="T49" fmla="*/ 38 h 108"/>
                <a:gd name="T50" fmla="*/ 23 w 194"/>
                <a:gd name="T51" fmla="*/ 37 h 108"/>
                <a:gd name="T52" fmla="*/ 18 w 194"/>
                <a:gd name="T53" fmla="*/ 39 h 108"/>
                <a:gd name="T54" fmla="*/ 8 w 194"/>
                <a:gd name="T55" fmla="*/ 35 h 108"/>
                <a:gd name="T56" fmla="*/ 103 w 194"/>
                <a:gd name="T57" fmla="*/ 85 h 108"/>
                <a:gd name="T58" fmla="*/ 98 w 194"/>
                <a:gd name="T59" fmla="*/ 89 h 108"/>
                <a:gd name="T60" fmla="*/ 105 w 194"/>
                <a:gd name="T61" fmla="*/ 94 h 108"/>
                <a:gd name="T62" fmla="*/ 109 w 194"/>
                <a:gd name="T63" fmla="*/ 90 h 108"/>
                <a:gd name="T64" fmla="*/ 106 w 194"/>
                <a:gd name="T65" fmla="*/ 87 h 108"/>
                <a:gd name="T66" fmla="*/ 151 w 194"/>
                <a:gd name="T67" fmla="*/ 91 h 108"/>
                <a:gd name="T68" fmla="*/ 155 w 194"/>
                <a:gd name="T69" fmla="*/ 106 h 108"/>
                <a:gd name="T70" fmla="*/ 167 w 194"/>
                <a:gd name="T71" fmla="*/ 99 h 108"/>
                <a:gd name="T72" fmla="*/ 172 w 194"/>
                <a:gd name="T73" fmla="*/ 100 h 108"/>
                <a:gd name="T74" fmla="*/ 180 w 194"/>
                <a:gd name="T75" fmla="*/ 107 h 108"/>
                <a:gd name="T76" fmla="*/ 183 w 194"/>
                <a:gd name="T77" fmla="*/ 103 h 108"/>
                <a:gd name="T78" fmla="*/ 190 w 194"/>
                <a:gd name="T79" fmla="*/ 93 h 108"/>
                <a:gd name="T80" fmla="*/ 191 w 194"/>
                <a:gd name="T81" fmla="*/ 76 h 108"/>
                <a:gd name="T82" fmla="*/ 182 w 194"/>
                <a:gd name="T83" fmla="*/ 68 h 108"/>
                <a:gd name="T84" fmla="*/ 176 w 194"/>
                <a:gd name="T85" fmla="*/ 66 h 108"/>
                <a:gd name="T86" fmla="*/ 168 w 194"/>
                <a:gd name="T87" fmla="*/ 65 h 108"/>
                <a:gd name="T88" fmla="*/ 156 w 194"/>
                <a:gd name="T89" fmla="*/ 66 h 108"/>
                <a:gd name="T90" fmla="*/ 153 w 194"/>
                <a:gd name="T91" fmla="*/ 73 h 108"/>
                <a:gd name="T92" fmla="*/ 152 w 194"/>
                <a:gd name="T93" fmla="*/ 83 h 108"/>
                <a:gd name="T94" fmla="*/ 140 w 194"/>
                <a:gd name="T95" fmla="*/ 88 h 108"/>
                <a:gd name="T96" fmla="*/ 143 w 194"/>
                <a:gd name="T97" fmla="*/ 88 h 108"/>
                <a:gd name="T98" fmla="*/ 144 w 194"/>
                <a:gd name="T99" fmla="*/ 82 h 108"/>
                <a:gd name="T100" fmla="*/ 139 w 194"/>
                <a:gd name="T101" fmla="*/ 80 h 108"/>
                <a:gd name="T102" fmla="*/ 137 w 194"/>
                <a:gd name="T103" fmla="*/ 8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108">
                  <a:moveTo>
                    <a:pt x="1" y="34"/>
                  </a:moveTo>
                  <a:cubicBezTo>
                    <a:pt x="1" y="33"/>
                    <a:pt x="0" y="33"/>
                    <a:pt x="1" y="32"/>
                  </a:cubicBezTo>
                  <a:cubicBezTo>
                    <a:pt x="1" y="31"/>
                    <a:pt x="2" y="31"/>
                    <a:pt x="2" y="30"/>
                  </a:cubicBezTo>
                  <a:cubicBezTo>
                    <a:pt x="2" y="30"/>
                    <a:pt x="1" y="29"/>
                    <a:pt x="1" y="28"/>
                  </a:cubicBezTo>
                  <a:cubicBezTo>
                    <a:pt x="2" y="27"/>
                    <a:pt x="3" y="27"/>
                    <a:pt x="4" y="27"/>
                  </a:cubicBezTo>
                  <a:cubicBezTo>
                    <a:pt x="6" y="26"/>
                    <a:pt x="8" y="25"/>
                    <a:pt x="11" y="24"/>
                  </a:cubicBezTo>
                  <a:cubicBezTo>
                    <a:pt x="14" y="23"/>
                    <a:pt x="19" y="21"/>
                    <a:pt x="18" y="17"/>
                  </a:cubicBezTo>
                  <a:cubicBezTo>
                    <a:pt x="18" y="16"/>
                    <a:pt x="18" y="15"/>
                    <a:pt x="17" y="15"/>
                  </a:cubicBezTo>
                  <a:cubicBezTo>
                    <a:pt x="17" y="14"/>
                    <a:pt x="15" y="14"/>
                    <a:pt x="15" y="13"/>
                  </a:cubicBezTo>
                  <a:cubicBezTo>
                    <a:pt x="14" y="11"/>
                    <a:pt x="16" y="10"/>
                    <a:pt x="17" y="9"/>
                  </a:cubicBezTo>
                  <a:cubicBezTo>
                    <a:pt x="18" y="8"/>
                    <a:pt x="18" y="7"/>
                    <a:pt x="19" y="6"/>
                  </a:cubicBezTo>
                  <a:cubicBezTo>
                    <a:pt x="21" y="6"/>
                    <a:pt x="21" y="5"/>
                    <a:pt x="22" y="5"/>
                  </a:cubicBezTo>
                  <a:cubicBezTo>
                    <a:pt x="23" y="4"/>
                    <a:pt x="25" y="5"/>
                    <a:pt x="26" y="4"/>
                  </a:cubicBezTo>
                  <a:cubicBezTo>
                    <a:pt x="27" y="4"/>
                    <a:pt x="28" y="2"/>
                    <a:pt x="29" y="2"/>
                  </a:cubicBezTo>
                  <a:cubicBezTo>
                    <a:pt x="30" y="5"/>
                    <a:pt x="31" y="8"/>
                    <a:pt x="35" y="8"/>
                  </a:cubicBezTo>
                  <a:cubicBezTo>
                    <a:pt x="37" y="9"/>
                    <a:pt x="37" y="10"/>
                    <a:pt x="36" y="11"/>
                  </a:cubicBezTo>
                  <a:cubicBezTo>
                    <a:pt x="35" y="12"/>
                    <a:pt x="34" y="13"/>
                    <a:pt x="34" y="14"/>
                  </a:cubicBezTo>
                  <a:cubicBezTo>
                    <a:pt x="34" y="16"/>
                    <a:pt x="35" y="17"/>
                    <a:pt x="37" y="17"/>
                  </a:cubicBezTo>
                  <a:cubicBezTo>
                    <a:pt x="38" y="17"/>
                    <a:pt x="40" y="16"/>
                    <a:pt x="41" y="18"/>
                  </a:cubicBezTo>
                  <a:cubicBezTo>
                    <a:pt x="42" y="18"/>
                    <a:pt x="42" y="19"/>
                    <a:pt x="43" y="19"/>
                  </a:cubicBezTo>
                  <a:cubicBezTo>
                    <a:pt x="44" y="17"/>
                    <a:pt x="41" y="15"/>
                    <a:pt x="40" y="14"/>
                  </a:cubicBezTo>
                  <a:cubicBezTo>
                    <a:pt x="38" y="12"/>
                    <a:pt x="40" y="11"/>
                    <a:pt x="40" y="9"/>
                  </a:cubicBezTo>
                  <a:cubicBezTo>
                    <a:pt x="39" y="9"/>
                    <a:pt x="39" y="9"/>
                    <a:pt x="38" y="9"/>
                  </a:cubicBezTo>
                  <a:cubicBezTo>
                    <a:pt x="38" y="8"/>
                    <a:pt x="38" y="7"/>
                    <a:pt x="38" y="7"/>
                  </a:cubicBezTo>
                  <a:cubicBezTo>
                    <a:pt x="38" y="6"/>
                    <a:pt x="38" y="5"/>
                    <a:pt x="38" y="5"/>
                  </a:cubicBezTo>
                  <a:cubicBezTo>
                    <a:pt x="38" y="4"/>
                    <a:pt x="38" y="3"/>
                    <a:pt x="38" y="3"/>
                  </a:cubicBezTo>
                  <a:cubicBezTo>
                    <a:pt x="38" y="2"/>
                    <a:pt x="40" y="3"/>
                    <a:pt x="40" y="3"/>
                  </a:cubicBezTo>
                  <a:cubicBezTo>
                    <a:pt x="42" y="3"/>
                    <a:pt x="44" y="2"/>
                    <a:pt x="45" y="2"/>
                  </a:cubicBezTo>
                  <a:cubicBezTo>
                    <a:pt x="46" y="2"/>
                    <a:pt x="48" y="0"/>
                    <a:pt x="49" y="1"/>
                  </a:cubicBezTo>
                  <a:cubicBezTo>
                    <a:pt x="50" y="1"/>
                    <a:pt x="50" y="2"/>
                    <a:pt x="50" y="2"/>
                  </a:cubicBezTo>
                  <a:cubicBezTo>
                    <a:pt x="50" y="3"/>
                    <a:pt x="51" y="3"/>
                    <a:pt x="52" y="3"/>
                  </a:cubicBezTo>
                  <a:cubicBezTo>
                    <a:pt x="52" y="4"/>
                    <a:pt x="54" y="3"/>
                    <a:pt x="55" y="4"/>
                  </a:cubicBezTo>
                  <a:cubicBezTo>
                    <a:pt x="55" y="4"/>
                    <a:pt x="57" y="5"/>
                    <a:pt x="57" y="6"/>
                  </a:cubicBezTo>
                  <a:cubicBezTo>
                    <a:pt x="58" y="8"/>
                    <a:pt x="55" y="10"/>
                    <a:pt x="57" y="13"/>
                  </a:cubicBezTo>
                  <a:cubicBezTo>
                    <a:pt x="57" y="14"/>
                    <a:pt x="59" y="14"/>
                    <a:pt x="59" y="15"/>
                  </a:cubicBezTo>
                  <a:cubicBezTo>
                    <a:pt x="60" y="15"/>
                    <a:pt x="59" y="16"/>
                    <a:pt x="60" y="17"/>
                  </a:cubicBezTo>
                  <a:cubicBezTo>
                    <a:pt x="60" y="17"/>
                    <a:pt x="61" y="17"/>
                    <a:pt x="62" y="18"/>
                  </a:cubicBezTo>
                  <a:cubicBezTo>
                    <a:pt x="63" y="19"/>
                    <a:pt x="62" y="20"/>
                    <a:pt x="63" y="21"/>
                  </a:cubicBezTo>
                  <a:cubicBezTo>
                    <a:pt x="63" y="22"/>
                    <a:pt x="63" y="22"/>
                    <a:pt x="64" y="23"/>
                  </a:cubicBezTo>
                  <a:cubicBezTo>
                    <a:pt x="64" y="23"/>
                    <a:pt x="65" y="23"/>
                    <a:pt x="65" y="24"/>
                  </a:cubicBezTo>
                  <a:cubicBezTo>
                    <a:pt x="66" y="26"/>
                    <a:pt x="65" y="29"/>
                    <a:pt x="65" y="30"/>
                  </a:cubicBezTo>
                  <a:cubicBezTo>
                    <a:pt x="64" y="32"/>
                    <a:pt x="64" y="33"/>
                    <a:pt x="64" y="35"/>
                  </a:cubicBezTo>
                  <a:cubicBezTo>
                    <a:pt x="65" y="37"/>
                    <a:pt x="66" y="38"/>
                    <a:pt x="66" y="40"/>
                  </a:cubicBezTo>
                  <a:cubicBezTo>
                    <a:pt x="67" y="41"/>
                    <a:pt x="67" y="43"/>
                    <a:pt x="67" y="44"/>
                  </a:cubicBezTo>
                  <a:cubicBezTo>
                    <a:pt x="68" y="46"/>
                    <a:pt x="68" y="47"/>
                    <a:pt x="69" y="49"/>
                  </a:cubicBezTo>
                  <a:cubicBezTo>
                    <a:pt x="69" y="51"/>
                    <a:pt x="70" y="51"/>
                    <a:pt x="70" y="52"/>
                  </a:cubicBezTo>
                  <a:cubicBezTo>
                    <a:pt x="71" y="53"/>
                    <a:pt x="71" y="54"/>
                    <a:pt x="71" y="55"/>
                  </a:cubicBezTo>
                  <a:cubicBezTo>
                    <a:pt x="72" y="55"/>
                    <a:pt x="73" y="56"/>
                    <a:pt x="73" y="56"/>
                  </a:cubicBezTo>
                  <a:cubicBezTo>
                    <a:pt x="74" y="58"/>
                    <a:pt x="75" y="59"/>
                    <a:pt x="77" y="59"/>
                  </a:cubicBezTo>
                  <a:cubicBezTo>
                    <a:pt x="79" y="60"/>
                    <a:pt x="80" y="59"/>
                    <a:pt x="82" y="59"/>
                  </a:cubicBezTo>
                  <a:cubicBezTo>
                    <a:pt x="84" y="60"/>
                    <a:pt x="85" y="62"/>
                    <a:pt x="87" y="62"/>
                  </a:cubicBezTo>
                  <a:cubicBezTo>
                    <a:pt x="91" y="63"/>
                    <a:pt x="94" y="64"/>
                    <a:pt x="97" y="64"/>
                  </a:cubicBezTo>
                  <a:cubicBezTo>
                    <a:pt x="99" y="65"/>
                    <a:pt x="102" y="64"/>
                    <a:pt x="104" y="65"/>
                  </a:cubicBezTo>
                  <a:cubicBezTo>
                    <a:pt x="105" y="66"/>
                    <a:pt x="105" y="66"/>
                    <a:pt x="106" y="66"/>
                  </a:cubicBezTo>
                  <a:cubicBezTo>
                    <a:pt x="105" y="67"/>
                    <a:pt x="103" y="67"/>
                    <a:pt x="102" y="68"/>
                  </a:cubicBezTo>
                  <a:cubicBezTo>
                    <a:pt x="101" y="68"/>
                    <a:pt x="99" y="69"/>
                    <a:pt x="98" y="71"/>
                  </a:cubicBezTo>
                  <a:cubicBezTo>
                    <a:pt x="97" y="72"/>
                    <a:pt x="95" y="74"/>
                    <a:pt x="95" y="75"/>
                  </a:cubicBezTo>
                  <a:cubicBezTo>
                    <a:pt x="94" y="77"/>
                    <a:pt x="93" y="80"/>
                    <a:pt x="92" y="82"/>
                  </a:cubicBezTo>
                  <a:cubicBezTo>
                    <a:pt x="92" y="83"/>
                    <a:pt x="91" y="85"/>
                    <a:pt x="91" y="87"/>
                  </a:cubicBezTo>
                  <a:cubicBezTo>
                    <a:pt x="91" y="88"/>
                    <a:pt x="91" y="89"/>
                    <a:pt x="93" y="90"/>
                  </a:cubicBezTo>
                  <a:cubicBezTo>
                    <a:pt x="94" y="90"/>
                    <a:pt x="95" y="90"/>
                    <a:pt x="95" y="90"/>
                  </a:cubicBezTo>
                  <a:cubicBezTo>
                    <a:pt x="96" y="91"/>
                    <a:pt x="96" y="91"/>
                    <a:pt x="97" y="92"/>
                  </a:cubicBezTo>
                  <a:cubicBezTo>
                    <a:pt x="97" y="92"/>
                    <a:pt x="98" y="92"/>
                    <a:pt x="99" y="92"/>
                  </a:cubicBezTo>
                  <a:cubicBezTo>
                    <a:pt x="100" y="93"/>
                    <a:pt x="99" y="93"/>
                    <a:pt x="99" y="93"/>
                  </a:cubicBezTo>
                  <a:cubicBezTo>
                    <a:pt x="99" y="94"/>
                    <a:pt x="99" y="94"/>
                    <a:pt x="99" y="95"/>
                  </a:cubicBezTo>
                  <a:cubicBezTo>
                    <a:pt x="99" y="96"/>
                    <a:pt x="100" y="97"/>
                    <a:pt x="99" y="98"/>
                  </a:cubicBezTo>
                  <a:cubicBezTo>
                    <a:pt x="99" y="98"/>
                    <a:pt x="98" y="99"/>
                    <a:pt x="97" y="98"/>
                  </a:cubicBezTo>
                  <a:cubicBezTo>
                    <a:pt x="95" y="98"/>
                    <a:pt x="93" y="97"/>
                    <a:pt x="91" y="97"/>
                  </a:cubicBezTo>
                  <a:cubicBezTo>
                    <a:pt x="89" y="98"/>
                    <a:pt x="87" y="100"/>
                    <a:pt x="85" y="97"/>
                  </a:cubicBezTo>
                  <a:cubicBezTo>
                    <a:pt x="85" y="97"/>
                    <a:pt x="85" y="96"/>
                    <a:pt x="85" y="96"/>
                  </a:cubicBezTo>
                  <a:cubicBezTo>
                    <a:pt x="85" y="95"/>
                    <a:pt x="85" y="95"/>
                    <a:pt x="84" y="95"/>
                  </a:cubicBezTo>
                  <a:cubicBezTo>
                    <a:pt x="83" y="94"/>
                    <a:pt x="82" y="92"/>
                    <a:pt x="81" y="91"/>
                  </a:cubicBezTo>
                  <a:cubicBezTo>
                    <a:pt x="80" y="90"/>
                    <a:pt x="78" y="90"/>
                    <a:pt x="76" y="90"/>
                  </a:cubicBezTo>
                  <a:cubicBezTo>
                    <a:pt x="76" y="90"/>
                    <a:pt x="76" y="90"/>
                    <a:pt x="75" y="90"/>
                  </a:cubicBezTo>
                  <a:cubicBezTo>
                    <a:pt x="75" y="89"/>
                    <a:pt x="75" y="89"/>
                    <a:pt x="74" y="88"/>
                  </a:cubicBezTo>
                  <a:cubicBezTo>
                    <a:pt x="74" y="88"/>
                    <a:pt x="73" y="87"/>
                    <a:pt x="73" y="87"/>
                  </a:cubicBezTo>
                  <a:cubicBezTo>
                    <a:pt x="72" y="87"/>
                    <a:pt x="71" y="86"/>
                    <a:pt x="71" y="86"/>
                  </a:cubicBezTo>
                  <a:cubicBezTo>
                    <a:pt x="70" y="85"/>
                    <a:pt x="69" y="85"/>
                    <a:pt x="68" y="85"/>
                  </a:cubicBezTo>
                  <a:cubicBezTo>
                    <a:pt x="67" y="85"/>
                    <a:pt x="66" y="84"/>
                    <a:pt x="65" y="84"/>
                  </a:cubicBezTo>
                  <a:cubicBezTo>
                    <a:pt x="64" y="84"/>
                    <a:pt x="63" y="84"/>
                    <a:pt x="63" y="84"/>
                  </a:cubicBezTo>
                  <a:cubicBezTo>
                    <a:pt x="62" y="84"/>
                    <a:pt x="62" y="83"/>
                    <a:pt x="62" y="83"/>
                  </a:cubicBezTo>
                  <a:cubicBezTo>
                    <a:pt x="60" y="82"/>
                    <a:pt x="59" y="82"/>
                    <a:pt x="57" y="81"/>
                  </a:cubicBezTo>
                  <a:cubicBezTo>
                    <a:pt x="56" y="81"/>
                    <a:pt x="54" y="81"/>
                    <a:pt x="53" y="81"/>
                  </a:cubicBezTo>
                  <a:cubicBezTo>
                    <a:pt x="52" y="80"/>
                    <a:pt x="51" y="80"/>
                    <a:pt x="51" y="79"/>
                  </a:cubicBezTo>
                  <a:cubicBezTo>
                    <a:pt x="51" y="78"/>
                    <a:pt x="51" y="78"/>
                    <a:pt x="50" y="77"/>
                  </a:cubicBezTo>
                  <a:cubicBezTo>
                    <a:pt x="49" y="76"/>
                    <a:pt x="50" y="74"/>
                    <a:pt x="49" y="72"/>
                  </a:cubicBezTo>
                  <a:cubicBezTo>
                    <a:pt x="49" y="71"/>
                    <a:pt x="48" y="71"/>
                    <a:pt x="48" y="70"/>
                  </a:cubicBezTo>
                  <a:cubicBezTo>
                    <a:pt x="48" y="69"/>
                    <a:pt x="48" y="68"/>
                    <a:pt x="48" y="67"/>
                  </a:cubicBezTo>
                  <a:cubicBezTo>
                    <a:pt x="48" y="66"/>
                    <a:pt x="49" y="65"/>
                    <a:pt x="50" y="63"/>
                  </a:cubicBezTo>
                  <a:cubicBezTo>
                    <a:pt x="51" y="62"/>
                    <a:pt x="51" y="61"/>
                    <a:pt x="50" y="60"/>
                  </a:cubicBezTo>
                  <a:cubicBezTo>
                    <a:pt x="49" y="57"/>
                    <a:pt x="45" y="57"/>
                    <a:pt x="44" y="54"/>
                  </a:cubicBezTo>
                  <a:cubicBezTo>
                    <a:pt x="44" y="54"/>
                    <a:pt x="43" y="53"/>
                    <a:pt x="43" y="52"/>
                  </a:cubicBezTo>
                  <a:cubicBezTo>
                    <a:pt x="43" y="52"/>
                    <a:pt x="44" y="51"/>
                    <a:pt x="44" y="51"/>
                  </a:cubicBezTo>
                  <a:cubicBezTo>
                    <a:pt x="44" y="49"/>
                    <a:pt x="43" y="48"/>
                    <a:pt x="42" y="47"/>
                  </a:cubicBezTo>
                  <a:cubicBezTo>
                    <a:pt x="42" y="46"/>
                    <a:pt x="42" y="45"/>
                    <a:pt x="42" y="44"/>
                  </a:cubicBezTo>
                  <a:cubicBezTo>
                    <a:pt x="42" y="44"/>
                    <a:pt x="42" y="43"/>
                    <a:pt x="42" y="42"/>
                  </a:cubicBezTo>
                  <a:cubicBezTo>
                    <a:pt x="42" y="41"/>
                    <a:pt x="40" y="40"/>
                    <a:pt x="39" y="40"/>
                  </a:cubicBezTo>
                  <a:cubicBezTo>
                    <a:pt x="38" y="39"/>
                    <a:pt x="38" y="38"/>
                    <a:pt x="36" y="38"/>
                  </a:cubicBezTo>
                  <a:cubicBezTo>
                    <a:pt x="35" y="38"/>
                    <a:pt x="35" y="38"/>
                    <a:pt x="34" y="38"/>
                  </a:cubicBezTo>
                  <a:cubicBezTo>
                    <a:pt x="33" y="39"/>
                    <a:pt x="33" y="38"/>
                    <a:pt x="32" y="38"/>
                  </a:cubicBezTo>
                  <a:cubicBezTo>
                    <a:pt x="31" y="38"/>
                    <a:pt x="30" y="38"/>
                    <a:pt x="30" y="38"/>
                  </a:cubicBezTo>
                  <a:cubicBezTo>
                    <a:pt x="29" y="38"/>
                    <a:pt x="29" y="37"/>
                    <a:pt x="29" y="37"/>
                  </a:cubicBezTo>
                  <a:cubicBezTo>
                    <a:pt x="28" y="35"/>
                    <a:pt x="26" y="35"/>
                    <a:pt x="25" y="36"/>
                  </a:cubicBezTo>
                  <a:cubicBezTo>
                    <a:pt x="24" y="36"/>
                    <a:pt x="23" y="36"/>
                    <a:pt x="23" y="37"/>
                  </a:cubicBezTo>
                  <a:cubicBezTo>
                    <a:pt x="22" y="37"/>
                    <a:pt x="22" y="38"/>
                    <a:pt x="22" y="38"/>
                  </a:cubicBezTo>
                  <a:cubicBezTo>
                    <a:pt x="21" y="39"/>
                    <a:pt x="21" y="39"/>
                    <a:pt x="20" y="39"/>
                  </a:cubicBezTo>
                  <a:cubicBezTo>
                    <a:pt x="19" y="38"/>
                    <a:pt x="19" y="38"/>
                    <a:pt x="19" y="38"/>
                  </a:cubicBezTo>
                  <a:cubicBezTo>
                    <a:pt x="19" y="38"/>
                    <a:pt x="18" y="38"/>
                    <a:pt x="18" y="39"/>
                  </a:cubicBezTo>
                  <a:cubicBezTo>
                    <a:pt x="16" y="39"/>
                    <a:pt x="14" y="38"/>
                    <a:pt x="13" y="39"/>
                  </a:cubicBezTo>
                  <a:cubicBezTo>
                    <a:pt x="12" y="40"/>
                    <a:pt x="12" y="40"/>
                    <a:pt x="11" y="39"/>
                  </a:cubicBezTo>
                  <a:cubicBezTo>
                    <a:pt x="11" y="38"/>
                    <a:pt x="10" y="38"/>
                    <a:pt x="10" y="37"/>
                  </a:cubicBezTo>
                  <a:cubicBezTo>
                    <a:pt x="9" y="36"/>
                    <a:pt x="8" y="35"/>
                    <a:pt x="8" y="35"/>
                  </a:cubicBezTo>
                  <a:cubicBezTo>
                    <a:pt x="7" y="35"/>
                    <a:pt x="5" y="35"/>
                    <a:pt x="5" y="35"/>
                  </a:cubicBezTo>
                  <a:cubicBezTo>
                    <a:pt x="3" y="36"/>
                    <a:pt x="1" y="36"/>
                    <a:pt x="1" y="34"/>
                  </a:cubicBezTo>
                  <a:close/>
                  <a:moveTo>
                    <a:pt x="104" y="85"/>
                  </a:moveTo>
                  <a:cubicBezTo>
                    <a:pt x="103" y="85"/>
                    <a:pt x="103" y="85"/>
                    <a:pt x="103" y="85"/>
                  </a:cubicBezTo>
                  <a:cubicBezTo>
                    <a:pt x="103" y="86"/>
                    <a:pt x="102" y="86"/>
                    <a:pt x="102" y="87"/>
                  </a:cubicBezTo>
                  <a:cubicBezTo>
                    <a:pt x="101" y="87"/>
                    <a:pt x="101" y="87"/>
                    <a:pt x="100" y="87"/>
                  </a:cubicBezTo>
                  <a:cubicBezTo>
                    <a:pt x="100" y="88"/>
                    <a:pt x="99" y="88"/>
                    <a:pt x="99" y="88"/>
                  </a:cubicBezTo>
                  <a:cubicBezTo>
                    <a:pt x="98" y="89"/>
                    <a:pt x="98" y="89"/>
                    <a:pt x="98" y="89"/>
                  </a:cubicBezTo>
                  <a:cubicBezTo>
                    <a:pt x="98" y="90"/>
                    <a:pt x="98" y="90"/>
                    <a:pt x="99" y="91"/>
                  </a:cubicBezTo>
                  <a:cubicBezTo>
                    <a:pt x="100" y="91"/>
                    <a:pt x="100" y="91"/>
                    <a:pt x="101" y="91"/>
                  </a:cubicBezTo>
                  <a:cubicBezTo>
                    <a:pt x="102" y="92"/>
                    <a:pt x="103" y="92"/>
                    <a:pt x="104" y="93"/>
                  </a:cubicBezTo>
                  <a:cubicBezTo>
                    <a:pt x="105" y="94"/>
                    <a:pt x="105" y="94"/>
                    <a:pt x="105" y="94"/>
                  </a:cubicBezTo>
                  <a:cubicBezTo>
                    <a:pt x="105" y="94"/>
                    <a:pt x="105" y="94"/>
                    <a:pt x="105" y="94"/>
                  </a:cubicBezTo>
                  <a:cubicBezTo>
                    <a:pt x="106" y="94"/>
                    <a:pt x="107" y="94"/>
                    <a:pt x="108" y="94"/>
                  </a:cubicBezTo>
                  <a:cubicBezTo>
                    <a:pt x="108" y="94"/>
                    <a:pt x="109" y="92"/>
                    <a:pt x="109" y="91"/>
                  </a:cubicBezTo>
                  <a:cubicBezTo>
                    <a:pt x="109" y="91"/>
                    <a:pt x="109" y="90"/>
                    <a:pt x="109" y="90"/>
                  </a:cubicBezTo>
                  <a:cubicBezTo>
                    <a:pt x="110" y="90"/>
                    <a:pt x="110" y="89"/>
                    <a:pt x="110" y="89"/>
                  </a:cubicBezTo>
                  <a:cubicBezTo>
                    <a:pt x="110" y="88"/>
                    <a:pt x="110" y="88"/>
                    <a:pt x="110" y="88"/>
                  </a:cubicBezTo>
                  <a:cubicBezTo>
                    <a:pt x="109" y="88"/>
                    <a:pt x="109" y="88"/>
                    <a:pt x="108" y="88"/>
                  </a:cubicBezTo>
                  <a:cubicBezTo>
                    <a:pt x="108" y="88"/>
                    <a:pt x="107" y="87"/>
                    <a:pt x="106" y="87"/>
                  </a:cubicBezTo>
                  <a:cubicBezTo>
                    <a:pt x="106" y="86"/>
                    <a:pt x="105" y="86"/>
                    <a:pt x="105" y="86"/>
                  </a:cubicBezTo>
                  <a:lnTo>
                    <a:pt x="104" y="85"/>
                  </a:lnTo>
                  <a:close/>
                  <a:moveTo>
                    <a:pt x="151" y="87"/>
                  </a:moveTo>
                  <a:cubicBezTo>
                    <a:pt x="153" y="87"/>
                    <a:pt x="151" y="90"/>
                    <a:pt x="151" y="91"/>
                  </a:cubicBezTo>
                  <a:cubicBezTo>
                    <a:pt x="150" y="93"/>
                    <a:pt x="151" y="95"/>
                    <a:pt x="151" y="96"/>
                  </a:cubicBezTo>
                  <a:cubicBezTo>
                    <a:pt x="152" y="98"/>
                    <a:pt x="154" y="100"/>
                    <a:pt x="153" y="102"/>
                  </a:cubicBezTo>
                  <a:cubicBezTo>
                    <a:pt x="152" y="103"/>
                    <a:pt x="151" y="104"/>
                    <a:pt x="151" y="106"/>
                  </a:cubicBezTo>
                  <a:cubicBezTo>
                    <a:pt x="152" y="107"/>
                    <a:pt x="154" y="106"/>
                    <a:pt x="155" y="106"/>
                  </a:cubicBezTo>
                  <a:cubicBezTo>
                    <a:pt x="156" y="106"/>
                    <a:pt x="158" y="104"/>
                    <a:pt x="159" y="104"/>
                  </a:cubicBezTo>
                  <a:cubicBezTo>
                    <a:pt x="161" y="103"/>
                    <a:pt x="163" y="104"/>
                    <a:pt x="164" y="103"/>
                  </a:cubicBezTo>
                  <a:cubicBezTo>
                    <a:pt x="165" y="102"/>
                    <a:pt x="167" y="101"/>
                    <a:pt x="168" y="100"/>
                  </a:cubicBezTo>
                  <a:cubicBezTo>
                    <a:pt x="168" y="100"/>
                    <a:pt x="167" y="99"/>
                    <a:pt x="167" y="99"/>
                  </a:cubicBezTo>
                  <a:cubicBezTo>
                    <a:pt x="166" y="98"/>
                    <a:pt x="165" y="98"/>
                    <a:pt x="166" y="97"/>
                  </a:cubicBezTo>
                  <a:cubicBezTo>
                    <a:pt x="166" y="95"/>
                    <a:pt x="168" y="95"/>
                    <a:pt x="169" y="96"/>
                  </a:cubicBezTo>
                  <a:cubicBezTo>
                    <a:pt x="170" y="97"/>
                    <a:pt x="169" y="98"/>
                    <a:pt x="170" y="99"/>
                  </a:cubicBezTo>
                  <a:cubicBezTo>
                    <a:pt x="170" y="100"/>
                    <a:pt x="171" y="100"/>
                    <a:pt x="172" y="100"/>
                  </a:cubicBezTo>
                  <a:cubicBezTo>
                    <a:pt x="173" y="101"/>
                    <a:pt x="175" y="103"/>
                    <a:pt x="175" y="104"/>
                  </a:cubicBezTo>
                  <a:cubicBezTo>
                    <a:pt x="175" y="105"/>
                    <a:pt x="174" y="106"/>
                    <a:pt x="175" y="107"/>
                  </a:cubicBezTo>
                  <a:cubicBezTo>
                    <a:pt x="176" y="108"/>
                    <a:pt x="176" y="108"/>
                    <a:pt x="177" y="107"/>
                  </a:cubicBezTo>
                  <a:cubicBezTo>
                    <a:pt x="178" y="107"/>
                    <a:pt x="179" y="107"/>
                    <a:pt x="180" y="107"/>
                  </a:cubicBezTo>
                  <a:cubicBezTo>
                    <a:pt x="181" y="107"/>
                    <a:pt x="181" y="107"/>
                    <a:pt x="182" y="106"/>
                  </a:cubicBezTo>
                  <a:cubicBezTo>
                    <a:pt x="182" y="105"/>
                    <a:pt x="181" y="105"/>
                    <a:pt x="181" y="104"/>
                  </a:cubicBezTo>
                  <a:cubicBezTo>
                    <a:pt x="181" y="104"/>
                    <a:pt x="181" y="104"/>
                    <a:pt x="181" y="104"/>
                  </a:cubicBezTo>
                  <a:cubicBezTo>
                    <a:pt x="181" y="103"/>
                    <a:pt x="182" y="103"/>
                    <a:pt x="183" y="103"/>
                  </a:cubicBezTo>
                  <a:cubicBezTo>
                    <a:pt x="184" y="103"/>
                    <a:pt x="184" y="102"/>
                    <a:pt x="185" y="102"/>
                  </a:cubicBezTo>
                  <a:cubicBezTo>
                    <a:pt x="186" y="102"/>
                    <a:pt x="187" y="102"/>
                    <a:pt x="188" y="102"/>
                  </a:cubicBezTo>
                  <a:cubicBezTo>
                    <a:pt x="189" y="101"/>
                    <a:pt x="188" y="99"/>
                    <a:pt x="189" y="98"/>
                  </a:cubicBezTo>
                  <a:cubicBezTo>
                    <a:pt x="189" y="96"/>
                    <a:pt x="189" y="95"/>
                    <a:pt x="190" y="93"/>
                  </a:cubicBezTo>
                  <a:cubicBezTo>
                    <a:pt x="190" y="91"/>
                    <a:pt x="191" y="90"/>
                    <a:pt x="192" y="89"/>
                  </a:cubicBezTo>
                  <a:cubicBezTo>
                    <a:pt x="192" y="87"/>
                    <a:pt x="193" y="86"/>
                    <a:pt x="194" y="85"/>
                  </a:cubicBezTo>
                  <a:cubicBezTo>
                    <a:pt x="194" y="83"/>
                    <a:pt x="194" y="81"/>
                    <a:pt x="194" y="80"/>
                  </a:cubicBezTo>
                  <a:cubicBezTo>
                    <a:pt x="194" y="78"/>
                    <a:pt x="193" y="77"/>
                    <a:pt x="191" y="76"/>
                  </a:cubicBezTo>
                  <a:cubicBezTo>
                    <a:pt x="190" y="75"/>
                    <a:pt x="189" y="72"/>
                    <a:pt x="188" y="72"/>
                  </a:cubicBezTo>
                  <a:cubicBezTo>
                    <a:pt x="187" y="72"/>
                    <a:pt x="186" y="72"/>
                    <a:pt x="186" y="72"/>
                  </a:cubicBezTo>
                  <a:cubicBezTo>
                    <a:pt x="185" y="72"/>
                    <a:pt x="185" y="71"/>
                    <a:pt x="185" y="70"/>
                  </a:cubicBezTo>
                  <a:cubicBezTo>
                    <a:pt x="184" y="69"/>
                    <a:pt x="183" y="68"/>
                    <a:pt x="182" y="68"/>
                  </a:cubicBezTo>
                  <a:cubicBezTo>
                    <a:pt x="181" y="67"/>
                    <a:pt x="181" y="67"/>
                    <a:pt x="180" y="67"/>
                  </a:cubicBezTo>
                  <a:cubicBezTo>
                    <a:pt x="179" y="68"/>
                    <a:pt x="179" y="69"/>
                    <a:pt x="178" y="69"/>
                  </a:cubicBezTo>
                  <a:cubicBezTo>
                    <a:pt x="177" y="69"/>
                    <a:pt x="177" y="68"/>
                    <a:pt x="177" y="68"/>
                  </a:cubicBezTo>
                  <a:cubicBezTo>
                    <a:pt x="177" y="67"/>
                    <a:pt x="176" y="67"/>
                    <a:pt x="176" y="66"/>
                  </a:cubicBezTo>
                  <a:cubicBezTo>
                    <a:pt x="175" y="66"/>
                    <a:pt x="174" y="65"/>
                    <a:pt x="173" y="65"/>
                  </a:cubicBezTo>
                  <a:cubicBezTo>
                    <a:pt x="172" y="65"/>
                    <a:pt x="171" y="66"/>
                    <a:pt x="171" y="66"/>
                  </a:cubicBezTo>
                  <a:cubicBezTo>
                    <a:pt x="170" y="66"/>
                    <a:pt x="171" y="65"/>
                    <a:pt x="170" y="65"/>
                  </a:cubicBezTo>
                  <a:cubicBezTo>
                    <a:pt x="170" y="65"/>
                    <a:pt x="169" y="65"/>
                    <a:pt x="168" y="65"/>
                  </a:cubicBezTo>
                  <a:cubicBezTo>
                    <a:pt x="168" y="65"/>
                    <a:pt x="167" y="65"/>
                    <a:pt x="167" y="64"/>
                  </a:cubicBezTo>
                  <a:cubicBezTo>
                    <a:pt x="165" y="64"/>
                    <a:pt x="165" y="63"/>
                    <a:pt x="163" y="64"/>
                  </a:cubicBezTo>
                  <a:cubicBezTo>
                    <a:pt x="162" y="65"/>
                    <a:pt x="161" y="65"/>
                    <a:pt x="160" y="65"/>
                  </a:cubicBezTo>
                  <a:cubicBezTo>
                    <a:pt x="158" y="65"/>
                    <a:pt x="157" y="65"/>
                    <a:pt x="156" y="66"/>
                  </a:cubicBezTo>
                  <a:cubicBezTo>
                    <a:pt x="155" y="66"/>
                    <a:pt x="154" y="67"/>
                    <a:pt x="154" y="67"/>
                  </a:cubicBezTo>
                  <a:cubicBezTo>
                    <a:pt x="154" y="68"/>
                    <a:pt x="155" y="69"/>
                    <a:pt x="155" y="70"/>
                  </a:cubicBezTo>
                  <a:cubicBezTo>
                    <a:pt x="154" y="71"/>
                    <a:pt x="154" y="71"/>
                    <a:pt x="153" y="72"/>
                  </a:cubicBezTo>
                  <a:cubicBezTo>
                    <a:pt x="153" y="72"/>
                    <a:pt x="153" y="73"/>
                    <a:pt x="153" y="73"/>
                  </a:cubicBezTo>
                  <a:cubicBezTo>
                    <a:pt x="154" y="74"/>
                    <a:pt x="154" y="75"/>
                    <a:pt x="154" y="76"/>
                  </a:cubicBezTo>
                  <a:cubicBezTo>
                    <a:pt x="154" y="77"/>
                    <a:pt x="153" y="77"/>
                    <a:pt x="153" y="78"/>
                  </a:cubicBezTo>
                  <a:cubicBezTo>
                    <a:pt x="152" y="79"/>
                    <a:pt x="152" y="79"/>
                    <a:pt x="152" y="80"/>
                  </a:cubicBezTo>
                  <a:cubicBezTo>
                    <a:pt x="152" y="81"/>
                    <a:pt x="152" y="83"/>
                    <a:pt x="152" y="83"/>
                  </a:cubicBezTo>
                  <a:cubicBezTo>
                    <a:pt x="152" y="84"/>
                    <a:pt x="150" y="84"/>
                    <a:pt x="150" y="85"/>
                  </a:cubicBezTo>
                  <a:cubicBezTo>
                    <a:pt x="149" y="85"/>
                    <a:pt x="149" y="86"/>
                    <a:pt x="149" y="87"/>
                  </a:cubicBezTo>
                  <a:cubicBezTo>
                    <a:pt x="150" y="88"/>
                    <a:pt x="151" y="87"/>
                    <a:pt x="151" y="87"/>
                  </a:cubicBezTo>
                  <a:close/>
                  <a:moveTo>
                    <a:pt x="140" y="88"/>
                  </a:moveTo>
                  <a:cubicBezTo>
                    <a:pt x="141" y="88"/>
                    <a:pt x="141" y="88"/>
                    <a:pt x="142" y="88"/>
                  </a:cubicBezTo>
                  <a:cubicBezTo>
                    <a:pt x="141" y="89"/>
                    <a:pt x="142" y="90"/>
                    <a:pt x="143" y="90"/>
                  </a:cubicBezTo>
                  <a:cubicBezTo>
                    <a:pt x="144" y="91"/>
                    <a:pt x="144" y="89"/>
                    <a:pt x="144" y="89"/>
                  </a:cubicBezTo>
                  <a:cubicBezTo>
                    <a:pt x="143" y="88"/>
                    <a:pt x="143" y="88"/>
                    <a:pt x="143" y="88"/>
                  </a:cubicBezTo>
                  <a:cubicBezTo>
                    <a:pt x="143" y="88"/>
                    <a:pt x="143" y="88"/>
                    <a:pt x="143" y="88"/>
                  </a:cubicBezTo>
                  <a:cubicBezTo>
                    <a:pt x="142" y="87"/>
                    <a:pt x="143" y="87"/>
                    <a:pt x="143" y="87"/>
                  </a:cubicBezTo>
                  <a:cubicBezTo>
                    <a:pt x="144" y="86"/>
                    <a:pt x="144" y="85"/>
                    <a:pt x="145" y="84"/>
                  </a:cubicBezTo>
                  <a:cubicBezTo>
                    <a:pt x="145" y="83"/>
                    <a:pt x="145" y="82"/>
                    <a:pt x="144" y="82"/>
                  </a:cubicBezTo>
                  <a:cubicBezTo>
                    <a:pt x="143" y="82"/>
                    <a:pt x="143" y="82"/>
                    <a:pt x="143" y="82"/>
                  </a:cubicBezTo>
                  <a:cubicBezTo>
                    <a:pt x="141" y="81"/>
                    <a:pt x="141" y="81"/>
                    <a:pt x="141" y="81"/>
                  </a:cubicBezTo>
                  <a:cubicBezTo>
                    <a:pt x="141" y="81"/>
                    <a:pt x="142" y="81"/>
                    <a:pt x="142" y="80"/>
                  </a:cubicBezTo>
                  <a:cubicBezTo>
                    <a:pt x="141" y="79"/>
                    <a:pt x="139" y="79"/>
                    <a:pt x="139" y="80"/>
                  </a:cubicBezTo>
                  <a:cubicBezTo>
                    <a:pt x="138" y="81"/>
                    <a:pt x="140" y="81"/>
                    <a:pt x="140" y="82"/>
                  </a:cubicBezTo>
                  <a:cubicBezTo>
                    <a:pt x="139" y="83"/>
                    <a:pt x="139" y="83"/>
                    <a:pt x="139" y="83"/>
                  </a:cubicBezTo>
                  <a:cubicBezTo>
                    <a:pt x="138" y="84"/>
                    <a:pt x="138" y="84"/>
                    <a:pt x="138" y="84"/>
                  </a:cubicBezTo>
                  <a:cubicBezTo>
                    <a:pt x="138" y="84"/>
                    <a:pt x="137" y="84"/>
                    <a:pt x="137" y="85"/>
                  </a:cubicBezTo>
                  <a:cubicBezTo>
                    <a:pt x="137" y="85"/>
                    <a:pt x="138" y="85"/>
                    <a:pt x="138" y="86"/>
                  </a:cubicBezTo>
                  <a:cubicBezTo>
                    <a:pt x="139" y="86"/>
                    <a:pt x="140" y="87"/>
                    <a:pt x="140" y="88"/>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8" name="Freeform 80">
              <a:extLst>
                <a:ext uri="{FF2B5EF4-FFF2-40B4-BE49-F238E27FC236}">
                  <a16:creationId xmlns:a16="http://schemas.microsoft.com/office/drawing/2014/main" id="{8C35BEB8-B956-2275-F93C-CBB365C21216}"/>
                </a:ext>
              </a:extLst>
            </p:cNvPr>
            <p:cNvSpPr>
              <a:spLocks noEditPoints="1"/>
            </p:cNvSpPr>
            <p:nvPr/>
          </p:nvSpPr>
          <p:spPr bwMode="auto">
            <a:xfrm>
              <a:off x="5129213" y="5713413"/>
              <a:ext cx="303213" cy="187325"/>
            </a:xfrm>
            <a:custGeom>
              <a:avLst/>
              <a:gdLst>
                <a:gd name="T0" fmla="*/ 79 w 80"/>
                <a:gd name="T1" fmla="*/ 19 h 49"/>
                <a:gd name="T2" fmla="*/ 78 w 80"/>
                <a:gd name="T3" fmla="*/ 23 h 49"/>
                <a:gd name="T4" fmla="*/ 74 w 80"/>
                <a:gd name="T5" fmla="*/ 25 h 49"/>
                <a:gd name="T6" fmla="*/ 71 w 80"/>
                <a:gd name="T7" fmla="*/ 28 h 49"/>
                <a:gd name="T8" fmla="*/ 67 w 80"/>
                <a:gd name="T9" fmla="*/ 27 h 49"/>
                <a:gd name="T10" fmla="*/ 64 w 80"/>
                <a:gd name="T11" fmla="*/ 30 h 49"/>
                <a:gd name="T12" fmla="*/ 61 w 80"/>
                <a:gd name="T13" fmla="*/ 32 h 49"/>
                <a:gd name="T14" fmla="*/ 56 w 80"/>
                <a:gd name="T15" fmla="*/ 32 h 49"/>
                <a:gd name="T16" fmla="*/ 52 w 80"/>
                <a:gd name="T17" fmla="*/ 35 h 49"/>
                <a:gd name="T18" fmla="*/ 50 w 80"/>
                <a:gd name="T19" fmla="*/ 37 h 49"/>
                <a:gd name="T20" fmla="*/ 52 w 80"/>
                <a:gd name="T21" fmla="*/ 38 h 49"/>
                <a:gd name="T22" fmla="*/ 49 w 80"/>
                <a:gd name="T23" fmla="*/ 42 h 49"/>
                <a:gd name="T24" fmla="*/ 49 w 80"/>
                <a:gd name="T25" fmla="*/ 44 h 49"/>
                <a:gd name="T26" fmla="*/ 49 w 80"/>
                <a:gd name="T27" fmla="*/ 47 h 49"/>
                <a:gd name="T28" fmla="*/ 46 w 80"/>
                <a:gd name="T29" fmla="*/ 49 h 49"/>
                <a:gd name="T30" fmla="*/ 41 w 80"/>
                <a:gd name="T31" fmla="*/ 48 h 49"/>
                <a:gd name="T32" fmla="*/ 42 w 80"/>
                <a:gd name="T33" fmla="*/ 46 h 49"/>
                <a:gd name="T34" fmla="*/ 44 w 80"/>
                <a:gd name="T35" fmla="*/ 44 h 49"/>
                <a:gd name="T36" fmla="*/ 45 w 80"/>
                <a:gd name="T37" fmla="*/ 41 h 49"/>
                <a:gd name="T38" fmla="*/ 44 w 80"/>
                <a:gd name="T39" fmla="*/ 37 h 49"/>
                <a:gd name="T40" fmla="*/ 38 w 80"/>
                <a:gd name="T41" fmla="*/ 32 h 49"/>
                <a:gd name="T42" fmla="*/ 34 w 80"/>
                <a:gd name="T43" fmla="*/ 28 h 49"/>
                <a:gd name="T44" fmla="*/ 29 w 80"/>
                <a:gd name="T45" fmla="*/ 25 h 49"/>
                <a:gd name="T46" fmla="*/ 24 w 80"/>
                <a:gd name="T47" fmla="*/ 22 h 49"/>
                <a:gd name="T48" fmla="*/ 20 w 80"/>
                <a:gd name="T49" fmla="*/ 21 h 49"/>
                <a:gd name="T50" fmla="*/ 16 w 80"/>
                <a:gd name="T51" fmla="*/ 21 h 49"/>
                <a:gd name="T52" fmla="*/ 10 w 80"/>
                <a:gd name="T53" fmla="*/ 21 h 49"/>
                <a:gd name="T54" fmla="*/ 7 w 80"/>
                <a:gd name="T55" fmla="*/ 19 h 49"/>
                <a:gd name="T56" fmla="*/ 4 w 80"/>
                <a:gd name="T57" fmla="*/ 14 h 49"/>
                <a:gd name="T58" fmla="*/ 3 w 80"/>
                <a:gd name="T59" fmla="*/ 13 h 49"/>
                <a:gd name="T60" fmla="*/ 1 w 80"/>
                <a:gd name="T61" fmla="*/ 8 h 49"/>
                <a:gd name="T62" fmla="*/ 0 w 80"/>
                <a:gd name="T63" fmla="*/ 3 h 49"/>
                <a:gd name="T64" fmla="*/ 3 w 80"/>
                <a:gd name="T65" fmla="*/ 1 h 49"/>
                <a:gd name="T66" fmla="*/ 5 w 80"/>
                <a:gd name="T67" fmla="*/ 4 h 49"/>
                <a:gd name="T68" fmla="*/ 6 w 80"/>
                <a:gd name="T69" fmla="*/ 4 h 49"/>
                <a:gd name="T70" fmla="*/ 7 w 80"/>
                <a:gd name="T71" fmla="*/ 4 h 49"/>
                <a:gd name="T72" fmla="*/ 12 w 80"/>
                <a:gd name="T73" fmla="*/ 4 h 49"/>
                <a:gd name="T74" fmla="*/ 18 w 80"/>
                <a:gd name="T75" fmla="*/ 6 h 49"/>
                <a:gd name="T76" fmla="*/ 25 w 80"/>
                <a:gd name="T77" fmla="*/ 7 h 49"/>
                <a:gd name="T78" fmla="*/ 30 w 80"/>
                <a:gd name="T79" fmla="*/ 7 h 49"/>
                <a:gd name="T80" fmla="*/ 36 w 80"/>
                <a:gd name="T81" fmla="*/ 7 h 49"/>
                <a:gd name="T82" fmla="*/ 40 w 80"/>
                <a:gd name="T83" fmla="*/ 3 h 49"/>
                <a:gd name="T84" fmla="*/ 44 w 80"/>
                <a:gd name="T85" fmla="*/ 0 h 49"/>
                <a:gd name="T86" fmla="*/ 48 w 80"/>
                <a:gd name="T87" fmla="*/ 0 h 49"/>
                <a:gd name="T88" fmla="*/ 53 w 80"/>
                <a:gd name="T89" fmla="*/ 2 h 49"/>
                <a:gd name="T90" fmla="*/ 58 w 80"/>
                <a:gd name="T91" fmla="*/ 4 h 49"/>
                <a:gd name="T92" fmla="*/ 62 w 80"/>
                <a:gd name="T93" fmla="*/ 5 h 49"/>
                <a:gd name="T94" fmla="*/ 66 w 80"/>
                <a:gd name="T95" fmla="*/ 8 h 49"/>
                <a:gd name="T96" fmla="*/ 69 w 80"/>
                <a:gd name="T97" fmla="*/ 11 h 49"/>
                <a:gd name="T98" fmla="*/ 74 w 80"/>
                <a:gd name="T99" fmla="*/ 16 h 49"/>
                <a:gd name="T100" fmla="*/ 77 w 80"/>
                <a:gd name="T101" fmla="*/ 17 h 49"/>
                <a:gd name="T102" fmla="*/ 79 w 80"/>
                <a:gd name="T103" fmla="*/ 19 h 49"/>
                <a:gd name="T104" fmla="*/ 71 w 80"/>
                <a:gd name="T105" fmla="*/ 42 h 49"/>
                <a:gd name="T106" fmla="*/ 71 w 80"/>
                <a:gd name="T107" fmla="*/ 39 h 49"/>
                <a:gd name="T108" fmla="*/ 70 w 80"/>
                <a:gd name="T109" fmla="*/ 38 h 49"/>
                <a:gd name="T110" fmla="*/ 66 w 80"/>
                <a:gd name="T111" fmla="*/ 38 h 49"/>
                <a:gd name="T112" fmla="*/ 64 w 80"/>
                <a:gd name="T113" fmla="*/ 40 h 49"/>
                <a:gd name="T114" fmla="*/ 62 w 80"/>
                <a:gd name="T115" fmla="*/ 41 h 49"/>
                <a:gd name="T116" fmla="*/ 63 w 80"/>
                <a:gd name="T117" fmla="*/ 42 h 49"/>
                <a:gd name="T118" fmla="*/ 67 w 80"/>
                <a:gd name="T119" fmla="*/ 45 h 49"/>
                <a:gd name="T120" fmla="*/ 72 w 80"/>
                <a:gd name="T121" fmla="*/ 46 h 49"/>
                <a:gd name="T122" fmla="*/ 73 w 80"/>
                <a:gd name="T123" fmla="*/ 44 h 49"/>
                <a:gd name="T124" fmla="*/ 71 w 80"/>
                <a:gd name="T125"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49">
                  <a:moveTo>
                    <a:pt x="79" y="19"/>
                  </a:moveTo>
                  <a:cubicBezTo>
                    <a:pt x="79" y="21"/>
                    <a:pt x="79" y="22"/>
                    <a:pt x="78" y="23"/>
                  </a:cubicBezTo>
                  <a:cubicBezTo>
                    <a:pt x="76" y="24"/>
                    <a:pt x="74" y="24"/>
                    <a:pt x="74" y="25"/>
                  </a:cubicBezTo>
                  <a:cubicBezTo>
                    <a:pt x="73" y="26"/>
                    <a:pt x="71" y="28"/>
                    <a:pt x="71" y="28"/>
                  </a:cubicBezTo>
                  <a:cubicBezTo>
                    <a:pt x="70" y="28"/>
                    <a:pt x="67" y="27"/>
                    <a:pt x="67" y="27"/>
                  </a:cubicBezTo>
                  <a:cubicBezTo>
                    <a:pt x="66" y="27"/>
                    <a:pt x="65" y="28"/>
                    <a:pt x="64" y="30"/>
                  </a:cubicBezTo>
                  <a:cubicBezTo>
                    <a:pt x="63" y="31"/>
                    <a:pt x="63" y="32"/>
                    <a:pt x="61" y="32"/>
                  </a:cubicBezTo>
                  <a:cubicBezTo>
                    <a:pt x="58" y="32"/>
                    <a:pt x="58" y="31"/>
                    <a:pt x="56" y="32"/>
                  </a:cubicBezTo>
                  <a:cubicBezTo>
                    <a:pt x="55" y="34"/>
                    <a:pt x="54" y="35"/>
                    <a:pt x="52" y="35"/>
                  </a:cubicBezTo>
                  <a:cubicBezTo>
                    <a:pt x="51" y="36"/>
                    <a:pt x="50" y="36"/>
                    <a:pt x="50" y="37"/>
                  </a:cubicBezTo>
                  <a:cubicBezTo>
                    <a:pt x="51" y="38"/>
                    <a:pt x="52" y="37"/>
                    <a:pt x="52" y="38"/>
                  </a:cubicBezTo>
                  <a:cubicBezTo>
                    <a:pt x="51" y="40"/>
                    <a:pt x="50" y="42"/>
                    <a:pt x="49" y="42"/>
                  </a:cubicBezTo>
                  <a:cubicBezTo>
                    <a:pt x="49" y="43"/>
                    <a:pt x="48" y="43"/>
                    <a:pt x="49" y="44"/>
                  </a:cubicBezTo>
                  <a:cubicBezTo>
                    <a:pt x="49" y="45"/>
                    <a:pt x="51" y="46"/>
                    <a:pt x="49" y="47"/>
                  </a:cubicBezTo>
                  <a:cubicBezTo>
                    <a:pt x="48" y="48"/>
                    <a:pt x="47" y="49"/>
                    <a:pt x="46" y="49"/>
                  </a:cubicBezTo>
                  <a:cubicBezTo>
                    <a:pt x="44" y="49"/>
                    <a:pt x="41" y="49"/>
                    <a:pt x="41" y="48"/>
                  </a:cubicBezTo>
                  <a:cubicBezTo>
                    <a:pt x="40" y="48"/>
                    <a:pt x="41" y="47"/>
                    <a:pt x="42" y="46"/>
                  </a:cubicBezTo>
                  <a:cubicBezTo>
                    <a:pt x="43" y="45"/>
                    <a:pt x="44" y="45"/>
                    <a:pt x="44" y="44"/>
                  </a:cubicBezTo>
                  <a:cubicBezTo>
                    <a:pt x="45" y="43"/>
                    <a:pt x="45" y="42"/>
                    <a:pt x="45" y="41"/>
                  </a:cubicBezTo>
                  <a:cubicBezTo>
                    <a:pt x="45" y="40"/>
                    <a:pt x="44" y="38"/>
                    <a:pt x="44" y="37"/>
                  </a:cubicBezTo>
                  <a:cubicBezTo>
                    <a:pt x="43" y="36"/>
                    <a:pt x="39" y="33"/>
                    <a:pt x="38" y="32"/>
                  </a:cubicBezTo>
                  <a:cubicBezTo>
                    <a:pt x="38" y="32"/>
                    <a:pt x="35" y="29"/>
                    <a:pt x="34" y="28"/>
                  </a:cubicBezTo>
                  <a:cubicBezTo>
                    <a:pt x="33" y="27"/>
                    <a:pt x="30" y="25"/>
                    <a:pt x="29" y="25"/>
                  </a:cubicBezTo>
                  <a:cubicBezTo>
                    <a:pt x="28" y="24"/>
                    <a:pt x="25" y="22"/>
                    <a:pt x="24" y="22"/>
                  </a:cubicBezTo>
                  <a:cubicBezTo>
                    <a:pt x="23" y="22"/>
                    <a:pt x="21" y="21"/>
                    <a:pt x="20" y="21"/>
                  </a:cubicBezTo>
                  <a:cubicBezTo>
                    <a:pt x="19" y="20"/>
                    <a:pt x="18" y="20"/>
                    <a:pt x="16" y="21"/>
                  </a:cubicBezTo>
                  <a:cubicBezTo>
                    <a:pt x="14" y="21"/>
                    <a:pt x="11" y="21"/>
                    <a:pt x="10" y="21"/>
                  </a:cubicBezTo>
                  <a:cubicBezTo>
                    <a:pt x="9" y="20"/>
                    <a:pt x="8" y="20"/>
                    <a:pt x="7" y="19"/>
                  </a:cubicBezTo>
                  <a:cubicBezTo>
                    <a:pt x="6" y="17"/>
                    <a:pt x="5" y="15"/>
                    <a:pt x="4" y="14"/>
                  </a:cubicBezTo>
                  <a:cubicBezTo>
                    <a:pt x="3" y="14"/>
                    <a:pt x="3" y="13"/>
                    <a:pt x="3" y="13"/>
                  </a:cubicBezTo>
                  <a:cubicBezTo>
                    <a:pt x="2" y="11"/>
                    <a:pt x="1" y="9"/>
                    <a:pt x="1" y="8"/>
                  </a:cubicBezTo>
                  <a:cubicBezTo>
                    <a:pt x="1" y="7"/>
                    <a:pt x="0" y="4"/>
                    <a:pt x="0" y="3"/>
                  </a:cubicBezTo>
                  <a:cubicBezTo>
                    <a:pt x="1" y="1"/>
                    <a:pt x="2" y="1"/>
                    <a:pt x="3" y="1"/>
                  </a:cubicBezTo>
                  <a:cubicBezTo>
                    <a:pt x="3" y="1"/>
                    <a:pt x="5" y="3"/>
                    <a:pt x="5" y="4"/>
                  </a:cubicBezTo>
                  <a:cubicBezTo>
                    <a:pt x="5" y="4"/>
                    <a:pt x="6" y="4"/>
                    <a:pt x="6" y="4"/>
                  </a:cubicBezTo>
                  <a:cubicBezTo>
                    <a:pt x="6" y="4"/>
                    <a:pt x="6" y="4"/>
                    <a:pt x="7" y="4"/>
                  </a:cubicBezTo>
                  <a:cubicBezTo>
                    <a:pt x="9" y="3"/>
                    <a:pt x="10" y="3"/>
                    <a:pt x="12" y="4"/>
                  </a:cubicBezTo>
                  <a:cubicBezTo>
                    <a:pt x="13" y="4"/>
                    <a:pt x="17" y="5"/>
                    <a:pt x="18" y="6"/>
                  </a:cubicBezTo>
                  <a:cubicBezTo>
                    <a:pt x="19" y="6"/>
                    <a:pt x="24" y="7"/>
                    <a:pt x="25" y="7"/>
                  </a:cubicBezTo>
                  <a:cubicBezTo>
                    <a:pt x="26" y="8"/>
                    <a:pt x="27" y="7"/>
                    <a:pt x="30" y="7"/>
                  </a:cubicBezTo>
                  <a:cubicBezTo>
                    <a:pt x="32" y="7"/>
                    <a:pt x="34" y="8"/>
                    <a:pt x="36" y="7"/>
                  </a:cubicBezTo>
                  <a:cubicBezTo>
                    <a:pt x="37" y="6"/>
                    <a:pt x="38" y="4"/>
                    <a:pt x="40" y="3"/>
                  </a:cubicBezTo>
                  <a:cubicBezTo>
                    <a:pt x="41" y="2"/>
                    <a:pt x="42" y="1"/>
                    <a:pt x="44" y="0"/>
                  </a:cubicBezTo>
                  <a:cubicBezTo>
                    <a:pt x="45" y="0"/>
                    <a:pt x="47" y="0"/>
                    <a:pt x="48" y="0"/>
                  </a:cubicBezTo>
                  <a:cubicBezTo>
                    <a:pt x="50" y="1"/>
                    <a:pt x="52" y="2"/>
                    <a:pt x="53" y="2"/>
                  </a:cubicBezTo>
                  <a:cubicBezTo>
                    <a:pt x="55" y="2"/>
                    <a:pt x="57" y="3"/>
                    <a:pt x="58" y="4"/>
                  </a:cubicBezTo>
                  <a:cubicBezTo>
                    <a:pt x="60" y="5"/>
                    <a:pt x="61" y="5"/>
                    <a:pt x="62" y="5"/>
                  </a:cubicBezTo>
                  <a:cubicBezTo>
                    <a:pt x="63" y="6"/>
                    <a:pt x="64" y="7"/>
                    <a:pt x="66" y="8"/>
                  </a:cubicBezTo>
                  <a:cubicBezTo>
                    <a:pt x="67" y="9"/>
                    <a:pt x="68" y="10"/>
                    <a:pt x="69" y="11"/>
                  </a:cubicBezTo>
                  <a:cubicBezTo>
                    <a:pt x="71" y="13"/>
                    <a:pt x="73" y="15"/>
                    <a:pt x="74" y="16"/>
                  </a:cubicBezTo>
                  <a:cubicBezTo>
                    <a:pt x="75" y="16"/>
                    <a:pt x="75" y="16"/>
                    <a:pt x="77" y="17"/>
                  </a:cubicBezTo>
                  <a:cubicBezTo>
                    <a:pt x="78" y="18"/>
                    <a:pt x="80" y="18"/>
                    <a:pt x="79" y="19"/>
                  </a:cubicBezTo>
                  <a:close/>
                  <a:moveTo>
                    <a:pt x="71" y="42"/>
                  </a:moveTo>
                  <a:cubicBezTo>
                    <a:pt x="71" y="41"/>
                    <a:pt x="71" y="40"/>
                    <a:pt x="71" y="39"/>
                  </a:cubicBezTo>
                  <a:cubicBezTo>
                    <a:pt x="71" y="38"/>
                    <a:pt x="70" y="38"/>
                    <a:pt x="70" y="38"/>
                  </a:cubicBezTo>
                  <a:cubicBezTo>
                    <a:pt x="69" y="38"/>
                    <a:pt x="67" y="38"/>
                    <a:pt x="66" y="38"/>
                  </a:cubicBezTo>
                  <a:cubicBezTo>
                    <a:pt x="65" y="38"/>
                    <a:pt x="65" y="39"/>
                    <a:pt x="64" y="40"/>
                  </a:cubicBezTo>
                  <a:cubicBezTo>
                    <a:pt x="64" y="40"/>
                    <a:pt x="63" y="40"/>
                    <a:pt x="62" y="41"/>
                  </a:cubicBezTo>
                  <a:cubicBezTo>
                    <a:pt x="62" y="41"/>
                    <a:pt x="62" y="41"/>
                    <a:pt x="63" y="42"/>
                  </a:cubicBezTo>
                  <a:cubicBezTo>
                    <a:pt x="64" y="43"/>
                    <a:pt x="66" y="44"/>
                    <a:pt x="67" y="45"/>
                  </a:cubicBezTo>
                  <a:cubicBezTo>
                    <a:pt x="68" y="46"/>
                    <a:pt x="71" y="47"/>
                    <a:pt x="72" y="46"/>
                  </a:cubicBezTo>
                  <a:cubicBezTo>
                    <a:pt x="73" y="45"/>
                    <a:pt x="73" y="45"/>
                    <a:pt x="73" y="44"/>
                  </a:cubicBezTo>
                  <a:cubicBezTo>
                    <a:pt x="73" y="43"/>
                    <a:pt x="72" y="43"/>
                    <a:pt x="71" y="42"/>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9" name="Freeform 82">
              <a:extLst>
                <a:ext uri="{FF2B5EF4-FFF2-40B4-BE49-F238E27FC236}">
                  <a16:creationId xmlns:a16="http://schemas.microsoft.com/office/drawing/2014/main" id="{BB883BB3-1F2B-BAE0-6A3A-E47940704072}"/>
                </a:ext>
              </a:extLst>
            </p:cNvPr>
            <p:cNvSpPr>
              <a:spLocks noEditPoints="1"/>
            </p:cNvSpPr>
            <p:nvPr/>
          </p:nvSpPr>
          <p:spPr bwMode="auto">
            <a:xfrm>
              <a:off x="642938" y="2513013"/>
              <a:ext cx="712788" cy="846137"/>
            </a:xfrm>
            <a:custGeom>
              <a:avLst/>
              <a:gdLst>
                <a:gd name="T0" fmla="*/ 121 w 187"/>
                <a:gd name="T1" fmla="*/ 210 h 222"/>
                <a:gd name="T2" fmla="*/ 131 w 187"/>
                <a:gd name="T3" fmla="*/ 215 h 222"/>
                <a:gd name="T4" fmla="*/ 124 w 187"/>
                <a:gd name="T5" fmla="*/ 213 h 222"/>
                <a:gd name="T6" fmla="*/ 76 w 187"/>
                <a:gd name="T7" fmla="*/ 195 h 222"/>
                <a:gd name="T8" fmla="*/ 70 w 187"/>
                <a:gd name="T9" fmla="*/ 192 h 222"/>
                <a:gd name="T10" fmla="*/ 61 w 187"/>
                <a:gd name="T11" fmla="*/ 183 h 222"/>
                <a:gd name="T12" fmla="*/ 56 w 187"/>
                <a:gd name="T13" fmla="*/ 180 h 222"/>
                <a:gd name="T14" fmla="*/ 43 w 187"/>
                <a:gd name="T15" fmla="*/ 173 h 222"/>
                <a:gd name="T16" fmla="*/ 34 w 187"/>
                <a:gd name="T17" fmla="*/ 169 h 222"/>
                <a:gd name="T18" fmla="*/ 33 w 187"/>
                <a:gd name="T19" fmla="*/ 179 h 222"/>
                <a:gd name="T20" fmla="*/ 44 w 187"/>
                <a:gd name="T21" fmla="*/ 188 h 222"/>
                <a:gd name="T22" fmla="*/ 54 w 187"/>
                <a:gd name="T23" fmla="*/ 190 h 222"/>
                <a:gd name="T24" fmla="*/ 69 w 187"/>
                <a:gd name="T25" fmla="*/ 202 h 222"/>
                <a:gd name="T26" fmla="*/ 88 w 187"/>
                <a:gd name="T27" fmla="*/ 219 h 222"/>
                <a:gd name="T28" fmla="*/ 90 w 187"/>
                <a:gd name="T29" fmla="*/ 216 h 222"/>
                <a:gd name="T30" fmla="*/ 88 w 187"/>
                <a:gd name="T31" fmla="*/ 213 h 222"/>
                <a:gd name="T32" fmla="*/ 119 w 187"/>
                <a:gd name="T33" fmla="*/ 219 h 222"/>
                <a:gd name="T34" fmla="*/ 116 w 187"/>
                <a:gd name="T35" fmla="*/ 216 h 222"/>
                <a:gd name="T36" fmla="*/ 178 w 187"/>
                <a:gd name="T37" fmla="*/ 213 h 222"/>
                <a:gd name="T38" fmla="*/ 163 w 187"/>
                <a:gd name="T39" fmla="*/ 209 h 222"/>
                <a:gd name="T40" fmla="*/ 152 w 187"/>
                <a:gd name="T41" fmla="*/ 201 h 222"/>
                <a:gd name="T42" fmla="*/ 148 w 187"/>
                <a:gd name="T43" fmla="*/ 175 h 222"/>
                <a:gd name="T44" fmla="*/ 138 w 187"/>
                <a:gd name="T45" fmla="*/ 166 h 222"/>
                <a:gd name="T46" fmla="*/ 126 w 187"/>
                <a:gd name="T47" fmla="*/ 151 h 222"/>
                <a:gd name="T48" fmla="*/ 112 w 187"/>
                <a:gd name="T49" fmla="*/ 134 h 222"/>
                <a:gd name="T50" fmla="*/ 100 w 187"/>
                <a:gd name="T51" fmla="*/ 120 h 222"/>
                <a:gd name="T52" fmla="*/ 76 w 187"/>
                <a:gd name="T53" fmla="*/ 115 h 222"/>
                <a:gd name="T54" fmla="*/ 53 w 187"/>
                <a:gd name="T55" fmla="*/ 91 h 222"/>
                <a:gd name="T56" fmla="*/ 13 w 187"/>
                <a:gd name="T57" fmla="*/ 51 h 222"/>
                <a:gd name="T58" fmla="*/ 5 w 187"/>
                <a:gd name="T59" fmla="*/ 28 h 222"/>
                <a:gd name="T60" fmla="*/ 0 w 187"/>
                <a:gd name="T61" fmla="*/ 8 h 222"/>
                <a:gd name="T62" fmla="*/ 15 w 187"/>
                <a:gd name="T63" fmla="*/ 0 h 222"/>
                <a:gd name="T64" fmla="*/ 40 w 187"/>
                <a:gd name="T65" fmla="*/ 8 h 222"/>
                <a:gd name="T66" fmla="*/ 60 w 187"/>
                <a:gd name="T67" fmla="*/ 25 h 222"/>
                <a:gd name="T68" fmla="*/ 80 w 187"/>
                <a:gd name="T69" fmla="*/ 27 h 222"/>
                <a:gd name="T70" fmla="*/ 102 w 187"/>
                <a:gd name="T71" fmla="*/ 25 h 222"/>
                <a:gd name="T72" fmla="*/ 118 w 187"/>
                <a:gd name="T73" fmla="*/ 30 h 222"/>
                <a:gd name="T74" fmla="*/ 143 w 187"/>
                <a:gd name="T75" fmla="*/ 27 h 222"/>
                <a:gd name="T76" fmla="*/ 149 w 187"/>
                <a:gd name="T77" fmla="*/ 35 h 222"/>
                <a:gd name="T78" fmla="*/ 166 w 187"/>
                <a:gd name="T79" fmla="*/ 52 h 222"/>
                <a:gd name="T80" fmla="*/ 168 w 187"/>
                <a:gd name="T81" fmla="*/ 67 h 222"/>
                <a:gd name="T82" fmla="*/ 176 w 187"/>
                <a:gd name="T83" fmla="*/ 70 h 222"/>
                <a:gd name="T84" fmla="*/ 187 w 187"/>
                <a:gd name="T85" fmla="*/ 81 h 222"/>
                <a:gd name="T86" fmla="*/ 175 w 187"/>
                <a:gd name="T87" fmla="*/ 88 h 222"/>
                <a:gd name="T88" fmla="*/ 164 w 187"/>
                <a:gd name="T89" fmla="*/ 112 h 222"/>
                <a:gd name="T90" fmla="*/ 164 w 187"/>
                <a:gd name="T91" fmla="*/ 129 h 222"/>
                <a:gd name="T92" fmla="*/ 170 w 187"/>
                <a:gd name="T93" fmla="*/ 140 h 222"/>
                <a:gd name="T94" fmla="*/ 167 w 187"/>
                <a:gd name="T95" fmla="*/ 153 h 222"/>
                <a:gd name="T96" fmla="*/ 172 w 187"/>
                <a:gd name="T97" fmla="*/ 171 h 222"/>
                <a:gd name="T98" fmla="*/ 176 w 187"/>
                <a:gd name="T99" fmla="*/ 18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7" h="222">
                  <a:moveTo>
                    <a:pt x="117" y="210"/>
                  </a:moveTo>
                  <a:cubicBezTo>
                    <a:pt x="117" y="210"/>
                    <a:pt x="117" y="210"/>
                    <a:pt x="117" y="210"/>
                  </a:cubicBezTo>
                  <a:cubicBezTo>
                    <a:pt x="118" y="209"/>
                    <a:pt x="118" y="209"/>
                    <a:pt x="118" y="209"/>
                  </a:cubicBezTo>
                  <a:cubicBezTo>
                    <a:pt x="119" y="209"/>
                    <a:pt x="120" y="209"/>
                    <a:pt x="121" y="210"/>
                  </a:cubicBezTo>
                  <a:cubicBezTo>
                    <a:pt x="122" y="210"/>
                    <a:pt x="122" y="210"/>
                    <a:pt x="123" y="210"/>
                  </a:cubicBezTo>
                  <a:cubicBezTo>
                    <a:pt x="124" y="209"/>
                    <a:pt x="124" y="209"/>
                    <a:pt x="125" y="209"/>
                  </a:cubicBezTo>
                  <a:cubicBezTo>
                    <a:pt x="127" y="208"/>
                    <a:pt x="127" y="209"/>
                    <a:pt x="128" y="211"/>
                  </a:cubicBezTo>
                  <a:cubicBezTo>
                    <a:pt x="128" y="212"/>
                    <a:pt x="130" y="213"/>
                    <a:pt x="131" y="215"/>
                  </a:cubicBezTo>
                  <a:cubicBezTo>
                    <a:pt x="131" y="216"/>
                    <a:pt x="131" y="218"/>
                    <a:pt x="131" y="219"/>
                  </a:cubicBezTo>
                  <a:cubicBezTo>
                    <a:pt x="130" y="221"/>
                    <a:pt x="129" y="220"/>
                    <a:pt x="128" y="219"/>
                  </a:cubicBezTo>
                  <a:cubicBezTo>
                    <a:pt x="128" y="218"/>
                    <a:pt x="127" y="217"/>
                    <a:pt x="126" y="216"/>
                  </a:cubicBezTo>
                  <a:cubicBezTo>
                    <a:pt x="125" y="215"/>
                    <a:pt x="125" y="214"/>
                    <a:pt x="124" y="213"/>
                  </a:cubicBezTo>
                  <a:cubicBezTo>
                    <a:pt x="123" y="212"/>
                    <a:pt x="122" y="212"/>
                    <a:pt x="121" y="211"/>
                  </a:cubicBezTo>
                  <a:cubicBezTo>
                    <a:pt x="120" y="211"/>
                    <a:pt x="120" y="211"/>
                    <a:pt x="120" y="211"/>
                  </a:cubicBezTo>
                  <a:cubicBezTo>
                    <a:pt x="119" y="211"/>
                    <a:pt x="118" y="211"/>
                    <a:pt x="117" y="210"/>
                  </a:cubicBezTo>
                  <a:close/>
                  <a:moveTo>
                    <a:pt x="76" y="195"/>
                  </a:moveTo>
                  <a:cubicBezTo>
                    <a:pt x="76" y="194"/>
                    <a:pt x="76" y="194"/>
                    <a:pt x="75" y="193"/>
                  </a:cubicBezTo>
                  <a:cubicBezTo>
                    <a:pt x="74" y="193"/>
                    <a:pt x="73" y="194"/>
                    <a:pt x="73" y="194"/>
                  </a:cubicBezTo>
                  <a:cubicBezTo>
                    <a:pt x="73" y="195"/>
                    <a:pt x="72" y="195"/>
                    <a:pt x="72" y="195"/>
                  </a:cubicBezTo>
                  <a:cubicBezTo>
                    <a:pt x="71" y="194"/>
                    <a:pt x="71" y="193"/>
                    <a:pt x="70" y="192"/>
                  </a:cubicBezTo>
                  <a:cubicBezTo>
                    <a:pt x="70" y="191"/>
                    <a:pt x="70" y="189"/>
                    <a:pt x="69" y="189"/>
                  </a:cubicBezTo>
                  <a:cubicBezTo>
                    <a:pt x="68" y="189"/>
                    <a:pt x="67" y="189"/>
                    <a:pt x="66" y="188"/>
                  </a:cubicBezTo>
                  <a:cubicBezTo>
                    <a:pt x="64" y="188"/>
                    <a:pt x="63" y="186"/>
                    <a:pt x="62" y="184"/>
                  </a:cubicBezTo>
                  <a:cubicBezTo>
                    <a:pt x="62" y="184"/>
                    <a:pt x="61" y="184"/>
                    <a:pt x="61" y="183"/>
                  </a:cubicBezTo>
                  <a:cubicBezTo>
                    <a:pt x="61" y="187"/>
                    <a:pt x="58" y="184"/>
                    <a:pt x="57" y="183"/>
                  </a:cubicBezTo>
                  <a:cubicBezTo>
                    <a:pt x="56" y="183"/>
                    <a:pt x="56" y="184"/>
                    <a:pt x="55" y="183"/>
                  </a:cubicBezTo>
                  <a:cubicBezTo>
                    <a:pt x="54" y="183"/>
                    <a:pt x="54" y="182"/>
                    <a:pt x="54" y="181"/>
                  </a:cubicBezTo>
                  <a:cubicBezTo>
                    <a:pt x="54" y="181"/>
                    <a:pt x="56" y="181"/>
                    <a:pt x="56" y="180"/>
                  </a:cubicBezTo>
                  <a:cubicBezTo>
                    <a:pt x="56" y="179"/>
                    <a:pt x="55" y="178"/>
                    <a:pt x="54" y="178"/>
                  </a:cubicBezTo>
                  <a:cubicBezTo>
                    <a:pt x="52" y="177"/>
                    <a:pt x="51" y="177"/>
                    <a:pt x="49" y="176"/>
                  </a:cubicBezTo>
                  <a:cubicBezTo>
                    <a:pt x="48" y="175"/>
                    <a:pt x="48" y="174"/>
                    <a:pt x="46" y="173"/>
                  </a:cubicBezTo>
                  <a:cubicBezTo>
                    <a:pt x="45" y="173"/>
                    <a:pt x="44" y="173"/>
                    <a:pt x="43" y="173"/>
                  </a:cubicBezTo>
                  <a:cubicBezTo>
                    <a:pt x="43" y="173"/>
                    <a:pt x="42" y="172"/>
                    <a:pt x="41" y="172"/>
                  </a:cubicBezTo>
                  <a:cubicBezTo>
                    <a:pt x="42" y="171"/>
                    <a:pt x="43" y="169"/>
                    <a:pt x="42" y="168"/>
                  </a:cubicBezTo>
                  <a:cubicBezTo>
                    <a:pt x="41" y="167"/>
                    <a:pt x="39" y="168"/>
                    <a:pt x="38" y="168"/>
                  </a:cubicBezTo>
                  <a:cubicBezTo>
                    <a:pt x="37" y="167"/>
                    <a:pt x="35" y="167"/>
                    <a:pt x="34" y="169"/>
                  </a:cubicBezTo>
                  <a:cubicBezTo>
                    <a:pt x="34" y="171"/>
                    <a:pt x="36" y="171"/>
                    <a:pt x="35" y="173"/>
                  </a:cubicBezTo>
                  <a:cubicBezTo>
                    <a:pt x="34" y="173"/>
                    <a:pt x="32" y="172"/>
                    <a:pt x="31" y="173"/>
                  </a:cubicBezTo>
                  <a:cubicBezTo>
                    <a:pt x="30" y="174"/>
                    <a:pt x="30" y="176"/>
                    <a:pt x="30" y="176"/>
                  </a:cubicBezTo>
                  <a:cubicBezTo>
                    <a:pt x="30" y="177"/>
                    <a:pt x="32" y="178"/>
                    <a:pt x="33" y="179"/>
                  </a:cubicBezTo>
                  <a:cubicBezTo>
                    <a:pt x="33" y="179"/>
                    <a:pt x="34" y="180"/>
                    <a:pt x="34" y="181"/>
                  </a:cubicBezTo>
                  <a:cubicBezTo>
                    <a:pt x="34" y="182"/>
                    <a:pt x="35" y="183"/>
                    <a:pt x="36" y="184"/>
                  </a:cubicBezTo>
                  <a:cubicBezTo>
                    <a:pt x="37" y="184"/>
                    <a:pt x="38" y="184"/>
                    <a:pt x="39" y="184"/>
                  </a:cubicBezTo>
                  <a:cubicBezTo>
                    <a:pt x="41" y="185"/>
                    <a:pt x="43" y="187"/>
                    <a:pt x="44" y="188"/>
                  </a:cubicBezTo>
                  <a:cubicBezTo>
                    <a:pt x="45" y="188"/>
                    <a:pt x="46" y="188"/>
                    <a:pt x="47" y="188"/>
                  </a:cubicBezTo>
                  <a:cubicBezTo>
                    <a:pt x="48" y="188"/>
                    <a:pt x="48" y="188"/>
                    <a:pt x="49" y="188"/>
                  </a:cubicBezTo>
                  <a:cubicBezTo>
                    <a:pt x="49" y="188"/>
                    <a:pt x="50" y="187"/>
                    <a:pt x="50" y="187"/>
                  </a:cubicBezTo>
                  <a:cubicBezTo>
                    <a:pt x="51" y="187"/>
                    <a:pt x="53" y="190"/>
                    <a:pt x="54" y="190"/>
                  </a:cubicBezTo>
                  <a:cubicBezTo>
                    <a:pt x="56" y="191"/>
                    <a:pt x="58" y="192"/>
                    <a:pt x="59" y="193"/>
                  </a:cubicBezTo>
                  <a:cubicBezTo>
                    <a:pt x="61" y="194"/>
                    <a:pt x="61" y="195"/>
                    <a:pt x="63" y="196"/>
                  </a:cubicBezTo>
                  <a:cubicBezTo>
                    <a:pt x="65" y="196"/>
                    <a:pt x="66" y="197"/>
                    <a:pt x="67" y="198"/>
                  </a:cubicBezTo>
                  <a:cubicBezTo>
                    <a:pt x="68" y="199"/>
                    <a:pt x="68" y="201"/>
                    <a:pt x="69" y="202"/>
                  </a:cubicBezTo>
                  <a:cubicBezTo>
                    <a:pt x="70" y="203"/>
                    <a:pt x="71" y="203"/>
                    <a:pt x="73" y="203"/>
                  </a:cubicBezTo>
                  <a:cubicBezTo>
                    <a:pt x="76" y="203"/>
                    <a:pt x="79" y="202"/>
                    <a:pt x="77" y="199"/>
                  </a:cubicBezTo>
                  <a:cubicBezTo>
                    <a:pt x="77" y="197"/>
                    <a:pt x="77" y="196"/>
                    <a:pt x="76" y="195"/>
                  </a:cubicBezTo>
                  <a:close/>
                  <a:moveTo>
                    <a:pt x="88" y="219"/>
                  </a:moveTo>
                  <a:cubicBezTo>
                    <a:pt x="86" y="219"/>
                    <a:pt x="85" y="218"/>
                    <a:pt x="85" y="216"/>
                  </a:cubicBezTo>
                  <a:cubicBezTo>
                    <a:pt x="86" y="216"/>
                    <a:pt x="86" y="216"/>
                    <a:pt x="87" y="216"/>
                  </a:cubicBezTo>
                  <a:cubicBezTo>
                    <a:pt x="87" y="216"/>
                    <a:pt x="88" y="216"/>
                    <a:pt x="88" y="216"/>
                  </a:cubicBezTo>
                  <a:cubicBezTo>
                    <a:pt x="88" y="216"/>
                    <a:pt x="90" y="216"/>
                    <a:pt x="90" y="216"/>
                  </a:cubicBezTo>
                  <a:cubicBezTo>
                    <a:pt x="92" y="218"/>
                    <a:pt x="89" y="219"/>
                    <a:pt x="88" y="219"/>
                  </a:cubicBezTo>
                  <a:close/>
                  <a:moveTo>
                    <a:pt x="88" y="212"/>
                  </a:moveTo>
                  <a:cubicBezTo>
                    <a:pt x="88" y="212"/>
                    <a:pt x="88" y="212"/>
                    <a:pt x="88" y="212"/>
                  </a:cubicBezTo>
                  <a:cubicBezTo>
                    <a:pt x="88" y="212"/>
                    <a:pt x="88" y="213"/>
                    <a:pt x="88" y="213"/>
                  </a:cubicBezTo>
                  <a:cubicBezTo>
                    <a:pt x="88" y="214"/>
                    <a:pt x="88" y="214"/>
                    <a:pt x="87" y="214"/>
                  </a:cubicBezTo>
                  <a:cubicBezTo>
                    <a:pt x="86" y="214"/>
                    <a:pt x="85" y="213"/>
                    <a:pt x="86" y="212"/>
                  </a:cubicBezTo>
                  <a:cubicBezTo>
                    <a:pt x="86" y="212"/>
                    <a:pt x="87" y="212"/>
                    <a:pt x="88" y="212"/>
                  </a:cubicBezTo>
                  <a:close/>
                  <a:moveTo>
                    <a:pt x="119" y="219"/>
                  </a:moveTo>
                  <a:cubicBezTo>
                    <a:pt x="119" y="220"/>
                    <a:pt x="118" y="220"/>
                    <a:pt x="117" y="220"/>
                  </a:cubicBezTo>
                  <a:cubicBezTo>
                    <a:pt x="116" y="221"/>
                    <a:pt x="116" y="222"/>
                    <a:pt x="116" y="222"/>
                  </a:cubicBezTo>
                  <a:cubicBezTo>
                    <a:pt x="115" y="222"/>
                    <a:pt x="115" y="220"/>
                    <a:pt x="114" y="219"/>
                  </a:cubicBezTo>
                  <a:cubicBezTo>
                    <a:pt x="114" y="219"/>
                    <a:pt x="115" y="217"/>
                    <a:pt x="116" y="216"/>
                  </a:cubicBezTo>
                  <a:cubicBezTo>
                    <a:pt x="116" y="217"/>
                    <a:pt x="119" y="218"/>
                    <a:pt x="119" y="219"/>
                  </a:cubicBezTo>
                  <a:close/>
                  <a:moveTo>
                    <a:pt x="180" y="210"/>
                  </a:moveTo>
                  <a:cubicBezTo>
                    <a:pt x="180" y="212"/>
                    <a:pt x="179" y="212"/>
                    <a:pt x="179" y="213"/>
                  </a:cubicBezTo>
                  <a:cubicBezTo>
                    <a:pt x="178" y="213"/>
                    <a:pt x="178" y="213"/>
                    <a:pt x="178" y="213"/>
                  </a:cubicBezTo>
                  <a:cubicBezTo>
                    <a:pt x="175" y="211"/>
                    <a:pt x="175" y="210"/>
                    <a:pt x="172" y="209"/>
                  </a:cubicBezTo>
                  <a:cubicBezTo>
                    <a:pt x="170" y="208"/>
                    <a:pt x="169" y="206"/>
                    <a:pt x="166" y="206"/>
                  </a:cubicBezTo>
                  <a:cubicBezTo>
                    <a:pt x="164" y="206"/>
                    <a:pt x="165" y="207"/>
                    <a:pt x="164" y="207"/>
                  </a:cubicBezTo>
                  <a:cubicBezTo>
                    <a:pt x="163" y="208"/>
                    <a:pt x="164" y="209"/>
                    <a:pt x="163" y="209"/>
                  </a:cubicBezTo>
                  <a:cubicBezTo>
                    <a:pt x="162" y="208"/>
                    <a:pt x="160" y="206"/>
                    <a:pt x="160" y="207"/>
                  </a:cubicBezTo>
                  <a:cubicBezTo>
                    <a:pt x="159" y="208"/>
                    <a:pt x="160" y="209"/>
                    <a:pt x="158" y="208"/>
                  </a:cubicBezTo>
                  <a:cubicBezTo>
                    <a:pt x="157" y="208"/>
                    <a:pt x="158" y="210"/>
                    <a:pt x="156" y="207"/>
                  </a:cubicBezTo>
                  <a:cubicBezTo>
                    <a:pt x="154" y="204"/>
                    <a:pt x="153" y="203"/>
                    <a:pt x="152" y="201"/>
                  </a:cubicBezTo>
                  <a:cubicBezTo>
                    <a:pt x="151" y="200"/>
                    <a:pt x="149" y="199"/>
                    <a:pt x="149" y="198"/>
                  </a:cubicBezTo>
                  <a:cubicBezTo>
                    <a:pt x="149" y="198"/>
                    <a:pt x="149" y="195"/>
                    <a:pt x="149" y="193"/>
                  </a:cubicBezTo>
                  <a:cubicBezTo>
                    <a:pt x="149" y="191"/>
                    <a:pt x="149" y="187"/>
                    <a:pt x="149" y="185"/>
                  </a:cubicBezTo>
                  <a:cubicBezTo>
                    <a:pt x="148" y="182"/>
                    <a:pt x="148" y="177"/>
                    <a:pt x="148" y="175"/>
                  </a:cubicBezTo>
                  <a:cubicBezTo>
                    <a:pt x="147" y="174"/>
                    <a:pt x="146" y="172"/>
                    <a:pt x="146" y="170"/>
                  </a:cubicBezTo>
                  <a:cubicBezTo>
                    <a:pt x="145" y="169"/>
                    <a:pt x="145" y="167"/>
                    <a:pt x="144" y="168"/>
                  </a:cubicBezTo>
                  <a:cubicBezTo>
                    <a:pt x="143" y="169"/>
                    <a:pt x="141" y="170"/>
                    <a:pt x="140" y="168"/>
                  </a:cubicBezTo>
                  <a:cubicBezTo>
                    <a:pt x="139" y="167"/>
                    <a:pt x="142" y="167"/>
                    <a:pt x="138" y="166"/>
                  </a:cubicBezTo>
                  <a:cubicBezTo>
                    <a:pt x="135" y="166"/>
                    <a:pt x="136" y="167"/>
                    <a:pt x="134" y="165"/>
                  </a:cubicBezTo>
                  <a:cubicBezTo>
                    <a:pt x="132" y="164"/>
                    <a:pt x="130" y="162"/>
                    <a:pt x="129" y="161"/>
                  </a:cubicBezTo>
                  <a:cubicBezTo>
                    <a:pt x="129" y="159"/>
                    <a:pt x="128" y="159"/>
                    <a:pt x="127" y="157"/>
                  </a:cubicBezTo>
                  <a:cubicBezTo>
                    <a:pt x="127" y="155"/>
                    <a:pt x="128" y="154"/>
                    <a:pt x="126" y="151"/>
                  </a:cubicBezTo>
                  <a:cubicBezTo>
                    <a:pt x="125" y="149"/>
                    <a:pt x="124" y="147"/>
                    <a:pt x="122" y="147"/>
                  </a:cubicBezTo>
                  <a:cubicBezTo>
                    <a:pt x="121" y="146"/>
                    <a:pt x="121" y="147"/>
                    <a:pt x="120" y="146"/>
                  </a:cubicBezTo>
                  <a:cubicBezTo>
                    <a:pt x="118" y="144"/>
                    <a:pt x="115" y="138"/>
                    <a:pt x="114" y="138"/>
                  </a:cubicBezTo>
                  <a:cubicBezTo>
                    <a:pt x="114" y="137"/>
                    <a:pt x="112" y="134"/>
                    <a:pt x="112" y="134"/>
                  </a:cubicBezTo>
                  <a:cubicBezTo>
                    <a:pt x="112" y="133"/>
                    <a:pt x="110" y="130"/>
                    <a:pt x="109" y="129"/>
                  </a:cubicBezTo>
                  <a:cubicBezTo>
                    <a:pt x="109" y="128"/>
                    <a:pt x="107" y="128"/>
                    <a:pt x="106" y="127"/>
                  </a:cubicBezTo>
                  <a:cubicBezTo>
                    <a:pt x="105" y="126"/>
                    <a:pt x="104" y="125"/>
                    <a:pt x="103" y="123"/>
                  </a:cubicBezTo>
                  <a:cubicBezTo>
                    <a:pt x="103" y="122"/>
                    <a:pt x="101" y="120"/>
                    <a:pt x="100" y="120"/>
                  </a:cubicBezTo>
                  <a:cubicBezTo>
                    <a:pt x="100" y="119"/>
                    <a:pt x="98" y="117"/>
                    <a:pt x="97" y="117"/>
                  </a:cubicBezTo>
                  <a:cubicBezTo>
                    <a:pt x="95" y="117"/>
                    <a:pt x="91" y="117"/>
                    <a:pt x="89" y="117"/>
                  </a:cubicBezTo>
                  <a:cubicBezTo>
                    <a:pt x="87" y="117"/>
                    <a:pt x="84" y="117"/>
                    <a:pt x="81" y="117"/>
                  </a:cubicBezTo>
                  <a:cubicBezTo>
                    <a:pt x="78" y="116"/>
                    <a:pt x="78" y="116"/>
                    <a:pt x="76" y="115"/>
                  </a:cubicBezTo>
                  <a:cubicBezTo>
                    <a:pt x="74" y="113"/>
                    <a:pt x="72" y="112"/>
                    <a:pt x="71" y="111"/>
                  </a:cubicBezTo>
                  <a:cubicBezTo>
                    <a:pt x="71" y="109"/>
                    <a:pt x="71" y="109"/>
                    <a:pt x="71" y="109"/>
                  </a:cubicBezTo>
                  <a:cubicBezTo>
                    <a:pt x="70" y="107"/>
                    <a:pt x="60" y="95"/>
                    <a:pt x="59" y="94"/>
                  </a:cubicBezTo>
                  <a:cubicBezTo>
                    <a:pt x="58" y="93"/>
                    <a:pt x="54" y="91"/>
                    <a:pt x="53" y="91"/>
                  </a:cubicBezTo>
                  <a:cubicBezTo>
                    <a:pt x="52" y="90"/>
                    <a:pt x="46" y="86"/>
                    <a:pt x="45" y="84"/>
                  </a:cubicBezTo>
                  <a:cubicBezTo>
                    <a:pt x="44" y="83"/>
                    <a:pt x="34" y="71"/>
                    <a:pt x="32" y="69"/>
                  </a:cubicBezTo>
                  <a:cubicBezTo>
                    <a:pt x="30" y="68"/>
                    <a:pt x="25" y="62"/>
                    <a:pt x="23" y="60"/>
                  </a:cubicBezTo>
                  <a:cubicBezTo>
                    <a:pt x="21" y="59"/>
                    <a:pt x="15" y="52"/>
                    <a:pt x="13" y="51"/>
                  </a:cubicBezTo>
                  <a:cubicBezTo>
                    <a:pt x="12" y="49"/>
                    <a:pt x="10" y="47"/>
                    <a:pt x="10" y="45"/>
                  </a:cubicBezTo>
                  <a:cubicBezTo>
                    <a:pt x="10" y="43"/>
                    <a:pt x="10" y="40"/>
                    <a:pt x="9" y="39"/>
                  </a:cubicBezTo>
                  <a:cubicBezTo>
                    <a:pt x="9" y="37"/>
                    <a:pt x="7" y="33"/>
                    <a:pt x="6" y="33"/>
                  </a:cubicBezTo>
                  <a:cubicBezTo>
                    <a:pt x="6" y="32"/>
                    <a:pt x="6" y="29"/>
                    <a:pt x="5" y="28"/>
                  </a:cubicBezTo>
                  <a:cubicBezTo>
                    <a:pt x="4" y="27"/>
                    <a:pt x="1" y="22"/>
                    <a:pt x="1" y="22"/>
                  </a:cubicBezTo>
                  <a:cubicBezTo>
                    <a:pt x="1" y="22"/>
                    <a:pt x="0" y="20"/>
                    <a:pt x="1" y="18"/>
                  </a:cubicBezTo>
                  <a:cubicBezTo>
                    <a:pt x="2" y="17"/>
                    <a:pt x="3" y="13"/>
                    <a:pt x="3" y="13"/>
                  </a:cubicBezTo>
                  <a:cubicBezTo>
                    <a:pt x="3" y="12"/>
                    <a:pt x="0" y="8"/>
                    <a:pt x="0" y="8"/>
                  </a:cubicBezTo>
                  <a:cubicBezTo>
                    <a:pt x="0" y="6"/>
                    <a:pt x="0" y="6"/>
                    <a:pt x="0" y="6"/>
                  </a:cubicBezTo>
                  <a:cubicBezTo>
                    <a:pt x="4" y="6"/>
                    <a:pt x="4" y="6"/>
                    <a:pt x="4" y="6"/>
                  </a:cubicBezTo>
                  <a:cubicBezTo>
                    <a:pt x="4" y="6"/>
                    <a:pt x="8" y="3"/>
                    <a:pt x="9" y="3"/>
                  </a:cubicBezTo>
                  <a:cubicBezTo>
                    <a:pt x="10" y="2"/>
                    <a:pt x="15" y="0"/>
                    <a:pt x="15" y="0"/>
                  </a:cubicBezTo>
                  <a:cubicBezTo>
                    <a:pt x="15" y="0"/>
                    <a:pt x="16" y="2"/>
                    <a:pt x="18" y="2"/>
                  </a:cubicBezTo>
                  <a:cubicBezTo>
                    <a:pt x="20" y="3"/>
                    <a:pt x="20" y="3"/>
                    <a:pt x="22" y="2"/>
                  </a:cubicBezTo>
                  <a:cubicBezTo>
                    <a:pt x="24" y="2"/>
                    <a:pt x="27" y="3"/>
                    <a:pt x="27" y="3"/>
                  </a:cubicBezTo>
                  <a:cubicBezTo>
                    <a:pt x="40" y="8"/>
                    <a:pt x="40" y="8"/>
                    <a:pt x="40" y="8"/>
                  </a:cubicBezTo>
                  <a:cubicBezTo>
                    <a:pt x="40" y="8"/>
                    <a:pt x="41" y="9"/>
                    <a:pt x="42" y="12"/>
                  </a:cubicBezTo>
                  <a:cubicBezTo>
                    <a:pt x="43" y="14"/>
                    <a:pt x="48" y="18"/>
                    <a:pt x="48" y="18"/>
                  </a:cubicBezTo>
                  <a:cubicBezTo>
                    <a:pt x="49" y="19"/>
                    <a:pt x="55" y="23"/>
                    <a:pt x="55" y="23"/>
                  </a:cubicBezTo>
                  <a:cubicBezTo>
                    <a:pt x="55" y="23"/>
                    <a:pt x="60" y="25"/>
                    <a:pt x="60" y="25"/>
                  </a:cubicBezTo>
                  <a:cubicBezTo>
                    <a:pt x="61" y="25"/>
                    <a:pt x="67" y="25"/>
                    <a:pt x="67" y="25"/>
                  </a:cubicBezTo>
                  <a:cubicBezTo>
                    <a:pt x="73" y="28"/>
                    <a:pt x="73" y="28"/>
                    <a:pt x="73" y="28"/>
                  </a:cubicBezTo>
                  <a:cubicBezTo>
                    <a:pt x="73" y="28"/>
                    <a:pt x="76" y="25"/>
                    <a:pt x="76" y="25"/>
                  </a:cubicBezTo>
                  <a:cubicBezTo>
                    <a:pt x="77" y="25"/>
                    <a:pt x="79" y="27"/>
                    <a:pt x="80" y="27"/>
                  </a:cubicBezTo>
                  <a:cubicBezTo>
                    <a:pt x="80" y="28"/>
                    <a:pt x="87" y="27"/>
                    <a:pt x="87" y="27"/>
                  </a:cubicBezTo>
                  <a:cubicBezTo>
                    <a:pt x="88" y="27"/>
                    <a:pt x="94" y="25"/>
                    <a:pt x="96" y="24"/>
                  </a:cubicBezTo>
                  <a:cubicBezTo>
                    <a:pt x="97" y="24"/>
                    <a:pt x="101" y="23"/>
                    <a:pt x="101" y="23"/>
                  </a:cubicBezTo>
                  <a:cubicBezTo>
                    <a:pt x="102" y="25"/>
                    <a:pt x="102" y="25"/>
                    <a:pt x="102" y="25"/>
                  </a:cubicBezTo>
                  <a:cubicBezTo>
                    <a:pt x="106" y="24"/>
                    <a:pt x="106" y="24"/>
                    <a:pt x="106" y="24"/>
                  </a:cubicBezTo>
                  <a:cubicBezTo>
                    <a:pt x="106" y="24"/>
                    <a:pt x="109" y="24"/>
                    <a:pt x="110" y="24"/>
                  </a:cubicBezTo>
                  <a:cubicBezTo>
                    <a:pt x="111" y="25"/>
                    <a:pt x="118" y="26"/>
                    <a:pt x="118" y="27"/>
                  </a:cubicBezTo>
                  <a:cubicBezTo>
                    <a:pt x="119" y="28"/>
                    <a:pt x="118" y="30"/>
                    <a:pt x="118" y="30"/>
                  </a:cubicBezTo>
                  <a:cubicBezTo>
                    <a:pt x="118" y="30"/>
                    <a:pt x="122" y="31"/>
                    <a:pt x="123" y="31"/>
                  </a:cubicBezTo>
                  <a:cubicBezTo>
                    <a:pt x="124" y="30"/>
                    <a:pt x="131" y="28"/>
                    <a:pt x="132" y="27"/>
                  </a:cubicBezTo>
                  <a:cubicBezTo>
                    <a:pt x="134" y="27"/>
                    <a:pt x="139" y="24"/>
                    <a:pt x="141" y="25"/>
                  </a:cubicBezTo>
                  <a:cubicBezTo>
                    <a:pt x="142" y="26"/>
                    <a:pt x="143" y="26"/>
                    <a:pt x="143" y="27"/>
                  </a:cubicBezTo>
                  <a:cubicBezTo>
                    <a:pt x="143" y="27"/>
                    <a:pt x="143" y="28"/>
                    <a:pt x="144" y="29"/>
                  </a:cubicBezTo>
                  <a:cubicBezTo>
                    <a:pt x="144" y="30"/>
                    <a:pt x="146" y="31"/>
                    <a:pt x="146" y="31"/>
                  </a:cubicBezTo>
                  <a:cubicBezTo>
                    <a:pt x="149" y="32"/>
                    <a:pt x="149" y="32"/>
                    <a:pt x="149" y="32"/>
                  </a:cubicBezTo>
                  <a:cubicBezTo>
                    <a:pt x="149" y="35"/>
                    <a:pt x="149" y="35"/>
                    <a:pt x="149" y="35"/>
                  </a:cubicBezTo>
                  <a:cubicBezTo>
                    <a:pt x="160" y="44"/>
                    <a:pt x="160" y="44"/>
                    <a:pt x="160" y="44"/>
                  </a:cubicBezTo>
                  <a:cubicBezTo>
                    <a:pt x="163" y="47"/>
                    <a:pt x="163" y="47"/>
                    <a:pt x="163" y="47"/>
                  </a:cubicBezTo>
                  <a:cubicBezTo>
                    <a:pt x="165" y="47"/>
                    <a:pt x="165" y="47"/>
                    <a:pt x="165" y="47"/>
                  </a:cubicBezTo>
                  <a:cubicBezTo>
                    <a:pt x="165" y="47"/>
                    <a:pt x="166" y="51"/>
                    <a:pt x="166" y="52"/>
                  </a:cubicBezTo>
                  <a:cubicBezTo>
                    <a:pt x="166" y="53"/>
                    <a:pt x="168" y="57"/>
                    <a:pt x="168" y="57"/>
                  </a:cubicBezTo>
                  <a:cubicBezTo>
                    <a:pt x="168" y="61"/>
                    <a:pt x="168" y="61"/>
                    <a:pt x="168" y="61"/>
                  </a:cubicBezTo>
                  <a:cubicBezTo>
                    <a:pt x="171" y="63"/>
                    <a:pt x="171" y="63"/>
                    <a:pt x="171" y="63"/>
                  </a:cubicBezTo>
                  <a:cubicBezTo>
                    <a:pt x="171" y="63"/>
                    <a:pt x="168" y="67"/>
                    <a:pt x="168" y="67"/>
                  </a:cubicBezTo>
                  <a:cubicBezTo>
                    <a:pt x="168" y="68"/>
                    <a:pt x="169" y="69"/>
                    <a:pt x="170" y="69"/>
                  </a:cubicBezTo>
                  <a:cubicBezTo>
                    <a:pt x="170" y="69"/>
                    <a:pt x="172" y="68"/>
                    <a:pt x="172" y="70"/>
                  </a:cubicBezTo>
                  <a:cubicBezTo>
                    <a:pt x="172" y="71"/>
                    <a:pt x="171" y="70"/>
                    <a:pt x="172" y="71"/>
                  </a:cubicBezTo>
                  <a:cubicBezTo>
                    <a:pt x="173" y="71"/>
                    <a:pt x="176" y="70"/>
                    <a:pt x="176" y="70"/>
                  </a:cubicBezTo>
                  <a:cubicBezTo>
                    <a:pt x="177" y="69"/>
                    <a:pt x="180" y="69"/>
                    <a:pt x="181" y="70"/>
                  </a:cubicBezTo>
                  <a:cubicBezTo>
                    <a:pt x="182" y="71"/>
                    <a:pt x="184" y="72"/>
                    <a:pt x="185" y="73"/>
                  </a:cubicBezTo>
                  <a:cubicBezTo>
                    <a:pt x="186" y="74"/>
                    <a:pt x="186" y="73"/>
                    <a:pt x="187" y="75"/>
                  </a:cubicBezTo>
                  <a:cubicBezTo>
                    <a:pt x="187" y="76"/>
                    <a:pt x="187" y="80"/>
                    <a:pt x="187" y="81"/>
                  </a:cubicBezTo>
                  <a:cubicBezTo>
                    <a:pt x="186" y="82"/>
                    <a:pt x="186" y="83"/>
                    <a:pt x="186" y="84"/>
                  </a:cubicBezTo>
                  <a:cubicBezTo>
                    <a:pt x="185" y="83"/>
                    <a:pt x="184" y="83"/>
                    <a:pt x="184" y="83"/>
                  </a:cubicBezTo>
                  <a:cubicBezTo>
                    <a:pt x="182" y="83"/>
                    <a:pt x="182" y="83"/>
                    <a:pt x="181" y="84"/>
                  </a:cubicBezTo>
                  <a:cubicBezTo>
                    <a:pt x="178" y="85"/>
                    <a:pt x="176" y="85"/>
                    <a:pt x="175" y="88"/>
                  </a:cubicBezTo>
                  <a:cubicBezTo>
                    <a:pt x="174" y="91"/>
                    <a:pt x="173" y="94"/>
                    <a:pt x="172" y="96"/>
                  </a:cubicBezTo>
                  <a:cubicBezTo>
                    <a:pt x="171" y="99"/>
                    <a:pt x="172" y="101"/>
                    <a:pt x="171" y="103"/>
                  </a:cubicBezTo>
                  <a:cubicBezTo>
                    <a:pt x="169" y="106"/>
                    <a:pt x="167" y="107"/>
                    <a:pt x="165" y="107"/>
                  </a:cubicBezTo>
                  <a:cubicBezTo>
                    <a:pt x="165" y="109"/>
                    <a:pt x="165" y="111"/>
                    <a:pt x="164" y="112"/>
                  </a:cubicBezTo>
                  <a:cubicBezTo>
                    <a:pt x="163" y="114"/>
                    <a:pt x="162" y="115"/>
                    <a:pt x="160" y="116"/>
                  </a:cubicBezTo>
                  <a:cubicBezTo>
                    <a:pt x="158" y="117"/>
                    <a:pt x="157" y="118"/>
                    <a:pt x="158" y="120"/>
                  </a:cubicBezTo>
                  <a:cubicBezTo>
                    <a:pt x="159" y="122"/>
                    <a:pt x="159" y="124"/>
                    <a:pt x="161" y="126"/>
                  </a:cubicBezTo>
                  <a:cubicBezTo>
                    <a:pt x="161" y="127"/>
                    <a:pt x="163" y="127"/>
                    <a:pt x="164" y="129"/>
                  </a:cubicBezTo>
                  <a:cubicBezTo>
                    <a:pt x="165" y="130"/>
                    <a:pt x="165" y="130"/>
                    <a:pt x="166" y="131"/>
                  </a:cubicBezTo>
                  <a:cubicBezTo>
                    <a:pt x="167" y="132"/>
                    <a:pt x="168" y="132"/>
                    <a:pt x="167" y="133"/>
                  </a:cubicBezTo>
                  <a:cubicBezTo>
                    <a:pt x="167" y="135"/>
                    <a:pt x="164" y="135"/>
                    <a:pt x="164" y="137"/>
                  </a:cubicBezTo>
                  <a:cubicBezTo>
                    <a:pt x="165" y="139"/>
                    <a:pt x="169" y="139"/>
                    <a:pt x="170" y="140"/>
                  </a:cubicBezTo>
                  <a:cubicBezTo>
                    <a:pt x="172" y="142"/>
                    <a:pt x="170" y="144"/>
                    <a:pt x="169" y="145"/>
                  </a:cubicBezTo>
                  <a:cubicBezTo>
                    <a:pt x="168" y="145"/>
                    <a:pt x="167" y="146"/>
                    <a:pt x="166" y="146"/>
                  </a:cubicBezTo>
                  <a:cubicBezTo>
                    <a:pt x="165" y="147"/>
                    <a:pt x="166" y="148"/>
                    <a:pt x="166" y="149"/>
                  </a:cubicBezTo>
                  <a:cubicBezTo>
                    <a:pt x="167" y="150"/>
                    <a:pt x="167" y="152"/>
                    <a:pt x="167" y="153"/>
                  </a:cubicBezTo>
                  <a:cubicBezTo>
                    <a:pt x="168" y="154"/>
                    <a:pt x="168" y="154"/>
                    <a:pt x="168" y="155"/>
                  </a:cubicBezTo>
                  <a:cubicBezTo>
                    <a:pt x="169" y="156"/>
                    <a:pt x="168" y="157"/>
                    <a:pt x="167" y="158"/>
                  </a:cubicBezTo>
                  <a:cubicBezTo>
                    <a:pt x="167" y="159"/>
                    <a:pt x="167" y="160"/>
                    <a:pt x="167" y="161"/>
                  </a:cubicBezTo>
                  <a:cubicBezTo>
                    <a:pt x="167" y="165"/>
                    <a:pt x="167" y="169"/>
                    <a:pt x="172" y="171"/>
                  </a:cubicBezTo>
                  <a:cubicBezTo>
                    <a:pt x="173" y="172"/>
                    <a:pt x="174" y="172"/>
                    <a:pt x="175" y="173"/>
                  </a:cubicBezTo>
                  <a:cubicBezTo>
                    <a:pt x="175" y="174"/>
                    <a:pt x="176" y="174"/>
                    <a:pt x="176" y="175"/>
                  </a:cubicBezTo>
                  <a:cubicBezTo>
                    <a:pt x="176" y="176"/>
                    <a:pt x="175" y="175"/>
                    <a:pt x="175" y="176"/>
                  </a:cubicBezTo>
                  <a:cubicBezTo>
                    <a:pt x="174" y="178"/>
                    <a:pt x="176" y="181"/>
                    <a:pt x="176" y="183"/>
                  </a:cubicBezTo>
                  <a:cubicBezTo>
                    <a:pt x="176" y="187"/>
                    <a:pt x="174" y="192"/>
                    <a:pt x="177" y="196"/>
                  </a:cubicBezTo>
                  <a:cubicBezTo>
                    <a:pt x="179" y="198"/>
                    <a:pt x="180" y="200"/>
                    <a:pt x="180" y="202"/>
                  </a:cubicBezTo>
                  <a:cubicBezTo>
                    <a:pt x="181" y="205"/>
                    <a:pt x="180" y="207"/>
                    <a:pt x="180" y="210"/>
                  </a:cubicBez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ru-RU"/>
            </a:p>
          </p:txBody>
        </p:sp>
      </p:grpSp>
      <p:sp>
        <p:nvSpPr>
          <p:cNvPr id="60" name="Oval 59">
            <a:extLst>
              <a:ext uri="{FF2B5EF4-FFF2-40B4-BE49-F238E27FC236}">
                <a16:creationId xmlns:a16="http://schemas.microsoft.com/office/drawing/2014/main" id="{C6395528-DA41-971D-97E8-DB255CB1345A}"/>
              </a:ext>
            </a:extLst>
          </p:cNvPr>
          <p:cNvSpPr/>
          <p:nvPr/>
        </p:nvSpPr>
        <p:spPr bwMode="gray">
          <a:xfrm>
            <a:off x="7855718" y="5156543"/>
            <a:ext cx="480208" cy="303090"/>
          </a:xfrm>
          <a:prstGeom prst="ellipse">
            <a:avLst/>
          </a:prstGeom>
          <a:noFill/>
          <a:ln w="57150">
            <a:solidFill>
              <a:schemeClr val="accent3"/>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Oval 60">
            <a:extLst>
              <a:ext uri="{FF2B5EF4-FFF2-40B4-BE49-F238E27FC236}">
                <a16:creationId xmlns:a16="http://schemas.microsoft.com/office/drawing/2014/main" id="{CC656C48-EAF9-8421-01B0-DC6A82341AC8}"/>
              </a:ext>
            </a:extLst>
          </p:cNvPr>
          <p:cNvSpPr/>
          <p:nvPr/>
        </p:nvSpPr>
        <p:spPr bwMode="gray">
          <a:xfrm>
            <a:off x="11044797" y="454104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2" name="Oval 61">
            <a:extLst>
              <a:ext uri="{FF2B5EF4-FFF2-40B4-BE49-F238E27FC236}">
                <a16:creationId xmlns:a16="http://schemas.microsoft.com/office/drawing/2014/main" id="{519FD04D-51FF-FCA9-B695-78469172AB01}"/>
              </a:ext>
            </a:extLst>
          </p:cNvPr>
          <p:cNvSpPr/>
          <p:nvPr/>
        </p:nvSpPr>
        <p:spPr bwMode="gray">
          <a:xfrm>
            <a:off x="10422934" y="3315066"/>
            <a:ext cx="231217" cy="238804"/>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3" name="Oval 62">
            <a:extLst>
              <a:ext uri="{FF2B5EF4-FFF2-40B4-BE49-F238E27FC236}">
                <a16:creationId xmlns:a16="http://schemas.microsoft.com/office/drawing/2014/main" id="{67C92164-FBC5-3359-9294-1BA62B0E7B4A}"/>
              </a:ext>
            </a:extLst>
          </p:cNvPr>
          <p:cNvSpPr/>
          <p:nvPr/>
        </p:nvSpPr>
        <p:spPr bwMode="gray">
          <a:xfrm>
            <a:off x="10422934" y="3656835"/>
            <a:ext cx="231217" cy="238804"/>
          </a:xfrm>
          <a:prstGeom prst="ellipse">
            <a:avLst/>
          </a:prstGeom>
          <a:noFill/>
          <a:ln w="571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4" name="Rectangle 63">
            <a:extLst>
              <a:ext uri="{FF2B5EF4-FFF2-40B4-BE49-F238E27FC236}">
                <a16:creationId xmlns:a16="http://schemas.microsoft.com/office/drawing/2014/main" id="{E002B47D-DCF7-2743-811B-18F78ECED7FE}"/>
              </a:ext>
            </a:extLst>
          </p:cNvPr>
          <p:cNvSpPr/>
          <p:nvPr/>
        </p:nvSpPr>
        <p:spPr bwMode="gray">
          <a:xfrm>
            <a:off x="10685042" y="3315066"/>
            <a:ext cx="1280160" cy="2388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dirty="0">
                <a:solidFill>
                  <a:schemeClr val="tx1"/>
                </a:solidFill>
              </a:rPr>
              <a:t>Geothermal sites</a:t>
            </a:r>
          </a:p>
        </p:txBody>
      </p:sp>
      <p:sp>
        <p:nvSpPr>
          <p:cNvPr id="65" name="Oval 64">
            <a:extLst>
              <a:ext uri="{FF2B5EF4-FFF2-40B4-BE49-F238E27FC236}">
                <a16:creationId xmlns:a16="http://schemas.microsoft.com/office/drawing/2014/main" id="{9A0275AB-8AE7-A842-D782-B02F809F00DD}"/>
              </a:ext>
            </a:extLst>
          </p:cNvPr>
          <p:cNvSpPr/>
          <p:nvPr/>
        </p:nvSpPr>
        <p:spPr bwMode="gray">
          <a:xfrm>
            <a:off x="10015506" y="425758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6" name="Oval 65">
            <a:extLst>
              <a:ext uri="{FF2B5EF4-FFF2-40B4-BE49-F238E27FC236}">
                <a16:creationId xmlns:a16="http://schemas.microsoft.com/office/drawing/2014/main" id="{D4C59AF2-8B28-C5B2-AE89-249D1F0A6958}"/>
              </a:ext>
            </a:extLst>
          </p:cNvPr>
          <p:cNvSpPr/>
          <p:nvPr/>
        </p:nvSpPr>
        <p:spPr bwMode="gray">
          <a:xfrm>
            <a:off x="9842101" y="433752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7" name="Oval 66">
            <a:extLst>
              <a:ext uri="{FF2B5EF4-FFF2-40B4-BE49-F238E27FC236}">
                <a16:creationId xmlns:a16="http://schemas.microsoft.com/office/drawing/2014/main" id="{BCC9DA01-B466-610C-FF72-F02078A3031A}"/>
              </a:ext>
            </a:extLst>
          </p:cNvPr>
          <p:cNvSpPr/>
          <p:nvPr/>
        </p:nvSpPr>
        <p:spPr bwMode="gray">
          <a:xfrm>
            <a:off x="9704567" y="430841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8" name="Oval 67">
            <a:extLst>
              <a:ext uri="{FF2B5EF4-FFF2-40B4-BE49-F238E27FC236}">
                <a16:creationId xmlns:a16="http://schemas.microsoft.com/office/drawing/2014/main" id="{8F1A63B0-47D7-EB8C-19CF-A4C746FBE8A2}"/>
              </a:ext>
            </a:extLst>
          </p:cNvPr>
          <p:cNvSpPr/>
          <p:nvPr/>
        </p:nvSpPr>
        <p:spPr bwMode="gray">
          <a:xfrm>
            <a:off x="9635800" y="431426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9" name="Oval 68">
            <a:extLst>
              <a:ext uri="{FF2B5EF4-FFF2-40B4-BE49-F238E27FC236}">
                <a16:creationId xmlns:a16="http://schemas.microsoft.com/office/drawing/2014/main" id="{EFC6FBE3-E3F4-169B-9CFA-34071E58A5E0}"/>
              </a:ext>
            </a:extLst>
          </p:cNvPr>
          <p:cNvSpPr/>
          <p:nvPr/>
        </p:nvSpPr>
        <p:spPr bwMode="gray">
          <a:xfrm>
            <a:off x="10356916" y="476280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0" name="Oval 69">
            <a:extLst>
              <a:ext uri="{FF2B5EF4-FFF2-40B4-BE49-F238E27FC236}">
                <a16:creationId xmlns:a16="http://schemas.microsoft.com/office/drawing/2014/main" id="{83FC9D8A-C2AE-87AC-D916-0A9F70B2DB22}"/>
              </a:ext>
            </a:extLst>
          </p:cNvPr>
          <p:cNvSpPr/>
          <p:nvPr/>
        </p:nvSpPr>
        <p:spPr bwMode="gray">
          <a:xfrm>
            <a:off x="10484375" y="474763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1" name="Oval 70">
            <a:extLst>
              <a:ext uri="{FF2B5EF4-FFF2-40B4-BE49-F238E27FC236}">
                <a16:creationId xmlns:a16="http://schemas.microsoft.com/office/drawing/2014/main" id="{4BD7F103-6DF1-A614-AE50-1C1914B1964A}"/>
              </a:ext>
            </a:extLst>
          </p:cNvPr>
          <p:cNvSpPr/>
          <p:nvPr/>
        </p:nvSpPr>
        <p:spPr bwMode="gray">
          <a:xfrm>
            <a:off x="10614866" y="478638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2" name="Oval 71">
            <a:extLst>
              <a:ext uri="{FF2B5EF4-FFF2-40B4-BE49-F238E27FC236}">
                <a16:creationId xmlns:a16="http://schemas.microsoft.com/office/drawing/2014/main" id="{BDC62056-D69C-BB41-A2B2-A3071207F86D}"/>
              </a:ext>
            </a:extLst>
          </p:cNvPr>
          <p:cNvSpPr/>
          <p:nvPr/>
        </p:nvSpPr>
        <p:spPr bwMode="gray">
          <a:xfrm>
            <a:off x="10855123" y="448666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3" name="Oval 72">
            <a:extLst>
              <a:ext uri="{FF2B5EF4-FFF2-40B4-BE49-F238E27FC236}">
                <a16:creationId xmlns:a16="http://schemas.microsoft.com/office/drawing/2014/main" id="{1F1D2F85-F9C2-8538-952E-27D0EFD20C47}"/>
              </a:ext>
            </a:extLst>
          </p:cNvPr>
          <p:cNvSpPr/>
          <p:nvPr/>
        </p:nvSpPr>
        <p:spPr bwMode="gray">
          <a:xfrm>
            <a:off x="10535207" y="474763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4" name="Oval 73">
            <a:extLst>
              <a:ext uri="{FF2B5EF4-FFF2-40B4-BE49-F238E27FC236}">
                <a16:creationId xmlns:a16="http://schemas.microsoft.com/office/drawing/2014/main" id="{5A96AE52-0766-E7E3-D592-B14BCA786407}"/>
              </a:ext>
            </a:extLst>
          </p:cNvPr>
          <p:cNvSpPr/>
          <p:nvPr/>
        </p:nvSpPr>
        <p:spPr bwMode="gray">
          <a:xfrm>
            <a:off x="10356916" y="4251377"/>
            <a:ext cx="101665" cy="1016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5" name="Oval 74">
            <a:extLst>
              <a:ext uri="{FF2B5EF4-FFF2-40B4-BE49-F238E27FC236}">
                <a16:creationId xmlns:a16="http://schemas.microsoft.com/office/drawing/2014/main" id="{6B9A1D66-5D12-6B91-C345-44C0B78ED458}"/>
              </a:ext>
            </a:extLst>
          </p:cNvPr>
          <p:cNvSpPr/>
          <p:nvPr/>
        </p:nvSpPr>
        <p:spPr bwMode="gray">
          <a:xfrm>
            <a:off x="10377892" y="4385004"/>
            <a:ext cx="101665" cy="1016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6" name="Oval 75">
            <a:extLst>
              <a:ext uri="{FF2B5EF4-FFF2-40B4-BE49-F238E27FC236}">
                <a16:creationId xmlns:a16="http://schemas.microsoft.com/office/drawing/2014/main" id="{DB00AED6-A625-3FD7-7149-515B22C6723D}"/>
              </a:ext>
            </a:extLst>
          </p:cNvPr>
          <p:cNvSpPr/>
          <p:nvPr/>
        </p:nvSpPr>
        <p:spPr bwMode="gray">
          <a:xfrm>
            <a:off x="10407978" y="453750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7" name="Oval 76">
            <a:extLst>
              <a:ext uri="{FF2B5EF4-FFF2-40B4-BE49-F238E27FC236}">
                <a16:creationId xmlns:a16="http://schemas.microsoft.com/office/drawing/2014/main" id="{16055DDA-5FDC-5667-CB76-90BC3FE34113}"/>
              </a:ext>
            </a:extLst>
          </p:cNvPr>
          <p:cNvSpPr/>
          <p:nvPr/>
        </p:nvSpPr>
        <p:spPr bwMode="gray">
          <a:xfrm>
            <a:off x="9474305" y="449653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Oval 77">
            <a:extLst>
              <a:ext uri="{FF2B5EF4-FFF2-40B4-BE49-F238E27FC236}">
                <a16:creationId xmlns:a16="http://schemas.microsoft.com/office/drawing/2014/main" id="{F4810D37-FAAB-8BFD-04F1-D0315C0143F1}"/>
              </a:ext>
            </a:extLst>
          </p:cNvPr>
          <p:cNvSpPr/>
          <p:nvPr/>
        </p:nvSpPr>
        <p:spPr bwMode="gray">
          <a:xfrm>
            <a:off x="9565337" y="452964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9" name="Oval 78">
            <a:extLst>
              <a:ext uri="{FF2B5EF4-FFF2-40B4-BE49-F238E27FC236}">
                <a16:creationId xmlns:a16="http://schemas.microsoft.com/office/drawing/2014/main" id="{34B814DE-08A9-8775-CE00-A8815864998C}"/>
              </a:ext>
            </a:extLst>
          </p:cNvPr>
          <p:cNvSpPr/>
          <p:nvPr/>
        </p:nvSpPr>
        <p:spPr bwMode="gray">
          <a:xfrm>
            <a:off x="9406019" y="468138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0" name="Oval 79">
            <a:extLst>
              <a:ext uri="{FF2B5EF4-FFF2-40B4-BE49-F238E27FC236}">
                <a16:creationId xmlns:a16="http://schemas.microsoft.com/office/drawing/2014/main" id="{08EEB9B3-DF66-60DF-6C24-1686C32FEFB8}"/>
              </a:ext>
            </a:extLst>
          </p:cNvPr>
          <p:cNvSpPr/>
          <p:nvPr/>
        </p:nvSpPr>
        <p:spPr bwMode="gray">
          <a:xfrm>
            <a:off x="9507684" y="471197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1" name="Oval 80">
            <a:extLst>
              <a:ext uri="{FF2B5EF4-FFF2-40B4-BE49-F238E27FC236}">
                <a16:creationId xmlns:a16="http://schemas.microsoft.com/office/drawing/2014/main" id="{994B2502-7D82-4CE4-83BA-A809682E90A3}"/>
              </a:ext>
            </a:extLst>
          </p:cNvPr>
          <p:cNvSpPr/>
          <p:nvPr/>
        </p:nvSpPr>
        <p:spPr bwMode="gray">
          <a:xfrm>
            <a:off x="9685219" y="485622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2" name="Oval 81">
            <a:extLst>
              <a:ext uri="{FF2B5EF4-FFF2-40B4-BE49-F238E27FC236}">
                <a16:creationId xmlns:a16="http://schemas.microsoft.com/office/drawing/2014/main" id="{012B5B89-2F24-403E-03FD-0A7603D4FBB9}"/>
              </a:ext>
            </a:extLst>
          </p:cNvPr>
          <p:cNvSpPr/>
          <p:nvPr/>
        </p:nvSpPr>
        <p:spPr bwMode="gray">
          <a:xfrm>
            <a:off x="9423473" y="479726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3" name="Oval 82">
            <a:extLst>
              <a:ext uri="{FF2B5EF4-FFF2-40B4-BE49-F238E27FC236}">
                <a16:creationId xmlns:a16="http://schemas.microsoft.com/office/drawing/2014/main" id="{367426AB-0160-8ACE-148C-878DD920EEB2}"/>
              </a:ext>
            </a:extLst>
          </p:cNvPr>
          <p:cNvSpPr/>
          <p:nvPr/>
        </p:nvSpPr>
        <p:spPr bwMode="gray">
          <a:xfrm>
            <a:off x="9507684" y="483367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Oval 83">
            <a:extLst>
              <a:ext uri="{FF2B5EF4-FFF2-40B4-BE49-F238E27FC236}">
                <a16:creationId xmlns:a16="http://schemas.microsoft.com/office/drawing/2014/main" id="{53918805-E1A9-F196-84FE-940BD87AE34F}"/>
              </a:ext>
            </a:extLst>
          </p:cNvPr>
          <p:cNvSpPr/>
          <p:nvPr/>
        </p:nvSpPr>
        <p:spPr bwMode="gray">
          <a:xfrm>
            <a:off x="9472101" y="491315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5" name="Oval 84">
            <a:extLst>
              <a:ext uri="{FF2B5EF4-FFF2-40B4-BE49-F238E27FC236}">
                <a16:creationId xmlns:a16="http://schemas.microsoft.com/office/drawing/2014/main" id="{73DC1D1F-7262-4B76-08E3-3D74624C5167}"/>
              </a:ext>
            </a:extLst>
          </p:cNvPr>
          <p:cNvSpPr/>
          <p:nvPr/>
        </p:nvSpPr>
        <p:spPr bwMode="gray">
          <a:xfrm>
            <a:off x="9425895" y="458507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6" name="Oval 85">
            <a:extLst>
              <a:ext uri="{FF2B5EF4-FFF2-40B4-BE49-F238E27FC236}">
                <a16:creationId xmlns:a16="http://schemas.microsoft.com/office/drawing/2014/main" id="{367AF31C-08DE-19B3-661F-D5AE174C1E9B}"/>
              </a:ext>
            </a:extLst>
          </p:cNvPr>
          <p:cNvSpPr/>
          <p:nvPr/>
        </p:nvSpPr>
        <p:spPr bwMode="gray">
          <a:xfrm>
            <a:off x="9534641" y="457745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7" name="Oval 86">
            <a:extLst>
              <a:ext uri="{FF2B5EF4-FFF2-40B4-BE49-F238E27FC236}">
                <a16:creationId xmlns:a16="http://schemas.microsoft.com/office/drawing/2014/main" id="{903F86FB-7BE4-108F-330B-93DA5331FE96}"/>
              </a:ext>
            </a:extLst>
          </p:cNvPr>
          <p:cNvSpPr/>
          <p:nvPr/>
        </p:nvSpPr>
        <p:spPr bwMode="gray">
          <a:xfrm>
            <a:off x="9635800" y="461030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Oval 87">
            <a:extLst>
              <a:ext uri="{FF2B5EF4-FFF2-40B4-BE49-F238E27FC236}">
                <a16:creationId xmlns:a16="http://schemas.microsoft.com/office/drawing/2014/main" id="{E21B7275-12B6-2C2F-7A6F-578658215163}"/>
              </a:ext>
            </a:extLst>
          </p:cNvPr>
          <p:cNvSpPr/>
          <p:nvPr/>
        </p:nvSpPr>
        <p:spPr bwMode="gray">
          <a:xfrm>
            <a:off x="9528814" y="496982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9" name="Oval 88">
            <a:extLst>
              <a:ext uri="{FF2B5EF4-FFF2-40B4-BE49-F238E27FC236}">
                <a16:creationId xmlns:a16="http://schemas.microsoft.com/office/drawing/2014/main" id="{68457747-95E1-727D-AC18-43B5910EE0BD}"/>
              </a:ext>
            </a:extLst>
          </p:cNvPr>
          <p:cNvSpPr/>
          <p:nvPr/>
        </p:nvSpPr>
        <p:spPr bwMode="gray">
          <a:xfrm>
            <a:off x="9609349" y="475000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0" name="Oval 89">
            <a:extLst>
              <a:ext uri="{FF2B5EF4-FFF2-40B4-BE49-F238E27FC236}">
                <a16:creationId xmlns:a16="http://schemas.microsoft.com/office/drawing/2014/main" id="{FE9845DC-CE04-8C7A-3950-1CD56E0B1841}"/>
              </a:ext>
            </a:extLst>
          </p:cNvPr>
          <p:cNvSpPr/>
          <p:nvPr/>
        </p:nvSpPr>
        <p:spPr bwMode="gray">
          <a:xfrm>
            <a:off x="9740150" y="484287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1" name="Oval 90">
            <a:extLst>
              <a:ext uri="{FF2B5EF4-FFF2-40B4-BE49-F238E27FC236}">
                <a16:creationId xmlns:a16="http://schemas.microsoft.com/office/drawing/2014/main" id="{FC504757-2379-C48E-2D33-526BACB547D5}"/>
              </a:ext>
            </a:extLst>
          </p:cNvPr>
          <p:cNvSpPr/>
          <p:nvPr/>
        </p:nvSpPr>
        <p:spPr bwMode="gray">
          <a:xfrm>
            <a:off x="9686885" y="494710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Oval 91">
            <a:extLst>
              <a:ext uri="{FF2B5EF4-FFF2-40B4-BE49-F238E27FC236}">
                <a16:creationId xmlns:a16="http://schemas.microsoft.com/office/drawing/2014/main" id="{FC86CAD5-FA65-1B13-74BD-58263A8731A1}"/>
              </a:ext>
            </a:extLst>
          </p:cNvPr>
          <p:cNvSpPr/>
          <p:nvPr/>
        </p:nvSpPr>
        <p:spPr bwMode="gray">
          <a:xfrm>
            <a:off x="9740150" y="490540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3" name="Oval 92">
            <a:extLst>
              <a:ext uri="{FF2B5EF4-FFF2-40B4-BE49-F238E27FC236}">
                <a16:creationId xmlns:a16="http://schemas.microsoft.com/office/drawing/2014/main" id="{F11CED8C-A281-008D-B0D5-10AD92C44D73}"/>
              </a:ext>
            </a:extLst>
          </p:cNvPr>
          <p:cNvSpPr/>
          <p:nvPr/>
        </p:nvSpPr>
        <p:spPr bwMode="gray">
          <a:xfrm>
            <a:off x="9778790" y="491944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4" name="Oval 93">
            <a:extLst>
              <a:ext uri="{FF2B5EF4-FFF2-40B4-BE49-F238E27FC236}">
                <a16:creationId xmlns:a16="http://schemas.microsoft.com/office/drawing/2014/main" id="{0552CFFD-DFFD-FF7D-E934-24B18E7F27BE}"/>
              </a:ext>
            </a:extLst>
          </p:cNvPr>
          <p:cNvSpPr/>
          <p:nvPr/>
        </p:nvSpPr>
        <p:spPr bwMode="gray">
          <a:xfrm>
            <a:off x="9790127" y="497009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5" name="Oval 94">
            <a:extLst>
              <a:ext uri="{FF2B5EF4-FFF2-40B4-BE49-F238E27FC236}">
                <a16:creationId xmlns:a16="http://schemas.microsoft.com/office/drawing/2014/main" id="{49563306-DD10-A320-24D9-B348B07CF664}"/>
              </a:ext>
            </a:extLst>
          </p:cNvPr>
          <p:cNvSpPr/>
          <p:nvPr/>
        </p:nvSpPr>
        <p:spPr bwMode="gray">
          <a:xfrm>
            <a:off x="9485710" y="502799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Oval 95">
            <a:extLst>
              <a:ext uri="{FF2B5EF4-FFF2-40B4-BE49-F238E27FC236}">
                <a16:creationId xmlns:a16="http://schemas.microsoft.com/office/drawing/2014/main" id="{116372B1-45D4-2EBC-7763-6E58BA6B90F5}"/>
              </a:ext>
            </a:extLst>
          </p:cNvPr>
          <p:cNvSpPr/>
          <p:nvPr/>
        </p:nvSpPr>
        <p:spPr bwMode="gray">
          <a:xfrm>
            <a:off x="9538531" y="508888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Oval 96">
            <a:extLst>
              <a:ext uri="{FF2B5EF4-FFF2-40B4-BE49-F238E27FC236}">
                <a16:creationId xmlns:a16="http://schemas.microsoft.com/office/drawing/2014/main" id="{A1F1B5B5-DB21-BE84-4402-6E68C45C743D}"/>
              </a:ext>
            </a:extLst>
          </p:cNvPr>
          <p:cNvSpPr/>
          <p:nvPr/>
        </p:nvSpPr>
        <p:spPr bwMode="gray">
          <a:xfrm>
            <a:off x="8357789" y="428565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8" name="Oval 97">
            <a:extLst>
              <a:ext uri="{FF2B5EF4-FFF2-40B4-BE49-F238E27FC236}">
                <a16:creationId xmlns:a16="http://schemas.microsoft.com/office/drawing/2014/main" id="{7D990E81-3605-7D0F-7F25-7E2CD58A722B}"/>
              </a:ext>
            </a:extLst>
          </p:cNvPr>
          <p:cNvSpPr/>
          <p:nvPr/>
        </p:nvSpPr>
        <p:spPr bwMode="gray">
          <a:xfrm>
            <a:off x="8426075" y="433252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Oval 98">
            <a:extLst>
              <a:ext uri="{FF2B5EF4-FFF2-40B4-BE49-F238E27FC236}">
                <a16:creationId xmlns:a16="http://schemas.microsoft.com/office/drawing/2014/main" id="{970451ED-82D0-76A3-EE42-168F701FDC53}"/>
              </a:ext>
            </a:extLst>
          </p:cNvPr>
          <p:cNvSpPr/>
          <p:nvPr/>
        </p:nvSpPr>
        <p:spPr bwMode="gray">
          <a:xfrm>
            <a:off x="8539870" y="437804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0" name="Oval 99">
            <a:extLst>
              <a:ext uri="{FF2B5EF4-FFF2-40B4-BE49-F238E27FC236}">
                <a16:creationId xmlns:a16="http://schemas.microsoft.com/office/drawing/2014/main" id="{77E9D06C-1283-64B4-27A9-70DE9DACD720}"/>
              </a:ext>
            </a:extLst>
          </p:cNvPr>
          <p:cNvSpPr/>
          <p:nvPr/>
        </p:nvSpPr>
        <p:spPr bwMode="gray">
          <a:xfrm>
            <a:off x="7834293" y="460081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1" name="Oval 100">
            <a:extLst>
              <a:ext uri="{FF2B5EF4-FFF2-40B4-BE49-F238E27FC236}">
                <a16:creationId xmlns:a16="http://schemas.microsoft.com/office/drawing/2014/main" id="{93A71469-A751-27A0-6012-D0BC333816A2}"/>
              </a:ext>
            </a:extLst>
          </p:cNvPr>
          <p:cNvSpPr/>
          <p:nvPr/>
        </p:nvSpPr>
        <p:spPr bwMode="gray">
          <a:xfrm>
            <a:off x="7841880" y="467823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2" name="Oval 101">
            <a:extLst>
              <a:ext uri="{FF2B5EF4-FFF2-40B4-BE49-F238E27FC236}">
                <a16:creationId xmlns:a16="http://schemas.microsoft.com/office/drawing/2014/main" id="{2A1EEC52-8CD1-DE83-BDEE-C26100461F33}"/>
              </a:ext>
            </a:extLst>
          </p:cNvPr>
          <p:cNvSpPr/>
          <p:nvPr/>
        </p:nvSpPr>
        <p:spPr bwMode="gray">
          <a:xfrm>
            <a:off x="7844408" y="464579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3" name="Oval 102">
            <a:extLst>
              <a:ext uri="{FF2B5EF4-FFF2-40B4-BE49-F238E27FC236}">
                <a16:creationId xmlns:a16="http://schemas.microsoft.com/office/drawing/2014/main" id="{B1007B40-FB54-BD0E-422F-932A6E6DA5C8}"/>
              </a:ext>
            </a:extLst>
          </p:cNvPr>
          <p:cNvSpPr/>
          <p:nvPr/>
        </p:nvSpPr>
        <p:spPr bwMode="gray">
          <a:xfrm>
            <a:off x="7213203" y="444797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4" name="Oval 103">
            <a:extLst>
              <a:ext uri="{FF2B5EF4-FFF2-40B4-BE49-F238E27FC236}">
                <a16:creationId xmlns:a16="http://schemas.microsoft.com/office/drawing/2014/main" id="{503F5E76-8E81-1F59-4D8D-4278848906A0}"/>
              </a:ext>
            </a:extLst>
          </p:cNvPr>
          <p:cNvSpPr/>
          <p:nvPr/>
        </p:nvSpPr>
        <p:spPr bwMode="gray">
          <a:xfrm>
            <a:off x="6760418" y="378313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Oval 104">
            <a:extLst>
              <a:ext uri="{FF2B5EF4-FFF2-40B4-BE49-F238E27FC236}">
                <a16:creationId xmlns:a16="http://schemas.microsoft.com/office/drawing/2014/main" id="{DF00E618-546D-8C6B-9C5E-78ACE02B97E9}"/>
              </a:ext>
            </a:extLst>
          </p:cNvPr>
          <p:cNvSpPr/>
          <p:nvPr/>
        </p:nvSpPr>
        <p:spPr bwMode="gray">
          <a:xfrm>
            <a:off x="7484303" y="479203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6" name="Oval 105">
            <a:extLst>
              <a:ext uri="{FF2B5EF4-FFF2-40B4-BE49-F238E27FC236}">
                <a16:creationId xmlns:a16="http://schemas.microsoft.com/office/drawing/2014/main" id="{CF86A410-CC48-E450-4F2F-A0605995F45A}"/>
              </a:ext>
            </a:extLst>
          </p:cNvPr>
          <p:cNvSpPr/>
          <p:nvPr/>
        </p:nvSpPr>
        <p:spPr bwMode="gray">
          <a:xfrm>
            <a:off x="7625290" y="502300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7" name="Oval 106">
            <a:extLst>
              <a:ext uri="{FF2B5EF4-FFF2-40B4-BE49-F238E27FC236}">
                <a16:creationId xmlns:a16="http://schemas.microsoft.com/office/drawing/2014/main" id="{61DCD68B-E249-C408-0369-FAA9342DCAB5}"/>
              </a:ext>
            </a:extLst>
          </p:cNvPr>
          <p:cNvSpPr/>
          <p:nvPr/>
        </p:nvSpPr>
        <p:spPr bwMode="gray">
          <a:xfrm>
            <a:off x="7703664" y="503779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8" name="Oval 107">
            <a:extLst>
              <a:ext uri="{FF2B5EF4-FFF2-40B4-BE49-F238E27FC236}">
                <a16:creationId xmlns:a16="http://schemas.microsoft.com/office/drawing/2014/main" id="{DDAF8FBE-D036-1308-4146-E4C130378B62}"/>
              </a:ext>
            </a:extLst>
          </p:cNvPr>
          <p:cNvSpPr/>
          <p:nvPr/>
        </p:nvSpPr>
        <p:spPr bwMode="gray">
          <a:xfrm>
            <a:off x="7998401" y="525340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Oval 108">
            <a:extLst>
              <a:ext uri="{FF2B5EF4-FFF2-40B4-BE49-F238E27FC236}">
                <a16:creationId xmlns:a16="http://schemas.microsoft.com/office/drawing/2014/main" id="{9D0AC715-0EE0-58CF-6D65-C04C615F56C6}"/>
              </a:ext>
            </a:extLst>
          </p:cNvPr>
          <p:cNvSpPr/>
          <p:nvPr/>
        </p:nvSpPr>
        <p:spPr bwMode="gray">
          <a:xfrm>
            <a:off x="7365244" y="474632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Oval 109">
            <a:extLst>
              <a:ext uri="{FF2B5EF4-FFF2-40B4-BE49-F238E27FC236}">
                <a16:creationId xmlns:a16="http://schemas.microsoft.com/office/drawing/2014/main" id="{F4A70B01-7170-E4DD-1F06-63428ED4EC3E}"/>
              </a:ext>
            </a:extLst>
          </p:cNvPr>
          <p:cNvSpPr/>
          <p:nvPr/>
        </p:nvSpPr>
        <p:spPr bwMode="gray">
          <a:xfrm>
            <a:off x="8898728" y="542446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1" name="Oval 110">
            <a:extLst>
              <a:ext uri="{FF2B5EF4-FFF2-40B4-BE49-F238E27FC236}">
                <a16:creationId xmlns:a16="http://schemas.microsoft.com/office/drawing/2014/main" id="{21AE4322-F88B-D8A2-260D-631173F7342A}"/>
              </a:ext>
            </a:extLst>
          </p:cNvPr>
          <p:cNvSpPr/>
          <p:nvPr/>
        </p:nvSpPr>
        <p:spPr bwMode="gray">
          <a:xfrm>
            <a:off x="9821692" y="543445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2" name="Oval 111">
            <a:extLst>
              <a:ext uri="{FF2B5EF4-FFF2-40B4-BE49-F238E27FC236}">
                <a16:creationId xmlns:a16="http://schemas.microsoft.com/office/drawing/2014/main" id="{01EBC07C-2F2C-FB3E-B294-B32941559AAE}"/>
              </a:ext>
            </a:extLst>
          </p:cNvPr>
          <p:cNvSpPr/>
          <p:nvPr/>
        </p:nvSpPr>
        <p:spPr bwMode="gray">
          <a:xfrm>
            <a:off x="10018204" y="544304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3" name="Oval 112">
            <a:extLst>
              <a:ext uri="{FF2B5EF4-FFF2-40B4-BE49-F238E27FC236}">
                <a16:creationId xmlns:a16="http://schemas.microsoft.com/office/drawing/2014/main" id="{6A8B38B0-FD48-34BA-49E4-808BA7AED6FC}"/>
              </a:ext>
            </a:extLst>
          </p:cNvPr>
          <p:cNvSpPr/>
          <p:nvPr/>
        </p:nvSpPr>
        <p:spPr bwMode="gray">
          <a:xfrm>
            <a:off x="9564635" y="547862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Oval 113">
            <a:extLst>
              <a:ext uri="{FF2B5EF4-FFF2-40B4-BE49-F238E27FC236}">
                <a16:creationId xmlns:a16="http://schemas.microsoft.com/office/drawing/2014/main" id="{14A1F2AC-1988-05D7-76DC-5656845098AD}"/>
              </a:ext>
            </a:extLst>
          </p:cNvPr>
          <p:cNvSpPr/>
          <p:nvPr/>
        </p:nvSpPr>
        <p:spPr bwMode="gray">
          <a:xfrm>
            <a:off x="9664096" y="548879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5" name="Oval 114">
            <a:extLst>
              <a:ext uri="{FF2B5EF4-FFF2-40B4-BE49-F238E27FC236}">
                <a16:creationId xmlns:a16="http://schemas.microsoft.com/office/drawing/2014/main" id="{7C738EB2-09A4-A754-4F86-A68D5ACF7955}"/>
              </a:ext>
            </a:extLst>
          </p:cNvPr>
          <p:cNvSpPr/>
          <p:nvPr/>
        </p:nvSpPr>
        <p:spPr bwMode="gray">
          <a:xfrm>
            <a:off x="9472101" y="543266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6" name="Oval 115">
            <a:extLst>
              <a:ext uri="{FF2B5EF4-FFF2-40B4-BE49-F238E27FC236}">
                <a16:creationId xmlns:a16="http://schemas.microsoft.com/office/drawing/2014/main" id="{88FB2E2A-FE14-01B0-C74B-D3565ABA730B}"/>
              </a:ext>
            </a:extLst>
          </p:cNvPr>
          <p:cNvSpPr/>
          <p:nvPr/>
        </p:nvSpPr>
        <p:spPr bwMode="gray">
          <a:xfrm>
            <a:off x="9740150" y="549351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7" name="Oval 116">
            <a:extLst>
              <a:ext uri="{FF2B5EF4-FFF2-40B4-BE49-F238E27FC236}">
                <a16:creationId xmlns:a16="http://schemas.microsoft.com/office/drawing/2014/main" id="{017D5A74-CC2F-93BA-632C-34749C77CA40}"/>
              </a:ext>
            </a:extLst>
          </p:cNvPr>
          <p:cNvSpPr/>
          <p:nvPr/>
        </p:nvSpPr>
        <p:spPr bwMode="gray">
          <a:xfrm>
            <a:off x="9069332" y="544304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8" name="Oval 117">
            <a:extLst>
              <a:ext uri="{FF2B5EF4-FFF2-40B4-BE49-F238E27FC236}">
                <a16:creationId xmlns:a16="http://schemas.microsoft.com/office/drawing/2014/main" id="{F34F3A96-B6AE-CD6F-0072-A246B4554E86}"/>
              </a:ext>
            </a:extLst>
          </p:cNvPr>
          <p:cNvSpPr/>
          <p:nvPr/>
        </p:nvSpPr>
        <p:spPr bwMode="gray">
          <a:xfrm>
            <a:off x="8740572" y="539475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9" name="Oval 118">
            <a:extLst>
              <a:ext uri="{FF2B5EF4-FFF2-40B4-BE49-F238E27FC236}">
                <a16:creationId xmlns:a16="http://schemas.microsoft.com/office/drawing/2014/main" id="{47A80263-8E94-4F96-B975-960DB3602471}"/>
              </a:ext>
            </a:extLst>
          </p:cNvPr>
          <p:cNvSpPr/>
          <p:nvPr/>
        </p:nvSpPr>
        <p:spPr bwMode="gray">
          <a:xfrm>
            <a:off x="8664706" y="539475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0" name="Oval 119">
            <a:extLst>
              <a:ext uri="{FF2B5EF4-FFF2-40B4-BE49-F238E27FC236}">
                <a16:creationId xmlns:a16="http://schemas.microsoft.com/office/drawing/2014/main" id="{05E3A334-C8DA-7AC9-D9E9-04953C4CD5F1}"/>
              </a:ext>
            </a:extLst>
          </p:cNvPr>
          <p:cNvSpPr/>
          <p:nvPr/>
        </p:nvSpPr>
        <p:spPr bwMode="gray">
          <a:xfrm>
            <a:off x="8596420" y="534165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1" name="Oval 120">
            <a:extLst>
              <a:ext uri="{FF2B5EF4-FFF2-40B4-BE49-F238E27FC236}">
                <a16:creationId xmlns:a16="http://schemas.microsoft.com/office/drawing/2014/main" id="{065F2A29-7A57-5790-885B-46457FA67FD3}"/>
              </a:ext>
            </a:extLst>
          </p:cNvPr>
          <p:cNvSpPr/>
          <p:nvPr/>
        </p:nvSpPr>
        <p:spPr bwMode="gray">
          <a:xfrm>
            <a:off x="8521917" y="537379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2" name="Oval 121">
            <a:extLst>
              <a:ext uri="{FF2B5EF4-FFF2-40B4-BE49-F238E27FC236}">
                <a16:creationId xmlns:a16="http://schemas.microsoft.com/office/drawing/2014/main" id="{CD1AFB6A-BF11-4ABC-CB9A-0E94ED3989EF}"/>
              </a:ext>
            </a:extLst>
          </p:cNvPr>
          <p:cNvSpPr/>
          <p:nvPr/>
        </p:nvSpPr>
        <p:spPr bwMode="gray">
          <a:xfrm>
            <a:off x="8342361" y="533135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3" name="Oval 122">
            <a:extLst>
              <a:ext uri="{FF2B5EF4-FFF2-40B4-BE49-F238E27FC236}">
                <a16:creationId xmlns:a16="http://schemas.microsoft.com/office/drawing/2014/main" id="{C7581E4C-F3AD-F033-0D0B-E72A1AA3D41B}"/>
              </a:ext>
            </a:extLst>
          </p:cNvPr>
          <p:cNvSpPr/>
          <p:nvPr/>
        </p:nvSpPr>
        <p:spPr bwMode="gray">
          <a:xfrm>
            <a:off x="8231086" y="5302631"/>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4" name="Oval 123">
            <a:extLst>
              <a:ext uri="{FF2B5EF4-FFF2-40B4-BE49-F238E27FC236}">
                <a16:creationId xmlns:a16="http://schemas.microsoft.com/office/drawing/2014/main" id="{07084534-5F74-A163-D2EA-BCE0DB40165C}"/>
              </a:ext>
            </a:extLst>
          </p:cNvPr>
          <p:cNvSpPr/>
          <p:nvPr/>
        </p:nvSpPr>
        <p:spPr bwMode="gray">
          <a:xfrm>
            <a:off x="8385353" y="527228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5" name="Oval 124">
            <a:extLst>
              <a:ext uri="{FF2B5EF4-FFF2-40B4-BE49-F238E27FC236}">
                <a16:creationId xmlns:a16="http://schemas.microsoft.com/office/drawing/2014/main" id="{93B8DB93-48BB-9D4C-1E89-62F68F191957}"/>
              </a:ext>
            </a:extLst>
          </p:cNvPr>
          <p:cNvSpPr/>
          <p:nvPr/>
        </p:nvSpPr>
        <p:spPr bwMode="gray">
          <a:xfrm>
            <a:off x="8486335" y="529924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6" name="Oval 125">
            <a:extLst>
              <a:ext uri="{FF2B5EF4-FFF2-40B4-BE49-F238E27FC236}">
                <a16:creationId xmlns:a16="http://schemas.microsoft.com/office/drawing/2014/main" id="{2747BBE8-1B14-492B-42F7-A8A25EAFF8B4}"/>
              </a:ext>
            </a:extLst>
          </p:cNvPr>
          <p:cNvSpPr/>
          <p:nvPr/>
        </p:nvSpPr>
        <p:spPr bwMode="gray">
          <a:xfrm>
            <a:off x="8446049" y="531853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7" name="Oval 126">
            <a:extLst>
              <a:ext uri="{FF2B5EF4-FFF2-40B4-BE49-F238E27FC236}">
                <a16:creationId xmlns:a16="http://schemas.microsoft.com/office/drawing/2014/main" id="{31926EE0-7EC1-77C5-F326-5585384E3AC4}"/>
              </a:ext>
            </a:extLst>
          </p:cNvPr>
          <p:cNvSpPr/>
          <p:nvPr/>
        </p:nvSpPr>
        <p:spPr bwMode="gray">
          <a:xfrm>
            <a:off x="8057656" y="528296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8" name="Oval 127">
            <a:extLst>
              <a:ext uri="{FF2B5EF4-FFF2-40B4-BE49-F238E27FC236}">
                <a16:creationId xmlns:a16="http://schemas.microsoft.com/office/drawing/2014/main" id="{6550AAA1-D9B5-8F85-F74F-DCD6542ED281}"/>
              </a:ext>
            </a:extLst>
          </p:cNvPr>
          <p:cNvSpPr/>
          <p:nvPr/>
        </p:nvSpPr>
        <p:spPr bwMode="gray">
          <a:xfrm>
            <a:off x="8047629" y="523290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9" name="Oval 128">
            <a:extLst>
              <a:ext uri="{FF2B5EF4-FFF2-40B4-BE49-F238E27FC236}">
                <a16:creationId xmlns:a16="http://schemas.microsoft.com/office/drawing/2014/main" id="{A647903C-5C39-E5BE-FBB7-3EC390F298D2}"/>
              </a:ext>
            </a:extLst>
          </p:cNvPr>
          <p:cNvSpPr/>
          <p:nvPr/>
        </p:nvSpPr>
        <p:spPr bwMode="gray">
          <a:xfrm>
            <a:off x="8083836" y="527470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0" name="Oval 129">
            <a:extLst>
              <a:ext uri="{FF2B5EF4-FFF2-40B4-BE49-F238E27FC236}">
                <a16:creationId xmlns:a16="http://schemas.microsoft.com/office/drawing/2014/main" id="{C22CD837-D7DA-6B6F-095C-7040813BB1E8}"/>
              </a:ext>
            </a:extLst>
          </p:cNvPr>
          <p:cNvSpPr/>
          <p:nvPr/>
        </p:nvSpPr>
        <p:spPr bwMode="gray">
          <a:xfrm>
            <a:off x="7998401" y="522225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1" name="Oval 130">
            <a:extLst>
              <a:ext uri="{FF2B5EF4-FFF2-40B4-BE49-F238E27FC236}">
                <a16:creationId xmlns:a16="http://schemas.microsoft.com/office/drawing/2014/main" id="{069E47F5-D940-453E-D57A-AC7F631282B1}"/>
              </a:ext>
            </a:extLst>
          </p:cNvPr>
          <p:cNvSpPr/>
          <p:nvPr/>
        </p:nvSpPr>
        <p:spPr bwMode="gray">
          <a:xfrm>
            <a:off x="7857955" y="515497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2" name="Oval 131">
            <a:extLst>
              <a:ext uri="{FF2B5EF4-FFF2-40B4-BE49-F238E27FC236}">
                <a16:creationId xmlns:a16="http://schemas.microsoft.com/office/drawing/2014/main" id="{1AE8EBA7-1037-79EF-C3DA-0D72C06F0089}"/>
              </a:ext>
            </a:extLst>
          </p:cNvPr>
          <p:cNvSpPr/>
          <p:nvPr/>
        </p:nvSpPr>
        <p:spPr bwMode="gray">
          <a:xfrm>
            <a:off x="7688620" y="499237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3" name="Oval 132">
            <a:extLst>
              <a:ext uri="{FF2B5EF4-FFF2-40B4-BE49-F238E27FC236}">
                <a16:creationId xmlns:a16="http://schemas.microsoft.com/office/drawing/2014/main" id="{DA0D2792-ECDF-9EB0-A567-31AF7043C0B6}"/>
              </a:ext>
            </a:extLst>
          </p:cNvPr>
          <p:cNvSpPr/>
          <p:nvPr/>
        </p:nvSpPr>
        <p:spPr bwMode="gray">
          <a:xfrm>
            <a:off x="7620468" y="492923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4" name="Oval 133">
            <a:extLst>
              <a:ext uri="{FF2B5EF4-FFF2-40B4-BE49-F238E27FC236}">
                <a16:creationId xmlns:a16="http://schemas.microsoft.com/office/drawing/2014/main" id="{C26E7B5E-8D5D-1A45-326A-9CF802D2F786}"/>
              </a:ext>
            </a:extLst>
          </p:cNvPr>
          <p:cNvSpPr/>
          <p:nvPr/>
        </p:nvSpPr>
        <p:spPr bwMode="gray">
          <a:xfrm>
            <a:off x="7571005" y="492357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5" name="Oval 134">
            <a:extLst>
              <a:ext uri="{FF2B5EF4-FFF2-40B4-BE49-F238E27FC236}">
                <a16:creationId xmlns:a16="http://schemas.microsoft.com/office/drawing/2014/main" id="{0CAEB1F3-AE9D-BF41-FC44-40EF54D40A2B}"/>
              </a:ext>
            </a:extLst>
          </p:cNvPr>
          <p:cNvSpPr/>
          <p:nvPr/>
        </p:nvSpPr>
        <p:spPr bwMode="gray">
          <a:xfrm>
            <a:off x="7456308" y="474915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6" name="Oval 135">
            <a:extLst>
              <a:ext uri="{FF2B5EF4-FFF2-40B4-BE49-F238E27FC236}">
                <a16:creationId xmlns:a16="http://schemas.microsoft.com/office/drawing/2014/main" id="{BD5344C2-3851-829A-F6F5-88741114E4CB}"/>
              </a:ext>
            </a:extLst>
          </p:cNvPr>
          <p:cNvSpPr/>
          <p:nvPr/>
        </p:nvSpPr>
        <p:spPr bwMode="gray">
          <a:xfrm>
            <a:off x="7578592" y="4887957"/>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7" name="Oval 136">
            <a:extLst>
              <a:ext uri="{FF2B5EF4-FFF2-40B4-BE49-F238E27FC236}">
                <a16:creationId xmlns:a16="http://schemas.microsoft.com/office/drawing/2014/main" id="{95D61F64-CC5F-E69B-F6CD-1E6B7F036F5F}"/>
              </a:ext>
            </a:extLst>
          </p:cNvPr>
          <p:cNvSpPr/>
          <p:nvPr/>
        </p:nvSpPr>
        <p:spPr bwMode="gray">
          <a:xfrm>
            <a:off x="7526223" y="484925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8" name="Oval 137">
            <a:extLst>
              <a:ext uri="{FF2B5EF4-FFF2-40B4-BE49-F238E27FC236}">
                <a16:creationId xmlns:a16="http://schemas.microsoft.com/office/drawing/2014/main" id="{DD22FD70-50A4-F616-71C4-965EDA32CF18}"/>
              </a:ext>
            </a:extLst>
          </p:cNvPr>
          <p:cNvSpPr/>
          <p:nvPr/>
        </p:nvSpPr>
        <p:spPr bwMode="gray">
          <a:xfrm>
            <a:off x="6787751" y="381794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9" name="Oval 138">
            <a:extLst>
              <a:ext uri="{FF2B5EF4-FFF2-40B4-BE49-F238E27FC236}">
                <a16:creationId xmlns:a16="http://schemas.microsoft.com/office/drawing/2014/main" id="{ED2B8E64-7FB3-7683-CD43-37633A029192}"/>
              </a:ext>
            </a:extLst>
          </p:cNvPr>
          <p:cNvSpPr/>
          <p:nvPr/>
        </p:nvSpPr>
        <p:spPr bwMode="gray">
          <a:xfrm>
            <a:off x="6858916" y="386801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0" name="Oval 139">
            <a:extLst>
              <a:ext uri="{FF2B5EF4-FFF2-40B4-BE49-F238E27FC236}">
                <a16:creationId xmlns:a16="http://schemas.microsoft.com/office/drawing/2014/main" id="{3F89181B-8915-36B5-D889-12E3B0EAC13E}"/>
              </a:ext>
            </a:extLst>
          </p:cNvPr>
          <p:cNvSpPr/>
          <p:nvPr/>
        </p:nvSpPr>
        <p:spPr bwMode="gray">
          <a:xfrm>
            <a:off x="6919259" y="3967272"/>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1" name="Oval 140">
            <a:extLst>
              <a:ext uri="{FF2B5EF4-FFF2-40B4-BE49-F238E27FC236}">
                <a16:creationId xmlns:a16="http://schemas.microsoft.com/office/drawing/2014/main" id="{38015200-BCBA-26D3-784E-D662092BE3CC}"/>
              </a:ext>
            </a:extLst>
          </p:cNvPr>
          <p:cNvSpPr/>
          <p:nvPr/>
        </p:nvSpPr>
        <p:spPr bwMode="gray">
          <a:xfrm>
            <a:off x="6884030" y="391836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2" name="Oval 141">
            <a:extLst>
              <a:ext uri="{FF2B5EF4-FFF2-40B4-BE49-F238E27FC236}">
                <a16:creationId xmlns:a16="http://schemas.microsoft.com/office/drawing/2014/main" id="{238B81C0-061E-C1AC-11ED-621F284410FA}"/>
              </a:ext>
            </a:extLst>
          </p:cNvPr>
          <p:cNvSpPr/>
          <p:nvPr/>
        </p:nvSpPr>
        <p:spPr bwMode="gray">
          <a:xfrm>
            <a:off x="7003767" y="409980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3" name="Oval 142">
            <a:extLst>
              <a:ext uri="{FF2B5EF4-FFF2-40B4-BE49-F238E27FC236}">
                <a16:creationId xmlns:a16="http://schemas.microsoft.com/office/drawing/2014/main" id="{BDAD5AEC-235C-6D62-EF9D-A7DF777BDE8C}"/>
              </a:ext>
            </a:extLst>
          </p:cNvPr>
          <p:cNvSpPr/>
          <p:nvPr/>
        </p:nvSpPr>
        <p:spPr bwMode="gray">
          <a:xfrm>
            <a:off x="7051815" y="4147849"/>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4" name="Oval 143">
            <a:extLst>
              <a:ext uri="{FF2B5EF4-FFF2-40B4-BE49-F238E27FC236}">
                <a16:creationId xmlns:a16="http://schemas.microsoft.com/office/drawing/2014/main" id="{E5244B78-7E7B-7724-8FD2-497D0CDFF5A9}"/>
              </a:ext>
            </a:extLst>
          </p:cNvPr>
          <p:cNvSpPr/>
          <p:nvPr/>
        </p:nvSpPr>
        <p:spPr bwMode="gray">
          <a:xfrm>
            <a:off x="7119474" y="4300854"/>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5" name="Oval 144">
            <a:extLst>
              <a:ext uri="{FF2B5EF4-FFF2-40B4-BE49-F238E27FC236}">
                <a16:creationId xmlns:a16="http://schemas.microsoft.com/office/drawing/2014/main" id="{28B0E59A-21D4-812D-75B0-287CC2BE5BEF}"/>
              </a:ext>
            </a:extLst>
          </p:cNvPr>
          <p:cNvSpPr/>
          <p:nvPr/>
        </p:nvSpPr>
        <p:spPr bwMode="gray">
          <a:xfrm>
            <a:off x="7158034" y="423130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6" name="Oval 145">
            <a:extLst>
              <a:ext uri="{FF2B5EF4-FFF2-40B4-BE49-F238E27FC236}">
                <a16:creationId xmlns:a16="http://schemas.microsoft.com/office/drawing/2014/main" id="{C9CC74BE-4BD0-F9C3-7020-82570E5AAD30}"/>
              </a:ext>
            </a:extLst>
          </p:cNvPr>
          <p:cNvSpPr/>
          <p:nvPr/>
        </p:nvSpPr>
        <p:spPr bwMode="gray">
          <a:xfrm>
            <a:off x="7195969" y="4367873"/>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7" name="Oval 146">
            <a:extLst>
              <a:ext uri="{FF2B5EF4-FFF2-40B4-BE49-F238E27FC236}">
                <a16:creationId xmlns:a16="http://schemas.microsoft.com/office/drawing/2014/main" id="{35F4DD49-F9C9-7A6F-2E59-0008949E0AD1}"/>
              </a:ext>
            </a:extLst>
          </p:cNvPr>
          <p:cNvSpPr/>
          <p:nvPr/>
        </p:nvSpPr>
        <p:spPr bwMode="gray">
          <a:xfrm>
            <a:off x="7256665" y="4413395"/>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8" name="Oval 147">
            <a:extLst>
              <a:ext uri="{FF2B5EF4-FFF2-40B4-BE49-F238E27FC236}">
                <a16:creationId xmlns:a16="http://schemas.microsoft.com/office/drawing/2014/main" id="{1CDFD237-ED54-E214-228A-EF7B78FF37D6}"/>
              </a:ext>
            </a:extLst>
          </p:cNvPr>
          <p:cNvSpPr/>
          <p:nvPr/>
        </p:nvSpPr>
        <p:spPr bwMode="gray">
          <a:xfrm>
            <a:off x="10288832" y="4202075"/>
            <a:ext cx="475259" cy="406591"/>
          </a:xfrm>
          <a:prstGeom prst="ellipse">
            <a:avLst/>
          </a:prstGeom>
          <a:noFill/>
          <a:ln w="57150">
            <a:solidFill>
              <a:schemeClr val="accent3"/>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9" name="Oval 148">
            <a:extLst>
              <a:ext uri="{FF2B5EF4-FFF2-40B4-BE49-F238E27FC236}">
                <a16:creationId xmlns:a16="http://schemas.microsoft.com/office/drawing/2014/main" id="{75F40D30-438D-6558-B51A-0EBBCD2DC8AD}"/>
              </a:ext>
            </a:extLst>
          </p:cNvPr>
          <p:cNvSpPr/>
          <p:nvPr/>
        </p:nvSpPr>
        <p:spPr bwMode="gray">
          <a:xfrm>
            <a:off x="7302188" y="4580310"/>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0" name="Oval 149">
            <a:extLst>
              <a:ext uri="{FF2B5EF4-FFF2-40B4-BE49-F238E27FC236}">
                <a16:creationId xmlns:a16="http://schemas.microsoft.com/office/drawing/2014/main" id="{B4089C30-E0B8-7F48-0470-BDC306325503}"/>
              </a:ext>
            </a:extLst>
          </p:cNvPr>
          <p:cNvSpPr/>
          <p:nvPr/>
        </p:nvSpPr>
        <p:spPr bwMode="gray">
          <a:xfrm>
            <a:off x="7294599" y="4512026"/>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1" name="Oval 150">
            <a:extLst>
              <a:ext uri="{FF2B5EF4-FFF2-40B4-BE49-F238E27FC236}">
                <a16:creationId xmlns:a16="http://schemas.microsoft.com/office/drawing/2014/main" id="{C0D00A76-67DB-0F12-8AB3-7B3C7669DCA3}"/>
              </a:ext>
            </a:extLst>
          </p:cNvPr>
          <p:cNvSpPr/>
          <p:nvPr/>
        </p:nvSpPr>
        <p:spPr bwMode="gray">
          <a:xfrm>
            <a:off x="7271839" y="4458918"/>
            <a:ext cx="71165" cy="71165"/>
          </a:xfrm>
          <a:prstGeom prst="ellipse">
            <a:avLst/>
          </a:prstGeom>
          <a:solidFill>
            <a:schemeClr val="accent6"/>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2" name="Oval 151">
            <a:extLst>
              <a:ext uri="{FF2B5EF4-FFF2-40B4-BE49-F238E27FC236}">
                <a16:creationId xmlns:a16="http://schemas.microsoft.com/office/drawing/2014/main" id="{D1449A74-7F89-30B9-363A-86FB6F90191F}"/>
              </a:ext>
            </a:extLst>
          </p:cNvPr>
          <p:cNvSpPr/>
          <p:nvPr/>
        </p:nvSpPr>
        <p:spPr bwMode="gray">
          <a:xfrm>
            <a:off x="9371944" y="4486670"/>
            <a:ext cx="560804" cy="717923"/>
          </a:xfrm>
          <a:prstGeom prst="ellipse">
            <a:avLst/>
          </a:prstGeom>
          <a:noFill/>
          <a:ln w="57150">
            <a:solidFill>
              <a:schemeClr val="accent3"/>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3" name="Oval 152">
            <a:extLst>
              <a:ext uri="{FF2B5EF4-FFF2-40B4-BE49-F238E27FC236}">
                <a16:creationId xmlns:a16="http://schemas.microsoft.com/office/drawing/2014/main" id="{6C996746-12C2-EC36-B655-513210B9C45B}"/>
              </a:ext>
            </a:extLst>
          </p:cNvPr>
          <p:cNvSpPr/>
          <p:nvPr/>
        </p:nvSpPr>
        <p:spPr bwMode="gray">
          <a:xfrm>
            <a:off x="11591558" y="4640841"/>
            <a:ext cx="342818" cy="192837"/>
          </a:xfrm>
          <a:prstGeom prst="ellipse">
            <a:avLst/>
          </a:prstGeom>
          <a:noFill/>
          <a:ln w="57150">
            <a:solidFill>
              <a:schemeClr val="accent3"/>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4" name="Oval 153">
            <a:extLst>
              <a:ext uri="{FF2B5EF4-FFF2-40B4-BE49-F238E27FC236}">
                <a16:creationId xmlns:a16="http://schemas.microsoft.com/office/drawing/2014/main" id="{DBC0B101-7F11-47DF-D0AB-7CB4BE990BB0}"/>
              </a:ext>
            </a:extLst>
          </p:cNvPr>
          <p:cNvSpPr/>
          <p:nvPr/>
        </p:nvSpPr>
        <p:spPr bwMode="gray">
          <a:xfrm>
            <a:off x="10546180" y="4753305"/>
            <a:ext cx="212327" cy="142263"/>
          </a:xfrm>
          <a:prstGeom prst="ellipse">
            <a:avLst/>
          </a:prstGeom>
          <a:noFill/>
          <a:ln w="19050"/>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191" name="Chart 190">
            <a:extLst>
              <a:ext uri="{FF2B5EF4-FFF2-40B4-BE49-F238E27FC236}">
                <a16:creationId xmlns:a16="http://schemas.microsoft.com/office/drawing/2014/main" id="{F4CB3434-B23B-0E60-20D5-F0D2203B45FD}"/>
              </a:ext>
            </a:extLst>
          </p:cNvPr>
          <p:cNvGraphicFramePr/>
          <p:nvPr>
            <p:custDataLst>
              <p:tags r:id="rId10"/>
            </p:custDataLst>
            <p:extLst>
              <p:ext uri="{D42A27DB-BD31-4B8C-83A1-F6EECF244321}">
                <p14:modId xmlns:p14="http://schemas.microsoft.com/office/powerpoint/2010/main" val="712974466"/>
              </p:ext>
            </p:extLst>
          </p:nvPr>
        </p:nvGraphicFramePr>
        <p:xfrm>
          <a:off x="685800" y="4513263"/>
          <a:ext cx="5424488" cy="706437"/>
        </p:xfrm>
        <a:graphic>
          <a:graphicData uri="http://schemas.openxmlformats.org/drawingml/2006/chart">
            <c:chart xmlns:c="http://schemas.openxmlformats.org/drawingml/2006/chart" xmlns:r="http://schemas.openxmlformats.org/officeDocument/2006/relationships" r:id="rId47"/>
          </a:graphicData>
        </a:graphic>
      </p:graphicFrame>
      <p:sp>
        <p:nvSpPr>
          <p:cNvPr id="156" name="Text Placeholder 10">
            <a:extLst>
              <a:ext uri="{FF2B5EF4-FFF2-40B4-BE49-F238E27FC236}">
                <a16:creationId xmlns:a16="http://schemas.microsoft.com/office/drawing/2014/main" id="{C592983C-9032-E257-8F7C-40094175755E}"/>
              </a:ext>
            </a:extLst>
          </p:cNvPr>
          <p:cNvSpPr>
            <a:spLocks/>
          </p:cNvSpPr>
          <p:nvPr>
            <p:custDataLst>
              <p:tags r:id="rId11"/>
            </p:custDataLst>
          </p:nvPr>
        </p:nvSpPr>
        <p:spPr bwMode="gray">
          <a:xfrm>
            <a:off x="5368925" y="4775200"/>
            <a:ext cx="2127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D5D326-E964-406C-914E-9A27C1E1AE26}" type="datetime'''''''''''''''''21'''''''''''''''''''''''''''''''''''''">
              <a:rPr lang="en-US" altLang="en-US" sz="1200" smtClean="0">
                <a:solidFill>
                  <a:schemeClr val="bg1"/>
                </a:solidFill>
              </a:rPr>
              <a:pPr marL="0" lvl="0" indent="0" algn="ctr">
                <a:spcBef>
                  <a:spcPct val="0"/>
                </a:spcBef>
                <a:spcAft>
                  <a:spcPct val="0"/>
                </a:spcAft>
                <a:buNone/>
              </a:pPr>
              <a:t>21</a:t>
            </a:fld>
            <a:endParaRPr lang="en-US" sz="1200" dirty="0">
              <a:solidFill>
                <a:schemeClr val="bg1"/>
              </a:solidFill>
            </a:endParaRPr>
          </a:p>
        </p:txBody>
      </p:sp>
      <p:sp>
        <p:nvSpPr>
          <p:cNvPr id="157" name="Text Placeholder 10">
            <a:extLst>
              <a:ext uri="{FF2B5EF4-FFF2-40B4-BE49-F238E27FC236}">
                <a16:creationId xmlns:a16="http://schemas.microsoft.com/office/drawing/2014/main" id="{01AD3EBC-8AD0-7A5F-4E11-8CE3E693EEC8}"/>
              </a:ext>
            </a:extLst>
          </p:cNvPr>
          <p:cNvSpPr>
            <a:spLocks/>
          </p:cNvSpPr>
          <p:nvPr>
            <p:custDataLst>
              <p:tags r:id="rId12"/>
            </p:custDataLst>
          </p:nvPr>
        </p:nvSpPr>
        <p:spPr bwMode="gray">
          <a:xfrm>
            <a:off x="4754563" y="477520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9DFC64-4104-403C-8AE4-A05A50229E3D}" type="datetime'''''''''''''''''''''''4'''''">
              <a:rPr lang="en-US" altLang="en-US" sz="1200" smtClean="0">
                <a:solidFill>
                  <a:schemeClr val="bg1"/>
                </a:solidFill>
              </a:rPr>
              <a:pPr marL="0" lvl="0" indent="0" algn="ctr">
                <a:spcBef>
                  <a:spcPct val="0"/>
                </a:spcBef>
                <a:spcAft>
                  <a:spcPct val="0"/>
                </a:spcAft>
                <a:buNone/>
              </a:pPr>
              <a:t>4</a:t>
            </a:fld>
            <a:endParaRPr lang="en-US" sz="1200" dirty="0">
              <a:solidFill>
                <a:schemeClr val="bg1"/>
              </a:solidFill>
            </a:endParaRPr>
          </a:p>
        </p:txBody>
      </p:sp>
      <p:sp>
        <p:nvSpPr>
          <p:cNvPr id="158" name="Text Placeholder 10">
            <a:extLst>
              <a:ext uri="{FF2B5EF4-FFF2-40B4-BE49-F238E27FC236}">
                <a16:creationId xmlns:a16="http://schemas.microsoft.com/office/drawing/2014/main" id="{77192443-8F99-AA3A-7171-8370615118EE}"/>
              </a:ext>
            </a:extLst>
          </p:cNvPr>
          <p:cNvSpPr>
            <a:spLocks/>
          </p:cNvSpPr>
          <p:nvPr>
            <p:custDataLst>
              <p:tags r:id="rId13"/>
            </p:custDataLst>
          </p:nvPr>
        </p:nvSpPr>
        <p:spPr bwMode="gray">
          <a:xfrm>
            <a:off x="4543425" y="477520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6E9B42-967C-40A5-9C5D-DF876718AD04}" type="datetime'''''''''''''''''''4'">
              <a:rPr lang="en-US" altLang="en-US" sz="1200" smtClean="0">
                <a:solidFill>
                  <a:schemeClr val="bg1"/>
                </a:solidFill>
              </a:rPr>
              <a:pPr marL="0" lvl="0" indent="0" algn="ctr">
                <a:spcBef>
                  <a:spcPct val="0"/>
                </a:spcBef>
                <a:spcAft>
                  <a:spcPct val="0"/>
                </a:spcAft>
                <a:buNone/>
              </a:pPr>
              <a:t>4</a:t>
            </a:fld>
            <a:endParaRPr lang="en-US" sz="1200" dirty="0">
              <a:solidFill>
                <a:schemeClr val="bg1"/>
              </a:solidFill>
            </a:endParaRPr>
          </a:p>
        </p:txBody>
      </p:sp>
      <p:sp>
        <p:nvSpPr>
          <p:cNvPr id="159" name="Text Placeholder 10">
            <a:extLst>
              <a:ext uri="{FF2B5EF4-FFF2-40B4-BE49-F238E27FC236}">
                <a16:creationId xmlns:a16="http://schemas.microsoft.com/office/drawing/2014/main" id="{C81A0825-742B-FD08-99AB-F1F362656E56}"/>
              </a:ext>
            </a:extLst>
          </p:cNvPr>
          <p:cNvSpPr>
            <a:spLocks/>
          </p:cNvSpPr>
          <p:nvPr>
            <p:custDataLst>
              <p:tags r:id="rId14"/>
            </p:custDataLst>
          </p:nvPr>
        </p:nvSpPr>
        <p:spPr bwMode="gray">
          <a:xfrm>
            <a:off x="3895725" y="47752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B3C535-B8AC-41C4-BBBE-0928D1D93882}" type="datetime'''''''1''''''''''''''''9'''''''''''''''''''">
              <a:rPr lang="en-US" altLang="en-US" sz="1200" smtClean="0"/>
              <a:pPr marL="0" lvl="0" indent="0" algn="ctr">
                <a:spcBef>
                  <a:spcPct val="0"/>
                </a:spcBef>
                <a:spcAft>
                  <a:spcPct val="0"/>
                </a:spcAft>
                <a:buNone/>
              </a:pPr>
              <a:t>19</a:t>
            </a:fld>
            <a:endParaRPr lang="en-US" sz="1200" dirty="0"/>
          </a:p>
        </p:txBody>
      </p:sp>
      <p:sp>
        <p:nvSpPr>
          <p:cNvPr id="160" name="Text Placeholder 10">
            <a:extLst>
              <a:ext uri="{FF2B5EF4-FFF2-40B4-BE49-F238E27FC236}">
                <a16:creationId xmlns:a16="http://schemas.microsoft.com/office/drawing/2014/main" id="{CCA742BC-3504-2335-F60B-32F45D38B197}"/>
              </a:ext>
            </a:extLst>
          </p:cNvPr>
          <p:cNvSpPr>
            <a:spLocks/>
          </p:cNvSpPr>
          <p:nvPr>
            <p:custDataLst>
              <p:tags r:id="rId15"/>
            </p:custDataLst>
          </p:nvPr>
        </p:nvSpPr>
        <p:spPr bwMode="gray">
          <a:xfrm>
            <a:off x="2292350" y="47752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276220-2192-4F80-AA5B-74E1486D90D8}" type="datetime'''''''''''''''''''''4''''''''''''''2'''''''">
              <a:rPr lang="en-US" altLang="en-US" sz="1200" smtClean="0">
                <a:solidFill>
                  <a:schemeClr val="bg1"/>
                </a:solidFill>
              </a:rPr>
              <a:pPr marL="0" lvl="0" indent="0" algn="ctr">
                <a:spcBef>
                  <a:spcPct val="0"/>
                </a:spcBef>
                <a:spcAft>
                  <a:spcPct val="0"/>
                </a:spcAft>
                <a:buNone/>
              </a:pPr>
              <a:t>42</a:t>
            </a:fld>
            <a:endParaRPr lang="en-US" sz="1200" dirty="0">
              <a:solidFill>
                <a:schemeClr val="bg1"/>
              </a:solidFill>
            </a:endParaRPr>
          </a:p>
        </p:txBody>
      </p:sp>
      <p:sp>
        <p:nvSpPr>
          <p:cNvPr id="161" name="Text Placeholder 10">
            <a:extLst>
              <a:ext uri="{FF2B5EF4-FFF2-40B4-BE49-F238E27FC236}">
                <a16:creationId xmlns:a16="http://schemas.microsoft.com/office/drawing/2014/main" id="{04068D1F-8023-09D9-9880-92AF42BAC6B2}"/>
              </a:ext>
            </a:extLst>
          </p:cNvPr>
          <p:cNvSpPr>
            <a:spLocks/>
          </p:cNvSpPr>
          <p:nvPr>
            <p:custDataLst>
              <p:tags r:id="rId16"/>
            </p:custDataLst>
          </p:nvPr>
        </p:nvSpPr>
        <p:spPr bwMode="gray">
          <a:xfrm>
            <a:off x="1150938" y="477520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1DC6AF-1DA6-4B51-84A4-226EE07EC37F}" type="datetime'''3'">
              <a:rPr lang="en-US" altLang="en-US" sz="1200" smtClean="0">
                <a:solidFill>
                  <a:schemeClr val="bg1"/>
                </a:solidFill>
              </a:rPr>
              <a:pPr marL="0" lvl="0" indent="0" algn="ctr">
                <a:spcBef>
                  <a:spcPct val="0"/>
                </a:spcBef>
                <a:spcAft>
                  <a:spcPct val="0"/>
                </a:spcAft>
                <a:buNone/>
              </a:pPr>
              <a:t>3</a:t>
            </a:fld>
            <a:endParaRPr lang="en-US" sz="1200" dirty="0">
              <a:solidFill>
                <a:schemeClr val="bg1"/>
              </a:solidFill>
            </a:endParaRPr>
          </a:p>
        </p:txBody>
      </p:sp>
      <p:sp>
        <p:nvSpPr>
          <p:cNvPr id="162" name="Text Placeholder 10">
            <a:extLst>
              <a:ext uri="{FF2B5EF4-FFF2-40B4-BE49-F238E27FC236}">
                <a16:creationId xmlns:a16="http://schemas.microsoft.com/office/drawing/2014/main" id="{2F8C0484-08A0-DC94-2FAF-621A4B7A12ED}"/>
              </a:ext>
            </a:extLst>
          </p:cNvPr>
          <p:cNvSpPr>
            <a:spLocks/>
          </p:cNvSpPr>
          <p:nvPr>
            <p:custDataLst>
              <p:tags r:id="rId17"/>
            </p:custDataLst>
          </p:nvPr>
        </p:nvSpPr>
        <p:spPr bwMode="gray">
          <a:xfrm>
            <a:off x="889000" y="477520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191FAA-A42C-4E3D-87F8-C6E762458FB3}"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163" name="Rectangle 162">
            <a:extLst>
              <a:ext uri="{FF2B5EF4-FFF2-40B4-BE49-F238E27FC236}">
                <a16:creationId xmlns:a16="http://schemas.microsoft.com/office/drawing/2014/main" id="{E354F807-B7E3-5248-012B-ED492E197160}"/>
              </a:ext>
            </a:extLst>
          </p:cNvPr>
          <p:cNvSpPr/>
          <p:nvPr/>
        </p:nvSpPr>
        <p:spPr bwMode="gray">
          <a:xfrm rot="16200000">
            <a:off x="176213" y="2830513"/>
            <a:ext cx="660400"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dirty="0">
                <a:solidFill>
                  <a:schemeClr val="tx1"/>
                </a:solidFill>
              </a:rPr>
              <a:t>Minerals (kg)</a:t>
            </a:r>
          </a:p>
        </p:txBody>
      </p:sp>
      <p:sp>
        <p:nvSpPr>
          <p:cNvPr id="164" name="Rectangle 163">
            <a:extLst>
              <a:ext uri="{FF2B5EF4-FFF2-40B4-BE49-F238E27FC236}">
                <a16:creationId xmlns:a16="http://schemas.microsoft.com/office/drawing/2014/main" id="{3CD942DD-062C-F571-C324-911ECB0BB43A}"/>
              </a:ext>
            </a:extLst>
          </p:cNvPr>
          <p:cNvSpPr/>
          <p:nvPr/>
        </p:nvSpPr>
        <p:spPr bwMode="gray">
          <a:xfrm rot="16200000">
            <a:off x="-163513" y="4818063"/>
            <a:ext cx="1339850"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100" b="1" dirty="0">
                <a:solidFill>
                  <a:schemeClr val="tx1"/>
                </a:solidFill>
              </a:rPr>
              <a:t>Emissions </a:t>
            </a:r>
          </a:p>
          <a:p>
            <a:pPr marL="0" indent="0" algn="ctr">
              <a:spcBef>
                <a:spcPts val="0"/>
              </a:spcBef>
              <a:buNone/>
            </a:pPr>
            <a:r>
              <a:rPr lang="en-US" sz="1100" b="1" dirty="0">
                <a:solidFill>
                  <a:schemeClr val="tx1"/>
                </a:solidFill>
              </a:rPr>
              <a:t>(kg CO2e/kWh)</a:t>
            </a:r>
          </a:p>
        </p:txBody>
      </p:sp>
      <p:sp>
        <p:nvSpPr>
          <p:cNvPr id="165" name="Rectangle 164">
            <a:extLst>
              <a:ext uri="{FF2B5EF4-FFF2-40B4-BE49-F238E27FC236}">
                <a16:creationId xmlns:a16="http://schemas.microsoft.com/office/drawing/2014/main" id="{DD2FAB61-D2DD-D8E4-7B90-B1A3840FBA9A}"/>
              </a:ext>
            </a:extLst>
          </p:cNvPr>
          <p:cNvSpPr/>
          <p:nvPr/>
        </p:nvSpPr>
        <p:spPr bwMode="gray">
          <a:xfrm>
            <a:off x="6452775" y="1464111"/>
            <a:ext cx="5486400" cy="30309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 Opportunity: Geothermal power to decarbonize nickel refining</a:t>
            </a:r>
          </a:p>
        </p:txBody>
      </p:sp>
      <p:sp>
        <p:nvSpPr>
          <p:cNvPr id="166" name="Rectangle 165">
            <a:extLst>
              <a:ext uri="{FF2B5EF4-FFF2-40B4-BE49-F238E27FC236}">
                <a16:creationId xmlns:a16="http://schemas.microsoft.com/office/drawing/2014/main" id="{4B421C43-5DE2-C314-37C1-312F93207344}"/>
              </a:ext>
            </a:extLst>
          </p:cNvPr>
          <p:cNvSpPr/>
          <p:nvPr/>
        </p:nvSpPr>
        <p:spPr bwMode="gray">
          <a:xfrm>
            <a:off x="322983" y="1464111"/>
            <a:ext cx="5943600" cy="30309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300"/>
              </a:spcBef>
              <a:spcAft>
                <a:spcPts val="300"/>
              </a:spcAft>
              <a:buNone/>
            </a:pPr>
            <a:r>
              <a:rPr lang="en-US" sz="1400" b="1" dirty="0">
                <a:solidFill>
                  <a:schemeClr val="tx1"/>
                </a:solidFill>
              </a:rPr>
              <a:t> Challenge: High emissions from nickel-intensive EV battery</a:t>
            </a:r>
          </a:p>
        </p:txBody>
      </p:sp>
      <p:sp>
        <p:nvSpPr>
          <p:cNvPr id="167" name="Rectangle 166">
            <a:extLst>
              <a:ext uri="{FF2B5EF4-FFF2-40B4-BE49-F238E27FC236}">
                <a16:creationId xmlns:a16="http://schemas.microsoft.com/office/drawing/2014/main" id="{C06116C2-FB52-FCAF-9BC1-F34F3BDFF894}"/>
              </a:ext>
            </a:extLst>
          </p:cNvPr>
          <p:cNvSpPr/>
          <p:nvPr>
            <p:custDataLst>
              <p:tags r:id="rId18"/>
            </p:custDataLst>
          </p:nvPr>
        </p:nvSpPr>
        <p:spPr bwMode="auto">
          <a:xfrm>
            <a:off x="2579688" y="22177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8" name="Rectangle 167">
            <a:extLst>
              <a:ext uri="{FF2B5EF4-FFF2-40B4-BE49-F238E27FC236}">
                <a16:creationId xmlns:a16="http://schemas.microsoft.com/office/drawing/2014/main" id="{059C946C-B855-8808-87D6-B032696D2F7E}"/>
              </a:ext>
            </a:extLst>
          </p:cNvPr>
          <p:cNvSpPr/>
          <p:nvPr>
            <p:custDataLst>
              <p:tags r:id="rId19"/>
            </p:custDataLst>
          </p:nvPr>
        </p:nvSpPr>
        <p:spPr bwMode="auto">
          <a:xfrm>
            <a:off x="2579688" y="242093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9" name="Rectangle 168">
            <a:extLst>
              <a:ext uri="{FF2B5EF4-FFF2-40B4-BE49-F238E27FC236}">
                <a16:creationId xmlns:a16="http://schemas.microsoft.com/office/drawing/2014/main" id="{6A7F3844-6905-1797-E030-4216EFF072A4}"/>
              </a:ext>
            </a:extLst>
          </p:cNvPr>
          <p:cNvSpPr/>
          <p:nvPr>
            <p:custDataLst>
              <p:tags r:id="rId20"/>
            </p:custDataLst>
          </p:nvPr>
        </p:nvSpPr>
        <p:spPr bwMode="auto">
          <a:xfrm>
            <a:off x="3325813" y="221773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0" name="Rectangle 169">
            <a:extLst>
              <a:ext uri="{FF2B5EF4-FFF2-40B4-BE49-F238E27FC236}">
                <a16:creationId xmlns:a16="http://schemas.microsoft.com/office/drawing/2014/main" id="{F7BE0417-1A00-08A7-1C40-72727C630F7F}"/>
              </a:ext>
            </a:extLst>
          </p:cNvPr>
          <p:cNvSpPr/>
          <p:nvPr>
            <p:custDataLst>
              <p:tags r:id="rId21"/>
            </p:custDataLst>
          </p:nvPr>
        </p:nvSpPr>
        <p:spPr bwMode="auto">
          <a:xfrm>
            <a:off x="3325813" y="242093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1" name="Rectangle 170">
            <a:extLst>
              <a:ext uri="{FF2B5EF4-FFF2-40B4-BE49-F238E27FC236}">
                <a16:creationId xmlns:a16="http://schemas.microsoft.com/office/drawing/2014/main" id="{A9D0002B-1EFE-C1B6-9A32-55090C9AA6B3}"/>
              </a:ext>
            </a:extLst>
          </p:cNvPr>
          <p:cNvSpPr/>
          <p:nvPr>
            <p:custDataLst>
              <p:tags r:id="rId22"/>
            </p:custDataLst>
          </p:nvPr>
        </p:nvSpPr>
        <p:spPr bwMode="auto">
          <a:xfrm>
            <a:off x="4316413" y="221773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2" name="Rectangle 171">
            <a:extLst>
              <a:ext uri="{FF2B5EF4-FFF2-40B4-BE49-F238E27FC236}">
                <a16:creationId xmlns:a16="http://schemas.microsoft.com/office/drawing/2014/main" id="{4A5D92B4-1231-04B2-85D6-5FDA98F33E99}"/>
              </a:ext>
            </a:extLst>
          </p:cNvPr>
          <p:cNvSpPr/>
          <p:nvPr>
            <p:custDataLst>
              <p:tags r:id="rId23"/>
            </p:custDataLst>
          </p:nvPr>
        </p:nvSpPr>
        <p:spPr bwMode="auto">
          <a:xfrm>
            <a:off x="4316413" y="242093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3" name="Rectangle 172">
            <a:extLst>
              <a:ext uri="{FF2B5EF4-FFF2-40B4-BE49-F238E27FC236}">
                <a16:creationId xmlns:a16="http://schemas.microsoft.com/office/drawing/2014/main" id="{904C7A0F-6ED1-1460-5750-1F8E44AC18A2}"/>
              </a:ext>
            </a:extLst>
          </p:cNvPr>
          <p:cNvSpPr/>
          <p:nvPr>
            <p:custDataLst>
              <p:tags r:id="rId24"/>
            </p:custDataLst>
          </p:nvPr>
        </p:nvSpPr>
        <p:spPr bwMode="auto">
          <a:xfrm>
            <a:off x="5132388" y="2217738"/>
            <a:ext cx="179388" cy="133350"/>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4" name="Rectangle 173">
            <a:extLst>
              <a:ext uri="{FF2B5EF4-FFF2-40B4-BE49-F238E27FC236}">
                <a16:creationId xmlns:a16="http://schemas.microsoft.com/office/drawing/2014/main" id="{F2730E62-3DB9-AD45-B09F-560B6F4032EF}"/>
              </a:ext>
            </a:extLst>
          </p:cNvPr>
          <p:cNvSpPr/>
          <p:nvPr>
            <p:custDataLst>
              <p:tags r:id="rId25"/>
            </p:custDataLst>
          </p:nvPr>
        </p:nvSpPr>
        <p:spPr bwMode="auto">
          <a:xfrm>
            <a:off x="5132388" y="2420938"/>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5" name="Text Placeholder 10">
            <a:extLst>
              <a:ext uri="{FF2B5EF4-FFF2-40B4-BE49-F238E27FC236}">
                <a16:creationId xmlns:a16="http://schemas.microsoft.com/office/drawing/2014/main" id="{E5547A0F-D590-4C84-ACFA-2831ADBE751C}"/>
              </a:ext>
            </a:extLst>
          </p:cNvPr>
          <p:cNvSpPr>
            <a:spLocks/>
          </p:cNvSpPr>
          <p:nvPr>
            <p:custDataLst>
              <p:tags r:id="rId26"/>
            </p:custDataLst>
          </p:nvPr>
        </p:nvSpPr>
        <p:spPr bwMode="auto">
          <a:xfrm>
            <a:off x="2809875" y="2212975"/>
            <a:ext cx="414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F67EADC-EE0B-4003-BF60-4BD4FC601351}" type="datetime'''''''C''''''o''p''''p''''''''''''e''''''''''''r'''''''">
              <a:rPr lang="en-US" altLang="en-US" sz="1000" smtClean="0"/>
              <a:pPr/>
              <a:t>Copper</a:t>
            </a:fld>
            <a:endParaRPr lang="en-US" sz="1000" dirty="0"/>
          </a:p>
        </p:txBody>
      </p:sp>
      <p:sp>
        <p:nvSpPr>
          <p:cNvPr id="176" name="Text Placeholder 10">
            <a:extLst>
              <a:ext uri="{FF2B5EF4-FFF2-40B4-BE49-F238E27FC236}">
                <a16:creationId xmlns:a16="http://schemas.microsoft.com/office/drawing/2014/main" id="{60A12A5A-7654-3FFC-FFE8-7C3A976FB89D}"/>
              </a:ext>
            </a:extLst>
          </p:cNvPr>
          <p:cNvSpPr>
            <a:spLocks/>
          </p:cNvSpPr>
          <p:nvPr>
            <p:custDataLst>
              <p:tags r:id="rId27"/>
            </p:custDataLst>
          </p:nvPr>
        </p:nvSpPr>
        <p:spPr bwMode="auto">
          <a:xfrm>
            <a:off x="2809875" y="2416175"/>
            <a:ext cx="4079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F7A814E-86BE-44EB-A8FC-A3E9944A2445}" type="datetime'''''Lith''''''i''''''u''''''''''''''''''''''''''m'''''''">
              <a:rPr lang="en-US" altLang="en-US" sz="1000" smtClean="0"/>
              <a:pPr/>
              <a:t>Lithium</a:t>
            </a:fld>
            <a:endParaRPr lang="en-US" sz="1000" dirty="0"/>
          </a:p>
        </p:txBody>
      </p:sp>
      <p:sp>
        <p:nvSpPr>
          <p:cNvPr id="177" name="Text Placeholder 10">
            <a:extLst>
              <a:ext uri="{FF2B5EF4-FFF2-40B4-BE49-F238E27FC236}">
                <a16:creationId xmlns:a16="http://schemas.microsoft.com/office/drawing/2014/main" id="{BA78C08D-F7F6-95E8-EB72-B54DF307C905}"/>
              </a:ext>
            </a:extLst>
          </p:cNvPr>
          <p:cNvSpPr>
            <a:spLocks/>
          </p:cNvSpPr>
          <p:nvPr>
            <p:custDataLst>
              <p:tags r:id="rId28"/>
            </p:custDataLst>
          </p:nvPr>
        </p:nvSpPr>
        <p:spPr bwMode="auto">
          <a:xfrm>
            <a:off x="3556000" y="2212975"/>
            <a:ext cx="346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320498-BC3A-470A-88FC-5117AD952673}" type="datetime'''''''''N''''''''ic''k''''''e''''''''''''''''l'''''''">
              <a:rPr lang="en-US" altLang="en-US" sz="1000" smtClean="0"/>
              <a:pPr/>
              <a:t>Nickel</a:t>
            </a:fld>
            <a:endParaRPr lang="en-US" sz="1000" dirty="0"/>
          </a:p>
        </p:txBody>
      </p:sp>
      <p:sp>
        <p:nvSpPr>
          <p:cNvPr id="178" name="Text Placeholder 10">
            <a:extLst>
              <a:ext uri="{FF2B5EF4-FFF2-40B4-BE49-F238E27FC236}">
                <a16:creationId xmlns:a16="http://schemas.microsoft.com/office/drawing/2014/main" id="{D966B02B-D563-0BAE-B428-4483BE4AF18B}"/>
              </a:ext>
            </a:extLst>
          </p:cNvPr>
          <p:cNvSpPr>
            <a:spLocks/>
          </p:cNvSpPr>
          <p:nvPr>
            <p:custDataLst>
              <p:tags r:id="rId29"/>
            </p:custDataLst>
          </p:nvPr>
        </p:nvSpPr>
        <p:spPr bwMode="auto">
          <a:xfrm>
            <a:off x="3556000" y="2416175"/>
            <a:ext cx="658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47D87B-47C3-4A8C-AFA9-38BDC778EF97}" type="datetime'M''a''n''''g''''''a''''n''''''''''''e''''''s''e'''">
              <a:rPr lang="en-US" altLang="en-US" sz="1000" smtClean="0"/>
              <a:pPr/>
              <a:t>Manganese</a:t>
            </a:fld>
            <a:endParaRPr lang="en-US" sz="1000" dirty="0"/>
          </a:p>
        </p:txBody>
      </p:sp>
      <p:sp>
        <p:nvSpPr>
          <p:cNvPr id="179" name="Text Placeholder 10">
            <a:extLst>
              <a:ext uri="{FF2B5EF4-FFF2-40B4-BE49-F238E27FC236}">
                <a16:creationId xmlns:a16="http://schemas.microsoft.com/office/drawing/2014/main" id="{4C465E4B-B923-7D82-9772-8E0CB4F112CD}"/>
              </a:ext>
            </a:extLst>
          </p:cNvPr>
          <p:cNvSpPr>
            <a:spLocks/>
          </p:cNvSpPr>
          <p:nvPr>
            <p:custDataLst>
              <p:tags r:id="rId30"/>
            </p:custDataLst>
          </p:nvPr>
        </p:nvSpPr>
        <p:spPr bwMode="auto">
          <a:xfrm>
            <a:off x="4546600" y="2212975"/>
            <a:ext cx="365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A2DE2CA-3BC7-45FC-BACC-991ACE1B23B4}" type="datetime'''''''C''''o''b''''''''''''''''''a''''''''''''l''''''''''''t'">
              <a:rPr lang="en-US" altLang="en-US" sz="1000" smtClean="0"/>
              <a:pPr/>
              <a:t>Cobalt</a:t>
            </a:fld>
            <a:endParaRPr lang="en-US" sz="1000" dirty="0"/>
          </a:p>
        </p:txBody>
      </p:sp>
      <p:sp>
        <p:nvSpPr>
          <p:cNvPr id="180" name="Text Placeholder 10">
            <a:extLst>
              <a:ext uri="{FF2B5EF4-FFF2-40B4-BE49-F238E27FC236}">
                <a16:creationId xmlns:a16="http://schemas.microsoft.com/office/drawing/2014/main" id="{44CACF5C-3D0D-89C3-C66A-C94655D2D3F9}"/>
              </a:ext>
            </a:extLst>
          </p:cNvPr>
          <p:cNvSpPr>
            <a:spLocks/>
          </p:cNvSpPr>
          <p:nvPr>
            <p:custDataLst>
              <p:tags r:id="rId31"/>
            </p:custDataLst>
          </p:nvPr>
        </p:nvSpPr>
        <p:spPr bwMode="auto">
          <a:xfrm>
            <a:off x="4546600" y="2416175"/>
            <a:ext cx="484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5F40AF-86CA-407E-A021-BCAE9E26A034}" type="datetime'G''''r''''''''''''''''''''''''''''a''ph''''''''i''t''e'''''">
              <a:rPr lang="en-US" altLang="en-US" sz="1000" smtClean="0"/>
              <a:pPr/>
              <a:t>Graphite</a:t>
            </a:fld>
            <a:endParaRPr lang="en-US" sz="1000" dirty="0"/>
          </a:p>
        </p:txBody>
      </p:sp>
      <p:sp>
        <p:nvSpPr>
          <p:cNvPr id="181" name="Text Placeholder 10">
            <a:extLst>
              <a:ext uri="{FF2B5EF4-FFF2-40B4-BE49-F238E27FC236}">
                <a16:creationId xmlns:a16="http://schemas.microsoft.com/office/drawing/2014/main" id="{9716F351-B3DC-0DFB-EB02-1B48DC81780A}"/>
              </a:ext>
            </a:extLst>
          </p:cNvPr>
          <p:cNvSpPr>
            <a:spLocks/>
          </p:cNvSpPr>
          <p:nvPr>
            <p:custDataLst>
              <p:tags r:id="rId32"/>
            </p:custDataLst>
          </p:nvPr>
        </p:nvSpPr>
        <p:spPr bwMode="auto">
          <a:xfrm>
            <a:off x="5362575" y="2212975"/>
            <a:ext cx="563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3E17D3-7D13-4983-8CE0-2A5E36D43A90}" type="datetime'''''''''''''Alu''''''''''''''m''i''''''''''''n''um'">
              <a:rPr lang="en-US" altLang="en-US" sz="1000" smtClean="0"/>
              <a:pPr/>
              <a:t>Aluminum</a:t>
            </a:fld>
            <a:endParaRPr lang="en-US" sz="1000" dirty="0"/>
          </a:p>
        </p:txBody>
      </p:sp>
      <p:sp>
        <p:nvSpPr>
          <p:cNvPr id="182" name="Text Placeholder 10">
            <a:extLst>
              <a:ext uri="{FF2B5EF4-FFF2-40B4-BE49-F238E27FC236}">
                <a16:creationId xmlns:a16="http://schemas.microsoft.com/office/drawing/2014/main" id="{11BA0EE5-121A-A982-57D8-22B800B31A34}"/>
              </a:ext>
            </a:extLst>
          </p:cNvPr>
          <p:cNvSpPr>
            <a:spLocks/>
          </p:cNvSpPr>
          <p:nvPr>
            <p:custDataLst>
              <p:tags r:id="rId33"/>
            </p:custDataLst>
          </p:nvPr>
        </p:nvSpPr>
        <p:spPr bwMode="auto">
          <a:xfrm>
            <a:off x="5362575" y="2416175"/>
            <a:ext cx="414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B198AC-D4D2-47AF-A2C9-1EA8D89F912B}" type="datetime'''C''''''a''''''''''''''''rb''''o''n'''''''''''''">
              <a:rPr lang="en-US" altLang="en-US" sz="1000" smtClean="0"/>
              <a:pPr/>
              <a:t>Carbon</a:t>
            </a:fld>
            <a:endParaRPr lang="en-US" sz="1000" dirty="0"/>
          </a:p>
        </p:txBody>
      </p:sp>
      <p:sp>
        <p:nvSpPr>
          <p:cNvPr id="183" name="Rectangular Callout 658">
            <a:extLst>
              <a:ext uri="{FF2B5EF4-FFF2-40B4-BE49-F238E27FC236}">
                <a16:creationId xmlns:a16="http://schemas.microsoft.com/office/drawing/2014/main" id="{5096B3F3-4BFC-3FB8-ECA8-B923874C18CB}"/>
              </a:ext>
            </a:extLst>
          </p:cNvPr>
          <p:cNvSpPr/>
          <p:nvPr/>
        </p:nvSpPr>
        <p:spPr bwMode="gray">
          <a:xfrm>
            <a:off x="3606800" y="3492728"/>
            <a:ext cx="2144861" cy="457200"/>
          </a:xfrm>
          <a:prstGeom prst="wedgeRectCallout">
            <a:avLst>
              <a:gd name="adj1" fmla="val -35618"/>
              <a:gd name="adj2" fmla="val -82927"/>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40 kg of nickel is required for an average electric vehicle.</a:t>
            </a:r>
          </a:p>
        </p:txBody>
      </p:sp>
      <p:sp>
        <p:nvSpPr>
          <p:cNvPr id="184" name="Rectangle 183">
            <a:extLst>
              <a:ext uri="{FF2B5EF4-FFF2-40B4-BE49-F238E27FC236}">
                <a16:creationId xmlns:a16="http://schemas.microsoft.com/office/drawing/2014/main" id="{97FE16C8-6C40-8C16-8FBE-6FC2FD61D23E}"/>
              </a:ext>
            </a:extLst>
          </p:cNvPr>
          <p:cNvSpPr/>
          <p:nvPr/>
        </p:nvSpPr>
        <p:spPr bwMode="gray">
          <a:xfrm>
            <a:off x="6452774" y="1807772"/>
            <a:ext cx="5486400" cy="141479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0"/>
              </a:spcBef>
              <a:spcAft>
                <a:spcPts val="400"/>
              </a:spcAft>
            </a:pPr>
            <a:r>
              <a:rPr lang="en-US" sz="1200" b="1" dirty="0">
                <a:solidFill>
                  <a:schemeClr val="tx1"/>
                </a:solidFill>
              </a:rPr>
              <a:t>61% </a:t>
            </a:r>
            <a:r>
              <a:rPr lang="en-US" sz="1200" dirty="0">
                <a:solidFill>
                  <a:schemeClr val="tx1"/>
                </a:solidFill>
              </a:rPr>
              <a:t>of all nickel used for EV batteries comes from Indonesia.</a:t>
            </a:r>
          </a:p>
          <a:p>
            <a:pPr>
              <a:spcBef>
                <a:spcPts val="0"/>
              </a:spcBef>
              <a:spcAft>
                <a:spcPts val="400"/>
              </a:spcAft>
            </a:pPr>
            <a:r>
              <a:rPr lang="en-US" sz="1200" b="1" dirty="0">
                <a:solidFill>
                  <a:schemeClr val="tx1"/>
                </a:solidFill>
              </a:rPr>
              <a:t>40% </a:t>
            </a:r>
            <a:r>
              <a:rPr lang="en-US" sz="1200" dirty="0">
                <a:solidFill>
                  <a:schemeClr val="tx1"/>
                </a:solidFill>
              </a:rPr>
              <a:t>of global geothermal reserves are also in Indonesia.</a:t>
            </a:r>
          </a:p>
          <a:p>
            <a:pPr>
              <a:spcBef>
                <a:spcPts val="0"/>
              </a:spcBef>
              <a:spcAft>
                <a:spcPts val="400"/>
              </a:spcAft>
            </a:pPr>
            <a:r>
              <a:rPr lang="en-US" sz="1200" dirty="0">
                <a:solidFill>
                  <a:schemeClr val="tx1"/>
                </a:solidFill>
              </a:rPr>
              <a:t>Integrating geothermal energy into refining can </a:t>
            </a:r>
            <a:r>
              <a:rPr lang="en-US" sz="1200" b="1" dirty="0">
                <a:solidFill>
                  <a:schemeClr val="tx1"/>
                </a:solidFill>
              </a:rPr>
              <a:t>cut nickel processing emission based on modeled clean-heat substitution</a:t>
            </a:r>
            <a:r>
              <a:rPr lang="en-US" sz="1200" dirty="0">
                <a:solidFill>
                  <a:schemeClr val="tx1"/>
                </a:solidFill>
              </a:rPr>
              <a:t>.</a:t>
            </a:r>
          </a:p>
          <a:p>
            <a:pPr>
              <a:spcBef>
                <a:spcPts val="0"/>
              </a:spcBef>
              <a:spcAft>
                <a:spcPts val="400"/>
              </a:spcAft>
            </a:pPr>
            <a:r>
              <a:rPr lang="en-US" sz="1200" dirty="0">
                <a:solidFill>
                  <a:schemeClr val="tx1"/>
                </a:solidFill>
              </a:rPr>
              <a:t>Potential pilot regions: Sulawesi, Sumatra, and Java, where nickel and geothermal collocate.</a:t>
            </a:r>
          </a:p>
        </p:txBody>
      </p:sp>
      <p:sp>
        <p:nvSpPr>
          <p:cNvPr id="185" name="Rectangle 184">
            <a:extLst>
              <a:ext uri="{FF2B5EF4-FFF2-40B4-BE49-F238E27FC236}">
                <a16:creationId xmlns:a16="http://schemas.microsoft.com/office/drawing/2014/main" id="{2B87EF5E-5699-E767-731E-FFE43B4545E7}"/>
              </a:ext>
            </a:extLst>
          </p:cNvPr>
          <p:cNvSpPr/>
          <p:nvPr/>
        </p:nvSpPr>
        <p:spPr bwMode="gray">
          <a:xfrm>
            <a:off x="322983" y="4008463"/>
            <a:ext cx="5402263"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Emissions by raw material, kg CO</a:t>
            </a:r>
            <a:r>
              <a:rPr lang="en-US" sz="1200" baseline="-25000" dirty="0">
                <a:solidFill>
                  <a:schemeClr val="tx1"/>
                </a:solidFill>
              </a:rPr>
              <a:t>2</a:t>
            </a:r>
            <a:r>
              <a:rPr lang="en-US" sz="1200" dirty="0">
                <a:solidFill>
                  <a:schemeClr val="tx1"/>
                </a:solidFill>
              </a:rPr>
              <a:t>e/kWh</a:t>
            </a:r>
          </a:p>
        </p:txBody>
      </p:sp>
      <p:sp>
        <p:nvSpPr>
          <p:cNvPr id="186" name="Rectangular Callout 658">
            <a:extLst>
              <a:ext uri="{FF2B5EF4-FFF2-40B4-BE49-F238E27FC236}">
                <a16:creationId xmlns:a16="http://schemas.microsoft.com/office/drawing/2014/main" id="{5282D990-FFAD-B64D-BC8F-0D0723F5E716}"/>
              </a:ext>
            </a:extLst>
          </p:cNvPr>
          <p:cNvSpPr/>
          <p:nvPr/>
        </p:nvSpPr>
        <p:spPr bwMode="gray">
          <a:xfrm>
            <a:off x="2416139" y="5286025"/>
            <a:ext cx="3045766" cy="548640"/>
          </a:xfrm>
          <a:prstGeom prst="wedgeRectCallout">
            <a:avLst>
              <a:gd name="adj1" fmla="val -35618"/>
              <a:gd name="adj2" fmla="val -82927"/>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defRPr/>
            </a:pPr>
            <a:r>
              <a:rPr lang="en-US" sz="1100" b="1" dirty="0">
                <a:solidFill>
                  <a:schemeClr val="bg1"/>
                </a:solidFill>
              </a:rPr>
              <a:t>Nickel contributes 42 kg CO2e/kWh (~40%) of EV battery raw material emissions.</a:t>
            </a:r>
          </a:p>
        </p:txBody>
      </p:sp>
      <p:sp>
        <p:nvSpPr>
          <p:cNvPr id="187" name="Rectangle 186">
            <a:extLst>
              <a:ext uri="{FF2B5EF4-FFF2-40B4-BE49-F238E27FC236}">
                <a16:creationId xmlns:a16="http://schemas.microsoft.com/office/drawing/2014/main" id="{9CE1ACA5-B4B9-075B-6A8A-709063A268B0}"/>
              </a:ext>
            </a:extLst>
          </p:cNvPr>
          <p:cNvSpPr/>
          <p:nvPr/>
        </p:nvSpPr>
        <p:spPr bwMode="gray">
          <a:xfrm>
            <a:off x="10685042" y="3643666"/>
            <a:ext cx="1280160" cy="2388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dirty="0">
                <a:solidFill>
                  <a:schemeClr val="tx1"/>
                </a:solidFill>
              </a:rPr>
              <a:t>Nickel reserves</a:t>
            </a:r>
          </a:p>
        </p:txBody>
      </p:sp>
      <p:pic>
        <p:nvPicPr>
          <p:cNvPr id="194" name="Picture 193">
            <a:extLst>
              <a:ext uri="{FF2B5EF4-FFF2-40B4-BE49-F238E27FC236}">
                <a16:creationId xmlns:a16="http://schemas.microsoft.com/office/drawing/2014/main" id="{2EF14513-DB74-18B0-C72B-031F599F38AF}"/>
              </a:ext>
            </a:extLst>
          </p:cNvPr>
          <p:cNvPicPr>
            <a:picLocks noChangeAspect="1"/>
          </p:cNvPicPr>
          <p:nvPr/>
        </p:nvPicPr>
        <p:blipFill>
          <a:blip r:embed="rId48" cstate="screen">
            <a:extLst>
              <a:ext uri="{28A0092B-C50C-407E-A947-70E740481C1C}">
                <a14:useLocalDpi xmlns:a14="http://schemas.microsoft.com/office/drawing/2010/main"/>
              </a:ext>
              <a:ext uri="{837473B0-CC2E-450A-ABE3-18F120FF3D39}">
                <a1611:picAttrSrcUrl xmlns:a1611="http://schemas.microsoft.com/office/drawing/2016/11/main" r:id="rId49"/>
              </a:ext>
            </a:extLst>
          </a:blip>
          <a:srcRect/>
          <a:stretch/>
        </p:blipFill>
        <p:spPr>
          <a:xfrm>
            <a:off x="11336136" y="928945"/>
            <a:ext cx="525463" cy="373015"/>
          </a:xfrm>
          <a:prstGeom prst="rect">
            <a:avLst/>
          </a:prstGeom>
          <a:ln>
            <a:solidFill>
              <a:schemeClr val="tx1"/>
            </a:solidFill>
          </a:ln>
        </p:spPr>
      </p:pic>
      <p:sp>
        <p:nvSpPr>
          <p:cNvPr id="195" name="TextBox 194">
            <a:extLst>
              <a:ext uri="{FF2B5EF4-FFF2-40B4-BE49-F238E27FC236}">
                <a16:creationId xmlns:a16="http://schemas.microsoft.com/office/drawing/2014/main" id="{36EDBCB1-2D70-1441-678D-1145FB42D9B6}"/>
              </a:ext>
            </a:extLst>
          </p:cNvPr>
          <p:cNvSpPr txBox="1"/>
          <p:nvPr/>
        </p:nvSpPr>
        <p:spPr bwMode="gray">
          <a:xfrm>
            <a:off x="11289305" y="1285061"/>
            <a:ext cx="619125" cy="211203"/>
          </a:xfrm>
          <a:prstGeom prst="rect">
            <a:avLst/>
          </a:prstGeom>
          <a:noFill/>
        </p:spPr>
        <p:txBody>
          <a:bodyPr wrap="square" lIns="36000" tIns="36000" rIns="36000" bIns="36000" rtlCol="0">
            <a:spAutoFit/>
          </a:bodyPr>
          <a:lstStyle/>
          <a:p>
            <a:pPr marL="0" indent="0">
              <a:buNone/>
            </a:pPr>
            <a:r>
              <a:rPr lang="en-US" sz="900" b="1" dirty="0"/>
              <a:t>Indonesia</a:t>
            </a:r>
          </a:p>
        </p:txBody>
      </p:sp>
    </p:spTree>
    <p:extLst>
      <p:ext uri="{BB962C8B-B14F-4D97-AF65-F5344CB8AC3E}">
        <p14:creationId xmlns:p14="http://schemas.microsoft.com/office/powerpoint/2010/main" val="147844219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9CD3927-A72E-2D2B-8F5E-49D135CE4BF2}"/>
              </a:ext>
            </a:extLst>
          </p:cNvPr>
          <p:cNvGraphicFramePr>
            <a:graphicFrameLocks/>
          </p:cNvGraphicFramePr>
          <p:nvPr>
            <p:custDataLst>
              <p:tags r:id="rId1"/>
            </p:custDataLst>
            <p:extLst>
              <p:ext uri="{D42A27DB-BD31-4B8C-83A1-F6EECF244321}">
                <p14:modId xmlns:p14="http://schemas.microsoft.com/office/powerpoint/2010/main" val="3068876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0" name=""/>
                      <p:cNvPicPr/>
                      <p:nvPr/>
                    </p:nvPicPr>
                    <p:blipFill>
                      <a:blip r:embed="rId4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74DF792-44BE-DCAD-6041-2E24E354AC1A}"/>
              </a:ext>
            </a:extLst>
          </p:cNvPr>
          <p:cNvSpPr>
            <a:spLocks noGrp="1"/>
          </p:cNvSpPr>
          <p:nvPr>
            <p:ph type="title"/>
          </p:nvPr>
        </p:nvSpPr>
        <p:spPr/>
        <p:txBody>
          <a:bodyPr vert="horz" rIns="91440"/>
          <a:lstStyle/>
          <a:p>
            <a:r>
              <a:rPr lang="en-US" dirty="0"/>
              <a:t>Geothermal power can eliminate upstream nickel emissions and lower EV lifecycle carbon intensity</a:t>
            </a:r>
          </a:p>
        </p:txBody>
      </p:sp>
      <p:sp>
        <p:nvSpPr>
          <p:cNvPr id="7" name="Footer Placeholder 6">
            <a:extLst>
              <a:ext uri="{FF2B5EF4-FFF2-40B4-BE49-F238E27FC236}">
                <a16:creationId xmlns:a16="http://schemas.microsoft.com/office/drawing/2014/main" id="{C2B6FD05-955C-E34E-C6D8-7BF2CAEA370B}"/>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ea typeface="+mn-lt"/>
                <a:cs typeface="+mn-lt"/>
                <a:hlinkClick r:id="rId46"/>
              </a:rPr>
              <a:t>Toward security in sustainable battery raw material supply</a:t>
            </a:r>
            <a:r>
              <a:rPr lang="en-US" dirty="0">
                <a:solidFill>
                  <a:srgbClr val="000000"/>
                </a:solidFill>
                <a:ea typeface="+mn-lt"/>
                <a:cs typeface="+mn-lt"/>
              </a:rPr>
              <a:t> (McKinsey, 2024); </a:t>
            </a:r>
            <a:r>
              <a:rPr lang="en-US" dirty="0">
                <a:solidFill>
                  <a:srgbClr val="000000"/>
                </a:solidFill>
                <a:ea typeface="+mn-lt"/>
                <a:cs typeface="+mn-lt"/>
                <a:hlinkClick r:id="rId47"/>
              </a:rPr>
              <a:t>IEA comparison of global average lifecycle emissions by powertrain</a:t>
            </a:r>
            <a:r>
              <a:rPr lang="en-US" dirty="0">
                <a:solidFill>
                  <a:srgbClr val="000000"/>
                </a:solidFill>
                <a:ea typeface="+mn-lt"/>
                <a:cs typeface="+mn-lt"/>
              </a:rPr>
              <a:t> (IEA, 2023).</a:t>
            </a:r>
          </a:p>
          <a:p>
            <a:pPr marL="0" indent="0">
              <a:spcBef>
                <a:spcPts val="0"/>
              </a:spcBef>
              <a:buNone/>
              <a:defRPr/>
            </a:pPr>
            <a:r>
              <a:rPr lang="en-US" dirty="0">
                <a:solidFill>
                  <a:srgbClr val="000000"/>
                </a:solidFill>
              </a:rPr>
              <a:t>Credit: Thomas Smith, Isabel Hoyos, and </a:t>
            </a:r>
            <a:r>
              <a:rPr lang="en-US" dirty="0">
                <a:solidFill>
                  <a:srgbClr val="000000">
                    <a:tint val="82000"/>
                  </a:srgbClr>
                </a:solidFill>
                <a:hlinkClick r:id="rId48"/>
              </a:rPr>
              <a:t>Gernot Wagner.</a:t>
            </a:r>
            <a:r>
              <a:rPr lang="en-US" dirty="0">
                <a:solidFill>
                  <a:srgbClr val="000000">
                    <a:tint val="82000"/>
                  </a:srgbClr>
                </a:solidFill>
              </a:rPr>
              <a:t> </a:t>
            </a:r>
            <a:r>
              <a:rPr lang="en-US" dirty="0">
                <a:solidFill>
                  <a:srgbClr val="000000">
                    <a:tint val="82000"/>
                  </a:srgbClr>
                </a:solidFill>
                <a:hlinkClick r:id="rId49"/>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8" name="Text Placeholder 7">
            <a:extLst>
              <a:ext uri="{FF2B5EF4-FFF2-40B4-BE49-F238E27FC236}">
                <a16:creationId xmlns:a16="http://schemas.microsoft.com/office/drawing/2014/main" id="{9E7B5059-C59C-3435-A923-4B5F549E4E7C}"/>
              </a:ext>
            </a:extLst>
          </p:cNvPr>
          <p:cNvSpPr>
            <a:spLocks noGrp="1"/>
          </p:cNvSpPr>
          <p:nvPr>
            <p:ph type="body" sz="quarter" idx="13"/>
          </p:nvPr>
        </p:nvSpPr>
        <p:spPr/>
        <p:txBody>
          <a:bodyPr/>
          <a:lstStyle/>
          <a:p>
            <a:r>
              <a:rPr lang="en-US" sz="1400" dirty="0">
                <a:cs typeface="Arial"/>
              </a:rPr>
              <a:t>Battery production dominates EV lifecycle emissions</a:t>
            </a:r>
          </a:p>
        </p:txBody>
      </p:sp>
      <p:sp>
        <p:nvSpPr>
          <p:cNvPr id="9" name="Text Placeholder 8">
            <a:extLst>
              <a:ext uri="{FF2B5EF4-FFF2-40B4-BE49-F238E27FC236}">
                <a16:creationId xmlns:a16="http://schemas.microsoft.com/office/drawing/2014/main" id="{54F07AEF-715B-22A8-9679-34DB784A05EA}"/>
              </a:ext>
            </a:extLst>
          </p:cNvPr>
          <p:cNvSpPr>
            <a:spLocks noGrp="1"/>
          </p:cNvSpPr>
          <p:nvPr>
            <p:ph type="body" sz="quarter" idx="18"/>
          </p:nvPr>
        </p:nvSpPr>
        <p:spPr/>
        <p:txBody>
          <a:bodyPr/>
          <a:lstStyle/>
          <a:p>
            <a:r>
              <a:rPr lang="en-US" sz="1400" dirty="0">
                <a:cs typeface="Arial"/>
              </a:rPr>
              <a:t>Replacing fossil energy with geothermal power can cut EV lifecycle emissions by ~25%</a:t>
            </a:r>
          </a:p>
        </p:txBody>
      </p:sp>
      <p:sp>
        <p:nvSpPr>
          <p:cNvPr id="10" name="Text Placeholder 9">
            <a:extLst>
              <a:ext uri="{FF2B5EF4-FFF2-40B4-BE49-F238E27FC236}">
                <a16:creationId xmlns:a16="http://schemas.microsoft.com/office/drawing/2014/main" id="{D8FEE77A-8C3B-3371-915F-B65DCBCF0C5F}"/>
              </a:ext>
            </a:extLst>
          </p:cNvPr>
          <p:cNvSpPr>
            <a:spLocks noGrp="1"/>
          </p:cNvSpPr>
          <p:nvPr>
            <p:ph type="body" sz="quarter" idx="19"/>
          </p:nvPr>
        </p:nvSpPr>
        <p:spPr/>
        <p:txBody>
          <a:bodyPr/>
          <a:lstStyle/>
          <a:p>
            <a:r>
              <a:rPr lang="en-US" sz="1400" dirty="0">
                <a:cs typeface="Arial"/>
              </a:rPr>
              <a:t>Processing and refining steps drive the majority of nickel carbon footprint</a:t>
            </a:r>
          </a:p>
        </p:txBody>
      </p:sp>
      <p:sp>
        <p:nvSpPr>
          <p:cNvPr id="11" name="Text Placeholder 1">
            <a:extLst>
              <a:ext uri="{FF2B5EF4-FFF2-40B4-BE49-F238E27FC236}">
                <a16:creationId xmlns:a16="http://schemas.microsoft.com/office/drawing/2014/main" id="{863846CD-4450-CB9A-14DC-76195BA816C9}"/>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Critical minerals</a:t>
            </a:r>
          </a:p>
        </p:txBody>
      </p:sp>
      <p:sp>
        <p:nvSpPr>
          <p:cNvPr id="13" name="Speech Bubble: Rectangle 101">
            <a:extLst>
              <a:ext uri="{FF2B5EF4-FFF2-40B4-BE49-F238E27FC236}">
                <a16:creationId xmlns:a16="http://schemas.microsoft.com/office/drawing/2014/main" id="{F5568156-B2F3-1C62-11C2-29E18C385BB2}"/>
              </a:ext>
            </a:extLst>
          </p:cNvPr>
          <p:cNvSpPr/>
          <p:nvPr/>
        </p:nvSpPr>
        <p:spPr bwMode="gray">
          <a:xfrm rot="5400000">
            <a:off x="3956366" y="2531747"/>
            <a:ext cx="3836987" cy="3764598"/>
          </a:xfrm>
          <a:prstGeom prst="wedgeRectCallout">
            <a:avLst>
              <a:gd name="adj1" fmla="val 15289"/>
              <a:gd name="adj2" fmla="val 114459"/>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aphicFrame>
        <p:nvGraphicFramePr>
          <p:cNvPr id="62" name="Chart 61">
            <a:extLst>
              <a:ext uri="{FF2B5EF4-FFF2-40B4-BE49-F238E27FC236}">
                <a16:creationId xmlns:a16="http://schemas.microsoft.com/office/drawing/2014/main" id="{A96F9200-0293-A966-DC3C-8B00B188A9C0}"/>
              </a:ext>
            </a:extLst>
          </p:cNvPr>
          <p:cNvGraphicFramePr/>
          <p:nvPr>
            <p:custDataLst>
              <p:tags r:id="rId2"/>
            </p:custDataLst>
            <p:extLst>
              <p:ext uri="{D42A27DB-BD31-4B8C-83A1-F6EECF244321}">
                <p14:modId xmlns:p14="http://schemas.microsoft.com/office/powerpoint/2010/main" val="2971112499"/>
              </p:ext>
            </p:extLst>
          </p:nvPr>
        </p:nvGraphicFramePr>
        <p:xfrm>
          <a:off x="9277350" y="3303588"/>
          <a:ext cx="1989138" cy="2632075"/>
        </p:xfrm>
        <a:graphic>
          <a:graphicData uri="http://schemas.openxmlformats.org/drawingml/2006/chart">
            <c:chart xmlns:c="http://schemas.openxmlformats.org/drawingml/2006/chart" xmlns:r="http://schemas.openxmlformats.org/officeDocument/2006/relationships" r:id="rId50"/>
          </a:graphicData>
        </a:graphic>
      </p:graphicFrame>
      <p:sp>
        <p:nvSpPr>
          <p:cNvPr id="15" name="Rectangle 14">
            <a:extLst>
              <a:ext uri="{FF2B5EF4-FFF2-40B4-BE49-F238E27FC236}">
                <a16:creationId xmlns:a16="http://schemas.microsoft.com/office/drawing/2014/main" id="{EC96EC6C-8A7B-9A1A-E88E-BA0281FEDD4E}"/>
              </a:ext>
            </a:extLst>
          </p:cNvPr>
          <p:cNvSpPr/>
          <p:nvPr>
            <p:custDataLst>
              <p:tags r:id="rId3"/>
            </p:custDataLst>
          </p:nvPr>
        </p:nvSpPr>
        <p:spPr bwMode="auto">
          <a:xfrm>
            <a:off x="9561513" y="4779963"/>
            <a:ext cx="508000" cy="228600"/>
          </a:xfrm>
          <a:prstGeom prst="rect">
            <a:avLst/>
          </a:prstGeom>
          <a:noFill/>
          <a:ln w="28575" cap="flat" cmpd="sng" algn="ctr">
            <a:solidFill>
              <a:schemeClr val="tx1"/>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Text Placeholder 10">
            <a:extLst>
              <a:ext uri="{FF2B5EF4-FFF2-40B4-BE49-F238E27FC236}">
                <a16:creationId xmlns:a16="http://schemas.microsoft.com/office/drawing/2014/main" id="{625D5163-E4A5-A715-30A9-3D458A0D3E49}"/>
              </a:ext>
            </a:extLst>
          </p:cNvPr>
          <p:cNvSpPr>
            <a:spLocks/>
          </p:cNvSpPr>
          <p:nvPr>
            <p:custDataLst>
              <p:tags r:id="rId4"/>
            </p:custDataLst>
          </p:nvPr>
        </p:nvSpPr>
        <p:spPr bwMode="auto">
          <a:xfrm>
            <a:off x="9445625" y="5719763"/>
            <a:ext cx="741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082AFB-CDD5-46B9-A7A7-F7CB1E3C4600}" type="datetime'''B''''''a''''''''''''''t''''''t''e''''''''''''''r''''''y EV'">
              <a:rPr lang="en-US" altLang="en-US" sz="1200" smtClean="0"/>
              <a:pPr marL="0" lvl="0" indent="0" algn="ctr">
                <a:spcBef>
                  <a:spcPct val="0"/>
                </a:spcBef>
                <a:spcAft>
                  <a:spcPct val="0"/>
                </a:spcAft>
                <a:buNone/>
              </a:pPr>
              <a:t>Battery EV</a:t>
            </a:fld>
            <a:endParaRPr lang="en-US" sz="1200" dirty="0"/>
          </a:p>
        </p:txBody>
      </p:sp>
      <p:sp>
        <p:nvSpPr>
          <p:cNvPr id="17" name="Text Placeholder 10">
            <a:extLst>
              <a:ext uri="{FF2B5EF4-FFF2-40B4-BE49-F238E27FC236}">
                <a16:creationId xmlns:a16="http://schemas.microsoft.com/office/drawing/2014/main" id="{ED3107A7-F091-4449-6E88-75C8CC5E4D6E}"/>
              </a:ext>
            </a:extLst>
          </p:cNvPr>
          <p:cNvSpPr>
            <a:spLocks/>
          </p:cNvSpPr>
          <p:nvPr>
            <p:custDataLst>
              <p:tags r:id="rId5"/>
            </p:custDataLst>
          </p:nvPr>
        </p:nvSpPr>
        <p:spPr bwMode="auto">
          <a:xfrm>
            <a:off x="10593388" y="5719763"/>
            <a:ext cx="26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CC03C3-BA61-416B-A5B7-94F807C0DB57}" type="datetime'''''''''I''''''''''''''''''''''''''''''''''''''C''''''''E'">
              <a:rPr lang="en-US" altLang="en-US" sz="1200" smtClean="0"/>
              <a:pPr marL="0" lvl="0" indent="0" algn="ctr">
                <a:spcBef>
                  <a:spcPct val="0"/>
                </a:spcBef>
                <a:spcAft>
                  <a:spcPct val="0"/>
                </a:spcAft>
                <a:buNone/>
              </a:pPr>
              <a:t>ICE</a:t>
            </a:fld>
            <a:endParaRPr lang="en-US" sz="1200" dirty="0"/>
          </a:p>
        </p:txBody>
      </p:sp>
      <p:sp>
        <p:nvSpPr>
          <p:cNvPr id="18" name="Text Placeholder 10">
            <a:extLst>
              <a:ext uri="{FF2B5EF4-FFF2-40B4-BE49-F238E27FC236}">
                <a16:creationId xmlns:a16="http://schemas.microsoft.com/office/drawing/2014/main" id="{45DE2E8D-3E98-0CCA-3917-9ADD7A4711A1}"/>
              </a:ext>
            </a:extLst>
          </p:cNvPr>
          <p:cNvSpPr>
            <a:spLocks/>
          </p:cNvSpPr>
          <p:nvPr>
            <p:custDataLst>
              <p:tags r:id="rId6"/>
            </p:custDataLst>
          </p:nvPr>
        </p:nvSpPr>
        <p:spPr bwMode="gray">
          <a:xfrm>
            <a:off x="9709150" y="44227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18</a:t>
            </a:r>
            <a:endParaRPr lang="en-US" sz="1200" dirty="0"/>
          </a:p>
        </p:txBody>
      </p:sp>
      <p:sp>
        <p:nvSpPr>
          <p:cNvPr id="19" name="Text Placeholder 10">
            <a:extLst>
              <a:ext uri="{FF2B5EF4-FFF2-40B4-BE49-F238E27FC236}">
                <a16:creationId xmlns:a16="http://schemas.microsoft.com/office/drawing/2014/main" id="{DFD670E1-5A30-02F9-E8D7-CDBC41443274}"/>
              </a:ext>
            </a:extLst>
          </p:cNvPr>
          <p:cNvSpPr>
            <a:spLocks/>
          </p:cNvSpPr>
          <p:nvPr>
            <p:custDataLst>
              <p:tags r:id="rId7"/>
            </p:custDataLst>
          </p:nvPr>
        </p:nvSpPr>
        <p:spPr bwMode="gray">
          <a:xfrm>
            <a:off x="10620375" y="336232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C18DDA-296D-45C8-832D-44F512535AB7}" type="datetime'''4''''''''''6'''''''''''''''''''''''''''''''">
              <a:rPr lang="en-US" altLang="en-US" sz="1200" smtClean="0"/>
              <a:pPr marL="0" lvl="0" indent="0" algn="ctr">
                <a:spcBef>
                  <a:spcPct val="0"/>
                </a:spcBef>
                <a:spcAft>
                  <a:spcPct val="0"/>
                </a:spcAft>
                <a:buNone/>
              </a:pPr>
              <a:t>46</a:t>
            </a:fld>
            <a:endParaRPr lang="en-US" sz="1200" dirty="0"/>
          </a:p>
        </p:txBody>
      </p:sp>
      <p:graphicFrame>
        <p:nvGraphicFramePr>
          <p:cNvPr id="63" name="Chart 62">
            <a:extLst>
              <a:ext uri="{FF2B5EF4-FFF2-40B4-BE49-F238E27FC236}">
                <a16:creationId xmlns:a16="http://schemas.microsoft.com/office/drawing/2014/main" id="{9070FFA0-0C35-8571-23CA-B61E9208393F}"/>
              </a:ext>
            </a:extLst>
          </p:cNvPr>
          <p:cNvGraphicFramePr/>
          <p:nvPr>
            <p:custDataLst>
              <p:tags r:id="rId8"/>
            </p:custDataLst>
            <p:extLst>
              <p:ext uri="{D42A27DB-BD31-4B8C-83A1-F6EECF244321}">
                <p14:modId xmlns:p14="http://schemas.microsoft.com/office/powerpoint/2010/main" val="1610227406"/>
              </p:ext>
            </p:extLst>
          </p:nvPr>
        </p:nvGraphicFramePr>
        <p:xfrm>
          <a:off x="971550" y="3279775"/>
          <a:ext cx="1878013" cy="2655888"/>
        </p:xfrm>
        <a:graphic>
          <a:graphicData uri="http://schemas.openxmlformats.org/drawingml/2006/chart">
            <c:chart xmlns:c="http://schemas.openxmlformats.org/drawingml/2006/chart" xmlns:r="http://schemas.openxmlformats.org/officeDocument/2006/relationships" r:id="rId51"/>
          </a:graphicData>
        </a:graphic>
      </p:graphicFrame>
      <p:sp>
        <p:nvSpPr>
          <p:cNvPr id="21" name="Text Placeholder 10">
            <a:extLst>
              <a:ext uri="{FF2B5EF4-FFF2-40B4-BE49-F238E27FC236}">
                <a16:creationId xmlns:a16="http://schemas.microsoft.com/office/drawing/2014/main" id="{E55DA298-4E5B-4658-2100-711088DC75B6}"/>
              </a:ext>
            </a:extLst>
          </p:cNvPr>
          <p:cNvSpPr>
            <a:spLocks/>
          </p:cNvSpPr>
          <p:nvPr>
            <p:custDataLst>
              <p:tags r:id="rId9"/>
            </p:custDataLst>
          </p:nvPr>
        </p:nvSpPr>
        <p:spPr bwMode="auto">
          <a:xfrm>
            <a:off x="1112838" y="5719763"/>
            <a:ext cx="741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E483E9-FE4C-4A7F-97EF-8378F28C190D}" type="datetime'Ba''''''t''t''''''''''e''r''y'''''''' ''''''''''E''V'''">
              <a:rPr lang="en-US" altLang="en-US" sz="1200" smtClean="0"/>
              <a:pPr marL="0" lvl="0" indent="0" algn="ctr">
                <a:spcBef>
                  <a:spcPct val="0"/>
                </a:spcBef>
                <a:spcAft>
                  <a:spcPct val="0"/>
                </a:spcAft>
                <a:buNone/>
              </a:pPr>
              <a:t>Battery EV</a:t>
            </a:fld>
            <a:endParaRPr lang="en-US" sz="1200" dirty="0"/>
          </a:p>
        </p:txBody>
      </p:sp>
      <p:sp>
        <p:nvSpPr>
          <p:cNvPr id="22" name="Text Placeholder 10">
            <a:extLst>
              <a:ext uri="{FF2B5EF4-FFF2-40B4-BE49-F238E27FC236}">
                <a16:creationId xmlns:a16="http://schemas.microsoft.com/office/drawing/2014/main" id="{012775CF-2A45-1CDE-FC3B-8A188A1BE72C}"/>
              </a:ext>
            </a:extLst>
          </p:cNvPr>
          <p:cNvSpPr>
            <a:spLocks/>
          </p:cNvSpPr>
          <p:nvPr>
            <p:custDataLst>
              <p:tags r:id="rId10"/>
            </p:custDataLst>
          </p:nvPr>
        </p:nvSpPr>
        <p:spPr bwMode="auto">
          <a:xfrm>
            <a:off x="2205038" y="5719763"/>
            <a:ext cx="26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68F34F-7FF9-4E82-A56B-314A5049DA17}" type="datetime'''''''''''''''''I''''C''''''''E'''''''''''">
              <a:rPr lang="en-US" altLang="en-US" sz="1200" smtClean="0"/>
              <a:pPr marL="0" lvl="0" indent="0" algn="ctr">
                <a:spcBef>
                  <a:spcPct val="0"/>
                </a:spcBef>
                <a:spcAft>
                  <a:spcPct val="0"/>
                </a:spcAft>
                <a:buNone/>
              </a:pPr>
              <a:t>ICE</a:t>
            </a:fld>
            <a:endParaRPr lang="en-US" sz="1200" dirty="0"/>
          </a:p>
        </p:txBody>
      </p:sp>
      <p:sp>
        <p:nvSpPr>
          <p:cNvPr id="23" name="Text Placeholder 10">
            <a:extLst>
              <a:ext uri="{FF2B5EF4-FFF2-40B4-BE49-F238E27FC236}">
                <a16:creationId xmlns:a16="http://schemas.microsoft.com/office/drawing/2014/main" id="{D739CFA4-C5BC-A99D-D980-326EE2C245DB}"/>
              </a:ext>
            </a:extLst>
          </p:cNvPr>
          <p:cNvSpPr>
            <a:spLocks/>
          </p:cNvSpPr>
          <p:nvPr>
            <p:custDataLst>
              <p:tags r:id="rId11"/>
            </p:custDataLst>
          </p:nvPr>
        </p:nvSpPr>
        <p:spPr bwMode="gray">
          <a:xfrm>
            <a:off x="1376363" y="43973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503507-4A3F-465E-84C9-2A2DC70C3FED}" type="datetime'''''''2''''''''''''''''3'''''''''''''''''''''''">
              <a:rPr lang="en-US" altLang="en-US" sz="1200" smtClean="0"/>
              <a:pPr marL="0" lvl="0" indent="0" algn="ctr">
                <a:spcBef>
                  <a:spcPct val="0"/>
                </a:spcBef>
                <a:spcAft>
                  <a:spcPct val="0"/>
                </a:spcAft>
                <a:buNone/>
              </a:pPr>
              <a:t>23</a:t>
            </a:fld>
            <a:endParaRPr lang="en-US" sz="1200" dirty="0"/>
          </a:p>
        </p:txBody>
      </p:sp>
      <p:sp>
        <p:nvSpPr>
          <p:cNvPr id="24" name="Text Placeholder 10">
            <a:extLst>
              <a:ext uri="{FF2B5EF4-FFF2-40B4-BE49-F238E27FC236}">
                <a16:creationId xmlns:a16="http://schemas.microsoft.com/office/drawing/2014/main" id="{017CE24B-56C3-6230-6288-84D0EEA60613}"/>
              </a:ext>
            </a:extLst>
          </p:cNvPr>
          <p:cNvSpPr>
            <a:spLocks/>
          </p:cNvSpPr>
          <p:nvPr>
            <p:custDataLst>
              <p:tags r:id="rId12"/>
            </p:custDataLst>
          </p:nvPr>
        </p:nvSpPr>
        <p:spPr bwMode="gray">
          <a:xfrm>
            <a:off x="2232025" y="33385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AEA475-04D8-4A62-AFEF-43708E317F87}" type="datetime'''''''''''''''''''''''''''''''46'''''''''">
              <a:rPr lang="en-US" altLang="en-US" sz="1200" smtClean="0"/>
              <a:pPr marL="0" lvl="0" indent="0" algn="ctr">
                <a:spcBef>
                  <a:spcPct val="0"/>
                </a:spcBef>
                <a:spcAft>
                  <a:spcPct val="0"/>
                </a:spcAft>
                <a:buNone/>
              </a:pPr>
              <a:t>46</a:t>
            </a:fld>
            <a:endParaRPr lang="en-US" sz="1200" dirty="0"/>
          </a:p>
        </p:txBody>
      </p:sp>
      <p:graphicFrame>
        <p:nvGraphicFramePr>
          <p:cNvPr id="64" name="Chart 63">
            <a:extLst>
              <a:ext uri="{FF2B5EF4-FFF2-40B4-BE49-F238E27FC236}">
                <a16:creationId xmlns:a16="http://schemas.microsoft.com/office/drawing/2014/main" id="{0B1552E7-15D3-6500-53C0-CB2C0B10BBF8}"/>
              </a:ext>
            </a:extLst>
          </p:cNvPr>
          <p:cNvGraphicFramePr/>
          <p:nvPr>
            <p:custDataLst>
              <p:tags r:id="rId13"/>
            </p:custDataLst>
            <p:extLst>
              <p:ext uri="{D42A27DB-BD31-4B8C-83A1-F6EECF244321}">
                <p14:modId xmlns:p14="http://schemas.microsoft.com/office/powerpoint/2010/main" val="3442840340"/>
              </p:ext>
            </p:extLst>
          </p:nvPr>
        </p:nvGraphicFramePr>
        <p:xfrm>
          <a:off x="5045075" y="2890838"/>
          <a:ext cx="1757363" cy="3044825"/>
        </p:xfrm>
        <a:graphic>
          <a:graphicData uri="http://schemas.openxmlformats.org/drawingml/2006/chart">
            <c:chart xmlns:c="http://schemas.openxmlformats.org/drawingml/2006/chart" xmlns:r="http://schemas.openxmlformats.org/officeDocument/2006/relationships" r:id="rId52"/>
          </a:graphicData>
        </a:graphic>
      </p:graphicFrame>
      <p:sp>
        <p:nvSpPr>
          <p:cNvPr id="26" name="Text Placeholder 10">
            <a:extLst>
              <a:ext uri="{FF2B5EF4-FFF2-40B4-BE49-F238E27FC236}">
                <a16:creationId xmlns:a16="http://schemas.microsoft.com/office/drawing/2014/main" id="{FA9C3623-F2D4-0986-BD74-C7CA8EFC5351}"/>
              </a:ext>
            </a:extLst>
          </p:cNvPr>
          <p:cNvSpPr>
            <a:spLocks/>
          </p:cNvSpPr>
          <p:nvPr>
            <p:custDataLst>
              <p:tags r:id="rId14"/>
            </p:custDataLst>
          </p:nvPr>
        </p:nvSpPr>
        <p:spPr bwMode="gray">
          <a:xfrm>
            <a:off x="5461000" y="4518025"/>
            <a:ext cx="128588" cy="182563"/>
          </a:xfrm>
          <a:prstGeom prst="rect">
            <a:avLst/>
          </a:prstGeom>
          <a:solidFill>
            <a:srgbClr val="364D6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CD02E5-7E2F-4F91-ADC2-C084ABDA36ED}" type="datetime'''''''''''''''1'''''''''''''''''''''''''''''''''''''">
              <a:rPr lang="en-US" altLang="en-US" sz="1200" smtClean="0">
                <a:solidFill>
                  <a:schemeClr val="bg1"/>
                </a:solidFill>
                <a:effectLst/>
              </a:rPr>
              <a:pPr marL="0" lvl="0" indent="0" algn="ctr">
                <a:spcBef>
                  <a:spcPct val="0"/>
                </a:spcBef>
                <a:spcAft>
                  <a:spcPct val="0"/>
                </a:spcAft>
                <a:buNone/>
              </a:pPr>
              <a:t>1</a:t>
            </a:fld>
            <a:endParaRPr lang="en-US" sz="1200" dirty="0">
              <a:solidFill>
                <a:schemeClr val="bg1"/>
              </a:solidFill>
            </a:endParaRPr>
          </a:p>
        </p:txBody>
      </p:sp>
      <p:sp>
        <p:nvSpPr>
          <p:cNvPr id="27" name="Text Placeholder 10">
            <a:extLst>
              <a:ext uri="{FF2B5EF4-FFF2-40B4-BE49-F238E27FC236}">
                <a16:creationId xmlns:a16="http://schemas.microsoft.com/office/drawing/2014/main" id="{F32070CD-4F41-71B1-CB4C-C23DC243C044}"/>
              </a:ext>
            </a:extLst>
          </p:cNvPr>
          <p:cNvSpPr>
            <a:spLocks/>
          </p:cNvSpPr>
          <p:nvPr>
            <p:custDataLst>
              <p:tags r:id="rId15"/>
            </p:custDataLst>
          </p:nvPr>
        </p:nvSpPr>
        <p:spPr bwMode="auto">
          <a:xfrm>
            <a:off x="5243513" y="5759450"/>
            <a:ext cx="561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8C5173-3A12-4CC6-8D2F-EF734E17AFE4}" type="datetime'H''P''A''L ''''''''''Pr''''''''''''o''ce''''''''''ss'''''">
              <a:rPr lang="en-US" altLang="en-US" sz="1200" smtClean="0"/>
              <a:pPr marL="0" lvl="0" indent="0" algn="ctr">
                <a:spcBef>
                  <a:spcPct val="0"/>
                </a:spcBef>
                <a:spcAft>
                  <a:spcPct val="0"/>
                </a:spcAft>
                <a:buNone/>
              </a:pPr>
              <a:t>HPAL Process</a:t>
            </a:fld>
            <a:endParaRPr lang="en-US" sz="1200" dirty="0"/>
          </a:p>
        </p:txBody>
      </p:sp>
      <p:sp>
        <p:nvSpPr>
          <p:cNvPr id="28" name="Text Placeholder 10">
            <a:extLst>
              <a:ext uri="{FF2B5EF4-FFF2-40B4-BE49-F238E27FC236}">
                <a16:creationId xmlns:a16="http://schemas.microsoft.com/office/drawing/2014/main" id="{D027B739-2536-64D9-28E7-1174EE5FB090}"/>
              </a:ext>
            </a:extLst>
          </p:cNvPr>
          <p:cNvSpPr>
            <a:spLocks/>
          </p:cNvSpPr>
          <p:nvPr>
            <p:custDataLst>
              <p:tags r:id="rId16"/>
            </p:custDataLst>
          </p:nvPr>
        </p:nvSpPr>
        <p:spPr bwMode="gray">
          <a:xfrm>
            <a:off x="6257925" y="3076575"/>
            <a:ext cx="128588" cy="182563"/>
          </a:xfrm>
          <a:prstGeom prst="rect">
            <a:avLst/>
          </a:prstGeom>
          <a:solidFill>
            <a:srgbClr val="364D6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48E795-BF40-4241-A47B-DDB6D66DDD49}" type="datetime'''''''''''''''1'''''''''''''''''''''''''''''''''''''''''''''''">
              <a:rPr lang="en-US" altLang="en-US" sz="1200" smtClean="0">
                <a:solidFill>
                  <a:schemeClr val="bg1"/>
                </a:solidFill>
                <a:effectLst/>
              </a:rPr>
              <a:pPr marL="0" lvl="0" indent="0" algn="ctr">
                <a:spcBef>
                  <a:spcPct val="0"/>
                </a:spcBef>
                <a:spcAft>
                  <a:spcPct val="0"/>
                </a:spcAft>
                <a:buNone/>
              </a:pPr>
              <a:t>1</a:t>
            </a:fld>
            <a:endParaRPr lang="en-US" sz="1200" dirty="0">
              <a:solidFill>
                <a:schemeClr val="bg1"/>
              </a:solidFill>
            </a:endParaRPr>
          </a:p>
        </p:txBody>
      </p:sp>
      <p:sp>
        <p:nvSpPr>
          <p:cNvPr id="29" name="Text Placeholder 10">
            <a:extLst>
              <a:ext uri="{FF2B5EF4-FFF2-40B4-BE49-F238E27FC236}">
                <a16:creationId xmlns:a16="http://schemas.microsoft.com/office/drawing/2014/main" id="{C614BE49-12B2-AF13-0104-35BB40319CDA}"/>
              </a:ext>
            </a:extLst>
          </p:cNvPr>
          <p:cNvSpPr>
            <a:spLocks/>
          </p:cNvSpPr>
          <p:nvPr>
            <p:custDataLst>
              <p:tags r:id="rId17"/>
            </p:custDataLst>
          </p:nvPr>
        </p:nvSpPr>
        <p:spPr bwMode="gray">
          <a:xfrm>
            <a:off x="6257925" y="5526088"/>
            <a:ext cx="128588" cy="182563"/>
          </a:xfrm>
          <a:prstGeom prst="rect">
            <a:avLst/>
          </a:prstGeom>
          <a:solidFill>
            <a:srgbClr val="9DB1CF"/>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05E9BD-C645-4203-AEF4-BEE246B0D43B}" type="datetime'''''''''''''''''''''''''''''''''''''''''''''''''''''3'''">
              <a:rPr lang="en-US" altLang="en-US" sz="1200" smtClean="0">
                <a:effectLst/>
              </a:rPr>
              <a:pPr marL="0" lvl="0" indent="0" algn="ctr">
                <a:spcBef>
                  <a:spcPct val="0"/>
                </a:spcBef>
                <a:spcAft>
                  <a:spcPct val="0"/>
                </a:spcAft>
                <a:buNone/>
              </a:pPr>
              <a:t>3</a:t>
            </a:fld>
            <a:endParaRPr lang="en-US" sz="1200" dirty="0"/>
          </a:p>
        </p:txBody>
      </p:sp>
      <p:sp>
        <p:nvSpPr>
          <p:cNvPr id="30" name="Text Placeholder 10">
            <a:extLst>
              <a:ext uri="{FF2B5EF4-FFF2-40B4-BE49-F238E27FC236}">
                <a16:creationId xmlns:a16="http://schemas.microsoft.com/office/drawing/2014/main" id="{FED3E7F7-F973-6AC8-A53A-C3791ED2C57B}"/>
              </a:ext>
            </a:extLst>
          </p:cNvPr>
          <p:cNvSpPr>
            <a:spLocks/>
          </p:cNvSpPr>
          <p:nvPr>
            <p:custDataLst>
              <p:tags r:id="rId18"/>
            </p:custDataLst>
          </p:nvPr>
        </p:nvSpPr>
        <p:spPr bwMode="auto">
          <a:xfrm>
            <a:off x="6040438" y="5759450"/>
            <a:ext cx="561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C3A4C4-EE4A-4EE6-B857-6FADE772F476}" type="datetime'R''''K''''''''''E''''F ''Pro''''''''''''''c''''''''es''s'">
              <a:rPr lang="en-US" altLang="en-US" sz="1200" smtClean="0"/>
              <a:pPr marL="0" lvl="0" indent="0" algn="ctr">
                <a:spcBef>
                  <a:spcPct val="0"/>
                </a:spcBef>
                <a:spcAft>
                  <a:spcPct val="0"/>
                </a:spcAft>
                <a:buNone/>
              </a:pPr>
              <a:t>RKEF Process</a:t>
            </a:fld>
            <a:endParaRPr lang="en-US" sz="1200" dirty="0"/>
          </a:p>
        </p:txBody>
      </p:sp>
      <p:sp>
        <p:nvSpPr>
          <p:cNvPr id="31" name="Text Placeholder 10">
            <a:extLst>
              <a:ext uri="{FF2B5EF4-FFF2-40B4-BE49-F238E27FC236}">
                <a16:creationId xmlns:a16="http://schemas.microsoft.com/office/drawing/2014/main" id="{BC9E6219-CA03-8AB9-3AB2-14241AA47DB3}"/>
              </a:ext>
            </a:extLst>
          </p:cNvPr>
          <p:cNvSpPr>
            <a:spLocks/>
          </p:cNvSpPr>
          <p:nvPr>
            <p:custDataLst>
              <p:tags r:id="rId19"/>
            </p:custDataLst>
          </p:nvPr>
        </p:nvSpPr>
        <p:spPr bwMode="gray">
          <a:xfrm>
            <a:off x="5418138" y="433546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52F370-0816-4409-9788-63596AA01063}" type="datetime'''3''''''''''''''''''''''''''''''''''''''2'''''''''''''''''''">
              <a:rPr lang="en-US" altLang="en-US" sz="1200" smtClean="0"/>
              <a:pPr marL="0" lvl="0" indent="0" algn="ctr">
                <a:spcBef>
                  <a:spcPct val="0"/>
                </a:spcBef>
                <a:spcAft>
                  <a:spcPct val="0"/>
                </a:spcAft>
                <a:buNone/>
              </a:pPr>
              <a:t>32</a:t>
            </a:fld>
            <a:endParaRPr lang="en-US" sz="1200" dirty="0"/>
          </a:p>
        </p:txBody>
      </p:sp>
      <p:sp>
        <p:nvSpPr>
          <p:cNvPr id="32" name="Text Placeholder 10">
            <a:extLst>
              <a:ext uri="{FF2B5EF4-FFF2-40B4-BE49-F238E27FC236}">
                <a16:creationId xmlns:a16="http://schemas.microsoft.com/office/drawing/2014/main" id="{AE273409-36F3-02A1-432F-56EA09096B15}"/>
              </a:ext>
            </a:extLst>
          </p:cNvPr>
          <p:cNvSpPr>
            <a:spLocks/>
          </p:cNvSpPr>
          <p:nvPr>
            <p:custDataLst>
              <p:tags r:id="rId20"/>
            </p:custDataLst>
          </p:nvPr>
        </p:nvSpPr>
        <p:spPr bwMode="gray">
          <a:xfrm>
            <a:off x="6215063" y="28940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FBB9F3-C239-4140-BBE0-A63CF9333EFD}" type="datetime'''''''''''7''''5'''''''''">
              <a:rPr lang="en-US" altLang="en-US" sz="1200" smtClean="0"/>
              <a:pPr marL="0" lvl="0" indent="0" algn="ctr">
                <a:spcBef>
                  <a:spcPct val="0"/>
                </a:spcBef>
                <a:spcAft>
                  <a:spcPct val="0"/>
                </a:spcAft>
                <a:buNone/>
              </a:pPr>
              <a:t>75</a:t>
            </a:fld>
            <a:endParaRPr lang="en-US" sz="1200" dirty="0"/>
          </a:p>
        </p:txBody>
      </p:sp>
      <p:sp>
        <p:nvSpPr>
          <p:cNvPr id="33" name="TextBox 32">
            <a:extLst>
              <a:ext uri="{FF2B5EF4-FFF2-40B4-BE49-F238E27FC236}">
                <a16:creationId xmlns:a16="http://schemas.microsoft.com/office/drawing/2014/main" id="{1190D041-4355-B64B-1CAF-D29F7188628E}"/>
              </a:ext>
            </a:extLst>
          </p:cNvPr>
          <p:cNvSpPr txBox="1"/>
          <p:nvPr/>
        </p:nvSpPr>
        <p:spPr bwMode="gray">
          <a:xfrm rot="16200000">
            <a:off x="-88900" y="4738688"/>
            <a:ext cx="1797050" cy="257175"/>
          </a:xfrm>
          <a:prstGeom prst="rect">
            <a:avLst/>
          </a:prstGeom>
          <a:noFill/>
        </p:spPr>
        <p:txBody>
          <a:bodyPr wrap="square" lIns="36000" tIns="36000" rIns="36000" bIns="36000" rtlCol="0">
            <a:spAutoFit/>
          </a:bodyPr>
          <a:lstStyle/>
          <a:p>
            <a:pPr marL="0" indent="0" algn="ctr">
              <a:buNone/>
            </a:pPr>
            <a:r>
              <a:rPr lang="en-US" sz="1200" b="1" dirty="0"/>
              <a:t>Tons CO2e/vehicle</a:t>
            </a:r>
          </a:p>
        </p:txBody>
      </p:sp>
      <p:sp>
        <p:nvSpPr>
          <p:cNvPr id="34" name="Rectangle 33">
            <a:extLst>
              <a:ext uri="{FF2B5EF4-FFF2-40B4-BE49-F238E27FC236}">
                <a16:creationId xmlns:a16="http://schemas.microsoft.com/office/drawing/2014/main" id="{2C08F5E6-7752-14FF-C8B6-1449C1C5B566}"/>
              </a:ext>
            </a:extLst>
          </p:cNvPr>
          <p:cNvSpPr/>
          <p:nvPr>
            <p:custDataLst>
              <p:tags r:id="rId21"/>
            </p:custDataLst>
          </p:nvPr>
        </p:nvSpPr>
        <p:spPr bwMode="auto">
          <a:xfrm>
            <a:off x="1208088" y="25511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834A6291-CEE6-EBB1-949C-43707BCF6AC0}"/>
              </a:ext>
            </a:extLst>
          </p:cNvPr>
          <p:cNvSpPr/>
          <p:nvPr>
            <p:custDataLst>
              <p:tags r:id="rId22"/>
            </p:custDataLst>
          </p:nvPr>
        </p:nvSpPr>
        <p:spPr bwMode="auto">
          <a:xfrm>
            <a:off x="1208088" y="27543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A397D2CD-66EB-9C37-4E9C-36BEF1CF88D5}"/>
              </a:ext>
            </a:extLst>
          </p:cNvPr>
          <p:cNvSpPr/>
          <p:nvPr>
            <p:custDataLst>
              <p:tags r:id="rId23"/>
            </p:custDataLst>
          </p:nvPr>
        </p:nvSpPr>
        <p:spPr bwMode="auto">
          <a:xfrm>
            <a:off x="2578100" y="255111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8928A330-628E-6231-6F0F-46E5A1D32186}"/>
              </a:ext>
            </a:extLst>
          </p:cNvPr>
          <p:cNvSpPr/>
          <p:nvPr>
            <p:custDataLst>
              <p:tags r:id="rId24"/>
            </p:custDataLst>
          </p:nvPr>
        </p:nvSpPr>
        <p:spPr bwMode="auto">
          <a:xfrm>
            <a:off x="2578100" y="275431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Text Placeholder 10">
            <a:extLst>
              <a:ext uri="{FF2B5EF4-FFF2-40B4-BE49-F238E27FC236}">
                <a16:creationId xmlns:a16="http://schemas.microsoft.com/office/drawing/2014/main" id="{39D0ED3B-2A40-251D-4C23-11CF948E6813}"/>
              </a:ext>
            </a:extLst>
          </p:cNvPr>
          <p:cNvSpPr>
            <a:spLocks/>
          </p:cNvSpPr>
          <p:nvPr>
            <p:custDataLst>
              <p:tags r:id="rId25"/>
            </p:custDataLst>
          </p:nvPr>
        </p:nvSpPr>
        <p:spPr bwMode="auto">
          <a:xfrm>
            <a:off x="1438275" y="2546350"/>
            <a:ext cx="842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59AF084-2195-457A-A387-44DA6A16C06A}" type="datetime'''C''''ar'''''' Pr''''o''d''''u''c''t''i''''''o''''''n'''">
              <a:rPr lang="en-US" altLang="en-US" sz="1000" smtClean="0"/>
              <a:pPr/>
              <a:t>Car Production</a:t>
            </a:fld>
            <a:endParaRPr lang="en-US" sz="1000" dirty="0"/>
          </a:p>
        </p:txBody>
      </p:sp>
      <p:sp>
        <p:nvSpPr>
          <p:cNvPr id="39" name="Text Placeholder 10">
            <a:extLst>
              <a:ext uri="{FF2B5EF4-FFF2-40B4-BE49-F238E27FC236}">
                <a16:creationId xmlns:a16="http://schemas.microsoft.com/office/drawing/2014/main" id="{8590625B-2478-6395-912B-3DEA6286CC60}"/>
              </a:ext>
            </a:extLst>
          </p:cNvPr>
          <p:cNvSpPr>
            <a:spLocks/>
          </p:cNvSpPr>
          <p:nvPr>
            <p:custDataLst>
              <p:tags r:id="rId26"/>
            </p:custDataLst>
          </p:nvPr>
        </p:nvSpPr>
        <p:spPr bwMode="auto">
          <a:xfrm>
            <a:off x="1438275" y="2749550"/>
            <a:ext cx="1038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E986BB-3780-40B4-B737-55E1C762293E}" type="datetime'''B''''att''''''''e''''r''y'''' P''''''rod''''''uct''ion'''">
              <a:rPr lang="en-US" altLang="en-US" sz="1000" smtClean="0"/>
              <a:pPr/>
              <a:t>Battery Production</a:t>
            </a:fld>
            <a:endParaRPr lang="en-US" sz="1000" dirty="0"/>
          </a:p>
        </p:txBody>
      </p:sp>
      <p:sp>
        <p:nvSpPr>
          <p:cNvPr id="40" name="Text Placeholder 10">
            <a:extLst>
              <a:ext uri="{FF2B5EF4-FFF2-40B4-BE49-F238E27FC236}">
                <a16:creationId xmlns:a16="http://schemas.microsoft.com/office/drawing/2014/main" id="{F832CEF2-E41F-42D3-4E85-DEFD668D4235}"/>
              </a:ext>
            </a:extLst>
          </p:cNvPr>
          <p:cNvSpPr>
            <a:spLocks/>
          </p:cNvSpPr>
          <p:nvPr>
            <p:custDataLst>
              <p:tags r:id="rId27"/>
            </p:custDataLst>
          </p:nvPr>
        </p:nvSpPr>
        <p:spPr bwMode="auto">
          <a:xfrm>
            <a:off x="2808288" y="2546350"/>
            <a:ext cx="70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C5201EA-9047-4D2F-8AD5-8F9A9A143E65}" type="datetime'''''W''''''''ell'''' ''''to ''''T''an''''''''k'''''''''''''''">
              <a:rPr lang="en-US" altLang="en-US" sz="1000" smtClean="0"/>
              <a:pPr/>
              <a:t>Well to Tank</a:t>
            </a:fld>
            <a:endParaRPr lang="en-US" sz="1000" dirty="0"/>
          </a:p>
        </p:txBody>
      </p:sp>
      <p:sp>
        <p:nvSpPr>
          <p:cNvPr id="41" name="Text Placeholder 10">
            <a:extLst>
              <a:ext uri="{FF2B5EF4-FFF2-40B4-BE49-F238E27FC236}">
                <a16:creationId xmlns:a16="http://schemas.microsoft.com/office/drawing/2014/main" id="{ACBF09F1-5B9B-702C-ED87-6C942E583BDB}"/>
              </a:ext>
            </a:extLst>
          </p:cNvPr>
          <p:cNvSpPr>
            <a:spLocks/>
          </p:cNvSpPr>
          <p:nvPr>
            <p:custDataLst>
              <p:tags r:id="rId28"/>
            </p:custDataLst>
          </p:nvPr>
        </p:nvSpPr>
        <p:spPr bwMode="auto">
          <a:xfrm>
            <a:off x="2808288" y="2749550"/>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DA5798-5D27-46AC-B732-3D6AC993C0FF}" type="datetime'''''T''an''''k ''to'' W''''h''''e''''''''e''l'''''''''''''''''">
              <a:rPr lang="en-US" altLang="en-US" sz="1000" smtClean="0"/>
              <a:pPr/>
              <a:t>Tank to Wheel</a:t>
            </a:fld>
            <a:endParaRPr lang="en-US" sz="1000" dirty="0"/>
          </a:p>
        </p:txBody>
      </p:sp>
      <p:sp>
        <p:nvSpPr>
          <p:cNvPr id="42" name="Rectangle 41">
            <a:extLst>
              <a:ext uri="{FF2B5EF4-FFF2-40B4-BE49-F238E27FC236}">
                <a16:creationId xmlns:a16="http://schemas.microsoft.com/office/drawing/2014/main" id="{13412F98-8557-5F94-9ADD-0CCCB03BFFEE}"/>
              </a:ext>
            </a:extLst>
          </p:cNvPr>
          <p:cNvSpPr/>
          <p:nvPr>
            <p:custDataLst>
              <p:tags r:id="rId29"/>
            </p:custDataLst>
          </p:nvPr>
        </p:nvSpPr>
        <p:spPr bwMode="auto">
          <a:xfrm>
            <a:off x="6770688" y="2501900"/>
            <a:ext cx="179388" cy="133350"/>
          </a:xfrm>
          <a:prstGeom prst="rect">
            <a:avLst/>
          </a:prstGeom>
          <a:solidFill>
            <a:srgbClr val="364D6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28E7460F-0A8B-31BC-ED31-9BA42665BD54}"/>
              </a:ext>
            </a:extLst>
          </p:cNvPr>
          <p:cNvSpPr/>
          <p:nvPr>
            <p:custDataLst>
              <p:tags r:id="rId30"/>
            </p:custDataLst>
          </p:nvPr>
        </p:nvSpPr>
        <p:spPr bwMode="auto">
          <a:xfrm>
            <a:off x="6770688" y="2705100"/>
            <a:ext cx="179388" cy="133350"/>
          </a:xfrm>
          <a:prstGeom prst="rect">
            <a:avLst/>
          </a:prstGeom>
          <a:solidFill>
            <a:srgbClr val="4C6C9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671D5A54-42B2-A8D9-E6EB-F933D28EA04A}"/>
              </a:ext>
            </a:extLst>
          </p:cNvPr>
          <p:cNvSpPr/>
          <p:nvPr>
            <p:custDataLst>
              <p:tags r:id="rId31"/>
            </p:custDataLst>
          </p:nvPr>
        </p:nvSpPr>
        <p:spPr bwMode="auto">
          <a:xfrm>
            <a:off x="6770688" y="2908300"/>
            <a:ext cx="179388" cy="1333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Text Placeholder 10">
            <a:extLst>
              <a:ext uri="{FF2B5EF4-FFF2-40B4-BE49-F238E27FC236}">
                <a16:creationId xmlns:a16="http://schemas.microsoft.com/office/drawing/2014/main" id="{1611DD67-5737-0D76-0540-FF48A5AD1D54}"/>
              </a:ext>
            </a:extLst>
          </p:cNvPr>
          <p:cNvSpPr>
            <a:spLocks/>
          </p:cNvSpPr>
          <p:nvPr>
            <p:custDataLst>
              <p:tags r:id="rId32"/>
            </p:custDataLst>
          </p:nvPr>
        </p:nvSpPr>
        <p:spPr bwMode="auto">
          <a:xfrm>
            <a:off x="7000875" y="2497138"/>
            <a:ext cx="373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8E3CD5-7074-43B4-838F-5201A6FCBC66}" type="datetime'''''''''''''''M''''''''''i''''n''''in''''''g'''''">
              <a:rPr lang="en-US" altLang="en-US" sz="1000" smtClean="0"/>
              <a:pPr/>
              <a:t>Mining</a:t>
            </a:fld>
            <a:endParaRPr lang="en-US" sz="1000" dirty="0"/>
          </a:p>
        </p:txBody>
      </p:sp>
      <p:sp>
        <p:nvSpPr>
          <p:cNvPr id="46" name="Text Placeholder 10">
            <a:extLst>
              <a:ext uri="{FF2B5EF4-FFF2-40B4-BE49-F238E27FC236}">
                <a16:creationId xmlns:a16="http://schemas.microsoft.com/office/drawing/2014/main" id="{A0AC0465-4253-0525-6F52-627D2723AB68}"/>
              </a:ext>
            </a:extLst>
          </p:cNvPr>
          <p:cNvSpPr>
            <a:spLocks/>
          </p:cNvSpPr>
          <p:nvPr>
            <p:custDataLst>
              <p:tags r:id="rId33"/>
            </p:custDataLst>
          </p:nvPr>
        </p:nvSpPr>
        <p:spPr bwMode="auto">
          <a:xfrm>
            <a:off x="7000875" y="2700338"/>
            <a:ext cx="625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309CEC-CE95-424E-9175-BEBB9CB03A33}" type="datetime'''P''''''r''''o''''''''c''''''e''''''''''s''''s''i''''ng'''">
              <a:rPr lang="en-US" altLang="en-US" sz="1000" smtClean="0"/>
              <a:pPr/>
              <a:t>Processing</a:t>
            </a:fld>
            <a:endParaRPr lang="en-US" sz="1000" dirty="0"/>
          </a:p>
        </p:txBody>
      </p:sp>
      <p:sp>
        <p:nvSpPr>
          <p:cNvPr id="47" name="Text Placeholder 10">
            <a:extLst>
              <a:ext uri="{FF2B5EF4-FFF2-40B4-BE49-F238E27FC236}">
                <a16:creationId xmlns:a16="http://schemas.microsoft.com/office/drawing/2014/main" id="{F294D08C-5C6C-2724-E444-04FF5A64735E}"/>
              </a:ext>
            </a:extLst>
          </p:cNvPr>
          <p:cNvSpPr>
            <a:spLocks/>
          </p:cNvSpPr>
          <p:nvPr>
            <p:custDataLst>
              <p:tags r:id="rId34"/>
            </p:custDataLst>
          </p:nvPr>
        </p:nvSpPr>
        <p:spPr bwMode="auto">
          <a:xfrm>
            <a:off x="7000875" y="2903538"/>
            <a:ext cx="463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B25F725-71BB-4656-AD5A-B04C1220005A}" type="datetime'''''Re''''fi''''n''i''''''''''''''''''n''''''''g'''">
              <a:rPr lang="en-US" altLang="en-US" sz="1000" smtClean="0"/>
              <a:pPr/>
              <a:t>Refining</a:t>
            </a:fld>
            <a:endParaRPr lang="en-US" sz="1000" dirty="0"/>
          </a:p>
        </p:txBody>
      </p:sp>
      <p:sp>
        <p:nvSpPr>
          <p:cNvPr id="48" name="Rectangle 47">
            <a:extLst>
              <a:ext uri="{FF2B5EF4-FFF2-40B4-BE49-F238E27FC236}">
                <a16:creationId xmlns:a16="http://schemas.microsoft.com/office/drawing/2014/main" id="{5A5AE051-1653-4379-EF3A-C54D63DF26A9}"/>
              </a:ext>
            </a:extLst>
          </p:cNvPr>
          <p:cNvSpPr/>
          <p:nvPr>
            <p:custDataLst>
              <p:tags r:id="rId35"/>
            </p:custDataLst>
          </p:nvPr>
        </p:nvSpPr>
        <p:spPr bwMode="auto">
          <a:xfrm>
            <a:off x="9183688" y="26352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Rectangle 48">
            <a:extLst>
              <a:ext uri="{FF2B5EF4-FFF2-40B4-BE49-F238E27FC236}">
                <a16:creationId xmlns:a16="http://schemas.microsoft.com/office/drawing/2014/main" id="{4547CCB0-6803-B3D4-049C-D76E300B299A}"/>
              </a:ext>
            </a:extLst>
          </p:cNvPr>
          <p:cNvSpPr/>
          <p:nvPr>
            <p:custDataLst>
              <p:tags r:id="rId36"/>
            </p:custDataLst>
          </p:nvPr>
        </p:nvSpPr>
        <p:spPr bwMode="auto">
          <a:xfrm>
            <a:off x="9183688" y="283845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Rectangle 49">
            <a:extLst>
              <a:ext uri="{FF2B5EF4-FFF2-40B4-BE49-F238E27FC236}">
                <a16:creationId xmlns:a16="http://schemas.microsoft.com/office/drawing/2014/main" id="{C9A837DE-9A3F-99C7-0F12-267A59300B1A}"/>
              </a:ext>
            </a:extLst>
          </p:cNvPr>
          <p:cNvSpPr/>
          <p:nvPr>
            <p:custDataLst>
              <p:tags r:id="rId37"/>
            </p:custDataLst>
          </p:nvPr>
        </p:nvSpPr>
        <p:spPr bwMode="auto">
          <a:xfrm>
            <a:off x="10553700" y="263525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1" name="Rectangle 50">
            <a:extLst>
              <a:ext uri="{FF2B5EF4-FFF2-40B4-BE49-F238E27FC236}">
                <a16:creationId xmlns:a16="http://schemas.microsoft.com/office/drawing/2014/main" id="{12846DBE-C566-DC05-18DA-6D0027CE2E0E}"/>
              </a:ext>
            </a:extLst>
          </p:cNvPr>
          <p:cNvSpPr/>
          <p:nvPr>
            <p:custDataLst>
              <p:tags r:id="rId38"/>
            </p:custDataLst>
          </p:nvPr>
        </p:nvSpPr>
        <p:spPr bwMode="auto">
          <a:xfrm>
            <a:off x="10553700" y="283845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2" name="Text Placeholder 10">
            <a:extLst>
              <a:ext uri="{FF2B5EF4-FFF2-40B4-BE49-F238E27FC236}">
                <a16:creationId xmlns:a16="http://schemas.microsoft.com/office/drawing/2014/main" id="{DA4C5A20-55B0-2168-08DD-8811B5DF5BFF}"/>
              </a:ext>
            </a:extLst>
          </p:cNvPr>
          <p:cNvSpPr>
            <a:spLocks/>
          </p:cNvSpPr>
          <p:nvPr>
            <p:custDataLst>
              <p:tags r:id="rId39"/>
            </p:custDataLst>
          </p:nvPr>
        </p:nvSpPr>
        <p:spPr bwMode="auto">
          <a:xfrm>
            <a:off x="9413875" y="2630488"/>
            <a:ext cx="842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2282E5-45B2-4BE2-A22E-707FDF694169}" type="datetime'''''''''''''''Car ''''''Pr''''''''''od''''uc''t''''''ion'''">
              <a:rPr lang="en-US" altLang="en-US" sz="1000" smtClean="0"/>
              <a:pPr/>
              <a:t>Car Production</a:t>
            </a:fld>
            <a:endParaRPr lang="en-US" sz="1000" dirty="0"/>
          </a:p>
        </p:txBody>
      </p:sp>
      <p:sp>
        <p:nvSpPr>
          <p:cNvPr id="53" name="Text Placeholder 10">
            <a:extLst>
              <a:ext uri="{FF2B5EF4-FFF2-40B4-BE49-F238E27FC236}">
                <a16:creationId xmlns:a16="http://schemas.microsoft.com/office/drawing/2014/main" id="{1E79C7FC-0F92-2653-E15E-35E66DB1F233}"/>
              </a:ext>
            </a:extLst>
          </p:cNvPr>
          <p:cNvSpPr>
            <a:spLocks/>
          </p:cNvSpPr>
          <p:nvPr>
            <p:custDataLst>
              <p:tags r:id="rId40"/>
            </p:custDataLst>
          </p:nvPr>
        </p:nvSpPr>
        <p:spPr bwMode="auto">
          <a:xfrm>
            <a:off x="9413875" y="2833688"/>
            <a:ext cx="1038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C5E56A-B98D-4798-9AC2-9DE1B599BA55}" type="datetime'B''at''t''er''y'' P''''r''o''''''''d''''uc''''''t''ion'">
              <a:rPr lang="en-US" altLang="en-US" sz="1000" smtClean="0"/>
              <a:pPr/>
              <a:t>Battery Production</a:t>
            </a:fld>
            <a:endParaRPr lang="en-US" sz="1000" dirty="0"/>
          </a:p>
        </p:txBody>
      </p:sp>
      <p:sp>
        <p:nvSpPr>
          <p:cNvPr id="54" name="Text Placeholder 10">
            <a:extLst>
              <a:ext uri="{FF2B5EF4-FFF2-40B4-BE49-F238E27FC236}">
                <a16:creationId xmlns:a16="http://schemas.microsoft.com/office/drawing/2014/main" id="{4BBB5509-AB70-EDF8-1209-1ACE704423F2}"/>
              </a:ext>
            </a:extLst>
          </p:cNvPr>
          <p:cNvSpPr>
            <a:spLocks/>
          </p:cNvSpPr>
          <p:nvPr>
            <p:custDataLst>
              <p:tags r:id="rId41"/>
            </p:custDataLst>
          </p:nvPr>
        </p:nvSpPr>
        <p:spPr bwMode="auto">
          <a:xfrm>
            <a:off x="10783888" y="2630488"/>
            <a:ext cx="70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4030B8F-6777-4709-887A-3140984B7DA9}" type="datetime'We''l''l'''''' to'''''''''''' Ta''nk'''">
              <a:rPr lang="en-US" altLang="en-US" sz="1000" smtClean="0"/>
              <a:pPr/>
              <a:t>Well to Tank</a:t>
            </a:fld>
            <a:endParaRPr lang="en-US" sz="1000" dirty="0"/>
          </a:p>
        </p:txBody>
      </p:sp>
      <p:sp>
        <p:nvSpPr>
          <p:cNvPr id="55" name="Text Placeholder 10">
            <a:extLst>
              <a:ext uri="{FF2B5EF4-FFF2-40B4-BE49-F238E27FC236}">
                <a16:creationId xmlns:a16="http://schemas.microsoft.com/office/drawing/2014/main" id="{4BD84548-9B20-56A5-7A59-CAE230984F4A}"/>
              </a:ext>
            </a:extLst>
          </p:cNvPr>
          <p:cNvSpPr>
            <a:spLocks/>
          </p:cNvSpPr>
          <p:nvPr>
            <p:custDataLst>
              <p:tags r:id="rId42"/>
            </p:custDataLst>
          </p:nvPr>
        </p:nvSpPr>
        <p:spPr bwMode="auto">
          <a:xfrm>
            <a:off x="10783888" y="2833688"/>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916EDB-6889-4056-A580-0B70E9C99888}" type="datetime'''''''Tan''''k'''' ''''''''to ''''Wh''''e''e''''''l'''">
              <a:rPr lang="en-US" altLang="en-US" sz="1000" smtClean="0"/>
              <a:pPr/>
              <a:t>Tank to Wheel</a:t>
            </a:fld>
            <a:endParaRPr lang="en-US" sz="1000" dirty="0"/>
          </a:p>
        </p:txBody>
      </p:sp>
      <p:sp>
        <p:nvSpPr>
          <p:cNvPr id="56" name="Rectangular Callout 658">
            <a:extLst>
              <a:ext uri="{FF2B5EF4-FFF2-40B4-BE49-F238E27FC236}">
                <a16:creationId xmlns:a16="http://schemas.microsoft.com/office/drawing/2014/main" id="{81B5A7DE-3806-2885-1BDD-F7E217130EAE}"/>
              </a:ext>
            </a:extLst>
          </p:cNvPr>
          <p:cNvSpPr/>
          <p:nvPr/>
        </p:nvSpPr>
        <p:spPr bwMode="gray">
          <a:xfrm>
            <a:off x="4244975" y="3078163"/>
            <a:ext cx="1027113" cy="898525"/>
          </a:xfrm>
          <a:prstGeom prst="wedgeRectCallout">
            <a:avLst>
              <a:gd name="adj1" fmla="val 74796"/>
              <a:gd name="adj2" fmla="val 2091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Address nickel-processing emissions upstream.</a:t>
            </a:r>
          </a:p>
        </p:txBody>
      </p:sp>
      <p:sp>
        <p:nvSpPr>
          <p:cNvPr id="57" name="Rectangular Callout 658">
            <a:extLst>
              <a:ext uri="{FF2B5EF4-FFF2-40B4-BE49-F238E27FC236}">
                <a16:creationId xmlns:a16="http://schemas.microsoft.com/office/drawing/2014/main" id="{7E5E365D-0EB7-D6A8-D060-4896D9F6EB7C}"/>
              </a:ext>
            </a:extLst>
          </p:cNvPr>
          <p:cNvSpPr/>
          <p:nvPr/>
        </p:nvSpPr>
        <p:spPr bwMode="gray">
          <a:xfrm>
            <a:off x="7880350" y="3962977"/>
            <a:ext cx="1574800" cy="744538"/>
          </a:xfrm>
          <a:prstGeom prst="wedgeRectCallout">
            <a:avLst>
              <a:gd name="adj1" fmla="val 51869"/>
              <a:gd name="adj2" fmla="val 106889"/>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defRPr/>
            </a:pPr>
            <a:r>
              <a:rPr lang="en-US" sz="1100" b="1" dirty="0">
                <a:solidFill>
                  <a:schemeClr val="tx1"/>
                </a:solidFill>
                <a:latin typeface="Arial"/>
              </a:rPr>
              <a:t>Integrating</a:t>
            </a:r>
            <a:r>
              <a:rPr kumimoji="0" lang="en-US" sz="1100" b="1" i="0" u="none" strike="noStrike" kern="1200" cap="none" spc="0" normalizeH="0" baseline="0" noProof="0" dirty="0">
                <a:ln>
                  <a:noFill/>
                </a:ln>
                <a:solidFill>
                  <a:schemeClr val="tx1"/>
                </a:solidFill>
                <a:effectLst/>
                <a:uLnTx/>
                <a:uFillTx/>
                <a:latin typeface="Arial"/>
                <a:ea typeface="+mn-ea"/>
                <a:cs typeface="+mn-cs"/>
              </a:rPr>
              <a:t> geothermal </a:t>
            </a:r>
            <a:r>
              <a:rPr lang="en-US" sz="1100" b="1" dirty="0">
                <a:solidFill>
                  <a:schemeClr val="tx1"/>
                </a:solidFill>
                <a:latin typeface="Arial"/>
              </a:rPr>
              <a:t>power into</a:t>
            </a:r>
            <a:r>
              <a:rPr kumimoji="0" lang="en-US" sz="1100" b="1" i="0" u="none" strike="noStrike" kern="1200" cap="none" spc="0" normalizeH="0" baseline="0" noProof="0" dirty="0">
                <a:ln>
                  <a:noFill/>
                </a:ln>
                <a:solidFill>
                  <a:schemeClr val="tx1"/>
                </a:solidFill>
                <a:effectLst/>
                <a:uLnTx/>
                <a:uFillTx/>
                <a:latin typeface="Arial"/>
                <a:ea typeface="+mn-ea"/>
                <a:cs typeface="+mn-cs"/>
              </a:rPr>
              <a:t> nickel processing cuts 5 tCO</a:t>
            </a:r>
            <a:r>
              <a:rPr kumimoji="0" lang="en-US" sz="1100" b="1" i="0" u="none" strike="noStrike" kern="1200" cap="none" spc="0" normalizeH="0" baseline="-25000" noProof="0" dirty="0">
                <a:ln>
                  <a:noFill/>
                </a:ln>
                <a:solidFill>
                  <a:schemeClr val="tx1"/>
                </a:solidFill>
                <a:effectLst/>
                <a:uLnTx/>
                <a:uFillTx/>
                <a:latin typeface="Arial"/>
                <a:ea typeface="+mn-ea"/>
                <a:cs typeface="+mn-cs"/>
              </a:rPr>
              <a:t>2</a:t>
            </a:r>
            <a:r>
              <a:rPr kumimoji="0" lang="en-US" sz="1100" b="1" i="0" u="none" strike="noStrike" kern="1200" cap="none" spc="0" normalizeH="0" baseline="0" noProof="0" dirty="0">
                <a:ln>
                  <a:noFill/>
                </a:ln>
                <a:solidFill>
                  <a:schemeClr val="tx1"/>
                </a:solidFill>
                <a:effectLst/>
                <a:uLnTx/>
                <a:uFillTx/>
                <a:latin typeface="Arial"/>
                <a:ea typeface="+mn-ea"/>
                <a:cs typeface="+mn-cs"/>
              </a:rPr>
              <a:t> per EV.</a:t>
            </a:r>
            <a:endParaRPr lang="en-US" sz="1100" b="1" i="0" u="none" strike="noStrike" kern="1200" cap="none" spc="0" normalizeH="0" baseline="0" noProof="0" dirty="0">
              <a:ln>
                <a:noFill/>
              </a:ln>
              <a:solidFill>
                <a:schemeClr val="tx1"/>
              </a:solidFill>
              <a:effectLst/>
              <a:uLnTx/>
              <a:uFillTx/>
              <a:latin typeface="Arial"/>
              <a:cs typeface="Arial"/>
            </a:endParaRPr>
          </a:p>
        </p:txBody>
      </p:sp>
      <p:sp>
        <p:nvSpPr>
          <p:cNvPr id="58" name="Rectangle 57">
            <a:extLst>
              <a:ext uri="{FF2B5EF4-FFF2-40B4-BE49-F238E27FC236}">
                <a16:creationId xmlns:a16="http://schemas.microsoft.com/office/drawing/2014/main" id="{81B93F64-2596-6A08-84FB-93328D8AE747}"/>
              </a:ext>
            </a:extLst>
          </p:cNvPr>
          <p:cNvSpPr/>
          <p:nvPr/>
        </p:nvSpPr>
        <p:spPr bwMode="gray">
          <a:xfrm>
            <a:off x="322983" y="2071236"/>
            <a:ext cx="3474720" cy="4100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GHG emissions comparison between EV and ICE, tons CO</a:t>
            </a:r>
            <a:r>
              <a:rPr lang="en-US" sz="1200" baseline="-25000" dirty="0">
                <a:solidFill>
                  <a:schemeClr val="tx1"/>
                </a:solidFill>
              </a:rPr>
              <a:t>2</a:t>
            </a:r>
            <a:r>
              <a:rPr lang="en-US" sz="1200" dirty="0">
                <a:solidFill>
                  <a:schemeClr val="tx1"/>
                </a:solidFill>
              </a:rPr>
              <a:t>e/vehicle </a:t>
            </a:r>
          </a:p>
        </p:txBody>
      </p:sp>
      <p:sp>
        <p:nvSpPr>
          <p:cNvPr id="59" name="Rectangle 58">
            <a:extLst>
              <a:ext uri="{FF2B5EF4-FFF2-40B4-BE49-F238E27FC236}">
                <a16:creationId xmlns:a16="http://schemas.microsoft.com/office/drawing/2014/main" id="{E8B06B58-0BAC-07D8-BBDE-4039F84DEC19}"/>
              </a:ext>
            </a:extLst>
          </p:cNvPr>
          <p:cNvSpPr/>
          <p:nvPr/>
        </p:nvSpPr>
        <p:spPr bwMode="gray">
          <a:xfrm>
            <a:off x="4282440" y="2071236"/>
            <a:ext cx="3474720"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GHG emissions by nickel production step mtCO</a:t>
            </a:r>
            <a:r>
              <a:rPr lang="en-US" sz="1200" baseline="-25000" dirty="0">
                <a:solidFill>
                  <a:schemeClr val="tx1"/>
                </a:solidFill>
              </a:rPr>
              <a:t>2</a:t>
            </a:r>
            <a:r>
              <a:rPr lang="en-US" sz="1200" dirty="0">
                <a:solidFill>
                  <a:schemeClr val="tx1"/>
                </a:solidFill>
              </a:rPr>
              <a:t>/ton of nickel</a:t>
            </a:r>
          </a:p>
        </p:txBody>
      </p:sp>
      <p:sp>
        <p:nvSpPr>
          <p:cNvPr id="60" name="Rectangle 59">
            <a:extLst>
              <a:ext uri="{FF2B5EF4-FFF2-40B4-BE49-F238E27FC236}">
                <a16:creationId xmlns:a16="http://schemas.microsoft.com/office/drawing/2014/main" id="{784FC119-6692-B877-2E4C-98665316A95E}"/>
              </a:ext>
            </a:extLst>
          </p:cNvPr>
          <p:cNvSpPr/>
          <p:nvPr/>
        </p:nvSpPr>
        <p:spPr bwMode="gray">
          <a:xfrm>
            <a:off x="8093248" y="2071236"/>
            <a:ext cx="3474720"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dirty="0">
                <a:solidFill>
                  <a:schemeClr val="tx1"/>
                </a:solidFill>
              </a:rPr>
              <a:t>GHG emissions comparison between EV and ICE, tons CO</a:t>
            </a:r>
            <a:r>
              <a:rPr lang="en-US" sz="1200" baseline="-25000" dirty="0">
                <a:solidFill>
                  <a:schemeClr val="tx1"/>
                </a:solidFill>
              </a:rPr>
              <a:t>2</a:t>
            </a:r>
            <a:r>
              <a:rPr lang="en-US" sz="1200" dirty="0">
                <a:solidFill>
                  <a:schemeClr val="tx1"/>
                </a:solidFill>
              </a:rPr>
              <a:t>e/vehicle </a:t>
            </a:r>
          </a:p>
        </p:txBody>
      </p:sp>
    </p:spTree>
    <p:extLst>
      <p:ext uri="{BB962C8B-B14F-4D97-AF65-F5344CB8AC3E}">
        <p14:creationId xmlns:p14="http://schemas.microsoft.com/office/powerpoint/2010/main" val="11221217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UNDODONOTDELETE" val="0"/>
  <p:tag name="EE4P_STYLE_ID" val="9245cb48-36f6-4855-a0c3-19564cc8b6bc"/>
  <p:tag name="THINKCELLPRESENTATIONDONOTDELETE" val="&lt;?xml version=&quot;1.0&quot; encoding=&quot;UTF-16&quot; standalone=&quot;yes&quot;?&gt;&lt;root reqver=&quot;32687&quot;&gt;&lt;version val=&quot;3857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1.63010181177520485640E+00&quot;&gt;&lt;m_msothmcolidx val=&quot;0&quot;/&gt;&lt;m_rgb r=&quot;DE&quot; g=&quot;C0&quot; b=&quot;00&quot;/&gt;&lt;/elem&gt;&lt;elem m_fUsage=&quot;1.55659433976269445665E+00&quot;&gt;&lt;m_msothmcolidx val=&quot;0&quot;/&gt;&lt;m_rgb r=&quot;6B&quot; g=&quot;CC&quot; b=&quot;F5&quot;/&gt;&lt;/elem&gt;&lt;elem m_fUsage=&quot;1.43144099999999996342E+00&quot;&gt;&lt;m_msothmcolidx val=&quot;0&quot;/&gt;&lt;m_rgb r=&quot;1E&quot; g=&quot;D9&quot; b=&quot;CA&quot;/&gt;&lt;/elem&gt;&lt;elem m_fUsage=&quot;1.19171693820616697579E+00&quot;&gt;&lt;m_msothmcolidx val=&quot;0&quot;/&gt;&lt;m_rgb r=&quot;00&quot; g=&quot;4F&quot; b=&quot;DD&quot;/&gt;&lt;/elem&gt;&lt;elem m_fUsage=&quot;1.13439690000000026338E+00&quot;&gt;&lt;m_msothmcolidx val=&quot;0&quot;/&gt;&lt;m_rgb r=&quot;0C&quot; g=&quot;79&quot; b=&quot;C4&quot;/&gt;&lt;/elem&gt;&lt;elem m_fUsage=&quot;1.00000000000000000000E+00&quot;&gt;&lt;m_msothmcolidx val=&quot;0&quot;/&gt;&lt;m_rgb r=&quot;14&quot; g=&quot;91&quot; b=&quot;87&quot;/&gt;&lt;/elem&gt;&lt;elem m_fUsage=&quot;8.10000000000000053291E-01&quot;&gt;&lt;m_msothmcolidx val=&quot;0&quot;/&gt;&lt;m_rgb r=&quot;09&quot; g=&quot;1D&quot; b=&quot;79&quot;/&gt;&lt;/elem&gt;&lt;elem m_fUsage=&quot;7.29000000000000092371E-01&quot;&gt;&lt;m_msothmcolidx val=&quot;0&quot;/&gt;&lt;m_rgb r=&quot;13&quot; g=&quot;AA&quot; b=&quot;F5&quot;/&gt;&lt;/elem&gt;&lt;elem m_fUsage=&quot;2.93213656140138834161E-01&quot;&gt;&lt;m_msothmcolidx val=&quot;0&quot;/&gt;&lt;m_rgb r=&quot;FD&quot; g=&quot;DB&quot; b=&quot;0D&quot;/&gt;&lt;/elem&gt;&lt;elem m_fUsage=&quot;9.87924252359779903054E-02&quot;&gt;&lt;m_msothmcolidx val=&quot;0&quot;/&gt;&lt;m_rgb r=&quot;4D&quot; g=&quot;23&quot; b=&quot;A0&quot;/&gt;&lt;/elem&gt;&lt;elem m_fUsage=&quot;6.25440578374361205727E-02&quot;&gt;&lt;m_msothmcolidx val=&quot;0&quot;/&gt;&lt;m_rgb r=&quot;D8&quot; g=&quot;6D&quot; b=&quot;0A&quot;/&gt;&lt;/elem&gt;&lt;elem m_fUsage=&quot;2.52753098298531785060E-02&quot;&gt;&lt;m_msothmcolidx val=&quot;0&quot;/&gt;&lt;m_rgb r=&quot;FF&quot; g=&quot;82&quot; b=&quot;00&quot;/&gt;&lt;/elem&gt;&lt;elem m_fUsage=&quot;1.42178526524148959864E-02&quot;&gt;&lt;m_msothmcolidx val=&quot;0&quot;/&gt;&lt;m_rgb r=&quot;FD&quot; g=&quot;D7&quot; b=&quot;00&quot;/&gt;&lt;/elem&gt;&lt;elem m_fUsage=&quot;2.73892744995341301181E-03&quot;&gt;&lt;m_msothmcolidx val=&quot;0&quot;/&gt;&lt;m_rgb r=&quot;D8&quot; g=&quot;D9&quot; b=&quot;15&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tIRKkI7FVTp.V0ZZ5kv6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2D9vEZAsO_ZftM3DNYX0H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JXxy1Dn59ESTSbpfG455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tB8CB1B9h6LP0i7riKvMT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ZoS23X6pyi5iYV.bZUhCJ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gEq0qSMHpd7PcEI5901s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NxUOhm_jdwCokpShCZFmP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4CWqAcSTHOA7.ptR3eyR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DoS3jjptfZHTkKOtBIVc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CzCfw5Tk2ukVCWqwFlbma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9mFygGV_V1vcaj6t0fjx4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KQcdosVIvVXfuGr6Kb4_C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KeQ_qmwovSPFydJ.9i62S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UvJofQZ2jnNJXkpKToPf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AbX3c.BA1WM6mmPLkDo8o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1rjS78fS5.3jDjSa4DZ7V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DvJDRfBDv9tsvYmnnaKMa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mgUGbOAJ1Bk7rHYb2Gy11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0ZJw.DiolPmMOmNsjSou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qvGpqWFERapSQ5f4VKEV4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JC2r_.6mSNkBoG2Sj_VW.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53pgDOuiEesl9oCfS_O3B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Eap71zy0zSgcNlXCUqZ8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oHQAq2s.Uy2hBsCcnyFC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ot6zW2qYM75NWJphpI3cM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vB5bYtSZjHIbvhVjszby7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9tmKCZfiDUKIcZpNIWRem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C5qcfMuOCwLusNCH4zmTJ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QyWyXwNHHCUYS7g1.k_E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TDGo.9oR0qDqCHkls_nv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91N6PJqCp3LffotK9eImn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asnbxDG3yj6tGJneOQ7Ph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FpGaV_JbqM7Jfct..VlRa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68b4N6Yq9ouqDquNZL3Le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MdHhXWvks55hX5UFZGtc.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YDQ3Yslp.ClmS1_QeucQY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adDAjgYSb0ZO.hWNz9tcs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98..0KeKyffL5cmh2o5aj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E9JvTjk6O9IgErWKMSKcQ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Motl.sw8xT9_H5.hYgBgd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7FAtf5ZkDpeTQYbA7MN9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BLULDXpYaQ5FqxXusY1WM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klOE7G5XYdloY7_uuZh.4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JuEOEnkF38h4qGm9N1FaiA"/>
</p:tagLst>
</file>

<file path=ppt/tags/tag10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216TmJL3o4IxjJ5YhKJ.z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wQha2EY3rCMnEF7QBquga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fzNfPcGc1VP7JuTKRLvBS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p4S9xa19mVR2OV5ZM1J2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xIc2KABKnKrm7nLonf20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ryPIOE3dyGA905Y3mfDgR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X101jWbNJRrwe1FoVPBFx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qJY.1_uHrbeWOQKtShRnc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2uG0Rwmb_9BqKzhfFPu3J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eWZHYnH6IDcySbR5ALmJk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C7U4hdV9e4eHFcbOuSKth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c4e3o1.cJm4kZK2lLtyvA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iudrePob8ER0Fk9oA4eRw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5NxyEmo5GpccuV1t1Elgs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89abvLqtW5HUPlZjbrmQ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96_SyxQ3M4rOdsEKYOly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HquJayrrABxN5XuxvShZ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d6JxjqKknkH0zjtK_7IHJ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pKsxLJZMDVPLdL3wODYTJ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DZ9Judyxyq2FiReX_8xuU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GaaeWBcUMPst.G9Z9njwo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jMoiGRaKiinnsJz_UT9Re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_EwuvY8OagvBGzM5oyNr9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PxEVHp4sY.IUtPRKmOPc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1_II82n1egT4wcNmdmb2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cGByjxOR2AzZ.YIxslJ0L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umE_5Jj61WKttPq7zxf0I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UBNTyGJJkfUTBxJ440Xsz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RNqhIqJpLy.9zJLbkAQa7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wLQCbIYsGRXE4FVC3TGd7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lHz0cfLbWTxiBQTULMYwy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nro1miNFivR..AeyrCyyD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Bu9xZcCvpoq3yremTpp_l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oIMEOPeVVqxNN87pnJHUF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ItdmvAXLVdo9FdYbZFq8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2dnCiCSjFsxMV824Wxyx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eWO7jP5L.w47Oin6nMTgN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wFZi8MGAytBJs3TNraPrE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TyUdetrmMxEmabPsxE.pz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KlQlKnSWVWJmnaV9xvA3F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Gujv2Wnr6aCGDzkjEqnA_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sFe.9FpPhBRvR0mZRQgE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AzCRWfR_gMreNNWx4rxY_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YCiVnqY_VYmn4mbz4RJYz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3.JTwzSslDwsidJEAHObA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sa0iS8iAPQnW0eVt7fm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0JqVLKbkp9R543nWZkJM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Xs6OOcFb9.KaN9RjNI_8P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zpq51OhbPEwTG0RUSJ9fB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Pif_yKnd3bqQy2qVT2dBT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BHCh.9UJ90V_0CCMWGfXD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JM1QlNDjgOggqKvBcUQFE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rHDbKI9mp77HiqKRduczO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w0si58ebvoxVFZvvpf0B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P1fhpUcxawu__dwlQt4KV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jhp_gwuUwWh7kct5NTBs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dHkR_iVCSHxgTuwid6PF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MdffRzTQ3C5gnql4MgcF2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803vZMInhZWSUmwlfPzCq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QKpyojVCLye3Hbhrt_BT8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xga84IBVrLsf0cocdGlIu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sDyBhsTTH.OrAvvH23RwU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Gn2XUv_cTm.ud5dLLcHdV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gPkgvo7QoGYZ8CMBtXjYT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TmawpEU4yEW4P_bPGxEMN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1Kr2YFBBIOVL.bma6UiSm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8vJvkrJapGhX8v62dgHLA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01rKhKD.VVPR8E5NtMhgV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1NgjXo7kD7OyXb0eYZFJZ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ZWxRkFPmGYX3VQVCLmSWH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XDznl5CMfAeCPMqdOeN.n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d4tMzEGoAF5IT_VuK4Sth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lssF48hMQujYXqANUMf9_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6TLzChsRyGXT934Rd371E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2Gqmm8z60fpyXXcEE4GJK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x0vs16PB1Y6RoHC90a81C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LZkFCOl6l7qH276Mj4fOo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BbK0GyhnlMgoV4AH8wFoj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9tQ1El_DcUjJHkFqPPDo4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ojWCGSVzk_OvU8GJygwo0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WkBaHZx6Dgdhk3OCKcMhf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ic_EJfuJuYMc4zGWh01Zc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koKDFw1fF81NZ6d4pAjTF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z0Y3gHBlteDgvsx4F9bDF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XT3Ke3vavEtBLmXi9P54i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RF6lYKhaUhVhvgkALlD1L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WogCgfW334C7XEITbAZhd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8RZ4JhRx3Tat.M8iZr.u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INCD7Xr0lM5UEEKiDlD6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3B4Zul_Q39NnpgOJKE9W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x0uu6ae9c4_zsBN3.qXHe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ryOfXGiSk4oFDaIlDOvZp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nwD7QdOFf_ZHxauUUFe9s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pX7sEttFFDCvmmboV3Ez9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IYf5pit7TEyeg8KtqGSEI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f37KasGO0MVXUWWVbzbW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n2Ao1t1pvYiet1MhB0lFD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22CHMLKgYMrZVr8ecAI72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aa_TMG7HOtHZUAraI2th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_Kmph1_2F8MWQQjAOYJyx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gdQnV9ajMMlER.6h1.gB9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F1g7hmXEqqdlDEZKmc0KK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WJfWQBZWRHXdDtCrPfTxL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6TDL4mh_rghdEKKxQ.6H5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kU1GIN5aW65P.E2VRWtyo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DancpE.OtxYL_ameS_XiG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sllJ8zhCDS.En1h24knxI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lOpRPDbB8eBzsWb6zuim5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LFq2BdkRZ_HRzZPgpy_lk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oIH8WcSSl1RQnMwhlagA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DeG9X5W.4p1cjeJd1hbtc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PIU3GYCARa4QjcNHQFPAA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iqUzkGZMsXuh_Tal1pEF_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rE9TDwfO3Gz1ENAzVbXZv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eGzTy8aEef2TgLG32iyWy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Zhqv1icZ6hOJ.tcNqgteK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RekPBanLNg9kSEAFWByzs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VlBpGXcTbC_Sb01mHcLeD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m4ITK6x0_RNuNqBsKGh1c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4UFeCMDxONorM8oxSH7f0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t_52Lm.x6cfxMbRBcQhI7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TLOgE0Iu9FvpsmphIsxtX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SNJmmakj7QASgG448qJlQ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JrHGMvGRpxBV7.evU_.rE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ly0BDNYmPgf6JsyOWGhCR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w9kM362fZ2sNsAvMhSmTN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SMhAW_6zd9pwqMDPxLS5R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PKp6eepNd3ctrSa97o3w2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KDXE.a6iIaZOaxObvc4TB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oFbgAtdGZzc94qP.Y9z4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Y1bLcFPJ3ywcTD1JXqkI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0SeQVB.qs2oBYjpV3Ekud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O4Ofrf5O.A1NoRB5d3HnI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EK7BGnIH_N_TQM.ZQUm5E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DPZ7vfEA4XuEG5ZNXN4JN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FeaJvDpJ9nXQ.A.J7kvCN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tw8xb2A2if6cFJCidwCb7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a5Gi62JV2cxemIW79_ooH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c5qg7Ak0yFwJ0FlVGpqk.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Rija3OoEQqb0LXW7FqoQJ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AyT_XUfU7XpUc4I7_6gz6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7c5gYszv1_xdRufiaOAg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LiK.GukTTJNBRssDP.QFB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Y5nqObuhg.Mqcf71.JiPe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8wtmF7pwMgg9tqc9qqtT3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4nnR5uXm3iKtHwVzzeyfK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1pE9Ooz8ENPkdRf0y7Cj/w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pE9Ooz8ENPkdRf0y7Cj/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7590894"/>
  <p:tag name="EMPOWERCHARTSPROPERTIES_A_LENGTH" val="24576"/>
  <p:tag name="RUNTIME_ID" val="16acf1ac-cceb-491d-a6d1-e6cd071ec297"/>
</p:tagLst>
</file>

<file path=ppt/tags/tag119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1EyNwlVm4JImabasrvuEzQ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215908"/>
  <p:tag name="EMPOWERCHARTSPROPERTIES_A_LENGTH" val="24576"/>
  <p:tag name="RUNTIME_ID" val="d8b6bc76-88c3-4d45-bdb1-8d2d63624c32"/>
</p:tagLst>
</file>

<file path=ppt/tags/tag119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688754"/>
  <p:tag name="EMPOWERCHARTSPROPERTIES_A_LENGTH" val="24576"/>
  <p:tag name="RUNTIME_ID" val="d5deb12e-56a9-4197-b833-8b2d72f808d2"/>
</p:tagLst>
</file>

<file path=ppt/tags/tag119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001175"/>
  <p:tag name="EMPOWERCHARTSPROPERTIES_A_LENGTH" val="24576"/>
  <p:tag name="RUNTIME_ID" val="5157e17a-719b-453a-aa1b-f7c797e9e3a2"/>
</p:tagLst>
</file>

<file path=ppt/tags/tag119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K/m7vbT35PmbL+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K/m7vbT35PmbL+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459136"/>
  <p:tag name="EMPOWERCHARTSPROPERTIES_A_LENGTH" val="24576"/>
  <p:tag name="RUNTIME_ID" val="a886bc6a-a9bd-41da-95fb-00eef078435c"/>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9eiHVGVD0rcpRaJOAgPNQ"/>
</p:tagLst>
</file>

<file path=ppt/tags/tag120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1pE9Ooz8ENPkdRf0y7Cj/w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pE9Ooz8ENPkdRf0y7Cj/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7590894"/>
  <p:tag name="EMPOWERCHARTSPROPERTIES_A_LENGTH" val="24576"/>
  <p:tag name="RUNTIME_ID" val="16acf1ac-cceb-491d-a6d1-e6cd071ec297"/>
</p:tagLst>
</file>

<file path=ppt/tags/tag120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1EyNwlVm4JImabasrvuEzQ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215908"/>
  <p:tag name="EMPOWERCHARTSPROPERTIES_A_LENGTH" val="24576"/>
  <p:tag name="RUNTIME_ID" val="d8b6bc76-88c3-4d45-bdb1-8d2d63624c32"/>
</p:tagLst>
</file>

<file path=ppt/tags/tag120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688754"/>
  <p:tag name="EMPOWERCHARTSPROPERTIES_A_LENGTH" val="24576"/>
  <p:tag name="RUNTIME_ID" val="d5deb12e-56a9-4197-b833-8b2d72f808d2"/>
</p:tagLst>
</file>

<file path=ppt/tags/tag120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001175"/>
  <p:tag name="EMPOWERCHARTSPROPERTIES_A_LENGTH" val="24576"/>
  <p:tag name="RUNTIME_ID" val="5157e17a-719b-453a-aa1b-f7c797e9e3a2"/>
</p:tagLst>
</file>

<file path=ppt/tags/tag120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K/m7vbT35PmbL+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K/m7vbT35PmbL+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459136"/>
  <p:tag name="EMPOWERCHARTSPROPERTIES_A_LENGTH" val="24576"/>
  <p:tag name="RUNTIME_ID" val="a886bc6a-a9bd-41da-95fb-00eef078435c"/>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tyDADrY8R5d_.ECAxMWi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xctQGgAAiDC_tnu3YME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6FS91pdKco87GxqAMQn8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L82XWVQtIpq.kuP2t6wK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9Zzp.yyMmruqF3XgON6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K84cCSEqpzSV5Zc8BBz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mXfFEpTlysSUcq.Xpf4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J.eExE4iAINy3uf7VWy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JnA_pYN.RXAq7_F1TgeI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p61cxLg8MllSQ9IHMUt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eBllSN8BxYIH2gSJwJR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UHB_p7sBXyxHQa82gzj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kQ7pAvMZMvlvk5snYKM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z28CNoypvtpH0yKEkWN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ez47HexRrwMW1OUldjD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OLoKzrWt4GycRTrXgix3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p.AW27C2BzhnYHnhl2N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w0iQI6EZXD5oV5BDSAs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bsEXftb_9nVRx5Yv_a_i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saoehjZOXi0tj6XEyuM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qP.PNlyVIhjNSO.qYA3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j_ze1i4I9Qph2ol9G62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s2cQICZjeiCLDtOzthyu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8g_i23q0vD7y4_l_XK3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9VNBp4_inWx3mFqUqjPdx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eaQ4y527vJIX5bbSjzNk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Ns18bb3ZjzSUaAkhhIF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_mCvgg_SSITvGdK1wD.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qZlcNH_PUiMIIRYCL7l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lMkpAdGsdK94Bb3pPHY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dgTG9eBPsrKcIe9Ynmr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IKG6OHnFBmLTDrw.Kq0s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1Y1GmAnAG2QgtM3YkRJ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2CmMIb1G20UpWzxL1cTy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CopDu_nqIjzKzX6ql2m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j8vYAEKvpv8Gqvy_7Bd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659ulQmmswyiGMc8eqm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JulZudUiIMCVOUZ9HYU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oDuL1u463csnjIyzC3c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VqsbPxiQnAOyTLnJwmP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ZdWXpPQ1si6gm38ZbKdq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otjVYxzvUe2gXZmzfSA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6698VTXHhYUqhk7JUekf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531fCaXOa8ws7m4x7oBg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jFr.8G.0M7QG1l4pPk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2VYBYtFFqcM7jAuiR74A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7ssApSWfCKYuAT6eGgwI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pteTafZuJQBs4qtucLO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HamU9Wcv3GItxvfVyi2r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FL5dLOJy2tPKiqx5p0q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japvQCMB9QOO1YNWYbM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uVASH1RYotfcf8E8sfCJ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BOBLhZ_1i.3oZHyvLlst6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gQVTLTxd9feTS7BdQqHs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Nn3MWK5gz4lGNvfJjcd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pBF6m4njmvojhdASu2r9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5fK9pu4oJii2mOvPNLA5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po3_UJ_72TZz2VVIFiQ7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FGUS959Yt9YZ9WPsDLw2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zqLMnoxfpNv3MAIzaVTL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3gJBsmuhi3VB6gKr.SZs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x4RcFH7UBCy0oktFj5w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zra.YdBf.dFuFM3Fwylo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KnLWA071CXOk53neTgV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5GWYFLau4NncvSY5iiT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n8358a.48NuhnEIUi02j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xatRs6zjZs8vXye44MJ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DSHrTYWfJLPglRLCdEr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Z29Z727Pfz9VYiavp.u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rYNHxrs4DrrQqPw47Dc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vxGhHxtdSnGloB4Cu79_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WmB2kF4EsJyyqAU0deGp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_0q3DgdEoglxnA8K12P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T02gFK3LT1zW_LPALudL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X6GXFnczFwDWj5iDzl0K6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gNjkeS0UOBXTl5OwXm3s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0R3xpinH93Tm_d69BB_RQ"/>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E9dj7_xNBK9KlrNxmchK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RRvvRl6zlB24X4ptEDZ5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Dss.wka5cdlVQgbVsn1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RK0i6U6X.12WILjfDjgh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qAj8Ok.CxBT5LcW1ImdW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goe068Y6zBbGALoe_w6u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T8vkbt3jfO4j.dYsVbN9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6r6CwNOBRKODufyy4ACT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EN4zkTlEbr26n.Gf99W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lLuhB0GF.u0z1NXZCqv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93BtSdXTLBVPqulWW8Fx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6VnXDhz6yTVA8NIhtt21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26hDUAie5F0F6DR1tu3t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rtnS89e._cYSHbOEkDNzZ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wLG0dhuVE13T2lK03QX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60bN5PNXVwXyUANcZebr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2.wu8WRynCC80ZY4yKt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5AM4VK.Rh9Pd7GdZIZG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9OJ6xkA3grt7uL9a3yo6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dg.RuzS9W3FJGgmjw2_h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QaiGzA3MDfRk4qo1GqNa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9G06Jt.7dpnI9HVc6V5j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cAIBWa7xxbmrD1jLE7gs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wq2FSd9MAea8WUxeYkL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4gO4.jZIM0Dit0P.MgE1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NWXBjHneArF2QLLeYf_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8m8CRkGRE6S0QX0g2mvm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ii478OdEJIql4PzGYsii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5S_dz_fBpPg12N9GLqIz3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ecugb8VH0m0gKZiWNwC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5CAm2JJR4swtbJ8BzHcSk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0nFiN0ti0cUQwyHsS1.U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xoq549bKxEbDmbm9.2p1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LVal94y8GoOcRdd.Y3A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bfMRMx2dPGBBVX55k9q0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u6sDc8wh6CbsvoOiAa5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sFAJTrO9gjNHkc_Fo8R8a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VcENVAbxQcYlT0_iSAm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jIBIlyUPiqusEEpPRvzg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EywaKCT115mJMm4ctMx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3F4AuvDiqfr6UTFwyp7Z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MFl2BfuoLzRv07c42Miua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yKllEgsPUoVAaD5ZSxx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KMLxLh8MCY_oXr9NL3U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8HCUHu.n.ON1y8zkKkb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Kt8cKtJdaLyrWOauNWgY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ND88JH_Ue88rvtB1kvp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LHJzTZEAYjJfGQAHTjL5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XKry0bnXVJxydTu7cp7q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nqO3MW.dO_NxxARMjRn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FI9LdGKMPJjMbOzaiIEj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D7ARR3TPGPj1Ln.70gpm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0KesLsqC.CU5I1JNU4b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57f8m1oUdajEoLCgHrxnj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JVGOeuNLiqnLYJMWO41_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DEUBamnnd_7QXSaGCj4F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TL1fFKygXtVKJzXzY5.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juc7MlHEjltgGIDnl1c_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L.NiiLMFS.slMgMkQF28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VWVnhBJqGKsTxKHVIxHD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hrLrvGfJqTPKHo8WUig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LxIhe5bxW_PoVIdCqtHu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ayF1siHg6r4ogLIf6BP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Llrr9NQJ3HR9C.csh6i4D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W8U3RC2rIIVaW2xml5ed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9ViZktCgZuyuJW82x9I15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7k8cXnHiZHlNNwT0jNCz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yqxVwUOuvB2tFfyHjNLM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QnMguHdLYs0ZGaCYSDJ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KXr0vKehnb._ccS6Rxmv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UCo5PJN4bq3rfuutmT9a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HsRGdVUeAg4pZ.fd.SkA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GFxX.D4o96WTRphGDlg3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sOf_Y1wTH5v0pY6Esan1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n3WUCfP.a7Knw3sHBVPi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2AGgCPADczyq_td8ibuY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CVyE2l4Hf9SLJdux.XS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SgrfKrjfFHO.bvovnYi5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8sqWX_vLXZt4Wy79sfI1M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s11VjozfvD5qBYPFjxi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VEpV7FeqxmM2D1PSnX9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0QE7gIaVgKeTFnl8CEuu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nD1kbyJ77LDovZXAMIut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P6q1kmTQOdwM_4uCy7vLc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EjO4FAZCMQm0o1IUs9SO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_JIucCswDF8xVHsV6AHD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b0padgVpguoMoC6PmYU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DbYUOsbDMNDYIxWrCMBH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k6sFMEwDOhEeU.xOdHmV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cAPJEUfYqwtcEZt9kyAi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_oIywQQMQF.gcyn9VH0S.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Hngve4O.vBd8eiOEYv4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txBESd44c46YDm2bG2sc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tvI7XXCtFZXZbd1nRxza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q1HYujtdtqPZqDk._Qx12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4uDlF1uH.3aorm.qnoLQ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pfkGtdpji_cD7.Pv1b4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JS.n9oct6x169lnphxOb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JYZIcjE32NnJFG0N1ue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RDdLL0LHQDUbVAnDjWl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5rO2O4a6AMFsVDdbvzyMh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z.R_uopjRee9wEYcm9x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EgfzobTxBBtP_2br4i1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_yZ.8JXTlBwUktMzqDX2R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K0zhuXn6UicfIzTuyrume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0rrTay2s8d5SSRmW6wn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s2R23Aj0aq_kxO49k_z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t4A6H2V7EtlKGgS5NsCv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WjO3qYqXknj2OtrfMv44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6UmuT2gP0Hz5peWBkrvtw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Y2ZjJJVUgeTGIVaGMqzz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8bcd7g0L.fzHouF7vIjP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ZulDEC3BVtEomIYbx5_L9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j3aqmegFg1QMjHZA0n7q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OSgbMpRD1eeZjSBPVf2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2YhegezsIY.VB0ACKNbL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1o_bohHzgWcW99aIg5tVE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o3XY_NBZ3jhXV6WZ7ofH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3.Po_QmKKL8tu9tF3PY3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_iftduLvg5AsxnUy2HMph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5Rrs5bF2jYhGuy_pTs7x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pESzaS7NikV6aSIkSfs6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QDaTMzzBBRpLlyIyZDaL2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d4MCpKQdm1GlV.Lv3vo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v6_tlRnXWuddyHT5Ehwt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CUK95FLjbBX6vP4u9bQQ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bh0OXotFVebRFW2CjmV9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cYVnjsxmLrNoR6laxfw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7g1gRA23walBBBp818J7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LkP9AP6SPHfffekDAI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kG1cPjVM0xj2nBlp7eDY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e0K62kfmkMlbZVK0Csv1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2y3OYZxM6EbwdzuMeO8J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W6cv2E0lUehwetQ1ZOVr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lJwg7RYbaohqkOJMQtJm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yrkI4rbKCyJjL5.CdOWq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mwUPiCW7x62XwTtT22E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i.DJsGRag71u6PAwv3jh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wH91XkTWfrtd5P5i2fkV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8a5yeRBiXBNfRm6MzZa.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LSQ7t1r79E0hwuLzq5n5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MLjD8.tg1R20n..YApi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r492wFC7C84Z0ElON8J.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F_z5609PMIzVL98ZXCRM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K5f1HvZQnvAnpRBG3A4N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puufMRj6sUSnz34PcJW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OeaWd86KsFUkDVQMu5a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E_Le5NqXa09dn626P7JC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7dG6WY4V4OGbxWo81J_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sq5378T2Sd.Eq_6TMaLxJ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3PtmtnM6ci7F3dxnFTUC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8KKxx_BHWRqb4fTPBLHOH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feXQS66n5ucIxy003E6E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ExPMMgsQSu.HBR9O2au9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Bdg3FYbKSRsOCUZv.WY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TW_qgHBANH1FbbxRUFkma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iomvvUp24jELjL83K_ec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Q2eD38.ohL00h7hBvWq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IKYGmJD0Jq2PyVYvmCdS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SCvipN_Pdi9sshDGeBlI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0nHuBcNyurr3cMkClC4Ht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F2WCl9B55gyKqXNFOoVm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Q0CtejH4d6xABTfVnCBM2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xb3rHSctMa7kuQTCTxoa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s61GocaJWkXA4.gNlcKCy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vslne8Sf_NGmwCdsg7eWz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Aw3MI6BOAvm.7Mf7QpBk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4BfDXcxUqndSEyBFA0m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GSlrHnhcwPlFUhFAGrB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48BHgWVMUsPcNHloDq.a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sTz1vaQ6nhWf1.VgoL78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rZgT0wv2jk8x8IJk3uxd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rKdpGkid6ES3QCKE2Yl6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a1iM49psdu.cEmQvG_ma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5jcXM7sDZmx4D6LQagNy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lThGY.2y860qqU.wK_c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6dND0GBQBbVpYjEJsJHs8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VlSVcd8KbvrUh9s.9jydc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U_KqUqWMNMhTzMTLQtAV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Wy_4gWKRRX9OehgMeOYI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Oo8yNo8NSx8f7Evb.c9P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0jVUYLbsaCzD8wxHTZx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sF280LzEIFqr8OVzYoBT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Ee_HzkFuaLki6EN1xSd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FwrBBAC.Hw8bD3Nr.sMh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rfop_16VI3DTyWe1JFT9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8Aag1GcwOeC1ruOJTCfe0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srDjVT6E.t68pHU7Wr6g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v5KF9FsPNjv7bpRPaW4B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vU0Cy88opigwmJjLnRU2J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S_CLuQfvSSUrsnD9Ygs5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_y4_rYJz2SZWCXyn6LlLl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4ma9ki7l6Iv76ecEsIhZW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1.TVdSnkTzLXbRFeq1EX9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Q9EaqSwN4QJnd0k7eKS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r88qEeQ0RddjsXjmc_Uh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Lp8i.N2y9RzIbD4q6ruJ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9VqfMOZExrDbnoVSFU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9_Vte_.9tkavmnasFNh4A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niPBKM.P5Xm5fsKRHN8H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n7G3m._S057YE6d7rmm8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QLmeUZ4B4AoIS1FapL5e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R0SW_rfg6SKFN.s2BgXy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ltqEmklTB7MstQcwIHM_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81ze5Z6APJSXXQmQrgY7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mosYko4eWLX6TiPz9CJB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hNYRKekEa0z.s3BRscSj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6F8nVbinFFSmMwI6vZrg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P_TpsFyYf79KJ72gJei1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wvfJghqE3iYXNHnHIl5dW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POIS3ZMKnmr3U2.Ri9yc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WY.NFnV0RLnrkiaL0iBT3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LRm7UhsO5adIeLvbZpr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ojUgEOtVGfI6xt4pawId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RoJ7a0VsH3LzjFGZmeE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OLCdV1AeEhtXHjD.iB1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EUBLGGwSdV4h13_LJupi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02yS4Stco4klD9.3_wfI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Hnv8bGgBn8_7Pti3euzx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pHqQTQ4UAfaVT._GL10K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zo9qXCkczDdYLdwDAlSy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0EkEhp6prEqUNb3_OTuYl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bWXL8kcKIkGLewNV36m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oL0kVDM8ajhi_yLMFVi4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9ZuvT4GQ8fsmPOSy5ii2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VG7fBUZ9teHhMEJj6A4EQ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9oA5QqntPiBJsPR.tctmn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xduvFcV9HB8F6ectBpEKy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6O6OEcyVod1DxdNNSX4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b6SjpoYYf6sbWLKU_s2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BLpsBsujxUKj_DfaZ1Yi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YoWprpC0mt6nhLxeRMLa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9XreK5UuVR1t9ABnOE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WHluJs0O8HvW4vGDFaLM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lPSXib8UT3M41nGw83M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NRPTZEK3JD2q_EwnmOsjm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f78oNPN2nUnr2WnHhVOo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oXyLINrmPgFX9W0SK052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QjJ97NK9Kv665E8QZeg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lR7Tt_gOdvn59xjjHQUq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VjIG39LbyfqC2mznjVOMA"/>
</p:tagLst>
</file>

<file path=ppt/tags/tag4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f0jgOcyCYF6pKyhUVjE6Y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lqEkHZcoz3Nc92aA6G4H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vhbEjTsleDm6zxiefL7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2J4sUcctAhgtKG9IzuS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uJm9bpyJtEYjbWSEdVyU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mHff6zkmqZrJJzU_r1n.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x1YT6pe6ietAWKj4kdHzB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GOw1kDAsCSaiaCieGoPq.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JYajEfhFQOe_hhtHui4S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wgR74MbQN0sVmlo7_W7A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voNAFHXDkiICFbfN3AUE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NmzoWWL1FbEbJCjpDV_RQ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ufGuvlnExBpAMBsPKLH8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yQVHbBh3dMiugjUy87ZTf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jZHm1mjWWiIN3r7MGx2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xWz8n.ikLyK9.JYTyZWd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e6KI9IN2VWg4hOGC3mQj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Mte2J9QzQ4UM7XlI7C8n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6ikOm3cQp78CarhG9zj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khGImzPd1pon92J9IHyQu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7oOa.jdvFnXL8Fp4UNL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DSfZq8GKvJi4E4DHtLbB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Xnzq.HHIPMOO.cVZv1LHs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tVBhU9_nNItHVCyQeDoJ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xFbDwMc3HejCOUzRglyzq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Gfjjzsj7Yyn4lieBI7bY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m1rzbtY3h43o3CqFR6GMB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Q8ituIRgxBc1gAu4QqoWn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ZYS2S6tTD15cdisiBhJ3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mDgTClSx1G1_8WPKHXSW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au8FIUrmiEAYF_3ORgFz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UHIhTWDGwEnVwlXB2j7P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uadJ1Q0GA1EpXE2x7EIC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aIYeV5dAldkO7f.sapn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502vMDqTT6z_Xxc6pw1Q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_22Pr43dfN2.GLnm0JXO7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xCvaPcTAXldDp7wqACEBT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6OcUW5mo1woaBcuXcDjEOA"/>
</p:tagLst>
</file>

<file path=ppt/tags/tag495.xml><?xml version="1.0" encoding="utf-8"?>
<p:tagLst xmlns:a="http://schemas.openxmlformats.org/drawingml/2006/main" xmlns:r="http://schemas.openxmlformats.org/officeDocument/2006/relationships" xmlns:p="http://schemas.openxmlformats.org/presentationml/2006/main">
  <p:tag name="BTFPLAYOUTENABLED" val="1"/>
</p:tagLst>
</file>

<file path=ppt/tags/tag496.xml><?xml version="1.0" encoding="utf-8"?>
<p:tagLst xmlns:a="http://schemas.openxmlformats.org/drawingml/2006/main" xmlns:r="http://schemas.openxmlformats.org/officeDocument/2006/relationships" xmlns:p="http://schemas.openxmlformats.org/presentationml/2006/main">
  <p:tag name="BTFPLAYOUTENABLED" val="1"/>
</p:tagLst>
</file>

<file path=ppt/tags/tag497.xml><?xml version="1.0" encoding="utf-8"?>
<p:tagLst xmlns:a="http://schemas.openxmlformats.org/drawingml/2006/main" xmlns:r="http://schemas.openxmlformats.org/officeDocument/2006/relationships" xmlns:p="http://schemas.openxmlformats.org/presentationml/2006/main">
  <p:tag name="BTFPLAYOUTENABLED" val="1"/>
</p:tagLst>
</file>

<file path=ppt/tags/tag49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7769KvqnvbjgrYbgjPPT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3yvtbU676MpZiSoJwA_L4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BVq3nNqzrN4WKP2rpHFt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otuHmBp.G852e.MKLmcEN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uC3abpgpK.QMtA5gaEoE4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ceh0kYITQothJ9jQ8wNnX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BfRIbRFfu1vzLAEpd0Kqi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y5YoCpTxYPmKlU3QvQAcI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9EZcmstTPdAaJF13g_Ugs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727khTzV4BDiKis5RcZFz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0xdRRqwfs2ZBbgl1tkwE_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03eOsQflnSnxos1xPfbM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k2mecw3Er88caG1FLHuek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tphMDw1FAn7pN2YeEiHe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C0A8Ibkzxdbrw5Tc.kWKi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UU1CkkJ34gIEd3PHXFEri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uBcf0d1SXi_q9nUTuEVz2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dkJ_QaG1PLCaNfzWZpCzo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NG6cgJa3imziEhgIMZWy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1vDNeN20.VVeSBNjbsLp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7PBJ7NXYgQu1Xy1OvCW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6Ckps.oekrwH6bBOkI7GY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EL5_DHvX56bwr8x2shf0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HhRhGHhPIF6XENdOdLnw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5DhzBxBYQ70TKw_Nfk4MT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oz51_AIb_yknwCYQULJvH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n1rVY6lAGzJwbKcJakX4A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zV_CLUqNatghrawQKYOdy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dPwOdNthQk1rKFOR2uBDc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v4lEAESdW3EI7LsMtgZon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nVWBw0WlbBOx5MnZ_3VM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10e3FU5pwmiGeQidiSabz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QyagALHNaFqUhE_vwLs3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LopNq6uj29NFO1PikU.1b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8_v_UiqMJaiaYh_sBS4a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h6YJkwc0IkuCfvD7QeWB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1nQ4CoH1jSzuEuZD2Xr7a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KqeZJT7YvlEFY88sow5Wdg"/>
</p:tagLst>
</file>

<file path=ppt/tags/tag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54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pn43idtnyEECs6_IfkdLH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Rd4UG7jdO4cKsoomhKjk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M.RYgiuDgRCQt1ME2yIZ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_XG1ZrSQsykoG32OO11KN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NxMqhYhQaqFeV0fHUOkf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0fJXSc8L9tuPhsu5ZJQUz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YhDz6TrJpOyqcak0gOhUS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htjfIBJBdUYaFxCKV4lY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PDaamSVXMqGueRHr_8iaE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GrpCck5D69fU9Jhyu_lxM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YklJCNZVKIqgRWLvCQO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g5DCnsQwnb.7Fv.qEZlB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XuHIx8FO6pYEd.XMawYC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zgoNE70gSNiBt..z7Tak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uNWp013ayt6mEsulSgv8e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9qgsTKREOiQacG8bVWHta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R6480Z3SFvcGXMxIKh8S2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cjIFHL4JxKGaoJrQPiV4p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a29Vcqel20ICYLfWEy0u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ml1pp0p6kDFjy1z8GeEML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_Hl61.fxMEar62vOvVJu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P2R0_DPfg9Zs6VfGwm4S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8lKaSrzjI9HNYWuS6rCXg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ayaLa3NKGkuEDVAWixdfq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oywEgfGCgJLdD5BBT7Z53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a5H11R_IsPRII_pE5nvM5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kIK259VKMkAFoR9..7.3x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INY2G7zZipLpIgNgo8cSy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S8Al645UydaXvLAc1GO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AZaU5mXpFAowhwiC0geK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hG.mnU144VKwohd.x9p5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Vy3pNK2q61Dlzoi.pU5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qZieoHm5LYveMsSRUriB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86WEIog.rDz9vHTG.1iKi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yM3quFeG8oFmBrxRAMDj1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TiucckR_8gmDjkLSHFf5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fpMC26gpmL.6G0qWGKO1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2W9Pif3lAfBktKnschzF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32S9HAKaSJcJoGWP37Iqi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IVdErMrDmGplhHws5l9zu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k4m5DYBInaVyIl286OsP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OYmVflThXrNNDpHJgwl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mRRABYMlXKz_RRfSOQZe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rE_smMAgtS8C39P3FqDTk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rAMcBGCtHzGLEW5yqW3eI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GCTod_5BfXMKfqD9zxDvJ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XVz_tFmwhCpqZD0UT6.b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pI4NMi3VwV3zzqoxsJln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6Yc4e1OZFFw.uos223xbJ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NId7ns2FFgMa4KP9OeU2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WK09xoASah8qrMUjagOgb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HWCVQYINnHoq7BtiaN.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u8Hqe04KLpwhgWPQ0M29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ND0C1IclaRhEpr9ipBKy_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XDmJHjWYCfc5bZFSipPp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IUFbIwrwNxocXocvDXMia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c_j4rfLe4C_n6JNFWdwYg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KVMWGtGG9fZ0SdqWsRLk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E4gNbUTJZmwAjVQjKgZzP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C6QonO4YDdFfi.uHAyEl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Slu4DIom30HmZwDY4sKZ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umi3CCEaLk12CvSlcbh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eTXvhIMecJ.oRsdumoqv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un_ReFKi03q2xaT7SFvod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_QIp_CVtCFTJcLR3yJgpK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cBRzmxtnh2SYgxkeOg0JF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OQ4Yr2P869DT7gUDJmQia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0d0yy6E5rP_QzN7cAHi_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fh71pLe8MrqTy2X7sTh3Z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eeQjpJ3wPd.F53cWQerc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dIVV9dePFfrrRRftPVNS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u5.ZhUujeroaxKZoXclX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5iWGT.cc5l8zfbbNGyYK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M0h94rXAcZH7H25.Zby4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_u3.pQAril8ygkXXYa738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1tFHKWSaWfjm_ieVj.k.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oLZyt6_F.exRUJRHD5AIz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UYy1blgBGhZT7e_pA4Nc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m5RYh1AVw_e0e4oG5q.P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ehAdx75Bai2YPh.sY5yqp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gvwEpyGDAv4ThCmQhTk6R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Rfcab_ARJPMZrseaPX20w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3yJozx_bPBo9i_5mNazWN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2A7f9yORwfAbRyOAzeIJ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yp8if9d2WdTlSHqwSfGJ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ewvogeNw58H9yQejyWts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5ZHDLbbB5jbW3_CSS4Ulz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aknCLfdB2XwgGDDTp6KnJ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bJU3Y2vQ1zBnPtO21H.P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EpUGdJAwiWQld133NICi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7zf_m61A_Gr3_RpSYZVgd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awWpytqQ.Bbd6tJ.HkuXj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au1BwQk17WwQb8lAQGhE7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LhXGQZqhfoswHZVFiI8fd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jSxz4GCjRg_GoXNfv4WT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XokQgSowOcnWwk3QERtn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0j_WaCiIpagkXbDbVeBx9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WwzU3gMRtPKKrTqpuplI4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cW9PacuLXA2yaLzQMtE0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EZO3Qjvdg0I7dZu5f.TOS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lPQvdX2XKGWtvz1HFt65q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1IENvQRMcuy6FfpMb3cPS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CWRdhGIw5RrI3ojmaXkk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PcQ7ZeETYjBIbx4aTjuHJ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hlWWBozcrhZkswPw6q3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stw90IheLhTZTBKD0wi5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_4URVQqSpGYLROrtOdEI4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G0NtJRGtHE3YJkCBRCTog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VN_tBvgm0O70pb2MTjmPz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3O7ccpBz8KMMTdRLPMrs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1SiQw.oTmkIwOxbC7twR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axIXHmrmsao1PGmkEBelL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6hT1ewvgqw17Y0FyJ9QB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7KqNdABQSv.BtaE2ydl0s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OR8IBV9HXt0blwrbgJAM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ixJXIbdWdsIrWtbWW8kF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5_aAD9zYNDmviHiJuXKa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JV5BZ7wEiPvjr631Gkua4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QGTFlpjc411K8v6ZYV4wC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fbT4MxUtr0lyHQFJSHg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1MLjh4UpjaiJzyXGwtYFP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lUrK0yEWDE.b45A2gqgR6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GKj89IY5FucHDyiuPenod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XaeAIwhFpCKF6ylsMNdSC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DsIrA2dd0grJYOEWihFT5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BxM6MtkKwH4Hy5OR6V54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nOjPOC0k35BILSQ6G33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S7gK5ZsoocijnxLzEUb_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ufMTbc3DYYs3I3Ih4TjI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tDHXKrwyaNVKJVNXZEIoc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DRRRObJgkNkwNsW_lMEbg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MKnet4IumDOYqSKR3I3ah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KUo68VdLszvWr0kN18onn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yifmGXl7CRmB1i0kCioB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KVXlPeZsQoMdSJtgkWCS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wyurF05IL2CUwCfnfuOc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KYTAivR0KQW61DekLnUw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ISv32eQh0RS27_ZOLT7av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PU3CE3MGckjrX1_yu7.7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p7R573070P4e8LhZ14l2b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6o.OMmWXwroybUT0sFgX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DSNwpg0XPK2Br0QzPEX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gZD9e8RSk4jqE4uiUVRS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cA0l1fn8ERtbGG4uoXDnQ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GSqYTAeASQ6t449waSTN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vVZnYanV.jKjTk5rFwBd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7JIe1Kni5lJhDUef9VXC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r7LQW3TJQyF7Lm3Jyw.d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BP_3CYVL2OGX8e9o_AJep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XfctK_YRu5iOST7EV6K.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iftKTq_jy8yrRYoeCD5y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cadSUxmj2aarqHI4.GYj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Q3uVkHs.Vx7Dzo_qC2Q3y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ooKirkwy1RDUfk3Z6tevx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X1z_F7tv25HMBdsuZoM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DzTrPqWG5_jpbHYkOzBP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GQvONIihkauAY38IKifK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HNywolOzqSwrmNEVaSxZ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emKiX.X1V7g_gmKXdqbWg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D1dXJEOD7b_ReUTa1w8Y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NSi_xslzqRXZyWxba0bw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0a.EX2sk9wgrExQzfBPj2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D12ThmImWdExj9WYzJ3ZC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LtIuSjSiSccaKsj2bsAOp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A8VOiFQYg0axBhnCAciex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kYBdnvk3RrigGofFo7r6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rcydqAp80PV3hbf7dsSC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arB1a81RRJxL_ZXMYEutF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J_h2fvg7pGBJPWZmb5bMm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V6tiKdgoRNAnWLZ9x6fsM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oSQT1SyoLB9z2sk5PTtGU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xDsTKN3bDspIUDX.wPDKY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SxgPlF2Eif3mvzCc_8My8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yQdI2iWMIArdkrQVO08w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udpht49XAlD6pfnVY.DR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87pxg6ZwZkrbA19DQFYfv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wMBBfdauiv.BnuuHPVY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wg2ra_26BicNilgWUjJQ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kAT6_xtP6qKKVu6FDwTox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WRWKxe53LN7fSdkZSJJM9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NfjzMV0s9cGw.Gwemb2k2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Qce2YSCLCyZ2AhRS.PoOJ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AwFoBSEu4kdTALFrvg1o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LYb6X7SkMuyqOACtk70w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XE0.Lokpiu5GsEU86DB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3JHisghFqvjXCBjfEDmp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D4QPAaG68tNBWMMqijZKi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q_FJzO5IB0kTHrVQT4H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48EGdiilWAJcBv9k0GMY_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Bg_FbVvZqsUtBesq2d7Dd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NFo3CuwADgSjzWboHKYrI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XmKymzR87Yfve0URXCIOd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1tGe_meIsY3wzY6uOya5f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Ts1PSmzdrcR6gCRjvCNFJ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TaKk.G7lHIAPhbPS_Scgq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bBust7rhu_Mh8.fSijKqx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N9zinwkhys9biD4bsTiV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BJDguhzM5EEVPI7eJo3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gTk2AyWsbZfEuZCqipAC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XcC8BrmP_r1bmbXqONpK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Twu.578o4mulTpFUZ6G7T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3v2WmkCvujWC2A.mIlY9h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CqYllR8aeBE8VUh7xLhBg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k_usq15pjW29qkH9o5Y_p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jk8yD5ZJtA238yaNpO8eD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11Fhr.KYInxmTl3RHCHB0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_5dFit65_jE0xQZCd8nnS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Ko25l5OfrmIiqw55oYe3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9.QHnbW3TA7SXNkyJliO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vMvaFDl85HGLqykydMd0n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I8r9qIxpzZQzkHRAi5E.7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wYcxJqr9RHOEe7J6aW.r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uOjpNZCMj2dXZVxkJ5xF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gD7PtmFzgFh7PHxQyBhKj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Kakl_.fTDjnFWctA5fxN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qAXoNPTSfKrrluL0xX9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v.IMTVN7HHkzLm4slOKn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e7fF5pgiTA_GRZnaiCoR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mzwmNCXt1IFEZJb7j6Jl8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O.UoEXXMloZAw4X8cpzx8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Io0BUt8y1GHhFn2RBhoS3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sr3H.x5UQmuzCkzFc4Qfu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y62st8PStsFEYQ2Kxeki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C7xEEtMvCmX430V8PMRBx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UPjp3UFvtiGtZA0ZcHo7f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warsCIOu61MFpE0u1qP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UCPvYZ9yVHWQN1wMcalp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PSfRIdnOOM7y8_QCdfzTq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PS3wrQdlqKUeYIohJ5lfY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0IJTpszEPNvkQC2P4WZO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zaPrV4xUBxd_8ub4WCfM6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oyqXznjR0lmkSJTrf.qa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vTWo.dSxiPzDlGqqzw9oR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5X..pmEyWIHlXgVRV2aG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W.ELP4Qxbu25pg9ypGDh2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2uzMV46Yzawrq7YwajWlq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uSSwt3h8TNENQw0uuHsK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twqPOjkM.rG4Gauv5Ct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bImBrK92r_PpTGvi5fwPD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orMY5LYIM8eEQ6do2xCeV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5QyOYhVeEpymXcmIQxR7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f7YIOQIXzl6rGk0NSuF0O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QNGMLc.YghAITuXf1do5g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Gk0iO2QLoH1CC3Wu.gX6v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yjdxSwOTRRSRBgVbtAscq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2hUdwzP.t5LXL1dpM2fr5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byp4zh_Zks8YTzhE5smg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JwGOk6ntuGgYkYmYUBoK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1sJcuzjszVueCaN9liS9p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N25mWgGLUY9Xob2tNgOJf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OBB68BliAmyJWAQTah8x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WYpYT_2CE2xdK_NQTwnZU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o.Pl9lgvKQfZz.qvO8h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QE9rx6XYApJe_dLtK6Br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ETcVGnVC.Z0qJx29j.xo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YSMiXf.NoKhbXD4tfR0zi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0ITvjI1R0XR9IJhmBB.45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yrAvX_rRK3a8YxK0PuzeI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myyMlQVK_f8hXkINM01zX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Jf7yx4jO00.atXAPo8zyc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vDywxXeKLTEYPYt43BIzu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WzUZWFDH15LherxFA7dsW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i50QLePACsV_ZBfc9qcx_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06U4S3V3o7WG4PAJaO89i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LBvhjdIGOm3eAy5MIZMnI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50RQvGFkBxvWYKoo1t3Q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Z28C2ZndJZjWwFHpzPwS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aCe1w9w69SCejen7nL2.w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eZpyymku.x5YXcLfmSLU5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CzNu3u58yf4GLdNmihI5I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t48QxwIAaheXw.Yo0pdFi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UMWzGyA8u63GaJJtefS5s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wnE3hOZ0RGZzeCLRmp40S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W49nTuU2o8J.vJOA7Uf8v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5LZtBEAJI8ENuTKlJo5o0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a8Kiv4IhF6JnYc2iRcaW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VSX0oUe7p7a5c8qy9flA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6EelbQeB4DMhfvberBMqC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JKLzY8CI.SvoiNoS8jMm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Oyn1DsLYEFdu8t3GVOGX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9skG9Ron5uqmrq_HYQyYY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237mtvXoJPv2I_by896w2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yXIQCDcvofaD33dbqyfIP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4NXIsiFrCe8Qf7jcObB7d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W7OatI3.KzsDtfBhA_B7R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d11ns8Z9HCk8yCatoEBn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2S0PYnEpJu.YcK6oQiKRh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ZadeKyA0RAvBjGcabi9R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7U9r4bAER1UT6ecRl8uEd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f6fSytK8StcF3fkzsakLp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IrOF4LkbrnCyPgnAuJQG6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DjpKFk_i5yyLdMWMKabY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Iw4BmMWeFsOdKp7YV8QFy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m2XfJ3870OJnl._SFRj5Y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fVRaoPzeYgWI60Iu3nNmu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J1WYMXoKsZ5SsSCgo_VQ_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MZxDIA.W7xjIPRml0pVS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WEbEgI7LUqNBVz.My_7B7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3c.UH4hefymA46O0yGlEh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23kGqDelSM6g9MX0LSgdU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tcximOOcyimAAqr0ZfQU3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AUd4Ah7gLI_VFKQs_Vch9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pfDT0XTRDJw__bFWI_Jd.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2JHGFsZ97HPPxYE08uVNb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GB.1bwhoitAhkpgdUEAF8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J_FPmHVdXqv7EujoCbSeB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jlQ7K2w19ob_KJbIRHbZ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qbGjAU4VeSxbF20Oyacg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WpUqKEZY4Xe0vQIFKBtyf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ur40FpZKmrbMIN9yCvvVP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BA6.YvHpk1z4aduHwxTeA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22s8bOHscAWkx13kPKodH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1ZCR760KkB.P4DrO65s2K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VtC8MqzHZSBDoOQvdEwRp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K8lLKPrXI4IO6ZBct0w6D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30AXzEUmdQFaCWYyhIZLm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QYAnwsDQlGlxY30bqEYy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faFFQkwE603FK12oHe4t5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00Scuvo36VIswK3lI6ly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5kt1k3pcSE5jWuCeBFzeB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NA2uP0TTVDXjgNgy7eJ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ovWHmBkuUatX754_PHr_k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QGc_js4ipnsp9CPAnkRG4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_ESHCZzIxYl1vOgQ2oAx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0QHz_nMk6zr_lQx3u_3SL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Mp_kIEZ3DJz5oU2yoknrH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WoMuIpn7.x31GLC0QYKGZ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FmQ9l07wcNGKM_TxbC94h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vSKs7mvy4wQgstK31Ker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wbsfyg807KDqhXW8G8VA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ZaJUd1ZJZG8zf2ZGI15iu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CuCVp3xL7gFw2e7Y26_wO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cOCDXQCUXt0X.cq0IvD83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dOAQNlFb76gsYKX0OeSYr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b5d6_77tU8KGfnKDjBwVe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6M0gKLwV5THGOBbc3gSdx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bg7J4EcGBWdPF3alXUWR2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vijoWXvJOpVksO5cvf11c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D98YiQvGm14Fi3wJR8IG2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p3aWLPjWtzBBUXmdz0e0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m6uGWsAtS100hZvUJ42s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15hAuf8qMZJUi.oZdx24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Ok8S1TVmkTiKtMef9qeT6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gI48SHMwIS4MzQdrTU5nj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DCHLfmcZ5UbBqU4A3T9Y7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Ya7YgoiXbB2.w4T1riVjo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R7QWGvtkwYXgVIjS8DahI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vs4TcQhalFq2wKRTGhY6D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BwjsmWKIHmYzW6gZ7eVRE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UdEfKHFuQslA7etVIj9Dw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blnrYjf5np1W7RJZFzDo4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kBqc8GLrOIg1.noXIElN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2XJisy19wkERRsLXy1FOr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lElpu.dZeVrtNk_C4LZy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jqgfhK5XDAxLG4H7kZaj5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tOdPAHOS0XQCplkWZxEkh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33W.mHIfCzzNlzNYA8RJT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bAYon.MDJmt9WAXa73KM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SJ_wjbnNkJ0XXVWOazVCX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f3b4ohftG7bB2qYCfxRy1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MKvMjEz_IDUgldJcz5If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D.GwS6A9YhywautLzc.G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qC7IecdTcAJg.C7b0ir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Ld5R4k4EW_eJSA1Itl7bn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YIDd9Vbi6XZLVAvRt3Zu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d.RlJI94txsf4kEGNz2F0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O.GuEILlRaEwW5baQwtkr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wpth9rKB6t1GQ0lHZi0pp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KTQUQZHpyd5BP2lYafM_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3DUYpz54nM64N2cqyq6qq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j0AzUEcD63hmfPz7tyyR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_q53OJjDdeq1yJcFoXVz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rfBdFMUq_tTPNnqtuNc9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a8Mua0LZy_VUMiNzPKXr8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LVNAj1iqlIF_GxRBTnVWW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FbHBXysNC.y5TYr0aA2hl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qwHo4sRsSpFB3nFlcHXhi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X15XX0hjlaUlasTXOA.VK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UnK2sHDg6jbi1XKw6GGxq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NYJz4QsKM4RSyURGf8dio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q.aly3ezg60Gm.L.FFy1.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YAykQEm3i4sJJQQb2xVF5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dbm22.WIG9xVGrYlOW4x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U8vmXpzYT4VpAoPJd7L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4mSmM7Yq_qCza8DJZ5nu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6uVqBWhbYe2lNSSNzZ90U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wMGqoIGKdM0HhQSmcWOEl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YKiJc6BTYzRw3KhPh8jnP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34Mrev8cAMdvzCEB7UhcE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GX6FLOnkJ1qqfNglfKZLY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qrB_qlZZhPmY0XA0T4qXP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0ACPlagUjltdT25y3k04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7qCbDBZ0FDiwhchc1rEfC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OK.Wi5zCBktZR_ScaiJZ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5paP_mAMFJBhNIMYItnW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FEWwSHakfyaBFQz4vqVy.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7d2l_82bhIJfObE9bOzi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iFpXJX5eriUerNAuY0EQq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9J7UsisVOXI_Dc_NvCFpR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7DHGqryU4AjapMVvaPVKh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W0PLoBplAFrvaOG_rVW.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h7lqndOMnhSAM_eEY4yn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MSzMwT1OhzzB9_Sf5TFEn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T0D9G0kt77IZC9m2bcWvK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d5QaRY5GDpTWqiRAZyHK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sql4MpywnzdIHrEqSeJ3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ak3xGDtNMYfKy3fvjlV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IxQ94De0z6g1IYLydvJ8z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m.7d.OTzHgxRCBYsLb.Ae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ASU9NixytTyMea1cyVbin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puh0xJWgCZZV__5wdxzRT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19rNAcbP8eAf3RJVxv9.p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UpRUJaQ.v6IEcW364hJHs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_WFdiFhTt3Hd6QQkf9GB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r107DEEKPNhOLuS76bfhg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LFxvmc2oF_Mi9VuXzKVlD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T6EYINeLGLM5K6hgfYu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0r6bl1wCr9IA299BSG6lu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ljVcVcpPEe8jFqn7_glMb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gHXmJn8zOrAon9LDY0y0e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cVIPKzo73XnhvslGtKa.F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D1c0femL2FS2MarzYdC.t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GazrU95tGWpyh.mZwpOg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LbtvjSLX0P4ZHrESMHe9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WRgIP.OeGc0r7.VBMh1b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mt.42SmgfmY15meY1y1A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TM.cazn2UyJO2JHci7TW3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ibKSl_42W0n0p65oa4_oT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iFOyDjo22VpoZYg.HxnbT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zZ7BxfYlDOVMUsR8QUCVC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Wkj0_3AU304P3zgpmO727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7ynLEuj6MezsDsHCdHFm1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phnfKtC6qkttJSKHpxG6l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qrBViXIMBu.od4pu_sAVM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IdNfM0jH71iA63DVTOfa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9bvutIpI1vJo3KBtE2Sfk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Rxrq6M_rVsY7ooFaWQSOr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0Ee31sCnU8e.xkPkHfog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G1g.v48TOfxSL25YUHJT9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69HNoZCCDHBiXTUWHBzdy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YnkuKzbTMLBae2ScbPwq6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2amXt9pQVT9pYUPheRbe5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Fx3N6mK_UolYYOZuAFD3U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JVqpZgbboSfxD4F5.DEm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Vgadda8v4qn3CZ5rOnxx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ij6qIQ6Pf4SqMhSiGlIG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wENry5jGCEurNCUJFIxS0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9cgzLdJ6D3FG4ngAhzyPr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NEWU3WnB6LDdgoNtLNwcE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YzEiO.IHBCVGlJwcrH5rO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dZQxEoYqwyCYAq_hbrtSl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c9aTZDXBSklcz2Ot0lOWN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0v6xjpC4rFhUhMnE6tZs.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k3FOvHEZAghBboNwxG3g3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NvFUuCJ7FmWReruY49d5m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4R23Jky6mhsqFaAm094Y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Jtfxui_kqejzASsoz1ql9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pz4sE8O2ADr_3F.YV64S2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4Q7FORmxSzDwfteVMI4ec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tl6XlxQJr8jMBwoTQZDTf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TcmrLJBWRK77IL.LSIpy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ZjOQ3d6vIywjoq7_0xJm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UOk6ru8zu5gNuCAnRPzrh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fvNTWVbDk491y5sDNu4BA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ugJBFZoAlLnqOVGN5VzGZ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Qz8b9vvc1CNCcr7SODz1cg"/>
</p:tagLst>
</file>

<file path=ppt/theme/theme1.xml><?xml version="1.0" encoding="utf-8"?>
<a:theme xmlns:a="http://schemas.openxmlformats.org/drawingml/2006/main" name="1_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F551DEC2-CDEC-944A-BD8A-37EF3D09811E}"/>
    </a:ext>
  </a:extLst>
</a:theme>
</file>

<file path=ppt/theme/theme2.xml><?xml version="1.0" encoding="utf-8"?>
<a:theme xmlns:a="http://schemas.openxmlformats.org/drawingml/2006/main" name="1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5E17AC61-1C3F-3E45-B48E-CB11955F10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b154fc1-b295-40d1-b506-aa171264887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21AA9D6497144788A110546513D1DD" ma:contentTypeVersion="9" ma:contentTypeDescription="Create a new document." ma:contentTypeScope="" ma:versionID="3fee99725a2be6b53f37107b9f7630ff">
  <xsd:schema xmlns:xsd="http://www.w3.org/2001/XMLSchema" xmlns:xs="http://www.w3.org/2001/XMLSchema" xmlns:p="http://schemas.microsoft.com/office/2006/metadata/properties" xmlns:ns3="cb154fc1-b295-40d1-b506-aa171264887b" xmlns:ns4="6cb8d265-54c7-4eee-bec8-8e18ca05f269" targetNamespace="http://schemas.microsoft.com/office/2006/metadata/properties" ma:root="true" ma:fieldsID="3fc4326bbccfdb753d01d342054c7938" ns3:_="" ns4:_="">
    <xsd:import namespace="cb154fc1-b295-40d1-b506-aa171264887b"/>
    <xsd:import namespace="6cb8d265-54c7-4eee-bec8-8e18ca05f269"/>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54fc1-b295-40d1-b506-aa17126488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b8d265-54c7-4eee-bec8-8e18ca05f26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6D2378-DA2B-4464-B45B-BD3A1AB3E07A}">
  <ds:schemaRefs>
    <ds:schemaRef ds:uri="http://schemas.microsoft.com/office/2006/metadata/properties"/>
    <ds:schemaRef ds:uri="cb154fc1-b295-40d1-b506-aa171264887b"/>
    <ds:schemaRef ds:uri="http://schemas.microsoft.com/office/2006/documentManagement/types"/>
    <ds:schemaRef ds:uri="http://purl.org/dc/terms/"/>
    <ds:schemaRef ds:uri="http://purl.org/dc/dcmitype/"/>
    <ds:schemaRef ds:uri="http://schemas.microsoft.com/office/infopath/2007/PartnerControls"/>
    <ds:schemaRef ds:uri="http://www.w3.org/XML/1998/namespace"/>
    <ds:schemaRef ds:uri="http://purl.org/dc/elements/1.1/"/>
    <ds:schemaRef ds:uri="http://schemas.openxmlformats.org/package/2006/metadata/core-properties"/>
    <ds:schemaRef ds:uri="6cb8d265-54c7-4eee-bec8-8e18ca05f269"/>
  </ds:schemaRefs>
</ds:datastoreItem>
</file>

<file path=customXml/itemProps2.xml><?xml version="1.0" encoding="utf-8"?>
<ds:datastoreItem xmlns:ds="http://schemas.openxmlformats.org/officeDocument/2006/customXml" ds:itemID="{A8D85148-56AC-405D-8212-C7F59681ACD8}">
  <ds:schemaRefs>
    <ds:schemaRef ds:uri="6cb8d265-54c7-4eee-bec8-8e18ca05f269"/>
    <ds:schemaRef ds:uri="cb154fc1-b295-40d1-b506-aa17126488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62A8141-6A0E-4048-B13F-3D308D21CF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cet</Template>
  <TotalTime>15957</TotalTime>
  <Words>32874</Words>
  <Application>Microsoft Office PowerPoint</Application>
  <PresentationFormat>Widescreen</PresentationFormat>
  <Paragraphs>3567</Paragraphs>
  <Slides>109</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9</vt:i4>
      </vt:variant>
    </vt:vector>
  </HeadingPairs>
  <TitlesOfParts>
    <vt:vector size="119" baseType="lpstr">
      <vt:lpstr>.AppleSystemUIFont</vt:lpstr>
      <vt:lpstr>Arial</vt:lpstr>
      <vt:lpstr>Calibri</vt:lpstr>
      <vt:lpstr>Futura</vt:lpstr>
      <vt:lpstr>Times New Roman</vt:lpstr>
      <vt:lpstr>Trebuchet MS</vt:lpstr>
      <vt:lpstr>Wingdings</vt:lpstr>
      <vt:lpstr>1_CKI Content Slides</vt:lpstr>
      <vt:lpstr>1_CKI Titles and Dividers</vt:lpstr>
      <vt:lpstr>think-cell Slide</vt:lpstr>
      <vt:lpstr>Geothermal Power</vt:lpstr>
      <vt:lpstr>Geothermal Opportunity</vt:lpstr>
      <vt:lpstr>PowerPoint Presentation</vt:lpstr>
      <vt:lpstr>Geothermal energy technologies span heating &amp; cooling and power generation, with conventional approaches most widely deployed</vt:lpstr>
      <vt:lpstr>Today, 10 countries consume 90% of global geothermal energy, with almost 80% of end use for heating and cooling</vt:lpstr>
      <vt:lpstr>By 2050, geothermal heating use is projected to almost double, driven largely by China and building and district heating</vt:lpstr>
      <vt:lpstr>Global geothermal heating and cooling capacity is ~173,300 MWth, with over 50% of global installed capacity in China</vt:lpstr>
      <vt:lpstr>GSHPs could reach millions of U.S. homes by 2050, enabled by tax incentives, business innovation, and workforce development</vt:lpstr>
      <vt:lpstr>Global energy demand expected to grow ~10-20% by 2050, largely driven by emerging economies, electrification, and data centers</vt:lpstr>
      <vt:lpstr>With vast untapped thermal resources and emerging technological advancements, geothermal power is primed for a breakout decade</vt:lpstr>
      <vt:lpstr>Conventional geothermal power installations have reached  ~16 GW but remain constrained to key geographic areas</vt:lpstr>
      <vt:lpstr>Next-generation technologies enable deeper drilling to unlock greater power potential</vt:lpstr>
      <vt:lpstr>Next-generation drilling unlocks globalized clean energy access, with notable overlap in emerging economies by 2050</vt:lpstr>
      <vt:lpstr>Geothermal power offers clean baseload capacity to replace retiring coal plants and prevent overreliance on peaker plants</vt:lpstr>
      <vt:lpstr>Key barriers limiting geothermal deployment include exploration risks, drilling technology limits, and heat flow variability</vt:lpstr>
      <vt:lpstr>Exploratory drilling carries the highest project development risk, which can be reduced through advanced subsurface modeling</vt:lpstr>
      <vt:lpstr>Technological, policy, and financial synergies with the oil &amp; gas industry can drive down geothermal costs and scale deployment</vt:lpstr>
      <vt:lpstr>Underground thermal energy storage offers greater capacity potential than battery alternatives and natural gas</vt:lpstr>
      <vt:lpstr>Geothermal Power Technology</vt:lpstr>
      <vt:lpstr>PowerPoint Presentation</vt:lpstr>
      <vt:lpstr>Conventional hydrothermal systems tap natural reservoirs; next-generation technologies reach broader heat resources</vt:lpstr>
      <vt:lpstr>Next-generation geothermal technologies advance scalability, while conventional geothermal remains the most cost effective</vt:lpstr>
      <vt:lpstr>Next-generation geothermal technologies are reaching the brink of commercialization, presenting an opportunity for strategic investment</vt:lpstr>
      <vt:lpstr>Conventional geothermal capacity has nearly doubled since 2000, reaching ~15 GW; growth has slowed in the past five years</vt:lpstr>
      <vt:lpstr>Conventional geothermal energy can utilize all three power plant design methods, each suited to different temperature ranges</vt:lpstr>
      <vt:lpstr>Deep-dive on technology: Direct dry steam (1/3) </vt:lpstr>
      <vt:lpstr>Deep-dive on technology: Single/double flash cycle (2/3)</vt:lpstr>
      <vt:lpstr>Deep-dive on technology: Binary cycle (3/3)</vt:lpstr>
      <vt:lpstr>Location dependence is main barrier for conventional geothermal deployment, followed by high upfront costs and low efficiency</vt:lpstr>
      <vt:lpstr>Kızıldere is the largest geothermal power plant in Türkiye, accounting for ~15% of the country’s total geothermal power production</vt:lpstr>
      <vt:lpstr>As a vapor-dominated geothermal system, Darajat faces the risk of reservoir dryout</vt:lpstr>
      <vt:lpstr>Next-generation technologies enable energy extraction from hot dry rock with little to no natural fluid</vt:lpstr>
      <vt:lpstr>Enhanced geothermal systems fracture hot rock to unlock geothermal resources beyond natural hydrothermal zones</vt:lpstr>
      <vt:lpstr>Commercial capacity of global EGS could reach 108 TW by 2050, equivalent to 3.5x current global yearly electricity consumption</vt:lpstr>
      <vt:lpstr>Closed-loop technology circulates fluid through underground pipes, eliminating need for natural reservoirs or fracturing</vt:lpstr>
      <vt:lpstr>Next-generation pilots to increase avg. capacity over time; cost, geologic variability, and seismicity risks uphold commercialization</vt:lpstr>
      <vt:lpstr>Superhot rock is the least mature geothermal technology, with capacity to surpass the limitations of hydrothermal and EGS/AGS</vt:lpstr>
      <vt:lpstr>IDDP-1 and IDDP-2 projects in Iceland are pioneering initiatives advancing the global understanding of superhot rock geothermal</vt:lpstr>
      <vt:lpstr>Geothermal storage for electricity has relatively lower technological readiness compared with heating and cooling applications</vt:lpstr>
      <vt:lpstr>Sage Geosystems is advancing long-duration geothermal storage that can deliver firm, flexible clean power</vt:lpstr>
      <vt:lpstr>Innovations in drilling technologies are key to accessing higher thermal potential</vt:lpstr>
      <vt:lpstr>Drilling currently drives ~54% of next-gen geothermal LCOE; investments to reduce that share target heat resistance, permeability, and drill-bit life</vt:lpstr>
      <vt:lpstr>Companies at the frontier of drilling technology innovation show successes in pilots and field testing</vt:lpstr>
      <vt:lpstr>High-efficiency CO₂ turbines can accelerate geothermal commercialization</vt:lpstr>
      <vt:lpstr>Millimeter-wave drilling, pioneered for nuclear fusion, is being adapted to unlock terawatt-scale geothermal potential </vt:lpstr>
      <vt:lpstr>AI can improve accuracy in geothermal exploration and reduce the costs and timelines of project development</vt:lpstr>
      <vt:lpstr>AI is transforming geothermal deployment by enabling faster, more accurate subsurface characterization</vt:lpstr>
      <vt:lpstr>Geothermal Power Global Policy</vt:lpstr>
      <vt:lpstr>PowerPoint Presentation</vt:lpstr>
      <vt:lpstr>Four key policy priorities can help scale geothermal power deployment and drive down costs</vt:lpstr>
      <vt:lpstr>Global leaders in deployment are developing policies not only for geothermal power but heating and cooling as well</vt:lpstr>
      <vt:lpstr>Global collaboration favors geothermal power production, leaving room for growth in heating and cooling expansion</vt:lpstr>
      <vt:lpstr>Successful geothermal risk mitigation policies target early-stage resource and exploration risks; grant schemes lead in nascent geothermal markets</vt:lpstr>
      <vt:lpstr>U.S. ranks No. 3 in superhot rock potential, has 12% of total global geothermal potential, and is set to scale with policy support</vt:lpstr>
      <vt:lpstr>OBBBA keeps IRA 45Y and 48E incentives for geothermal power until 2035; foreign entity of concern (FEOC) rules apply after 2026</vt:lpstr>
      <vt:lpstr>U.S. policy support for geothermal emphasizes national energy security and global leadership</vt:lpstr>
      <vt:lpstr>With 8% of the world’s geothermal resources, China’s potential for geothermal power could fast-track its 2060 net-zero targets </vt:lpstr>
      <vt:lpstr>20% of global EGS potential is in Africa, providing opportunity for economic development and surpassing projected 2050 demand</vt:lpstr>
      <vt:lpstr>East Africa can deliver Africa’s ~13 GW geothermal potential by 2050; policy reform and regional coordination will determine the pace</vt:lpstr>
      <vt:lpstr>Geothermal represents 43% of Kenya’s 2024 electricity generation; unlocking superhot rock potential will dwarf existing capacity</vt:lpstr>
      <vt:lpstr>Türkiye’s 1.7 GW of geothermal capacity equals 11% of global installed capacity but meets only 1.5% of its own power demand</vt:lpstr>
      <vt:lpstr>Italy can achieve second ramp-up in geothermal power with FER2 support</vt:lpstr>
      <vt:lpstr>World’s No. 2 geothermal market, Indonesia is using policy reforms, private-sector investment to unlock hydrothermal capacity</vt:lpstr>
      <vt:lpstr>With 12 GW potential, Chilean policy is now steering geothermal from resource mapping to real, scalable power generation</vt:lpstr>
      <vt:lpstr>Japan’s 23 GW potential remained untapped for decades, but policy reform and local co-creation are driving a cautious revival </vt:lpstr>
      <vt:lpstr>Geothermal Power Finance</vt:lpstr>
      <vt:lpstr>PowerPoint Presentation</vt:lpstr>
      <vt:lpstr>Conventional geothermal construction costs projected to continue to decline, driven by tech improvements and efficiency gains</vt:lpstr>
      <vt:lpstr>Next-gen tech is riskier and more equity-heavy, while proven technologies attract more debt through traditional project finance</vt:lpstr>
      <vt:lpstr>Domestic policy support that aims to de-risk geothermal development in the United States is preserved under the Trump administration</vt:lpstr>
      <vt:lpstr>Investors double down on Fervo with equity and debt funding to commercially deploy EGS; total $1.69B raised to date</vt:lpstr>
      <vt:lpstr>Private and public sector financing was essential for Kenya’s Olkaria III geothermal project, leading to a 16% equity IRR</vt:lpstr>
      <vt:lpstr>Indonesia's Sarulla project's financing success proves bankability of conventional geothermal technology</vt:lpstr>
      <vt:lpstr>Oil &amp; gas expertise transfer can significantly reduce subsurface drilling costs, the largest component of geothermal construction</vt:lpstr>
      <vt:lpstr>Geothermal LCOE is on track to compete with hydro, nuclear, and solar PV + storage, through O&amp;G transfer and policy-led de-risking</vt:lpstr>
      <vt:lpstr>Modern cumulative investment in geothermal expected to reach  $1 trillion a decade before nuclear fission technology </vt:lpstr>
      <vt:lpstr>Geothermal requires large upfront investment but delivers stable returns and low O&amp;M costs over a 30- to 50-year project life</vt:lpstr>
      <vt:lpstr>Geothermal Power Deployment</vt:lpstr>
      <vt:lpstr>PowerPoint Presentation</vt:lpstr>
      <vt:lpstr>Geothermal offers reliable, low-footprint baseload energy, though costs and longer timelines may constrain scale-up</vt:lpstr>
      <vt:lpstr>Nuclear and geothermal both offer firm, low-carbon power but face distinct financing, technical, and deployment challenges</vt:lpstr>
      <vt:lpstr>Geothermal power is bringing on new U.S. projects this decade while nuclear holds greater capacity, but the gap is narrowing</vt:lpstr>
      <vt:lpstr>Increasing U.S. energy demand, largely driven by data centers, requires increased baseload supply of power</vt:lpstr>
      <vt:lpstr>Untapped geothermal potential is uniquely positioned to meet the growing demand for data center power</vt:lpstr>
      <vt:lpstr>Microsoft, Google, and Meta lead geothermal power investment for data centers, while Amazon sticks to geothermal heating &amp; cooling</vt:lpstr>
      <vt:lpstr>Google signs first corporate geothermal agreement in Taiwan to power data centers and expand across the Asia-Pacific region</vt:lpstr>
      <vt:lpstr>XGS signs its first commercial deal, partnering with Meta to develop 150 MW with zero operating water in New Mexico by 2029</vt:lpstr>
      <vt:lpstr>Fervo is leading EGS with advanced analytics to improve drilling and development with an emphasis on data center demand</vt:lpstr>
      <vt:lpstr>For industrial applications, geothermal energy is viable for temperature applications &lt;200ºC; New Zealand has harnessed this potential since 1957</vt:lpstr>
      <vt:lpstr>Geothermal power and geothermal heating &amp; cooling show sectorial flexibility but remain rare in global deployment, despite savings potential</vt:lpstr>
      <vt:lpstr>Iceland shows that leveraging heating and cooling provides greater financial security for geothermal power projects</vt:lpstr>
      <vt:lpstr>Leveraging oil &amp; gas capabilities can drive down geothermal power costs and accelerate deployment</vt:lpstr>
      <vt:lpstr>Expanding the geothermal workforce through education, automation, and oil &amp; gas talent transition is essential to compete</vt:lpstr>
      <vt:lpstr>While North American land rigs are underutilized, geothermal rigs equipped with over 2,000 horsepower are in short supply</vt:lpstr>
      <vt:lpstr>Traditional oil and gas service companies provide consulting, drilling, and technology to the geothermal industry</vt:lpstr>
      <vt:lpstr>Mineral extraction from geothermal brines before reinjection offers an untapped domestic source for clean energy transition materials</vt:lpstr>
      <vt:lpstr>California’s Salton Sea has one of world's highest lithium brine concentrations, with commercial DLE projects underway</vt:lpstr>
      <vt:lpstr>Using geothermal energy to process Indonesia's nickel reserves can significantly reduce EV battery lifecycle GHG emissions</vt:lpstr>
      <vt:lpstr>Geothermal power can eliminate upstream nickel emissions and lower EV lifecycle carbon intensity</vt:lpstr>
      <vt:lpstr>Queue composition (95% variable renewables, &lt;1% firm resources) highlights structural interconnection barriers to geothermal scalability</vt:lpstr>
      <vt:lpstr>Geothermal faces structural barriers across permitting, transmission, and interconnection, but new pathways are beginning to unlock deployment</vt:lpstr>
      <vt:lpstr>Geothermal power maturity and deployment is in reach as tech investment and policy continue to co-work and de-risk projects </vt:lpstr>
      <vt:lpstr>Team</vt:lpstr>
      <vt:lpstr>PowerPoint Presentation</vt:lpstr>
      <vt:lpstr>PowerPoint Presentation</vt:lpstr>
      <vt:lpstr>PowerPoint Presentation</vt:lpstr>
      <vt:lpstr>Appendix</vt:lpstr>
      <vt:lpstr>Glossary (1/2)</vt:lpstr>
      <vt:lpstr>Glossary (2/2)</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Kim</dc:creator>
  <cp:lastModifiedBy>ih2428</cp:lastModifiedBy>
  <cp:revision>480</cp:revision>
  <cp:lastPrinted>2025-12-08T18:38:42Z</cp:lastPrinted>
  <dcterms:created xsi:type="dcterms:W3CDTF">2023-06-12T14:35:38Z</dcterms:created>
  <dcterms:modified xsi:type="dcterms:W3CDTF">2026-03-16T15: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21AA9D6497144788A110546513D1DD</vt:lpwstr>
  </property>
</Properties>
</file>